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4.xml" ContentType="application/vnd.openxmlformats-officedocument.theme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6.xml" ContentType="application/vnd.openxmlformats-officedocument.presentationml.notesSlide+xml"/>
  <Override PartName="/ppt/tags/tag38.xml" ContentType="application/vnd.openxmlformats-officedocument.presentationml.tags+xml"/>
  <Override PartName="/ppt/notesSlides/notesSlide7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0" r:id="rId1"/>
    <p:sldMasterId id="2147483671" r:id="rId2"/>
    <p:sldMasterId id="2147483672" r:id="rId3"/>
  </p:sldMasterIdLst>
  <p:notesMasterIdLst>
    <p:notesMasterId r:id="rId57"/>
  </p:notesMasterIdLst>
  <p:sldIdLst>
    <p:sldId id="256" r:id="rId4"/>
    <p:sldId id="303" r:id="rId5"/>
    <p:sldId id="305" r:id="rId6"/>
    <p:sldId id="307" r:id="rId7"/>
    <p:sldId id="308" r:id="rId8"/>
    <p:sldId id="298" r:id="rId9"/>
    <p:sldId id="310" r:id="rId10"/>
    <p:sldId id="311" r:id="rId11"/>
    <p:sldId id="309" r:id="rId12"/>
    <p:sldId id="299" r:id="rId13"/>
    <p:sldId id="300" r:id="rId14"/>
    <p:sldId id="301" r:id="rId15"/>
    <p:sldId id="302" r:id="rId16"/>
    <p:sldId id="306" r:id="rId17"/>
    <p:sldId id="304" r:id="rId18"/>
    <p:sldId id="257" r:id="rId19"/>
    <p:sldId id="258" r:id="rId20"/>
    <p:sldId id="260" r:id="rId21"/>
    <p:sldId id="261" r:id="rId22"/>
    <p:sldId id="262" r:id="rId23"/>
    <p:sldId id="263" r:id="rId24"/>
    <p:sldId id="264" r:id="rId25"/>
    <p:sldId id="265" r:id="rId26"/>
    <p:sldId id="266" r:id="rId27"/>
    <p:sldId id="267" r:id="rId28"/>
    <p:sldId id="268" r:id="rId29"/>
    <p:sldId id="269" r:id="rId30"/>
    <p:sldId id="270" r:id="rId31"/>
    <p:sldId id="271" r:id="rId32"/>
    <p:sldId id="272" r:id="rId33"/>
    <p:sldId id="273" r:id="rId34"/>
    <p:sldId id="274" r:id="rId35"/>
    <p:sldId id="275" r:id="rId36"/>
    <p:sldId id="276" r:id="rId37"/>
    <p:sldId id="277" r:id="rId38"/>
    <p:sldId id="278" r:id="rId39"/>
    <p:sldId id="279" r:id="rId40"/>
    <p:sldId id="280" r:id="rId41"/>
    <p:sldId id="281" r:id="rId42"/>
    <p:sldId id="282" r:id="rId43"/>
    <p:sldId id="283" r:id="rId44"/>
    <p:sldId id="284" r:id="rId45"/>
    <p:sldId id="285" r:id="rId46"/>
    <p:sldId id="286" r:id="rId47"/>
    <p:sldId id="287" r:id="rId48"/>
    <p:sldId id="288" r:id="rId49"/>
    <p:sldId id="289" r:id="rId50"/>
    <p:sldId id="290" r:id="rId51"/>
    <p:sldId id="291" r:id="rId52"/>
    <p:sldId id="292" r:id="rId53"/>
    <p:sldId id="293" r:id="rId54"/>
    <p:sldId id="294" r:id="rId55"/>
    <p:sldId id="295" r:id="rId56"/>
  </p:sldIdLst>
  <p:sldSz cx="9144000" cy="5143500" type="screen16x9"/>
  <p:notesSz cx="6858000" cy="9144000"/>
  <p:embeddedFontLst>
    <p:embeddedFont>
      <p:font typeface="Advent Pro Medium" panose="020B0604020202020204" charset="0"/>
      <p:regular r:id="rId58"/>
      <p:bold r:id="rId59"/>
      <p:italic r:id="rId60"/>
      <p:boldItalic r:id="rId61"/>
    </p:embeddedFont>
    <p:embeddedFont>
      <p:font typeface="Advent Pro SemiBold" panose="020B0604020202020204" charset="0"/>
      <p:regular r:id="rId62"/>
      <p:bold r:id="rId63"/>
      <p:italic r:id="rId64"/>
      <p:boldItalic r:id="rId65"/>
    </p:embeddedFont>
    <p:embeddedFont>
      <p:font typeface="Amatic SC" panose="00000500000000000000" pitchFamily="2" charset="-79"/>
      <p:regular r:id="rId66"/>
      <p:bold r:id="rId67"/>
    </p:embeddedFont>
    <p:embeddedFont>
      <p:font typeface="Calibri" panose="020F0502020204030204" pitchFamily="34" charset="0"/>
      <p:regular r:id="rId68"/>
      <p:bold r:id="rId69"/>
      <p:italic r:id="rId70"/>
      <p:boldItalic r:id="rId71"/>
    </p:embeddedFont>
    <p:embeddedFont>
      <p:font typeface="Fira Sans Condensed Medium" panose="020B0603050000020004" pitchFamily="34" charset="0"/>
      <p:regular r:id="rId72"/>
      <p:bold r:id="rId73"/>
      <p:italic r:id="rId74"/>
      <p:boldItalic r:id="rId75"/>
    </p:embeddedFont>
    <p:embeddedFont>
      <p:font typeface="Fira Sans Extra Condensed Medium" panose="020B0604020202020204" charset="0"/>
      <p:regular r:id="rId76"/>
      <p:bold r:id="rId77"/>
      <p:italic r:id="rId78"/>
      <p:boldItalic r:id="rId79"/>
    </p:embeddedFont>
    <p:embeddedFont>
      <p:font typeface="Livvic Light" pitchFamily="2" charset="0"/>
      <p:regular r:id="rId80"/>
      <p:italic r:id="rId81"/>
    </p:embeddedFont>
    <p:embeddedFont>
      <p:font typeface="Maven Pro" panose="020B0604020202020204" charset="0"/>
      <p:regular r:id="rId82"/>
      <p:bold r:id="rId83"/>
    </p:embeddedFont>
    <p:embeddedFont>
      <p:font typeface="Maven Pro SemiBold" panose="020B0604020202020204" charset="0"/>
      <p:regular r:id="rId84"/>
      <p:bold r:id="rId85"/>
    </p:embeddedFont>
    <p:embeddedFont>
      <p:font typeface="Nunito Light" pitchFamily="2" charset="0"/>
      <p:regular r:id="rId86"/>
      <p:italic r:id="rId87"/>
    </p:embeddedFont>
    <p:embeddedFont>
      <p:font typeface="Proxima Nova" panose="020B0604020202020204" charset="0"/>
      <p:regular r:id="rId88"/>
      <p:bold r:id="rId89"/>
      <p:italic r:id="rId90"/>
      <p:boldItalic r:id="rId91"/>
    </p:embeddedFont>
    <p:embeddedFont>
      <p:font typeface="Proxima Nova Semibold" panose="020B0604020202020204" charset="0"/>
      <p:regular r:id="rId92"/>
      <p:bold r:id="rId93"/>
      <p:boldItalic r:id="rId94"/>
    </p:embeddedFont>
    <p:embeddedFont>
      <p:font typeface="Roboto" panose="02000000000000000000" pitchFamily="2" charset="0"/>
      <p:regular r:id="rId95"/>
      <p:bold r:id="rId96"/>
      <p:italic r:id="rId97"/>
      <p:boldItalic r:id="rId98"/>
    </p:embeddedFont>
    <p:embeddedFont>
      <p:font typeface="Roboto Medium" panose="02000000000000000000" pitchFamily="2" charset="0"/>
      <p:regular r:id="rId99"/>
      <p:bold r:id="rId100"/>
      <p:italic r:id="rId101"/>
      <p:boldItalic r:id="rId102"/>
    </p:embeddedFont>
    <p:embeddedFont>
      <p:font typeface="Share Tech" panose="020B0604020202020204" charset="0"/>
      <p:regular r:id="rId103"/>
    </p:embeddedFont>
  </p:embeddedFontLst>
  <p:custDataLst>
    <p:tags r:id="rId104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Standardabschnitt" id="{F6A91F38-76B5-4A2A-86BB-26D7551FAD3A}">
          <p14:sldIdLst>
            <p14:sldId id="256"/>
            <p14:sldId id="303"/>
            <p14:sldId id="305"/>
            <p14:sldId id="307"/>
            <p14:sldId id="308"/>
            <p14:sldId id="298"/>
            <p14:sldId id="310"/>
            <p14:sldId id="311"/>
            <p14:sldId id="309"/>
            <p14:sldId id="299"/>
            <p14:sldId id="300"/>
            <p14:sldId id="301"/>
            <p14:sldId id="302"/>
          </p14:sldIdLst>
        </p14:section>
        <p14:section name="Backup" id="{86263A84-ECB4-43C8-BE9E-24714A83158F}">
          <p14:sldIdLst>
            <p14:sldId id="306"/>
            <p14:sldId id="304"/>
            <p14:sldId id="257"/>
            <p14:sldId id="258"/>
            <p14:sldId id="260"/>
            <p14:sldId id="261"/>
            <p14:sldId id="262"/>
            <p14:sldId id="263"/>
            <p14:sldId id="264"/>
            <p14:sldId id="265"/>
            <p14:sldId id="266"/>
            <p14:sldId id="267"/>
            <p14:sldId id="268"/>
            <p14:sldId id="269"/>
            <p14:sldId id="270"/>
            <p14:sldId id="271"/>
            <p14:sldId id="272"/>
            <p14:sldId id="273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282"/>
            <p14:sldId id="283"/>
            <p14:sldId id="284"/>
            <p14:sldId id="285"/>
            <p14:sldId id="286"/>
            <p14:sldId id="287"/>
            <p14:sldId id="288"/>
            <p14:sldId id="289"/>
            <p14:sldId id="290"/>
            <p14:sldId id="291"/>
            <p14:sldId id="292"/>
            <p14:sldId id="293"/>
            <p14:sldId id="294"/>
            <p14:sldId id="29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471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73"/>
    <a:srgbClr val="A6CBC2"/>
    <a:srgbClr val="00CFCC"/>
    <a:srgbClr val="A9B4BB"/>
    <a:srgbClr val="5EFFFD"/>
    <a:srgbClr val="000000"/>
    <a:srgbClr val="E898AC"/>
    <a:srgbClr val="869FB1"/>
    <a:srgbClr val="002845"/>
    <a:srgbClr val="FFD6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723F757-1103-4035-A6BF-FC693B604208}">
  <a:tblStyle styleId="{E723F757-1103-4035-A6BF-FC693B604208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3792" autoAdjust="0"/>
  </p:normalViewPr>
  <p:slideViewPr>
    <p:cSldViewPr snapToGrid="0">
      <p:cViewPr varScale="1">
        <p:scale>
          <a:sx n="146" d="100"/>
          <a:sy n="146" d="100"/>
        </p:scale>
        <p:origin x="516" y="114"/>
      </p:cViewPr>
      <p:guideLst>
        <p:guide orient="horz" pos="1620"/>
        <p:guide pos="471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font" Target="fonts/font6.fntdata"/><Relationship Id="rId68" Type="http://schemas.openxmlformats.org/officeDocument/2006/relationships/font" Target="fonts/font11.fntdata"/><Relationship Id="rId84" Type="http://schemas.openxmlformats.org/officeDocument/2006/relationships/font" Target="fonts/font27.fntdata"/><Relationship Id="rId89" Type="http://schemas.openxmlformats.org/officeDocument/2006/relationships/font" Target="fonts/font32.fntdata"/><Relationship Id="rId7" Type="http://schemas.openxmlformats.org/officeDocument/2006/relationships/slide" Target="slides/slide4.xml"/><Relationship Id="rId71" Type="http://schemas.openxmlformats.org/officeDocument/2006/relationships/font" Target="fonts/font14.fntdata"/><Relationship Id="rId92" Type="http://schemas.openxmlformats.org/officeDocument/2006/relationships/font" Target="fonts/font35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07" Type="http://schemas.openxmlformats.org/officeDocument/2006/relationships/theme" Target="theme/theme1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font" Target="fonts/font1.fntdata"/><Relationship Id="rId66" Type="http://schemas.openxmlformats.org/officeDocument/2006/relationships/font" Target="fonts/font9.fntdata"/><Relationship Id="rId74" Type="http://schemas.openxmlformats.org/officeDocument/2006/relationships/font" Target="fonts/font17.fntdata"/><Relationship Id="rId79" Type="http://schemas.openxmlformats.org/officeDocument/2006/relationships/font" Target="fonts/font22.fntdata"/><Relationship Id="rId87" Type="http://schemas.openxmlformats.org/officeDocument/2006/relationships/font" Target="fonts/font30.fntdata"/><Relationship Id="rId102" Type="http://schemas.openxmlformats.org/officeDocument/2006/relationships/font" Target="fonts/font45.fntdata"/><Relationship Id="rId5" Type="http://schemas.openxmlformats.org/officeDocument/2006/relationships/slide" Target="slides/slide2.xml"/><Relationship Id="rId61" Type="http://schemas.openxmlformats.org/officeDocument/2006/relationships/font" Target="fonts/font4.fntdata"/><Relationship Id="rId82" Type="http://schemas.openxmlformats.org/officeDocument/2006/relationships/font" Target="fonts/font25.fntdata"/><Relationship Id="rId90" Type="http://schemas.openxmlformats.org/officeDocument/2006/relationships/font" Target="fonts/font33.fntdata"/><Relationship Id="rId95" Type="http://schemas.openxmlformats.org/officeDocument/2006/relationships/font" Target="fonts/font38.fntdata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font" Target="fonts/font7.fntdata"/><Relationship Id="rId69" Type="http://schemas.openxmlformats.org/officeDocument/2006/relationships/font" Target="fonts/font12.fntdata"/><Relationship Id="rId77" Type="http://schemas.openxmlformats.org/officeDocument/2006/relationships/font" Target="fonts/font20.fntdata"/><Relationship Id="rId100" Type="http://schemas.openxmlformats.org/officeDocument/2006/relationships/font" Target="fonts/font43.fntdata"/><Relationship Id="rId105" Type="http://schemas.openxmlformats.org/officeDocument/2006/relationships/presProps" Target="presProp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font" Target="fonts/font15.fntdata"/><Relationship Id="rId80" Type="http://schemas.openxmlformats.org/officeDocument/2006/relationships/font" Target="fonts/font23.fntdata"/><Relationship Id="rId85" Type="http://schemas.openxmlformats.org/officeDocument/2006/relationships/font" Target="fonts/font28.fntdata"/><Relationship Id="rId93" Type="http://schemas.openxmlformats.org/officeDocument/2006/relationships/font" Target="fonts/font36.fntdata"/><Relationship Id="rId98" Type="http://schemas.openxmlformats.org/officeDocument/2006/relationships/font" Target="fonts/font41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font" Target="fonts/font2.fntdata"/><Relationship Id="rId67" Type="http://schemas.openxmlformats.org/officeDocument/2006/relationships/font" Target="fonts/font10.fntdata"/><Relationship Id="rId103" Type="http://schemas.openxmlformats.org/officeDocument/2006/relationships/font" Target="fonts/font46.fntdata"/><Relationship Id="rId108" Type="http://schemas.openxmlformats.org/officeDocument/2006/relationships/tableStyles" Target="tableStyles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font" Target="fonts/font5.fntdata"/><Relationship Id="rId70" Type="http://schemas.openxmlformats.org/officeDocument/2006/relationships/font" Target="fonts/font13.fntdata"/><Relationship Id="rId75" Type="http://schemas.openxmlformats.org/officeDocument/2006/relationships/font" Target="fonts/font18.fntdata"/><Relationship Id="rId83" Type="http://schemas.openxmlformats.org/officeDocument/2006/relationships/font" Target="fonts/font26.fntdata"/><Relationship Id="rId88" Type="http://schemas.openxmlformats.org/officeDocument/2006/relationships/font" Target="fonts/font31.fntdata"/><Relationship Id="rId91" Type="http://schemas.openxmlformats.org/officeDocument/2006/relationships/font" Target="fonts/font34.fntdata"/><Relationship Id="rId96" Type="http://schemas.openxmlformats.org/officeDocument/2006/relationships/font" Target="fonts/font3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notesMaster" Target="notesMasters/notesMaster1.xml"/><Relationship Id="rId106" Type="http://schemas.openxmlformats.org/officeDocument/2006/relationships/viewProps" Target="viewProps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font" Target="fonts/font3.fntdata"/><Relationship Id="rId65" Type="http://schemas.openxmlformats.org/officeDocument/2006/relationships/font" Target="fonts/font8.fntdata"/><Relationship Id="rId73" Type="http://schemas.openxmlformats.org/officeDocument/2006/relationships/font" Target="fonts/font16.fntdata"/><Relationship Id="rId78" Type="http://schemas.openxmlformats.org/officeDocument/2006/relationships/font" Target="fonts/font21.fntdata"/><Relationship Id="rId81" Type="http://schemas.openxmlformats.org/officeDocument/2006/relationships/font" Target="fonts/font24.fntdata"/><Relationship Id="rId86" Type="http://schemas.openxmlformats.org/officeDocument/2006/relationships/font" Target="fonts/font29.fntdata"/><Relationship Id="rId94" Type="http://schemas.openxmlformats.org/officeDocument/2006/relationships/font" Target="fonts/font37.fntdata"/><Relationship Id="rId99" Type="http://schemas.openxmlformats.org/officeDocument/2006/relationships/font" Target="fonts/font42.fntdata"/><Relationship Id="rId101" Type="http://schemas.openxmlformats.org/officeDocument/2006/relationships/font" Target="fonts/font44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6" Type="http://schemas.openxmlformats.org/officeDocument/2006/relationships/font" Target="fonts/font19.fntdata"/><Relationship Id="rId97" Type="http://schemas.openxmlformats.org/officeDocument/2006/relationships/font" Target="fonts/font40.fntdata"/><Relationship Id="rId10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" name="Google Shape;431;g6c52a2e8d8_0_1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32" name="Google Shape;432;g6c52a2e8d8_0_1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8" name="Google Shape;568;g6c4305b01e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9" name="Google Shape;569;g6c4305b01e_0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g6c4305b01e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8" name="Google Shape;598;g6c4305b01e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4" name="Google Shape;684;g6c60e245bf_1_313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5" name="Google Shape;685;g6c60e245bf_1_313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5" name="Google Shape;695;g6c4305b01e_0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6" name="Google Shape;696;g6c4305b01e_0_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" name="Google Shape;710;g6c4305b01e_0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11" name="Google Shape;711;g6c4305b01e_0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" name="Google Shape;1006;g6c4305b01e_0_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7" name="Google Shape;1007;g6c4305b01e_0_3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" name="Google Shape;1065;g6c60e245bf_1_313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6" name="Google Shape;1066;g6c60e245bf_1_313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g70d13569c7_2_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77" name="Google Shape;1077;g70d13569c7_2_5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1" name="Google Shape;1081;g6c4305b01e_0_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82" name="Google Shape;1082;g6c4305b01e_0_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7172851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5" name="Google Shape;1115;g6c52a2e8d8_0_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16" name="Google Shape;1116;g6c52a2e8d8_0_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0" name="Google Shape;1130;g72c4329eae_4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1" name="Google Shape;1131;g72c4329eae_4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" name="Google Shape;1136;g6c52a2e8d8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7" name="Google Shape;1137;g6c52a2e8d8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1" name="Google Shape;1161;g6c52a2e8d8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62" name="Google Shape;1162;g6c52a2e8d8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0" name="Google Shape;1230;g70e1a7781e_1_4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1" name="Google Shape;1231;g70e1a7781e_1_4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7" name="Google Shape;1237;g6c52a2e8d8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8" name="Google Shape;1238;g6c52a2e8d8_0_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1" name="Google Shape;1251;g6c52a2e8d8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52" name="Google Shape;1252;g6c52a2e8d8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5" name="Google Shape;1325;g6c60e245bf_1_3139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26" name="Google Shape;1326;g6c60e245bf_1_3139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8" name="Google Shape;1358;g6c52a2e8d8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59" name="Google Shape;1359;g6c52a2e8d8_0_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4" name="Google Shape;1384;g6c60e245bf_1_315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5" name="Google Shape;1385;g6c60e245bf_1_315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7818636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3" name="Google Shape;1583;g6c60e245bf_1_315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84" name="Google Shape;1584;g6c60e245bf_1_3158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0" name="Google Shape;1590;g70e1a7781e_1_129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1" name="Google Shape;1591;g70e1a7781e_1_129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" name="Google Shape;1597;g70e1a7781e_1_129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8" name="Google Shape;1598;g70e1a7781e_1_129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3" name="Google Shape;1613;g70e1a7781e_1_130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14" name="Google Shape;1614;g70e1a7781e_1_130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0" name="Google Shape;1950;g70e1a7781e_1_133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1" name="Google Shape;1951;g70e1a7781e_1_133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0" name="Google Shape;8450;g70e1a7781e_1_198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451" name="Google Shape;8451;g70e1a7781e_1_1984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77" name="Google Shape;8877;g70e1a7781e_1_202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78" name="Google Shape;8878;g70e1a7781e_1_202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40" name="Google Shape;9040;g70e1a7781e_1_204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041" name="Google Shape;9041;g70e1a7781e_1_204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42" name="Google Shape;9442;g70e1a7781e_1_208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443" name="Google Shape;9443;g70e1a7781e_1_208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3" name="Google Shape;9813;g70e1a7781e_1_21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14" name="Google Shape;9814;g70e1a7781e_1_212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6197238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0" name="Google Shape;10190;g70e1a7781e_1_215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191" name="Google Shape;10191;g70e1a7781e_1_215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1" name="Google Shape;10621;g70e1a7781e_1_220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22" name="Google Shape;10622;g70e1a7781e_1_220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4" name="Google Shape;11414;g70e1a7781e_1_2279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415" name="Google Shape;11415;g70e1a7781e_1_2279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55" name="Google Shape;12155;g70e1a7781e_1_235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156" name="Google Shape;12156;g70e1a7781e_1_2353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8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48" name="Google Shape;12848;g70e1a7781e_1_242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849" name="Google Shape;12849;g70e1a7781e_1_242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0" name="Google Shape;13150;g70e1a7781e_1_245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151" name="Google Shape;13151;g70e1a7781e_1_245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 marL="457200" marR="0" lvl="0" indent="-298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437459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e Market Basket Analysis (auch bekannt als Affinity Analysis oder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sociation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ule Learning) nutzt statistische Methoden, um Beziehungen zwischen Produkten in Einkaufsdaten zu identifizieren. Hier sind einige der häufigsten Methode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riori Algorithmus: Dies ist ein häufig verwendeter Algorithmus für die Market Basket Analysis, der Regeln generiert, die auf häufigen Kombinationen von Produkten bas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P-Growth Algorithmus: Eine schnellere Alternative zum Apriori-Algorithmus, die verwendet wird, um häufige Gegenstände und Regeln zu identifiz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ustering: Verwendet Clustering-Methoden wie k-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ans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der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erarchic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lustering, um Kunden oder Produkte in Gruppen zu unterteilen, die ähnliche Einkaufsgewohnheiten aufweis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r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tworks: Verwendet künstliche neuronale Netze, um Muster in den Einkaufsdaten zu erkennen und Regeln zu gener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lche Methode eignet sich am besten? Was sind die Vor- und Nachteile der Methoden?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 gibt keine allgemein anerkannte "beste" Methode für die Market Basket Analysis, da die Wahl der Methode von den spezifischen Anforderungen und Eigenschaften des Datensatzes abhängt. Hier sind einige Vor- und Nachteile der häufigsten Methode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riori Algorithmu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Einfach zu implementieren und interpretieren, eignet sich gut für große Datensätze mit vielen Transaktion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langsam sein, wenn die Anzahl der Regeln sehr groß ist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P-Growth Algorithmu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Schnellere Leistung als der Apriori-Algorithmus, eignet sich gut für große Datensätze mit vielen Transaktion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der Apriori-Algorithmu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ustering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Eignet sich gut für die Segmentierung von Kunden oder Produkten, kann auch visuelle Darstellungen liefer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Erfordert die Auswahl einer bestimmten Anzahl von Clustern, kann schwieriger zu interpretieren sein als andere Method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r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twork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Kann Muster in komplexen Datensätzen erkennen, eignet sich gut für nicht-lineare Beziehungen zwischen Produkt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andere Methoden, benötigt möglicherweise eine große Menge an Trainingsdat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Kann einfach zu implementieren sein, eignet sich gut für Empfehlungssysteme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andere Methoden, erfordert möglicherweise eine große Anzahl von Benutzern mit ähnlichen Interessen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50693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7" name="Google Shape;1237;g6c52a2e8d8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8" name="Google Shape;1238;g6c52a2e8d8_0_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948833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g6c60e245bf_1_318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3" name="Google Shape;463;g6c60e245bf_1_3187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TyoMsr" TargetMode="External"/><Relationship Id="rId2" Type="http://schemas.openxmlformats.org/officeDocument/2006/relationships/hyperlink" Target="http://bit.ly/2Tynxth" TargetMode="External"/><Relationship Id="rId1" Type="http://schemas.openxmlformats.org/officeDocument/2006/relationships/slideMaster" Target="../slideMasters/slideMaster1.xml"/><Relationship Id="rId4" Type="http://schemas.openxmlformats.org/officeDocument/2006/relationships/hyperlink" Target="http://bit.ly/2TtBDfr" TargetMode="Externa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5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4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1561650" y="751888"/>
            <a:ext cx="60207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>
                <a:solidFill>
                  <a:schemeClr val="lt1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2924250" y="2804488"/>
            <a:ext cx="32955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>
            <a:off x="1060456" y="1158638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Google Shape;12;p2"/>
          <p:cNvSpPr/>
          <p:nvPr/>
        </p:nvSpPr>
        <p:spPr>
          <a:xfrm>
            <a:off x="779974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" name="Google Shape;13;p2"/>
          <p:cNvSpPr/>
          <p:nvPr/>
        </p:nvSpPr>
        <p:spPr>
          <a:xfrm>
            <a:off x="5257933" y="2452405"/>
            <a:ext cx="57599" cy="57599"/>
          </a:xfrm>
          <a:custGeom>
            <a:avLst/>
            <a:gdLst/>
            <a:ahLst/>
            <a:cxnLst/>
            <a:rect l="l" t="t" r="r" b="b"/>
            <a:pathLst>
              <a:path w="2198" h="2198" fill="none" extrusionOk="0">
                <a:moveTo>
                  <a:pt x="1" y="1"/>
                </a:moveTo>
                <a:lnTo>
                  <a:pt x="2198" y="1"/>
                </a:lnTo>
                <a:lnTo>
                  <a:pt x="2198" y="2198"/>
                </a:lnTo>
                <a:lnTo>
                  <a:pt x="1" y="2198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" name="Google Shape;14;p2"/>
          <p:cNvSpPr/>
          <p:nvPr/>
        </p:nvSpPr>
        <p:spPr>
          <a:xfrm>
            <a:off x="8710023" y="4821495"/>
            <a:ext cx="98059" cy="98295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" name="Google Shape;15;p2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" name="Google Shape;16;p2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" name="Google Shape;17;p2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18" name="Google Shape;18;p2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9;p2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20;p2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1" name="Google Shape;21;p2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2" name="Google Shape;22;p2"/>
          <p:cNvGrpSpPr/>
          <p:nvPr/>
        </p:nvGrpSpPr>
        <p:grpSpPr>
          <a:xfrm>
            <a:off x="3090746" y="-533657"/>
            <a:ext cx="98059" cy="1147596"/>
            <a:chOff x="3347921" y="16006"/>
            <a:chExt cx="98059" cy="1147596"/>
          </a:xfrm>
        </p:grpSpPr>
        <p:sp>
          <p:nvSpPr>
            <p:cNvPr id="23" name="Google Shape;23;p2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2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5" name="Google Shape;25;p2"/>
          <p:cNvGrpSpPr/>
          <p:nvPr/>
        </p:nvGrpSpPr>
        <p:grpSpPr>
          <a:xfrm>
            <a:off x="4892771" y="-340112"/>
            <a:ext cx="121172" cy="760495"/>
            <a:chOff x="5245196" y="3136513"/>
            <a:chExt cx="121172" cy="760495"/>
          </a:xfrm>
        </p:grpSpPr>
        <p:sp>
          <p:nvSpPr>
            <p:cNvPr id="26" name="Google Shape;26;p2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2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8" name="Google Shape;28;p2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29" name="Google Shape;29;p2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30;p2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31;p2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32;p2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3" name="Google Shape;33;p2"/>
          <p:cNvSpPr/>
          <p:nvPr/>
        </p:nvSpPr>
        <p:spPr>
          <a:xfrm>
            <a:off x="8935726" y="10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" name="Google Shape;34;p2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5" name="Google Shape;35;p2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36" name="Google Shape;36;p2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37;p2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"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11"/>
          <p:cNvSpPr txBox="1">
            <a:spLocks noGrp="1"/>
          </p:cNvSpPr>
          <p:nvPr>
            <p:ph type="ctrTitle"/>
          </p:nvPr>
        </p:nvSpPr>
        <p:spPr>
          <a:xfrm>
            <a:off x="3068675" y="3075325"/>
            <a:ext cx="3055800" cy="54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77" name="Google Shape;177;p11"/>
          <p:cNvSpPr txBox="1">
            <a:spLocks noGrp="1"/>
          </p:cNvSpPr>
          <p:nvPr>
            <p:ph type="subTitle" idx="1"/>
          </p:nvPr>
        </p:nvSpPr>
        <p:spPr>
          <a:xfrm>
            <a:off x="2333000" y="1799075"/>
            <a:ext cx="4478100" cy="79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78" name="Google Shape;178;p11"/>
          <p:cNvSpPr/>
          <p:nvPr/>
        </p:nvSpPr>
        <p:spPr>
          <a:xfrm>
            <a:off x="1621169" y="2890613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9" name="Google Shape;179;p11"/>
          <p:cNvSpPr/>
          <p:nvPr/>
        </p:nvSpPr>
        <p:spPr>
          <a:xfrm>
            <a:off x="1238740" y="2106884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0" name="Google Shape;180;p11"/>
          <p:cNvSpPr/>
          <p:nvPr/>
        </p:nvSpPr>
        <p:spPr>
          <a:xfrm>
            <a:off x="8710023" y="4821495"/>
            <a:ext cx="98059" cy="98295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" name="Google Shape;181;p11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2" name="Google Shape;182;p11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3" name="Google Shape;183;p11"/>
          <p:cNvGrpSpPr/>
          <p:nvPr/>
        </p:nvGrpSpPr>
        <p:grpSpPr>
          <a:xfrm>
            <a:off x="8217007" y="3576772"/>
            <a:ext cx="188886" cy="1181531"/>
            <a:chOff x="2877432" y="975334"/>
            <a:chExt cx="188886" cy="1181531"/>
          </a:xfrm>
        </p:grpSpPr>
        <p:sp>
          <p:nvSpPr>
            <p:cNvPr id="184" name="Google Shape;184;p11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" name="Google Shape;185;p11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" name="Google Shape;186;p11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7" name="Google Shape;187;p11"/>
          <p:cNvSpPr/>
          <p:nvPr/>
        </p:nvSpPr>
        <p:spPr>
          <a:xfrm>
            <a:off x="8718796" y="116488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8" name="Google Shape;188;p11"/>
          <p:cNvGrpSpPr/>
          <p:nvPr/>
        </p:nvGrpSpPr>
        <p:grpSpPr>
          <a:xfrm>
            <a:off x="7519346" y="3243318"/>
            <a:ext cx="98059" cy="1147596"/>
            <a:chOff x="3347921" y="16006"/>
            <a:chExt cx="98059" cy="1147596"/>
          </a:xfrm>
        </p:grpSpPr>
        <p:sp>
          <p:nvSpPr>
            <p:cNvPr id="189" name="Google Shape;189;p11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" name="Google Shape;190;p11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1" name="Google Shape;191;p11"/>
          <p:cNvGrpSpPr/>
          <p:nvPr/>
        </p:nvGrpSpPr>
        <p:grpSpPr>
          <a:xfrm>
            <a:off x="805821" y="2953663"/>
            <a:ext cx="121172" cy="760495"/>
            <a:chOff x="5245196" y="3136513"/>
            <a:chExt cx="121172" cy="760495"/>
          </a:xfrm>
        </p:grpSpPr>
        <p:sp>
          <p:nvSpPr>
            <p:cNvPr id="192" name="Google Shape;192;p11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" name="Google Shape;193;p11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4" name="Google Shape;194;p11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195" name="Google Shape;195;p11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" name="Google Shape;196;p11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" name="Google Shape;197;p11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" name="Google Shape;198;p11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9" name="Google Shape;199;p11"/>
          <p:cNvSpPr/>
          <p:nvPr/>
        </p:nvSpPr>
        <p:spPr>
          <a:xfrm>
            <a:off x="8307214" y="-383977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0" name="Google Shape;200;p11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01" name="Google Shape;201;p11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202" name="Google Shape;202;p11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" name="Google Shape;203;p11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4" name="Google Shape;204;p11"/>
          <p:cNvSpPr/>
          <p:nvPr/>
        </p:nvSpPr>
        <p:spPr>
          <a:xfrm>
            <a:off x="7582340" y="1834534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05" name="Google Shape;205;p11"/>
          <p:cNvGrpSpPr/>
          <p:nvPr/>
        </p:nvGrpSpPr>
        <p:grpSpPr>
          <a:xfrm>
            <a:off x="4920170" y="-496491"/>
            <a:ext cx="188886" cy="1181531"/>
            <a:chOff x="2877432" y="975334"/>
            <a:chExt cx="188886" cy="1181531"/>
          </a:xfrm>
        </p:grpSpPr>
        <p:sp>
          <p:nvSpPr>
            <p:cNvPr id="206" name="Google Shape;206;p11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" name="Google Shape;207;p11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" name="Google Shape;208;p11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9" name="Google Shape;209;p11"/>
          <p:cNvSpPr/>
          <p:nvPr/>
        </p:nvSpPr>
        <p:spPr>
          <a:xfrm>
            <a:off x="7084804" y="549572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10" name="Google Shape;210;p11"/>
          <p:cNvGrpSpPr/>
          <p:nvPr/>
        </p:nvGrpSpPr>
        <p:grpSpPr>
          <a:xfrm>
            <a:off x="3030471" y="-223849"/>
            <a:ext cx="121172" cy="760495"/>
            <a:chOff x="5245196" y="3136513"/>
            <a:chExt cx="121172" cy="760495"/>
          </a:xfrm>
        </p:grpSpPr>
        <p:sp>
          <p:nvSpPr>
            <p:cNvPr id="211" name="Google Shape;211;p11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" name="Google Shape;212;p11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13" name="Google Shape;213;p11"/>
          <p:cNvGrpSpPr/>
          <p:nvPr/>
        </p:nvGrpSpPr>
        <p:grpSpPr>
          <a:xfrm>
            <a:off x="2306292" y="2569221"/>
            <a:ext cx="199237" cy="2828935"/>
            <a:chOff x="1608717" y="1280046"/>
            <a:chExt cx="199237" cy="2828935"/>
          </a:xfrm>
        </p:grpSpPr>
        <p:sp>
          <p:nvSpPr>
            <p:cNvPr id="214" name="Google Shape;214;p11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" name="Google Shape;215;p11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" name="Google Shape;216;p11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12"/>
          <p:cNvSpPr txBox="1">
            <a:spLocks noGrp="1"/>
          </p:cNvSpPr>
          <p:nvPr>
            <p:ph type="title" hasCustomPrompt="1"/>
          </p:nvPr>
        </p:nvSpPr>
        <p:spPr>
          <a:xfrm>
            <a:off x="1733725" y="856650"/>
            <a:ext cx="5676600" cy="1230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8000">
                <a:solidFill>
                  <a:schemeClr val="accent2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219" name="Google Shape;219;p12"/>
          <p:cNvSpPr txBox="1">
            <a:spLocks noGrp="1"/>
          </p:cNvSpPr>
          <p:nvPr>
            <p:ph type="body" idx="1"/>
          </p:nvPr>
        </p:nvSpPr>
        <p:spPr>
          <a:xfrm>
            <a:off x="3208075" y="2086950"/>
            <a:ext cx="2727900" cy="7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grpSp>
        <p:nvGrpSpPr>
          <p:cNvPr id="220" name="Google Shape;220;p12"/>
          <p:cNvGrpSpPr/>
          <p:nvPr/>
        </p:nvGrpSpPr>
        <p:grpSpPr>
          <a:xfrm>
            <a:off x="722446" y="3412541"/>
            <a:ext cx="7699120" cy="1883463"/>
            <a:chOff x="4558950" y="838825"/>
            <a:chExt cx="2813800" cy="688350"/>
          </a:xfrm>
        </p:grpSpPr>
        <p:sp>
          <p:nvSpPr>
            <p:cNvPr id="221" name="Google Shape;221;p12"/>
            <p:cNvSpPr/>
            <p:nvPr/>
          </p:nvSpPr>
          <p:spPr>
            <a:xfrm>
              <a:off x="6067275" y="838825"/>
              <a:ext cx="46025" cy="39525"/>
            </a:xfrm>
            <a:custGeom>
              <a:avLst/>
              <a:gdLst/>
              <a:ahLst/>
              <a:cxnLst/>
              <a:rect l="l" t="t" r="r" b="b"/>
              <a:pathLst>
                <a:path w="1841" h="1581" extrusionOk="0">
                  <a:moveTo>
                    <a:pt x="1059" y="0"/>
                  </a:moveTo>
                  <a:cubicBezTo>
                    <a:pt x="353" y="0"/>
                    <a:pt x="1" y="857"/>
                    <a:pt x="492" y="1348"/>
                  </a:cubicBezTo>
                  <a:cubicBezTo>
                    <a:pt x="656" y="1508"/>
                    <a:pt x="856" y="1580"/>
                    <a:pt x="1051" y="1580"/>
                  </a:cubicBezTo>
                  <a:cubicBezTo>
                    <a:pt x="1456" y="1580"/>
                    <a:pt x="1840" y="1270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" name="Google Shape;222;p12"/>
            <p:cNvSpPr/>
            <p:nvPr/>
          </p:nvSpPr>
          <p:spPr>
            <a:xfrm>
              <a:off x="4703850" y="911275"/>
              <a:ext cx="2580700" cy="613375"/>
            </a:xfrm>
            <a:custGeom>
              <a:avLst/>
              <a:gdLst/>
              <a:ahLst/>
              <a:cxnLst/>
              <a:rect l="l" t="t" r="r" b="b"/>
              <a:pathLst>
                <a:path w="103228" h="24535" extrusionOk="0">
                  <a:moveTo>
                    <a:pt x="47431" y="0"/>
                  </a:moveTo>
                  <a:lnTo>
                    <a:pt x="34779" y="13685"/>
                  </a:lnTo>
                  <a:lnTo>
                    <a:pt x="20906" y="18309"/>
                  </a:lnTo>
                  <a:lnTo>
                    <a:pt x="15412" y="16898"/>
                  </a:lnTo>
                  <a:lnTo>
                    <a:pt x="9061" y="9892"/>
                  </a:lnTo>
                  <a:lnTo>
                    <a:pt x="1" y="24459"/>
                  </a:lnTo>
                  <a:lnTo>
                    <a:pt x="127" y="24534"/>
                  </a:lnTo>
                  <a:lnTo>
                    <a:pt x="9086" y="10131"/>
                  </a:lnTo>
                  <a:lnTo>
                    <a:pt x="15336" y="17024"/>
                  </a:lnTo>
                  <a:lnTo>
                    <a:pt x="20893" y="18448"/>
                  </a:lnTo>
                  <a:lnTo>
                    <a:pt x="20918" y="18461"/>
                  </a:lnTo>
                  <a:lnTo>
                    <a:pt x="34855" y="13811"/>
                  </a:lnTo>
                  <a:lnTo>
                    <a:pt x="47431" y="215"/>
                  </a:lnTo>
                  <a:lnTo>
                    <a:pt x="59099" y="12778"/>
                  </a:lnTo>
                  <a:lnTo>
                    <a:pt x="67479" y="19620"/>
                  </a:lnTo>
                  <a:lnTo>
                    <a:pt x="76513" y="18196"/>
                  </a:lnTo>
                  <a:lnTo>
                    <a:pt x="82209" y="19885"/>
                  </a:lnTo>
                  <a:lnTo>
                    <a:pt x="88661" y="9035"/>
                  </a:lnTo>
                  <a:lnTo>
                    <a:pt x="95138" y="5860"/>
                  </a:lnTo>
                  <a:lnTo>
                    <a:pt x="103101" y="24496"/>
                  </a:lnTo>
                  <a:lnTo>
                    <a:pt x="103227" y="24433"/>
                  </a:lnTo>
                  <a:lnTo>
                    <a:pt x="95213" y="5671"/>
                  </a:lnTo>
                  <a:lnTo>
                    <a:pt x="88585" y="8922"/>
                  </a:lnTo>
                  <a:lnTo>
                    <a:pt x="88560" y="8934"/>
                  </a:lnTo>
                  <a:lnTo>
                    <a:pt x="82146" y="19708"/>
                  </a:lnTo>
                  <a:lnTo>
                    <a:pt x="76539" y="18057"/>
                  </a:lnTo>
                  <a:lnTo>
                    <a:pt x="76513" y="18045"/>
                  </a:lnTo>
                  <a:lnTo>
                    <a:pt x="67529" y="19469"/>
                  </a:lnTo>
                  <a:lnTo>
                    <a:pt x="59187" y="12664"/>
                  </a:lnTo>
                  <a:lnTo>
                    <a:pt x="47431" y="0"/>
                  </a:ln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" name="Google Shape;223;p12"/>
            <p:cNvSpPr/>
            <p:nvPr/>
          </p:nvSpPr>
          <p:spPr>
            <a:xfrm>
              <a:off x="4704175" y="930800"/>
              <a:ext cx="2582575" cy="595725"/>
            </a:xfrm>
            <a:custGeom>
              <a:avLst/>
              <a:gdLst/>
              <a:ahLst/>
              <a:cxnLst/>
              <a:rect l="l" t="t" r="r" b="b"/>
              <a:pathLst>
                <a:path w="103303" h="23829" extrusionOk="0">
                  <a:moveTo>
                    <a:pt x="67125" y="1"/>
                  </a:moveTo>
                  <a:lnTo>
                    <a:pt x="58065" y="5948"/>
                  </a:lnTo>
                  <a:lnTo>
                    <a:pt x="47115" y="9817"/>
                  </a:lnTo>
                  <a:lnTo>
                    <a:pt x="41747" y="17995"/>
                  </a:lnTo>
                  <a:lnTo>
                    <a:pt x="26941" y="870"/>
                  </a:lnTo>
                  <a:lnTo>
                    <a:pt x="19822" y="13421"/>
                  </a:lnTo>
                  <a:lnTo>
                    <a:pt x="8758" y="16054"/>
                  </a:lnTo>
                  <a:lnTo>
                    <a:pt x="8733" y="16054"/>
                  </a:lnTo>
                  <a:lnTo>
                    <a:pt x="1" y="23665"/>
                  </a:lnTo>
                  <a:lnTo>
                    <a:pt x="101" y="23766"/>
                  </a:lnTo>
                  <a:lnTo>
                    <a:pt x="8809" y="16180"/>
                  </a:lnTo>
                  <a:lnTo>
                    <a:pt x="19885" y="13547"/>
                  </a:lnTo>
                  <a:lnTo>
                    <a:pt x="19910" y="13547"/>
                  </a:lnTo>
                  <a:lnTo>
                    <a:pt x="26966" y="1122"/>
                  </a:lnTo>
                  <a:lnTo>
                    <a:pt x="41697" y="18158"/>
                  </a:lnTo>
                  <a:lnTo>
                    <a:pt x="41760" y="18234"/>
                  </a:lnTo>
                  <a:lnTo>
                    <a:pt x="47203" y="9930"/>
                  </a:lnTo>
                  <a:lnTo>
                    <a:pt x="58116" y="6087"/>
                  </a:lnTo>
                  <a:lnTo>
                    <a:pt x="67088" y="190"/>
                  </a:lnTo>
                  <a:lnTo>
                    <a:pt x="73224" y="8884"/>
                  </a:lnTo>
                  <a:lnTo>
                    <a:pt x="73262" y="8935"/>
                  </a:lnTo>
                  <a:lnTo>
                    <a:pt x="81125" y="5583"/>
                  </a:lnTo>
                  <a:lnTo>
                    <a:pt x="94091" y="13408"/>
                  </a:lnTo>
                  <a:lnTo>
                    <a:pt x="103189" y="23829"/>
                  </a:lnTo>
                  <a:lnTo>
                    <a:pt x="103303" y="23728"/>
                  </a:lnTo>
                  <a:lnTo>
                    <a:pt x="94192" y="13307"/>
                  </a:lnTo>
                  <a:lnTo>
                    <a:pt x="81138" y="5419"/>
                  </a:lnTo>
                  <a:lnTo>
                    <a:pt x="73312" y="8758"/>
                  </a:lnTo>
                  <a:lnTo>
                    <a:pt x="67125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" name="Google Shape;224;p12"/>
            <p:cNvSpPr/>
            <p:nvPr/>
          </p:nvSpPr>
          <p:spPr>
            <a:xfrm>
              <a:off x="4904225" y="114595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504" y="1337"/>
                  </a:cubicBezTo>
                  <a:cubicBezTo>
                    <a:pt x="664" y="1501"/>
                    <a:pt x="861" y="1574"/>
                    <a:pt x="1054" y="1574"/>
                  </a:cubicBezTo>
                  <a:cubicBezTo>
                    <a:pt x="1455" y="1574"/>
                    <a:pt x="1840" y="1258"/>
                    <a:pt x="1840" y="782"/>
                  </a:cubicBezTo>
                  <a:cubicBezTo>
                    <a:pt x="1840" y="354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" name="Google Shape;225;p12"/>
            <p:cNvSpPr/>
            <p:nvPr/>
          </p:nvSpPr>
          <p:spPr>
            <a:xfrm>
              <a:off x="5062350" y="1316075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0"/>
                  </a:moveTo>
                  <a:cubicBezTo>
                    <a:pt x="354" y="0"/>
                    <a:pt x="1" y="845"/>
                    <a:pt x="492" y="1336"/>
                  </a:cubicBezTo>
                  <a:cubicBezTo>
                    <a:pt x="656" y="1500"/>
                    <a:pt x="856" y="1573"/>
                    <a:pt x="1051" y="1573"/>
                  </a:cubicBezTo>
                  <a:cubicBezTo>
                    <a:pt x="1456" y="1573"/>
                    <a:pt x="1841" y="1258"/>
                    <a:pt x="1841" y="782"/>
                  </a:cubicBezTo>
                  <a:cubicBezTo>
                    <a:pt x="1841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" name="Google Shape;226;p12"/>
            <p:cNvSpPr/>
            <p:nvPr/>
          </p:nvSpPr>
          <p:spPr>
            <a:xfrm>
              <a:off x="5209475" y="1350400"/>
              <a:ext cx="39725" cy="39725"/>
            </a:xfrm>
            <a:custGeom>
              <a:avLst/>
              <a:gdLst/>
              <a:ahLst/>
              <a:cxnLst/>
              <a:rect l="l" t="t" r="r" b="b"/>
              <a:pathLst>
                <a:path w="1589" h="1589" extrusionOk="0">
                  <a:moveTo>
                    <a:pt x="794" y="1"/>
                  </a:moveTo>
                  <a:cubicBezTo>
                    <a:pt x="353" y="1"/>
                    <a:pt x="0" y="354"/>
                    <a:pt x="0" y="795"/>
                  </a:cubicBezTo>
                  <a:cubicBezTo>
                    <a:pt x="0" y="1223"/>
                    <a:pt x="353" y="1589"/>
                    <a:pt x="794" y="1589"/>
                  </a:cubicBezTo>
                  <a:cubicBezTo>
                    <a:pt x="1235" y="1589"/>
                    <a:pt x="1588" y="1223"/>
                    <a:pt x="1588" y="795"/>
                  </a:cubicBezTo>
                  <a:cubicBezTo>
                    <a:pt x="1588" y="354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" name="Google Shape;227;p12"/>
            <p:cNvSpPr/>
            <p:nvPr/>
          </p:nvSpPr>
          <p:spPr>
            <a:xfrm>
              <a:off x="5173875" y="12489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3" y="0"/>
                    <a:pt x="0" y="845"/>
                    <a:pt x="505" y="1349"/>
                  </a:cubicBezTo>
                  <a:cubicBezTo>
                    <a:pt x="663" y="1507"/>
                    <a:pt x="858" y="1578"/>
                    <a:pt x="1049" y="1578"/>
                  </a:cubicBezTo>
                  <a:cubicBezTo>
                    <a:pt x="1452" y="1578"/>
                    <a:pt x="1840" y="1264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" name="Google Shape;228;p12"/>
            <p:cNvSpPr/>
            <p:nvPr/>
          </p:nvSpPr>
          <p:spPr>
            <a:xfrm>
              <a:off x="5352500" y="938375"/>
              <a:ext cx="46000" cy="39500"/>
            </a:xfrm>
            <a:custGeom>
              <a:avLst/>
              <a:gdLst/>
              <a:ahLst/>
              <a:cxnLst/>
              <a:rect l="l" t="t" r="r" b="b"/>
              <a:pathLst>
                <a:path w="1840" h="1580" extrusionOk="0">
                  <a:moveTo>
                    <a:pt x="1059" y="0"/>
                  </a:moveTo>
                  <a:cubicBezTo>
                    <a:pt x="353" y="0"/>
                    <a:pt x="0" y="857"/>
                    <a:pt x="504" y="1348"/>
                  </a:cubicBezTo>
                  <a:cubicBezTo>
                    <a:pt x="664" y="1508"/>
                    <a:pt x="861" y="1580"/>
                    <a:pt x="1054" y="1580"/>
                  </a:cubicBezTo>
                  <a:cubicBezTo>
                    <a:pt x="1455" y="1580"/>
                    <a:pt x="1840" y="1270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" name="Google Shape;229;p12"/>
            <p:cNvSpPr/>
            <p:nvPr/>
          </p:nvSpPr>
          <p:spPr>
            <a:xfrm>
              <a:off x="5722650" y="1358275"/>
              <a:ext cx="46000" cy="39525"/>
            </a:xfrm>
            <a:custGeom>
              <a:avLst/>
              <a:gdLst/>
              <a:ahLst/>
              <a:cxnLst/>
              <a:rect l="l" t="t" r="r" b="b"/>
              <a:pathLst>
                <a:path w="1840" h="1581" extrusionOk="0">
                  <a:moveTo>
                    <a:pt x="1046" y="1"/>
                  </a:moveTo>
                  <a:cubicBezTo>
                    <a:pt x="353" y="1"/>
                    <a:pt x="0" y="858"/>
                    <a:pt x="492" y="1349"/>
                  </a:cubicBezTo>
                  <a:cubicBezTo>
                    <a:pt x="655" y="1509"/>
                    <a:pt x="855" y="1581"/>
                    <a:pt x="1050" y="1581"/>
                  </a:cubicBezTo>
                  <a:cubicBezTo>
                    <a:pt x="1455" y="1581"/>
                    <a:pt x="1840" y="1271"/>
                    <a:pt x="1840" y="795"/>
                  </a:cubicBezTo>
                  <a:cubicBezTo>
                    <a:pt x="1840" y="354"/>
                    <a:pt x="1487" y="1"/>
                    <a:pt x="104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" name="Google Shape;230;p12"/>
            <p:cNvSpPr/>
            <p:nvPr/>
          </p:nvSpPr>
          <p:spPr>
            <a:xfrm>
              <a:off x="5859350" y="11573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1"/>
                  </a:moveTo>
                  <a:cubicBezTo>
                    <a:pt x="354" y="1"/>
                    <a:pt x="1" y="845"/>
                    <a:pt x="492" y="1349"/>
                  </a:cubicBezTo>
                  <a:cubicBezTo>
                    <a:pt x="655" y="1507"/>
                    <a:pt x="852" y="1578"/>
                    <a:pt x="1046" y="1578"/>
                  </a:cubicBezTo>
                  <a:cubicBezTo>
                    <a:pt x="1453" y="1578"/>
                    <a:pt x="1841" y="1264"/>
                    <a:pt x="1841" y="794"/>
                  </a:cubicBezTo>
                  <a:cubicBezTo>
                    <a:pt x="1841" y="353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" name="Google Shape;231;p12"/>
            <p:cNvSpPr/>
            <p:nvPr/>
          </p:nvSpPr>
          <p:spPr>
            <a:xfrm>
              <a:off x="6131225" y="106090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1"/>
                  </a:moveTo>
                  <a:cubicBezTo>
                    <a:pt x="353" y="1"/>
                    <a:pt x="1" y="845"/>
                    <a:pt x="492" y="1336"/>
                  </a:cubicBezTo>
                  <a:cubicBezTo>
                    <a:pt x="656" y="1500"/>
                    <a:pt x="856" y="1574"/>
                    <a:pt x="1051" y="1574"/>
                  </a:cubicBezTo>
                  <a:cubicBezTo>
                    <a:pt x="1456" y="1574"/>
                    <a:pt x="1840" y="1258"/>
                    <a:pt x="1840" y="782"/>
                  </a:cubicBezTo>
                  <a:cubicBezTo>
                    <a:pt x="1840" y="341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" name="Google Shape;232;p12"/>
            <p:cNvSpPr/>
            <p:nvPr/>
          </p:nvSpPr>
          <p:spPr>
            <a:xfrm>
              <a:off x="6358050" y="91442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0"/>
                  </a:moveTo>
                  <a:cubicBezTo>
                    <a:pt x="353" y="0"/>
                    <a:pt x="0" y="845"/>
                    <a:pt x="504" y="1336"/>
                  </a:cubicBezTo>
                  <a:cubicBezTo>
                    <a:pt x="664" y="1500"/>
                    <a:pt x="861" y="1573"/>
                    <a:pt x="1054" y="1573"/>
                  </a:cubicBezTo>
                  <a:cubicBezTo>
                    <a:pt x="1455" y="1573"/>
                    <a:pt x="1840" y="1258"/>
                    <a:pt x="1840" y="782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" name="Google Shape;233;p12"/>
            <p:cNvSpPr/>
            <p:nvPr/>
          </p:nvSpPr>
          <p:spPr>
            <a:xfrm>
              <a:off x="6510200" y="112832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6" y="0"/>
                  </a:moveTo>
                  <a:cubicBezTo>
                    <a:pt x="353" y="0"/>
                    <a:pt x="0" y="845"/>
                    <a:pt x="492" y="1349"/>
                  </a:cubicBezTo>
                  <a:cubicBezTo>
                    <a:pt x="650" y="1507"/>
                    <a:pt x="846" y="1578"/>
                    <a:pt x="1039" y="1578"/>
                  </a:cubicBezTo>
                  <a:cubicBezTo>
                    <a:pt x="1446" y="1578"/>
                    <a:pt x="1840" y="1264"/>
                    <a:pt x="1840" y="794"/>
                  </a:cubicBezTo>
                  <a:cubicBezTo>
                    <a:pt x="1840" y="353"/>
                    <a:pt x="1487" y="0"/>
                    <a:pt x="1046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" name="Google Shape;234;p12"/>
            <p:cNvSpPr/>
            <p:nvPr/>
          </p:nvSpPr>
          <p:spPr>
            <a:xfrm>
              <a:off x="6708025" y="1051150"/>
              <a:ext cx="46025" cy="39425"/>
            </a:xfrm>
            <a:custGeom>
              <a:avLst/>
              <a:gdLst/>
              <a:ahLst/>
              <a:cxnLst/>
              <a:rect l="l" t="t" r="r" b="b"/>
              <a:pathLst>
                <a:path w="1841" h="1577" extrusionOk="0">
                  <a:moveTo>
                    <a:pt x="1059" y="0"/>
                  </a:moveTo>
                  <a:cubicBezTo>
                    <a:pt x="354" y="0"/>
                    <a:pt x="1" y="844"/>
                    <a:pt x="492" y="1348"/>
                  </a:cubicBezTo>
                  <a:cubicBezTo>
                    <a:pt x="654" y="1506"/>
                    <a:pt x="851" y="1577"/>
                    <a:pt x="1044" y="1577"/>
                  </a:cubicBezTo>
                  <a:cubicBezTo>
                    <a:pt x="1451" y="1577"/>
                    <a:pt x="1840" y="1260"/>
                    <a:pt x="1840" y="781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" name="Google Shape;235;p12"/>
            <p:cNvSpPr/>
            <p:nvPr/>
          </p:nvSpPr>
          <p:spPr>
            <a:xfrm>
              <a:off x="7033125" y="12448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7" y="1"/>
                  </a:moveTo>
                  <a:cubicBezTo>
                    <a:pt x="341" y="1"/>
                    <a:pt x="1" y="858"/>
                    <a:pt x="492" y="1349"/>
                  </a:cubicBezTo>
                  <a:cubicBezTo>
                    <a:pt x="651" y="1507"/>
                    <a:pt x="847" y="1578"/>
                    <a:pt x="1040" y="1578"/>
                  </a:cubicBezTo>
                  <a:cubicBezTo>
                    <a:pt x="1447" y="1578"/>
                    <a:pt x="1841" y="1264"/>
                    <a:pt x="1841" y="795"/>
                  </a:cubicBezTo>
                  <a:cubicBezTo>
                    <a:pt x="1841" y="353"/>
                    <a:pt x="1488" y="1"/>
                    <a:pt x="104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" name="Google Shape;236;p12"/>
            <p:cNvSpPr/>
            <p:nvPr/>
          </p:nvSpPr>
          <p:spPr>
            <a:xfrm>
              <a:off x="4898850" y="131355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1"/>
                  </a:moveTo>
                  <a:cubicBezTo>
                    <a:pt x="354" y="1"/>
                    <a:pt x="1" y="845"/>
                    <a:pt x="492" y="1336"/>
                  </a:cubicBezTo>
                  <a:cubicBezTo>
                    <a:pt x="656" y="1500"/>
                    <a:pt x="856" y="1574"/>
                    <a:pt x="1051" y="1574"/>
                  </a:cubicBezTo>
                  <a:cubicBezTo>
                    <a:pt x="1456" y="1574"/>
                    <a:pt x="1841" y="1258"/>
                    <a:pt x="1841" y="782"/>
                  </a:cubicBezTo>
                  <a:cubicBezTo>
                    <a:pt x="1841" y="341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" name="Google Shape;237;p12"/>
            <p:cNvSpPr/>
            <p:nvPr/>
          </p:nvSpPr>
          <p:spPr>
            <a:xfrm>
              <a:off x="5551575" y="123480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0"/>
                  </a:moveTo>
                  <a:cubicBezTo>
                    <a:pt x="354" y="0"/>
                    <a:pt x="1" y="845"/>
                    <a:pt x="505" y="1336"/>
                  </a:cubicBezTo>
                  <a:cubicBezTo>
                    <a:pt x="665" y="1500"/>
                    <a:pt x="862" y="1573"/>
                    <a:pt x="1055" y="1573"/>
                  </a:cubicBezTo>
                  <a:cubicBezTo>
                    <a:pt x="1456" y="1573"/>
                    <a:pt x="1841" y="1258"/>
                    <a:pt x="1841" y="782"/>
                  </a:cubicBezTo>
                  <a:cubicBezTo>
                    <a:pt x="1841" y="341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" name="Google Shape;238;p12"/>
            <p:cNvSpPr/>
            <p:nvPr/>
          </p:nvSpPr>
          <p:spPr>
            <a:xfrm>
              <a:off x="5887400" y="907725"/>
              <a:ext cx="45075" cy="39575"/>
            </a:xfrm>
            <a:custGeom>
              <a:avLst/>
              <a:gdLst/>
              <a:ahLst/>
              <a:cxnLst/>
              <a:rect l="l" t="t" r="r" b="b"/>
              <a:pathLst>
                <a:path w="1803" h="1583" extrusionOk="0">
                  <a:moveTo>
                    <a:pt x="896" y="1"/>
                  </a:moveTo>
                  <a:cubicBezTo>
                    <a:pt x="589" y="1"/>
                    <a:pt x="299" y="182"/>
                    <a:pt x="177" y="483"/>
                  </a:cubicBezTo>
                  <a:cubicBezTo>
                    <a:pt x="0" y="886"/>
                    <a:pt x="189" y="1352"/>
                    <a:pt x="593" y="1516"/>
                  </a:cubicBezTo>
                  <a:cubicBezTo>
                    <a:pt x="695" y="1561"/>
                    <a:pt x="802" y="1582"/>
                    <a:pt x="907" y="1582"/>
                  </a:cubicBezTo>
                  <a:cubicBezTo>
                    <a:pt x="1215" y="1582"/>
                    <a:pt x="1507" y="1400"/>
                    <a:pt x="1639" y="1100"/>
                  </a:cubicBezTo>
                  <a:cubicBezTo>
                    <a:pt x="1802" y="697"/>
                    <a:pt x="1613" y="231"/>
                    <a:pt x="1210" y="67"/>
                  </a:cubicBezTo>
                  <a:cubicBezTo>
                    <a:pt x="1107" y="22"/>
                    <a:pt x="1001" y="1"/>
                    <a:pt x="89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" name="Google Shape;239;p12"/>
            <p:cNvSpPr/>
            <p:nvPr/>
          </p:nvSpPr>
          <p:spPr>
            <a:xfrm>
              <a:off x="6166200" y="1209275"/>
              <a:ext cx="39700" cy="39725"/>
            </a:xfrm>
            <a:custGeom>
              <a:avLst/>
              <a:gdLst/>
              <a:ahLst/>
              <a:cxnLst/>
              <a:rect l="l" t="t" r="r" b="b"/>
              <a:pathLst>
                <a:path w="1588" h="1589" extrusionOk="0">
                  <a:moveTo>
                    <a:pt x="794" y="1"/>
                  </a:moveTo>
                  <a:cubicBezTo>
                    <a:pt x="366" y="1"/>
                    <a:pt x="0" y="354"/>
                    <a:pt x="0" y="795"/>
                  </a:cubicBezTo>
                  <a:cubicBezTo>
                    <a:pt x="0" y="1223"/>
                    <a:pt x="366" y="1588"/>
                    <a:pt x="794" y="1588"/>
                  </a:cubicBezTo>
                  <a:cubicBezTo>
                    <a:pt x="1235" y="1588"/>
                    <a:pt x="1588" y="1223"/>
                    <a:pt x="1588" y="795"/>
                  </a:cubicBezTo>
                  <a:cubicBezTo>
                    <a:pt x="1588" y="354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" name="Google Shape;240;p12"/>
            <p:cNvSpPr/>
            <p:nvPr/>
          </p:nvSpPr>
          <p:spPr>
            <a:xfrm>
              <a:off x="6373800" y="1380650"/>
              <a:ext cx="39700" cy="39400"/>
            </a:xfrm>
            <a:custGeom>
              <a:avLst/>
              <a:gdLst/>
              <a:ahLst/>
              <a:cxnLst/>
              <a:rect l="l" t="t" r="r" b="b"/>
              <a:pathLst>
                <a:path w="1588" h="1576" extrusionOk="0">
                  <a:moveTo>
                    <a:pt x="794" y="1"/>
                  </a:moveTo>
                  <a:cubicBezTo>
                    <a:pt x="353" y="1"/>
                    <a:pt x="0" y="353"/>
                    <a:pt x="0" y="794"/>
                  </a:cubicBezTo>
                  <a:cubicBezTo>
                    <a:pt x="0" y="1223"/>
                    <a:pt x="353" y="1576"/>
                    <a:pt x="794" y="1576"/>
                  </a:cubicBezTo>
                  <a:cubicBezTo>
                    <a:pt x="1235" y="1576"/>
                    <a:pt x="1588" y="1223"/>
                    <a:pt x="1588" y="794"/>
                  </a:cubicBezTo>
                  <a:cubicBezTo>
                    <a:pt x="1588" y="353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" name="Google Shape;241;p12"/>
            <p:cNvSpPr/>
            <p:nvPr/>
          </p:nvSpPr>
          <p:spPr>
            <a:xfrm>
              <a:off x="6594950" y="134442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491" y="1336"/>
                  </a:cubicBezTo>
                  <a:cubicBezTo>
                    <a:pt x="655" y="1500"/>
                    <a:pt x="855" y="1573"/>
                    <a:pt x="1050" y="1573"/>
                  </a:cubicBezTo>
                  <a:cubicBezTo>
                    <a:pt x="1455" y="1573"/>
                    <a:pt x="1840" y="1258"/>
                    <a:pt x="1840" y="782"/>
                  </a:cubicBezTo>
                  <a:cubicBezTo>
                    <a:pt x="1840" y="353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" name="Google Shape;242;p12"/>
            <p:cNvSpPr/>
            <p:nvPr/>
          </p:nvSpPr>
          <p:spPr>
            <a:xfrm>
              <a:off x="6731025" y="1382850"/>
              <a:ext cx="46025" cy="39475"/>
            </a:xfrm>
            <a:custGeom>
              <a:avLst/>
              <a:gdLst/>
              <a:ahLst/>
              <a:cxnLst/>
              <a:rect l="l" t="t" r="r" b="b"/>
              <a:pathLst>
                <a:path w="1841" h="1579" extrusionOk="0">
                  <a:moveTo>
                    <a:pt x="1059" y="1"/>
                  </a:moveTo>
                  <a:cubicBezTo>
                    <a:pt x="353" y="1"/>
                    <a:pt x="1" y="858"/>
                    <a:pt x="505" y="1349"/>
                  </a:cubicBezTo>
                  <a:cubicBezTo>
                    <a:pt x="663" y="1507"/>
                    <a:pt x="858" y="1578"/>
                    <a:pt x="1049" y="1578"/>
                  </a:cubicBezTo>
                  <a:cubicBezTo>
                    <a:pt x="1452" y="1578"/>
                    <a:pt x="1840" y="1265"/>
                    <a:pt x="1840" y="795"/>
                  </a:cubicBezTo>
                  <a:cubicBezTo>
                    <a:pt x="1840" y="354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" name="Google Shape;243;p12"/>
            <p:cNvSpPr/>
            <p:nvPr/>
          </p:nvSpPr>
          <p:spPr>
            <a:xfrm>
              <a:off x="6891700" y="111635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46" y="1"/>
                  </a:moveTo>
                  <a:cubicBezTo>
                    <a:pt x="353" y="1"/>
                    <a:pt x="0" y="845"/>
                    <a:pt x="491" y="1336"/>
                  </a:cubicBezTo>
                  <a:cubicBezTo>
                    <a:pt x="651" y="1500"/>
                    <a:pt x="850" y="1573"/>
                    <a:pt x="1045" y="1573"/>
                  </a:cubicBezTo>
                  <a:cubicBezTo>
                    <a:pt x="1450" y="1573"/>
                    <a:pt x="1840" y="1258"/>
                    <a:pt x="1840" y="782"/>
                  </a:cubicBezTo>
                  <a:cubicBezTo>
                    <a:pt x="1840" y="353"/>
                    <a:pt x="1487" y="1"/>
                    <a:pt x="104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" name="Google Shape;244;p12"/>
            <p:cNvSpPr/>
            <p:nvPr/>
          </p:nvSpPr>
          <p:spPr>
            <a:xfrm>
              <a:off x="7059275" y="10354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4" y="0"/>
                    <a:pt x="1" y="844"/>
                    <a:pt x="505" y="1348"/>
                  </a:cubicBezTo>
                  <a:cubicBezTo>
                    <a:pt x="663" y="1507"/>
                    <a:pt x="858" y="1577"/>
                    <a:pt x="1049" y="1577"/>
                  </a:cubicBezTo>
                  <a:cubicBezTo>
                    <a:pt x="1452" y="1577"/>
                    <a:pt x="1840" y="1264"/>
                    <a:pt x="1840" y="794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" name="Google Shape;245;p12"/>
            <p:cNvSpPr/>
            <p:nvPr/>
          </p:nvSpPr>
          <p:spPr>
            <a:xfrm>
              <a:off x="4708275" y="856450"/>
              <a:ext cx="2575650" cy="667875"/>
            </a:xfrm>
            <a:custGeom>
              <a:avLst/>
              <a:gdLst/>
              <a:ahLst/>
              <a:cxnLst/>
              <a:rect l="l" t="t" r="r" b="b"/>
              <a:pathLst>
                <a:path w="103026" h="26715" extrusionOk="0">
                  <a:moveTo>
                    <a:pt x="55432" y="1"/>
                  </a:moveTo>
                  <a:lnTo>
                    <a:pt x="46271" y="7952"/>
                  </a:lnTo>
                  <a:lnTo>
                    <a:pt x="35938" y="5507"/>
                  </a:lnTo>
                  <a:lnTo>
                    <a:pt x="35913" y="5507"/>
                  </a:lnTo>
                  <a:lnTo>
                    <a:pt x="27294" y="11934"/>
                  </a:lnTo>
                  <a:lnTo>
                    <a:pt x="16382" y="6188"/>
                  </a:lnTo>
                  <a:lnTo>
                    <a:pt x="11480" y="23287"/>
                  </a:lnTo>
                  <a:lnTo>
                    <a:pt x="0" y="26526"/>
                  </a:lnTo>
                  <a:lnTo>
                    <a:pt x="38" y="26664"/>
                  </a:lnTo>
                  <a:lnTo>
                    <a:pt x="11593" y="23401"/>
                  </a:lnTo>
                  <a:lnTo>
                    <a:pt x="16470" y="6389"/>
                  </a:lnTo>
                  <a:lnTo>
                    <a:pt x="27306" y="12098"/>
                  </a:lnTo>
                  <a:lnTo>
                    <a:pt x="35938" y="5659"/>
                  </a:lnTo>
                  <a:lnTo>
                    <a:pt x="46309" y="8103"/>
                  </a:lnTo>
                  <a:lnTo>
                    <a:pt x="55419" y="215"/>
                  </a:lnTo>
                  <a:lnTo>
                    <a:pt x="64958" y="12186"/>
                  </a:lnTo>
                  <a:lnTo>
                    <a:pt x="64970" y="12211"/>
                  </a:lnTo>
                  <a:lnTo>
                    <a:pt x="79663" y="15815"/>
                  </a:lnTo>
                  <a:lnTo>
                    <a:pt x="79714" y="15827"/>
                  </a:lnTo>
                  <a:lnTo>
                    <a:pt x="87186" y="5293"/>
                  </a:lnTo>
                  <a:lnTo>
                    <a:pt x="90815" y="19368"/>
                  </a:lnTo>
                  <a:lnTo>
                    <a:pt x="90815" y="19394"/>
                  </a:lnTo>
                  <a:lnTo>
                    <a:pt x="102950" y="26715"/>
                  </a:lnTo>
                  <a:lnTo>
                    <a:pt x="103025" y="26589"/>
                  </a:lnTo>
                  <a:lnTo>
                    <a:pt x="90941" y="19305"/>
                  </a:lnTo>
                  <a:lnTo>
                    <a:pt x="87249" y="4966"/>
                  </a:lnTo>
                  <a:lnTo>
                    <a:pt x="79651" y="15664"/>
                  </a:lnTo>
                  <a:lnTo>
                    <a:pt x="65046" y="12085"/>
                  </a:lnTo>
                  <a:lnTo>
                    <a:pt x="5543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" name="Google Shape;246;p12"/>
            <p:cNvSpPr/>
            <p:nvPr/>
          </p:nvSpPr>
          <p:spPr>
            <a:xfrm>
              <a:off x="4558950" y="1523350"/>
              <a:ext cx="2813800" cy="3825"/>
            </a:xfrm>
            <a:custGeom>
              <a:avLst/>
              <a:gdLst/>
              <a:ahLst/>
              <a:cxnLst/>
              <a:rect l="l" t="t" r="r" b="b"/>
              <a:pathLst>
                <a:path w="112552" h="153" extrusionOk="0">
                  <a:moveTo>
                    <a:pt x="1" y="1"/>
                  </a:moveTo>
                  <a:lnTo>
                    <a:pt x="1" y="152"/>
                  </a:lnTo>
                  <a:lnTo>
                    <a:pt x="112552" y="152"/>
                  </a:lnTo>
                  <a:lnTo>
                    <a:pt x="112552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" name="Google Shape;247;p12"/>
            <p:cNvSpPr/>
            <p:nvPr/>
          </p:nvSpPr>
          <p:spPr>
            <a:xfrm>
              <a:off x="4967225" y="14187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3" y="0"/>
                    <a:pt x="0" y="845"/>
                    <a:pt x="492" y="1349"/>
                  </a:cubicBezTo>
                  <a:cubicBezTo>
                    <a:pt x="654" y="1506"/>
                    <a:pt x="850" y="1577"/>
                    <a:pt x="1043" y="1577"/>
                  </a:cubicBezTo>
                  <a:cubicBezTo>
                    <a:pt x="1451" y="1577"/>
                    <a:pt x="1840" y="1261"/>
                    <a:pt x="1840" y="782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" name="Google Shape;248;p12"/>
            <p:cNvSpPr/>
            <p:nvPr/>
          </p:nvSpPr>
          <p:spPr>
            <a:xfrm>
              <a:off x="5101172" y="992325"/>
              <a:ext cx="42875" cy="39850"/>
            </a:xfrm>
            <a:custGeom>
              <a:avLst/>
              <a:gdLst/>
              <a:ahLst/>
              <a:cxnLst/>
              <a:rect l="l" t="t" r="r" b="b"/>
              <a:pathLst>
                <a:path w="1715" h="1594" extrusionOk="0">
                  <a:moveTo>
                    <a:pt x="849" y="1"/>
                  </a:moveTo>
                  <a:cubicBezTo>
                    <a:pt x="810" y="1"/>
                    <a:pt x="771" y="4"/>
                    <a:pt x="731" y="9"/>
                  </a:cubicBezTo>
                  <a:cubicBezTo>
                    <a:pt x="290" y="85"/>
                    <a:pt x="1" y="488"/>
                    <a:pt x="76" y="917"/>
                  </a:cubicBezTo>
                  <a:cubicBezTo>
                    <a:pt x="133" y="1317"/>
                    <a:pt x="482" y="1593"/>
                    <a:pt x="866" y="1593"/>
                  </a:cubicBezTo>
                  <a:cubicBezTo>
                    <a:pt x="905" y="1593"/>
                    <a:pt x="944" y="1590"/>
                    <a:pt x="983" y="1584"/>
                  </a:cubicBezTo>
                  <a:cubicBezTo>
                    <a:pt x="1412" y="1509"/>
                    <a:pt x="1714" y="1106"/>
                    <a:pt x="1639" y="665"/>
                  </a:cubicBezTo>
                  <a:cubicBezTo>
                    <a:pt x="1581" y="276"/>
                    <a:pt x="1233" y="1"/>
                    <a:pt x="84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" name="Google Shape;249;p12"/>
            <p:cNvSpPr/>
            <p:nvPr/>
          </p:nvSpPr>
          <p:spPr>
            <a:xfrm>
              <a:off x="5364775" y="11362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6" y="0"/>
                  </a:moveTo>
                  <a:cubicBezTo>
                    <a:pt x="353" y="0"/>
                    <a:pt x="1" y="845"/>
                    <a:pt x="492" y="1349"/>
                  </a:cubicBezTo>
                  <a:cubicBezTo>
                    <a:pt x="654" y="1507"/>
                    <a:pt x="852" y="1578"/>
                    <a:pt x="1045" y="1578"/>
                  </a:cubicBezTo>
                  <a:cubicBezTo>
                    <a:pt x="1452" y="1578"/>
                    <a:pt x="1840" y="1264"/>
                    <a:pt x="1840" y="794"/>
                  </a:cubicBezTo>
                  <a:cubicBezTo>
                    <a:pt x="1840" y="353"/>
                    <a:pt x="1488" y="0"/>
                    <a:pt x="104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" name="Google Shape;250;p12"/>
            <p:cNvSpPr/>
            <p:nvPr/>
          </p:nvSpPr>
          <p:spPr>
            <a:xfrm>
              <a:off x="5581825" y="976800"/>
              <a:ext cx="46025" cy="39525"/>
            </a:xfrm>
            <a:custGeom>
              <a:avLst/>
              <a:gdLst/>
              <a:ahLst/>
              <a:cxnLst/>
              <a:rect l="l" t="t" r="r" b="b"/>
              <a:pathLst>
                <a:path w="1841" h="1581" extrusionOk="0">
                  <a:moveTo>
                    <a:pt x="1059" y="0"/>
                  </a:moveTo>
                  <a:cubicBezTo>
                    <a:pt x="353" y="0"/>
                    <a:pt x="1" y="857"/>
                    <a:pt x="505" y="1349"/>
                  </a:cubicBezTo>
                  <a:cubicBezTo>
                    <a:pt x="664" y="1508"/>
                    <a:pt x="861" y="1580"/>
                    <a:pt x="1055" y="1580"/>
                  </a:cubicBezTo>
                  <a:cubicBezTo>
                    <a:pt x="1456" y="1580"/>
                    <a:pt x="1840" y="1270"/>
                    <a:pt x="1840" y="794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" name="Google Shape;251;p12"/>
            <p:cNvSpPr/>
            <p:nvPr/>
          </p:nvSpPr>
          <p:spPr>
            <a:xfrm>
              <a:off x="5838875" y="103602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4" y="0"/>
                    <a:pt x="1" y="845"/>
                    <a:pt x="492" y="1349"/>
                  </a:cubicBezTo>
                  <a:cubicBezTo>
                    <a:pt x="655" y="1507"/>
                    <a:pt x="852" y="1578"/>
                    <a:pt x="1046" y="1578"/>
                  </a:cubicBezTo>
                  <a:cubicBezTo>
                    <a:pt x="1453" y="1578"/>
                    <a:pt x="1841" y="1264"/>
                    <a:pt x="1841" y="794"/>
                  </a:cubicBezTo>
                  <a:cubicBezTo>
                    <a:pt x="1841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" name="Google Shape;252;p12"/>
            <p:cNvSpPr/>
            <p:nvPr/>
          </p:nvSpPr>
          <p:spPr>
            <a:xfrm>
              <a:off x="6316150" y="1138400"/>
              <a:ext cx="39700" cy="39400"/>
            </a:xfrm>
            <a:custGeom>
              <a:avLst/>
              <a:gdLst/>
              <a:ahLst/>
              <a:cxnLst/>
              <a:rect l="l" t="t" r="r" b="b"/>
              <a:pathLst>
                <a:path w="1588" h="1576" extrusionOk="0">
                  <a:moveTo>
                    <a:pt x="794" y="1"/>
                  </a:moveTo>
                  <a:cubicBezTo>
                    <a:pt x="353" y="1"/>
                    <a:pt x="0" y="353"/>
                    <a:pt x="0" y="782"/>
                  </a:cubicBezTo>
                  <a:cubicBezTo>
                    <a:pt x="0" y="1223"/>
                    <a:pt x="353" y="1576"/>
                    <a:pt x="794" y="1576"/>
                  </a:cubicBezTo>
                  <a:cubicBezTo>
                    <a:pt x="1235" y="1576"/>
                    <a:pt x="1588" y="1223"/>
                    <a:pt x="1588" y="782"/>
                  </a:cubicBezTo>
                  <a:cubicBezTo>
                    <a:pt x="1588" y="353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" name="Google Shape;253;p12"/>
            <p:cNvSpPr/>
            <p:nvPr/>
          </p:nvSpPr>
          <p:spPr>
            <a:xfrm>
              <a:off x="6675275" y="123007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46" y="0"/>
                  </a:moveTo>
                  <a:cubicBezTo>
                    <a:pt x="353" y="0"/>
                    <a:pt x="0" y="845"/>
                    <a:pt x="492" y="1336"/>
                  </a:cubicBezTo>
                  <a:cubicBezTo>
                    <a:pt x="656" y="1500"/>
                    <a:pt x="856" y="1573"/>
                    <a:pt x="1051" y="1573"/>
                  </a:cubicBezTo>
                  <a:cubicBezTo>
                    <a:pt x="1456" y="1573"/>
                    <a:pt x="1840" y="1258"/>
                    <a:pt x="1840" y="782"/>
                  </a:cubicBezTo>
                  <a:cubicBezTo>
                    <a:pt x="1840" y="353"/>
                    <a:pt x="1487" y="0"/>
                    <a:pt x="104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6863325" y="967025"/>
              <a:ext cx="46350" cy="39350"/>
            </a:xfrm>
            <a:custGeom>
              <a:avLst/>
              <a:gdLst/>
              <a:ahLst/>
              <a:cxnLst/>
              <a:rect l="l" t="t" r="r" b="b"/>
              <a:pathLst>
                <a:path w="1854" h="1574" extrusionOk="0">
                  <a:moveTo>
                    <a:pt x="1059" y="1"/>
                  </a:moveTo>
                  <a:cubicBezTo>
                    <a:pt x="354" y="1"/>
                    <a:pt x="1" y="845"/>
                    <a:pt x="505" y="1336"/>
                  </a:cubicBezTo>
                  <a:cubicBezTo>
                    <a:pt x="665" y="1500"/>
                    <a:pt x="863" y="1574"/>
                    <a:pt x="1058" y="1574"/>
                  </a:cubicBezTo>
                  <a:cubicBezTo>
                    <a:pt x="1463" y="1574"/>
                    <a:pt x="1853" y="1258"/>
                    <a:pt x="1853" y="782"/>
                  </a:cubicBezTo>
                  <a:cubicBezTo>
                    <a:pt x="1853" y="341"/>
                    <a:pt x="1500" y="1"/>
                    <a:pt x="105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6956275" y="132300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504" y="1336"/>
                  </a:cubicBezTo>
                  <a:cubicBezTo>
                    <a:pt x="664" y="1500"/>
                    <a:pt x="861" y="1574"/>
                    <a:pt x="1055" y="1574"/>
                  </a:cubicBezTo>
                  <a:cubicBezTo>
                    <a:pt x="1456" y="1574"/>
                    <a:pt x="1840" y="1258"/>
                    <a:pt x="1840" y="782"/>
                  </a:cubicBezTo>
                  <a:cubicBezTo>
                    <a:pt x="1840" y="354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CUSTOM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13"/>
          <p:cNvSpPr txBox="1">
            <a:spLocks noGrp="1"/>
          </p:cNvSpPr>
          <p:nvPr>
            <p:ph type="subTitle" idx="1"/>
          </p:nvPr>
        </p:nvSpPr>
        <p:spPr>
          <a:xfrm>
            <a:off x="6429027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58" name="Google Shape;258;p13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9" name="Google Shape;259;p13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0" name="Google Shape;260;p13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1" name="Google Shape;261;p13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2" name="Google Shape;262;p13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3" name="Google Shape;263;p13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4" name="Google Shape;264;p13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5" name="Google Shape;265;p13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6" name="Google Shape;266;p13"/>
          <p:cNvSpPr/>
          <p:nvPr/>
        </p:nvSpPr>
        <p:spPr>
          <a:xfrm>
            <a:off x="285750" y="4542650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7" name="Google Shape;267;p13"/>
          <p:cNvSpPr/>
          <p:nvPr/>
        </p:nvSpPr>
        <p:spPr>
          <a:xfrm>
            <a:off x="439150" y="48034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8" name="Google Shape;268;p13"/>
          <p:cNvSpPr txBox="1">
            <a:spLocks noGrp="1"/>
          </p:cNvSpPr>
          <p:nvPr>
            <p:ph type="ctrTitle"/>
          </p:nvPr>
        </p:nvSpPr>
        <p:spPr>
          <a:xfrm>
            <a:off x="970814" y="3396800"/>
            <a:ext cx="2152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69" name="Google Shape;269;p13"/>
          <p:cNvSpPr txBox="1">
            <a:spLocks noGrp="1"/>
          </p:cNvSpPr>
          <p:nvPr>
            <p:ph type="subTitle" idx="2"/>
          </p:nvPr>
        </p:nvSpPr>
        <p:spPr>
          <a:xfrm>
            <a:off x="970814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70" name="Google Shape;270;p13"/>
          <p:cNvSpPr txBox="1">
            <a:spLocks noGrp="1"/>
          </p:cNvSpPr>
          <p:nvPr>
            <p:ph type="title" idx="3" hasCustomPrompt="1"/>
          </p:nvPr>
        </p:nvSpPr>
        <p:spPr>
          <a:xfrm>
            <a:off x="970814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1" name="Google Shape;271;p13"/>
          <p:cNvSpPr txBox="1">
            <a:spLocks noGrp="1"/>
          </p:cNvSpPr>
          <p:nvPr>
            <p:ph type="ctrTitle" idx="4"/>
          </p:nvPr>
        </p:nvSpPr>
        <p:spPr>
          <a:xfrm>
            <a:off x="3690348" y="3396800"/>
            <a:ext cx="1386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72" name="Google Shape;272;p13"/>
          <p:cNvSpPr txBox="1">
            <a:spLocks noGrp="1"/>
          </p:cNvSpPr>
          <p:nvPr>
            <p:ph type="subTitle" idx="5"/>
          </p:nvPr>
        </p:nvSpPr>
        <p:spPr>
          <a:xfrm>
            <a:off x="3690341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73" name="Google Shape;273;p13"/>
          <p:cNvSpPr txBox="1">
            <a:spLocks noGrp="1"/>
          </p:cNvSpPr>
          <p:nvPr>
            <p:ph type="title" idx="6" hasCustomPrompt="1"/>
          </p:nvPr>
        </p:nvSpPr>
        <p:spPr>
          <a:xfrm>
            <a:off x="3690341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3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4" name="Google Shape;274;p13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275" name="Google Shape;275;p13"/>
          <p:cNvSpPr txBox="1">
            <a:spLocks noGrp="1"/>
          </p:cNvSpPr>
          <p:nvPr>
            <p:ph type="ctrTitle" idx="8"/>
          </p:nvPr>
        </p:nvSpPr>
        <p:spPr>
          <a:xfrm>
            <a:off x="6428436" y="3377738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76" name="Google Shape;276;p13"/>
          <p:cNvSpPr txBox="1">
            <a:spLocks noGrp="1"/>
          </p:cNvSpPr>
          <p:nvPr>
            <p:ph type="title" idx="9" hasCustomPrompt="1"/>
          </p:nvPr>
        </p:nvSpPr>
        <p:spPr>
          <a:xfrm>
            <a:off x="6428436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7" name="Google Shape;277;p13"/>
          <p:cNvSpPr txBox="1">
            <a:spLocks noGrp="1"/>
          </p:cNvSpPr>
          <p:nvPr>
            <p:ph type="ctrTitle" idx="13"/>
          </p:nvPr>
        </p:nvSpPr>
        <p:spPr>
          <a:xfrm>
            <a:off x="6429027" y="3396800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2">
  <p:cSld name="TITLE_AND_TWO_COLUMNS_1"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p14"/>
          <p:cNvSpPr txBox="1">
            <a:spLocks noGrp="1"/>
          </p:cNvSpPr>
          <p:nvPr>
            <p:ph type="ctrTitle"/>
          </p:nvPr>
        </p:nvSpPr>
        <p:spPr>
          <a:xfrm>
            <a:off x="4696481" y="1365079"/>
            <a:ext cx="26556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280" name="Google Shape;280;p14"/>
          <p:cNvSpPr txBox="1">
            <a:spLocks noGrp="1"/>
          </p:cNvSpPr>
          <p:nvPr>
            <p:ph type="subTitle" idx="1"/>
          </p:nvPr>
        </p:nvSpPr>
        <p:spPr>
          <a:xfrm>
            <a:off x="4696481" y="1835141"/>
            <a:ext cx="3039300" cy="93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81" name="Google Shape;281;p14"/>
          <p:cNvSpPr txBox="1">
            <a:spLocks noGrp="1"/>
          </p:cNvSpPr>
          <p:nvPr>
            <p:ph type="ctrTitle" idx="2"/>
          </p:nvPr>
        </p:nvSpPr>
        <p:spPr>
          <a:xfrm>
            <a:off x="1900150" y="3127942"/>
            <a:ext cx="24729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282" name="Google Shape;282;p14"/>
          <p:cNvSpPr txBox="1">
            <a:spLocks noGrp="1"/>
          </p:cNvSpPr>
          <p:nvPr>
            <p:ph type="subTitle" idx="3"/>
          </p:nvPr>
        </p:nvSpPr>
        <p:spPr>
          <a:xfrm>
            <a:off x="1333875" y="3598390"/>
            <a:ext cx="3039300" cy="117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83" name="Google Shape;283;p14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4" name="Google Shape;284;p14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5" name="Google Shape;285;p14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6" name="Google Shape;286;p14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87" name="Google Shape;287;p14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288" name="Google Shape;288;p14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" name="Google Shape;289;p14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90" name="Google Shape;290;p14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1" name="Google Shape;291;p14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2" name="Google Shape;292;p14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CUSTOM_1_1"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15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5" name="Google Shape;295;p15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6" name="Google Shape;296;p15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7" name="Google Shape;297;p15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98" name="Google Shape;298;p15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299" name="Google Shape;299;p15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" name="Google Shape;300;p15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01" name="Google Shape;301;p15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2" name="Google Shape;302;p15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3" name="Google Shape;303;p15"/>
          <p:cNvSpPr txBox="1">
            <a:spLocks noGrp="1"/>
          </p:cNvSpPr>
          <p:nvPr>
            <p:ph type="ctrTitle"/>
          </p:nvPr>
        </p:nvSpPr>
        <p:spPr>
          <a:xfrm>
            <a:off x="891226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4" name="Google Shape;304;p15"/>
          <p:cNvSpPr txBox="1">
            <a:spLocks noGrp="1"/>
          </p:cNvSpPr>
          <p:nvPr>
            <p:ph type="subTitle" idx="1"/>
          </p:nvPr>
        </p:nvSpPr>
        <p:spPr>
          <a:xfrm>
            <a:off x="891226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5" name="Google Shape;305;p15"/>
          <p:cNvSpPr txBox="1">
            <a:spLocks noGrp="1"/>
          </p:cNvSpPr>
          <p:nvPr>
            <p:ph type="ctrTitle" idx="2"/>
          </p:nvPr>
        </p:nvSpPr>
        <p:spPr>
          <a:xfrm>
            <a:off x="3503173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6" name="Google Shape;306;p15"/>
          <p:cNvSpPr txBox="1">
            <a:spLocks noGrp="1"/>
          </p:cNvSpPr>
          <p:nvPr>
            <p:ph type="subTitle" idx="3"/>
          </p:nvPr>
        </p:nvSpPr>
        <p:spPr>
          <a:xfrm>
            <a:off x="3503173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7" name="Google Shape;307;p15"/>
          <p:cNvSpPr txBox="1">
            <a:spLocks noGrp="1"/>
          </p:cNvSpPr>
          <p:nvPr>
            <p:ph type="ctrTitle" idx="4"/>
          </p:nvPr>
        </p:nvSpPr>
        <p:spPr>
          <a:xfrm>
            <a:off x="6124594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8" name="Google Shape;308;p15"/>
          <p:cNvSpPr txBox="1">
            <a:spLocks noGrp="1"/>
          </p:cNvSpPr>
          <p:nvPr>
            <p:ph type="subTitle" idx="5"/>
          </p:nvPr>
        </p:nvSpPr>
        <p:spPr>
          <a:xfrm>
            <a:off x="6124594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9" name="Google Shape;309;p15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CUSTOM_1_1_1"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16"/>
          <p:cNvSpPr txBox="1">
            <a:spLocks noGrp="1"/>
          </p:cNvSpPr>
          <p:nvPr>
            <p:ph type="ctrTitle"/>
          </p:nvPr>
        </p:nvSpPr>
        <p:spPr>
          <a:xfrm>
            <a:off x="1121525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2" name="Google Shape;312;p16"/>
          <p:cNvSpPr txBox="1">
            <a:spLocks noGrp="1"/>
          </p:cNvSpPr>
          <p:nvPr>
            <p:ph type="subTitle" idx="1"/>
          </p:nvPr>
        </p:nvSpPr>
        <p:spPr>
          <a:xfrm>
            <a:off x="961925" y="16437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3" name="Google Shape;313;p16"/>
          <p:cNvSpPr txBox="1">
            <a:spLocks noGrp="1"/>
          </p:cNvSpPr>
          <p:nvPr>
            <p:ph type="ctrTitle" idx="2"/>
          </p:nvPr>
        </p:nvSpPr>
        <p:spPr>
          <a:xfrm>
            <a:off x="3628263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4" name="Google Shape;314;p16"/>
          <p:cNvSpPr txBox="1">
            <a:spLocks noGrp="1"/>
          </p:cNvSpPr>
          <p:nvPr>
            <p:ph type="subTitle" idx="3"/>
          </p:nvPr>
        </p:nvSpPr>
        <p:spPr>
          <a:xfrm>
            <a:off x="3468663" y="1643759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5" name="Google Shape;315;p16"/>
          <p:cNvSpPr txBox="1">
            <a:spLocks noGrp="1"/>
          </p:cNvSpPr>
          <p:nvPr>
            <p:ph type="ctrTitle" idx="4"/>
          </p:nvPr>
        </p:nvSpPr>
        <p:spPr>
          <a:xfrm>
            <a:off x="6142624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6" name="Google Shape;316;p16"/>
          <p:cNvSpPr txBox="1">
            <a:spLocks noGrp="1"/>
          </p:cNvSpPr>
          <p:nvPr>
            <p:ph type="subTitle" idx="5"/>
          </p:nvPr>
        </p:nvSpPr>
        <p:spPr>
          <a:xfrm>
            <a:off x="5947924" y="16437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7" name="Google Shape;317;p16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18" name="Google Shape;318;p16"/>
          <p:cNvSpPr txBox="1">
            <a:spLocks noGrp="1"/>
          </p:cNvSpPr>
          <p:nvPr>
            <p:ph type="ctrTitle" idx="7"/>
          </p:nvPr>
        </p:nvSpPr>
        <p:spPr>
          <a:xfrm>
            <a:off x="1121525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9" name="Google Shape;319;p16"/>
          <p:cNvSpPr txBox="1">
            <a:spLocks noGrp="1"/>
          </p:cNvSpPr>
          <p:nvPr>
            <p:ph type="subTitle" idx="8"/>
          </p:nvPr>
        </p:nvSpPr>
        <p:spPr>
          <a:xfrm>
            <a:off x="961925" y="34792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0" name="Google Shape;320;p16"/>
          <p:cNvSpPr txBox="1">
            <a:spLocks noGrp="1"/>
          </p:cNvSpPr>
          <p:nvPr>
            <p:ph type="ctrTitle" idx="9"/>
          </p:nvPr>
        </p:nvSpPr>
        <p:spPr>
          <a:xfrm>
            <a:off x="3628263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21" name="Google Shape;321;p16"/>
          <p:cNvSpPr txBox="1">
            <a:spLocks noGrp="1"/>
          </p:cNvSpPr>
          <p:nvPr>
            <p:ph type="subTitle" idx="13"/>
          </p:nvPr>
        </p:nvSpPr>
        <p:spPr>
          <a:xfrm>
            <a:off x="3533613" y="3479251"/>
            <a:ext cx="20706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2" name="Google Shape;322;p16"/>
          <p:cNvSpPr txBox="1">
            <a:spLocks noGrp="1"/>
          </p:cNvSpPr>
          <p:nvPr>
            <p:ph type="ctrTitle" idx="14"/>
          </p:nvPr>
        </p:nvSpPr>
        <p:spPr>
          <a:xfrm>
            <a:off x="6142624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23" name="Google Shape;323;p16"/>
          <p:cNvSpPr txBox="1">
            <a:spLocks noGrp="1"/>
          </p:cNvSpPr>
          <p:nvPr>
            <p:ph type="subTitle" idx="15"/>
          </p:nvPr>
        </p:nvSpPr>
        <p:spPr>
          <a:xfrm>
            <a:off x="5947924" y="34792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4" name="Google Shape;324;p16"/>
          <p:cNvSpPr/>
          <p:nvPr/>
        </p:nvSpPr>
        <p:spPr>
          <a:xfrm>
            <a:off x="7573050" y="27737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5" name="Google Shape;325;p16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6" name="Google Shape;326;p16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7" name="Google Shape;327;p16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8" name="Google Shape;328;p16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9" name="Google Shape;329;p16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0" name="Google Shape;330;p16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1" name="Google Shape;331;p16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2" name="Google Shape;332;p16"/>
          <p:cNvSpPr/>
          <p:nvPr/>
        </p:nvSpPr>
        <p:spPr>
          <a:xfrm>
            <a:off x="564075" y="47539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CUSTOM_2"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Google Shape;334;p17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5" name="Google Shape;335;p17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36" name="Google Shape;336;p17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7" name="Google Shape;337;p17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38" name="Google Shape;338;p17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9" name="Google Shape;339;p17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40" name="Google Shape;340;p17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41" name="Google Shape;341;p17"/>
          <p:cNvSpPr txBox="1">
            <a:spLocks noGrp="1"/>
          </p:cNvSpPr>
          <p:nvPr>
            <p:ph type="subTitle" idx="7"/>
          </p:nvPr>
        </p:nvSpPr>
        <p:spPr>
          <a:xfrm>
            <a:off x="6054555" y="32711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42" name="Google Shape;342;p17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43" name="Google Shape;343;p17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4" name="Google Shape;344;p17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5" name="Google Shape;345;p17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346;p17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7" name="Google Shape;347;p17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8" name="Google Shape;348;p17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9" name="Google Shape;349;p17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0" name="Google Shape;350;p17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1" name="Google Shape;351;p17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2" name="Google Shape;352;p17"/>
          <p:cNvSpPr/>
          <p:nvPr/>
        </p:nvSpPr>
        <p:spPr>
          <a:xfrm>
            <a:off x="816650" y="461267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2">
  <p:cSld name="CUSTOM_2_1">
    <p:spTree>
      <p:nvGrpSpPr>
        <p:cNvPr id="1" name="Shape 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4" name="Google Shape;354;p18"/>
          <p:cNvSpPr txBox="1">
            <a:spLocks noGrp="1"/>
          </p:cNvSpPr>
          <p:nvPr>
            <p:ph type="ctrTitle"/>
          </p:nvPr>
        </p:nvSpPr>
        <p:spPr>
          <a:xfrm>
            <a:off x="915161" y="2299544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5" name="Google Shape;355;p18"/>
          <p:cNvSpPr txBox="1">
            <a:spLocks noGrp="1"/>
          </p:cNvSpPr>
          <p:nvPr>
            <p:ph type="subTitle" idx="1"/>
          </p:nvPr>
        </p:nvSpPr>
        <p:spPr>
          <a:xfrm>
            <a:off x="879139" y="1777397"/>
            <a:ext cx="1917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6" name="Google Shape;356;p18"/>
          <p:cNvSpPr txBox="1">
            <a:spLocks noGrp="1"/>
          </p:cNvSpPr>
          <p:nvPr>
            <p:ph type="ctrTitle" idx="2"/>
          </p:nvPr>
        </p:nvSpPr>
        <p:spPr>
          <a:xfrm>
            <a:off x="6345518" y="2299544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7" name="Google Shape;357;p18"/>
          <p:cNvSpPr txBox="1">
            <a:spLocks noGrp="1"/>
          </p:cNvSpPr>
          <p:nvPr>
            <p:ph type="subTitle" idx="3"/>
          </p:nvPr>
        </p:nvSpPr>
        <p:spPr>
          <a:xfrm>
            <a:off x="6345518" y="1777397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8" name="Google Shape;358;p18"/>
          <p:cNvSpPr txBox="1">
            <a:spLocks noGrp="1"/>
          </p:cNvSpPr>
          <p:nvPr>
            <p:ph type="ctrTitle" idx="4"/>
          </p:nvPr>
        </p:nvSpPr>
        <p:spPr>
          <a:xfrm>
            <a:off x="915161" y="286152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9" name="Google Shape;359;p18"/>
          <p:cNvSpPr txBox="1">
            <a:spLocks noGrp="1"/>
          </p:cNvSpPr>
          <p:nvPr>
            <p:ph type="subTitle" idx="5"/>
          </p:nvPr>
        </p:nvSpPr>
        <p:spPr>
          <a:xfrm>
            <a:off x="915161" y="335327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0" name="Google Shape;360;p18"/>
          <p:cNvSpPr txBox="1">
            <a:spLocks noGrp="1"/>
          </p:cNvSpPr>
          <p:nvPr>
            <p:ph type="ctrTitle" idx="6"/>
          </p:nvPr>
        </p:nvSpPr>
        <p:spPr>
          <a:xfrm>
            <a:off x="6345518" y="286152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1" name="Google Shape;361;p18"/>
          <p:cNvSpPr txBox="1">
            <a:spLocks noGrp="1"/>
          </p:cNvSpPr>
          <p:nvPr>
            <p:ph type="subTitle" idx="7"/>
          </p:nvPr>
        </p:nvSpPr>
        <p:spPr>
          <a:xfrm>
            <a:off x="6345518" y="3353275"/>
            <a:ext cx="16566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2" name="Google Shape;362;p18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63" name="Google Shape;363;p18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4" name="Google Shape;364;p18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5" name="Google Shape;365;p18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6" name="Google Shape;366;p18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7" name="Google Shape;367;p18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8" name="Google Shape;368;p18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9" name="Google Shape;369;p18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0" name="Google Shape;370;p18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1" name="Google Shape;371;p18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2" name="Google Shape;372;p18"/>
          <p:cNvSpPr/>
          <p:nvPr/>
        </p:nvSpPr>
        <p:spPr>
          <a:xfrm>
            <a:off x="816650" y="461267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CUSTOM_3">
    <p:spTree>
      <p:nvGrpSpPr>
        <p:cNvPr id="1" name="Shape 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Google Shape;374;p19"/>
          <p:cNvSpPr txBox="1">
            <a:spLocks noGrp="1"/>
          </p:cNvSpPr>
          <p:nvPr>
            <p:ph type="title"/>
          </p:nvPr>
        </p:nvSpPr>
        <p:spPr>
          <a:xfrm>
            <a:off x="2471150" y="1830075"/>
            <a:ext cx="3823200" cy="1121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72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75" name="Google Shape;375;p19"/>
          <p:cNvSpPr txBox="1">
            <a:spLocks noGrp="1"/>
          </p:cNvSpPr>
          <p:nvPr>
            <p:ph type="subTitle" idx="1"/>
          </p:nvPr>
        </p:nvSpPr>
        <p:spPr>
          <a:xfrm>
            <a:off x="2902550" y="540000"/>
            <a:ext cx="2960400" cy="135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76" name="Google Shape;376;p19"/>
          <p:cNvSpPr txBox="1"/>
          <p:nvPr/>
        </p:nvSpPr>
        <p:spPr>
          <a:xfrm>
            <a:off x="2289500" y="3592806"/>
            <a:ext cx="4186500" cy="93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300"/>
              </a:spcBef>
              <a:spcAft>
                <a:spcPts val="0"/>
              </a:spcAft>
              <a:buNone/>
            </a:pP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CREDITS: This presentation template was created by </a:t>
            </a:r>
            <a:r>
              <a:rPr lang="en" sz="1000">
                <a:solidFill>
                  <a:schemeClr val="accent1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, including icons by </a:t>
            </a:r>
            <a:r>
              <a:rPr lang="en" sz="1000">
                <a:solidFill>
                  <a:schemeClr val="accent2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, and infographics &amp; images by </a:t>
            </a:r>
            <a:r>
              <a:rPr lang="en" sz="1000">
                <a:solidFill>
                  <a:schemeClr val="accent3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endParaRPr sz="1000">
              <a:solidFill>
                <a:schemeClr val="accent3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377" name="Google Shape;377;p19"/>
          <p:cNvSpPr/>
          <p:nvPr/>
        </p:nvSpPr>
        <p:spPr>
          <a:xfrm>
            <a:off x="858247" y="1380669"/>
            <a:ext cx="130760" cy="131015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8" name="Google Shape;378;p19"/>
          <p:cNvSpPr/>
          <p:nvPr/>
        </p:nvSpPr>
        <p:spPr>
          <a:xfrm>
            <a:off x="1802448" y="4340187"/>
            <a:ext cx="131015" cy="131015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1" y="0"/>
                </a:moveTo>
                <a:lnTo>
                  <a:pt x="1" y="4633"/>
                </a:lnTo>
                <a:lnTo>
                  <a:pt x="4634" y="4633"/>
                </a:lnTo>
                <a:lnTo>
                  <a:pt x="4634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9" name="Google Shape;379;p19"/>
          <p:cNvSpPr/>
          <p:nvPr/>
        </p:nvSpPr>
        <p:spPr>
          <a:xfrm>
            <a:off x="7196621" y="809541"/>
            <a:ext cx="131015" cy="131015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0" name="Google Shape;380;p19"/>
          <p:cNvSpPr/>
          <p:nvPr/>
        </p:nvSpPr>
        <p:spPr>
          <a:xfrm>
            <a:off x="7826485" y="4005523"/>
            <a:ext cx="105796" cy="106050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1" name="Google Shape;381;p19"/>
          <p:cNvSpPr/>
          <p:nvPr/>
        </p:nvSpPr>
        <p:spPr>
          <a:xfrm>
            <a:off x="6669747" y="3108456"/>
            <a:ext cx="62397" cy="62397"/>
          </a:xfrm>
          <a:custGeom>
            <a:avLst/>
            <a:gdLst/>
            <a:ahLst/>
            <a:cxnLst/>
            <a:rect l="l" t="t" r="r" b="b"/>
            <a:pathLst>
              <a:path w="2207" h="2207" fill="none" extrusionOk="0">
                <a:moveTo>
                  <a:pt x="0" y="1"/>
                </a:moveTo>
                <a:lnTo>
                  <a:pt x="2206" y="1"/>
                </a:lnTo>
                <a:lnTo>
                  <a:pt x="2206" y="2207"/>
                </a:lnTo>
                <a:lnTo>
                  <a:pt x="0" y="2207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2" name="Google Shape;382;p19"/>
          <p:cNvSpPr/>
          <p:nvPr/>
        </p:nvSpPr>
        <p:spPr>
          <a:xfrm>
            <a:off x="2127273" y="2530788"/>
            <a:ext cx="112298" cy="112553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3" name="Google Shape;383;p19"/>
          <p:cNvSpPr/>
          <p:nvPr/>
        </p:nvSpPr>
        <p:spPr>
          <a:xfrm>
            <a:off x="7418926" y="3240515"/>
            <a:ext cx="112298" cy="112553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4" name="Google Shape;384;p19"/>
          <p:cNvSpPr/>
          <p:nvPr/>
        </p:nvSpPr>
        <p:spPr>
          <a:xfrm>
            <a:off x="7751274" y="1218584"/>
            <a:ext cx="86853" cy="86825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85" name="Google Shape;385;p19"/>
          <p:cNvGrpSpPr/>
          <p:nvPr/>
        </p:nvGrpSpPr>
        <p:grpSpPr>
          <a:xfrm>
            <a:off x="6669747" y="-389684"/>
            <a:ext cx="143766" cy="2106420"/>
            <a:chOff x="6780548" y="337714"/>
            <a:chExt cx="133252" cy="1952377"/>
          </a:xfrm>
        </p:grpSpPr>
        <p:sp>
          <p:nvSpPr>
            <p:cNvPr id="386" name="Google Shape;386;p19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" name="Google Shape;387;p19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88" name="Google Shape;388;p19"/>
          <p:cNvGrpSpPr/>
          <p:nvPr/>
        </p:nvGrpSpPr>
        <p:grpSpPr>
          <a:xfrm>
            <a:off x="1510029" y="507749"/>
            <a:ext cx="203534" cy="2663107"/>
            <a:chOff x="250617" y="2402301"/>
            <a:chExt cx="188650" cy="2468354"/>
          </a:xfrm>
        </p:grpSpPr>
        <p:sp>
          <p:nvSpPr>
            <p:cNvPr id="389" name="Google Shape;389;p19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" name="Google Shape;390;p19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" name="Google Shape;391;p19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" name="Google Shape;392;p19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93" name="Google Shape;393;p19"/>
          <p:cNvGrpSpPr/>
          <p:nvPr/>
        </p:nvGrpSpPr>
        <p:grpSpPr>
          <a:xfrm>
            <a:off x="385355" y="1380671"/>
            <a:ext cx="199237" cy="2828935"/>
            <a:chOff x="1608717" y="1280046"/>
            <a:chExt cx="199237" cy="2828935"/>
          </a:xfrm>
        </p:grpSpPr>
        <p:sp>
          <p:nvSpPr>
            <p:cNvPr id="394" name="Google Shape;394;p19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" name="Google Shape;395;p19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" name="Google Shape;396;p19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97" name="Google Shape;397;p19"/>
          <p:cNvSpPr/>
          <p:nvPr/>
        </p:nvSpPr>
        <p:spPr>
          <a:xfrm>
            <a:off x="1050592" y="3209646"/>
            <a:ext cx="9132" cy="2718457"/>
          </a:xfrm>
          <a:custGeom>
            <a:avLst/>
            <a:gdLst/>
            <a:ahLst/>
            <a:cxnLst/>
            <a:rect l="l" t="t" r="r" b="b"/>
            <a:pathLst>
              <a:path w="323" h="96152" extrusionOk="0">
                <a:moveTo>
                  <a:pt x="166" y="1"/>
                </a:moveTo>
                <a:lnTo>
                  <a:pt x="1" y="96151"/>
                </a:lnTo>
                <a:lnTo>
                  <a:pt x="322" y="96151"/>
                </a:lnTo>
                <a:lnTo>
                  <a:pt x="166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8" name="Google Shape;398;p19"/>
          <p:cNvSpPr/>
          <p:nvPr/>
        </p:nvSpPr>
        <p:spPr>
          <a:xfrm>
            <a:off x="7090326" y="2590809"/>
            <a:ext cx="9132" cy="1822361"/>
          </a:xfrm>
          <a:custGeom>
            <a:avLst/>
            <a:gdLst/>
            <a:ahLst/>
            <a:cxnLst/>
            <a:rect l="l" t="t" r="r" b="b"/>
            <a:pathLst>
              <a:path w="323" h="64457" extrusionOk="0">
                <a:moveTo>
                  <a:pt x="157" y="1"/>
                </a:moveTo>
                <a:lnTo>
                  <a:pt x="0" y="64456"/>
                </a:lnTo>
                <a:lnTo>
                  <a:pt x="322" y="64456"/>
                </a:lnTo>
                <a:lnTo>
                  <a:pt x="157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99" name="Google Shape;399;p19"/>
          <p:cNvGrpSpPr/>
          <p:nvPr/>
        </p:nvGrpSpPr>
        <p:grpSpPr>
          <a:xfrm>
            <a:off x="989005" y="-389666"/>
            <a:ext cx="62143" cy="897428"/>
            <a:chOff x="2038689" y="173907"/>
            <a:chExt cx="57599" cy="831799"/>
          </a:xfrm>
        </p:grpSpPr>
        <p:sp>
          <p:nvSpPr>
            <p:cNvPr id="400" name="Google Shape;400;p19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" name="Google Shape;401;p19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02" name="Google Shape;402;p19"/>
          <p:cNvGrpSpPr/>
          <p:nvPr/>
        </p:nvGrpSpPr>
        <p:grpSpPr>
          <a:xfrm>
            <a:off x="8568723" y="2184809"/>
            <a:ext cx="214702" cy="2308597"/>
            <a:chOff x="8008096" y="2108910"/>
            <a:chExt cx="199001" cy="2139769"/>
          </a:xfrm>
        </p:grpSpPr>
        <p:sp>
          <p:nvSpPr>
            <p:cNvPr id="403" name="Google Shape;403;p19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" name="Google Shape;404;p19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05" name="Google Shape;405;p19"/>
          <p:cNvSpPr/>
          <p:nvPr/>
        </p:nvSpPr>
        <p:spPr>
          <a:xfrm>
            <a:off x="6423211" y="3192659"/>
            <a:ext cx="86853" cy="86825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06" name="Google Shape;406;p19"/>
          <p:cNvGrpSpPr/>
          <p:nvPr/>
        </p:nvGrpSpPr>
        <p:grpSpPr>
          <a:xfrm>
            <a:off x="8221223" y="9"/>
            <a:ext cx="214702" cy="2308597"/>
            <a:chOff x="8008096" y="2108910"/>
            <a:chExt cx="199001" cy="2139769"/>
          </a:xfrm>
        </p:grpSpPr>
        <p:sp>
          <p:nvSpPr>
            <p:cNvPr id="407" name="Google Shape;407;p19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" name="Google Shape;408;p19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list">
  <p:cSld name="CUSTOM_4">
    <p:spTree>
      <p:nvGrpSpPr>
        <p:cNvPr id="1" name="Shape 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" name="Google Shape;410;p20"/>
          <p:cNvSpPr txBox="1">
            <a:spLocks noGrp="1"/>
          </p:cNvSpPr>
          <p:nvPr>
            <p:ph type="body" idx="1"/>
          </p:nvPr>
        </p:nvSpPr>
        <p:spPr>
          <a:xfrm>
            <a:off x="597375" y="1063525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411" name="Google Shape;411;p20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412" name="Google Shape;412;p20"/>
          <p:cNvSpPr txBox="1">
            <a:spLocks noGrp="1"/>
          </p:cNvSpPr>
          <p:nvPr>
            <p:ph type="body" idx="2"/>
          </p:nvPr>
        </p:nvSpPr>
        <p:spPr>
          <a:xfrm>
            <a:off x="4690125" y="1063525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5D37"/>
              </a:buClr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413" name="Google Shape;413;p20"/>
          <p:cNvSpPr/>
          <p:nvPr/>
        </p:nvSpPr>
        <p:spPr>
          <a:xfrm>
            <a:off x="8829925" y="1123700"/>
            <a:ext cx="108650" cy="108625"/>
          </a:xfrm>
          <a:custGeom>
            <a:avLst/>
            <a:gdLst/>
            <a:ahLst/>
            <a:cxnLst/>
            <a:rect l="l" t="t" r="r" b="b"/>
            <a:pathLst>
              <a:path w="4346" h="4345" extrusionOk="0">
                <a:moveTo>
                  <a:pt x="4027" y="337"/>
                </a:moveTo>
                <a:lnTo>
                  <a:pt x="4027" y="4008"/>
                </a:lnTo>
                <a:lnTo>
                  <a:pt x="338" y="4008"/>
                </a:lnTo>
                <a:lnTo>
                  <a:pt x="338" y="337"/>
                </a:lnTo>
                <a:close/>
                <a:moveTo>
                  <a:pt x="1" y="0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4" name="Google Shape;414;p20"/>
          <p:cNvSpPr/>
          <p:nvPr/>
        </p:nvSpPr>
        <p:spPr>
          <a:xfrm>
            <a:off x="9156250" y="1340450"/>
            <a:ext cx="111450" cy="110975"/>
          </a:xfrm>
          <a:custGeom>
            <a:avLst/>
            <a:gdLst/>
            <a:ahLst/>
            <a:cxnLst/>
            <a:rect l="l" t="t" r="r" b="b"/>
            <a:pathLst>
              <a:path w="4458" h="4439" extrusionOk="0">
                <a:moveTo>
                  <a:pt x="4008" y="431"/>
                </a:moveTo>
                <a:lnTo>
                  <a:pt x="4008" y="4008"/>
                </a:lnTo>
                <a:lnTo>
                  <a:pt x="431" y="4008"/>
                </a:lnTo>
                <a:lnTo>
                  <a:pt x="431" y="431"/>
                </a:lnTo>
                <a:close/>
                <a:moveTo>
                  <a:pt x="0" y="1"/>
                </a:moveTo>
                <a:lnTo>
                  <a:pt x="0" y="4439"/>
                </a:lnTo>
                <a:lnTo>
                  <a:pt x="4457" y="4439"/>
                </a:lnTo>
                <a:lnTo>
                  <a:pt x="4457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5" name="Google Shape;415;p20"/>
          <p:cNvSpPr/>
          <p:nvPr/>
        </p:nvSpPr>
        <p:spPr>
          <a:xfrm>
            <a:off x="5809850" y="214400"/>
            <a:ext cx="108625" cy="108625"/>
          </a:xfrm>
          <a:custGeom>
            <a:avLst/>
            <a:gdLst/>
            <a:ahLst/>
            <a:cxnLst/>
            <a:rect l="l" t="t" r="r" b="b"/>
            <a:pathLst>
              <a:path w="4345" h="4345" extrusionOk="0">
                <a:moveTo>
                  <a:pt x="4008" y="337"/>
                </a:moveTo>
                <a:lnTo>
                  <a:pt x="4008" y="4008"/>
                </a:lnTo>
                <a:lnTo>
                  <a:pt x="337" y="4008"/>
                </a:lnTo>
                <a:lnTo>
                  <a:pt x="337" y="337"/>
                </a:lnTo>
                <a:close/>
                <a:moveTo>
                  <a:pt x="0" y="0"/>
                </a:moveTo>
                <a:lnTo>
                  <a:pt x="0" y="4345"/>
                </a:lnTo>
                <a:lnTo>
                  <a:pt x="4345" y="4345"/>
                </a:lnTo>
                <a:lnTo>
                  <a:pt x="434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6" name="Google Shape;416;p20"/>
          <p:cNvSpPr/>
          <p:nvPr/>
        </p:nvSpPr>
        <p:spPr>
          <a:xfrm>
            <a:off x="7079800" y="420088"/>
            <a:ext cx="164825" cy="164375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7" name="Google Shape;417;p20"/>
          <p:cNvSpPr/>
          <p:nvPr/>
        </p:nvSpPr>
        <p:spPr>
          <a:xfrm>
            <a:off x="7952700" y="278513"/>
            <a:ext cx="44975" cy="44500"/>
          </a:xfrm>
          <a:custGeom>
            <a:avLst/>
            <a:gdLst/>
            <a:ahLst/>
            <a:cxnLst/>
            <a:rect l="l" t="t" r="r" b="b"/>
            <a:pathLst>
              <a:path w="1799" h="1780" extrusionOk="0">
                <a:moveTo>
                  <a:pt x="1" y="1"/>
                </a:moveTo>
                <a:lnTo>
                  <a:pt x="1" y="1780"/>
                </a:lnTo>
                <a:lnTo>
                  <a:pt x="1798" y="1780"/>
                </a:lnTo>
                <a:lnTo>
                  <a:pt x="1798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8" name="Google Shape;418;p20"/>
          <p:cNvSpPr/>
          <p:nvPr/>
        </p:nvSpPr>
        <p:spPr>
          <a:xfrm>
            <a:off x="7372450" y="-69325"/>
            <a:ext cx="155925" cy="155925"/>
          </a:xfrm>
          <a:custGeom>
            <a:avLst/>
            <a:gdLst/>
            <a:ahLst/>
            <a:cxnLst/>
            <a:rect l="l" t="t" r="r" b="b"/>
            <a:pathLst>
              <a:path w="6237" h="6237" extrusionOk="0">
                <a:moveTo>
                  <a:pt x="0" y="0"/>
                </a:moveTo>
                <a:lnTo>
                  <a:pt x="0" y="6236"/>
                </a:lnTo>
                <a:lnTo>
                  <a:pt x="6236" y="6236"/>
                </a:lnTo>
                <a:lnTo>
                  <a:pt x="6236" y="0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9" name="Google Shape;419;p20"/>
          <p:cNvSpPr/>
          <p:nvPr/>
        </p:nvSpPr>
        <p:spPr>
          <a:xfrm>
            <a:off x="8464275" y="355050"/>
            <a:ext cx="155925" cy="156400"/>
          </a:xfrm>
          <a:custGeom>
            <a:avLst/>
            <a:gdLst/>
            <a:ahLst/>
            <a:cxnLst/>
            <a:rect l="l" t="t" r="r" b="b"/>
            <a:pathLst>
              <a:path w="6237" h="6256" extrusionOk="0">
                <a:moveTo>
                  <a:pt x="1" y="1"/>
                </a:moveTo>
                <a:lnTo>
                  <a:pt x="1" y="6256"/>
                </a:lnTo>
                <a:lnTo>
                  <a:pt x="6237" y="6256"/>
                </a:lnTo>
                <a:lnTo>
                  <a:pt x="623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0" name="Google Shape;420;p20"/>
          <p:cNvSpPr/>
          <p:nvPr/>
        </p:nvSpPr>
        <p:spPr>
          <a:xfrm>
            <a:off x="7264275" y="607363"/>
            <a:ext cx="122675" cy="122675"/>
          </a:xfrm>
          <a:custGeom>
            <a:avLst/>
            <a:gdLst/>
            <a:ahLst/>
            <a:cxnLst/>
            <a:rect l="l" t="t" r="r" b="b"/>
            <a:pathLst>
              <a:path w="4907" h="4907" extrusionOk="0">
                <a:moveTo>
                  <a:pt x="0" y="1"/>
                </a:moveTo>
                <a:lnTo>
                  <a:pt x="0" y="4907"/>
                </a:lnTo>
                <a:lnTo>
                  <a:pt x="4907" y="4907"/>
                </a:lnTo>
                <a:lnTo>
                  <a:pt x="490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1" name="Google Shape;421;p20"/>
          <p:cNvSpPr/>
          <p:nvPr/>
        </p:nvSpPr>
        <p:spPr>
          <a:xfrm>
            <a:off x="6298850" y="907625"/>
            <a:ext cx="155925" cy="155900"/>
          </a:xfrm>
          <a:custGeom>
            <a:avLst/>
            <a:gdLst/>
            <a:ahLst/>
            <a:cxnLst/>
            <a:rect l="l" t="t" r="r" b="b"/>
            <a:pathLst>
              <a:path w="6237" h="6236" extrusionOk="0">
                <a:moveTo>
                  <a:pt x="1" y="0"/>
                </a:moveTo>
                <a:lnTo>
                  <a:pt x="1" y="6236"/>
                </a:lnTo>
                <a:lnTo>
                  <a:pt x="6237" y="6236"/>
                </a:lnTo>
                <a:lnTo>
                  <a:pt x="6237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2" name="Google Shape;422;p20"/>
          <p:cNvSpPr/>
          <p:nvPr/>
        </p:nvSpPr>
        <p:spPr>
          <a:xfrm>
            <a:off x="-83000" y="4540463"/>
            <a:ext cx="164825" cy="164375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3" name="Google Shape;423;p20"/>
          <p:cNvSpPr/>
          <p:nvPr/>
        </p:nvSpPr>
        <p:spPr>
          <a:xfrm>
            <a:off x="101475" y="4727738"/>
            <a:ext cx="122675" cy="122675"/>
          </a:xfrm>
          <a:custGeom>
            <a:avLst/>
            <a:gdLst/>
            <a:ahLst/>
            <a:cxnLst/>
            <a:rect l="l" t="t" r="r" b="b"/>
            <a:pathLst>
              <a:path w="4907" h="4907" extrusionOk="0">
                <a:moveTo>
                  <a:pt x="0" y="1"/>
                </a:moveTo>
                <a:lnTo>
                  <a:pt x="0" y="4907"/>
                </a:lnTo>
                <a:lnTo>
                  <a:pt x="4907" y="4907"/>
                </a:lnTo>
                <a:lnTo>
                  <a:pt x="490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3"/>
          <p:cNvSpPr/>
          <p:nvPr/>
        </p:nvSpPr>
        <p:spPr>
          <a:xfrm>
            <a:off x="720239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" name="Google Shape;40;p3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1" name="Google Shape;41;p3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42" name="Google Shape;42;p3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43;p3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44;p3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" name="Google Shape;45;p3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6" name="Google Shape;46;p3"/>
          <p:cNvGrpSpPr/>
          <p:nvPr/>
        </p:nvGrpSpPr>
        <p:grpSpPr>
          <a:xfrm>
            <a:off x="3643898" y="-436198"/>
            <a:ext cx="133252" cy="1952377"/>
            <a:chOff x="6780548" y="337714"/>
            <a:chExt cx="133252" cy="1952377"/>
          </a:xfrm>
        </p:grpSpPr>
        <p:sp>
          <p:nvSpPr>
            <p:cNvPr id="47" name="Google Shape;47;p3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48;p3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9" name="Google Shape;49;p3"/>
          <p:cNvSpPr/>
          <p:nvPr/>
        </p:nvSpPr>
        <p:spPr>
          <a:xfrm>
            <a:off x="8935726" y="10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50" name="Google Shape;50;p3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51" name="Google Shape;51;p3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3" name="Google Shape;53;p3"/>
          <p:cNvGrpSpPr/>
          <p:nvPr/>
        </p:nvGrpSpPr>
        <p:grpSpPr>
          <a:xfrm>
            <a:off x="520996" y="1091548"/>
            <a:ext cx="199001" cy="2139769"/>
            <a:chOff x="8008096" y="2108910"/>
            <a:chExt cx="199001" cy="2139769"/>
          </a:xfrm>
        </p:grpSpPr>
        <p:sp>
          <p:nvSpPr>
            <p:cNvPr id="54" name="Google Shape;54;p3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5;p3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6" name="Google Shape;56;p3"/>
          <p:cNvSpPr txBox="1">
            <a:spLocks noGrp="1"/>
          </p:cNvSpPr>
          <p:nvPr>
            <p:ph type="ctrTitle"/>
          </p:nvPr>
        </p:nvSpPr>
        <p:spPr>
          <a:xfrm>
            <a:off x="2031287" y="1742775"/>
            <a:ext cx="2622000" cy="83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48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7" name="Google Shape;57;p3"/>
          <p:cNvSpPr txBox="1">
            <a:spLocks noGrp="1"/>
          </p:cNvSpPr>
          <p:nvPr>
            <p:ph type="subTitle" idx="1"/>
          </p:nvPr>
        </p:nvSpPr>
        <p:spPr>
          <a:xfrm>
            <a:off x="1791587" y="2417450"/>
            <a:ext cx="3101400" cy="104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8" name="Google Shape;58;p3"/>
          <p:cNvSpPr txBox="1">
            <a:spLocks noGrp="1"/>
          </p:cNvSpPr>
          <p:nvPr>
            <p:ph type="title" idx="2" hasCustomPrompt="1"/>
          </p:nvPr>
        </p:nvSpPr>
        <p:spPr>
          <a:xfrm>
            <a:off x="5834900" y="2122225"/>
            <a:ext cx="9810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CUSTOM_5"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42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type="blank">
  <p:cSld name="BLANK"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E6C5345-601B-484D-8B0A-2C2690DAC3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D84863AC-38AF-7F4E-A474-8C5A3B0A056D}" type="datetime2">
              <a:rPr lang="en-GB" smtClean="0"/>
              <a:t>Friday, 10 February 2023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1B5993-A1CC-1542-816D-17AC8987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57C77F2B-995E-186D-9086-F70CB4D70E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743294606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8603456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B3CCB918-8F83-7949-B76F-F359BDF8FE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A54FEDED-1A0E-8240-9BD3-F7C27B5F05AB}" type="datetime2">
              <a:rPr lang="en-GB" smtClean="0"/>
              <a:t>Friday, 10 February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9E13CC1-CC0C-6449-AA18-E64718682B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205FEC4B-79A1-C5E9-3E46-0C6830D9A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06053797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4160758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2C2787-42B0-AB4F-80EE-D0432366690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73178" y="1066800"/>
            <a:ext cx="4445794" cy="33599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F4B2F0F-2FF6-6F4C-84C0-E24EFDBA8E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04FEE97-34C6-914F-B3CB-5ED1CCF497C5}" type="datetime2">
              <a:rPr lang="en-GB" smtClean="0"/>
              <a:pPr/>
              <a:t>Friday, 10 February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8C1DF6A-C216-CA40-9E9B-AA19B297D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Title Placeholder 8">
            <a:extLst>
              <a:ext uri="{FF2B5EF4-FFF2-40B4-BE49-F238E27FC236}">
                <a16:creationId xmlns:a16="http://schemas.microsoft.com/office/drawing/2014/main" id="{1B417D02-8095-2C31-A084-AAF54EF52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980362280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99AA9B-46D6-4AAA-B038-0B835075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0" imgH="469" progId="TCLayout.ActiveDocument.1">
                  <p:embed/>
                </p:oleObj>
              </mc:Choice>
              <mc:Fallback>
                <p:oleObj name="think-cell Folie" r:id="rId3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99AA9B-46D6-4AAA-B038-0B835075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CE0895B-686E-4870-BA32-8B5789243D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8592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BFC51114-644B-49DB-BB94-074B8A8C1F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8592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E5A7DDC4-351D-4062-80E6-4251B7E720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056" y="1430802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1B3A23B7-A010-42CE-9589-44C683BB1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8056" y="3331083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8147B2AA-7C11-45BE-A1F9-0A9586D982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35989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1" name="Text Placeholder 16">
            <a:extLst>
              <a:ext uri="{FF2B5EF4-FFF2-40B4-BE49-F238E27FC236}">
                <a16:creationId xmlns:a16="http://schemas.microsoft.com/office/drawing/2014/main" id="{D119508F-B3BD-4B02-9FCA-9257E83D66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35989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247B2379-72E1-4BB0-A9E2-548ADB68A1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8843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6" name="Text Placeholder 54">
            <a:extLst>
              <a:ext uri="{FF2B5EF4-FFF2-40B4-BE49-F238E27FC236}">
                <a16:creationId xmlns:a16="http://schemas.microsoft.com/office/drawing/2014/main" id="{8C8BDA19-0131-4D0E-A0B2-E07FA91BA8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8843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7" name="Text Placeholder 54">
            <a:extLst>
              <a:ext uri="{FF2B5EF4-FFF2-40B4-BE49-F238E27FC236}">
                <a16:creationId xmlns:a16="http://schemas.microsoft.com/office/drawing/2014/main" id="{BD3BF168-EEBF-4E73-99DD-BD32BB2CE1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6557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8" name="Text Placeholder 54">
            <a:extLst>
              <a:ext uri="{FF2B5EF4-FFF2-40B4-BE49-F238E27FC236}">
                <a16:creationId xmlns:a16="http://schemas.microsoft.com/office/drawing/2014/main" id="{35638724-89B4-40FD-8F06-B32CE8FEA3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6557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9" name="Text Placeholder 54">
            <a:extLst>
              <a:ext uri="{FF2B5EF4-FFF2-40B4-BE49-F238E27FC236}">
                <a16:creationId xmlns:a16="http://schemas.microsoft.com/office/drawing/2014/main" id="{F7C30755-898E-4418-8E0D-A1DD98F7C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3385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0" name="Text Placeholder 54">
            <a:extLst>
              <a:ext uri="{FF2B5EF4-FFF2-40B4-BE49-F238E27FC236}">
                <a16:creationId xmlns:a16="http://schemas.microsoft.com/office/drawing/2014/main" id="{75EBAAB8-2A67-4975-963E-8EF119D24F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385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8759F59D-6024-432D-A054-18929B337A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070" y="962324"/>
            <a:ext cx="442534" cy="4681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FA7043CE-B151-49AE-8A63-69DCBE788A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536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4" name="Text Placeholder 61">
            <a:extLst>
              <a:ext uri="{FF2B5EF4-FFF2-40B4-BE49-F238E27FC236}">
                <a16:creationId xmlns:a16="http://schemas.microsoft.com/office/drawing/2014/main" id="{DAF5DAA5-2650-4AC1-A86E-CAA6DB4ED1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59694" y="975366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65" name="Text Placeholder 61">
            <a:extLst>
              <a:ext uri="{FF2B5EF4-FFF2-40B4-BE49-F238E27FC236}">
                <a16:creationId xmlns:a16="http://schemas.microsoft.com/office/drawing/2014/main" id="{BF962EF4-32A5-4099-BCD8-1D757E5FE30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68068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6" name="Text Placeholder 61">
            <a:extLst>
              <a:ext uri="{FF2B5EF4-FFF2-40B4-BE49-F238E27FC236}">
                <a16:creationId xmlns:a16="http://schemas.microsoft.com/office/drawing/2014/main" id="{817AF89B-941E-4261-82AC-55070301A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9555" y="975879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7" name="Text Placeholder 61">
            <a:extLst>
              <a:ext uri="{FF2B5EF4-FFF2-40B4-BE49-F238E27FC236}">
                <a16:creationId xmlns:a16="http://schemas.microsoft.com/office/drawing/2014/main" id="{669B1C84-F860-449F-AE54-22579B25D00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7929" y="2864655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7672EB68-0408-0846-AF9E-263BDC0BC9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tx1"/>
                </a:solidFill>
              </a:defRPr>
            </a:lvl1pPr>
          </a:lstStyle>
          <a:p>
            <a:fld id="{BF765354-2516-7044-9511-828D624A63DE}" type="datetime2">
              <a:rPr lang="en-GB" smtClean="0"/>
              <a:t>Friday, 10 February 2023</a:t>
            </a:fld>
            <a:endParaRPr lang="en-US"/>
          </a:p>
        </p:txBody>
      </p:sp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0B63705F-966A-6949-B59E-9D266142EE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24" name="Title Placeholder 8">
            <a:extLst>
              <a:ext uri="{FF2B5EF4-FFF2-40B4-BE49-F238E27FC236}">
                <a16:creationId xmlns:a16="http://schemas.microsoft.com/office/drawing/2014/main" id="{9FE95C0F-1BD7-AD0C-B77D-BD0D7777D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3753587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25029" y="914400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25029" y="2235998"/>
            <a:ext cx="272276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225028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56A5CCA2-8616-D047-A7F9-7E7CDD926D76}" type="datetime2">
              <a:rPr lang="en-GB" smtClean="0"/>
              <a:pPr/>
              <a:t>Friday, 10 February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213237" y="914400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3237" y="2235998"/>
            <a:ext cx="272276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13237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Picture Placeholder 60">
            <a:extLst>
              <a:ext uri="{FF2B5EF4-FFF2-40B4-BE49-F238E27FC236}">
                <a16:creationId xmlns:a16="http://schemas.microsoft.com/office/drawing/2014/main" id="{5B49F477-40EC-F465-84A6-58F7313CE9D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0545" y="914400"/>
            <a:ext cx="275300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1F6AA17-8DE5-471D-1AEC-145E97C6E8C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60544" y="2235998"/>
            <a:ext cx="275842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7" name="Text Placeholder 54">
            <a:extLst>
              <a:ext uri="{FF2B5EF4-FFF2-40B4-BE49-F238E27FC236}">
                <a16:creationId xmlns:a16="http://schemas.microsoft.com/office/drawing/2014/main" id="{884F3DAF-F68E-5EA4-C64D-A876C69DF9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60544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itle Placeholder 8">
            <a:extLst>
              <a:ext uri="{FF2B5EF4-FFF2-40B4-BE49-F238E27FC236}">
                <a16:creationId xmlns:a16="http://schemas.microsoft.com/office/drawing/2014/main" id="{9681913A-38AB-88F4-ADA8-84962A3C2F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874199274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CC5A80A8-5C99-624A-803B-6F3B5B6A8B03}" type="datetime2">
              <a:rPr lang="en-GB" smtClean="0"/>
              <a:pPr/>
              <a:t>Friday, 10 February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2" name="Title Placeholder 8">
            <a:extLst>
              <a:ext uri="{FF2B5EF4-FFF2-40B4-BE49-F238E27FC236}">
                <a16:creationId xmlns:a16="http://schemas.microsoft.com/office/drawing/2014/main" id="{E70F91E8-3D90-FD2D-A82F-BADA975D4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  <p:sp>
        <p:nvSpPr>
          <p:cNvPr id="13" name="Picture Placeholder 60">
            <a:extLst>
              <a:ext uri="{FF2B5EF4-FFF2-40B4-BE49-F238E27FC236}">
                <a16:creationId xmlns:a16="http://schemas.microsoft.com/office/drawing/2014/main" id="{68627DF1-1C10-D308-BEBA-4C91601AD32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25029" y="914400"/>
            <a:ext cx="402666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97FA309F-8582-18FB-CE40-6B526AF91FF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25029" y="2235998"/>
            <a:ext cx="4034586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15" name="Text Placeholder 54">
            <a:extLst>
              <a:ext uri="{FF2B5EF4-FFF2-40B4-BE49-F238E27FC236}">
                <a16:creationId xmlns:a16="http://schemas.microsoft.com/office/drawing/2014/main" id="{8C481E49-FECB-89B3-B563-E1394CDA3C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5029" y="1916996"/>
            <a:ext cx="3680050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6" name="Picture Placeholder 60">
            <a:extLst>
              <a:ext uri="{FF2B5EF4-FFF2-40B4-BE49-F238E27FC236}">
                <a16:creationId xmlns:a16="http://schemas.microsoft.com/office/drawing/2014/main" id="{FADC1FE7-56F2-DF59-EE57-051B4D62321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909389" y="914400"/>
            <a:ext cx="4009583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D4D0EC-0F35-A006-6D06-F742040976C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09389" y="2235998"/>
            <a:ext cx="4017475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18" name="Text Placeholder 54">
            <a:extLst>
              <a:ext uri="{FF2B5EF4-FFF2-40B4-BE49-F238E27FC236}">
                <a16:creationId xmlns:a16="http://schemas.microsoft.com/office/drawing/2014/main" id="{D01185BC-80E2-4D41-3824-3E98816BC9E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09389" y="1916996"/>
            <a:ext cx="3680050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660692628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F088B8F0-9571-4649-BC4C-07907C8B83C0}" type="datetime2">
              <a:rPr lang="en-GB" smtClean="0"/>
              <a:t>Friday, 10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588510114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4"/>
          <p:cNvSpPr txBox="1">
            <a:spLocks noGrp="1"/>
          </p:cNvSpPr>
          <p:nvPr>
            <p:ph type="body" idx="1"/>
          </p:nvPr>
        </p:nvSpPr>
        <p:spPr>
          <a:xfrm>
            <a:off x="618825" y="1679175"/>
            <a:ext cx="3534300" cy="20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61" name="Google Shape;61;p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2686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62" name="Google Shape;62;p4"/>
          <p:cNvSpPr/>
          <p:nvPr/>
        </p:nvSpPr>
        <p:spPr>
          <a:xfrm>
            <a:off x="720000" y="46901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63;p4"/>
          <p:cNvSpPr/>
          <p:nvPr/>
        </p:nvSpPr>
        <p:spPr>
          <a:xfrm>
            <a:off x="2058475" y="41522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" name="Google Shape;64;p4"/>
          <p:cNvSpPr/>
          <p:nvPr/>
        </p:nvSpPr>
        <p:spPr>
          <a:xfrm>
            <a:off x="1432075" y="4296400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65;p4"/>
          <p:cNvSpPr/>
          <p:nvPr/>
        </p:nvSpPr>
        <p:spPr>
          <a:xfrm>
            <a:off x="2194725" y="44747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66;p4"/>
          <p:cNvSpPr/>
          <p:nvPr/>
        </p:nvSpPr>
        <p:spPr>
          <a:xfrm>
            <a:off x="1585475" y="469551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7" name="Google Shape;67;p4"/>
          <p:cNvGrpSpPr/>
          <p:nvPr/>
        </p:nvGrpSpPr>
        <p:grpSpPr>
          <a:xfrm>
            <a:off x="8148521" y="3004593"/>
            <a:ext cx="98059" cy="1147596"/>
            <a:chOff x="3347921" y="16006"/>
            <a:chExt cx="98059" cy="1147596"/>
          </a:xfrm>
        </p:grpSpPr>
        <p:sp>
          <p:nvSpPr>
            <p:cNvPr id="68" name="Google Shape;68;p4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69;p4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0" name="Google Shape;70;p4"/>
          <p:cNvGrpSpPr/>
          <p:nvPr/>
        </p:nvGrpSpPr>
        <p:grpSpPr>
          <a:xfrm>
            <a:off x="281421" y="3769263"/>
            <a:ext cx="121172" cy="760495"/>
            <a:chOff x="5245196" y="3136513"/>
            <a:chExt cx="121172" cy="760495"/>
          </a:xfrm>
        </p:grpSpPr>
        <p:sp>
          <p:nvSpPr>
            <p:cNvPr id="71" name="Google Shape;71;p4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72;p4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3" name="Google Shape;73;p4"/>
          <p:cNvGrpSpPr/>
          <p:nvPr/>
        </p:nvGrpSpPr>
        <p:grpSpPr>
          <a:xfrm>
            <a:off x="8534739" y="4069632"/>
            <a:ext cx="57599" cy="831799"/>
            <a:chOff x="2038689" y="173907"/>
            <a:chExt cx="57599" cy="831799"/>
          </a:xfrm>
        </p:grpSpPr>
        <p:sp>
          <p:nvSpPr>
            <p:cNvPr id="74" name="Google Shape;74;p4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75;p4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76" name="Google Shape;76;p4"/>
          <p:cNvSpPr/>
          <p:nvPr/>
        </p:nvSpPr>
        <p:spPr>
          <a:xfrm>
            <a:off x="7686100" y="45688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7" name="Google Shape;77;p4"/>
          <p:cNvSpPr/>
          <p:nvPr/>
        </p:nvSpPr>
        <p:spPr>
          <a:xfrm>
            <a:off x="8868125" y="376926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EE25CA6C-80A3-E44D-9046-77036B8FEBB5}" type="datetime2">
              <a:rPr lang="en-GB" smtClean="0"/>
              <a:t>Friday, 10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278A902-13D6-F255-7623-20A2ADB7E7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4622856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BACACC-E783-B2B6-1829-2C52B167CD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50552" y="0"/>
            <a:ext cx="3993448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Title Placeholder 8">
            <a:extLst>
              <a:ext uri="{FF2B5EF4-FFF2-40B4-BE49-F238E27FC236}">
                <a16:creationId xmlns:a16="http://schemas.microsoft.com/office/drawing/2014/main" id="{1EDADDD7-2E87-5A0B-2F33-03BCE8D7C3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937487517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D053979-B082-A34E-A9B2-F4E33D83F78C}" type="datetime2">
              <a:rPr lang="en-GB" smtClean="0"/>
              <a:pPr/>
              <a:t>Friday, 10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6E91724-1101-6665-000F-986771AAC2CD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225029" y="996215"/>
            <a:ext cx="8641556" cy="367341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itle Placeholder 8">
            <a:extLst>
              <a:ext uri="{FF2B5EF4-FFF2-40B4-BE49-F238E27FC236}">
                <a16:creationId xmlns:a16="http://schemas.microsoft.com/office/drawing/2014/main" id="{BC48FCDC-748E-04F0-938A-77141DE86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238469209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F988E7-76BC-AD4B-8C1E-64D95688BB68}"/>
              </a:ext>
            </a:extLst>
          </p:cNvPr>
          <p:cNvSpPr/>
          <p:nvPr userDrawn="1"/>
        </p:nvSpPr>
        <p:spPr bwMode="gray">
          <a:xfrm>
            <a:off x="200025" y="4659406"/>
            <a:ext cx="8743950" cy="30255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232211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97C86629-9BF8-7449-AB66-B301EC0294F8}" type="datetime2">
              <a:rPr lang="en-GB" smtClean="0"/>
              <a:pPr/>
              <a:t>Friday, 10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42302-E0B7-1E2B-984E-83406CA9F1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977992" y="1130636"/>
            <a:ext cx="5155869" cy="218003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8D3490-B6FB-222F-D56F-95BC434973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5029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E120866-7B7D-B560-1594-DD8B67D87C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5029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84E29A7-C623-8859-545A-BFD0834D43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029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EBADB65-7F69-F862-97A3-E8516B74C1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5029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FFB3FA-7644-C350-81CA-D4EEFA6FE3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5029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9137A80-4A7B-B9D9-E8DC-8354028082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029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8BCCC9-A461-4DFB-578A-4E9F734E7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44286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F7AFC66-89C0-D90A-55DE-EC7EB847E1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4286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8A3E9E0-4686-8164-DA2E-24E85A4900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44286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68D244E-586D-B692-B92B-029A736068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44286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E378551-6E0E-18FC-AC66-9A9B2BCDC8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44286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8C7E2AD-0924-6C13-19B8-E28399702C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44286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0FEAF9-F342-9BB6-C1F9-05F1D8D142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90555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EDCF3E4-080E-DFBF-69C5-7D3C1729CB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90555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4EE7E3B-E8F3-6B53-26D9-ECBDBF1061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6082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996478B-8B4A-D64D-C5F4-C9DBDF5DEE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6082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AC01AA0-1F24-6859-F526-1758CC7B00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50184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6887078-429B-5522-2204-AE6E7BCA1E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50184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6" name="Title Placeholder 8">
            <a:extLst>
              <a:ext uri="{FF2B5EF4-FFF2-40B4-BE49-F238E27FC236}">
                <a16:creationId xmlns:a16="http://schemas.microsoft.com/office/drawing/2014/main" id="{39DD743B-94D8-C90B-B949-B8435C1960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342113324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E6C5345-601B-484D-8B0A-2C2690DAC3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D84863AC-38AF-7F4E-A474-8C5A3B0A056D}" type="datetime2">
              <a:rPr lang="en-GB" smtClean="0"/>
              <a:t>Friday, 10 February 2023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1B5993-A1CC-1542-816D-17AC8987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20540847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8603456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B3CCB918-8F83-7949-B76F-F359BDF8FE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A54FEDED-1A0E-8240-9BD3-F7C27B5F05AB}" type="datetime2">
              <a:rPr lang="en-GB" smtClean="0"/>
              <a:t>Friday, 10 February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9E13CC1-CC0C-6449-AA18-E64718682B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625583889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4160758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2C2787-42B0-AB4F-80EE-D0432366690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73179" y="1059657"/>
            <a:ext cx="4381500" cy="337542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F4B2F0F-2FF6-6F4C-84C0-E24EFDBA8E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04FEE97-34C6-914F-B3CB-5ED1CCF497C5}" type="datetime2">
              <a:rPr lang="en-GB" smtClean="0"/>
              <a:pPr/>
              <a:t>Friday, 10 February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8C1DF6A-C216-CA40-9E9B-AA19B297D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506588732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99AA9B-46D6-4AAA-B038-0B835075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0" imgH="469" progId="TCLayout.ActiveDocument.1">
                  <p:embed/>
                </p:oleObj>
              </mc:Choice>
              <mc:Fallback>
                <p:oleObj name="think-cell Folie" r:id="rId3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99AA9B-46D6-4AAA-B038-0B835075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CE0895B-686E-4870-BA32-8B5789243D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8592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BFC51114-644B-49DB-BB94-074B8A8C1F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8592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E5A7DDC4-351D-4062-80E6-4251B7E720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056" y="1430802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1B3A23B7-A010-42CE-9589-44C683BB1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8056" y="3331083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8147B2AA-7C11-45BE-A1F9-0A9586D982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35989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1" name="Text Placeholder 16">
            <a:extLst>
              <a:ext uri="{FF2B5EF4-FFF2-40B4-BE49-F238E27FC236}">
                <a16:creationId xmlns:a16="http://schemas.microsoft.com/office/drawing/2014/main" id="{D119508F-B3BD-4B02-9FCA-9257E83D66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35989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247B2379-72E1-4BB0-A9E2-548ADB68A1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8843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6" name="Text Placeholder 54">
            <a:extLst>
              <a:ext uri="{FF2B5EF4-FFF2-40B4-BE49-F238E27FC236}">
                <a16:creationId xmlns:a16="http://schemas.microsoft.com/office/drawing/2014/main" id="{8C8BDA19-0131-4D0E-A0B2-E07FA91BA8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8843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7" name="Text Placeholder 54">
            <a:extLst>
              <a:ext uri="{FF2B5EF4-FFF2-40B4-BE49-F238E27FC236}">
                <a16:creationId xmlns:a16="http://schemas.microsoft.com/office/drawing/2014/main" id="{BD3BF168-EEBF-4E73-99DD-BD32BB2CE1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6557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8" name="Text Placeholder 54">
            <a:extLst>
              <a:ext uri="{FF2B5EF4-FFF2-40B4-BE49-F238E27FC236}">
                <a16:creationId xmlns:a16="http://schemas.microsoft.com/office/drawing/2014/main" id="{35638724-89B4-40FD-8F06-B32CE8FEA3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6557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9" name="Text Placeholder 54">
            <a:extLst>
              <a:ext uri="{FF2B5EF4-FFF2-40B4-BE49-F238E27FC236}">
                <a16:creationId xmlns:a16="http://schemas.microsoft.com/office/drawing/2014/main" id="{F7C30755-898E-4418-8E0D-A1DD98F7C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3385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0" name="Text Placeholder 54">
            <a:extLst>
              <a:ext uri="{FF2B5EF4-FFF2-40B4-BE49-F238E27FC236}">
                <a16:creationId xmlns:a16="http://schemas.microsoft.com/office/drawing/2014/main" id="{75EBAAB8-2A67-4975-963E-8EF119D24F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385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8759F59D-6024-432D-A054-18929B337A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070" y="962324"/>
            <a:ext cx="442534" cy="4681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FA7043CE-B151-49AE-8A63-69DCBE788A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536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4" name="Text Placeholder 61">
            <a:extLst>
              <a:ext uri="{FF2B5EF4-FFF2-40B4-BE49-F238E27FC236}">
                <a16:creationId xmlns:a16="http://schemas.microsoft.com/office/drawing/2014/main" id="{DAF5DAA5-2650-4AC1-A86E-CAA6DB4ED1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59694" y="975366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65" name="Text Placeholder 61">
            <a:extLst>
              <a:ext uri="{FF2B5EF4-FFF2-40B4-BE49-F238E27FC236}">
                <a16:creationId xmlns:a16="http://schemas.microsoft.com/office/drawing/2014/main" id="{BF962EF4-32A5-4099-BCD8-1D757E5FE30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68068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6" name="Text Placeholder 61">
            <a:extLst>
              <a:ext uri="{FF2B5EF4-FFF2-40B4-BE49-F238E27FC236}">
                <a16:creationId xmlns:a16="http://schemas.microsoft.com/office/drawing/2014/main" id="{817AF89B-941E-4261-82AC-55070301A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9555" y="975879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7" name="Text Placeholder 61">
            <a:extLst>
              <a:ext uri="{FF2B5EF4-FFF2-40B4-BE49-F238E27FC236}">
                <a16:creationId xmlns:a16="http://schemas.microsoft.com/office/drawing/2014/main" id="{669B1C84-F860-449F-AE54-22579B25D00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7929" y="2864655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27" name="Title Placeholder 8">
            <a:extLst>
              <a:ext uri="{FF2B5EF4-FFF2-40B4-BE49-F238E27FC236}">
                <a16:creationId xmlns:a16="http://schemas.microsoft.com/office/drawing/2014/main" id="{7BECDA62-9DA3-C840-B5D0-93109A6BC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7672EB68-0408-0846-AF9E-263BDC0BC9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tx1"/>
                </a:solidFill>
              </a:defRPr>
            </a:lvl1pPr>
          </a:lstStyle>
          <a:p>
            <a:fld id="{BF765354-2516-7044-9511-828D624A63DE}" type="datetime2">
              <a:rPr lang="en-GB" smtClean="0"/>
              <a:t>Friday, 10 February 2023</a:t>
            </a:fld>
            <a:endParaRPr lang="en-US"/>
          </a:p>
        </p:txBody>
      </p:sp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0B63705F-966A-6949-B59E-9D266142EE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3876819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65931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65931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336352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56A5CCA2-8616-D047-A7F9-7E7CDD926D76}" type="datetime2">
              <a:rPr lang="en-GB" smtClean="0"/>
              <a:pPr/>
              <a:t>Friday, 10 February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213237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3237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83658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Picture Placeholder 60">
            <a:extLst>
              <a:ext uri="{FF2B5EF4-FFF2-40B4-BE49-F238E27FC236}">
                <a16:creationId xmlns:a16="http://schemas.microsoft.com/office/drawing/2014/main" id="{5B49F477-40EC-F465-84A6-58F7313CE9D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0545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1F6AA17-8DE5-471D-1AEC-145E97C6E8C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60545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7" name="Text Placeholder 54">
            <a:extLst>
              <a:ext uri="{FF2B5EF4-FFF2-40B4-BE49-F238E27FC236}">
                <a16:creationId xmlns:a16="http://schemas.microsoft.com/office/drawing/2014/main" id="{884F3DAF-F68E-5EA4-C64D-A876C69DF9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30965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59583546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65931" y="727442"/>
            <a:ext cx="401850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65930" y="2049039"/>
            <a:ext cx="4061141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336352" y="1730038"/>
            <a:ext cx="3672593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CC5A80A8-5C99-624A-803B-6F3B5B6A8B03}" type="datetime2">
              <a:rPr lang="en-GB" smtClean="0"/>
              <a:pPr/>
              <a:t>Friday, 10 February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859571" y="727442"/>
            <a:ext cx="401850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816930" y="2049039"/>
            <a:ext cx="4061141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29991" y="1730038"/>
            <a:ext cx="3781301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455760832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5"/>
          <p:cNvSpPr txBox="1">
            <a:spLocks noGrp="1"/>
          </p:cNvSpPr>
          <p:nvPr>
            <p:ph type="ctrTitle"/>
          </p:nvPr>
        </p:nvSpPr>
        <p:spPr>
          <a:xfrm>
            <a:off x="923625" y="1196026"/>
            <a:ext cx="982200" cy="577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80" name="Google Shape;80;p5"/>
          <p:cNvSpPr txBox="1">
            <a:spLocks noGrp="1"/>
          </p:cNvSpPr>
          <p:nvPr>
            <p:ph type="subTitle" idx="1"/>
          </p:nvPr>
        </p:nvSpPr>
        <p:spPr>
          <a:xfrm>
            <a:off x="923637" y="1684093"/>
            <a:ext cx="2620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81" name="Google Shape;81;p5"/>
          <p:cNvSpPr txBox="1">
            <a:spLocks noGrp="1"/>
          </p:cNvSpPr>
          <p:nvPr>
            <p:ph type="ctrTitle" idx="2"/>
          </p:nvPr>
        </p:nvSpPr>
        <p:spPr>
          <a:xfrm>
            <a:off x="7050379" y="1196025"/>
            <a:ext cx="1137300" cy="577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82" name="Google Shape;82;p5"/>
          <p:cNvSpPr txBox="1">
            <a:spLocks noGrp="1"/>
          </p:cNvSpPr>
          <p:nvPr>
            <p:ph type="subTitle" idx="3"/>
          </p:nvPr>
        </p:nvSpPr>
        <p:spPr>
          <a:xfrm>
            <a:off x="5450166" y="1684093"/>
            <a:ext cx="2737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83" name="Google Shape;83;p5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618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84" name="Google Shape;84;p5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" name="Google Shape;85;p5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5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" name="Google Shape;87;p5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8" name="Google Shape;88;p5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89" name="Google Shape;89;p5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90;p5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" name="Google Shape;91;p5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" name="Google Shape;92;p5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F088B8F0-9571-4649-BC4C-07907C8B83C0}" type="datetime2">
              <a:rPr lang="en-GB" smtClean="0"/>
              <a:t>Friday, 10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8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2461049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EE25CA6C-80A3-E44D-9046-77036B8FEBB5}" type="datetime2">
              <a:rPr lang="en-GB" smtClean="0"/>
              <a:t>Friday, 10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8EE34546-709A-5AA9-2E21-ACD4F723D8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4628813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278A902-13D6-F255-7623-20A2ADB7E7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4622856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BACACC-E783-B2B6-1829-2C52B167CD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50552" y="0"/>
            <a:ext cx="3993448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259022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D053979-B082-A34E-A9B2-F4E33D83F78C}" type="datetime2">
              <a:rPr lang="en-GB" smtClean="0"/>
              <a:pPr/>
              <a:t>Friday, 10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D1243DC5-4198-262E-ADA5-A8A6DA0D5A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6E91724-1101-6665-000F-986771AAC2CD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269081" y="825104"/>
            <a:ext cx="8597504" cy="384452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353709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F988E7-76BC-AD4B-8C1E-64D95688BB68}"/>
              </a:ext>
            </a:extLst>
          </p:cNvPr>
          <p:cNvSpPr/>
          <p:nvPr userDrawn="1"/>
        </p:nvSpPr>
        <p:spPr bwMode="gray">
          <a:xfrm>
            <a:off x="200025" y="4659406"/>
            <a:ext cx="8743950" cy="30255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318855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97C86629-9BF8-7449-AB66-B301EC0294F8}" type="datetime2">
              <a:rPr lang="en-GB" smtClean="0"/>
              <a:pPr/>
              <a:t>Friday, 10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7FAC83FA-6283-D4A9-D573-DB9FC5B395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42302-E0B7-1E2B-984E-83406CA9F1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049746" y="1130636"/>
            <a:ext cx="5012361" cy="218003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8D3490-B6FB-222F-D56F-95BC434973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0753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E120866-7B7D-B560-1594-DD8B67D87C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0753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84E29A7-C623-8859-545A-BFD0834D43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0753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EBADB65-7F69-F862-97A3-E8516B74C1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0753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FFB3FA-7644-C350-81CA-D4EEFA6FE3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0753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9137A80-4A7B-B9D9-E8DC-8354028082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0753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8BCCC9-A461-4DFB-578A-4E9F734E7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8754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F7AFC66-89C0-D90A-55DE-EC7EB847E1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8754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8A3E9E0-4686-8164-DA2E-24E85A4900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68754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68D244E-586D-B692-B92B-029A736068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68754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E378551-6E0E-18FC-AC66-9A9B2BCDC8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68754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8C7E2AD-0924-6C13-19B8-E28399702C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8754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0FEAF9-F342-9BB6-C1F9-05F1D8D142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049746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EDCF3E4-080E-DFBF-69C5-7D3C1729CB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049746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4EE7E3B-E8F3-6B53-26D9-ECBDBF1061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6082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996478B-8B4A-D64D-C5F4-C9DBDF5DEE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6082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AC01AA0-1F24-6859-F526-1758CC7B00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62418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6887078-429B-5522-2204-AE6E7BCA1E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62418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173723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EF3ED06-C412-490F-871B-02F838297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0858EF9-F096-4FD1-87FB-4CE64FCBD8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135DBF8-D4E4-4516-A7CE-2DB3E3D665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1A58B-3637-43CD-A61A-2C4862B765E2}" type="datetimeFigureOut">
              <a:rPr lang="en-US" smtClean="0"/>
              <a:t>2/10/2023</a:t>
            </a:fld>
            <a:endParaRPr lang="en-US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035F862-BFDF-4576-8232-6473D4CA06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2AE1223-A921-4830-8F90-05C507C03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D1166-907D-4092-93B5-6B34BE657A3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50228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KKA Content - only Titl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kt 3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8" name="Objekt 3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A3FFF6-7CC1-4790-AEFA-4C3A209F78A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100" b="0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1" y="324000"/>
            <a:ext cx="7581365" cy="27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100">
                <a:solidFill>
                  <a:srgbClr val="284456"/>
                </a:solidFill>
              </a:defRPr>
            </a:lvl1pPr>
          </a:lstStyle>
          <a:p>
            <a:r>
              <a:rPr lang="en-GB" noProof="0"/>
              <a:t>Insert title – 1 Line</a:t>
            </a:r>
          </a:p>
        </p:txBody>
      </p:sp>
      <p:sp>
        <p:nvSpPr>
          <p:cNvPr id="8" name="Textplatzhalter 35">
            <a:extLst>
              <a:ext uri="{FF2B5EF4-FFF2-40B4-BE49-F238E27FC236}">
                <a16:creationId xmlns:a16="http://schemas.microsoft.com/office/drawing/2014/main" id="{5E6A57AA-02F0-FF4A-B20F-03248924BC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864000"/>
            <a:ext cx="8564925" cy="617477"/>
          </a:xfrm>
        </p:spPr>
        <p:txBody>
          <a:bodyPr/>
          <a:lstStyle>
            <a:lvl2pPr>
              <a:spcBef>
                <a:spcPts val="900"/>
              </a:spcBef>
              <a:buClr>
                <a:schemeClr val="accent1"/>
              </a:buClr>
              <a:defRPr sz="1200" baseline="0">
                <a:solidFill>
                  <a:schemeClr val="accent1"/>
                </a:solidFill>
              </a:defRPr>
            </a:lvl2pPr>
            <a:lvl3pPr>
              <a:spcBef>
                <a:spcPts val="225"/>
              </a:spcBef>
              <a:defRPr sz="105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defRPr sz="900">
                <a:solidFill>
                  <a:schemeClr val="accent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accent1"/>
                </a:solidFill>
              </a:defRPr>
            </a:lvl5pPr>
          </a:lstStyle>
          <a:p>
            <a:pPr lvl="1"/>
            <a:r>
              <a:rPr lang="en-GB"/>
              <a:t>Insert text</a:t>
            </a:r>
          </a:p>
          <a:p>
            <a:pPr lvl="2"/>
            <a:r>
              <a:rPr lang="en-GB"/>
              <a:t>Insert text</a:t>
            </a:r>
          </a:p>
          <a:p>
            <a:pPr lvl="3"/>
            <a:r>
              <a:rPr lang="en-GB"/>
              <a:t>Insert text</a:t>
            </a:r>
          </a:p>
          <a:p>
            <a:pPr lvl="4"/>
            <a:r>
              <a:rPr lang="en-GB"/>
              <a:t>Insert text</a:t>
            </a:r>
          </a:p>
        </p:txBody>
      </p:sp>
      <p:sp>
        <p:nvSpPr>
          <p:cNvPr id="9" name="Date Footer">
            <a:extLst>
              <a:ext uri="{FF2B5EF4-FFF2-40B4-BE49-F238E27FC236}">
                <a16:creationId xmlns:a16="http://schemas.microsoft.com/office/drawing/2014/main" id="{DB650E8D-5319-4936-9938-336D55C79C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9099" y="4841788"/>
            <a:ext cx="900000" cy="103874"/>
          </a:xfrm>
        </p:spPr>
        <p:txBody>
          <a:bodyPr/>
          <a:lstStyle/>
          <a:p>
            <a:fld id="{6904915F-82AD-44E2-8897-BADF6E9ADABE}" type="datetime1">
              <a:rPr lang="en-AU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0/02/2023</a:t>
            </a:fld>
            <a:endParaRPr lang="en-GB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itre Footer">
            <a:extLst>
              <a:ext uri="{FF2B5EF4-FFF2-40B4-BE49-F238E27FC236}">
                <a16:creationId xmlns:a16="http://schemas.microsoft.com/office/drawing/2014/main" id="{44470A5D-1A84-4EBA-B39B-D3A4CE18076E}"/>
              </a:ext>
            </a:extLst>
          </p:cNvPr>
          <p:cNvSpPr txBox="1">
            <a:spLocks/>
          </p:cNvSpPr>
          <p:nvPr userDrawn="1"/>
        </p:nvSpPr>
        <p:spPr>
          <a:xfrm>
            <a:off x="1331100" y="4839864"/>
            <a:ext cx="4320000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900" kern="1200">
                <a:solidFill>
                  <a:srgbClr val="28445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75">
                <a:solidFill>
                  <a:schemeClr val="tx1">
                    <a:lumMod val="75000"/>
                    <a:lumOff val="25000"/>
                  </a:schemeClr>
                </a:solidFill>
              </a:rPr>
              <a:t>AKKA | OPERANTIS PROCESS DIGITALIZATION</a:t>
            </a:r>
            <a:endParaRPr lang="en-GB" sz="675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N° slide">
            <a:extLst>
              <a:ext uri="{FF2B5EF4-FFF2-40B4-BE49-F238E27FC236}">
                <a16:creationId xmlns:a16="http://schemas.microsoft.com/office/drawing/2014/main" id="{177F71CC-AEBE-415E-846E-5B097CFCE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1740" y="4839863"/>
            <a:ext cx="293184" cy="145367"/>
          </a:xfrm>
        </p:spPr>
        <p:txBody>
          <a:bodyPr/>
          <a:lstStyle/>
          <a:p>
            <a:fld id="{0704499F-9A75-E344-8B98-5A5EDCFEF42B}" type="slidenum">
              <a:rPr lang="nb-NO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‹Nr.›</a:t>
            </a:fld>
            <a:endParaRPr lang="nb-NO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026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95" name="Google Shape;95;p6"/>
          <p:cNvSpPr/>
          <p:nvPr/>
        </p:nvSpPr>
        <p:spPr>
          <a:xfrm>
            <a:off x="7573050" y="27737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6" name="Google Shape;96;p6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7" name="Google Shape;97;p6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" name="Google Shape;98;p6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6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" name="Google Shape;100;p6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6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" name="Google Shape;102;p6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" name="Google Shape;103;p6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" name="Google Shape;104;p6"/>
          <p:cNvSpPr/>
          <p:nvPr/>
        </p:nvSpPr>
        <p:spPr>
          <a:xfrm>
            <a:off x="564075" y="47539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p7"/>
          <p:cNvSpPr txBox="1">
            <a:spLocks noGrp="1"/>
          </p:cNvSpPr>
          <p:nvPr>
            <p:ph type="body" idx="1"/>
          </p:nvPr>
        </p:nvSpPr>
        <p:spPr>
          <a:xfrm>
            <a:off x="618306" y="2199025"/>
            <a:ext cx="1905900" cy="1296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107" name="Google Shape;107;p7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108" name="Google Shape;108;p7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9" name="Google Shape;109;p7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0" name="Google Shape;110;p7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" name="Google Shape;111;p7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2" name="Google Shape;112;p7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113" name="Google Shape;113;p7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Google Shape;114;p7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5" name="Google Shape;115;p7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6" name="Google Shape;116;p7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8"/>
          <p:cNvSpPr txBox="1">
            <a:spLocks noGrp="1"/>
          </p:cNvSpPr>
          <p:nvPr>
            <p:ph type="title"/>
          </p:nvPr>
        </p:nvSpPr>
        <p:spPr>
          <a:xfrm>
            <a:off x="2037000" y="1496400"/>
            <a:ext cx="5070000" cy="2150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72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19" name="Google Shape;119;p8"/>
          <p:cNvSpPr/>
          <p:nvPr/>
        </p:nvSpPr>
        <p:spPr>
          <a:xfrm>
            <a:off x="1060456" y="1158638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120;p8"/>
          <p:cNvSpPr/>
          <p:nvPr/>
        </p:nvSpPr>
        <p:spPr>
          <a:xfrm>
            <a:off x="779974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1" name="Google Shape;121;p8"/>
          <p:cNvSpPr/>
          <p:nvPr/>
        </p:nvSpPr>
        <p:spPr>
          <a:xfrm>
            <a:off x="5257933" y="2452405"/>
            <a:ext cx="57599" cy="57599"/>
          </a:xfrm>
          <a:custGeom>
            <a:avLst/>
            <a:gdLst/>
            <a:ahLst/>
            <a:cxnLst/>
            <a:rect l="l" t="t" r="r" b="b"/>
            <a:pathLst>
              <a:path w="2198" h="2198" fill="none" extrusionOk="0">
                <a:moveTo>
                  <a:pt x="1" y="1"/>
                </a:moveTo>
                <a:lnTo>
                  <a:pt x="2198" y="1"/>
                </a:lnTo>
                <a:lnTo>
                  <a:pt x="2198" y="2198"/>
                </a:lnTo>
                <a:lnTo>
                  <a:pt x="1" y="2198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2" name="Google Shape;122;p8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8"/>
          <p:cNvSpPr/>
          <p:nvPr/>
        </p:nvSpPr>
        <p:spPr>
          <a:xfrm>
            <a:off x="2307882" y="3002386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" name="Google Shape;124;p8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5" name="Google Shape;125;p8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126" name="Google Shape;126;p8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127;p8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128;p8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" name="Google Shape;129;p8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0" name="Google Shape;130;p8"/>
          <p:cNvSpPr/>
          <p:nvPr/>
        </p:nvSpPr>
        <p:spPr>
          <a:xfrm>
            <a:off x="6293004" y="835609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1" name="Google Shape;131;p8"/>
          <p:cNvSpPr/>
          <p:nvPr/>
        </p:nvSpPr>
        <p:spPr>
          <a:xfrm>
            <a:off x="1778504" y="2156778"/>
            <a:ext cx="119993" cy="119966"/>
          </a:xfrm>
          <a:custGeom>
            <a:avLst/>
            <a:gdLst/>
            <a:ahLst/>
            <a:cxnLst/>
            <a:rect l="l" t="t" r="r" b="b"/>
            <a:pathLst>
              <a:path w="4579" h="4578" extrusionOk="0">
                <a:moveTo>
                  <a:pt x="1" y="0"/>
                </a:moveTo>
                <a:lnTo>
                  <a:pt x="1" y="4578"/>
                </a:lnTo>
                <a:lnTo>
                  <a:pt x="4578" y="4578"/>
                </a:lnTo>
                <a:lnTo>
                  <a:pt x="457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" name="Google Shape;132;p8"/>
          <p:cNvGrpSpPr/>
          <p:nvPr/>
        </p:nvGrpSpPr>
        <p:grpSpPr>
          <a:xfrm>
            <a:off x="3090746" y="-533657"/>
            <a:ext cx="98059" cy="1147596"/>
            <a:chOff x="3347921" y="16006"/>
            <a:chExt cx="98059" cy="1147596"/>
          </a:xfrm>
        </p:grpSpPr>
        <p:sp>
          <p:nvSpPr>
            <p:cNvPr id="133" name="Google Shape;133;p8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" name="Google Shape;134;p8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" name="Google Shape;135;p8"/>
          <p:cNvGrpSpPr/>
          <p:nvPr/>
        </p:nvGrpSpPr>
        <p:grpSpPr>
          <a:xfrm>
            <a:off x="4892771" y="-340112"/>
            <a:ext cx="121172" cy="760495"/>
            <a:chOff x="5245196" y="3136513"/>
            <a:chExt cx="121172" cy="760495"/>
          </a:xfrm>
        </p:grpSpPr>
        <p:sp>
          <p:nvSpPr>
            <p:cNvPr id="136" name="Google Shape;136;p8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" name="Google Shape;137;p8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8" name="Google Shape;138;p8"/>
          <p:cNvGrpSpPr/>
          <p:nvPr/>
        </p:nvGrpSpPr>
        <p:grpSpPr>
          <a:xfrm>
            <a:off x="6967836" y="85439"/>
            <a:ext cx="133252" cy="1952377"/>
            <a:chOff x="6780548" y="337714"/>
            <a:chExt cx="133252" cy="1952377"/>
          </a:xfrm>
        </p:grpSpPr>
        <p:sp>
          <p:nvSpPr>
            <p:cNvPr id="139" name="Google Shape;139;p8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" name="Google Shape;140;p8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1" name="Google Shape;141;p8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142" name="Google Shape;142;p8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" name="Google Shape;143;p8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" name="Google Shape;144;p8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" name="Google Shape;145;p8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6" name="Google Shape;146;p8"/>
          <p:cNvGrpSpPr/>
          <p:nvPr/>
        </p:nvGrpSpPr>
        <p:grpSpPr>
          <a:xfrm>
            <a:off x="982417" y="1695096"/>
            <a:ext cx="199237" cy="2828935"/>
            <a:chOff x="1608717" y="1280046"/>
            <a:chExt cx="199237" cy="2828935"/>
          </a:xfrm>
        </p:grpSpPr>
        <p:sp>
          <p:nvSpPr>
            <p:cNvPr id="147" name="Google Shape;147;p8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" name="Google Shape;148;p8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" name="Google Shape;149;p8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0" name="Google Shape;150;p8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51" name="Google Shape;151;p8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152" name="Google Shape;152;p8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" name="Google Shape;153;p8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4" name="Google Shape;154;p8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155" name="Google Shape;155;p8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" name="Google Shape;156;p8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7" name="Google Shape;157;p8"/>
          <p:cNvSpPr/>
          <p:nvPr/>
        </p:nvSpPr>
        <p:spPr>
          <a:xfrm>
            <a:off x="2702019" y="1158651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58" name="Google Shape;158;p8"/>
          <p:cNvGrpSpPr/>
          <p:nvPr/>
        </p:nvGrpSpPr>
        <p:grpSpPr>
          <a:xfrm>
            <a:off x="4095146" y="-859690"/>
            <a:ext cx="199001" cy="2139769"/>
            <a:chOff x="8008096" y="2108910"/>
            <a:chExt cx="199001" cy="2139769"/>
          </a:xfrm>
        </p:grpSpPr>
        <p:sp>
          <p:nvSpPr>
            <p:cNvPr id="159" name="Google Shape;159;p8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" name="Google Shape;160;p8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1" name="Google Shape;161;p8"/>
          <p:cNvGrpSpPr/>
          <p:nvPr/>
        </p:nvGrpSpPr>
        <p:grpSpPr>
          <a:xfrm>
            <a:off x="6333286" y="3704939"/>
            <a:ext cx="133252" cy="1952377"/>
            <a:chOff x="6780548" y="337714"/>
            <a:chExt cx="133252" cy="1952377"/>
          </a:xfrm>
        </p:grpSpPr>
        <p:sp>
          <p:nvSpPr>
            <p:cNvPr id="162" name="Google Shape;162;p8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" name="Google Shape;163;p8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" name="Google Shape;164;p8"/>
          <p:cNvGrpSpPr/>
          <p:nvPr/>
        </p:nvGrpSpPr>
        <p:grpSpPr>
          <a:xfrm>
            <a:off x="2702021" y="3612763"/>
            <a:ext cx="121172" cy="760495"/>
            <a:chOff x="5245196" y="3136513"/>
            <a:chExt cx="121172" cy="760495"/>
          </a:xfrm>
        </p:grpSpPr>
        <p:sp>
          <p:nvSpPr>
            <p:cNvPr id="165" name="Google Shape;165;p8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" name="Google Shape;166;p8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7" name="Google Shape;167;p8"/>
          <p:cNvSpPr/>
          <p:nvPr/>
        </p:nvSpPr>
        <p:spPr>
          <a:xfrm>
            <a:off x="5539523" y="4516718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8" name="Google Shape;168;p8"/>
          <p:cNvSpPr/>
          <p:nvPr/>
        </p:nvSpPr>
        <p:spPr>
          <a:xfrm>
            <a:off x="6994217" y="3378784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171" name="Google Shape;171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172" name="Google Shape;172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10"/>
          <p:cNvSpPr txBox="1">
            <a:spLocks noGrp="1"/>
          </p:cNvSpPr>
          <p:nvPr>
            <p:ph type="title"/>
          </p:nvPr>
        </p:nvSpPr>
        <p:spPr>
          <a:xfrm>
            <a:off x="581925" y="3391646"/>
            <a:ext cx="4126500" cy="132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tags" Target="../tags/tag4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heme" Target="../theme/theme3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tags" Target="../tags/tag7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slideLayout" Target="../slideLayouts/slideLayout46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28" Type="http://schemas.openxmlformats.org/officeDocument/2006/relationships/tags" Target="../tags/tag6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31" Type="http://schemas.openxmlformats.org/officeDocument/2006/relationships/oleObject" Target="../embeddings/oleObject3.bin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tags" Target="../tags/tag5.xml"/><Relationship Id="rId30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dk2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084569A-34C9-D5E6-384B-8FED36B26A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252837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" imgW="395" imgH="394" progId="TCLayout.ActiveDocument.1">
                  <p:embed/>
                </p:oleObj>
              </mc:Choice>
              <mc:Fallback>
                <p:oleObj name="think-cell Folie" r:id="rId2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Maven Pro"/>
              <a:buChar char="●"/>
              <a:defRPr sz="18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●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●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  <p:sldLayoutId id="2147483666" r:id="rId19"/>
    <p:sldLayoutId id="2147483667" r:id="rId20"/>
    <p:sldLayoutId id="2147483668" r:id="rId2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rgbClr val="0E2A47"/>
        </a:solidFill>
        <a:effectLst/>
      </p:bgPr>
    </p:bg>
    <p:spTree>
      <p:nvGrpSpPr>
        <p:cNvPr id="1" name="Shape 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E97C566-98FF-2331-1174-E951958062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14534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7" name="Google Shape;427;p23"/>
          <p:cNvSpPr txBox="1">
            <a:spLocks noGrp="1"/>
          </p:cNvSpPr>
          <p:nvPr>
            <p:ph type="title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9pPr>
          </a:lstStyle>
          <a:p>
            <a:endParaRPr/>
          </a:p>
        </p:txBody>
      </p:sp>
      <p:sp>
        <p:nvSpPr>
          <p:cNvPr id="428" name="Google Shape;428;p23"/>
          <p:cNvSpPr txBox="1">
            <a:spLocks noGrp="1"/>
          </p:cNvSpPr>
          <p:nvPr>
            <p:ph type="body" idx="1"/>
          </p:nvPr>
        </p:nvSpPr>
        <p:spPr>
          <a:xfrm>
            <a:off x="1068100" y="1695450"/>
            <a:ext cx="7047300" cy="250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lvl="1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lvl="2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lvl="3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lvl="4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lvl="5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lvl="6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lvl="7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lvl="8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9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B59AD70-58C8-473B-BF92-3326255EE0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23612203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95" imgH="394" progId="TCLayout.ActiveDocument.1">
                  <p:embed/>
                </p:oleObj>
              </mc:Choice>
              <mc:Fallback>
                <p:oleObj name="think-cell Folie" r:id="rId31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B59AD70-58C8-473B-BF92-3326255EE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>
            <p:custDataLst>
              <p:tags r:id="rId28"/>
            </p:custDataLst>
          </p:nvPr>
        </p:nvSpPr>
        <p:spPr bwMode="hidden">
          <a:xfrm>
            <a:off x="0" y="0"/>
            <a:ext cx="27000" cy="27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GB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--&gt;&lt;/BTFP&gt;</a:t>
            </a:r>
          </a:p>
        </p:txBody>
      </p:sp>
      <p:sp>
        <p:nvSpPr>
          <p:cNvPr id="8" name="CreatedFooter" hidden="1"/>
          <p:cNvSpPr/>
          <p:nvPr userDrawn="1">
            <p:custDataLst>
              <p:tags r:id="rId29"/>
            </p:custDataLst>
          </p:nvPr>
        </p:nvSpPr>
        <p:spPr>
          <a:xfrm>
            <a:off x="6014604" y="4981500"/>
            <a:ext cx="1605396" cy="123777"/>
          </a:xfrm>
          <a:prstGeom prst="rect">
            <a:avLst/>
          </a:prstGeom>
        </p:spPr>
        <p:txBody>
          <a:bodyPr wrap="square" lIns="27000" tIns="27000" rIns="27000" bIns="27000">
            <a:spAutoFit/>
          </a:bodyPr>
          <a:lstStyle/>
          <a:p>
            <a:pPr marL="0" indent="0" algn="ctr" defTabSz="533400" rtl="0" eaLnBrk="1" latinLnBrk="0" hangingPunct="1">
              <a:spcBef>
                <a:spcPts val="900"/>
              </a:spcBef>
              <a:buNone/>
            </a:pPr>
            <a:r>
              <a:rPr lang="en-GB" sz="45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7" name="OfficeCode" hidden="1"/>
          <p:cNvSpPr/>
          <p:nvPr userDrawn="1">
            <p:custDataLst>
              <p:tags r:id="rId30"/>
            </p:custDataLst>
          </p:nvPr>
        </p:nvSpPr>
        <p:spPr>
          <a:xfrm>
            <a:off x="5418859" y="4981500"/>
            <a:ext cx="405245" cy="123777"/>
          </a:xfrm>
          <a:prstGeom prst="rect">
            <a:avLst/>
          </a:prstGeom>
        </p:spPr>
        <p:txBody>
          <a:bodyPr wrap="square" lIns="27000" tIns="27000" rIns="27000" bIns="27000">
            <a:spAutoFit/>
          </a:bodyPr>
          <a:lstStyle/>
          <a:p>
            <a:pPr marL="0" indent="0" algn="ctr" defTabSz="533400" rtl="0" eaLnBrk="1" latinLnBrk="0" hangingPunct="1">
              <a:spcBef>
                <a:spcPts val="900"/>
              </a:spcBef>
              <a:buNone/>
            </a:pPr>
            <a:r>
              <a:rPr lang="en-GB" sz="450">
                <a:solidFill>
                  <a:schemeClr val="tx1"/>
                </a:solidFill>
              </a:rPr>
              <a:t>WSS</a:t>
            </a:r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B904826B-A651-4767-8AD5-A2C228A35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  <p:pic>
        <p:nvPicPr>
          <p:cNvPr id="16" name="Logo AKKODIS">
            <a:extLst>
              <a:ext uri="{FF2B5EF4-FFF2-40B4-BE49-F238E27FC236}">
                <a16:creationId xmlns:a16="http://schemas.microsoft.com/office/drawing/2014/main" id="{70F85E39-40A1-49D4-ACFC-50FFBC2C55DB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09905" y="339393"/>
            <a:ext cx="1080000" cy="150226"/>
          </a:xfrm>
          <a:prstGeom prst="rect">
            <a:avLst/>
          </a:prstGeom>
        </p:spPr>
      </p:pic>
    </p:spTree>
    <p:custDataLst>
      <p:tags r:id="rId26"/>
    </p:custDataLst>
    <p:extLst>
      <p:ext uri="{BB962C8B-B14F-4D97-AF65-F5344CB8AC3E}">
        <p14:creationId xmlns:p14="http://schemas.microsoft.com/office/powerpoint/2010/main" val="1346215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</p:sldLayoutIdLst>
  <p:transition/>
  <p:hf sldNum="0" hdr="0"/>
  <p:txStyles>
    <p:titleStyle>
      <a:lvl1pPr algn="l" defTabSz="533400" rtl="0" eaLnBrk="1" latinLnBrk="0" hangingPunct="1">
        <a:lnSpc>
          <a:spcPct val="100000"/>
        </a:lnSpc>
        <a:spcBef>
          <a:spcPct val="0"/>
        </a:spcBef>
        <a:buNone/>
        <a:defRPr sz="165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685766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None/>
        <a:defRPr sz="1350" kern="1200">
          <a:solidFill>
            <a:schemeClr val="bg1"/>
          </a:solidFill>
          <a:latin typeface="+mn-lt"/>
          <a:ea typeface="+mn-ea"/>
          <a:cs typeface="+mn-cs"/>
        </a:defRPr>
      </a:lvl1pPr>
      <a:lvl2pPr marL="271463" indent="-135731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1241" indent="-129779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36972" indent="-135731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673894" indent="-136922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33350" indent="-133350" algn="l" defTabSz="533400" rtl="0" eaLnBrk="1" latinLnBrk="0" hangingPunct="1">
        <a:spcBef>
          <a:spcPts val="900"/>
        </a:spcBef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133350" algn="l" defTabSz="533400" rtl="0" eaLnBrk="1" latinLnBrk="0" hangingPunct="1">
        <a:spcBef>
          <a:spcPts val="450"/>
        </a:spcBef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0050" indent="-133350" algn="l" defTabSz="533400" rtl="0" eaLnBrk="1" latinLnBrk="0" hangingPunct="1">
        <a:spcBef>
          <a:spcPts val="450"/>
        </a:spcBef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33400" indent="-133350" algn="l" defTabSz="533400" rtl="0" eaLnBrk="1" latinLnBrk="0" hangingPunct="1">
        <a:spcBef>
          <a:spcPts val="450"/>
        </a:spcBef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666750" indent="-133350" algn="l" defTabSz="533400" rtl="0" eaLnBrk="1" latinLnBrk="0" hangingPunct="1">
        <a:spcBef>
          <a:spcPts val="450"/>
        </a:spcBef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80010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93345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106680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120015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29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4.xml"/><Relationship Id="rId6" Type="http://schemas.microsoft.com/office/2007/relationships/hdphoto" Target="../media/hdphoto1.wdp"/><Relationship Id="rId5" Type="http://schemas.openxmlformats.org/officeDocument/2006/relationships/image" Target="../media/image8.png"/><Relationship Id="rId10" Type="http://schemas.openxmlformats.org/officeDocument/2006/relationships/image" Target="../media/image12.svg"/><Relationship Id="rId4" Type="http://schemas.openxmlformats.org/officeDocument/2006/relationships/image" Target="../media/image1.emf"/><Relationship Id="rId9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" Target="slide38.xml"/><Relationship Id="rId3" Type="http://schemas.openxmlformats.org/officeDocument/2006/relationships/hyperlink" Target="http://bit.ly/2Tynxth" TargetMode="External"/><Relationship Id="rId7" Type="http://schemas.openxmlformats.org/officeDocument/2006/relationships/slide" Target="slide36.xml"/><Relationship Id="rId12" Type="http://schemas.openxmlformats.org/officeDocument/2006/relationships/slide" Target="slide47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Relationship Id="rId6" Type="http://schemas.openxmlformats.org/officeDocument/2006/relationships/slide" Target="slide37.xml"/><Relationship Id="rId11" Type="http://schemas.openxmlformats.org/officeDocument/2006/relationships/slide" Target="slide41.xml"/><Relationship Id="rId5" Type="http://schemas.openxmlformats.org/officeDocument/2006/relationships/hyperlink" Target="http://bit.ly/33VAFh3" TargetMode="External"/><Relationship Id="rId10" Type="http://schemas.openxmlformats.org/officeDocument/2006/relationships/slide" Target="slide40.xml"/><Relationship Id="rId4" Type="http://schemas.openxmlformats.org/officeDocument/2006/relationships/hyperlink" Target="http://bit.ly/30B07Gq" TargetMode="External"/><Relationship Id="rId9" Type="http://schemas.openxmlformats.org/officeDocument/2006/relationships/slide" Target="slide3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oogle.com/spreadsheets/d/1vTu7Se8kTXNeu0nfne0enewkuZP5gXoWv1ZuVc1MnJg/copy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6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9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3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6" Type="http://schemas.openxmlformats.org/officeDocument/2006/relationships/image" Target="../media/image8.png"/><Relationship Id="rId11" Type="http://schemas.openxmlformats.org/officeDocument/2006/relationships/image" Target="../media/image12.sv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10.sv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reepik.com/free-photo/close-up-confident-adult-woman-posing_7075953.htm/?utm_source=slidesgo_template&amp;utm_medium=referral-link&amp;utm_campaign=sg_resources&amp;utm_content=freepik" TargetMode="External"/><Relationship Id="rId3" Type="http://schemas.openxmlformats.org/officeDocument/2006/relationships/hyperlink" Target="https://www.freepik.com/free-vector/abstract-pixel-rain-blue-background_6070946.htm/?utm_source=slidesgo_template&amp;utm_medium=referral-link&amp;utm_campaign=sg_resources&amp;utm_content=freepik" TargetMode="External"/><Relationship Id="rId7" Type="http://schemas.openxmlformats.org/officeDocument/2006/relationships/hyperlink" Target="https://www.freepik.com/free-photo/female-colleagues-discussing-work-office_4856776.htm#page=1&amp;query=4856776&amp;position=0/?utm_source=slidesgo_template&amp;utm_medium=referral-link&amp;utm_campaign=sg_resources&amp;utm_content=freepik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www.freepik.com/free-vector/dashboard-element-collection-template_6100740.htm/?utm_source=slidesgo_template&amp;utm_medium=referral-link&amp;utm_campaign=sg_resources&amp;utm_content=freepik" TargetMode="External"/><Relationship Id="rId5" Type="http://schemas.openxmlformats.org/officeDocument/2006/relationships/hyperlink" Target="https://www.freepik.com/free-vector/red-blue-neon-fingerprint-background_6071002.htm/?utm_source=slidesgo_template&amp;utm_medium=referral-link&amp;utm_campaign=sg_resources&amp;utm_content=freepik" TargetMode="External"/><Relationship Id="rId4" Type="http://schemas.openxmlformats.org/officeDocument/2006/relationships/hyperlink" Target="https://www.freepik.com/free-vector/dashboard-element-collection_6271326.htm/?utm_source=slidesgo_template&amp;utm_medium=referral-link&amp;utm_campaign=sg_resources&amp;utm_content=freepik" TargetMode="External"/><Relationship Id="rId9" Type="http://schemas.openxmlformats.org/officeDocument/2006/relationships/hyperlink" Target="https://www.freepik.com/free-photo/portrait-beautiful-adult-woman-smiling_7075981.htm/?utm_source=slidesgo_template&amp;utm_medium=referral-link&amp;utm_campaign=sg_resources&amp;utm_content=freepik" TargetMode="Externa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PfT4lq" TargetMode="Externa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2.xml"/><Relationship Id="rId6" Type="http://schemas.openxmlformats.org/officeDocument/2006/relationships/hyperlink" Target="http://bit.ly/30B07Gq" TargetMode="External"/><Relationship Id="rId5" Type="http://schemas.openxmlformats.org/officeDocument/2006/relationships/hyperlink" Target="http://bit.ly/33VAFh3" TargetMode="External"/><Relationship Id="rId4" Type="http://schemas.openxmlformats.org/officeDocument/2006/relationships/slide" Target="slide3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4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6" Type="http://schemas.openxmlformats.org/officeDocument/2006/relationships/image" Target="../media/image8.png"/><Relationship Id="rId11" Type="http://schemas.openxmlformats.org/officeDocument/2006/relationships/image" Target="../media/image12.sv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10.sv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hyperlink" Target="https://fonts.google.com/specimen/Share+Tech" TargetMode="Externa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2.xml"/><Relationship Id="rId4" Type="http://schemas.openxmlformats.org/officeDocument/2006/relationships/hyperlink" Target="https://fonts.google.com/specimen/Maven+Pro?query=mave" TargetMode="Externa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hyperlink" Target="https://chrome.google.com/webstore/detail/flaticon-for-gsuit-gslide/haekgjfnhhdkgfgmldhfokhmfkgmciba" TargetMode="Externa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oleObject" Target="../embeddings/oleObject22.bin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notesSlide" Target="../notesSlides/notesSlide6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32.xml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esearchgate.net/publication/322161863_Market_Basket_Analysis_to_Identify_Customer_Behaviours_by_Way_of_Transaction_Data" TargetMode="External"/><Relationship Id="rId3" Type="http://schemas.openxmlformats.org/officeDocument/2006/relationships/oleObject" Target="../embeddings/oleObject23.bin"/><Relationship Id="rId7" Type="http://schemas.openxmlformats.org/officeDocument/2006/relationships/hyperlink" Target="https://run.unl.pt/bitstream/10362/80955/1/TEGI0458.pdf" TargetMode="Externa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Relationship Id="rId6" Type="http://schemas.microsoft.com/office/2007/relationships/hdphoto" Target="../media/hdphoto2.wdp"/><Relationship Id="rId5" Type="http://schemas.openxmlformats.org/officeDocument/2006/relationships/image" Target="../media/image13.png"/><Relationship Id="rId4" Type="http://schemas.openxmlformats.org/officeDocument/2006/relationships/image" Target="../media/image1.emf"/><Relationship Id="rId9" Type="http://schemas.openxmlformats.org/officeDocument/2006/relationships/hyperlink" Target="https://link.springer.com/referenceworkentry/10.1007/978-1-4899-7687-1_100284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D03BBC9-DBB1-222B-EBC0-88D9C6F2D7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275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5" name="Google Shape;435;p25"/>
          <p:cNvSpPr txBox="1">
            <a:spLocks noGrp="1"/>
          </p:cNvSpPr>
          <p:nvPr>
            <p:ph type="ctrTitle"/>
          </p:nvPr>
        </p:nvSpPr>
        <p:spPr>
          <a:xfrm>
            <a:off x="1561650" y="751888"/>
            <a:ext cx="60207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</a:t>
            </a:r>
            <a:r>
              <a:rPr lang="en" dirty="0">
                <a:solidFill>
                  <a:schemeClr val="accent2"/>
                </a:solidFill>
              </a:rPr>
              <a:t>SCIENCE</a:t>
            </a:r>
            <a:r>
              <a:rPr lang="en" dirty="0"/>
              <a:t> PROTOTYPE</a:t>
            </a:r>
            <a:endParaRPr dirty="0"/>
          </a:p>
        </p:txBody>
      </p:sp>
      <p:sp>
        <p:nvSpPr>
          <p:cNvPr id="436" name="Google Shape;436;p25"/>
          <p:cNvSpPr/>
          <p:nvPr/>
        </p:nvSpPr>
        <p:spPr>
          <a:xfrm>
            <a:off x="1917281" y="4715495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1" y="0"/>
                </a:moveTo>
                <a:lnTo>
                  <a:pt x="1" y="4633"/>
                </a:lnTo>
                <a:lnTo>
                  <a:pt x="4634" y="4633"/>
                </a:lnTo>
                <a:lnTo>
                  <a:pt x="4634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7" name="Google Shape;437;p25"/>
          <p:cNvSpPr/>
          <p:nvPr/>
        </p:nvSpPr>
        <p:spPr>
          <a:xfrm>
            <a:off x="7047944" y="3537816"/>
            <a:ext cx="57834" cy="57834"/>
          </a:xfrm>
          <a:custGeom>
            <a:avLst/>
            <a:gdLst/>
            <a:ahLst/>
            <a:cxnLst/>
            <a:rect l="l" t="t" r="r" b="b"/>
            <a:pathLst>
              <a:path w="2207" h="2207" fill="none" extrusionOk="0">
                <a:moveTo>
                  <a:pt x="0" y="1"/>
                </a:moveTo>
                <a:lnTo>
                  <a:pt x="2206" y="1"/>
                </a:lnTo>
                <a:lnTo>
                  <a:pt x="2206" y="2207"/>
                </a:lnTo>
                <a:lnTo>
                  <a:pt x="0" y="2207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8" name="Google Shape;438;p25"/>
          <p:cNvSpPr/>
          <p:nvPr/>
        </p:nvSpPr>
        <p:spPr>
          <a:xfrm>
            <a:off x="2307882" y="3002386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9" name="Google Shape;439;p25"/>
          <p:cNvSpPr/>
          <p:nvPr/>
        </p:nvSpPr>
        <p:spPr>
          <a:xfrm>
            <a:off x="6293004" y="835609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0" name="Google Shape;440;p25"/>
          <p:cNvSpPr/>
          <p:nvPr/>
        </p:nvSpPr>
        <p:spPr>
          <a:xfrm>
            <a:off x="5969504" y="3118803"/>
            <a:ext cx="119993" cy="119966"/>
          </a:xfrm>
          <a:custGeom>
            <a:avLst/>
            <a:gdLst/>
            <a:ahLst/>
            <a:cxnLst/>
            <a:rect l="l" t="t" r="r" b="b"/>
            <a:pathLst>
              <a:path w="4579" h="4578" extrusionOk="0">
                <a:moveTo>
                  <a:pt x="1" y="0"/>
                </a:moveTo>
                <a:lnTo>
                  <a:pt x="1" y="4578"/>
                </a:lnTo>
                <a:lnTo>
                  <a:pt x="4578" y="4578"/>
                </a:lnTo>
                <a:lnTo>
                  <a:pt x="457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1" name="Google Shape;441;p25"/>
          <p:cNvSpPr/>
          <p:nvPr/>
        </p:nvSpPr>
        <p:spPr>
          <a:xfrm>
            <a:off x="2924242" y="4302208"/>
            <a:ext cx="119993" cy="119993"/>
          </a:xfrm>
          <a:custGeom>
            <a:avLst/>
            <a:gdLst/>
            <a:ahLst/>
            <a:cxnLst/>
            <a:rect l="l" t="t" r="r" b="b"/>
            <a:pathLst>
              <a:path w="4579" h="4579" extrusionOk="0">
                <a:moveTo>
                  <a:pt x="0" y="1"/>
                </a:moveTo>
                <a:lnTo>
                  <a:pt x="0" y="4578"/>
                </a:lnTo>
                <a:lnTo>
                  <a:pt x="4578" y="4578"/>
                </a:lnTo>
                <a:lnTo>
                  <a:pt x="4578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42" name="Google Shape;442;p25"/>
          <p:cNvGrpSpPr/>
          <p:nvPr/>
        </p:nvGrpSpPr>
        <p:grpSpPr>
          <a:xfrm>
            <a:off x="6232314" y="3696331"/>
            <a:ext cx="121434" cy="1073147"/>
            <a:chOff x="6232314" y="3696331"/>
            <a:chExt cx="121434" cy="1073147"/>
          </a:xfrm>
        </p:grpSpPr>
        <p:sp>
          <p:nvSpPr>
            <p:cNvPr id="443" name="Google Shape;443;p25"/>
            <p:cNvSpPr/>
            <p:nvPr/>
          </p:nvSpPr>
          <p:spPr>
            <a:xfrm>
              <a:off x="6232314" y="4648280"/>
              <a:ext cx="121434" cy="121198"/>
            </a:xfrm>
            <a:custGeom>
              <a:avLst/>
              <a:gdLst/>
              <a:ahLst/>
              <a:cxnLst/>
              <a:rect l="l" t="t" r="r" b="b"/>
              <a:pathLst>
                <a:path w="463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33" y="4624"/>
                  </a:lnTo>
                  <a:lnTo>
                    <a:pt x="4633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444;p25"/>
            <p:cNvSpPr/>
            <p:nvPr/>
          </p:nvSpPr>
          <p:spPr>
            <a:xfrm>
              <a:off x="6288681" y="3696331"/>
              <a:ext cx="8700" cy="872731"/>
            </a:xfrm>
            <a:custGeom>
              <a:avLst/>
              <a:gdLst/>
              <a:ahLst/>
              <a:cxnLst/>
              <a:rect l="l" t="t" r="r" b="b"/>
              <a:pathLst>
                <a:path w="332" h="33304" extrusionOk="0">
                  <a:moveTo>
                    <a:pt x="166" y="0"/>
                  </a:moveTo>
                  <a:lnTo>
                    <a:pt x="0" y="33304"/>
                  </a:lnTo>
                  <a:lnTo>
                    <a:pt x="331" y="33304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5" name="Google Shape;445;p25"/>
          <p:cNvGrpSpPr/>
          <p:nvPr/>
        </p:nvGrpSpPr>
        <p:grpSpPr>
          <a:xfrm>
            <a:off x="6780548" y="337714"/>
            <a:ext cx="133252" cy="1952377"/>
            <a:chOff x="6780548" y="337714"/>
            <a:chExt cx="133252" cy="1952377"/>
          </a:xfrm>
        </p:grpSpPr>
        <p:sp>
          <p:nvSpPr>
            <p:cNvPr id="446" name="Google Shape;446;p25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25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8" name="Google Shape;448;p25"/>
          <p:cNvGrpSpPr/>
          <p:nvPr/>
        </p:nvGrpSpPr>
        <p:grpSpPr>
          <a:xfrm>
            <a:off x="1608717" y="1280046"/>
            <a:ext cx="199237" cy="2828935"/>
            <a:chOff x="1608717" y="1280046"/>
            <a:chExt cx="199237" cy="2828935"/>
          </a:xfrm>
        </p:grpSpPr>
        <p:sp>
          <p:nvSpPr>
            <p:cNvPr id="449" name="Google Shape;449;p25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" name="Google Shape;450;p25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451;p25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2" name="Google Shape;452;p25"/>
          <p:cNvSpPr/>
          <p:nvPr/>
        </p:nvSpPr>
        <p:spPr>
          <a:xfrm>
            <a:off x="2355692" y="3696328"/>
            <a:ext cx="8464" cy="2519663"/>
          </a:xfrm>
          <a:custGeom>
            <a:avLst/>
            <a:gdLst/>
            <a:ahLst/>
            <a:cxnLst/>
            <a:rect l="l" t="t" r="r" b="b"/>
            <a:pathLst>
              <a:path w="323" h="96152" extrusionOk="0">
                <a:moveTo>
                  <a:pt x="166" y="1"/>
                </a:moveTo>
                <a:lnTo>
                  <a:pt x="1" y="96151"/>
                </a:lnTo>
                <a:lnTo>
                  <a:pt x="322" y="96151"/>
                </a:lnTo>
                <a:lnTo>
                  <a:pt x="166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3" name="Google Shape;453;p25"/>
          <p:cNvSpPr/>
          <p:nvPr/>
        </p:nvSpPr>
        <p:spPr>
          <a:xfrm>
            <a:off x="7446601" y="3454956"/>
            <a:ext cx="8464" cy="1689096"/>
          </a:xfrm>
          <a:custGeom>
            <a:avLst/>
            <a:gdLst/>
            <a:ahLst/>
            <a:cxnLst/>
            <a:rect l="l" t="t" r="r" b="b"/>
            <a:pathLst>
              <a:path w="323" h="64457" extrusionOk="0">
                <a:moveTo>
                  <a:pt x="157" y="1"/>
                </a:moveTo>
                <a:lnTo>
                  <a:pt x="0" y="64456"/>
                </a:lnTo>
                <a:lnTo>
                  <a:pt x="322" y="64456"/>
                </a:lnTo>
                <a:lnTo>
                  <a:pt x="157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54" name="Google Shape;454;p25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455" name="Google Shape;455;p25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" name="Google Shape;456;p25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57" name="Google Shape;457;p25"/>
          <p:cNvGrpSpPr/>
          <p:nvPr/>
        </p:nvGrpSpPr>
        <p:grpSpPr>
          <a:xfrm>
            <a:off x="4472500" y="3928605"/>
            <a:ext cx="199001" cy="867198"/>
            <a:chOff x="4475150" y="4052605"/>
            <a:chExt cx="199001" cy="867198"/>
          </a:xfrm>
        </p:grpSpPr>
        <p:sp>
          <p:nvSpPr>
            <p:cNvPr id="458" name="Google Shape;458;p25"/>
            <p:cNvSpPr/>
            <p:nvPr/>
          </p:nvSpPr>
          <p:spPr>
            <a:xfrm>
              <a:off x="4475150" y="4052605"/>
              <a:ext cx="199001" cy="220121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" name="Google Shape;459;p25"/>
            <p:cNvSpPr/>
            <p:nvPr/>
          </p:nvSpPr>
          <p:spPr>
            <a:xfrm>
              <a:off x="4522600" y="4494201"/>
              <a:ext cx="104095" cy="115148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" name="Google Shape;460;p25"/>
            <p:cNvSpPr/>
            <p:nvPr/>
          </p:nvSpPr>
          <p:spPr>
            <a:xfrm>
              <a:off x="4534403" y="4830814"/>
              <a:ext cx="80477" cy="88990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34" name="Google Shape;434;p25"/>
          <p:cNvSpPr txBox="1">
            <a:spLocks noGrp="1"/>
          </p:cNvSpPr>
          <p:nvPr>
            <p:ph type="subTitle" idx="1"/>
          </p:nvPr>
        </p:nvSpPr>
        <p:spPr>
          <a:xfrm>
            <a:off x="2924250" y="2804488"/>
            <a:ext cx="32955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eam 3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lexandra Speer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lexander Benz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Niels-Janos Simmet</a:t>
            </a:r>
          </a:p>
          <a:p>
            <a:pPr marL="0" indent="0"/>
            <a:r>
              <a:rPr lang="en" dirty="0"/>
              <a:t>Raghid Allaham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18.03.2023</a:t>
            </a:r>
            <a:endParaRPr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4553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</p:spTree>
    <p:extLst>
      <p:ext uri="{BB962C8B-B14F-4D97-AF65-F5344CB8AC3E}">
        <p14:creationId xmlns:p14="http://schemas.microsoft.com/office/powerpoint/2010/main" val="38864766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340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Modeling</a:t>
            </a:r>
          </a:p>
        </p:txBody>
      </p:sp>
    </p:spTree>
    <p:extLst>
      <p:ext uri="{BB962C8B-B14F-4D97-AF65-F5344CB8AC3E}">
        <p14:creationId xmlns:p14="http://schemas.microsoft.com/office/powerpoint/2010/main" val="36107022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16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Resul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27209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549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Reflec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42221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080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Scope</a:t>
            </a:r>
            <a:endParaRPr lang="de-DE" dirty="0"/>
          </a:p>
        </p:txBody>
      </p: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EFD7E1C1-5E23-B524-B2D5-FECE5A9B2089}"/>
              </a:ext>
            </a:extLst>
          </p:cNvPr>
          <p:cNvGrpSpPr/>
          <p:nvPr/>
        </p:nvGrpSpPr>
        <p:grpSpPr>
          <a:xfrm>
            <a:off x="3861131" y="998675"/>
            <a:ext cx="1226338" cy="3916203"/>
            <a:chOff x="3861131" y="998675"/>
            <a:chExt cx="1226338" cy="3916203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5CA203C-D741-73F3-8B54-02DF79839E03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A588A8F7-DDF6-EC4B-78A3-17A1CE71BF9F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411FB81D-ED35-FF85-B533-17E8B02876DF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D94E0007-4556-9B90-EF58-3740F0807746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0883B4B8-BD8A-4DA3-18B1-E4F4BB7ED74F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274768B3-335D-E016-F153-A174E86E52F0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Flussdiagramm: Alternativer Prozess 10">
              <a:extLst>
                <a:ext uri="{FF2B5EF4-FFF2-40B4-BE49-F238E27FC236}">
                  <a16:creationId xmlns:a16="http://schemas.microsoft.com/office/drawing/2014/main" id="{8E0B5ADA-5392-812F-5652-707A847D47CB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Flussdiagramm: Alternativer Prozess 11">
              <a:extLst>
                <a:ext uri="{FF2B5EF4-FFF2-40B4-BE49-F238E27FC236}">
                  <a16:creationId xmlns:a16="http://schemas.microsoft.com/office/drawing/2014/main" id="{F4B8CEB2-8C42-6A18-8B0A-EDCCDC233269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lussdiagramm: Alternativer Prozess 12">
              <a:extLst>
                <a:ext uri="{FF2B5EF4-FFF2-40B4-BE49-F238E27FC236}">
                  <a16:creationId xmlns:a16="http://schemas.microsoft.com/office/drawing/2014/main" id="{841D61F7-E480-15A6-8654-314F6B4E73DA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Flussdiagramm: Alternativer Prozess 13">
              <a:extLst>
                <a:ext uri="{FF2B5EF4-FFF2-40B4-BE49-F238E27FC236}">
                  <a16:creationId xmlns:a16="http://schemas.microsoft.com/office/drawing/2014/main" id="{EDF5DADB-3FD1-F6AE-F4E0-D8FC5C32F0B3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Flussdiagramm: Alternativer Prozess 14">
              <a:extLst>
                <a:ext uri="{FF2B5EF4-FFF2-40B4-BE49-F238E27FC236}">
                  <a16:creationId xmlns:a16="http://schemas.microsoft.com/office/drawing/2014/main" id="{58020C84-9017-B463-0C14-ED595CAAEDF1}"/>
                </a:ext>
              </a:extLst>
            </p:cNvPr>
            <p:cNvSpPr/>
            <p:nvPr/>
          </p:nvSpPr>
          <p:spPr>
            <a:xfrm rot="2700000">
              <a:off x="3861131" y="3201480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lussdiagramm: Alternativer Prozess 15">
              <a:extLst>
                <a:ext uri="{FF2B5EF4-FFF2-40B4-BE49-F238E27FC236}">
                  <a16:creationId xmlns:a16="http://schemas.microsoft.com/office/drawing/2014/main" id="{8EAC37E3-1AF5-9156-0F6B-84BBE0349B07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lussdiagramm: Alternativer Prozess 16">
              <a:extLst>
                <a:ext uri="{FF2B5EF4-FFF2-40B4-BE49-F238E27FC236}">
                  <a16:creationId xmlns:a16="http://schemas.microsoft.com/office/drawing/2014/main" id="{77E250E1-3EDA-88AC-6402-3276F1BB0AFF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Flussdiagramm: Alternativer Prozess 27">
              <a:extLst>
                <a:ext uri="{FF2B5EF4-FFF2-40B4-BE49-F238E27FC236}">
                  <a16:creationId xmlns:a16="http://schemas.microsoft.com/office/drawing/2014/main" id="{C92671B7-9555-217F-91BD-AB0A9E8F64DA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Flussdiagramm: Alternativer Prozess 30">
              <a:extLst>
                <a:ext uri="{FF2B5EF4-FFF2-40B4-BE49-F238E27FC236}">
                  <a16:creationId xmlns:a16="http://schemas.microsoft.com/office/drawing/2014/main" id="{EB927ACD-E854-4ADE-7D4A-63920FA2E7BF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" name="Flussdiagramm: Alternativer Prozess 31">
              <a:extLst>
                <a:ext uri="{FF2B5EF4-FFF2-40B4-BE49-F238E27FC236}">
                  <a16:creationId xmlns:a16="http://schemas.microsoft.com/office/drawing/2014/main" id="{3686D34C-C2C3-19D7-55D2-CCFF6E5D7E0A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" name="Flussdiagramm: Alternativer Prozess 32">
              <a:extLst>
                <a:ext uri="{FF2B5EF4-FFF2-40B4-BE49-F238E27FC236}">
                  <a16:creationId xmlns:a16="http://schemas.microsoft.com/office/drawing/2014/main" id="{C3D648C6-92A0-A94E-1963-92B0A5DEB92E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Flussdiagramm: Alternativer Prozess 33">
              <a:extLst>
                <a:ext uri="{FF2B5EF4-FFF2-40B4-BE49-F238E27FC236}">
                  <a16:creationId xmlns:a16="http://schemas.microsoft.com/office/drawing/2014/main" id="{41034BFF-47C8-5FA3-D36A-8B9F5DD6C6F9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Flussdiagramm: Alternativer Prozess 34">
              <a:extLst>
                <a:ext uri="{FF2B5EF4-FFF2-40B4-BE49-F238E27FC236}">
                  <a16:creationId xmlns:a16="http://schemas.microsoft.com/office/drawing/2014/main" id="{17C63FEF-8740-16FE-7ACB-3399F1EF9072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Flussdiagramm: Alternativer Prozess 35">
              <a:extLst>
                <a:ext uri="{FF2B5EF4-FFF2-40B4-BE49-F238E27FC236}">
                  <a16:creationId xmlns:a16="http://schemas.microsoft.com/office/drawing/2014/main" id="{AEB3D12F-1C92-8EB6-DEC9-0A8D8549DF21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42" name="Google Shape;9903;p58">
              <a:extLst>
                <a:ext uri="{FF2B5EF4-FFF2-40B4-BE49-F238E27FC236}">
                  <a16:creationId xmlns:a16="http://schemas.microsoft.com/office/drawing/2014/main" id="{EB4E2EA0-8B45-3D5E-707A-7B9D4AF7AF28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43" name="Google Shape;9904;p58">
                <a:extLst>
                  <a:ext uri="{FF2B5EF4-FFF2-40B4-BE49-F238E27FC236}">
                    <a16:creationId xmlns:a16="http://schemas.microsoft.com/office/drawing/2014/main" id="{8FED7FA2-369C-7C92-4340-2096B57056D9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9905;p58">
                <a:extLst>
                  <a:ext uri="{FF2B5EF4-FFF2-40B4-BE49-F238E27FC236}">
                    <a16:creationId xmlns:a16="http://schemas.microsoft.com/office/drawing/2014/main" id="{7430C5FA-3545-7169-4CA8-C7A3A1AB79C7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9906;p58">
                <a:extLst>
                  <a:ext uri="{FF2B5EF4-FFF2-40B4-BE49-F238E27FC236}">
                    <a16:creationId xmlns:a16="http://schemas.microsoft.com/office/drawing/2014/main" id="{746194C5-A573-A8DE-A3B0-8182BB17C41B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6" name="Picture 4" descr="Market Basket Analysis">
              <a:extLst>
                <a:ext uri="{FF2B5EF4-FFF2-40B4-BE49-F238E27FC236}">
                  <a16:creationId xmlns:a16="http://schemas.microsoft.com/office/drawing/2014/main" id="{16094002-6BE9-D4DB-0712-6BEDBA4ECC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7" name="Google Shape;11111;p60">
              <a:extLst>
                <a:ext uri="{FF2B5EF4-FFF2-40B4-BE49-F238E27FC236}">
                  <a16:creationId xmlns:a16="http://schemas.microsoft.com/office/drawing/2014/main" id="{569E0D31-63C6-DF8C-5080-594397450A69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48" name="Google Shape;11112;p60">
                <a:extLst>
                  <a:ext uri="{FF2B5EF4-FFF2-40B4-BE49-F238E27FC236}">
                    <a16:creationId xmlns:a16="http://schemas.microsoft.com/office/drawing/2014/main" id="{C6C4ECB1-6B0B-422C-0799-04EFD7A97F65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" name="Google Shape;11113;p60">
                <a:extLst>
                  <a:ext uri="{FF2B5EF4-FFF2-40B4-BE49-F238E27FC236}">
                    <a16:creationId xmlns:a16="http://schemas.microsoft.com/office/drawing/2014/main" id="{E9FBF203-51AA-DD1C-23CD-DA939D639ED8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" name="Google Shape;11114;p60">
                <a:extLst>
                  <a:ext uri="{FF2B5EF4-FFF2-40B4-BE49-F238E27FC236}">
                    <a16:creationId xmlns:a16="http://schemas.microsoft.com/office/drawing/2014/main" id="{8AA5F7EB-3006-6E67-C1B5-9C20308C3F99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" name="Google Shape;11115;p60">
                <a:extLst>
                  <a:ext uri="{FF2B5EF4-FFF2-40B4-BE49-F238E27FC236}">
                    <a16:creationId xmlns:a16="http://schemas.microsoft.com/office/drawing/2014/main" id="{E3F696CF-B055-3F14-AC80-3BF0A9117AE6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" name="Google Shape;11116;p60">
                <a:extLst>
                  <a:ext uri="{FF2B5EF4-FFF2-40B4-BE49-F238E27FC236}">
                    <a16:creationId xmlns:a16="http://schemas.microsoft.com/office/drawing/2014/main" id="{B7BF5BD6-3775-1D3F-3CE6-DCE6738A7C95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3" name="Google Shape;13596;p64">
              <a:extLst>
                <a:ext uri="{FF2B5EF4-FFF2-40B4-BE49-F238E27FC236}">
                  <a16:creationId xmlns:a16="http://schemas.microsoft.com/office/drawing/2014/main" id="{E4A9F3A8-AE45-E92C-CF33-D985A9BA9806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54" name="Google Shape;13597;p64">
                <a:extLst>
                  <a:ext uri="{FF2B5EF4-FFF2-40B4-BE49-F238E27FC236}">
                    <a16:creationId xmlns:a16="http://schemas.microsoft.com/office/drawing/2014/main" id="{CA968488-DCCC-A51F-A7DF-1798D1CB1A4F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" name="Google Shape;13598;p64">
                <a:extLst>
                  <a:ext uri="{FF2B5EF4-FFF2-40B4-BE49-F238E27FC236}">
                    <a16:creationId xmlns:a16="http://schemas.microsoft.com/office/drawing/2014/main" id="{D40254E3-1E70-38FE-EC2D-B4DAD89967E1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6" name="Google Shape;13305;p64">
              <a:extLst>
                <a:ext uri="{FF2B5EF4-FFF2-40B4-BE49-F238E27FC236}">
                  <a16:creationId xmlns:a16="http://schemas.microsoft.com/office/drawing/2014/main" id="{804E30F4-E200-3B26-5FA3-3E2E353A7193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57" name="Google Shape;13306;p64">
                <a:extLst>
                  <a:ext uri="{FF2B5EF4-FFF2-40B4-BE49-F238E27FC236}">
                    <a16:creationId xmlns:a16="http://schemas.microsoft.com/office/drawing/2014/main" id="{C0E70933-FAD6-A43E-0556-4D2014F973C1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" name="Google Shape;13307;p64">
                <a:extLst>
                  <a:ext uri="{FF2B5EF4-FFF2-40B4-BE49-F238E27FC236}">
                    <a16:creationId xmlns:a16="http://schemas.microsoft.com/office/drawing/2014/main" id="{5B4F0258-2AE0-4BF6-C588-C56714514300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" name="Google Shape;13308;p64">
                <a:extLst>
                  <a:ext uri="{FF2B5EF4-FFF2-40B4-BE49-F238E27FC236}">
                    <a16:creationId xmlns:a16="http://schemas.microsoft.com/office/drawing/2014/main" id="{AA7FCD1F-43B0-26E9-6694-6641E24099E2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" name="Google Shape;13309;p64">
                <a:extLst>
                  <a:ext uri="{FF2B5EF4-FFF2-40B4-BE49-F238E27FC236}">
                    <a16:creationId xmlns:a16="http://schemas.microsoft.com/office/drawing/2014/main" id="{63A042E0-D4C5-AEA4-8DDE-2E46CB299EAC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" name="Google Shape;13310;p64">
                <a:extLst>
                  <a:ext uri="{FF2B5EF4-FFF2-40B4-BE49-F238E27FC236}">
                    <a16:creationId xmlns:a16="http://schemas.microsoft.com/office/drawing/2014/main" id="{B9235062-D4FE-0E2E-526D-B421058B6B72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63" name="Grafik 62" descr="Money outline">
              <a:extLst>
                <a:ext uri="{FF2B5EF4-FFF2-40B4-BE49-F238E27FC236}">
                  <a16:creationId xmlns:a16="http://schemas.microsoft.com/office/drawing/2014/main" id="{6AA91449-F0BD-2E06-C2EB-466A7B884F3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65" name="Grafik 64" descr="Mandala outline">
              <a:extLst>
                <a:ext uri="{FF2B5EF4-FFF2-40B4-BE49-F238E27FC236}">
                  <a16:creationId xmlns:a16="http://schemas.microsoft.com/office/drawing/2014/main" id="{67509894-9FAE-8944-CEBD-14055F67495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23603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245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Sele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et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2C83B4F-4A0E-A6C2-B8DE-37E2E79F55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011" y="989475"/>
            <a:ext cx="4708514" cy="181188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4762459-6BC2-B0E3-7072-4B830CC6DC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8866" y="2906080"/>
            <a:ext cx="4966804" cy="2016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7916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" name="Google Shape;465;p26"/>
          <p:cNvSpPr txBox="1">
            <a:spLocks noGrp="1"/>
          </p:cNvSpPr>
          <p:nvPr>
            <p:ph type="body" idx="1"/>
          </p:nvPr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Here’s what you’ll find in this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3"/>
              </a:rPr>
              <a:t> </a:t>
            </a:r>
            <a:r>
              <a:rPr lang="en" dirty="0"/>
              <a:t>template: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</a:pP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slide structure based on a consulting sales pitch, which you can easily adapt to your needs. For more info on how to edit the template, please visit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 School</a:t>
            </a:r>
            <a:r>
              <a:rPr lang="en" dirty="0">
                <a:latin typeface="Maven Pro SemiBold"/>
                <a:ea typeface="Maven Pro SemiBold"/>
                <a:cs typeface="Maven Pro SemiBold"/>
                <a:sym typeface="Maven Pro SemiBold"/>
              </a:rPr>
              <a:t> </a:t>
            </a:r>
            <a:r>
              <a:rPr lang="en" dirty="0"/>
              <a:t>or read our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AQs</a:t>
            </a:r>
            <a:r>
              <a:rPr lang="en" dirty="0">
                <a:solidFill>
                  <a:schemeClr val="accent2"/>
                </a:solidFill>
              </a:rPr>
              <a:t>.</a:t>
            </a:r>
            <a:endParaRPr dirty="0">
              <a:solidFill>
                <a:schemeClr val="accent2"/>
              </a:solidFill>
            </a:endParaRPr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n assortment of illustrations that are suitable for use in the presentation can be found in the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ternative resources</a:t>
            </a:r>
            <a:r>
              <a:rPr lang="en" dirty="0"/>
              <a:t> slide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anks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7" action="ppaction://hlinksldjump"/>
              </a:rPr>
              <a:t> </a:t>
            </a:r>
            <a:r>
              <a:rPr lang="en" dirty="0"/>
              <a:t>slide, which you must keep so that proper credits for our design are given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sources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8" action="ppaction://hlinksldjump"/>
              </a:rPr>
              <a:t> </a:t>
            </a:r>
            <a:r>
              <a:rPr lang="en" dirty="0"/>
              <a:t>slide, where you’ll find links to all the elements used in the template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structions for use</a:t>
            </a:r>
            <a:r>
              <a:rPr lang="en" dirty="0">
                <a:latin typeface="Maven Pro SemiBold"/>
                <a:ea typeface="Maven Pro SemiBold"/>
                <a:cs typeface="Maven Pro SemiBold"/>
                <a:sym typeface="Maven Pro SemiBold"/>
              </a:rPr>
              <a:t>.</a:t>
            </a:r>
            <a:endParaRPr dirty="0">
              <a:latin typeface="Maven Pro SemiBold"/>
              <a:ea typeface="Maven Pro SemiBold"/>
              <a:cs typeface="Maven Pro SemiBold"/>
              <a:sym typeface="Maven Pro SemiBold"/>
            </a:endParaRPr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Final slides with: 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The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0" action="ppaction://hlinksldjump"/>
              </a:rPr>
              <a:t>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0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nts and colors</a:t>
            </a:r>
            <a:r>
              <a:rPr lang="en" dirty="0"/>
              <a:t> used in the template.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More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1" action="ppaction://hlinksldjump"/>
              </a:rPr>
              <a:t>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1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graphic resources</a:t>
            </a:r>
            <a:r>
              <a:rPr lang="en" dirty="0"/>
              <a:t>, whose size and color can be edited. 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Sets of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2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ustomizable icons</a:t>
            </a:r>
            <a:r>
              <a:rPr lang="en" dirty="0"/>
              <a:t> of the following themes: general, business, avatar, creative process, education, help &amp; support, medical, nature, performing arts, SEO &amp; marketing, and teamwork.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</a:pPr>
            <a:r>
              <a:rPr lang="en" dirty="0"/>
              <a:t>You can delete this slide when you’re done editing the presentation.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sp>
        <p:nvSpPr>
          <p:cNvPr id="466" name="Google Shape;466;p2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CONTENTS OF THIS TEMPLATE</a:t>
            </a:r>
            <a:endParaRPr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6666296" y="3396800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RGET</a:t>
            </a:r>
            <a:endParaRPr/>
          </a:p>
        </p:txBody>
      </p:sp>
      <p:sp>
        <p:nvSpPr>
          <p:cNvPr id="472" name="Google Shape;472;p27"/>
          <p:cNvSpPr txBox="1">
            <a:spLocks noGrp="1"/>
          </p:cNvSpPr>
          <p:nvPr>
            <p:ph type="subTitle" idx="1"/>
          </p:nvPr>
        </p:nvSpPr>
        <p:spPr>
          <a:xfrm>
            <a:off x="6666298" y="3829675"/>
            <a:ext cx="17538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re you could describe the topic of the section</a:t>
            </a:r>
            <a:endParaRPr/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3942834" y="3396800"/>
            <a:ext cx="1386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OUR PROCESS</a:t>
            </a:r>
            <a:endParaRPr/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1223300" y="3396800"/>
            <a:ext cx="2152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PROBLEM &amp; SOLUTION</a:t>
            </a:r>
            <a:endParaRPr/>
          </a:p>
        </p:txBody>
      </p:sp>
      <p:sp>
        <p:nvSpPr>
          <p:cNvPr id="475" name="Google Shape;475;p27"/>
          <p:cNvSpPr txBox="1">
            <a:spLocks noGrp="1"/>
          </p:cNvSpPr>
          <p:nvPr>
            <p:ph type="subTitle" idx="2"/>
          </p:nvPr>
        </p:nvSpPr>
        <p:spPr>
          <a:xfrm>
            <a:off x="1223300" y="3829680"/>
            <a:ext cx="17556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re you could describe the topic of the section</a:t>
            </a:r>
            <a:endParaRPr/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1223300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1</a:t>
            </a:r>
            <a:endParaRPr/>
          </a:p>
        </p:txBody>
      </p:sp>
      <p:sp>
        <p:nvSpPr>
          <p:cNvPr id="477" name="Google Shape;477;p27"/>
          <p:cNvSpPr txBox="1">
            <a:spLocks noGrp="1"/>
          </p:cNvSpPr>
          <p:nvPr>
            <p:ph type="subTitle" idx="5"/>
          </p:nvPr>
        </p:nvSpPr>
        <p:spPr>
          <a:xfrm>
            <a:off x="3942827" y="3829680"/>
            <a:ext cx="17556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re you could describe the topic of the section</a:t>
            </a:r>
            <a:endParaRPr/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3942827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2</a:t>
            </a:r>
            <a:endParaRPr/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BLE OF CONTENTS</a:t>
            </a:r>
            <a:endParaRPr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6665704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3</a:t>
            </a:r>
            <a:endParaRPr/>
          </a:p>
        </p:txBody>
      </p:sp>
      <p:sp>
        <p:nvSpPr>
          <p:cNvPr id="481" name="Google Shape;481;p27"/>
          <p:cNvSpPr/>
          <p:nvPr/>
        </p:nvSpPr>
        <p:spPr>
          <a:xfrm>
            <a:off x="1223300" y="1562750"/>
            <a:ext cx="824100" cy="8241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3942827" y="1562750"/>
            <a:ext cx="824100" cy="824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6665704" y="1562750"/>
            <a:ext cx="824100" cy="824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>
            <a:off x="1223300" y="1974800"/>
            <a:ext cx="600" cy="960000"/>
          </a:xfrm>
          <a:prstGeom prst="bentConnector3">
            <a:avLst>
              <a:gd name="adj1" fmla="val -396875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>
            <a:off x="3942827" y="1974800"/>
            <a:ext cx="600" cy="960000"/>
          </a:xfrm>
          <a:prstGeom prst="bentConnector3">
            <a:avLst>
              <a:gd name="adj1" fmla="val -396875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>
            <a:off x="6665704" y="1974800"/>
            <a:ext cx="600" cy="960000"/>
          </a:xfrm>
          <a:prstGeom prst="bentConnector3">
            <a:avLst>
              <a:gd name="adj1" fmla="val -396875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0" y="1324712"/>
            <a:ext cx="238733" cy="238031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7489808" y="2386862"/>
            <a:ext cx="238733" cy="238031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9" name="Google Shape;489;p27"/>
          <p:cNvSpPr/>
          <p:nvPr/>
        </p:nvSpPr>
        <p:spPr>
          <a:xfrm>
            <a:off x="1346749" y="1669267"/>
            <a:ext cx="577195" cy="577814"/>
          </a:xfrm>
          <a:custGeom>
            <a:avLst/>
            <a:gdLst/>
            <a:ahLst/>
            <a:cxnLst/>
            <a:rect l="l" t="t" r="r" b="b"/>
            <a:pathLst>
              <a:path w="11193" h="11205" extrusionOk="0">
                <a:moveTo>
                  <a:pt x="3763" y="358"/>
                </a:moveTo>
                <a:cubicBezTo>
                  <a:pt x="4096" y="358"/>
                  <a:pt x="4346" y="632"/>
                  <a:pt x="4346" y="941"/>
                </a:cubicBezTo>
                <a:cubicBezTo>
                  <a:pt x="4346" y="1144"/>
                  <a:pt x="4239" y="1346"/>
                  <a:pt x="4061" y="1441"/>
                </a:cubicBezTo>
                <a:cubicBezTo>
                  <a:pt x="4013" y="1477"/>
                  <a:pt x="3977" y="1536"/>
                  <a:pt x="3977" y="1596"/>
                </a:cubicBezTo>
                <a:lnTo>
                  <a:pt x="3977" y="2001"/>
                </a:lnTo>
                <a:cubicBezTo>
                  <a:pt x="3977" y="2096"/>
                  <a:pt x="4049" y="2179"/>
                  <a:pt x="4156" y="2179"/>
                </a:cubicBezTo>
                <a:lnTo>
                  <a:pt x="5394" y="2179"/>
                </a:lnTo>
                <a:lnTo>
                  <a:pt x="5394" y="3406"/>
                </a:lnTo>
                <a:cubicBezTo>
                  <a:pt x="5394" y="3513"/>
                  <a:pt x="5466" y="3584"/>
                  <a:pt x="5573" y="3584"/>
                </a:cubicBezTo>
                <a:lnTo>
                  <a:pt x="5966" y="3584"/>
                </a:lnTo>
                <a:cubicBezTo>
                  <a:pt x="6025" y="3584"/>
                  <a:pt x="6085" y="3561"/>
                  <a:pt x="6120" y="3501"/>
                </a:cubicBezTo>
                <a:cubicBezTo>
                  <a:pt x="6228" y="3322"/>
                  <a:pt x="6418" y="3215"/>
                  <a:pt x="6620" y="3215"/>
                </a:cubicBezTo>
                <a:cubicBezTo>
                  <a:pt x="6954" y="3215"/>
                  <a:pt x="7204" y="3489"/>
                  <a:pt x="7204" y="3799"/>
                </a:cubicBezTo>
                <a:cubicBezTo>
                  <a:pt x="7204" y="4120"/>
                  <a:pt x="6942" y="4382"/>
                  <a:pt x="6620" y="4382"/>
                </a:cubicBezTo>
                <a:cubicBezTo>
                  <a:pt x="6418" y="4382"/>
                  <a:pt x="6228" y="4275"/>
                  <a:pt x="6120" y="4096"/>
                </a:cubicBezTo>
                <a:cubicBezTo>
                  <a:pt x="6085" y="4037"/>
                  <a:pt x="6025" y="4001"/>
                  <a:pt x="5966" y="4001"/>
                </a:cubicBezTo>
                <a:lnTo>
                  <a:pt x="5573" y="4001"/>
                </a:lnTo>
                <a:cubicBezTo>
                  <a:pt x="5466" y="4001"/>
                  <a:pt x="5394" y="4084"/>
                  <a:pt x="5394" y="4180"/>
                </a:cubicBezTo>
                <a:lnTo>
                  <a:pt x="5394" y="5418"/>
                </a:lnTo>
                <a:lnTo>
                  <a:pt x="4334" y="5418"/>
                </a:lnTo>
                <a:lnTo>
                  <a:pt x="4334" y="5299"/>
                </a:lnTo>
                <a:cubicBezTo>
                  <a:pt x="4573" y="5120"/>
                  <a:pt x="4704" y="4834"/>
                  <a:pt x="4704" y="4561"/>
                </a:cubicBezTo>
                <a:cubicBezTo>
                  <a:pt x="4704" y="4037"/>
                  <a:pt x="4287" y="3620"/>
                  <a:pt x="3775" y="3620"/>
                </a:cubicBezTo>
                <a:cubicBezTo>
                  <a:pt x="3251" y="3620"/>
                  <a:pt x="2834" y="4037"/>
                  <a:pt x="2834" y="4561"/>
                </a:cubicBezTo>
                <a:cubicBezTo>
                  <a:pt x="2834" y="4858"/>
                  <a:pt x="2965" y="5132"/>
                  <a:pt x="3203" y="5299"/>
                </a:cubicBezTo>
                <a:lnTo>
                  <a:pt x="3203" y="5430"/>
                </a:lnTo>
                <a:lnTo>
                  <a:pt x="2144" y="5430"/>
                </a:lnTo>
                <a:lnTo>
                  <a:pt x="2144" y="2179"/>
                </a:lnTo>
                <a:lnTo>
                  <a:pt x="3382" y="2179"/>
                </a:lnTo>
                <a:cubicBezTo>
                  <a:pt x="3489" y="2179"/>
                  <a:pt x="3561" y="2096"/>
                  <a:pt x="3561" y="2001"/>
                </a:cubicBezTo>
                <a:lnTo>
                  <a:pt x="3561" y="1596"/>
                </a:lnTo>
                <a:cubicBezTo>
                  <a:pt x="3561" y="1536"/>
                  <a:pt x="3537" y="1477"/>
                  <a:pt x="3465" y="1441"/>
                </a:cubicBezTo>
                <a:cubicBezTo>
                  <a:pt x="3299" y="1346"/>
                  <a:pt x="3191" y="1144"/>
                  <a:pt x="3191" y="941"/>
                </a:cubicBezTo>
                <a:cubicBezTo>
                  <a:pt x="3191" y="608"/>
                  <a:pt x="3453" y="358"/>
                  <a:pt x="3763" y="358"/>
                </a:cubicBezTo>
                <a:close/>
                <a:moveTo>
                  <a:pt x="9014" y="5811"/>
                </a:moveTo>
                <a:lnTo>
                  <a:pt x="9014" y="7799"/>
                </a:lnTo>
                <a:lnTo>
                  <a:pt x="9014" y="8025"/>
                </a:lnTo>
                <a:lnTo>
                  <a:pt x="9014" y="9049"/>
                </a:lnTo>
                <a:lnTo>
                  <a:pt x="7775" y="9049"/>
                </a:lnTo>
                <a:cubicBezTo>
                  <a:pt x="7668" y="9049"/>
                  <a:pt x="7597" y="9121"/>
                  <a:pt x="7597" y="9228"/>
                </a:cubicBezTo>
                <a:lnTo>
                  <a:pt x="7597" y="9633"/>
                </a:lnTo>
                <a:cubicBezTo>
                  <a:pt x="7597" y="9692"/>
                  <a:pt x="7621" y="9752"/>
                  <a:pt x="7680" y="9776"/>
                </a:cubicBezTo>
                <a:cubicBezTo>
                  <a:pt x="7859" y="9883"/>
                  <a:pt x="7966" y="10073"/>
                  <a:pt x="7966" y="10288"/>
                </a:cubicBezTo>
                <a:cubicBezTo>
                  <a:pt x="7966" y="10609"/>
                  <a:pt x="7704" y="10871"/>
                  <a:pt x="7382" y="10871"/>
                </a:cubicBezTo>
                <a:cubicBezTo>
                  <a:pt x="7061" y="10871"/>
                  <a:pt x="6811" y="10597"/>
                  <a:pt x="6811" y="10288"/>
                </a:cubicBezTo>
                <a:cubicBezTo>
                  <a:pt x="6811" y="10073"/>
                  <a:pt x="6906" y="9883"/>
                  <a:pt x="7085" y="9776"/>
                </a:cubicBezTo>
                <a:cubicBezTo>
                  <a:pt x="7144" y="9752"/>
                  <a:pt x="7180" y="9692"/>
                  <a:pt x="7180" y="9633"/>
                </a:cubicBezTo>
                <a:lnTo>
                  <a:pt x="7180" y="9228"/>
                </a:lnTo>
                <a:cubicBezTo>
                  <a:pt x="7180" y="9121"/>
                  <a:pt x="7109" y="9049"/>
                  <a:pt x="7001" y="9049"/>
                </a:cubicBezTo>
                <a:lnTo>
                  <a:pt x="5763" y="9049"/>
                </a:lnTo>
                <a:lnTo>
                  <a:pt x="5763" y="7811"/>
                </a:lnTo>
                <a:cubicBezTo>
                  <a:pt x="5763" y="7716"/>
                  <a:pt x="5692" y="7632"/>
                  <a:pt x="5585" y="7632"/>
                </a:cubicBezTo>
                <a:lnTo>
                  <a:pt x="5180" y="7632"/>
                </a:lnTo>
                <a:cubicBezTo>
                  <a:pt x="5120" y="7632"/>
                  <a:pt x="5061" y="7668"/>
                  <a:pt x="5037" y="7728"/>
                </a:cubicBezTo>
                <a:cubicBezTo>
                  <a:pt x="4930" y="7906"/>
                  <a:pt x="4739" y="8013"/>
                  <a:pt x="4525" y="8013"/>
                </a:cubicBezTo>
                <a:cubicBezTo>
                  <a:pt x="4203" y="8013"/>
                  <a:pt x="3953" y="7740"/>
                  <a:pt x="3953" y="7430"/>
                </a:cubicBezTo>
                <a:cubicBezTo>
                  <a:pt x="3953" y="7120"/>
                  <a:pt x="4215" y="6847"/>
                  <a:pt x="4525" y="6847"/>
                </a:cubicBezTo>
                <a:cubicBezTo>
                  <a:pt x="4739" y="6847"/>
                  <a:pt x="4930" y="6954"/>
                  <a:pt x="5037" y="7132"/>
                </a:cubicBezTo>
                <a:cubicBezTo>
                  <a:pt x="5061" y="7192"/>
                  <a:pt x="5120" y="7216"/>
                  <a:pt x="5180" y="7216"/>
                </a:cubicBezTo>
                <a:lnTo>
                  <a:pt x="5585" y="7216"/>
                </a:lnTo>
                <a:cubicBezTo>
                  <a:pt x="5692" y="7216"/>
                  <a:pt x="5763" y="7144"/>
                  <a:pt x="5763" y="7037"/>
                </a:cubicBezTo>
                <a:lnTo>
                  <a:pt x="5763" y="5811"/>
                </a:lnTo>
                <a:lnTo>
                  <a:pt x="6823" y="5811"/>
                </a:lnTo>
                <a:lnTo>
                  <a:pt x="6823" y="5942"/>
                </a:lnTo>
                <a:cubicBezTo>
                  <a:pt x="6585" y="6120"/>
                  <a:pt x="6454" y="6406"/>
                  <a:pt x="6454" y="6680"/>
                </a:cubicBezTo>
                <a:cubicBezTo>
                  <a:pt x="6454" y="7204"/>
                  <a:pt x="6870" y="7621"/>
                  <a:pt x="7382" y="7621"/>
                </a:cubicBezTo>
                <a:cubicBezTo>
                  <a:pt x="7906" y="7621"/>
                  <a:pt x="8323" y="7204"/>
                  <a:pt x="8323" y="6680"/>
                </a:cubicBezTo>
                <a:cubicBezTo>
                  <a:pt x="8323" y="6382"/>
                  <a:pt x="8192" y="6108"/>
                  <a:pt x="7954" y="5942"/>
                </a:cubicBezTo>
                <a:lnTo>
                  <a:pt x="7954" y="5811"/>
                </a:lnTo>
                <a:close/>
                <a:moveTo>
                  <a:pt x="3799" y="1"/>
                </a:moveTo>
                <a:cubicBezTo>
                  <a:pt x="3275" y="1"/>
                  <a:pt x="2858" y="417"/>
                  <a:pt x="2858" y="941"/>
                </a:cubicBezTo>
                <a:cubicBezTo>
                  <a:pt x="2858" y="1239"/>
                  <a:pt x="3001" y="1525"/>
                  <a:pt x="3239" y="1679"/>
                </a:cubicBezTo>
                <a:lnTo>
                  <a:pt x="3239" y="1822"/>
                </a:lnTo>
                <a:lnTo>
                  <a:pt x="2001" y="1822"/>
                </a:lnTo>
                <a:cubicBezTo>
                  <a:pt x="1894" y="1822"/>
                  <a:pt x="1822" y="1894"/>
                  <a:pt x="1822" y="2001"/>
                </a:cubicBezTo>
                <a:lnTo>
                  <a:pt x="1822" y="5608"/>
                </a:lnTo>
                <a:lnTo>
                  <a:pt x="1822" y="6847"/>
                </a:lnTo>
                <a:lnTo>
                  <a:pt x="1691" y="6847"/>
                </a:lnTo>
                <a:cubicBezTo>
                  <a:pt x="1513" y="6609"/>
                  <a:pt x="1227" y="6478"/>
                  <a:pt x="941" y="6478"/>
                </a:cubicBezTo>
                <a:cubicBezTo>
                  <a:pt x="417" y="6478"/>
                  <a:pt x="1" y="6894"/>
                  <a:pt x="1" y="7406"/>
                </a:cubicBezTo>
                <a:cubicBezTo>
                  <a:pt x="1" y="7930"/>
                  <a:pt x="417" y="8347"/>
                  <a:pt x="941" y="8347"/>
                </a:cubicBezTo>
                <a:cubicBezTo>
                  <a:pt x="1239" y="8347"/>
                  <a:pt x="1525" y="8216"/>
                  <a:pt x="1691" y="7978"/>
                </a:cubicBezTo>
                <a:lnTo>
                  <a:pt x="1822" y="7978"/>
                </a:lnTo>
                <a:lnTo>
                  <a:pt x="1822" y="9216"/>
                </a:lnTo>
                <a:cubicBezTo>
                  <a:pt x="1822" y="9311"/>
                  <a:pt x="1894" y="9395"/>
                  <a:pt x="2001" y="9395"/>
                </a:cubicBezTo>
                <a:lnTo>
                  <a:pt x="2620" y="9395"/>
                </a:lnTo>
                <a:cubicBezTo>
                  <a:pt x="2727" y="9395"/>
                  <a:pt x="2799" y="9311"/>
                  <a:pt x="2799" y="9216"/>
                </a:cubicBezTo>
                <a:cubicBezTo>
                  <a:pt x="2799" y="9109"/>
                  <a:pt x="2727" y="9037"/>
                  <a:pt x="2620" y="9037"/>
                </a:cubicBezTo>
                <a:lnTo>
                  <a:pt x="2179" y="9037"/>
                </a:lnTo>
                <a:lnTo>
                  <a:pt x="2179" y="7799"/>
                </a:lnTo>
                <a:cubicBezTo>
                  <a:pt x="2179" y="7692"/>
                  <a:pt x="2108" y="7621"/>
                  <a:pt x="2001" y="7621"/>
                </a:cubicBezTo>
                <a:lnTo>
                  <a:pt x="1596" y="7621"/>
                </a:lnTo>
                <a:cubicBezTo>
                  <a:pt x="1536" y="7621"/>
                  <a:pt x="1477" y="7644"/>
                  <a:pt x="1453" y="7704"/>
                </a:cubicBezTo>
                <a:cubicBezTo>
                  <a:pt x="1346" y="7882"/>
                  <a:pt x="1155" y="7990"/>
                  <a:pt x="941" y="7990"/>
                </a:cubicBezTo>
                <a:cubicBezTo>
                  <a:pt x="620" y="7990"/>
                  <a:pt x="358" y="7728"/>
                  <a:pt x="358" y="7406"/>
                </a:cubicBezTo>
                <a:cubicBezTo>
                  <a:pt x="358" y="7085"/>
                  <a:pt x="632" y="6835"/>
                  <a:pt x="941" y="6835"/>
                </a:cubicBezTo>
                <a:cubicBezTo>
                  <a:pt x="1155" y="6835"/>
                  <a:pt x="1346" y="6930"/>
                  <a:pt x="1453" y="7109"/>
                </a:cubicBezTo>
                <a:cubicBezTo>
                  <a:pt x="1477" y="7168"/>
                  <a:pt x="1536" y="7204"/>
                  <a:pt x="1596" y="7204"/>
                </a:cubicBezTo>
                <a:lnTo>
                  <a:pt x="2001" y="7204"/>
                </a:lnTo>
                <a:cubicBezTo>
                  <a:pt x="2108" y="7204"/>
                  <a:pt x="2179" y="7132"/>
                  <a:pt x="2179" y="7025"/>
                </a:cubicBezTo>
                <a:lnTo>
                  <a:pt x="2179" y="5787"/>
                </a:lnTo>
                <a:lnTo>
                  <a:pt x="3418" y="5787"/>
                </a:lnTo>
                <a:cubicBezTo>
                  <a:pt x="3513" y="5787"/>
                  <a:pt x="3596" y="5716"/>
                  <a:pt x="3596" y="5608"/>
                </a:cubicBezTo>
                <a:lnTo>
                  <a:pt x="3596" y="5204"/>
                </a:lnTo>
                <a:cubicBezTo>
                  <a:pt x="3596" y="5144"/>
                  <a:pt x="3561" y="5085"/>
                  <a:pt x="3501" y="5061"/>
                </a:cubicBezTo>
                <a:cubicBezTo>
                  <a:pt x="3322" y="4954"/>
                  <a:pt x="3215" y="4763"/>
                  <a:pt x="3215" y="4549"/>
                </a:cubicBezTo>
                <a:cubicBezTo>
                  <a:pt x="3215" y="4227"/>
                  <a:pt x="3489" y="3977"/>
                  <a:pt x="3799" y="3977"/>
                </a:cubicBezTo>
                <a:cubicBezTo>
                  <a:pt x="4132" y="3977"/>
                  <a:pt x="4382" y="4239"/>
                  <a:pt x="4382" y="4549"/>
                </a:cubicBezTo>
                <a:cubicBezTo>
                  <a:pt x="4382" y="4763"/>
                  <a:pt x="4275" y="4954"/>
                  <a:pt x="4096" y="5061"/>
                </a:cubicBezTo>
                <a:cubicBezTo>
                  <a:pt x="4037" y="5085"/>
                  <a:pt x="4013" y="5144"/>
                  <a:pt x="4013" y="5204"/>
                </a:cubicBezTo>
                <a:lnTo>
                  <a:pt x="4013" y="5608"/>
                </a:lnTo>
                <a:cubicBezTo>
                  <a:pt x="4013" y="5716"/>
                  <a:pt x="4084" y="5787"/>
                  <a:pt x="4192" y="5787"/>
                </a:cubicBezTo>
                <a:lnTo>
                  <a:pt x="5418" y="5787"/>
                </a:lnTo>
                <a:lnTo>
                  <a:pt x="5418" y="6847"/>
                </a:lnTo>
                <a:lnTo>
                  <a:pt x="5287" y="6847"/>
                </a:lnTo>
                <a:cubicBezTo>
                  <a:pt x="5108" y="6609"/>
                  <a:pt x="4823" y="6478"/>
                  <a:pt x="4549" y="6478"/>
                </a:cubicBezTo>
                <a:cubicBezTo>
                  <a:pt x="4025" y="6478"/>
                  <a:pt x="3608" y="6894"/>
                  <a:pt x="3608" y="7406"/>
                </a:cubicBezTo>
                <a:cubicBezTo>
                  <a:pt x="3608" y="7930"/>
                  <a:pt x="4025" y="8347"/>
                  <a:pt x="4549" y="8347"/>
                </a:cubicBezTo>
                <a:cubicBezTo>
                  <a:pt x="4846" y="8347"/>
                  <a:pt x="5120" y="8216"/>
                  <a:pt x="5287" y="7978"/>
                </a:cubicBezTo>
                <a:lnTo>
                  <a:pt x="5418" y="7978"/>
                </a:lnTo>
                <a:lnTo>
                  <a:pt x="5418" y="9037"/>
                </a:lnTo>
                <a:lnTo>
                  <a:pt x="3168" y="9037"/>
                </a:lnTo>
                <a:cubicBezTo>
                  <a:pt x="3072" y="9037"/>
                  <a:pt x="3001" y="9109"/>
                  <a:pt x="3001" y="9216"/>
                </a:cubicBezTo>
                <a:cubicBezTo>
                  <a:pt x="3001" y="9311"/>
                  <a:pt x="3072" y="9395"/>
                  <a:pt x="3168" y="9395"/>
                </a:cubicBezTo>
                <a:lnTo>
                  <a:pt x="6835" y="9395"/>
                </a:lnTo>
                <a:lnTo>
                  <a:pt x="6835" y="9526"/>
                </a:lnTo>
                <a:cubicBezTo>
                  <a:pt x="6597" y="9704"/>
                  <a:pt x="6466" y="9990"/>
                  <a:pt x="6466" y="10264"/>
                </a:cubicBezTo>
                <a:cubicBezTo>
                  <a:pt x="6466" y="10788"/>
                  <a:pt x="6882" y="11204"/>
                  <a:pt x="7406" y="11204"/>
                </a:cubicBezTo>
                <a:cubicBezTo>
                  <a:pt x="7918" y="11204"/>
                  <a:pt x="8335" y="10788"/>
                  <a:pt x="8335" y="10264"/>
                </a:cubicBezTo>
                <a:cubicBezTo>
                  <a:pt x="8335" y="9966"/>
                  <a:pt x="8204" y="9692"/>
                  <a:pt x="7966" y="9526"/>
                </a:cubicBezTo>
                <a:lnTo>
                  <a:pt x="7966" y="9395"/>
                </a:lnTo>
                <a:lnTo>
                  <a:pt x="9204" y="9395"/>
                </a:lnTo>
                <a:cubicBezTo>
                  <a:pt x="9311" y="9395"/>
                  <a:pt x="9383" y="9311"/>
                  <a:pt x="9383" y="9216"/>
                </a:cubicBezTo>
                <a:lnTo>
                  <a:pt x="9383" y="8002"/>
                </a:lnTo>
                <a:lnTo>
                  <a:pt x="9383" y="7787"/>
                </a:lnTo>
                <a:lnTo>
                  <a:pt x="9383" y="5596"/>
                </a:lnTo>
                <a:lnTo>
                  <a:pt x="9383" y="4358"/>
                </a:lnTo>
                <a:lnTo>
                  <a:pt x="9514" y="4358"/>
                </a:lnTo>
                <a:cubicBezTo>
                  <a:pt x="9692" y="4596"/>
                  <a:pt x="9978" y="4727"/>
                  <a:pt x="10264" y="4727"/>
                </a:cubicBezTo>
                <a:cubicBezTo>
                  <a:pt x="10776" y="4727"/>
                  <a:pt x="11192" y="4311"/>
                  <a:pt x="11192" y="3799"/>
                </a:cubicBezTo>
                <a:cubicBezTo>
                  <a:pt x="11192" y="3287"/>
                  <a:pt x="10776" y="2858"/>
                  <a:pt x="10264" y="2858"/>
                </a:cubicBezTo>
                <a:cubicBezTo>
                  <a:pt x="9966" y="2858"/>
                  <a:pt x="9680" y="2989"/>
                  <a:pt x="9514" y="3227"/>
                </a:cubicBezTo>
                <a:lnTo>
                  <a:pt x="9383" y="3227"/>
                </a:lnTo>
                <a:lnTo>
                  <a:pt x="9383" y="2001"/>
                </a:lnTo>
                <a:cubicBezTo>
                  <a:pt x="9383" y="1894"/>
                  <a:pt x="9311" y="1822"/>
                  <a:pt x="9204" y="1822"/>
                </a:cubicBezTo>
                <a:lnTo>
                  <a:pt x="8609" y="1822"/>
                </a:lnTo>
                <a:cubicBezTo>
                  <a:pt x="8502" y="1822"/>
                  <a:pt x="8430" y="1894"/>
                  <a:pt x="8430" y="2001"/>
                </a:cubicBezTo>
                <a:cubicBezTo>
                  <a:pt x="8430" y="2096"/>
                  <a:pt x="8502" y="2179"/>
                  <a:pt x="8609" y="2179"/>
                </a:cubicBezTo>
                <a:lnTo>
                  <a:pt x="9026" y="2179"/>
                </a:lnTo>
                <a:lnTo>
                  <a:pt x="9026" y="3406"/>
                </a:lnTo>
                <a:cubicBezTo>
                  <a:pt x="9026" y="3513"/>
                  <a:pt x="9097" y="3584"/>
                  <a:pt x="9204" y="3584"/>
                </a:cubicBezTo>
                <a:lnTo>
                  <a:pt x="9609" y="3584"/>
                </a:lnTo>
                <a:cubicBezTo>
                  <a:pt x="9668" y="3584"/>
                  <a:pt x="9728" y="3561"/>
                  <a:pt x="9752" y="3501"/>
                </a:cubicBezTo>
                <a:cubicBezTo>
                  <a:pt x="9859" y="3322"/>
                  <a:pt x="10049" y="3215"/>
                  <a:pt x="10264" y="3215"/>
                </a:cubicBezTo>
                <a:cubicBezTo>
                  <a:pt x="10585" y="3215"/>
                  <a:pt x="10835" y="3489"/>
                  <a:pt x="10835" y="3799"/>
                </a:cubicBezTo>
                <a:cubicBezTo>
                  <a:pt x="10835" y="4120"/>
                  <a:pt x="10573" y="4382"/>
                  <a:pt x="10264" y="4382"/>
                </a:cubicBezTo>
                <a:cubicBezTo>
                  <a:pt x="10049" y="4382"/>
                  <a:pt x="9859" y="4275"/>
                  <a:pt x="9752" y="4096"/>
                </a:cubicBezTo>
                <a:cubicBezTo>
                  <a:pt x="9728" y="4037"/>
                  <a:pt x="9668" y="4001"/>
                  <a:pt x="9609" y="4001"/>
                </a:cubicBezTo>
                <a:lnTo>
                  <a:pt x="9204" y="4001"/>
                </a:lnTo>
                <a:cubicBezTo>
                  <a:pt x="9097" y="4001"/>
                  <a:pt x="9026" y="4084"/>
                  <a:pt x="9026" y="4180"/>
                </a:cubicBezTo>
                <a:lnTo>
                  <a:pt x="9026" y="5418"/>
                </a:lnTo>
                <a:lnTo>
                  <a:pt x="7787" y="5418"/>
                </a:lnTo>
                <a:cubicBezTo>
                  <a:pt x="7680" y="5418"/>
                  <a:pt x="7609" y="5489"/>
                  <a:pt x="7609" y="5596"/>
                </a:cubicBezTo>
                <a:lnTo>
                  <a:pt x="7609" y="6001"/>
                </a:lnTo>
                <a:cubicBezTo>
                  <a:pt x="7609" y="6061"/>
                  <a:pt x="7644" y="6120"/>
                  <a:pt x="7704" y="6144"/>
                </a:cubicBezTo>
                <a:cubicBezTo>
                  <a:pt x="7883" y="6251"/>
                  <a:pt x="7978" y="6442"/>
                  <a:pt x="7978" y="6656"/>
                </a:cubicBezTo>
                <a:cubicBezTo>
                  <a:pt x="7978" y="6978"/>
                  <a:pt x="7716" y="7240"/>
                  <a:pt x="7406" y="7240"/>
                </a:cubicBezTo>
                <a:cubicBezTo>
                  <a:pt x="7073" y="7240"/>
                  <a:pt x="6823" y="6966"/>
                  <a:pt x="6823" y="6656"/>
                </a:cubicBezTo>
                <a:cubicBezTo>
                  <a:pt x="6823" y="6442"/>
                  <a:pt x="6930" y="6251"/>
                  <a:pt x="7109" y="6144"/>
                </a:cubicBezTo>
                <a:cubicBezTo>
                  <a:pt x="7168" y="6120"/>
                  <a:pt x="7192" y="6061"/>
                  <a:pt x="7192" y="6001"/>
                </a:cubicBezTo>
                <a:lnTo>
                  <a:pt x="7192" y="5596"/>
                </a:lnTo>
                <a:cubicBezTo>
                  <a:pt x="7192" y="5489"/>
                  <a:pt x="7121" y="5418"/>
                  <a:pt x="7013" y="5418"/>
                </a:cubicBezTo>
                <a:lnTo>
                  <a:pt x="5775" y="5418"/>
                </a:lnTo>
                <a:lnTo>
                  <a:pt x="5775" y="4358"/>
                </a:lnTo>
                <a:lnTo>
                  <a:pt x="5918" y="4358"/>
                </a:lnTo>
                <a:cubicBezTo>
                  <a:pt x="6097" y="4596"/>
                  <a:pt x="6370" y="4739"/>
                  <a:pt x="6656" y="4739"/>
                </a:cubicBezTo>
                <a:cubicBezTo>
                  <a:pt x="7180" y="4739"/>
                  <a:pt x="7597" y="4323"/>
                  <a:pt x="7597" y="3799"/>
                </a:cubicBezTo>
                <a:cubicBezTo>
                  <a:pt x="7597" y="3275"/>
                  <a:pt x="7180" y="2858"/>
                  <a:pt x="6656" y="2858"/>
                </a:cubicBezTo>
                <a:cubicBezTo>
                  <a:pt x="6359" y="2858"/>
                  <a:pt x="6073" y="2989"/>
                  <a:pt x="5918" y="3227"/>
                </a:cubicBezTo>
                <a:lnTo>
                  <a:pt x="5775" y="3227"/>
                </a:lnTo>
                <a:lnTo>
                  <a:pt x="5775" y="2179"/>
                </a:lnTo>
                <a:lnTo>
                  <a:pt x="8025" y="2179"/>
                </a:lnTo>
                <a:cubicBezTo>
                  <a:pt x="8133" y="2179"/>
                  <a:pt x="8204" y="2096"/>
                  <a:pt x="8204" y="2001"/>
                </a:cubicBezTo>
                <a:cubicBezTo>
                  <a:pt x="8204" y="1894"/>
                  <a:pt x="8133" y="1822"/>
                  <a:pt x="8025" y="1822"/>
                </a:cubicBezTo>
                <a:lnTo>
                  <a:pt x="4370" y="1822"/>
                </a:lnTo>
                <a:lnTo>
                  <a:pt x="4370" y="1679"/>
                </a:lnTo>
                <a:cubicBezTo>
                  <a:pt x="4608" y="1501"/>
                  <a:pt x="4739" y="1227"/>
                  <a:pt x="4739" y="941"/>
                </a:cubicBezTo>
                <a:cubicBezTo>
                  <a:pt x="4739" y="417"/>
                  <a:pt x="4323" y="1"/>
                  <a:pt x="3799" y="1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90" name="Google Shape;490;p27"/>
          <p:cNvGrpSpPr/>
          <p:nvPr/>
        </p:nvGrpSpPr>
        <p:grpSpPr>
          <a:xfrm>
            <a:off x="4075558" y="1684660"/>
            <a:ext cx="577210" cy="580282"/>
            <a:chOff x="3095745" y="3805393"/>
            <a:chExt cx="352840" cy="354717"/>
          </a:xfrm>
        </p:grpSpPr>
        <p:sp>
          <p:nvSpPr>
            <p:cNvPr id="491" name="Google Shape;491;p27"/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" name="Google Shape;492;p27"/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" name="Google Shape;493;p27"/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" name="Google Shape;494;p27"/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" name="Google Shape;495;p27"/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" name="Google Shape;496;p27"/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97" name="Google Shape;497;p27"/>
          <p:cNvGrpSpPr/>
          <p:nvPr/>
        </p:nvGrpSpPr>
        <p:grpSpPr>
          <a:xfrm>
            <a:off x="6789168" y="1684647"/>
            <a:ext cx="583817" cy="580314"/>
            <a:chOff x="3541011" y="3367320"/>
            <a:chExt cx="348257" cy="346188"/>
          </a:xfrm>
        </p:grpSpPr>
        <p:sp>
          <p:nvSpPr>
            <p:cNvPr id="498" name="Google Shape;498;p27"/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" name="Google Shape;499;p27"/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" name="Google Shape;500;p27"/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" name="Google Shape;501;p27"/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1" name="Google Shape;571;p29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6153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UNDERSTANDING THE PROBLEM</a:t>
            </a:r>
            <a:endParaRPr/>
          </a:p>
        </p:txBody>
      </p:sp>
      <p:sp>
        <p:nvSpPr>
          <p:cNvPr id="572" name="Google Shape;572;p29"/>
          <p:cNvSpPr txBox="1">
            <a:spLocks noGrp="1"/>
          </p:cNvSpPr>
          <p:nvPr>
            <p:ph type="ctrTitle"/>
          </p:nvPr>
        </p:nvSpPr>
        <p:spPr>
          <a:xfrm>
            <a:off x="931234" y="1196026"/>
            <a:ext cx="982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573" name="Google Shape;573;p29"/>
          <p:cNvSpPr txBox="1">
            <a:spLocks noGrp="1"/>
          </p:cNvSpPr>
          <p:nvPr>
            <p:ph type="subTitle" idx="1"/>
          </p:nvPr>
        </p:nvSpPr>
        <p:spPr>
          <a:xfrm>
            <a:off x="931246" y="1684093"/>
            <a:ext cx="2620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 cold place. It’s full of iron oxide dust, which gives the planet its reddish cast</a:t>
            </a:r>
            <a:endParaRPr/>
          </a:p>
        </p:txBody>
      </p:sp>
      <p:sp>
        <p:nvSpPr>
          <p:cNvPr id="574" name="Google Shape;574;p29"/>
          <p:cNvSpPr txBox="1">
            <a:spLocks noGrp="1"/>
          </p:cNvSpPr>
          <p:nvPr>
            <p:ph type="ctrTitle" idx="2"/>
          </p:nvPr>
        </p:nvSpPr>
        <p:spPr>
          <a:xfrm>
            <a:off x="7050379" y="1196025"/>
            <a:ext cx="11373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575" name="Google Shape;575;p29"/>
          <p:cNvSpPr txBox="1">
            <a:spLocks noGrp="1"/>
          </p:cNvSpPr>
          <p:nvPr>
            <p:ph type="subTitle" idx="3"/>
          </p:nvPr>
        </p:nvSpPr>
        <p:spPr>
          <a:xfrm>
            <a:off x="5450166" y="1684093"/>
            <a:ext cx="2737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 has a beautiful name and is the second planet from the Sun. It’s terribly hot, even hotter than Mercury</a:t>
            </a:r>
            <a:endParaRPr/>
          </a:p>
        </p:txBody>
      </p:sp>
      <p:grpSp>
        <p:nvGrpSpPr>
          <p:cNvPr id="576" name="Google Shape;576;p29"/>
          <p:cNvGrpSpPr/>
          <p:nvPr/>
        </p:nvGrpSpPr>
        <p:grpSpPr>
          <a:xfrm>
            <a:off x="2466797" y="2837754"/>
            <a:ext cx="4594825" cy="1842617"/>
            <a:chOff x="3834069" y="2439811"/>
            <a:chExt cx="2413629" cy="967914"/>
          </a:xfrm>
        </p:grpSpPr>
        <p:grpSp>
          <p:nvGrpSpPr>
            <p:cNvPr id="577" name="Google Shape;577;p29"/>
            <p:cNvGrpSpPr/>
            <p:nvPr/>
          </p:nvGrpSpPr>
          <p:grpSpPr>
            <a:xfrm>
              <a:off x="4960453" y="2469658"/>
              <a:ext cx="1287244" cy="885527"/>
              <a:chOff x="4960453" y="2469658"/>
              <a:chExt cx="1287244" cy="885527"/>
            </a:xfrm>
          </p:grpSpPr>
          <p:sp>
            <p:nvSpPr>
              <p:cNvPr id="578" name="Google Shape;578;p29"/>
              <p:cNvSpPr/>
              <p:nvPr/>
            </p:nvSpPr>
            <p:spPr>
              <a:xfrm>
                <a:off x="4960453" y="3257061"/>
                <a:ext cx="128724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1" y="6286"/>
                    </a:lnTo>
                    <a:lnTo>
                      <a:pt x="42851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9" name="Google Shape;579;p29"/>
              <p:cNvSpPr/>
              <p:nvPr/>
            </p:nvSpPr>
            <p:spPr>
              <a:xfrm>
                <a:off x="4960454" y="3099580"/>
                <a:ext cx="1051349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42851" y="6285"/>
                    </a:lnTo>
                    <a:lnTo>
                      <a:pt x="42851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0" name="Google Shape;580;p29"/>
              <p:cNvSpPr/>
              <p:nvPr/>
            </p:nvSpPr>
            <p:spPr>
              <a:xfrm>
                <a:off x="4960455" y="2942094"/>
                <a:ext cx="66890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1" y="6286"/>
                    </a:lnTo>
                    <a:lnTo>
                      <a:pt x="42851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1" name="Google Shape;581;p29"/>
              <p:cNvSpPr/>
              <p:nvPr/>
            </p:nvSpPr>
            <p:spPr>
              <a:xfrm>
                <a:off x="4960455" y="2784621"/>
                <a:ext cx="61809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39596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39596" y="6285"/>
                    </a:lnTo>
                    <a:lnTo>
                      <a:pt x="39596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2" name="Google Shape;582;p29"/>
              <p:cNvSpPr/>
              <p:nvPr/>
            </p:nvSpPr>
            <p:spPr>
              <a:xfrm>
                <a:off x="4960455" y="2627131"/>
                <a:ext cx="516519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33089" h="6287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33089" y="6286"/>
                    </a:lnTo>
                    <a:lnTo>
                      <a:pt x="3308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3" name="Google Shape;583;p29"/>
              <p:cNvSpPr/>
              <p:nvPr/>
            </p:nvSpPr>
            <p:spPr>
              <a:xfrm>
                <a:off x="4960455" y="2469658"/>
                <a:ext cx="313293" cy="98078"/>
              </a:xfrm>
              <a:custGeom>
                <a:avLst/>
                <a:gdLst/>
                <a:ahLst/>
                <a:cxnLst/>
                <a:rect l="l" t="t" r="r" b="b"/>
                <a:pathLst>
                  <a:path w="20070" h="6283" extrusionOk="0">
                    <a:moveTo>
                      <a:pt x="0" y="1"/>
                    </a:moveTo>
                    <a:lnTo>
                      <a:pt x="0" y="6283"/>
                    </a:lnTo>
                    <a:lnTo>
                      <a:pt x="20069" y="6283"/>
                    </a:lnTo>
                    <a:lnTo>
                      <a:pt x="2006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84" name="Google Shape;584;p29"/>
            <p:cNvGrpSpPr/>
            <p:nvPr/>
          </p:nvGrpSpPr>
          <p:grpSpPr>
            <a:xfrm>
              <a:off x="3834069" y="2469658"/>
              <a:ext cx="1129846" cy="885527"/>
              <a:chOff x="3834069" y="2469658"/>
              <a:chExt cx="1129846" cy="885527"/>
            </a:xfrm>
          </p:grpSpPr>
          <p:sp>
            <p:nvSpPr>
              <p:cNvPr id="585" name="Google Shape;585;p29"/>
              <p:cNvSpPr/>
              <p:nvPr/>
            </p:nvSpPr>
            <p:spPr>
              <a:xfrm>
                <a:off x="3834069" y="3257061"/>
                <a:ext cx="1129846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4" y="6286"/>
                    </a:lnTo>
                    <a:lnTo>
                      <a:pt x="42854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6" name="Google Shape;586;p29"/>
              <p:cNvSpPr/>
              <p:nvPr/>
            </p:nvSpPr>
            <p:spPr>
              <a:xfrm>
                <a:off x="4093459" y="3099580"/>
                <a:ext cx="870365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42854" y="6285"/>
                    </a:lnTo>
                    <a:lnTo>
                      <a:pt x="42854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7" name="Google Shape;587;p29"/>
              <p:cNvSpPr/>
              <p:nvPr/>
            </p:nvSpPr>
            <p:spPr>
              <a:xfrm>
                <a:off x="4294923" y="2942094"/>
                <a:ext cx="668951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4" y="6286"/>
                    </a:lnTo>
                    <a:lnTo>
                      <a:pt x="42854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8" name="Google Shape;588;p29"/>
              <p:cNvSpPr/>
              <p:nvPr/>
            </p:nvSpPr>
            <p:spPr>
              <a:xfrm>
                <a:off x="4447355" y="2784621"/>
                <a:ext cx="516519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33089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33089" y="6285"/>
                    </a:lnTo>
                    <a:lnTo>
                      <a:pt x="33089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9" name="Google Shape;589;p29"/>
              <p:cNvSpPr/>
              <p:nvPr/>
            </p:nvSpPr>
            <p:spPr>
              <a:xfrm>
                <a:off x="4548960" y="2627131"/>
                <a:ext cx="414914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26580" h="6287" extrusionOk="0">
                    <a:moveTo>
                      <a:pt x="1" y="1"/>
                    </a:moveTo>
                    <a:lnTo>
                      <a:pt x="1" y="6286"/>
                    </a:lnTo>
                    <a:lnTo>
                      <a:pt x="26580" y="6286"/>
                    </a:lnTo>
                    <a:lnTo>
                      <a:pt x="26580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0" name="Google Shape;590;p29"/>
              <p:cNvSpPr/>
              <p:nvPr/>
            </p:nvSpPr>
            <p:spPr>
              <a:xfrm>
                <a:off x="4650534" y="2469658"/>
                <a:ext cx="313340" cy="98078"/>
              </a:xfrm>
              <a:custGeom>
                <a:avLst/>
                <a:gdLst/>
                <a:ahLst/>
                <a:cxnLst/>
                <a:rect l="l" t="t" r="r" b="b"/>
                <a:pathLst>
                  <a:path w="20073" h="6283" extrusionOk="0">
                    <a:moveTo>
                      <a:pt x="1" y="1"/>
                    </a:moveTo>
                    <a:lnTo>
                      <a:pt x="1" y="6283"/>
                    </a:lnTo>
                    <a:lnTo>
                      <a:pt x="20073" y="6283"/>
                    </a:lnTo>
                    <a:lnTo>
                      <a:pt x="20073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591" name="Google Shape;591;p29"/>
            <p:cNvSpPr/>
            <p:nvPr/>
          </p:nvSpPr>
          <p:spPr>
            <a:xfrm>
              <a:off x="4963437" y="2439811"/>
              <a:ext cx="16" cy="967914"/>
            </a:xfrm>
            <a:custGeom>
              <a:avLst/>
              <a:gdLst/>
              <a:ahLst/>
              <a:cxnLst/>
              <a:rect l="l" t="t" r="r" b="b"/>
              <a:pathLst>
                <a:path w="1" h="62006" fill="none" extrusionOk="0">
                  <a:moveTo>
                    <a:pt x="1" y="0"/>
                  </a:moveTo>
                  <a:lnTo>
                    <a:pt x="1" y="62006"/>
                  </a:lnTo>
                </a:path>
              </a:pathLst>
            </a:custGeom>
            <a:noFill/>
            <a:ln w="9525" cap="flat" cmpd="sng">
              <a:solidFill>
                <a:schemeClr val="lt2"/>
              </a:solidFill>
              <a:prstDash val="solid"/>
              <a:miter lim="299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cxnSp>
        <p:nvCxnSpPr>
          <p:cNvPr id="592" name="Google Shape;592;p29"/>
          <p:cNvCxnSpPr>
            <a:stCxn id="572" idx="1"/>
          </p:cNvCxnSpPr>
          <p:nvPr/>
        </p:nvCxnSpPr>
        <p:spPr>
          <a:xfrm>
            <a:off x="931234" y="1484926"/>
            <a:ext cx="2543700" cy="2202000"/>
          </a:xfrm>
          <a:prstGeom prst="bentConnector3">
            <a:avLst>
              <a:gd name="adj1" fmla="val -9361"/>
            </a:avLst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93" name="Google Shape;593;p29"/>
          <p:cNvCxnSpPr>
            <a:stCxn id="574" idx="3"/>
          </p:cNvCxnSpPr>
          <p:nvPr/>
        </p:nvCxnSpPr>
        <p:spPr>
          <a:xfrm flipH="1">
            <a:off x="7041079" y="1484925"/>
            <a:ext cx="1146600" cy="2563800"/>
          </a:xfrm>
          <a:prstGeom prst="bentConnector4">
            <a:avLst>
              <a:gd name="adj1" fmla="val -20768"/>
              <a:gd name="adj2" fmla="val 100745"/>
            </a:avLst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94" name="Google Shape;594;p29"/>
          <p:cNvSpPr/>
          <p:nvPr/>
        </p:nvSpPr>
        <p:spPr>
          <a:xfrm>
            <a:off x="923634" y="3637035"/>
            <a:ext cx="121172" cy="121198"/>
          </a:xfrm>
          <a:custGeom>
            <a:avLst/>
            <a:gdLst/>
            <a:ahLst/>
            <a:cxnLst/>
            <a:rect l="l" t="t" r="r" b="b"/>
            <a:pathLst>
              <a:path w="4624" h="4625" extrusionOk="0">
                <a:moveTo>
                  <a:pt x="0" y="1"/>
                </a:moveTo>
                <a:lnTo>
                  <a:pt x="0" y="4624"/>
                </a:lnTo>
                <a:lnTo>
                  <a:pt x="4624" y="4624"/>
                </a:lnTo>
                <a:lnTo>
                  <a:pt x="4624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5" name="Google Shape;595;p29"/>
          <p:cNvSpPr/>
          <p:nvPr/>
        </p:nvSpPr>
        <p:spPr>
          <a:xfrm>
            <a:off x="8282034" y="2960760"/>
            <a:ext cx="121172" cy="121198"/>
          </a:xfrm>
          <a:custGeom>
            <a:avLst/>
            <a:gdLst/>
            <a:ahLst/>
            <a:cxnLst/>
            <a:rect l="l" t="t" r="r" b="b"/>
            <a:pathLst>
              <a:path w="4624" h="4625" extrusionOk="0">
                <a:moveTo>
                  <a:pt x="0" y="1"/>
                </a:moveTo>
                <a:lnTo>
                  <a:pt x="0" y="4624"/>
                </a:lnTo>
                <a:lnTo>
                  <a:pt x="4624" y="4624"/>
                </a:lnTo>
                <a:lnTo>
                  <a:pt x="4624" y="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" name="Google Shape;600;p30"/>
          <p:cNvSpPr txBox="1">
            <a:spLocks noGrp="1"/>
          </p:cNvSpPr>
          <p:nvPr>
            <p:ph type="ctrTitle" idx="8"/>
          </p:nvPr>
        </p:nvSpPr>
        <p:spPr>
          <a:xfrm>
            <a:off x="621630" y="411675"/>
            <a:ext cx="5888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OUR SOLUTIONS</a:t>
            </a:r>
            <a:endParaRPr sz="3000"/>
          </a:p>
        </p:txBody>
      </p:sp>
      <p:sp>
        <p:nvSpPr>
          <p:cNvPr id="601" name="Google Shape;601;p30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602" name="Google Shape;602;p30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UPITER</a:t>
            </a:r>
            <a:endParaRPr/>
          </a:p>
        </p:txBody>
      </p:sp>
      <p:sp>
        <p:nvSpPr>
          <p:cNvPr id="603" name="Google Shape;603;p30"/>
          <p:cNvSpPr txBox="1">
            <a:spLocks noGrp="1"/>
          </p:cNvSpPr>
          <p:nvPr>
            <p:ph type="subTitle" idx="7"/>
          </p:nvPr>
        </p:nvSpPr>
        <p:spPr>
          <a:xfrm>
            <a:off x="6054555" y="32711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the ringed one and a gas giant</a:t>
            </a:r>
            <a:endParaRPr/>
          </a:p>
        </p:txBody>
      </p:sp>
      <p:sp>
        <p:nvSpPr>
          <p:cNvPr id="604" name="Google Shape;604;p30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605" name="Google Shape;605;p30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 cold place</a:t>
            </a:r>
            <a:endParaRPr/>
          </a:p>
        </p:txBody>
      </p:sp>
      <p:sp>
        <p:nvSpPr>
          <p:cNvPr id="606" name="Google Shape;606;p30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farthest planet from the Sun</a:t>
            </a:r>
            <a:endParaRPr/>
          </a:p>
        </p:txBody>
      </p:sp>
      <p:sp>
        <p:nvSpPr>
          <p:cNvPr id="607" name="Google Shape;607;p30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biggest planet in the Solar System</a:t>
            </a:r>
            <a:endParaRPr/>
          </a:p>
        </p:txBody>
      </p:sp>
      <p:sp>
        <p:nvSpPr>
          <p:cNvPr id="608" name="Google Shape;608;p30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609" name="Google Shape;609;p30"/>
          <p:cNvSpPr/>
          <p:nvPr/>
        </p:nvSpPr>
        <p:spPr>
          <a:xfrm>
            <a:off x="3510825" y="16739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0" name="Google Shape;610;p30"/>
          <p:cNvSpPr/>
          <p:nvPr/>
        </p:nvSpPr>
        <p:spPr>
          <a:xfrm>
            <a:off x="3510825" y="3082375"/>
            <a:ext cx="723900" cy="723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1" name="Google Shape;611;p30"/>
          <p:cNvSpPr/>
          <p:nvPr/>
        </p:nvSpPr>
        <p:spPr>
          <a:xfrm>
            <a:off x="4909275" y="1673975"/>
            <a:ext cx="723900" cy="723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2" name="Google Shape;612;p30"/>
          <p:cNvSpPr/>
          <p:nvPr/>
        </p:nvSpPr>
        <p:spPr>
          <a:xfrm>
            <a:off x="4909275" y="30823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13" name="Google Shape;613;p30"/>
          <p:cNvCxnSpPr>
            <a:stCxn id="609" idx="3"/>
            <a:endCxn id="611" idx="1"/>
          </p:cNvCxnSpPr>
          <p:nvPr/>
        </p:nvCxnSpPr>
        <p:spPr>
          <a:xfrm>
            <a:off x="4234725" y="2035925"/>
            <a:ext cx="674700" cy="600"/>
          </a:xfrm>
          <a:prstGeom prst="bentConnector3">
            <a:avLst>
              <a:gd name="adj1" fmla="val 4998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4" name="Google Shape;614;p30"/>
          <p:cNvCxnSpPr>
            <a:stCxn id="611" idx="2"/>
            <a:endCxn id="610" idx="0"/>
          </p:cNvCxnSpPr>
          <p:nvPr/>
        </p:nvCxnSpPr>
        <p:spPr>
          <a:xfrm rot="5400000">
            <a:off x="4229775" y="2041025"/>
            <a:ext cx="684600" cy="1398300"/>
          </a:xfrm>
          <a:prstGeom prst="bentConnector3">
            <a:avLst>
              <a:gd name="adj1" fmla="val 49993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5" name="Google Shape;615;p30"/>
          <p:cNvCxnSpPr>
            <a:stCxn id="610" idx="3"/>
            <a:endCxn id="612" idx="1"/>
          </p:cNvCxnSpPr>
          <p:nvPr/>
        </p:nvCxnSpPr>
        <p:spPr>
          <a:xfrm>
            <a:off x="4234725" y="3444325"/>
            <a:ext cx="6747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616" name="Google Shape;616;p30"/>
          <p:cNvGrpSpPr/>
          <p:nvPr/>
        </p:nvGrpSpPr>
        <p:grpSpPr>
          <a:xfrm>
            <a:off x="5072712" y="3212678"/>
            <a:ext cx="402156" cy="456781"/>
            <a:chOff x="5357662" y="4297637"/>
            <a:chExt cx="287275" cy="326296"/>
          </a:xfrm>
        </p:grpSpPr>
        <p:sp>
          <p:nvSpPr>
            <p:cNvPr id="617" name="Google Shape;617;p30"/>
            <p:cNvSpPr/>
            <p:nvPr/>
          </p:nvSpPr>
          <p:spPr>
            <a:xfrm>
              <a:off x="5357662" y="4385545"/>
              <a:ext cx="287275" cy="238388"/>
            </a:xfrm>
            <a:custGeom>
              <a:avLst/>
              <a:gdLst/>
              <a:ahLst/>
              <a:cxnLst/>
              <a:rect l="l" t="t" r="r" b="b"/>
              <a:pathLst>
                <a:path w="9026" h="7490" extrusionOk="0">
                  <a:moveTo>
                    <a:pt x="2906" y="5573"/>
                  </a:moveTo>
                  <a:lnTo>
                    <a:pt x="2906" y="7144"/>
                  </a:lnTo>
                  <a:lnTo>
                    <a:pt x="322" y="7144"/>
                  </a:lnTo>
                  <a:lnTo>
                    <a:pt x="322" y="5573"/>
                  </a:lnTo>
                  <a:close/>
                  <a:moveTo>
                    <a:pt x="5799" y="3037"/>
                  </a:moveTo>
                  <a:lnTo>
                    <a:pt x="5799" y="7144"/>
                  </a:lnTo>
                  <a:lnTo>
                    <a:pt x="3227" y="7144"/>
                  </a:lnTo>
                  <a:lnTo>
                    <a:pt x="3227" y="5406"/>
                  </a:lnTo>
                  <a:lnTo>
                    <a:pt x="3227" y="3037"/>
                  </a:lnTo>
                  <a:close/>
                  <a:moveTo>
                    <a:pt x="5966" y="1"/>
                  </a:moveTo>
                  <a:cubicBezTo>
                    <a:pt x="5882" y="1"/>
                    <a:pt x="5799" y="72"/>
                    <a:pt x="5799" y="167"/>
                  </a:cubicBezTo>
                  <a:lnTo>
                    <a:pt x="5799" y="2727"/>
                  </a:lnTo>
                  <a:lnTo>
                    <a:pt x="3061" y="2727"/>
                  </a:lnTo>
                  <a:cubicBezTo>
                    <a:pt x="2977" y="2727"/>
                    <a:pt x="2906" y="2799"/>
                    <a:pt x="2906" y="2894"/>
                  </a:cubicBezTo>
                  <a:lnTo>
                    <a:pt x="2906" y="5251"/>
                  </a:lnTo>
                  <a:lnTo>
                    <a:pt x="156" y="5251"/>
                  </a:lnTo>
                  <a:cubicBezTo>
                    <a:pt x="72" y="5251"/>
                    <a:pt x="1" y="5335"/>
                    <a:pt x="1" y="5418"/>
                  </a:cubicBezTo>
                  <a:lnTo>
                    <a:pt x="1" y="7323"/>
                  </a:lnTo>
                  <a:cubicBezTo>
                    <a:pt x="1" y="7418"/>
                    <a:pt x="72" y="7490"/>
                    <a:pt x="156" y="7490"/>
                  </a:cubicBezTo>
                  <a:lnTo>
                    <a:pt x="8871" y="7490"/>
                  </a:lnTo>
                  <a:cubicBezTo>
                    <a:pt x="8954" y="7490"/>
                    <a:pt x="9026" y="7418"/>
                    <a:pt x="9026" y="7323"/>
                  </a:cubicBezTo>
                  <a:lnTo>
                    <a:pt x="9026" y="1417"/>
                  </a:lnTo>
                  <a:cubicBezTo>
                    <a:pt x="9026" y="1322"/>
                    <a:pt x="8954" y="1251"/>
                    <a:pt x="8871" y="1251"/>
                  </a:cubicBezTo>
                  <a:cubicBezTo>
                    <a:pt x="8776" y="1251"/>
                    <a:pt x="8704" y="1322"/>
                    <a:pt x="8704" y="1417"/>
                  </a:cubicBezTo>
                  <a:lnTo>
                    <a:pt x="8704" y="7144"/>
                  </a:lnTo>
                  <a:lnTo>
                    <a:pt x="6132" y="7144"/>
                  </a:lnTo>
                  <a:lnTo>
                    <a:pt x="6132" y="2870"/>
                  </a:lnTo>
                  <a:lnTo>
                    <a:pt x="6132" y="310"/>
                  </a:lnTo>
                  <a:lnTo>
                    <a:pt x="8704" y="310"/>
                  </a:lnTo>
                  <a:lnTo>
                    <a:pt x="8704" y="763"/>
                  </a:lnTo>
                  <a:cubicBezTo>
                    <a:pt x="8704" y="846"/>
                    <a:pt x="8776" y="929"/>
                    <a:pt x="8871" y="929"/>
                  </a:cubicBezTo>
                  <a:cubicBezTo>
                    <a:pt x="8954" y="929"/>
                    <a:pt x="9026" y="846"/>
                    <a:pt x="9026" y="763"/>
                  </a:cubicBezTo>
                  <a:lnTo>
                    <a:pt x="9026" y="167"/>
                  </a:lnTo>
                  <a:cubicBezTo>
                    <a:pt x="9026" y="72"/>
                    <a:pt x="8954" y="1"/>
                    <a:pt x="887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" name="Google Shape;618;p30"/>
            <p:cNvSpPr/>
            <p:nvPr/>
          </p:nvSpPr>
          <p:spPr>
            <a:xfrm>
              <a:off x="5377363" y="4576542"/>
              <a:ext cx="62191" cy="10248"/>
            </a:xfrm>
            <a:custGeom>
              <a:avLst/>
              <a:gdLst/>
              <a:ahLst/>
              <a:cxnLst/>
              <a:rect l="l" t="t" r="r" b="b"/>
              <a:pathLst>
                <a:path w="19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1787" y="322"/>
                  </a:lnTo>
                  <a:cubicBezTo>
                    <a:pt x="1882" y="322"/>
                    <a:pt x="1953" y="250"/>
                    <a:pt x="1953" y="167"/>
                  </a:cubicBezTo>
                  <a:cubicBezTo>
                    <a:pt x="1953" y="72"/>
                    <a:pt x="1882" y="0"/>
                    <a:pt x="178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" name="Google Shape;619;p30"/>
            <p:cNvSpPr/>
            <p:nvPr/>
          </p:nvSpPr>
          <p:spPr>
            <a:xfrm>
              <a:off x="5470204" y="4495827"/>
              <a:ext cx="62191" cy="10630"/>
            </a:xfrm>
            <a:custGeom>
              <a:avLst/>
              <a:gdLst/>
              <a:ahLst/>
              <a:cxnLst/>
              <a:rect l="l" t="t" r="r" b="b"/>
              <a:pathLst>
                <a:path w="1954" h="334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8" y="334"/>
                  </a:cubicBezTo>
                  <a:lnTo>
                    <a:pt x="1787" y="334"/>
                  </a:lnTo>
                  <a:cubicBezTo>
                    <a:pt x="1882" y="334"/>
                    <a:pt x="1954" y="262"/>
                    <a:pt x="1954" y="167"/>
                  </a:cubicBezTo>
                  <a:cubicBezTo>
                    <a:pt x="1954" y="84"/>
                    <a:pt x="1882" y="0"/>
                    <a:pt x="178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" name="Google Shape;620;p30"/>
            <p:cNvSpPr/>
            <p:nvPr/>
          </p:nvSpPr>
          <p:spPr>
            <a:xfrm>
              <a:off x="5562694" y="4409798"/>
              <a:ext cx="62159" cy="10280"/>
            </a:xfrm>
            <a:custGeom>
              <a:avLst/>
              <a:gdLst/>
              <a:ahLst/>
              <a:cxnLst/>
              <a:rect l="l" t="t" r="r" b="b"/>
              <a:pathLst>
                <a:path w="1953" h="323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786" y="322"/>
                  </a:lnTo>
                  <a:cubicBezTo>
                    <a:pt x="1881" y="322"/>
                    <a:pt x="1953" y="251"/>
                    <a:pt x="1953" y="167"/>
                  </a:cubicBezTo>
                  <a:cubicBezTo>
                    <a:pt x="1953" y="72"/>
                    <a:pt x="1881" y="1"/>
                    <a:pt x="178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" name="Google Shape;621;p30"/>
            <p:cNvSpPr/>
            <p:nvPr/>
          </p:nvSpPr>
          <p:spPr>
            <a:xfrm>
              <a:off x="5358043" y="4297637"/>
              <a:ext cx="238388" cy="237624"/>
            </a:xfrm>
            <a:custGeom>
              <a:avLst/>
              <a:gdLst/>
              <a:ahLst/>
              <a:cxnLst/>
              <a:rect l="l" t="t" r="r" b="b"/>
              <a:pathLst>
                <a:path w="7490" h="7466" extrusionOk="0">
                  <a:moveTo>
                    <a:pt x="6061" y="0"/>
                  </a:moveTo>
                  <a:cubicBezTo>
                    <a:pt x="5966" y="0"/>
                    <a:pt x="5894" y="72"/>
                    <a:pt x="5894" y="155"/>
                  </a:cubicBezTo>
                  <a:cubicBezTo>
                    <a:pt x="5894" y="250"/>
                    <a:pt x="5966" y="322"/>
                    <a:pt x="6061" y="322"/>
                  </a:cubicBezTo>
                  <a:lnTo>
                    <a:pt x="6942" y="322"/>
                  </a:lnTo>
                  <a:lnTo>
                    <a:pt x="60" y="7204"/>
                  </a:lnTo>
                  <a:cubicBezTo>
                    <a:pt x="1" y="7263"/>
                    <a:pt x="1" y="7358"/>
                    <a:pt x="60" y="7418"/>
                  </a:cubicBezTo>
                  <a:cubicBezTo>
                    <a:pt x="72" y="7454"/>
                    <a:pt x="120" y="7466"/>
                    <a:pt x="167" y="7466"/>
                  </a:cubicBezTo>
                  <a:cubicBezTo>
                    <a:pt x="215" y="7466"/>
                    <a:pt x="251" y="7454"/>
                    <a:pt x="286" y="7418"/>
                  </a:cubicBezTo>
                  <a:lnTo>
                    <a:pt x="7156" y="548"/>
                  </a:lnTo>
                  <a:lnTo>
                    <a:pt x="7156" y="1429"/>
                  </a:lnTo>
                  <a:cubicBezTo>
                    <a:pt x="7156" y="1512"/>
                    <a:pt x="7240" y="1584"/>
                    <a:pt x="7323" y="1584"/>
                  </a:cubicBezTo>
                  <a:cubicBezTo>
                    <a:pt x="7406" y="1584"/>
                    <a:pt x="7490" y="1512"/>
                    <a:pt x="7490" y="1429"/>
                  </a:cubicBezTo>
                  <a:lnTo>
                    <a:pt x="7490" y="155"/>
                  </a:lnTo>
                  <a:cubicBezTo>
                    <a:pt x="7490" y="72"/>
                    <a:pt x="7406" y="0"/>
                    <a:pt x="732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22" name="Google Shape;622;p30"/>
          <p:cNvGrpSpPr/>
          <p:nvPr/>
        </p:nvGrpSpPr>
        <p:grpSpPr>
          <a:xfrm>
            <a:off x="3630590" y="3198869"/>
            <a:ext cx="484361" cy="484405"/>
            <a:chOff x="4890434" y="4287389"/>
            <a:chExt cx="345997" cy="346029"/>
          </a:xfrm>
        </p:grpSpPr>
        <p:sp>
          <p:nvSpPr>
            <p:cNvPr id="623" name="Google Shape;623;p30"/>
            <p:cNvSpPr/>
            <p:nvPr/>
          </p:nvSpPr>
          <p:spPr>
            <a:xfrm>
              <a:off x="5111349" y="4400695"/>
              <a:ext cx="54998" cy="54998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46" y="1144"/>
                    <a:pt x="346" y="870"/>
                  </a:cubicBezTo>
                  <a:cubicBezTo>
                    <a:pt x="346" y="584"/>
                    <a:pt x="584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27" y="1346"/>
                    <a:pt x="1727" y="870"/>
                  </a:cubicBezTo>
                  <a:cubicBezTo>
                    <a:pt x="1727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" name="Google Shape;624;p30"/>
            <p:cNvSpPr/>
            <p:nvPr/>
          </p:nvSpPr>
          <p:spPr>
            <a:xfrm>
              <a:off x="5113640" y="4466642"/>
              <a:ext cx="70498" cy="51179"/>
            </a:xfrm>
            <a:custGeom>
              <a:avLst/>
              <a:gdLst/>
              <a:ahLst/>
              <a:cxnLst/>
              <a:rect l="l" t="t" r="r" b="b"/>
              <a:pathLst>
                <a:path w="2215" h="1608" extrusionOk="0">
                  <a:moveTo>
                    <a:pt x="786" y="1"/>
                  </a:moveTo>
                  <a:cubicBezTo>
                    <a:pt x="548" y="1"/>
                    <a:pt x="333" y="60"/>
                    <a:pt x="119" y="167"/>
                  </a:cubicBezTo>
                  <a:cubicBezTo>
                    <a:pt x="36" y="203"/>
                    <a:pt x="0" y="310"/>
                    <a:pt x="48" y="405"/>
                  </a:cubicBezTo>
                  <a:cubicBezTo>
                    <a:pt x="73" y="463"/>
                    <a:pt x="132" y="498"/>
                    <a:pt x="198" y="498"/>
                  </a:cubicBezTo>
                  <a:cubicBezTo>
                    <a:pt x="226" y="498"/>
                    <a:pt x="257" y="491"/>
                    <a:pt x="286" y="477"/>
                  </a:cubicBezTo>
                  <a:cubicBezTo>
                    <a:pt x="429" y="382"/>
                    <a:pt x="607" y="346"/>
                    <a:pt x="786" y="346"/>
                  </a:cubicBezTo>
                  <a:cubicBezTo>
                    <a:pt x="1322" y="346"/>
                    <a:pt x="1774" y="727"/>
                    <a:pt x="1857" y="1251"/>
                  </a:cubicBezTo>
                  <a:lnTo>
                    <a:pt x="786" y="1251"/>
                  </a:lnTo>
                  <a:cubicBezTo>
                    <a:pt x="703" y="1251"/>
                    <a:pt x="607" y="1322"/>
                    <a:pt x="607" y="1429"/>
                  </a:cubicBezTo>
                  <a:cubicBezTo>
                    <a:pt x="607" y="1513"/>
                    <a:pt x="679" y="1608"/>
                    <a:pt x="786" y="1608"/>
                  </a:cubicBezTo>
                  <a:lnTo>
                    <a:pt x="2036" y="1608"/>
                  </a:lnTo>
                  <a:cubicBezTo>
                    <a:pt x="2131" y="1608"/>
                    <a:pt x="2215" y="1536"/>
                    <a:pt x="2215" y="1429"/>
                  </a:cubicBezTo>
                  <a:cubicBezTo>
                    <a:pt x="2215" y="643"/>
                    <a:pt x="1572" y="1"/>
                    <a:pt x="78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" name="Google Shape;625;p30"/>
            <p:cNvSpPr/>
            <p:nvPr/>
          </p:nvSpPr>
          <p:spPr>
            <a:xfrm>
              <a:off x="4943490" y="4467023"/>
              <a:ext cx="70880" cy="51179"/>
            </a:xfrm>
            <a:custGeom>
              <a:avLst/>
              <a:gdLst/>
              <a:ahLst/>
              <a:cxnLst/>
              <a:rect l="l" t="t" r="r" b="b"/>
              <a:pathLst>
                <a:path w="2227" h="1608" extrusionOk="0">
                  <a:moveTo>
                    <a:pt x="1429" y="0"/>
                  </a:moveTo>
                  <a:cubicBezTo>
                    <a:pt x="643" y="0"/>
                    <a:pt x="0" y="643"/>
                    <a:pt x="0" y="1429"/>
                  </a:cubicBezTo>
                  <a:cubicBezTo>
                    <a:pt x="0" y="1524"/>
                    <a:pt x="84" y="1608"/>
                    <a:pt x="179" y="1608"/>
                  </a:cubicBezTo>
                  <a:lnTo>
                    <a:pt x="1453" y="1608"/>
                  </a:lnTo>
                  <a:cubicBezTo>
                    <a:pt x="1536" y="1608"/>
                    <a:pt x="1631" y="1536"/>
                    <a:pt x="1631" y="1429"/>
                  </a:cubicBezTo>
                  <a:cubicBezTo>
                    <a:pt x="1608" y="1322"/>
                    <a:pt x="1536" y="1251"/>
                    <a:pt x="1453" y="1251"/>
                  </a:cubicBezTo>
                  <a:lnTo>
                    <a:pt x="357" y="1251"/>
                  </a:lnTo>
                  <a:cubicBezTo>
                    <a:pt x="453" y="727"/>
                    <a:pt x="893" y="346"/>
                    <a:pt x="1429" y="346"/>
                  </a:cubicBezTo>
                  <a:cubicBezTo>
                    <a:pt x="1608" y="346"/>
                    <a:pt x="1786" y="393"/>
                    <a:pt x="1941" y="477"/>
                  </a:cubicBezTo>
                  <a:cubicBezTo>
                    <a:pt x="1966" y="491"/>
                    <a:pt x="1994" y="498"/>
                    <a:pt x="2022" y="498"/>
                  </a:cubicBezTo>
                  <a:cubicBezTo>
                    <a:pt x="2084" y="498"/>
                    <a:pt x="2146" y="463"/>
                    <a:pt x="2179" y="405"/>
                  </a:cubicBezTo>
                  <a:cubicBezTo>
                    <a:pt x="2227" y="310"/>
                    <a:pt x="2191" y="215"/>
                    <a:pt x="2108" y="167"/>
                  </a:cubicBezTo>
                  <a:cubicBezTo>
                    <a:pt x="1893" y="60"/>
                    <a:pt x="1667" y="0"/>
                    <a:pt x="142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" name="Google Shape;626;p30"/>
            <p:cNvSpPr/>
            <p:nvPr/>
          </p:nvSpPr>
          <p:spPr>
            <a:xfrm>
              <a:off x="4961282" y="4400695"/>
              <a:ext cx="54616" cy="54998"/>
            </a:xfrm>
            <a:custGeom>
              <a:avLst/>
              <a:gdLst/>
              <a:ahLst/>
              <a:cxnLst/>
              <a:rect l="l" t="t" r="r" b="b"/>
              <a:pathLst>
                <a:path w="1716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34" y="1144"/>
                    <a:pt x="334" y="870"/>
                  </a:cubicBezTo>
                  <a:cubicBezTo>
                    <a:pt x="358" y="584"/>
                    <a:pt x="572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15" y="1346"/>
                    <a:pt x="1715" y="870"/>
                  </a:cubicBezTo>
                  <a:cubicBezTo>
                    <a:pt x="1715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" name="Google Shape;627;p30"/>
            <p:cNvSpPr/>
            <p:nvPr/>
          </p:nvSpPr>
          <p:spPr>
            <a:xfrm>
              <a:off x="5028374" y="4386691"/>
              <a:ext cx="71262" cy="70880"/>
            </a:xfrm>
            <a:custGeom>
              <a:avLst/>
              <a:gdLst/>
              <a:ahLst/>
              <a:cxnLst/>
              <a:rect l="l" t="t" r="r" b="b"/>
              <a:pathLst>
                <a:path w="2239" h="2227" extrusionOk="0">
                  <a:moveTo>
                    <a:pt x="1119" y="358"/>
                  </a:moveTo>
                  <a:cubicBezTo>
                    <a:pt x="1536" y="358"/>
                    <a:pt x="1893" y="691"/>
                    <a:pt x="1893" y="1131"/>
                  </a:cubicBezTo>
                  <a:cubicBezTo>
                    <a:pt x="1893" y="1548"/>
                    <a:pt x="1548" y="1905"/>
                    <a:pt x="1119" y="1905"/>
                  </a:cubicBezTo>
                  <a:cubicBezTo>
                    <a:pt x="703" y="1905"/>
                    <a:pt x="345" y="1560"/>
                    <a:pt x="345" y="1131"/>
                  </a:cubicBezTo>
                  <a:cubicBezTo>
                    <a:pt x="345" y="691"/>
                    <a:pt x="679" y="358"/>
                    <a:pt x="1119" y="358"/>
                  </a:cubicBezTo>
                  <a:close/>
                  <a:moveTo>
                    <a:pt x="1119" y="0"/>
                  </a:moveTo>
                  <a:cubicBezTo>
                    <a:pt x="512" y="0"/>
                    <a:pt x="0" y="500"/>
                    <a:pt x="0" y="1108"/>
                  </a:cubicBezTo>
                  <a:cubicBezTo>
                    <a:pt x="0" y="1739"/>
                    <a:pt x="512" y="2227"/>
                    <a:pt x="1119" y="2227"/>
                  </a:cubicBezTo>
                  <a:cubicBezTo>
                    <a:pt x="1727" y="2227"/>
                    <a:pt x="2239" y="1727"/>
                    <a:pt x="2239" y="1108"/>
                  </a:cubicBezTo>
                  <a:cubicBezTo>
                    <a:pt x="2239" y="500"/>
                    <a:pt x="1727" y="0"/>
                    <a:pt x="111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" name="Google Shape;628;p30"/>
            <p:cNvSpPr/>
            <p:nvPr/>
          </p:nvSpPr>
          <p:spPr>
            <a:xfrm>
              <a:off x="5004122" y="4468901"/>
              <a:ext cx="120149" cy="65596"/>
            </a:xfrm>
            <a:custGeom>
              <a:avLst/>
              <a:gdLst/>
              <a:ahLst/>
              <a:cxnLst/>
              <a:rect l="l" t="t" r="r" b="b"/>
              <a:pathLst>
                <a:path w="3775" h="2061" extrusionOk="0">
                  <a:moveTo>
                    <a:pt x="1881" y="346"/>
                  </a:moveTo>
                  <a:cubicBezTo>
                    <a:pt x="2667" y="346"/>
                    <a:pt x="3322" y="942"/>
                    <a:pt x="3393" y="1704"/>
                  </a:cubicBezTo>
                  <a:lnTo>
                    <a:pt x="357" y="1704"/>
                  </a:lnTo>
                  <a:cubicBezTo>
                    <a:pt x="453" y="942"/>
                    <a:pt x="1096" y="346"/>
                    <a:pt x="1881" y="346"/>
                  </a:cubicBezTo>
                  <a:close/>
                  <a:moveTo>
                    <a:pt x="1881" y="1"/>
                  </a:moveTo>
                  <a:cubicBezTo>
                    <a:pt x="834" y="1"/>
                    <a:pt x="0" y="846"/>
                    <a:pt x="0" y="1882"/>
                  </a:cubicBezTo>
                  <a:cubicBezTo>
                    <a:pt x="0" y="1966"/>
                    <a:pt x="84" y="2061"/>
                    <a:pt x="179" y="2061"/>
                  </a:cubicBezTo>
                  <a:lnTo>
                    <a:pt x="3596" y="2061"/>
                  </a:lnTo>
                  <a:cubicBezTo>
                    <a:pt x="3679" y="2061"/>
                    <a:pt x="3774" y="1977"/>
                    <a:pt x="3774" y="1882"/>
                  </a:cubicBezTo>
                  <a:cubicBezTo>
                    <a:pt x="3751" y="834"/>
                    <a:pt x="2905" y="1"/>
                    <a:pt x="188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" name="Google Shape;629;p30"/>
            <p:cNvSpPr/>
            <p:nvPr/>
          </p:nvSpPr>
          <p:spPr>
            <a:xfrm>
              <a:off x="4890434" y="4287389"/>
              <a:ext cx="345997" cy="346029"/>
            </a:xfrm>
            <a:custGeom>
              <a:avLst/>
              <a:gdLst/>
              <a:ahLst/>
              <a:cxnLst/>
              <a:rect l="l" t="t" r="r" b="b"/>
              <a:pathLst>
                <a:path w="10871" h="10872" extrusionOk="0">
                  <a:moveTo>
                    <a:pt x="5608" y="953"/>
                  </a:moveTo>
                  <a:cubicBezTo>
                    <a:pt x="7954" y="1049"/>
                    <a:pt x="9823" y="2918"/>
                    <a:pt x="9918" y="5252"/>
                  </a:cubicBezTo>
                  <a:lnTo>
                    <a:pt x="9502" y="5252"/>
                  </a:lnTo>
                  <a:cubicBezTo>
                    <a:pt x="9406" y="5252"/>
                    <a:pt x="9323" y="5335"/>
                    <a:pt x="9323" y="5442"/>
                  </a:cubicBezTo>
                  <a:cubicBezTo>
                    <a:pt x="9323" y="5525"/>
                    <a:pt x="9394" y="5621"/>
                    <a:pt x="9502" y="5621"/>
                  </a:cubicBezTo>
                  <a:lnTo>
                    <a:pt x="9918" y="5621"/>
                  </a:lnTo>
                  <a:cubicBezTo>
                    <a:pt x="9847" y="7954"/>
                    <a:pt x="7954" y="9824"/>
                    <a:pt x="5608" y="9919"/>
                  </a:cubicBezTo>
                  <a:lnTo>
                    <a:pt x="5608" y="9502"/>
                  </a:lnTo>
                  <a:cubicBezTo>
                    <a:pt x="5608" y="9407"/>
                    <a:pt x="5537" y="9323"/>
                    <a:pt x="5430" y="9323"/>
                  </a:cubicBezTo>
                  <a:cubicBezTo>
                    <a:pt x="5346" y="9323"/>
                    <a:pt x="5251" y="9395"/>
                    <a:pt x="5251" y="9502"/>
                  </a:cubicBezTo>
                  <a:lnTo>
                    <a:pt x="5251" y="9919"/>
                  </a:lnTo>
                  <a:cubicBezTo>
                    <a:pt x="2917" y="9824"/>
                    <a:pt x="1048" y="7954"/>
                    <a:pt x="953" y="5621"/>
                  </a:cubicBezTo>
                  <a:lnTo>
                    <a:pt x="1370" y="5621"/>
                  </a:lnTo>
                  <a:cubicBezTo>
                    <a:pt x="1465" y="5621"/>
                    <a:pt x="1548" y="5537"/>
                    <a:pt x="1548" y="5442"/>
                  </a:cubicBezTo>
                  <a:cubicBezTo>
                    <a:pt x="1548" y="5347"/>
                    <a:pt x="1477" y="5252"/>
                    <a:pt x="1370" y="5252"/>
                  </a:cubicBezTo>
                  <a:lnTo>
                    <a:pt x="953" y="5252"/>
                  </a:lnTo>
                  <a:cubicBezTo>
                    <a:pt x="1048" y="2918"/>
                    <a:pt x="2917" y="1049"/>
                    <a:pt x="5251" y="953"/>
                  </a:cubicBezTo>
                  <a:lnTo>
                    <a:pt x="5251" y="1370"/>
                  </a:lnTo>
                  <a:cubicBezTo>
                    <a:pt x="5251" y="1465"/>
                    <a:pt x="5334" y="1549"/>
                    <a:pt x="5430" y="1549"/>
                  </a:cubicBezTo>
                  <a:cubicBezTo>
                    <a:pt x="5525" y="1549"/>
                    <a:pt x="5608" y="1477"/>
                    <a:pt x="5608" y="1370"/>
                  </a:cubicBezTo>
                  <a:lnTo>
                    <a:pt x="5608" y="953"/>
                  </a:lnTo>
                  <a:close/>
                  <a:moveTo>
                    <a:pt x="5441" y="1"/>
                  </a:moveTo>
                  <a:cubicBezTo>
                    <a:pt x="5346" y="1"/>
                    <a:pt x="5263" y="84"/>
                    <a:pt x="5263" y="179"/>
                  </a:cubicBezTo>
                  <a:lnTo>
                    <a:pt x="5263" y="596"/>
                  </a:lnTo>
                  <a:cubicBezTo>
                    <a:pt x="2727" y="691"/>
                    <a:pt x="691" y="2727"/>
                    <a:pt x="596" y="5263"/>
                  </a:cubicBezTo>
                  <a:lnTo>
                    <a:pt x="179" y="5263"/>
                  </a:lnTo>
                  <a:cubicBezTo>
                    <a:pt x="96" y="5263"/>
                    <a:pt x="0" y="5335"/>
                    <a:pt x="0" y="5442"/>
                  </a:cubicBezTo>
                  <a:cubicBezTo>
                    <a:pt x="0" y="5525"/>
                    <a:pt x="84" y="5621"/>
                    <a:pt x="179" y="5621"/>
                  </a:cubicBezTo>
                  <a:lnTo>
                    <a:pt x="596" y="5621"/>
                  </a:lnTo>
                  <a:cubicBezTo>
                    <a:pt x="691" y="8145"/>
                    <a:pt x="2727" y="10181"/>
                    <a:pt x="5263" y="10276"/>
                  </a:cubicBezTo>
                  <a:lnTo>
                    <a:pt x="5263" y="10693"/>
                  </a:lnTo>
                  <a:cubicBezTo>
                    <a:pt x="5263" y="10776"/>
                    <a:pt x="5334" y="10871"/>
                    <a:pt x="5441" y="10871"/>
                  </a:cubicBezTo>
                  <a:cubicBezTo>
                    <a:pt x="5525" y="10871"/>
                    <a:pt x="5620" y="10800"/>
                    <a:pt x="5620" y="10693"/>
                  </a:cubicBezTo>
                  <a:lnTo>
                    <a:pt x="5620" y="10276"/>
                  </a:lnTo>
                  <a:cubicBezTo>
                    <a:pt x="8144" y="10181"/>
                    <a:pt x="10180" y="8145"/>
                    <a:pt x="10275" y="5621"/>
                  </a:cubicBezTo>
                  <a:lnTo>
                    <a:pt x="10692" y="5621"/>
                  </a:lnTo>
                  <a:cubicBezTo>
                    <a:pt x="10775" y="5621"/>
                    <a:pt x="10871" y="5537"/>
                    <a:pt x="10871" y="5442"/>
                  </a:cubicBezTo>
                  <a:cubicBezTo>
                    <a:pt x="10871" y="5347"/>
                    <a:pt x="10799" y="5263"/>
                    <a:pt x="10692" y="5263"/>
                  </a:cubicBezTo>
                  <a:lnTo>
                    <a:pt x="10275" y="5263"/>
                  </a:lnTo>
                  <a:cubicBezTo>
                    <a:pt x="10180" y="2727"/>
                    <a:pt x="8144" y="691"/>
                    <a:pt x="5620" y="596"/>
                  </a:cubicBezTo>
                  <a:lnTo>
                    <a:pt x="5620" y="179"/>
                  </a:lnTo>
                  <a:cubicBezTo>
                    <a:pt x="5620" y="96"/>
                    <a:pt x="5537" y="1"/>
                    <a:pt x="544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30" name="Google Shape;630;p30"/>
          <p:cNvGrpSpPr/>
          <p:nvPr/>
        </p:nvGrpSpPr>
        <p:grpSpPr>
          <a:xfrm>
            <a:off x="5029465" y="1816807"/>
            <a:ext cx="488638" cy="438246"/>
            <a:chOff x="5778676" y="3826972"/>
            <a:chExt cx="349052" cy="313055"/>
          </a:xfrm>
        </p:grpSpPr>
        <p:sp>
          <p:nvSpPr>
            <p:cNvPr id="631" name="Google Shape;631;p30"/>
            <p:cNvSpPr/>
            <p:nvPr/>
          </p:nvSpPr>
          <p:spPr>
            <a:xfrm>
              <a:off x="5923045" y="3890659"/>
              <a:ext cx="27690" cy="48155"/>
            </a:xfrm>
            <a:custGeom>
              <a:avLst/>
              <a:gdLst/>
              <a:ahLst/>
              <a:cxnLst/>
              <a:rect l="l" t="t" r="r" b="b"/>
              <a:pathLst>
                <a:path w="870" h="1513" extrusionOk="0">
                  <a:moveTo>
                    <a:pt x="406" y="286"/>
                  </a:moveTo>
                  <a:lnTo>
                    <a:pt x="406" y="560"/>
                  </a:lnTo>
                  <a:cubicBezTo>
                    <a:pt x="299" y="524"/>
                    <a:pt x="251" y="488"/>
                    <a:pt x="251" y="417"/>
                  </a:cubicBezTo>
                  <a:cubicBezTo>
                    <a:pt x="251" y="345"/>
                    <a:pt x="334" y="298"/>
                    <a:pt x="406" y="286"/>
                  </a:cubicBezTo>
                  <a:close/>
                  <a:moveTo>
                    <a:pt x="513" y="845"/>
                  </a:moveTo>
                  <a:cubicBezTo>
                    <a:pt x="632" y="893"/>
                    <a:pt x="644" y="953"/>
                    <a:pt x="644" y="1012"/>
                  </a:cubicBezTo>
                  <a:cubicBezTo>
                    <a:pt x="644" y="1119"/>
                    <a:pt x="584" y="1155"/>
                    <a:pt x="513" y="1179"/>
                  </a:cubicBezTo>
                  <a:lnTo>
                    <a:pt x="513" y="845"/>
                  </a:lnTo>
                  <a:close/>
                  <a:moveTo>
                    <a:pt x="465" y="0"/>
                  </a:moveTo>
                  <a:cubicBezTo>
                    <a:pt x="441" y="0"/>
                    <a:pt x="406" y="12"/>
                    <a:pt x="406" y="48"/>
                  </a:cubicBezTo>
                  <a:lnTo>
                    <a:pt x="406" y="83"/>
                  </a:lnTo>
                  <a:cubicBezTo>
                    <a:pt x="179" y="119"/>
                    <a:pt x="48" y="238"/>
                    <a:pt x="48" y="441"/>
                  </a:cubicBezTo>
                  <a:cubicBezTo>
                    <a:pt x="48" y="667"/>
                    <a:pt x="215" y="738"/>
                    <a:pt x="406" y="810"/>
                  </a:cubicBezTo>
                  <a:lnTo>
                    <a:pt x="406" y="1191"/>
                  </a:lnTo>
                  <a:cubicBezTo>
                    <a:pt x="299" y="1167"/>
                    <a:pt x="251" y="1143"/>
                    <a:pt x="168" y="1072"/>
                  </a:cubicBezTo>
                  <a:cubicBezTo>
                    <a:pt x="149" y="1058"/>
                    <a:pt x="132" y="1051"/>
                    <a:pt x="116" y="1051"/>
                  </a:cubicBezTo>
                  <a:cubicBezTo>
                    <a:pt x="92" y="1051"/>
                    <a:pt x="70" y="1067"/>
                    <a:pt x="48" y="1095"/>
                  </a:cubicBezTo>
                  <a:cubicBezTo>
                    <a:pt x="1" y="1155"/>
                    <a:pt x="1" y="1215"/>
                    <a:pt x="48" y="1262"/>
                  </a:cubicBezTo>
                  <a:cubicBezTo>
                    <a:pt x="120" y="1357"/>
                    <a:pt x="275" y="1417"/>
                    <a:pt x="406" y="1417"/>
                  </a:cubicBezTo>
                  <a:lnTo>
                    <a:pt x="406" y="1476"/>
                  </a:lnTo>
                  <a:cubicBezTo>
                    <a:pt x="406" y="1500"/>
                    <a:pt x="441" y="1512"/>
                    <a:pt x="465" y="1512"/>
                  </a:cubicBezTo>
                  <a:cubicBezTo>
                    <a:pt x="501" y="1512"/>
                    <a:pt x="525" y="1500"/>
                    <a:pt x="525" y="1476"/>
                  </a:cubicBezTo>
                  <a:lnTo>
                    <a:pt x="525" y="1417"/>
                  </a:lnTo>
                  <a:cubicBezTo>
                    <a:pt x="715" y="1381"/>
                    <a:pt x="870" y="1262"/>
                    <a:pt x="870" y="1024"/>
                  </a:cubicBezTo>
                  <a:cubicBezTo>
                    <a:pt x="870" y="774"/>
                    <a:pt x="739" y="679"/>
                    <a:pt x="525" y="607"/>
                  </a:cubicBezTo>
                  <a:lnTo>
                    <a:pt x="525" y="286"/>
                  </a:lnTo>
                  <a:cubicBezTo>
                    <a:pt x="572" y="286"/>
                    <a:pt x="596" y="298"/>
                    <a:pt x="656" y="322"/>
                  </a:cubicBezTo>
                  <a:cubicBezTo>
                    <a:pt x="682" y="335"/>
                    <a:pt x="713" y="352"/>
                    <a:pt x="745" y="352"/>
                  </a:cubicBezTo>
                  <a:cubicBezTo>
                    <a:pt x="770" y="352"/>
                    <a:pt x="796" y="341"/>
                    <a:pt x="822" y="310"/>
                  </a:cubicBezTo>
                  <a:cubicBezTo>
                    <a:pt x="858" y="262"/>
                    <a:pt x="870" y="202"/>
                    <a:pt x="810" y="155"/>
                  </a:cubicBezTo>
                  <a:cubicBezTo>
                    <a:pt x="739" y="107"/>
                    <a:pt x="620" y="83"/>
                    <a:pt x="525" y="83"/>
                  </a:cubicBezTo>
                  <a:lnTo>
                    <a:pt x="525" y="48"/>
                  </a:lnTo>
                  <a:cubicBezTo>
                    <a:pt x="525" y="12"/>
                    <a:pt x="501" y="0"/>
                    <a:pt x="46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" name="Google Shape;632;p30"/>
            <p:cNvSpPr/>
            <p:nvPr/>
          </p:nvSpPr>
          <p:spPr>
            <a:xfrm>
              <a:off x="5976866" y="3843268"/>
              <a:ext cx="80364" cy="80364"/>
            </a:xfrm>
            <a:custGeom>
              <a:avLst/>
              <a:gdLst/>
              <a:ahLst/>
              <a:cxnLst/>
              <a:rect l="l" t="t" r="r" b="b"/>
              <a:pathLst>
                <a:path w="2525" h="2525" extrusionOk="0">
                  <a:moveTo>
                    <a:pt x="1263" y="310"/>
                  </a:moveTo>
                  <a:cubicBezTo>
                    <a:pt x="1786" y="310"/>
                    <a:pt x="2215" y="739"/>
                    <a:pt x="2215" y="1263"/>
                  </a:cubicBezTo>
                  <a:cubicBezTo>
                    <a:pt x="2215" y="1787"/>
                    <a:pt x="1798" y="2215"/>
                    <a:pt x="1263" y="2215"/>
                  </a:cubicBezTo>
                  <a:cubicBezTo>
                    <a:pt x="739" y="2215"/>
                    <a:pt x="310" y="1787"/>
                    <a:pt x="310" y="1263"/>
                  </a:cubicBezTo>
                  <a:cubicBezTo>
                    <a:pt x="310" y="739"/>
                    <a:pt x="739" y="310"/>
                    <a:pt x="1263" y="310"/>
                  </a:cubicBezTo>
                  <a:close/>
                  <a:moveTo>
                    <a:pt x="1263" y="1"/>
                  </a:moveTo>
                  <a:cubicBezTo>
                    <a:pt x="560" y="1"/>
                    <a:pt x="1" y="560"/>
                    <a:pt x="1" y="1263"/>
                  </a:cubicBezTo>
                  <a:cubicBezTo>
                    <a:pt x="1" y="1965"/>
                    <a:pt x="560" y="2525"/>
                    <a:pt x="1263" y="2525"/>
                  </a:cubicBezTo>
                  <a:cubicBezTo>
                    <a:pt x="1965" y="2525"/>
                    <a:pt x="2525" y="1965"/>
                    <a:pt x="2525" y="1263"/>
                  </a:cubicBezTo>
                  <a:cubicBezTo>
                    <a:pt x="2525" y="560"/>
                    <a:pt x="1965" y="1"/>
                    <a:pt x="126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" name="Google Shape;633;p30"/>
            <p:cNvSpPr/>
            <p:nvPr/>
          </p:nvSpPr>
          <p:spPr>
            <a:xfrm>
              <a:off x="5879473" y="3826972"/>
              <a:ext cx="193288" cy="144051"/>
            </a:xfrm>
            <a:custGeom>
              <a:avLst/>
              <a:gdLst/>
              <a:ahLst/>
              <a:cxnLst/>
              <a:rect l="l" t="t" r="r" b="b"/>
              <a:pathLst>
                <a:path w="6073" h="4526" extrusionOk="0">
                  <a:moveTo>
                    <a:pt x="1798" y="1775"/>
                  </a:moveTo>
                  <a:cubicBezTo>
                    <a:pt x="2132" y="1775"/>
                    <a:pt x="2430" y="1942"/>
                    <a:pt x="2596" y="2192"/>
                  </a:cubicBezTo>
                  <a:cubicBezTo>
                    <a:pt x="2620" y="2346"/>
                    <a:pt x="2680" y="2477"/>
                    <a:pt x="2739" y="2608"/>
                  </a:cubicBezTo>
                  <a:cubicBezTo>
                    <a:pt x="2739" y="2656"/>
                    <a:pt x="2751" y="2704"/>
                    <a:pt x="2751" y="2727"/>
                  </a:cubicBezTo>
                  <a:cubicBezTo>
                    <a:pt x="2751" y="3251"/>
                    <a:pt x="2322" y="3680"/>
                    <a:pt x="1798" y="3680"/>
                  </a:cubicBezTo>
                  <a:cubicBezTo>
                    <a:pt x="1287" y="3680"/>
                    <a:pt x="846" y="3251"/>
                    <a:pt x="846" y="2727"/>
                  </a:cubicBezTo>
                  <a:cubicBezTo>
                    <a:pt x="846" y="2203"/>
                    <a:pt x="1287" y="1775"/>
                    <a:pt x="1798" y="1775"/>
                  </a:cubicBezTo>
                  <a:close/>
                  <a:moveTo>
                    <a:pt x="1810" y="1251"/>
                  </a:moveTo>
                  <a:cubicBezTo>
                    <a:pt x="2072" y="1251"/>
                    <a:pt x="2334" y="1334"/>
                    <a:pt x="2560" y="1465"/>
                  </a:cubicBezTo>
                  <a:cubicBezTo>
                    <a:pt x="2549" y="1537"/>
                    <a:pt x="2549" y="1632"/>
                    <a:pt x="2537" y="1692"/>
                  </a:cubicBezTo>
                  <a:cubicBezTo>
                    <a:pt x="2322" y="1537"/>
                    <a:pt x="2072" y="1453"/>
                    <a:pt x="1787" y="1453"/>
                  </a:cubicBezTo>
                  <a:cubicBezTo>
                    <a:pt x="1084" y="1453"/>
                    <a:pt x="525" y="2013"/>
                    <a:pt x="525" y="2715"/>
                  </a:cubicBezTo>
                  <a:cubicBezTo>
                    <a:pt x="525" y="3418"/>
                    <a:pt x="1084" y="3978"/>
                    <a:pt x="1787" y="3978"/>
                  </a:cubicBezTo>
                  <a:cubicBezTo>
                    <a:pt x="2382" y="3978"/>
                    <a:pt x="2894" y="3561"/>
                    <a:pt x="3025" y="3001"/>
                  </a:cubicBezTo>
                  <a:lnTo>
                    <a:pt x="3192" y="3156"/>
                  </a:lnTo>
                  <a:cubicBezTo>
                    <a:pt x="3025" y="3775"/>
                    <a:pt x="2465" y="4204"/>
                    <a:pt x="1810" y="4204"/>
                  </a:cubicBezTo>
                  <a:cubicBezTo>
                    <a:pt x="1001" y="4204"/>
                    <a:pt x="334" y="3549"/>
                    <a:pt x="334" y="2727"/>
                  </a:cubicBezTo>
                  <a:cubicBezTo>
                    <a:pt x="334" y="1906"/>
                    <a:pt x="989" y="1251"/>
                    <a:pt x="1810" y="1251"/>
                  </a:cubicBezTo>
                  <a:close/>
                  <a:moveTo>
                    <a:pt x="4299" y="1"/>
                  </a:moveTo>
                  <a:cubicBezTo>
                    <a:pt x="3549" y="1"/>
                    <a:pt x="2894" y="501"/>
                    <a:pt x="2632" y="1168"/>
                  </a:cubicBezTo>
                  <a:cubicBezTo>
                    <a:pt x="2382" y="1037"/>
                    <a:pt x="2084" y="953"/>
                    <a:pt x="1787" y="953"/>
                  </a:cubicBezTo>
                  <a:cubicBezTo>
                    <a:pt x="810" y="953"/>
                    <a:pt x="1" y="1763"/>
                    <a:pt x="1" y="2739"/>
                  </a:cubicBezTo>
                  <a:cubicBezTo>
                    <a:pt x="1" y="3727"/>
                    <a:pt x="810" y="4525"/>
                    <a:pt x="1787" y="4525"/>
                  </a:cubicBezTo>
                  <a:cubicBezTo>
                    <a:pt x="2549" y="4525"/>
                    <a:pt x="3203" y="4049"/>
                    <a:pt x="3453" y="3370"/>
                  </a:cubicBezTo>
                  <a:cubicBezTo>
                    <a:pt x="3703" y="3501"/>
                    <a:pt x="3989" y="3573"/>
                    <a:pt x="4299" y="3573"/>
                  </a:cubicBezTo>
                  <a:cubicBezTo>
                    <a:pt x="4704" y="3573"/>
                    <a:pt x="5108" y="3442"/>
                    <a:pt x="5418" y="3192"/>
                  </a:cubicBezTo>
                  <a:cubicBezTo>
                    <a:pt x="5728" y="2942"/>
                    <a:pt x="5954" y="2596"/>
                    <a:pt x="6049" y="2203"/>
                  </a:cubicBezTo>
                  <a:cubicBezTo>
                    <a:pt x="6073" y="2108"/>
                    <a:pt x="6037" y="2013"/>
                    <a:pt x="5942" y="2001"/>
                  </a:cubicBezTo>
                  <a:cubicBezTo>
                    <a:pt x="5932" y="2000"/>
                    <a:pt x="5921" y="1999"/>
                    <a:pt x="5911" y="1999"/>
                  </a:cubicBezTo>
                  <a:cubicBezTo>
                    <a:pt x="5839" y="1999"/>
                    <a:pt x="5772" y="2037"/>
                    <a:pt x="5751" y="2120"/>
                  </a:cubicBezTo>
                  <a:cubicBezTo>
                    <a:pt x="5597" y="2787"/>
                    <a:pt x="5001" y="3251"/>
                    <a:pt x="4323" y="3251"/>
                  </a:cubicBezTo>
                  <a:cubicBezTo>
                    <a:pt x="3787" y="3251"/>
                    <a:pt x="3311" y="2965"/>
                    <a:pt x="3037" y="2501"/>
                  </a:cubicBezTo>
                  <a:cubicBezTo>
                    <a:pt x="3013" y="2358"/>
                    <a:pt x="2953" y="2203"/>
                    <a:pt x="2882" y="2084"/>
                  </a:cubicBezTo>
                  <a:cubicBezTo>
                    <a:pt x="2680" y="1180"/>
                    <a:pt x="3382" y="322"/>
                    <a:pt x="4311" y="322"/>
                  </a:cubicBezTo>
                  <a:cubicBezTo>
                    <a:pt x="4989" y="322"/>
                    <a:pt x="5585" y="775"/>
                    <a:pt x="5739" y="1453"/>
                  </a:cubicBezTo>
                  <a:cubicBezTo>
                    <a:pt x="5750" y="1528"/>
                    <a:pt x="5818" y="1574"/>
                    <a:pt x="5901" y="1574"/>
                  </a:cubicBezTo>
                  <a:cubicBezTo>
                    <a:pt x="5911" y="1574"/>
                    <a:pt x="5920" y="1574"/>
                    <a:pt x="5930" y="1572"/>
                  </a:cubicBezTo>
                  <a:cubicBezTo>
                    <a:pt x="6013" y="1549"/>
                    <a:pt x="6061" y="1465"/>
                    <a:pt x="6049" y="1370"/>
                  </a:cubicBezTo>
                  <a:cubicBezTo>
                    <a:pt x="5954" y="989"/>
                    <a:pt x="5739" y="644"/>
                    <a:pt x="5418" y="394"/>
                  </a:cubicBezTo>
                  <a:cubicBezTo>
                    <a:pt x="5108" y="144"/>
                    <a:pt x="4704" y="1"/>
                    <a:pt x="429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" name="Google Shape;634;p30"/>
            <p:cNvSpPr/>
            <p:nvPr/>
          </p:nvSpPr>
          <p:spPr>
            <a:xfrm>
              <a:off x="6003760" y="3859946"/>
              <a:ext cx="26958" cy="47773"/>
            </a:xfrm>
            <a:custGeom>
              <a:avLst/>
              <a:gdLst/>
              <a:ahLst/>
              <a:cxnLst/>
              <a:rect l="l" t="t" r="r" b="b"/>
              <a:pathLst>
                <a:path w="847" h="1501" extrusionOk="0">
                  <a:moveTo>
                    <a:pt x="382" y="298"/>
                  </a:moveTo>
                  <a:lnTo>
                    <a:pt x="382" y="572"/>
                  </a:lnTo>
                  <a:cubicBezTo>
                    <a:pt x="287" y="536"/>
                    <a:pt x="239" y="501"/>
                    <a:pt x="239" y="429"/>
                  </a:cubicBezTo>
                  <a:cubicBezTo>
                    <a:pt x="239" y="358"/>
                    <a:pt x="310" y="310"/>
                    <a:pt x="382" y="298"/>
                  </a:cubicBezTo>
                  <a:close/>
                  <a:moveTo>
                    <a:pt x="489" y="870"/>
                  </a:moveTo>
                  <a:cubicBezTo>
                    <a:pt x="608" y="917"/>
                    <a:pt x="620" y="977"/>
                    <a:pt x="620" y="1037"/>
                  </a:cubicBezTo>
                  <a:cubicBezTo>
                    <a:pt x="620" y="1132"/>
                    <a:pt x="560" y="1167"/>
                    <a:pt x="489" y="1203"/>
                  </a:cubicBezTo>
                  <a:lnTo>
                    <a:pt x="489" y="870"/>
                  </a:lnTo>
                  <a:close/>
                  <a:moveTo>
                    <a:pt x="441" y="1"/>
                  </a:moveTo>
                  <a:cubicBezTo>
                    <a:pt x="418" y="1"/>
                    <a:pt x="382" y="13"/>
                    <a:pt x="382" y="36"/>
                  </a:cubicBezTo>
                  <a:lnTo>
                    <a:pt x="382" y="84"/>
                  </a:lnTo>
                  <a:cubicBezTo>
                    <a:pt x="156" y="120"/>
                    <a:pt x="25" y="239"/>
                    <a:pt x="25" y="441"/>
                  </a:cubicBezTo>
                  <a:cubicBezTo>
                    <a:pt x="25" y="679"/>
                    <a:pt x="203" y="739"/>
                    <a:pt x="382" y="810"/>
                  </a:cubicBezTo>
                  <a:lnTo>
                    <a:pt x="382" y="1191"/>
                  </a:lnTo>
                  <a:cubicBezTo>
                    <a:pt x="275" y="1167"/>
                    <a:pt x="239" y="1132"/>
                    <a:pt x="144" y="1072"/>
                  </a:cubicBezTo>
                  <a:cubicBezTo>
                    <a:pt x="125" y="1059"/>
                    <a:pt x="108" y="1053"/>
                    <a:pt x="92" y="1053"/>
                  </a:cubicBezTo>
                  <a:cubicBezTo>
                    <a:pt x="37" y="1053"/>
                    <a:pt x="1" y="1121"/>
                    <a:pt x="1" y="1167"/>
                  </a:cubicBezTo>
                  <a:cubicBezTo>
                    <a:pt x="1" y="1203"/>
                    <a:pt x="13" y="1227"/>
                    <a:pt x="25" y="1251"/>
                  </a:cubicBezTo>
                  <a:cubicBezTo>
                    <a:pt x="96" y="1346"/>
                    <a:pt x="251" y="1394"/>
                    <a:pt x="382" y="1394"/>
                  </a:cubicBezTo>
                  <a:lnTo>
                    <a:pt x="382" y="1453"/>
                  </a:lnTo>
                  <a:cubicBezTo>
                    <a:pt x="382" y="1489"/>
                    <a:pt x="418" y="1501"/>
                    <a:pt x="441" y="1501"/>
                  </a:cubicBezTo>
                  <a:cubicBezTo>
                    <a:pt x="477" y="1501"/>
                    <a:pt x="501" y="1489"/>
                    <a:pt x="501" y="1453"/>
                  </a:cubicBezTo>
                  <a:lnTo>
                    <a:pt x="501" y="1394"/>
                  </a:lnTo>
                  <a:cubicBezTo>
                    <a:pt x="703" y="1370"/>
                    <a:pt x="846" y="1251"/>
                    <a:pt x="846" y="1013"/>
                  </a:cubicBezTo>
                  <a:cubicBezTo>
                    <a:pt x="846" y="786"/>
                    <a:pt x="691" y="691"/>
                    <a:pt x="501" y="620"/>
                  </a:cubicBezTo>
                  <a:lnTo>
                    <a:pt x="501" y="298"/>
                  </a:lnTo>
                  <a:cubicBezTo>
                    <a:pt x="584" y="298"/>
                    <a:pt x="608" y="310"/>
                    <a:pt x="680" y="358"/>
                  </a:cubicBezTo>
                  <a:cubicBezTo>
                    <a:pt x="694" y="362"/>
                    <a:pt x="709" y="364"/>
                    <a:pt x="723" y="364"/>
                  </a:cubicBezTo>
                  <a:cubicBezTo>
                    <a:pt x="754" y="364"/>
                    <a:pt x="782" y="351"/>
                    <a:pt x="799" y="310"/>
                  </a:cubicBezTo>
                  <a:cubicBezTo>
                    <a:pt x="834" y="263"/>
                    <a:pt x="846" y="203"/>
                    <a:pt x="787" y="155"/>
                  </a:cubicBezTo>
                  <a:cubicBezTo>
                    <a:pt x="715" y="96"/>
                    <a:pt x="596" y="84"/>
                    <a:pt x="501" y="84"/>
                  </a:cubicBezTo>
                  <a:lnTo>
                    <a:pt x="501" y="36"/>
                  </a:lnTo>
                  <a:cubicBezTo>
                    <a:pt x="501" y="13"/>
                    <a:pt x="477" y="1"/>
                    <a:pt x="44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" name="Google Shape;635;p30"/>
            <p:cNvSpPr/>
            <p:nvPr/>
          </p:nvSpPr>
          <p:spPr>
            <a:xfrm>
              <a:off x="5778676" y="3939865"/>
              <a:ext cx="349052" cy="200163"/>
            </a:xfrm>
            <a:custGeom>
              <a:avLst/>
              <a:gdLst/>
              <a:ahLst/>
              <a:cxnLst/>
              <a:rect l="l" t="t" r="r" b="b"/>
              <a:pathLst>
                <a:path w="10967" h="6289" extrusionOk="0">
                  <a:moveTo>
                    <a:pt x="3483" y="1855"/>
                  </a:moveTo>
                  <a:cubicBezTo>
                    <a:pt x="3500" y="1855"/>
                    <a:pt x="3513" y="1868"/>
                    <a:pt x="3513" y="1895"/>
                  </a:cubicBezTo>
                  <a:cubicBezTo>
                    <a:pt x="3584" y="2074"/>
                    <a:pt x="4573" y="4693"/>
                    <a:pt x="4620" y="4776"/>
                  </a:cubicBezTo>
                  <a:cubicBezTo>
                    <a:pt x="4632" y="4788"/>
                    <a:pt x="4620" y="4824"/>
                    <a:pt x="4584" y="4824"/>
                  </a:cubicBezTo>
                  <a:lnTo>
                    <a:pt x="3882" y="5086"/>
                  </a:lnTo>
                  <a:cubicBezTo>
                    <a:pt x="3846" y="4955"/>
                    <a:pt x="2846" y="2300"/>
                    <a:pt x="2775" y="2133"/>
                  </a:cubicBezTo>
                  <a:lnTo>
                    <a:pt x="3465" y="1859"/>
                  </a:lnTo>
                  <a:cubicBezTo>
                    <a:pt x="3471" y="1856"/>
                    <a:pt x="3477" y="1855"/>
                    <a:pt x="3483" y="1855"/>
                  </a:cubicBezTo>
                  <a:close/>
                  <a:moveTo>
                    <a:pt x="2477" y="2228"/>
                  </a:moveTo>
                  <a:lnTo>
                    <a:pt x="3584" y="5193"/>
                  </a:lnTo>
                  <a:cubicBezTo>
                    <a:pt x="3072" y="5407"/>
                    <a:pt x="1739" y="5907"/>
                    <a:pt x="1513" y="6003"/>
                  </a:cubicBezTo>
                  <a:cubicBezTo>
                    <a:pt x="1507" y="6005"/>
                    <a:pt x="1500" y="6007"/>
                    <a:pt x="1493" y="6007"/>
                  </a:cubicBezTo>
                  <a:cubicBezTo>
                    <a:pt x="1468" y="6007"/>
                    <a:pt x="1438" y="5991"/>
                    <a:pt x="1429" y="5955"/>
                  </a:cubicBezTo>
                  <a:lnTo>
                    <a:pt x="358" y="3109"/>
                  </a:lnTo>
                  <a:cubicBezTo>
                    <a:pt x="346" y="3086"/>
                    <a:pt x="358" y="3038"/>
                    <a:pt x="405" y="3026"/>
                  </a:cubicBezTo>
                  <a:cubicBezTo>
                    <a:pt x="1072" y="2764"/>
                    <a:pt x="2013" y="2407"/>
                    <a:pt x="2477" y="2228"/>
                  </a:cubicBezTo>
                  <a:close/>
                  <a:moveTo>
                    <a:pt x="10060" y="0"/>
                  </a:moveTo>
                  <a:cubicBezTo>
                    <a:pt x="9818" y="0"/>
                    <a:pt x="9583" y="125"/>
                    <a:pt x="9407" y="288"/>
                  </a:cubicBezTo>
                  <a:lnTo>
                    <a:pt x="7728" y="1681"/>
                  </a:lnTo>
                  <a:cubicBezTo>
                    <a:pt x="7632" y="1478"/>
                    <a:pt x="7430" y="1264"/>
                    <a:pt x="7061" y="1264"/>
                  </a:cubicBezTo>
                  <a:cubicBezTo>
                    <a:pt x="6668" y="1264"/>
                    <a:pt x="6361" y="1262"/>
                    <a:pt x="6115" y="1262"/>
                  </a:cubicBezTo>
                  <a:cubicBezTo>
                    <a:pt x="5377" y="1262"/>
                    <a:pt x="5192" y="1276"/>
                    <a:pt x="4906" y="1383"/>
                  </a:cubicBezTo>
                  <a:lnTo>
                    <a:pt x="3834" y="1835"/>
                  </a:lnTo>
                  <a:lnTo>
                    <a:pt x="3822" y="1788"/>
                  </a:lnTo>
                  <a:cubicBezTo>
                    <a:pt x="3766" y="1647"/>
                    <a:pt x="3637" y="1551"/>
                    <a:pt x="3491" y="1551"/>
                  </a:cubicBezTo>
                  <a:cubicBezTo>
                    <a:pt x="3451" y="1551"/>
                    <a:pt x="3411" y="1558"/>
                    <a:pt x="3370" y="1574"/>
                  </a:cubicBezTo>
                  <a:lnTo>
                    <a:pt x="2560" y="1871"/>
                  </a:lnTo>
                  <a:cubicBezTo>
                    <a:pt x="2203" y="2014"/>
                    <a:pt x="1084" y="2431"/>
                    <a:pt x="298" y="2728"/>
                  </a:cubicBezTo>
                  <a:cubicBezTo>
                    <a:pt x="108" y="2800"/>
                    <a:pt x="1" y="3026"/>
                    <a:pt x="72" y="3217"/>
                  </a:cubicBezTo>
                  <a:lnTo>
                    <a:pt x="1144" y="6038"/>
                  </a:lnTo>
                  <a:cubicBezTo>
                    <a:pt x="1199" y="6196"/>
                    <a:pt x="1348" y="6288"/>
                    <a:pt x="1501" y="6288"/>
                  </a:cubicBezTo>
                  <a:cubicBezTo>
                    <a:pt x="1545" y="6288"/>
                    <a:pt x="1589" y="6281"/>
                    <a:pt x="1632" y="6265"/>
                  </a:cubicBezTo>
                  <a:cubicBezTo>
                    <a:pt x="1870" y="6181"/>
                    <a:pt x="3501" y="5562"/>
                    <a:pt x="3858" y="5431"/>
                  </a:cubicBezTo>
                  <a:lnTo>
                    <a:pt x="4704" y="5122"/>
                  </a:lnTo>
                  <a:cubicBezTo>
                    <a:pt x="4882" y="5050"/>
                    <a:pt x="4989" y="4848"/>
                    <a:pt x="4918" y="4657"/>
                  </a:cubicBezTo>
                  <a:lnTo>
                    <a:pt x="4894" y="4622"/>
                  </a:lnTo>
                  <a:cubicBezTo>
                    <a:pt x="5454" y="4383"/>
                    <a:pt x="5466" y="4360"/>
                    <a:pt x="6049" y="4360"/>
                  </a:cubicBezTo>
                  <a:cubicBezTo>
                    <a:pt x="6132" y="4360"/>
                    <a:pt x="6204" y="4288"/>
                    <a:pt x="6204" y="4193"/>
                  </a:cubicBezTo>
                  <a:cubicBezTo>
                    <a:pt x="6204" y="4110"/>
                    <a:pt x="6132" y="4026"/>
                    <a:pt x="6049" y="4026"/>
                  </a:cubicBezTo>
                  <a:cubicBezTo>
                    <a:pt x="5418" y="4026"/>
                    <a:pt x="5358" y="4074"/>
                    <a:pt x="4799" y="4312"/>
                  </a:cubicBezTo>
                  <a:lnTo>
                    <a:pt x="3965" y="2097"/>
                  </a:lnTo>
                  <a:lnTo>
                    <a:pt x="5037" y="1645"/>
                  </a:lnTo>
                  <a:cubicBezTo>
                    <a:pt x="5251" y="1571"/>
                    <a:pt x="5403" y="1559"/>
                    <a:pt x="5989" y="1559"/>
                  </a:cubicBezTo>
                  <a:cubicBezTo>
                    <a:pt x="6250" y="1559"/>
                    <a:pt x="6597" y="1562"/>
                    <a:pt x="7073" y="1562"/>
                  </a:cubicBezTo>
                  <a:cubicBezTo>
                    <a:pt x="7240" y="1562"/>
                    <a:pt x="7359" y="1621"/>
                    <a:pt x="7430" y="1740"/>
                  </a:cubicBezTo>
                  <a:cubicBezTo>
                    <a:pt x="7478" y="1835"/>
                    <a:pt x="7490" y="1919"/>
                    <a:pt x="7502" y="1931"/>
                  </a:cubicBezTo>
                  <a:cubicBezTo>
                    <a:pt x="7502" y="1990"/>
                    <a:pt x="7454" y="2276"/>
                    <a:pt x="7180" y="2336"/>
                  </a:cubicBezTo>
                  <a:cubicBezTo>
                    <a:pt x="6740" y="2407"/>
                    <a:pt x="5823" y="2538"/>
                    <a:pt x="5811" y="2538"/>
                  </a:cubicBezTo>
                  <a:cubicBezTo>
                    <a:pt x="5716" y="2562"/>
                    <a:pt x="5656" y="2633"/>
                    <a:pt x="5668" y="2728"/>
                  </a:cubicBezTo>
                  <a:cubicBezTo>
                    <a:pt x="5692" y="2800"/>
                    <a:pt x="5751" y="2859"/>
                    <a:pt x="5823" y="2859"/>
                  </a:cubicBezTo>
                  <a:lnTo>
                    <a:pt x="5847" y="2859"/>
                  </a:lnTo>
                  <a:cubicBezTo>
                    <a:pt x="5870" y="2859"/>
                    <a:pt x="6787" y="2728"/>
                    <a:pt x="7240" y="2645"/>
                  </a:cubicBezTo>
                  <a:cubicBezTo>
                    <a:pt x="7632" y="2574"/>
                    <a:pt x="7787" y="2240"/>
                    <a:pt x="7811" y="2026"/>
                  </a:cubicBezTo>
                  <a:lnTo>
                    <a:pt x="9633" y="514"/>
                  </a:lnTo>
                  <a:cubicBezTo>
                    <a:pt x="9747" y="415"/>
                    <a:pt x="9895" y="311"/>
                    <a:pt x="10058" y="311"/>
                  </a:cubicBezTo>
                  <a:cubicBezTo>
                    <a:pt x="10151" y="311"/>
                    <a:pt x="10248" y="344"/>
                    <a:pt x="10347" y="431"/>
                  </a:cubicBezTo>
                  <a:cubicBezTo>
                    <a:pt x="10645" y="728"/>
                    <a:pt x="10371" y="1073"/>
                    <a:pt x="10299" y="1145"/>
                  </a:cubicBezTo>
                  <a:cubicBezTo>
                    <a:pt x="10228" y="1216"/>
                    <a:pt x="8013" y="3609"/>
                    <a:pt x="8013" y="3609"/>
                  </a:cubicBezTo>
                  <a:cubicBezTo>
                    <a:pt x="7680" y="3990"/>
                    <a:pt x="7251" y="4050"/>
                    <a:pt x="7073" y="4062"/>
                  </a:cubicBezTo>
                  <a:lnTo>
                    <a:pt x="6787" y="4062"/>
                  </a:lnTo>
                  <a:cubicBezTo>
                    <a:pt x="6704" y="4062"/>
                    <a:pt x="6620" y="4133"/>
                    <a:pt x="6620" y="4229"/>
                  </a:cubicBezTo>
                  <a:cubicBezTo>
                    <a:pt x="6620" y="4312"/>
                    <a:pt x="6704" y="4383"/>
                    <a:pt x="6787" y="4383"/>
                  </a:cubicBezTo>
                  <a:lnTo>
                    <a:pt x="7097" y="4383"/>
                  </a:lnTo>
                  <a:cubicBezTo>
                    <a:pt x="7311" y="4371"/>
                    <a:pt x="7859" y="4300"/>
                    <a:pt x="8264" y="3836"/>
                  </a:cubicBezTo>
                  <a:lnTo>
                    <a:pt x="10550" y="1371"/>
                  </a:lnTo>
                  <a:cubicBezTo>
                    <a:pt x="10728" y="1121"/>
                    <a:pt x="10966" y="621"/>
                    <a:pt x="10550" y="204"/>
                  </a:cubicBezTo>
                  <a:cubicBezTo>
                    <a:pt x="10395" y="59"/>
                    <a:pt x="10226" y="0"/>
                    <a:pt x="1006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36" name="Google Shape;636;p30"/>
          <p:cNvGrpSpPr/>
          <p:nvPr/>
        </p:nvGrpSpPr>
        <p:grpSpPr>
          <a:xfrm>
            <a:off x="3630860" y="1790353"/>
            <a:ext cx="483826" cy="491133"/>
            <a:chOff x="4874902" y="3808799"/>
            <a:chExt cx="345615" cy="350835"/>
          </a:xfrm>
        </p:grpSpPr>
        <p:sp>
          <p:nvSpPr>
            <p:cNvPr id="637" name="Google Shape;637;p30"/>
            <p:cNvSpPr/>
            <p:nvPr/>
          </p:nvSpPr>
          <p:spPr>
            <a:xfrm>
              <a:off x="4874902" y="3808799"/>
              <a:ext cx="345615" cy="350835"/>
            </a:xfrm>
            <a:custGeom>
              <a:avLst/>
              <a:gdLst/>
              <a:ahLst/>
              <a:cxnLst/>
              <a:rect l="l" t="t" r="r" b="b"/>
              <a:pathLst>
                <a:path w="10859" h="11023" extrusionOk="0">
                  <a:moveTo>
                    <a:pt x="6632" y="274"/>
                  </a:moveTo>
                  <a:cubicBezTo>
                    <a:pt x="6858" y="274"/>
                    <a:pt x="7037" y="453"/>
                    <a:pt x="7037" y="679"/>
                  </a:cubicBezTo>
                  <a:cubicBezTo>
                    <a:pt x="7037" y="905"/>
                    <a:pt x="6858" y="1084"/>
                    <a:pt x="6632" y="1084"/>
                  </a:cubicBezTo>
                  <a:lnTo>
                    <a:pt x="4906" y="1084"/>
                  </a:lnTo>
                  <a:cubicBezTo>
                    <a:pt x="4691" y="1084"/>
                    <a:pt x="4513" y="905"/>
                    <a:pt x="4513" y="679"/>
                  </a:cubicBezTo>
                  <a:cubicBezTo>
                    <a:pt x="4513" y="453"/>
                    <a:pt x="4691" y="274"/>
                    <a:pt x="4906" y="274"/>
                  </a:cubicBezTo>
                  <a:close/>
                  <a:moveTo>
                    <a:pt x="5965" y="1405"/>
                  </a:moveTo>
                  <a:lnTo>
                    <a:pt x="5965" y="1965"/>
                  </a:lnTo>
                  <a:lnTo>
                    <a:pt x="5572" y="1965"/>
                  </a:lnTo>
                  <a:lnTo>
                    <a:pt x="5572" y="1405"/>
                  </a:lnTo>
                  <a:close/>
                  <a:moveTo>
                    <a:pt x="5790" y="2285"/>
                  </a:moveTo>
                  <a:cubicBezTo>
                    <a:pt x="7012" y="2285"/>
                    <a:pt x="8209" y="2830"/>
                    <a:pt x="9037" y="3834"/>
                  </a:cubicBezTo>
                  <a:cubicBezTo>
                    <a:pt x="10513" y="5632"/>
                    <a:pt x="10228" y="8287"/>
                    <a:pt x="8430" y="9763"/>
                  </a:cubicBezTo>
                  <a:cubicBezTo>
                    <a:pt x="7647" y="10392"/>
                    <a:pt x="6705" y="10700"/>
                    <a:pt x="5771" y="10700"/>
                  </a:cubicBezTo>
                  <a:cubicBezTo>
                    <a:pt x="4545" y="10700"/>
                    <a:pt x="3331" y="10171"/>
                    <a:pt x="2500" y="9144"/>
                  </a:cubicBezTo>
                  <a:cubicBezTo>
                    <a:pt x="405" y="6573"/>
                    <a:pt x="2000" y="2715"/>
                    <a:pt x="5239" y="2322"/>
                  </a:cubicBezTo>
                  <a:cubicBezTo>
                    <a:pt x="5422" y="2297"/>
                    <a:pt x="5606" y="2285"/>
                    <a:pt x="5790" y="2285"/>
                  </a:cubicBezTo>
                  <a:close/>
                  <a:moveTo>
                    <a:pt x="4917" y="0"/>
                  </a:moveTo>
                  <a:cubicBezTo>
                    <a:pt x="4513" y="0"/>
                    <a:pt x="4203" y="322"/>
                    <a:pt x="4203" y="715"/>
                  </a:cubicBezTo>
                  <a:cubicBezTo>
                    <a:pt x="4203" y="1108"/>
                    <a:pt x="4525" y="1429"/>
                    <a:pt x="4917" y="1429"/>
                  </a:cubicBezTo>
                  <a:lnTo>
                    <a:pt x="5251" y="1429"/>
                  </a:lnTo>
                  <a:lnTo>
                    <a:pt x="5251" y="1989"/>
                  </a:lnTo>
                  <a:cubicBezTo>
                    <a:pt x="1727" y="2393"/>
                    <a:pt x="0" y="6573"/>
                    <a:pt x="2262" y="9359"/>
                  </a:cubicBezTo>
                  <a:cubicBezTo>
                    <a:pt x="3161" y="10454"/>
                    <a:pt x="4471" y="11023"/>
                    <a:pt x="5790" y="11023"/>
                  </a:cubicBezTo>
                  <a:cubicBezTo>
                    <a:pt x="6795" y="11023"/>
                    <a:pt x="7805" y="10693"/>
                    <a:pt x="8644" y="10013"/>
                  </a:cubicBezTo>
                  <a:cubicBezTo>
                    <a:pt x="10585" y="8430"/>
                    <a:pt x="10859" y="5561"/>
                    <a:pt x="9287" y="3632"/>
                  </a:cubicBezTo>
                  <a:cubicBezTo>
                    <a:pt x="8513" y="2679"/>
                    <a:pt x="7430" y="2120"/>
                    <a:pt x="6299" y="1989"/>
                  </a:cubicBezTo>
                  <a:lnTo>
                    <a:pt x="6299" y="1429"/>
                  </a:lnTo>
                  <a:lnTo>
                    <a:pt x="6644" y="1429"/>
                  </a:lnTo>
                  <a:cubicBezTo>
                    <a:pt x="7037" y="1429"/>
                    <a:pt x="7358" y="1096"/>
                    <a:pt x="7358" y="715"/>
                  </a:cubicBezTo>
                  <a:cubicBezTo>
                    <a:pt x="7358" y="310"/>
                    <a:pt x="7025" y="0"/>
                    <a:pt x="664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" name="Google Shape;638;p30"/>
            <p:cNvSpPr/>
            <p:nvPr/>
          </p:nvSpPr>
          <p:spPr>
            <a:xfrm>
              <a:off x="4939321" y="4009630"/>
              <a:ext cx="145929" cy="123618"/>
            </a:xfrm>
            <a:custGeom>
              <a:avLst/>
              <a:gdLst/>
              <a:ahLst/>
              <a:cxnLst/>
              <a:rect l="l" t="t" r="r" b="b"/>
              <a:pathLst>
                <a:path w="4585" h="3884" extrusionOk="0">
                  <a:moveTo>
                    <a:pt x="203" y="1"/>
                  </a:moveTo>
                  <a:cubicBezTo>
                    <a:pt x="119" y="1"/>
                    <a:pt x="48" y="72"/>
                    <a:pt x="48" y="155"/>
                  </a:cubicBezTo>
                  <a:cubicBezTo>
                    <a:pt x="48" y="203"/>
                    <a:pt x="0" y="965"/>
                    <a:pt x="429" y="1810"/>
                  </a:cubicBezTo>
                  <a:cubicBezTo>
                    <a:pt x="691" y="2334"/>
                    <a:pt x="1072" y="2799"/>
                    <a:pt x="1548" y="3156"/>
                  </a:cubicBezTo>
                  <a:cubicBezTo>
                    <a:pt x="2212" y="3644"/>
                    <a:pt x="2997" y="3883"/>
                    <a:pt x="3771" y="3883"/>
                  </a:cubicBezTo>
                  <a:cubicBezTo>
                    <a:pt x="3996" y="3883"/>
                    <a:pt x="4221" y="3863"/>
                    <a:pt x="4441" y="3823"/>
                  </a:cubicBezTo>
                  <a:cubicBezTo>
                    <a:pt x="4525" y="3811"/>
                    <a:pt x="4584" y="3715"/>
                    <a:pt x="4572" y="3632"/>
                  </a:cubicBezTo>
                  <a:cubicBezTo>
                    <a:pt x="4540" y="3545"/>
                    <a:pt x="4477" y="3488"/>
                    <a:pt x="4394" y="3488"/>
                  </a:cubicBezTo>
                  <a:cubicBezTo>
                    <a:pt x="4386" y="3488"/>
                    <a:pt x="4378" y="3488"/>
                    <a:pt x="4370" y="3489"/>
                  </a:cubicBezTo>
                  <a:cubicBezTo>
                    <a:pt x="4161" y="3528"/>
                    <a:pt x="3950" y="3547"/>
                    <a:pt x="3739" y="3547"/>
                  </a:cubicBezTo>
                  <a:cubicBezTo>
                    <a:pt x="3035" y="3547"/>
                    <a:pt x="2334" y="3331"/>
                    <a:pt x="1739" y="2882"/>
                  </a:cubicBezTo>
                  <a:cubicBezTo>
                    <a:pt x="286" y="1810"/>
                    <a:pt x="369" y="155"/>
                    <a:pt x="369" y="155"/>
                  </a:cubicBezTo>
                  <a:cubicBezTo>
                    <a:pt x="369" y="72"/>
                    <a:pt x="298" y="1"/>
                    <a:pt x="20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" name="Google Shape;639;p30"/>
            <p:cNvSpPr/>
            <p:nvPr/>
          </p:nvSpPr>
          <p:spPr>
            <a:xfrm>
              <a:off x="4942344" y="3897629"/>
              <a:ext cx="205033" cy="101816"/>
            </a:xfrm>
            <a:custGeom>
              <a:avLst/>
              <a:gdLst/>
              <a:ahLst/>
              <a:cxnLst/>
              <a:rect l="l" t="t" r="r" b="b"/>
              <a:pathLst>
                <a:path w="6442" h="3199" extrusionOk="0">
                  <a:moveTo>
                    <a:pt x="3666" y="0"/>
                  </a:moveTo>
                  <a:cubicBezTo>
                    <a:pt x="1972" y="0"/>
                    <a:pt x="363" y="1175"/>
                    <a:pt x="24" y="3008"/>
                  </a:cubicBezTo>
                  <a:cubicBezTo>
                    <a:pt x="0" y="3115"/>
                    <a:pt x="72" y="3198"/>
                    <a:pt x="179" y="3198"/>
                  </a:cubicBezTo>
                  <a:cubicBezTo>
                    <a:pt x="251" y="3198"/>
                    <a:pt x="322" y="3139"/>
                    <a:pt x="334" y="3067"/>
                  </a:cubicBezTo>
                  <a:cubicBezTo>
                    <a:pt x="656" y="1384"/>
                    <a:pt x="2127" y="318"/>
                    <a:pt x="3670" y="318"/>
                  </a:cubicBezTo>
                  <a:cubicBezTo>
                    <a:pt x="4353" y="318"/>
                    <a:pt x="5050" y="527"/>
                    <a:pt x="5668" y="984"/>
                  </a:cubicBezTo>
                  <a:cubicBezTo>
                    <a:pt x="5846" y="1115"/>
                    <a:pt x="5989" y="1257"/>
                    <a:pt x="6144" y="1412"/>
                  </a:cubicBezTo>
                  <a:cubicBezTo>
                    <a:pt x="6180" y="1448"/>
                    <a:pt x="6228" y="1471"/>
                    <a:pt x="6274" y="1471"/>
                  </a:cubicBezTo>
                  <a:cubicBezTo>
                    <a:pt x="6305" y="1471"/>
                    <a:pt x="6334" y="1460"/>
                    <a:pt x="6358" y="1436"/>
                  </a:cubicBezTo>
                  <a:cubicBezTo>
                    <a:pt x="6430" y="1377"/>
                    <a:pt x="6442" y="1269"/>
                    <a:pt x="6382" y="1210"/>
                  </a:cubicBezTo>
                  <a:cubicBezTo>
                    <a:pt x="6216" y="1031"/>
                    <a:pt x="6049" y="876"/>
                    <a:pt x="5858" y="734"/>
                  </a:cubicBezTo>
                  <a:cubicBezTo>
                    <a:pt x="5179" y="230"/>
                    <a:pt x="4414" y="0"/>
                    <a:pt x="366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" name="Google Shape;640;p30"/>
            <p:cNvSpPr/>
            <p:nvPr/>
          </p:nvSpPr>
          <p:spPr>
            <a:xfrm>
              <a:off x="5092729" y="3950240"/>
              <a:ext cx="84597" cy="175465"/>
            </a:xfrm>
            <a:custGeom>
              <a:avLst/>
              <a:gdLst/>
              <a:ahLst/>
              <a:cxnLst/>
              <a:rect l="l" t="t" r="r" b="b"/>
              <a:pathLst>
                <a:path w="2658" h="5513" extrusionOk="0">
                  <a:moveTo>
                    <a:pt x="1939" y="0"/>
                  </a:moveTo>
                  <a:cubicBezTo>
                    <a:pt x="1907" y="0"/>
                    <a:pt x="1875" y="11"/>
                    <a:pt x="1848" y="33"/>
                  </a:cubicBezTo>
                  <a:cubicBezTo>
                    <a:pt x="1776" y="81"/>
                    <a:pt x="1741" y="176"/>
                    <a:pt x="1800" y="259"/>
                  </a:cubicBezTo>
                  <a:cubicBezTo>
                    <a:pt x="2145" y="795"/>
                    <a:pt x="2324" y="1414"/>
                    <a:pt x="2324" y="2057"/>
                  </a:cubicBezTo>
                  <a:cubicBezTo>
                    <a:pt x="2324" y="3486"/>
                    <a:pt x="1431" y="4724"/>
                    <a:pt x="169" y="5200"/>
                  </a:cubicBezTo>
                  <a:cubicBezTo>
                    <a:pt x="1" y="5263"/>
                    <a:pt x="55" y="5512"/>
                    <a:pt x="218" y="5512"/>
                  </a:cubicBezTo>
                  <a:cubicBezTo>
                    <a:pt x="239" y="5512"/>
                    <a:pt x="263" y="5508"/>
                    <a:pt x="288" y="5498"/>
                  </a:cubicBezTo>
                  <a:cubicBezTo>
                    <a:pt x="1669" y="4962"/>
                    <a:pt x="2657" y="3605"/>
                    <a:pt x="2657" y="2045"/>
                  </a:cubicBezTo>
                  <a:cubicBezTo>
                    <a:pt x="2622" y="1343"/>
                    <a:pt x="2431" y="676"/>
                    <a:pt x="2074" y="81"/>
                  </a:cubicBezTo>
                  <a:cubicBezTo>
                    <a:pt x="2044" y="29"/>
                    <a:pt x="1992" y="0"/>
                    <a:pt x="193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" name="Google Shape;641;p30"/>
            <p:cNvSpPr/>
            <p:nvPr/>
          </p:nvSpPr>
          <p:spPr>
            <a:xfrm>
              <a:off x="5004886" y="3993717"/>
              <a:ext cx="81478" cy="55348"/>
            </a:xfrm>
            <a:custGeom>
              <a:avLst/>
              <a:gdLst/>
              <a:ahLst/>
              <a:cxnLst/>
              <a:rect l="l" t="t" r="r" b="b"/>
              <a:pathLst>
                <a:path w="2560" h="1739" extrusionOk="0">
                  <a:moveTo>
                    <a:pt x="1691" y="334"/>
                  </a:moveTo>
                  <a:cubicBezTo>
                    <a:pt x="1976" y="334"/>
                    <a:pt x="2143" y="655"/>
                    <a:pt x="1976" y="882"/>
                  </a:cubicBezTo>
                  <a:cubicBezTo>
                    <a:pt x="1913" y="974"/>
                    <a:pt x="1806" y="1024"/>
                    <a:pt x="1698" y="1024"/>
                  </a:cubicBezTo>
                  <a:cubicBezTo>
                    <a:pt x="1625" y="1024"/>
                    <a:pt x="1551" y="1001"/>
                    <a:pt x="1488" y="953"/>
                  </a:cubicBezTo>
                  <a:cubicBezTo>
                    <a:pt x="1214" y="763"/>
                    <a:pt x="1369" y="334"/>
                    <a:pt x="1691" y="334"/>
                  </a:cubicBezTo>
                  <a:close/>
                  <a:moveTo>
                    <a:pt x="1691" y="1"/>
                  </a:moveTo>
                  <a:cubicBezTo>
                    <a:pt x="1584" y="1"/>
                    <a:pt x="1334" y="36"/>
                    <a:pt x="1155" y="274"/>
                  </a:cubicBezTo>
                  <a:cubicBezTo>
                    <a:pt x="1024" y="453"/>
                    <a:pt x="988" y="655"/>
                    <a:pt x="1048" y="846"/>
                  </a:cubicBezTo>
                  <a:lnTo>
                    <a:pt x="131" y="1441"/>
                  </a:lnTo>
                  <a:cubicBezTo>
                    <a:pt x="0" y="1536"/>
                    <a:pt x="60" y="1739"/>
                    <a:pt x="214" y="1739"/>
                  </a:cubicBezTo>
                  <a:cubicBezTo>
                    <a:pt x="310" y="1739"/>
                    <a:pt x="262" y="1727"/>
                    <a:pt x="1214" y="1132"/>
                  </a:cubicBezTo>
                  <a:cubicBezTo>
                    <a:pt x="1346" y="1279"/>
                    <a:pt x="1520" y="1349"/>
                    <a:pt x="1692" y="1349"/>
                  </a:cubicBezTo>
                  <a:cubicBezTo>
                    <a:pt x="1896" y="1349"/>
                    <a:pt x="2098" y="1252"/>
                    <a:pt x="2226" y="1072"/>
                  </a:cubicBezTo>
                  <a:cubicBezTo>
                    <a:pt x="2560" y="632"/>
                    <a:pt x="2238" y="1"/>
                    <a:pt x="169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" name="Google Shape;642;p30"/>
            <p:cNvSpPr/>
            <p:nvPr/>
          </p:nvSpPr>
          <p:spPr>
            <a:xfrm>
              <a:off x="5053391" y="3915262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775"/>
                  </a:lnTo>
                  <a:cubicBezTo>
                    <a:pt x="0" y="858"/>
                    <a:pt x="83" y="942"/>
                    <a:pt x="167" y="942"/>
                  </a:cubicBezTo>
                  <a:cubicBezTo>
                    <a:pt x="262" y="942"/>
                    <a:pt x="333" y="858"/>
                    <a:pt x="333" y="775"/>
                  </a:cubicBezTo>
                  <a:lnTo>
                    <a:pt x="333" y="168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" name="Google Shape;643;p30"/>
            <p:cNvSpPr/>
            <p:nvPr/>
          </p:nvSpPr>
          <p:spPr>
            <a:xfrm>
              <a:off x="5005236" y="3928216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3" y="1"/>
                  </a:moveTo>
                  <a:cubicBezTo>
                    <a:pt x="156" y="1"/>
                    <a:pt x="130" y="8"/>
                    <a:pt x="108" y="23"/>
                  </a:cubicBezTo>
                  <a:cubicBezTo>
                    <a:pt x="25" y="70"/>
                    <a:pt x="1" y="177"/>
                    <a:pt x="49" y="249"/>
                  </a:cubicBezTo>
                  <a:lnTo>
                    <a:pt x="346" y="773"/>
                  </a:lnTo>
                  <a:cubicBezTo>
                    <a:pt x="382" y="808"/>
                    <a:pt x="430" y="844"/>
                    <a:pt x="489" y="844"/>
                  </a:cubicBezTo>
                  <a:cubicBezTo>
                    <a:pt x="525" y="844"/>
                    <a:pt x="549" y="844"/>
                    <a:pt x="561" y="832"/>
                  </a:cubicBezTo>
                  <a:cubicBezTo>
                    <a:pt x="644" y="785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" name="Google Shape;644;p30"/>
            <p:cNvSpPr/>
            <p:nvPr/>
          </p:nvSpPr>
          <p:spPr>
            <a:xfrm>
              <a:off x="4970766" y="3962876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89" y="1"/>
                  </a:moveTo>
                  <a:cubicBezTo>
                    <a:pt x="130" y="1"/>
                    <a:pt x="69" y="27"/>
                    <a:pt x="36" y="77"/>
                  </a:cubicBezTo>
                  <a:cubicBezTo>
                    <a:pt x="0" y="160"/>
                    <a:pt x="24" y="255"/>
                    <a:pt x="96" y="303"/>
                  </a:cubicBezTo>
                  <a:lnTo>
                    <a:pt x="620" y="600"/>
                  </a:lnTo>
                  <a:cubicBezTo>
                    <a:pt x="655" y="612"/>
                    <a:pt x="679" y="612"/>
                    <a:pt x="691" y="612"/>
                  </a:cubicBezTo>
                  <a:cubicBezTo>
                    <a:pt x="751" y="612"/>
                    <a:pt x="798" y="589"/>
                    <a:pt x="834" y="541"/>
                  </a:cubicBezTo>
                  <a:cubicBezTo>
                    <a:pt x="893" y="470"/>
                    <a:pt x="858" y="362"/>
                    <a:pt x="786" y="315"/>
                  </a:cubicBezTo>
                  <a:lnTo>
                    <a:pt x="262" y="17"/>
                  </a:lnTo>
                  <a:cubicBezTo>
                    <a:pt x="240" y="6"/>
                    <a:pt x="215" y="1"/>
                    <a:pt x="18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" name="Google Shape;645;p30"/>
            <p:cNvSpPr/>
            <p:nvPr/>
          </p:nvSpPr>
          <p:spPr>
            <a:xfrm>
              <a:off x="4958258" y="4010012"/>
              <a:ext cx="29982" cy="10248"/>
            </a:xfrm>
            <a:custGeom>
              <a:avLst/>
              <a:gdLst/>
              <a:ahLst/>
              <a:cxnLst/>
              <a:rect l="l" t="t" r="r" b="b"/>
              <a:pathLst>
                <a:path w="942" h="322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" name="Google Shape;646;p30"/>
            <p:cNvSpPr/>
            <p:nvPr/>
          </p:nvSpPr>
          <p:spPr>
            <a:xfrm>
              <a:off x="4969239" y="4047601"/>
              <a:ext cx="30363" cy="20051"/>
            </a:xfrm>
            <a:custGeom>
              <a:avLst/>
              <a:gdLst/>
              <a:ahLst/>
              <a:cxnLst/>
              <a:rect l="l" t="t" r="r" b="b"/>
              <a:pathLst>
                <a:path w="954" h="630" extrusionOk="0">
                  <a:moveTo>
                    <a:pt x="754" y="0"/>
                  </a:moveTo>
                  <a:cubicBezTo>
                    <a:pt x="728" y="0"/>
                    <a:pt x="702" y="7"/>
                    <a:pt x="679" y="22"/>
                  </a:cubicBezTo>
                  <a:lnTo>
                    <a:pt x="156" y="320"/>
                  </a:lnTo>
                  <a:cubicBezTo>
                    <a:pt x="1" y="415"/>
                    <a:pt x="60" y="629"/>
                    <a:pt x="239" y="629"/>
                  </a:cubicBezTo>
                  <a:cubicBezTo>
                    <a:pt x="310" y="629"/>
                    <a:pt x="310" y="605"/>
                    <a:pt x="846" y="308"/>
                  </a:cubicBezTo>
                  <a:cubicBezTo>
                    <a:pt x="918" y="260"/>
                    <a:pt x="953" y="153"/>
                    <a:pt x="906" y="82"/>
                  </a:cubicBezTo>
                  <a:cubicBezTo>
                    <a:pt x="873" y="33"/>
                    <a:pt x="812" y="0"/>
                    <a:pt x="75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" name="Google Shape;647;p30"/>
            <p:cNvSpPr/>
            <p:nvPr/>
          </p:nvSpPr>
          <p:spPr>
            <a:xfrm>
              <a:off x="5005236" y="4075641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491" y="0"/>
                  </a:moveTo>
                  <a:cubicBezTo>
                    <a:pt x="440" y="0"/>
                    <a:pt x="391" y="33"/>
                    <a:pt x="358" y="82"/>
                  </a:cubicBezTo>
                  <a:lnTo>
                    <a:pt x="60" y="606"/>
                  </a:lnTo>
                  <a:cubicBezTo>
                    <a:pt x="1" y="701"/>
                    <a:pt x="72" y="844"/>
                    <a:pt x="191" y="844"/>
                  </a:cubicBezTo>
                  <a:cubicBezTo>
                    <a:pt x="251" y="844"/>
                    <a:pt x="299" y="808"/>
                    <a:pt x="322" y="760"/>
                  </a:cubicBezTo>
                  <a:lnTo>
                    <a:pt x="620" y="248"/>
                  </a:lnTo>
                  <a:cubicBezTo>
                    <a:pt x="668" y="165"/>
                    <a:pt x="644" y="70"/>
                    <a:pt x="561" y="22"/>
                  </a:cubicBezTo>
                  <a:cubicBezTo>
                    <a:pt x="538" y="7"/>
                    <a:pt x="514" y="0"/>
                    <a:pt x="49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" name="Google Shape;648;p30"/>
            <p:cNvSpPr/>
            <p:nvPr/>
          </p:nvSpPr>
          <p:spPr>
            <a:xfrm>
              <a:off x="5053391" y="4085794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775"/>
                  </a:lnTo>
                  <a:cubicBezTo>
                    <a:pt x="0" y="858"/>
                    <a:pt x="83" y="941"/>
                    <a:pt x="167" y="941"/>
                  </a:cubicBezTo>
                  <a:cubicBezTo>
                    <a:pt x="250" y="941"/>
                    <a:pt x="333" y="858"/>
                    <a:pt x="333" y="775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" name="Google Shape;649;p30"/>
            <p:cNvSpPr/>
            <p:nvPr/>
          </p:nvSpPr>
          <p:spPr>
            <a:xfrm>
              <a:off x="5090501" y="4075641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2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25" y="70"/>
                    <a:pt x="1" y="165"/>
                    <a:pt x="48" y="248"/>
                  </a:cubicBezTo>
                  <a:lnTo>
                    <a:pt x="346" y="760"/>
                  </a:lnTo>
                  <a:cubicBezTo>
                    <a:pt x="370" y="815"/>
                    <a:pt x="424" y="844"/>
                    <a:pt x="479" y="844"/>
                  </a:cubicBezTo>
                  <a:cubicBezTo>
                    <a:pt x="507" y="844"/>
                    <a:pt x="536" y="836"/>
                    <a:pt x="560" y="820"/>
                  </a:cubicBezTo>
                  <a:cubicBezTo>
                    <a:pt x="644" y="784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0"/>
                    <a:pt x="18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" name="Google Shape;650;p30"/>
            <p:cNvSpPr/>
            <p:nvPr/>
          </p:nvSpPr>
          <p:spPr>
            <a:xfrm>
              <a:off x="5117809" y="4048142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95" y="1"/>
                  </a:moveTo>
                  <a:cubicBezTo>
                    <a:pt x="136" y="1"/>
                    <a:pt x="81" y="27"/>
                    <a:pt x="48" y="77"/>
                  </a:cubicBezTo>
                  <a:cubicBezTo>
                    <a:pt x="0" y="160"/>
                    <a:pt x="36" y="243"/>
                    <a:pt x="107" y="291"/>
                  </a:cubicBezTo>
                  <a:cubicBezTo>
                    <a:pt x="643" y="588"/>
                    <a:pt x="631" y="612"/>
                    <a:pt x="714" y="612"/>
                  </a:cubicBezTo>
                  <a:cubicBezTo>
                    <a:pt x="774" y="612"/>
                    <a:pt x="822" y="588"/>
                    <a:pt x="845" y="541"/>
                  </a:cubicBezTo>
                  <a:cubicBezTo>
                    <a:pt x="893" y="469"/>
                    <a:pt x="869" y="362"/>
                    <a:pt x="786" y="315"/>
                  </a:cubicBezTo>
                  <a:lnTo>
                    <a:pt x="274" y="17"/>
                  </a:lnTo>
                  <a:cubicBezTo>
                    <a:pt x="248" y="6"/>
                    <a:pt x="221" y="1"/>
                    <a:pt x="1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" name="Google Shape;651;p30"/>
            <p:cNvSpPr/>
            <p:nvPr/>
          </p:nvSpPr>
          <p:spPr>
            <a:xfrm>
              <a:off x="5128790" y="4010012"/>
              <a:ext cx="29950" cy="10248"/>
            </a:xfrm>
            <a:custGeom>
              <a:avLst/>
              <a:gdLst/>
              <a:ahLst/>
              <a:cxnLst/>
              <a:rect l="l" t="t" r="r" b="b"/>
              <a:pathLst>
                <a:path w="941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" name="Google Shape;652;p30"/>
            <p:cNvSpPr/>
            <p:nvPr/>
          </p:nvSpPr>
          <p:spPr>
            <a:xfrm>
              <a:off x="5117809" y="3962717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706" y="0"/>
                  </a:moveTo>
                  <a:cubicBezTo>
                    <a:pt x="679" y="0"/>
                    <a:pt x="654" y="7"/>
                    <a:pt x="631" y="22"/>
                  </a:cubicBezTo>
                  <a:lnTo>
                    <a:pt x="107" y="320"/>
                  </a:lnTo>
                  <a:cubicBezTo>
                    <a:pt x="36" y="367"/>
                    <a:pt x="0" y="475"/>
                    <a:pt x="48" y="546"/>
                  </a:cubicBezTo>
                  <a:cubicBezTo>
                    <a:pt x="83" y="594"/>
                    <a:pt x="143" y="617"/>
                    <a:pt x="202" y="617"/>
                  </a:cubicBezTo>
                  <a:cubicBezTo>
                    <a:pt x="226" y="617"/>
                    <a:pt x="262" y="617"/>
                    <a:pt x="274" y="605"/>
                  </a:cubicBezTo>
                  <a:lnTo>
                    <a:pt x="798" y="308"/>
                  </a:lnTo>
                  <a:cubicBezTo>
                    <a:pt x="869" y="260"/>
                    <a:pt x="893" y="165"/>
                    <a:pt x="857" y="82"/>
                  </a:cubicBezTo>
                  <a:cubicBezTo>
                    <a:pt x="825" y="33"/>
                    <a:pt x="764" y="0"/>
                    <a:pt x="70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" name="Google Shape;653;p30"/>
            <p:cNvSpPr/>
            <p:nvPr/>
          </p:nvSpPr>
          <p:spPr>
            <a:xfrm>
              <a:off x="5090501" y="3928152"/>
              <a:ext cx="20879" cy="26958"/>
            </a:xfrm>
            <a:custGeom>
              <a:avLst/>
              <a:gdLst/>
              <a:ahLst/>
              <a:cxnLst/>
              <a:rect l="l" t="t" r="r" b="b"/>
              <a:pathLst>
                <a:path w="656" h="847" extrusionOk="0">
                  <a:moveTo>
                    <a:pt x="475" y="0"/>
                  </a:moveTo>
                  <a:cubicBezTo>
                    <a:pt x="424" y="0"/>
                    <a:pt x="370" y="29"/>
                    <a:pt x="346" y="84"/>
                  </a:cubicBezTo>
                  <a:lnTo>
                    <a:pt x="48" y="608"/>
                  </a:lnTo>
                  <a:cubicBezTo>
                    <a:pt x="1" y="679"/>
                    <a:pt x="25" y="787"/>
                    <a:pt x="108" y="834"/>
                  </a:cubicBezTo>
                  <a:cubicBezTo>
                    <a:pt x="132" y="846"/>
                    <a:pt x="168" y="846"/>
                    <a:pt x="179" y="846"/>
                  </a:cubicBezTo>
                  <a:cubicBezTo>
                    <a:pt x="239" y="846"/>
                    <a:pt x="287" y="810"/>
                    <a:pt x="310" y="775"/>
                  </a:cubicBezTo>
                  <a:lnTo>
                    <a:pt x="608" y="251"/>
                  </a:lnTo>
                  <a:cubicBezTo>
                    <a:pt x="656" y="179"/>
                    <a:pt x="620" y="72"/>
                    <a:pt x="549" y="25"/>
                  </a:cubicBezTo>
                  <a:cubicBezTo>
                    <a:pt x="528" y="8"/>
                    <a:pt x="502" y="0"/>
                    <a:pt x="47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232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Ein Einzelhändler möchte die </a:t>
            </a:r>
            <a:r>
              <a:rPr lang="de-DE" sz="1400" b="1" dirty="0"/>
              <a:t>Kaufgewohnheiten</a:t>
            </a:r>
            <a:r>
              <a:rPr lang="de-DE" sz="1400" dirty="0"/>
              <a:t> seiner Kunden </a:t>
            </a:r>
            <a:r>
              <a:rPr lang="de-DE" sz="1400" b="1" dirty="0"/>
              <a:t>besser verstehen</a:t>
            </a:r>
            <a:r>
              <a:rPr lang="de-DE" sz="1400" dirty="0"/>
              <a:t>, um zu identifizieren, welche </a:t>
            </a:r>
            <a:r>
              <a:rPr lang="de-DE" sz="1400" b="1" dirty="0"/>
              <a:t>Produkte</a:t>
            </a:r>
            <a:r>
              <a:rPr lang="de-DE" sz="1400" dirty="0"/>
              <a:t> ebenfalls von den Kunden gekauft werden könnten. </a:t>
            </a:r>
          </a:p>
          <a:p>
            <a:pPr marL="285750" indent="-285750"/>
            <a:r>
              <a:rPr lang="de-DE" sz="1400" dirty="0"/>
              <a:t>Diese Erkenntnis kann er in späteren Schritten nutzen, um personalisierte Marketing-Kampagnen und Angebote bereitstellen zu können</a:t>
            </a:r>
          </a:p>
          <a:p>
            <a:pPr marL="285750" indent="-285750"/>
            <a:endParaRPr lang="de-DE" sz="1400" dirty="0"/>
          </a:p>
          <a:p>
            <a:pPr marL="285750" indent="-285750"/>
            <a:r>
              <a:rPr lang="de-DE" sz="1400" dirty="0"/>
              <a:t>Damit möchte er langfristig eine </a:t>
            </a:r>
            <a:r>
              <a:rPr lang="de-DE" sz="1400" b="1" dirty="0"/>
              <a:t>Umsatzsteigerung</a:t>
            </a:r>
            <a:r>
              <a:rPr lang="de-DE" sz="1400" dirty="0"/>
              <a:t> erreichen</a:t>
            </a:r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inführung in den use cas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028" name="Picture 4" descr="Webcast: Writing a Business Use Case in 7 Steps - IAG Consulting">
            <a:extLst>
              <a:ext uri="{FF2B5EF4-FFF2-40B4-BE49-F238E27FC236}">
                <a16:creationId xmlns:a16="http://schemas.microsoft.com/office/drawing/2014/main" id="{5C7C8DEC-F2B6-0A09-3309-DAA79700DA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1884" y="1723272"/>
            <a:ext cx="2377422" cy="2351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60B1730C-058F-0D7B-37CE-F3DE44F8A182}"/>
              </a:ext>
            </a:extLst>
          </p:cNvPr>
          <p:cNvSpPr/>
          <p:nvPr/>
        </p:nvSpPr>
        <p:spPr>
          <a:xfrm>
            <a:off x="5201884" y="1118198"/>
            <a:ext cx="2377422" cy="603545"/>
          </a:xfrm>
          <a:prstGeom prst="rect">
            <a:avLst/>
          </a:prstGeom>
          <a:solidFill>
            <a:srgbClr val="47A6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17723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IN COMPETITORS</a:t>
            </a:r>
            <a:endParaRPr/>
          </a:p>
        </p:txBody>
      </p:sp>
      <p:sp>
        <p:nvSpPr>
          <p:cNvPr id="659" name="Google Shape;659;p31"/>
          <p:cNvSpPr/>
          <p:nvPr/>
        </p:nvSpPr>
        <p:spPr>
          <a:xfrm>
            <a:off x="393678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3" name="Google Shape;663;p31"/>
          <p:cNvGrpSpPr/>
          <p:nvPr/>
        </p:nvGrpSpPr>
        <p:grpSpPr>
          <a:xfrm>
            <a:off x="3828658" y="3854100"/>
            <a:ext cx="3601799" cy="274905"/>
            <a:chOff x="3828658" y="3897730"/>
            <a:chExt cx="3601799" cy="274905"/>
          </a:xfrm>
        </p:grpSpPr>
        <p:sp>
          <p:nvSpPr>
            <p:cNvPr id="664" name="Google Shape;664;p31"/>
            <p:cNvSpPr/>
            <p:nvPr/>
          </p:nvSpPr>
          <p:spPr>
            <a:xfrm>
              <a:off x="3829516" y="3897730"/>
              <a:ext cx="2234837" cy="106414"/>
            </a:xfrm>
            <a:custGeom>
              <a:avLst/>
              <a:gdLst/>
              <a:ahLst/>
              <a:cxnLst/>
              <a:rect l="l" t="t" r="r" b="b"/>
              <a:pathLst>
                <a:path w="31251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30507" y="1487"/>
                  </a:lnTo>
                  <a:cubicBezTo>
                    <a:pt x="30911" y="1487"/>
                    <a:pt x="31251" y="1159"/>
                    <a:pt x="31251" y="744"/>
                  </a:cubicBezTo>
                  <a:cubicBezTo>
                    <a:pt x="31251" y="340"/>
                    <a:pt x="30911" y="0"/>
                    <a:pt x="3050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" name="Google Shape;665;p31"/>
            <p:cNvSpPr/>
            <p:nvPr/>
          </p:nvSpPr>
          <p:spPr>
            <a:xfrm>
              <a:off x="3828658" y="4067150"/>
              <a:ext cx="3601799" cy="105485"/>
            </a:xfrm>
            <a:custGeom>
              <a:avLst/>
              <a:gdLst/>
              <a:ahLst/>
              <a:cxnLst/>
              <a:rect l="l" t="t" r="r" b="b"/>
              <a:pathLst>
                <a:path w="50366" h="1475" extrusionOk="0">
                  <a:moveTo>
                    <a:pt x="743" y="0"/>
                  </a:moveTo>
                  <a:cubicBezTo>
                    <a:pt x="340" y="0"/>
                    <a:pt x="0" y="328"/>
                    <a:pt x="0" y="731"/>
                  </a:cubicBezTo>
                  <a:cubicBezTo>
                    <a:pt x="13" y="1147"/>
                    <a:pt x="340" y="1474"/>
                    <a:pt x="743" y="1474"/>
                  </a:cubicBezTo>
                  <a:lnTo>
                    <a:pt x="49635" y="1474"/>
                  </a:lnTo>
                  <a:cubicBezTo>
                    <a:pt x="50038" y="1474"/>
                    <a:pt x="50366" y="1147"/>
                    <a:pt x="50366" y="731"/>
                  </a:cubicBezTo>
                  <a:cubicBezTo>
                    <a:pt x="50366" y="328"/>
                    <a:pt x="50038" y="0"/>
                    <a:pt x="4963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6" name="Google Shape;666;p31"/>
          <p:cNvGrpSpPr/>
          <p:nvPr/>
        </p:nvGrpSpPr>
        <p:grpSpPr>
          <a:xfrm>
            <a:off x="3811494" y="298330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16957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38404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2684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1"/>
                </a:solidFill>
              </a:rPr>
              <a:t>NEPTUNE</a:t>
            </a:r>
            <a:endParaRPr sz="180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147950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07023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2"/>
                </a:solidFill>
              </a:rPr>
              <a:t>MARS</a:t>
            </a:r>
            <a:endParaRPr sz="180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28130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Despite being red, Mars is a cold place</a:t>
            </a:r>
            <a:endParaRPr sz="1400"/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8720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3"/>
                </a:solidFill>
              </a:rPr>
              <a:t>VENUS</a:t>
            </a:r>
            <a:endParaRPr sz="180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08310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Venus is the second planet from the Sun</a:t>
            </a:r>
            <a:endParaRPr sz="1400"/>
          </a:p>
        </p:txBody>
      </p:sp>
      <p:sp>
        <p:nvSpPr>
          <p:cNvPr id="681" name="Google Shape;681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725394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682" name="Google Shape;682;p31"/>
          <p:cNvSpPr txBox="1">
            <a:spLocks noGrp="1"/>
          </p:cNvSpPr>
          <p:nvPr>
            <p:ph type="subTitle" idx="4294967295"/>
          </p:nvPr>
        </p:nvSpPr>
        <p:spPr>
          <a:xfrm>
            <a:off x="1140600" y="3936475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composed mostly of hydrogen and helium</a:t>
            </a:r>
            <a:endParaRPr sz="140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7" name="Google Shape;687;p32"/>
          <p:cNvSpPr txBox="1">
            <a:spLocks noGrp="1"/>
          </p:cNvSpPr>
          <p:nvPr>
            <p:ph type="ctrTitle"/>
          </p:nvPr>
        </p:nvSpPr>
        <p:spPr>
          <a:xfrm>
            <a:off x="2031287" y="1742775"/>
            <a:ext cx="2622000" cy="83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COMPANY</a:t>
            </a:r>
            <a:endParaRPr/>
          </a:p>
        </p:txBody>
      </p:sp>
      <p:sp>
        <p:nvSpPr>
          <p:cNvPr id="688" name="Google Shape;688;p32"/>
          <p:cNvSpPr txBox="1">
            <a:spLocks noGrp="1"/>
          </p:cNvSpPr>
          <p:nvPr>
            <p:ph type="subTitle" idx="1"/>
          </p:nvPr>
        </p:nvSpPr>
        <p:spPr>
          <a:xfrm>
            <a:off x="1791587" y="2417450"/>
            <a:ext cx="3101400" cy="104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ould enter a subtitle here if you need it</a:t>
            </a:r>
            <a:endParaRPr/>
          </a:p>
        </p:txBody>
      </p:sp>
      <p:sp>
        <p:nvSpPr>
          <p:cNvPr id="689" name="Google Shape;689;p32"/>
          <p:cNvSpPr/>
          <p:nvPr/>
        </p:nvSpPr>
        <p:spPr>
          <a:xfrm>
            <a:off x="5782875" y="1868575"/>
            <a:ext cx="1085100" cy="10851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0" name="Google Shape;690;p32"/>
          <p:cNvSpPr txBox="1">
            <a:spLocks noGrp="1"/>
          </p:cNvSpPr>
          <p:nvPr>
            <p:ph type="title" idx="2"/>
          </p:nvPr>
        </p:nvSpPr>
        <p:spPr>
          <a:xfrm>
            <a:off x="5834900" y="2122225"/>
            <a:ext cx="9810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2"/>
                </a:solidFill>
              </a:rPr>
              <a:t>01</a:t>
            </a:r>
            <a:endParaRPr>
              <a:solidFill>
                <a:schemeClr val="dk2"/>
              </a:solidFill>
            </a:endParaRPr>
          </a:p>
        </p:txBody>
      </p:sp>
      <p:sp>
        <p:nvSpPr>
          <p:cNvPr id="691" name="Google Shape;691;p32"/>
          <p:cNvSpPr/>
          <p:nvPr/>
        </p:nvSpPr>
        <p:spPr>
          <a:xfrm>
            <a:off x="1370476" y="3869000"/>
            <a:ext cx="6279992" cy="104326"/>
          </a:xfrm>
          <a:custGeom>
            <a:avLst/>
            <a:gdLst/>
            <a:ahLst/>
            <a:cxnLst/>
            <a:rect l="l" t="t" r="r" b="b"/>
            <a:pathLst>
              <a:path w="143387" h="2382" extrusionOk="0">
                <a:moveTo>
                  <a:pt x="1185" y="0"/>
                </a:moveTo>
                <a:cubicBezTo>
                  <a:pt x="530" y="0"/>
                  <a:pt x="1" y="529"/>
                  <a:pt x="1" y="1184"/>
                </a:cubicBezTo>
                <a:cubicBezTo>
                  <a:pt x="1" y="1840"/>
                  <a:pt x="530" y="2382"/>
                  <a:pt x="1185" y="2382"/>
                </a:cubicBezTo>
                <a:lnTo>
                  <a:pt x="142189" y="2382"/>
                </a:lnTo>
                <a:cubicBezTo>
                  <a:pt x="142844" y="2382"/>
                  <a:pt x="143386" y="1840"/>
                  <a:pt x="143386" y="1184"/>
                </a:cubicBezTo>
                <a:cubicBezTo>
                  <a:pt x="143386" y="529"/>
                  <a:pt x="142844" y="0"/>
                  <a:pt x="142189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2" name="Google Shape;692;p32"/>
          <p:cNvSpPr/>
          <p:nvPr/>
        </p:nvSpPr>
        <p:spPr>
          <a:xfrm>
            <a:off x="1369950" y="3869000"/>
            <a:ext cx="5074478" cy="104326"/>
          </a:xfrm>
          <a:custGeom>
            <a:avLst/>
            <a:gdLst/>
            <a:ahLst/>
            <a:cxnLst/>
            <a:rect l="l" t="t" r="r" b="b"/>
            <a:pathLst>
              <a:path w="87904" h="2382" extrusionOk="0">
                <a:moveTo>
                  <a:pt x="1197" y="0"/>
                </a:moveTo>
                <a:cubicBezTo>
                  <a:pt x="529" y="0"/>
                  <a:pt x="0" y="529"/>
                  <a:pt x="0" y="1184"/>
                </a:cubicBezTo>
                <a:cubicBezTo>
                  <a:pt x="0" y="1840"/>
                  <a:pt x="529" y="2382"/>
                  <a:pt x="1197" y="2382"/>
                </a:cubicBezTo>
                <a:lnTo>
                  <a:pt x="86719" y="2382"/>
                </a:lnTo>
                <a:cubicBezTo>
                  <a:pt x="87375" y="2382"/>
                  <a:pt x="87904" y="1840"/>
                  <a:pt x="87904" y="1184"/>
                </a:cubicBezTo>
                <a:cubicBezTo>
                  <a:pt x="87904" y="529"/>
                  <a:pt x="87375" y="0"/>
                  <a:pt x="86719" y="0"/>
                </a:cubicBez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93" name="Google Shape;693;p32"/>
          <p:cNvCxnSpPr>
            <a:stCxn id="689" idx="2"/>
          </p:cNvCxnSpPr>
          <p:nvPr/>
        </p:nvCxnSpPr>
        <p:spPr>
          <a:xfrm>
            <a:off x="6325425" y="2953675"/>
            <a:ext cx="0" cy="978000"/>
          </a:xfrm>
          <a:prstGeom prst="straightConnector1">
            <a:avLst/>
          </a:prstGeom>
          <a:noFill/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8" name="Google Shape;698;p33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KET RESEARCH</a:t>
            </a:r>
            <a:endParaRPr/>
          </a:p>
        </p:txBody>
      </p:sp>
      <p:sp>
        <p:nvSpPr>
          <p:cNvPr id="699" name="Google Shape;699;p33"/>
          <p:cNvSpPr txBox="1">
            <a:spLocks noGrp="1"/>
          </p:cNvSpPr>
          <p:nvPr>
            <p:ph type="ctrTitle" idx="4294967295"/>
          </p:nvPr>
        </p:nvSpPr>
        <p:spPr>
          <a:xfrm>
            <a:off x="4792350" y="1739848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NEPTUNE</a:t>
            </a:r>
            <a:endParaRPr sz="1800"/>
          </a:p>
        </p:txBody>
      </p:sp>
      <p:pic>
        <p:nvPicPr>
          <p:cNvPr id="700" name="Google Shape;700;p33" title="Gráfico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 r="14850"/>
          <a:stretch/>
        </p:blipFill>
        <p:spPr>
          <a:xfrm>
            <a:off x="774900" y="1519750"/>
            <a:ext cx="3595623" cy="2662600"/>
          </a:xfrm>
          <a:prstGeom prst="rect">
            <a:avLst/>
          </a:prstGeom>
          <a:noFill/>
          <a:ln>
            <a:noFill/>
          </a:ln>
        </p:spPr>
      </p:pic>
      <p:sp>
        <p:nvSpPr>
          <p:cNvPr id="701" name="Google Shape;701;p33"/>
          <p:cNvSpPr txBox="1">
            <a:spLocks noGrp="1"/>
          </p:cNvSpPr>
          <p:nvPr>
            <p:ph type="subTitle" idx="4294967295"/>
          </p:nvPr>
        </p:nvSpPr>
        <p:spPr>
          <a:xfrm>
            <a:off x="4590959" y="1860098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702" name="Google Shape;702;p33"/>
          <p:cNvSpPr/>
          <p:nvPr/>
        </p:nvSpPr>
        <p:spPr>
          <a:xfrm>
            <a:off x="5439938" y="133777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3" name="Google Shape;703;p33"/>
          <p:cNvSpPr txBox="1">
            <a:spLocks noGrp="1"/>
          </p:cNvSpPr>
          <p:nvPr>
            <p:ph type="ctrTitle" idx="4294967295"/>
          </p:nvPr>
        </p:nvSpPr>
        <p:spPr>
          <a:xfrm>
            <a:off x="6732025" y="2594476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MERCURY</a:t>
            </a:r>
            <a:endParaRPr sz="1800"/>
          </a:p>
        </p:txBody>
      </p:sp>
      <p:sp>
        <p:nvSpPr>
          <p:cNvPr id="704" name="Google Shape;704;p33"/>
          <p:cNvSpPr txBox="1">
            <a:spLocks noGrp="1"/>
          </p:cNvSpPr>
          <p:nvPr>
            <p:ph type="subTitle" idx="4294967295"/>
          </p:nvPr>
        </p:nvSpPr>
        <p:spPr>
          <a:xfrm>
            <a:off x="6451125" y="2714726"/>
            <a:ext cx="2040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Mercury is the closest planet to the Sun</a:t>
            </a:r>
            <a:endParaRPr sz="1400"/>
          </a:p>
        </p:txBody>
      </p:sp>
      <p:sp>
        <p:nvSpPr>
          <p:cNvPr id="705" name="Google Shape;705;p33"/>
          <p:cNvSpPr/>
          <p:nvPr/>
        </p:nvSpPr>
        <p:spPr>
          <a:xfrm>
            <a:off x="7379613" y="2192401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6" name="Google Shape;706;p33"/>
          <p:cNvSpPr txBox="1">
            <a:spLocks noGrp="1"/>
          </p:cNvSpPr>
          <p:nvPr>
            <p:ph type="ctrTitle" idx="4294967295"/>
          </p:nvPr>
        </p:nvSpPr>
        <p:spPr>
          <a:xfrm>
            <a:off x="4792350" y="3449300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707" name="Google Shape;707;p33"/>
          <p:cNvSpPr txBox="1">
            <a:spLocks noGrp="1"/>
          </p:cNvSpPr>
          <p:nvPr>
            <p:ph type="subTitle" idx="4294967295"/>
          </p:nvPr>
        </p:nvSpPr>
        <p:spPr>
          <a:xfrm>
            <a:off x="4511463" y="3569550"/>
            <a:ext cx="2040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Saturn is composed of hydrogen and helium</a:t>
            </a:r>
            <a:endParaRPr sz="1400"/>
          </a:p>
        </p:txBody>
      </p:sp>
      <p:sp>
        <p:nvSpPr>
          <p:cNvPr id="708" name="Google Shape;708;p33"/>
          <p:cNvSpPr/>
          <p:nvPr/>
        </p:nvSpPr>
        <p:spPr>
          <a:xfrm>
            <a:off x="5439938" y="304722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7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" name="Google Shape;713;p3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NALYSIS</a:t>
            </a:r>
            <a:endParaRPr/>
          </a:p>
        </p:txBody>
      </p:sp>
      <p:sp>
        <p:nvSpPr>
          <p:cNvPr id="714" name="Google Shape;714;p34"/>
          <p:cNvSpPr txBox="1"/>
          <p:nvPr/>
        </p:nvSpPr>
        <p:spPr>
          <a:xfrm>
            <a:off x="605167" y="10982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OUTREACH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715" name="Google Shape;715;p34"/>
          <p:cNvSpPr txBox="1"/>
          <p:nvPr/>
        </p:nvSpPr>
        <p:spPr>
          <a:xfrm>
            <a:off x="6355433" y="1098250"/>
            <a:ext cx="21801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TOP RATED VALUES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grpSp>
        <p:nvGrpSpPr>
          <p:cNvPr id="716" name="Google Shape;716;p34"/>
          <p:cNvGrpSpPr/>
          <p:nvPr/>
        </p:nvGrpSpPr>
        <p:grpSpPr>
          <a:xfrm>
            <a:off x="483868" y="1752443"/>
            <a:ext cx="3998392" cy="2213254"/>
            <a:chOff x="2654821" y="2311071"/>
            <a:chExt cx="2279715" cy="1262120"/>
          </a:xfrm>
        </p:grpSpPr>
        <p:grpSp>
          <p:nvGrpSpPr>
            <p:cNvPr id="717" name="Google Shape;717;p34"/>
            <p:cNvGrpSpPr/>
            <p:nvPr/>
          </p:nvGrpSpPr>
          <p:grpSpPr>
            <a:xfrm>
              <a:off x="4034269" y="2840745"/>
              <a:ext cx="40212" cy="36437"/>
              <a:chOff x="4293400" y="2574725"/>
              <a:chExt cx="84425" cy="80100"/>
            </a:xfrm>
          </p:grpSpPr>
          <p:sp>
            <p:nvSpPr>
              <p:cNvPr id="718" name="Google Shape;718;p34"/>
              <p:cNvSpPr/>
              <p:nvPr/>
            </p:nvSpPr>
            <p:spPr>
              <a:xfrm>
                <a:off x="4293400" y="2574725"/>
                <a:ext cx="57150" cy="45250"/>
              </a:xfrm>
              <a:custGeom>
                <a:avLst/>
                <a:gdLst/>
                <a:ahLst/>
                <a:cxnLst/>
                <a:rect l="l" t="t" r="r" b="b"/>
                <a:pathLst>
                  <a:path w="2286" h="1810" extrusionOk="0">
                    <a:moveTo>
                      <a:pt x="2286" y="905"/>
                    </a:moveTo>
                    <a:lnTo>
                      <a:pt x="1857" y="476"/>
                    </a:lnTo>
                    <a:lnTo>
                      <a:pt x="0" y="0"/>
                    </a:lnTo>
                    <a:lnTo>
                      <a:pt x="95" y="834"/>
                    </a:lnTo>
                    <a:lnTo>
                      <a:pt x="952" y="1476"/>
                    </a:lnTo>
                    <a:lnTo>
                      <a:pt x="1952" y="181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19" name="Google Shape;719;p34"/>
              <p:cNvSpPr/>
              <p:nvPr/>
            </p:nvSpPr>
            <p:spPr>
              <a:xfrm>
                <a:off x="4299350" y="2589925"/>
                <a:ext cx="78475" cy="649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596" extrusionOk="0">
                    <a:moveTo>
                      <a:pt x="2009" y="1"/>
                    </a:moveTo>
                    <a:lnTo>
                      <a:pt x="1820" y="252"/>
                    </a:lnTo>
                    <a:lnTo>
                      <a:pt x="1632" y="314"/>
                    </a:lnTo>
                    <a:lnTo>
                      <a:pt x="1590" y="419"/>
                    </a:lnTo>
                    <a:lnTo>
                      <a:pt x="1318" y="398"/>
                    </a:lnTo>
                    <a:lnTo>
                      <a:pt x="1255" y="273"/>
                    </a:lnTo>
                    <a:lnTo>
                      <a:pt x="983" y="63"/>
                    </a:lnTo>
                    <a:lnTo>
                      <a:pt x="837" y="42"/>
                    </a:lnTo>
                    <a:lnTo>
                      <a:pt x="795" y="63"/>
                    </a:lnTo>
                    <a:lnTo>
                      <a:pt x="753" y="252"/>
                    </a:lnTo>
                    <a:lnTo>
                      <a:pt x="900" y="314"/>
                    </a:lnTo>
                    <a:lnTo>
                      <a:pt x="983" y="461"/>
                    </a:lnTo>
                    <a:lnTo>
                      <a:pt x="963" y="670"/>
                    </a:lnTo>
                    <a:lnTo>
                      <a:pt x="753" y="566"/>
                    </a:lnTo>
                    <a:lnTo>
                      <a:pt x="544" y="524"/>
                    </a:lnTo>
                    <a:lnTo>
                      <a:pt x="209" y="356"/>
                    </a:lnTo>
                    <a:lnTo>
                      <a:pt x="0" y="419"/>
                    </a:lnTo>
                    <a:lnTo>
                      <a:pt x="0" y="524"/>
                    </a:lnTo>
                    <a:lnTo>
                      <a:pt x="105" y="628"/>
                    </a:lnTo>
                    <a:lnTo>
                      <a:pt x="314" y="670"/>
                    </a:lnTo>
                    <a:lnTo>
                      <a:pt x="419" y="796"/>
                    </a:lnTo>
                    <a:lnTo>
                      <a:pt x="377" y="921"/>
                    </a:lnTo>
                    <a:lnTo>
                      <a:pt x="377" y="1026"/>
                    </a:lnTo>
                    <a:lnTo>
                      <a:pt x="628" y="1214"/>
                    </a:lnTo>
                    <a:lnTo>
                      <a:pt x="628" y="1340"/>
                    </a:lnTo>
                    <a:lnTo>
                      <a:pt x="544" y="1423"/>
                    </a:lnTo>
                    <a:lnTo>
                      <a:pt x="628" y="1612"/>
                    </a:lnTo>
                    <a:lnTo>
                      <a:pt x="879" y="1737"/>
                    </a:lnTo>
                    <a:lnTo>
                      <a:pt x="1067" y="1737"/>
                    </a:lnTo>
                    <a:lnTo>
                      <a:pt x="1193" y="1863"/>
                    </a:lnTo>
                    <a:lnTo>
                      <a:pt x="1046" y="1884"/>
                    </a:lnTo>
                    <a:lnTo>
                      <a:pt x="1109" y="2051"/>
                    </a:lnTo>
                    <a:lnTo>
                      <a:pt x="1088" y="2093"/>
                    </a:lnTo>
                    <a:lnTo>
                      <a:pt x="1088" y="2239"/>
                    </a:lnTo>
                    <a:lnTo>
                      <a:pt x="1172" y="2260"/>
                    </a:lnTo>
                    <a:lnTo>
                      <a:pt x="1276" y="2198"/>
                    </a:lnTo>
                    <a:lnTo>
                      <a:pt x="1276" y="2156"/>
                    </a:lnTo>
                    <a:lnTo>
                      <a:pt x="1318" y="2093"/>
                    </a:lnTo>
                    <a:lnTo>
                      <a:pt x="1381" y="2072"/>
                    </a:lnTo>
                    <a:lnTo>
                      <a:pt x="1486" y="1946"/>
                    </a:lnTo>
                    <a:lnTo>
                      <a:pt x="1569" y="1926"/>
                    </a:lnTo>
                    <a:lnTo>
                      <a:pt x="1611" y="1821"/>
                    </a:lnTo>
                    <a:lnTo>
                      <a:pt x="1695" y="1821"/>
                    </a:lnTo>
                    <a:lnTo>
                      <a:pt x="1820" y="1737"/>
                    </a:lnTo>
                    <a:lnTo>
                      <a:pt x="1883" y="1737"/>
                    </a:lnTo>
                    <a:lnTo>
                      <a:pt x="1883" y="1758"/>
                    </a:lnTo>
                    <a:lnTo>
                      <a:pt x="1925" y="1758"/>
                    </a:lnTo>
                    <a:lnTo>
                      <a:pt x="1988" y="1863"/>
                    </a:lnTo>
                    <a:lnTo>
                      <a:pt x="2051" y="1946"/>
                    </a:lnTo>
                    <a:lnTo>
                      <a:pt x="2009" y="1988"/>
                    </a:lnTo>
                    <a:lnTo>
                      <a:pt x="2030" y="2051"/>
                    </a:lnTo>
                    <a:lnTo>
                      <a:pt x="2155" y="2135"/>
                    </a:lnTo>
                    <a:lnTo>
                      <a:pt x="1988" y="2260"/>
                    </a:lnTo>
                    <a:lnTo>
                      <a:pt x="2155" y="2470"/>
                    </a:lnTo>
                    <a:lnTo>
                      <a:pt x="2260" y="2511"/>
                    </a:lnTo>
                    <a:lnTo>
                      <a:pt x="2302" y="2574"/>
                    </a:lnTo>
                    <a:lnTo>
                      <a:pt x="2406" y="2595"/>
                    </a:lnTo>
                    <a:lnTo>
                      <a:pt x="2448" y="2574"/>
                    </a:lnTo>
                    <a:lnTo>
                      <a:pt x="2448" y="2365"/>
                    </a:lnTo>
                    <a:lnTo>
                      <a:pt x="2427" y="2302"/>
                    </a:lnTo>
                    <a:lnTo>
                      <a:pt x="2427" y="2198"/>
                    </a:lnTo>
                    <a:lnTo>
                      <a:pt x="2406" y="2072"/>
                    </a:lnTo>
                    <a:lnTo>
                      <a:pt x="2427" y="1967"/>
                    </a:lnTo>
                    <a:lnTo>
                      <a:pt x="2469" y="1946"/>
                    </a:lnTo>
                    <a:lnTo>
                      <a:pt x="2553" y="2030"/>
                    </a:lnTo>
                    <a:lnTo>
                      <a:pt x="2511" y="2135"/>
                    </a:lnTo>
                    <a:lnTo>
                      <a:pt x="2553" y="2198"/>
                    </a:lnTo>
                    <a:lnTo>
                      <a:pt x="2574" y="2135"/>
                    </a:lnTo>
                    <a:lnTo>
                      <a:pt x="2574" y="1946"/>
                    </a:lnTo>
                    <a:lnTo>
                      <a:pt x="2636" y="1884"/>
                    </a:lnTo>
                    <a:lnTo>
                      <a:pt x="2636" y="1779"/>
                    </a:lnTo>
                    <a:lnTo>
                      <a:pt x="2574" y="1737"/>
                    </a:lnTo>
                    <a:lnTo>
                      <a:pt x="2616" y="1633"/>
                    </a:lnTo>
                    <a:lnTo>
                      <a:pt x="2657" y="1549"/>
                    </a:lnTo>
                    <a:lnTo>
                      <a:pt x="2636" y="1444"/>
                    </a:lnTo>
                    <a:lnTo>
                      <a:pt x="2636" y="1298"/>
                    </a:lnTo>
                    <a:lnTo>
                      <a:pt x="2783" y="1151"/>
                    </a:lnTo>
                    <a:lnTo>
                      <a:pt x="2950" y="1130"/>
                    </a:lnTo>
                    <a:lnTo>
                      <a:pt x="3034" y="1089"/>
                    </a:lnTo>
                    <a:lnTo>
                      <a:pt x="3139" y="1089"/>
                    </a:lnTo>
                    <a:lnTo>
                      <a:pt x="3034" y="984"/>
                    </a:lnTo>
                    <a:lnTo>
                      <a:pt x="2888" y="900"/>
                    </a:lnTo>
                    <a:lnTo>
                      <a:pt x="2741" y="921"/>
                    </a:lnTo>
                    <a:lnTo>
                      <a:pt x="2616" y="817"/>
                    </a:lnTo>
                    <a:lnTo>
                      <a:pt x="2574" y="712"/>
                    </a:lnTo>
                    <a:lnTo>
                      <a:pt x="2406" y="586"/>
                    </a:lnTo>
                    <a:lnTo>
                      <a:pt x="2323" y="419"/>
                    </a:lnTo>
                    <a:lnTo>
                      <a:pt x="2323" y="314"/>
                    </a:lnTo>
                    <a:lnTo>
                      <a:pt x="2134" y="84"/>
                    </a:lnTo>
                    <a:lnTo>
                      <a:pt x="200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20" name="Google Shape;720;p34"/>
            <p:cNvGrpSpPr/>
            <p:nvPr/>
          </p:nvGrpSpPr>
          <p:grpSpPr>
            <a:xfrm>
              <a:off x="3894606" y="2334874"/>
              <a:ext cx="913198" cy="518984"/>
              <a:chOff x="4000175" y="1462675"/>
              <a:chExt cx="1917275" cy="1140875"/>
            </a:xfrm>
          </p:grpSpPr>
          <p:sp>
            <p:nvSpPr>
              <p:cNvPr id="721" name="Google Shape;721;p34"/>
              <p:cNvSpPr/>
              <p:nvPr/>
            </p:nvSpPr>
            <p:spPr>
              <a:xfrm>
                <a:off x="4178050" y="2433300"/>
                <a:ext cx="60250" cy="65175"/>
              </a:xfrm>
              <a:custGeom>
                <a:avLst/>
                <a:gdLst/>
                <a:ahLst/>
                <a:cxnLst/>
                <a:rect l="l" t="t" r="r" b="b"/>
                <a:pathLst>
                  <a:path w="2410" h="2607" extrusionOk="0">
                    <a:moveTo>
                      <a:pt x="639" y="2410"/>
                    </a:moveTo>
                    <a:lnTo>
                      <a:pt x="1180" y="2607"/>
                    </a:lnTo>
                    <a:lnTo>
                      <a:pt x="2410" y="2017"/>
                    </a:lnTo>
                    <a:lnTo>
                      <a:pt x="2262" y="0"/>
                    </a:lnTo>
                    <a:lnTo>
                      <a:pt x="541" y="0"/>
                    </a:lnTo>
                    <a:lnTo>
                      <a:pt x="0" y="177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grpSp>
            <p:nvGrpSpPr>
              <p:cNvPr id="722" name="Google Shape;722;p34"/>
              <p:cNvGrpSpPr/>
              <p:nvPr/>
            </p:nvGrpSpPr>
            <p:grpSpPr>
              <a:xfrm>
                <a:off x="4000175" y="1462675"/>
                <a:ext cx="1917275" cy="1140875"/>
                <a:chOff x="4000175" y="1462675"/>
                <a:chExt cx="1917275" cy="1140875"/>
              </a:xfrm>
            </p:grpSpPr>
            <p:sp>
              <p:nvSpPr>
                <p:cNvPr id="723" name="Google Shape;723;p34"/>
                <p:cNvSpPr/>
                <p:nvPr/>
              </p:nvSpPr>
              <p:spPr>
                <a:xfrm>
                  <a:off x="4000175" y="2000075"/>
                  <a:ext cx="1545875" cy="510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835" h="20400" extrusionOk="0">
                      <a:moveTo>
                        <a:pt x="1594" y="319"/>
                      </a:moveTo>
                      <a:lnTo>
                        <a:pt x="106" y="0"/>
                      </a:lnTo>
                      <a:lnTo>
                        <a:pt x="0" y="2444"/>
                      </a:lnTo>
                      <a:lnTo>
                        <a:pt x="1062" y="9031"/>
                      </a:lnTo>
                      <a:lnTo>
                        <a:pt x="3931" y="9775"/>
                      </a:lnTo>
                      <a:lnTo>
                        <a:pt x="2125" y="10200"/>
                      </a:lnTo>
                      <a:lnTo>
                        <a:pt x="531" y="10413"/>
                      </a:lnTo>
                      <a:lnTo>
                        <a:pt x="1487" y="13600"/>
                      </a:lnTo>
                      <a:lnTo>
                        <a:pt x="3931" y="17212"/>
                      </a:lnTo>
                      <a:lnTo>
                        <a:pt x="8393" y="18594"/>
                      </a:lnTo>
                      <a:lnTo>
                        <a:pt x="9987" y="18169"/>
                      </a:lnTo>
                      <a:lnTo>
                        <a:pt x="13281" y="20400"/>
                      </a:lnTo>
                      <a:lnTo>
                        <a:pt x="14343" y="18912"/>
                      </a:lnTo>
                      <a:lnTo>
                        <a:pt x="28793" y="17319"/>
                      </a:lnTo>
                      <a:lnTo>
                        <a:pt x="35699" y="16894"/>
                      </a:lnTo>
                      <a:lnTo>
                        <a:pt x="48342" y="16894"/>
                      </a:lnTo>
                      <a:lnTo>
                        <a:pt x="49617" y="15194"/>
                      </a:lnTo>
                      <a:lnTo>
                        <a:pt x="59285" y="20294"/>
                      </a:lnTo>
                      <a:lnTo>
                        <a:pt x="60135" y="19231"/>
                      </a:lnTo>
                      <a:lnTo>
                        <a:pt x="61835" y="18487"/>
                      </a:lnTo>
                      <a:lnTo>
                        <a:pt x="61092" y="13494"/>
                      </a:lnTo>
                      <a:lnTo>
                        <a:pt x="46323" y="3188"/>
                      </a:lnTo>
                      <a:lnTo>
                        <a:pt x="12962" y="10413"/>
                      </a:lnTo>
                      <a:lnTo>
                        <a:pt x="4569" y="7013"/>
                      </a:lnTo>
                      <a:lnTo>
                        <a:pt x="2444" y="3507"/>
                      </a:lnTo>
                      <a:lnTo>
                        <a:pt x="2019" y="1807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</p:sp>
            <p:sp>
              <p:nvSpPr>
                <p:cNvPr id="724" name="Google Shape;724;p34"/>
                <p:cNvSpPr/>
                <p:nvPr/>
              </p:nvSpPr>
              <p:spPr>
                <a:xfrm>
                  <a:off x="4624175" y="1521775"/>
                  <a:ext cx="58100" cy="737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24" h="2951" extrusionOk="0">
                      <a:moveTo>
                        <a:pt x="210" y="1"/>
                      </a:moveTo>
                      <a:lnTo>
                        <a:pt x="126" y="84"/>
                      </a:lnTo>
                      <a:lnTo>
                        <a:pt x="147" y="189"/>
                      </a:lnTo>
                      <a:lnTo>
                        <a:pt x="252" y="252"/>
                      </a:lnTo>
                      <a:lnTo>
                        <a:pt x="335" y="356"/>
                      </a:lnTo>
                      <a:lnTo>
                        <a:pt x="273" y="419"/>
                      </a:lnTo>
                      <a:lnTo>
                        <a:pt x="210" y="419"/>
                      </a:lnTo>
                      <a:lnTo>
                        <a:pt x="147" y="335"/>
                      </a:lnTo>
                      <a:lnTo>
                        <a:pt x="63" y="293"/>
                      </a:lnTo>
                      <a:lnTo>
                        <a:pt x="22" y="293"/>
                      </a:lnTo>
                      <a:lnTo>
                        <a:pt x="42" y="356"/>
                      </a:lnTo>
                      <a:lnTo>
                        <a:pt x="22" y="545"/>
                      </a:lnTo>
                      <a:lnTo>
                        <a:pt x="1" y="565"/>
                      </a:lnTo>
                      <a:lnTo>
                        <a:pt x="1" y="712"/>
                      </a:lnTo>
                      <a:lnTo>
                        <a:pt x="42" y="754"/>
                      </a:lnTo>
                      <a:lnTo>
                        <a:pt x="126" y="775"/>
                      </a:lnTo>
                      <a:lnTo>
                        <a:pt x="189" y="858"/>
                      </a:lnTo>
                      <a:lnTo>
                        <a:pt x="147" y="963"/>
                      </a:lnTo>
                      <a:lnTo>
                        <a:pt x="294" y="1256"/>
                      </a:lnTo>
                      <a:lnTo>
                        <a:pt x="356" y="1340"/>
                      </a:lnTo>
                      <a:lnTo>
                        <a:pt x="461" y="1340"/>
                      </a:lnTo>
                      <a:lnTo>
                        <a:pt x="398" y="1402"/>
                      </a:lnTo>
                      <a:lnTo>
                        <a:pt x="294" y="1444"/>
                      </a:lnTo>
                      <a:lnTo>
                        <a:pt x="231" y="1612"/>
                      </a:lnTo>
                      <a:lnTo>
                        <a:pt x="335" y="1821"/>
                      </a:lnTo>
                      <a:lnTo>
                        <a:pt x="398" y="1988"/>
                      </a:lnTo>
                      <a:lnTo>
                        <a:pt x="398" y="2114"/>
                      </a:lnTo>
                      <a:lnTo>
                        <a:pt x="440" y="2177"/>
                      </a:lnTo>
                      <a:lnTo>
                        <a:pt x="461" y="2281"/>
                      </a:lnTo>
                      <a:lnTo>
                        <a:pt x="419" y="2323"/>
                      </a:lnTo>
                      <a:lnTo>
                        <a:pt x="503" y="2511"/>
                      </a:lnTo>
                      <a:lnTo>
                        <a:pt x="545" y="2679"/>
                      </a:lnTo>
                      <a:lnTo>
                        <a:pt x="649" y="2762"/>
                      </a:lnTo>
                      <a:lnTo>
                        <a:pt x="649" y="2867"/>
                      </a:lnTo>
                      <a:lnTo>
                        <a:pt x="733" y="2951"/>
                      </a:lnTo>
                      <a:lnTo>
                        <a:pt x="879" y="2909"/>
                      </a:lnTo>
                      <a:lnTo>
                        <a:pt x="963" y="2742"/>
                      </a:lnTo>
                      <a:lnTo>
                        <a:pt x="1089" y="2553"/>
                      </a:lnTo>
                      <a:lnTo>
                        <a:pt x="1172" y="2511"/>
                      </a:lnTo>
                      <a:lnTo>
                        <a:pt x="1151" y="2428"/>
                      </a:lnTo>
                      <a:lnTo>
                        <a:pt x="1172" y="2323"/>
                      </a:lnTo>
                      <a:lnTo>
                        <a:pt x="1423" y="2135"/>
                      </a:lnTo>
                      <a:lnTo>
                        <a:pt x="1528" y="2114"/>
                      </a:lnTo>
                      <a:lnTo>
                        <a:pt x="1612" y="2177"/>
                      </a:lnTo>
                      <a:lnTo>
                        <a:pt x="1695" y="2177"/>
                      </a:lnTo>
                      <a:lnTo>
                        <a:pt x="1737" y="2072"/>
                      </a:lnTo>
                      <a:lnTo>
                        <a:pt x="1800" y="1988"/>
                      </a:lnTo>
                      <a:lnTo>
                        <a:pt x="1926" y="1926"/>
                      </a:lnTo>
                      <a:lnTo>
                        <a:pt x="2114" y="1779"/>
                      </a:lnTo>
                      <a:lnTo>
                        <a:pt x="2135" y="1674"/>
                      </a:lnTo>
                      <a:lnTo>
                        <a:pt x="2219" y="1612"/>
                      </a:lnTo>
                      <a:lnTo>
                        <a:pt x="2323" y="1382"/>
                      </a:lnTo>
                      <a:lnTo>
                        <a:pt x="2302" y="1256"/>
                      </a:lnTo>
                      <a:lnTo>
                        <a:pt x="2135" y="1068"/>
                      </a:lnTo>
                      <a:lnTo>
                        <a:pt x="2051" y="942"/>
                      </a:lnTo>
                      <a:lnTo>
                        <a:pt x="2051" y="837"/>
                      </a:lnTo>
                      <a:lnTo>
                        <a:pt x="1884" y="712"/>
                      </a:lnTo>
                      <a:lnTo>
                        <a:pt x="1779" y="712"/>
                      </a:lnTo>
                      <a:lnTo>
                        <a:pt x="1716" y="733"/>
                      </a:lnTo>
                      <a:lnTo>
                        <a:pt x="1633" y="670"/>
                      </a:lnTo>
                      <a:lnTo>
                        <a:pt x="1507" y="628"/>
                      </a:lnTo>
                      <a:lnTo>
                        <a:pt x="1382" y="503"/>
                      </a:lnTo>
                      <a:lnTo>
                        <a:pt x="1319" y="461"/>
                      </a:lnTo>
                      <a:lnTo>
                        <a:pt x="1298" y="524"/>
                      </a:lnTo>
                      <a:lnTo>
                        <a:pt x="1214" y="503"/>
                      </a:lnTo>
                      <a:lnTo>
                        <a:pt x="1193" y="419"/>
                      </a:lnTo>
                      <a:lnTo>
                        <a:pt x="1110" y="314"/>
                      </a:lnTo>
                      <a:lnTo>
                        <a:pt x="1047" y="314"/>
                      </a:lnTo>
                      <a:lnTo>
                        <a:pt x="1005" y="419"/>
                      </a:lnTo>
                      <a:lnTo>
                        <a:pt x="963" y="419"/>
                      </a:lnTo>
                      <a:lnTo>
                        <a:pt x="858" y="252"/>
                      </a:lnTo>
                      <a:lnTo>
                        <a:pt x="775" y="210"/>
                      </a:lnTo>
                      <a:lnTo>
                        <a:pt x="775" y="252"/>
                      </a:lnTo>
                      <a:lnTo>
                        <a:pt x="858" y="356"/>
                      </a:lnTo>
                      <a:lnTo>
                        <a:pt x="858" y="440"/>
                      </a:lnTo>
                      <a:lnTo>
                        <a:pt x="775" y="503"/>
                      </a:lnTo>
                      <a:lnTo>
                        <a:pt x="775" y="607"/>
                      </a:lnTo>
                      <a:lnTo>
                        <a:pt x="733" y="607"/>
                      </a:lnTo>
                      <a:lnTo>
                        <a:pt x="670" y="524"/>
                      </a:lnTo>
                      <a:lnTo>
                        <a:pt x="649" y="147"/>
                      </a:lnTo>
                      <a:lnTo>
                        <a:pt x="545" y="105"/>
                      </a:lnTo>
                      <a:lnTo>
                        <a:pt x="440" y="84"/>
                      </a:lnTo>
                      <a:lnTo>
                        <a:pt x="273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5" name="Google Shape;725;p34"/>
                <p:cNvSpPr/>
                <p:nvPr/>
              </p:nvSpPr>
              <p:spPr>
                <a:xfrm>
                  <a:off x="4499150" y="1462675"/>
                  <a:ext cx="117200" cy="104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8" h="4164" extrusionOk="0">
                      <a:moveTo>
                        <a:pt x="398" y="0"/>
                      </a:moveTo>
                      <a:lnTo>
                        <a:pt x="357" y="63"/>
                      </a:lnTo>
                      <a:lnTo>
                        <a:pt x="336" y="168"/>
                      </a:lnTo>
                      <a:lnTo>
                        <a:pt x="357" y="251"/>
                      </a:lnTo>
                      <a:lnTo>
                        <a:pt x="357" y="398"/>
                      </a:lnTo>
                      <a:lnTo>
                        <a:pt x="252" y="523"/>
                      </a:lnTo>
                      <a:lnTo>
                        <a:pt x="147" y="712"/>
                      </a:lnTo>
                      <a:lnTo>
                        <a:pt x="22" y="879"/>
                      </a:lnTo>
                      <a:lnTo>
                        <a:pt x="1" y="984"/>
                      </a:lnTo>
                      <a:lnTo>
                        <a:pt x="22" y="1423"/>
                      </a:lnTo>
                      <a:lnTo>
                        <a:pt x="105" y="1507"/>
                      </a:lnTo>
                      <a:lnTo>
                        <a:pt x="210" y="1549"/>
                      </a:lnTo>
                      <a:lnTo>
                        <a:pt x="231" y="1653"/>
                      </a:lnTo>
                      <a:lnTo>
                        <a:pt x="189" y="1967"/>
                      </a:lnTo>
                      <a:lnTo>
                        <a:pt x="126" y="2093"/>
                      </a:lnTo>
                      <a:lnTo>
                        <a:pt x="105" y="2197"/>
                      </a:lnTo>
                      <a:lnTo>
                        <a:pt x="126" y="2281"/>
                      </a:lnTo>
                      <a:lnTo>
                        <a:pt x="189" y="2260"/>
                      </a:lnTo>
                      <a:lnTo>
                        <a:pt x="273" y="2155"/>
                      </a:lnTo>
                      <a:lnTo>
                        <a:pt x="419" y="2093"/>
                      </a:lnTo>
                      <a:lnTo>
                        <a:pt x="482" y="2155"/>
                      </a:lnTo>
                      <a:lnTo>
                        <a:pt x="503" y="2260"/>
                      </a:lnTo>
                      <a:lnTo>
                        <a:pt x="650" y="2385"/>
                      </a:lnTo>
                      <a:lnTo>
                        <a:pt x="754" y="2385"/>
                      </a:lnTo>
                      <a:lnTo>
                        <a:pt x="817" y="2344"/>
                      </a:lnTo>
                      <a:lnTo>
                        <a:pt x="901" y="2365"/>
                      </a:lnTo>
                      <a:cubicBezTo>
                        <a:pt x="859" y="2448"/>
                        <a:pt x="859" y="2511"/>
                        <a:pt x="859" y="2595"/>
                      </a:cubicBezTo>
                      <a:lnTo>
                        <a:pt x="838" y="2595"/>
                      </a:lnTo>
                      <a:lnTo>
                        <a:pt x="733" y="2657"/>
                      </a:lnTo>
                      <a:lnTo>
                        <a:pt x="629" y="2595"/>
                      </a:lnTo>
                      <a:lnTo>
                        <a:pt x="545" y="2595"/>
                      </a:lnTo>
                      <a:lnTo>
                        <a:pt x="440" y="2678"/>
                      </a:lnTo>
                      <a:lnTo>
                        <a:pt x="315" y="2678"/>
                      </a:lnTo>
                      <a:lnTo>
                        <a:pt x="294" y="2699"/>
                      </a:lnTo>
                      <a:lnTo>
                        <a:pt x="336" y="2783"/>
                      </a:lnTo>
                      <a:lnTo>
                        <a:pt x="482" y="2804"/>
                      </a:lnTo>
                      <a:lnTo>
                        <a:pt x="524" y="2909"/>
                      </a:lnTo>
                      <a:lnTo>
                        <a:pt x="650" y="2971"/>
                      </a:lnTo>
                      <a:lnTo>
                        <a:pt x="733" y="3076"/>
                      </a:lnTo>
                      <a:lnTo>
                        <a:pt x="901" y="3118"/>
                      </a:lnTo>
                      <a:lnTo>
                        <a:pt x="1110" y="3118"/>
                      </a:lnTo>
                      <a:lnTo>
                        <a:pt x="1173" y="3139"/>
                      </a:lnTo>
                      <a:lnTo>
                        <a:pt x="1131" y="3181"/>
                      </a:lnTo>
                      <a:lnTo>
                        <a:pt x="963" y="3222"/>
                      </a:lnTo>
                      <a:lnTo>
                        <a:pt x="838" y="3222"/>
                      </a:lnTo>
                      <a:lnTo>
                        <a:pt x="838" y="3285"/>
                      </a:lnTo>
                      <a:lnTo>
                        <a:pt x="942" y="3327"/>
                      </a:lnTo>
                      <a:lnTo>
                        <a:pt x="1068" y="3327"/>
                      </a:lnTo>
                      <a:lnTo>
                        <a:pt x="1173" y="3243"/>
                      </a:lnTo>
                      <a:lnTo>
                        <a:pt x="1319" y="3139"/>
                      </a:lnTo>
                      <a:lnTo>
                        <a:pt x="1382" y="3097"/>
                      </a:lnTo>
                      <a:lnTo>
                        <a:pt x="1445" y="2929"/>
                      </a:lnTo>
                      <a:lnTo>
                        <a:pt x="1528" y="2762"/>
                      </a:lnTo>
                      <a:lnTo>
                        <a:pt x="1486" y="2678"/>
                      </a:lnTo>
                      <a:lnTo>
                        <a:pt x="1256" y="2532"/>
                      </a:lnTo>
                      <a:lnTo>
                        <a:pt x="1152" y="2511"/>
                      </a:lnTo>
                      <a:lnTo>
                        <a:pt x="1152" y="2385"/>
                      </a:lnTo>
                      <a:lnTo>
                        <a:pt x="1256" y="2406"/>
                      </a:lnTo>
                      <a:lnTo>
                        <a:pt x="1382" y="2385"/>
                      </a:lnTo>
                      <a:lnTo>
                        <a:pt x="1570" y="2281"/>
                      </a:lnTo>
                      <a:lnTo>
                        <a:pt x="1654" y="2176"/>
                      </a:lnTo>
                      <a:lnTo>
                        <a:pt x="1654" y="2072"/>
                      </a:lnTo>
                      <a:lnTo>
                        <a:pt x="1779" y="1946"/>
                      </a:lnTo>
                      <a:lnTo>
                        <a:pt x="1968" y="1800"/>
                      </a:lnTo>
                      <a:lnTo>
                        <a:pt x="2114" y="1967"/>
                      </a:lnTo>
                      <a:lnTo>
                        <a:pt x="2010" y="2009"/>
                      </a:lnTo>
                      <a:lnTo>
                        <a:pt x="1968" y="2093"/>
                      </a:lnTo>
                      <a:lnTo>
                        <a:pt x="1968" y="2176"/>
                      </a:lnTo>
                      <a:lnTo>
                        <a:pt x="1800" y="2197"/>
                      </a:lnTo>
                      <a:lnTo>
                        <a:pt x="1696" y="2281"/>
                      </a:lnTo>
                      <a:lnTo>
                        <a:pt x="1654" y="2469"/>
                      </a:lnTo>
                      <a:lnTo>
                        <a:pt x="1654" y="2574"/>
                      </a:lnTo>
                      <a:lnTo>
                        <a:pt x="1758" y="2637"/>
                      </a:lnTo>
                      <a:lnTo>
                        <a:pt x="1821" y="2637"/>
                      </a:lnTo>
                      <a:lnTo>
                        <a:pt x="1884" y="2720"/>
                      </a:lnTo>
                      <a:lnTo>
                        <a:pt x="1758" y="2867"/>
                      </a:lnTo>
                      <a:lnTo>
                        <a:pt x="1717" y="2971"/>
                      </a:lnTo>
                      <a:lnTo>
                        <a:pt x="1779" y="3139"/>
                      </a:lnTo>
                      <a:lnTo>
                        <a:pt x="1758" y="3222"/>
                      </a:lnTo>
                      <a:lnTo>
                        <a:pt x="1570" y="3327"/>
                      </a:lnTo>
                      <a:lnTo>
                        <a:pt x="1549" y="3390"/>
                      </a:lnTo>
                      <a:lnTo>
                        <a:pt x="1675" y="3453"/>
                      </a:lnTo>
                      <a:lnTo>
                        <a:pt x="1738" y="3515"/>
                      </a:lnTo>
                      <a:lnTo>
                        <a:pt x="1779" y="3494"/>
                      </a:lnTo>
                      <a:lnTo>
                        <a:pt x="1758" y="3411"/>
                      </a:lnTo>
                      <a:lnTo>
                        <a:pt x="1779" y="3348"/>
                      </a:lnTo>
                      <a:lnTo>
                        <a:pt x="1884" y="3411"/>
                      </a:lnTo>
                      <a:lnTo>
                        <a:pt x="1989" y="3494"/>
                      </a:lnTo>
                      <a:lnTo>
                        <a:pt x="2093" y="3432"/>
                      </a:lnTo>
                      <a:lnTo>
                        <a:pt x="2177" y="3432"/>
                      </a:lnTo>
                      <a:lnTo>
                        <a:pt x="2240" y="3536"/>
                      </a:lnTo>
                      <a:lnTo>
                        <a:pt x="2323" y="3746"/>
                      </a:lnTo>
                      <a:lnTo>
                        <a:pt x="2407" y="3829"/>
                      </a:lnTo>
                      <a:lnTo>
                        <a:pt x="2533" y="3850"/>
                      </a:lnTo>
                      <a:lnTo>
                        <a:pt x="2658" y="3934"/>
                      </a:lnTo>
                      <a:lnTo>
                        <a:pt x="2763" y="3955"/>
                      </a:lnTo>
                      <a:lnTo>
                        <a:pt x="2909" y="3871"/>
                      </a:lnTo>
                      <a:lnTo>
                        <a:pt x="3056" y="3829"/>
                      </a:lnTo>
                      <a:lnTo>
                        <a:pt x="3139" y="3871"/>
                      </a:lnTo>
                      <a:lnTo>
                        <a:pt x="3286" y="3955"/>
                      </a:lnTo>
                      <a:lnTo>
                        <a:pt x="3579" y="3976"/>
                      </a:lnTo>
                      <a:lnTo>
                        <a:pt x="3683" y="3955"/>
                      </a:lnTo>
                      <a:lnTo>
                        <a:pt x="3767" y="3976"/>
                      </a:lnTo>
                      <a:lnTo>
                        <a:pt x="3872" y="3976"/>
                      </a:lnTo>
                      <a:lnTo>
                        <a:pt x="3955" y="4059"/>
                      </a:lnTo>
                      <a:lnTo>
                        <a:pt x="4060" y="4164"/>
                      </a:lnTo>
                      <a:lnTo>
                        <a:pt x="4165" y="4164"/>
                      </a:lnTo>
                      <a:lnTo>
                        <a:pt x="4269" y="4080"/>
                      </a:lnTo>
                      <a:lnTo>
                        <a:pt x="4395" y="3955"/>
                      </a:lnTo>
                      <a:lnTo>
                        <a:pt x="4541" y="3913"/>
                      </a:lnTo>
                      <a:lnTo>
                        <a:pt x="4688" y="3725"/>
                      </a:lnTo>
                      <a:lnTo>
                        <a:pt x="4688" y="3620"/>
                      </a:lnTo>
                      <a:lnTo>
                        <a:pt x="4541" y="3453"/>
                      </a:lnTo>
                      <a:lnTo>
                        <a:pt x="4479" y="3432"/>
                      </a:lnTo>
                      <a:lnTo>
                        <a:pt x="4332" y="3285"/>
                      </a:lnTo>
                      <a:lnTo>
                        <a:pt x="4186" y="3243"/>
                      </a:lnTo>
                      <a:lnTo>
                        <a:pt x="4060" y="3181"/>
                      </a:lnTo>
                      <a:lnTo>
                        <a:pt x="4018" y="3034"/>
                      </a:lnTo>
                      <a:lnTo>
                        <a:pt x="4102" y="3034"/>
                      </a:lnTo>
                      <a:lnTo>
                        <a:pt x="4186" y="3097"/>
                      </a:lnTo>
                      <a:lnTo>
                        <a:pt x="4290" y="3097"/>
                      </a:lnTo>
                      <a:lnTo>
                        <a:pt x="4290" y="3013"/>
                      </a:lnTo>
                      <a:lnTo>
                        <a:pt x="4165" y="2825"/>
                      </a:lnTo>
                      <a:lnTo>
                        <a:pt x="3976" y="2657"/>
                      </a:lnTo>
                      <a:lnTo>
                        <a:pt x="3976" y="2490"/>
                      </a:lnTo>
                      <a:lnTo>
                        <a:pt x="3955" y="2344"/>
                      </a:lnTo>
                      <a:lnTo>
                        <a:pt x="3851" y="2281"/>
                      </a:lnTo>
                      <a:lnTo>
                        <a:pt x="3851" y="2155"/>
                      </a:lnTo>
                      <a:lnTo>
                        <a:pt x="3788" y="2093"/>
                      </a:lnTo>
                      <a:lnTo>
                        <a:pt x="3746" y="2093"/>
                      </a:lnTo>
                      <a:lnTo>
                        <a:pt x="3370" y="1821"/>
                      </a:lnTo>
                      <a:lnTo>
                        <a:pt x="3160" y="1779"/>
                      </a:lnTo>
                      <a:lnTo>
                        <a:pt x="2972" y="1821"/>
                      </a:lnTo>
                      <a:lnTo>
                        <a:pt x="2951" y="1883"/>
                      </a:lnTo>
                      <a:lnTo>
                        <a:pt x="2972" y="1967"/>
                      </a:lnTo>
                      <a:lnTo>
                        <a:pt x="3139" y="2155"/>
                      </a:lnTo>
                      <a:lnTo>
                        <a:pt x="3139" y="2239"/>
                      </a:lnTo>
                      <a:lnTo>
                        <a:pt x="3077" y="2344"/>
                      </a:lnTo>
                      <a:lnTo>
                        <a:pt x="3077" y="2448"/>
                      </a:lnTo>
                      <a:lnTo>
                        <a:pt x="3056" y="2574"/>
                      </a:lnTo>
                      <a:lnTo>
                        <a:pt x="2972" y="2720"/>
                      </a:lnTo>
                      <a:lnTo>
                        <a:pt x="2930" y="2783"/>
                      </a:lnTo>
                      <a:lnTo>
                        <a:pt x="2909" y="2699"/>
                      </a:lnTo>
                      <a:lnTo>
                        <a:pt x="2951" y="2595"/>
                      </a:lnTo>
                      <a:lnTo>
                        <a:pt x="2972" y="2490"/>
                      </a:lnTo>
                      <a:lnTo>
                        <a:pt x="2930" y="2448"/>
                      </a:lnTo>
                      <a:lnTo>
                        <a:pt x="2972" y="2260"/>
                      </a:lnTo>
                      <a:lnTo>
                        <a:pt x="2930" y="2155"/>
                      </a:lnTo>
                      <a:lnTo>
                        <a:pt x="2742" y="1883"/>
                      </a:lnTo>
                      <a:lnTo>
                        <a:pt x="2595" y="1779"/>
                      </a:lnTo>
                      <a:lnTo>
                        <a:pt x="2386" y="1758"/>
                      </a:lnTo>
                      <a:lnTo>
                        <a:pt x="2323" y="1779"/>
                      </a:lnTo>
                      <a:lnTo>
                        <a:pt x="2282" y="1925"/>
                      </a:lnTo>
                      <a:lnTo>
                        <a:pt x="2240" y="1946"/>
                      </a:lnTo>
                      <a:cubicBezTo>
                        <a:pt x="2198" y="1883"/>
                        <a:pt x="2114" y="1841"/>
                        <a:pt x="2072" y="1821"/>
                      </a:cubicBezTo>
                      <a:lnTo>
                        <a:pt x="2114" y="1779"/>
                      </a:lnTo>
                      <a:lnTo>
                        <a:pt x="2177" y="1674"/>
                      </a:lnTo>
                      <a:lnTo>
                        <a:pt x="2177" y="1549"/>
                      </a:lnTo>
                      <a:lnTo>
                        <a:pt x="1989" y="1444"/>
                      </a:lnTo>
                      <a:lnTo>
                        <a:pt x="1800" y="1297"/>
                      </a:lnTo>
                      <a:lnTo>
                        <a:pt x="1696" y="1109"/>
                      </a:lnTo>
                      <a:lnTo>
                        <a:pt x="1696" y="984"/>
                      </a:lnTo>
                      <a:lnTo>
                        <a:pt x="1758" y="837"/>
                      </a:lnTo>
                      <a:lnTo>
                        <a:pt x="1758" y="733"/>
                      </a:lnTo>
                      <a:lnTo>
                        <a:pt x="1696" y="712"/>
                      </a:lnTo>
                      <a:lnTo>
                        <a:pt x="1403" y="712"/>
                      </a:lnTo>
                      <a:lnTo>
                        <a:pt x="1194" y="628"/>
                      </a:lnTo>
                      <a:lnTo>
                        <a:pt x="1047" y="523"/>
                      </a:lnTo>
                      <a:lnTo>
                        <a:pt x="817" y="251"/>
                      </a:lnTo>
                      <a:lnTo>
                        <a:pt x="650" y="105"/>
                      </a:lnTo>
                      <a:lnTo>
                        <a:pt x="461" y="0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6" name="Google Shape;726;p34"/>
                <p:cNvSpPr/>
                <p:nvPr/>
              </p:nvSpPr>
              <p:spPr>
                <a:xfrm>
                  <a:off x="4241800" y="1706950"/>
                  <a:ext cx="130800" cy="246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232" h="9856" extrusionOk="0">
                      <a:moveTo>
                        <a:pt x="4750" y="1"/>
                      </a:moveTo>
                      <a:lnTo>
                        <a:pt x="4625" y="63"/>
                      </a:lnTo>
                      <a:lnTo>
                        <a:pt x="4604" y="126"/>
                      </a:lnTo>
                      <a:lnTo>
                        <a:pt x="4520" y="105"/>
                      </a:lnTo>
                      <a:lnTo>
                        <a:pt x="4436" y="42"/>
                      </a:lnTo>
                      <a:lnTo>
                        <a:pt x="4332" y="63"/>
                      </a:lnTo>
                      <a:lnTo>
                        <a:pt x="4206" y="168"/>
                      </a:lnTo>
                      <a:lnTo>
                        <a:pt x="4185" y="273"/>
                      </a:lnTo>
                      <a:lnTo>
                        <a:pt x="4101" y="335"/>
                      </a:lnTo>
                      <a:lnTo>
                        <a:pt x="4018" y="356"/>
                      </a:lnTo>
                      <a:lnTo>
                        <a:pt x="3934" y="440"/>
                      </a:lnTo>
                      <a:lnTo>
                        <a:pt x="3934" y="524"/>
                      </a:lnTo>
                      <a:lnTo>
                        <a:pt x="3871" y="628"/>
                      </a:lnTo>
                      <a:lnTo>
                        <a:pt x="3871" y="670"/>
                      </a:lnTo>
                      <a:lnTo>
                        <a:pt x="3934" y="775"/>
                      </a:lnTo>
                      <a:lnTo>
                        <a:pt x="3934" y="858"/>
                      </a:lnTo>
                      <a:lnTo>
                        <a:pt x="3829" y="858"/>
                      </a:lnTo>
                      <a:lnTo>
                        <a:pt x="3788" y="900"/>
                      </a:lnTo>
                      <a:lnTo>
                        <a:pt x="3788" y="984"/>
                      </a:lnTo>
                      <a:lnTo>
                        <a:pt x="3725" y="1047"/>
                      </a:lnTo>
                      <a:lnTo>
                        <a:pt x="3662" y="1109"/>
                      </a:lnTo>
                      <a:lnTo>
                        <a:pt x="3453" y="1256"/>
                      </a:lnTo>
                      <a:lnTo>
                        <a:pt x="3369" y="1298"/>
                      </a:lnTo>
                      <a:lnTo>
                        <a:pt x="3306" y="1277"/>
                      </a:lnTo>
                      <a:lnTo>
                        <a:pt x="3202" y="1277"/>
                      </a:lnTo>
                      <a:lnTo>
                        <a:pt x="3139" y="1319"/>
                      </a:lnTo>
                      <a:lnTo>
                        <a:pt x="3034" y="1486"/>
                      </a:lnTo>
                      <a:lnTo>
                        <a:pt x="2951" y="1528"/>
                      </a:lnTo>
                      <a:lnTo>
                        <a:pt x="2888" y="1507"/>
                      </a:lnTo>
                      <a:lnTo>
                        <a:pt x="2867" y="1423"/>
                      </a:lnTo>
                      <a:lnTo>
                        <a:pt x="2825" y="1423"/>
                      </a:lnTo>
                      <a:lnTo>
                        <a:pt x="2783" y="1507"/>
                      </a:lnTo>
                      <a:lnTo>
                        <a:pt x="2825" y="1633"/>
                      </a:lnTo>
                      <a:lnTo>
                        <a:pt x="2783" y="1695"/>
                      </a:lnTo>
                      <a:lnTo>
                        <a:pt x="2762" y="1591"/>
                      </a:lnTo>
                      <a:lnTo>
                        <a:pt x="2721" y="1486"/>
                      </a:lnTo>
                      <a:lnTo>
                        <a:pt x="2532" y="1507"/>
                      </a:lnTo>
                      <a:lnTo>
                        <a:pt x="2323" y="1570"/>
                      </a:lnTo>
                      <a:lnTo>
                        <a:pt x="2260" y="1612"/>
                      </a:lnTo>
                      <a:lnTo>
                        <a:pt x="2197" y="1633"/>
                      </a:lnTo>
                      <a:lnTo>
                        <a:pt x="2156" y="1695"/>
                      </a:lnTo>
                      <a:lnTo>
                        <a:pt x="2218" y="1842"/>
                      </a:lnTo>
                      <a:lnTo>
                        <a:pt x="2260" y="1905"/>
                      </a:lnTo>
                      <a:lnTo>
                        <a:pt x="2260" y="1946"/>
                      </a:lnTo>
                      <a:lnTo>
                        <a:pt x="2218" y="1988"/>
                      </a:lnTo>
                      <a:lnTo>
                        <a:pt x="2135" y="2093"/>
                      </a:lnTo>
                      <a:lnTo>
                        <a:pt x="2093" y="2051"/>
                      </a:lnTo>
                      <a:lnTo>
                        <a:pt x="2093" y="2009"/>
                      </a:lnTo>
                      <a:lnTo>
                        <a:pt x="2135" y="1946"/>
                      </a:lnTo>
                      <a:lnTo>
                        <a:pt x="2135" y="1884"/>
                      </a:lnTo>
                      <a:lnTo>
                        <a:pt x="2051" y="1884"/>
                      </a:lnTo>
                      <a:lnTo>
                        <a:pt x="1946" y="2009"/>
                      </a:lnTo>
                      <a:lnTo>
                        <a:pt x="1884" y="2051"/>
                      </a:lnTo>
                      <a:lnTo>
                        <a:pt x="1884" y="2135"/>
                      </a:lnTo>
                      <a:lnTo>
                        <a:pt x="1946" y="2156"/>
                      </a:lnTo>
                      <a:lnTo>
                        <a:pt x="1905" y="2218"/>
                      </a:lnTo>
                      <a:lnTo>
                        <a:pt x="1842" y="2323"/>
                      </a:lnTo>
                      <a:lnTo>
                        <a:pt x="1716" y="2323"/>
                      </a:lnTo>
                      <a:lnTo>
                        <a:pt x="1632" y="2365"/>
                      </a:lnTo>
                      <a:lnTo>
                        <a:pt x="1612" y="2449"/>
                      </a:lnTo>
                      <a:lnTo>
                        <a:pt x="1507" y="2470"/>
                      </a:lnTo>
                      <a:lnTo>
                        <a:pt x="1465" y="2553"/>
                      </a:lnTo>
                      <a:lnTo>
                        <a:pt x="1423" y="2721"/>
                      </a:lnTo>
                      <a:lnTo>
                        <a:pt x="1465" y="2742"/>
                      </a:lnTo>
                      <a:lnTo>
                        <a:pt x="1528" y="2742"/>
                      </a:lnTo>
                      <a:lnTo>
                        <a:pt x="1465" y="2825"/>
                      </a:lnTo>
                      <a:lnTo>
                        <a:pt x="1277" y="2825"/>
                      </a:lnTo>
                      <a:lnTo>
                        <a:pt x="1214" y="2867"/>
                      </a:lnTo>
                      <a:lnTo>
                        <a:pt x="1193" y="3034"/>
                      </a:lnTo>
                      <a:lnTo>
                        <a:pt x="1214" y="3097"/>
                      </a:lnTo>
                      <a:lnTo>
                        <a:pt x="1277" y="3097"/>
                      </a:lnTo>
                      <a:lnTo>
                        <a:pt x="1360" y="3076"/>
                      </a:lnTo>
                      <a:lnTo>
                        <a:pt x="1381" y="3139"/>
                      </a:lnTo>
                      <a:lnTo>
                        <a:pt x="1360" y="3181"/>
                      </a:lnTo>
                      <a:lnTo>
                        <a:pt x="1360" y="3286"/>
                      </a:lnTo>
                      <a:lnTo>
                        <a:pt x="1277" y="3348"/>
                      </a:lnTo>
                      <a:lnTo>
                        <a:pt x="1193" y="3306"/>
                      </a:lnTo>
                      <a:lnTo>
                        <a:pt x="1068" y="3286"/>
                      </a:lnTo>
                      <a:lnTo>
                        <a:pt x="942" y="3348"/>
                      </a:lnTo>
                      <a:lnTo>
                        <a:pt x="900" y="3411"/>
                      </a:lnTo>
                      <a:lnTo>
                        <a:pt x="900" y="3495"/>
                      </a:lnTo>
                      <a:lnTo>
                        <a:pt x="858" y="3599"/>
                      </a:lnTo>
                      <a:lnTo>
                        <a:pt x="754" y="3683"/>
                      </a:lnTo>
                      <a:lnTo>
                        <a:pt x="670" y="3620"/>
                      </a:lnTo>
                      <a:lnTo>
                        <a:pt x="628" y="3558"/>
                      </a:lnTo>
                      <a:lnTo>
                        <a:pt x="586" y="3474"/>
                      </a:lnTo>
                      <a:lnTo>
                        <a:pt x="544" y="3495"/>
                      </a:lnTo>
                      <a:lnTo>
                        <a:pt x="524" y="3662"/>
                      </a:lnTo>
                      <a:lnTo>
                        <a:pt x="544" y="3788"/>
                      </a:lnTo>
                      <a:lnTo>
                        <a:pt x="649" y="3871"/>
                      </a:lnTo>
                      <a:lnTo>
                        <a:pt x="733" y="3830"/>
                      </a:lnTo>
                      <a:lnTo>
                        <a:pt x="754" y="3871"/>
                      </a:lnTo>
                      <a:lnTo>
                        <a:pt x="754" y="3934"/>
                      </a:lnTo>
                      <a:lnTo>
                        <a:pt x="691" y="4081"/>
                      </a:lnTo>
                      <a:lnTo>
                        <a:pt x="733" y="4122"/>
                      </a:lnTo>
                      <a:lnTo>
                        <a:pt x="796" y="4143"/>
                      </a:lnTo>
                      <a:lnTo>
                        <a:pt x="858" y="4081"/>
                      </a:lnTo>
                      <a:lnTo>
                        <a:pt x="900" y="4081"/>
                      </a:lnTo>
                      <a:lnTo>
                        <a:pt x="963" y="4102"/>
                      </a:lnTo>
                      <a:lnTo>
                        <a:pt x="1068" y="4102"/>
                      </a:lnTo>
                      <a:lnTo>
                        <a:pt x="1151" y="4039"/>
                      </a:lnTo>
                      <a:lnTo>
                        <a:pt x="1172" y="4081"/>
                      </a:lnTo>
                      <a:lnTo>
                        <a:pt x="1109" y="4143"/>
                      </a:lnTo>
                      <a:lnTo>
                        <a:pt x="1047" y="4185"/>
                      </a:lnTo>
                      <a:lnTo>
                        <a:pt x="900" y="4185"/>
                      </a:lnTo>
                      <a:lnTo>
                        <a:pt x="858" y="4248"/>
                      </a:lnTo>
                      <a:lnTo>
                        <a:pt x="775" y="4227"/>
                      </a:lnTo>
                      <a:lnTo>
                        <a:pt x="733" y="4311"/>
                      </a:lnTo>
                      <a:lnTo>
                        <a:pt x="754" y="4436"/>
                      </a:lnTo>
                      <a:lnTo>
                        <a:pt x="837" y="4499"/>
                      </a:lnTo>
                      <a:lnTo>
                        <a:pt x="900" y="4520"/>
                      </a:lnTo>
                      <a:lnTo>
                        <a:pt x="984" y="4499"/>
                      </a:lnTo>
                      <a:lnTo>
                        <a:pt x="1005" y="4520"/>
                      </a:lnTo>
                      <a:lnTo>
                        <a:pt x="984" y="4562"/>
                      </a:lnTo>
                      <a:lnTo>
                        <a:pt x="858" y="4625"/>
                      </a:lnTo>
                      <a:lnTo>
                        <a:pt x="733" y="4625"/>
                      </a:lnTo>
                      <a:lnTo>
                        <a:pt x="649" y="4666"/>
                      </a:lnTo>
                      <a:lnTo>
                        <a:pt x="649" y="4729"/>
                      </a:lnTo>
                      <a:lnTo>
                        <a:pt x="691" y="4771"/>
                      </a:lnTo>
                      <a:lnTo>
                        <a:pt x="796" y="4750"/>
                      </a:lnTo>
                      <a:lnTo>
                        <a:pt x="900" y="4750"/>
                      </a:lnTo>
                      <a:lnTo>
                        <a:pt x="900" y="4813"/>
                      </a:lnTo>
                      <a:lnTo>
                        <a:pt x="837" y="4834"/>
                      </a:lnTo>
                      <a:lnTo>
                        <a:pt x="733" y="4855"/>
                      </a:lnTo>
                      <a:lnTo>
                        <a:pt x="733" y="4897"/>
                      </a:lnTo>
                      <a:lnTo>
                        <a:pt x="754" y="4938"/>
                      </a:lnTo>
                      <a:lnTo>
                        <a:pt x="879" y="4959"/>
                      </a:lnTo>
                      <a:lnTo>
                        <a:pt x="984" y="5043"/>
                      </a:lnTo>
                      <a:lnTo>
                        <a:pt x="984" y="5085"/>
                      </a:lnTo>
                      <a:lnTo>
                        <a:pt x="858" y="5085"/>
                      </a:lnTo>
                      <a:lnTo>
                        <a:pt x="754" y="5043"/>
                      </a:lnTo>
                      <a:lnTo>
                        <a:pt x="649" y="5043"/>
                      </a:lnTo>
                      <a:lnTo>
                        <a:pt x="565" y="5085"/>
                      </a:lnTo>
                      <a:lnTo>
                        <a:pt x="544" y="5169"/>
                      </a:lnTo>
                      <a:lnTo>
                        <a:pt x="482" y="5210"/>
                      </a:lnTo>
                      <a:lnTo>
                        <a:pt x="482" y="5273"/>
                      </a:lnTo>
                      <a:lnTo>
                        <a:pt x="544" y="5315"/>
                      </a:lnTo>
                      <a:lnTo>
                        <a:pt x="524" y="5378"/>
                      </a:lnTo>
                      <a:lnTo>
                        <a:pt x="461" y="5399"/>
                      </a:lnTo>
                      <a:lnTo>
                        <a:pt x="419" y="5399"/>
                      </a:lnTo>
                      <a:lnTo>
                        <a:pt x="335" y="5483"/>
                      </a:lnTo>
                      <a:lnTo>
                        <a:pt x="314" y="5566"/>
                      </a:lnTo>
                      <a:lnTo>
                        <a:pt x="335" y="5608"/>
                      </a:lnTo>
                      <a:lnTo>
                        <a:pt x="314" y="5671"/>
                      </a:lnTo>
                      <a:lnTo>
                        <a:pt x="210" y="5692"/>
                      </a:lnTo>
                      <a:lnTo>
                        <a:pt x="210" y="5713"/>
                      </a:lnTo>
                      <a:lnTo>
                        <a:pt x="335" y="5838"/>
                      </a:lnTo>
                      <a:lnTo>
                        <a:pt x="440" y="5901"/>
                      </a:lnTo>
                      <a:lnTo>
                        <a:pt x="482" y="5880"/>
                      </a:lnTo>
                      <a:lnTo>
                        <a:pt x="524" y="5796"/>
                      </a:lnTo>
                      <a:lnTo>
                        <a:pt x="586" y="5734"/>
                      </a:lnTo>
                      <a:lnTo>
                        <a:pt x="754" y="5629"/>
                      </a:lnTo>
                      <a:lnTo>
                        <a:pt x="858" y="5587"/>
                      </a:lnTo>
                      <a:lnTo>
                        <a:pt x="858" y="5629"/>
                      </a:lnTo>
                      <a:lnTo>
                        <a:pt x="837" y="5629"/>
                      </a:lnTo>
                      <a:lnTo>
                        <a:pt x="796" y="5713"/>
                      </a:lnTo>
                      <a:lnTo>
                        <a:pt x="649" y="5817"/>
                      </a:lnTo>
                      <a:lnTo>
                        <a:pt x="586" y="5922"/>
                      </a:lnTo>
                      <a:lnTo>
                        <a:pt x="565" y="6027"/>
                      </a:lnTo>
                      <a:lnTo>
                        <a:pt x="586" y="6131"/>
                      </a:lnTo>
                      <a:lnTo>
                        <a:pt x="565" y="6194"/>
                      </a:lnTo>
                      <a:lnTo>
                        <a:pt x="565" y="6236"/>
                      </a:lnTo>
                      <a:lnTo>
                        <a:pt x="754" y="6236"/>
                      </a:lnTo>
                      <a:lnTo>
                        <a:pt x="837" y="6194"/>
                      </a:lnTo>
                      <a:lnTo>
                        <a:pt x="837" y="6257"/>
                      </a:lnTo>
                      <a:lnTo>
                        <a:pt x="775" y="6299"/>
                      </a:lnTo>
                      <a:lnTo>
                        <a:pt x="586" y="6299"/>
                      </a:lnTo>
                      <a:lnTo>
                        <a:pt x="524" y="6340"/>
                      </a:lnTo>
                      <a:lnTo>
                        <a:pt x="356" y="6445"/>
                      </a:lnTo>
                      <a:lnTo>
                        <a:pt x="356" y="6571"/>
                      </a:lnTo>
                      <a:lnTo>
                        <a:pt x="335" y="6654"/>
                      </a:lnTo>
                      <a:lnTo>
                        <a:pt x="356" y="6759"/>
                      </a:lnTo>
                      <a:lnTo>
                        <a:pt x="461" y="6759"/>
                      </a:lnTo>
                      <a:lnTo>
                        <a:pt x="524" y="6822"/>
                      </a:lnTo>
                      <a:lnTo>
                        <a:pt x="482" y="6863"/>
                      </a:lnTo>
                      <a:lnTo>
                        <a:pt x="377" y="6863"/>
                      </a:lnTo>
                      <a:lnTo>
                        <a:pt x="252" y="6884"/>
                      </a:lnTo>
                      <a:lnTo>
                        <a:pt x="147" y="7052"/>
                      </a:lnTo>
                      <a:lnTo>
                        <a:pt x="147" y="7177"/>
                      </a:lnTo>
                      <a:lnTo>
                        <a:pt x="210" y="7240"/>
                      </a:lnTo>
                      <a:lnTo>
                        <a:pt x="272" y="7198"/>
                      </a:lnTo>
                      <a:lnTo>
                        <a:pt x="440" y="7135"/>
                      </a:lnTo>
                      <a:lnTo>
                        <a:pt x="461" y="7177"/>
                      </a:lnTo>
                      <a:lnTo>
                        <a:pt x="356" y="7261"/>
                      </a:lnTo>
                      <a:lnTo>
                        <a:pt x="335" y="7366"/>
                      </a:lnTo>
                      <a:lnTo>
                        <a:pt x="377" y="7366"/>
                      </a:lnTo>
                      <a:lnTo>
                        <a:pt x="461" y="7282"/>
                      </a:lnTo>
                      <a:lnTo>
                        <a:pt x="544" y="7261"/>
                      </a:lnTo>
                      <a:lnTo>
                        <a:pt x="565" y="7303"/>
                      </a:lnTo>
                      <a:lnTo>
                        <a:pt x="482" y="7387"/>
                      </a:lnTo>
                      <a:lnTo>
                        <a:pt x="461" y="7470"/>
                      </a:lnTo>
                      <a:lnTo>
                        <a:pt x="544" y="7554"/>
                      </a:lnTo>
                      <a:lnTo>
                        <a:pt x="649" y="7554"/>
                      </a:lnTo>
                      <a:lnTo>
                        <a:pt x="565" y="7575"/>
                      </a:lnTo>
                      <a:lnTo>
                        <a:pt x="482" y="7575"/>
                      </a:lnTo>
                      <a:lnTo>
                        <a:pt x="419" y="7659"/>
                      </a:lnTo>
                      <a:lnTo>
                        <a:pt x="419" y="7721"/>
                      </a:lnTo>
                      <a:lnTo>
                        <a:pt x="461" y="7826"/>
                      </a:lnTo>
                      <a:lnTo>
                        <a:pt x="419" y="7889"/>
                      </a:lnTo>
                      <a:lnTo>
                        <a:pt x="356" y="7868"/>
                      </a:lnTo>
                      <a:lnTo>
                        <a:pt x="252" y="7889"/>
                      </a:lnTo>
                      <a:lnTo>
                        <a:pt x="168" y="7826"/>
                      </a:lnTo>
                      <a:lnTo>
                        <a:pt x="105" y="7826"/>
                      </a:lnTo>
                      <a:lnTo>
                        <a:pt x="0" y="7972"/>
                      </a:lnTo>
                      <a:lnTo>
                        <a:pt x="0" y="8077"/>
                      </a:lnTo>
                      <a:lnTo>
                        <a:pt x="168" y="8265"/>
                      </a:lnTo>
                      <a:lnTo>
                        <a:pt x="147" y="8391"/>
                      </a:lnTo>
                      <a:lnTo>
                        <a:pt x="168" y="8496"/>
                      </a:lnTo>
                      <a:lnTo>
                        <a:pt x="335" y="8621"/>
                      </a:lnTo>
                      <a:lnTo>
                        <a:pt x="335" y="8705"/>
                      </a:lnTo>
                      <a:lnTo>
                        <a:pt x="482" y="8830"/>
                      </a:lnTo>
                      <a:lnTo>
                        <a:pt x="586" y="8872"/>
                      </a:lnTo>
                      <a:lnTo>
                        <a:pt x="649" y="8851"/>
                      </a:lnTo>
                      <a:lnTo>
                        <a:pt x="733" y="8830"/>
                      </a:lnTo>
                      <a:lnTo>
                        <a:pt x="837" y="8663"/>
                      </a:lnTo>
                      <a:lnTo>
                        <a:pt x="796" y="8516"/>
                      </a:lnTo>
                      <a:lnTo>
                        <a:pt x="837" y="8412"/>
                      </a:lnTo>
                      <a:lnTo>
                        <a:pt x="900" y="8307"/>
                      </a:lnTo>
                      <a:lnTo>
                        <a:pt x="858" y="8433"/>
                      </a:lnTo>
                      <a:lnTo>
                        <a:pt x="858" y="8516"/>
                      </a:lnTo>
                      <a:lnTo>
                        <a:pt x="900" y="8600"/>
                      </a:lnTo>
                      <a:lnTo>
                        <a:pt x="963" y="8747"/>
                      </a:lnTo>
                      <a:lnTo>
                        <a:pt x="1047" y="8788"/>
                      </a:lnTo>
                      <a:lnTo>
                        <a:pt x="1109" y="8726"/>
                      </a:lnTo>
                      <a:lnTo>
                        <a:pt x="1109" y="8642"/>
                      </a:lnTo>
                      <a:lnTo>
                        <a:pt x="1172" y="8537"/>
                      </a:lnTo>
                      <a:lnTo>
                        <a:pt x="1193" y="8600"/>
                      </a:lnTo>
                      <a:lnTo>
                        <a:pt x="1172" y="8642"/>
                      </a:lnTo>
                      <a:lnTo>
                        <a:pt x="1172" y="8747"/>
                      </a:lnTo>
                      <a:lnTo>
                        <a:pt x="1277" y="8935"/>
                      </a:lnTo>
                      <a:lnTo>
                        <a:pt x="1402" y="9019"/>
                      </a:lnTo>
                      <a:lnTo>
                        <a:pt x="1507" y="9019"/>
                      </a:lnTo>
                      <a:lnTo>
                        <a:pt x="1591" y="8956"/>
                      </a:lnTo>
                      <a:lnTo>
                        <a:pt x="1632" y="8998"/>
                      </a:lnTo>
                      <a:lnTo>
                        <a:pt x="1612" y="9040"/>
                      </a:lnTo>
                      <a:lnTo>
                        <a:pt x="1570" y="9040"/>
                      </a:lnTo>
                      <a:lnTo>
                        <a:pt x="1528" y="9123"/>
                      </a:lnTo>
                      <a:lnTo>
                        <a:pt x="1444" y="9165"/>
                      </a:lnTo>
                      <a:lnTo>
                        <a:pt x="1423" y="9249"/>
                      </a:lnTo>
                      <a:lnTo>
                        <a:pt x="1528" y="9332"/>
                      </a:lnTo>
                      <a:lnTo>
                        <a:pt x="1528" y="9416"/>
                      </a:lnTo>
                      <a:lnTo>
                        <a:pt x="1444" y="9416"/>
                      </a:lnTo>
                      <a:lnTo>
                        <a:pt x="1381" y="9374"/>
                      </a:lnTo>
                      <a:lnTo>
                        <a:pt x="1381" y="9458"/>
                      </a:lnTo>
                      <a:lnTo>
                        <a:pt x="1423" y="9521"/>
                      </a:lnTo>
                      <a:lnTo>
                        <a:pt x="1612" y="9542"/>
                      </a:lnTo>
                      <a:lnTo>
                        <a:pt x="1716" y="9584"/>
                      </a:lnTo>
                      <a:lnTo>
                        <a:pt x="1821" y="9563"/>
                      </a:lnTo>
                      <a:lnTo>
                        <a:pt x="1967" y="9604"/>
                      </a:lnTo>
                      <a:lnTo>
                        <a:pt x="1967" y="9521"/>
                      </a:lnTo>
                      <a:lnTo>
                        <a:pt x="2051" y="9542"/>
                      </a:lnTo>
                      <a:lnTo>
                        <a:pt x="2072" y="9625"/>
                      </a:lnTo>
                      <a:lnTo>
                        <a:pt x="2135" y="9772"/>
                      </a:lnTo>
                      <a:lnTo>
                        <a:pt x="2218" y="9856"/>
                      </a:lnTo>
                      <a:lnTo>
                        <a:pt x="2281" y="9856"/>
                      </a:lnTo>
                      <a:lnTo>
                        <a:pt x="2365" y="9751"/>
                      </a:lnTo>
                      <a:lnTo>
                        <a:pt x="2344" y="9625"/>
                      </a:lnTo>
                      <a:lnTo>
                        <a:pt x="2177" y="9542"/>
                      </a:lnTo>
                      <a:lnTo>
                        <a:pt x="2135" y="9521"/>
                      </a:lnTo>
                      <a:lnTo>
                        <a:pt x="2177" y="9479"/>
                      </a:lnTo>
                      <a:lnTo>
                        <a:pt x="2260" y="9521"/>
                      </a:lnTo>
                      <a:lnTo>
                        <a:pt x="2365" y="9584"/>
                      </a:lnTo>
                      <a:lnTo>
                        <a:pt x="2428" y="9667"/>
                      </a:lnTo>
                      <a:lnTo>
                        <a:pt x="2469" y="9772"/>
                      </a:lnTo>
                      <a:lnTo>
                        <a:pt x="2532" y="9772"/>
                      </a:lnTo>
                      <a:lnTo>
                        <a:pt x="2553" y="9667"/>
                      </a:lnTo>
                      <a:lnTo>
                        <a:pt x="2595" y="9646"/>
                      </a:lnTo>
                      <a:lnTo>
                        <a:pt x="2679" y="9751"/>
                      </a:lnTo>
                      <a:lnTo>
                        <a:pt x="2804" y="9793"/>
                      </a:lnTo>
                      <a:lnTo>
                        <a:pt x="2888" y="9793"/>
                      </a:lnTo>
                      <a:lnTo>
                        <a:pt x="2888" y="9730"/>
                      </a:lnTo>
                      <a:lnTo>
                        <a:pt x="2783" y="9646"/>
                      </a:lnTo>
                      <a:lnTo>
                        <a:pt x="2783" y="9584"/>
                      </a:lnTo>
                      <a:lnTo>
                        <a:pt x="2846" y="9563"/>
                      </a:lnTo>
                      <a:lnTo>
                        <a:pt x="2951" y="9604"/>
                      </a:lnTo>
                      <a:lnTo>
                        <a:pt x="2993" y="9667"/>
                      </a:lnTo>
                      <a:lnTo>
                        <a:pt x="3013" y="9667"/>
                      </a:lnTo>
                      <a:lnTo>
                        <a:pt x="3055" y="9772"/>
                      </a:lnTo>
                      <a:lnTo>
                        <a:pt x="3118" y="9814"/>
                      </a:lnTo>
                      <a:lnTo>
                        <a:pt x="3181" y="9793"/>
                      </a:lnTo>
                      <a:lnTo>
                        <a:pt x="3202" y="9688"/>
                      </a:lnTo>
                      <a:lnTo>
                        <a:pt x="3160" y="9604"/>
                      </a:lnTo>
                      <a:lnTo>
                        <a:pt x="3076" y="9604"/>
                      </a:lnTo>
                      <a:lnTo>
                        <a:pt x="3013" y="9563"/>
                      </a:lnTo>
                      <a:lnTo>
                        <a:pt x="3055" y="9500"/>
                      </a:lnTo>
                      <a:lnTo>
                        <a:pt x="3097" y="9542"/>
                      </a:lnTo>
                      <a:lnTo>
                        <a:pt x="3160" y="9542"/>
                      </a:lnTo>
                      <a:lnTo>
                        <a:pt x="3223" y="9437"/>
                      </a:lnTo>
                      <a:lnTo>
                        <a:pt x="3265" y="9353"/>
                      </a:lnTo>
                      <a:lnTo>
                        <a:pt x="3265" y="9312"/>
                      </a:lnTo>
                      <a:lnTo>
                        <a:pt x="3118" y="9207"/>
                      </a:lnTo>
                      <a:lnTo>
                        <a:pt x="3055" y="9228"/>
                      </a:lnTo>
                      <a:lnTo>
                        <a:pt x="2951" y="9207"/>
                      </a:lnTo>
                      <a:lnTo>
                        <a:pt x="2867" y="9040"/>
                      </a:lnTo>
                      <a:lnTo>
                        <a:pt x="2762" y="9040"/>
                      </a:lnTo>
                      <a:lnTo>
                        <a:pt x="2574" y="8872"/>
                      </a:lnTo>
                      <a:lnTo>
                        <a:pt x="2490" y="8788"/>
                      </a:lnTo>
                      <a:lnTo>
                        <a:pt x="2365" y="8788"/>
                      </a:lnTo>
                      <a:lnTo>
                        <a:pt x="2239" y="8516"/>
                      </a:lnTo>
                      <a:lnTo>
                        <a:pt x="2030" y="8286"/>
                      </a:lnTo>
                      <a:lnTo>
                        <a:pt x="1946" y="8014"/>
                      </a:lnTo>
                      <a:lnTo>
                        <a:pt x="1842" y="7847"/>
                      </a:lnTo>
                      <a:lnTo>
                        <a:pt x="1842" y="7554"/>
                      </a:lnTo>
                      <a:lnTo>
                        <a:pt x="1758" y="7387"/>
                      </a:lnTo>
                      <a:lnTo>
                        <a:pt x="1716" y="7073"/>
                      </a:lnTo>
                      <a:lnTo>
                        <a:pt x="1695" y="7010"/>
                      </a:lnTo>
                      <a:lnTo>
                        <a:pt x="1737" y="6905"/>
                      </a:lnTo>
                      <a:lnTo>
                        <a:pt x="1737" y="6822"/>
                      </a:lnTo>
                      <a:lnTo>
                        <a:pt x="1632" y="6801"/>
                      </a:lnTo>
                      <a:lnTo>
                        <a:pt x="1549" y="6843"/>
                      </a:lnTo>
                      <a:lnTo>
                        <a:pt x="1486" y="6801"/>
                      </a:lnTo>
                      <a:lnTo>
                        <a:pt x="1507" y="6759"/>
                      </a:lnTo>
                      <a:lnTo>
                        <a:pt x="1653" y="6759"/>
                      </a:lnTo>
                      <a:lnTo>
                        <a:pt x="1800" y="6696"/>
                      </a:lnTo>
                      <a:lnTo>
                        <a:pt x="1821" y="6487"/>
                      </a:lnTo>
                      <a:lnTo>
                        <a:pt x="1800" y="6382"/>
                      </a:lnTo>
                      <a:lnTo>
                        <a:pt x="1695" y="6403"/>
                      </a:lnTo>
                      <a:lnTo>
                        <a:pt x="1591" y="6424"/>
                      </a:lnTo>
                      <a:lnTo>
                        <a:pt x="1632" y="6382"/>
                      </a:lnTo>
                      <a:lnTo>
                        <a:pt x="1800" y="6319"/>
                      </a:lnTo>
                      <a:lnTo>
                        <a:pt x="1821" y="6236"/>
                      </a:lnTo>
                      <a:lnTo>
                        <a:pt x="1779" y="6194"/>
                      </a:lnTo>
                      <a:lnTo>
                        <a:pt x="1570" y="6194"/>
                      </a:lnTo>
                      <a:lnTo>
                        <a:pt x="1423" y="6173"/>
                      </a:lnTo>
                      <a:lnTo>
                        <a:pt x="1423" y="6110"/>
                      </a:lnTo>
                      <a:lnTo>
                        <a:pt x="1507" y="6068"/>
                      </a:lnTo>
                      <a:lnTo>
                        <a:pt x="1465" y="6006"/>
                      </a:lnTo>
                      <a:lnTo>
                        <a:pt x="1465" y="5922"/>
                      </a:lnTo>
                      <a:lnTo>
                        <a:pt x="1507" y="5964"/>
                      </a:lnTo>
                      <a:lnTo>
                        <a:pt x="1570" y="6068"/>
                      </a:lnTo>
                      <a:lnTo>
                        <a:pt x="1674" y="6110"/>
                      </a:lnTo>
                      <a:lnTo>
                        <a:pt x="1821" y="6110"/>
                      </a:lnTo>
                      <a:lnTo>
                        <a:pt x="1842" y="6068"/>
                      </a:lnTo>
                      <a:lnTo>
                        <a:pt x="1925" y="6027"/>
                      </a:lnTo>
                      <a:lnTo>
                        <a:pt x="1988" y="5901"/>
                      </a:lnTo>
                      <a:lnTo>
                        <a:pt x="1988" y="5775"/>
                      </a:lnTo>
                      <a:lnTo>
                        <a:pt x="2051" y="5650"/>
                      </a:lnTo>
                      <a:lnTo>
                        <a:pt x="2093" y="5545"/>
                      </a:lnTo>
                      <a:lnTo>
                        <a:pt x="2009" y="5462"/>
                      </a:lnTo>
                      <a:lnTo>
                        <a:pt x="1946" y="5336"/>
                      </a:lnTo>
                      <a:lnTo>
                        <a:pt x="1842" y="5294"/>
                      </a:lnTo>
                      <a:lnTo>
                        <a:pt x="1779" y="5294"/>
                      </a:lnTo>
                      <a:lnTo>
                        <a:pt x="1716" y="5252"/>
                      </a:lnTo>
                      <a:lnTo>
                        <a:pt x="1800" y="5231"/>
                      </a:lnTo>
                      <a:lnTo>
                        <a:pt x="1884" y="5252"/>
                      </a:lnTo>
                      <a:lnTo>
                        <a:pt x="1946" y="5231"/>
                      </a:lnTo>
                      <a:lnTo>
                        <a:pt x="2009" y="5294"/>
                      </a:lnTo>
                      <a:lnTo>
                        <a:pt x="2009" y="5378"/>
                      </a:lnTo>
                      <a:lnTo>
                        <a:pt x="2051" y="5399"/>
                      </a:lnTo>
                      <a:lnTo>
                        <a:pt x="2114" y="5336"/>
                      </a:lnTo>
                      <a:lnTo>
                        <a:pt x="2051" y="5148"/>
                      </a:lnTo>
                      <a:lnTo>
                        <a:pt x="1925" y="4980"/>
                      </a:lnTo>
                      <a:lnTo>
                        <a:pt x="1821" y="4834"/>
                      </a:lnTo>
                      <a:lnTo>
                        <a:pt x="1842" y="4771"/>
                      </a:lnTo>
                      <a:lnTo>
                        <a:pt x="1925" y="4855"/>
                      </a:lnTo>
                      <a:lnTo>
                        <a:pt x="1946" y="4938"/>
                      </a:lnTo>
                      <a:lnTo>
                        <a:pt x="2051" y="4980"/>
                      </a:lnTo>
                      <a:lnTo>
                        <a:pt x="2156" y="5022"/>
                      </a:lnTo>
                      <a:lnTo>
                        <a:pt x="2197" y="4938"/>
                      </a:lnTo>
                      <a:lnTo>
                        <a:pt x="2197" y="4855"/>
                      </a:lnTo>
                      <a:lnTo>
                        <a:pt x="2135" y="4813"/>
                      </a:lnTo>
                      <a:lnTo>
                        <a:pt x="2135" y="4729"/>
                      </a:lnTo>
                      <a:lnTo>
                        <a:pt x="2218" y="4625"/>
                      </a:lnTo>
                      <a:lnTo>
                        <a:pt x="2218" y="4520"/>
                      </a:lnTo>
                      <a:lnTo>
                        <a:pt x="2135" y="4415"/>
                      </a:lnTo>
                      <a:lnTo>
                        <a:pt x="2009" y="4248"/>
                      </a:lnTo>
                      <a:lnTo>
                        <a:pt x="2093" y="4248"/>
                      </a:lnTo>
                      <a:lnTo>
                        <a:pt x="2197" y="4332"/>
                      </a:lnTo>
                      <a:lnTo>
                        <a:pt x="2260" y="4311"/>
                      </a:lnTo>
                      <a:lnTo>
                        <a:pt x="2323" y="4185"/>
                      </a:lnTo>
                      <a:lnTo>
                        <a:pt x="2302" y="4143"/>
                      </a:lnTo>
                      <a:lnTo>
                        <a:pt x="2218" y="4143"/>
                      </a:lnTo>
                      <a:lnTo>
                        <a:pt x="2218" y="3997"/>
                      </a:lnTo>
                      <a:lnTo>
                        <a:pt x="2302" y="3976"/>
                      </a:lnTo>
                      <a:lnTo>
                        <a:pt x="2407" y="4039"/>
                      </a:lnTo>
                      <a:lnTo>
                        <a:pt x="2553" y="4102"/>
                      </a:lnTo>
                      <a:lnTo>
                        <a:pt x="2616" y="4018"/>
                      </a:lnTo>
                      <a:lnTo>
                        <a:pt x="2532" y="3976"/>
                      </a:lnTo>
                      <a:lnTo>
                        <a:pt x="2532" y="3913"/>
                      </a:lnTo>
                      <a:lnTo>
                        <a:pt x="2616" y="3913"/>
                      </a:lnTo>
                      <a:lnTo>
                        <a:pt x="2679" y="3934"/>
                      </a:lnTo>
                      <a:lnTo>
                        <a:pt x="2762" y="3871"/>
                      </a:lnTo>
                      <a:lnTo>
                        <a:pt x="2762" y="3767"/>
                      </a:lnTo>
                      <a:lnTo>
                        <a:pt x="2741" y="3704"/>
                      </a:lnTo>
                      <a:lnTo>
                        <a:pt x="2762" y="3662"/>
                      </a:lnTo>
                      <a:lnTo>
                        <a:pt x="2930" y="3578"/>
                      </a:lnTo>
                      <a:lnTo>
                        <a:pt x="2951" y="3495"/>
                      </a:lnTo>
                      <a:lnTo>
                        <a:pt x="2846" y="3453"/>
                      </a:lnTo>
                      <a:lnTo>
                        <a:pt x="2783" y="3369"/>
                      </a:lnTo>
                      <a:lnTo>
                        <a:pt x="2846" y="3265"/>
                      </a:lnTo>
                      <a:lnTo>
                        <a:pt x="2888" y="3369"/>
                      </a:lnTo>
                      <a:lnTo>
                        <a:pt x="2972" y="3306"/>
                      </a:lnTo>
                      <a:lnTo>
                        <a:pt x="3139" y="3097"/>
                      </a:lnTo>
                      <a:lnTo>
                        <a:pt x="3181" y="2972"/>
                      </a:lnTo>
                      <a:lnTo>
                        <a:pt x="3265" y="2930"/>
                      </a:lnTo>
                      <a:lnTo>
                        <a:pt x="3285" y="2783"/>
                      </a:lnTo>
                      <a:lnTo>
                        <a:pt x="3453" y="2679"/>
                      </a:lnTo>
                      <a:lnTo>
                        <a:pt x="3516" y="2532"/>
                      </a:lnTo>
                      <a:lnTo>
                        <a:pt x="3599" y="2323"/>
                      </a:lnTo>
                      <a:lnTo>
                        <a:pt x="3683" y="2323"/>
                      </a:lnTo>
                      <a:lnTo>
                        <a:pt x="3892" y="2156"/>
                      </a:lnTo>
                      <a:lnTo>
                        <a:pt x="4122" y="1905"/>
                      </a:lnTo>
                      <a:lnTo>
                        <a:pt x="4311" y="1737"/>
                      </a:lnTo>
                      <a:lnTo>
                        <a:pt x="4394" y="1737"/>
                      </a:lnTo>
                      <a:lnTo>
                        <a:pt x="4541" y="1612"/>
                      </a:lnTo>
                      <a:lnTo>
                        <a:pt x="4729" y="1570"/>
                      </a:lnTo>
                      <a:lnTo>
                        <a:pt x="4834" y="1486"/>
                      </a:lnTo>
                      <a:lnTo>
                        <a:pt x="4980" y="1277"/>
                      </a:lnTo>
                      <a:lnTo>
                        <a:pt x="5064" y="1214"/>
                      </a:lnTo>
                      <a:lnTo>
                        <a:pt x="5127" y="1214"/>
                      </a:lnTo>
                      <a:lnTo>
                        <a:pt x="5190" y="1193"/>
                      </a:lnTo>
                      <a:lnTo>
                        <a:pt x="5190" y="1109"/>
                      </a:lnTo>
                      <a:lnTo>
                        <a:pt x="5169" y="1068"/>
                      </a:lnTo>
                      <a:lnTo>
                        <a:pt x="5231" y="963"/>
                      </a:lnTo>
                      <a:lnTo>
                        <a:pt x="5190" y="858"/>
                      </a:lnTo>
                      <a:lnTo>
                        <a:pt x="5190" y="691"/>
                      </a:lnTo>
                      <a:lnTo>
                        <a:pt x="5169" y="670"/>
                      </a:lnTo>
                      <a:lnTo>
                        <a:pt x="5085" y="670"/>
                      </a:lnTo>
                      <a:lnTo>
                        <a:pt x="5085" y="524"/>
                      </a:lnTo>
                      <a:lnTo>
                        <a:pt x="5148" y="377"/>
                      </a:lnTo>
                      <a:lnTo>
                        <a:pt x="5127" y="335"/>
                      </a:lnTo>
                      <a:lnTo>
                        <a:pt x="5022" y="314"/>
                      </a:lnTo>
                      <a:lnTo>
                        <a:pt x="4959" y="252"/>
                      </a:lnTo>
                      <a:lnTo>
                        <a:pt x="4855" y="231"/>
                      </a:lnTo>
                      <a:lnTo>
                        <a:pt x="4813" y="147"/>
                      </a:lnTo>
                      <a:lnTo>
                        <a:pt x="4813" y="42"/>
                      </a:lnTo>
                      <a:lnTo>
                        <a:pt x="4750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7" name="Google Shape;727;p34"/>
                <p:cNvSpPr/>
                <p:nvPr/>
              </p:nvSpPr>
              <p:spPr>
                <a:xfrm>
                  <a:off x="4015475" y="1586100"/>
                  <a:ext cx="1901975" cy="10174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079" h="40698" extrusionOk="0">
                      <a:moveTo>
                        <a:pt x="27578" y="1"/>
                      </a:moveTo>
                      <a:lnTo>
                        <a:pt x="27431" y="126"/>
                      </a:lnTo>
                      <a:lnTo>
                        <a:pt x="27389" y="231"/>
                      </a:lnTo>
                      <a:lnTo>
                        <a:pt x="27285" y="273"/>
                      </a:lnTo>
                      <a:lnTo>
                        <a:pt x="27368" y="377"/>
                      </a:lnTo>
                      <a:lnTo>
                        <a:pt x="27264" y="482"/>
                      </a:lnTo>
                      <a:lnTo>
                        <a:pt x="27243" y="649"/>
                      </a:lnTo>
                      <a:lnTo>
                        <a:pt x="27285" y="796"/>
                      </a:lnTo>
                      <a:lnTo>
                        <a:pt x="27159" y="921"/>
                      </a:lnTo>
                      <a:lnTo>
                        <a:pt x="27138" y="1444"/>
                      </a:lnTo>
                      <a:lnTo>
                        <a:pt x="27264" y="1570"/>
                      </a:lnTo>
                      <a:lnTo>
                        <a:pt x="27264" y="1695"/>
                      </a:lnTo>
                      <a:lnTo>
                        <a:pt x="27159" y="1695"/>
                      </a:lnTo>
                      <a:lnTo>
                        <a:pt x="27180" y="1842"/>
                      </a:lnTo>
                      <a:lnTo>
                        <a:pt x="27285" y="1967"/>
                      </a:lnTo>
                      <a:lnTo>
                        <a:pt x="27389" y="1967"/>
                      </a:lnTo>
                      <a:lnTo>
                        <a:pt x="27536" y="2156"/>
                      </a:lnTo>
                      <a:lnTo>
                        <a:pt x="27682" y="2177"/>
                      </a:lnTo>
                      <a:lnTo>
                        <a:pt x="27536" y="2281"/>
                      </a:lnTo>
                      <a:lnTo>
                        <a:pt x="27578" y="2407"/>
                      </a:lnTo>
                      <a:lnTo>
                        <a:pt x="27578" y="2491"/>
                      </a:lnTo>
                      <a:lnTo>
                        <a:pt x="27787" y="2511"/>
                      </a:lnTo>
                      <a:lnTo>
                        <a:pt x="27912" y="2470"/>
                      </a:lnTo>
                      <a:lnTo>
                        <a:pt x="28101" y="2532"/>
                      </a:lnTo>
                      <a:lnTo>
                        <a:pt x="28289" y="2532"/>
                      </a:lnTo>
                      <a:lnTo>
                        <a:pt x="28331" y="2616"/>
                      </a:lnTo>
                      <a:lnTo>
                        <a:pt x="28226" y="2700"/>
                      </a:lnTo>
                      <a:lnTo>
                        <a:pt x="28122" y="2679"/>
                      </a:lnTo>
                      <a:lnTo>
                        <a:pt x="28059" y="2700"/>
                      </a:lnTo>
                      <a:lnTo>
                        <a:pt x="27933" y="2616"/>
                      </a:lnTo>
                      <a:lnTo>
                        <a:pt x="27661" y="2721"/>
                      </a:lnTo>
                      <a:lnTo>
                        <a:pt x="27578" y="2679"/>
                      </a:lnTo>
                      <a:lnTo>
                        <a:pt x="27473" y="2721"/>
                      </a:lnTo>
                      <a:lnTo>
                        <a:pt x="27368" y="2700"/>
                      </a:lnTo>
                      <a:lnTo>
                        <a:pt x="27264" y="2700"/>
                      </a:lnTo>
                      <a:lnTo>
                        <a:pt x="27201" y="2783"/>
                      </a:lnTo>
                      <a:lnTo>
                        <a:pt x="26950" y="2783"/>
                      </a:lnTo>
                      <a:lnTo>
                        <a:pt x="26887" y="2888"/>
                      </a:lnTo>
                      <a:lnTo>
                        <a:pt x="26908" y="2930"/>
                      </a:lnTo>
                      <a:lnTo>
                        <a:pt x="27034" y="2951"/>
                      </a:lnTo>
                      <a:lnTo>
                        <a:pt x="27054" y="3055"/>
                      </a:lnTo>
                      <a:lnTo>
                        <a:pt x="27201" y="3035"/>
                      </a:lnTo>
                      <a:lnTo>
                        <a:pt x="27264" y="3097"/>
                      </a:lnTo>
                      <a:lnTo>
                        <a:pt x="27410" y="3014"/>
                      </a:lnTo>
                      <a:lnTo>
                        <a:pt x="27515" y="3160"/>
                      </a:lnTo>
                      <a:lnTo>
                        <a:pt x="27661" y="3265"/>
                      </a:lnTo>
                      <a:lnTo>
                        <a:pt x="27787" y="3516"/>
                      </a:lnTo>
                      <a:lnTo>
                        <a:pt x="27682" y="3746"/>
                      </a:lnTo>
                      <a:lnTo>
                        <a:pt x="27410" y="4018"/>
                      </a:lnTo>
                      <a:lnTo>
                        <a:pt x="27515" y="3746"/>
                      </a:lnTo>
                      <a:lnTo>
                        <a:pt x="27431" y="3662"/>
                      </a:lnTo>
                      <a:lnTo>
                        <a:pt x="27431" y="3495"/>
                      </a:lnTo>
                      <a:lnTo>
                        <a:pt x="27243" y="3453"/>
                      </a:lnTo>
                      <a:lnTo>
                        <a:pt x="27180" y="3432"/>
                      </a:lnTo>
                      <a:lnTo>
                        <a:pt x="27180" y="3348"/>
                      </a:lnTo>
                      <a:lnTo>
                        <a:pt x="27117" y="3327"/>
                      </a:lnTo>
                      <a:lnTo>
                        <a:pt x="27013" y="3411"/>
                      </a:lnTo>
                      <a:lnTo>
                        <a:pt x="26845" y="3411"/>
                      </a:lnTo>
                      <a:lnTo>
                        <a:pt x="26720" y="3537"/>
                      </a:lnTo>
                      <a:lnTo>
                        <a:pt x="26845" y="3599"/>
                      </a:lnTo>
                      <a:lnTo>
                        <a:pt x="26803" y="3662"/>
                      </a:lnTo>
                      <a:lnTo>
                        <a:pt x="26657" y="3662"/>
                      </a:lnTo>
                      <a:lnTo>
                        <a:pt x="26741" y="3767"/>
                      </a:lnTo>
                      <a:lnTo>
                        <a:pt x="26720" y="3851"/>
                      </a:lnTo>
                      <a:lnTo>
                        <a:pt x="26552" y="3976"/>
                      </a:lnTo>
                      <a:lnTo>
                        <a:pt x="26531" y="3851"/>
                      </a:lnTo>
                      <a:lnTo>
                        <a:pt x="26490" y="3851"/>
                      </a:lnTo>
                      <a:lnTo>
                        <a:pt x="26406" y="3913"/>
                      </a:lnTo>
                      <a:lnTo>
                        <a:pt x="26448" y="4039"/>
                      </a:lnTo>
                      <a:lnTo>
                        <a:pt x="26406" y="4164"/>
                      </a:lnTo>
                      <a:lnTo>
                        <a:pt x="26301" y="4164"/>
                      </a:lnTo>
                      <a:lnTo>
                        <a:pt x="26280" y="3976"/>
                      </a:lnTo>
                      <a:lnTo>
                        <a:pt x="26176" y="3871"/>
                      </a:lnTo>
                      <a:lnTo>
                        <a:pt x="26134" y="3934"/>
                      </a:lnTo>
                      <a:lnTo>
                        <a:pt x="26176" y="4039"/>
                      </a:lnTo>
                      <a:lnTo>
                        <a:pt x="26071" y="4227"/>
                      </a:lnTo>
                      <a:lnTo>
                        <a:pt x="26008" y="4374"/>
                      </a:lnTo>
                      <a:lnTo>
                        <a:pt x="25883" y="4290"/>
                      </a:lnTo>
                      <a:lnTo>
                        <a:pt x="25883" y="4227"/>
                      </a:lnTo>
                      <a:lnTo>
                        <a:pt x="26008" y="3955"/>
                      </a:lnTo>
                      <a:lnTo>
                        <a:pt x="25966" y="3851"/>
                      </a:lnTo>
                      <a:lnTo>
                        <a:pt x="25820" y="3830"/>
                      </a:lnTo>
                      <a:lnTo>
                        <a:pt x="25506" y="3934"/>
                      </a:lnTo>
                      <a:lnTo>
                        <a:pt x="25401" y="3871"/>
                      </a:lnTo>
                      <a:lnTo>
                        <a:pt x="25255" y="4018"/>
                      </a:lnTo>
                      <a:lnTo>
                        <a:pt x="25150" y="3976"/>
                      </a:lnTo>
                      <a:lnTo>
                        <a:pt x="25046" y="3934"/>
                      </a:lnTo>
                      <a:lnTo>
                        <a:pt x="24878" y="3955"/>
                      </a:lnTo>
                      <a:lnTo>
                        <a:pt x="25025" y="4081"/>
                      </a:lnTo>
                      <a:lnTo>
                        <a:pt x="24941" y="4164"/>
                      </a:lnTo>
                      <a:lnTo>
                        <a:pt x="24920" y="4143"/>
                      </a:lnTo>
                      <a:lnTo>
                        <a:pt x="24878" y="4081"/>
                      </a:lnTo>
                      <a:lnTo>
                        <a:pt x="24837" y="4060"/>
                      </a:lnTo>
                      <a:lnTo>
                        <a:pt x="24774" y="4164"/>
                      </a:lnTo>
                      <a:lnTo>
                        <a:pt x="24732" y="4227"/>
                      </a:lnTo>
                      <a:lnTo>
                        <a:pt x="24732" y="4478"/>
                      </a:lnTo>
                      <a:lnTo>
                        <a:pt x="24816" y="4562"/>
                      </a:lnTo>
                      <a:lnTo>
                        <a:pt x="24941" y="4436"/>
                      </a:lnTo>
                      <a:lnTo>
                        <a:pt x="25025" y="4478"/>
                      </a:lnTo>
                      <a:lnTo>
                        <a:pt x="25192" y="4353"/>
                      </a:lnTo>
                      <a:lnTo>
                        <a:pt x="25276" y="4374"/>
                      </a:lnTo>
                      <a:lnTo>
                        <a:pt x="25255" y="4478"/>
                      </a:lnTo>
                      <a:lnTo>
                        <a:pt x="24941" y="4604"/>
                      </a:lnTo>
                      <a:lnTo>
                        <a:pt x="24878" y="4750"/>
                      </a:lnTo>
                      <a:lnTo>
                        <a:pt x="24753" y="4813"/>
                      </a:lnTo>
                      <a:lnTo>
                        <a:pt x="24502" y="4855"/>
                      </a:lnTo>
                      <a:lnTo>
                        <a:pt x="24460" y="4918"/>
                      </a:lnTo>
                      <a:lnTo>
                        <a:pt x="24523" y="5001"/>
                      </a:lnTo>
                      <a:lnTo>
                        <a:pt x="24313" y="5064"/>
                      </a:lnTo>
                      <a:lnTo>
                        <a:pt x="24209" y="5001"/>
                      </a:lnTo>
                      <a:lnTo>
                        <a:pt x="24146" y="5022"/>
                      </a:lnTo>
                      <a:lnTo>
                        <a:pt x="24125" y="5127"/>
                      </a:lnTo>
                      <a:lnTo>
                        <a:pt x="24041" y="5169"/>
                      </a:lnTo>
                      <a:lnTo>
                        <a:pt x="23895" y="5211"/>
                      </a:lnTo>
                      <a:lnTo>
                        <a:pt x="23832" y="5294"/>
                      </a:lnTo>
                      <a:lnTo>
                        <a:pt x="23916" y="5399"/>
                      </a:lnTo>
                      <a:lnTo>
                        <a:pt x="23874" y="5399"/>
                      </a:lnTo>
                      <a:lnTo>
                        <a:pt x="23832" y="5504"/>
                      </a:lnTo>
                      <a:lnTo>
                        <a:pt x="23790" y="5524"/>
                      </a:lnTo>
                      <a:lnTo>
                        <a:pt x="23728" y="5441"/>
                      </a:lnTo>
                      <a:lnTo>
                        <a:pt x="23686" y="5441"/>
                      </a:lnTo>
                      <a:lnTo>
                        <a:pt x="23581" y="5608"/>
                      </a:lnTo>
                      <a:lnTo>
                        <a:pt x="23602" y="5650"/>
                      </a:lnTo>
                      <a:lnTo>
                        <a:pt x="23560" y="5713"/>
                      </a:lnTo>
                      <a:lnTo>
                        <a:pt x="23560" y="5817"/>
                      </a:lnTo>
                      <a:lnTo>
                        <a:pt x="23456" y="5943"/>
                      </a:lnTo>
                      <a:lnTo>
                        <a:pt x="23477" y="6048"/>
                      </a:lnTo>
                      <a:lnTo>
                        <a:pt x="23309" y="6110"/>
                      </a:lnTo>
                      <a:lnTo>
                        <a:pt x="23142" y="6110"/>
                      </a:lnTo>
                      <a:lnTo>
                        <a:pt x="23037" y="6173"/>
                      </a:lnTo>
                      <a:lnTo>
                        <a:pt x="23037" y="6278"/>
                      </a:lnTo>
                      <a:lnTo>
                        <a:pt x="23100" y="6278"/>
                      </a:lnTo>
                      <a:lnTo>
                        <a:pt x="23163" y="6215"/>
                      </a:lnTo>
                      <a:lnTo>
                        <a:pt x="23414" y="6257"/>
                      </a:lnTo>
                      <a:lnTo>
                        <a:pt x="23372" y="6340"/>
                      </a:lnTo>
                      <a:lnTo>
                        <a:pt x="23246" y="6320"/>
                      </a:lnTo>
                      <a:lnTo>
                        <a:pt x="23204" y="6361"/>
                      </a:lnTo>
                      <a:lnTo>
                        <a:pt x="23288" y="6445"/>
                      </a:lnTo>
                      <a:lnTo>
                        <a:pt x="23267" y="6675"/>
                      </a:lnTo>
                      <a:lnTo>
                        <a:pt x="23163" y="6759"/>
                      </a:lnTo>
                      <a:lnTo>
                        <a:pt x="23184" y="6843"/>
                      </a:lnTo>
                      <a:lnTo>
                        <a:pt x="23163" y="6947"/>
                      </a:lnTo>
                      <a:lnTo>
                        <a:pt x="23037" y="6759"/>
                      </a:lnTo>
                      <a:lnTo>
                        <a:pt x="22932" y="6780"/>
                      </a:lnTo>
                      <a:lnTo>
                        <a:pt x="22786" y="6633"/>
                      </a:lnTo>
                      <a:lnTo>
                        <a:pt x="22723" y="6592"/>
                      </a:lnTo>
                      <a:lnTo>
                        <a:pt x="22681" y="6654"/>
                      </a:lnTo>
                      <a:lnTo>
                        <a:pt x="22765" y="6738"/>
                      </a:lnTo>
                      <a:lnTo>
                        <a:pt x="22765" y="6843"/>
                      </a:lnTo>
                      <a:lnTo>
                        <a:pt x="22723" y="6905"/>
                      </a:lnTo>
                      <a:lnTo>
                        <a:pt x="22786" y="7010"/>
                      </a:lnTo>
                      <a:lnTo>
                        <a:pt x="22891" y="6968"/>
                      </a:lnTo>
                      <a:lnTo>
                        <a:pt x="23079" y="7010"/>
                      </a:lnTo>
                      <a:lnTo>
                        <a:pt x="23204" y="7052"/>
                      </a:lnTo>
                      <a:lnTo>
                        <a:pt x="23246" y="7156"/>
                      </a:lnTo>
                      <a:lnTo>
                        <a:pt x="23351" y="7219"/>
                      </a:lnTo>
                      <a:lnTo>
                        <a:pt x="23456" y="7198"/>
                      </a:lnTo>
                      <a:lnTo>
                        <a:pt x="23497" y="7177"/>
                      </a:lnTo>
                      <a:lnTo>
                        <a:pt x="23560" y="7261"/>
                      </a:lnTo>
                      <a:lnTo>
                        <a:pt x="23414" y="7303"/>
                      </a:lnTo>
                      <a:lnTo>
                        <a:pt x="23288" y="7303"/>
                      </a:lnTo>
                      <a:lnTo>
                        <a:pt x="23184" y="7198"/>
                      </a:lnTo>
                      <a:lnTo>
                        <a:pt x="23142" y="7219"/>
                      </a:lnTo>
                      <a:lnTo>
                        <a:pt x="23100" y="7303"/>
                      </a:lnTo>
                      <a:lnTo>
                        <a:pt x="23058" y="7366"/>
                      </a:lnTo>
                      <a:lnTo>
                        <a:pt x="23184" y="7512"/>
                      </a:lnTo>
                      <a:lnTo>
                        <a:pt x="23267" y="7470"/>
                      </a:lnTo>
                      <a:lnTo>
                        <a:pt x="23456" y="7470"/>
                      </a:lnTo>
                      <a:lnTo>
                        <a:pt x="23497" y="7617"/>
                      </a:lnTo>
                      <a:lnTo>
                        <a:pt x="23581" y="7680"/>
                      </a:lnTo>
                      <a:lnTo>
                        <a:pt x="23623" y="7596"/>
                      </a:lnTo>
                      <a:lnTo>
                        <a:pt x="23811" y="7596"/>
                      </a:lnTo>
                      <a:lnTo>
                        <a:pt x="23790" y="7701"/>
                      </a:lnTo>
                      <a:lnTo>
                        <a:pt x="23937" y="7805"/>
                      </a:lnTo>
                      <a:lnTo>
                        <a:pt x="24083" y="7805"/>
                      </a:lnTo>
                      <a:lnTo>
                        <a:pt x="24146" y="7952"/>
                      </a:lnTo>
                      <a:lnTo>
                        <a:pt x="24083" y="8161"/>
                      </a:lnTo>
                      <a:lnTo>
                        <a:pt x="23832" y="8307"/>
                      </a:lnTo>
                      <a:lnTo>
                        <a:pt x="23769" y="8433"/>
                      </a:lnTo>
                      <a:lnTo>
                        <a:pt x="23769" y="8517"/>
                      </a:lnTo>
                      <a:lnTo>
                        <a:pt x="23979" y="8726"/>
                      </a:lnTo>
                      <a:lnTo>
                        <a:pt x="24104" y="8768"/>
                      </a:lnTo>
                      <a:lnTo>
                        <a:pt x="23895" y="8768"/>
                      </a:lnTo>
                      <a:lnTo>
                        <a:pt x="23665" y="8579"/>
                      </a:lnTo>
                      <a:lnTo>
                        <a:pt x="23665" y="8454"/>
                      </a:lnTo>
                      <a:lnTo>
                        <a:pt x="23769" y="8224"/>
                      </a:lnTo>
                      <a:lnTo>
                        <a:pt x="23832" y="8161"/>
                      </a:lnTo>
                      <a:lnTo>
                        <a:pt x="23832" y="8098"/>
                      </a:lnTo>
                      <a:lnTo>
                        <a:pt x="23895" y="7952"/>
                      </a:lnTo>
                      <a:lnTo>
                        <a:pt x="23832" y="7910"/>
                      </a:lnTo>
                      <a:lnTo>
                        <a:pt x="23456" y="8098"/>
                      </a:lnTo>
                      <a:lnTo>
                        <a:pt x="23246" y="8161"/>
                      </a:lnTo>
                      <a:lnTo>
                        <a:pt x="23184" y="8307"/>
                      </a:lnTo>
                      <a:lnTo>
                        <a:pt x="23058" y="8349"/>
                      </a:lnTo>
                      <a:lnTo>
                        <a:pt x="22953" y="8307"/>
                      </a:lnTo>
                      <a:lnTo>
                        <a:pt x="22828" y="8328"/>
                      </a:lnTo>
                      <a:lnTo>
                        <a:pt x="22660" y="8454"/>
                      </a:lnTo>
                      <a:lnTo>
                        <a:pt x="22221" y="8621"/>
                      </a:lnTo>
                      <a:lnTo>
                        <a:pt x="21907" y="8684"/>
                      </a:lnTo>
                      <a:lnTo>
                        <a:pt x="21782" y="8684"/>
                      </a:lnTo>
                      <a:lnTo>
                        <a:pt x="21614" y="8851"/>
                      </a:lnTo>
                      <a:lnTo>
                        <a:pt x="21468" y="8851"/>
                      </a:lnTo>
                      <a:lnTo>
                        <a:pt x="21384" y="8935"/>
                      </a:lnTo>
                      <a:lnTo>
                        <a:pt x="21510" y="9040"/>
                      </a:lnTo>
                      <a:lnTo>
                        <a:pt x="21510" y="9165"/>
                      </a:lnTo>
                      <a:lnTo>
                        <a:pt x="21489" y="9291"/>
                      </a:lnTo>
                      <a:lnTo>
                        <a:pt x="21572" y="9374"/>
                      </a:lnTo>
                      <a:lnTo>
                        <a:pt x="21677" y="9374"/>
                      </a:lnTo>
                      <a:lnTo>
                        <a:pt x="21698" y="9458"/>
                      </a:lnTo>
                      <a:lnTo>
                        <a:pt x="21635" y="9521"/>
                      </a:lnTo>
                      <a:lnTo>
                        <a:pt x="21844" y="9667"/>
                      </a:lnTo>
                      <a:lnTo>
                        <a:pt x="22012" y="9918"/>
                      </a:lnTo>
                      <a:lnTo>
                        <a:pt x="22012" y="10128"/>
                      </a:lnTo>
                      <a:lnTo>
                        <a:pt x="22054" y="10232"/>
                      </a:lnTo>
                      <a:lnTo>
                        <a:pt x="22116" y="10232"/>
                      </a:lnTo>
                      <a:lnTo>
                        <a:pt x="22137" y="10400"/>
                      </a:lnTo>
                      <a:lnTo>
                        <a:pt x="22305" y="10504"/>
                      </a:lnTo>
                      <a:lnTo>
                        <a:pt x="22430" y="10462"/>
                      </a:lnTo>
                      <a:lnTo>
                        <a:pt x="22828" y="10504"/>
                      </a:lnTo>
                      <a:lnTo>
                        <a:pt x="22953" y="10421"/>
                      </a:lnTo>
                      <a:lnTo>
                        <a:pt x="22953" y="10504"/>
                      </a:lnTo>
                      <a:lnTo>
                        <a:pt x="22995" y="10609"/>
                      </a:lnTo>
                      <a:lnTo>
                        <a:pt x="22995" y="10755"/>
                      </a:lnTo>
                      <a:lnTo>
                        <a:pt x="23184" y="10839"/>
                      </a:lnTo>
                      <a:lnTo>
                        <a:pt x="23288" y="10986"/>
                      </a:lnTo>
                      <a:lnTo>
                        <a:pt x="23581" y="10986"/>
                      </a:lnTo>
                      <a:lnTo>
                        <a:pt x="23790" y="11132"/>
                      </a:lnTo>
                      <a:lnTo>
                        <a:pt x="23874" y="11132"/>
                      </a:lnTo>
                      <a:lnTo>
                        <a:pt x="23979" y="11258"/>
                      </a:lnTo>
                      <a:lnTo>
                        <a:pt x="24000" y="11550"/>
                      </a:lnTo>
                      <a:lnTo>
                        <a:pt x="24041" y="11676"/>
                      </a:lnTo>
                      <a:lnTo>
                        <a:pt x="24000" y="11864"/>
                      </a:lnTo>
                      <a:lnTo>
                        <a:pt x="24125" y="12011"/>
                      </a:lnTo>
                      <a:lnTo>
                        <a:pt x="24230" y="12094"/>
                      </a:lnTo>
                      <a:lnTo>
                        <a:pt x="24418" y="12346"/>
                      </a:lnTo>
                      <a:lnTo>
                        <a:pt x="24502" y="12618"/>
                      </a:lnTo>
                      <a:lnTo>
                        <a:pt x="24648" y="12743"/>
                      </a:lnTo>
                      <a:lnTo>
                        <a:pt x="24711" y="12869"/>
                      </a:lnTo>
                      <a:lnTo>
                        <a:pt x="24585" y="13141"/>
                      </a:lnTo>
                      <a:lnTo>
                        <a:pt x="24502" y="13162"/>
                      </a:lnTo>
                      <a:lnTo>
                        <a:pt x="24418" y="13141"/>
                      </a:lnTo>
                      <a:lnTo>
                        <a:pt x="24418" y="13141"/>
                      </a:lnTo>
                      <a:lnTo>
                        <a:pt x="24523" y="13287"/>
                      </a:lnTo>
                      <a:lnTo>
                        <a:pt x="24732" y="13329"/>
                      </a:lnTo>
                      <a:lnTo>
                        <a:pt x="24837" y="13392"/>
                      </a:lnTo>
                      <a:lnTo>
                        <a:pt x="25046" y="13643"/>
                      </a:lnTo>
                      <a:lnTo>
                        <a:pt x="25255" y="13706"/>
                      </a:lnTo>
                      <a:lnTo>
                        <a:pt x="25276" y="13685"/>
                      </a:lnTo>
                      <a:lnTo>
                        <a:pt x="25360" y="13706"/>
                      </a:lnTo>
                      <a:lnTo>
                        <a:pt x="25548" y="13559"/>
                      </a:lnTo>
                      <a:lnTo>
                        <a:pt x="25736" y="13517"/>
                      </a:lnTo>
                      <a:lnTo>
                        <a:pt x="25945" y="13685"/>
                      </a:lnTo>
                      <a:lnTo>
                        <a:pt x="26092" y="13747"/>
                      </a:lnTo>
                      <a:lnTo>
                        <a:pt x="26197" y="13747"/>
                      </a:lnTo>
                      <a:lnTo>
                        <a:pt x="26280" y="13894"/>
                      </a:lnTo>
                      <a:lnTo>
                        <a:pt x="26301" y="14124"/>
                      </a:lnTo>
                      <a:lnTo>
                        <a:pt x="26238" y="13915"/>
                      </a:lnTo>
                      <a:lnTo>
                        <a:pt x="26176" y="13810"/>
                      </a:lnTo>
                      <a:lnTo>
                        <a:pt x="25987" y="13810"/>
                      </a:lnTo>
                      <a:lnTo>
                        <a:pt x="25757" y="13643"/>
                      </a:lnTo>
                      <a:lnTo>
                        <a:pt x="25611" y="13643"/>
                      </a:lnTo>
                      <a:lnTo>
                        <a:pt x="25443" y="13810"/>
                      </a:lnTo>
                      <a:lnTo>
                        <a:pt x="25443" y="13978"/>
                      </a:lnTo>
                      <a:lnTo>
                        <a:pt x="25464" y="14061"/>
                      </a:lnTo>
                      <a:lnTo>
                        <a:pt x="25234" y="13810"/>
                      </a:lnTo>
                      <a:lnTo>
                        <a:pt x="24983" y="13810"/>
                      </a:lnTo>
                      <a:lnTo>
                        <a:pt x="24857" y="13706"/>
                      </a:lnTo>
                      <a:lnTo>
                        <a:pt x="24857" y="13580"/>
                      </a:lnTo>
                      <a:lnTo>
                        <a:pt x="24753" y="13434"/>
                      </a:lnTo>
                      <a:lnTo>
                        <a:pt x="24565" y="13371"/>
                      </a:lnTo>
                      <a:lnTo>
                        <a:pt x="24397" y="13371"/>
                      </a:lnTo>
                      <a:lnTo>
                        <a:pt x="24188" y="13245"/>
                      </a:lnTo>
                      <a:lnTo>
                        <a:pt x="24230" y="13182"/>
                      </a:lnTo>
                      <a:lnTo>
                        <a:pt x="24230" y="13057"/>
                      </a:lnTo>
                      <a:lnTo>
                        <a:pt x="24313" y="13015"/>
                      </a:lnTo>
                      <a:lnTo>
                        <a:pt x="24272" y="12910"/>
                      </a:lnTo>
                      <a:lnTo>
                        <a:pt x="24230" y="12638"/>
                      </a:lnTo>
                      <a:lnTo>
                        <a:pt x="24167" y="12429"/>
                      </a:lnTo>
                      <a:lnTo>
                        <a:pt x="24083" y="12387"/>
                      </a:lnTo>
                      <a:lnTo>
                        <a:pt x="24021" y="12555"/>
                      </a:lnTo>
                      <a:lnTo>
                        <a:pt x="23958" y="12597"/>
                      </a:lnTo>
                      <a:lnTo>
                        <a:pt x="23979" y="12743"/>
                      </a:lnTo>
                      <a:lnTo>
                        <a:pt x="23895" y="12827"/>
                      </a:lnTo>
                      <a:lnTo>
                        <a:pt x="23916" y="12910"/>
                      </a:lnTo>
                      <a:lnTo>
                        <a:pt x="23895" y="13036"/>
                      </a:lnTo>
                      <a:lnTo>
                        <a:pt x="23811" y="13036"/>
                      </a:lnTo>
                      <a:lnTo>
                        <a:pt x="23769" y="12659"/>
                      </a:lnTo>
                      <a:lnTo>
                        <a:pt x="23853" y="12555"/>
                      </a:lnTo>
                      <a:lnTo>
                        <a:pt x="23811" y="12429"/>
                      </a:lnTo>
                      <a:lnTo>
                        <a:pt x="23644" y="12283"/>
                      </a:lnTo>
                      <a:lnTo>
                        <a:pt x="23644" y="12094"/>
                      </a:lnTo>
                      <a:lnTo>
                        <a:pt x="23560" y="11969"/>
                      </a:lnTo>
                      <a:lnTo>
                        <a:pt x="23560" y="11802"/>
                      </a:lnTo>
                      <a:lnTo>
                        <a:pt x="23707" y="11697"/>
                      </a:lnTo>
                      <a:lnTo>
                        <a:pt x="23707" y="11613"/>
                      </a:lnTo>
                      <a:lnTo>
                        <a:pt x="23686" y="11509"/>
                      </a:lnTo>
                      <a:lnTo>
                        <a:pt x="23707" y="11299"/>
                      </a:lnTo>
                      <a:lnTo>
                        <a:pt x="23581" y="11278"/>
                      </a:lnTo>
                      <a:lnTo>
                        <a:pt x="23539" y="11299"/>
                      </a:lnTo>
                      <a:lnTo>
                        <a:pt x="23456" y="11216"/>
                      </a:lnTo>
                      <a:lnTo>
                        <a:pt x="23225" y="11383"/>
                      </a:lnTo>
                      <a:lnTo>
                        <a:pt x="22912" y="11425"/>
                      </a:lnTo>
                      <a:lnTo>
                        <a:pt x="22744" y="11425"/>
                      </a:lnTo>
                      <a:lnTo>
                        <a:pt x="22514" y="11195"/>
                      </a:lnTo>
                      <a:lnTo>
                        <a:pt x="22388" y="11111"/>
                      </a:lnTo>
                      <a:lnTo>
                        <a:pt x="22347" y="11006"/>
                      </a:lnTo>
                      <a:lnTo>
                        <a:pt x="22012" y="10965"/>
                      </a:lnTo>
                      <a:lnTo>
                        <a:pt x="21886" y="10860"/>
                      </a:lnTo>
                      <a:lnTo>
                        <a:pt x="21761" y="10693"/>
                      </a:lnTo>
                      <a:lnTo>
                        <a:pt x="21363" y="10693"/>
                      </a:lnTo>
                      <a:lnTo>
                        <a:pt x="21259" y="10651"/>
                      </a:lnTo>
                      <a:lnTo>
                        <a:pt x="21133" y="10734"/>
                      </a:lnTo>
                      <a:lnTo>
                        <a:pt x="20987" y="10944"/>
                      </a:lnTo>
                      <a:lnTo>
                        <a:pt x="20966" y="11069"/>
                      </a:lnTo>
                      <a:lnTo>
                        <a:pt x="20924" y="11111"/>
                      </a:lnTo>
                      <a:lnTo>
                        <a:pt x="20861" y="11090"/>
                      </a:lnTo>
                      <a:lnTo>
                        <a:pt x="20840" y="11174"/>
                      </a:lnTo>
                      <a:lnTo>
                        <a:pt x="20924" y="11258"/>
                      </a:lnTo>
                      <a:lnTo>
                        <a:pt x="21091" y="11132"/>
                      </a:lnTo>
                      <a:lnTo>
                        <a:pt x="21300" y="11174"/>
                      </a:lnTo>
                      <a:lnTo>
                        <a:pt x="21405" y="11383"/>
                      </a:lnTo>
                      <a:lnTo>
                        <a:pt x="21280" y="11613"/>
                      </a:lnTo>
                      <a:lnTo>
                        <a:pt x="21133" y="11655"/>
                      </a:lnTo>
                      <a:lnTo>
                        <a:pt x="20861" y="11550"/>
                      </a:lnTo>
                      <a:lnTo>
                        <a:pt x="20715" y="11362"/>
                      </a:lnTo>
                      <a:lnTo>
                        <a:pt x="20610" y="11362"/>
                      </a:lnTo>
                      <a:lnTo>
                        <a:pt x="20443" y="11467"/>
                      </a:lnTo>
                      <a:lnTo>
                        <a:pt x="20401" y="11550"/>
                      </a:lnTo>
                      <a:lnTo>
                        <a:pt x="20317" y="11571"/>
                      </a:lnTo>
                      <a:lnTo>
                        <a:pt x="20505" y="11822"/>
                      </a:lnTo>
                      <a:lnTo>
                        <a:pt x="20568" y="11822"/>
                      </a:lnTo>
                      <a:lnTo>
                        <a:pt x="20631" y="11969"/>
                      </a:lnTo>
                      <a:lnTo>
                        <a:pt x="20840" y="12136"/>
                      </a:lnTo>
                      <a:lnTo>
                        <a:pt x="21028" y="12136"/>
                      </a:lnTo>
                      <a:lnTo>
                        <a:pt x="21112" y="12220"/>
                      </a:lnTo>
                      <a:lnTo>
                        <a:pt x="21405" y="12241"/>
                      </a:lnTo>
                      <a:lnTo>
                        <a:pt x="21489" y="12178"/>
                      </a:lnTo>
                      <a:lnTo>
                        <a:pt x="21531" y="12178"/>
                      </a:lnTo>
                      <a:lnTo>
                        <a:pt x="21572" y="12283"/>
                      </a:lnTo>
                      <a:lnTo>
                        <a:pt x="21782" y="12283"/>
                      </a:lnTo>
                      <a:lnTo>
                        <a:pt x="21824" y="12429"/>
                      </a:lnTo>
                      <a:lnTo>
                        <a:pt x="21907" y="12450"/>
                      </a:lnTo>
                      <a:lnTo>
                        <a:pt x="21928" y="12555"/>
                      </a:lnTo>
                      <a:lnTo>
                        <a:pt x="22158" y="12597"/>
                      </a:lnTo>
                      <a:lnTo>
                        <a:pt x="22263" y="12513"/>
                      </a:lnTo>
                      <a:lnTo>
                        <a:pt x="22200" y="12618"/>
                      </a:lnTo>
                      <a:lnTo>
                        <a:pt x="21949" y="12659"/>
                      </a:lnTo>
                      <a:lnTo>
                        <a:pt x="21803" y="12576"/>
                      </a:lnTo>
                      <a:lnTo>
                        <a:pt x="21698" y="12555"/>
                      </a:lnTo>
                      <a:lnTo>
                        <a:pt x="21531" y="12366"/>
                      </a:lnTo>
                      <a:lnTo>
                        <a:pt x="21426" y="12346"/>
                      </a:lnTo>
                      <a:lnTo>
                        <a:pt x="21321" y="12408"/>
                      </a:lnTo>
                      <a:lnTo>
                        <a:pt x="21196" y="12408"/>
                      </a:lnTo>
                      <a:lnTo>
                        <a:pt x="21091" y="12534"/>
                      </a:lnTo>
                      <a:lnTo>
                        <a:pt x="21049" y="12429"/>
                      </a:lnTo>
                      <a:lnTo>
                        <a:pt x="20945" y="12346"/>
                      </a:lnTo>
                      <a:lnTo>
                        <a:pt x="20840" y="12408"/>
                      </a:lnTo>
                      <a:lnTo>
                        <a:pt x="20631" y="12408"/>
                      </a:lnTo>
                      <a:lnTo>
                        <a:pt x="20464" y="12304"/>
                      </a:lnTo>
                      <a:lnTo>
                        <a:pt x="20338" y="12325"/>
                      </a:lnTo>
                      <a:lnTo>
                        <a:pt x="20296" y="12220"/>
                      </a:lnTo>
                      <a:lnTo>
                        <a:pt x="20401" y="12136"/>
                      </a:lnTo>
                      <a:lnTo>
                        <a:pt x="20401" y="12053"/>
                      </a:lnTo>
                      <a:lnTo>
                        <a:pt x="20296" y="11990"/>
                      </a:lnTo>
                      <a:lnTo>
                        <a:pt x="20296" y="11885"/>
                      </a:lnTo>
                      <a:lnTo>
                        <a:pt x="20108" y="11718"/>
                      </a:lnTo>
                      <a:lnTo>
                        <a:pt x="20024" y="11592"/>
                      </a:lnTo>
                      <a:lnTo>
                        <a:pt x="20087" y="11425"/>
                      </a:lnTo>
                      <a:lnTo>
                        <a:pt x="19982" y="11278"/>
                      </a:lnTo>
                      <a:lnTo>
                        <a:pt x="19982" y="11006"/>
                      </a:lnTo>
                      <a:lnTo>
                        <a:pt x="19836" y="10881"/>
                      </a:lnTo>
                      <a:lnTo>
                        <a:pt x="19836" y="10693"/>
                      </a:lnTo>
                      <a:lnTo>
                        <a:pt x="19794" y="10651"/>
                      </a:lnTo>
                      <a:lnTo>
                        <a:pt x="19710" y="10630"/>
                      </a:lnTo>
                      <a:lnTo>
                        <a:pt x="19689" y="10462"/>
                      </a:lnTo>
                      <a:lnTo>
                        <a:pt x="19522" y="10337"/>
                      </a:lnTo>
                      <a:lnTo>
                        <a:pt x="19459" y="10379"/>
                      </a:lnTo>
                      <a:lnTo>
                        <a:pt x="19689" y="10860"/>
                      </a:lnTo>
                      <a:lnTo>
                        <a:pt x="19752" y="11174"/>
                      </a:lnTo>
                      <a:lnTo>
                        <a:pt x="19710" y="11425"/>
                      </a:lnTo>
                      <a:lnTo>
                        <a:pt x="19522" y="11676"/>
                      </a:lnTo>
                      <a:lnTo>
                        <a:pt x="19396" y="11802"/>
                      </a:lnTo>
                      <a:lnTo>
                        <a:pt x="19396" y="11885"/>
                      </a:lnTo>
                      <a:lnTo>
                        <a:pt x="19480" y="11948"/>
                      </a:lnTo>
                      <a:lnTo>
                        <a:pt x="19501" y="12136"/>
                      </a:lnTo>
                      <a:lnTo>
                        <a:pt x="19417" y="12346"/>
                      </a:lnTo>
                      <a:lnTo>
                        <a:pt x="19417" y="12471"/>
                      </a:lnTo>
                      <a:lnTo>
                        <a:pt x="19627" y="12618"/>
                      </a:lnTo>
                      <a:lnTo>
                        <a:pt x="19899" y="12848"/>
                      </a:lnTo>
                      <a:lnTo>
                        <a:pt x="19940" y="12994"/>
                      </a:lnTo>
                      <a:lnTo>
                        <a:pt x="20108" y="12994"/>
                      </a:lnTo>
                      <a:lnTo>
                        <a:pt x="20233" y="13141"/>
                      </a:lnTo>
                      <a:lnTo>
                        <a:pt x="20338" y="13371"/>
                      </a:lnTo>
                      <a:lnTo>
                        <a:pt x="20317" y="13727"/>
                      </a:lnTo>
                      <a:lnTo>
                        <a:pt x="20275" y="13894"/>
                      </a:lnTo>
                      <a:lnTo>
                        <a:pt x="20422" y="14103"/>
                      </a:lnTo>
                      <a:lnTo>
                        <a:pt x="20380" y="14354"/>
                      </a:lnTo>
                      <a:lnTo>
                        <a:pt x="20464" y="14501"/>
                      </a:lnTo>
                      <a:lnTo>
                        <a:pt x="20673" y="14731"/>
                      </a:lnTo>
                      <a:lnTo>
                        <a:pt x="20715" y="14856"/>
                      </a:lnTo>
                      <a:lnTo>
                        <a:pt x="20673" y="15024"/>
                      </a:lnTo>
                      <a:lnTo>
                        <a:pt x="20736" y="15087"/>
                      </a:lnTo>
                      <a:lnTo>
                        <a:pt x="20882" y="15149"/>
                      </a:lnTo>
                      <a:lnTo>
                        <a:pt x="21070" y="15045"/>
                      </a:lnTo>
                      <a:lnTo>
                        <a:pt x="21280" y="15087"/>
                      </a:lnTo>
                      <a:lnTo>
                        <a:pt x="21363" y="15045"/>
                      </a:lnTo>
                      <a:lnTo>
                        <a:pt x="21384" y="14877"/>
                      </a:lnTo>
                      <a:lnTo>
                        <a:pt x="21510" y="14752"/>
                      </a:lnTo>
                      <a:lnTo>
                        <a:pt x="21677" y="14815"/>
                      </a:lnTo>
                      <a:lnTo>
                        <a:pt x="21782" y="14773"/>
                      </a:lnTo>
                      <a:lnTo>
                        <a:pt x="21991" y="14919"/>
                      </a:lnTo>
                      <a:lnTo>
                        <a:pt x="22116" y="14856"/>
                      </a:lnTo>
                      <a:lnTo>
                        <a:pt x="22200" y="14982"/>
                      </a:lnTo>
                      <a:lnTo>
                        <a:pt x="22451" y="15087"/>
                      </a:lnTo>
                      <a:lnTo>
                        <a:pt x="22640" y="15087"/>
                      </a:lnTo>
                      <a:lnTo>
                        <a:pt x="22765" y="15275"/>
                      </a:lnTo>
                      <a:lnTo>
                        <a:pt x="22765" y="15379"/>
                      </a:lnTo>
                      <a:lnTo>
                        <a:pt x="22953" y="15484"/>
                      </a:lnTo>
                      <a:lnTo>
                        <a:pt x="23016" y="15589"/>
                      </a:lnTo>
                      <a:lnTo>
                        <a:pt x="23037" y="15610"/>
                      </a:lnTo>
                      <a:lnTo>
                        <a:pt x="23058" y="15693"/>
                      </a:lnTo>
                      <a:lnTo>
                        <a:pt x="23142" y="15777"/>
                      </a:lnTo>
                      <a:lnTo>
                        <a:pt x="23058" y="15861"/>
                      </a:lnTo>
                      <a:lnTo>
                        <a:pt x="22953" y="15882"/>
                      </a:lnTo>
                      <a:lnTo>
                        <a:pt x="22953" y="16070"/>
                      </a:lnTo>
                      <a:lnTo>
                        <a:pt x="23037" y="16216"/>
                      </a:lnTo>
                      <a:lnTo>
                        <a:pt x="23121" y="16279"/>
                      </a:lnTo>
                      <a:lnTo>
                        <a:pt x="23079" y="16384"/>
                      </a:lnTo>
                      <a:lnTo>
                        <a:pt x="23163" y="16488"/>
                      </a:lnTo>
                      <a:lnTo>
                        <a:pt x="23288" y="16488"/>
                      </a:lnTo>
                      <a:lnTo>
                        <a:pt x="23372" y="16593"/>
                      </a:lnTo>
                      <a:lnTo>
                        <a:pt x="23518" y="16593"/>
                      </a:lnTo>
                      <a:lnTo>
                        <a:pt x="23602" y="16426"/>
                      </a:lnTo>
                      <a:lnTo>
                        <a:pt x="23665" y="16509"/>
                      </a:lnTo>
                      <a:lnTo>
                        <a:pt x="23769" y="16488"/>
                      </a:lnTo>
                      <a:lnTo>
                        <a:pt x="23832" y="16509"/>
                      </a:lnTo>
                      <a:lnTo>
                        <a:pt x="23790" y="16530"/>
                      </a:lnTo>
                      <a:lnTo>
                        <a:pt x="23728" y="16593"/>
                      </a:lnTo>
                      <a:lnTo>
                        <a:pt x="23560" y="16614"/>
                      </a:lnTo>
                      <a:lnTo>
                        <a:pt x="23456" y="16635"/>
                      </a:lnTo>
                      <a:lnTo>
                        <a:pt x="23288" y="16656"/>
                      </a:lnTo>
                      <a:lnTo>
                        <a:pt x="23142" y="16551"/>
                      </a:lnTo>
                      <a:lnTo>
                        <a:pt x="22995" y="16551"/>
                      </a:lnTo>
                      <a:lnTo>
                        <a:pt x="22932" y="16426"/>
                      </a:lnTo>
                      <a:lnTo>
                        <a:pt x="22974" y="16384"/>
                      </a:lnTo>
                      <a:lnTo>
                        <a:pt x="22953" y="16237"/>
                      </a:lnTo>
                      <a:lnTo>
                        <a:pt x="22849" y="16112"/>
                      </a:lnTo>
                      <a:lnTo>
                        <a:pt x="22828" y="15986"/>
                      </a:lnTo>
                      <a:lnTo>
                        <a:pt x="22723" y="15923"/>
                      </a:lnTo>
                      <a:lnTo>
                        <a:pt x="22744" y="15798"/>
                      </a:lnTo>
                      <a:lnTo>
                        <a:pt x="22619" y="15610"/>
                      </a:lnTo>
                      <a:lnTo>
                        <a:pt x="22556" y="15610"/>
                      </a:lnTo>
                      <a:lnTo>
                        <a:pt x="22430" y="15526"/>
                      </a:lnTo>
                      <a:lnTo>
                        <a:pt x="22242" y="15421"/>
                      </a:lnTo>
                      <a:lnTo>
                        <a:pt x="22242" y="15254"/>
                      </a:lnTo>
                      <a:lnTo>
                        <a:pt x="22054" y="15066"/>
                      </a:lnTo>
                      <a:lnTo>
                        <a:pt x="21907" y="15066"/>
                      </a:lnTo>
                      <a:lnTo>
                        <a:pt x="21677" y="15317"/>
                      </a:lnTo>
                      <a:lnTo>
                        <a:pt x="21510" y="15338"/>
                      </a:lnTo>
                      <a:lnTo>
                        <a:pt x="21405" y="15463"/>
                      </a:lnTo>
                      <a:lnTo>
                        <a:pt x="21217" y="15589"/>
                      </a:lnTo>
                      <a:lnTo>
                        <a:pt x="21259" y="15944"/>
                      </a:lnTo>
                      <a:lnTo>
                        <a:pt x="21321" y="16049"/>
                      </a:lnTo>
                      <a:lnTo>
                        <a:pt x="21572" y="16175"/>
                      </a:lnTo>
                      <a:lnTo>
                        <a:pt x="21761" y="16593"/>
                      </a:lnTo>
                      <a:lnTo>
                        <a:pt x="21719" y="16698"/>
                      </a:lnTo>
                      <a:lnTo>
                        <a:pt x="21531" y="17012"/>
                      </a:lnTo>
                      <a:lnTo>
                        <a:pt x="21510" y="17179"/>
                      </a:lnTo>
                      <a:lnTo>
                        <a:pt x="21614" y="17367"/>
                      </a:lnTo>
                      <a:lnTo>
                        <a:pt x="21510" y="17639"/>
                      </a:lnTo>
                      <a:lnTo>
                        <a:pt x="21510" y="17744"/>
                      </a:lnTo>
                      <a:lnTo>
                        <a:pt x="21363" y="17890"/>
                      </a:lnTo>
                      <a:lnTo>
                        <a:pt x="21363" y="17974"/>
                      </a:lnTo>
                      <a:lnTo>
                        <a:pt x="21259" y="18016"/>
                      </a:lnTo>
                      <a:lnTo>
                        <a:pt x="21175" y="18120"/>
                      </a:lnTo>
                      <a:lnTo>
                        <a:pt x="21175" y="18267"/>
                      </a:lnTo>
                      <a:lnTo>
                        <a:pt x="21259" y="18330"/>
                      </a:lnTo>
                      <a:lnTo>
                        <a:pt x="21259" y="18434"/>
                      </a:lnTo>
                      <a:lnTo>
                        <a:pt x="21070" y="18539"/>
                      </a:lnTo>
                      <a:lnTo>
                        <a:pt x="20840" y="18497"/>
                      </a:lnTo>
                      <a:lnTo>
                        <a:pt x="20798" y="18434"/>
                      </a:lnTo>
                      <a:lnTo>
                        <a:pt x="20589" y="18434"/>
                      </a:lnTo>
                      <a:lnTo>
                        <a:pt x="20380" y="18476"/>
                      </a:lnTo>
                      <a:lnTo>
                        <a:pt x="20212" y="18413"/>
                      </a:lnTo>
                      <a:lnTo>
                        <a:pt x="19794" y="18330"/>
                      </a:lnTo>
                      <a:lnTo>
                        <a:pt x="19627" y="18183"/>
                      </a:lnTo>
                      <a:lnTo>
                        <a:pt x="19585" y="18079"/>
                      </a:lnTo>
                      <a:lnTo>
                        <a:pt x="19396" y="18100"/>
                      </a:lnTo>
                      <a:lnTo>
                        <a:pt x="19334" y="18204"/>
                      </a:lnTo>
                      <a:lnTo>
                        <a:pt x="19313" y="18162"/>
                      </a:lnTo>
                      <a:lnTo>
                        <a:pt x="19229" y="18120"/>
                      </a:lnTo>
                      <a:lnTo>
                        <a:pt x="19313" y="17974"/>
                      </a:lnTo>
                      <a:lnTo>
                        <a:pt x="19480" y="17953"/>
                      </a:lnTo>
                      <a:lnTo>
                        <a:pt x="19794" y="17890"/>
                      </a:lnTo>
                      <a:lnTo>
                        <a:pt x="19836" y="17807"/>
                      </a:lnTo>
                      <a:lnTo>
                        <a:pt x="20108" y="17974"/>
                      </a:lnTo>
                      <a:lnTo>
                        <a:pt x="20171" y="17974"/>
                      </a:lnTo>
                      <a:lnTo>
                        <a:pt x="20212" y="17890"/>
                      </a:lnTo>
                      <a:lnTo>
                        <a:pt x="20338" y="17890"/>
                      </a:lnTo>
                      <a:lnTo>
                        <a:pt x="20338" y="17974"/>
                      </a:lnTo>
                      <a:lnTo>
                        <a:pt x="20150" y="18079"/>
                      </a:lnTo>
                      <a:lnTo>
                        <a:pt x="20254" y="18183"/>
                      </a:lnTo>
                      <a:lnTo>
                        <a:pt x="20464" y="18162"/>
                      </a:lnTo>
                      <a:lnTo>
                        <a:pt x="20547" y="18058"/>
                      </a:lnTo>
                      <a:lnTo>
                        <a:pt x="20673" y="17995"/>
                      </a:lnTo>
                      <a:lnTo>
                        <a:pt x="20673" y="17911"/>
                      </a:lnTo>
                      <a:lnTo>
                        <a:pt x="20568" y="17786"/>
                      </a:lnTo>
                      <a:lnTo>
                        <a:pt x="20568" y="17702"/>
                      </a:lnTo>
                      <a:lnTo>
                        <a:pt x="20694" y="17786"/>
                      </a:lnTo>
                      <a:lnTo>
                        <a:pt x="20756" y="17702"/>
                      </a:lnTo>
                      <a:lnTo>
                        <a:pt x="20756" y="17472"/>
                      </a:lnTo>
                      <a:lnTo>
                        <a:pt x="20882" y="17388"/>
                      </a:lnTo>
                      <a:lnTo>
                        <a:pt x="20861" y="17325"/>
                      </a:lnTo>
                      <a:lnTo>
                        <a:pt x="20777" y="17346"/>
                      </a:lnTo>
                      <a:lnTo>
                        <a:pt x="20756" y="17284"/>
                      </a:lnTo>
                      <a:lnTo>
                        <a:pt x="20882" y="17242"/>
                      </a:lnTo>
                      <a:lnTo>
                        <a:pt x="20882" y="17012"/>
                      </a:lnTo>
                      <a:lnTo>
                        <a:pt x="20840" y="16928"/>
                      </a:lnTo>
                      <a:lnTo>
                        <a:pt x="20903" y="16823"/>
                      </a:lnTo>
                      <a:lnTo>
                        <a:pt x="20903" y="16760"/>
                      </a:lnTo>
                      <a:lnTo>
                        <a:pt x="21008" y="16698"/>
                      </a:lnTo>
                      <a:lnTo>
                        <a:pt x="20987" y="16509"/>
                      </a:lnTo>
                      <a:lnTo>
                        <a:pt x="20861" y="16384"/>
                      </a:lnTo>
                      <a:lnTo>
                        <a:pt x="20777" y="16175"/>
                      </a:lnTo>
                      <a:lnTo>
                        <a:pt x="20798" y="16007"/>
                      </a:lnTo>
                      <a:lnTo>
                        <a:pt x="20798" y="15882"/>
                      </a:lnTo>
                      <a:lnTo>
                        <a:pt x="20861" y="15903"/>
                      </a:lnTo>
                      <a:lnTo>
                        <a:pt x="20861" y="15819"/>
                      </a:lnTo>
                      <a:lnTo>
                        <a:pt x="20673" y="15651"/>
                      </a:lnTo>
                      <a:lnTo>
                        <a:pt x="20589" y="15610"/>
                      </a:lnTo>
                      <a:lnTo>
                        <a:pt x="20526" y="15505"/>
                      </a:lnTo>
                      <a:lnTo>
                        <a:pt x="20338" y="15463"/>
                      </a:lnTo>
                      <a:lnTo>
                        <a:pt x="20108" y="15170"/>
                      </a:lnTo>
                      <a:lnTo>
                        <a:pt x="20045" y="14940"/>
                      </a:lnTo>
                      <a:lnTo>
                        <a:pt x="20003" y="14877"/>
                      </a:lnTo>
                      <a:lnTo>
                        <a:pt x="20045" y="14794"/>
                      </a:lnTo>
                      <a:lnTo>
                        <a:pt x="19919" y="14710"/>
                      </a:lnTo>
                      <a:lnTo>
                        <a:pt x="19836" y="14563"/>
                      </a:lnTo>
                      <a:lnTo>
                        <a:pt x="19899" y="14417"/>
                      </a:lnTo>
                      <a:lnTo>
                        <a:pt x="19710" y="14145"/>
                      </a:lnTo>
                      <a:lnTo>
                        <a:pt x="19710" y="13978"/>
                      </a:lnTo>
                      <a:lnTo>
                        <a:pt x="19585" y="13831"/>
                      </a:lnTo>
                      <a:lnTo>
                        <a:pt x="19606" y="13768"/>
                      </a:lnTo>
                      <a:lnTo>
                        <a:pt x="19606" y="13685"/>
                      </a:lnTo>
                      <a:lnTo>
                        <a:pt x="19501" y="13580"/>
                      </a:lnTo>
                      <a:lnTo>
                        <a:pt x="19438" y="13224"/>
                      </a:lnTo>
                      <a:lnTo>
                        <a:pt x="19375" y="13078"/>
                      </a:lnTo>
                      <a:lnTo>
                        <a:pt x="19229" y="12973"/>
                      </a:lnTo>
                      <a:lnTo>
                        <a:pt x="19292" y="12910"/>
                      </a:lnTo>
                      <a:lnTo>
                        <a:pt x="19250" y="12848"/>
                      </a:lnTo>
                      <a:lnTo>
                        <a:pt x="19166" y="12869"/>
                      </a:lnTo>
                      <a:lnTo>
                        <a:pt x="19166" y="12848"/>
                      </a:lnTo>
                      <a:lnTo>
                        <a:pt x="19041" y="12806"/>
                      </a:lnTo>
                      <a:lnTo>
                        <a:pt x="18957" y="12638"/>
                      </a:lnTo>
                      <a:lnTo>
                        <a:pt x="18831" y="12534"/>
                      </a:lnTo>
                      <a:lnTo>
                        <a:pt x="18769" y="12408"/>
                      </a:lnTo>
                      <a:lnTo>
                        <a:pt x="18852" y="12387"/>
                      </a:lnTo>
                      <a:lnTo>
                        <a:pt x="18873" y="12283"/>
                      </a:lnTo>
                      <a:lnTo>
                        <a:pt x="18831" y="12178"/>
                      </a:lnTo>
                      <a:lnTo>
                        <a:pt x="18852" y="12094"/>
                      </a:lnTo>
                      <a:lnTo>
                        <a:pt x="18790" y="11990"/>
                      </a:lnTo>
                      <a:lnTo>
                        <a:pt x="18852" y="11676"/>
                      </a:lnTo>
                      <a:lnTo>
                        <a:pt x="18769" y="11488"/>
                      </a:lnTo>
                      <a:lnTo>
                        <a:pt x="18769" y="11278"/>
                      </a:lnTo>
                      <a:lnTo>
                        <a:pt x="18727" y="11195"/>
                      </a:lnTo>
                      <a:lnTo>
                        <a:pt x="18727" y="11069"/>
                      </a:lnTo>
                      <a:lnTo>
                        <a:pt x="18643" y="10944"/>
                      </a:lnTo>
                      <a:lnTo>
                        <a:pt x="18748" y="10881"/>
                      </a:lnTo>
                      <a:lnTo>
                        <a:pt x="18685" y="10776"/>
                      </a:lnTo>
                      <a:lnTo>
                        <a:pt x="18559" y="10755"/>
                      </a:lnTo>
                      <a:lnTo>
                        <a:pt x="18413" y="10755"/>
                      </a:lnTo>
                      <a:lnTo>
                        <a:pt x="18057" y="10630"/>
                      </a:lnTo>
                      <a:lnTo>
                        <a:pt x="17932" y="10630"/>
                      </a:lnTo>
                      <a:lnTo>
                        <a:pt x="17890" y="10672"/>
                      </a:lnTo>
                      <a:lnTo>
                        <a:pt x="17785" y="10630"/>
                      </a:lnTo>
                      <a:lnTo>
                        <a:pt x="17681" y="10630"/>
                      </a:lnTo>
                      <a:lnTo>
                        <a:pt x="17534" y="10714"/>
                      </a:lnTo>
                      <a:lnTo>
                        <a:pt x="17388" y="10714"/>
                      </a:lnTo>
                      <a:lnTo>
                        <a:pt x="17262" y="10755"/>
                      </a:lnTo>
                      <a:lnTo>
                        <a:pt x="17220" y="10714"/>
                      </a:lnTo>
                      <a:lnTo>
                        <a:pt x="17262" y="10651"/>
                      </a:lnTo>
                      <a:lnTo>
                        <a:pt x="17158" y="10609"/>
                      </a:lnTo>
                      <a:lnTo>
                        <a:pt x="17053" y="10630"/>
                      </a:lnTo>
                      <a:lnTo>
                        <a:pt x="17074" y="10860"/>
                      </a:lnTo>
                      <a:lnTo>
                        <a:pt x="17053" y="11069"/>
                      </a:lnTo>
                      <a:lnTo>
                        <a:pt x="17158" y="11195"/>
                      </a:lnTo>
                      <a:lnTo>
                        <a:pt x="17116" y="11258"/>
                      </a:lnTo>
                      <a:lnTo>
                        <a:pt x="17074" y="11467"/>
                      </a:lnTo>
                      <a:lnTo>
                        <a:pt x="17158" y="11550"/>
                      </a:lnTo>
                      <a:lnTo>
                        <a:pt x="17158" y="11676"/>
                      </a:lnTo>
                      <a:lnTo>
                        <a:pt x="17199" y="11760"/>
                      </a:lnTo>
                      <a:lnTo>
                        <a:pt x="17158" y="11822"/>
                      </a:lnTo>
                      <a:lnTo>
                        <a:pt x="17158" y="12011"/>
                      </a:lnTo>
                      <a:lnTo>
                        <a:pt x="17220" y="12136"/>
                      </a:lnTo>
                      <a:lnTo>
                        <a:pt x="17158" y="12304"/>
                      </a:lnTo>
                      <a:lnTo>
                        <a:pt x="17158" y="12408"/>
                      </a:lnTo>
                      <a:lnTo>
                        <a:pt x="17199" y="12534"/>
                      </a:lnTo>
                      <a:lnTo>
                        <a:pt x="17178" y="12618"/>
                      </a:lnTo>
                      <a:lnTo>
                        <a:pt x="17053" y="12701"/>
                      </a:lnTo>
                      <a:lnTo>
                        <a:pt x="16844" y="13015"/>
                      </a:lnTo>
                      <a:lnTo>
                        <a:pt x="16760" y="13057"/>
                      </a:lnTo>
                      <a:lnTo>
                        <a:pt x="16781" y="13162"/>
                      </a:lnTo>
                      <a:lnTo>
                        <a:pt x="16865" y="13266"/>
                      </a:lnTo>
                      <a:lnTo>
                        <a:pt x="16802" y="13371"/>
                      </a:lnTo>
                      <a:lnTo>
                        <a:pt x="16781" y="13559"/>
                      </a:lnTo>
                      <a:lnTo>
                        <a:pt x="16906" y="13685"/>
                      </a:lnTo>
                      <a:lnTo>
                        <a:pt x="16990" y="13643"/>
                      </a:lnTo>
                      <a:lnTo>
                        <a:pt x="17074" y="13706"/>
                      </a:lnTo>
                      <a:lnTo>
                        <a:pt x="17158" y="13915"/>
                      </a:lnTo>
                      <a:lnTo>
                        <a:pt x="17283" y="13915"/>
                      </a:lnTo>
                      <a:lnTo>
                        <a:pt x="17388" y="14019"/>
                      </a:lnTo>
                      <a:lnTo>
                        <a:pt x="17304" y="13999"/>
                      </a:lnTo>
                      <a:lnTo>
                        <a:pt x="17220" y="14103"/>
                      </a:lnTo>
                      <a:lnTo>
                        <a:pt x="17220" y="14271"/>
                      </a:lnTo>
                      <a:lnTo>
                        <a:pt x="17409" y="14396"/>
                      </a:lnTo>
                      <a:lnTo>
                        <a:pt x="17409" y="14522"/>
                      </a:lnTo>
                      <a:lnTo>
                        <a:pt x="17325" y="14605"/>
                      </a:lnTo>
                      <a:lnTo>
                        <a:pt x="17262" y="14543"/>
                      </a:lnTo>
                      <a:lnTo>
                        <a:pt x="17262" y="14626"/>
                      </a:lnTo>
                      <a:lnTo>
                        <a:pt x="17367" y="14898"/>
                      </a:lnTo>
                      <a:lnTo>
                        <a:pt x="17430" y="14961"/>
                      </a:lnTo>
                      <a:lnTo>
                        <a:pt x="17492" y="15149"/>
                      </a:lnTo>
                      <a:lnTo>
                        <a:pt x="17534" y="15066"/>
                      </a:lnTo>
                      <a:lnTo>
                        <a:pt x="17639" y="15149"/>
                      </a:lnTo>
                      <a:lnTo>
                        <a:pt x="17764" y="15149"/>
                      </a:lnTo>
                      <a:lnTo>
                        <a:pt x="17911" y="15233"/>
                      </a:lnTo>
                      <a:lnTo>
                        <a:pt x="18015" y="15066"/>
                      </a:lnTo>
                      <a:lnTo>
                        <a:pt x="18057" y="15128"/>
                      </a:lnTo>
                      <a:lnTo>
                        <a:pt x="18057" y="15338"/>
                      </a:lnTo>
                      <a:lnTo>
                        <a:pt x="18141" y="15442"/>
                      </a:lnTo>
                      <a:lnTo>
                        <a:pt x="18183" y="15463"/>
                      </a:lnTo>
                      <a:lnTo>
                        <a:pt x="18434" y="15756"/>
                      </a:lnTo>
                      <a:lnTo>
                        <a:pt x="18559" y="15777"/>
                      </a:lnTo>
                      <a:lnTo>
                        <a:pt x="18643" y="15735"/>
                      </a:lnTo>
                      <a:lnTo>
                        <a:pt x="18748" y="15735"/>
                      </a:lnTo>
                      <a:lnTo>
                        <a:pt x="18769" y="15777"/>
                      </a:lnTo>
                      <a:lnTo>
                        <a:pt x="18873" y="15777"/>
                      </a:lnTo>
                      <a:lnTo>
                        <a:pt x="18769" y="15861"/>
                      </a:lnTo>
                      <a:lnTo>
                        <a:pt x="18769" y="16175"/>
                      </a:lnTo>
                      <a:lnTo>
                        <a:pt x="18748" y="16258"/>
                      </a:lnTo>
                      <a:lnTo>
                        <a:pt x="18811" y="16384"/>
                      </a:lnTo>
                      <a:lnTo>
                        <a:pt x="18790" y="16426"/>
                      </a:lnTo>
                      <a:lnTo>
                        <a:pt x="18706" y="16426"/>
                      </a:lnTo>
                      <a:lnTo>
                        <a:pt x="18748" y="16593"/>
                      </a:lnTo>
                      <a:lnTo>
                        <a:pt x="18748" y="16677"/>
                      </a:lnTo>
                      <a:lnTo>
                        <a:pt x="18601" y="16635"/>
                      </a:lnTo>
                      <a:lnTo>
                        <a:pt x="18476" y="16384"/>
                      </a:lnTo>
                      <a:lnTo>
                        <a:pt x="18329" y="16258"/>
                      </a:lnTo>
                      <a:lnTo>
                        <a:pt x="18141" y="16216"/>
                      </a:lnTo>
                      <a:lnTo>
                        <a:pt x="18057" y="16070"/>
                      </a:lnTo>
                      <a:lnTo>
                        <a:pt x="17932" y="15965"/>
                      </a:lnTo>
                      <a:lnTo>
                        <a:pt x="17618" y="15944"/>
                      </a:lnTo>
                      <a:lnTo>
                        <a:pt x="17304" y="15756"/>
                      </a:lnTo>
                      <a:lnTo>
                        <a:pt x="17116" y="15735"/>
                      </a:lnTo>
                      <a:lnTo>
                        <a:pt x="17095" y="15631"/>
                      </a:lnTo>
                      <a:lnTo>
                        <a:pt x="17011" y="15631"/>
                      </a:lnTo>
                      <a:lnTo>
                        <a:pt x="16906" y="15547"/>
                      </a:lnTo>
                      <a:lnTo>
                        <a:pt x="16760" y="15589"/>
                      </a:lnTo>
                      <a:lnTo>
                        <a:pt x="16655" y="15693"/>
                      </a:lnTo>
                      <a:lnTo>
                        <a:pt x="16593" y="15568"/>
                      </a:lnTo>
                      <a:lnTo>
                        <a:pt x="16614" y="15526"/>
                      </a:lnTo>
                      <a:lnTo>
                        <a:pt x="16593" y="15442"/>
                      </a:lnTo>
                      <a:lnTo>
                        <a:pt x="16237" y="15317"/>
                      </a:lnTo>
                      <a:lnTo>
                        <a:pt x="16070" y="15212"/>
                      </a:lnTo>
                      <a:lnTo>
                        <a:pt x="15526" y="15170"/>
                      </a:lnTo>
                      <a:lnTo>
                        <a:pt x="15086" y="15233"/>
                      </a:lnTo>
                      <a:lnTo>
                        <a:pt x="14982" y="15191"/>
                      </a:lnTo>
                      <a:lnTo>
                        <a:pt x="14877" y="15233"/>
                      </a:lnTo>
                      <a:lnTo>
                        <a:pt x="14772" y="15170"/>
                      </a:lnTo>
                      <a:lnTo>
                        <a:pt x="14710" y="15212"/>
                      </a:lnTo>
                      <a:lnTo>
                        <a:pt x="14605" y="15170"/>
                      </a:lnTo>
                      <a:lnTo>
                        <a:pt x="14521" y="15233"/>
                      </a:lnTo>
                      <a:lnTo>
                        <a:pt x="14584" y="15359"/>
                      </a:lnTo>
                      <a:lnTo>
                        <a:pt x="14584" y="15463"/>
                      </a:lnTo>
                      <a:lnTo>
                        <a:pt x="14458" y="15505"/>
                      </a:lnTo>
                      <a:lnTo>
                        <a:pt x="14458" y="15568"/>
                      </a:lnTo>
                      <a:lnTo>
                        <a:pt x="14521" y="15693"/>
                      </a:lnTo>
                      <a:lnTo>
                        <a:pt x="14605" y="15756"/>
                      </a:lnTo>
                      <a:lnTo>
                        <a:pt x="14668" y="15965"/>
                      </a:lnTo>
                      <a:lnTo>
                        <a:pt x="14710" y="16070"/>
                      </a:lnTo>
                      <a:lnTo>
                        <a:pt x="14751" y="15965"/>
                      </a:lnTo>
                      <a:lnTo>
                        <a:pt x="14814" y="15965"/>
                      </a:lnTo>
                      <a:lnTo>
                        <a:pt x="14919" y="16133"/>
                      </a:lnTo>
                      <a:lnTo>
                        <a:pt x="14919" y="16237"/>
                      </a:lnTo>
                      <a:lnTo>
                        <a:pt x="15044" y="16279"/>
                      </a:lnTo>
                      <a:lnTo>
                        <a:pt x="15212" y="16447"/>
                      </a:lnTo>
                      <a:lnTo>
                        <a:pt x="15044" y="16426"/>
                      </a:lnTo>
                      <a:lnTo>
                        <a:pt x="15002" y="16384"/>
                      </a:lnTo>
                      <a:lnTo>
                        <a:pt x="14919" y="16384"/>
                      </a:lnTo>
                      <a:lnTo>
                        <a:pt x="14877" y="16551"/>
                      </a:lnTo>
                      <a:lnTo>
                        <a:pt x="14772" y="16635"/>
                      </a:lnTo>
                      <a:lnTo>
                        <a:pt x="14605" y="16551"/>
                      </a:lnTo>
                      <a:lnTo>
                        <a:pt x="14521" y="16614"/>
                      </a:lnTo>
                      <a:lnTo>
                        <a:pt x="14521" y="16656"/>
                      </a:lnTo>
                      <a:lnTo>
                        <a:pt x="14668" y="16823"/>
                      </a:lnTo>
                      <a:lnTo>
                        <a:pt x="14710" y="16865"/>
                      </a:lnTo>
                      <a:lnTo>
                        <a:pt x="14710" y="16949"/>
                      </a:lnTo>
                      <a:lnTo>
                        <a:pt x="14668" y="17032"/>
                      </a:lnTo>
                      <a:lnTo>
                        <a:pt x="14375" y="17032"/>
                      </a:lnTo>
                      <a:lnTo>
                        <a:pt x="14291" y="16949"/>
                      </a:lnTo>
                      <a:lnTo>
                        <a:pt x="14312" y="16865"/>
                      </a:lnTo>
                      <a:lnTo>
                        <a:pt x="14270" y="16760"/>
                      </a:lnTo>
                      <a:lnTo>
                        <a:pt x="14375" y="16698"/>
                      </a:lnTo>
                      <a:lnTo>
                        <a:pt x="14375" y="16635"/>
                      </a:lnTo>
                      <a:lnTo>
                        <a:pt x="14270" y="16530"/>
                      </a:lnTo>
                      <a:lnTo>
                        <a:pt x="14186" y="16509"/>
                      </a:lnTo>
                      <a:lnTo>
                        <a:pt x="14270" y="16405"/>
                      </a:lnTo>
                      <a:lnTo>
                        <a:pt x="14249" y="16384"/>
                      </a:lnTo>
                      <a:lnTo>
                        <a:pt x="14165" y="16426"/>
                      </a:lnTo>
                      <a:lnTo>
                        <a:pt x="14103" y="16426"/>
                      </a:lnTo>
                      <a:lnTo>
                        <a:pt x="13956" y="16593"/>
                      </a:lnTo>
                      <a:lnTo>
                        <a:pt x="13873" y="16614"/>
                      </a:lnTo>
                      <a:lnTo>
                        <a:pt x="13768" y="16719"/>
                      </a:lnTo>
                      <a:lnTo>
                        <a:pt x="13768" y="16760"/>
                      </a:lnTo>
                      <a:lnTo>
                        <a:pt x="13642" y="16760"/>
                      </a:lnTo>
                      <a:lnTo>
                        <a:pt x="13580" y="16844"/>
                      </a:lnTo>
                      <a:lnTo>
                        <a:pt x="13580" y="16928"/>
                      </a:lnTo>
                      <a:lnTo>
                        <a:pt x="13517" y="16970"/>
                      </a:lnTo>
                      <a:lnTo>
                        <a:pt x="13245" y="16970"/>
                      </a:lnTo>
                      <a:lnTo>
                        <a:pt x="13161" y="16949"/>
                      </a:lnTo>
                      <a:lnTo>
                        <a:pt x="13119" y="16970"/>
                      </a:lnTo>
                      <a:lnTo>
                        <a:pt x="13036" y="16970"/>
                      </a:lnTo>
                      <a:lnTo>
                        <a:pt x="12952" y="16928"/>
                      </a:lnTo>
                      <a:lnTo>
                        <a:pt x="12805" y="17032"/>
                      </a:lnTo>
                      <a:lnTo>
                        <a:pt x="12785" y="17074"/>
                      </a:lnTo>
                      <a:lnTo>
                        <a:pt x="12680" y="17116"/>
                      </a:lnTo>
                      <a:lnTo>
                        <a:pt x="12575" y="17221"/>
                      </a:lnTo>
                      <a:lnTo>
                        <a:pt x="12575" y="17263"/>
                      </a:lnTo>
                      <a:lnTo>
                        <a:pt x="12638" y="17325"/>
                      </a:lnTo>
                      <a:lnTo>
                        <a:pt x="12617" y="17388"/>
                      </a:lnTo>
                      <a:lnTo>
                        <a:pt x="12638" y="17472"/>
                      </a:lnTo>
                      <a:lnTo>
                        <a:pt x="12617" y="17535"/>
                      </a:lnTo>
                      <a:lnTo>
                        <a:pt x="12513" y="17451"/>
                      </a:lnTo>
                      <a:lnTo>
                        <a:pt x="12471" y="17367"/>
                      </a:lnTo>
                      <a:lnTo>
                        <a:pt x="12408" y="17367"/>
                      </a:lnTo>
                      <a:lnTo>
                        <a:pt x="12282" y="17493"/>
                      </a:lnTo>
                      <a:lnTo>
                        <a:pt x="12220" y="17639"/>
                      </a:lnTo>
                      <a:lnTo>
                        <a:pt x="12220" y="17493"/>
                      </a:lnTo>
                      <a:lnTo>
                        <a:pt x="12094" y="17451"/>
                      </a:lnTo>
                      <a:lnTo>
                        <a:pt x="12010" y="17493"/>
                      </a:lnTo>
                      <a:lnTo>
                        <a:pt x="11948" y="17493"/>
                      </a:lnTo>
                      <a:lnTo>
                        <a:pt x="11864" y="17535"/>
                      </a:lnTo>
                      <a:lnTo>
                        <a:pt x="11759" y="17493"/>
                      </a:lnTo>
                      <a:lnTo>
                        <a:pt x="11738" y="17388"/>
                      </a:lnTo>
                      <a:lnTo>
                        <a:pt x="11864" y="17284"/>
                      </a:lnTo>
                      <a:lnTo>
                        <a:pt x="11969" y="17284"/>
                      </a:lnTo>
                      <a:lnTo>
                        <a:pt x="12010" y="17221"/>
                      </a:lnTo>
                      <a:lnTo>
                        <a:pt x="11948" y="17074"/>
                      </a:lnTo>
                      <a:lnTo>
                        <a:pt x="11969" y="17032"/>
                      </a:lnTo>
                      <a:lnTo>
                        <a:pt x="12052" y="16970"/>
                      </a:lnTo>
                      <a:lnTo>
                        <a:pt x="11906" y="16844"/>
                      </a:lnTo>
                      <a:lnTo>
                        <a:pt x="11864" y="16865"/>
                      </a:lnTo>
                      <a:lnTo>
                        <a:pt x="11780" y="16844"/>
                      </a:lnTo>
                      <a:lnTo>
                        <a:pt x="11759" y="16802"/>
                      </a:lnTo>
                      <a:lnTo>
                        <a:pt x="11969" y="16698"/>
                      </a:lnTo>
                      <a:lnTo>
                        <a:pt x="12052" y="16698"/>
                      </a:lnTo>
                      <a:lnTo>
                        <a:pt x="12157" y="16635"/>
                      </a:lnTo>
                      <a:lnTo>
                        <a:pt x="12115" y="16593"/>
                      </a:lnTo>
                      <a:lnTo>
                        <a:pt x="11906" y="16614"/>
                      </a:lnTo>
                      <a:lnTo>
                        <a:pt x="11592" y="16740"/>
                      </a:lnTo>
                      <a:lnTo>
                        <a:pt x="11529" y="16823"/>
                      </a:lnTo>
                      <a:lnTo>
                        <a:pt x="11571" y="16886"/>
                      </a:lnTo>
                      <a:lnTo>
                        <a:pt x="11592" y="16970"/>
                      </a:lnTo>
                      <a:lnTo>
                        <a:pt x="11655" y="17053"/>
                      </a:lnTo>
                      <a:lnTo>
                        <a:pt x="11592" y="17137"/>
                      </a:lnTo>
                      <a:lnTo>
                        <a:pt x="11529" y="17158"/>
                      </a:lnTo>
                      <a:lnTo>
                        <a:pt x="11425" y="17053"/>
                      </a:lnTo>
                      <a:lnTo>
                        <a:pt x="11445" y="17012"/>
                      </a:lnTo>
                      <a:lnTo>
                        <a:pt x="11487" y="16991"/>
                      </a:lnTo>
                      <a:lnTo>
                        <a:pt x="11466" y="16907"/>
                      </a:lnTo>
                      <a:lnTo>
                        <a:pt x="11445" y="16907"/>
                      </a:lnTo>
                      <a:lnTo>
                        <a:pt x="11236" y="17116"/>
                      </a:lnTo>
                      <a:lnTo>
                        <a:pt x="11236" y="17158"/>
                      </a:lnTo>
                      <a:lnTo>
                        <a:pt x="11320" y="17242"/>
                      </a:lnTo>
                      <a:lnTo>
                        <a:pt x="11383" y="17263"/>
                      </a:lnTo>
                      <a:lnTo>
                        <a:pt x="11383" y="17346"/>
                      </a:lnTo>
                      <a:lnTo>
                        <a:pt x="11257" y="17472"/>
                      </a:lnTo>
                      <a:lnTo>
                        <a:pt x="11215" y="17430"/>
                      </a:lnTo>
                      <a:lnTo>
                        <a:pt x="11257" y="17346"/>
                      </a:lnTo>
                      <a:lnTo>
                        <a:pt x="11236" y="17263"/>
                      </a:lnTo>
                      <a:lnTo>
                        <a:pt x="11173" y="17263"/>
                      </a:lnTo>
                      <a:lnTo>
                        <a:pt x="11173" y="17200"/>
                      </a:lnTo>
                      <a:lnTo>
                        <a:pt x="10943" y="17263"/>
                      </a:lnTo>
                      <a:lnTo>
                        <a:pt x="10922" y="17346"/>
                      </a:lnTo>
                      <a:lnTo>
                        <a:pt x="10755" y="17430"/>
                      </a:lnTo>
                      <a:lnTo>
                        <a:pt x="10629" y="17409"/>
                      </a:lnTo>
                      <a:lnTo>
                        <a:pt x="10546" y="17430"/>
                      </a:lnTo>
                      <a:lnTo>
                        <a:pt x="10546" y="17472"/>
                      </a:lnTo>
                      <a:lnTo>
                        <a:pt x="10316" y="17765"/>
                      </a:lnTo>
                      <a:lnTo>
                        <a:pt x="10274" y="17786"/>
                      </a:lnTo>
                      <a:lnTo>
                        <a:pt x="10064" y="18058"/>
                      </a:lnTo>
                      <a:lnTo>
                        <a:pt x="9960" y="18100"/>
                      </a:lnTo>
                      <a:lnTo>
                        <a:pt x="9876" y="18037"/>
                      </a:lnTo>
                      <a:lnTo>
                        <a:pt x="9813" y="18037"/>
                      </a:lnTo>
                      <a:lnTo>
                        <a:pt x="9876" y="18141"/>
                      </a:lnTo>
                      <a:lnTo>
                        <a:pt x="10023" y="18246"/>
                      </a:lnTo>
                      <a:lnTo>
                        <a:pt x="10064" y="18309"/>
                      </a:lnTo>
                      <a:lnTo>
                        <a:pt x="10064" y="18309"/>
                      </a:lnTo>
                      <a:lnTo>
                        <a:pt x="9876" y="18246"/>
                      </a:lnTo>
                      <a:lnTo>
                        <a:pt x="9813" y="18288"/>
                      </a:lnTo>
                      <a:lnTo>
                        <a:pt x="9500" y="18309"/>
                      </a:lnTo>
                      <a:lnTo>
                        <a:pt x="9458" y="18372"/>
                      </a:lnTo>
                      <a:lnTo>
                        <a:pt x="9541" y="18476"/>
                      </a:lnTo>
                      <a:lnTo>
                        <a:pt x="9541" y="18581"/>
                      </a:lnTo>
                      <a:lnTo>
                        <a:pt x="9458" y="18706"/>
                      </a:lnTo>
                      <a:lnTo>
                        <a:pt x="9500" y="18895"/>
                      </a:lnTo>
                      <a:lnTo>
                        <a:pt x="9458" y="19020"/>
                      </a:lnTo>
                      <a:lnTo>
                        <a:pt x="9248" y="19104"/>
                      </a:lnTo>
                      <a:lnTo>
                        <a:pt x="9228" y="19146"/>
                      </a:lnTo>
                      <a:lnTo>
                        <a:pt x="9081" y="19146"/>
                      </a:lnTo>
                      <a:lnTo>
                        <a:pt x="9039" y="19229"/>
                      </a:lnTo>
                      <a:lnTo>
                        <a:pt x="8956" y="19104"/>
                      </a:lnTo>
                      <a:lnTo>
                        <a:pt x="8809" y="19208"/>
                      </a:lnTo>
                      <a:lnTo>
                        <a:pt x="8579" y="19208"/>
                      </a:lnTo>
                      <a:lnTo>
                        <a:pt x="8328" y="18916"/>
                      </a:lnTo>
                      <a:lnTo>
                        <a:pt x="8098" y="18706"/>
                      </a:lnTo>
                      <a:lnTo>
                        <a:pt x="8014" y="18644"/>
                      </a:lnTo>
                      <a:lnTo>
                        <a:pt x="8014" y="18476"/>
                      </a:lnTo>
                      <a:lnTo>
                        <a:pt x="8056" y="18413"/>
                      </a:lnTo>
                      <a:lnTo>
                        <a:pt x="8098" y="18455"/>
                      </a:lnTo>
                      <a:lnTo>
                        <a:pt x="8160" y="18372"/>
                      </a:lnTo>
                      <a:lnTo>
                        <a:pt x="8119" y="18309"/>
                      </a:lnTo>
                      <a:lnTo>
                        <a:pt x="8181" y="18267"/>
                      </a:lnTo>
                      <a:lnTo>
                        <a:pt x="8370" y="18267"/>
                      </a:lnTo>
                      <a:lnTo>
                        <a:pt x="8412" y="18183"/>
                      </a:lnTo>
                      <a:lnTo>
                        <a:pt x="8621" y="18183"/>
                      </a:lnTo>
                      <a:lnTo>
                        <a:pt x="8642" y="18100"/>
                      </a:lnTo>
                      <a:lnTo>
                        <a:pt x="8495" y="17890"/>
                      </a:lnTo>
                      <a:lnTo>
                        <a:pt x="8474" y="17807"/>
                      </a:lnTo>
                      <a:lnTo>
                        <a:pt x="8328" y="17786"/>
                      </a:lnTo>
                      <a:lnTo>
                        <a:pt x="8202" y="17660"/>
                      </a:lnTo>
                      <a:lnTo>
                        <a:pt x="8202" y="17556"/>
                      </a:lnTo>
                      <a:lnTo>
                        <a:pt x="8077" y="17451"/>
                      </a:lnTo>
                      <a:lnTo>
                        <a:pt x="7763" y="17430"/>
                      </a:lnTo>
                      <a:lnTo>
                        <a:pt x="7554" y="17451"/>
                      </a:lnTo>
                      <a:lnTo>
                        <a:pt x="7449" y="17493"/>
                      </a:lnTo>
                      <a:lnTo>
                        <a:pt x="7323" y="17493"/>
                      </a:lnTo>
                      <a:lnTo>
                        <a:pt x="7072" y="17346"/>
                      </a:lnTo>
                      <a:lnTo>
                        <a:pt x="6947" y="17346"/>
                      </a:lnTo>
                      <a:lnTo>
                        <a:pt x="6947" y="17388"/>
                      </a:lnTo>
                      <a:lnTo>
                        <a:pt x="7240" y="17639"/>
                      </a:lnTo>
                      <a:lnTo>
                        <a:pt x="7386" y="17744"/>
                      </a:lnTo>
                      <a:lnTo>
                        <a:pt x="7470" y="17974"/>
                      </a:lnTo>
                      <a:lnTo>
                        <a:pt x="7470" y="18100"/>
                      </a:lnTo>
                      <a:lnTo>
                        <a:pt x="7533" y="18183"/>
                      </a:lnTo>
                      <a:lnTo>
                        <a:pt x="7470" y="18225"/>
                      </a:lnTo>
                      <a:lnTo>
                        <a:pt x="7470" y="18330"/>
                      </a:lnTo>
                      <a:lnTo>
                        <a:pt x="7491" y="18413"/>
                      </a:lnTo>
                      <a:lnTo>
                        <a:pt x="7449" y="18434"/>
                      </a:lnTo>
                      <a:lnTo>
                        <a:pt x="7449" y="18706"/>
                      </a:lnTo>
                      <a:lnTo>
                        <a:pt x="7386" y="18853"/>
                      </a:lnTo>
                      <a:lnTo>
                        <a:pt x="7449" y="18999"/>
                      </a:lnTo>
                      <a:lnTo>
                        <a:pt x="7595" y="18999"/>
                      </a:lnTo>
                      <a:lnTo>
                        <a:pt x="7742" y="19062"/>
                      </a:lnTo>
                      <a:lnTo>
                        <a:pt x="7805" y="19167"/>
                      </a:lnTo>
                      <a:lnTo>
                        <a:pt x="7784" y="19229"/>
                      </a:lnTo>
                      <a:lnTo>
                        <a:pt x="7805" y="19313"/>
                      </a:lnTo>
                      <a:lnTo>
                        <a:pt x="7784" y="19355"/>
                      </a:lnTo>
                      <a:lnTo>
                        <a:pt x="7784" y="19418"/>
                      </a:lnTo>
                      <a:lnTo>
                        <a:pt x="7847" y="19460"/>
                      </a:lnTo>
                      <a:lnTo>
                        <a:pt x="7784" y="19543"/>
                      </a:lnTo>
                      <a:lnTo>
                        <a:pt x="7784" y="19794"/>
                      </a:lnTo>
                      <a:lnTo>
                        <a:pt x="7742" y="19857"/>
                      </a:lnTo>
                      <a:lnTo>
                        <a:pt x="7805" y="20004"/>
                      </a:lnTo>
                      <a:lnTo>
                        <a:pt x="7847" y="20213"/>
                      </a:lnTo>
                      <a:lnTo>
                        <a:pt x="7763" y="20171"/>
                      </a:lnTo>
                      <a:lnTo>
                        <a:pt x="7700" y="20045"/>
                      </a:lnTo>
                      <a:lnTo>
                        <a:pt x="7575" y="19941"/>
                      </a:lnTo>
                      <a:lnTo>
                        <a:pt x="7449" y="20066"/>
                      </a:lnTo>
                      <a:lnTo>
                        <a:pt x="7470" y="19941"/>
                      </a:lnTo>
                      <a:lnTo>
                        <a:pt x="7428" y="19857"/>
                      </a:lnTo>
                      <a:lnTo>
                        <a:pt x="7240" y="19836"/>
                      </a:lnTo>
                      <a:lnTo>
                        <a:pt x="7072" y="19857"/>
                      </a:lnTo>
                      <a:lnTo>
                        <a:pt x="6968" y="19773"/>
                      </a:lnTo>
                      <a:lnTo>
                        <a:pt x="6821" y="19753"/>
                      </a:lnTo>
                      <a:lnTo>
                        <a:pt x="6738" y="19794"/>
                      </a:lnTo>
                      <a:lnTo>
                        <a:pt x="6612" y="20087"/>
                      </a:lnTo>
                      <a:lnTo>
                        <a:pt x="6424" y="20255"/>
                      </a:lnTo>
                      <a:lnTo>
                        <a:pt x="6298" y="20276"/>
                      </a:lnTo>
                      <a:lnTo>
                        <a:pt x="6194" y="20380"/>
                      </a:lnTo>
                      <a:lnTo>
                        <a:pt x="6173" y="20527"/>
                      </a:lnTo>
                      <a:lnTo>
                        <a:pt x="6026" y="20694"/>
                      </a:lnTo>
                      <a:lnTo>
                        <a:pt x="5963" y="20757"/>
                      </a:lnTo>
                      <a:lnTo>
                        <a:pt x="5963" y="20841"/>
                      </a:lnTo>
                      <a:lnTo>
                        <a:pt x="6005" y="21029"/>
                      </a:lnTo>
                      <a:lnTo>
                        <a:pt x="6277" y="21301"/>
                      </a:lnTo>
                      <a:lnTo>
                        <a:pt x="6424" y="21531"/>
                      </a:lnTo>
                      <a:lnTo>
                        <a:pt x="6340" y="21636"/>
                      </a:lnTo>
                      <a:lnTo>
                        <a:pt x="6277" y="21636"/>
                      </a:lnTo>
                      <a:lnTo>
                        <a:pt x="6277" y="21761"/>
                      </a:lnTo>
                      <a:lnTo>
                        <a:pt x="6173" y="21845"/>
                      </a:lnTo>
                      <a:lnTo>
                        <a:pt x="6110" y="21949"/>
                      </a:lnTo>
                      <a:lnTo>
                        <a:pt x="5963" y="21782"/>
                      </a:lnTo>
                      <a:lnTo>
                        <a:pt x="5587" y="21615"/>
                      </a:lnTo>
                      <a:lnTo>
                        <a:pt x="5461" y="21615"/>
                      </a:lnTo>
                      <a:lnTo>
                        <a:pt x="5398" y="21531"/>
                      </a:lnTo>
                      <a:lnTo>
                        <a:pt x="5189" y="21531"/>
                      </a:lnTo>
                      <a:lnTo>
                        <a:pt x="5085" y="21447"/>
                      </a:lnTo>
                      <a:lnTo>
                        <a:pt x="5022" y="21322"/>
                      </a:lnTo>
                      <a:lnTo>
                        <a:pt x="4854" y="21301"/>
                      </a:lnTo>
                      <a:lnTo>
                        <a:pt x="4729" y="21217"/>
                      </a:lnTo>
                      <a:lnTo>
                        <a:pt x="4603" y="21217"/>
                      </a:lnTo>
                      <a:lnTo>
                        <a:pt x="4562" y="21301"/>
                      </a:lnTo>
                      <a:lnTo>
                        <a:pt x="4603" y="21364"/>
                      </a:lnTo>
                      <a:lnTo>
                        <a:pt x="4562" y="21426"/>
                      </a:lnTo>
                      <a:lnTo>
                        <a:pt x="4603" y="21468"/>
                      </a:lnTo>
                      <a:lnTo>
                        <a:pt x="4520" y="21552"/>
                      </a:lnTo>
                      <a:lnTo>
                        <a:pt x="4415" y="21552"/>
                      </a:lnTo>
                      <a:lnTo>
                        <a:pt x="4499" y="21719"/>
                      </a:lnTo>
                      <a:lnTo>
                        <a:pt x="4520" y="21845"/>
                      </a:lnTo>
                      <a:lnTo>
                        <a:pt x="4666" y="21929"/>
                      </a:lnTo>
                      <a:lnTo>
                        <a:pt x="4771" y="22054"/>
                      </a:lnTo>
                      <a:lnTo>
                        <a:pt x="4917" y="22138"/>
                      </a:lnTo>
                      <a:lnTo>
                        <a:pt x="5022" y="22075"/>
                      </a:lnTo>
                      <a:lnTo>
                        <a:pt x="5085" y="22075"/>
                      </a:lnTo>
                      <a:lnTo>
                        <a:pt x="5168" y="22033"/>
                      </a:lnTo>
                      <a:lnTo>
                        <a:pt x="5189" y="22096"/>
                      </a:lnTo>
                      <a:lnTo>
                        <a:pt x="5336" y="22159"/>
                      </a:lnTo>
                      <a:lnTo>
                        <a:pt x="5336" y="22201"/>
                      </a:lnTo>
                      <a:lnTo>
                        <a:pt x="5273" y="22263"/>
                      </a:lnTo>
                      <a:lnTo>
                        <a:pt x="5357" y="22347"/>
                      </a:lnTo>
                      <a:lnTo>
                        <a:pt x="5357" y="22514"/>
                      </a:lnTo>
                      <a:lnTo>
                        <a:pt x="5273" y="22556"/>
                      </a:lnTo>
                      <a:lnTo>
                        <a:pt x="5168" y="22556"/>
                      </a:lnTo>
                      <a:lnTo>
                        <a:pt x="5043" y="22682"/>
                      </a:lnTo>
                      <a:lnTo>
                        <a:pt x="4980" y="22682"/>
                      </a:lnTo>
                      <a:lnTo>
                        <a:pt x="4875" y="22577"/>
                      </a:lnTo>
                      <a:lnTo>
                        <a:pt x="4729" y="22577"/>
                      </a:lnTo>
                      <a:lnTo>
                        <a:pt x="4645" y="22514"/>
                      </a:lnTo>
                      <a:lnTo>
                        <a:pt x="4457" y="22514"/>
                      </a:lnTo>
                      <a:lnTo>
                        <a:pt x="4415" y="22473"/>
                      </a:lnTo>
                      <a:lnTo>
                        <a:pt x="4415" y="22347"/>
                      </a:lnTo>
                      <a:lnTo>
                        <a:pt x="4310" y="22284"/>
                      </a:lnTo>
                      <a:lnTo>
                        <a:pt x="4227" y="22180"/>
                      </a:lnTo>
                      <a:lnTo>
                        <a:pt x="4185" y="22180"/>
                      </a:lnTo>
                      <a:lnTo>
                        <a:pt x="4080" y="22263"/>
                      </a:lnTo>
                      <a:lnTo>
                        <a:pt x="3829" y="22180"/>
                      </a:lnTo>
                      <a:lnTo>
                        <a:pt x="3787" y="22075"/>
                      </a:lnTo>
                      <a:lnTo>
                        <a:pt x="3725" y="22033"/>
                      </a:lnTo>
                      <a:lnTo>
                        <a:pt x="3787" y="21949"/>
                      </a:lnTo>
                      <a:lnTo>
                        <a:pt x="3766" y="21824"/>
                      </a:lnTo>
                      <a:lnTo>
                        <a:pt x="3766" y="21719"/>
                      </a:lnTo>
                      <a:lnTo>
                        <a:pt x="3662" y="21636"/>
                      </a:lnTo>
                      <a:lnTo>
                        <a:pt x="3662" y="21531"/>
                      </a:lnTo>
                      <a:lnTo>
                        <a:pt x="3494" y="21385"/>
                      </a:lnTo>
                      <a:lnTo>
                        <a:pt x="3494" y="21238"/>
                      </a:lnTo>
                      <a:lnTo>
                        <a:pt x="3411" y="21217"/>
                      </a:lnTo>
                      <a:lnTo>
                        <a:pt x="3453" y="21113"/>
                      </a:lnTo>
                      <a:lnTo>
                        <a:pt x="3515" y="21092"/>
                      </a:lnTo>
                      <a:lnTo>
                        <a:pt x="3557" y="20903"/>
                      </a:lnTo>
                      <a:lnTo>
                        <a:pt x="3557" y="20799"/>
                      </a:lnTo>
                      <a:lnTo>
                        <a:pt x="3515" y="20778"/>
                      </a:lnTo>
                      <a:lnTo>
                        <a:pt x="3515" y="20694"/>
                      </a:lnTo>
                      <a:lnTo>
                        <a:pt x="3578" y="20610"/>
                      </a:lnTo>
                      <a:lnTo>
                        <a:pt x="3515" y="20589"/>
                      </a:lnTo>
                      <a:lnTo>
                        <a:pt x="3390" y="20401"/>
                      </a:lnTo>
                      <a:lnTo>
                        <a:pt x="3139" y="20297"/>
                      </a:lnTo>
                      <a:lnTo>
                        <a:pt x="3055" y="20359"/>
                      </a:lnTo>
                      <a:lnTo>
                        <a:pt x="2992" y="20297"/>
                      </a:lnTo>
                      <a:lnTo>
                        <a:pt x="2930" y="20297"/>
                      </a:lnTo>
                      <a:lnTo>
                        <a:pt x="2867" y="20338"/>
                      </a:lnTo>
                      <a:lnTo>
                        <a:pt x="2741" y="20297"/>
                      </a:lnTo>
                      <a:lnTo>
                        <a:pt x="2783" y="20255"/>
                      </a:lnTo>
                      <a:lnTo>
                        <a:pt x="2888" y="20234"/>
                      </a:lnTo>
                      <a:lnTo>
                        <a:pt x="2930" y="20150"/>
                      </a:lnTo>
                      <a:lnTo>
                        <a:pt x="2783" y="20108"/>
                      </a:lnTo>
                      <a:lnTo>
                        <a:pt x="2783" y="20087"/>
                      </a:lnTo>
                      <a:lnTo>
                        <a:pt x="2867" y="20066"/>
                      </a:lnTo>
                      <a:lnTo>
                        <a:pt x="2783" y="20004"/>
                      </a:lnTo>
                      <a:lnTo>
                        <a:pt x="2720" y="20066"/>
                      </a:lnTo>
                      <a:lnTo>
                        <a:pt x="2532" y="20108"/>
                      </a:lnTo>
                      <a:lnTo>
                        <a:pt x="2511" y="20087"/>
                      </a:lnTo>
                      <a:lnTo>
                        <a:pt x="2553" y="20004"/>
                      </a:lnTo>
                      <a:lnTo>
                        <a:pt x="2658" y="19962"/>
                      </a:lnTo>
                      <a:lnTo>
                        <a:pt x="2637" y="19941"/>
                      </a:lnTo>
                      <a:lnTo>
                        <a:pt x="2448" y="19899"/>
                      </a:lnTo>
                      <a:lnTo>
                        <a:pt x="2427" y="19836"/>
                      </a:lnTo>
                      <a:lnTo>
                        <a:pt x="2302" y="19753"/>
                      </a:lnTo>
                      <a:lnTo>
                        <a:pt x="2260" y="19585"/>
                      </a:lnTo>
                      <a:lnTo>
                        <a:pt x="2134" y="19522"/>
                      </a:lnTo>
                      <a:lnTo>
                        <a:pt x="2155" y="19481"/>
                      </a:lnTo>
                      <a:lnTo>
                        <a:pt x="2260" y="19481"/>
                      </a:lnTo>
                      <a:lnTo>
                        <a:pt x="2302" y="19522"/>
                      </a:lnTo>
                      <a:lnTo>
                        <a:pt x="2448" y="19543"/>
                      </a:lnTo>
                      <a:lnTo>
                        <a:pt x="2469" y="19648"/>
                      </a:lnTo>
                      <a:lnTo>
                        <a:pt x="2720" y="19857"/>
                      </a:lnTo>
                      <a:lnTo>
                        <a:pt x="2783" y="19857"/>
                      </a:lnTo>
                      <a:lnTo>
                        <a:pt x="2825" y="19794"/>
                      </a:lnTo>
                      <a:lnTo>
                        <a:pt x="2950" y="19878"/>
                      </a:lnTo>
                      <a:lnTo>
                        <a:pt x="3139" y="19878"/>
                      </a:lnTo>
                      <a:lnTo>
                        <a:pt x="3160" y="19836"/>
                      </a:lnTo>
                      <a:lnTo>
                        <a:pt x="3243" y="19899"/>
                      </a:lnTo>
                      <a:lnTo>
                        <a:pt x="3160" y="19962"/>
                      </a:lnTo>
                      <a:lnTo>
                        <a:pt x="3202" y="19983"/>
                      </a:lnTo>
                      <a:lnTo>
                        <a:pt x="3202" y="20045"/>
                      </a:lnTo>
                      <a:lnTo>
                        <a:pt x="3306" y="20045"/>
                      </a:lnTo>
                      <a:lnTo>
                        <a:pt x="3369" y="19983"/>
                      </a:lnTo>
                      <a:lnTo>
                        <a:pt x="3557" y="19983"/>
                      </a:lnTo>
                      <a:lnTo>
                        <a:pt x="3494" y="20004"/>
                      </a:lnTo>
                      <a:lnTo>
                        <a:pt x="3599" y="20004"/>
                      </a:lnTo>
                      <a:lnTo>
                        <a:pt x="3704" y="19983"/>
                      </a:lnTo>
                      <a:lnTo>
                        <a:pt x="3704" y="20066"/>
                      </a:lnTo>
                      <a:lnTo>
                        <a:pt x="3871" y="20192"/>
                      </a:lnTo>
                      <a:lnTo>
                        <a:pt x="3934" y="20150"/>
                      </a:lnTo>
                      <a:lnTo>
                        <a:pt x="4038" y="20171"/>
                      </a:lnTo>
                      <a:lnTo>
                        <a:pt x="4080" y="20213"/>
                      </a:lnTo>
                      <a:lnTo>
                        <a:pt x="4227" y="20213"/>
                      </a:lnTo>
                      <a:lnTo>
                        <a:pt x="4331" y="20255"/>
                      </a:lnTo>
                      <a:lnTo>
                        <a:pt x="4415" y="20192"/>
                      </a:lnTo>
                      <a:lnTo>
                        <a:pt x="4541" y="20297"/>
                      </a:lnTo>
                      <a:lnTo>
                        <a:pt x="4729" y="20359"/>
                      </a:lnTo>
                      <a:lnTo>
                        <a:pt x="5064" y="20380"/>
                      </a:lnTo>
                      <a:lnTo>
                        <a:pt x="5336" y="20359"/>
                      </a:lnTo>
                      <a:lnTo>
                        <a:pt x="5357" y="20297"/>
                      </a:lnTo>
                      <a:lnTo>
                        <a:pt x="5545" y="20297"/>
                      </a:lnTo>
                      <a:lnTo>
                        <a:pt x="5608" y="20255"/>
                      </a:lnTo>
                      <a:lnTo>
                        <a:pt x="5796" y="20213"/>
                      </a:lnTo>
                      <a:lnTo>
                        <a:pt x="5963" y="20150"/>
                      </a:lnTo>
                      <a:lnTo>
                        <a:pt x="6173" y="19857"/>
                      </a:lnTo>
                      <a:lnTo>
                        <a:pt x="6194" y="19773"/>
                      </a:lnTo>
                      <a:lnTo>
                        <a:pt x="6319" y="19627"/>
                      </a:lnTo>
                      <a:lnTo>
                        <a:pt x="6319" y="19543"/>
                      </a:lnTo>
                      <a:lnTo>
                        <a:pt x="6340" y="19460"/>
                      </a:lnTo>
                      <a:lnTo>
                        <a:pt x="6382" y="19313"/>
                      </a:lnTo>
                      <a:lnTo>
                        <a:pt x="6382" y="19167"/>
                      </a:lnTo>
                      <a:lnTo>
                        <a:pt x="6382" y="19041"/>
                      </a:lnTo>
                      <a:lnTo>
                        <a:pt x="6319" y="18999"/>
                      </a:lnTo>
                      <a:lnTo>
                        <a:pt x="6277" y="18999"/>
                      </a:lnTo>
                      <a:lnTo>
                        <a:pt x="6173" y="18832"/>
                      </a:lnTo>
                      <a:lnTo>
                        <a:pt x="6089" y="18790"/>
                      </a:lnTo>
                      <a:lnTo>
                        <a:pt x="6068" y="18644"/>
                      </a:lnTo>
                      <a:lnTo>
                        <a:pt x="5963" y="18392"/>
                      </a:lnTo>
                      <a:lnTo>
                        <a:pt x="5859" y="18372"/>
                      </a:lnTo>
                      <a:lnTo>
                        <a:pt x="5817" y="18413"/>
                      </a:lnTo>
                      <a:lnTo>
                        <a:pt x="5691" y="18372"/>
                      </a:lnTo>
                      <a:lnTo>
                        <a:pt x="5691" y="18288"/>
                      </a:lnTo>
                      <a:lnTo>
                        <a:pt x="5461" y="18120"/>
                      </a:lnTo>
                      <a:lnTo>
                        <a:pt x="5461" y="18016"/>
                      </a:lnTo>
                      <a:lnTo>
                        <a:pt x="5336" y="17890"/>
                      </a:lnTo>
                      <a:lnTo>
                        <a:pt x="5273" y="17890"/>
                      </a:lnTo>
                      <a:lnTo>
                        <a:pt x="5294" y="17953"/>
                      </a:lnTo>
                      <a:lnTo>
                        <a:pt x="5378" y="18079"/>
                      </a:lnTo>
                      <a:lnTo>
                        <a:pt x="5294" y="18100"/>
                      </a:lnTo>
                      <a:lnTo>
                        <a:pt x="5168" y="17974"/>
                      </a:lnTo>
                      <a:lnTo>
                        <a:pt x="5085" y="17974"/>
                      </a:lnTo>
                      <a:lnTo>
                        <a:pt x="4938" y="17807"/>
                      </a:lnTo>
                      <a:lnTo>
                        <a:pt x="4875" y="17807"/>
                      </a:lnTo>
                      <a:lnTo>
                        <a:pt x="4875" y="17869"/>
                      </a:lnTo>
                      <a:lnTo>
                        <a:pt x="4917" y="17911"/>
                      </a:lnTo>
                      <a:lnTo>
                        <a:pt x="4834" y="17890"/>
                      </a:lnTo>
                      <a:lnTo>
                        <a:pt x="4708" y="17681"/>
                      </a:lnTo>
                      <a:lnTo>
                        <a:pt x="4603" y="17660"/>
                      </a:lnTo>
                      <a:lnTo>
                        <a:pt x="4520" y="17556"/>
                      </a:lnTo>
                      <a:lnTo>
                        <a:pt x="4122" y="17284"/>
                      </a:lnTo>
                      <a:lnTo>
                        <a:pt x="3515" y="16970"/>
                      </a:lnTo>
                      <a:lnTo>
                        <a:pt x="3390" y="16928"/>
                      </a:lnTo>
                      <a:lnTo>
                        <a:pt x="3369" y="16970"/>
                      </a:lnTo>
                      <a:lnTo>
                        <a:pt x="3243" y="16907"/>
                      </a:lnTo>
                      <a:lnTo>
                        <a:pt x="3097" y="16865"/>
                      </a:lnTo>
                      <a:lnTo>
                        <a:pt x="3097" y="16928"/>
                      </a:lnTo>
                      <a:lnTo>
                        <a:pt x="3034" y="16970"/>
                      </a:lnTo>
                      <a:lnTo>
                        <a:pt x="2930" y="16928"/>
                      </a:lnTo>
                      <a:lnTo>
                        <a:pt x="2762" y="16928"/>
                      </a:lnTo>
                      <a:lnTo>
                        <a:pt x="2678" y="16823"/>
                      </a:lnTo>
                      <a:lnTo>
                        <a:pt x="2574" y="16760"/>
                      </a:lnTo>
                      <a:lnTo>
                        <a:pt x="2574" y="16802"/>
                      </a:lnTo>
                      <a:lnTo>
                        <a:pt x="2637" y="16865"/>
                      </a:lnTo>
                      <a:lnTo>
                        <a:pt x="2616" y="16928"/>
                      </a:lnTo>
                      <a:lnTo>
                        <a:pt x="2532" y="16865"/>
                      </a:lnTo>
                      <a:lnTo>
                        <a:pt x="2406" y="16907"/>
                      </a:lnTo>
                      <a:lnTo>
                        <a:pt x="2344" y="16949"/>
                      </a:lnTo>
                      <a:lnTo>
                        <a:pt x="2365" y="17032"/>
                      </a:lnTo>
                      <a:lnTo>
                        <a:pt x="2302" y="17158"/>
                      </a:lnTo>
                      <a:lnTo>
                        <a:pt x="2155" y="17158"/>
                      </a:lnTo>
                      <a:lnTo>
                        <a:pt x="2239" y="17053"/>
                      </a:lnTo>
                      <a:lnTo>
                        <a:pt x="2323" y="17012"/>
                      </a:lnTo>
                      <a:lnTo>
                        <a:pt x="2260" y="16949"/>
                      </a:lnTo>
                      <a:lnTo>
                        <a:pt x="2197" y="16949"/>
                      </a:lnTo>
                      <a:lnTo>
                        <a:pt x="2218" y="16907"/>
                      </a:lnTo>
                      <a:lnTo>
                        <a:pt x="2239" y="16844"/>
                      </a:lnTo>
                      <a:lnTo>
                        <a:pt x="2197" y="16823"/>
                      </a:lnTo>
                      <a:lnTo>
                        <a:pt x="2134" y="16886"/>
                      </a:lnTo>
                      <a:lnTo>
                        <a:pt x="2030" y="17012"/>
                      </a:lnTo>
                      <a:lnTo>
                        <a:pt x="2030" y="16928"/>
                      </a:lnTo>
                      <a:lnTo>
                        <a:pt x="2030" y="16886"/>
                      </a:lnTo>
                      <a:lnTo>
                        <a:pt x="2009" y="16844"/>
                      </a:lnTo>
                      <a:lnTo>
                        <a:pt x="1946" y="16928"/>
                      </a:lnTo>
                      <a:lnTo>
                        <a:pt x="1925" y="16928"/>
                      </a:lnTo>
                      <a:lnTo>
                        <a:pt x="1925" y="16844"/>
                      </a:lnTo>
                      <a:lnTo>
                        <a:pt x="1821" y="16823"/>
                      </a:lnTo>
                      <a:lnTo>
                        <a:pt x="1716" y="16907"/>
                      </a:lnTo>
                      <a:lnTo>
                        <a:pt x="1695" y="16802"/>
                      </a:lnTo>
                      <a:lnTo>
                        <a:pt x="1632" y="16760"/>
                      </a:lnTo>
                      <a:lnTo>
                        <a:pt x="1569" y="16844"/>
                      </a:lnTo>
                      <a:lnTo>
                        <a:pt x="1528" y="16740"/>
                      </a:lnTo>
                      <a:lnTo>
                        <a:pt x="1528" y="16614"/>
                      </a:lnTo>
                      <a:lnTo>
                        <a:pt x="1590" y="16530"/>
                      </a:lnTo>
                      <a:lnTo>
                        <a:pt x="1590" y="16614"/>
                      </a:lnTo>
                      <a:lnTo>
                        <a:pt x="1674" y="16698"/>
                      </a:lnTo>
                      <a:lnTo>
                        <a:pt x="1800" y="16656"/>
                      </a:lnTo>
                      <a:lnTo>
                        <a:pt x="1883" y="16719"/>
                      </a:lnTo>
                      <a:lnTo>
                        <a:pt x="1988" y="16635"/>
                      </a:lnTo>
                      <a:lnTo>
                        <a:pt x="1988" y="16593"/>
                      </a:lnTo>
                      <a:lnTo>
                        <a:pt x="1904" y="16530"/>
                      </a:lnTo>
                      <a:lnTo>
                        <a:pt x="1883" y="16509"/>
                      </a:lnTo>
                      <a:lnTo>
                        <a:pt x="1800" y="16488"/>
                      </a:lnTo>
                      <a:lnTo>
                        <a:pt x="1737" y="16530"/>
                      </a:lnTo>
                      <a:lnTo>
                        <a:pt x="1695" y="16488"/>
                      </a:lnTo>
                      <a:lnTo>
                        <a:pt x="1632" y="16405"/>
                      </a:lnTo>
                      <a:lnTo>
                        <a:pt x="1528" y="16342"/>
                      </a:lnTo>
                      <a:lnTo>
                        <a:pt x="1423" y="16342"/>
                      </a:lnTo>
                      <a:lnTo>
                        <a:pt x="1402" y="16384"/>
                      </a:lnTo>
                      <a:lnTo>
                        <a:pt x="1465" y="16426"/>
                      </a:lnTo>
                      <a:lnTo>
                        <a:pt x="1486" y="16426"/>
                      </a:lnTo>
                      <a:lnTo>
                        <a:pt x="1486" y="16488"/>
                      </a:lnTo>
                      <a:lnTo>
                        <a:pt x="1402" y="16509"/>
                      </a:lnTo>
                      <a:lnTo>
                        <a:pt x="1360" y="16509"/>
                      </a:lnTo>
                      <a:lnTo>
                        <a:pt x="1360" y="16551"/>
                      </a:lnTo>
                      <a:lnTo>
                        <a:pt x="1465" y="16635"/>
                      </a:lnTo>
                      <a:lnTo>
                        <a:pt x="1402" y="16656"/>
                      </a:lnTo>
                      <a:lnTo>
                        <a:pt x="1318" y="16656"/>
                      </a:lnTo>
                      <a:lnTo>
                        <a:pt x="1277" y="16740"/>
                      </a:lnTo>
                      <a:lnTo>
                        <a:pt x="1256" y="16886"/>
                      </a:lnTo>
                      <a:lnTo>
                        <a:pt x="1193" y="16802"/>
                      </a:lnTo>
                      <a:lnTo>
                        <a:pt x="1193" y="16698"/>
                      </a:lnTo>
                      <a:lnTo>
                        <a:pt x="1151" y="16635"/>
                      </a:lnTo>
                      <a:lnTo>
                        <a:pt x="1005" y="16614"/>
                      </a:lnTo>
                      <a:lnTo>
                        <a:pt x="1005" y="16740"/>
                      </a:lnTo>
                      <a:lnTo>
                        <a:pt x="942" y="16823"/>
                      </a:lnTo>
                      <a:lnTo>
                        <a:pt x="795" y="16781"/>
                      </a:lnTo>
                      <a:lnTo>
                        <a:pt x="691" y="16781"/>
                      </a:lnTo>
                      <a:lnTo>
                        <a:pt x="691" y="16928"/>
                      </a:lnTo>
                      <a:lnTo>
                        <a:pt x="628" y="17053"/>
                      </a:lnTo>
                      <a:lnTo>
                        <a:pt x="481" y="17095"/>
                      </a:lnTo>
                      <a:lnTo>
                        <a:pt x="335" y="17242"/>
                      </a:lnTo>
                      <a:lnTo>
                        <a:pt x="335" y="17451"/>
                      </a:lnTo>
                      <a:lnTo>
                        <a:pt x="251" y="17451"/>
                      </a:lnTo>
                      <a:lnTo>
                        <a:pt x="105" y="17514"/>
                      </a:lnTo>
                      <a:lnTo>
                        <a:pt x="0" y="17556"/>
                      </a:lnTo>
                      <a:lnTo>
                        <a:pt x="105" y="17576"/>
                      </a:lnTo>
                      <a:lnTo>
                        <a:pt x="63" y="17744"/>
                      </a:lnTo>
                      <a:lnTo>
                        <a:pt x="21" y="17932"/>
                      </a:lnTo>
                      <a:lnTo>
                        <a:pt x="105" y="18037"/>
                      </a:lnTo>
                      <a:lnTo>
                        <a:pt x="209" y="18288"/>
                      </a:lnTo>
                      <a:lnTo>
                        <a:pt x="272" y="18288"/>
                      </a:lnTo>
                      <a:lnTo>
                        <a:pt x="440" y="18372"/>
                      </a:lnTo>
                      <a:lnTo>
                        <a:pt x="523" y="18497"/>
                      </a:lnTo>
                      <a:lnTo>
                        <a:pt x="565" y="18602"/>
                      </a:lnTo>
                      <a:lnTo>
                        <a:pt x="837" y="18769"/>
                      </a:lnTo>
                      <a:lnTo>
                        <a:pt x="900" y="18832"/>
                      </a:lnTo>
                      <a:lnTo>
                        <a:pt x="858" y="19020"/>
                      </a:lnTo>
                      <a:lnTo>
                        <a:pt x="753" y="19208"/>
                      </a:lnTo>
                      <a:lnTo>
                        <a:pt x="649" y="19460"/>
                      </a:lnTo>
                      <a:lnTo>
                        <a:pt x="774" y="19627"/>
                      </a:lnTo>
                      <a:lnTo>
                        <a:pt x="837" y="19773"/>
                      </a:lnTo>
                      <a:lnTo>
                        <a:pt x="1067" y="20234"/>
                      </a:lnTo>
                      <a:lnTo>
                        <a:pt x="1318" y="20820"/>
                      </a:lnTo>
                      <a:lnTo>
                        <a:pt x="1214" y="20861"/>
                      </a:lnTo>
                      <a:lnTo>
                        <a:pt x="1193" y="21217"/>
                      </a:lnTo>
                      <a:lnTo>
                        <a:pt x="1193" y="21322"/>
                      </a:lnTo>
                      <a:lnTo>
                        <a:pt x="1297" y="21343"/>
                      </a:lnTo>
                      <a:lnTo>
                        <a:pt x="1214" y="21447"/>
                      </a:lnTo>
                      <a:lnTo>
                        <a:pt x="1214" y="21636"/>
                      </a:lnTo>
                      <a:lnTo>
                        <a:pt x="1297" y="21740"/>
                      </a:lnTo>
                      <a:lnTo>
                        <a:pt x="1423" y="21761"/>
                      </a:lnTo>
                      <a:lnTo>
                        <a:pt x="1486" y="21866"/>
                      </a:lnTo>
                      <a:lnTo>
                        <a:pt x="1423" y="21929"/>
                      </a:lnTo>
                      <a:lnTo>
                        <a:pt x="1423" y="22138"/>
                      </a:lnTo>
                      <a:lnTo>
                        <a:pt x="1486" y="22263"/>
                      </a:lnTo>
                      <a:lnTo>
                        <a:pt x="1674" y="22389"/>
                      </a:lnTo>
                      <a:lnTo>
                        <a:pt x="1674" y="22577"/>
                      </a:lnTo>
                      <a:lnTo>
                        <a:pt x="1569" y="22745"/>
                      </a:lnTo>
                      <a:lnTo>
                        <a:pt x="1507" y="22912"/>
                      </a:lnTo>
                      <a:lnTo>
                        <a:pt x="1779" y="23289"/>
                      </a:lnTo>
                      <a:lnTo>
                        <a:pt x="1925" y="23330"/>
                      </a:lnTo>
                      <a:lnTo>
                        <a:pt x="2197" y="23623"/>
                      </a:lnTo>
                      <a:lnTo>
                        <a:pt x="2218" y="23812"/>
                      </a:lnTo>
                      <a:lnTo>
                        <a:pt x="2051" y="24230"/>
                      </a:lnTo>
                      <a:lnTo>
                        <a:pt x="1821" y="24628"/>
                      </a:lnTo>
                      <a:lnTo>
                        <a:pt x="1695" y="24900"/>
                      </a:lnTo>
                      <a:lnTo>
                        <a:pt x="1528" y="25151"/>
                      </a:lnTo>
                      <a:lnTo>
                        <a:pt x="1381" y="25402"/>
                      </a:lnTo>
                      <a:lnTo>
                        <a:pt x="1256" y="25486"/>
                      </a:lnTo>
                      <a:lnTo>
                        <a:pt x="984" y="25737"/>
                      </a:lnTo>
                      <a:lnTo>
                        <a:pt x="1005" y="25904"/>
                      </a:lnTo>
                      <a:cubicBezTo>
                        <a:pt x="1005" y="25883"/>
                        <a:pt x="1046" y="25883"/>
                        <a:pt x="1046" y="25883"/>
                      </a:cubicBezTo>
                      <a:cubicBezTo>
                        <a:pt x="1067" y="25883"/>
                        <a:pt x="1193" y="25799"/>
                        <a:pt x="1193" y="25799"/>
                      </a:cubicBezTo>
                      <a:lnTo>
                        <a:pt x="1318" y="25779"/>
                      </a:lnTo>
                      <a:lnTo>
                        <a:pt x="1256" y="25841"/>
                      </a:lnTo>
                      <a:lnTo>
                        <a:pt x="1297" y="25925"/>
                      </a:lnTo>
                      <a:lnTo>
                        <a:pt x="1297" y="26030"/>
                      </a:lnTo>
                      <a:lnTo>
                        <a:pt x="1172" y="25925"/>
                      </a:lnTo>
                      <a:lnTo>
                        <a:pt x="1151" y="26009"/>
                      </a:lnTo>
                      <a:lnTo>
                        <a:pt x="1277" y="26155"/>
                      </a:lnTo>
                      <a:lnTo>
                        <a:pt x="1402" y="26155"/>
                      </a:lnTo>
                      <a:lnTo>
                        <a:pt x="1486" y="26260"/>
                      </a:lnTo>
                      <a:lnTo>
                        <a:pt x="1611" y="26260"/>
                      </a:lnTo>
                      <a:lnTo>
                        <a:pt x="1674" y="26239"/>
                      </a:lnTo>
                      <a:lnTo>
                        <a:pt x="1779" y="26239"/>
                      </a:lnTo>
                      <a:lnTo>
                        <a:pt x="1883" y="26364"/>
                      </a:lnTo>
                      <a:lnTo>
                        <a:pt x="1800" y="26448"/>
                      </a:lnTo>
                      <a:lnTo>
                        <a:pt x="1611" y="26406"/>
                      </a:lnTo>
                      <a:lnTo>
                        <a:pt x="1528" y="26427"/>
                      </a:lnTo>
                      <a:lnTo>
                        <a:pt x="1507" y="26532"/>
                      </a:lnTo>
                      <a:lnTo>
                        <a:pt x="1381" y="26636"/>
                      </a:lnTo>
                      <a:lnTo>
                        <a:pt x="1277" y="26553"/>
                      </a:lnTo>
                      <a:lnTo>
                        <a:pt x="1214" y="26615"/>
                      </a:lnTo>
                      <a:lnTo>
                        <a:pt x="1214" y="26720"/>
                      </a:lnTo>
                      <a:lnTo>
                        <a:pt x="1109" y="26741"/>
                      </a:lnTo>
                      <a:lnTo>
                        <a:pt x="1067" y="26636"/>
                      </a:lnTo>
                      <a:lnTo>
                        <a:pt x="1005" y="26657"/>
                      </a:lnTo>
                      <a:lnTo>
                        <a:pt x="1005" y="26720"/>
                      </a:lnTo>
                      <a:lnTo>
                        <a:pt x="1067" y="26783"/>
                      </a:lnTo>
                      <a:lnTo>
                        <a:pt x="1046" y="26929"/>
                      </a:lnTo>
                      <a:lnTo>
                        <a:pt x="1088" y="26992"/>
                      </a:lnTo>
                      <a:lnTo>
                        <a:pt x="1088" y="27034"/>
                      </a:lnTo>
                      <a:lnTo>
                        <a:pt x="1067" y="27055"/>
                      </a:lnTo>
                      <a:lnTo>
                        <a:pt x="984" y="27159"/>
                      </a:lnTo>
                      <a:lnTo>
                        <a:pt x="942" y="27306"/>
                      </a:lnTo>
                      <a:lnTo>
                        <a:pt x="858" y="27369"/>
                      </a:lnTo>
                      <a:lnTo>
                        <a:pt x="795" y="27808"/>
                      </a:lnTo>
                      <a:lnTo>
                        <a:pt x="1067" y="28289"/>
                      </a:lnTo>
                      <a:lnTo>
                        <a:pt x="1067" y="28394"/>
                      </a:lnTo>
                      <a:lnTo>
                        <a:pt x="984" y="28457"/>
                      </a:lnTo>
                      <a:lnTo>
                        <a:pt x="1005" y="28561"/>
                      </a:lnTo>
                      <a:lnTo>
                        <a:pt x="942" y="28708"/>
                      </a:lnTo>
                      <a:lnTo>
                        <a:pt x="1046" y="28729"/>
                      </a:lnTo>
                      <a:lnTo>
                        <a:pt x="1067" y="28833"/>
                      </a:lnTo>
                      <a:lnTo>
                        <a:pt x="1046" y="28875"/>
                      </a:lnTo>
                      <a:lnTo>
                        <a:pt x="1088" y="28938"/>
                      </a:lnTo>
                      <a:lnTo>
                        <a:pt x="1109" y="29043"/>
                      </a:lnTo>
                      <a:lnTo>
                        <a:pt x="1088" y="29126"/>
                      </a:lnTo>
                      <a:lnTo>
                        <a:pt x="1172" y="29252"/>
                      </a:lnTo>
                      <a:lnTo>
                        <a:pt x="1193" y="29294"/>
                      </a:lnTo>
                      <a:lnTo>
                        <a:pt x="1256" y="29461"/>
                      </a:lnTo>
                      <a:lnTo>
                        <a:pt x="1318" y="29566"/>
                      </a:lnTo>
                      <a:lnTo>
                        <a:pt x="1360" y="29712"/>
                      </a:lnTo>
                      <a:lnTo>
                        <a:pt x="1402" y="29712"/>
                      </a:lnTo>
                      <a:lnTo>
                        <a:pt x="1507" y="29796"/>
                      </a:lnTo>
                      <a:lnTo>
                        <a:pt x="1632" y="29712"/>
                      </a:lnTo>
                      <a:lnTo>
                        <a:pt x="1737" y="29900"/>
                      </a:lnTo>
                      <a:lnTo>
                        <a:pt x="1883" y="29817"/>
                      </a:lnTo>
                      <a:lnTo>
                        <a:pt x="2009" y="29859"/>
                      </a:lnTo>
                      <a:lnTo>
                        <a:pt x="2113" y="30026"/>
                      </a:lnTo>
                      <a:lnTo>
                        <a:pt x="2260" y="29921"/>
                      </a:lnTo>
                      <a:lnTo>
                        <a:pt x="2427" y="29880"/>
                      </a:lnTo>
                      <a:lnTo>
                        <a:pt x="2511" y="29963"/>
                      </a:lnTo>
                      <a:lnTo>
                        <a:pt x="2574" y="29963"/>
                      </a:lnTo>
                      <a:lnTo>
                        <a:pt x="2846" y="30026"/>
                      </a:lnTo>
                      <a:lnTo>
                        <a:pt x="2867" y="30172"/>
                      </a:lnTo>
                      <a:lnTo>
                        <a:pt x="2825" y="30319"/>
                      </a:lnTo>
                      <a:lnTo>
                        <a:pt x="2930" y="30424"/>
                      </a:lnTo>
                      <a:lnTo>
                        <a:pt x="2930" y="30612"/>
                      </a:lnTo>
                      <a:lnTo>
                        <a:pt x="3055" y="30737"/>
                      </a:lnTo>
                      <a:lnTo>
                        <a:pt x="3139" y="30905"/>
                      </a:lnTo>
                      <a:lnTo>
                        <a:pt x="3285" y="31114"/>
                      </a:lnTo>
                      <a:lnTo>
                        <a:pt x="3390" y="31177"/>
                      </a:lnTo>
                      <a:lnTo>
                        <a:pt x="3453" y="31365"/>
                      </a:lnTo>
                      <a:lnTo>
                        <a:pt x="3620" y="31428"/>
                      </a:lnTo>
                      <a:lnTo>
                        <a:pt x="3829" y="31595"/>
                      </a:lnTo>
                      <a:lnTo>
                        <a:pt x="3871" y="31700"/>
                      </a:lnTo>
                      <a:lnTo>
                        <a:pt x="4018" y="31805"/>
                      </a:lnTo>
                      <a:lnTo>
                        <a:pt x="3934" y="31867"/>
                      </a:lnTo>
                      <a:lnTo>
                        <a:pt x="3829" y="32056"/>
                      </a:lnTo>
                      <a:lnTo>
                        <a:pt x="3557" y="32097"/>
                      </a:lnTo>
                      <a:lnTo>
                        <a:pt x="3411" y="31993"/>
                      </a:lnTo>
                      <a:lnTo>
                        <a:pt x="3369" y="32097"/>
                      </a:lnTo>
                      <a:lnTo>
                        <a:pt x="3369" y="32223"/>
                      </a:lnTo>
                      <a:lnTo>
                        <a:pt x="3474" y="32411"/>
                      </a:lnTo>
                      <a:lnTo>
                        <a:pt x="3453" y="32579"/>
                      </a:lnTo>
                      <a:lnTo>
                        <a:pt x="3578" y="32725"/>
                      </a:lnTo>
                      <a:lnTo>
                        <a:pt x="3578" y="32893"/>
                      </a:lnTo>
                      <a:lnTo>
                        <a:pt x="3683" y="32913"/>
                      </a:lnTo>
                      <a:lnTo>
                        <a:pt x="3808" y="32893"/>
                      </a:lnTo>
                      <a:lnTo>
                        <a:pt x="3808" y="32746"/>
                      </a:lnTo>
                      <a:lnTo>
                        <a:pt x="3892" y="32683"/>
                      </a:lnTo>
                      <a:lnTo>
                        <a:pt x="4185" y="32788"/>
                      </a:lnTo>
                      <a:lnTo>
                        <a:pt x="4457" y="32788"/>
                      </a:lnTo>
                      <a:lnTo>
                        <a:pt x="4624" y="32704"/>
                      </a:lnTo>
                      <a:lnTo>
                        <a:pt x="4750" y="32704"/>
                      </a:lnTo>
                      <a:lnTo>
                        <a:pt x="4834" y="32955"/>
                      </a:lnTo>
                      <a:lnTo>
                        <a:pt x="4959" y="33060"/>
                      </a:lnTo>
                      <a:lnTo>
                        <a:pt x="4875" y="33206"/>
                      </a:lnTo>
                      <a:lnTo>
                        <a:pt x="5043" y="33416"/>
                      </a:lnTo>
                      <a:lnTo>
                        <a:pt x="5357" y="33353"/>
                      </a:lnTo>
                      <a:lnTo>
                        <a:pt x="5461" y="33457"/>
                      </a:lnTo>
                      <a:lnTo>
                        <a:pt x="5482" y="33583"/>
                      </a:lnTo>
                      <a:lnTo>
                        <a:pt x="5587" y="33625"/>
                      </a:lnTo>
                      <a:lnTo>
                        <a:pt x="5587" y="33771"/>
                      </a:lnTo>
                      <a:lnTo>
                        <a:pt x="5650" y="33960"/>
                      </a:lnTo>
                      <a:lnTo>
                        <a:pt x="5901" y="34211"/>
                      </a:lnTo>
                      <a:lnTo>
                        <a:pt x="6005" y="34106"/>
                      </a:lnTo>
                      <a:lnTo>
                        <a:pt x="6173" y="34190"/>
                      </a:lnTo>
                      <a:lnTo>
                        <a:pt x="6298" y="34169"/>
                      </a:lnTo>
                      <a:lnTo>
                        <a:pt x="6424" y="34190"/>
                      </a:lnTo>
                      <a:lnTo>
                        <a:pt x="6612" y="34043"/>
                      </a:lnTo>
                      <a:lnTo>
                        <a:pt x="6696" y="34043"/>
                      </a:lnTo>
                      <a:lnTo>
                        <a:pt x="6821" y="34315"/>
                      </a:lnTo>
                      <a:lnTo>
                        <a:pt x="7010" y="34420"/>
                      </a:lnTo>
                      <a:lnTo>
                        <a:pt x="7051" y="34525"/>
                      </a:lnTo>
                      <a:lnTo>
                        <a:pt x="7135" y="34462"/>
                      </a:lnTo>
                      <a:lnTo>
                        <a:pt x="7344" y="34504"/>
                      </a:lnTo>
                      <a:lnTo>
                        <a:pt x="7491" y="34504"/>
                      </a:lnTo>
                      <a:lnTo>
                        <a:pt x="7595" y="34587"/>
                      </a:lnTo>
                      <a:lnTo>
                        <a:pt x="7742" y="34566"/>
                      </a:lnTo>
                      <a:lnTo>
                        <a:pt x="7888" y="34671"/>
                      </a:lnTo>
                      <a:lnTo>
                        <a:pt x="8077" y="34692"/>
                      </a:lnTo>
                      <a:lnTo>
                        <a:pt x="8160" y="34608"/>
                      </a:lnTo>
                      <a:lnTo>
                        <a:pt x="8202" y="34734"/>
                      </a:lnTo>
                      <a:lnTo>
                        <a:pt x="8286" y="34797"/>
                      </a:lnTo>
                      <a:lnTo>
                        <a:pt x="8286" y="34943"/>
                      </a:lnTo>
                      <a:lnTo>
                        <a:pt x="8181" y="35090"/>
                      </a:lnTo>
                      <a:lnTo>
                        <a:pt x="8056" y="35110"/>
                      </a:lnTo>
                      <a:lnTo>
                        <a:pt x="8014" y="35362"/>
                      </a:lnTo>
                      <a:lnTo>
                        <a:pt x="8181" y="35466"/>
                      </a:lnTo>
                      <a:lnTo>
                        <a:pt x="8202" y="35634"/>
                      </a:lnTo>
                      <a:lnTo>
                        <a:pt x="8119" y="35843"/>
                      </a:lnTo>
                      <a:lnTo>
                        <a:pt x="8160" y="35989"/>
                      </a:lnTo>
                      <a:lnTo>
                        <a:pt x="8056" y="36073"/>
                      </a:lnTo>
                      <a:lnTo>
                        <a:pt x="7763" y="36094"/>
                      </a:lnTo>
                      <a:lnTo>
                        <a:pt x="7637" y="36303"/>
                      </a:lnTo>
                      <a:lnTo>
                        <a:pt x="7554" y="36345"/>
                      </a:lnTo>
                      <a:lnTo>
                        <a:pt x="7533" y="36596"/>
                      </a:lnTo>
                      <a:lnTo>
                        <a:pt x="7554" y="36596"/>
                      </a:lnTo>
                      <a:lnTo>
                        <a:pt x="7658" y="36617"/>
                      </a:lnTo>
                      <a:lnTo>
                        <a:pt x="7784" y="36554"/>
                      </a:lnTo>
                      <a:lnTo>
                        <a:pt x="7951" y="36512"/>
                      </a:lnTo>
                      <a:lnTo>
                        <a:pt x="7972" y="36575"/>
                      </a:lnTo>
                      <a:lnTo>
                        <a:pt x="7951" y="36659"/>
                      </a:lnTo>
                      <a:lnTo>
                        <a:pt x="7637" y="36805"/>
                      </a:lnTo>
                      <a:lnTo>
                        <a:pt x="7491" y="36889"/>
                      </a:lnTo>
                      <a:lnTo>
                        <a:pt x="7554" y="36931"/>
                      </a:lnTo>
                      <a:lnTo>
                        <a:pt x="7637" y="36931"/>
                      </a:lnTo>
                      <a:lnTo>
                        <a:pt x="7554" y="37014"/>
                      </a:lnTo>
                      <a:lnTo>
                        <a:pt x="7428" y="36994"/>
                      </a:lnTo>
                      <a:lnTo>
                        <a:pt x="7240" y="37014"/>
                      </a:lnTo>
                      <a:lnTo>
                        <a:pt x="7323" y="37203"/>
                      </a:lnTo>
                      <a:lnTo>
                        <a:pt x="7386" y="37286"/>
                      </a:lnTo>
                      <a:lnTo>
                        <a:pt x="7449" y="37224"/>
                      </a:lnTo>
                      <a:lnTo>
                        <a:pt x="7470" y="37286"/>
                      </a:lnTo>
                      <a:lnTo>
                        <a:pt x="7575" y="37307"/>
                      </a:lnTo>
                      <a:lnTo>
                        <a:pt x="7575" y="37349"/>
                      </a:lnTo>
                      <a:lnTo>
                        <a:pt x="7491" y="37391"/>
                      </a:lnTo>
                      <a:lnTo>
                        <a:pt x="7449" y="37454"/>
                      </a:lnTo>
                      <a:lnTo>
                        <a:pt x="7365" y="37454"/>
                      </a:lnTo>
                      <a:lnTo>
                        <a:pt x="7323" y="37517"/>
                      </a:lnTo>
                      <a:lnTo>
                        <a:pt x="7323" y="37559"/>
                      </a:lnTo>
                      <a:lnTo>
                        <a:pt x="7177" y="37705"/>
                      </a:lnTo>
                      <a:lnTo>
                        <a:pt x="7177" y="37831"/>
                      </a:lnTo>
                      <a:lnTo>
                        <a:pt x="7240" y="37851"/>
                      </a:lnTo>
                      <a:lnTo>
                        <a:pt x="7219" y="38019"/>
                      </a:lnTo>
                      <a:lnTo>
                        <a:pt x="7114" y="37977"/>
                      </a:lnTo>
                      <a:lnTo>
                        <a:pt x="7072" y="38019"/>
                      </a:lnTo>
                      <a:lnTo>
                        <a:pt x="6968" y="37935"/>
                      </a:lnTo>
                      <a:lnTo>
                        <a:pt x="6842" y="37914"/>
                      </a:lnTo>
                      <a:lnTo>
                        <a:pt x="6842" y="37956"/>
                      </a:lnTo>
                      <a:lnTo>
                        <a:pt x="6905" y="38040"/>
                      </a:lnTo>
                      <a:lnTo>
                        <a:pt x="6821" y="38061"/>
                      </a:lnTo>
                      <a:lnTo>
                        <a:pt x="6738" y="38144"/>
                      </a:lnTo>
                      <a:lnTo>
                        <a:pt x="6863" y="38165"/>
                      </a:lnTo>
                      <a:lnTo>
                        <a:pt x="6947" y="38165"/>
                      </a:lnTo>
                      <a:lnTo>
                        <a:pt x="7114" y="38291"/>
                      </a:lnTo>
                      <a:lnTo>
                        <a:pt x="7114" y="38375"/>
                      </a:lnTo>
                      <a:lnTo>
                        <a:pt x="7240" y="38500"/>
                      </a:lnTo>
                      <a:lnTo>
                        <a:pt x="7449" y="38479"/>
                      </a:lnTo>
                      <a:lnTo>
                        <a:pt x="7679" y="38605"/>
                      </a:lnTo>
                      <a:lnTo>
                        <a:pt x="7847" y="38647"/>
                      </a:lnTo>
                      <a:lnTo>
                        <a:pt x="8202" y="38898"/>
                      </a:lnTo>
                      <a:lnTo>
                        <a:pt x="8286" y="39023"/>
                      </a:lnTo>
                      <a:lnTo>
                        <a:pt x="8391" y="39065"/>
                      </a:lnTo>
                      <a:lnTo>
                        <a:pt x="8412" y="39128"/>
                      </a:lnTo>
                      <a:lnTo>
                        <a:pt x="8516" y="39211"/>
                      </a:lnTo>
                      <a:lnTo>
                        <a:pt x="8600" y="39211"/>
                      </a:lnTo>
                      <a:lnTo>
                        <a:pt x="8621" y="39295"/>
                      </a:lnTo>
                      <a:lnTo>
                        <a:pt x="8725" y="39337"/>
                      </a:lnTo>
                      <a:lnTo>
                        <a:pt x="8788" y="39337"/>
                      </a:lnTo>
                      <a:lnTo>
                        <a:pt x="8893" y="39483"/>
                      </a:lnTo>
                      <a:lnTo>
                        <a:pt x="8997" y="39504"/>
                      </a:lnTo>
                      <a:lnTo>
                        <a:pt x="9039" y="39525"/>
                      </a:lnTo>
                      <a:lnTo>
                        <a:pt x="9102" y="39504"/>
                      </a:lnTo>
                      <a:lnTo>
                        <a:pt x="9248" y="39630"/>
                      </a:lnTo>
                      <a:lnTo>
                        <a:pt x="9248" y="39714"/>
                      </a:lnTo>
                      <a:lnTo>
                        <a:pt x="9374" y="39735"/>
                      </a:lnTo>
                      <a:lnTo>
                        <a:pt x="9520" y="39923"/>
                      </a:lnTo>
                      <a:lnTo>
                        <a:pt x="9583" y="40007"/>
                      </a:lnTo>
                      <a:lnTo>
                        <a:pt x="9625" y="40237"/>
                      </a:lnTo>
                      <a:lnTo>
                        <a:pt x="9730" y="40425"/>
                      </a:lnTo>
                      <a:lnTo>
                        <a:pt x="9688" y="40488"/>
                      </a:lnTo>
                      <a:lnTo>
                        <a:pt x="9730" y="40572"/>
                      </a:lnTo>
                      <a:cubicBezTo>
                        <a:pt x="9939" y="40572"/>
                        <a:pt x="10483" y="40572"/>
                        <a:pt x="10462" y="40446"/>
                      </a:cubicBezTo>
                      <a:lnTo>
                        <a:pt x="10420" y="40279"/>
                      </a:lnTo>
                      <a:lnTo>
                        <a:pt x="11090" y="40258"/>
                      </a:lnTo>
                      <a:cubicBezTo>
                        <a:pt x="11090" y="40258"/>
                        <a:pt x="11215" y="40383"/>
                        <a:pt x="11320" y="40383"/>
                      </a:cubicBezTo>
                      <a:cubicBezTo>
                        <a:pt x="11425" y="40383"/>
                        <a:pt x="11948" y="40153"/>
                        <a:pt x="11948" y="40153"/>
                      </a:cubicBezTo>
                      <a:cubicBezTo>
                        <a:pt x="11948" y="40153"/>
                        <a:pt x="12073" y="40174"/>
                        <a:pt x="12136" y="40279"/>
                      </a:cubicBezTo>
                      <a:cubicBezTo>
                        <a:pt x="12159" y="40337"/>
                        <a:pt x="12208" y="40350"/>
                        <a:pt x="12254" y="40350"/>
                      </a:cubicBezTo>
                      <a:cubicBezTo>
                        <a:pt x="12291" y="40350"/>
                        <a:pt x="12327" y="40341"/>
                        <a:pt x="12345" y="40341"/>
                      </a:cubicBezTo>
                      <a:lnTo>
                        <a:pt x="12345" y="40320"/>
                      </a:lnTo>
                      <a:lnTo>
                        <a:pt x="12492" y="40341"/>
                      </a:lnTo>
                      <a:lnTo>
                        <a:pt x="12764" y="40551"/>
                      </a:lnTo>
                      <a:lnTo>
                        <a:pt x="12826" y="40676"/>
                      </a:lnTo>
                      <a:lnTo>
                        <a:pt x="13098" y="40697"/>
                      </a:lnTo>
                      <a:lnTo>
                        <a:pt x="13140" y="40592"/>
                      </a:lnTo>
                      <a:lnTo>
                        <a:pt x="13308" y="40488"/>
                      </a:lnTo>
                      <a:lnTo>
                        <a:pt x="13496" y="40258"/>
                      </a:lnTo>
                      <a:lnTo>
                        <a:pt x="13433" y="40237"/>
                      </a:lnTo>
                      <a:lnTo>
                        <a:pt x="13119" y="39965"/>
                      </a:lnTo>
                      <a:lnTo>
                        <a:pt x="12910" y="39714"/>
                      </a:lnTo>
                      <a:lnTo>
                        <a:pt x="12889" y="39546"/>
                      </a:lnTo>
                      <a:lnTo>
                        <a:pt x="12805" y="39442"/>
                      </a:lnTo>
                      <a:lnTo>
                        <a:pt x="12805" y="39295"/>
                      </a:lnTo>
                      <a:lnTo>
                        <a:pt x="12785" y="39211"/>
                      </a:lnTo>
                      <a:lnTo>
                        <a:pt x="12764" y="39170"/>
                      </a:lnTo>
                      <a:lnTo>
                        <a:pt x="12680" y="39170"/>
                      </a:lnTo>
                      <a:lnTo>
                        <a:pt x="12680" y="39065"/>
                      </a:lnTo>
                      <a:lnTo>
                        <a:pt x="12722" y="39086"/>
                      </a:lnTo>
                      <a:lnTo>
                        <a:pt x="12764" y="38981"/>
                      </a:lnTo>
                      <a:lnTo>
                        <a:pt x="12805" y="38877"/>
                      </a:lnTo>
                      <a:lnTo>
                        <a:pt x="12722" y="38877"/>
                      </a:lnTo>
                      <a:lnTo>
                        <a:pt x="12680" y="38919"/>
                      </a:lnTo>
                      <a:lnTo>
                        <a:pt x="12554" y="38856"/>
                      </a:lnTo>
                      <a:lnTo>
                        <a:pt x="12554" y="38667"/>
                      </a:lnTo>
                      <a:lnTo>
                        <a:pt x="12450" y="38647"/>
                      </a:lnTo>
                      <a:lnTo>
                        <a:pt x="12366" y="38563"/>
                      </a:lnTo>
                      <a:lnTo>
                        <a:pt x="12282" y="38584"/>
                      </a:lnTo>
                      <a:lnTo>
                        <a:pt x="12178" y="38584"/>
                      </a:lnTo>
                      <a:lnTo>
                        <a:pt x="12136" y="38375"/>
                      </a:lnTo>
                      <a:lnTo>
                        <a:pt x="12157" y="38270"/>
                      </a:lnTo>
                      <a:lnTo>
                        <a:pt x="12199" y="38228"/>
                      </a:lnTo>
                      <a:lnTo>
                        <a:pt x="12199" y="38019"/>
                      </a:lnTo>
                      <a:lnTo>
                        <a:pt x="12261" y="37914"/>
                      </a:lnTo>
                      <a:lnTo>
                        <a:pt x="12282" y="37768"/>
                      </a:lnTo>
                      <a:lnTo>
                        <a:pt x="12345" y="37726"/>
                      </a:lnTo>
                      <a:lnTo>
                        <a:pt x="12366" y="37600"/>
                      </a:lnTo>
                      <a:lnTo>
                        <a:pt x="12408" y="37517"/>
                      </a:lnTo>
                      <a:lnTo>
                        <a:pt x="12408" y="37433"/>
                      </a:lnTo>
                      <a:lnTo>
                        <a:pt x="12471" y="37454"/>
                      </a:lnTo>
                      <a:lnTo>
                        <a:pt x="12513" y="37517"/>
                      </a:lnTo>
                      <a:lnTo>
                        <a:pt x="12575" y="37496"/>
                      </a:lnTo>
                      <a:lnTo>
                        <a:pt x="12596" y="37412"/>
                      </a:lnTo>
                      <a:lnTo>
                        <a:pt x="12659" y="37454"/>
                      </a:lnTo>
                      <a:lnTo>
                        <a:pt x="12701" y="37412"/>
                      </a:lnTo>
                      <a:lnTo>
                        <a:pt x="12785" y="37412"/>
                      </a:lnTo>
                      <a:lnTo>
                        <a:pt x="12868" y="37349"/>
                      </a:lnTo>
                      <a:lnTo>
                        <a:pt x="12826" y="37307"/>
                      </a:lnTo>
                      <a:lnTo>
                        <a:pt x="12764" y="37286"/>
                      </a:lnTo>
                      <a:lnTo>
                        <a:pt x="12805" y="37286"/>
                      </a:lnTo>
                      <a:cubicBezTo>
                        <a:pt x="12805" y="37286"/>
                        <a:pt x="12826" y="37307"/>
                        <a:pt x="12868" y="37307"/>
                      </a:cubicBezTo>
                      <a:cubicBezTo>
                        <a:pt x="12889" y="37307"/>
                        <a:pt x="12931" y="37286"/>
                        <a:pt x="12931" y="37286"/>
                      </a:cubicBezTo>
                      <a:lnTo>
                        <a:pt x="12994" y="37328"/>
                      </a:lnTo>
                      <a:lnTo>
                        <a:pt x="13036" y="37307"/>
                      </a:lnTo>
                      <a:lnTo>
                        <a:pt x="13015" y="37245"/>
                      </a:lnTo>
                      <a:lnTo>
                        <a:pt x="12847" y="37140"/>
                      </a:lnTo>
                      <a:lnTo>
                        <a:pt x="12931" y="37119"/>
                      </a:lnTo>
                      <a:lnTo>
                        <a:pt x="13036" y="37140"/>
                      </a:lnTo>
                      <a:lnTo>
                        <a:pt x="13098" y="37119"/>
                      </a:lnTo>
                      <a:lnTo>
                        <a:pt x="13161" y="37140"/>
                      </a:lnTo>
                      <a:lnTo>
                        <a:pt x="13161" y="37077"/>
                      </a:lnTo>
                      <a:lnTo>
                        <a:pt x="13119" y="37035"/>
                      </a:lnTo>
                      <a:lnTo>
                        <a:pt x="13161" y="37035"/>
                      </a:lnTo>
                      <a:lnTo>
                        <a:pt x="13161" y="36994"/>
                      </a:lnTo>
                      <a:lnTo>
                        <a:pt x="13119" y="36931"/>
                      </a:lnTo>
                      <a:lnTo>
                        <a:pt x="13203" y="36910"/>
                      </a:lnTo>
                      <a:lnTo>
                        <a:pt x="13203" y="36868"/>
                      </a:lnTo>
                      <a:lnTo>
                        <a:pt x="13203" y="36805"/>
                      </a:lnTo>
                      <a:lnTo>
                        <a:pt x="13057" y="36722"/>
                      </a:lnTo>
                      <a:lnTo>
                        <a:pt x="12910" y="36784"/>
                      </a:lnTo>
                      <a:lnTo>
                        <a:pt x="12701" y="36659"/>
                      </a:lnTo>
                      <a:lnTo>
                        <a:pt x="12701" y="36554"/>
                      </a:lnTo>
                      <a:lnTo>
                        <a:pt x="12910" y="36554"/>
                      </a:lnTo>
                      <a:lnTo>
                        <a:pt x="12680" y="36157"/>
                      </a:lnTo>
                      <a:lnTo>
                        <a:pt x="12408" y="35885"/>
                      </a:lnTo>
                      <a:lnTo>
                        <a:pt x="12052" y="35780"/>
                      </a:lnTo>
                      <a:lnTo>
                        <a:pt x="11989" y="35864"/>
                      </a:lnTo>
                      <a:lnTo>
                        <a:pt x="11822" y="35717"/>
                      </a:lnTo>
                      <a:lnTo>
                        <a:pt x="11843" y="35634"/>
                      </a:lnTo>
                      <a:lnTo>
                        <a:pt x="11738" y="35466"/>
                      </a:lnTo>
                      <a:lnTo>
                        <a:pt x="11508" y="35403"/>
                      </a:lnTo>
                      <a:lnTo>
                        <a:pt x="11571" y="35194"/>
                      </a:lnTo>
                      <a:lnTo>
                        <a:pt x="11634" y="34818"/>
                      </a:lnTo>
                      <a:lnTo>
                        <a:pt x="11550" y="34734"/>
                      </a:lnTo>
                      <a:lnTo>
                        <a:pt x="11529" y="34462"/>
                      </a:lnTo>
                      <a:lnTo>
                        <a:pt x="11634" y="34399"/>
                      </a:lnTo>
                      <a:lnTo>
                        <a:pt x="11780" y="34211"/>
                      </a:lnTo>
                      <a:lnTo>
                        <a:pt x="11780" y="34064"/>
                      </a:lnTo>
                      <a:lnTo>
                        <a:pt x="11864" y="33960"/>
                      </a:lnTo>
                      <a:lnTo>
                        <a:pt x="12178" y="34253"/>
                      </a:lnTo>
                      <a:lnTo>
                        <a:pt x="12199" y="34357"/>
                      </a:lnTo>
                      <a:lnTo>
                        <a:pt x="12387" y="34462"/>
                      </a:lnTo>
                      <a:lnTo>
                        <a:pt x="12575" y="34420"/>
                      </a:lnTo>
                      <a:lnTo>
                        <a:pt x="12554" y="34253"/>
                      </a:lnTo>
                      <a:lnTo>
                        <a:pt x="12617" y="34190"/>
                      </a:lnTo>
                      <a:lnTo>
                        <a:pt x="12492" y="33729"/>
                      </a:lnTo>
                      <a:lnTo>
                        <a:pt x="12680" y="33688"/>
                      </a:lnTo>
                      <a:lnTo>
                        <a:pt x="12868" y="33688"/>
                      </a:lnTo>
                      <a:lnTo>
                        <a:pt x="12868" y="33562"/>
                      </a:lnTo>
                      <a:lnTo>
                        <a:pt x="12785" y="33457"/>
                      </a:lnTo>
                      <a:lnTo>
                        <a:pt x="12805" y="33332"/>
                      </a:lnTo>
                      <a:lnTo>
                        <a:pt x="12994" y="33227"/>
                      </a:lnTo>
                      <a:lnTo>
                        <a:pt x="13077" y="33227"/>
                      </a:lnTo>
                      <a:lnTo>
                        <a:pt x="13119" y="33060"/>
                      </a:lnTo>
                      <a:lnTo>
                        <a:pt x="13203" y="32997"/>
                      </a:lnTo>
                      <a:lnTo>
                        <a:pt x="13329" y="33018"/>
                      </a:lnTo>
                      <a:lnTo>
                        <a:pt x="13349" y="32913"/>
                      </a:lnTo>
                      <a:lnTo>
                        <a:pt x="13329" y="32809"/>
                      </a:lnTo>
                      <a:lnTo>
                        <a:pt x="13349" y="32725"/>
                      </a:lnTo>
                      <a:lnTo>
                        <a:pt x="13538" y="32830"/>
                      </a:lnTo>
                      <a:lnTo>
                        <a:pt x="13663" y="32893"/>
                      </a:lnTo>
                      <a:lnTo>
                        <a:pt x="13642" y="32955"/>
                      </a:lnTo>
                      <a:lnTo>
                        <a:pt x="13559" y="33060"/>
                      </a:lnTo>
                      <a:lnTo>
                        <a:pt x="13621" y="33123"/>
                      </a:lnTo>
                      <a:lnTo>
                        <a:pt x="13726" y="33060"/>
                      </a:lnTo>
                      <a:lnTo>
                        <a:pt x="13747" y="32997"/>
                      </a:lnTo>
                      <a:lnTo>
                        <a:pt x="13831" y="32934"/>
                      </a:lnTo>
                      <a:lnTo>
                        <a:pt x="13831" y="33039"/>
                      </a:lnTo>
                      <a:lnTo>
                        <a:pt x="13914" y="32955"/>
                      </a:lnTo>
                      <a:lnTo>
                        <a:pt x="13935" y="32893"/>
                      </a:lnTo>
                      <a:lnTo>
                        <a:pt x="14040" y="32893"/>
                      </a:lnTo>
                      <a:lnTo>
                        <a:pt x="14165" y="32809"/>
                      </a:lnTo>
                      <a:lnTo>
                        <a:pt x="14270" y="32809"/>
                      </a:lnTo>
                      <a:lnTo>
                        <a:pt x="14312" y="32955"/>
                      </a:lnTo>
                      <a:lnTo>
                        <a:pt x="14458" y="33039"/>
                      </a:lnTo>
                      <a:lnTo>
                        <a:pt x="14668" y="32955"/>
                      </a:lnTo>
                      <a:lnTo>
                        <a:pt x="14772" y="32955"/>
                      </a:lnTo>
                      <a:lnTo>
                        <a:pt x="14814" y="33039"/>
                      </a:lnTo>
                      <a:lnTo>
                        <a:pt x="14898" y="33039"/>
                      </a:lnTo>
                      <a:lnTo>
                        <a:pt x="15002" y="33206"/>
                      </a:lnTo>
                      <a:lnTo>
                        <a:pt x="15128" y="33206"/>
                      </a:lnTo>
                      <a:lnTo>
                        <a:pt x="15233" y="33332"/>
                      </a:lnTo>
                      <a:lnTo>
                        <a:pt x="15400" y="33457"/>
                      </a:lnTo>
                      <a:lnTo>
                        <a:pt x="15463" y="33457"/>
                      </a:lnTo>
                      <a:lnTo>
                        <a:pt x="15526" y="33541"/>
                      </a:lnTo>
                      <a:lnTo>
                        <a:pt x="15526" y="33667"/>
                      </a:lnTo>
                      <a:lnTo>
                        <a:pt x="15609" y="33688"/>
                      </a:lnTo>
                      <a:lnTo>
                        <a:pt x="15672" y="33583"/>
                      </a:lnTo>
                      <a:lnTo>
                        <a:pt x="15672" y="33437"/>
                      </a:lnTo>
                      <a:lnTo>
                        <a:pt x="15777" y="33353"/>
                      </a:lnTo>
                      <a:lnTo>
                        <a:pt x="15860" y="33457"/>
                      </a:lnTo>
                      <a:lnTo>
                        <a:pt x="16070" y="33478"/>
                      </a:lnTo>
                      <a:lnTo>
                        <a:pt x="16153" y="33583"/>
                      </a:lnTo>
                      <a:lnTo>
                        <a:pt x="16258" y="33625"/>
                      </a:lnTo>
                      <a:lnTo>
                        <a:pt x="16383" y="33520"/>
                      </a:lnTo>
                      <a:lnTo>
                        <a:pt x="16383" y="33311"/>
                      </a:lnTo>
                      <a:lnTo>
                        <a:pt x="16509" y="33311"/>
                      </a:lnTo>
                      <a:lnTo>
                        <a:pt x="16509" y="33206"/>
                      </a:lnTo>
                      <a:lnTo>
                        <a:pt x="16614" y="33165"/>
                      </a:lnTo>
                      <a:lnTo>
                        <a:pt x="16697" y="33248"/>
                      </a:lnTo>
                      <a:lnTo>
                        <a:pt x="16760" y="33144"/>
                      </a:lnTo>
                      <a:lnTo>
                        <a:pt x="16886" y="33123"/>
                      </a:lnTo>
                      <a:lnTo>
                        <a:pt x="17032" y="33269"/>
                      </a:lnTo>
                      <a:lnTo>
                        <a:pt x="17074" y="33332"/>
                      </a:lnTo>
                      <a:lnTo>
                        <a:pt x="17220" y="33311"/>
                      </a:lnTo>
                      <a:lnTo>
                        <a:pt x="17199" y="33165"/>
                      </a:lnTo>
                      <a:lnTo>
                        <a:pt x="17283" y="33144"/>
                      </a:lnTo>
                      <a:lnTo>
                        <a:pt x="17409" y="33144"/>
                      </a:lnTo>
                      <a:lnTo>
                        <a:pt x="17451" y="33060"/>
                      </a:lnTo>
                      <a:lnTo>
                        <a:pt x="17597" y="33144"/>
                      </a:lnTo>
                      <a:lnTo>
                        <a:pt x="17660" y="33206"/>
                      </a:lnTo>
                      <a:lnTo>
                        <a:pt x="17639" y="33269"/>
                      </a:lnTo>
                      <a:lnTo>
                        <a:pt x="17555" y="33332"/>
                      </a:lnTo>
                      <a:lnTo>
                        <a:pt x="17660" y="33457"/>
                      </a:lnTo>
                      <a:lnTo>
                        <a:pt x="17764" y="33478"/>
                      </a:lnTo>
                      <a:lnTo>
                        <a:pt x="17827" y="33457"/>
                      </a:lnTo>
                      <a:lnTo>
                        <a:pt x="17911" y="33520"/>
                      </a:lnTo>
                      <a:lnTo>
                        <a:pt x="18078" y="33520"/>
                      </a:lnTo>
                      <a:lnTo>
                        <a:pt x="18287" y="33625"/>
                      </a:lnTo>
                      <a:lnTo>
                        <a:pt x="18434" y="33583"/>
                      </a:lnTo>
                      <a:lnTo>
                        <a:pt x="18476" y="33457"/>
                      </a:lnTo>
                      <a:lnTo>
                        <a:pt x="18476" y="33353"/>
                      </a:lnTo>
                      <a:lnTo>
                        <a:pt x="18539" y="33311"/>
                      </a:lnTo>
                      <a:lnTo>
                        <a:pt x="18706" y="33416"/>
                      </a:lnTo>
                      <a:lnTo>
                        <a:pt x="18873" y="33437"/>
                      </a:lnTo>
                      <a:lnTo>
                        <a:pt x="19062" y="33353"/>
                      </a:lnTo>
                      <a:lnTo>
                        <a:pt x="19103" y="33248"/>
                      </a:lnTo>
                      <a:lnTo>
                        <a:pt x="19083" y="32809"/>
                      </a:lnTo>
                      <a:lnTo>
                        <a:pt x="19020" y="32746"/>
                      </a:lnTo>
                      <a:lnTo>
                        <a:pt x="18852" y="32746"/>
                      </a:lnTo>
                      <a:lnTo>
                        <a:pt x="18748" y="32683"/>
                      </a:lnTo>
                      <a:lnTo>
                        <a:pt x="18706" y="32621"/>
                      </a:lnTo>
                      <a:lnTo>
                        <a:pt x="18580" y="32600"/>
                      </a:lnTo>
                      <a:lnTo>
                        <a:pt x="18497" y="32516"/>
                      </a:lnTo>
                      <a:lnTo>
                        <a:pt x="18371" y="32516"/>
                      </a:lnTo>
                      <a:lnTo>
                        <a:pt x="18371" y="32432"/>
                      </a:lnTo>
                      <a:lnTo>
                        <a:pt x="18350" y="32369"/>
                      </a:lnTo>
                      <a:lnTo>
                        <a:pt x="18371" y="32307"/>
                      </a:lnTo>
                      <a:lnTo>
                        <a:pt x="18476" y="32307"/>
                      </a:lnTo>
                      <a:lnTo>
                        <a:pt x="18497" y="32181"/>
                      </a:lnTo>
                      <a:lnTo>
                        <a:pt x="18580" y="32077"/>
                      </a:lnTo>
                      <a:lnTo>
                        <a:pt x="18559" y="31951"/>
                      </a:lnTo>
                      <a:lnTo>
                        <a:pt x="18476" y="31951"/>
                      </a:lnTo>
                      <a:lnTo>
                        <a:pt x="18476" y="31805"/>
                      </a:lnTo>
                      <a:lnTo>
                        <a:pt x="18601" y="31637"/>
                      </a:lnTo>
                      <a:lnTo>
                        <a:pt x="18748" y="31491"/>
                      </a:lnTo>
                      <a:lnTo>
                        <a:pt x="18978" y="31470"/>
                      </a:lnTo>
                      <a:lnTo>
                        <a:pt x="19083" y="31491"/>
                      </a:lnTo>
                      <a:lnTo>
                        <a:pt x="19166" y="31449"/>
                      </a:lnTo>
                      <a:lnTo>
                        <a:pt x="19166" y="31344"/>
                      </a:lnTo>
                      <a:lnTo>
                        <a:pt x="19062" y="31323"/>
                      </a:lnTo>
                      <a:lnTo>
                        <a:pt x="18978" y="31219"/>
                      </a:lnTo>
                      <a:lnTo>
                        <a:pt x="18873" y="31219"/>
                      </a:lnTo>
                      <a:lnTo>
                        <a:pt x="18790" y="31260"/>
                      </a:lnTo>
                      <a:lnTo>
                        <a:pt x="18685" y="31219"/>
                      </a:lnTo>
                      <a:lnTo>
                        <a:pt x="18539" y="31219"/>
                      </a:lnTo>
                      <a:lnTo>
                        <a:pt x="18539" y="31135"/>
                      </a:lnTo>
                      <a:lnTo>
                        <a:pt x="18580" y="31072"/>
                      </a:lnTo>
                      <a:lnTo>
                        <a:pt x="18748" y="31072"/>
                      </a:lnTo>
                      <a:lnTo>
                        <a:pt x="18685" y="30947"/>
                      </a:lnTo>
                      <a:lnTo>
                        <a:pt x="18539" y="30968"/>
                      </a:lnTo>
                      <a:lnTo>
                        <a:pt x="18434" y="30947"/>
                      </a:lnTo>
                      <a:lnTo>
                        <a:pt x="18476" y="30905"/>
                      </a:lnTo>
                      <a:lnTo>
                        <a:pt x="18434" y="30758"/>
                      </a:lnTo>
                      <a:lnTo>
                        <a:pt x="18476" y="30737"/>
                      </a:lnTo>
                      <a:lnTo>
                        <a:pt x="18601" y="30737"/>
                      </a:lnTo>
                      <a:lnTo>
                        <a:pt x="18664" y="30654"/>
                      </a:lnTo>
                      <a:lnTo>
                        <a:pt x="18748" y="30654"/>
                      </a:lnTo>
                      <a:lnTo>
                        <a:pt x="18769" y="30716"/>
                      </a:lnTo>
                      <a:lnTo>
                        <a:pt x="18894" y="30696"/>
                      </a:lnTo>
                      <a:lnTo>
                        <a:pt x="18999" y="30758"/>
                      </a:lnTo>
                      <a:lnTo>
                        <a:pt x="19062" y="30716"/>
                      </a:lnTo>
                      <a:lnTo>
                        <a:pt x="19062" y="30633"/>
                      </a:lnTo>
                      <a:lnTo>
                        <a:pt x="19166" y="30591"/>
                      </a:lnTo>
                      <a:lnTo>
                        <a:pt x="19271" y="30591"/>
                      </a:lnTo>
                      <a:lnTo>
                        <a:pt x="19334" y="30696"/>
                      </a:lnTo>
                      <a:lnTo>
                        <a:pt x="19396" y="30612"/>
                      </a:lnTo>
                      <a:lnTo>
                        <a:pt x="19396" y="30528"/>
                      </a:lnTo>
                      <a:lnTo>
                        <a:pt x="19606" y="30486"/>
                      </a:lnTo>
                      <a:lnTo>
                        <a:pt x="19731" y="30486"/>
                      </a:lnTo>
                      <a:lnTo>
                        <a:pt x="19899" y="30403"/>
                      </a:lnTo>
                      <a:lnTo>
                        <a:pt x="20045" y="30403"/>
                      </a:lnTo>
                      <a:lnTo>
                        <a:pt x="20066" y="30340"/>
                      </a:lnTo>
                      <a:lnTo>
                        <a:pt x="20233" y="30235"/>
                      </a:lnTo>
                      <a:lnTo>
                        <a:pt x="20359" y="30235"/>
                      </a:lnTo>
                      <a:lnTo>
                        <a:pt x="20443" y="30193"/>
                      </a:lnTo>
                      <a:lnTo>
                        <a:pt x="20526" y="30193"/>
                      </a:lnTo>
                      <a:lnTo>
                        <a:pt x="20589" y="30214"/>
                      </a:lnTo>
                      <a:lnTo>
                        <a:pt x="20652" y="30172"/>
                      </a:lnTo>
                      <a:lnTo>
                        <a:pt x="20652" y="30026"/>
                      </a:lnTo>
                      <a:lnTo>
                        <a:pt x="20736" y="29984"/>
                      </a:lnTo>
                      <a:lnTo>
                        <a:pt x="20861" y="29984"/>
                      </a:lnTo>
                      <a:lnTo>
                        <a:pt x="20882" y="29900"/>
                      </a:lnTo>
                      <a:lnTo>
                        <a:pt x="20966" y="29859"/>
                      </a:lnTo>
                      <a:lnTo>
                        <a:pt x="21008" y="29900"/>
                      </a:lnTo>
                      <a:lnTo>
                        <a:pt x="21091" y="29921"/>
                      </a:lnTo>
                      <a:lnTo>
                        <a:pt x="21196" y="29880"/>
                      </a:lnTo>
                      <a:lnTo>
                        <a:pt x="21321" y="29817"/>
                      </a:lnTo>
                      <a:lnTo>
                        <a:pt x="21572" y="29670"/>
                      </a:lnTo>
                      <a:lnTo>
                        <a:pt x="21614" y="29670"/>
                      </a:lnTo>
                      <a:lnTo>
                        <a:pt x="21677" y="29649"/>
                      </a:lnTo>
                      <a:lnTo>
                        <a:pt x="21803" y="29608"/>
                      </a:lnTo>
                      <a:lnTo>
                        <a:pt x="21886" y="29503"/>
                      </a:lnTo>
                      <a:lnTo>
                        <a:pt x="21949" y="29545"/>
                      </a:lnTo>
                      <a:lnTo>
                        <a:pt x="22116" y="29503"/>
                      </a:lnTo>
                      <a:lnTo>
                        <a:pt x="22116" y="29440"/>
                      </a:lnTo>
                      <a:lnTo>
                        <a:pt x="22054" y="29356"/>
                      </a:lnTo>
                      <a:lnTo>
                        <a:pt x="22116" y="29336"/>
                      </a:lnTo>
                      <a:lnTo>
                        <a:pt x="22284" y="29336"/>
                      </a:lnTo>
                      <a:lnTo>
                        <a:pt x="22305" y="29231"/>
                      </a:lnTo>
                      <a:lnTo>
                        <a:pt x="22409" y="29168"/>
                      </a:lnTo>
                      <a:lnTo>
                        <a:pt x="22472" y="29168"/>
                      </a:lnTo>
                      <a:lnTo>
                        <a:pt x="22556" y="29147"/>
                      </a:lnTo>
                      <a:lnTo>
                        <a:pt x="22681" y="29189"/>
                      </a:lnTo>
                      <a:lnTo>
                        <a:pt x="22849" y="29168"/>
                      </a:lnTo>
                      <a:lnTo>
                        <a:pt x="22974" y="29273"/>
                      </a:lnTo>
                      <a:lnTo>
                        <a:pt x="23100" y="29273"/>
                      </a:lnTo>
                      <a:lnTo>
                        <a:pt x="23246" y="29210"/>
                      </a:lnTo>
                      <a:lnTo>
                        <a:pt x="23372" y="29210"/>
                      </a:lnTo>
                      <a:lnTo>
                        <a:pt x="23414" y="29356"/>
                      </a:lnTo>
                      <a:lnTo>
                        <a:pt x="23477" y="29377"/>
                      </a:lnTo>
                      <a:lnTo>
                        <a:pt x="23539" y="29503"/>
                      </a:lnTo>
                      <a:lnTo>
                        <a:pt x="23602" y="29608"/>
                      </a:lnTo>
                      <a:lnTo>
                        <a:pt x="23686" y="29670"/>
                      </a:lnTo>
                      <a:lnTo>
                        <a:pt x="23686" y="29712"/>
                      </a:lnTo>
                      <a:lnTo>
                        <a:pt x="23665" y="29817"/>
                      </a:lnTo>
                      <a:lnTo>
                        <a:pt x="23686" y="29921"/>
                      </a:lnTo>
                      <a:lnTo>
                        <a:pt x="23686" y="29984"/>
                      </a:lnTo>
                      <a:lnTo>
                        <a:pt x="23602" y="30005"/>
                      </a:lnTo>
                      <a:lnTo>
                        <a:pt x="23665" y="30110"/>
                      </a:lnTo>
                      <a:lnTo>
                        <a:pt x="23749" y="30152"/>
                      </a:lnTo>
                      <a:lnTo>
                        <a:pt x="23874" y="30089"/>
                      </a:lnTo>
                      <a:lnTo>
                        <a:pt x="23937" y="30152"/>
                      </a:lnTo>
                      <a:lnTo>
                        <a:pt x="24000" y="30131"/>
                      </a:lnTo>
                      <a:lnTo>
                        <a:pt x="24021" y="30026"/>
                      </a:lnTo>
                      <a:lnTo>
                        <a:pt x="24104" y="30005"/>
                      </a:lnTo>
                      <a:lnTo>
                        <a:pt x="24125" y="30110"/>
                      </a:lnTo>
                      <a:lnTo>
                        <a:pt x="24209" y="30110"/>
                      </a:lnTo>
                      <a:lnTo>
                        <a:pt x="24230" y="30026"/>
                      </a:lnTo>
                      <a:lnTo>
                        <a:pt x="24188" y="29921"/>
                      </a:lnTo>
                      <a:lnTo>
                        <a:pt x="24209" y="29900"/>
                      </a:lnTo>
                      <a:lnTo>
                        <a:pt x="24418" y="30026"/>
                      </a:lnTo>
                      <a:lnTo>
                        <a:pt x="24439" y="30214"/>
                      </a:lnTo>
                      <a:lnTo>
                        <a:pt x="24523" y="30340"/>
                      </a:lnTo>
                      <a:lnTo>
                        <a:pt x="24606" y="30340"/>
                      </a:lnTo>
                      <a:lnTo>
                        <a:pt x="24669" y="30256"/>
                      </a:lnTo>
                      <a:lnTo>
                        <a:pt x="24627" y="30235"/>
                      </a:lnTo>
                      <a:lnTo>
                        <a:pt x="24606" y="30193"/>
                      </a:lnTo>
                      <a:lnTo>
                        <a:pt x="24732" y="30152"/>
                      </a:lnTo>
                      <a:lnTo>
                        <a:pt x="24941" y="30256"/>
                      </a:lnTo>
                      <a:lnTo>
                        <a:pt x="25025" y="30256"/>
                      </a:lnTo>
                      <a:lnTo>
                        <a:pt x="25088" y="30193"/>
                      </a:lnTo>
                      <a:lnTo>
                        <a:pt x="25150" y="30214"/>
                      </a:lnTo>
                      <a:lnTo>
                        <a:pt x="25088" y="30319"/>
                      </a:lnTo>
                      <a:lnTo>
                        <a:pt x="25025" y="30361"/>
                      </a:lnTo>
                      <a:lnTo>
                        <a:pt x="25025" y="30528"/>
                      </a:lnTo>
                      <a:lnTo>
                        <a:pt x="25088" y="30633"/>
                      </a:lnTo>
                      <a:lnTo>
                        <a:pt x="25171" y="30633"/>
                      </a:lnTo>
                      <a:lnTo>
                        <a:pt x="25255" y="30549"/>
                      </a:lnTo>
                      <a:lnTo>
                        <a:pt x="25381" y="30528"/>
                      </a:lnTo>
                      <a:lnTo>
                        <a:pt x="25611" y="30570"/>
                      </a:lnTo>
                      <a:lnTo>
                        <a:pt x="25673" y="30612"/>
                      </a:lnTo>
                      <a:lnTo>
                        <a:pt x="25757" y="30549"/>
                      </a:lnTo>
                      <a:lnTo>
                        <a:pt x="25715" y="30424"/>
                      </a:lnTo>
                      <a:lnTo>
                        <a:pt x="25820" y="30361"/>
                      </a:lnTo>
                      <a:lnTo>
                        <a:pt x="25987" y="30340"/>
                      </a:lnTo>
                      <a:lnTo>
                        <a:pt x="26092" y="30256"/>
                      </a:lnTo>
                      <a:lnTo>
                        <a:pt x="26134" y="30152"/>
                      </a:lnTo>
                      <a:lnTo>
                        <a:pt x="26217" y="30089"/>
                      </a:lnTo>
                      <a:lnTo>
                        <a:pt x="26217" y="30005"/>
                      </a:lnTo>
                      <a:lnTo>
                        <a:pt x="26343" y="29880"/>
                      </a:lnTo>
                      <a:lnTo>
                        <a:pt x="26448" y="29838"/>
                      </a:lnTo>
                      <a:lnTo>
                        <a:pt x="26531" y="29733"/>
                      </a:lnTo>
                      <a:lnTo>
                        <a:pt x="26657" y="29712"/>
                      </a:lnTo>
                      <a:lnTo>
                        <a:pt x="26824" y="29670"/>
                      </a:lnTo>
                      <a:lnTo>
                        <a:pt x="26866" y="29712"/>
                      </a:lnTo>
                      <a:lnTo>
                        <a:pt x="26866" y="29817"/>
                      </a:lnTo>
                      <a:lnTo>
                        <a:pt x="27138" y="29900"/>
                      </a:lnTo>
                      <a:lnTo>
                        <a:pt x="27054" y="29921"/>
                      </a:lnTo>
                      <a:lnTo>
                        <a:pt x="27117" y="30005"/>
                      </a:lnTo>
                      <a:lnTo>
                        <a:pt x="28163" y="30800"/>
                      </a:lnTo>
                      <a:lnTo>
                        <a:pt x="29565" y="32579"/>
                      </a:lnTo>
                      <a:lnTo>
                        <a:pt x="29712" y="32537"/>
                      </a:lnTo>
                      <a:lnTo>
                        <a:pt x="29816" y="32495"/>
                      </a:lnTo>
                      <a:lnTo>
                        <a:pt x="29837" y="32411"/>
                      </a:lnTo>
                      <a:lnTo>
                        <a:pt x="29816" y="32390"/>
                      </a:lnTo>
                      <a:lnTo>
                        <a:pt x="29816" y="32265"/>
                      </a:lnTo>
                      <a:lnTo>
                        <a:pt x="29879" y="32202"/>
                      </a:lnTo>
                      <a:lnTo>
                        <a:pt x="30047" y="32286"/>
                      </a:lnTo>
                      <a:lnTo>
                        <a:pt x="30026" y="32369"/>
                      </a:lnTo>
                      <a:lnTo>
                        <a:pt x="30026" y="32432"/>
                      </a:lnTo>
                      <a:lnTo>
                        <a:pt x="30151" y="32474"/>
                      </a:lnTo>
                      <a:lnTo>
                        <a:pt x="30214" y="32537"/>
                      </a:lnTo>
                      <a:lnTo>
                        <a:pt x="30319" y="32537"/>
                      </a:lnTo>
                      <a:lnTo>
                        <a:pt x="30402" y="32495"/>
                      </a:lnTo>
                      <a:lnTo>
                        <a:pt x="30507" y="32474"/>
                      </a:lnTo>
                      <a:lnTo>
                        <a:pt x="30674" y="32537"/>
                      </a:lnTo>
                      <a:lnTo>
                        <a:pt x="30800" y="32495"/>
                      </a:lnTo>
                      <a:lnTo>
                        <a:pt x="30904" y="32516"/>
                      </a:lnTo>
                      <a:lnTo>
                        <a:pt x="31009" y="32474"/>
                      </a:lnTo>
                      <a:lnTo>
                        <a:pt x="31030" y="32411"/>
                      </a:lnTo>
                      <a:lnTo>
                        <a:pt x="31009" y="32369"/>
                      </a:lnTo>
                      <a:lnTo>
                        <a:pt x="31030" y="32307"/>
                      </a:lnTo>
                      <a:lnTo>
                        <a:pt x="31218" y="32286"/>
                      </a:lnTo>
                      <a:lnTo>
                        <a:pt x="31427" y="32286"/>
                      </a:lnTo>
                      <a:lnTo>
                        <a:pt x="31616" y="32328"/>
                      </a:lnTo>
                      <a:lnTo>
                        <a:pt x="31783" y="32474"/>
                      </a:lnTo>
                      <a:lnTo>
                        <a:pt x="31888" y="32621"/>
                      </a:lnTo>
                      <a:lnTo>
                        <a:pt x="31951" y="32746"/>
                      </a:lnTo>
                      <a:lnTo>
                        <a:pt x="32013" y="32746"/>
                      </a:lnTo>
                      <a:lnTo>
                        <a:pt x="32139" y="32788"/>
                      </a:lnTo>
                      <a:lnTo>
                        <a:pt x="32264" y="32851"/>
                      </a:lnTo>
                      <a:lnTo>
                        <a:pt x="32327" y="32851"/>
                      </a:lnTo>
                      <a:lnTo>
                        <a:pt x="32390" y="32913"/>
                      </a:lnTo>
                      <a:lnTo>
                        <a:pt x="32390" y="32997"/>
                      </a:lnTo>
                      <a:lnTo>
                        <a:pt x="32369" y="33039"/>
                      </a:lnTo>
                      <a:lnTo>
                        <a:pt x="32369" y="33144"/>
                      </a:lnTo>
                      <a:lnTo>
                        <a:pt x="32390" y="33227"/>
                      </a:lnTo>
                      <a:lnTo>
                        <a:pt x="32453" y="33269"/>
                      </a:lnTo>
                      <a:lnTo>
                        <a:pt x="32474" y="33311"/>
                      </a:lnTo>
                      <a:lnTo>
                        <a:pt x="32536" y="33311"/>
                      </a:lnTo>
                      <a:lnTo>
                        <a:pt x="32641" y="33353"/>
                      </a:lnTo>
                      <a:lnTo>
                        <a:pt x="32704" y="33416"/>
                      </a:lnTo>
                      <a:lnTo>
                        <a:pt x="32746" y="33353"/>
                      </a:lnTo>
                      <a:lnTo>
                        <a:pt x="32850" y="33311"/>
                      </a:lnTo>
                      <a:lnTo>
                        <a:pt x="33101" y="33269"/>
                      </a:lnTo>
                      <a:lnTo>
                        <a:pt x="33227" y="33248"/>
                      </a:lnTo>
                      <a:lnTo>
                        <a:pt x="33290" y="33144"/>
                      </a:lnTo>
                      <a:lnTo>
                        <a:pt x="33394" y="33102"/>
                      </a:lnTo>
                      <a:lnTo>
                        <a:pt x="33436" y="33123"/>
                      </a:lnTo>
                      <a:lnTo>
                        <a:pt x="33394" y="33248"/>
                      </a:lnTo>
                      <a:lnTo>
                        <a:pt x="33415" y="33353"/>
                      </a:lnTo>
                      <a:lnTo>
                        <a:pt x="33499" y="33374"/>
                      </a:lnTo>
                      <a:lnTo>
                        <a:pt x="33624" y="33478"/>
                      </a:lnTo>
                      <a:lnTo>
                        <a:pt x="33792" y="33541"/>
                      </a:lnTo>
                      <a:lnTo>
                        <a:pt x="33813" y="33562"/>
                      </a:lnTo>
                      <a:lnTo>
                        <a:pt x="33896" y="33562"/>
                      </a:lnTo>
                      <a:lnTo>
                        <a:pt x="34001" y="33625"/>
                      </a:lnTo>
                      <a:lnTo>
                        <a:pt x="34043" y="33625"/>
                      </a:lnTo>
                      <a:lnTo>
                        <a:pt x="34043" y="33583"/>
                      </a:lnTo>
                      <a:lnTo>
                        <a:pt x="34127" y="33374"/>
                      </a:lnTo>
                      <a:lnTo>
                        <a:pt x="34231" y="33332"/>
                      </a:lnTo>
                      <a:lnTo>
                        <a:pt x="34482" y="33332"/>
                      </a:lnTo>
                      <a:lnTo>
                        <a:pt x="34524" y="33269"/>
                      </a:lnTo>
                      <a:lnTo>
                        <a:pt x="34629" y="33165"/>
                      </a:lnTo>
                      <a:lnTo>
                        <a:pt x="34796" y="33102"/>
                      </a:lnTo>
                      <a:lnTo>
                        <a:pt x="34796" y="32997"/>
                      </a:lnTo>
                      <a:lnTo>
                        <a:pt x="34859" y="32893"/>
                      </a:lnTo>
                      <a:lnTo>
                        <a:pt x="35005" y="32809"/>
                      </a:lnTo>
                      <a:lnTo>
                        <a:pt x="35005" y="32725"/>
                      </a:lnTo>
                      <a:lnTo>
                        <a:pt x="35110" y="32621"/>
                      </a:lnTo>
                      <a:lnTo>
                        <a:pt x="35215" y="32600"/>
                      </a:lnTo>
                      <a:lnTo>
                        <a:pt x="35298" y="32495"/>
                      </a:lnTo>
                      <a:lnTo>
                        <a:pt x="35361" y="32432"/>
                      </a:lnTo>
                      <a:lnTo>
                        <a:pt x="35298" y="32390"/>
                      </a:lnTo>
                      <a:lnTo>
                        <a:pt x="35298" y="32307"/>
                      </a:lnTo>
                      <a:lnTo>
                        <a:pt x="35319" y="32265"/>
                      </a:lnTo>
                      <a:lnTo>
                        <a:pt x="35508" y="32307"/>
                      </a:lnTo>
                      <a:lnTo>
                        <a:pt x="35591" y="32265"/>
                      </a:lnTo>
                      <a:lnTo>
                        <a:pt x="35633" y="32097"/>
                      </a:lnTo>
                      <a:lnTo>
                        <a:pt x="35717" y="32077"/>
                      </a:lnTo>
                      <a:lnTo>
                        <a:pt x="35926" y="32056"/>
                      </a:lnTo>
                      <a:lnTo>
                        <a:pt x="36031" y="32014"/>
                      </a:lnTo>
                      <a:lnTo>
                        <a:pt x="36261" y="32014"/>
                      </a:lnTo>
                      <a:lnTo>
                        <a:pt x="36345" y="31972"/>
                      </a:lnTo>
                      <a:lnTo>
                        <a:pt x="36365" y="31972"/>
                      </a:lnTo>
                      <a:lnTo>
                        <a:pt x="36449" y="32077"/>
                      </a:lnTo>
                      <a:lnTo>
                        <a:pt x="36449" y="32160"/>
                      </a:lnTo>
                      <a:lnTo>
                        <a:pt x="36533" y="32223"/>
                      </a:lnTo>
                      <a:lnTo>
                        <a:pt x="36658" y="32223"/>
                      </a:lnTo>
                      <a:lnTo>
                        <a:pt x="36700" y="32202"/>
                      </a:lnTo>
                      <a:lnTo>
                        <a:pt x="36805" y="32202"/>
                      </a:lnTo>
                      <a:lnTo>
                        <a:pt x="36889" y="32160"/>
                      </a:lnTo>
                      <a:lnTo>
                        <a:pt x="37077" y="32160"/>
                      </a:lnTo>
                      <a:lnTo>
                        <a:pt x="37098" y="32223"/>
                      </a:lnTo>
                      <a:lnTo>
                        <a:pt x="37119" y="32328"/>
                      </a:lnTo>
                      <a:lnTo>
                        <a:pt x="37161" y="32411"/>
                      </a:lnTo>
                      <a:lnTo>
                        <a:pt x="37453" y="32579"/>
                      </a:lnTo>
                      <a:lnTo>
                        <a:pt x="37537" y="32641"/>
                      </a:lnTo>
                      <a:lnTo>
                        <a:pt x="37746" y="32746"/>
                      </a:lnTo>
                      <a:lnTo>
                        <a:pt x="37830" y="32704"/>
                      </a:lnTo>
                      <a:lnTo>
                        <a:pt x="37935" y="32641"/>
                      </a:lnTo>
                      <a:lnTo>
                        <a:pt x="38060" y="32579"/>
                      </a:lnTo>
                      <a:lnTo>
                        <a:pt x="38165" y="32579"/>
                      </a:lnTo>
                      <a:lnTo>
                        <a:pt x="38269" y="32600"/>
                      </a:lnTo>
                      <a:lnTo>
                        <a:pt x="38353" y="32641"/>
                      </a:lnTo>
                      <a:lnTo>
                        <a:pt x="38437" y="32621"/>
                      </a:lnTo>
                      <a:lnTo>
                        <a:pt x="38688" y="32621"/>
                      </a:lnTo>
                      <a:lnTo>
                        <a:pt x="38793" y="32683"/>
                      </a:lnTo>
                      <a:lnTo>
                        <a:pt x="38897" y="32683"/>
                      </a:lnTo>
                      <a:lnTo>
                        <a:pt x="38939" y="32641"/>
                      </a:lnTo>
                      <a:lnTo>
                        <a:pt x="39044" y="32683"/>
                      </a:lnTo>
                      <a:lnTo>
                        <a:pt x="39211" y="32641"/>
                      </a:lnTo>
                      <a:lnTo>
                        <a:pt x="39316" y="32474"/>
                      </a:lnTo>
                      <a:lnTo>
                        <a:pt x="39274" y="32390"/>
                      </a:lnTo>
                      <a:lnTo>
                        <a:pt x="39169" y="32307"/>
                      </a:lnTo>
                      <a:lnTo>
                        <a:pt x="39169" y="32118"/>
                      </a:lnTo>
                      <a:lnTo>
                        <a:pt x="39190" y="31951"/>
                      </a:lnTo>
                      <a:lnTo>
                        <a:pt x="39169" y="31867"/>
                      </a:lnTo>
                      <a:lnTo>
                        <a:pt x="39065" y="31846"/>
                      </a:lnTo>
                      <a:lnTo>
                        <a:pt x="39002" y="31763"/>
                      </a:lnTo>
                      <a:lnTo>
                        <a:pt x="38834" y="31700"/>
                      </a:lnTo>
                      <a:lnTo>
                        <a:pt x="38772" y="31574"/>
                      </a:lnTo>
                      <a:lnTo>
                        <a:pt x="38772" y="31281"/>
                      </a:lnTo>
                      <a:lnTo>
                        <a:pt x="38876" y="31156"/>
                      </a:lnTo>
                      <a:lnTo>
                        <a:pt x="38876" y="31072"/>
                      </a:lnTo>
                      <a:lnTo>
                        <a:pt x="38939" y="30968"/>
                      </a:lnTo>
                      <a:lnTo>
                        <a:pt x="39044" y="30947"/>
                      </a:lnTo>
                      <a:lnTo>
                        <a:pt x="39086" y="30968"/>
                      </a:lnTo>
                      <a:lnTo>
                        <a:pt x="39148" y="30863"/>
                      </a:lnTo>
                      <a:lnTo>
                        <a:pt x="39106" y="30758"/>
                      </a:lnTo>
                      <a:lnTo>
                        <a:pt x="39148" y="30696"/>
                      </a:lnTo>
                      <a:lnTo>
                        <a:pt x="39211" y="30633"/>
                      </a:lnTo>
                      <a:lnTo>
                        <a:pt x="39316" y="30633"/>
                      </a:lnTo>
                      <a:lnTo>
                        <a:pt x="39399" y="30696"/>
                      </a:lnTo>
                      <a:lnTo>
                        <a:pt x="39567" y="30737"/>
                      </a:lnTo>
                      <a:lnTo>
                        <a:pt x="39713" y="30821"/>
                      </a:lnTo>
                      <a:lnTo>
                        <a:pt x="39734" y="30863"/>
                      </a:lnTo>
                      <a:lnTo>
                        <a:pt x="39881" y="30926"/>
                      </a:lnTo>
                      <a:lnTo>
                        <a:pt x="40236" y="30926"/>
                      </a:lnTo>
                      <a:lnTo>
                        <a:pt x="40320" y="30968"/>
                      </a:lnTo>
                      <a:lnTo>
                        <a:pt x="40362" y="31030"/>
                      </a:lnTo>
                      <a:lnTo>
                        <a:pt x="40529" y="31051"/>
                      </a:lnTo>
                      <a:lnTo>
                        <a:pt x="40613" y="31114"/>
                      </a:lnTo>
                      <a:lnTo>
                        <a:pt x="40718" y="31135"/>
                      </a:lnTo>
                      <a:lnTo>
                        <a:pt x="40948" y="31135"/>
                      </a:lnTo>
                      <a:lnTo>
                        <a:pt x="41031" y="31156"/>
                      </a:lnTo>
                      <a:lnTo>
                        <a:pt x="41073" y="31240"/>
                      </a:lnTo>
                      <a:lnTo>
                        <a:pt x="41073" y="31323"/>
                      </a:lnTo>
                      <a:lnTo>
                        <a:pt x="41136" y="31386"/>
                      </a:lnTo>
                      <a:lnTo>
                        <a:pt x="41136" y="31470"/>
                      </a:lnTo>
                      <a:lnTo>
                        <a:pt x="41178" y="31533"/>
                      </a:lnTo>
                      <a:lnTo>
                        <a:pt x="41241" y="31658"/>
                      </a:lnTo>
                      <a:lnTo>
                        <a:pt x="41241" y="31763"/>
                      </a:lnTo>
                      <a:lnTo>
                        <a:pt x="41303" y="31805"/>
                      </a:lnTo>
                      <a:lnTo>
                        <a:pt x="41387" y="31805"/>
                      </a:lnTo>
                      <a:lnTo>
                        <a:pt x="41492" y="31909"/>
                      </a:lnTo>
                      <a:lnTo>
                        <a:pt x="41513" y="31972"/>
                      </a:lnTo>
                      <a:lnTo>
                        <a:pt x="41680" y="32014"/>
                      </a:lnTo>
                      <a:lnTo>
                        <a:pt x="41868" y="32118"/>
                      </a:lnTo>
                      <a:lnTo>
                        <a:pt x="41931" y="32118"/>
                      </a:lnTo>
                      <a:lnTo>
                        <a:pt x="41994" y="32077"/>
                      </a:lnTo>
                      <a:lnTo>
                        <a:pt x="42182" y="32077"/>
                      </a:lnTo>
                      <a:lnTo>
                        <a:pt x="42245" y="32014"/>
                      </a:lnTo>
                      <a:lnTo>
                        <a:pt x="42329" y="32014"/>
                      </a:lnTo>
                      <a:lnTo>
                        <a:pt x="42412" y="32056"/>
                      </a:lnTo>
                      <a:lnTo>
                        <a:pt x="42496" y="32014"/>
                      </a:lnTo>
                      <a:lnTo>
                        <a:pt x="42601" y="31909"/>
                      </a:lnTo>
                      <a:lnTo>
                        <a:pt x="42747" y="31867"/>
                      </a:lnTo>
                      <a:lnTo>
                        <a:pt x="42977" y="31846"/>
                      </a:lnTo>
                      <a:lnTo>
                        <a:pt x="43124" y="31763"/>
                      </a:lnTo>
                      <a:lnTo>
                        <a:pt x="43270" y="31763"/>
                      </a:lnTo>
                      <a:lnTo>
                        <a:pt x="43396" y="31700"/>
                      </a:lnTo>
                      <a:lnTo>
                        <a:pt x="43542" y="31784"/>
                      </a:lnTo>
                      <a:lnTo>
                        <a:pt x="43710" y="31805"/>
                      </a:lnTo>
                      <a:lnTo>
                        <a:pt x="43961" y="31805"/>
                      </a:lnTo>
                      <a:lnTo>
                        <a:pt x="44065" y="31972"/>
                      </a:lnTo>
                      <a:lnTo>
                        <a:pt x="44275" y="32056"/>
                      </a:lnTo>
                      <a:lnTo>
                        <a:pt x="44421" y="32056"/>
                      </a:lnTo>
                      <a:lnTo>
                        <a:pt x="44547" y="32014"/>
                      </a:lnTo>
                      <a:lnTo>
                        <a:pt x="44609" y="32077"/>
                      </a:lnTo>
                      <a:lnTo>
                        <a:pt x="44651" y="32265"/>
                      </a:lnTo>
                      <a:lnTo>
                        <a:pt x="44756" y="32328"/>
                      </a:lnTo>
                      <a:lnTo>
                        <a:pt x="44840" y="32390"/>
                      </a:lnTo>
                      <a:lnTo>
                        <a:pt x="44923" y="32411"/>
                      </a:lnTo>
                      <a:lnTo>
                        <a:pt x="45028" y="32516"/>
                      </a:lnTo>
                      <a:lnTo>
                        <a:pt x="45112" y="32516"/>
                      </a:lnTo>
                      <a:lnTo>
                        <a:pt x="45363" y="32495"/>
                      </a:lnTo>
                      <a:lnTo>
                        <a:pt x="45593" y="32579"/>
                      </a:lnTo>
                      <a:lnTo>
                        <a:pt x="45948" y="32579"/>
                      </a:lnTo>
                      <a:lnTo>
                        <a:pt x="46095" y="32537"/>
                      </a:lnTo>
                      <a:lnTo>
                        <a:pt x="46158" y="32495"/>
                      </a:lnTo>
                      <a:lnTo>
                        <a:pt x="46283" y="32495"/>
                      </a:lnTo>
                      <a:lnTo>
                        <a:pt x="46388" y="32537"/>
                      </a:lnTo>
                      <a:lnTo>
                        <a:pt x="46472" y="32537"/>
                      </a:lnTo>
                      <a:lnTo>
                        <a:pt x="46534" y="32411"/>
                      </a:lnTo>
                      <a:lnTo>
                        <a:pt x="46744" y="32286"/>
                      </a:lnTo>
                      <a:lnTo>
                        <a:pt x="46890" y="32286"/>
                      </a:lnTo>
                      <a:lnTo>
                        <a:pt x="46953" y="32181"/>
                      </a:lnTo>
                      <a:lnTo>
                        <a:pt x="47329" y="32181"/>
                      </a:lnTo>
                      <a:lnTo>
                        <a:pt x="47434" y="32077"/>
                      </a:lnTo>
                      <a:lnTo>
                        <a:pt x="47455" y="31972"/>
                      </a:lnTo>
                      <a:lnTo>
                        <a:pt x="47455" y="31909"/>
                      </a:lnTo>
                      <a:lnTo>
                        <a:pt x="47539" y="31805"/>
                      </a:lnTo>
                      <a:lnTo>
                        <a:pt x="47664" y="31763"/>
                      </a:lnTo>
                      <a:lnTo>
                        <a:pt x="47748" y="31679"/>
                      </a:lnTo>
                      <a:lnTo>
                        <a:pt x="47790" y="31553"/>
                      </a:lnTo>
                      <a:lnTo>
                        <a:pt x="47873" y="31470"/>
                      </a:lnTo>
                      <a:lnTo>
                        <a:pt x="47978" y="31470"/>
                      </a:lnTo>
                      <a:lnTo>
                        <a:pt x="47999" y="31491"/>
                      </a:lnTo>
                      <a:lnTo>
                        <a:pt x="48187" y="31449"/>
                      </a:lnTo>
                      <a:lnTo>
                        <a:pt x="48292" y="31449"/>
                      </a:lnTo>
                      <a:lnTo>
                        <a:pt x="48417" y="31533"/>
                      </a:lnTo>
                      <a:lnTo>
                        <a:pt x="48501" y="31637"/>
                      </a:lnTo>
                      <a:lnTo>
                        <a:pt x="48585" y="31658"/>
                      </a:lnTo>
                      <a:lnTo>
                        <a:pt x="48689" y="31595"/>
                      </a:lnTo>
                      <a:lnTo>
                        <a:pt x="48731" y="31658"/>
                      </a:lnTo>
                      <a:lnTo>
                        <a:pt x="48836" y="31658"/>
                      </a:lnTo>
                      <a:lnTo>
                        <a:pt x="48982" y="31574"/>
                      </a:lnTo>
                      <a:lnTo>
                        <a:pt x="48982" y="31533"/>
                      </a:lnTo>
                      <a:lnTo>
                        <a:pt x="49150" y="31491"/>
                      </a:lnTo>
                      <a:lnTo>
                        <a:pt x="49359" y="31574"/>
                      </a:lnTo>
                      <a:lnTo>
                        <a:pt x="49422" y="31637"/>
                      </a:lnTo>
                      <a:lnTo>
                        <a:pt x="49464" y="31595"/>
                      </a:lnTo>
                      <a:lnTo>
                        <a:pt x="49547" y="31595"/>
                      </a:lnTo>
                      <a:lnTo>
                        <a:pt x="49568" y="31658"/>
                      </a:lnTo>
                      <a:lnTo>
                        <a:pt x="49673" y="31637"/>
                      </a:lnTo>
                      <a:lnTo>
                        <a:pt x="49840" y="31658"/>
                      </a:lnTo>
                      <a:lnTo>
                        <a:pt x="49924" y="31742"/>
                      </a:lnTo>
                      <a:lnTo>
                        <a:pt x="49966" y="31742"/>
                      </a:lnTo>
                      <a:lnTo>
                        <a:pt x="50259" y="31470"/>
                      </a:lnTo>
                      <a:lnTo>
                        <a:pt x="50384" y="31365"/>
                      </a:lnTo>
                      <a:lnTo>
                        <a:pt x="50594" y="31344"/>
                      </a:lnTo>
                      <a:lnTo>
                        <a:pt x="50677" y="31260"/>
                      </a:lnTo>
                      <a:lnTo>
                        <a:pt x="50698" y="31156"/>
                      </a:lnTo>
                      <a:lnTo>
                        <a:pt x="50677" y="31030"/>
                      </a:lnTo>
                      <a:lnTo>
                        <a:pt x="50614" y="31009"/>
                      </a:lnTo>
                      <a:lnTo>
                        <a:pt x="50573" y="31030"/>
                      </a:lnTo>
                      <a:lnTo>
                        <a:pt x="50510" y="31009"/>
                      </a:lnTo>
                      <a:lnTo>
                        <a:pt x="50468" y="31009"/>
                      </a:lnTo>
                      <a:lnTo>
                        <a:pt x="50468" y="30842"/>
                      </a:lnTo>
                      <a:lnTo>
                        <a:pt x="50489" y="30800"/>
                      </a:lnTo>
                      <a:lnTo>
                        <a:pt x="50489" y="30633"/>
                      </a:lnTo>
                      <a:lnTo>
                        <a:pt x="50447" y="30528"/>
                      </a:lnTo>
                      <a:lnTo>
                        <a:pt x="50468" y="30444"/>
                      </a:lnTo>
                      <a:lnTo>
                        <a:pt x="50552" y="30424"/>
                      </a:lnTo>
                      <a:lnTo>
                        <a:pt x="50552" y="30319"/>
                      </a:lnTo>
                      <a:lnTo>
                        <a:pt x="50468" y="30235"/>
                      </a:lnTo>
                      <a:lnTo>
                        <a:pt x="50447" y="30110"/>
                      </a:lnTo>
                      <a:lnTo>
                        <a:pt x="50468" y="30068"/>
                      </a:lnTo>
                      <a:lnTo>
                        <a:pt x="50405" y="29963"/>
                      </a:lnTo>
                      <a:lnTo>
                        <a:pt x="50405" y="29859"/>
                      </a:lnTo>
                      <a:lnTo>
                        <a:pt x="50489" y="29754"/>
                      </a:lnTo>
                      <a:lnTo>
                        <a:pt x="50573" y="29691"/>
                      </a:lnTo>
                      <a:lnTo>
                        <a:pt x="50594" y="29566"/>
                      </a:lnTo>
                      <a:lnTo>
                        <a:pt x="50677" y="29461"/>
                      </a:lnTo>
                      <a:lnTo>
                        <a:pt x="50761" y="29398"/>
                      </a:lnTo>
                      <a:lnTo>
                        <a:pt x="50761" y="29273"/>
                      </a:lnTo>
                      <a:lnTo>
                        <a:pt x="50719" y="29189"/>
                      </a:lnTo>
                      <a:lnTo>
                        <a:pt x="50719" y="29126"/>
                      </a:lnTo>
                      <a:lnTo>
                        <a:pt x="50656" y="29064"/>
                      </a:lnTo>
                      <a:lnTo>
                        <a:pt x="50594" y="28959"/>
                      </a:lnTo>
                      <a:lnTo>
                        <a:pt x="50510" y="28833"/>
                      </a:lnTo>
                      <a:lnTo>
                        <a:pt x="50447" y="28812"/>
                      </a:lnTo>
                      <a:lnTo>
                        <a:pt x="50363" y="28833"/>
                      </a:lnTo>
                      <a:lnTo>
                        <a:pt x="50238" y="28917"/>
                      </a:lnTo>
                      <a:lnTo>
                        <a:pt x="50175" y="28917"/>
                      </a:lnTo>
                      <a:lnTo>
                        <a:pt x="50154" y="28854"/>
                      </a:lnTo>
                      <a:lnTo>
                        <a:pt x="50154" y="28603"/>
                      </a:lnTo>
                      <a:lnTo>
                        <a:pt x="50175" y="28540"/>
                      </a:lnTo>
                      <a:lnTo>
                        <a:pt x="50175" y="28499"/>
                      </a:lnTo>
                      <a:lnTo>
                        <a:pt x="50238" y="28436"/>
                      </a:lnTo>
                      <a:lnTo>
                        <a:pt x="50259" y="28331"/>
                      </a:lnTo>
                      <a:lnTo>
                        <a:pt x="50342" y="28227"/>
                      </a:lnTo>
                      <a:lnTo>
                        <a:pt x="50342" y="28143"/>
                      </a:lnTo>
                      <a:lnTo>
                        <a:pt x="50384" y="28101"/>
                      </a:lnTo>
                      <a:lnTo>
                        <a:pt x="50552" y="28080"/>
                      </a:lnTo>
                      <a:lnTo>
                        <a:pt x="50614" y="28038"/>
                      </a:lnTo>
                      <a:lnTo>
                        <a:pt x="50698" y="28038"/>
                      </a:lnTo>
                      <a:lnTo>
                        <a:pt x="50719" y="28017"/>
                      </a:lnTo>
                      <a:lnTo>
                        <a:pt x="50803" y="28017"/>
                      </a:lnTo>
                      <a:lnTo>
                        <a:pt x="50886" y="27996"/>
                      </a:lnTo>
                      <a:lnTo>
                        <a:pt x="50928" y="27913"/>
                      </a:lnTo>
                      <a:lnTo>
                        <a:pt x="51033" y="27913"/>
                      </a:lnTo>
                      <a:lnTo>
                        <a:pt x="51117" y="27829"/>
                      </a:lnTo>
                      <a:lnTo>
                        <a:pt x="51242" y="27871"/>
                      </a:lnTo>
                      <a:lnTo>
                        <a:pt x="51451" y="27871"/>
                      </a:lnTo>
                      <a:lnTo>
                        <a:pt x="51514" y="27808"/>
                      </a:lnTo>
                      <a:lnTo>
                        <a:pt x="51556" y="27808"/>
                      </a:lnTo>
                      <a:lnTo>
                        <a:pt x="51598" y="27724"/>
                      </a:lnTo>
                      <a:lnTo>
                        <a:pt x="51744" y="27703"/>
                      </a:lnTo>
                      <a:lnTo>
                        <a:pt x="51765" y="27683"/>
                      </a:lnTo>
                      <a:lnTo>
                        <a:pt x="51849" y="27703"/>
                      </a:lnTo>
                      <a:lnTo>
                        <a:pt x="51933" y="27703"/>
                      </a:lnTo>
                      <a:lnTo>
                        <a:pt x="52016" y="27745"/>
                      </a:lnTo>
                      <a:lnTo>
                        <a:pt x="52184" y="27787"/>
                      </a:lnTo>
                      <a:lnTo>
                        <a:pt x="52267" y="27829"/>
                      </a:lnTo>
                      <a:lnTo>
                        <a:pt x="52288" y="27892"/>
                      </a:lnTo>
                      <a:lnTo>
                        <a:pt x="52435" y="27892"/>
                      </a:lnTo>
                      <a:lnTo>
                        <a:pt x="52498" y="27850"/>
                      </a:lnTo>
                      <a:lnTo>
                        <a:pt x="52539" y="27892"/>
                      </a:lnTo>
                      <a:lnTo>
                        <a:pt x="52644" y="27934"/>
                      </a:lnTo>
                      <a:lnTo>
                        <a:pt x="52686" y="27913"/>
                      </a:lnTo>
                      <a:lnTo>
                        <a:pt x="52686" y="27829"/>
                      </a:lnTo>
                      <a:lnTo>
                        <a:pt x="52749" y="27808"/>
                      </a:lnTo>
                      <a:lnTo>
                        <a:pt x="52790" y="27829"/>
                      </a:lnTo>
                      <a:lnTo>
                        <a:pt x="52874" y="27829"/>
                      </a:lnTo>
                      <a:lnTo>
                        <a:pt x="52916" y="27808"/>
                      </a:lnTo>
                      <a:lnTo>
                        <a:pt x="52979" y="27892"/>
                      </a:lnTo>
                      <a:lnTo>
                        <a:pt x="53021" y="27892"/>
                      </a:lnTo>
                      <a:lnTo>
                        <a:pt x="53104" y="27913"/>
                      </a:lnTo>
                      <a:lnTo>
                        <a:pt x="53125" y="27955"/>
                      </a:lnTo>
                      <a:lnTo>
                        <a:pt x="53104" y="28017"/>
                      </a:lnTo>
                      <a:lnTo>
                        <a:pt x="53125" y="28059"/>
                      </a:lnTo>
                      <a:lnTo>
                        <a:pt x="53188" y="28059"/>
                      </a:lnTo>
                      <a:lnTo>
                        <a:pt x="53209" y="28122"/>
                      </a:lnTo>
                      <a:lnTo>
                        <a:pt x="53272" y="28059"/>
                      </a:lnTo>
                      <a:lnTo>
                        <a:pt x="53335" y="28101"/>
                      </a:lnTo>
                      <a:lnTo>
                        <a:pt x="53376" y="28143"/>
                      </a:lnTo>
                      <a:lnTo>
                        <a:pt x="53335" y="28206"/>
                      </a:lnTo>
                      <a:lnTo>
                        <a:pt x="53376" y="28247"/>
                      </a:lnTo>
                      <a:lnTo>
                        <a:pt x="53481" y="28268"/>
                      </a:lnTo>
                      <a:lnTo>
                        <a:pt x="53523" y="28268"/>
                      </a:lnTo>
                      <a:lnTo>
                        <a:pt x="53586" y="28310"/>
                      </a:lnTo>
                      <a:lnTo>
                        <a:pt x="53586" y="28352"/>
                      </a:lnTo>
                      <a:lnTo>
                        <a:pt x="53627" y="28373"/>
                      </a:lnTo>
                      <a:lnTo>
                        <a:pt x="53690" y="28457"/>
                      </a:lnTo>
                      <a:lnTo>
                        <a:pt x="53690" y="28540"/>
                      </a:lnTo>
                      <a:lnTo>
                        <a:pt x="53711" y="28624"/>
                      </a:lnTo>
                      <a:lnTo>
                        <a:pt x="53711" y="28666"/>
                      </a:lnTo>
                      <a:lnTo>
                        <a:pt x="53732" y="28687"/>
                      </a:lnTo>
                      <a:lnTo>
                        <a:pt x="53899" y="28687"/>
                      </a:lnTo>
                      <a:lnTo>
                        <a:pt x="53920" y="28750"/>
                      </a:lnTo>
                      <a:lnTo>
                        <a:pt x="53899" y="28833"/>
                      </a:lnTo>
                      <a:lnTo>
                        <a:pt x="53899" y="28875"/>
                      </a:lnTo>
                      <a:lnTo>
                        <a:pt x="54025" y="28959"/>
                      </a:lnTo>
                      <a:lnTo>
                        <a:pt x="54067" y="29064"/>
                      </a:lnTo>
                      <a:lnTo>
                        <a:pt x="54151" y="29147"/>
                      </a:lnTo>
                      <a:lnTo>
                        <a:pt x="54171" y="29210"/>
                      </a:lnTo>
                      <a:lnTo>
                        <a:pt x="54234" y="29252"/>
                      </a:lnTo>
                      <a:lnTo>
                        <a:pt x="54255" y="29356"/>
                      </a:lnTo>
                      <a:lnTo>
                        <a:pt x="54339" y="29398"/>
                      </a:lnTo>
                      <a:lnTo>
                        <a:pt x="54339" y="29461"/>
                      </a:lnTo>
                      <a:lnTo>
                        <a:pt x="54318" y="29503"/>
                      </a:lnTo>
                      <a:lnTo>
                        <a:pt x="54339" y="29524"/>
                      </a:lnTo>
                      <a:lnTo>
                        <a:pt x="54381" y="29503"/>
                      </a:lnTo>
                      <a:lnTo>
                        <a:pt x="54443" y="29587"/>
                      </a:lnTo>
                      <a:lnTo>
                        <a:pt x="54464" y="29670"/>
                      </a:lnTo>
                      <a:lnTo>
                        <a:pt x="54569" y="29817"/>
                      </a:lnTo>
                      <a:lnTo>
                        <a:pt x="54778" y="29963"/>
                      </a:lnTo>
                      <a:lnTo>
                        <a:pt x="54799" y="30047"/>
                      </a:lnTo>
                      <a:lnTo>
                        <a:pt x="54841" y="30152"/>
                      </a:lnTo>
                      <a:lnTo>
                        <a:pt x="54883" y="30193"/>
                      </a:lnTo>
                      <a:lnTo>
                        <a:pt x="54883" y="30298"/>
                      </a:lnTo>
                      <a:lnTo>
                        <a:pt x="54967" y="30319"/>
                      </a:lnTo>
                      <a:lnTo>
                        <a:pt x="55008" y="30319"/>
                      </a:lnTo>
                      <a:lnTo>
                        <a:pt x="55050" y="30424"/>
                      </a:lnTo>
                      <a:lnTo>
                        <a:pt x="55050" y="30507"/>
                      </a:lnTo>
                      <a:lnTo>
                        <a:pt x="55092" y="30612"/>
                      </a:lnTo>
                      <a:lnTo>
                        <a:pt x="55218" y="30737"/>
                      </a:lnTo>
                      <a:lnTo>
                        <a:pt x="55322" y="30758"/>
                      </a:lnTo>
                      <a:lnTo>
                        <a:pt x="55385" y="30842"/>
                      </a:lnTo>
                      <a:lnTo>
                        <a:pt x="55469" y="30842"/>
                      </a:lnTo>
                      <a:lnTo>
                        <a:pt x="55511" y="30821"/>
                      </a:lnTo>
                      <a:lnTo>
                        <a:pt x="55573" y="30842"/>
                      </a:lnTo>
                      <a:lnTo>
                        <a:pt x="55615" y="30821"/>
                      </a:lnTo>
                      <a:lnTo>
                        <a:pt x="55741" y="30842"/>
                      </a:lnTo>
                      <a:lnTo>
                        <a:pt x="55803" y="30779"/>
                      </a:lnTo>
                      <a:lnTo>
                        <a:pt x="55887" y="30779"/>
                      </a:lnTo>
                      <a:lnTo>
                        <a:pt x="55887" y="30821"/>
                      </a:lnTo>
                      <a:lnTo>
                        <a:pt x="55824" y="30863"/>
                      </a:lnTo>
                      <a:lnTo>
                        <a:pt x="55845" y="30905"/>
                      </a:lnTo>
                      <a:lnTo>
                        <a:pt x="55992" y="30905"/>
                      </a:lnTo>
                      <a:lnTo>
                        <a:pt x="56034" y="30926"/>
                      </a:lnTo>
                      <a:lnTo>
                        <a:pt x="56055" y="30968"/>
                      </a:lnTo>
                      <a:lnTo>
                        <a:pt x="56138" y="31030"/>
                      </a:lnTo>
                      <a:lnTo>
                        <a:pt x="56159" y="30968"/>
                      </a:lnTo>
                      <a:lnTo>
                        <a:pt x="56222" y="30947"/>
                      </a:lnTo>
                      <a:lnTo>
                        <a:pt x="56264" y="30968"/>
                      </a:lnTo>
                      <a:lnTo>
                        <a:pt x="56306" y="30905"/>
                      </a:lnTo>
                      <a:lnTo>
                        <a:pt x="56348" y="30905"/>
                      </a:lnTo>
                      <a:lnTo>
                        <a:pt x="56410" y="30947"/>
                      </a:lnTo>
                      <a:lnTo>
                        <a:pt x="56431" y="31009"/>
                      </a:lnTo>
                      <a:lnTo>
                        <a:pt x="56473" y="31072"/>
                      </a:lnTo>
                      <a:lnTo>
                        <a:pt x="56536" y="31072"/>
                      </a:lnTo>
                      <a:lnTo>
                        <a:pt x="56557" y="31135"/>
                      </a:lnTo>
                      <a:lnTo>
                        <a:pt x="56620" y="31177"/>
                      </a:lnTo>
                      <a:lnTo>
                        <a:pt x="56640" y="31177"/>
                      </a:lnTo>
                      <a:lnTo>
                        <a:pt x="56682" y="31240"/>
                      </a:lnTo>
                      <a:lnTo>
                        <a:pt x="56724" y="31281"/>
                      </a:lnTo>
                      <a:lnTo>
                        <a:pt x="56850" y="31344"/>
                      </a:lnTo>
                      <a:lnTo>
                        <a:pt x="56871" y="31365"/>
                      </a:lnTo>
                      <a:lnTo>
                        <a:pt x="56933" y="31365"/>
                      </a:lnTo>
                      <a:lnTo>
                        <a:pt x="56975" y="31407"/>
                      </a:lnTo>
                      <a:lnTo>
                        <a:pt x="57059" y="31449"/>
                      </a:lnTo>
                      <a:lnTo>
                        <a:pt x="57122" y="31407"/>
                      </a:lnTo>
                      <a:lnTo>
                        <a:pt x="57184" y="31407"/>
                      </a:lnTo>
                      <a:lnTo>
                        <a:pt x="57247" y="31365"/>
                      </a:lnTo>
                      <a:lnTo>
                        <a:pt x="57289" y="31365"/>
                      </a:lnTo>
                      <a:lnTo>
                        <a:pt x="57352" y="31386"/>
                      </a:lnTo>
                      <a:lnTo>
                        <a:pt x="57352" y="31470"/>
                      </a:lnTo>
                      <a:lnTo>
                        <a:pt x="57289" y="31553"/>
                      </a:lnTo>
                      <a:lnTo>
                        <a:pt x="57289" y="31637"/>
                      </a:lnTo>
                      <a:lnTo>
                        <a:pt x="57289" y="31700"/>
                      </a:lnTo>
                      <a:lnTo>
                        <a:pt x="57394" y="31700"/>
                      </a:lnTo>
                      <a:lnTo>
                        <a:pt x="57436" y="31805"/>
                      </a:lnTo>
                      <a:lnTo>
                        <a:pt x="57456" y="31909"/>
                      </a:lnTo>
                      <a:lnTo>
                        <a:pt x="57436" y="32014"/>
                      </a:lnTo>
                      <a:lnTo>
                        <a:pt x="57394" y="32056"/>
                      </a:lnTo>
                      <a:lnTo>
                        <a:pt x="57394" y="32118"/>
                      </a:lnTo>
                      <a:lnTo>
                        <a:pt x="57498" y="32265"/>
                      </a:lnTo>
                      <a:lnTo>
                        <a:pt x="57561" y="32286"/>
                      </a:lnTo>
                      <a:lnTo>
                        <a:pt x="57645" y="32390"/>
                      </a:lnTo>
                      <a:lnTo>
                        <a:pt x="57666" y="32432"/>
                      </a:lnTo>
                      <a:lnTo>
                        <a:pt x="57749" y="32411"/>
                      </a:lnTo>
                      <a:lnTo>
                        <a:pt x="57812" y="32369"/>
                      </a:lnTo>
                      <a:lnTo>
                        <a:pt x="57896" y="32369"/>
                      </a:lnTo>
                      <a:lnTo>
                        <a:pt x="57938" y="32432"/>
                      </a:lnTo>
                      <a:lnTo>
                        <a:pt x="57980" y="32516"/>
                      </a:lnTo>
                      <a:lnTo>
                        <a:pt x="58042" y="32495"/>
                      </a:lnTo>
                      <a:lnTo>
                        <a:pt x="58105" y="32432"/>
                      </a:lnTo>
                      <a:lnTo>
                        <a:pt x="58189" y="32474"/>
                      </a:lnTo>
                      <a:lnTo>
                        <a:pt x="58231" y="32432"/>
                      </a:lnTo>
                      <a:lnTo>
                        <a:pt x="58398" y="32411"/>
                      </a:lnTo>
                      <a:lnTo>
                        <a:pt x="58461" y="32328"/>
                      </a:lnTo>
                      <a:lnTo>
                        <a:pt x="58524" y="32307"/>
                      </a:lnTo>
                      <a:lnTo>
                        <a:pt x="58524" y="32244"/>
                      </a:lnTo>
                      <a:lnTo>
                        <a:pt x="58544" y="32160"/>
                      </a:lnTo>
                      <a:lnTo>
                        <a:pt x="58628" y="32097"/>
                      </a:lnTo>
                      <a:lnTo>
                        <a:pt x="58628" y="31993"/>
                      </a:lnTo>
                      <a:lnTo>
                        <a:pt x="58649" y="31909"/>
                      </a:lnTo>
                      <a:lnTo>
                        <a:pt x="58837" y="31909"/>
                      </a:lnTo>
                      <a:lnTo>
                        <a:pt x="58858" y="31805"/>
                      </a:lnTo>
                      <a:lnTo>
                        <a:pt x="58921" y="31805"/>
                      </a:lnTo>
                      <a:lnTo>
                        <a:pt x="58963" y="31784"/>
                      </a:lnTo>
                      <a:lnTo>
                        <a:pt x="59005" y="31700"/>
                      </a:lnTo>
                      <a:lnTo>
                        <a:pt x="59047" y="31658"/>
                      </a:lnTo>
                      <a:lnTo>
                        <a:pt x="59151" y="31658"/>
                      </a:lnTo>
                      <a:lnTo>
                        <a:pt x="59214" y="31595"/>
                      </a:lnTo>
                      <a:lnTo>
                        <a:pt x="59319" y="31658"/>
                      </a:lnTo>
                      <a:lnTo>
                        <a:pt x="59361" y="31700"/>
                      </a:lnTo>
                      <a:lnTo>
                        <a:pt x="59465" y="31700"/>
                      </a:lnTo>
                      <a:lnTo>
                        <a:pt x="59486" y="31763"/>
                      </a:lnTo>
                      <a:lnTo>
                        <a:pt x="59549" y="31867"/>
                      </a:lnTo>
                      <a:lnTo>
                        <a:pt x="59486" y="31909"/>
                      </a:lnTo>
                      <a:lnTo>
                        <a:pt x="59528" y="31972"/>
                      </a:lnTo>
                      <a:lnTo>
                        <a:pt x="59633" y="32077"/>
                      </a:lnTo>
                      <a:lnTo>
                        <a:pt x="59633" y="32139"/>
                      </a:lnTo>
                      <a:lnTo>
                        <a:pt x="59674" y="32202"/>
                      </a:lnTo>
                      <a:lnTo>
                        <a:pt x="59758" y="32244"/>
                      </a:lnTo>
                      <a:lnTo>
                        <a:pt x="59737" y="32390"/>
                      </a:lnTo>
                      <a:lnTo>
                        <a:pt x="59737" y="32495"/>
                      </a:lnTo>
                      <a:lnTo>
                        <a:pt x="59695" y="32537"/>
                      </a:lnTo>
                      <a:lnTo>
                        <a:pt x="59633" y="32558"/>
                      </a:lnTo>
                      <a:lnTo>
                        <a:pt x="59549" y="32662"/>
                      </a:lnTo>
                      <a:lnTo>
                        <a:pt x="59549" y="32725"/>
                      </a:lnTo>
                      <a:lnTo>
                        <a:pt x="59591" y="32809"/>
                      </a:lnTo>
                      <a:lnTo>
                        <a:pt x="59633" y="32830"/>
                      </a:lnTo>
                      <a:lnTo>
                        <a:pt x="59633" y="32934"/>
                      </a:lnTo>
                      <a:lnTo>
                        <a:pt x="59591" y="33018"/>
                      </a:lnTo>
                      <a:lnTo>
                        <a:pt x="59633" y="33060"/>
                      </a:lnTo>
                      <a:lnTo>
                        <a:pt x="59674" y="33081"/>
                      </a:lnTo>
                      <a:lnTo>
                        <a:pt x="59674" y="33144"/>
                      </a:lnTo>
                      <a:lnTo>
                        <a:pt x="59695" y="33185"/>
                      </a:lnTo>
                      <a:lnTo>
                        <a:pt x="59695" y="33248"/>
                      </a:lnTo>
                      <a:lnTo>
                        <a:pt x="59674" y="33269"/>
                      </a:lnTo>
                      <a:lnTo>
                        <a:pt x="59653" y="33290"/>
                      </a:lnTo>
                      <a:lnTo>
                        <a:pt x="59653" y="33437"/>
                      </a:lnTo>
                      <a:lnTo>
                        <a:pt x="59695" y="33562"/>
                      </a:lnTo>
                      <a:lnTo>
                        <a:pt x="59737" y="33604"/>
                      </a:lnTo>
                      <a:lnTo>
                        <a:pt x="59737" y="33667"/>
                      </a:lnTo>
                      <a:lnTo>
                        <a:pt x="59674" y="33709"/>
                      </a:lnTo>
                      <a:lnTo>
                        <a:pt x="59653" y="33792"/>
                      </a:lnTo>
                      <a:lnTo>
                        <a:pt x="59674" y="33855"/>
                      </a:lnTo>
                      <a:lnTo>
                        <a:pt x="59674" y="33897"/>
                      </a:lnTo>
                      <a:lnTo>
                        <a:pt x="59695" y="33960"/>
                      </a:lnTo>
                      <a:lnTo>
                        <a:pt x="59633" y="34001"/>
                      </a:lnTo>
                      <a:lnTo>
                        <a:pt x="59591" y="34022"/>
                      </a:lnTo>
                      <a:lnTo>
                        <a:pt x="59633" y="34085"/>
                      </a:lnTo>
                      <a:lnTo>
                        <a:pt x="59653" y="34169"/>
                      </a:lnTo>
                      <a:lnTo>
                        <a:pt x="59633" y="34211"/>
                      </a:lnTo>
                      <a:lnTo>
                        <a:pt x="59570" y="34315"/>
                      </a:lnTo>
                      <a:lnTo>
                        <a:pt x="59591" y="34378"/>
                      </a:lnTo>
                      <a:lnTo>
                        <a:pt x="59633" y="34420"/>
                      </a:lnTo>
                      <a:lnTo>
                        <a:pt x="59591" y="34483"/>
                      </a:lnTo>
                      <a:lnTo>
                        <a:pt x="59591" y="34525"/>
                      </a:lnTo>
                      <a:lnTo>
                        <a:pt x="59633" y="34587"/>
                      </a:lnTo>
                      <a:lnTo>
                        <a:pt x="59653" y="34650"/>
                      </a:lnTo>
                      <a:lnTo>
                        <a:pt x="59591" y="34713"/>
                      </a:lnTo>
                      <a:lnTo>
                        <a:pt x="59549" y="34713"/>
                      </a:lnTo>
                      <a:lnTo>
                        <a:pt x="59486" y="34692"/>
                      </a:lnTo>
                      <a:lnTo>
                        <a:pt x="59130" y="34608"/>
                      </a:lnTo>
                      <a:lnTo>
                        <a:pt x="59047" y="34587"/>
                      </a:lnTo>
                      <a:lnTo>
                        <a:pt x="58942" y="34546"/>
                      </a:lnTo>
                      <a:lnTo>
                        <a:pt x="58900" y="34546"/>
                      </a:lnTo>
                      <a:lnTo>
                        <a:pt x="58796" y="34713"/>
                      </a:lnTo>
                      <a:lnTo>
                        <a:pt x="58754" y="34797"/>
                      </a:lnTo>
                      <a:lnTo>
                        <a:pt x="58712" y="34859"/>
                      </a:lnTo>
                      <a:lnTo>
                        <a:pt x="58628" y="34859"/>
                      </a:lnTo>
                      <a:lnTo>
                        <a:pt x="58544" y="34922"/>
                      </a:lnTo>
                      <a:lnTo>
                        <a:pt x="58524" y="34964"/>
                      </a:lnTo>
                      <a:lnTo>
                        <a:pt x="58586" y="35069"/>
                      </a:lnTo>
                      <a:lnTo>
                        <a:pt x="58712" y="35278"/>
                      </a:lnTo>
                      <a:lnTo>
                        <a:pt x="58733" y="35362"/>
                      </a:lnTo>
                      <a:lnTo>
                        <a:pt x="58754" y="35445"/>
                      </a:lnTo>
                      <a:lnTo>
                        <a:pt x="58837" y="35550"/>
                      </a:lnTo>
                      <a:lnTo>
                        <a:pt x="58837" y="35654"/>
                      </a:lnTo>
                      <a:lnTo>
                        <a:pt x="58837" y="35780"/>
                      </a:lnTo>
                      <a:lnTo>
                        <a:pt x="58837" y="35885"/>
                      </a:lnTo>
                      <a:lnTo>
                        <a:pt x="58837" y="36094"/>
                      </a:lnTo>
                      <a:lnTo>
                        <a:pt x="58921" y="36157"/>
                      </a:lnTo>
                      <a:lnTo>
                        <a:pt x="58921" y="36261"/>
                      </a:lnTo>
                      <a:lnTo>
                        <a:pt x="58921" y="36366"/>
                      </a:lnTo>
                      <a:lnTo>
                        <a:pt x="58900" y="36408"/>
                      </a:lnTo>
                      <a:lnTo>
                        <a:pt x="58900" y="36491"/>
                      </a:lnTo>
                      <a:lnTo>
                        <a:pt x="58921" y="36533"/>
                      </a:lnTo>
                      <a:lnTo>
                        <a:pt x="58921" y="36638"/>
                      </a:lnTo>
                      <a:lnTo>
                        <a:pt x="58858" y="36638"/>
                      </a:lnTo>
                      <a:lnTo>
                        <a:pt x="58733" y="36617"/>
                      </a:lnTo>
                      <a:lnTo>
                        <a:pt x="58649" y="36680"/>
                      </a:lnTo>
                      <a:lnTo>
                        <a:pt x="58649" y="36722"/>
                      </a:lnTo>
                      <a:lnTo>
                        <a:pt x="58691" y="36826"/>
                      </a:lnTo>
                      <a:lnTo>
                        <a:pt x="58733" y="36847"/>
                      </a:lnTo>
                      <a:lnTo>
                        <a:pt x="58733" y="36931"/>
                      </a:lnTo>
                      <a:lnTo>
                        <a:pt x="58733" y="36952"/>
                      </a:lnTo>
                      <a:lnTo>
                        <a:pt x="58837" y="37098"/>
                      </a:lnTo>
                      <a:lnTo>
                        <a:pt x="58858" y="37098"/>
                      </a:lnTo>
                      <a:lnTo>
                        <a:pt x="58921" y="36931"/>
                      </a:lnTo>
                      <a:lnTo>
                        <a:pt x="59068" y="36910"/>
                      </a:lnTo>
                      <a:lnTo>
                        <a:pt x="59130" y="36952"/>
                      </a:lnTo>
                      <a:lnTo>
                        <a:pt x="59172" y="36784"/>
                      </a:lnTo>
                      <a:lnTo>
                        <a:pt x="59256" y="36722"/>
                      </a:lnTo>
                      <a:lnTo>
                        <a:pt x="59256" y="36512"/>
                      </a:lnTo>
                      <a:lnTo>
                        <a:pt x="59361" y="36429"/>
                      </a:lnTo>
                      <a:lnTo>
                        <a:pt x="59361" y="36324"/>
                      </a:lnTo>
                      <a:lnTo>
                        <a:pt x="59381" y="36282"/>
                      </a:lnTo>
                      <a:lnTo>
                        <a:pt x="59528" y="36366"/>
                      </a:lnTo>
                      <a:lnTo>
                        <a:pt x="59653" y="36303"/>
                      </a:lnTo>
                      <a:lnTo>
                        <a:pt x="59695" y="36366"/>
                      </a:lnTo>
                      <a:lnTo>
                        <a:pt x="59695" y="36575"/>
                      </a:lnTo>
                      <a:lnTo>
                        <a:pt x="59884" y="36617"/>
                      </a:lnTo>
                      <a:lnTo>
                        <a:pt x="60072" y="36722"/>
                      </a:lnTo>
                      <a:lnTo>
                        <a:pt x="60114" y="36680"/>
                      </a:lnTo>
                      <a:lnTo>
                        <a:pt x="60197" y="36742"/>
                      </a:lnTo>
                      <a:lnTo>
                        <a:pt x="60323" y="36617"/>
                      </a:lnTo>
                      <a:lnTo>
                        <a:pt x="60490" y="36596"/>
                      </a:lnTo>
                      <a:lnTo>
                        <a:pt x="60511" y="36512"/>
                      </a:lnTo>
                      <a:lnTo>
                        <a:pt x="60595" y="36512"/>
                      </a:lnTo>
                      <a:lnTo>
                        <a:pt x="60679" y="36366"/>
                      </a:lnTo>
                      <a:lnTo>
                        <a:pt x="60846" y="36115"/>
                      </a:lnTo>
                      <a:lnTo>
                        <a:pt x="60825" y="36073"/>
                      </a:lnTo>
                      <a:lnTo>
                        <a:pt x="60951" y="36010"/>
                      </a:lnTo>
                      <a:lnTo>
                        <a:pt x="60951" y="35926"/>
                      </a:lnTo>
                      <a:lnTo>
                        <a:pt x="60909" y="35780"/>
                      </a:lnTo>
                      <a:lnTo>
                        <a:pt x="60993" y="35822"/>
                      </a:lnTo>
                      <a:lnTo>
                        <a:pt x="60993" y="35843"/>
                      </a:lnTo>
                      <a:lnTo>
                        <a:pt x="61118" y="35654"/>
                      </a:lnTo>
                      <a:lnTo>
                        <a:pt x="61055" y="35550"/>
                      </a:lnTo>
                      <a:lnTo>
                        <a:pt x="61118" y="35529"/>
                      </a:lnTo>
                      <a:lnTo>
                        <a:pt x="61118" y="35341"/>
                      </a:lnTo>
                      <a:lnTo>
                        <a:pt x="61223" y="35299"/>
                      </a:lnTo>
                      <a:lnTo>
                        <a:pt x="61223" y="35194"/>
                      </a:lnTo>
                      <a:lnTo>
                        <a:pt x="61369" y="35090"/>
                      </a:lnTo>
                      <a:lnTo>
                        <a:pt x="61411" y="35027"/>
                      </a:lnTo>
                      <a:lnTo>
                        <a:pt x="61348" y="34985"/>
                      </a:lnTo>
                      <a:lnTo>
                        <a:pt x="61369" y="34838"/>
                      </a:lnTo>
                      <a:lnTo>
                        <a:pt x="61453" y="34818"/>
                      </a:lnTo>
                      <a:lnTo>
                        <a:pt x="61557" y="34315"/>
                      </a:lnTo>
                      <a:lnTo>
                        <a:pt x="61683" y="34169"/>
                      </a:lnTo>
                      <a:lnTo>
                        <a:pt x="61683" y="34064"/>
                      </a:lnTo>
                      <a:lnTo>
                        <a:pt x="61829" y="33960"/>
                      </a:lnTo>
                      <a:lnTo>
                        <a:pt x="61850" y="33834"/>
                      </a:lnTo>
                      <a:lnTo>
                        <a:pt x="61976" y="33667"/>
                      </a:lnTo>
                      <a:lnTo>
                        <a:pt x="61976" y="33541"/>
                      </a:lnTo>
                      <a:lnTo>
                        <a:pt x="61934" y="33520"/>
                      </a:lnTo>
                      <a:lnTo>
                        <a:pt x="61892" y="33353"/>
                      </a:lnTo>
                      <a:lnTo>
                        <a:pt x="62039" y="33227"/>
                      </a:lnTo>
                      <a:lnTo>
                        <a:pt x="61976" y="32955"/>
                      </a:lnTo>
                      <a:lnTo>
                        <a:pt x="62081" y="32830"/>
                      </a:lnTo>
                      <a:lnTo>
                        <a:pt x="62081" y="32746"/>
                      </a:lnTo>
                      <a:lnTo>
                        <a:pt x="62039" y="32746"/>
                      </a:lnTo>
                      <a:lnTo>
                        <a:pt x="62101" y="32579"/>
                      </a:lnTo>
                      <a:lnTo>
                        <a:pt x="62101" y="32411"/>
                      </a:lnTo>
                      <a:lnTo>
                        <a:pt x="62206" y="32307"/>
                      </a:lnTo>
                      <a:lnTo>
                        <a:pt x="62206" y="32118"/>
                      </a:lnTo>
                      <a:lnTo>
                        <a:pt x="62185" y="32097"/>
                      </a:lnTo>
                      <a:lnTo>
                        <a:pt x="62164" y="31909"/>
                      </a:lnTo>
                      <a:lnTo>
                        <a:pt x="62248" y="31742"/>
                      </a:lnTo>
                      <a:lnTo>
                        <a:pt x="62248" y="31574"/>
                      </a:lnTo>
                      <a:lnTo>
                        <a:pt x="62394" y="31386"/>
                      </a:lnTo>
                      <a:lnTo>
                        <a:pt x="62394" y="31240"/>
                      </a:lnTo>
                      <a:lnTo>
                        <a:pt x="62353" y="31135"/>
                      </a:lnTo>
                      <a:lnTo>
                        <a:pt x="62353" y="30947"/>
                      </a:lnTo>
                      <a:lnTo>
                        <a:pt x="62394" y="30905"/>
                      </a:lnTo>
                      <a:lnTo>
                        <a:pt x="62394" y="30758"/>
                      </a:lnTo>
                      <a:lnTo>
                        <a:pt x="62311" y="30758"/>
                      </a:lnTo>
                      <a:lnTo>
                        <a:pt x="62269" y="30486"/>
                      </a:lnTo>
                      <a:lnTo>
                        <a:pt x="62269" y="30403"/>
                      </a:lnTo>
                      <a:lnTo>
                        <a:pt x="62248" y="30319"/>
                      </a:lnTo>
                      <a:lnTo>
                        <a:pt x="62248" y="30110"/>
                      </a:lnTo>
                      <a:lnTo>
                        <a:pt x="62081" y="29921"/>
                      </a:lnTo>
                      <a:lnTo>
                        <a:pt x="62039" y="29921"/>
                      </a:lnTo>
                      <a:lnTo>
                        <a:pt x="61976" y="29817"/>
                      </a:lnTo>
                      <a:lnTo>
                        <a:pt x="62039" y="29775"/>
                      </a:lnTo>
                      <a:lnTo>
                        <a:pt x="62101" y="29608"/>
                      </a:lnTo>
                      <a:lnTo>
                        <a:pt x="62101" y="29566"/>
                      </a:lnTo>
                      <a:lnTo>
                        <a:pt x="61997" y="29649"/>
                      </a:lnTo>
                      <a:lnTo>
                        <a:pt x="61892" y="29608"/>
                      </a:lnTo>
                      <a:lnTo>
                        <a:pt x="61788" y="29231"/>
                      </a:lnTo>
                      <a:lnTo>
                        <a:pt x="61788" y="29126"/>
                      </a:lnTo>
                      <a:lnTo>
                        <a:pt x="61767" y="29043"/>
                      </a:lnTo>
                      <a:lnTo>
                        <a:pt x="61746" y="28833"/>
                      </a:lnTo>
                      <a:lnTo>
                        <a:pt x="61788" y="28750"/>
                      </a:lnTo>
                      <a:lnTo>
                        <a:pt x="61683" y="28457"/>
                      </a:lnTo>
                      <a:lnTo>
                        <a:pt x="61767" y="28394"/>
                      </a:lnTo>
                      <a:lnTo>
                        <a:pt x="61725" y="28352"/>
                      </a:lnTo>
                      <a:lnTo>
                        <a:pt x="61746" y="28310"/>
                      </a:lnTo>
                      <a:lnTo>
                        <a:pt x="61746" y="28227"/>
                      </a:lnTo>
                      <a:lnTo>
                        <a:pt x="61683" y="28185"/>
                      </a:lnTo>
                      <a:lnTo>
                        <a:pt x="61746" y="28080"/>
                      </a:lnTo>
                      <a:lnTo>
                        <a:pt x="61683" y="27975"/>
                      </a:lnTo>
                      <a:lnTo>
                        <a:pt x="61683" y="27892"/>
                      </a:lnTo>
                      <a:lnTo>
                        <a:pt x="61767" y="27829"/>
                      </a:lnTo>
                      <a:lnTo>
                        <a:pt x="61662" y="27766"/>
                      </a:lnTo>
                      <a:lnTo>
                        <a:pt x="61641" y="27620"/>
                      </a:lnTo>
                      <a:lnTo>
                        <a:pt x="61683" y="27557"/>
                      </a:lnTo>
                      <a:lnTo>
                        <a:pt x="61662" y="27452"/>
                      </a:lnTo>
                      <a:lnTo>
                        <a:pt x="61578" y="27515"/>
                      </a:lnTo>
                      <a:lnTo>
                        <a:pt x="61474" y="27494"/>
                      </a:lnTo>
                      <a:lnTo>
                        <a:pt x="61348" y="27390"/>
                      </a:lnTo>
                      <a:lnTo>
                        <a:pt x="61348" y="27264"/>
                      </a:lnTo>
                      <a:lnTo>
                        <a:pt x="61411" y="27180"/>
                      </a:lnTo>
                      <a:lnTo>
                        <a:pt x="61411" y="27076"/>
                      </a:lnTo>
                      <a:lnTo>
                        <a:pt x="61244" y="26887"/>
                      </a:lnTo>
                      <a:lnTo>
                        <a:pt x="61160" y="26887"/>
                      </a:lnTo>
                      <a:lnTo>
                        <a:pt x="61055" y="26762"/>
                      </a:lnTo>
                      <a:lnTo>
                        <a:pt x="61139" y="26720"/>
                      </a:lnTo>
                      <a:lnTo>
                        <a:pt x="61139" y="26615"/>
                      </a:lnTo>
                      <a:lnTo>
                        <a:pt x="61202" y="26511"/>
                      </a:lnTo>
                      <a:lnTo>
                        <a:pt x="61097" y="26323"/>
                      </a:lnTo>
                      <a:lnTo>
                        <a:pt x="61013" y="26323"/>
                      </a:lnTo>
                      <a:lnTo>
                        <a:pt x="60930" y="26239"/>
                      </a:lnTo>
                      <a:lnTo>
                        <a:pt x="60825" y="26218"/>
                      </a:lnTo>
                      <a:lnTo>
                        <a:pt x="60804" y="26134"/>
                      </a:lnTo>
                      <a:lnTo>
                        <a:pt x="60532" y="26051"/>
                      </a:lnTo>
                      <a:lnTo>
                        <a:pt x="60490" y="25988"/>
                      </a:lnTo>
                      <a:lnTo>
                        <a:pt x="60323" y="25946"/>
                      </a:lnTo>
                      <a:lnTo>
                        <a:pt x="60260" y="25904"/>
                      </a:lnTo>
                      <a:lnTo>
                        <a:pt x="60197" y="25779"/>
                      </a:lnTo>
                      <a:lnTo>
                        <a:pt x="60114" y="25695"/>
                      </a:lnTo>
                      <a:lnTo>
                        <a:pt x="59988" y="25695"/>
                      </a:lnTo>
                      <a:lnTo>
                        <a:pt x="59863" y="25590"/>
                      </a:lnTo>
                      <a:lnTo>
                        <a:pt x="59737" y="25695"/>
                      </a:lnTo>
                      <a:lnTo>
                        <a:pt x="59633" y="25695"/>
                      </a:lnTo>
                      <a:lnTo>
                        <a:pt x="59570" y="25779"/>
                      </a:lnTo>
                      <a:lnTo>
                        <a:pt x="59486" y="25779"/>
                      </a:lnTo>
                      <a:lnTo>
                        <a:pt x="59444" y="25716"/>
                      </a:lnTo>
                      <a:lnTo>
                        <a:pt x="59444" y="25674"/>
                      </a:lnTo>
                      <a:lnTo>
                        <a:pt x="59340" y="25611"/>
                      </a:lnTo>
                      <a:lnTo>
                        <a:pt x="59235" y="25611"/>
                      </a:lnTo>
                      <a:lnTo>
                        <a:pt x="59277" y="25799"/>
                      </a:lnTo>
                      <a:lnTo>
                        <a:pt x="59381" y="25904"/>
                      </a:lnTo>
                      <a:lnTo>
                        <a:pt x="59340" y="26009"/>
                      </a:lnTo>
                      <a:lnTo>
                        <a:pt x="59381" y="26197"/>
                      </a:lnTo>
                      <a:lnTo>
                        <a:pt x="59340" y="26343"/>
                      </a:lnTo>
                      <a:lnTo>
                        <a:pt x="59256" y="26406"/>
                      </a:lnTo>
                      <a:lnTo>
                        <a:pt x="59256" y="26239"/>
                      </a:lnTo>
                      <a:lnTo>
                        <a:pt x="59277" y="26113"/>
                      </a:lnTo>
                      <a:lnTo>
                        <a:pt x="59214" y="25946"/>
                      </a:lnTo>
                      <a:lnTo>
                        <a:pt x="59151" y="26030"/>
                      </a:lnTo>
                      <a:lnTo>
                        <a:pt x="59172" y="26134"/>
                      </a:lnTo>
                      <a:lnTo>
                        <a:pt x="59130" y="26323"/>
                      </a:lnTo>
                      <a:lnTo>
                        <a:pt x="59005" y="26406"/>
                      </a:lnTo>
                      <a:lnTo>
                        <a:pt x="58733" y="26427"/>
                      </a:lnTo>
                      <a:lnTo>
                        <a:pt x="58712" y="26364"/>
                      </a:lnTo>
                      <a:lnTo>
                        <a:pt x="58816" y="26302"/>
                      </a:lnTo>
                      <a:lnTo>
                        <a:pt x="58858" y="26302"/>
                      </a:lnTo>
                      <a:lnTo>
                        <a:pt x="58858" y="26134"/>
                      </a:lnTo>
                      <a:lnTo>
                        <a:pt x="58921" y="26051"/>
                      </a:lnTo>
                      <a:lnTo>
                        <a:pt x="58963" y="26009"/>
                      </a:lnTo>
                      <a:lnTo>
                        <a:pt x="58837" y="26009"/>
                      </a:lnTo>
                      <a:lnTo>
                        <a:pt x="58796" y="26051"/>
                      </a:lnTo>
                      <a:lnTo>
                        <a:pt x="58733" y="26009"/>
                      </a:lnTo>
                      <a:lnTo>
                        <a:pt x="58649" y="26030"/>
                      </a:lnTo>
                      <a:lnTo>
                        <a:pt x="58607" y="26134"/>
                      </a:lnTo>
                      <a:lnTo>
                        <a:pt x="58524" y="26197"/>
                      </a:lnTo>
                      <a:lnTo>
                        <a:pt x="58503" y="26197"/>
                      </a:lnTo>
                      <a:lnTo>
                        <a:pt x="58419" y="26302"/>
                      </a:lnTo>
                      <a:lnTo>
                        <a:pt x="58272" y="26155"/>
                      </a:lnTo>
                      <a:lnTo>
                        <a:pt x="58293" y="26009"/>
                      </a:lnTo>
                      <a:lnTo>
                        <a:pt x="58231" y="25820"/>
                      </a:lnTo>
                      <a:lnTo>
                        <a:pt x="58105" y="25632"/>
                      </a:lnTo>
                      <a:lnTo>
                        <a:pt x="58105" y="25339"/>
                      </a:lnTo>
                      <a:lnTo>
                        <a:pt x="57980" y="25381"/>
                      </a:lnTo>
                      <a:lnTo>
                        <a:pt x="57917" y="25381"/>
                      </a:lnTo>
                      <a:lnTo>
                        <a:pt x="57812" y="25423"/>
                      </a:lnTo>
                      <a:lnTo>
                        <a:pt x="57749" y="25465"/>
                      </a:lnTo>
                      <a:lnTo>
                        <a:pt x="57603" y="25548"/>
                      </a:lnTo>
                      <a:lnTo>
                        <a:pt x="57498" y="25548"/>
                      </a:lnTo>
                      <a:lnTo>
                        <a:pt x="57394" y="25486"/>
                      </a:lnTo>
                      <a:lnTo>
                        <a:pt x="57289" y="25527"/>
                      </a:lnTo>
                      <a:lnTo>
                        <a:pt x="57184" y="25444"/>
                      </a:lnTo>
                      <a:lnTo>
                        <a:pt x="57143" y="25339"/>
                      </a:lnTo>
                      <a:lnTo>
                        <a:pt x="57184" y="25255"/>
                      </a:lnTo>
                      <a:lnTo>
                        <a:pt x="57226" y="25109"/>
                      </a:lnTo>
                      <a:lnTo>
                        <a:pt x="57331" y="24942"/>
                      </a:lnTo>
                      <a:lnTo>
                        <a:pt x="57477" y="24774"/>
                      </a:lnTo>
                      <a:lnTo>
                        <a:pt x="57477" y="24586"/>
                      </a:lnTo>
                      <a:lnTo>
                        <a:pt x="57666" y="24439"/>
                      </a:lnTo>
                      <a:lnTo>
                        <a:pt x="57666" y="24272"/>
                      </a:lnTo>
                      <a:lnTo>
                        <a:pt x="57708" y="24251"/>
                      </a:lnTo>
                      <a:lnTo>
                        <a:pt x="57708" y="24188"/>
                      </a:lnTo>
                      <a:lnTo>
                        <a:pt x="57812" y="24021"/>
                      </a:lnTo>
                      <a:lnTo>
                        <a:pt x="57854" y="23874"/>
                      </a:lnTo>
                      <a:lnTo>
                        <a:pt x="57917" y="23749"/>
                      </a:lnTo>
                      <a:lnTo>
                        <a:pt x="57875" y="23623"/>
                      </a:lnTo>
                      <a:lnTo>
                        <a:pt x="57917" y="23540"/>
                      </a:lnTo>
                      <a:lnTo>
                        <a:pt x="57917" y="23330"/>
                      </a:lnTo>
                      <a:lnTo>
                        <a:pt x="57980" y="23038"/>
                      </a:lnTo>
                      <a:lnTo>
                        <a:pt x="58021" y="23038"/>
                      </a:lnTo>
                      <a:lnTo>
                        <a:pt x="58063" y="22828"/>
                      </a:lnTo>
                      <a:lnTo>
                        <a:pt x="58168" y="22786"/>
                      </a:lnTo>
                      <a:lnTo>
                        <a:pt x="58126" y="22661"/>
                      </a:lnTo>
                      <a:lnTo>
                        <a:pt x="58293" y="22473"/>
                      </a:lnTo>
                      <a:lnTo>
                        <a:pt x="58314" y="22305"/>
                      </a:lnTo>
                      <a:lnTo>
                        <a:pt x="58419" y="22242"/>
                      </a:lnTo>
                      <a:lnTo>
                        <a:pt x="58377" y="22033"/>
                      </a:lnTo>
                      <a:lnTo>
                        <a:pt x="58419" y="21970"/>
                      </a:lnTo>
                      <a:lnTo>
                        <a:pt x="58419" y="21845"/>
                      </a:lnTo>
                      <a:lnTo>
                        <a:pt x="58503" y="21782"/>
                      </a:lnTo>
                      <a:lnTo>
                        <a:pt x="58544" y="21782"/>
                      </a:lnTo>
                      <a:lnTo>
                        <a:pt x="58544" y="21657"/>
                      </a:lnTo>
                      <a:lnTo>
                        <a:pt x="58503" y="21573"/>
                      </a:lnTo>
                      <a:lnTo>
                        <a:pt x="58503" y="21343"/>
                      </a:lnTo>
                      <a:lnTo>
                        <a:pt x="58482" y="21217"/>
                      </a:lnTo>
                      <a:lnTo>
                        <a:pt x="58544" y="21029"/>
                      </a:lnTo>
                      <a:lnTo>
                        <a:pt x="58712" y="20841"/>
                      </a:lnTo>
                      <a:lnTo>
                        <a:pt x="58754" y="20631"/>
                      </a:lnTo>
                      <a:lnTo>
                        <a:pt x="58607" y="20401"/>
                      </a:lnTo>
                      <a:lnTo>
                        <a:pt x="58628" y="20276"/>
                      </a:lnTo>
                      <a:lnTo>
                        <a:pt x="58733" y="20171"/>
                      </a:lnTo>
                      <a:lnTo>
                        <a:pt x="58754" y="20045"/>
                      </a:lnTo>
                      <a:lnTo>
                        <a:pt x="58963" y="19878"/>
                      </a:lnTo>
                      <a:lnTo>
                        <a:pt x="59005" y="19773"/>
                      </a:lnTo>
                      <a:lnTo>
                        <a:pt x="59068" y="19773"/>
                      </a:lnTo>
                      <a:lnTo>
                        <a:pt x="59151" y="19857"/>
                      </a:lnTo>
                      <a:lnTo>
                        <a:pt x="59277" y="19836"/>
                      </a:lnTo>
                      <a:lnTo>
                        <a:pt x="59486" y="19669"/>
                      </a:lnTo>
                      <a:lnTo>
                        <a:pt x="59674" y="19669"/>
                      </a:lnTo>
                      <a:lnTo>
                        <a:pt x="59842" y="19564"/>
                      </a:lnTo>
                      <a:lnTo>
                        <a:pt x="59967" y="19564"/>
                      </a:lnTo>
                      <a:lnTo>
                        <a:pt x="60072" y="19481"/>
                      </a:lnTo>
                      <a:lnTo>
                        <a:pt x="60177" y="19481"/>
                      </a:lnTo>
                      <a:lnTo>
                        <a:pt x="60281" y="19460"/>
                      </a:lnTo>
                      <a:lnTo>
                        <a:pt x="60323" y="19376"/>
                      </a:lnTo>
                      <a:lnTo>
                        <a:pt x="60428" y="19460"/>
                      </a:lnTo>
                      <a:lnTo>
                        <a:pt x="60386" y="19585"/>
                      </a:lnTo>
                      <a:lnTo>
                        <a:pt x="60469" y="19627"/>
                      </a:lnTo>
                      <a:lnTo>
                        <a:pt x="60574" y="19732"/>
                      </a:lnTo>
                      <a:lnTo>
                        <a:pt x="60616" y="19627"/>
                      </a:lnTo>
                      <a:lnTo>
                        <a:pt x="60721" y="19543"/>
                      </a:lnTo>
                      <a:lnTo>
                        <a:pt x="60574" y="19418"/>
                      </a:lnTo>
                      <a:lnTo>
                        <a:pt x="60574" y="19355"/>
                      </a:lnTo>
                      <a:lnTo>
                        <a:pt x="60700" y="19271"/>
                      </a:lnTo>
                      <a:lnTo>
                        <a:pt x="60909" y="19313"/>
                      </a:lnTo>
                      <a:lnTo>
                        <a:pt x="61013" y="19250"/>
                      </a:lnTo>
                      <a:lnTo>
                        <a:pt x="61244" y="19250"/>
                      </a:lnTo>
                      <a:lnTo>
                        <a:pt x="61306" y="19334"/>
                      </a:lnTo>
                      <a:lnTo>
                        <a:pt x="61348" y="19334"/>
                      </a:lnTo>
                      <a:lnTo>
                        <a:pt x="61432" y="19250"/>
                      </a:lnTo>
                      <a:lnTo>
                        <a:pt x="61516" y="19250"/>
                      </a:lnTo>
                      <a:lnTo>
                        <a:pt x="61474" y="19146"/>
                      </a:lnTo>
                      <a:lnTo>
                        <a:pt x="61557" y="19104"/>
                      </a:lnTo>
                      <a:lnTo>
                        <a:pt x="61746" y="19104"/>
                      </a:lnTo>
                      <a:lnTo>
                        <a:pt x="61829" y="19208"/>
                      </a:lnTo>
                      <a:lnTo>
                        <a:pt x="62039" y="19125"/>
                      </a:lnTo>
                      <a:lnTo>
                        <a:pt x="62039" y="19041"/>
                      </a:lnTo>
                      <a:lnTo>
                        <a:pt x="61955" y="18999"/>
                      </a:lnTo>
                      <a:lnTo>
                        <a:pt x="61892" y="19041"/>
                      </a:lnTo>
                      <a:lnTo>
                        <a:pt x="61767" y="18957"/>
                      </a:lnTo>
                      <a:lnTo>
                        <a:pt x="61850" y="18832"/>
                      </a:lnTo>
                      <a:lnTo>
                        <a:pt x="61871" y="18916"/>
                      </a:lnTo>
                      <a:lnTo>
                        <a:pt x="62039" y="18853"/>
                      </a:lnTo>
                      <a:lnTo>
                        <a:pt x="61871" y="18748"/>
                      </a:lnTo>
                      <a:lnTo>
                        <a:pt x="61871" y="18685"/>
                      </a:lnTo>
                      <a:lnTo>
                        <a:pt x="61955" y="18685"/>
                      </a:lnTo>
                      <a:lnTo>
                        <a:pt x="62101" y="18497"/>
                      </a:lnTo>
                      <a:lnTo>
                        <a:pt x="62269" y="18497"/>
                      </a:lnTo>
                      <a:lnTo>
                        <a:pt x="62353" y="18581"/>
                      </a:lnTo>
                      <a:lnTo>
                        <a:pt x="62457" y="18518"/>
                      </a:lnTo>
                      <a:lnTo>
                        <a:pt x="62666" y="18581"/>
                      </a:lnTo>
                      <a:lnTo>
                        <a:pt x="62813" y="18581"/>
                      </a:lnTo>
                      <a:lnTo>
                        <a:pt x="62813" y="18623"/>
                      </a:lnTo>
                      <a:lnTo>
                        <a:pt x="62897" y="18685"/>
                      </a:lnTo>
                      <a:lnTo>
                        <a:pt x="62959" y="18644"/>
                      </a:lnTo>
                      <a:lnTo>
                        <a:pt x="62918" y="18581"/>
                      </a:lnTo>
                      <a:lnTo>
                        <a:pt x="63106" y="18581"/>
                      </a:lnTo>
                      <a:lnTo>
                        <a:pt x="63252" y="18602"/>
                      </a:lnTo>
                      <a:lnTo>
                        <a:pt x="63357" y="18602"/>
                      </a:lnTo>
                      <a:lnTo>
                        <a:pt x="63462" y="18685"/>
                      </a:lnTo>
                      <a:lnTo>
                        <a:pt x="63462" y="18727"/>
                      </a:lnTo>
                      <a:lnTo>
                        <a:pt x="63629" y="18748"/>
                      </a:lnTo>
                      <a:lnTo>
                        <a:pt x="63734" y="18664"/>
                      </a:lnTo>
                      <a:lnTo>
                        <a:pt x="63796" y="18685"/>
                      </a:lnTo>
                      <a:lnTo>
                        <a:pt x="63838" y="18769"/>
                      </a:lnTo>
                      <a:lnTo>
                        <a:pt x="63629" y="18916"/>
                      </a:lnTo>
                      <a:lnTo>
                        <a:pt x="63441" y="18916"/>
                      </a:lnTo>
                      <a:lnTo>
                        <a:pt x="63378" y="18978"/>
                      </a:lnTo>
                      <a:lnTo>
                        <a:pt x="63378" y="19083"/>
                      </a:lnTo>
                      <a:lnTo>
                        <a:pt x="63273" y="19083"/>
                      </a:lnTo>
                      <a:lnTo>
                        <a:pt x="63252" y="19125"/>
                      </a:lnTo>
                      <a:lnTo>
                        <a:pt x="63315" y="19146"/>
                      </a:lnTo>
                      <a:lnTo>
                        <a:pt x="63378" y="19146"/>
                      </a:lnTo>
                      <a:lnTo>
                        <a:pt x="63545" y="19355"/>
                      </a:lnTo>
                      <a:lnTo>
                        <a:pt x="63587" y="19313"/>
                      </a:lnTo>
                      <a:lnTo>
                        <a:pt x="63775" y="19250"/>
                      </a:lnTo>
                      <a:lnTo>
                        <a:pt x="63859" y="19146"/>
                      </a:lnTo>
                      <a:lnTo>
                        <a:pt x="63838" y="19104"/>
                      </a:lnTo>
                      <a:lnTo>
                        <a:pt x="63964" y="19041"/>
                      </a:lnTo>
                      <a:lnTo>
                        <a:pt x="63880" y="18916"/>
                      </a:lnTo>
                      <a:lnTo>
                        <a:pt x="63964" y="18916"/>
                      </a:lnTo>
                      <a:lnTo>
                        <a:pt x="64089" y="19083"/>
                      </a:lnTo>
                      <a:lnTo>
                        <a:pt x="64173" y="19104"/>
                      </a:lnTo>
                      <a:lnTo>
                        <a:pt x="64215" y="19020"/>
                      </a:lnTo>
                      <a:lnTo>
                        <a:pt x="64173" y="18978"/>
                      </a:lnTo>
                      <a:lnTo>
                        <a:pt x="64257" y="18916"/>
                      </a:lnTo>
                      <a:lnTo>
                        <a:pt x="64298" y="18832"/>
                      </a:lnTo>
                      <a:lnTo>
                        <a:pt x="64319" y="18832"/>
                      </a:lnTo>
                      <a:lnTo>
                        <a:pt x="64319" y="18727"/>
                      </a:lnTo>
                      <a:lnTo>
                        <a:pt x="64298" y="18664"/>
                      </a:lnTo>
                      <a:lnTo>
                        <a:pt x="64382" y="18623"/>
                      </a:lnTo>
                      <a:lnTo>
                        <a:pt x="64466" y="18685"/>
                      </a:lnTo>
                      <a:lnTo>
                        <a:pt x="64529" y="18623"/>
                      </a:lnTo>
                      <a:lnTo>
                        <a:pt x="64591" y="18685"/>
                      </a:lnTo>
                      <a:lnTo>
                        <a:pt x="64612" y="18769"/>
                      </a:lnTo>
                      <a:lnTo>
                        <a:pt x="64696" y="18811"/>
                      </a:lnTo>
                      <a:lnTo>
                        <a:pt x="64842" y="18664"/>
                      </a:lnTo>
                      <a:lnTo>
                        <a:pt x="64780" y="18602"/>
                      </a:lnTo>
                      <a:lnTo>
                        <a:pt x="64780" y="18581"/>
                      </a:lnTo>
                      <a:lnTo>
                        <a:pt x="64842" y="18518"/>
                      </a:lnTo>
                      <a:lnTo>
                        <a:pt x="64926" y="18560"/>
                      </a:lnTo>
                      <a:lnTo>
                        <a:pt x="65010" y="18497"/>
                      </a:lnTo>
                      <a:lnTo>
                        <a:pt x="65094" y="18497"/>
                      </a:lnTo>
                      <a:lnTo>
                        <a:pt x="65114" y="18455"/>
                      </a:lnTo>
                      <a:lnTo>
                        <a:pt x="65010" y="18351"/>
                      </a:lnTo>
                      <a:lnTo>
                        <a:pt x="65031" y="18288"/>
                      </a:lnTo>
                      <a:lnTo>
                        <a:pt x="65031" y="18246"/>
                      </a:lnTo>
                      <a:lnTo>
                        <a:pt x="64926" y="18183"/>
                      </a:lnTo>
                      <a:lnTo>
                        <a:pt x="64884" y="18141"/>
                      </a:lnTo>
                      <a:lnTo>
                        <a:pt x="64884" y="18162"/>
                      </a:lnTo>
                      <a:lnTo>
                        <a:pt x="64884" y="18204"/>
                      </a:lnTo>
                      <a:lnTo>
                        <a:pt x="64822" y="18204"/>
                      </a:lnTo>
                      <a:lnTo>
                        <a:pt x="64717" y="18162"/>
                      </a:lnTo>
                      <a:lnTo>
                        <a:pt x="64696" y="18183"/>
                      </a:lnTo>
                      <a:lnTo>
                        <a:pt x="64696" y="18246"/>
                      </a:lnTo>
                      <a:lnTo>
                        <a:pt x="64591" y="18246"/>
                      </a:lnTo>
                      <a:lnTo>
                        <a:pt x="64529" y="18288"/>
                      </a:lnTo>
                      <a:lnTo>
                        <a:pt x="64466" y="18246"/>
                      </a:lnTo>
                      <a:lnTo>
                        <a:pt x="64487" y="18141"/>
                      </a:lnTo>
                      <a:lnTo>
                        <a:pt x="64529" y="18100"/>
                      </a:lnTo>
                      <a:lnTo>
                        <a:pt x="64382" y="17890"/>
                      </a:lnTo>
                      <a:lnTo>
                        <a:pt x="64487" y="17828"/>
                      </a:lnTo>
                      <a:lnTo>
                        <a:pt x="64382" y="17660"/>
                      </a:lnTo>
                      <a:lnTo>
                        <a:pt x="64424" y="17451"/>
                      </a:lnTo>
                      <a:lnTo>
                        <a:pt x="64424" y="17325"/>
                      </a:lnTo>
                      <a:lnTo>
                        <a:pt x="64508" y="17221"/>
                      </a:lnTo>
                      <a:lnTo>
                        <a:pt x="64508" y="17032"/>
                      </a:lnTo>
                      <a:lnTo>
                        <a:pt x="64612" y="16928"/>
                      </a:lnTo>
                      <a:lnTo>
                        <a:pt x="64612" y="16802"/>
                      </a:lnTo>
                      <a:lnTo>
                        <a:pt x="64591" y="16781"/>
                      </a:lnTo>
                      <a:lnTo>
                        <a:pt x="64717" y="16719"/>
                      </a:lnTo>
                      <a:lnTo>
                        <a:pt x="64591" y="16572"/>
                      </a:lnTo>
                      <a:lnTo>
                        <a:pt x="64633" y="16175"/>
                      </a:lnTo>
                      <a:lnTo>
                        <a:pt x="64738" y="16091"/>
                      </a:lnTo>
                      <a:lnTo>
                        <a:pt x="64633" y="15944"/>
                      </a:lnTo>
                      <a:lnTo>
                        <a:pt x="64612" y="15777"/>
                      </a:lnTo>
                      <a:lnTo>
                        <a:pt x="64529" y="15735"/>
                      </a:lnTo>
                      <a:lnTo>
                        <a:pt x="64529" y="15672"/>
                      </a:lnTo>
                      <a:lnTo>
                        <a:pt x="64633" y="15589"/>
                      </a:lnTo>
                      <a:lnTo>
                        <a:pt x="64612" y="15442"/>
                      </a:lnTo>
                      <a:lnTo>
                        <a:pt x="64696" y="15379"/>
                      </a:lnTo>
                      <a:lnTo>
                        <a:pt x="64822" y="15170"/>
                      </a:lnTo>
                      <a:lnTo>
                        <a:pt x="64947" y="15212"/>
                      </a:lnTo>
                      <a:lnTo>
                        <a:pt x="65031" y="15149"/>
                      </a:lnTo>
                      <a:lnTo>
                        <a:pt x="65114" y="15170"/>
                      </a:lnTo>
                      <a:lnTo>
                        <a:pt x="65156" y="15107"/>
                      </a:lnTo>
                      <a:lnTo>
                        <a:pt x="65366" y="15107"/>
                      </a:lnTo>
                      <a:lnTo>
                        <a:pt x="65407" y="15045"/>
                      </a:lnTo>
                      <a:lnTo>
                        <a:pt x="65470" y="15024"/>
                      </a:lnTo>
                      <a:lnTo>
                        <a:pt x="65512" y="14919"/>
                      </a:lnTo>
                      <a:lnTo>
                        <a:pt x="65554" y="14919"/>
                      </a:lnTo>
                      <a:lnTo>
                        <a:pt x="65617" y="14898"/>
                      </a:lnTo>
                      <a:lnTo>
                        <a:pt x="65742" y="14898"/>
                      </a:lnTo>
                      <a:lnTo>
                        <a:pt x="65763" y="15003"/>
                      </a:lnTo>
                      <a:lnTo>
                        <a:pt x="65826" y="14961"/>
                      </a:lnTo>
                      <a:lnTo>
                        <a:pt x="65868" y="14961"/>
                      </a:lnTo>
                      <a:lnTo>
                        <a:pt x="65951" y="15107"/>
                      </a:lnTo>
                      <a:lnTo>
                        <a:pt x="65993" y="15107"/>
                      </a:lnTo>
                      <a:lnTo>
                        <a:pt x="66098" y="14961"/>
                      </a:lnTo>
                      <a:lnTo>
                        <a:pt x="66098" y="14835"/>
                      </a:lnTo>
                      <a:lnTo>
                        <a:pt x="66182" y="14815"/>
                      </a:lnTo>
                      <a:lnTo>
                        <a:pt x="66203" y="14689"/>
                      </a:lnTo>
                      <a:lnTo>
                        <a:pt x="66265" y="14689"/>
                      </a:lnTo>
                      <a:lnTo>
                        <a:pt x="66286" y="14794"/>
                      </a:lnTo>
                      <a:lnTo>
                        <a:pt x="66412" y="14856"/>
                      </a:lnTo>
                      <a:lnTo>
                        <a:pt x="66412" y="15003"/>
                      </a:lnTo>
                      <a:lnTo>
                        <a:pt x="66391" y="15045"/>
                      </a:lnTo>
                      <a:lnTo>
                        <a:pt x="66454" y="15107"/>
                      </a:lnTo>
                      <a:lnTo>
                        <a:pt x="66475" y="15212"/>
                      </a:lnTo>
                      <a:lnTo>
                        <a:pt x="66391" y="15275"/>
                      </a:lnTo>
                      <a:lnTo>
                        <a:pt x="66454" y="15317"/>
                      </a:lnTo>
                      <a:lnTo>
                        <a:pt x="66475" y="15442"/>
                      </a:lnTo>
                      <a:lnTo>
                        <a:pt x="66454" y="15442"/>
                      </a:lnTo>
                      <a:lnTo>
                        <a:pt x="66454" y="15526"/>
                      </a:lnTo>
                      <a:lnTo>
                        <a:pt x="66475" y="15568"/>
                      </a:lnTo>
                      <a:lnTo>
                        <a:pt x="66412" y="15651"/>
                      </a:lnTo>
                      <a:lnTo>
                        <a:pt x="66391" y="15693"/>
                      </a:lnTo>
                      <a:lnTo>
                        <a:pt x="66412" y="15756"/>
                      </a:lnTo>
                      <a:lnTo>
                        <a:pt x="66516" y="15651"/>
                      </a:lnTo>
                      <a:lnTo>
                        <a:pt x="66558" y="15735"/>
                      </a:lnTo>
                      <a:lnTo>
                        <a:pt x="66663" y="15756"/>
                      </a:lnTo>
                      <a:lnTo>
                        <a:pt x="66684" y="15965"/>
                      </a:lnTo>
                      <a:lnTo>
                        <a:pt x="66726" y="15903"/>
                      </a:lnTo>
                      <a:lnTo>
                        <a:pt x="66726" y="15840"/>
                      </a:lnTo>
                      <a:lnTo>
                        <a:pt x="66830" y="15735"/>
                      </a:lnTo>
                      <a:lnTo>
                        <a:pt x="66914" y="15735"/>
                      </a:lnTo>
                      <a:lnTo>
                        <a:pt x="66977" y="15777"/>
                      </a:lnTo>
                      <a:lnTo>
                        <a:pt x="66872" y="15944"/>
                      </a:lnTo>
                      <a:lnTo>
                        <a:pt x="66977" y="16049"/>
                      </a:lnTo>
                      <a:lnTo>
                        <a:pt x="66998" y="16175"/>
                      </a:lnTo>
                      <a:lnTo>
                        <a:pt x="67081" y="15986"/>
                      </a:lnTo>
                      <a:lnTo>
                        <a:pt x="67144" y="15944"/>
                      </a:lnTo>
                      <a:lnTo>
                        <a:pt x="67144" y="15861"/>
                      </a:lnTo>
                      <a:lnTo>
                        <a:pt x="67207" y="15777"/>
                      </a:lnTo>
                      <a:lnTo>
                        <a:pt x="67207" y="15484"/>
                      </a:lnTo>
                      <a:lnTo>
                        <a:pt x="67291" y="15421"/>
                      </a:lnTo>
                      <a:lnTo>
                        <a:pt x="67207" y="15338"/>
                      </a:lnTo>
                      <a:lnTo>
                        <a:pt x="67311" y="15254"/>
                      </a:lnTo>
                      <a:lnTo>
                        <a:pt x="67311" y="15149"/>
                      </a:lnTo>
                      <a:lnTo>
                        <a:pt x="67249" y="15128"/>
                      </a:lnTo>
                      <a:lnTo>
                        <a:pt x="67249" y="15066"/>
                      </a:lnTo>
                      <a:lnTo>
                        <a:pt x="67311" y="15045"/>
                      </a:lnTo>
                      <a:lnTo>
                        <a:pt x="67332" y="14856"/>
                      </a:lnTo>
                      <a:lnTo>
                        <a:pt x="67249" y="14794"/>
                      </a:lnTo>
                      <a:lnTo>
                        <a:pt x="67311" y="14605"/>
                      </a:lnTo>
                      <a:lnTo>
                        <a:pt x="67395" y="14522"/>
                      </a:lnTo>
                      <a:lnTo>
                        <a:pt x="67542" y="14501"/>
                      </a:lnTo>
                      <a:lnTo>
                        <a:pt x="67604" y="14584"/>
                      </a:lnTo>
                      <a:lnTo>
                        <a:pt x="67667" y="14647"/>
                      </a:lnTo>
                      <a:lnTo>
                        <a:pt x="67730" y="14584"/>
                      </a:lnTo>
                      <a:lnTo>
                        <a:pt x="67646" y="14501"/>
                      </a:lnTo>
                      <a:lnTo>
                        <a:pt x="67688" y="14375"/>
                      </a:lnTo>
                      <a:lnTo>
                        <a:pt x="67521" y="14291"/>
                      </a:lnTo>
                      <a:lnTo>
                        <a:pt x="67479" y="14061"/>
                      </a:lnTo>
                      <a:lnTo>
                        <a:pt x="67395" y="13999"/>
                      </a:lnTo>
                      <a:lnTo>
                        <a:pt x="67395" y="13957"/>
                      </a:lnTo>
                      <a:lnTo>
                        <a:pt x="67291" y="13873"/>
                      </a:lnTo>
                      <a:lnTo>
                        <a:pt x="67270" y="13706"/>
                      </a:lnTo>
                      <a:lnTo>
                        <a:pt x="67311" y="13664"/>
                      </a:lnTo>
                      <a:lnTo>
                        <a:pt x="67291" y="13538"/>
                      </a:lnTo>
                      <a:lnTo>
                        <a:pt x="67165" y="13434"/>
                      </a:lnTo>
                      <a:lnTo>
                        <a:pt x="67186" y="13329"/>
                      </a:lnTo>
                      <a:lnTo>
                        <a:pt x="67123" y="13266"/>
                      </a:lnTo>
                      <a:lnTo>
                        <a:pt x="67291" y="13141"/>
                      </a:lnTo>
                      <a:lnTo>
                        <a:pt x="67416" y="13141"/>
                      </a:lnTo>
                      <a:lnTo>
                        <a:pt x="67521" y="13015"/>
                      </a:lnTo>
                      <a:lnTo>
                        <a:pt x="67688" y="13015"/>
                      </a:lnTo>
                      <a:lnTo>
                        <a:pt x="67730" y="12952"/>
                      </a:lnTo>
                      <a:lnTo>
                        <a:pt x="67897" y="13078"/>
                      </a:lnTo>
                      <a:lnTo>
                        <a:pt x="68044" y="13078"/>
                      </a:lnTo>
                      <a:lnTo>
                        <a:pt x="68107" y="13120"/>
                      </a:lnTo>
                      <a:lnTo>
                        <a:pt x="68211" y="13141"/>
                      </a:lnTo>
                      <a:lnTo>
                        <a:pt x="68274" y="13120"/>
                      </a:lnTo>
                      <a:lnTo>
                        <a:pt x="68127" y="13182"/>
                      </a:lnTo>
                      <a:lnTo>
                        <a:pt x="68211" y="13245"/>
                      </a:lnTo>
                      <a:lnTo>
                        <a:pt x="68065" y="13287"/>
                      </a:lnTo>
                      <a:lnTo>
                        <a:pt x="67939" y="13266"/>
                      </a:lnTo>
                      <a:lnTo>
                        <a:pt x="67793" y="13434"/>
                      </a:lnTo>
                      <a:lnTo>
                        <a:pt x="67793" y="13496"/>
                      </a:lnTo>
                      <a:lnTo>
                        <a:pt x="67835" y="13643"/>
                      </a:lnTo>
                      <a:lnTo>
                        <a:pt x="67835" y="13768"/>
                      </a:lnTo>
                      <a:lnTo>
                        <a:pt x="67918" y="13810"/>
                      </a:lnTo>
                      <a:lnTo>
                        <a:pt x="67939" y="13894"/>
                      </a:lnTo>
                      <a:lnTo>
                        <a:pt x="68065" y="14061"/>
                      </a:lnTo>
                      <a:lnTo>
                        <a:pt x="68065" y="14103"/>
                      </a:lnTo>
                      <a:lnTo>
                        <a:pt x="68107" y="14103"/>
                      </a:lnTo>
                      <a:lnTo>
                        <a:pt x="68065" y="14166"/>
                      </a:lnTo>
                      <a:lnTo>
                        <a:pt x="68211" y="14208"/>
                      </a:lnTo>
                      <a:lnTo>
                        <a:pt x="68232" y="14333"/>
                      </a:lnTo>
                      <a:lnTo>
                        <a:pt x="68232" y="14396"/>
                      </a:lnTo>
                      <a:lnTo>
                        <a:pt x="68169" y="14438"/>
                      </a:lnTo>
                      <a:lnTo>
                        <a:pt x="68211" y="14710"/>
                      </a:lnTo>
                      <a:lnTo>
                        <a:pt x="68253" y="14731"/>
                      </a:lnTo>
                      <a:lnTo>
                        <a:pt x="68316" y="14647"/>
                      </a:lnTo>
                      <a:lnTo>
                        <a:pt x="68358" y="14647"/>
                      </a:lnTo>
                      <a:lnTo>
                        <a:pt x="68441" y="14752"/>
                      </a:lnTo>
                      <a:lnTo>
                        <a:pt x="68483" y="14835"/>
                      </a:lnTo>
                      <a:lnTo>
                        <a:pt x="68420" y="15024"/>
                      </a:lnTo>
                      <a:lnTo>
                        <a:pt x="68420" y="15233"/>
                      </a:lnTo>
                      <a:lnTo>
                        <a:pt x="68483" y="15317"/>
                      </a:lnTo>
                      <a:lnTo>
                        <a:pt x="68567" y="15254"/>
                      </a:lnTo>
                      <a:lnTo>
                        <a:pt x="68672" y="15275"/>
                      </a:lnTo>
                      <a:lnTo>
                        <a:pt x="68692" y="15338"/>
                      </a:lnTo>
                      <a:lnTo>
                        <a:pt x="68672" y="15421"/>
                      </a:lnTo>
                      <a:lnTo>
                        <a:pt x="68588" y="15421"/>
                      </a:lnTo>
                      <a:lnTo>
                        <a:pt x="68483" y="15484"/>
                      </a:lnTo>
                      <a:lnTo>
                        <a:pt x="68462" y="15484"/>
                      </a:lnTo>
                      <a:lnTo>
                        <a:pt x="68337" y="15631"/>
                      </a:lnTo>
                      <a:lnTo>
                        <a:pt x="68316" y="15735"/>
                      </a:lnTo>
                      <a:lnTo>
                        <a:pt x="68169" y="15798"/>
                      </a:lnTo>
                      <a:lnTo>
                        <a:pt x="68148" y="15861"/>
                      </a:lnTo>
                      <a:lnTo>
                        <a:pt x="68065" y="15882"/>
                      </a:lnTo>
                      <a:lnTo>
                        <a:pt x="68065" y="15986"/>
                      </a:lnTo>
                      <a:lnTo>
                        <a:pt x="68023" y="16070"/>
                      </a:lnTo>
                      <a:lnTo>
                        <a:pt x="68065" y="16195"/>
                      </a:lnTo>
                      <a:lnTo>
                        <a:pt x="68148" y="16175"/>
                      </a:lnTo>
                      <a:lnTo>
                        <a:pt x="68148" y="16321"/>
                      </a:lnTo>
                      <a:lnTo>
                        <a:pt x="68044" y="16509"/>
                      </a:lnTo>
                      <a:lnTo>
                        <a:pt x="68065" y="16593"/>
                      </a:lnTo>
                      <a:lnTo>
                        <a:pt x="68127" y="16614"/>
                      </a:lnTo>
                      <a:lnTo>
                        <a:pt x="68107" y="16844"/>
                      </a:lnTo>
                      <a:lnTo>
                        <a:pt x="68127" y="17032"/>
                      </a:lnTo>
                      <a:lnTo>
                        <a:pt x="68065" y="17116"/>
                      </a:lnTo>
                      <a:lnTo>
                        <a:pt x="67939" y="17158"/>
                      </a:lnTo>
                      <a:lnTo>
                        <a:pt x="67918" y="17263"/>
                      </a:lnTo>
                      <a:lnTo>
                        <a:pt x="67960" y="17325"/>
                      </a:lnTo>
                      <a:lnTo>
                        <a:pt x="67939" y="17535"/>
                      </a:lnTo>
                      <a:lnTo>
                        <a:pt x="67918" y="17576"/>
                      </a:lnTo>
                      <a:lnTo>
                        <a:pt x="67939" y="17660"/>
                      </a:lnTo>
                      <a:lnTo>
                        <a:pt x="68044" y="17765"/>
                      </a:lnTo>
                      <a:lnTo>
                        <a:pt x="67960" y="17765"/>
                      </a:lnTo>
                      <a:lnTo>
                        <a:pt x="67939" y="17953"/>
                      </a:lnTo>
                      <a:lnTo>
                        <a:pt x="67960" y="17995"/>
                      </a:lnTo>
                      <a:lnTo>
                        <a:pt x="67960" y="18141"/>
                      </a:lnTo>
                      <a:lnTo>
                        <a:pt x="67855" y="18246"/>
                      </a:lnTo>
                      <a:lnTo>
                        <a:pt x="67939" y="18372"/>
                      </a:lnTo>
                      <a:lnTo>
                        <a:pt x="67939" y="18602"/>
                      </a:lnTo>
                      <a:lnTo>
                        <a:pt x="68023" y="18811"/>
                      </a:lnTo>
                      <a:lnTo>
                        <a:pt x="67835" y="19146"/>
                      </a:lnTo>
                      <a:lnTo>
                        <a:pt x="67939" y="19292"/>
                      </a:lnTo>
                      <a:lnTo>
                        <a:pt x="67835" y="19250"/>
                      </a:lnTo>
                      <a:lnTo>
                        <a:pt x="67625" y="19292"/>
                      </a:lnTo>
                      <a:lnTo>
                        <a:pt x="67625" y="19501"/>
                      </a:lnTo>
                      <a:lnTo>
                        <a:pt x="67646" y="19564"/>
                      </a:lnTo>
                      <a:lnTo>
                        <a:pt x="67521" y="19711"/>
                      </a:lnTo>
                      <a:lnTo>
                        <a:pt x="67291" y="19606"/>
                      </a:lnTo>
                      <a:lnTo>
                        <a:pt x="67186" y="19711"/>
                      </a:lnTo>
                      <a:lnTo>
                        <a:pt x="67186" y="19773"/>
                      </a:lnTo>
                      <a:lnTo>
                        <a:pt x="67332" y="19773"/>
                      </a:lnTo>
                      <a:lnTo>
                        <a:pt x="67542" y="20087"/>
                      </a:lnTo>
                      <a:lnTo>
                        <a:pt x="67542" y="20380"/>
                      </a:lnTo>
                      <a:lnTo>
                        <a:pt x="67500" y="20464"/>
                      </a:lnTo>
                      <a:lnTo>
                        <a:pt x="67542" y="20548"/>
                      </a:lnTo>
                      <a:lnTo>
                        <a:pt x="67437" y="20569"/>
                      </a:lnTo>
                      <a:lnTo>
                        <a:pt x="67416" y="20778"/>
                      </a:lnTo>
                      <a:lnTo>
                        <a:pt x="67291" y="20924"/>
                      </a:lnTo>
                      <a:lnTo>
                        <a:pt x="67270" y="21175"/>
                      </a:lnTo>
                      <a:lnTo>
                        <a:pt x="67374" y="21385"/>
                      </a:lnTo>
                      <a:lnTo>
                        <a:pt x="67416" y="21761"/>
                      </a:lnTo>
                      <a:lnTo>
                        <a:pt x="67583" y="22033"/>
                      </a:lnTo>
                      <a:lnTo>
                        <a:pt x="67583" y="22242"/>
                      </a:lnTo>
                      <a:lnTo>
                        <a:pt x="67835" y="22807"/>
                      </a:lnTo>
                      <a:lnTo>
                        <a:pt x="68148" y="23414"/>
                      </a:lnTo>
                      <a:lnTo>
                        <a:pt x="68462" y="23916"/>
                      </a:lnTo>
                      <a:lnTo>
                        <a:pt x="68630" y="24063"/>
                      </a:lnTo>
                      <a:lnTo>
                        <a:pt x="68630" y="24251"/>
                      </a:lnTo>
                      <a:lnTo>
                        <a:pt x="69048" y="24732"/>
                      </a:lnTo>
                      <a:lnTo>
                        <a:pt x="69488" y="25527"/>
                      </a:lnTo>
                      <a:lnTo>
                        <a:pt x="69697" y="25632"/>
                      </a:lnTo>
                      <a:lnTo>
                        <a:pt x="69843" y="25632"/>
                      </a:lnTo>
                      <a:lnTo>
                        <a:pt x="69927" y="25590"/>
                      </a:lnTo>
                      <a:lnTo>
                        <a:pt x="69927" y="25590"/>
                      </a:lnTo>
                      <a:lnTo>
                        <a:pt x="69885" y="25695"/>
                      </a:lnTo>
                      <a:lnTo>
                        <a:pt x="69780" y="25737"/>
                      </a:lnTo>
                      <a:lnTo>
                        <a:pt x="69697" y="25737"/>
                      </a:lnTo>
                      <a:lnTo>
                        <a:pt x="69843" y="25988"/>
                      </a:lnTo>
                      <a:lnTo>
                        <a:pt x="70052" y="26469"/>
                      </a:lnTo>
                      <a:lnTo>
                        <a:pt x="70094" y="26678"/>
                      </a:lnTo>
                      <a:lnTo>
                        <a:pt x="70220" y="26867"/>
                      </a:lnTo>
                      <a:lnTo>
                        <a:pt x="70450" y="26887"/>
                      </a:lnTo>
                      <a:lnTo>
                        <a:pt x="70471" y="26971"/>
                      </a:lnTo>
                      <a:lnTo>
                        <a:pt x="70471" y="27076"/>
                      </a:lnTo>
                      <a:lnTo>
                        <a:pt x="70513" y="27159"/>
                      </a:lnTo>
                      <a:lnTo>
                        <a:pt x="70471" y="27285"/>
                      </a:lnTo>
                      <a:lnTo>
                        <a:pt x="70617" y="27034"/>
                      </a:lnTo>
                      <a:lnTo>
                        <a:pt x="70659" y="26762"/>
                      </a:lnTo>
                      <a:lnTo>
                        <a:pt x="70680" y="26741"/>
                      </a:lnTo>
                      <a:lnTo>
                        <a:pt x="70680" y="26636"/>
                      </a:lnTo>
                      <a:lnTo>
                        <a:pt x="70827" y="26511"/>
                      </a:lnTo>
                      <a:lnTo>
                        <a:pt x="70848" y="26406"/>
                      </a:lnTo>
                      <a:lnTo>
                        <a:pt x="70827" y="26343"/>
                      </a:lnTo>
                      <a:lnTo>
                        <a:pt x="70868" y="26239"/>
                      </a:lnTo>
                      <a:lnTo>
                        <a:pt x="70931" y="25988"/>
                      </a:lnTo>
                      <a:lnTo>
                        <a:pt x="70868" y="25883"/>
                      </a:lnTo>
                      <a:lnTo>
                        <a:pt x="70889" y="25695"/>
                      </a:lnTo>
                      <a:lnTo>
                        <a:pt x="70994" y="25611"/>
                      </a:lnTo>
                      <a:lnTo>
                        <a:pt x="70889" y="25507"/>
                      </a:lnTo>
                      <a:lnTo>
                        <a:pt x="70848" y="25527"/>
                      </a:lnTo>
                      <a:lnTo>
                        <a:pt x="70764" y="25507"/>
                      </a:lnTo>
                      <a:lnTo>
                        <a:pt x="70827" y="25423"/>
                      </a:lnTo>
                      <a:lnTo>
                        <a:pt x="70743" y="25276"/>
                      </a:lnTo>
                      <a:lnTo>
                        <a:pt x="70785" y="25297"/>
                      </a:lnTo>
                      <a:lnTo>
                        <a:pt x="70848" y="25255"/>
                      </a:lnTo>
                      <a:lnTo>
                        <a:pt x="70743" y="25151"/>
                      </a:lnTo>
                      <a:lnTo>
                        <a:pt x="70764" y="25067"/>
                      </a:lnTo>
                      <a:lnTo>
                        <a:pt x="70785" y="24942"/>
                      </a:lnTo>
                      <a:lnTo>
                        <a:pt x="70659" y="24942"/>
                      </a:lnTo>
                      <a:lnTo>
                        <a:pt x="70576" y="24879"/>
                      </a:lnTo>
                      <a:lnTo>
                        <a:pt x="70638" y="24774"/>
                      </a:lnTo>
                      <a:lnTo>
                        <a:pt x="70743" y="24879"/>
                      </a:lnTo>
                      <a:lnTo>
                        <a:pt x="70889" y="24732"/>
                      </a:lnTo>
                      <a:lnTo>
                        <a:pt x="70973" y="24753"/>
                      </a:lnTo>
                      <a:lnTo>
                        <a:pt x="71078" y="24649"/>
                      </a:lnTo>
                      <a:lnTo>
                        <a:pt x="71182" y="24565"/>
                      </a:lnTo>
                      <a:lnTo>
                        <a:pt x="71203" y="24586"/>
                      </a:lnTo>
                      <a:lnTo>
                        <a:pt x="71350" y="24628"/>
                      </a:lnTo>
                      <a:lnTo>
                        <a:pt x="71266" y="24523"/>
                      </a:lnTo>
                      <a:lnTo>
                        <a:pt x="71099" y="24439"/>
                      </a:lnTo>
                      <a:lnTo>
                        <a:pt x="71099" y="24314"/>
                      </a:lnTo>
                      <a:lnTo>
                        <a:pt x="70952" y="24230"/>
                      </a:lnTo>
                      <a:lnTo>
                        <a:pt x="70848" y="23895"/>
                      </a:lnTo>
                      <a:lnTo>
                        <a:pt x="70931" y="23602"/>
                      </a:lnTo>
                      <a:lnTo>
                        <a:pt x="70827" y="23498"/>
                      </a:lnTo>
                      <a:lnTo>
                        <a:pt x="70889" y="23414"/>
                      </a:lnTo>
                      <a:lnTo>
                        <a:pt x="70931" y="23268"/>
                      </a:lnTo>
                      <a:lnTo>
                        <a:pt x="71036" y="23058"/>
                      </a:lnTo>
                      <a:lnTo>
                        <a:pt x="71078" y="23372"/>
                      </a:lnTo>
                      <a:lnTo>
                        <a:pt x="71161" y="23393"/>
                      </a:lnTo>
                      <a:lnTo>
                        <a:pt x="71350" y="23289"/>
                      </a:lnTo>
                      <a:lnTo>
                        <a:pt x="71371" y="23330"/>
                      </a:lnTo>
                      <a:lnTo>
                        <a:pt x="71705" y="23205"/>
                      </a:lnTo>
                      <a:lnTo>
                        <a:pt x="71705" y="23058"/>
                      </a:lnTo>
                      <a:lnTo>
                        <a:pt x="71789" y="22975"/>
                      </a:lnTo>
                      <a:lnTo>
                        <a:pt x="71664" y="22891"/>
                      </a:lnTo>
                      <a:lnTo>
                        <a:pt x="71454" y="22598"/>
                      </a:lnTo>
                      <a:lnTo>
                        <a:pt x="71371" y="22598"/>
                      </a:lnTo>
                      <a:lnTo>
                        <a:pt x="71078" y="22159"/>
                      </a:lnTo>
                      <a:lnTo>
                        <a:pt x="71078" y="22054"/>
                      </a:lnTo>
                      <a:lnTo>
                        <a:pt x="70994" y="21970"/>
                      </a:lnTo>
                      <a:lnTo>
                        <a:pt x="70973" y="21594"/>
                      </a:lnTo>
                      <a:lnTo>
                        <a:pt x="70994" y="21531"/>
                      </a:lnTo>
                      <a:lnTo>
                        <a:pt x="70952" y="21343"/>
                      </a:lnTo>
                      <a:lnTo>
                        <a:pt x="71036" y="21217"/>
                      </a:lnTo>
                      <a:lnTo>
                        <a:pt x="71036" y="21092"/>
                      </a:lnTo>
                      <a:lnTo>
                        <a:pt x="70889" y="21113"/>
                      </a:lnTo>
                      <a:lnTo>
                        <a:pt x="70868" y="21029"/>
                      </a:lnTo>
                      <a:lnTo>
                        <a:pt x="70973" y="20882"/>
                      </a:lnTo>
                      <a:lnTo>
                        <a:pt x="71078" y="20841"/>
                      </a:lnTo>
                      <a:lnTo>
                        <a:pt x="71078" y="20778"/>
                      </a:lnTo>
                      <a:lnTo>
                        <a:pt x="71078" y="20757"/>
                      </a:lnTo>
                      <a:lnTo>
                        <a:pt x="71161" y="20673"/>
                      </a:lnTo>
                      <a:lnTo>
                        <a:pt x="71182" y="20778"/>
                      </a:lnTo>
                      <a:lnTo>
                        <a:pt x="71182" y="20903"/>
                      </a:lnTo>
                      <a:lnTo>
                        <a:pt x="71140" y="21029"/>
                      </a:lnTo>
                      <a:lnTo>
                        <a:pt x="71140" y="21196"/>
                      </a:lnTo>
                      <a:lnTo>
                        <a:pt x="71308" y="21238"/>
                      </a:lnTo>
                      <a:lnTo>
                        <a:pt x="71475" y="21343"/>
                      </a:lnTo>
                      <a:lnTo>
                        <a:pt x="71559" y="21322"/>
                      </a:lnTo>
                      <a:lnTo>
                        <a:pt x="71559" y="21154"/>
                      </a:lnTo>
                      <a:lnTo>
                        <a:pt x="71601" y="21092"/>
                      </a:lnTo>
                      <a:lnTo>
                        <a:pt x="71496" y="20903"/>
                      </a:lnTo>
                      <a:lnTo>
                        <a:pt x="71245" y="20673"/>
                      </a:lnTo>
                      <a:lnTo>
                        <a:pt x="71245" y="20401"/>
                      </a:lnTo>
                      <a:lnTo>
                        <a:pt x="71099" y="20359"/>
                      </a:lnTo>
                      <a:lnTo>
                        <a:pt x="71078" y="20317"/>
                      </a:lnTo>
                      <a:lnTo>
                        <a:pt x="71057" y="20380"/>
                      </a:lnTo>
                      <a:lnTo>
                        <a:pt x="70973" y="20464"/>
                      </a:lnTo>
                      <a:lnTo>
                        <a:pt x="70973" y="20506"/>
                      </a:lnTo>
                      <a:lnTo>
                        <a:pt x="70931" y="20569"/>
                      </a:lnTo>
                      <a:lnTo>
                        <a:pt x="70785" y="20485"/>
                      </a:lnTo>
                      <a:lnTo>
                        <a:pt x="70785" y="20276"/>
                      </a:lnTo>
                      <a:lnTo>
                        <a:pt x="70722" y="20150"/>
                      </a:lnTo>
                      <a:lnTo>
                        <a:pt x="70617" y="19941"/>
                      </a:lnTo>
                      <a:lnTo>
                        <a:pt x="70680" y="19836"/>
                      </a:lnTo>
                      <a:lnTo>
                        <a:pt x="70743" y="19794"/>
                      </a:lnTo>
                      <a:lnTo>
                        <a:pt x="70722" y="19690"/>
                      </a:lnTo>
                      <a:lnTo>
                        <a:pt x="70785" y="19585"/>
                      </a:lnTo>
                      <a:lnTo>
                        <a:pt x="70722" y="19522"/>
                      </a:lnTo>
                      <a:lnTo>
                        <a:pt x="70743" y="19439"/>
                      </a:lnTo>
                      <a:lnTo>
                        <a:pt x="70743" y="19334"/>
                      </a:lnTo>
                      <a:lnTo>
                        <a:pt x="70659" y="19271"/>
                      </a:lnTo>
                      <a:lnTo>
                        <a:pt x="70555" y="19313"/>
                      </a:lnTo>
                      <a:lnTo>
                        <a:pt x="70366" y="19146"/>
                      </a:lnTo>
                      <a:lnTo>
                        <a:pt x="70241" y="19146"/>
                      </a:lnTo>
                      <a:lnTo>
                        <a:pt x="70157" y="19229"/>
                      </a:lnTo>
                      <a:lnTo>
                        <a:pt x="70157" y="19313"/>
                      </a:lnTo>
                      <a:lnTo>
                        <a:pt x="70304" y="19460"/>
                      </a:lnTo>
                      <a:lnTo>
                        <a:pt x="70262" y="19564"/>
                      </a:lnTo>
                      <a:lnTo>
                        <a:pt x="70220" y="19627"/>
                      </a:lnTo>
                      <a:lnTo>
                        <a:pt x="70094" y="19564"/>
                      </a:lnTo>
                      <a:lnTo>
                        <a:pt x="69927" y="19355"/>
                      </a:lnTo>
                      <a:lnTo>
                        <a:pt x="69822" y="19250"/>
                      </a:lnTo>
                      <a:lnTo>
                        <a:pt x="69739" y="19208"/>
                      </a:lnTo>
                      <a:lnTo>
                        <a:pt x="69801" y="19146"/>
                      </a:lnTo>
                      <a:lnTo>
                        <a:pt x="69697" y="18936"/>
                      </a:lnTo>
                      <a:lnTo>
                        <a:pt x="69697" y="18811"/>
                      </a:lnTo>
                      <a:lnTo>
                        <a:pt x="69697" y="18727"/>
                      </a:lnTo>
                      <a:lnTo>
                        <a:pt x="69634" y="18623"/>
                      </a:lnTo>
                      <a:lnTo>
                        <a:pt x="69697" y="18539"/>
                      </a:lnTo>
                      <a:lnTo>
                        <a:pt x="69634" y="18372"/>
                      </a:lnTo>
                      <a:lnTo>
                        <a:pt x="69718" y="18267"/>
                      </a:lnTo>
                      <a:lnTo>
                        <a:pt x="69718" y="18162"/>
                      </a:lnTo>
                      <a:lnTo>
                        <a:pt x="69739" y="18037"/>
                      </a:lnTo>
                      <a:lnTo>
                        <a:pt x="69739" y="17890"/>
                      </a:lnTo>
                      <a:lnTo>
                        <a:pt x="69697" y="17932"/>
                      </a:lnTo>
                      <a:lnTo>
                        <a:pt x="69592" y="17786"/>
                      </a:lnTo>
                      <a:lnTo>
                        <a:pt x="69613" y="17744"/>
                      </a:lnTo>
                      <a:lnTo>
                        <a:pt x="69697" y="17723"/>
                      </a:lnTo>
                      <a:lnTo>
                        <a:pt x="69801" y="17786"/>
                      </a:lnTo>
                      <a:lnTo>
                        <a:pt x="69801" y="17744"/>
                      </a:lnTo>
                      <a:lnTo>
                        <a:pt x="69718" y="17660"/>
                      </a:lnTo>
                      <a:lnTo>
                        <a:pt x="69634" y="17576"/>
                      </a:lnTo>
                      <a:lnTo>
                        <a:pt x="69676" y="17514"/>
                      </a:lnTo>
                      <a:lnTo>
                        <a:pt x="69718" y="17514"/>
                      </a:lnTo>
                      <a:lnTo>
                        <a:pt x="69697" y="17430"/>
                      </a:lnTo>
                      <a:lnTo>
                        <a:pt x="69613" y="17346"/>
                      </a:lnTo>
                      <a:lnTo>
                        <a:pt x="69488" y="17325"/>
                      </a:lnTo>
                      <a:lnTo>
                        <a:pt x="69467" y="17242"/>
                      </a:lnTo>
                      <a:lnTo>
                        <a:pt x="69508" y="17221"/>
                      </a:lnTo>
                      <a:lnTo>
                        <a:pt x="69488" y="17074"/>
                      </a:lnTo>
                      <a:lnTo>
                        <a:pt x="69383" y="16970"/>
                      </a:lnTo>
                      <a:lnTo>
                        <a:pt x="69404" y="16886"/>
                      </a:lnTo>
                      <a:lnTo>
                        <a:pt x="69425" y="16781"/>
                      </a:lnTo>
                      <a:lnTo>
                        <a:pt x="69488" y="16719"/>
                      </a:lnTo>
                      <a:lnTo>
                        <a:pt x="69404" y="16614"/>
                      </a:lnTo>
                      <a:lnTo>
                        <a:pt x="69425" y="16530"/>
                      </a:lnTo>
                      <a:lnTo>
                        <a:pt x="69508" y="16530"/>
                      </a:lnTo>
                      <a:lnTo>
                        <a:pt x="69613" y="16593"/>
                      </a:lnTo>
                      <a:lnTo>
                        <a:pt x="69697" y="16572"/>
                      </a:lnTo>
                      <a:lnTo>
                        <a:pt x="69739" y="16405"/>
                      </a:lnTo>
                      <a:lnTo>
                        <a:pt x="69822" y="16405"/>
                      </a:lnTo>
                      <a:lnTo>
                        <a:pt x="69885" y="16488"/>
                      </a:lnTo>
                      <a:lnTo>
                        <a:pt x="69927" y="16488"/>
                      </a:lnTo>
                      <a:lnTo>
                        <a:pt x="70011" y="16614"/>
                      </a:lnTo>
                      <a:lnTo>
                        <a:pt x="70136" y="16363"/>
                      </a:lnTo>
                      <a:lnTo>
                        <a:pt x="70011" y="16300"/>
                      </a:lnTo>
                      <a:lnTo>
                        <a:pt x="70032" y="16195"/>
                      </a:lnTo>
                      <a:lnTo>
                        <a:pt x="70115" y="16154"/>
                      </a:lnTo>
                      <a:lnTo>
                        <a:pt x="70241" y="15903"/>
                      </a:lnTo>
                      <a:lnTo>
                        <a:pt x="70241" y="15777"/>
                      </a:lnTo>
                      <a:lnTo>
                        <a:pt x="70324" y="15882"/>
                      </a:lnTo>
                      <a:lnTo>
                        <a:pt x="70429" y="15944"/>
                      </a:lnTo>
                      <a:lnTo>
                        <a:pt x="70429" y="16070"/>
                      </a:lnTo>
                      <a:lnTo>
                        <a:pt x="70555" y="16426"/>
                      </a:lnTo>
                      <a:lnTo>
                        <a:pt x="70638" y="16509"/>
                      </a:lnTo>
                      <a:lnTo>
                        <a:pt x="70680" y="16468"/>
                      </a:lnTo>
                      <a:lnTo>
                        <a:pt x="70722" y="16154"/>
                      </a:lnTo>
                      <a:lnTo>
                        <a:pt x="70743" y="16049"/>
                      </a:lnTo>
                      <a:lnTo>
                        <a:pt x="70722" y="15903"/>
                      </a:lnTo>
                      <a:lnTo>
                        <a:pt x="70785" y="15798"/>
                      </a:lnTo>
                      <a:lnTo>
                        <a:pt x="70722" y="15651"/>
                      </a:lnTo>
                      <a:lnTo>
                        <a:pt x="70827" y="15693"/>
                      </a:lnTo>
                      <a:lnTo>
                        <a:pt x="70889" y="15631"/>
                      </a:lnTo>
                      <a:lnTo>
                        <a:pt x="70952" y="15421"/>
                      </a:lnTo>
                      <a:lnTo>
                        <a:pt x="71057" y="15421"/>
                      </a:lnTo>
                      <a:lnTo>
                        <a:pt x="71182" y="15254"/>
                      </a:lnTo>
                      <a:lnTo>
                        <a:pt x="71308" y="15233"/>
                      </a:lnTo>
                      <a:lnTo>
                        <a:pt x="71371" y="15275"/>
                      </a:lnTo>
                      <a:lnTo>
                        <a:pt x="71559" y="15149"/>
                      </a:lnTo>
                      <a:lnTo>
                        <a:pt x="71705" y="15170"/>
                      </a:lnTo>
                      <a:lnTo>
                        <a:pt x="72019" y="15359"/>
                      </a:lnTo>
                      <a:lnTo>
                        <a:pt x="72040" y="15463"/>
                      </a:lnTo>
                      <a:lnTo>
                        <a:pt x="72124" y="15484"/>
                      </a:lnTo>
                      <a:lnTo>
                        <a:pt x="72229" y="15463"/>
                      </a:lnTo>
                      <a:lnTo>
                        <a:pt x="72291" y="15484"/>
                      </a:lnTo>
                      <a:lnTo>
                        <a:pt x="72229" y="15547"/>
                      </a:lnTo>
                      <a:lnTo>
                        <a:pt x="72396" y="15714"/>
                      </a:lnTo>
                      <a:lnTo>
                        <a:pt x="72438" y="15672"/>
                      </a:lnTo>
                      <a:lnTo>
                        <a:pt x="72542" y="15777"/>
                      </a:lnTo>
                      <a:lnTo>
                        <a:pt x="72668" y="15756"/>
                      </a:lnTo>
                      <a:lnTo>
                        <a:pt x="72752" y="15777"/>
                      </a:lnTo>
                      <a:lnTo>
                        <a:pt x="72752" y="15672"/>
                      </a:lnTo>
                      <a:lnTo>
                        <a:pt x="72647" y="15526"/>
                      </a:lnTo>
                      <a:lnTo>
                        <a:pt x="72710" y="15442"/>
                      </a:lnTo>
                      <a:lnTo>
                        <a:pt x="72668" y="15359"/>
                      </a:lnTo>
                      <a:lnTo>
                        <a:pt x="72605" y="15338"/>
                      </a:lnTo>
                      <a:lnTo>
                        <a:pt x="72605" y="15233"/>
                      </a:lnTo>
                      <a:lnTo>
                        <a:pt x="72668" y="15128"/>
                      </a:lnTo>
                      <a:lnTo>
                        <a:pt x="72731" y="14856"/>
                      </a:lnTo>
                      <a:lnTo>
                        <a:pt x="72814" y="14647"/>
                      </a:lnTo>
                      <a:lnTo>
                        <a:pt x="72773" y="14543"/>
                      </a:lnTo>
                      <a:lnTo>
                        <a:pt x="72919" y="14375"/>
                      </a:lnTo>
                      <a:lnTo>
                        <a:pt x="72856" y="14291"/>
                      </a:lnTo>
                      <a:lnTo>
                        <a:pt x="72940" y="14229"/>
                      </a:lnTo>
                      <a:lnTo>
                        <a:pt x="72856" y="14061"/>
                      </a:lnTo>
                      <a:lnTo>
                        <a:pt x="72773" y="13999"/>
                      </a:lnTo>
                      <a:lnTo>
                        <a:pt x="72773" y="13957"/>
                      </a:lnTo>
                      <a:lnTo>
                        <a:pt x="72940" y="13957"/>
                      </a:lnTo>
                      <a:lnTo>
                        <a:pt x="72982" y="13810"/>
                      </a:lnTo>
                      <a:lnTo>
                        <a:pt x="72814" y="13747"/>
                      </a:lnTo>
                      <a:lnTo>
                        <a:pt x="72752" y="13643"/>
                      </a:lnTo>
                      <a:lnTo>
                        <a:pt x="72835" y="13601"/>
                      </a:lnTo>
                      <a:lnTo>
                        <a:pt x="72877" y="13664"/>
                      </a:lnTo>
                      <a:lnTo>
                        <a:pt x="72961" y="13643"/>
                      </a:lnTo>
                      <a:lnTo>
                        <a:pt x="72982" y="13559"/>
                      </a:lnTo>
                      <a:lnTo>
                        <a:pt x="72940" y="13475"/>
                      </a:lnTo>
                      <a:lnTo>
                        <a:pt x="73065" y="13371"/>
                      </a:lnTo>
                      <a:lnTo>
                        <a:pt x="73065" y="13287"/>
                      </a:lnTo>
                      <a:lnTo>
                        <a:pt x="72982" y="13224"/>
                      </a:lnTo>
                      <a:lnTo>
                        <a:pt x="73065" y="13162"/>
                      </a:lnTo>
                      <a:lnTo>
                        <a:pt x="73149" y="13182"/>
                      </a:lnTo>
                      <a:lnTo>
                        <a:pt x="73191" y="13078"/>
                      </a:lnTo>
                      <a:lnTo>
                        <a:pt x="73233" y="13036"/>
                      </a:lnTo>
                      <a:lnTo>
                        <a:pt x="73170" y="12973"/>
                      </a:lnTo>
                      <a:lnTo>
                        <a:pt x="73275" y="12952"/>
                      </a:lnTo>
                      <a:lnTo>
                        <a:pt x="73400" y="12827"/>
                      </a:lnTo>
                      <a:lnTo>
                        <a:pt x="73358" y="12743"/>
                      </a:lnTo>
                      <a:lnTo>
                        <a:pt x="73379" y="12638"/>
                      </a:lnTo>
                      <a:lnTo>
                        <a:pt x="73421" y="12722"/>
                      </a:lnTo>
                      <a:lnTo>
                        <a:pt x="73526" y="12618"/>
                      </a:lnTo>
                      <a:lnTo>
                        <a:pt x="73463" y="12450"/>
                      </a:lnTo>
                      <a:lnTo>
                        <a:pt x="73463" y="12304"/>
                      </a:lnTo>
                      <a:lnTo>
                        <a:pt x="73568" y="12304"/>
                      </a:lnTo>
                      <a:lnTo>
                        <a:pt x="73589" y="12325"/>
                      </a:lnTo>
                      <a:lnTo>
                        <a:pt x="73651" y="12283"/>
                      </a:lnTo>
                      <a:lnTo>
                        <a:pt x="73819" y="12074"/>
                      </a:lnTo>
                      <a:lnTo>
                        <a:pt x="73756" y="12032"/>
                      </a:lnTo>
                      <a:lnTo>
                        <a:pt x="73756" y="11927"/>
                      </a:lnTo>
                      <a:lnTo>
                        <a:pt x="73861" y="11927"/>
                      </a:lnTo>
                      <a:lnTo>
                        <a:pt x="74070" y="11760"/>
                      </a:lnTo>
                      <a:lnTo>
                        <a:pt x="73986" y="11697"/>
                      </a:lnTo>
                      <a:lnTo>
                        <a:pt x="74028" y="11655"/>
                      </a:lnTo>
                      <a:lnTo>
                        <a:pt x="74174" y="11655"/>
                      </a:lnTo>
                      <a:lnTo>
                        <a:pt x="74342" y="11550"/>
                      </a:lnTo>
                      <a:lnTo>
                        <a:pt x="74300" y="11467"/>
                      </a:lnTo>
                      <a:lnTo>
                        <a:pt x="74321" y="11404"/>
                      </a:lnTo>
                      <a:lnTo>
                        <a:pt x="74405" y="11467"/>
                      </a:lnTo>
                      <a:lnTo>
                        <a:pt x="74426" y="11571"/>
                      </a:lnTo>
                      <a:lnTo>
                        <a:pt x="74530" y="11592"/>
                      </a:lnTo>
                      <a:lnTo>
                        <a:pt x="74614" y="11550"/>
                      </a:lnTo>
                      <a:lnTo>
                        <a:pt x="74739" y="11613"/>
                      </a:lnTo>
                      <a:lnTo>
                        <a:pt x="75158" y="11613"/>
                      </a:lnTo>
                      <a:lnTo>
                        <a:pt x="75242" y="11676"/>
                      </a:lnTo>
                      <a:lnTo>
                        <a:pt x="75283" y="11655"/>
                      </a:lnTo>
                      <a:lnTo>
                        <a:pt x="75242" y="11488"/>
                      </a:lnTo>
                      <a:lnTo>
                        <a:pt x="75137" y="11404"/>
                      </a:lnTo>
                      <a:lnTo>
                        <a:pt x="75137" y="11362"/>
                      </a:lnTo>
                      <a:lnTo>
                        <a:pt x="75221" y="11341"/>
                      </a:lnTo>
                      <a:lnTo>
                        <a:pt x="75221" y="10986"/>
                      </a:lnTo>
                      <a:lnTo>
                        <a:pt x="75053" y="10755"/>
                      </a:lnTo>
                      <a:lnTo>
                        <a:pt x="74928" y="10734"/>
                      </a:lnTo>
                      <a:lnTo>
                        <a:pt x="74760" y="10525"/>
                      </a:lnTo>
                      <a:lnTo>
                        <a:pt x="74844" y="10442"/>
                      </a:lnTo>
                      <a:lnTo>
                        <a:pt x="74677" y="10316"/>
                      </a:lnTo>
                      <a:lnTo>
                        <a:pt x="74426" y="10253"/>
                      </a:lnTo>
                      <a:lnTo>
                        <a:pt x="74153" y="10086"/>
                      </a:lnTo>
                      <a:lnTo>
                        <a:pt x="74049" y="9918"/>
                      </a:lnTo>
                      <a:lnTo>
                        <a:pt x="74028" y="10023"/>
                      </a:lnTo>
                      <a:lnTo>
                        <a:pt x="73944" y="10002"/>
                      </a:lnTo>
                      <a:lnTo>
                        <a:pt x="73902" y="10023"/>
                      </a:lnTo>
                      <a:lnTo>
                        <a:pt x="73881" y="10149"/>
                      </a:lnTo>
                      <a:lnTo>
                        <a:pt x="73735" y="10190"/>
                      </a:lnTo>
                      <a:lnTo>
                        <a:pt x="73693" y="10107"/>
                      </a:lnTo>
                      <a:lnTo>
                        <a:pt x="73693" y="9981"/>
                      </a:lnTo>
                      <a:lnTo>
                        <a:pt x="73819" y="9897"/>
                      </a:lnTo>
                      <a:lnTo>
                        <a:pt x="73735" y="9793"/>
                      </a:lnTo>
                      <a:lnTo>
                        <a:pt x="73777" y="9730"/>
                      </a:lnTo>
                      <a:lnTo>
                        <a:pt x="73840" y="9730"/>
                      </a:lnTo>
                      <a:lnTo>
                        <a:pt x="73923" y="9814"/>
                      </a:lnTo>
                      <a:lnTo>
                        <a:pt x="73693" y="9458"/>
                      </a:lnTo>
                      <a:lnTo>
                        <a:pt x="73526" y="9312"/>
                      </a:lnTo>
                      <a:lnTo>
                        <a:pt x="73526" y="9479"/>
                      </a:lnTo>
                      <a:lnTo>
                        <a:pt x="73526" y="9521"/>
                      </a:lnTo>
                      <a:lnTo>
                        <a:pt x="73463" y="9521"/>
                      </a:lnTo>
                      <a:lnTo>
                        <a:pt x="73254" y="9312"/>
                      </a:lnTo>
                      <a:lnTo>
                        <a:pt x="73254" y="9207"/>
                      </a:lnTo>
                      <a:lnTo>
                        <a:pt x="73358" y="9249"/>
                      </a:lnTo>
                      <a:lnTo>
                        <a:pt x="73296" y="9144"/>
                      </a:lnTo>
                      <a:lnTo>
                        <a:pt x="73003" y="8893"/>
                      </a:lnTo>
                      <a:lnTo>
                        <a:pt x="72961" y="8893"/>
                      </a:lnTo>
                      <a:lnTo>
                        <a:pt x="72982" y="8977"/>
                      </a:lnTo>
                      <a:lnTo>
                        <a:pt x="72940" y="9081"/>
                      </a:lnTo>
                      <a:lnTo>
                        <a:pt x="72773" y="9102"/>
                      </a:lnTo>
                      <a:lnTo>
                        <a:pt x="72647" y="8977"/>
                      </a:lnTo>
                      <a:lnTo>
                        <a:pt x="72521" y="8956"/>
                      </a:lnTo>
                      <a:lnTo>
                        <a:pt x="72375" y="8726"/>
                      </a:lnTo>
                      <a:lnTo>
                        <a:pt x="72375" y="8642"/>
                      </a:lnTo>
                      <a:lnTo>
                        <a:pt x="72312" y="8579"/>
                      </a:lnTo>
                      <a:lnTo>
                        <a:pt x="72208" y="8621"/>
                      </a:lnTo>
                      <a:lnTo>
                        <a:pt x="72019" y="8768"/>
                      </a:lnTo>
                      <a:lnTo>
                        <a:pt x="72019" y="8830"/>
                      </a:lnTo>
                      <a:lnTo>
                        <a:pt x="71915" y="8789"/>
                      </a:lnTo>
                      <a:lnTo>
                        <a:pt x="71831" y="8851"/>
                      </a:lnTo>
                      <a:lnTo>
                        <a:pt x="71831" y="9081"/>
                      </a:lnTo>
                      <a:lnTo>
                        <a:pt x="71894" y="9144"/>
                      </a:lnTo>
                      <a:lnTo>
                        <a:pt x="71894" y="9144"/>
                      </a:lnTo>
                      <a:lnTo>
                        <a:pt x="71789" y="9081"/>
                      </a:lnTo>
                      <a:lnTo>
                        <a:pt x="71705" y="8872"/>
                      </a:lnTo>
                      <a:lnTo>
                        <a:pt x="71747" y="8726"/>
                      </a:lnTo>
                      <a:lnTo>
                        <a:pt x="71580" y="8621"/>
                      </a:lnTo>
                      <a:lnTo>
                        <a:pt x="71517" y="8454"/>
                      </a:lnTo>
                      <a:lnTo>
                        <a:pt x="71475" y="8454"/>
                      </a:lnTo>
                      <a:lnTo>
                        <a:pt x="71580" y="8433"/>
                      </a:lnTo>
                      <a:lnTo>
                        <a:pt x="71685" y="8558"/>
                      </a:lnTo>
                      <a:lnTo>
                        <a:pt x="71685" y="8433"/>
                      </a:lnTo>
                      <a:lnTo>
                        <a:pt x="71810" y="8433"/>
                      </a:lnTo>
                      <a:lnTo>
                        <a:pt x="71915" y="8475"/>
                      </a:lnTo>
                      <a:lnTo>
                        <a:pt x="72061" y="8370"/>
                      </a:lnTo>
                      <a:lnTo>
                        <a:pt x="72019" y="8265"/>
                      </a:lnTo>
                      <a:lnTo>
                        <a:pt x="71705" y="8140"/>
                      </a:lnTo>
                      <a:lnTo>
                        <a:pt x="71622" y="8265"/>
                      </a:lnTo>
                      <a:lnTo>
                        <a:pt x="71475" y="8265"/>
                      </a:lnTo>
                      <a:lnTo>
                        <a:pt x="71329" y="8224"/>
                      </a:lnTo>
                      <a:lnTo>
                        <a:pt x="71475" y="8224"/>
                      </a:lnTo>
                      <a:lnTo>
                        <a:pt x="71580" y="8098"/>
                      </a:lnTo>
                      <a:lnTo>
                        <a:pt x="71685" y="8056"/>
                      </a:lnTo>
                      <a:lnTo>
                        <a:pt x="71789" y="8119"/>
                      </a:lnTo>
                      <a:lnTo>
                        <a:pt x="71936" y="8140"/>
                      </a:lnTo>
                      <a:lnTo>
                        <a:pt x="72061" y="8245"/>
                      </a:lnTo>
                      <a:lnTo>
                        <a:pt x="72229" y="8433"/>
                      </a:lnTo>
                      <a:lnTo>
                        <a:pt x="72354" y="8433"/>
                      </a:lnTo>
                      <a:lnTo>
                        <a:pt x="72417" y="8537"/>
                      </a:lnTo>
                      <a:lnTo>
                        <a:pt x="72480" y="8558"/>
                      </a:lnTo>
                      <a:lnTo>
                        <a:pt x="72626" y="8475"/>
                      </a:lnTo>
                      <a:lnTo>
                        <a:pt x="72668" y="8558"/>
                      </a:lnTo>
                      <a:lnTo>
                        <a:pt x="72940" y="8349"/>
                      </a:lnTo>
                      <a:lnTo>
                        <a:pt x="72961" y="8391"/>
                      </a:lnTo>
                      <a:lnTo>
                        <a:pt x="72940" y="8496"/>
                      </a:lnTo>
                      <a:lnTo>
                        <a:pt x="73045" y="8433"/>
                      </a:lnTo>
                      <a:lnTo>
                        <a:pt x="73045" y="8286"/>
                      </a:lnTo>
                      <a:lnTo>
                        <a:pt x="73170" y="8077"/>
                      </a:lnTo>
                      <a:lnTo>
                        <a:pt x="73149" y="8014"/>
                      </a:lnTo>
                      <a:lnTo>
                        <a:pt x="73149" y="7847"/>
                      </a:lnTo>
                      <a:lnTo>
                        <a:pt x="73086" y="7617"/>
                      </a:lnTo>
                      <a:lnTo>
                        <a:pt x="73191" y="7240"/>
                      </a:lnTo>
                      <a:lnTo>
                        <a:pt x="73191" y="7010"/>
                      </a:lnTo>
                      <a:lnTo>
                        <a:pt x="73086" y="6884"/>
                      </a:lnTo>
                      <a:lnTo>
                        <a:pt x="73045" y="6759"/>
                      </a:lnTo>
                      <a:lnTo>
                        <a:pt x="72877" y="6612"/>
                      </a:lnTo>
                      <a:lnTo>
                        <a:pt x="72793" y="6445"/>
                      </a:lnTo>
                      <a:lnTo>
                        <a:pt x="72856" y="6445"/>
                      </a:lnTo>
                      <a:lnTo>
                        <a:pt x="72961" y="6571"/>
                      </a:lnTo>
                      <a:lnTo>
                        <a:pt x="72982" y="6571"/>
                      </a:lnTo>
                      <a:lnTo>
                        <a:pt x="72940" y="6403"/>
                      </a:lnTo>
                      <a:lnTo>
                        <a:pt x="72773" y="6340"/>
                      </a:lnTo>
                      <a:lnTo>
                        <a:pt x="72647" y="6382"/>
                      </a:lnTo>
                      <a:lnTo>
                        <a:pt x="72417" y="6340"/>
                      </a:lnTo>
                      <a:lnTo>
                        <a:pt x="72103" y="5943"/>
                      </a:lnTo>
                      <a:lnTo>
                        <a:pt x="72019" y="5880"/>
                      </a:lnTo>
                      <a:lnTo>
                        <a:pt x="72040" y="5817"/>
                      </a:lnTo>
                      <a:lnTo>
                        <a:pt x="72208" y="5817"/>
                      </a:lnTo>
                      <a:lnTo>
                        <a:pt x="72249" y="5671"/>
                      </a:lnTo>
                      <a:lnTo>
                        <a:pt x="72166" y="5608"/>
                      </a:lnTo>
                      <a:lnTo>
                        <a:pt x="72040" y="5608"/>
                      </a:lnTo>
                      <a:lnTo>
                        <a:pt x="71998" y="5545"/>
                      </a:lnTo>
                      <a:lnTo>
                        <a:pt x="72061" y="5504"/>
                      </a:lnTo>
                      <a:lnTo>
                        <a:pt x="72019" y="5336"/>
                      </a:lnTo>
                      <a:lnTo>
                        <a:pt x="72040" y="5315"/>
                      </a:lnTo>
                      <a:lnTo>
                        <a:pt x="72166" y="5462"/>
                      </a:lnTo>
                      <a:lnTo>
                        <a:pt x="72354" y="5566"/>
                      </a:lnTo>
                      <a:lnTo>
                        <a:pt x="72375" y="5504"/>
                      </a:lnTo>
                      <a:lnTo>
                        <a:pt x="72312" y="5420"/>
                      </a:lnTo>
                      <a:lnTo>
                        <a:pt x="72312" y="5315"/>
                      </a:lnTo>
                      <a:lnTo>
                        <a:pt x="72270" y="5232"/>
                      </a:lnTo>
                      <a:lnTo>
                        <a:pt x="72333" y="5190"/>
                      </a:lnTo>
                      <a:lnTo>
                        <a:pt x="72375" y="5252"/>
                      </a:lnTo>
                      <a:lnTo>
                        <a:pt x="72417" y="5336"/>
                      </a:lnTo>
                      <a:lnTo>
                        <a:pt x="72521" y="5357"/>
                      </a:lnTo>
                      <a:lnTo>
                        <a:pt x="72563" y="5650"/>
                      </a:lnTo>
                      <a:lnTo>
                        <a:pt x="72542" y="5734"/>
                      </a:lnTo>
                      <a:lnTo>
                        <a:pt x="72835" y="5943"/>
                      </a:lnTo>
                      <a:lnTo>
                        <a:pt x="72940" y="5880"/>
                      </a:lnTo>
                      <a:lnTo>
                        <a:pt x="73065" y="5943"/>
                      </a:lnTo>
                      <a:lnTo>
                        <a:pt x="73065" y="6152"/>
                      </a:lnTo>
                      <a:lnTo>
                        <a:pt x="73170" y="6152"/>
                      </a:lnTo>
                      <a:lnTo>
                        <a:pt x="73379" y="5859"/>
                      </a:lnTo>
                      <a:lnTo>
                        <a:pt x="73421" y="5734"/>
                      </a:lnTo>
                      <a:lnTo>
                        <a:pt x="73379" y="5608"/>
                      </a:lnTo>
                      <a:lnTo>
                        <a:pt x="73400" y="5357"/>
                      </a:lnTo>
                      <a:lnTo>
                        <a:pt x="73379" y="5252"/>
                      </a:lnTo>
                      <a:lnTo>
                        <a:pt x="73421" y="5357"/>
                      </a:lnTo>
                      <a:lnTo>
                        <a:pt x="73421" y="5524"/>
                      </a:lnTo>
                      <a:lnTo>
                        <a:pt x="73505" y="5524"/>
                      </a:lnTo>
                      <a:lnTo>
                        <a:pt x="73609" y="5420"/>
                      </a:lnTo>
                      <a:lnTo>
                        <a:pt x="73798" y="5357"/>
                      </a:lnTo>
                      <a:lnTo>
                        <a:pt x="73819" y="5232"/>
                      </a:lnTo>
                      <a:lnTo>
                        <a:pt x="74007" y="5294"/>
                      </a:lnTo>
                      <a:lnTo>
                        <a:pt x="73986" y="5336"/>
                      </a:lnTo>
                      <a:lnTo>
                        <a:pt x="74007" y="5399"/>
                      </a:lnTo>
                      <a:lnTo>
                        <a:pt x="74300" y="5608"/>
                      </a:lnTo>
                      <a:lnTo>
                        <a:pt x="74342" y="5629"/>
                      </a:lnTo>
                      <a:lnTo>
                        <a:pt x="74405" y="5776"/>
                      </a:lnTo>
                      <a:lnTo>
                        <a:pt x="74405" y="5838"/>
                      </a:lnTo>
                      <a:lnTo>
                        <a:pt x="74446" y="5859"/>
                      </a:lnTo>
                      <a:lnTo>
                        <a:pt x="74698" y="5817"/>
                      </a:lnTo>
                      <a:lnTo>
                        <a:pt x="74739" y="5838"/>
                      </a:lnTo>
                      <a:lnTo>
                        <a:pt x="74739" y="5880"/>
                      </a:lnTo>
                      <a:lnTo>
                        <a:pt x="74760" y="5880"/>
                      </a:lnTo>
                      <a:lnTo>
                        <a:pt x="74865" y="5776"/>
                      </a:lnTo>
                      <a:lnTo>
                        <a:pt x="74823" y="5671"/>
                      </a:lnTo>
                      <a:lnTo>
                        <a:pt x="74844" y="5650"/>
                      </a:lnTo>
                      <a:lnTo>
                        <a:pt x="74928" y="5650"/>
                      </a:lnTo>
                      <a:lnTo>
                        <a:pt x="74886" y="5504"/>
                      </a:lnTo>
                      <a:lnTo>
                        <a:pt x="74970" y="5524"/>
                      </a:lnTo>
                      <a:lnTo>
                        <a:pt x="75032" y="5608"/>
                      </a:lnTo>
                      <a:lnTo>
                        <a:pt x="74990" y="5671"/>
                      </a:lnTo>
                      <a:lnTo>
                        <a:pt x="75095" y="5671"/>
                      </a:lnTo>
                      <a:lnTo>
                        <a:pt x="75200" y="5629"/>
                      </a:lnTo>
                      <a:lnTo>
                        <a:pt x="75472" y="5650"/>
                      </a:lnTo>
                      <a:lnTo>
                        <a:pt x="75555" y="5713"/>
                      </a:lnTo>
                      <a:lnTo>
                        <a:pt x="75618" y="5713"/>
                      </a:lnTo>
                      <a:lnTo>
                        <a:pt x="75660" y="5755"/>
                      </a:lnTo>
                      <a:lnTo>
                        <a:pt x="75702" y="5755"/>
                      </a:lnTo>
                      <a:lnTo>
                        <a:pt x="75786" y="5671"/>
                      </a:lnTo>
                      <a:lnTo>
                        <a:pt x="75723" y="5462"/>
                      </a:lnTo>
                      <a:lnTo>
                        <a:pt x="75786" y="5504"/>
                      </a:lnTo>
                      <a:lnTo>
                        <a:pt x="75911" y="5671"/>
                      </a:lnTo>
                      <a:lnTo>
                        <a:pt x="76078" y="5608"/>
                      </a:lnTo>
                      <a:lnTo>
                        <a:pt x="76078" y="5524"/>
                      </a:lnTo>
                      <a:lnTo>
                        <a:pt x="75995" y="5357"/>
                      </a:lnTo>
                      <a:lnTo>
                        <a:pt x="75869" y="5378"/>
                      </a:lnTo>
                      <a:lnTo>
                        <a:pt x="75744" y="5294"/>
                      </a:lnTo>
                      <a:lnTo>
                        <a:pt x="75806" y="5190"/>
                      </a:lnTo>
                      <a:lnTo>
                        <a:pt x="75911" y="5232"/>
                      </a:lnTo>
                      <a:lnTo>
                        <a:pt x="75995" y="5211"/>
                      </a:lnTo>
                      <a:lnTo>
                        <a:pt x="75995" y="5064"/>
                      </a:lnTo>
                      <a:lnTo>
                        <a:pt x="75890" y="5022"/>
                      </a:lnTo>
                      <a:lnTo>
                        <a:pt x="75806" y="4980"/>
                      </a:lnTo>
                      <a:lnTo>
                        <a:pt x="75744" y="5022"/>
                      </a:lnTo>
                      <a:lnTo>
                        <a:pt x="75744" y="5127"/>
                      </a:lnTo>
                      <a:lnTo>
                        <a:pt x="75681" y="5064"/>
                      </a:lnTo>
                      <a:lnTo>
                        <a:pt x="75555" y="5085"/>
                      </a:lnTo>
                      <a:lnTo>
                        <a:pt x="75576" y="4918"/>
                      </a:lnTo>
                      <a:lnTo>
                        <a:pt x="75493" y="4855"/>
                      </a:lnTo>
                      <a:lnTo>
                        <a:pt x="75388" y="4876"/>
                      </a:lnTo>
                      <a:lnTo>
                        <a:pt x="75388" y="4980"/>
                      </a:lnTo>
                      <a:lnTo>
                        <a:pt x="75346" y="4897"/>
                      </a:lnTo>
                      <a:lnTo>
                        <a:pt x="75346" y="4813"/>
                      </a:lnTo>
                      <a:lnTo>
                        <a:pt x="75472" y="4771"/>
                      </a:lnTo>
                      <a:lnTo>
                        <a:pt x="75451" y="4583"/>
                      </a:lnTo>
                      <a:lnTo>
                        <a:pt x="75367" y="4562"/>
                      </a:lnTo>
                      <a:lnTo>
                        <a:pt x="75493" y="4457"/>
                      </a:lnTo>
                      <a:lnTo>
                        <a:pt x="75430" y="4290"/>
                      </a:lnTo>
                      <a:lnTo>
                        <a:pt x="75451" y="4227"/>
                      </a:lnTo>
                      <a:lnTo>
                        <a:pt x="75283" y="4081"/>
                      </a:lnTo>
                      <a:lnTo>
                        <a:pt x="75158" y="4102"/>
                      </a:lnTo>
                      <a:lnTo>
                        <a:pt x="75032" y="4248"/>
                      </a:lnTo>
                      <a:lnTo>
                        <a:pt x="75053" y="4060"/>
                      </a:lnTo>
                      <a:lnTo>
                        <a:pt x="75158" y="4018"/>
                      </a:lnTo>
                      <a:lnTo>
                        <a:pt x="75053" y="3851"/>
                      </a:lnTo>
                      <a:lnTo>
                        <a:pt x="75053" y="3746"/>
                      </a:lnTo>
                      <a:lnTo>
                        <a:pt x="75011" y="3746"/>
                      </a:lnTo>
                      <a:lnTo>
                        <a:pt x="74928" y="3830"/>
                      </a:lnTo>
                      <a:lnTo>
                        <a:pt x="74865" y="3746"/>
                      </a:lnTo>
                      <a:lnTo>
                        <a:pt x="74739" y="3746"/>
                      </a:lnTo>
                      <a:lnTo>
                        <a:pt x="74593" y="3767"/>
                      </a:lnTo>
                      <a:lnTo>
                        <a:pt x="74718" y="3662"/>
                      </a:lnTo>
                      <a:lnTo>
                        <a:pt x="74865" y="3662"/>
                      </a:lnTo>
                      <a:lnTo>
                        <a:pt x="75011" y="3558"/>
                      </a:lnTo>
                      <a:lnTo>
                        <a:pt x="75053" y="3620"/>
                      </a:lnTo>
                      <a:lnTo>
                        <a:pt x="75158" y="3432"/>
                      </a:lnTo>
                      <a:lnTo>
                        <a:pt x="75283" y="3411"/>
                      </a:lnTo>
                      <a:lnTo>
                        <a:pt x="75325" y="3307"/>
                      </a:lnTo>
                      <a:lnTo>
                        <a:pt x="75242" y="3202"/>
                      </a:lnTo>
                      <a:lnTo>
                        <a:pt x="74970" y="3139"/>
                      </a:lnTo>
                      <a:lnTo>
                        <a:pt x="75158" y="3118"/>
                      </a:lnTo>
                      <a:lnTo>
                        <a:pt x="75346" y="3118"/>
                      </a:lnTo>
                      <a:lnTo>
                        <a:pt x="75388" y="3035"/>
                      </a:lnTo>
                      <a:lnTo>
                        <a:pt x="75346" y="2909"/>
                      </a:lnTo>
                      <a:lnTo>
                        <a:pt x="75221" y="2867"/>
                      </a:lnTo>
                      <a:lnTo>
                        <a:pt x="75137" y="2721"/>
                      </a:lnTo>
                      <a:lnTo>
                        <a:pt x="75032" y="2763"/>
                      </a:lnTo>
                      <a:lnTo>
                        <a:pt x="75011" y="2679"/>
                      </a:lnTo>
                      <a:lnTo>
                        <a:pt x="75053" y="2511"/>
                      </a:lnTo>
                      <a:lnTo>
                        <a:pt x="74949" y="2198"/>
                      </a:lnTo>
                      <a:lnTo>
                        <a:pt x="74970" y="2135"/>
                      </a:lnTo>
                      <a:lnTo>
                        <a:pt x="75032" y="2051"/>
                      </a:lnTo>
                      <a:lnTo>
                        <a:pt x="75032" y="1967"/>
                      </a:lnTo>
                      <a:lnTo>
                        <a:pt x="74928" y="1905"/>
                      </a:lnTo>
                      <a:lnTo>
                        <a:pt x="74823" y="2051"/>
                      </a:lnTo>
                      <a:lnTo>
                        <a:pt x="74718" y="2135"/>
                      </a:lnTo>
                      <a:lnTo>
                        <a:pt x="74718" y="1967"/>
                      </a:lnTo>
                      <a:lnTo>
                        <a:pt x="74614" y="1967"/>
                      </a:lnTo>
                      <a:lnTo>
                        <a:pt x="74614" y="2051"/>
                      </a:lnTo>
                      <a:lnTo>
                        <a:pt x="74530" y="2072"/>
                      </a:lnTo>
                      <a:lnTo>
                        <a:pt x="74509" y="2030"/>
                      </a:lnTo>
                      <a:lnTo>
                        <a:pt x="74530" y="1884"/>
                      </a:lnTo>
                      <a:lnTo>
                        <a:pt x="74174" y="1842"/>
                      </a:lnTo>
                      <a:lnTo>
                        <a:pt x="74091" y="1884"/>
                      </a:lnTo>
                      <a:lnTo>
                        <a:pt x="73923" y="1863"/>
                      </a:lnTo>
                      <a:lnTo>
                        <a:pt x="73819" y="1758"/>
                      </a:lnTo>
                      <a:lnTo>
                        <a:pt x="73798" y="1716"/>
                      </a:lnTo>
                      <a:lnTo>
                        <a:pt x="73693" y="1675"/>
                      </a:lnTo>
                      <a:lnTo>
                        <a:pt x="73651" y="1716"/>
                      </a:lnTo>
                      <a:lnTo>
                        <a:pt x="73589" y="1633"/>
                      </a:lnTo>
                      <a:lnTo>
                        <a:pt x="73484" y="1633"/>
                      </a:lnTo>
                      <a:lnTo>
                        <a:pt x="73379" y="1779"/>
                      </a:lnTo>
                      <a:lnTo>
                        <a:pt x="73275" y="1821"/>
                      </a:lnTo>
                      <a:lnTo>
                        <a:pt x="73233" y="1842"/>
                      </a:lnTo>
                      <a:lnTo>
                        <a:pt x="73170" y="1884"/>
                      </a:lnTo>
                      <a:lnTo>
                        <a:pt x="73296" y="1884"/>
                      </a:lnTo>
                      <a:lnTo>
                        <a:pt x="73254" y="1967"/>
                      </a:lnTo>
                      <a:lnTo>
                        <a:pt x="73128" y="2051"/>
                      </a:lnTo>
                      <a:lnTo>
                        <a:pt x="73065" y="2051"/>
                      </a:lnTo>
                      <a:lnTo>
                        <a:pt x="73086" y="2156"/>
                      </a:lnTo>
                      <a:lnTo>
                        <a:pt x="73191" y="2239"/>
                      </a:lnTo>
                      <a:lnTo>
                        <a:pt x="73170" y="2281"/>
                      </a:lnTo>
                      <a:lnTo>
                        <a:pt x="73065" y="2260"/>
                      </a:lnTo>
                      <a:lnTo>
                        <a:pt x="72982" y="2051"/>
                      </a:lnTo>
                      <a:lnTo>
                        <a:pt x="73024" y="1988"/>
                      </a:lnTo>
                      <a:lnTo>
                        <a:pt x="73024" y="1988"/>
                      </a:lnTo>
                      <a:lnTo>
                        <a:pt x="72940" y="2030"/>
                      </a:lnTo>
                      <a:lnTo>
                        <a:pt x="72773" y="2239"/>
                      </a:lnTo>
                      <a:lnTo>
                        <a:pt x="72710" y="2386"/>
                      </a:lnTo>
                      <a:lnTo>
                        <a:pt x="72605" y="2491"/>
                      </a:lnTo>
                      <a:lnTo>
                        <a:pt x="72626" y="2553"/>
                      </a:lnTo>
                      <a:lnTo>
                        <a:pt x="72773" y="2407"/>
                      </a:lnTo>
                      <a:lnTo>
                        <a:pt x="72856" y="2407"/>
                      </a:lnTo>
                      <a:lnTo>
                        <a:pt x="72919" y="2511"/>
                      </a:lnTo>
                      <a:lnTo>
                        <a:pt x="73024" y="2616"/>
                      </a:lnTo>
                      <a:lnTo>
                        <a:pt x="73233" y="2783"/>
                      </a:lnTo>
                      <a:lnTo>
                        <a:pt x="73254" y="2909"/>
                      </a:lnTo>
                      <a:lnTo>
                        <a:pt x="73170" y="2993"/>
                      </a:lnTo>
                      <a:lnTo>
                        <a:pt x="73191" y="3097"/>
                      </a:lnTo>
                      <a:lnTo>
                        <a:pt x="73358" y="3076"/>
                      </a:lnTo>
                      <a:lnTo>
                        <a:pt x="73505" y="2993"/>
                      </a:lnTo>
                      <a:lnTo>
                        <a:pt x="73589" y="3097"/>
                      </a:lnTo>
                      <a:lnTo>
                        <a:pt x="73589" y="3202"/>
                      </a:lnTo>
                      <a:lnTo>
                        <a:pt x="73672" y="3390"/>
                      </a:lnTo>
                      <a:lnTo>
                        <a:pt x="73672" y="3432"/>
                      </a:lnTo>
                      <a:lnTo>
                        <a:pt x="73568" y="3327"/>
                      </a:lnTo>
                      <a:lnTo>
                        <a:pt x="73484" y="3181"/>
                      </a:lnTo>
                      <a:lnTo>
                        <a:pt x="73400" y="3139"/>
                      </a:lnTo>
                      <a:lnTo>
                        <a:pt x="73358" y="3244"/>
                      </a:lnTo>
                      <a:lnTo>
                        <a:pt x="73379" y="3348"/>
                      </a:lnTo>
                      <a:lnTo>
                        <a:pt x="73442" y="3390"/>
                      </a:lnTo>
                      <a:lnTo>
                        <a:pt x="73400" y="3411"/>
                      </a:lnTo>
                      <a:lnTo>
                        <a:pt x="73296" y="3390"/>
                      </a:lnTo>
                      <a:lnTo>
                        <a:pt x="73191" y="3223"/>
                      </a:lnTo>
                      <a:lnTo>
                        <a:pt x="73045" y="3202"/>
                      </a:lnTo>
                      <a:lnTo>
                        <a:pt x="72940" y="3307"/>
                      </a:lnTo>
                      <a:lnTo>
                        <a:pt x="72856" y="3286"/>
                      </a:lnTo>
                      <a:lnTo>
                        <a:pt x="72835" y="3139"/>
                      </a:lnTo>
                      <a:lnTo>
                        <a:pt x="72877" y="3097"/>
                      </a:lnTo>
                      <a:lnTo>
                        <a:pt x="72814" y="2972"/>
                      </a:lnTo>
                      <a:lnTo>
                        <a:pt x="72710" y="2888"/>
                      </a:lnTo>
                      <a:lnTo>
                        <a:pt x="72668" y="2763"/>
                      </a:lnTo>
                      <a:lnTo>
                        <a:pt x="72459" y="2700"/>
                      </a:lnTo>
                      <a:lnTo>
                        <a:pt x="72291" y="2365"/>
                      </a:lnTo>
                      <a:lnTo>
                        <a:pt x="72187" y="2239"/>
                      </a:lnTo>
                      <a:lnTo>
                        <a:pt x="72208" y="2177"/>
                      </a:lnTo>
                      <a:lnTo>
                        <a:pt x="72124" y="2093"/>
                      </a:lnTo>
                      <a:lnTo>
                        <a:pt x="72019" y="2072"/>
                      </a:lnTo>
                      <a:lnTo>
                        <a:pt x="72019" y="2072"/>
                      </a:lnTo>
                      <a:lnTo>
                        <a:pt x="72040" y="2135"/>
                      </a:lnTo>
                      <a:lnTo>
                        <a:pt x="72019" y="2239"/>
                      </a:lnTo>
                      <a:lnTo>
                        <a:pt x="71977" y="2198"/>
                      </a:lnTo>
                      <a:lnTo>
                        <a:pt x="71915" y="2072"/>
                      </a:lnTo>
                      <a:lnTo>
                        <a:pt x="71685" y="1947"/>
                      </a:lnTo>
                      <a:lnTo>
                        <a:pt x="71559" y="1926"/>
                      </a:lnTo>
                      <a:lnTo>
                        <a:pt x="71454" y="1947"/>
                      </a:lnTo>
                      <a:lnTo>
                        <a:pt x="71475" y="2030"/>
                      </a:lnTo>
                      <a:lnTo>
                        <a:pt x="71580" y="2072"/>
                      </a:lnTo>
                      <a:lnTo>
                        <a:pt x="71789" y="2156"/>
                      </a:lnTo>
                      <a:lnTo>
                        <a:pt x="71622" y="2198"/>
                      </a:lnTo>
                      <a:lnTo>
                        <a:pt x="71413" y="2135"/>
                      </a:lnTo>
                      <a:lnTo>
                        <a:pt x="71308" y="2030"/>
                      </a:lnTo>
                      <a:lnTo>
                        <a:pt x="71350" y="1947"/>
                      </a:lnTo>
                      <a:lnTo>
                        <a:pt x="71287" y="1926"/>
                      </a:lnTo>
                      <a:lnTo>
                        <a:pt x="71099" y="1926"/>
                      </a:lnTo>
                      <a:lnTo>
                        <a:pt x="71161" y="1947"/>
                      </a:lnTo>
                      <a:lnTo>
                        <a:pt x="71161" y="1988"/>
                      </a:lnTo>
                      <a:lnTo>
                        <a:pt x="70994" y="2051"/>
                      </a:lnTo>
                      <a:lnTo>
                        <a:pt x="70931" y="1947"/>
                      </a:lnTo>
                      <a:lnTo>
                        <a:pt x="70952" y="1884"/>
                      </a:lnTo>
                      <a:lnTo>
                        <a:pt x="70764" y="1863"/>
                      </a:lnTo>
                      <a:lnTo>
                        <a:pt x="70722" y="1884"/>
                      </a:lnTo>
                      <a:lnTo>
                        <a:pt x="70743" y="1988"/>
                      </a:lnTo>
                      <a:lnTo>
                        <a:pt x="70638" y="1967"/>
                      </a:lnTo>
                      <a:lnTo>
                        <a:pt x="70576" y="1863"/>
                      </a:lnTo>
                      <a:lnTo>
                        <a:pt x="70429" y="1863"/>
                      </a:lnTo>
                      <a:lnTo>
                        <a:pt x="70471" y="1967"/>
                      </a:lnTo>
                      <a:lnTo>
                        <a:pt x="70471" y="1967"/>
                      </a:lnTo>
                      <a:lnTo>
                        <a:pt x="69990" y="1863"/>
                      </a:lnTo>
                      <a:lnTo>
                        <a:pt x="69843" y="1926"/>
                      </a:lnTo>
                      <a:lnTo>
                        <a:pt x="69676" y="1842"/>
                      </a:lnTo>
                      <a:lnTo>
                        <a:pt x="69676" y="1758"/>
                      </a:lnTo>
                      <a:lnTo>
                        <a:pt x="69508" y="1716"/>
                      </a:lnTo>
                      <a:lnTo>
                        <a:pt x="69488" y="1737"/>
                      </a:lnTo>
                      <a:lnTo>
                        <a:pt x="69488" y="1779"/>
                      </a:lnTo>
                      <a:lnTo>
                        <a:pt x="69425" y="1737"/>
                      </a:lnTo>
                      <a:lnTo>
                        <a:pt x="69320" y="1716"/>
                      </a:lnTo>
                      <a:lnTo>
                        <a:pt x="69216" y="1633"/>
                      </a:lnTo>
                      <a:lnTo>
                        <a:pt x="69153" y="1654"/>
                      </a:lnTo>
                      <a:lnTo>
                        <a:pt x="69174" y="1758"/>
                      </a:lnTo>
                      <a:lnTo>
                        <a:pt x="69006" y="1758"/>
                      </a:lnTo>
                      <a:lnTo>
                        <a:pt x="68860" y="1779"/>
                      </a:lnTo>
                      <a:lnTo>
                        <a:pt x="68839" y="1884"/>
                      </a:lnTo>
                      <a:lnTo>
                        <a:pt x="68651" y="1884"/>
                      </a:lnTo>
                      <a:lnTo>
                        <a:pt x="68316" y="1758"/>
                      </a:lnTo>
                      <a:lnTo>
                        <a:pt x="68337" y="1716"/>
                      </a:lnTo>
                      <a:lnTo>
                        <a:pt x="68546" y="1779"/>
                      </a:lnTo>
                      <a:lnTo>
                        <a:pt x="68651" y="1842"/>
                      </a:lnTo>
                      <a:lnTo>
                        <a:pt x="68672" y="1779"/>
                      </a:lnTo>
                      <a:lnTo>
                        <a:pt x="68337" y="1549"/>
                      </a:lnTo>
                      <a:lnTo>
                        <a:pt x="67939" y="1507"/>
                      </a:lnTo>
                      <a:lnTo>
                        <a:pt x="67793" y="1549"/>
                      </a:lnTo>
                      <a:lnTo>
                        <a:pt x="67730" y="1507"/>
                      </a:lnTo>
                      <a:lnTo>
                        <a:pt x="67793" y="1444"/>
                      </a:lnTo>
                      <a:lnTo>
                        <a:pt x="67688" y="1402"/>
                      </a:lnTo>
                      <a:lnTo>
                        <a:pt x="67542" y="1423"/>
                      </a:lnTo>
                      <a:lnTo>
                        <a:pt x="67604" y="1444"/>
                      </a:lnTo>
                      <a:lnTo>
                        <a:pt x="67521" y="1465"/>
                      </a:lnTo>
                      <a:lnTo>
                        <a:pt x="67395" y="1423"/>
                      </a:lnTo>
                      <a:lnTo>
                        <a:pt x="67019" y="1319"/>
                      </a:lnTo>
                      <a:lnTo>
                        <a:pt x="66851" y="1340"/>
                      </a:lnTo>
                      <a:lnTo>
                        <a:pt x="66788" y="1423"/>
                      </a:lnTo>
                      <a:lnTo>
                        <a:pt x="66705" y="1402"/>
                      </a:lnTo>
                      <a:lnTo>
                        <a:pt x="66663" y="1319"/>
                      </a:lnTo>
                      <a:lnTo>
                        <a:pt x="66558" y="1361"/>
                      </a:lnTo>
                      <a:lnTo>
                        <a:pt x="66349" y="1361"/>
                      </a:lnTo>
                      <a:lnTo>
                        <a:pt x="66244" y="1298"/>
                      </a:lnTo>
                      <a:lnTo>
                        <a:pt x="66161" y="1319"/>
                      </a:lnTo>
                      <a:lnTo>
                        <a:pt x="66014" y="1340"/>
                      </a:lnTo>
                      <a:lnTo>
                        <a:pt x="65951" y="1319"/>
                      </a:lnTo>
                      <a:lnTo>
                        <a:pt x="65847" y="1402"/>
                      </a:lnTo>
                      <a:lnTo>
                        <a:pt x="65826" y="1507"/>
                      </a:lnTo>
                      <a:lnTo>
                        <a:pt x="65763" y="1402"/>
                      </a:lnTo>
                      <a:lnTo>
                        <a:pt x="65303" y="1528"/>
                      </a:lnTo>
                      <a:lnTo>
                        <a:pt x="65303" y="1633"/>
                      </a:lnTo>
                      <a:lnTo>
                        <a:pt x="65198" y="1612"/>
                      </a:lnTo>
                      <a:lnTo>
                        <a:pt x="65135" y="1737"/>
                      </a:lnTo>
                      <a:lnTo>
                        <a:pt x="65094" y="1737"/>
                      </a:lnTo>
                      <a:lnTo>
                        <a:pt x="65031" y="1654"/>
                      </a:lnTo>
                      <a:lnTo>
                        <a:pt x="64884" y="1675"/>
                      </a:lnTo>
                      <a:lnTo>
                        <a:pt x="64884" y="1779"/>
                      </a:lnTo>
                      <a:lnTo>
                        <a:pt x="64801" y="1779"/>
                      </a:lnTo>
                      <a:lnTo>
                        <a:pt x="64696" y="1842"/>
                      </a:lnTo>
                      <a:lnTo>
                        <a:pt x="64529" y="1737"/>
                      </a:lnTo>
                      <a:lnTo>
                        <a:pt x="64403" y="1779"/>
                      </a:lnTo>
                      <a:lnTo>
                        <a:pt x="64403" y="1863"/>
                      </a:lnTo>
                      <a:lnTo>
                        <a:pt x="64152" y="1863"/>
                      </a:lnTo>
                      <a:lnTo>
                        <a:pt x="63838" y="1884"/>
                      </a:lnTo>
                      <a:lnTo>
                        <a:pt x="63754" y="1842"/>
                      </a:lnTo>
                      <a:lnTo>
                        <a:pt x="63482" y="1884"/>
                      </a:lnTo>
                      <a:lnTo>
                        <a:pt x="63462" y="1905"/>
                      </a:lnTo>
                      <a:lnTo>
                        <a:pt x="63629" y="2009"/>
                      </a:lnTo>
                      <a:lnTo>
                        <a:pt x="63692" y="2198"/>
                      </a:lnTo>
                      <a:lnTo>
                        <a:pt x="63775" y="2260"/>
                      </a:lnTo>
                      <a:lnTo>
                        <a:pt x="63796" y="2386"/>
                      </a:lnTo>
                      <a:lnTo>
                        <a:pt x="63880" y="2574"/>
                      </a:lnTo>
                      <a:lnTo>
                        <a:pt x="63838" y="2637"/>
                      </a:lnTo>
                      <a:lnTo>
                        <a:pt x="63838" y="2804"/>
                      </a:lnTo>
                      <a:lnTo>
                        <a:pt x="63880" y="2804"/>
                      </a:lnTo>
                      <a:lnTo>
                        <a:pt x="63985" y="2700"/>
                      </a:lnTo>
                      <a:lnTo>
                        <a:pt x="64194" y="2804"/>
                      </a:lnTo>
                      <a:lnTo>
                        <a:pt x="64257" y="2888"/>
                      </a:lnTo>
                      <a:lnTo>
                        <a:pt x="64319" y="2909"/>
                      </a:lnTo>
                      <a:lnTo>
                        <a:pt x="64529" y="3118"/>
                      </a:lnTo>
                      <a:lnTo>
                        <a:pt x="64570" y="3307"/>
                      </a:lnTo>
                      <a:lnTo>
                        <a:pt x="64717" y="3348"/>
                      </a:lnTo>
                      <a:lnTo>
                        <a:pt x="64822" y="3516"/>
                      </a:lnTo>
                      <a:lnTo>
                        <a:pt x="64822" y="3579"/>
                      </a:lnTo>
                      <a:lnTo>
                        <a:pt x="64842" y="3662"/>
                      </a:lnTo>
                      <a:lnTo>
                        <a:pt x="64801" y="3725"/>
                      </a:lnTo>
                      <a:lnTo>
                        <a:pt x="64884" y="3830"/>
                      </a:lnTo>
                      <a:lnTo>
                        <a:pt x="64822" y="3871"/>
                      </a:lnTo>
                      <a:lnTo>
                        <a:pt x="64738" y="3851"/>
                      </a:lnTo>
                      <a:lnTo>
                        <a:pt x="64612" y="3934"/>
                      </a:lnTo>
                      <a:lnTo>
                        <a:pt x="64633" y="4039"/>
                      </a:lnTo>
                      <a:lnTo>
                        <a:pt x="64508" y="4060"/>
                      </a:lnTo>
                      <a:lnTo>
                        <a:pt x="64403" y="4143"/>
                      </a:lnTo>
                      <a:lnTo>
                        <a:pt x="64215" y="4102"/>
                      </a:lnTo>
                      <a:lnTo>
                        <a:pt x="64152" y="4039"/>
                      </a:lnTo>
                      <a:lnTo>
                        <a:pt x="64152" y="3892"/>
                      </a:lnTo>
                      <a:lnTo>
                        <a:pt x="63964" y="3641"/>
                      </a:lnTo>
                      <a:lnTo>
                        <a:pt x="63880" y="3641"/>
                      </a:lnTo>
                      <a:lnTo>
                        <a:pt x="63838" y="3662"/>
                      </a:lnTo>
                      <a:lnTo>
                        <a:pt x="63566" y="3620"/>
                      </a:lnTo>
                      <a:lnTo>
                        <a:pt x="63378" y="3641"/>
                      </a:lnTo>
                      <a:lnTo>
                        <a:pt x="63315" y="3579"/>
                      </a:lnTo>
                      <a:lnTo>
                        <a:pt x="63148" y="3411"/>
                      </a:lnTo>
                      <a:lnTo>
                        <a:pt x="63148" y="3286"/>
                      </a:lnTo>
                      <a:lnTo>
                        <a:pt x="63043" y="3202"/>
                      </a:lnTo>
                      <a:lnTo>
                        <a:pt x="62897" y="3181"/>
                      </a:lnTo>
                      <a:lnTo>
                        <a:pt x="62855" y="3097"/>
                      </a:lnTo>
                      <a:lnTo>
                        <a:pt x="62813" y="2951"/>
                      </a:lnTo>
                      <a:lnTo>
                        <a:pt x="62625" y="2909"/>
                      </a:lnTo>
                      <a:lnTo>
                        <a:pt x="62583" y="2951"/>
                      </a:lnTo>
                      <a:lnTo>
                        <a:pt x="62583" y="3097"/>
                      </a:lnTo>
                      <a:lnTo>
                        <a:pt x="62583" y="3244"/>
                      </a:lnTo>
                      <a:lnTo>
                        <a:pt x="62604" y="3327"/>
                      </a:lnTo>
                      <a:lnTo>
                        <a:pt x="62478" y="3516"/>
                      </a:lnTo>
                      <a:lnTo>
                        <a:pt x="62415" y="3641"/>
                      </a:lnTo>
                      <a:lnTo>
                        <a:pt x="62332" y="3558"/>
                      </a:lnTo>
                      <a:lnTo>
                        <a:pt x="62311" y="3474"/>
                      </a:lnTo>
                      <a:lnTo>
                        <a:pt x="62269" y="3474"/>
                      </a:lnTo>
                      <a:lnTo>
                        <a:pt x="62164" y="3558"/>
                      </a:lnTo>
                      <a:lnTo>
                        <a:pt x="61913" y="3537"/>
                      </a:lnTo>
                      <a:lnTo>
                        <a:pt x="61704" y="3620"/>
                      </a:lnTo>
                      <a:lnTo>
                        <a:pt x="61641" y="3579"/>
                      </a:lnTo>
                      <a:lnTo>
                        <a:pt x="61474" y="3725"/>
                      </a:lnTo>
                      <a:lnTo>
                        <a:pt x="61327" y="3746"/>
                      </a:lnTo>
                      <a:lnTo>
                        <a:pt x="61223" y="3725"/>
                      </a:lnTo>
                      <a:lnTo>
                        <a:pt x="61118" y="3620"/>
                      </a:lnTo>
                      <a:lnTo>
                        <a:pt x="61034" y="3620"/>
                      </a:lnTo>
                      <a:lnTo>
                        <a:pt x="60972" y="3662"/>
                      </a:lnTo>
                      <a:lnTo>
                        <a:pt x="61013" y="3746"/>
                      </a:lnTo>
                      <a:lnTo>
                        <a:pt x="60804" y="3830"/>
                      </a:lnTo>
                      <a:lnTo>
                        <a:pt x="60700" y="3913"/>
                      </a:lnTo>
                      <a:lnTo>
                        <a:pt x="60449" y="3934"/>
                      </a:lnTo>
                      <a:lnTo>
                        <a:pt x="60323" y="4081"/>
                      </a:lnTo>
                      <a:lnTo>
                        <a:pt x="60323" y="4290"/>
                      </a:lnTo>
                      <a:lnTo>
                        <a:pt x="60323" y="4562"/>
                      </a:lnTo>
                      <a:lnTo>
                        <a:pt x="60532" y="4855"/>
                      </a:lnTo>
                      <a:lnTo>
                        <a:pt x="60553" y="5022"/>
                      </a:lnTo>
                      <a:lnTo>
                        <a:pt x="60407" y="4813"/>
                      </a:lnTo>
                      <a:lnTo>
                        <a:pt x="60281" y="4688"/>
                      </a:lnTo>
                      <a:lnTo>
                        <a:pt x="60177" y="4708"/>
                      </a:lnTo>
                      <a:lnTo>
                        <a:pt x="60030" y="4625"/>
                      </a:lnTo>
                      <a:lnTo>
                        <a:pt x="60072" y="4729"/>
                      </a:lnTo>
                      <a:lnTo>
                        <a:pt x="60177" y="4792"/>
                      </a:lnTo>
                      <a:lnTo>
                        <a:pt x="60218" y="4980"/>
                      </a:lnTo>
                      <a:lnTo>
                        <a:pt x="60218" y="5022"/>
                      </a:lnTo>
                      <a:lnTo>
                        <a:pt x="60072" y="4813"/>
                      </a:lnTo>
                      <a:lnTo>
                        <a:pt x="59967" y="4813"/>
                      </a:lnTo>
                      <a:lnTo>
                        <a:pt x="59925" y="4604"/>
                      </a:lnTo>
                      <a:lnTo>
                        <a:pt x="59758" y="4415"/>
                      </a:lnTo>
                      <a:lnTo>
                        <a:pt x="59674" y="4269"/>
                      </a:lnTo>
                      <a:lnTo>
                        <a:pt x="59570" y="4269"/>
                      </a:lnTo>
                      <a:lnTo>
                        <a:pt x="59612" y="4457"/>
                      </a:lnTo>
                      <a:lnTo>
                        <a:pt x="59591" y="4562"/>
                      </a:lnTo>
                      <a:lnTo>
                        <a:pt x="59549" y="4415"/>
                      </a:lnTo>
                      <a:lnTo>
                        <a:pt x="59402" y="4353"/>
                      </a:lnTo>
                      <a:lnTo>
                        <a:pt x="59256" y="4374"/>
                      </a:lnTo>
                      <a:lnTo>
                        <a:pt x="59256" y="4457"/>
                      </a:lnTo>
                      <a:lnTo>
                        <a:pt x="59172" y="4374"/>
                      </a:lnTo>
                      <a:lnTo>
                        <a:pt x="59026" y="4374"/>
                      </a:lnTo>
                      <a:lnTo>
                        <a:pt x="58879" y="4520"/>
                      </a:lnTo>
                      <a:lnTo>
                        <a:pt x="58754" y="4562"/>
                      </a:lnTo>
                      <a:lnTo>
                        <a:pt x="58837" y="4415"/>
                      </a:lnTo>
                      <a:lnTo>
                        <a:pt x="58837" y="4311"/>
                      </a:lnTo>
                      <a:lnTo>
                        <a:pt x="58712" y="4081"/>
                      </a:lnTo>
                      <a:lnTo>
                        <a:pt x="58712" y="3934"/>
                      </a:lnTo>
                      <a:lnTo>
                        <a:pt x="58649" y="3871"/>
                      </a:lnTo>
                      <a:lnTo>
                        <a:pt x="58649" y="3767"/>
                      </a:lnTo>
                      <a:lnTo>
                        <a:pt x="58544" y="3558"/>
                      </a:lnTo>
                      <a:lnTo>
                        <a:pt x="58335" y="3327"/>
                      </a:lnTo>
                      <a:lnTo>
                        <a:pt x="58105" y="3202"/>
                      </a:lnTo>
                      <a:lnTo>
                        <a:pt x="57875" y="2930"/>
                      </a:lnTo>
                      <a:lnTo>
                        <a:pt x="57310" y="2742"/>
                      </a:lnTo>
                      <a:lnTo>
                        <a:pt x="57038" y="2742"/>
                      </a:lnTo>
                      <a:lnTo>
                        <a:pt x="56892" y="2783"/>
                      </a:lnTo>
                      <a:lnTo>
                        <a:pt x="56661" y="2930"/>
                      </a:lnTo>
                      <a:lnTo>
                        <a:pt x="56661" y="2993"/>
                      </a:lnTo>
                      <a:lnTo>
                        <a:pt x="56536" y="2951"/>
                      </a:lnTo>
                      <a:lnTo>
                        <a:pt x="56327" y="3035"/>
                      </a:lnTo>
                      <a:lnTo>
                        <a:pt x="55887" y="3244"/>
                      </a:lnTo>
                      <a:lnTo>
                        <a:pt x="55720" y="3265"/>
                      </a:lnTo>
                      <a:lnTo>
                        <a:pt x="55531" y="3453"/>
                      </a:lnTo>
                      <a:lnTo>
                        <a:pt x="55427" y="3516"/>
                      </a:lnTo>
                      <a:lnTo>
                        <a:pt x="55197" y="3683"/>
                      </a:lnTo>
                      <a:lnTo>
                        <a:pt x="55071" y="3746"/>
                      </a:lnTo>
                      <a:lnTo>
                        <a:pt x="54946" y="3871"/>
                      </a:lnTo>
                      <a:lnTo>
                        <a:pt x="54757" y="3934"/>
                      </a:lnTo>
                      <a:lnTo>
                        <a:pt x="54590" y="3871"/>
                      </a:lnTo>
                      <a:lnTo>
                        <a:pt x="54360" y="3934"/>
                      </a:lnTo>
                      <a:lnTo>
                        <a:pt x="54213" y="3997"/>
                      </a:lnTo>
                      <a:lnTo>
                        <a:pt x="54339" y="3871"/>
                      </a:lnTo>
                      <a:lnTo>
                        <a:pt x="54527" y="3767"/>
                      </a:lnTo>
                      <a:lnTo>
                        <a:pt x="54548" y="3662"/>
                      </a:lnTo>
                      <a:lnTo>
                        <a:pt x="54381" y="3474"/>
                      </a:lnTo>
                      <a:lnTo>
                        <a:pt x="54109" y="3411"/>
                      </a:lnTo>
                      <a:lnTo>
                        <a:pt x="53837" y="3223"/>
                      </a:lnTo>
                      <a:lnTo>
                        <a:pt x="53753" y="3160"/>
                      </a:lnTo>
                      <a:lnTo>
                        <a:pt x="53711" y="3223"/>
                      </a:lnTo>
                      <a:lnTo>
                        <a:pt x="53607" y="3453"/>
                      </a:lnTo>
                      <a:lnTo>
                        <a:pt x="53607" y="3579"/>
                      </a:lnTo>
                      <a:lnTo>
                        <a:pt x="53544" y="3516"/>
                      </a:lnTo>
                      <a:lnTo>
                        <a:pt x="53502" y="3537"/>
                      </a:lnTo>
                      <a:lnTo>
                        <a:pt x="53439" y="3662"/>
                      </a:lnTo>
                      <a:lnTo>
                        <a:pt x="53376" y="3725"/>
                      </a:lnTo>
                      <a:lnTo>
                        <a:pt x="53335" y="3662"/>
                      </a:lnTo>
                      <a:lnTo>
                        <a:pt x="53397" y="3516"/>
                      </a:lnTo>
                      <a:lnTo>
                        <a:pt x="53439" y="3432"/>
                      </a:lnTo>
                      <a:lnTo>
                        <a:pt x="53397" y="3265"/>
                      </a:lnTo>
                      <a:lnTo>
                        <a:pt x="53272" y="3202"/>
                      </a:lnTo>
                      <a:lnTo>
                        <a:pt x="53125" y="3327"/>
                      </a:lnTo>
                      <a:lnTo>
                        <a:pt x="53167" y="3411"/>
                      </a:lnTo>
                      <a:lnTo>
                        <a:pt x="53083" y="3537"/>
                      </a:lnTo>
                      <a:lnTo>
                        <a:pt x="53000" y="3453"/>
                      </a:lnTo>
                      <a:lnTo>
                        <a:pt x="52979" y="3307"/>
                      </a:lnTo>
                      <a:lnTo>
                        <a:pt x="52916" y="3160"/>
                      </a:lnTo>
                      <a:lnTo>
                        <a:pt x="52874" y="3014"/>
                      </a:lnTo>
                      <a:lnTo>
                        <a:pt x="52770" y="3118"/>
                      </a:lnTo>
                      <a:lnTo>
                        <a:pt x="52560" y="3139"/>
                      </a:lnTo>
                      <a:lnTo>
                        <a:pt x="52246" y="3223"/>
                      </a:lnTo>
                      <a:lnTo>
                        <a:pt x="52163" y="3202"/>
                      </a:lnTo>
                      <a:lnTo>
                        <a:pt x="52267" y="3118"/>
                      </a:lnTo>
                      <a:lnTo>
                        <a:pt x="52246" y="3014"/>
                      </a:lnTo>
                      <a:lnTo>
                        <a:pt x="52246" y="2909"/>
                      </a:lnTo>
                      <a:lnTo>
                        <a:pt x="52226" y="2783"/>
                      </a:lnTo>
                      <a:lnTo>
                        <a:pt x="52246" y="2763"/>
                      </a:lnTo>
                      <a:lnTo>
                        <a:pt x="52456" y="2909"/>
                      </a:lnTo>
                      <a:lnTo>
                        <a:pt x="52560" y="2825"/>
                      </a:lnTo>
                      <a:lnTo>
                        <a:pt x="52581" y="2700"/>
                      </a:lnTo>
                      <a:lnTo>
                        <a:pt x="52393" y="2428"/>
                      </a:lnTo>
                      <a:lnTo>
                        <a:pt x="52016" y="2302"/>
                      </a:lnTo>
                      <a:lnTo>
                        <a:pt x="51702" y="2281"/>
                      </a:lnTo>
                      <a:lnTo>
                        <a:pt x="51347" y="2365"/>
                      </a:lnTo>
                      <a:lnTo>
                        <a:pt x="51033" y="2407"/>
                      </a:lnTo>
                      <a:lnTo>
                        <a:pt x="50824" y="2574"/>
                      </a:lnTo>
                      <a:lnTo>
                        <a:pt x="50886" y="3139"/>
                      </a:lnTo>
                      <a:lnTo>
                        <a:pt x="50866" y="3307"/>
                      </a:lnTo>
                      <a:lnTo>
                        <a:pt x="50907" y="3411"/>
                      </a:lnTo>
                      <a:lnTo>
                        <a:pt x="50803" y="3579"/>
                      </a:lnTo>
                      <a:lnTo>
                        <a:pt x="50803" y="3746"/>
                      </a:lnTo>
                      <a:lnTo>
                        <a:pt x="50656" y="3851"/>
                      </a:lnTo>
                      <a:lnTo>
                        <a:pt x="50552" y="3851"/>
                      </a:lnTo>
                      <a:lnTo>
                        <a:pt x="50489" y="3788"/>
                      </a:lnTo>
                      <a:lnTo>
                        <a:pt x="50489" y="3725"/>
                      </a:lnTo>
                      <a:lnTo>
                        <a:pt x="50363" y="3620"/>
                      </a:lnTo>
                      <a:lnTo>
                        <a:pt x="50447" y="3537"/>
                      </a:lnTo>
                      <a:lnTo>
                        <a:pt x="50510" y="3558"/>
                      </a:lnTo>
                      <a:lnTo>
                        <a:pt x="50594" y="3369"/>
                      </a:lnTo>
                      <a:lnTo>
                        <a:pt x="50552" y="3139"/>
                      </a:lnTo>
                      <a:lnTo>
                        <a:pt x="50405" y="3097"/>
                      </a:lnTo>
                      <a:lnTo>
                        <a:pt x="50342" y="2888"/>
                      </a:lnTo>
                      <a:lnTo>
                        <a:pt x="50405" y="2909"/>
                      </a:lnTo>
                      <a:lnTo>
                        <a:pt x="50510" y="2804"/>
                      </a:lnTo>
                      <a:lnTo>
                        <a:pt x="50510" y="2930"/>
                      </a:lnTo>
                      <a:lnTo>
                        <a:pt x="50614" y="3035"/>
                      </a:lnTo>
                      <a:lnTo>
                        <a:pt x="50698" y="3223"/>
                      </a:lnTo>
                      <a:lnTo>
                        <a:pt x="50719" y="3160"/>
                      </a:lnTo>
                      <a:lnTo>
                        <a:pt x="50698" y="2888"/>
                      </a:lnTo>
                      <a:lnTo>
                        <a:pt x="50656" y="2679"/>
                      </a:lnTo>
                      <a:lnTo>
                        <a:pt x="50259" y="2825"/>
                      </a:lnTo>
                      <a:lnTo>
                        <a:pt x="49945" y="3035"/>
                      </a:lnTo>
                      <a:lnTo>
                        <a:pt x="49945" y="3160"/>
                      </a:lnTo>
                      <a:lnTo>
                        <a:pt x="49757" y="3307"/>
                      </a:lnTo>
                      <a:lnTo>
                        <a:pt x="49652" y="3223"/>
                      </a:lnTo>
                      <a:lnTo>
                        <a:pt x="49673" y="3139"/>
                      </a:lnTo>
                      <a:lnTo>
                        <a:pt x="49777" y="3118"/>
                      </a:lnTo>
                      <a:lnTo>
                        <a:pt x="49673" y="2993"/>
                      </a:lnTo>
                      <a:lnTo>
                        <a:pt x="49757" y="2742"/>
                      </a:lnTo>
                      <a:lnTo>
                        <a:pt x="49882" y="2804"/>
                      </a:lnTo>
                      <a:lnTo>
                        <a:pt x="49945" y="2783"/>
                      </a:lnTo>
                      <a:lnTo>
                        <a:pt x="50070" y="2825"/>
                      </a:lnTo>
                      <a:lnTo>
                        <a:pt x="50468" y="2637"/>
                      </a:lnTo>
                      <a:lnTo>
                        <a:pt x="50614" y="2595"/>
                      </a:lnTo>
                      <a:lnTo>
                        <a:pt x="50342" y="2595"/>
                      </a:lnTo>
                      <a:lnTo>
                        <a:pt x="50175" y="2616"/>
                      </a:lnTo>
                      <a:lnTo>
                        <a:pt x="49945" y="2595"/>
                      </a:lnTo>
                      <a:lnTo>
                        <a:pt x="49443" y="2595"/>
                      </a:lnTo>
                      <a:lnTo>
                        <a:pt x="49338" y="2637"/>
                      </a:lnTo>
                      <a:lnTo>
                        <a:pt x="48669" y="2700"/>
                      </a:lnTo>
                      <a:lnTo>
                        <a:pt x="48271" y="2700"/>
                      </a:lnTo>
                      <a:lnTo>
                        <a:pt x="48041" y="2742"/>
                      </a:lnTo>
                      <a:lnTo>
                        <a:pt x="47769" y="2637"/>
                      </a:lnTo>
                      <a:lnTo>
                        <a:pt x="47539" y="2679"/>
                      </a:lnTo>
                      <a:lnTo>
                        <a:pt x="47371" y="2742"/>
                      </a:lnTo>
                      <a:lnTo>
                        <a:pt x="47518" y="2909"/>
                      </a:lnTo>
                      <a:lnTo>
                        <a:pt x="47685" y="2909"/>
                      </a:lnTo>
                      <a:lnTo>
                        <a:pt x="47790" y="2951"/>
                      </a:lnTo>
                      <a:lnTo>
                        <a:pt x="47894" y="2930"/>
                      </a:lnTo>
                      <a:lnTo>
                        <a:pt x="48041" y="3055"/>
                      </a:lnTo>
                      <a:lnTo>
                        <a:pt x="48041" y="3139"/>
                      </a:lnTo>
                      <a:lnTo>
                        <a:pt x="47832" y="3327"/>
                      </a:lnTo>
                      <a:lnTo>
                        <a:pt x="47685" y="3307"/>
                      </a:lnTo>
                      <a:lnTo>
                        <a:pt x="47518" y="3369"/>
                      </a:lnTo>
                      <a:lnTo>
                        <a:pt x="47476" y="3537"/>
                      </a:lnTo>
                      <a:lnTo>
                        <a:pt x="47434" y="3641"/>
                      </a:lnTo>
                      <a:lnTo>
                        <a:pt x="47560" y="3871"/>
                      </a:lnTo>
                      <a:lnTo>
                        <a:pt x="47769" y="3934"/>
                      </a:lnTo>
                      <a:lnTo>
                        <a:pt x="47790" y="3788"/>
                      </a:lnTo>
                      <a:lnTo>
                        <a:pt x="47936" y="3662"/>
                      </a:lnTo>
                      <a:lnTo>
                        <a:pt x="48145" y="3579"/>
                      </a:lnTo>
                      <a:lnTo>
                        <a:pt x="48104" y="3788"/>
                      </a:lnTo>
                      <a:lnTo>
                        <a:pt x="47894" y="3788"/>
                      </a:lnTo>
                      <a:lnTo>
                        <a:pt x="47999" y="3934"/>
                      </a:lnTo>
                      <a:lnTo>
                        <a:pt x="47978" y="3955"/>
                      </a:lnTo>
                      <a:lnTo>
                        <a:pt x="48041" y="4060"/>
                      </a:lnTo>
                      <a:lnTo>
                        <a:pt x="47894" y="4143"/>
                      </a:lnTo>
                      <a:lnTo>
                        <a:pt x="48041" y="4164"/>
                      </a:lnTo>
                      <a:lnTo>
                        <a:pt x="48166" y="4102"/>
                      </a:lnTo>
                      <a:lnTo>
                        <a:pt x="48208" y="4206"/>
                      </a:lnTo>
                      <a:lnTo>
                        <a:pt x="48187" y="4353"/>
                      </a:lnTo>
                      <a:lnTo>
                        <a:pt x="48313" y="4478"/>
                      </a:lnTo>
                      <a:lnTo>
                        <a:pt x="48459" y="4499"/>
                      </a:lnTo>
                      <a:lnTo>
                        <a:pt x="48627" y="4708"/>
                      </a:lnTo>
                      <a:lnTo>
                        <a:pt x="48606" y="4813"/>
                      </a:lnTo>
                      <a:lnTo>
                        <a:pt x="48522" y="4771"/>
                      </a:lnTo>
                      <a:lnTo>
                        <a:pt x="48397" y="4813"/>
                      </a:lnTo>
                      <a:lnTo>
                        <a:pt x="48459" y="4939"/>
                      </a:lnTo>
                      <a:lnTo>
                        <a:pt x="48376" y="5001"/>
                      </a:lnTo>
                      <a:lnTo>
                        <a:pt x="48313" y="4939"/>
                      </a:lnTo>
                      <a:lnTo>
                        <a:pt x="48250" y="4980"/>
                      </a:lnTo>
                      <a:lnTo>
                        <a:pt x="48187" y="4834"/>
                      </a:lnTo>
                      <a:lnTo>
                        <a:pt x="47999" y="4708"/>
                      </a:lnTo>
                      <a:lnTo>
                        <a:pt x="47936" y="4729"/>
                      </a:lnTo>
                      <a:lnTo>
                        <a:pt x="47978" y="4813"/>
                      </a:lnTo>
                      <a:lnTo>
                        <a:pt x="47873" y="4897"/>
                      </a:lnTo>
                      <a:lnTo>
                        <a:pt x="47790" y="4834"/>
                      </a:lnTo>
                      <a:lnTo>
                        <a:pt x="47727" y="4897"/>
                      </a:lnTo>
                      <a:lnTo>
                        <a:pt x="47769" y="5022"/>
                      </a:lnTo>
                      <a:lnTo>
                        <a:pt x="47790" y="5211"/>
                      </a:lnTo>
                      <a:lnTo>
                        <a:pt x="47936" y="5232"/>
                      </a:lnTo>
                      <a:lnTo>
                        <a:pt x="48083" y="5148"/>
                      </a:lnTo>
                      <a:lnTo>
                        <a:pt x="48187" y="5252"/>
                      </a:lnTo>
                      <a:lnTo>
                        <a:pt x="48104" y="5336"/>
                      </a:lnTo>
                      <a:lnTo>
                        <a:pt x="48250" y="5399"/>
                      </a:lnTo>
                      <a:lnTo>
                        <a:pt x="48145" y="5462"/>
                      </a:lnTo>
                      <a:lnTo>
                        <a:pt x="47978" y="5420"/>
                      </a:lnTo>
                      <a:lnTo>
                        <a:pt x="47978" y="5462"/>
                      </a:lnTo>
                      <a:lnTo>
                        <a:pt x="48145" y="5566"/>
                      </a:lnTo>
                      <a:lnTo>
                        <a:pt x="47873" y="5566"/>
                      </a:lnTo>
                      <a:lnTo>
                        <a:pt x="47832" y="5462"/>
                      </a:lnTo>
                      <a:lnTo>
                        <a:pt x="47643" y="5462"/>
                      </a:lnTo>
                      <a:lnTo>
                        <a:pt x="47560" y="5336"/>
                      </a:lnTo>
                      <a:lnTo>
                        <a:pt x="47434" y="5315"/>
                      </a:lnTo>
                      <a:lnTo>
                        <a:pt x="47308" y="5190"/>
                      </a:lnTo>
                      <a:lnTo>
                        <a:pt x="47120" y="5190"/>
                      </a:lnTo>
                      <a:lnTo>
                        <a:pt x="46995" y="5106"/>
                      </a:lnTo>
                      <a:lnTo>
                        <a:pt x="46890" y="5127"/>
                      </a:lnTo>
                      <a:lnTo>
                        <a:pt x="46827" y="5106"/>
                      </a:lnTo>
                      <a:lnTo>
                        <a:pt x="46430" y="5252"/>
                      </a:lnTo>
                      <a:lnTo>
                        <a:pt x="46409" y="5357"/>
                      </a:lnTo>
                      <a:lnTo>
                        <a:pt x="46367" y="5420"/>
                      </a:lnTo>
                      <a:lnTo>
                        <a:pt x="46430" y="5504"/>
                      </a:lnTo>
                      <a:lnTo>
                        <a:pt x="46409" y="5566"/>
                      </a:lnTo>
                      <a:lnTo>
                        <a:pt x="46492" y="5713"/>
                      </a:lnTo>
                      <a:lnTo>
                        <a:pt x="46472" y="5734"/>
                      </a:lnTo>
                      <a:lnTo>
                        <a:pt x="46367" y="5629"/>
                      </a:lnTo>
                      <a:lnTo>
                        <a:pt x="46283" y="5671"/>
                      </a:lnTo>
                      <a:lnTo>
                        <a:pt x="46179" y="5629"/>
                      </a:lnTo>
                      <a:lnTo>
                        <a:pt x="45739" y="5671"/>
                      </a:lnTo>
                      <a:lnTo>
                        <a:pt x="45530" y="5650"/>
                      </a:lnTo>
                      <a:lnTo>
                        <a:pt x="45384" y="5524"/>
                      </a:lnTo>
                      <a:lnTo>
                        <a:pt x="45258" y="5504"/>
                      </a:lnTo>
                      <a:lnTo>
                        <a:pt x="45132" y="5357"/>
                      </a:lnTo>
                      <a:lnTo>
                        <a:pt x="45049" y="5211"/>
                      </a:lnTo>
                      <a:lnTo>
                        <a:pt x="44944" y="5148"/>
                      </a:lnTo>
                      <a:lnTo>
                        <a:pt x="44944" y="5232"/>
                      </a:lnTo>
                      <a:lnTo>
                        <a:pt x="45028" y="5420"/>
                      </a:lnTo>
                      <a:lnTo>
                        <a:pt x="45049" y="5734"/>
                      </a:lnTo>
                      <a:lnTo>
                        <a:pt x="45216" y="6068"/>
                      </a:lnTo>
                      <a:lnTo>
                        <a:pt x="45342" y="6340"/>
                      </a:lnTo>
                      <a:lnTo>
                        <a:pt x="45446" y="6926"/>
                      </a:lnTo>
                      <a:lnTo>
                        <a:pt x="45425" y="7073"/>
                      </a:lnTo>
                      <a:lnTo>
                        <a:pt x="45342" y="7073"/>
                      </a:lnTo>
                      <a:lnTo>
                        <a:pt x="45258" y="6968"/>
                      </a:lnTo>
                      <a:lnTo>
                        <a:pt x="45237" y="6864"/>
                      </a:lnTo>
                      <a:lnTo>
                        <a:pt x="45132" y="6759"/>
                      </a:lnTo>
                      <a:lnTo>
                        <a:pt x="45070" y="6801"/>
                      </a:lnTo>
                      <a:lnTo>
                        <a:pt x="45132" y="6884"/>
                      </a:lnTo>
                      <a:lnTo>
                        <a:pt x="45112" y="6968"/>
                      </a:lnTo>
                      <a:lnTo>
                        <a:pt x="44923" y="6905"/>
                      </a:lnTo>
                      <a:lnTo>
                        <a:pt x="44756" y="6717"/>
                      </a:lnTo>
                      <a:lnTo>
                        <a:pt x="44505" y="6696"/>
                      </a:lnTo>
                      <a:lnTo>
                        <a:pt x="44379" y="6550"/>
                      </a:lnTo>
                      <a:lnTo>
                        <a:pt x="44275" y="6508"/>
                      </a:lnTo>
                      <a:lnTo>
                        <a:pt x="43898" y="6173"/>
                      </a:lnTo>
                      <a:lnTo>
                        <a:pt x="43877" y="6173"/>
                      </a:lnTo>
                      <a:lnTo>
                        <a:pt x="43793" y="6236"/>
                      </a:lnTo>
                      <a:lnTo>
                        <a:pt x="43689" y="6236"/>
                      </a:lnTo>
                      <a:lnTo>
                        <a:pt x="43647" y="6152"/>
                      </a:lnTo>
                      <a:lnTo>
                        <a:pt x="43877" y="5943"/>
                      </a:lnTo>
                      <a:lnTo>
                        <a:pt x="43982" y="5943"/>
                      </a:lnTo>
                      <a:lnTo>
                        <a:pt x="43898" y="5880"/>
                      </a:lnTo>
                      <a:lnTo>
                        <a:pt x="43772" y="5817"/>
                      </a:lnTo>
                      <a:lnTo>
                        <a:pt x="43647" y="5671"/>
                      </a:lnTo>
                      <a:lnTo>
                        <a:pt x="43626" y="5671"/>
                      </a:lnTo>
                      <a:lnTo>
                        <a:pt x="43647" y="5755"/>
                      </a:lnTo>
                      <a:lnTo>
                        <a:pt x="43751" y="5859"/>
                      </a:lnTo>
                      <a:lnTo>
                        <a:pt x="43751" y="5964"/>
                      </a:lnTo>
                      <a:lnTo>
                        <a:pt x="43626" y="6048"/>
                      </a:lnTo>
                      <a:lnTo>
                        <a:pt x="43417" y="5985"/>
                      </a:lnTo>
                      <a:lnTo>
                        <a:pt x="43207" y="5838"/>
                      </a:lnTo>
                      <a:lnTo>
                        <a:pt x="43145" y="5755"/>
                      </a:lnTo>
                      <a:lnTo>
                        <a:pt x="42935" y="5734"/>
                      </a:lnTo>
                      <a:lnTo>
                        <a:pt x="42894" y="5608"/>
                      </a:lnTo>
                      <a:lnTo>
                        <a:pt x="42789" y="5545"/>
                      </a:lnTo>
                      <a:lnTo>
                        <a:pt x="43040" y="5545"/>
                      </a:lnTo>
                      <a:lnTo>
                        <a:pt x="43270" y="5608"/>
                      </a:lnTo>
                      <a:lnTo>
                        <a:pt x="43375" y="5671"/>
                      </a:lnTo>
                      <a:lnTo>
                        <a:pt x="43521" y="5629"/>
                      </a:lnTo>
                      <a:lnTo>
                        <a:pt x="43626" y="5441"/>
                      </a:lnTo>
                      <a:lnTo>
                        <a:pt x="43626" y="5378"/>
                      </a:lnTo>
                      <a:lnTo>
                        <a:pt x="43542" y="5420"/>
                      </a:lnTo>
                      <a:lnTo>
                        <a:pt x="43521" y="5336"/>
                      </a:lnTo>
                      <a:lnTo>
                        <a:pt x="43417" y="5357"/>
                      </a:lnTo>
                      <a:lnTo>
                        <a:pt x="43459" y="5190"/>
                      </a:lnTo>
                      <a:lnTo>
                        <a:pt x="43333" y="5043"/>
                      </a:lnTo>
                      <a:lnTo>
                        <a:pt x="43249" y="5106"/>
                      </a:lnTo>
                      <a:lnTo>
                        <a:pt x="43228" y="5001"/>
                      </a:lnTo>
                      <a:lnTo>
                        <a:pt x="43145" y="4980"/>
                      </a:lnTo>
                      <a:lnTo>
                        <a:pt x="43061" y="5022"/>
                      </a:lnTo>
                      <a:lnTo>
                        <a:pt x="43019" y="5085"/>
                      </a:lnTo>
                      <a:lnTo>
                        <a:pt x="42831" y="5043"/>
                      </a:lnTo>
                      <a:lnTo>
                        <a:pt x="42810" y="4897"/>
                      </a:lnTo>
                      <a:lnTo>
                        <a:pt x="43019" y="4708"/>
                      </a:lnTo>
                      <a:lnTo>
                        <a:pt x="42998" y="4625"/>
                      </a:lnTo>
                      <a:lnTo>
                        <a:pt x="42894" y="4625"/>
                      </a:lnTo>
                      <a:lnTo>
                        <a:pt x="42726" y="4792"/>
                      </a:lnTo>
                      <a:lnTo>
                        <a:pt x="42705" y="4667"/>
                      </a:lnTo>
                      <a:lnTo>
                        <a:pt x="42768" y="4562"/>
                      </a:lnTo>
                      <a:lnTo>
                        <a:pt x="42726" y="4415"/>
                      </a:lnTo>
                      <a:lnTo>
                        <a:pt x="42663" y="4457"/>
                      </a:lnTo>
                      <a:lnTo>
                        <a:pt x="42622" y="4499"/>
                      </a:lnTo>
                      <a:lnTo>
                        <a:pt x="42601" y="4395"/>
                      </a:lnTo>
                      <a:lnTo>
                        <a:pt x="42496" y="4395"/>
                      </a:lnTo>
                      <a:lnTo>
                        <a:pt x="42454" y="4353"/>
                      </a:lnTo>
                      <a:lnTo>
                        <a:pt x="42391" y="4269"/>
                      </a:lnTo>
                      <a:lnTo>
                        <a:pt x="42433" y="4102"/>
                      </a:lnTo>
                      <a:lnTo>
                        <a:pt x="42391" y="4060"/>
                      </a:lnTo>
                      <a:lnTo>
                        <a:pt x="42308" y="4102"/>
                      </a:lnTo>
                      <a:lnTo>
                        <a:pt x="42224" y="4248"/>
                      </a:lnTo>
                      <a:lnTo>
                        <a:pt x="42203" y="4039"/>
                      </a:lnTo>
                      <a:lnTo>
                        <a:pt x="42099" y="3955"/>
                      </a:lnTo>
                      <a:lnTo>
                        <a:pt x="41994" y="4039"/>
                      </a:lnTo>
                      <a:lnTo>
                        <a:pt x="41910" y="4039"/>
                      </a:lnTo>
                      <a:lnTo>
                        <a:pt x="41868" y="3871"/>
                      </a:lnTo>
                      <a:lnTo>
                        <a:pt x="41764" y="3976"/>
                      </a:lnTo>
                      <a:lnTo>
                        <a:pt x="41701" y="3976"/>
                      </a:lnTo>
                      <a:lnTo>
                        <a:pt x="41680" y="4060"/>
                      </a:lnTo>
                      <a:lnTo>
                        <a:pt x="41659" y="3892"/>
                      </a:lnTo>
                      <a:lnTo>
                        <a:pt x="41659" y="3830"/>
                      </a:lnTo>
                      <a:lnTo>
                        <a:pt x="41492" y="3830"/>
                      </a:lnTo>
                      <a:lnTo>
                        <a:pt x="41408" y="3851"/>
                      </a:lnTo>
                      <a:lnTo>
                        <a:pt x="41366" y="3788"/>
                      </a:lnTo>
                      <a:lnTo>
                        <a:pt x="41199" y="3851"/>
                      </a:lnTo>
                      <a:lnTo>
                        <a:pt x="41094" y="3851"/>
                      </a:lnTo>
                      <a:lnTo>
                        <a:pt x="41073" y="3892"/>
                      </a:lnTo>
                      <a:lnTo>
                        <a:pt x="41136" y="3955"/>
                      </a:lnTo>
                      <a:lnTo>
                        <a:pt x="41178" y="4081"/>
                      </a:lnTo>
                      <a:lnTo>
                        <a:pt x="41115" y="4060"/>
                      </a:lnTo>
                      <a:lnTo>
                        <a:pt x="41052" y="4081"/>
                      </a:lnTo>
                      <a:lnTo>
                        <a:pt x="41052" y="4164"/>
                      </a:lnTo>
                      <a:lnTo>
                        <a:pt x="41031" y="4143"/>
                      </a:lnTo>
                      <a:lnTo>
                        <a:pt x="40885" y="4164"/>
                      </a:lnTo>
                      <a:lnTo>
                        <a:pt x="40843" y="4143"/>
                      </a:lnTo>
                      <a:lnTo>
                        <a:pt x="40885" y="4039"/>
                      </a:lnTo>
                      <a:lnTo>
                        <a:pt x="40969" y="3976"/>
                      </a:lnTo>
                      <a:lnTo>
                        <a:pt x="40927" y="3871"/>
                      </a:lnTo>
                      <a:lnTo>
                        <a:pt x="40822" y="3851"/>
                      </a:lnTo>
                      <a:lnTo>
                        <a:pt x="40822" y="3955"/>
                      </a:lnTo>
                      <a:lnTo>
                        <a:pt x="40738" y="3997"/>
                      </a:lnTo>
                      <a:lnTo>
                        <a:pt x="40655" y="3892"/>
                      </a:lnTo>
                      <a:lnTo>
                        <a:pt x="40550" y="3871"/>
                      </a:lnTo>
                      <a:lnTo>
                        <a:pt x="40446" y="3767"/>
                      </a:lnTo>
                      <a:lnTo>
                        <a:pt x="40425" y="3851"/>
                      </a:lnTo>
                      <a:lnTo>
                        <a:pt x="40341" y="3871"/>
                      </a:lnTo>
                      <a:lnTo>
                        <a:pt x="40194" y="3871"/>
                      </a:lnTo>
                      <a:lnTo>
                        <a:pt x="40132" y="3788"/>
                      </a:lnTo>
                      <a:lnTo>
                        <a:pt x="40111" y="3892"/>
                      </a:lnTo>
                      <a:lnTo>
                        <a:pt x="40027" y="3955"/>
                      </a:lnTo>
                      <a:lnTo>
                        <a:pt x="39902" y="3851"/>
                      </a:lnTo>
                      <a:lnTo>
                        <a:pt x="39818" y="3851"/>
                      </a:lnTo>
                      <a:lnTo>
                        <a:pt x="39860" y="3955"/>
                      </a:lnTo>
                      <a:lnTo>
                        <a:pt x="39881" y="3997"/>
                      </a:lnTo>
                      <a:lnTo>
                        <a:pt x="39755" y="4102"/>
                      </a:lnTo>
                      <a:lnTo>
                        <a:pt x="39692" y="4081"/>
                      </a:lnTo>
                      <a:lnTo>
                        <a:pt x="39671" y="3997"/>
                      </a:lnTo>
                      <a:lnTo>
                        <a:pt x="39609" y="4102"/>
                      </a:lnTo>
                      <a:lnTo>
                        <a:pt x="39630" y="4269"/>
                      </a:lnTo>
                      <a:lnTo>
                        <a:pt x="39713" y="4353"/>
                      </a:lnTo>
                      <a:lnTo>
                        <a:pt x="39734" y="4457"/>
                      </a:lnTo>
                      <a:lnTo>
                        <a:pt x="39797" y="4478"/>
                      </a:lnTo>
                      <a:lnTo>
                        <a:pt x="39818" y="4625"/>
                      </a:lnTo>
                      <a:lnTo>
                        <a:pt x="39964" y="4667"/>
                      </a:lnTo>
                      <a:lnTo>
                        <a:pt x="40006" y="4729"/>
                      </a:lnTo>
                      <a:lnTo>
                        <a:pt x="40006" y="4834"/>
                      </a:lnTo>
                      <a:lnTo>
                        <a:pt x="40111" y="4918"/>
                      </a:lnTo>
                      <a:lnTo>
                        <a:pt x="40132" y="5001"/>
                      </a:lnTo>
                      <a:lnTo>
                        <a:pt x="40069" y="5106"/>
                      </a:lnTo>
                      <a:lnTo>
                        <a:pt x="40006" y="5085"/>
                      </a:lnTo>
                      <a:lnTo>
                        <a:pt x="39985" y="5001"/>
                      </a:lnTo>
                      <a:lnTo>
                        <a:pt x="39818" y="5043"/>
                      </a:lnTo>
                      <a:lnTo>
                        <a:pt x="39713" y="5022"/>
                      </a:lnTo>
                      <a:lnTo>
                        <a:pt x="39609" y="5043"/>
                      </a:lnTo>
                      <a:lnTo>
                        <a:pt x="39671" y="5127"/>
                      </a:lnTo>
                      <a:lnTo>
                        <a:pt x="39588" y="5232"/>
                      </a:lnTo>
                      <a:lnTo>
                        <a:pt x="39462" y="5232"/>
                      </a:lnTo>
                      <a:lnTo>
                        <a:pt x="39378" y="5211"/>
                      </a:lnTo>
                      <a:lnTo>
                        <a:pt x="39127" y="5336"/>
                      </a:lnTo>
                      <a:lnTo>
                        <a:pt x="38751" y="5399"/>
                      </a:lnTo>
                      <a:lnTo>
                        <a:pt x="38625" y="5336"/>
                      </a:lnTo>
                      <a:lnTo>
                        <a:pt x="38437" y="5336"/>
                      </a:lnTo>
                      <a:lnTo>
                        <a:pt x="38416" y="5357"/>
                      </a:lnTo>
                      <a:lnTo>
                        <a:pt x="38311" y="5336"/>
                      </a:lnTo>
                      <a:lnTo>
                        <a:pt x="37788" y="5315"/>
                      </a:lnTo>
                      <a:lnTo>
                        <a:pt x="37621" y="5190"/>
                      </a:lnTo>
                      <a:lnTo>
                        <a:pt x="37579" y="4980"/>
                      </a:lnTo>
                      <a:lnTo>
                        <a:pt x="37663" y="4834"/>
                      </a:lnTo>
                      <a:lnTo>
                        <a:pt x="37705" y="4813"/>
                      </a:lnTo>
                      <a:lnTo>
                        <a:pt x="37705" y="4729"/>
                      </a:lnTo>
                      <a:lnTo>
                        <a:pt x="37558" y="4688"/>
                      </a:lnTo>
                      <a:lnTo>
                        <a:pt x="37370" y="4688"/>
                      </a:lnTo>
                      <a:lnTo>
                        <a:pt x="37035" y="4834"/>
                      </a:lnTo>
                      <a:lnTo>
                        <a:pt x="36554" y="4876"/>
                      </a:lnTo>
                      <a:lnTo>
                        <a:pt x="36156" y="4980"/>
                      </a:lnTo>
                      <a:lnTo>
                        <a:pt x="35926" y="5022"/>
                      </a:lnTo>
                      <a:lnTo>
                        <a:pt x="35884" y="5106"/>
                      </a:lnTo>
                      <a:lnTo>
                        <a:pt x="35801" y="5106"/>
                      </a:lnTo>
                      <a:lnTo>
                        <a:pt x="35738" y="5190"/>
                      </a:lnTo>
                      <a:lnTo>
                        <a:pt x="35612" y="5252"/>
                      </a:lnTo>
                      <a:lnTo>
                        <a:pt x="35466" y="5399"/>
                      </a:lnTo>
                      <a:lnTo>
                        <a:pt x="35529" y="5545"/>
                      </a:lnTo>
                      <a:lnTo>
                        <a:pt x="35612" y="5566"/>
                      </a:lnTo>
                      <a:lnTo>
                        <a:pt x="35717" y="5524"/>
                      </a:lnTo>
                      <a:lnTo>
                        <a:pt x="35780" y="5545"/>
                      </a:lnTo>
                      <a:lnTo>
                        <a:pt x="35717" y="5629"/>
                      </a:lnTo>
                      <a:lnTo>
                        <a:pt x="35654" y="5650"/>
                      </a:lnTo>
                      <a:lnTo>
                        <a:pt x="35549" y="5755"/>
                      </a:lnTo>
                      <a:lnTo>
                        <a:pt x="35549" y="5817"/>
                      </a:lnTo>
                      <a:lnTo>
                        <a:pt x="35508" y="5755"/>
                      </a:lnTo>
                      <a:lnTo>
                        <a:pt x="35487" y="5545"/>
                      </a:lnTo>
                      <a:lnTo>
                        <a:pt x="35319" y="5420"/>
                      </a:lnTo>
                      <a:lnTo>
                        <a:pt x="35298" y="5336"/>
                      </a:lnTo>
                      <a:lnTo>
                        <a:pt x="35319" y="5252"/>
                      </a:lnTo>
                      <a:lnTo>
                        <a:pt x="35194" y="5148"/>
                      </a:lnTo>
                      <a:lnTo>
                        <a:pt x="35110" y="5148"/>
                      </a:lnTo>
                      <a:lnTo>
                        <a:pt x="34880" y="4939"/>
                      </a:lnTo>
                      <a:lnTo>
                        <a:pt x="34817" y="4939"/>
                      </a:lnTo>
                      <a:lnTo>
                        <a:pt x="34817" y="5022"/>
                      </a:lnTo>
                      <a:lnTo>
                        <a:pt x="35005" y="5232"/>
                      </a:lnTo>
                      <a:lnTo>
                        <a:pt x="35026" y="5357"/>
                      </a:lnTo>
                      <a:lnTo>
                        <a:pt x="34922" y="5462"/>
                      </a:lnTo>
                      <a:lnTo>
                        <a:pt x="34733" y="5504"/>
                      </a:lnTo>
                      <a:lnTo>
                        <a:pt x="34650" y="5545"/>
                      </a:lnTo>
                      <a:lnTo>
                        <a:pt x="34482" y="5545"/>
                      </a:lnTo>
                      <a:lnTo>
                        <a:pt x="34168" y="5294"/>
                      </a:lnTo>
                      <a:lnTo>
                        <a:pt x="34168" y="5190"/>
                      </a:lnTo>
                      <a:lnTo>
                        <a:pt x="34231" y="5106"/>
                      </a:lnTo>
                      <a:lnTo>
                        <a:pt x="34210" y="5022"/>
                      </a:lnTo>
                      <a:lnTo>
                        <a:pt x="34043" y="5085"/>
                      </a:lnTo>
                      <a:lnTo>
                        <a:pt x="34043" y="5211"/>
                      </a:lnTo>
                      <a:lnTo>
                        <a:pt x="33959" y="5294"/>
                      </a:lnTo>
                      <a:lnTo>
                        <a:pt x="33750" y="5148"/>
                      </a:lnTo>
                      <a:lnTo>
                        <a:pt x="33604" y="5148"/>
                      </a:lnTo>
                      <a:lnTo>
                        <a:pt x="33499" y="5252"/>
                      </a:lnTo>
                      <a:lnTo>
                        <a:pt x="33520" y="5441"/>
                      </a:lnTo>
                      <a:lnTo>
                        <a:pt x="33436" y="5566"/>
                      </a:lnTo>
                      <a:lnTo>
                        <a:pt x="33520" y="5734"/>
                      </a:lnTo>
                      <a:lnTo>
                        <a:pt x="33645" y="5776"/>
                      </a:lnTo>
                      <a:lnTo>
                        <a:pt x="33813" y="5650"/>
                      </a:lnTo>
                      <a:lnTo>
                        <a:pt x="33834" y="5566"/>
                      </a:lnTo>
                      <a:lnTo>
                        <a:pt x="34043" y="5441"/>
                      </a:lnTo>
                      <a:lnTo>
                        <a:pt x="34106" y="5524"/>
                      </a:lnTo>
                      <a:lnTo>
                        <a:pt x="34064" y="5650"/>
                      </a:lnTo>
                      <a:lnTo>
                        <a:pt x="33855" y="5817"/>
                      </a:lnTo>
                      <a:lnTo>
                        <a:pt x="33938" y="5880"/>
                      </a:lnTo>
                      <a:lnTo>
                        <a:pt x="33855" y="6027"/>
                      </a:lnTo>
                      <a:lnTo>
                        <a:pt x="33729" y="6068"/>
                      </a:lnTo>
                      <a:lnTo>
                        <a:pt x="33604" y="5985"/>
                      </a:lnTo>
                      <a:lnTo>
                        <a:pt x="33604" y="6048"/>
                      </a:lnTo>
                      <a:lnTo>
                        <a:pt x="33645" y="6173"/>
                      </a:lnTo>
                      <a:lnTo>
                        <a:pt x="33583" y="6299"/>
                      </a:lnTo>
                      <a:lnTo>
                        <a:pt x="33394" y="6445"/>
                      </a:lnTo>
                      <a:lnTo>
                        <a:pt x="33436" y="6550"/>
                      </a:lnTo>
                      <a:lnTo>
                        <a:pt x="33394" y="6592"/>
                      </a:lnTo>
                      <a:lnTo>
                        <a:pt x="33311" y="6592"/>
                      </a:lnTo>
                      <a:lnTo>
                        <a:pt x="33164" y="6759"/>
                      </a:lnTo>
                      <a:lnTo>
                        <a:pt x="32955" y="6780"/>
                      </a:lnTo>
                      <a:lnTo>
                        <a:pt x="32746" y="6801"/>
                      </a:lnTo>
                      <a:lnTo>
                        <a:pt x="32683" y="6926"/>
                      </a:lnTo>
                      <a:lnTo>
                        <a:pt x="32746" y="7094"/>
                      </a:lnTo>
                      <a:lnTo>
                        <a:pt x="32913" y="7303"/>
                      </a:lnTo>
                      <a:lnTo>
                        <a:pt x="32997" y="7324"/>
                      </a:lnTo>
                      <a:lnTo>
                        <a:pt x="32913" y="7345"/>
                      </a:lnTo>
                      <a:lnTo>
                        <a:pt x="32767" y="7345"/>
                      </a:lnTo>
                      <a:lnTo>
                        <a:pt x="32746" y="7429"/>
                      </a:lnTo>
                      <a:lnTo>
                        <a:pt x="32767" y="7491"/>
                      </a:lnTo>
                      <a:lnTo>
                        <a:pt x="32704" y="7596"/>
                      </a:lnTo>
                      <a:lnTo>
                        <a:pt x="32599" y="7701"/>
                      </a:lnTo>
                      <a:lnTo>
                        <a:pt x="32495" y="7701"/>
                      </a:lnTo>
                      <a:lnTo>
                        <a:pt x="32474" y="7763"/>
                      </a:lnTo>
                      <a:lnTo>
                        <a:pt x="32495" y="7659"/>
                      </a:lnTo>
                      <a:lnTo>
                        <a:pt x="32599" y="7596"/>
                      </a:lnTo>
                      <a:lnTo>
                        <a:pt x="32683" y="7282"/>
                      </a:lnTo>
                      <a:lnTo>
                        <a:pt x="32599" y="7219"/>
                      </a:lnTo>
                      <a:lnTo>
                        <a:pt x="32599" y="7115"/>
                      </a:lnTo>
                      <a:lnTo>
                        <a:pt x="32662" y="7073"/>
                      </a:lnTo>
                      <a:lnTo>
                        <a:pt x="32662" y="6926"/>
                      </a:lnTo>
                      <a:lnTo>
                        <a:pt x="32599" y="6780"/>
                      </a:lnTo>
                      <a:lnTo>
                        <a:pt x="32662" y="6612"/>
                      </a:lnTo>
                      <a:lnTo>
                        <a:pt x="32767" y="6550"/>
                      </a:lnTo>
                      <a:lnTo>
                        <a:pt x="32808" y="6445"/>
                      </a:lnTo>
                      <a:lnTo>
                        <a:pt x="32767" y="6194"/>
                      </a:lnTo>
                      <a:lnTo>
                        <a:pt x="32746" y="6152"/>
                      </a:lnTo>
                      <a:lnTo>
                        <a:pt x="32788" y="6068"/>
                      </a:lnTo>
                      <a:lnTo>
                        <a:pt x="32871" y="6068"/>
                      </a:lnTo>
                      <a:lnTo>
                        <a:pt x="32913" y="6089"/>
                      </a:lnTo>
                      <a:lnTo>
                        <a:pt x="33080" y="6048"/>
                      </a:lnTo>
                      <a:lnTo>
                        <a:pt x="33185" y="5776"/>
                      </a:lnTo>
                      <a:lnTo>
                        <a:pt x="33164" y="5671"/>
                      </a:lnTo>
                      <a:lnTo>
                        <a:pt x="33101" y="5545"/>
                      </a:lnTo>
                      <a:lnTo>
                        <a:pt x="33185" y="5252"/>
                      </a:lnTo>
                      <a:lnTo>
                        <a:pt x="33269" y="5127"/>
                      </a:lnTo>
                      <a:lnTo>
                        <a:pt x="33373" y="4939"/>
                      </a:lnTo>
                      <a:lnTo>
                        <a:pt x="33311" y="4792"/>
                      </a:lnTo>
                      <a:lnTo>
                        <a:pt x="33290" y="4792"/>
                      </a:lnTo>
                      <a:lnTo>
                        <a:pt x="33206" y="4876"/>
                      </a:lnTo>
                      <a:lnTo>
                        <a:pt x="33122" y="4876"/>
                      </a:lnTo>
                      <a:lnTo>
                        <a:pt x="32997" y="4813"/>
                      </a:lnTo>
                      <a:lnTo>
                        <a:pt x="33122" y="4813"/>
                      </a:lnTo>
                      <a:lnTo>
                        <a:pt x="33269" y="4708"/>
                      </a:lnTo>
                      <a:lnTo>
                        <a:pt x="33373" y="4667"/>
                      </a:lnTo>
                      <a:lnTo>
                        <a:pt x="33415" y="4562"/>
                      </a:lnTo>
                      <a:lnTo>
                        <a:pt x="33394" y="4499"/>
                      </a:lnTo>
                      <a:lnTo>
                        <a:pt x="33436" y="4415"/>
                      </a:lnTo>
                      <a:lnTo>
                        <a:pt x="33520" y="4248"/>
                      </a:lnTo>
                      <a:lnTo>
                        <a:pt x="33499" y="4185"/>
                      </a:lnTo>
                      <a:lnTo>
                        <a:pt x="33541" y="4081"/>
                      </a:lnTo>
                      <a:lnTo>
                        <a:pt x="33708" y="3997"/>
                      </a:lnTo>
                      <a:lnTo>
                        <a:pt x="33708" y="3892"/>
                      </a:lnTo>
                      <a:lnTo>
                        <a:pt x="33624" y="3830"/>
                      </a:lnTo>
                      <a:lnTo>
                        <a:pt x="33624" y="3767"/>
                      </a:lnTo>
                      <a:lnTo>
                        <a:pt x="33708" y="3641"/>
                      </a:lnTo>
                      <a:lnTo>
                        <a:pt x="33687" y="3537"/>
                      </a:lnTo>
                      <a:lnTo>
                        <a:pt x="33729" y="3432"/>
                      </a:lnTo>
                      <a:lnTo>
                        <a:pt x="33792" y="3411"/>
                      </a:lnTo>
                      <a:lnTo>
                        <a:pt x="33855" y="3223"/>
                      </a:lnTo>
                      <a:lnTo>
                        <a:pt x="33855" y="3014"/>
                      </a:lnTo>
                      <a:lnTo>
                        <a:pt x="33813" y="2804"/>
                      </a:lnTo>
                      <a:lnTo>
                        <a:pt x="33708" y="2616"/>
                      </a:lnTo>
                      <a:lnTo>
                        <a:pt x="33729" y="2574"/>
                      </a:lnTo>
                      <a:lnTo>
                        <a:pt x="33708" y="2491"/>
                      </a:lnTo>
                      <a:lnTo>
                        <a:pt x="33645" y="2470"/>
                      </a:lnTo>
                      <a:lnTo>
                        <a:pt x="33604" y="2491"/>
                      </a:lnTo>
                      <a:lnTo>
                        <a:pt x="33520" y="2428"/>
                      </a:lnTo>
                      <a:lnTo>
                        <a:pt x="33478" y="2365"/>
                      </a:lnTo>
                      <a:lnTo>
                        <a:pt x="33436" y="2365"/>
                      </a:lnTo>
                      <a:lnTo>
                        <a:pt x="33394" y="2491"/>
                      </a:lnTo>
                      <a:lnTo>
                        <a:pt x="33332" y="2532"/>
                      </a:lnTo>
                      <a:lnTo>
                        <a:pt x="33290" y="2491"/>
                      </a:lnTo>
                      <a:lnTo>
                        <a:pt x="33206" y="2365"/>
                      </a:lnTo>
                      <a:lnTo>
                        <a:pt x="33227" y="2323"/>
                      </a:lnTo>
                      <a:lnTo>
                        <a:pt x="33185" y="2302"/>
                      </a:lnTo>
                      <a:lnTo>
                        <a:pt x="33018" y="2281"/>
                      </a:lnTo>
                      <a:lnTo>
                        <a:pt x="32955" y="2177"/>
                      </a:lnTo>
                      <a:lnTo>
                        <a:pt x="32976" y="2156"/>
                      </a:lnTo>
                      <a:lnTo>
                        <a:pt x="33122" y="2156"/>
                      </a:lnTo>
                      <a:lnTo>
                        <a:pt x="33332" y="2219"/>
                      </a:lnTo>
                      <a:lnTo>
                        <a:pt x="33415" y="2302"/>
                      </a:lnTo>
                      <a:lnTo>
                        <a:pt x="33478" y="2260"/>
                      </a:lnTo>
                      <a:lnTo>
                        <a:pt x="33520" y="2260"/>
                      </a:lnTo>
                      <a:lnTo>
                        <a:pt x="33583" y="2323"/>
                      </a:lnTo>
                      <a:lnTo>
                        <a:pt x="33604" y="2386"/>
                      </a:lnTo>
                      <a:lnTo>
                        <a:pt x="33645" y="2386"/>
                      </a:lnTo>
                      <a:lnTo>
                        <a:pt x="33645" y="2302"/>
                      </a:lnTo>
                      <a:lnTo>
                        <a:pt x="33541" y="2177"/>
                      </a:lnTo>
                      <a:lnTo>
                        <a:pt x="33541" y="2072"/>
                      </a:lnTo>
                      <a:lnTo>
                        <a:pt x="33478" y="1967"/>
                      </a:lnTo>
                      <a:lnTo>
                        <a:pt x="33394" y="1905"/>
                      </a:lnTo>
                      <a:lnTo>
                        <a:pt x="33332" y="1905"/>
                      </a:lnTo>
                      <a:lnTo>
                        <a:pt x="33290" y="1967"/>
                      </a:lnTo>
                      <a:lnTo>
                        <a:pt x="33206" y="1947"/>
                      </a:lnTo>
                      <a:lnTo>
                        <a:pt x="33185" y="1800"/>
                      </a:lnTo>
                      <a:lnTo>
                        <a:pt x="33018" y="1654"/>
                      </a:lnTo>
                      <a:lnTo>
                        <a:pt x="33018" y="1549"/>
                      </a:lnTo>
                      <a:lnTo>
                        <a:pt x="32955" y="1465"/>
                      </a:lnTo>
                      <a:lnTo>
                        <a:pt x="32892" y="1382"/>
                      </a:lnTo>
                      <a:lnTo>
                        <a:pt x="32808" y="1382"/>
                      </a:lnTo>
                      <a:lnTo>
                        <a:pt x="32704" y="1444"/>
                      </a:lnTo>
                      <a:lnTo>
                        <a:pt x="32704" y="1549"/>
                      </a:lnTo>
                      <a:lnTo>
                        <a:pt x="32808" y="1549"/>
                      </a:lnTo>
                      <a:lnTo>
                        <a:pt x="32892" y="1591"/>
                      </a:lnTo>
                      <a:lnTo>
                        <a:pt x="32871" y="1654"/>
                      </a:lnTo>
                      <a:lnTo>
                        <a:pt x="32788" y="1695"/>
                      </a:lnTo>
                      <a:lnTo>
                        <a:pt x="32788" y="1779"/>
                      </a:lnTo>
                      <a:lnTo>
                        <a:pt x="32746" y="1800"/>
                      </a:lnTo>
                      <a:lnTo>
                        <a:pt x="32536" y="1570"/>
                      </a:lnTo>
                      <a:lnTo>
                        <a:pt x="32536" y="1486"/>
                      </a:lnTo>
                      <a:lnTo>
                        <a:pt x="32474" y="1361"/>
                      </a:lnTo>
                      <a:lnTo>
                        <a:pt x="32369" y="1340"/>
                      </a:lnTo>
                      <a:lnTo>
                        <a:pt x="31930" y="1068"/>
                      </a:lnTo>
                      <a:lnTo>
                        <a:pt x="31825" y="1026"/>
                      </a:lnTo>
                      <a:lnTo>
                        <a:pt x="31804" y="1005"/>
                      </a:lnTo>
                      <a:lnTo>
                        <a:pt x="31532" y="1026"/>
                      </a:lnTo>
                      <a:lnTo>
                        <a:pt x="31511" y="921"/>
                      </a:lnTo>
                      <a:lnTo>
                        <a:pt x="31553" y="858"/>
                      </a:lnTo>
                      <a:lnTo>
                        <a:pt x="31532" y="796"/>
                      </a:lnTo>
                      <a:lnTo>
                        <a:pt x="31407" y="817"/>
                      </a:lnTo>
                      <a:lnTo>
                        <a:pt x="31344" y="754"/>
                      </a:lnTo>
                      <a:lnTo>
                        <a:pt x="31218" y="796"/>
                      </a:lnTo>
                      <a:lnTo>
                        <a:pt x="31135" y="858"/>
                      </a:lnTo>
                      <a:lnTo>
                        <a:pt x="31093" y="838"/>
                      </a:lnTo>
                      <a:lnTo>
                        <a:pt x="30988" y="942"/>
                      </a:lnTo>
                      <a:lnTo>
                        <a:pt x="30925" y="1047"/>
                      </a:lnTo>
                      <a:lnTo>
                        <a:pt x="30779" y="1047"/>
                      </a:lnTo>
                      <a:lnTo>
                        <a:pt x="30695" y="1026"/>
                      </a:lnTo>
                      <a:lnTo>
                        <a:pt x="30570" y="1172"/>
                      </a:lnTo>
                      <a:lnTo>
                        <a:pt x="30381" y="1235"/>
                      </a:lnTo>
                      <a:lnTo>
                        <a:pt x="30298" y="1256"/>
                      </a:lnTo>
                      <a:lnTo>
                        <a:pt x="30256" y="1214"/>
                      </a:lnTo>
                      <a:lnTo>
                        <a:pt x="30172" y="1214"/>
                      </a:lnTo>
                      <a:lnTo>
                        <a:pt x="30130" y="1256"/>
                      </a:lnTo>
                      <a:lnTo>
                        <a:pt x="30130" y="1361"/>
                      </a:lnTo>
                      <a:lnTo>
                        <a:pt x="30193" y="1382"/>
                      </a:lnTo>
                      <a:lnTo>
                        <a:pt x="30256" y="1382"/>
                      </a:lnTo>
                      <a:lnTo>
                        <a:pt x="30298" y="1549"/>
                      </a:lnTo>
                      <a:lnTo>
                        <a:pt x="30339" y="1758"/>
                      </a:lnTo>
                      <a:lnTo>
                        <a:pt x="30256" y="1905"/>
                      </a:lnTo>
                      <a:lnTo>
                        <a:pt x="30067" y="1905"/>
                      </a:lnTo>
                      <a:lnTo>
                        <a:pt x="29942" y="2051"/>
                      </a:lnTo>
                      <a:lnTo>
                        <a:pt x="29733" y="2093"/>
                      </a:lnTo>
                      <a:lnTo>
                        <a:pt x="29649" y="2072"/>
                      </a:lnTo>
                      <a:lnTo>
                        <a:pt x="29754" y="1988"/>
                      </a:lnTo>
                      <a:lnTo>
                        <a:pt x="29837" y="1967"/>
                      </a:lnTo>
                      <a:lnTo>
                        <a:pt x="29858" y="1842"/>
                      </a:lnTo>
                      <a:lnTo>
                        <a:pt x="29733" y="1591"/>
                      </a:lnTo>
                      <a:lnTo>
                        <a:pt x="29816" y="1444"/>
                      </a:lnTo>
                      <a:lnTo>
                        <a:pt x="29816" y="1340"/>
                      </a:lnTo>
                      <a:lnTo>
                        <a:pt x="29858" y="1256"/>
                      </a:lnTo>
                      <a:lnTo>
                        <a:pt x="29775" y="1068"/>
                      </a:lnTo>
                      <a:lnTo>
                        <a:pt x="29775" y="963"/>
                      </a:lnTo>
                      <a:lnTo>
                        <a:pt x="29628" y="817"/>
                      </a:lnTo>
                      <a:lnTo>
                        <a:pt x="29523" y="858"/>
                      </a:lnTo>
                      <a:lnTo>
                        <a:pt x="29440" y="817"/>
                      </a:lnTo>
                      <a:lnTo>
                        <a:pt x="29398" y="817"/>
                      </a:lnTo>
                      <a:lnTo>
                        <a:pt x="29356" y="942"/>
                      </a:lnTo>
                      <a:lnTo>
                        <a:pt x="29210" y="963"/>
                      </a:lnTo>
                      <a:lnTo>
                        <a:pt x="29147" y="921"/>
                      </a:lnTo>
                      <a:lnTo>
                        <a:pt x="29042" y="963"/>
                      </a:lnTo>
                      <a:lnTo>
                        <a:pt x="28938" y="1130"/>
                      </a:lnTo>
                      <a:lnTo>
                        <a:pt x="28707" y="1130"/>
                      </a:lnTo>
                      <a:lnTo>
                        <a:pt x="28707" y="1047"/>
                      </a:lnTo>
                      <a:lnTo>
                        <a:pt x="28791" y="921"/>
                      </a:lnTo>
                      <a:lnTo>
                        <a:pt x="28791" y="838"/>
                      </a:lnTo>
                      <a:lnTo>
                        <a:pt x="28707" y="817"/>
                      </a:lnTo>
                      <a:lnTo>
                        <a:pt x="28519" y="1110"/>
                      </a:lnTo>
                      <a:lnTo>
                        <a:pt x="28268" y="1214"/>
                      </a:lnTo>
                      <a:lnTo>
                        <a:pt x="28163" y="1172"/>
                      </a:lnTo>
                      <a:lnTo>
                        <a:pt x="28268" y="1026"/>
                      </a:lnTo>
                      <a:lnTo>
                        <a:pt x="28394" y="1005"/>
                      </a:lnTo>
                      <a:lnTo>
                        <a:pt x="28519" y="817"/>
                      </a:lnTo>
                      <a:lnTo>
                        <a:pt x="28498" y="691"/>
                      </a:lnTo>
                      <a:lnTo>
                        <a:pt x="28561" y="586"/>
                      </a:lnTo>
                      <a:lnTo>
                        <a:pt x="28561" y="524"/>
                      </a:lnTo>
                      <a:lnTo>
                        <a:pt x="28645" y="440"/>
                      </a:lnTo>
                      <a:lnTo>
                        <a:pt x="28645" y="398"/>
                      </a:lnTo>
                      <a:lnTo>
                        <a:pt x="28477" y="335"/>
                      </a:lnTo>
                      <a:lnTo>
                        <a:pt x="28414" y="294"/>
                      </a:lnTo>
                      <a:lnTo>
                        <a:pt x="28414" y="126"/>
                      </a:lnTo>
                      <a:lnTo>
                        <a:pt x="28373" y="105"/>
                      </a:lnTo>
                      <a:lnTo>
                        <a:pt x="28205" y="231"/>
                      </a:lnTo>
                      <a:lnTo>
                        <a:pt x="28059" y="210"/>
                      </a:lnTo>
                      <a:lnTo>
                        <a:pt x="27996" y="63"/>
                      </a:lnTo>
                      <a:lnTo>
                        <a:pt x="27891" y="63"/>
                      </a:lnTo>
                      <a:lnTo>
                        <a:pt x="27787" y="168"/>
                      </a:lnTo>
                      <a:lnTo>
                        <a:pt x="27661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>
                    <a:solidFill>
                      <a:srgbClr val="A6CBC2"/>
                    </a:solidFill>
                  </a:endParaRPr>
                </a:p>
              </p:txBody>
            </p:sp>
            <p:sp>
              <p:nvSpPr>
                <p:cNvPr id="728" name="Google Shape;728;p34"/>
                <p:cNvSpPr/>
                <p:nvPr/>
              </p:nvSpPr>
              <p:spPr>
                <a:xfrm>
                  <a:off x="5538025" y="2213300"/>
                  <a:ext cx="94175" cy="2087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7" h="8350" extrusionOk="0">
                      <a:moveTo>
                        <a:pt x="251" y="1"/>
                      </a:moveTo>
                      <a:lnTo>
                        <a:pt x="209" y="63"/>
                      </a:lnTo>
                      <a:lnTo>
                        <a:pt x="251" y="105"/>
                      </a:lnTo>
                      <a:lnTo>
                        <a:pt x="251" y="189"/>
                      </a:lnTo>
                      <a:lnTo>
                        <a:pt x="188" y="210"/>
                      </a:lnTo>
                      <a:lnTo>
                        <a:pt x="105" y="168"/>
                      </a:lnTo>
                      <a:lnTo>
                        <a:pt x="0" y="168"/>
                      </a:lnTo>
                      <a:lnTo>
                        <a:pt x="168" y="314"/>
                      </a:lnTo>
                      <a:lnTo>
                        <a:pt x="356" y="461"/>
                      </a:lnTo>
                      <a:lnTo>
                        <a:pt x="419" y="524"/>
                      </a:lnTo>
                      <a:lnTo>
                        <a:pt x="398" y="670"/>
                      </a:lnTo>
                      <a:lnTo>
                        <a:pt x="460" y="607"/>
                      </a:lnTo>
                      <a:lnTo>
                        <a:pt x="502" y="607"/>
                      </a:lnTo>
                      <a:lnTo>
                        <a:pt x="565" y="691"/>
                      </a:lnTo>
                      <a:lnTo>
                        <a:pt x="502" y="733"/>
                      </a:lnTo>
                      <a:lnTo>
                        <a:pt x="419" y="775"/>
                      </a:lnTo>
                      <a:lnTo>
                        <a:pt x="460" y="838"/>
                      </a:lnTo>
                      <a:lnTo>
                        <a:pt x="523" y="838"/>
                      </a:lnTo>
                      <a:lnTo>
                        <a:pt x="565" y="984"/>
                      </a:lnTo>
                      <a:lnTo>
                        <a:pt x="481" y="1026"/>
                      </a:lnTo>
                      <a:lnTo>
                        <a:pt x="377" y="1005"/>
                      </a:lnTo>
                      <a:lnTo>
                        <a:pt x="314" y="900"/>
                      </a:lnTo>
                      <a:lnTo>
                        <a:pt x="251" y="984"/>
                      </a:lnTo>
                      <a:lnTo>
                        <a:pt x="168" y="1130"/>
                      </a:lnTo>
                      <a:lnTo>
                        <a:pt x="272" y="1235"/>
                      </a:lnTo>
                      <a:lnTo>
                        <a:pt x="314" y="1382"/>
                      </a:lnTo>
                      <a:lnTo>
                        <a:pt x="419" y="1528"/>
                      </a:lnTo>
                      <a:lnTo>
                        <a:pt x="523" y="1716"/>
                      </a:lnTo>
                      <a:lnTo>
                        <a:pt x="523" y="1946"/>
                      </a:lnTo>
                      <a:lnTo>
                        <a:pt x="586" y="1988"/>
                      </a:lnTo>
                      <a:lnTo>
                        <a:pt x="607" y="2177"/>
                      </a:lnTo>
                      <a:lnTo>
                        <a:pt x="691" y="2470"/>
                      </a:lnTo>
                      <a:lnTo>
                        <a:pt x="774" y="2658"/>
                      </a:lnTo>
                      <a:lnTo>
                        <a:pt x="900" y="2700"/>
                      </a:lnTo>
                      <a:lnTo>
                        <a:pt x="900" y="2762"/>
                      </a:lnTo>
                      <a:lnTo>
                        <a:pt x="837" y="2804"/>
                      </a:lnTo>
                      <a:lnTo>
                        <a:pt x="1130" y="3097"/>
                      </a:lnTo>
                      <a:lnTo>
                        <a:pt x="1235" y="3118"/>
                      </a:lnTo>
                      <a:lnTo>
                        <a:pt x="1360" y="3307"/>
                      </a:lnTo>
                      <a:lnTo>
                        <a:pt x="1402" y="3516"/>
                      </a:lnTo>
                      <a:lnTo>
                        <a:pt x="1402" y="3641"/>
                      </a:lnTo>
                      <a:lnTo>
                        <a:pt x="1465" y="3809"/>
                      </a:lnTo>
                      <a:lnTo>
                        <a:pt x="1465" y="3934"/>
                      </a:lnTo>
                      <a:lnTo>
                        <a:pt x="1569" y="3976"/>
                      </a:lnTo>
                      <a:lnTo>
                        <a:pt x="1674" y="4123"/>
                      </a:lnTo>
                      <a:lnTo>
                        <a:pt x="1653" y="4143"/>
                      </a:lnTo>
                      <a:lnTo>
                        <a:pt x="1653" y="4227"/>
                      </a:lnTo>
                      <a:lnTo>
                        <a:pt x="1779" y="4436"/>
                      </a:lnTo>
                      <a:lnTo>
                        <a:pt x="1821" y="4562"/>
                      </a:lnTo>
                      <a:lnTo>
                        <a:pt x="1883" y="4708"/>
                      </a:lnTo>
                      <a:lnTo>
                        <a:pt x="1883" y="4918"/>
                      </a:lnTo>
                      <a:lnTo>
                        <a:pt x="1946" y="5001"/>
                      </a:lnTo>
                      <a:lnTo>
                        <a:pt x="1925" y="5106"/>
                      </a:lnTo>
                      <a:lnTo>
                        <a:pt x="1946" y="5315"/>
                      </a:lnTo>
                      <a:lnTo>
                        <a:pt x="2051" y="5524"/>
                      </a:lnTo>
                      <a:lnTo>
                        <a:pt x="2030" y="5608"/>
                      </a:lnTo>
                      <a:lnTo>
                        <a:pt x="2030" y="5755"/>
                      </a:lnTo>
                      <a:lnTo>
                        <a:pt x="2155" y="5859"/>
                      </a:lnTo>
                      <a:lnTo>
                        <a:pt x="2365" y="6131"/>
                      </a:lnTo>
                      <a:lnTo>
                        <a:pt x="2365" y="6257"/>
                      </a:lnTo>
                      <a:lnTo>
                        <a:pt x="2448" y="6424"/>
                      </a:lnTo>
                      <a:lnTo>
                        <a:pt x="2406" y="6654"/>
                      </a:lnTo>
                      <a:lnTo>
                        <a:pt x="2448" y="6843"/>
                      </a:lnTo>
                      <a:lnTo>
                        <a:pt x="2553" y="7010"/>
                      </a:lnTo>
                      <a:lnTo>
                        <a:pt x="2574" y="7156"/>
                      </a:lnTo>
                      <a:lnTo>
                        <a:pt x="2720" y="7324"/>
                      </a:lnTo>
                      <a:lnTo>
                        <a:pt x="2762" y="7408"/>
                      </a:lnTo>
                      <a:lnTo>
                        <a:pt x="2699" y="7596"/>
                      </a:lnTo>
                      <a:lnTo>
                        <a:pt x="2699" y="7847"/>
                      </a:lnTo>
                      <a:lnTo>
                        <a:pt x="2762" y="7993"/>
                      </a:lnTo>
                      <a:lnTo>
                        <a:pt x="2867" y="8098"/>
                      </a:lnTo>
                      <a:lnTo>
                        <a:pt x="2929" y="8244"/>
                      </a:lnTo>
                      <a:lnTo>
                        <a:pt x="3097" y="8349"/>
                      </a:lnTo>
                      <a:lnTo>
                        <a:pt x="3097" y="8349"/>
                      </a:lnTo>
                      <a:lnTo>
                        <a:pt x="3076" y="8224"/>
                      </a:lnTo>
                      <a:lnTo>
                        <a:pt x="3097" y="8098"/>
                      </a:lnTo>
                      <a:lnTo>
                        <a:pt x="3034" y="7993"/>
                      </a:lnTo>
                      <a:lnTo>
                        <a:pt x="3013" y="7847"/>
                      </a:lnTo>
                      <a:lnTo>
                        <a:pt x="3034" y="7680"/>
                      </a:lnTo>
                      <a:lnTo>
                        <a:pt x="3139" y="7575"/>
                      </a:lnTo>
                      <a:lnTo>
                        <a:pt x="3201" y="7596"/>
                      </a:lnTo>
                      <a:lnTo>
                        <a:pt x="3201" y="7680"/>
                      </a:lnTo>
                      <a:lnTo>
                        <a:pt x="3243" y="7721"/>
                      </a:lnTo>
                      <a:lnTo>
                        <a:pt x="3494" y="7700"/>
                      </a:lnTo>
                      <a:lnTo>
                        <a:pt x="3515" y="7638"/>
                      </a:lnTo>
                      <a:lnTo>
                        <a:pt x="3557" y="7638"/>
                      </a:lnTo>
                      <a:lnTo>
                        <a:pt x="3599" y="7700"/>
                      </a:lnTo>
                      <a:lnTo>
                        <a:pt x="3557" y="7721"/>
                      </a:lnTo>
                      <a:lnTo>
                        <a:pt x="3557" y="7826"/>
                      </a:lnTo>
                      <a:lnTo>
                        <a:pt x="3704" y="7952"/>
                      </a:lnTo>
                      <a:lnTo>
                        <a:pt x="3725" y="8056"/>
                      </a:lnTo>
                      <a:lnTo>
                        <a:pt x="3766" y="8119"/>
                      </a:lnTo>
                      <a:lnTo>
                        <a:pt x="3766" y="8035"/>
                      </a:lnTo>
                      <a:lnTo>
                        <a:pt x="3745" y="7993"/>
                      </a:lnTo>
                      <a:lnTo>
                        <a:pt x="3766" y="7847"/>
                      </a:lnTo>
                      <a:lnTo>
                        <a:pt x="3766" y="7721"/>
                      </a:lnTo>
                      <a:lnTo>
                        <a:pt x="3662" y="7638"/>
                      </a:lnTo>
                      <a:lnTo>
                        <a:pt x="3641" y="7491"/>
                      </a:lnTo>
                      <a:lnTo>
                        <a:pt x="3599" y="7387"/>
                      </a:lnTo>
                      <a:lnTo>
                        <a:pt x="3515" y="7428"/>
                      </a:lnTo>
                      <a:lnTo>
                        <a:pt x="3432" y="7428"/>
                      </a:lnTo>
                      <a:lnTo>
                        <a:pt x="3285" y="7324"/>
                      </a:lnTo>
                      <a:lnTo>
                        <a:pt x="3243" y="7156"/>
                      </a:lnTo>
                      <a:lnTo>
                        <a:pt x="3181" y="7010"/>
                      </a:lnTo>
                      <a:lnTo>
                        <a:pt x="3034" y="6905"/>
                      </a:lnTo>
                      <a:lnTo>
                        <a:pt x="2929" y="6884"/>
                      </a:lnTo>
                      <a:lnTo>
                        <a:pt x="2867" y="6780"/>
                      </a:lnTo>
                      <a:lnTo>
                        <a:pt x="2804" y="6571"/>
                      </a:lnTo>
                      <a:lnTo>
                        <a:pt x="2720" y="6424"/>
                      </a:lnTo>
                      <a:lnTo>
                        <a:pt x="2678" y="6278"/>
                      </a:lnTo>
                      <a:lnTo>
                        <a:pt x="2678" y="6089"/>
                      </a:lnTo>
                      <a:lnTo>
                        <a:pt x="2657" y="5859"/>
                      </a:lnTo>
                      <a:lnTo>
                        <a:pt x="2595" y="5755"/>
                      </a:lnTo>
                      <a:lnTo>
                        <a:pt x="2616" y="5545"/>
                      </a:lnTo>
                      <a:lnTo>
                        <a:pt x="2595" y="5441"/>
                      </a:lnTo>
                      <a:lnTo>
                        <a:pt x="2511" y="5294"/>
                      </a:lnTo>
                      <a:lnTo>
                        <a:pt x="2574" y="5211"/>
                      </a:lnTo>
                      <a:lnTo>
                        <a:pt x="2595" y="5127"/>
                      </a:lnTo>
                      <a:lnTo>
                        <a:pt x="2595" y="5085"/>
                      </a:lnTo>
                      <a:lnTo>
                        <a:pt x="2657" y="5043"/>
                      </a:lnTo>
                      <a:lnTo>
                        <a:pt x="2720" y="5085"/>
                      </a:lnTo>
                      <a:lnTo>
                        <a:pt x="2867" y="5043"/>
                      </a:lnTo>
                      <a:lnTo>
                        <a:pt x="2992" y="5043"/>
                      </a:lnTo>
                      <a:lnTo>
                        <a:pt x="3118" y="5127"/>
                      </a:lnTo>
                      <a:lnTo>
                        <a:pt x="3201" y="5315"/>
                      </a:lnTo>
                      <a:lnTo>
                        <a:pt x="3306" y="5336"/>
                      </a:lnTo>
                      <a:lnTo>
                        <a:pt x="3411" y="5420"/>
                      </a:lnTo>
                      <a:lnTo>
                        <a:pt x="3515" y="5566"/>
                      </a:lnTo>
                      <a:lnTo>
                        <a:pt x="3599" y="5608"/>
                      </a:lnTo>
                      <a:lnTo>
                        <a:pt x="3536" y="5483"/>
                      </a:lnTo>
                      <a:lnTo>
                        <a:pt x="3411" y="5315"/>
                      </a:lnTo>
                      <a:lnTo>
                        <a:pt x="3243" y="5211"/>
                      </a:lnTo>
                      <a:lnTo>
                        <a:pt x="3139" y="5022"/>
                      </a:lnTo>
                      <a:lnTo>
                        <a:pt x="3034" y="4897"/>
                      </a:lnTo>
                      <a:lnTo>
                        <a:pt x="3034" y="4813"/>
                      </a:lnTo>
                      <a:lnTo>
                        <a:pt x="2992" y="4771"/>
                      </a:lnTo>
                      <a:lnTo>
                        <a:pt x="2888" y="4562"/>
                      </a:lnTo>
                      <a:lnTo>
                        <a:pt x="2825" y="4436"/>
                      </a:lnTo>
                      <a:lnTo>
                        <a:pt x="2762" y="4395"/>
                      </a:lnTo>
                      <a:lnTo>
                        <a:pt x="2720" y="4269"/>
                      </a:lnTo>
                      <a:lnTo>
                        <a:pt x="2574" y="4060"/>
                      </a:lnTo>
                      <a:lnTo>
                        <a:pt x="2406" y="3809"/>
                      </a:lnTo>
                      <a:lnTo>
                        <a:pt x="2365" y="3641"/>
                      </a:lnTo>
                      <a:lnTo>
                        <a:pt x="2155" y="3390"/>
                      </a:lnTo>
                      <a:lnTo>
                        <a:pt x="2072" y="3181"/>
                      </a:lnTo>
                      <a:lnTo>
                        <a:pt x="1967" y="3118"/>
                      </a:lnTo>
                      <a:lnTo>
                        <a:pt x="1967" y="3014"/>
                      </a:lnTo>
                      <a:lnTo>
                        <a:pt x="1925" y="2888"/>
                      </a:lnTo>
                      <a:lnTo>
                        <a:pt x="1841" y="2867"/>
                      </a:lnTo>
                      <a:lnTo>
                        <a:pt x="1841" y="2909"/>
                      </a:lnTo>
                      <a:lnTo>
                        <a:pt x="1758" y="2909"/>
                      </a:lnTo>
                      <a:lnTo>
                        <a:pt x="1737" y="2867"/>
                      </a:lnTo>
                      <a:lnTo>
                        <a:pt x="1758" y="2762"/>
                      </a:lnTo>
                      <a:lnTo>
                        <a:pt x="1737" y="2679"/>
                      </a:lnTo>
                      <a:lnTo>
                        <a:pt x="1632" y="2616"/>
                      </a:lnTo>
                      <a:lnTo>
                        <a:pt x="1528" y="2490"/>
                      </a:lnTo>
                      <a:lnTo>
                        <a:pt x="1465" y="2344"/>
                      </a:lnTo>
                      <a:lnTo>
                        <a:pt x="1402" y="2260"/>
                      </a:lnTo>
                      <a:lnTo>
                        <a:pt x="1402" y="2135"/>
                      </a:lnTo>
                      <a:lnTo>
                        <a:pt x="1423" y="2030"/>
                      </a:lnTo>
                      <a:lnTo>
                        <a:pt x="1444" y="2051"/>
                      </a:lnTo>
                      <a:lnTo>
                        <a:pt x="1423" y="1884"/>
                      </a:lnTo>
                      <a:lnTo>
                        <a:pt x="1402" y="1716"/>
                      </a:lnTo>
                      <a:lnTo>
                        <a:pt x="1360" y="1570"/>
                      </a:lnTo>
                      <a:lnTo>
                        <a:pt x="1235" y="1528"/>
                      </a:lnTo>
                      <a:lnTo>
                        <a:pt x="1109" y="1382"/>
                      </a:lnTo>
                      <a:lnTo>
                        <a:pt x="1109" y="1319"/>
                      </a:lnTo>
                      <a:lnTo>
                        <a:pt x="1046" y="1256"/>
                      </a:lnTo>
                      <a:lnTo>
                        <a:pt x="1046" y="1193"/>
                      </a:lnTo>
                      <a:lnTo>
                        <a:pt x="1109" y="1193"/>
                      </a:lnTo>
                      <a:lnTo>
                        <a:pt x="1214" y="1298"/>
                      </a:lnTo>
                      <a:lnTo>
                        <a:pt x="1318" y="1444"/>
                      </a:lnTo>
                      <a:lnTo>
                        <a:pt x="1318" y="1444"/>
                      </a:lnTo>
                      <a:lnTo>
                        <a:pt x="1256" y="1298"/>
                      </a:lnTo>
                      <a:lnTo>
                        <a:pt x="1130" y="1110"/>
                      </a:lnTo>
                      <a:lnTo>
                        <a:pt x="1005" y="942"/>
                      </a:lnTo>
                      <a:lnTo>
                        <a:pt x="942" y="942"/>
                      </a:lnTo>
                      <a:lnTo>
                        <a:pt x="921" y="858"/>
                      </a:lnTo>
                      <a:lnTo>
                        <a:pt x="691" y="670"/>
                      </a:lnTo>
                      <a:lnTo>
                        <a:pt x="607" y="566"/>
                      </a:lnTo>
                      <a:lnTo>
                        <a:pt x="607" y="335"/>
                      </a:lnTo>
                      <a:lnTo>
                        <a:pt x="523" y="273"/>
                      </a:lnTo>
                      <a:lnTo>
                        <a:pt x="377" y="210"/>
                      </a:lnTo>
                      <a:lnTo>
                        <a:pt x="293" y="63"/>
                      </a:lnTo>
                      <a:lnTo>
                        <a:pt x="251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29" name="Google Shape;729;p34"/>
            <p:cNvGrpSpPr/>
            <p:nvPr/>
          </p:nvGrpSpPr>
          <p:grpSpPr>
            <a:xfrm>
              <a:off x="3875768" y="2846704"/>
              <a:ext cx="44796" cy="47366"/>
              <a:chOff x="3960625" y="2587825"/>
              <a:chExt cx="94050" cy="104125"/>
            </a:xfrm>
          </p:grpSpPr>
          <p:sp>
            <p:nvSpPr>
              <p:cNvPr id="730" name="Google Shape;730;p34"/>
              <p:cNvSpPr/>
              <p:nvPr/>
            </p:nvSpPr>
            <p:spPr>
              <a:xfrm>
                <a:off x="3960625" y="2587825"/>
                <a:ext cx="94050" cy="51200"/>
              </a:xfrm>
              <a:custGeom>
                <a:avLst/>
                <a:gdLst/>
                <a:ahLst/>
                <a:cxnLst/>
                <a:rect l="l" t="t" r="r" b="b"/>
                <a:pathLst>
                  <a:path w="3762" h="2048" extrusionOk="0">
                    <a:moveTo>
                      <a:pt x="190" y="2048"/>
                    </a:moveTo>
                    <a:lnTo>
                      <a:pt x="0" y="1762"/>
                    </a:lnTo>
                    <a:lnTo>
                      <a:pt x="309" y="1048"/>
                    </a:lnTo>
                    <a:lnTo>
                      <a:pt x="3762" y="0"/>
                    </a:lnTo>
                    <a:lnTo>
                      <a:pt x="3714" y="1072"/>
                    </a:lnTo>
                    <a:lnTo>
                      <a:pt x="2929" y="1143"/>
                    </a:lnTo>
                    <a:lnTo>
                      <a:pt x="2167" y="10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31" name="Google Shape;731;p34"/>
              <p:cNvSpPr/>
              <p:nvPr/>
            </p:nvSpPr>
            <p:spPr>
              <a:xfrm>
                <a:off x="3963000" y="2596725"/>
                <a:ext cx="86850" cy="95225"/>
              </a:xfrm>
              <a:custGeom>
                <a:avLst/>
                <a:gdLst/>
                <a:ahLst/>
                <a:cxnLst/>
                <a:rect l="l" t="t" r="r" b="b"/>
                <a:pathLst>
                  <a:path w="3474" h="3809" extrusionOk="0">
                    <a:moveTo>
                      <a:pt x="1549" y="2009"/>
                    </a:moveTo>
                    <a:lnTo>
                      <a:pt x="1632" y="2030"/>
                    </a:lnTo>
                    <a:lnTo>
                      <a:pt x="1695" y="2093"/>
                    </a:lnTo>
                    <a:lnTo>
                      <a:pt x="1674" y="2135"/>
                    </a:lnTo>
                    <a:lnTo>
                      <a:pt x="1674" y="2189"/>
                    </a:lnTo>
                    <a:lnTo>
                      <a:pt x="1674" y="2189"/>
                    </a:lnTo>
                    <a:cubicBezTo>
                      <a:pt x="1645" y="2167"/>
                      <a:pt x="1613" y="2146"/>
                      <a:pt x="1569" y="2135"/>
                    </a:cubicBezTo>
                    <a:cubicBezTo>
                      <a:pt x="1549" y="2114"/>
                      <a:pt x="1528" y="2114"/>
                      <a:pt x="1486" y="2114"/>
                    </a:cubicBezTo>
                    <a:lnTo>
                      <a:pt x="1549" y="2072"/>
                    </a:lnTo>
                    <a:lnTo>
                      <a:pt x="1549" y="2009"/>
                    </a:lnTo>
                    <a:close/>
                    <a:moveTo>
                      <a:pt x="3327" y="1"/>
                    </a:moveTo>
                    <a:lnTo>
                      <a:pt x="3201" y="105"/>
                    </a:lnTo>
                    <a:lnTo>
                      <a:pt x="3201" y="231"/>
                    </a:lnTo>
                    <a:lnTo>
                      <a:pt x="3243" y="335"/>
                    </a:lnTo>
                    <a:lnTo>
                      <a:pt x="3160" y="377"/>
                    </a:lnTo>
                    <a:lnTo>
                      <a:pt x="2929" y="356"/>
                    </a:lnTo>
                    <a:lnTo>
                      <a:pt x="2825" y="419"/>
                    </a:lnTo>
                    <a:lnTo>
                      <a:pt x="2720" y="356"/>
                    </a:lnTo>
                    <a:lnTo>
                      <a:pt x="2616" y="356"/>
                    </a:lnTo>
                    <a:lnTo>
                      <a:pt x="2532" y="419"/>
                    </a:lnTo>
                    <a:lnTo>
                      <a:pt x="2427" y="419"/>
                    </a:lnTo>
                    <a:lnTo>
                      <a:pt x="2406" y="314"/>
                    </a:lnTo>
                    <a:lnTo>
                      <a:pt x="2260" y="314"/>
                    </a:lnTo>
                    <a:lnTo>
                      <a:pt x="2113" y="273"/>
                    </a:lnTo>
                    <a:lnTo>
                      <a:pt x="2009" y="377"/>
                    </a:lnTo>
                    <a:lnTo>
                      <a:pt x="1862" y="419"/>
                    </a:lnTo>
                    <a:lnTo>
                      <a:pt x="1674" y="419"/>
                    </a:lnTo>
                    <a:lnTo>
                      <a:pt x="1632" y="377"/>
                    </a:lnTo>
                    <a:lnTo>
                      <a:pt x="1549" y="440"/>
                    </a:lnTo>
                    <a:lnTo>
                      <a:pt x="1444" y="440"/>
                    </a:lnTo>
                    <a:lnTo>
                      <a:pt x="1318" y="524"/>
                    </a:lnTo>
                    <a:lnTo>
                      <a:pt x="1025" y="524"/>
                    </a:lnTo>
                    <a:lnTo>
                      <a:pt x="900" y="586"/>
                    </a:lnTo>
                    <a:lnTo>
                      <a:pt x="900" y="649"/>
                    </a:lnTo>
                    <a:lnTo>
                      <a:pt x="732" y="691"/>
                    </a:lnTo>
                    <a:lnTo>
                      <a:pt x="502" y="838"/>
                    </a:lnTo>
                    <a:lnTo>
                      <a:pt x="481" y="984"/>
                    </a:lnTo>
                    <a:lnTo>
                      <a:pt x="398" y="1151"/>
                    </a:lnTo>
                    <a:lnTo>
                      <a:pt x="168" y="1214"/>
                    </a:lnTo>
                    <a:lnTo>
                      <a:pt x="168" y="1361"/>
                    </a:lnTo>
                    <a:lnTo>
                      <a:pt x="84" y="1507"/>
                    </a:lnTo>
                    <a:lnTo>
                      <a:pt x="0" y="1570"/>
                    </a:lnTo>
                    <a:lnTo>
                      <a:pt x="0" y="1716"/>
                    </a:lnTo>
                    <a:lnTo>
                      <a:pt x="209" y="1884"/>
                    </a:lnTo>
                    <a:lnTo>
                      <a:pt x="335" y="2072"/>
                    </a:lnTo>
                    <a:lnTo>
                      <a:pt x="398" y="2093"/>
                    </a:lnTo>
                    <a:lnTo>
                      <a:pt x="398" y="2135"/>
                    </a:lnTo>
                    <a:lnTo>
                      <a:pt x="544" y="2365"/>
                    </a:lnTo>
                    <a:lnTo>
                      <a:pt x="586" y="2532"/>
                    </a:lnTo>
                    <a:lnTo>
                      <a:pt x="649" y="2553"/>
                    </a:lnTo>
                    <a:lnTo>
                      <a:pt x="753" y="2449"/>
                    </a:lnTo>
                    <a:lnTo>
                      <a:pt x="837" y="2553"/>
                    </a:lnTo>
                    <a:lnTo>
                      <a:pt x="963" y="2595"/>
                    </a:lnTo>
                    <a:lnTo>
                      <a:pt x="1025" y="2511"/>
                    </a:lnTo>
                    <a:lnTo>
                      <a:pt x="1130" y="2511"/>
                    </a:lnTo>
                    <a:lnTo>
                      <a:pt x="1277" y="2595"/>
                    </a:lnTo>
                    <a:lnTo>
                      <a:pt x="1360" y="2532"/>
                    </a:lnTo>
                    <a:lnTo>
                      <a:pt x="1381" y="2616"/>
                    </a:lnTo>
                    <a:lnTo>
                      <a:pt x="1465" y="2616"/>
                    </a:lnTo>
                    <a:lnTo>
                      <a:pt x="1528" y="2658"/>
                    </a:lnTo>
                    <a:lnTo>
                      <a:pt x="1653" y="2700"/>
                    </a:lnTo>
                    <a:lnTo>
                      <a:pt x="1569" y="2742"/>
                    </a:lnTo>
                    <a:lnTo>
                      <a:pt x="1486" y="2825"/>
                    </a:lnTo>
                    <a:lnTo>
                      <a:pt x="1423" y="2762"/>
                    </a:lnTo>
                    <a:lnTo>
                      <a:pt x="1318" y="2742"/>
                    </a:lnTo>
                    <a:lnTo>
                      <a:pt x="1067" y="2595"/>
                    </a:lnTo>
                    <a:lnTo>
                      <a:pt x="963" y="2616"/>
                    </a:lnTo>
                    <a:lnTo>
                      <a:pt x="858" y="2658"/>
                    </a:lnTo>
                    <a:lnTo>
                      <a:pt x="753" y="2616"/>
                    </a:lnTo>
                    <a:lnTo>
                      <a:pt x="691" y="2721"/>
                    </a:lnTo>
                    <a:lnTo>
                      <a:pt x="628" y="2742"/>
                    </a:lnTo>
                    <a:lnTo>
                      <a:pt x="607" y="2846"/>
                    </a:lnTo>
                    <a:lnTo>
                      <a:pt x="732" y="2972"/>
                    </a:lnTo>
                    <a:lnTo>
                      <a:pt x="858" y="3035"/>
                    </a:lnTo>
                    <a:lnTo>
                      <a:pt x="1004" y="3139"/>
                    </a:lnTo>
                    <a:lnTo>
                      <a:pt x="1004" y="3223"/>
                    </a:lnTo>
                    <a:lnTo>
                      <a:pt x="942" y="3265"/>
                    </a:lnTo>
                    <a:lnTo>
                      <a:pt x="942" y="3369"/>
                    </a:lnTo>
                    <a:lnTo>
                      <a:pt x="1046" y="3495"/>
                    </a:lnTo>
                    <a:lnTo>
                      <a:pt x="1130" y="3579"/>
                    </a:lnTo>
                    <a:lnTo>
                      <a:pt x="1151" y="3495"/>
                    </a:lnTo>
                    <a:lnTo>
                      <a:pt x="1130" y="3453"/>
                    </a:lnTo>
                    <a:lnTo>
                      <a:pt x="1172" y="3348"/>
                    </a:lnTo>
                    <a:lnTo>
                      <a:pt x="1214" y="3474"/>
                    </a:lnTo>
                    <a:lnTo>
                      <a:pt x="1360" y="3537"/>
                    </a:lnTo>
                    <a:lnTo>
                      <a:pt x="1381" y="3599"/>
                    </a:lnTo>
                    <a:lnTo>
                      <a:pt x="1360" y="3704"/>
                    </a:lnTo>
                    <a:lnTo>
                      <a:pt x="1423" y="3788"/>
                    </a:lnTo>
                    <a:lnTo>
                      <a:pt x="1423" y="3746"/>
                    </a:lnTo>
                    <a:lnTo>
                      <a:pt x="1465" y="3599"/>
                    </a:lnTo>
                    <a:lnTo>
                      <a:pt x="1569" y="3599"/>
                    </a:lnTo>
                    <a:lnTo>
                      <a:pt x="1632" y="3704"/>
                    </a:lnTo>
                    <a:lnTo>
                      <a:pt x="1800" y="3809"/>
                    </a:lnTo>
                    <a:lnTo>
                      <a:pt x="1800" y="3809"/>
                    </a:lnTo>
                    <a:lnTo>
                      <a:pt x="1737" y="3704"/>
                    </a:lnTo>
                    <a:lnTo>
                      <a:pt x="1758" y="3641"/>
                    </a:lnTo>
                    <a:lnTo>
                      <a:pt x="1695" y="3537"/>
                    </a:lnTo>
                    <a:lnTo>
                      <a:pt x="1632" y="3348"/>
                    </a:lnTo>
                    <a:lnTo>
                      <a:pt x="1549" y="3244"/>
                    </a:lnTo>
                    <a:lnTo>
                      <a:pt x="1549" y="3181"/>
                    </a:lnTo>
                    <a:lnTo>
                      <a:pt x="1632" y="3181"/>
                    </a:lnTo>
                    <a:lnTo>
                      <a:pt x="1758" y="3265"/>
                    </a:lnTo>
                    <a:lnTo>
                      <a:pt x="1737" y="3327"/>
                    </a:lnTo>
                    <a:lnTo>
                      <a:pt x="1758" y="3369"/>
                    </a:lnTo>
                    <a:lnTo>
                      <a:pt x="1841" y="3286"/>
                    </a:lnTo>
                    <a:lnTo>
                      <a:pt x="1967" y="3348"/>
                    </a:lnTo>
                    <a:lnTo>
                      <a:pt x="1967" y="3286"/>
                    </a:lnTo>
                    <a:lnTo>
                      <a:pt x="1904" y="3244"/>
                    </a:lnTo>
                    <a:lnTo>
                      <a:pt x="1904" y="3181"/>
                    </a:lnTo>
                    <a:lnTo>
                      <a:pt x="1862" y="3181"/>
                    </a:lnTo>
                    <a:lnTo>
                      <a:pt x="1758" y="3139"/>
                    </a:lnTo>
                    <a:lnTo>
                      <a:pt x="1758" y="3076"/>
                    </a:lnTo>
                    <a:lnTo>
                      <a:pt x="1653" y="3014"/>
                    </a:lnTo>
                    <a:lnTo>
                      <a:pt x="1758" y="2951"/>
                    </a:lnTo>
                    <a:lnTo>
                      <a:pt x="1862" y="2951"/>
                    </a:lnTo>
                    <a:lnTo>
                      <a:pt x="1904" y="2909"/>
                    </a:lnTo>
                    <a:lnTo>
                      <a:pt x="2072" y="3014"/>
                    </a:lnTo>
                    <a:lnTo>
                      <a:pt x="2093" y="3055"/>
                    </a:lnTo>
                    <a:lnTo>
                      <a:pt x="2197" y="3076"/>
                    </a:lnTo>
                    <a:lnTo>
                      <a:pt x="2218" y="3035"/>
                    </a:lnTo>
                    <a:lnTo>
                      <a:pt x="2113" y="2909"/>
                    </a:lnTo>
                    <a:lnTo>
                      <a:pt x="2155" y="2762"/>
                    </a:lnTo>
                    <a:lnTo>
                      <a:pt x="2093" y="2700"/>
                    </a:lnTo>
                    <a:lnTo>
                      <a:pt x="1841" y="2532"/>
                    </a:lnTo>
                    <a:lnTo>
                      <a:pt x="1758" y="2511"/>
                    </a:lnTo>
                    <a:lnTo>
                      <a:pt x="1737" y="2490"/>
                    </a:lnTo>
                    <a:cubicBezTo>
                      <a:pt x="1758" y="2490"/>
                      <a:pt x="1779" y="2449"/>
                      <a:pt x="1800" y="2407"/>
                    </a:cubicBezTo>
                    <a:lnTo>
                      <a:pt x="1862" y="2449"/>
                    </a:lnTo>
                    <a:lnTo>
                      <a:pt x="1946" y="2490"/>
                    </a:lnTo>
                    <a:lnTo>
                      <a:pt x="1988" y="2553"/>
                    </a:lnTo>
                    <a:lnTo>
                      <a:pt x="2093" y="2616"/>
                    </a:lnTo>
                    <a:lnTo>
                      <a:pt x="2176" y="2616"/>
                    </a:lnTo>
                    <a:lnTo>
                      <a:pt x="2197" y="2658"/>
                    </a:lnTo>
                    <a:lnTo>
                      <a:pt x="2281" y="2762"/>
                    </a:lnTo>
                    <a:lnTo>
                      <a:pt x="2323" y="2825"/>
                    </a:lnTo>
                    <a:lnTo>
                      <a:pt x="2323" y="2867"/>
                    </a:lnTo>
                    <a:lnTo>
                      <a:pt x="2365" y="2930"/>
                    </a:lnTo>
                    <a:lnTo>
                      <a:pt x="2427" y="2972"/>
                    </a:lnTo>
                    <a:lnTo>
                      <a:pt x="2490" y="2951"/>
                    </a:lnTo>
                    <a:lnTo>
                      <a:pt x="2532" y="2972"/>
                    </a:lnTo>
                    <a:lnTo>
                      <a:pt x="2595" y="2867"/>
                    </a:lnTo>
                    <a:lnTo>
                      <a:pt x="2490" y="2867"/>
                    </a:lnTo>
                    <a:lnTo>
                      <a:pt x="2469" y="2888"/>
                    </a:lnTo>
                    <a:lnTo>
                      <a:pt x="2385" y="2825"/>
                    </a:lnTo>
                    <a:lnTo>
                      <a:pt x="2385" y="2742"/>
                    </a:lnTo>
                    <a:lnTo>
                      <a:pt x="2365" y="2679"/>
                    </a:lnTo>
                    <a:lnTo>
                      <a:pt x="2365" y="2637"/>
                    </a:lnTo>
                    <a:lnTo>
                      <a:pt x="2302" y="2553"/>
                    </a:lnTo>
                    <a:lnTo>
                      <a:pt x="2176" y="2428"/>
                    </a:lnTo>
                    <a:lnTo>
                      <a:pt x="2176" y="2449"/>
                    </a:lnTo>
                    <a:lnTo>
                      <a:pt x="2093" y="2449"/>
                    </a:lnTo>
                    <a:lnTo>
                      <a:pt x="2093" y="2428"/>
                    </a:lnTo>
                    <a:lnTo>
                      <a:pt x="1988" y="2365"/>
                    </a:lnTo>
                    <a:lnTo>
                      <a:pt x="1883" y="2344"/>
                    </a:lnTo>
                    <a:lnTo>
                      <a:pt x="1800" y="2239"/>
                    </a:lnTo>
                    <a:lnTo>
                      <a:pt x="1758" y="2239"/>
                    </a:lnTo>
                    <a:cubicBezTo>
                      <a:pt x="1730" y="2230"/>
                      <a:pt x="1706" y="2212"/>
                      <a:pt x="1680" y="2193"/>
                    </a:cubicBezTo>
                    <a:lnTo>
                      <a:pt x="1680" y="2193"/>
                    </a:lnTo>
                    <a:lnTo>
                      <a:pt x="1737" y="2156"/>
                    </a:lnTo>
                    <a:lnTo>
                      <a:pt x="1758" y="2030"/>
                    </a:lnTo>
                    <a:lnTo>
                      <a:pt x="1674" y="1946"/>
                    </a:lnTo>
                    <a:lnTo>
                      <a:pt x="1486" y="1737"/>
                    </a:lnTo>
                    <a:lnTo>
                      <a:pt x="1423" y="1695"/>
                    </a:lnTo>
                    <a:lnTo>
                      <a:pt x="1381" y="1612"/>
                    </a:lnTo>
                    <a:lnTo>
                      <a:pt x="1256" y="1507"/>
                    </a:lnTo>
                    <a:lnTo>
                      <a:pt x="1318" y="1465"/>
                    </a:lnTo>
                    <a:lnTo>
                      <a:pt x="1277" y="1235"/>
                    </a:lnTo>
                    <a:lnTo>
                      <a:pt x="1360" y="1130"/>
                    </a:lnTo>
                    <a:lnTo>
                      <a:pt x="1486" y="1089"/>
                    </a:lnTo>
                    <a:lnTo>
                      <a:pt x="1528" y="1193"/>
                    </a:lnTo>
                    <a:lnTo>
                      <a:pt x="1465" y="1193"/>
                    </a:lnTo>
                    <a:lnTo>
                      <a:pt x="1465" y="1256"/>
                    </a:lnTo>
                    <a:lnTo>
                      <a:pt x="1653" y="1319"/>
                    </a:lnTo>
                    <a:lnTo>
                      <a:pt x="1674" y="1465"/>
                    </a:lnTo>
                    <a:lnTo>
                      <a:pt x="1779" y="1570"/>
                    </a:lnTo>
                    <a:lnTo>
                      <a:pt x="1904" y="1570"/>
                    </a:lnTo>
                    <a:lnTo>
                      <a:pt x="1841" y="1507"/>
                    </a:lnTo>
                    <a:lnTo>
                      <a:pt x="1779" y="1423"/>
                    </a:lnTo>
                    <a:lnTo>
                      <a:pt x="1800" y="1361"/>
                    </a:lnTo>
                    <a:lnTo>
                      <a:pt x="1946" y="1402"/>
                    </a:lnTo>
                    <a:lnTo>
                      <a:pt x="2009" y="1528"/>
                    </a:lnTo>
                    <a:lnTo>
                      <a:pt x="2093" y="1570"/>
                    </a:lnTo>
                    <a:lnTo>
                      <a:pt x="2155" y="1486"/>
                    </a:lnTo>
                    <a:lnTo>
                      <a:pt x="2072" y="1423"/>
                    </a:lnTo>
                    <a:lnTo>
                      <a:pt x="1988" y="1402"/>
                    </a:lnTo>
                    <a:lnTo>
                      <a:pt x="1988" y="1361"/>
                    </a:lnTo>
                    <a:lnTo>
                      <a:pt x="2197" y="1361"/>
                    </a:lnTo>
                    <a:lnTo>
                      <a:pt x="2281" y="1423"/>
                    </a:lnTo>
                    <a:lnTo>
                      <a:pt x="2302" y="1402"/>
                    </a:lnTo>
                    <a:lnTo>
                      <a:pt x="2176" y="1298"/>
                    </a:lnTo>
                    <a:lnTo>
                      <a:pt x="2051" y="1277"/>
                    </a:lnTo>
                    <a:lnTo>
                      <a:pt x="1946" y="1151"/>
                    </a:lnTo>
                    <a:lnTo>
                      <a:pt x="1988" y="1068"/>
                    </a:lnTo>
                    <a:lnTo>
                      <a:pt x="2093" y="1089"/>
                    </a:lnTo>
                    <a:lnTo>
                      <a:pt x="2176" y="1047"/>
                    </a:lnTo>
                    <a:lnTo>
                      <a:pt x="2218" y="879"/>
                    </a:lnTo>
                    <a:lnTo>
                      <a:pt x="2302" y="858"/>
                    </a:lnTo>
                    <a:lnTo>
                      <a:pt x="2427" y="963"/>
                    </a:lnTo>
                    <a:lnTo>
                      <a:pt x="2532" y="963"/>
                    </a:lnTo>
                    <a:lnTo>
                      <a:pt x="2637" y="858"/>
                    </a:lnTo>
                    <a:lnTo>
                      <a:pt x="2637" y="796"/>
                    </a:lnTo>
                    <a:lnTo>
                      <a:pt x="2699" y="796"/>
                    </a:lnTo>
                    <a:lnTo>
                      <a:pt x="2783" y="879"/>
                    </a:lnTo>
                    <a:lnTo>
                      <a:pt x="3013" y="879"/>
                    </a:lnTo>
                    <a:lnTo>
                      <a:pt x="3201" y="942"/>
                    </a:lnTo>
                    <a:lnTo>
                      <a:pt x="3327" y="900"/>
                    </a:lnTo>
                    <a:lnTo>
                      <a:pt x="3348" y="566"/>
                    </a:lnTo>
                    <a:lnTo>
                      <a:pt x="3327" y="440"/>
                    </a:lnTo>
                    <a:lnTo>
                      <a:pt x="3473" y="335"/>
                    </a:lnTo>
                    <a:lnTo>
                      <a:pt x="3473" y="210"/>
                    </a:lnTo>
                    <a:lnTo>
                      <a:pt x="3369" y="147"/>
                    </a:lnTo>
                    <a:lnTo>
                      <a:pt x="341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32" name="Google Shape;732;p34"/>
            <p:cNvGrpSpPr/>
            <p:nvPr/>
          </p:nvGrpSpPr>
          <p:grpSpPr>
            <a:xfrm>
              <a:off x="3782759" y="2807162"/>
              <a:ext cx="82686" cy="85487"/>
              <a:chOff x="3765350" y="2500900"/>
              <a:chExt cx="173600" cy="187925"/>
            </a:xfrm>
          </p:grpSpPr>
          <p:sp>
            <p:nvSpPr>
              <p:cNvPr id="733" name="Google Shape;733;p34"/>
              <p:cNvSpPr/>
              <p:nvPr/>
            </p:nvSpPr>
            <p:spPr>
              <a:xfrm>
                <a:off x="3765350" y="2500900"/>
                <a:ext cx="108950" cy="64300"/>
              </a:xfrm>
              <a:custGeom>
                <a:avLst/>
                <a:gdLst/>
                <a:ahLst/>
                <a:cxnLst/>
                <a:rect l="l" t="t" r="r" b="b"/>
                <a:pathLst>
                  <a:path w="4358" h="2572" extrusionOk="0">
                    <a:moveTo>
                      <a:pt x="1286" y="596"/>
                    </a:moveTo>
                    <a:lnTo>
                      <a:pt x="0" y="1072"/>
                    </a:lnTo>
                    <a:lnTo>
                      <a:pt x="429" y="2239"/>
                    </a:lnTo>
                    <a:lnTo>
                      <a:pt x="857" y="2572"/>
                    </a:lnTo>
                    <a:lnTo>
                      <a:pt x="2191" y="1215"/>
                    </a:lnTo>
                    <a:lnTo>
                      <a:pt x="4024" y="1072"/>
                    </a:lnTo>
                    <a:lnTo>
                      <a:pt x="4358" y="429"/>
                    </a:lnTo>
                    <a:lnTo>
                      <a:pt x="3120" y="0"/>
                    </a:lnTo>
                    <a:lnTo>
                      <a:pt x="2477" y="358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34" name="Google Shape;734;p34"/>
              <p:cNvSpPr/>
              <p:nvPr/>
            </p:nvSpPr>
            <p:spPr>
              <a:xfrm>
                <a:off x="3797175" y="2609800"/>
                <a:ext cx="2625" cy="3700"/>
              </a:xfrm>
              <a:custGeom>
                <a:avLst/>
                <a:gdLst/>
                <a:ahLst/>
                <a:cxnLst/>
                <a:rect l="l" t="t" r="r" b="b"/>
                <a:pathLst>
                  <a:path w="105" h="148" extrusionOk="0">
                    <a:moveTo>
                      <a:pt x="42" y="1"/>
                    </a:moveTo>
                    <a:lnTo>
                      <a:pt x="21" y="43"/>
                    </a:lnTo>
                    <a:lnTo>
                      <a:pt x="0" y="84"/>
                    </a:lnTo>
                    <a:lnTo>
                      <a:pt x="0" y="147"/>
                    </a:lnTo>
                    <a:lnTo>
                      <a:pt x="21" y="147"/>
                    </a:lnTo>
                    <a:lnTo>
                      <a:pt x="42" y="105"/>
                    </a:lnTo>
                    <a:lnTo>
                      <a:pt x="105" y="22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5" name="Google Shape;735;p34"/>
              <p:cNvSpPr/>
              <p:nvPr/>
            </p:nvSpPr>
            <p:spPr>
              <a:xfrm>
                <a:off x="3796125" y="2610325"/>
                <a:ext cx="22525" cy="41875"/>
              </a:xfrm>
              <a:custGeom>
                <a:avLst/>
                <a:gdLst/>
                <a:ahLst/>
                <a:cxnLst/>
                <a:rect l="l" t="t" r="r" b="b"/>
                <a:pathLst>
                  <a:path w="901" h="1675" extrusionOk="0">
                    <a:moveTo>
                      <a:pt x="565" y="1"/>
                    </a:moveTo>
                    <a:lnTo>
                      <a:pt x="461" y="22"/>
                    </a:lnTo>
                    <a:lnTo>
                      <a:pt x="252" y="273"/>
                    </a:lnTo>
                    <a:lnTo>
                      <a:pt x="168" y="273"/>
                    </a:lnTo>
                    <a:lnTo>
                      <a:pt x="42" y="189"/>
                    </a:lnTo>
                    <a:lnTo>
                      <a:pt x="42" y="314"/>
                    </a:lnTo>
                    <a:lnTo>
                      <a:pt x="1" y="398"/>
                    </a:lnTo>
                    <a:lnTo>
                      <a:pt x="105" y="503"/>
                    </a:lnTo>
                    <a:lnTo>
                      <a:pt x="105" y="586"/>
                    </a:lnTo>
                    <a:lnTo>
                      <a:pt x="189" y="649"/>
                    </a:lnTo>
                    <a:lnTo>
                      <a:pt x="189" y="796"/>
                    </a:lnTo>
                    <a:lnTo>
                      <a:pt x="105" y="858"/>
                    </a:lnTo>
                    <a:lnTo>
                      <a:pt x="147" y="942"/>
                    </a:lnTo>
                    <a:lnTo>
                      <a:pt x="273" y="942"/>
                    </a:lnTo>
                    <a:lnTo>
                      <a:pt x="273" y="1005"/>
                    </a:lnTo>
                    <a:lnTo>
                      <a:pt x="189" y="1068"/>
                    </a:lnTo>
                    <a:lnTo>
                      <a:pt x="147" y="1277"/>
                    </a:lnTo>
                    <a:lnTo>
                      <a:pt x="189" y="1361"/>
                    </a:lnTo>
                    <a:lnTo>
                      <a:pt x="252" y="1591"/>
                    </a:lnTo>
                    <a:lnTo>
                      <a:pt x="314" y="1674"/>
                    </a:lnTo>
                    <a:lnTo>
                      <a:pt x="377" y="1654"/>
                    </a:lnTo>
                    <a:lnTo>
                      <a:pt x="419" y="1674"/>
                    </a:lnTo>
                    <a:lnTo>
                      <a:pt x="503" y="1654"/>
                    </a:lnTo>
                    <a:lnTo>
                      <a:pt x="524" y="1528"/>
                    </a:lnTo>
                    <a:lnTo>
                      <a:pt x="565" y="1444"/>
                    </a:lnTo>
                    <a:lnTo>
                      <a:pt x="670" y="1444"/>
                    </a:lnTo>
                    <a:lnTo>
                      <a:pt x="733" y="1528"/>
                    </a:lnTo>
                    <a:lnTo>
                      <a:pt x="796" y="1528"/>
                    </a:lnTo>
                    <a:lnTo>
                      <a:pt x="837" y="1444"/>
                    </a:lnTo>
                    <a:lnTo>
                      <a:pt x="837" y="1214"/>
                    </a:lnTo>
                    <a:lnTo>
                      <a:pt x="879" y="1151"/>
                    </a:lnTo>
                    <a:lnTo>
                      <a:pt x="837" y="921"/>
                    </a:lnTo>
                    <a:lnTo>
                      <a:pt x="900" y="712"/>
                    </a:lnTo>
                    <a:lnTo>
                      <a:pt x="733" y="586"/>
                    </a:lnTo>
                    <a:lnTo>
                      <a:pt x="879" y="503"/>
                    </a:lnTo>
                    <a:lnTo>
                      <a:pt x="879" y="419"/>
                    </a:lnTo>
                    <a:lnTo>
                      <a:pt x="837" y="294"/>
                    </a:lnTo>
                    <a:lnTo>
                      <a:pt x="775" y="189"/>
                    </a:lnTo>
                    <a:lnTo>
                      <a:pt x="691" y="63"/>
                    </a:lnTo>
                    <a:lnTo>
                      <a:pt x="670" y="84"/>
                    </a:lnTo>
                    <a:lnTo>
                      <a:pt x="56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6" name="Google Shape;736;p34"/>
              <p:cNvSpPr/>
              <p:nvPr/>
            </p:nvSpPr>
            <p:spPr>
              <a:xfrm>
                <a:off x="3821225" y="2579475"/>
                <a:ext cx="630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252" h="168" extrusionOk="0">
                    <a:moveTo>
                      <a:pt x="189" y="0"/>
                    </a:moveTo>
                    <a:lnTo>
                      <a:pt x="147" y="42"/>
                    </a:lnTo>
                    <a:lnTo>
                      <a:pt x="43" y="84"/>
                    </a:lnTo>
                    <a:lnTo>
                      <a:pt x="1" y="147"/>
                    </a:lnTo>
                    <a:lnTo>
                      <a:pt x="43" y="167"/>
                    </a:lnTo>
                    <a:lnTo>
                      <a:pt x="189" y="147"/>
                    </a:lnTo>
                    <a:lnTo>
                      <a:pt x="252" y="147"/>
                    </a:lnTo>
                    <a:lnTo>
                      <a:pt x="252" y="63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7" name="Google Shape;737;p34"/>
              <p:cNvSpPr/>
              <p:nvPr/>
            </p:nvSpPr>
            <p:spPr>
              <a:xfrm>
                <a:off x="3833800" y="2589400"/>
                <a:ext cx="1575" cy="1600"/>
              </a:xfrm>
              <a:custGeom>
                <a:avLst/>
                <a:gdLst/>
                <a:ahLst/>
                <a:cxnLst/>
                <a:rect l="l" t="t" r="r" b="b"/>
                <a:pathLst>
                  <a:path w="63" h="64" extrusionOk="0">
                    <a:moveTo>
                      <a:pt x="42" y="1"/>
                    </a:moveTo>
                    <a:lnTo>
                      <a:pt x="0" y="22"/>
                    </a:lnTo>
                    <a:lnTo>
                      <a:pt x="63" y="63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8" name="Google Shape;738;p34"/>
              <p:cNvSpPr/>
              <p:nvPr/>
            </p:nvSpPr>
            <p:spPr>
              <a:xfrm>
                <a:off x="3774675" y="2506225"/>
                <a:ext cx="164275" cy="182600"/>
              </a:xfrm>
              <a:custGeom>
                <a:avLst/>
                <a:gdLst/>
                <a:ahLst/>
                <a:cxnLst/>
                <a:rect l="l" t="t" r="r" b="b"/>
                <a:pathLst>
                  <a:path w="6571" h="7304" extrusionOk="0">
                    <a:moveTo>
                      <a:pt x="2595" y="1"/>
                    </a:moveTo>
                    <a:lnTo>
                      <a:pt x="2302" y="189"/>
                    </a:lnTo>
                    <a:lnTo>
                      <a:pt x="2114" y="105"/>
                    </a:lnTo>
                    <a:lnTo>
                      <a:pt x="2009" y="252"/>
                    </a:lnTo>
                    <a:lnTo>
                      <a:pt x="2072" y="419"/>
                    </a:lnTo>
                    <a:lnTo>
                      <a:pt x="1842" y="482"/>
                    </a:lnTo>
                    <a:lnTo>
                      <a:pt x="1800" y="691"/>
                    </a:lnTo>
                    <a:lnTo>
                      <a:pt x="1695" y="608"/>
                    </a:lnTo>
                    <a:lnTo>
                      <a:pt x="1591" y="608"/>
                    </a:lnTo>
                    <a:lnTo>
                      <a:pt x="1340" y="524"/>
                    </a:lnTo>
                    <a:lnTo>
                      <a:pt x="1340" y="691"/>
                    </a:lnTo>
                    <a:lnTo>
                      <a:pt x="1235" y="901"/>
                    </a:lnTo>
                    <a:lnTo>
                      <a:pt x="1172" y="796"/>
                    </a:lnTo>
                    <a:lnTo>
                      <a:pt x="1005" y="712"/>
                    </a:lnTo>
                    <a:lnTo>
                      <a:pt x="1026" y="587"/>
                    </a:lnTo>
                    <a:lnTo>
                      <a:pt x="900" y="503"/>
                    </a:lnTo>
                    <a:lnTo>
                      <a:pt x="691" y="880"/>
                    </a:lnTo>
                    <a:lnTo>
                      <a:pt x="524" y="796"/>
                    </a:lnTo>
                    <a:lnTo>
                      <a:pt x="294" y="942"/>
                    </a:lnTo>
                    <a:lnTo>
                      <a:pt x="168" y="901"/>
                    </a:lnTo>
                    <a:lnTo>
                      <a:pt x="105" y="942"/>
                    </a:lnTo>
                    <a:lnTo>
                      <a:pt x="126" y="1089"/>
                    </a:lnTo>
                    <a:lnTo>
                      <a:pt x="231" y="1193"/>
                    </a:lnTo>
                    <a:lnTo>
                      <a:pt x="210" y="1361"/>
                    </a:lnTo>
                    <a:lnTo>
                      <a:pt x="84" y="1403"/>
                    </a:lnTo>
                    <a:lnTo>
                      <a:pt x="1" y="1465"/>
                    </a:lnTo>
                    <a:lnTo>
                      <a:pt x="126" y="1633"/>
                    </a:lnTo>
                    <a:lnTo>
                      <a:pt x="168" y="1926"/>
                    </a:lnTo>
                    <a:lnTo>
                      <a:pt x="335" y="2051"/>
                    </a:lnTo>
                    <a:lnTo>
                      <a:pt x="524" y="2051"/>
                    </a:lnTo>
                    <a:lnTo>
                      <a:pt x="440" y="2240"/>
                    </a:lnTo>
                    <a:lnTo>
                      <a:pt x="503" y="2365"/>
                    </a:lnTo>
                    <a:lnTo>
                      <a:pt x="796" y="2302"/>
                    </a:lnTo>
                    <a:lnTo>
                      <a:pt x="900" y="2177"/>
                    </a:lnTo>
                    <a:lnTo>
                      <a:pt x="900" y="2072"/>
                    </a:lnTo>
                    <a:lnTo>
                      <a:pt x="1172" y="1926"/>
                    </a:lnTo>
                    <a:lnTo>
                      <a:pt x="1570" y="2030"/>
                    </a:lnTo>
                    <a:lnTo>
                      <a:pt x="1675" y="2093"/>
                    </a:lnTo>
                    <a:lnTo>
                      <a:pt x="1842" y="2156"/>
                    </a:lnTo>
                    <a:lnTo>
                      <a:pt x="1884" y="2261"/>
                    </a:lnTo>
                    <a:lnTo>
                      <a:pt x="1905" y="2302"/>
                    </a:lnTo>
                    <a:lnTo>
                      <a:pt x="1967" y="2386"/>
                    </a:lnTo>
                    <a:lnTo>
                      <a:pt x="2072" y="2574"/>
                    </a:lnTo>
                    <a:lnTo>
                      <a:pt x="2072" y="2679"/>
                    </a:lnTo>
                    <a:lnTo>
                      <a:pt x="2156" y="2721"/>
                    </a:lnTo>
                    <a:lnTo>
                      <a:pt x="2156" y="2888"/>
                    </a:lnTo>
                    <a:lnTo>
                      <a:pt x="2281" y="2930"/>
                    </a:lnTo>
                    <a:lnTo>
                      <a:pt x="2365" y="3035"/>
                    </a:lnTo>
                    <a:lnTo>
                      <a:pt x="2511" y="3202"/>
                    </a:lnTo>
                    <a:lnTo>
                      <a:pt x="2532" y="3307"/>
                    </a:lnTo>
                    <a:lnTo>
                      <a:pt x="2700" y="3307"/>
                    </a:lnTo>
                    <a:lnTo>
                      <a:pt x="2804" y="3432"/>
                    </a:lnTo>
                    <a:lnTo>
                      <a:pt x="2825" y="3537"/>
                    </a:lnTo>
                    <a:lnTo>
                      <a:pt x="2909" y="3558"/>
                    </a:lnTo>
                    <a:lnTo>
                      <a:pt x="3139" y="3851"/>
                    </a:lnTo>
                    <a:lnTo>
                      <a:pt x="3369" y="4018"/>
                    </a:lnTo>
                    <a:lnTo>
                      <a:pt x="3474" y="4039"/>
                    </a:lnTo>
                    <a:lnTo>
                      <a:pt x="3579" y="4081"/>
                    </a:lnTo>
                    <a:lnTo>
                      <a:pt x="3620" y="4186"/>
                    </a:lnTo>
                    <a:lnTo>
                      <a:pt x="3725" y="4186"/>
                    </a:lnTo>
                    <a:lnTo>
                      <a:pt x="3788" y="4123"/>
                    </a:lnTo>
                    <a:lnTo>
                      <a:pt x="3934" y="4165"/>
                    </a:lnTo>
                    <a:lnTo>
                      <a:pt x="4039" y="4165"/>
                    </a:lnTo>
                    <a:lnTo>
                      <a:pt x="4164" y="4395"/>
                    </a:lnTo>
                    <a:lnTo>
                      <a:pt x="4248" y="4458"/>
                    </a:lnTo>
                    <a:lnTo>
                      <a:pt x="4290" y="4416"/>
                    </a:lnTo>
                    <a:lnTo>
                      <a:pt x="4395" y="4458"/>
                    </a:lnTo>
                    <a:lnTo>
                      <a:pt x="4395" y="4520"/>
                    </a:lnTo>
                    <a:lnTo>
                      <a:pt x="4604" y="4520"/>
                    </a:lnTo>
                    <a:lnTo>
                      <a:pt x="4688" y="4625"/>
                    </a:lnTo>
                    <a:lnTo>
                      <a:pt x="4688" y="4730"/>
                    </a:lnTo>
                    <a:lnTo>
                      <a:pt x="4646" y="4792"/>
                    </a:lnTo>
                    <a:lnTo>
                      <a:pt x="4708" y="4834"/>
                    </a:lnTo>
                    <a:lnTo>
                      <a:pt x="4834" y="4834"/>
                    </a:lnTo>
                    <a:lnTo>
                      <a:pt x="4897" y="4939"/>
                    </a:lnTo>
                    <a:lnTo>
                      <a:pt x="5043" y="4981"/>
                    </a:lnTo>
                    <a:lnTo>
                      <a:pt x="5106" y="4939"/>
                    </a:lnTo>
                    <a:lnTo>
                      <a:pt x="5169" y="5002"/>
                    </a:lnTo>
                    <a:lnTo>
                      <a:pt x="5232" y="5190"/>
                    </a:lnTo>
                    <a:lnTo>
                      <a:pt x="5252" y="5357"/>
                    </a:lnTo>
                    <a:lnTo>
                      <a:pt x="5315" y="5441"/>
                    </a:lnTo>
                    <a:lnTo>
                      <a:pt x="5357" y="5650"/>
                    </a:lnTo>
                    <a:lnTo>
                      <a:pt x="5420" y="5755"/>
                    </a:lnTo>
                    <a:lnTo>
                      <a:pt x="5420" y="5859"/>
                    </a:lnTo>
                    <a:lnTo>
                      <a:pt x="5357" y="5943"/>
                    </a:lnTo>
                    <a:lnTo>
                      <a:pt x="5315" y="5943"/>
                    </a:lnTo>
                    <a:lnTo>
                      <a:pt x="5273" y="5964"/>
                    </a:lnTo>
                    <a:lnTo>
                      <a:pt x="5315" y="6069"/>
                    </a:lnTo>
                    <a:lnTo>
                      <a:pt x="5273" y="6173"/>
                    </a:lnTo>
                    <a:lnTo>
                      <a:pt x="5211" y="6257"/>
                    </a:lnTo>
                    <a:lnTo>
                      <a:pt x="5127" y="6278"/>
                    </a:lnTo>
                    <a:lnTo>
                      <a:pt x="5106" y="6341"/>
                    </a:lnTo>
                    <a:lnTo>
                      <a:pt x="5106" y="6362"/>
                    </a:lnTo>
                    <a:lnTo>
                      <a:pt x="5211" y="6466"/>
                    </a:lnTo>
                    <a:lnTo>
                      <a:pt x="5357" y="6445"/>
                    </a:lnTo>
                    <a:lnTo>
                      <a:pt x="5441" y="6341"/>
                    </a:lnTo>
                    <a:lnTo>
                      <a:pt x="5462" y="6194"/>
                    </a:lnTo>
                    <a:lnTo>
                      <a:pt x="5629" y="6069"/>
                    </a:lnTo>
                    <a:lnTo>
                      <a:pt x="5650" y="5818"/>
                    </a:lnTo>
                    <a:lnTo>
                      <a:pt x="5755" y="5713"/>
                    </a:lnTo>
                    <a:lnTo>
                      <a:pt x="5859" y="5671"/>
                    </a:lnTo>
                    <a:lnTo>
                      <a:pt x="5880" y="5608"/>
                    </a:lnTo>
                    <a:lnTo>
                      <a:pt x="5859" y="5546"/>
                    </a:lnTo>
                    <a:lnTo>
                      <a:pt x="5880" y="5399"/>
                    </a:lnTo>
                    <a:lnTo>
                      <a:pt x="5859" y="5336"/>
                    </a:lnTo>
                    <a:lnTo>
                      <a:pt x="5692" y="5190"/>
                    </a:lnTo>
                    <a:lnTo>
                      <a:pt x="5587" y="5190"/>
                    </a:lnTo>
                    <a:lnTo>
                      <a:pt x="5566" y="5127"/>
                    </a:lnTo>
                    <a:lnTo>
                      <a:pt x="5566" y="5043"/>
                    </a:lnTo>
                    <a:lnTo>
                      <a:pt x="5650" y="5002"/>
                    </a:lnTo>
                    <a:lnTo>
                      <a:pt x="5671" y="4918"/>
                    </a:lnTo>
                    <a:lnTo>
                      <a:pt x="5671" y="4834"/>
                    </a:lnTo>
                    <a:lnTo>
                      <a:pt x="5734" y="4771"/>
                    </a:lnTo>
                    <a:lnTo>
                      <a:pt x="5776" y="4625"/>
                    </a:lnTo>
                    <a:lnTo>
                      <a:pt x="5838" y="4604"/>
                    </a:lnTo>
                    <a:lnTo>
                      <a:pt x="5901" y="4604"/>
                    </a:lnTo>
                    <a:lnTo>
                      <a:pt x="6006" y="4667"/>
                    </a:lnTo>
                    <a:lnTo>
                      <a:pt x="6048" y="4709"/>
                    </a:lnTo>
                    <a:lnTo>
                      <a:pt x="6215" y="4709"/>
                    </a:lnTo>
                    <a:lnTo>
                      <a:pt x="6278" y="4730"/>
                    </a:lnTo>
                    <a:lnTo>
                      <a:pt x="6257" y="4813"/>
                    </a:lnTo>
                    <a:lnTo>
                      <a:pt x="6299" y="4918"/>
                    </a:lnTo>
                    <a:lnTo>
                      <a:pt x="6382" y="5022"/>
                    </a:lnTo>
                    <a:lnTo>
                      <a:pt x="6487" y="5085"/>
                    </a:lnTo>
                    <a:lnTo>
                      <a:pt x="6487" y="5043"/>
                    </a:lnTo>
                    <a:lnTo>
                      <a:pt x="6508" y="5022"/>
                    </a:lnTo>
                    <a:lnTo>
                      <a:pt x="6487" y="5002"/>
                    </a:lnTo>
                    <a:lnTo>
                      <a:pt x="6550" y="4918"/>
                    </a:lnTo>
                    <a:lnTo>
                      <a:pt x="6571" y="4771"/>
                    </a:lnTo>
                    <a:lnTo>
                      <a:pt x="6508" y="4688"/>
                    </a:lnTo>
                    <a:lnTo>
                      <a:pt x="6403" y="4604"/>
                    </a:lnTo>
                    <a:lnTo>
                      <a:pt x="6236" y="4562"/>
                    </a:lnTo>
                    <a:lnTo>
                      <a:pt x="6131" y="4416"/>
                    </a:lnTo>
                    <a:lnTo>
                      <a:pt x="5943" y="4290"/>
                    </a:lnTo>
                    <a:lnTo>
                      <a:pt x="5504" y="4060"/>
                    </a:lnTo>
                    <a:lnTo>
                      <a:pt x="5294" y="4018"/>
                    </a:lnTo>
                    <a:lnTo>
                      <a:pt x="5148" y="4018"/>
                    </a:lnTo>
                    <a:lnTo>
                      <a:pt x="5106" y="3914"/>
                    </a:lnTo>
                    <a:lnTo>
                      <a:pt x="5106" y="3851"/>
                    </a:lnTo>
                    <a:lnTo>
                      <a:pt x="5232" y="3746"/>
                    </a:lnTo>
                    <a:lnTo>
                      <a:pt x="5252" y="3662"/>
                    </a:lnTo>
                    <a:lnTo>
                      <a:pt x="5148" y="3621"/>
                    </a:lnTo>
                    <a:lnTo>
                      <a:pt x="5022" y="3642"/>
                    </a:lnTo>
                    <a:lnTo>
                      <a:pt x="4918" y="3621"/>
                    </a:lnTo>
                    <a:lnTo>
                      <a:pt x="4708" y="3621"/>
                    </a:lnTo>
                    <a:lnTo>
                      <a:pt x="4625" y="3558"/>
                    </a:lnTo>
                    <a:lnTo>
                      <a:pt x="4520" y="3537"/>
                    </a:lnTo>
                    <a:lnTo>
                      <a:pt x="4457" y="3453"/>
                    </a:lnTo>
                    <a:lnTo>
                      <a:pt x="4290" y="3328"/>
                    </a:lnTo>
                    <a:lnTo>
                      <a:pt x="4206" y="3202"/>
                    </a:lnTo>
                    <a:lnTo>
                      <a:pt x="4102" y="3097"/>
                    </a:lnTo>
                    <a:lnTo>
                      <a:pt x="4039" y="2993"/>
                    </a:lnTo>
                    <a:lnTo>
                      <a:pt x="4039" y="2867"/>
                    </a:lnTo>
                    <a:lnTo>
                      <a:pt x="3976" y="2825"/>
                    </a:lnTo>
                    <a:lnTo>
                      <a:pt x="3976" y="2721"/>
                    </a:lnTo>
                    <a:lnTo>
                      <a:pt x="3620" y="2365"/>
                    </a:lnTo>
                    <a:lnTo>
                      <a:pt x="3537" y="2261"/>
                    </a:lnTo>
                    <a:lnTo>
                      <a:pt x="3411" y="2177"/>
                    </a:lnTo>
                    <a:lnTo>
                      <a:pt x="3139" y="2051"/>
                    </a:lnTo>
                    <a:lnTo>
                      <a:pt x="3097" y="1968"/>
                    </a:lnTo>
                    <a:lnTo>
                      <a:pt x="3056" y="1821"/>
                    </a:lnTo>
                    <a:lnTo>
                      <a:pt x="3014" y="1654"/>
                    </a:lnTo>
                    <a:lnTo>
                      <a:pt x="3056" y="1612"/>
                    </a:lnTo>
                    <a:lnTo>
                      <a:pt x="3139" y="1465"/>
                    </a:lnTo>
                    <a:lnTo>
                      <a:pt x="3056" y="1361"/>
                    </a:lnTo>
                    <a:lnTo>
                      <a:pt x="3014" y="1235"/>
                    </a:lnTo>
                    <a:lnTo>
                      <a:pt x="3056" y="1152"/>
                    </a:lnTo>
                    <a:lnTo>
                      <a:pt x="3202" y="1131"/>
                    </a:lnTo>
                    <a:lnTo>
                      <a:pt x="3307" y="1026"/>
                    </a:lnTo>
                    <a:lnTo>
                      <a:pt x="3432" y="1026"/>
                    </a:lnTo>
                    <a:lnTo>
                      <a:pt x="3516" y="942"/>
                    </a:lnTo>
                    <a:lnTo>
                      <a:pt x="3579" y="901"/>
                    </a:lnTo>
                    <a:lnTo>
                      <a:pt x="3725" y="921"/>
                    </a:lnTo>
                    <a:lnTo>
                      <a:pt x="3683" y="712"/>
                    </a:lnTo>
                    <a:lnTo>
                      <a:pt x="3725" y="691"/>
                    </a:lnTo>
                    <a:lnTo>
                      <a:pt x="3662" y="587"/>
                    </a:lnTo>
                    <a:lnTo>
                      <a:pt x="3788" y="398"/>
                    </a:lnTo>
                    <a:lnTo>
                      <a:pt x="3725" y="315"/>
                    </a:lnTo>
                    <a:lnTo>
                      <a:pt x="3537" y="356"/>
                    </a:lnTo>
                    <a:lnTo>
                      <a:pt x="3202" y="273"/>
                    </a:lnTo>
                    <a:lnTo>
                      <a:pt x="2909" y="105"/>
                    </a:lnTo>
                    <a:lnTo>
                      <a:pt x="2930" y="1"/>
                    </a:lnTo>
                    <a:lnTo>
                      <a:pt x="2721" y="43"/>
                    </a:lnTo>
                    <a:lnTo>
                      <a:pt x="2595" y="1"/>
                    </a:lnTo>
                    <a:close/>
                    <a:moveTo>
                      <a:pt x="4960" y="6236"/>
                    </a:moveTo>
                    <a:lnTo>
                      <a:pt x="4813" y="6362"/>
                    </a:lnTo>
                    <a:lnTo>
                      <a:pt x="4750" y="6362"/>
                    </a:lnTo>
                    <a:lnTo>
                      <a:pt x="4625" y="6278"/>
                    </a:lnTo>
                    <a:lnTo>
                      <a:pt x="4499" y="6403"/>
                    </a:lnTo>
                    <a:lnTo>
                      <a:pt x="4227" y="6382"/>
                    </a:lnTo>
                    <a:lnTo>
                      <a:pt x="4018" y="6445"/>
                    </a:lnTo>
                    <a:lnTo>
                      <a:pt x="3872" y="6403"/>
                    </a:lnTo>
                    <a:lnTo>
                      <a:pt x="3767" y="6341"/>
                    </a:lnTo>
                    <a:lnTo>
                      <a:pt x="3641" y="6341"/>
                    </a:lnTo>
                    <a:lnTo>
                      <a:pt x="3558" y="6382"/>
                    </a:lnTo>
                    <a:lnTo>
                      <a:pt x="3495" y="6341"/>
                    </a:lnTo>
                    <a:lnTo>
                      <a:pt x="3369" y="6382"/>
                    </a:lnTo>
                    <a:lnTo>
                      <a:pt x="3348" y="6571"/>
                    </a:lnTo>
                    <a:lnTo>
                      <a:pt x="3474" y="6675"/>
                    </a:lnTo>
                    <a:lnTo>
                      <a:pt x="3600" y="6655"/>
                    </a:lnTo>
                    <a:lnTo>
                      <a:pt x="3809" y="6801"/>
                    </a:lnTo>
                    <a:lnTo>
                      <a:pt x="3955" y="6822"/>
                    </a:lnTo>
                    <a:lnTo>
                      <a:pt x="4060" y="6927"/>
                    </a:lnTo>
                    <a:lnTo>
                      <a:pt x="4311" y="7031"/>
                    </a:lnTo>
                    <a:lnTo>
                      <a:pt x="4374" y="7010"/>
                    </a:lnTo>
                    <a:lnTo>
                      <a:pt x="4478" y="7094"/>
                    </a:lnTo>
                    <a:lnTo>
                      <a:pt x="4499" y="7199"/>
                    </a:lnTo>
                    <a:lnTo>
                      <a:pt x="4750" y="7303"/>
                    </a:lnTo>
                    <a:lnTo>
                      <a:pt x="4855" y="7282"/>
                    </a:lnTo>
                    <a:lnTo>
                      <a:pt x="4855" y="7136"/>
                    </a:lnTo>
                    <a:lnTo>
                      <a:pt x="4918" y="7073"/>
                    </a:lnTo>
                    <a:lnTo>
                      <a:pt x="4918" y="6927"/>
                    </a:lnTo>
                    <a:lnTo>
                      <a:pt x="4813" y="6801"/>
                    </a:lnTo>
                    <a:lnTo>
                      <a:pt x="4918" y="6508"/>
                    </a:lnTo>
                    <a:lnTo>
                      <a:pt x="5022" y="6403"/>
                    </a:lnTo>
                    <a:lnTo>
                      <a:pt x="5022" y="6362"/>
                    </a:lnTo>
                    <a:lnTo>
                      <a:pt x="5043" y="6362"/>
                    </a:lnTo>
                    <a:lnTo>
                      <a:pt x="5043" y="6341"/>
                    </a:lnTo>
                    <a:lnTo>
                      <a:pt x="4960" y="623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39" name="Google Shape;739;p34"/>
            <p:cNvGrpSpPr/>
            <p:nvPr/>
          </p:nvGrpSpPr>
          <p:grpSpPr>
            <a:xfrm>
              <a:off x="3775674" y="2798496"/>
              <a:ext cx="40545" cy="23564"/>
              <a:chOff x="3750475" y="2481850"/>
              <a:chExt cx="85125" cy="51800"/>
            </a:xfrm>
          </p:grpSpPr>
          <p:sp>
            <p:nvSpPr>
              <p:cNvPr id="740" name="Google Shape;740;p34"/>
              <p:cNvSpPr/>
              <p:nvPr/>
            </p:nvSpPr>
            <p:spPr>
              <a:xfrm>
                <a:off x="3762125" y="2492625"/>
                <a:ext cx="64900" cy="36650"/>
              </a:xfrm>
              <a:custGeom>
                <a:avLst/>
                <a:gdLst/>
                <a:ahLst/>
                <a:cxnLst/>
                <a:rect l="l" t="t" r="r" b="b"/>
                <a:pathLst>
                  <a:path w="2596" h="1466" extrusionOk="0">
                    <a:moveTo>
                      <a:pt x="1507" y="1"/>
                    </a:moveTo>
                    <a:lnTo>
                      <a:pt x="1361" y="64"/>
                    </a:lnTo>
                    <a:lnTo>
                      <a:pt x="1402" y="105"/>
                    </a:lnTo>
                    <a:lnTo>
                      <a:pt x="1340" y="189"/>
                    </a:lnTo>
                    <a:lnTo>
                      <a:pt x="1214" y="126"/>
                    </a:lnTo>
                    <a:lnTo>
                      <a:pt x="1109" y="189"/>
                    </a:lnTo>
                    <a:lnTo>
                      <a:pt x="1005" y="168"/>
                    </a:lnTo>
                    <a:lnTo>
                      <a:pt x="817" y="210"/>
                    </a:lnTo>
                    <a:lnTo>
                      <a:pt x="712" y="210"/>
                    </a:lnTo>
                    <a:lnTo>
                      <a:pt x="691" y="126"/>
                    </a:lnTo>
                    <a:lnTo>
                      <a:pt x="565" y="126"/>
                    </a:lnTo>
                    <a:lnTo>
                      <a:pt x="482" y="231"/>
                    </a:lnTo>
                    <a:lnTo>
                      <a:pt x="607" y="294"/>
                    </a:lnTo>
                    <a:lnTo>
                      <a:pt x="607" y="398"/>
                    </a:lnTo>
                    <a:lnTo>
                      <a:pt x="503" y="440"/>
                    </a:lnTo>
                    <a:lnTo>
                      <a:pt x="398" y="608"/>
                    </a:lnTo>
                    <a:lnTo>
                      <a:pt x="314" y="628"/>
                    </a:lnTo>
                    <a:lnTo>
                      <a:pt x="168" y="859"/>
                    </a:lnTo>
                    <a:lnTo>
                      <a:pt x="147" y="1047"/>
                    </a:lnTo>
                    <a:lnTo>
                      <a:pt x="147" y="1152"/>
                    </a:lnTo>
                    <a:lnTo>
                      <a:pt x="84" y="1152"/>
                    </a:lnTo>
                    <a:lnTo>
                      <a:pt x="0" y="1173"/>
                    </a:lnTo>
                    <a:lnTo>
                      <a:pt x="42" y="1277"/>
                    </a:lnTo>
                    <a:lnTo>
                      <a:pt x="147" y="1277"/>
                    </a:lnTo>
                    <a:lnTo>
                      <a:pt x="293" y="1235"/>
                    </a:lnTo>
                    <a:lnTo>
                      <a:pt x="252" y="1068"/>
                    </a:lnTo>
                    <a:lnTo>
                      <a:pt x="314" y="1026"/>
                    </a:lnTo>
                    <a:lnTo>
                      <a:pt x="482" y="1026"/>
                    </a:lnTo>
                    <a:lnTo>
                      <a:pt x="524" y="1131"/>
                    </a:lnTo>
                    <a:lnTo>
                      <a:pt x="586" y="1277"/>
                    </a:lnTo>
                    <a:lnTo>
                      <a:pt x="670" y="1340"/>
                    </a:lnTo>
                    <a:lnTo>
                      <a:pt x="670" y="1424"/>
                    </a:lnTo>
                    <a:lnTo>
                      <a:pt x="796" y="1465"/>
                    </a:lnTo>
                    <a:lnTo>
                      <a:pt x="1026" y="1319"/>
                    </a:lnTo>
                    <a:lnTo>
                      <a:pt x="1151" y="1361"/>
                    </a:lnTo>
                    <a:lnTo>
                      <a:pt x="1361" y="1026"/>
                    </a:lnTo>
                    <a:lnTo>
                      <a:pt x="1507" y="1110"/>
                    </a:lnTo>
                    <a:lnTo>
                      <a:pt x="1507" y="1235"/>
                    </a:lnTo>
                    <a:lnTo>
                      <a:pt x="1674" y="1319"/>
                    </a:lnTo>
                    <a:lnTo>
                      <a:pt x="1737" y="1445"/>
                    </a:lnTo>
                    <a:lnTo>
                      <a:pt x="1842" y="1235"/>
                    </a:lnTo>
                    <a:lnTo>
                      <a:pt x="1842" y="1068"/>
                    </a:lnTo>
                    <a:lnTo>
                      <a:pt x="2093" y="1131"/>
                    </a:lnTo>
                    <a:lnTo>
                      <a:pt x="2197" y="1131"/>
                    </a:lnTo>
                    <a:lnTo>
                      <a:pt x="2302" y="1214"/>
                    </a:lnTo>
                    <a:lnTo>
                      <a:pt x="2302" y="1005"/>
                    </a:lnTo>
                    <a:lnTo>
                      <a:pt x="2553" y="942"/>
                    </a:lnTo>
                    <a:lnTo>
                      <a:pt x="2490" y="754"/>
                    </a:lnTo>
                    <a:lnTo>
                      <a:pt x="2595" y="628"/>
                    </a:lnTo>
                    <a:lnTo>
                      <a:pt x="2553" y="524"/>
                    </a:lnTo>
                    <a:lnTo>
                      <a:pt x="2469" y="524"/>
                    </a:lnTo>
                    <a:lnTo>
                      <a:pt x="2365" y="628"/>
                    </a:lnTo>
                    <a:lnTo>
                      <a:pt x="2260" y="503"/>
                    </a:lnTo>
                    <a:lnTo>
                      <a:pt x="2177" y="524"/>
                    </a:lnTo>
                    <a:lnTo>
                      <a:pt x="2030" y="524"/>
                    </a:lnTo>
                    <a:lnTo>
                      <a:pt x="1988" y="440"/>
                    </a:lnTo>
                    <a:lnTo>
                      <a:pt x="2030" y="398"/>
                    </a:lnTo>
                    <a:lnTo>
                      <a:pt x="2030" y="294"/>
                    </a:lnTo>
                    <a:lnTo>
                      <a:pt x="1884" y="210"/>
                    </a:lnTo>
                    <a:lnTo>
                      <a:pt x="1737" y="84"/>
                    </a:lnTo>
                    <a:lnTo>
                      <a:pt x="1653" y="84"/>
                    </a:lnTo>
                    <a:lnTo>
                      <a:pt x="1612" y="126"/>
                    </a:lnTo>
                    <a:lnTo>
                      <a:pt x="1528" y="105"/>
                    </a:lnTo>
                    <a:lnTo>
                      <a:pt x="150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1" name="Google Shape;741;p34"/>
              <p:cNvSpPr/>
              <p:nvPr/>
            </p:nvSpPr>
            <p:spPr>
              <a:xfrm>
                <a:off x="3750475" y="2481850"/>
                <a:ext cx="85125" cy="51800"/>
              </a:xfrm>
              <a:custGeom>
                <a:avLst/>
                <a:gdLst/>
                <a:ahLst/>
                <a:cxnLst/>
                <a:rect l="l" t="t" r="r" b="b"/>
                <a:pathLst>
                  <a:path w="3405" h="2072" extrusionOk="0">
                    <a:moveTo>
                      <a:pt x="1095" y="286"/>
                    </a:moveTo>
                    <a:lnTo>
                      <a:pt x="0" y="1667"/>
                    </a:lnTo>
                    <a:lnTo>
                      <a:pt x="547" y="2072"/>
                    </a:lnTo>
                    <a:lnTo>
                      <a:pt x="1214" y="1858"/>
                    </a:lnTo>
                    <a:lnTo>
                      <a:pt x="1881" y="1262"/>
                    </a:lnTo>
                    <a:lnTo>
                      <a:pt x="2976" y="1286"/>
                    </a:lnTo>
                    <a:lnTo>
                      <a:pt x="3405" y="786"/>
                    </a:lnTo>
                    <a:lnTo>
                      <a:pt x="216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2" name="Google Shape;742;p34"/>
            <p:cNvGrpSpPr/>
            <p:nvPr/>
          </p:nvGrpSpPr>
          <p:grpSpPr>
            <a:xfrm>
              <a:off x="3716946" y="2776024"/>
              <a:ext cx="81971" cy="76912"/>
              <a:chOff x="3627175" y="2432450"/>
              <a:chExt cx="172100" cy="169075"/>
            </a:xfrm>
          </p:grpSpPr>
          <p:sp>
            <p:nvSpPr>
              <p:cNvPr id="743" name="Google Shape;743;p34"/>
              <p:cNvSpPr/>
              <p:nvPr/>
            </p:nvSpPr>
            <p:spPr>
              <a:xfrm>
                <a:off x="3627175" y="2433000"/>
                <a:ext cx="164800" cy="156950"/>
              </a:xfrm>
              <a:custGeom>
                <a:avLst/>
                <a:gdLst/>
                <a:ahLst/>
                <a:cxnLst/>
                <a:rect l="l" t="t" r="r" b="b"/>
                <a:pathLst>
                  <a:path w="6592" h="6278" extrusionOk="0">
                    <a:moveTo>
                      <a:pt x="3829" y="0"/>
                    </a:moveTo>
                    <a:lnTo>
                      <a:pt x="3808" y="42"/>
                    </a:lnTo>
                    <a:lnTo>
                      <a:pt x="3599" y="105"/>
                    </a:lnTo>
                    <a:lnTo>
                      <a:pt x="3578" y="63"/>
                    </a:lnTo>
                    <a:lnTo>
                      <a:pt x="3390" y="168"/>
                    </a:lnTo>
                    <a:lnTo>
                      <a:pt x="3369" y="272"/>
                    </a:lnTo>
                    <a:lnTo>
                      <a:pt x="3390" y="398"/>
                    </a:lnTo>
                    <a:lnTo>
                      <a:pt x="3348" y="607"/>
                    </a:lnTo>
                    <a:lnTo>
                      <a:pt x="3181" y="796"/>
                    </a:lnTo>
                    <a:lnTo>
                      <a:pt x="3181" y="837"/>
                    </a:lnTo>
                    <a:lnTo>
                      <a:pt x="2992" y="900"/>
                    </a:lnTo>
                    <a:lnTo>
                      <a:pt x="2888" y="900"/>
                    </a:lnTo>
                    <a:lnTo>
                      <a:pt x="2783" y="879"/>
                    </a:lnTo>
                    <a:lnTo>
                      <a:pt x="2574" y="1005"/>
                    </a:lnTo>
                    <a:lnTo>
                      <a:pt x="2532" y="1089"/>
                    </a:lnTo>
                    <a:lnTo>
                      <a:pt x="2574" y="1151"/>
                    </a:lnTo>
                    <a:lnTo>
                      <a:pt x="2658" y="1193"/>
                    </a:lnTo>
                    <a:lnTo>
                      <a:pt x="2532" y="1298"/>
                    </a:lnTo>
                    <a:lnTo>
                      <a:pt x="2365" y="1319"/>
                    </a:lnTo>
                    <a:lnTo>
                      <a:pt x="2134" y="1298"/>
                    </a:lnTo>
                    <a:lnTo>
                      <a:pt x="2030" y="1235"/>
                    </a:lnTo>
                    <a:lnTo>
                      <a:pt x="1946" y="1298"/>
                    </a:lnTo>
                    <a:lnTo>
                      <a:pt x="1925" y="1214"/>
                    </a:lnTo>
                    <a:lnTo>
                      <a:pt x="1841" y="1151"/>
                    </a:lnTo>
                    <a:lnTo>
                      <a:pt x="1883" y="1047"/>
                    </a:lnTo>
                    <a:lnTo>
                      <a:pt x="1800" y="1026"/>
                    </a:lnTo>
                    <a:lnTo>
                      <a:pt x="1695" y="1047"/>
                    </a:lnTo>
                    <a:lnTo>
                      <a:pt x="1569" y="1047"/>
                    </a:lnTo>
                    <a:lnTo>
                      <a:pt x="1507" y="1026"/>
                    </a:lnTo>
                    <a:lnTo>
                      <a:pt x="1528" y="1151"/>
                    </a:lnTo>
                    <a:lnTo>
                      <a:pt x="1507" y="1214"/>
                    </a:lnTo>
                    <a:lnTo>
                      <a:pt x="1716" y="1402"/>
                    </a:lnTo>
                    <a:lnTo>
                      <a:pt x="1674" y="1444"/>
                    </a:lnTo>
                    <a:lnTo>
                      <a:pt x="1695" y="1528"/>
                    </a:lnTo>
                    <a:lnTo>
                      <a:pt x="1695" y="1633"/>
                    </a:lnTo>
                    <a:lnTo>
                      <a:pt x="1737" y="1716"/>
                    </a:lnTo>
                    <a:lnTo>
                      <a:pt x="1737" y="1821"/>
                    </a:lnTo>
                    <a:lnTo>
                      <a:pt x="1569" y="1779"/>
                    </a:lnTo>
                    <a:lnTo>
                      <a:pt x="1465" y="1821"/>
                    </a:lnTo>
                    <a:lnTo>
                      <a:pt x="1381" y="1779"/>
                    </a:lnTo>
                    <a:lnTo>
                      <a:pt x="1277" y="1821"/>
                    </a:lnTo>
                    <a:lnTo>
                      <a:pt x="1256" y="1758"/>
                    </a:lnTo>
                    <a:lnTo>
                      <a:pt x="1109" y="1863"/>
                    </a:lnTo>
                    <a:lnTo>
                      <a:pt x="963" y="1653"/>
                    </a:lnTo>
                    <a:lnTo>
                      <a:pt x="858" y="1633"/>
                    </a:lnTo>
                    <a:lnTo>
                      <a:pt x="733" y="1653"/>
                    </a:lnTo>
                    <a:lnTo>
                      <a:pt x="628" y="1758"/>
                    </a:lnTo>
                    <a:lnTo>
                      <a:pt x="565" y="1737"/>
                    </a:lnTo>
                    <a:lnTo>
                      <a:pt x="481" y="1779"/>
                    </a:lnTo>
                    <a:lnTo>
                      <a:pt x="440" y="1758"/>
                    </a:lnTo>
                    <a:lnTo>
                      <a:pt x="335" y="1758"/>
                    </a:lnTo>
                    <a:lnTo>
                      <a:pt x="251" y="1842"/>
                    </a:lnTo>
                    <a:lnTo>
                      <a:pt x="63" y="1863"/>
                    </a:lnTo>
                    <a:lnTo>
                      <a:pt x="0" y="1946"/>
                    </a:lnTo>
                    <a:lnTo>
                      <a:pt x="42" y="2030"/>
                    </a:lnTo>
                    <a:lnTo>
                      <a:pt x="147" y="1988"/>
                    </a:lnTo>
                    <a:lnTo>
                      <a:pt x="251" y="2030"/>
                    </a:lnTo>
                    <a:lnTo>
                      <a:pt x="272" y="2051"/>
                    </a:lnTo>
                    <a:lnTo>
                      <a:pt x="272" y="2051"/>
                    </a:lnTo>
                    <a:lnTo>
                      <a:pt x="147" y="2030"/>
                    </a:lnTo>
                    <a:lnTo>
                      <a:pt x="105" y="2051"/>
                    </a:lnTo>
                    <a:lnTo>
                      <a:pt x="126" y="2156"/>
                    </a:lnTo>
                    <a:lnTo>
                      <a:pt x="168" y="2072"/>
                    </a:lnTo>
                    <a:lnTo>
                      <a:pt x="230" y="2093"/>
                    </a:lnTo>
                    <a:lnTo>
                      <a:pt x="251" y="2177"/>
                    </a:lnTo>
                    <a:lnTo>
                      <a:pt x="209" y="2197"/>
                    </a:lnTo>
                    <a:lnTo>
                      <a:pt x="105" y="2239"/>
                    </a:lnTo>
                    <a:lnTo>
                      <a:pt x="105" y="2260"/>
                    </a:lnTo>
                    <a:lnTo>
                      <a:pt x="209" y="2260"/>
                    </a:lnTo>
                    <a:lnTo>
                      <a:pt x="230" y="2386"/>
                    </a:lnTo>
                    <a:lnTo>
                      <a:pt x="230" y="2469"/>
                    </a:lnTo>
                    <a:lnTo>
                      <a:pt x="335" y="2386"/>
                    </a:lnTo>
                    <a:lnTo>
                      <a:pt x="481" y="2386"/>
                    </a:lnTo>
                    <a:lnTo>
                      <a:pt x="670" y="2469"/>
                    </a:lnTo>
                    <a:lnTo>
                      <a:pt x="733" y="2511"/>
                    </a:lnTo>
                    <a:lnTo>
                      <a:pt x="774" y="2511"/>
                    </a:lnTo>
                    <a:lnTo>
                      <a:pt x="900" y="2595"/>
                    </a:lnTo>
                    <a:lnTo>
                      <a:pt x="1005" y="2511"/>
                    </a:lnTo>
                    <a:lnTo>
                      <a:pt x="1067" y="2553"/>
                    </a:lnTo>
                    <a:lnTo>
                      <a:pt x="1046" y="2595"/>
                    </a:lnTo>
                    <a:lnTo>
                      <a:pt x="1067" y="2658"/>
                    </a:lnTo>
                    <a:lnTo>
                      <a:pt x="1172" y="2595"/>
                    </a:lnTo>
                    <a:lnTo>
                      <a:pt x="1214" y="2658"/>
                    </a:lnTo>
                    <a:lnTo>
                      <a:pt x="1172" y="2762"/>
                    </a:lnTo>
                    <a:lnTo>
                      <a:pt x="1214" y="2825"/>
                    </a:lnTo>
                    <a:lnTo>
                      <a:pt x="1297" y="2825"/>
                    </a:lnTo>
                    <a:lnTo>
                      <a:pt x="1402" y="2783"/>
                    </a:lnTo>
                    <a:lnTo>
                      <a:pt x="1528" y="2783"/>
                    </a:lnTo>
                    <a:lnTo>
                      <a:pt x="1611" y="2888"/>
                    </a:lnTo>
                    <a:lnTo>
                      <a:pt x="1507" y="2825"/>
                    </a:lnTo>
                    <a:lnTo>
                      <a:pt x="1402" y="2825"/>
                    </a:lnTo>
                    <a:lnTo>
                      <a:pt x="1360" y="2930"/>
                    </a:lnTo>
                    <a:lnTo>
                      <a:pt x="1402" y="2972"/>
                    </a:lnTo>
                    <a:lnTo>
                      <a:pt x="1423" y="3076"/>
                    </a:lnTo>
                    <a:lnTo>
                      <a:pt x="1381" y="3181"/>
                    </a:lnTo>
                    <a:lnTo>
                      <a:pt x="1402" y="3244"/>
                    </a:lnTo>
                    <a:lnTo>
                      <a:pt x="1486" y="3244"/>
                    </a:lnTo>
                    <a:lnTo>
                      <a:pt x="1632" y="3432"/>
                    </a:lnTo>
                    <a:lnTo>
                      <a:pt x="1779" y="3453"/>
                    </a:lnTo>
                    <a:lnTo>
                      <a:pt x="1904" y="3537"/>
                    </a:lnTo>
                    <a:lnTo>
                      <a:pt x="1904" y="3641"/>
                    </a:lnTo>
                    <a:lnTo>
                      <a:pt x="1946" y="3725"/>
                    </a:lnTo>
                    <a:lnTo>
                      <a:pt x="1904" y="3830"/>
                    </a:lnTo>
                    <a:lnTo>
                      <a:pt x="1883" y="3850"/>
                    </a:lnTo>
                    <a:lnTo>
                      <a:pt x="1841" y="3934"/>
                    </a:lnTo>
                    <a:lnTo>
                      <a:pt x="1946" y="3955"/>
                    </a:lnTo>
                    <a:lnTo>
                      <a:pt x="2134" y="4081"/>
                    </a:lnTo>
                    <a:lnTo>
                      <a:pt x="2260" y="4436"/>
                    </a:lnTo>
                    <a:lnTo>
                      <a:pt x="2260" y="4436"/>
                    </a:lnTo>
                    <a:lnTo>
                      <a:pt x="2113" y="4269"/>
                    </a:lnTo>
                    <a:lnTo>
                      <a:pt x="2093" y="4143"/>
                    </a:lnTo>
                    <a:lnTo>
                      <a:pt x="1946" y="4081"/>
                    </a:lnTo>
                    <a:lnTo>
                      <a:pt x="1904" y="4122"/>
                    </a:lnTo>
                    <a:lnTo>
                      <a:pt x="1841" y="4394"/>
                    </a:lnTo>
                    <a:lnTo>
                      <a:pt x="1841" y="4604"/>
                    </a:lnTo>
                    <a:lnTo>
                      <a:pt x="1946" y="4687"/>
                    </a:lnTo>
                    <a:lnTo>
                      <a:pt x="1883" y="4750"/>
                    </a:lnTo>
                    <a:lnTo>
                      <a:pt x="1841" y="5127"/>
                    </a:lnTo>
                    <a:lnTo>
                      <a:pt x="1737" y="5482"/>
                    </a:lnTo>
                    <a:lnTo>
                      <a:pt x="1590" y="5545"/>
                    </a:lnTo>
                    <a:lnTo>
                      <a:pt x="1695" y="5608"/>
                    </a:lnTo>
                    <a:lnTo>
                      <a:pt x="1716" y="5629"/>
                    </a:lnTo>
                    <a:lnTo>
                      <a:pt x="1779" y="5629"/>
                    </a:lnTo>
                    <a:lnTo>
                      <a:pt x="1800" y="5754"/>
                    </a:lnTo>
                    <a:lnTo>
                      <a:pt x="1800" y="5859"/>
                    </a:lnTo>
                    <a:lnTo>
                      <a:pt x="1946" y="5838"/>
                    </a:lnTo>
                    <a:lnTo>
                      <a:pt x="2197" y="5922"/>
                    </a:lnTo>
                    <a:lnTo>
                      <a:pt x="2302" y="6047"/>
                    </a:lnTo>
                    <a:lnTo>
                      <a:pt x="2406" y="6006"/>
                    </a:lnTo>
                    <a:lnTo>
                      <a:pt x="2532" y="6131"/>
                    </a:lnTo>
                    <a:lnTo>
                      <a:pt x="2678" y="6131"/>
                    </a:lnTo>
                    <a:lnTo>
                      <a:pt x="2762" y="6152"/>
                    </a:lnTo>
                    <a:lnTo>
                      <a:pt x="2867" y="6047"/>
                    </a:lnTo>
                    <a:lnTo>
                      <a:pt x="3139" y="6047"/>
                    </a:lnTo>
                    <a:lnTo>
                      <a:pt x="3243" y="6110"/>
                    </a:lnTo>
                    <a:lnTo>
                      <a:pt x="3390" y="6068"/>
                    </a:lnTo>
                    <a:lnTo>
                      <a:pt x="3557" y="6173"/>
                    </a:lnTo>
                    <a:lnTo>
                      <a:pt x="3829" y="6152"/>
                    </a:lnTo>
                    <a:lnTo>
                      <a:pt x="4018" y="6257"/>
                    </a:lnTo>
                    <a:lnTo>
                      <a:pt x="4101" y="6278"/>
                    </a:lnTo>
                    <a:lnTo>
                      <a:pt x="4101" y="6236"/>
                    </a:lnTo>
                    <a:lnTo>
                      <a:pt x="4038" y="6068"/>
                    </a:lnTo>
                    <a:lnTo>
                      <a:pt x="4101" y="5859"/>
                    </a:lnTo>
                    <a:lnTo>
                      <a:pt x="4101" y="5796"/>
                    </a:lnTo>
                    <a:lnTo>
                      <a:pt x="4227" y="5650"/>
                    </a:lnTo>
                    <a:lnTo>
                      <a:pt x="4436" y="5441"/>
                    </a:lnTo>
                    <a:lnTo>
                      <a:pt x="4499" y="5441"/>
                    </a:lnTo>
                    <a:lnTo>
                      <a:pt x="4562" y="5503"/>
                    </a:lnTo>
                    <a:lnTo>
                      <a:pt x="4708" y="5503"/>
                    </a:lnTo>
                    <a:lnTo>
                      <a:pt x="4834" y="5587"/>
                    </a:lnTo>
                    <a:lnTo>
                      <a:pt x="4938" y="5587"/>
                    </a:lnTo>
                    <a:lnTo>
                      <a:pt x="5022" y="5524"/>
                    </a:lnTo>
                    <a:lnTo>
                      <a:pt x="5085" y="5503"/>
                    </a:lnTo>
                    <a:lnTo>
                      <a:pt x="5461" y="5734"/>
                    </a:lnTo>
                    <a:lnTo>
                      <a:pt x="5545" y="5817"/>
                    </a:lnTo>
                    <a:lnTo>
                      <a:pt x="5796" y="5817"/>
                    </a:lnTo>
                    <a:lnTo>
                      <a:pt x="5901" y="5734"/>
                    </a:lnTo>
                    <a:lnTo>
                      <a:pt x="5880" y="5692"/>
                    </a:lnTo>
                    <a:lnTo>
                      <a:pt x="5984" y="5545"/>
                    </a:lnTo>
                    <a:lnTo>
                      <a:pt x="6340" y="5294"/>
                    </a:lnTo>
                    <a:lnTo>
                      <a:pt x="6382" y="5273"/>
                    </a:lnTo>
                    <a:lnTo>
                      <a:pt x="6319" y="5169"/>
                    </a:lnTo>
                    <a:lnTo>
                      <a:pt x="6403" y="4980"/>
                    </a:lnTo>
                    <a:lnTo>
                      <a:pt x="6235" y="4980"/>
                    </a:lnTo>
                    <a:lnTo>
                      <a:pt x="6068" y="4855"/>
                    </a:lnTo>
                    <a:lnTo>
                      <a:pt x="6026" y="4562"/>
                    </a:lnTo>
                    <a:lnTo>
                      <a:pt x="5880" y="4394"/>
                    </a:lnTo>
                    <a:lnTo>
                      <a:pt x="5963" y="4332"/>
                    </a:lnTo>
                    <a:lnTo>
                      <a:pt x="6089" y="4290"/>
                    </a:lnTo>
                    <a:lnTo>
                      <a:pt x="6131" y="4122"/>
                    </a:lnTo>
                    <a:lnTo>
                      <a:pt x="6026" y="4018"/>
                    </a:lnTo>
                    <a:lnTo>
                      <a:pt x="6005" y="3850"/>
                    </a:lnTo>
                    <a:lnTo>
                      <a:pt x="6068" y="3809"/>
                    </a:lnTo>
                    <a:lnTo>
                      <a:pt x="6068" y="3725"/>
                    </a:lnTo>
                    <a:lnTo>
                      <a:pt x="5984" y="3662"/>
                    </a:lnTo>
                    <a:lnTo>
                      <a:pt x="5922" y="3516"/>
                    </a:lnTo>
                    <a:lnTo>
                      <a:pt x="5880" y="3411"/>
                    </a:lnTo>
                    <a:lnTo>
                      <a:pt x="5712" y="3411"/>
                    </a:lnTo>
                    <a:lnTo>
                      <a:pt x="5650" y="3453"/>
                    </a:lnTo>
                    <a:lnTo>
                      <a:pt x="5691" y="3620"/>
                    </a:lnTo>
                    <a:lnTo>
                      <a:pt x="5545" y="3662"/>
                    </a:lnTo>
                    <a:lnTo>
                      <a:pt x="5440" y="3662"/>
                    </a:lnTo>
                    <a:lnTo>
                      <a:pt x="5398" y="3558"/>
                    </a:lnTo>
                    <a:lnTo>
                      <a:pt x="5482" y="3537"/>
                    </a:lnTo>
                    <a:lnTo>
                      <a:pt x="5545" y="3537"/>
                    </a:lnTo>
                    <a:lnTo>
                      <a:pt x="5545" y="3432"/>
                    </a:lnTo>
                    <a:lnTo>
                      <a:pt x="5566" y="3244"/>
                    </a:lnTo>
                    <a:lnTo>
                      <a:pt x="5712" y="3013"/>
                    </a:lnTo>
                    <a:lnTo>
                      <a:pt x="5796" y="2993"/>
                    </a:lnTo>
                    <a:lnTo>
                      <a:pt x="5901" y="2825"/>
                    </a:lnTo>
                    <a:lnTo>
                      <a:pt x="6005" y="2783"/>
                    </a:lnTo>
                    <a:lnTo>
                      <a:pt x="6005" y="2679"/>
                    </a:lnTo>
                    <a:lnTo>
                      <a:pt x="5880" y="2616"/>
                    </a:lnTo>
                    <a:lnTo>
                      <a:pt x="5963" y="2511"/>
                    </a:lnTo>
                    <a:lnTo>
                      <a:pt x="6089" y="2511"/>
                    </a:lnTo>
                    <a:lnTo>
                      <a:pt x="6110" y="2595"/>
                    </a:lnTo>
                    <a:lnTo>
                      <a:pt x="6215" y="2595"/>
                    </a:lnTo>
                    <a:lnTo>
                      <a:pt x="6403" y="2553"/>
                    </a:lnTo>
                    <a:lnTo>
                      <a:pt x="6340" y="2449"/>
                    </a:lnTo>
                    <a:lnTo>
                      <a:pt x="6235" y="2365"/>
                    </a:lnTo>
                    <a:lnTo>
                      <a:pt x="6235" y="2197"/>
                    </a:lnTo>
                    <a:lnTo>
                      <a:pt x="6298" y="2030"/>
                    </a:lnTo>
                    <a:lnTo>
                      <a:pt x="6382" y="1946"/>
                    </a:lnTo>
                    <a:lnTo>
                      <a:pt x="6382" y="1842"/>
                    </a:lnTo>
                    <a:lnTo>
                      <a:pt x="6445" y="1674"/>
                    </a:lnTo>
                    <a:lnTo>
                      <a:pt x="6591" y="1549"/>
                    </a:lnTo>
                    <a:lnTo>
                      <a:pt x="6445" y="1465"/>
                    </a:lnTo>
                    <a:lnTo>
                      <a:pt x="6340" y="1465"/>
                    </a:lnTo>
                    <a:lnTo>
                      <a:pt x="6215" y="1402"/>
                    </a:lnTo>
                    <a:lnTo>
                      <a:pt x="6110" y="1444"/>
                    </a:lnTo>
                    <a:lnTo>
                      <a:pt x="6026" y="1402"/>
                    </a:lnTo>
                    <a:lnTo>
                      <a:pt x="5922" y="1402"/>
                    </a:lnTo>
                    <a:lnTo>
                      <a:pt x="5859" y="1444"/>
                    </a:lnTo>
                    <a:lnTo>
                      <a:pt x="5754" y="1361"/>
                    </a:lnTo>
                    <a:lnTo>
                      <a:pt x="5754" y="1298"/>
                    </a:lnTo>
                    <a:lnTo>
                      <a:pt x="5650" y="1214"/>
                    </a:lnTo>
                    <a:lnTo>
                      <a:pt x="5566" y="1235"/>
                    </a:lnTo>
                    <a:lnTo>
                      <a:pt x="5398" y="1193"/>
                    </a:lnTo>
                    <a:lnTo>
                      <a:pt x="5357" y="1089"/>
                    </a:lnTo>
                    <a:lnTo>
                      <a:pt x="5252" y="1089"/>
                    </a:lnTo>
                    <a:lnTo>
                      <a:pt x="5189" y="1130"/>
                    </a:lnTo>
                    <a:lnTo>
                      <a:pt x="5085" y="1047"/>
                    </a:lnTo>
                    <a:lnTo>
                      <a:pt x="4980" y="1026"/>
                    </a:lnTo>
                    <a:lnTo>
                      <a:pt x="4854" y="879"/>
                    </a:lnTo>
                    <a:lnTo>
                      <a:pt x="4771" y="837"/>
                    </a:lnTo>
                    <a:lnTo>
                      <a:pt x="4729" y="796"/>
                    </a:lnTo>
                    <a:lnTo>
                      <a:pt x="4645" y="796"/>
                    </a:lnTo>
                    <a:lnTo>
                      <a:pt x="4603" y="837"/>
                    </a:lnTo>
                    <a:lnTo>
                      <a:pt x="4457" y="775"/>
                    </a:lnTo>
                    <a:lnTo>
                      <a:pt x="4457" y="607"/>
                    </a:lnTo>
                    <a:lnTo>
                      <a:pt x="4394" y="586"/>
                    </a:lnTo>
                    <a:lnTo>
                      <a:pt x="4310" y="524"/>
                    </a:lnTo>
                    <a:lnTo>
                      <a:pt x="4227" y="524"/>
                    </a:lnTo>
                    <a:lnTo>
                      <a:pt x="4080" y="398"/>
                    </a:lnTo>
                    <a:lnTo>
                      <a:pt x="4038" y="293"/>
                    </a:lnTo>
                    <a:lnTo>
                      <a:pt x="3913" y="252"/>
                    </a:lnTo>
                    <a:lnTo>
                      <a:pt x="3892" y="63"/>
                    </a:lnTo>
                    <a:lnTo>
                      <a:pt x="382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4" name="Google Shape;744;p34"/>
              <p:cNvSpPr/>
              <p:nvPr/>
            </p:nvSpPr>
            <p:spPr>
              <a:xfrm>
                <a:off x="3658200" y="2557475"/>
                <a:ext cx="70850" cy="44050"/>
              </a:xfrm>
              <a:custGeom>
                <a:avLst/>
                <a:gdLst/>
                <a:ahLst/>
                <a:cxnLst/>
                <a:rect l="l" t="t" r="r" b="b"/>
                <a:pathLst>
                  <a:path w="2834" h="1762" extrusionOk="0">
                    <a:moveTo>
                      <a:pt x="571" y="595"/>
                    </a:moveTo>
                    <a:lnTo>
                      <a:pt x="0" y="1119"/>
                    </a:lnTo>
                    <a:lnTo>
                      <a:pt x="1833" y="1762"/>
                    </a:lnTo>
                    <a:lnTo>
                      <a:pt x="2714" y="1476"/>
                    </a:lnTo>
                    <a:lnTo>
                      <a:pt x="2834" y="1071"/>
                    </a:lnTo>
                    <a:lnTo>
                      <a:pt x="183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45" name="Google Shape;745;p34"/>
              <p:cNvSpPr/>
              <p:nvPr/>
            </p:nvSpPr>
            <p:spPr>
              <a:xfrm>
                <a:off x="3719525" y="2432450"/>
                <a:ext cx="79750" cy="89900"/>
              </a:xfrm>
              <a:custGeom>
                <a:avLst/>
                <a:gdLst/>
                <a:ahLst/>
                <a:cxnLst/>
                <a:rect l="l" t="t" r="r" b="b"/>
                <a:pathLst>
                  <a:path w="3190" h="3596" extrusionOk="0">
                    <a:moveTo>
                      <a:pt x="0" y="167"/>
                    </a:moveTo>
                    <a:lnTo>
                      <a:pt x="261" y="0"/>
                    </a:lnTo>
                    <a:lnTo>
                      <a:pt x="1619" y="1095"/>
                    </a:lnTo>
                    <a:lnTo>
                      <a:pt x="2381" y="1286"/>
                    </a:lnTo>
                    <a:lnTo>
                      <a:pt x="3190" y="1429"/>
                    </a:lnTo>
                    <a:lnTo>
                      <a:pt x="2809" y="2595"/>
                    </a:lnTo>
                    <a:lnTo>
                      <a:pt x="2071" y="2429"/>
                    </a:lnTo>
                    <a:lnTo>
                      <a:pt x="1524" y="359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6" name="Google Shape;746;p34"/>
            <p:cNvGrpSpPr/>
            <p:nvPr/>
          </p:nvGrpSpPr>
          <p:grpSpPr>
            <a:xfrm>
              <a:off x="3685682" y="2845624"/>
              <a:ext cx="29311" cy="45055"/>
              <a:chOff x="3561536" y="2585450"/>
              <a:chExt cx="61539" cy="99045"/>
            </a:xfrm>
          </p:grpSpPr>
          <p:sp>
            <p:nvSpPr>
              <p:cNvPr id="747" name="Google Shape;747;p34"/>
              <p:cNvSpPr/>
              <p:nvPr/>
            </p:nvSpPr>
            <p:spPr>
              <a:xfrm rot="192277">
                <a:off x="3564002" y="2593849"/>
                <a:ext cx="44498" cy="89472"/>
              </a:xfrm>
              <a:custGeom>
                <a:avLst/>
                <a:gdLst/>
                <a:ahLst/>
                <a:cxnLst/>
                <a:rect l="l" t="t" r="r" b="b"/>
                <a:pathLst>
                  <a:path w="1780" h="3579" extrusionOk="0">
                    <a:moveTo>
                      <a:pt x="628" y="1"/>
                    </a:moveTo>
                    <a:lnTo>
                      <a:pt x="356" y="22"/>
                    </a:lnTo>
                    <a:lnTo>
                      <a:pt x="377" y="147"/>
                    </a:lnTo>
                    <a:lnTo>
                      <a:pt x="461" y="357"/>
                    </a:lnTo>
                    <a:lnTo>
                      <a:pt x="440" y="712"/>
                    </a:lnTo>
                    <a:lnTo>
                      <a:pt x="440" y="775"/>
                    </a:lnTo>
                    <a:lnTo>
                      <a:pt x="419" y="943"/>
                    </a:lnTo>
                    <a:lnTo>
                      <a:pt x="482" y="1026"/>
                    </a:lnTo>
                    <a:lnTo>
                      <a:pt x="440" y="1131"/>
                    </a:lnTo>
                    <a:lnTo>
                      <a:pt x="356" y="1256"/>
                    </a:lnTo>
                    <a:lnTo>
                      <a:pt x="356" y="1445"/>
                    </a:lnTo>
                    <a:lnTo>
                      <a:pt x="231" y="1654"/>
                    </a:lnTo>
                    <a:lnTo>
                      <a:pt x="231" y="1759"/>
                    </a:lnTo>
                    <a:lnTo>
                      <a:pt x="64" y="1968"/>
                    </a:lnTo>
                    <a:lnTo>
                      <a:pt x="1" y="2303"/>
                    </a:lnTo>
                    <a:lnTo>
                      <a:pt x="1" y="2386"/>
                    </a:lnTo>
                    <a:lnTo>
                      <a:pt x="105" y="2386"/>
                    </a:lnTo>
                    <a:lnTo>
                      <a:pt x="168" y="2303"/>
                    </a:lnTo>
                    <a:lnTo>
                      <a:pt x="273" y="2219"/>
                    </a:lnTo>
                    <a:lnTo>
                      <a:pt x="252" y="2303"/>
                    </a:lnTo>
                    <a:lnTo>
                      <a:pt x="315" y="2344"/>
                    </a:lnTo>
                    <a:lnTo>
                      <a:pt x="126" y="2428"/>
                    </a:lnTo>
                    <a:lnTo>
                      <a:pt x="126" y="2554"/>
                    </a:lnTo>
                    <a:lnTo>
                      <a:pt x="168" y="2616"/>
                    </a:lnTo>
                    <a:lnTo>
                      <a:pt x="252" y="2533"/>
                    </a:lnTo>
                    <a:lnTo>
                      <a:pt x="419" y="2533"/>
                    </a:lnTo>
                    <a:lnTo>
                      <a:pt x="336" y="2616"/>
                    </a:lnTo>
                    <a:lnTo>
                      <a:pt x="377" y="2763"/>
                    </a:lnTo>
                    <a:lnTo>
                      <a:pt x="336" y="2909"/>
                    </a:lnTo>
                    <a:lnTo>
                      <a:pt x="336" y="3223"/>
                    </a:lnTo>
                    <a:lnTo>
                      <a:pt x="273" y="3432"/>
                    </a:lnTo>
                    <a:lnTo>
                      <a:pt x="231" y="3495"/>
                    </a:lnTo>
                    <a:lnTo>
                      <a:pt x="273" y="3537"/>
                    </a:lnTo>
                    <a:lnTo>
                      <a:pt x="440" y="3432"/>
                    </a:lnTo>
                    <a:lnTo>
                      <a:pt x="691" y="3495"/>
                    </a:lnTo>
                    <a:lnTo>
                      <a:pt x="796" y="3579"/>
                    </a:lnTo>
                    <a:lnTo>
                      <a:pt x="963" y="3474"/>
                    </a:lnTo>
                    <a:lnTo>
                      <a:pt x="1110" y="3474"/>
                    </a:lnTo>
                    <a:lnTo>
                      <a:pt x="1152" y="3432"/>
                    </a:lnTo>
                    <a:lnTo>
                      <a:pt x="1152" y="3286"/>
                    </a:lnTo>
                    <a:lnTo>
                      <a:pt x="1068" y="3160"/>
                    </a:lnTo>
                    <a:lnTo>
                      <a:pt x="1193" y="2909"/>
                    </a:lnTo>
                    <a:lnTo>
                      <a:pt x="1319" y="2805"/>
                    </a:lnTo>
                    <a:lnTo>
                      <a:pt x="1361" y="2658"/>
                    </a:lnTo>
                    <a:lnTo>
                      <a:pt x="1214" y="2658"/>
                    </a:lnTo>
                    <a:lnTo>
                      <a:pt x="1152" y="2512"/>
                    </a:lnTo>
                    <a:lnTo>
                      <a:pt x="1319" y="2323"/>
                    </a:lnTo>
                    <a:lnTo>
                      <a:pt x="1319" y="2093"/>
                    </a:lnTo>
                    <a:lnTo>
                      <a:pt x="1193" y="2010"/>
                    </a:lnTo>
                    <a:lnTo>
                      <a:pt x="1047" y="1717"/>
                    </a:lnTo>
                    <a:lnTo>
                      <a:pt x="1172" y="1696"/>
                    </a:lnTo>
                    <a:lnTo>
                      <a:pt x="1277" y="1696"/>
                    </a:lnTo>
                    <a:lnTo>
                      <a:pt x="1424" y="1487"/>
                    </a:lnTo>
                    <a:lnTo>
                      <a:pt x="1319" y="1382"/>
                    </a:lnTo>
                    <a:lnTo>
                      <a:pt x="1465" y="1277"/>
                    </a:lnTo>
                    <a:lnTo>
                      <a:pt x="1465" y="922"/>
                    </a:lnTo>
                    <a:lnTo>
                      <a:pt x="1424" y="754"/>
                    </a:lnTo>
                    <a:lnTo>
                      <a:pt x="1675" y="545"/>
                    </a:lnTo>
                    <a:lnTo>
                      <a:pt x="1737" y="545"/>
                    </a:lnTo>
                    <a:lnTo>
                      <a:pt x="1779" y="440"/>
                    </a:lnTo>
                    <a:lnTo>
                      <a:pt x="1675" y="252"/>
                    </a:lnTo>
                    <a:lnTo>
                      <a:pt x="1633" y="127"/>
                    </a:lnTo>
                    <a:lnTo>
                      <a:pt x="1382" y="85"/>
                    </a:lnTo>
                    <a:lnTo>
                      <a:pt x="1277" y="210"/>
                    </a:lnTo>
                    <a:lnTo>
                      <a:pt x="942" y="127"/>
                    </a:lnTo>
                    <a:lnTo>
                      <a:pt x="754" y="231"/>
                    </a:lnTo>
                    <a:lnTo>
                      <a:pt x="691" y="147"/>
                    </a:lnTo>
                    <a:lnTo>
                      <a:pt x="733" y="22"/>
                    </a:lnTo>
                    <a:lnTo>
                      <a:pt x="62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8" name="Google Shape;748;p34"/>
              <p:cNvSpPr/>
              <p:nvPr/>
            </p:nvSpPr>
            <p:spPr>
              <a:xfrm>
                <a:off x="3580800" y="2585450"/>
                <a:ext cx="42275" cy="93450"/>
              </a:xfrm>
              <a:custGeom>
                <a:avLst/>
                <a:gdLst/>
                <a:ahLst/>
                <a:cxnLst/>
                <a:rect l="l" t="t" r="r" b="b"/>
                <a:pathLst>
                  <a:path w="1691" h="3738" extrusionOk="0">
                    <a:moveTo>
                      <a:pt x="453" y="0"/>
                    </a:moveTo>
                    <a:lnTo>
                      <a:pt x="0" y="547"/>
                    </a:lnTo>
                    <a:lnTo>
                      <a:pt x="0" y="3429"/>
                    </a:lnTo>
                    <a:lnTo>
                      <a:pt x="429" y="3738"/>
                    </a:lnTo>
                    <a:lnTo>
                      <a:pt x="1691" y="2714"/>
                    </a:lnTo>
                    <a:lnTo>
                      <a:pt x="1691" y="5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9" name="Google Shape;749;p34"/>
            <p:cNvGrpSpPr/>
            <p:nvPr/>
          </p:nvGrpSpPr>
          <p:grpSpPr>
            <a:xfrm>
              <a:off x="3849905" y="2572252"/>
              <a:ext cx="74339" cy="119559"/>
              <a:chOff x="3906325" y="1984500"/>
              <a:chExt cx="156075" cy="262825"/>
            </a:xfrm>
          </p:grpSpPr>
          <p:sp>
            <p:nvSpPr>
              <p:cNvPr id="750" name="Google Shape;750;p34"/>
              <p:cNvSpPr/>
              <p:nvPr/>
            </p:nvSpPr>
            <p:spPr>
              <a:xfrm>
                <a:off x="3906325" y="1984500"/>
                <a:ext cx="100825" cy="124200"/>
              </a:xfrm>
              <a:custGeom>
                <a:avLst/>
                <a:gdLst/>
                <a:ahLst/>
                <a:cxnLst/>
                <a:rect l="l" t="t" r="r" b="b"/>
                <a:pathLst>
                  <a:path w="4033" h="4968" extrusionOk="0">
                    <a:moveTo>
                      <a:pt x="2901" y="4968"/>
                    </a:moveTo>
                    <a:lnTo>
                      <a:pt x="1524" y="4673"/>
                    </a:lnTo>
                    <a:lnTo>
                      <a:pt x="0" y="1771"/>
                    </a:lnTo>
                    <a:lnTo>
                      <a:pt x="737" y="886"/>
                    </a:lnTo>
                    <a:lnTo>
                      <a:pt x="2508" y="1181"/>
                    </a:lnTo>
                    <a:lnTo>
                      <a:pt x="2655" y="345"/>
                    </a:lnTo>
                    <a:lnTo>
                      <a:pt x="3442" y="0"/>
                    </a:lnTo>
                    <a:lnTo>
                      <a:pt x="4033" y="443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51" name="Google Shape;751;p34"/>
              <p:cNvSpPr/>
              <p:nvPr/>
            </p:nvSpPr>
            <p:spPr>
              <a:xfrm>
                <a:off x="3919575" y="1989950"/>
                <a:ext cx="142825" cy="25737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10295" extrusionOk="0">
                    <a:moveTo>
                      <a:pt x="2867" y="0"/>
                    </a:moveTo>
                    <a:lnTo>
                      <a:pt x="2762" y="105"/>
                    </a:lnTo>
                    <a:lnTo>
                      <a:pt x="2762" y="147"/>
                    </a:lnTo>
                    <a:lnTo>
                      <a:pt x="2679" y="189"/>
                    </a:lnTo>
                    <a:lnTo>
                      <a:pt x="2532" y="147"/>
                    </a:lnTo>
                    <a:lnTo>
                      <a:pt x="2386" y="209"/>
                    </a:lnTo>
                    <a:lnTo>
                      <a:pt x="2386" y="293"/>
                    </a:lnTo>
                    <a:lnTo>
                      <a:pt x="2323" y="419"/>
                    </a:lnTo>
                    <a:lnTo>
                      <a:pt x="2239" y="461"/>
                    </a:lnTo>
                    <a:lnTo>
                      <a:pt x="2281" y="544"/>
                    </a:lnTo>
                    <a:lnTo>
                      <a:pt x="2260" y="628"/>
                    </a:lnTo>
                    <a:lnTo>
                      <a:pt x="2239" y="921"/>
                    </a:lnTo>
                    <a:lnTo>
                      <a:pt x="2281" y="1088"/>
                    </a:lnTo>
                    <a:lnTo>
                      <a:pt x="2344" y="1193"/>
                    </a:lnTo>
                    <a:lnTo>
                      <a:pt x="2281" y="1277"/>
                    </a:lnTo>
                    <a:lnTo>
                      <a:pt x="2177" y="1360"/>
                    </a:lnTo>
                    <a:lnTo>
                      <a:pt x="2072" y="1360"/>
                    </a:lnTo>
                    <a:lnTo>
                      <a:pt x="1967" y="1444"/>
                    </a:lnTo>
                    <a:lnTo>
                      <a:pt x="1905" y="1486"/>
                    </a:lnTo>
                    <a:lnTo>
                      <a:pt x="1821" y="1611"/>
                    </a:lnTo>
                    <a:lnTo>
                      <a:pt x="1674" y="1590"/>
                    </a:lnTo>
                    <a:lnTo>
                      <a:pt x="1507" y="1465"/>
                    </a:lnTo>
                    <a:lnTo>
                      <a:pt x="1381" y="1465"/>
                    </a:lnTo>
                    <a:lnTo>
                      <a:pt x="1298" y="1549"/>
                    </a:lnTo>
                    <a:lnTo>
                      <a:pt x="1151" y="1674"/>
                    </a:lnTo>
                    <a:lnTo>
                      <a:pt x="900" y="1674"/>
                    </a:lnTo>
                    <a:lnTo>
                      <a:pt x="733" y="1590"/>
                    </a:lnTo>
                    <a:lnTo>
                      <a:pt x="670" y="1465"/>
                    </a:lnTo>
                    <a:lnTo>
                      <a:pt x="607" y="1339"/>
                    </a:lnTo>
                    <a:lnTo>
                      <a:pt x="377" y="1130"/>
                    </a:lnTo>
                    <a:lnTo>
                      <a:pt x="293" y="984"/>
                    </a:lnTo>
                    <a:lnTo>
                      <a:pt x="189" y="963"/>
                    </a:lnTo>
                    <a:lnTo>
                      <a:pt x="105" y="1046"/>
                    </a:lnTo>
                    <a:lnTo>
                      <a:pt x="84" y="1151"/>
                    </a:lnTo>
                    <a:lnTo>
                      <a:pt x="105" y="1214"/>
                    </a:lnTo>
                    <a:lnTo>
                      <a:pt x="84" y="1256"/>
                    </a:lnTo>
                    <a:lnTo>
                      <a:pt x="42" y="1214"/>
                    </a:lnTo>
                    <a:lnTo>
                      <a:pt x="1" y="1256"/>
                    </a:lnTo>
                    <a:lnTo>
                      <a:pt x="105" y="1360"/>
                    </a:lnTo>
                    <a:lnTo>
                      <a:pt x="273" y="1423"/>
                    </a:lnTo>
                    <a:lnTo>
                      <a:pt x="482" y="1674"/>
                    </a:lnTo>
                    <a:lnTo>
                      <a:pt x="628" y="1779"/>
                    </a:lnTo>
                    <a:lnTo>
                      <a:pt x="879" y="1800"/>
                    </a:lnTo>
                    <a:lnTo>
                      <a:pt x="942" y="1841"/>
                    </a:lnTo>
                    <a:lnTo>
                      <a:pt x="1026" y="1883"/>
                    </a:lnTo>
                    <a:lnTo>
                      <a:pt x="1130" y="2009"/>
                    </a:lnTo>
                    <a:lnTo>
                      <a:pt x="1193" y="2113"/>
                    </a:lnTo>
                    <a:lnTo>
                      <a:pt x="1298" y="2113"/>
                    </a:lnTo>
                    <a:lnTo>
                      <a:pt x="1402" y="2239"/>
                    </a:lnTo>
                    <a:lnTo>
                      <a:pt x="1465" y="2239"/>
                    </a:lnTo>
                    <a:lnTo>
                      <a:pt x="1528" y="2323"/>
                    </a:lnTo>
                    <a:lnTo>
                      <a:pt x="1465" y="2427"/>
                    </a:lnTo>
                    <a:lnTo>
                      <a:pt x="1507" y="2574"/>
                    </a:lnTo>
                    <a:lnTo>
                      <a:pt x="1444" y="2720"/>
                    </a:lnTo>
                    <a:lnTo>
                      <a:pt x="1444" y="2825"/>
                    </a:lnTo>
                    <a:lnTo>
                      <a:pt x="1612" y="2825"/>
                    </a:lnTo>
                    <a:lnTo>
                      <a:pt x="1633" y="2950"/>
                    </a:lnTo>
                    <a:lnTo>
                      <a:pt x="1591" y="3034"/>
                    </a:lnTo>
                    <a:lnTo>
                      <a:pt x="1612" y="3181"/>
                    </a:lnTo>
                    <a:lnTo>
                      <a:pt x="1653" y="3285"/>
                    </a:lnTo>
                    <a:lnTo>
                      <a:pt x="1695" y="3494"/>
                    </a:lnTo>
                    <a:lnTo>
                      <a:pt x="1653" y="3599"/>
                    </a:lnTo>
                    <a:lnTo>
                      <a:pt x="1695" y="3683"/>
                    </a:lnTo>
                    <a:lnTo>
                      <a:pt x="1695" y="3913"/>
                    </a:lnTo>
                    <a:lnTo>
                      <a:pt x="1653" y="3997"/>
                    </a:lnTo>
                    <a:lnTo>
                      <a:pt x="1716" y="4143"/>
                    </a:lnTo>
                    <a:lnTo>
                      <a:pt x="1821" y="4185"/>
                    </a:lnTo>
                    <a:lnTo>
                      <a:pt x="1925" y="4394"/>
                    </a:lnTo>
                    <a:lnTo>
                      <a:pt x="1967" y="4478"/>
                    </a:lnTo>
                    <a:lnTo>
                      <a:pt x="1967" y="4603"/>
                    </a:lnTo>
                    <a:lnTo>
                      <a:pt x="1988" y="4645"/>
                    </a:lnTo>
                    <a:lnTo>
                      <a:pt x="2093" y="4645"/>
                    </a:lnTo>
                    <a:lnTo>
                      <a:pt x="2197" y="4750"/>
                    </a:lnTo>
                    <a:lnTo>
                      <a:pt x="2407" y="4750"/>
                    </a:lnTo>
                    <a:lnTo>
                      <a:pt x="2574" y="4875"/>
                    </a:lnTo>
                    <a:lnTo>
                      <a:pt x="2490" y="4938"/>
                    </a:lnTo>
                    <a:lnTo>
                      <a:pt x="2553" y="5022"/>
                    </a:lnTo>
                    <a:lnTo>
                      <a:pt x="2553" y="5189"/>
                    </a:lnTo>
                    <a:lnTo>
                      <a:pt x="2490" y="5231"/>
                    </a:lnTo>
                    <a:lnTo>
                      <a:pt x="2679" y="5378"/>
                    </a:lnTo>
                    <a:lnTo>
                      <a:pt x="2553" y="5357"/>
                    </a:lnTo>
                    <a:lnTo>
                      <a:pt x="2490" y="5378"/>
                    </a:lnTo>
                    <a:lnTo>
                      <a:pt x="2658" y="5524"/>
                    </a:lnTo>
                    <a:lnTo>
                      <a:pt x="2658" y="5587"/>
                    </a:lnTo>
                    <a:lnTo>
                      <a:pt x="2469" y="5482"/>
                    </a:lnTo>
                    <a:lnTo>
                      <a:pt x="2302" y="5482"/>
                    </a:lnTo>
                    <a:lnTo>
                      <a:pt x="2156" y="5587"/>
                    </a:lnTo>
                    <a:lnTo>
                      <a:pt x="2156" y="5691"/>
                    </a:lnTo>
                    <a:lnTo>
                      <a:pt x="2051" y="5796"/>
                    </a:lnTo>
                    <a:lnTo>
                      <a:pt x="2051" y="5880"/>
                    </a:lnTo>
                    <a:lnTo>
                      <a:pt x="1988" y="5901"/>
                    </a:lnTo>
                    <a:lnTo>
                      <a:pt x="1821" y="6089"/>
                    </a:lnTo>
                    <a:lnTo>
                      <a:pt x="1779" y="6277"/>
                    </a:lnTo>
                    <a:lnTo>
                      <a:pt x="1737" y="6298"/>
                    </a:lnTo>
                    <a:lnTo>
                      <a:pt x="1716" y="6256"/>
                    </a:lnTo>
                    <a:lnTo>
                      <a:pt x="1653" y="6256"/>
                    </a:lnTo>
                    <a:lnTo>
                      <a:pt x="1716" y="6361"/>
                    </a:lnTo>
                    <a:lnTo>
                      <a:pt x="1674" y="6445"/>
                    </a:lnTo>
                    <a:lnTo>
                      <a:pt x="1549" y="6445"/>
                    </a:lnTo>
                    <a:lnTo>
                      <a:pt x="1465" y="6549"/>
                    </a:lnTo>
                    <a:lnTo>
                      <a:pt x="1507" y="6717"/>
                    </a:lnTo>
                    <a:lnTo>
                      <a:pt x="1570" y="6759"/>
                    </a:lnTo>
                    <a:lnTo>
                      <a:pt x="1444" y="6717"/>
                    </a:lnTo>
                    <a:lnTo>
                      <a:pt x="1402" y="6654"/>
                    </a:lnTo>
                    <a:lnTo>
                      <a:pt x="1319" y="6696"/>
                    </a:lnTo>
                    <a:lnTo>
                      <a:pt x="1256" y="6821"/>
                    </a:lnTo>
                    <a:lnTo>
                      <a:pt x="1298" y="6884"/>
                    </a:lnTo>
                    <a:lnTo>
                      <a:pt x="1214" y="6842"/>
                    </a:lnTo>
                    <a:lnTo>
                      <a:pt x="1193" y="6905"/>
                    </a:lnTo>
                    <a:lnTo>
                      <a:pt x="1256" y="6968"/>
                    </a:lnTo>
                    <a:lnTo>
                      <a:pt x="1256" y="7031"/>
                    </a:lnTo>
                    <a:lnTo>
                      <a:pt x="1193" y="7114"/>
                    </a:lnTo>
                    <a:lnTo>
                      <a:pt x="1151" y="7156"/>
                    </a:lnTo>
                    <a:lnTo>
                      <a:pt x="1047" y="7219"/>
                    </a:lnTo>
                    <a:lnTo>
                      <a:pt x="1005" y="7177"/>
                    </a:lnTo>
                    <a:lnTo>
                      <a:pt x="984" y="7135"/>
                    </a:lnTo>
                    <a:lnTo>
                      <a:pt x="900" y="7114"/>
                    </a:lnTo>
                    <a:lnTo>
                      <a:pt x="817" y="7135"/>
                    </a:lnTo>
                    <a:lnTo>
                      <a:pt x="837" y="7240"/>
                    </a:lnTo>
                    <a:lnTo>
                      <a:pt x="796" y="7282"/>
                    </a:lnTo>
                    <a:lnTo>
                      <a:pt x="837" y="7386"/>
                    </a:lnTo>
                    <a:lnTo>
                      <a:pt x="796" y="7491"/>
                    </a:lnTo>
                    <a:lnTo>
                      <a:pt x="733" y="7533"/>
                    </a:lnTo>
                    <a:lnTo>
                      <a:pt x="691" y="7637"/>
                    </a:lnTo>
                    <a:lnTo>
                      <a:pt x="733" y="7742"/>
                    </a:lnTo>
                    <a:lnTo>
                      <a:pt x="775" y="7763"/>
                    </a:lnTo>
                    <a:lnTo>
                      <a:pt x="733" y="7867"/>
                    </a:lnTo>
                    <a:lnTo>
                      <a:pt x="775" y="7951"/>
                    </a:lnTo>
                    <a:lnTo>
                      <a:pt x="858" y="7909"/>
                    </a:lnTo>
                    <a:lnTo>
                      <a:pt x="900" y="7972"/>
                    </a:lnTo>
                    <a:lnTo>
                      <a:pt x="879" y="8098"/>
                    </a:lnTo>
                    <a:lnTo>
                      <a:pt x="837" y="8160"/>
                    </a:lnTo>
                    <a:lnTo>
                      <a:pt x="879" y="8265"/>
                    </a:lnTo>
                    <a:lnTo>
                      <a:pt x="837" y="8307"/>
                    </a:lnTo>
                    <a:lnTo>
                      <a:pt x="942" y="8495"/>
                    </a:lnTo>
                    <a:lnTo>
                      <a:pt x="1005" y="8537"/>
                    </a:lnTo>
                    <a:lnTo>
                      <a:pt x="942" y="8621"/>
                    </a:lnTo>
                    <a:lnTo>
                      <a:pt x="1026" y="8746"/>
                    </a:lnTo>
                    <a:lnTo>
                      <a:pt x="942" y="8788"/>
                    </a:lnTo>
                    <a:lnTo>
                      <a:pt x="984" y="8955"/>
                    </a:lnTo>
                    <a:lnTo>
                      <a:pt x="942" y="9039"/>
                    </a:lnTo>
                    <a:lnTo>
                      <a:pt x="942" y="9269"/>
                    </a:lnTo>
                    <a:lnTo>
                      <a:pt x="1005" y="9353"/>
                    </a:lnTo>
                    <a:lnTo>
                      <a:pt x="942" y="9479"/>
                    </a:lnTo>
                    <a:lnTo>
                      <a:pt x="942" y="9562"/>
                    </a:lnTo>
                    <a:lnTo>
                      <a:pt x="1005" y="9625"/>
                    </a:lnTo>
                    <a:lnTo>
                      <a:pt x="1151" y="9541"/>
                    </a:lnTo>
                    <a:lnTo>
                      <a:pt x="1214" y="9583"/>
                    </a:lnTo>
                    <a:lnTo>
                      <a:pt x="1235" y="9520"/>
                    </a:lnTo>
                    <a:lnTo>
                      <a:pt x="1361" y="9646"/>
                    </a:lnTo>
                    <a:lnTo>
                      <a:pt x="1444" y="9625"/>
                    </a:lnTo>
                    <a:lnTo>
                      <a:pt x="1528" y="9688"/>
                    </a:lnTo>
                    <a:lnTo>
                      <a:pt x="1674" y="9667"/>
                    </a:lnTo>
                    <a:lnTo>
                      <a:pt x="1737" y="9688"/>
                    </a:lnTo>
                    <a:lnTo>
                      <a:pt x="1674" y="9772"/>
                    </a:lnTo>
                    <a:lnTo>
                      <a:pt x="1737" y="9772"/>
                    </a:lnTo>
                    <a:lnTo>
                      <a:pt x="1863" y="9667"/>
                    </a:lnTo>
                    <a:lnTo>
                      <a:pt x="1863" y="9751"/>
                    </a:lnTo>
                    <a:lnTo>
                      <a:pt x="1779" y="9855"/>
                    </a:lnTo>
                    <a:lnTo>
                      <a:pt x="1946" y="10064"/>
                    </a:lnTo>
                    <a:lnTo>
                      <a:pt x="1967" y="10148"/>
                    </a:lnTo>
                    <a:lnTo>
                      <a:pt x="1946" y="10274"/>
                    </a:lnTo>
                    <a:lnTo>
                      <a:pt x="1967" y="10295"/>
                    </a:lnTo>
                    <a:lnTo>
                      <a:pt x="2030" y="10148"/>
                    </a:lnTo>
                    <a:lnTo>
                      <a:pt x="2114" y="10106"/>
                    </a:lnTo>
                    <a:lnTo>
                      <a:pt x="2135" y="10190"/>
                    </a:lnTo>
                    <a:lnTo>
                      <a:pt x="2239" y="10148"/>
                    </a:lnTo>
                    <a:lnTo>
                      <a:pt x="2323" y="10148"/>
                    </a:lnTo>
                    <a:lnTo>
                      <a:pt x="2490" y="10002"/>
                    </a:lnTo>
                    <a:lnTo>
                      <a:pt x="2595" y="10002"/>
                    </a:lnTo>
                    <a:lnTo>
                      <a:pt x="2825" y="9855"/>
                    </a:lnTo>
                    <a:lnTo>
                      <a:pt x="2867" y="9792"/>
                    </a:lnTo>
                    <a:lnTo>
                      <a:pt x="3014" y="9855"/>
                    </a:lnTo>
                    <a:lnTo>
                      <a:pt x="3118" y="9834"/>
                    </a:lnTo>
                    <a:lnTo>
                      <a:pt x="3223" y="9688"/>
                    </a:lnTo>
                    <a:lnTo>
                      <a:pt x="3244" y="9751"/>
                    </a:lnTo>
                    <a:lnTo>
                      <a:pt x="3202" y="9855"/>
                    </a:lnTo>
                    <a:lnTo>
                      <a:pt x="3244" y="9876"/>
                    </a:lnTo>
                    <a:lnTo>
                      <a:pt x="3306" y="9751"/>
                    </a:lnTo>
                    <a:lnTo>
                      <a:pt x="3348" y="9772"/>
                    </a:lnTo>
                    <a:lnTo>
                      <a:pt x="3306" y="9646"/>
                    </a:lnTo>
                    <a:lnTo>
                      <a:pt x="3348" y="9583"/>
                    </a:lnTo>
                    <a:lnTo>
                      <a:pt x="3411" y="9688"/>
                    </a:lnTo>
                    <a:lnTo>
                      <a:pt x="3453" y="9688"/>
                    </a:lnTo>
                    <a:lnTo>
                      <a:pt x="3495" y="9625"/>
                    </a:lnTo>
                    <a:lnTo>
                      <a:pt x="3537" y="9751"/>
                    </a:lnTo>
                    <a:lnTo>
                      <a:pt x="3620" y="9730"/>
                    </a:lnTo>
                    <a:lnTo>
                      <a:pt x="3620" y="9646"/>
                    </a:lnTo>
                    <a:lnTo>
                      <a:pt x="3662" y="9667"/>
                    </a:lnTo>
                    <a:lnTo>
                      <a:pt x="3704" y="9730"/>
                    </a:lnTo>
                    <a:lnTo>
                      <a:pt x="3767" y="9646"/>
                    </a:lnTo>
                    <a:lnTo>
                      <a:pt x="3934" y="9625"/>
                    </a:lnTo>
                    <a:lnTo>
                      <a:pt x="4018" y="9688"/>
                    </a:lnTo>
                    <a:lnTo>
                      <a:pt x="4206" y="9667"/>
                    </a:lnTo>
                    <a:lnTo>
                      <a:pt x="4206" y="9625"/>
                    </a:lnTo>
                    <a:lnTo>
                      <a:pt x="4143" y="9562"/>
                    </a:lnTo>
                    <a:lnTo>
                      <a:pt x="4206" y="9541"/>
                    </a:lnTo>
                    <a:lnTo>
                      <a:pt x="4269" y="9562"/>
                    </a:lnTo>
                    <a:lnTo>
                      <a:pt x="4311" y="9646"/>
                    </a:lnTo>
                    <a:lnTo>
                      <a:pt x="4415" y="9667"/>
                    </a:lnTo>
                    <a:lnTo>
                      <a:pt x="4457" y="9562"/>
                    </a:lnTo>
                    <a:lnTo>
                      <a:pt x="4436" y="9416"/>
                    </a:lnTo>
                    <a:lnTo>
                      <a:pt x="4687" y="9144"/>
                    </a:lnTo>
                    <a:lnTo>
                      <a:pt x="4876" y="9123"/>
                    </a:lnTo>
                    <a:lnTo>
                      <a:pt x="5043" y="8872"/>
                    </a:lnTo>
                    <a:lnTo>
                      <a:pt x="5190" y="8621"/>
                    </a:lnTo>
                    <a:lnTo>
                      <a:pt x="5315" y="8349"/>
                    </a:lnTo>
                    <a:lnTo>
                      <a:pt x="5566" y="7951"/>
                    </a:lnTo>
                    <a:lnTo>
                      <a:pt x="5713" y="7533"/>
                    </a:lnTo>
                    <a:lnTo>
                      <a:pt x="5692" y="7344"/>
                    </a:lnTo>
                    <a:lnTo>
                      <a:pt x="5420" y="7051"/>
                    </a:lnTo>
                    <a:lnTo>
                      <a:pt x="5273" y="7010"/>
                    </a:lnTo>
                    <a:lnTo>
                      <a:pt x="5001" y="6633"/>
                    </a:lnTo>
                    <a:lnTo>
                      <a:pt x="5064" y="6466"/>
                    </a:lnTo>
                    <a:lnTo>
                      <a:pt x="5169" y="6298"/>
                    </a:lnTo>
                    <a:lnTo>
                      <a:pt x="5169" y="6110"/>
                    </a:lnTo>
                    <a:lnTo>
                      <a:pt x="4980" y="5984"/>
                    </a:lnTo>
                    <a:lnTo>
                      <a:pt x="4938" y="5859"/>
                    </a:lnTo>
                    <a:lnTo>
                      <a:pt x="4938" y="5650"/>
                    </a:lnTo>
                    <a:lnTo>
                      <a:pt x="4980" y="5587"/>
                    </a:lnTo>
                    <a:lnTo>
                      <a:pt x="4938" y="5482"/>
                    </a:lnTo>
                    <a:lnTo>
                      <a:pt x="4792" y="5461"/>
                    </a:lnTo>
                    <a:lnTo>
                      <a:pt x="4729" y="5357"/>
                    </a:lnTo>
                    <a:lnTo>
                      <a:pt x="4729" y="5168"/>
                    </a:lnTo>
                    <a:lnTo>
                      <a:pt x="4792" y="5064"/>
                    </a:lnTo>
                    <a:lnTo>
                      <a:pt x="4687" y="5043"/>
                    </a:lnTo>
                    <a:lnTo>
                      <a:pt x="4687" y="4938"/>
                    </a:lnTo>
                    <a:lnTo>
                      <a:pt x="4729" y="4582"/>
                    </a:lnTo>
                    <a:lnTo>
                      <a:pt x="4834" y="4541"/>
                    </a:lnTo>
                    <a:lnTo>
                      <a:pt x="4562" y="3955"/>
                    </a:lnTo>
                    <a:lnTo>
                      <a:pt x="4332" y="3494"/>
                    </a:lnTo>
                    <a:lnTo>
                      <a:pt x="4269" y="3348"/>
                    </a:lnTo>
                    <a:lnTo>
                      <a:pt x="4143" y="3181"/>
                    </a:lnTo>
                    <a:lnTo>
                      <a:pt x="4248" y="2929"/>
                    </a:lnTo>
                    <a:lnTo>
                      <a:pt x="4353" y="2741"/>
                    </a:lnTo>
                    <a:lnTo>
                      <a:pt x="4415" y="2553"/>
                    </a:lnTo>
                    <a:lnTo>
                      <a:pt x="4332" y="2490"/>
                    </a:lnTo>
                    <a:lnTo>
                      <a:pt x="4060" y="2323"/>
                    </a:lnTo>
                    <a:lnTo>
                      <a:pt x="4018" y="2218"/>
                    </a:lnTo>
                    <a:lnTo>
                      <a:pt x="3934" y="2093"/>
                    </a:lnTo>
                    <a:lnTo>
                      <a:pt x="3767" y="2009"/>
                    </a:lnTo>
                    <a:lnTo>
                      <a:pt x="3704" y="2009"/>
                    </a:lnTo>
                    <a:lnTo>
                      <a:pt x="3599" y="1758"/>
                    </a:lnTo>
                    <a:lnTo>
                      <a:pt x="3516" y="1653"/>
                    </a:lnTo>
                    <a:lnTo>
                      <a:pt x="3558" y="1465"/>
                    </a:lnTo>
                    <a:lnTo>
                      <a:pt x="3599" y="1297"/>
                    </a:lnTo>
                    <a:lnTo>
                      <a:pt x="3495" y="1277"/>
                    </a:lnTo>
                    <a:lnTo>
                      <a:pt x="3599" y="1235"/>
                    </a:lnTo>
                    <a:lnTo>
                      <a:pt x="3746" y="1172"/>
                    </a:lnTo>
                    <a:lnTo>
                      <a:pt x="3725" y="942"/>
                    </a:lnTo>
                    <a:lnTo>
                      <a:pt x="3830" y="774"/>
                    </a:lnTo>
                    <a:lnTo>
                      <a:pt x="3850" y="649"/>
                    </a:lnTo>
                    <a:lnTo>
                      <a:pt x="3746" y="523"/>
                    </a:lnTo>
                    <a:lnTo>
                      <a:pt x="3725" y="419"/>
                    </a:lnTo>
                    <a:lnTo>
                      <a:pt x="3537" y="398"/>
                    </a:lnTo>
                    <a:lnTo>
                      <a:pt x="3411" y="335"/>
                    </a:lnTo>
                    <a:lnTo>
                      <a:pt x="3327" y="251"/>
                    </a:lnTo>
                    <a:lnTo>
                      <a:pt x="3202" y="84"/>
                    </a:lnTo>
                    <a:lnTo>
                      <a:pt x="309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52" name="Google Shape;752;p34"/>
            <p:cNvGrpSpPr/>
            <p:nvPr/>
          </p:nvGrpSpPr>
          <p:grpSpPr>
            <a:xfrm>
              <a:off x="2654821" y="2414345"/>
              <a:ext cx="667570" cy="558731"/>
              <a:chOff x="1397225" y="1637375"/>
              <a:chExt cx="1401575" cy="1228250"/>
            </a:xfrm>
          </p:grpSpPr>
          <p:sp>
            <p:nvSpPr>
              <p:cNvPr id="753" name="Google Shape;753;p34"/>
              <p:cNvSpPr/>
              <p:nvPr/>
            </p:nvSpPr>
            <p:spPr>
              <a:xfrm>
                <a:off x="2050925" y="2362200"/>
                <a:ext cx="747875" cy="497225"/>
              </a:xfrm>
              <a:custGeom>
                <a:avLst/>
                <a:gdLst/>
                <a:ahLst/>
                <a:cxnLst/>
                <a:rect l="l" t="t" r="r" b="b"/>
                <a:pathLst>
                  <a:path w="29915" h="19889" extrusionOk="0">
                    <a:moveTo>
                      <a:pt x="107" y="1186"/>
                    </a:moveTo>
                    <a:lnTo>
                      <a:pt x="0" y="0"/>
                    </a:lnTo>
                    <a:lnTo>
                      <a:pt x="15577" y="1563"/>
                    </a:lnTo>
                    <a:lnTo>
                      <a:pt x="26519" y="5336"/>
                    </a:lnTo>
                    <a:lnTo>
                      <a:pt x="27435" y="5444"/>
                    </a:lnTo>
                    <a:lnTo>
                      <a:pt x="28783" y="4420"/>
                    </a:lnTo>
                    <a:lnTo>
                      <a:pt x="29753" y="4527"/>
                    </a:lnTo>
                    <a:lnTo>
                      <a:pt x="29915" y="6198"/>
                    </a:lnTo>
                    <a:lnTo>
                      <a:pt x="26465" y="6899"/>
                    </a:lnTo>
                    <a:lnTo>
                      <a:pt x="11157" y="16062"/>
                    </a:lnTo>
                    <a:lnTo>
                      <a:pt x="10295" y="18649"/>
                    </a:lnTo>
                    <a:lnTo>
                      <a:pt x="10295" y="19889"/>
                    </a:lnTo>
                    <a:lnTo>
                      <a:pt x="2803" y="15846"/>
                    </a:lnTo>
                    <a:lnTo>
                      <a:pt x="1347" y="14876"/>
                    </a:lnTo>
                    <a:lnTo>
                      <a:pt x="0" y="14607"/>
                    </a:lnTo>
                    <a:lnTo>
                      <a:pt x="916" y="11642"/>
                    </a:lnTo>
                    <a:lnTo>
                      <a:pt x="1725" y="388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grpSp>
            <p:nvGrpSpPr>
              <p:cNvPr id="754" name="Google Shape;754;p34"/>
              <p:cNvGrpSpPr/>
              <p:nvPr/>
            </p:nvGrpSpPr>
            <p:grpSpPr>
              <a:xfrm>
                <a:off x="1397225" y="1637375"/>
                <a:ext cx="1398775" cy="1228250"/>
                <a:chOff x="1397225" y="1637375"/>
                <a:chExt cx="1398775" cy="1228250"/>
              </a:xfrm>
            </p:grpSpPr>
            <p:sp>
              <p:nvSpPr>
                <p:cNvPr id="755" name="Google Shape;755;p34"/>
                <p:cNvSpPr/>
                <p:nvPr/>
              </p:nvSpPr>
              <p:spPr>
                <a:xfrm>
                  <a:off x="1397225" y="1637375"/>
                  <a:ext cx="692600" cy="5942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704" h="23770" extrusionOk="0">
                      <a:moveTo>
                        <a:pt x="14864" y="15547"/>
                      </a:moveTo>
                      <a:lnTo>
                        <a:pt x="14836" y="15589"/>
                      </a:lnTo>
                      <a:lnTo>
                        <a:pt x="14836" y="15568"/>
                      </a:lnTo>
                      <a:lnTo>
                        <a:pt x="14864" y="15547"/>
                      </a:lnTo>
                      <a:close/>
                      <a:moveTo>
                        <a:pt x="19460" y="16760"/>
                      </a:moveTo>
                      <a:lnTo>
                        <a:pt x="19523" y="16823"/>
                      </a:lnTo>
                      <a:lnTo>
                        <a:pt x="19460" y="16844"/>
                      </a:lnTo>
                      <a:lnTo>
                        <a:pt x="19460" y="16760"/>
                      </a:lnTo>
                      <a:close/>
                      <a:moveTo>
                        <a:pt x="23686" y="18497"/>
                      </a:moveTo>
                      <a:lnTo>
                        <a:pt x="23624" y="18644"/>
                      </a:lnTo>
                      <a:lnTo>
                        <a:pt x="23561" y="18853"/>
                      </a:lnTo>
                      <a:lnTo>
                        <a:pt x="23582" y="19020"/>
                      </a:lnTo>
                      <a:lnTo>
                        <a:pt x="23477" y="19229"/>
                      </a:lnTo>
                      <a:lnTo>
                        <a:pt x="23477" y="19355"/>
                      </a:lnTo>
                      <a:lnTo>
                        <a:pt x="23519" y="19439"/>
                      </a:lnTo>
                      <a:lnTo>
                        <a:pt x="23393" y="19355"/>
                      </a:lnTo>
                      <a:lnTo>
                        <a:pt x="23393" y="19543"/>
                      </a:lnTo>
                      <a:lnTo>
                        <a:pt x="23393" y="19564"/>
                      </a:lnTo>
                      <a:cubicBezTo>
                        <a:pt x="23352" y="19648"/>
                        <a:pt x="23310" y="19753"/>
                        <a:pt x="23310" y="19836"/>
                      </a:cubicBezTo>
                      <a:lnTo>
                        <a:pt x="23310" y="19962"/>
                      </a:lnTo>
                      <a:lnTo>
                        <a:pt x="23289" y="19941"/>
                      </a:lnTo>
                      <a:lnTo>
                        <a:pt x="23289" y="19836"/>
                      </a:lnTo>
                      <a:lnTo>
                        <a:pt x="23258" y="19791"/>
                      </a:lnTo>
                      <a:lnTo>
                        <a:pt x="23268" y="19773"/>
                      </a:lnTo>
                      <a:lnTo>
                        <a:pt x="23268" y="19627"/>
                      </a:lnTo>
                      <a:lnTo>
                        <a:pt x="23331" y="19543"/>
                      </a:lnTo>
                      <a:lnTo>
                        <a:pt x="23352" y="19250"/>
                      </a:lnTo>
                      <a:lnTo>
                        <a:pt x="23435" y="19020"/>
                      </a:lnTo>
                      <a:lnTo>
                        <a:pt x="23435" y="18790"/>
                      </a:lnTo>
                      <a:lnTo>
                        <a:pt x="23414" y="18623"/>
                      </a:lnTo>
                      <a:lnTo>
                        <a:pt x="23352" y="18539"/>
                      </a:lnTo>
                      <a:lnTo>
                        <a:pt x="23352" y="18518"/>
                      </a:lnTo>
                      <a:lnTo>
                        <a:pt x="23414" y="18539"/>
                      </a:lnTo>
                      <a:lnTo>
                        <a:pt x="23456" y="18685"/>
                      </a:lnTo>
                      <a:lnTo>
                        <a:pt x="23519" y="18706"/>
                      </a:lnTo>
                      <a:lnTo>
                        <a:pt x="23561" y="18581"/>
                      </a:lnTo>
                      <a:lnTo>
                        <a:pt x="23686" y="18497"/>
                      </a:lnTo>
                      <a:close/>
                      <a:moveTo>
                        <a:pt x="23204" y="19889"/>
                      </a:moveTo>
                      <a:lnTo>
                        <a:pt x="23184" y="19941"/>
                      </a:lnTo>
                      <a:lnTo>
                        <a:pt x="23142" y="20297"/>
                      </a:lnTo>
                      <a:lnTo>
                        <a:pt x="23038" y="20464"/>
                      </a:lnTo>
                      <a:lnTo>
                        <a:pt x="23017" y="20631"/>
                      </a:lnTo>
                      <a:lnTo>
                        <a:pt x="23121" y="20694"/>
                      </a:lnTo>
                      <a:lnTo>
                        <a:pt x="23080" y="20778"/>
                      </a:lnTo>
                      <a:lnTo>
                        <a:pt x="23121" y="20841"/>
                      </a:lnTo>
                      <a:lnTo>
                        <a:pt x="22996" y="20841"/>
                      </a:lnTo>
                      <a:lnTo>
                        <a:pt x="22912" y="20924"/>
                      </a:lnTo>
                      <a:lnTo>
                        <a:pt x="22912" y="21050"/>
                      </a:lnTo>
                      <a:cubicBezTo>
                        <a:pt x="22891" y="21050"/>
                        <a:pt x="22870" y="21092"/>
                        <a:pt x="22870" y="21134"/>
                      </a:cubicBezTo>
                      <a:lnTo>
                        <a:pt x="22870" y="21154"/>
                      </a:lnTo>
                      <a:lnTo>
                        <a:pt x="22847" y="21178"/>
                      </a:lnTo>
                      <a:lnTo>
                        <a:pt x="22847" y="21178"/>
                      </a:lnTo>
                      <a:lnTo>
                        <a:pt x="22849" y="21154"/>
                      </a:lnTo>
                      <a:lnTo>
                        <a:pt x="22849" y="20945"/>
                      </a:lnTo>
                      <a:lnTo>
                        <a:pt x="22828" y="20882"/>
                      </a:lnTo>
                      <a:cubicBezTo>
                        <a:pt x="22828" y="20820"/>
                        <a:pt x="22849" y="20778"/>
                        <a:pt x="22849" y="20736"/>
                      </a:cubicBezTo>
                      <a:lnTo>
                        <a:pt x="22891" y="20778"/>
                      </a:lnTo>
                      <a:lnTo>
                        <a:pt x="22954" y="20778"/>
                      </a:lnTo>
                      <a:lnTo>
                        <a:pt x="22954" y="20610"/>
                      </a:lnTo>
                      <a:lnTo>
                        <a:pt x="23017" y="20569"/>
                      </a:lnTo>
                      <a:lnTo>
                        <a:pt x="22954" y="20485"/>
                      </a:lnTo>
                      <a:lnTo>
                        <a:pt x="22828" y="20464"/>
                      </a:lnTo>
                      <a:lnTo>
                        <a:pt x="22828" y="20380"/>
                      </a:lnTo>
                      <a:lnTo>
                        <a:pt x="22703" y="20150"/>
                      </a:lnTo>
                      <a:lnTo>
                        <a:pt x="22703" y="20108"/>
                      </a:lnTo>
                      <a:lnTo>
                        <a:pt x="22828" y="20255"/>
                      </a:lnTo>
                      <a:lnTo>
                        <a:pt x="22912" y="20380"/>
                      </a:lnTo>
                      <a:lnTo>
                        <a:pt x="22996" y="20401"/>
                      </a:lnTo>
                      <a:lnTo>
                        <a:pt x="23038" y="20359"/>
                      </a:lnTo>
                      <a:lnTo>
                        <a:pt x="23017" y="20276"/>
                      </a:lnTo>
                      <a:lnTo>
                        <a:pt x="23121" y="20255"/>
                      </a:lnTo>
                      <a:lnTo>
                        <a:pt x="23121" y="20171"/>
                      </a:lnTo>
                      <a:lnTo>
                        <a:pt x="23059" y="20108"/>
                      </a:lnTo>
                      <a:cubicBezTo>
                        <a:pt x="23101" y="20066"/>
                        <a:pt x="23121" y="19983"/>
                        <a:pt x="23142" y="19941"/>
                      </a:cubicBezTo>
                      <a:lnTo>
                        <a:pt x="23163" y="19962"/>
                      </a:lnTo>
                      <a:lnTo>
                        <a:pt x="23204" y="19889"/>
                      </a:lnTo>
                      <a:close/>
                      <a:moveTo>
                        <a:pt x="23519" y="19836"/>
                      </a:moveTo>
                      <a:lnTo>
                        <a:pt x="23540" y="19962"/>
                      </a:lnTo>
                      <a:lnTo>
                        <a:pt x="23582" y="19962"/>
                      </a:lnTo>
                      <a:lnTo>
                        <a:pt x="23582" y="20087"/>
                      </a:lnTo>
                      <a:lnTo>
                        <a:pt x="23665" y="20171"/>
                      </a:lnTo>
                      <a:lnTo>
                        <a:pt x="23728" y="20108"/>
                      </a:lnTo>
                      <a:lnTo>
                        <a:pt x="23770" y="20150"/>
                      </a:lnTo>
                      <a:lnTo>
                        <a:pt x="23875" y="20087"/>
                      </a:lnTo>
                      <a:lnTo>
                        <a:pt x="24021" y="20087"/>
                      </a:lnTo>
                      <a:lnTo>
                        <a:pt x="24021" y="20108"/>
                      </a:lnTo>
                      <a:lnTo>
                        <a:pt x="23854" y="20213"/>
                      </a:lnTo>
                      <a:lnTo>
                        <a:pt x="23812" y="20255"/>
                      </a:lnTo>
                      <a:lnTo>
                        <a:pt x="23812" y="20297"/>
                      </a:lnTo>
                      <a:lnTo>
                        <a:pt x="23875" y="20359"/>
                      </a:lnTo>
                      <a:lnTo>
                        <a:pt x="23854" y="20401"/>
                      </a:lnTo>
                      <a:lnTo>
                        <a:pt x="23770" y="20401"/>
                      </a:lnTo>
                      <a:lnTo>
                        <a:pt x="23770" y="20464"/>
                      </a:lnTo>
                      <a:lnTo>
                        <a:pt x="23854" y="20590"/>
                      </a:lnTo>
                      <a:lnTo>
                        <a:pt x="23854" y="20694"/>
                      </a:lnTo>
                      <a:lnTo>
                        <a:pt x="23812" y="20715"/>
                      </a:lnTo>
                      <a:lnTo>
                        <a:pt x="23728" y="20631"/>
                      </a:lnTo>
                      <a:lnTo>
                        <a:pt x="23665" y="20548"/>
                      </a:lnTo>
                      <a:lnTo>
                        <a:pt x="23645" y="20610"/>
                      </a:lnTo>
                      <a:lnTo>
                        <a:pt x="23665" y="20694"/>
                      </a:lnTo>
                      <a:lnTo>
                        <a:pt x="23624" y="20757"/>
                      </a:lnTo>
                      <a:lnTo>
                        <a:pt x="23624" y="20903"/>
                      </a:lnTo>
                      <a:lnTo>
                        <a:pt x="23645" y="20924"/>
                      </a:lnTo>
                      <a:cubicBezTo>
                        <a:pt x="23629" y="20919"/>
                        <a:pt x="23614" y="20916"/>
                        <a:pt x="23601" y="20916"/>
                      </a:cubicBezTo>
                      <a:cubicBezTo>
                        <a:pt x="23562" y="20916"/>
                        <a:pt x="23535" y="20940"/>
                        <a:pt x="23519" y="20987"/>
                      </a:cubicBezTo>
                      <a:cubicBezTo>
                        <a:pt x="23456" y="21071"/>
                        <a:pt x="23414" y="21154"/>
                        <a:pt x="23373" y="21259"/>
                      </a:cubicBezTo>
                      <a:lnTo>
                        <a:pt x="23268" y="21154"/>
                      </a:lnTo>
                      <a:lnTo>
                        <a:pt x="23121" y="21154"/>
                      </a:lnTo>
                      <a:lnTo>
                        <a:pt x="23121" y="21238"/>
                      </a:lnTo>
                      <a:lnTo>
                        <a:pt x="23163" y="21322"/>
                      </a:lnTo>
                      <a:lnTo>
                        <a:pt x="23142" y="21426"/>
                      </a:lnTo>
                      <a:lnTo>
                        <a:pt x="23247" y="21468"/>
                      </a:lnTo>
                      <a:lnTo>
                        <a:pt x="23205" y="21552"/>
                      </a:lnTo>
                      <a:lnTo>
                        <a:pt x="23121" y="21552"/>
                      </a:lnTo>
                      <a:lnTo>
                        <a:pt x="23101" y="21531"/>
                      </a:lnTo>
                      <a:lnTo>
                        <a:pt x="23038" y="21615"/>
                      </a:lnTo>
                      <a:lnTo>
                        <a:pt x="23038" y="21531"/>
                      </a:lnTo>
                      <a:lnTo>
                        <a:pt x="23101" y="21447"/>
                      </a:lnTo>
                      <a:lnTo>
                        <a:pt x="22996" y="21322"/>
                      </a:lnTo>
                      <a:cubicBezTo>
                        <a:pt x="22996" y="21259"/>
                        <a:pt x="22996" y="21196"/>
                        <a:pt x="23017" y="21134"/>
                      </a:cubicBezTo>
                      <a:lnTo>
                        <a:pt x="23163" y="21050"/>
                      </a:lnTo>
                      <a:lnTo>
                        <a:pt x="23205" y="20882"/>
                      </a:lnTo>
                      <a:lnTo>
                        <a:pt x="23268" y="20903"/>
                      </a:lnTo>
                      <a:lnTo>
                        <a:pt x="23331" y="20841"/>
                      </a:lnTo>
                      <a:lnTo>
                        <a:pt x="23331" y="20736"/>
                      </a:lnTo>
                      <a:lnTo>
                        <a:pt x="23352" y="20673"/>
                      </a:lnTo>
                      <a:lnTo>
                        <a:pt x="23352" y="20276"/>
                      </a:lnTo>
                      <a:lnTo>
                        <a:pt x="23373" y="20171"/>
                      </a:lnTo>
                      <a:lnTo>
                        <a:pt x="23435" y="20401"/>
                      </a:lnTo>
                      <a:lnTo>
                        <a:pt x="23414" y="20673"/>
                      </a:lnTo>
                      <a:lnTo>
                        <a:pt x="23456" y="20694"/>
                      </a:lnTo>
                      <a:lnTo>
                        <a:pt x="23540" y="20527"/>
                      </a:lnTo>
                      <a:lnTo>
                        <a:pt x="23519" y="20108"/>
                      </a:lnTo>
                      <a:lnTo>
                        <a:pt x="23435" y="20004"/>
                      </a:lnTo>
                      <a:cubicBezTo>
                        <a:pt x="23456" y="19983"/>
                        <a:pt x="23456" y="19941"/>
                        <a:pt x="23498" y="19899"/>
                      </a:cubicBezTo>
                      <a:cubicBezTo>
                        <a:pt x="23519" y="19878"/>
                        <a:pt x="23519" y="19857"/>
                        <a:pt x="23519" y="19836"/>
                      </a:cubicBezTo>
                      <a:close/>
                      <a:moveTo>
                        <a:pt x="22808" y="1"/>
                      </a:moveTo>
                      <a:lnTo>
                        <a:pt x="22598" y="105"/>
                      </a:lnTo>
                      <a:lnTo>
                        <a:pt x="22556" y="168"/>
                      </a:lnTo>
                      <a:lnTo>
                        <a:pt x="22389" y="168"/>
                      </a:lnTo>
                      <a:lnTo>
                        <a:pt x="22264" y="231"/>
                      </a:lnTo>
                      <a:lnTo>
                        <a:pt x="22033" y="440"/>
                      </a:lnTo>
                      <a:lnTo>
                        <a:pt x="21866" y="503"/>
                      </a:lnTo>
                      <a:lnTo>
                        <a:pt x="21615" y="503"/>
                      </a:lnTo>
                      <a:lnTo>
                        <a:pt x="21448" y="398"/>
                      </a:lnTo>
                      <a:lnTo>
                        <a:pt x="21406" y="335"/>
                      </a:lnTo>
                      <a:lnTo>
                        <a:pt x="21406" y="398"/>
                      </a:lnTo>
                      <a:lnTo>
                        <a:pt x="21322" y="398"/>
                      </a:lnTo>
                      <a:lnTo>
                        <a:pt x="21217" y="294"/>
                      </a:lnTo>
                      <a:lnTo>
                        <a:pt x="21113" y="335"/>
                      </a:lnTo>
                      <a:lnTo>
                        <a:pt x="21092" y="419"/>
                      </a:lnTo>
                      <a:lnTo>
                        <a:pt x="21029" y="419"/>
                      </a:lnTo>
                      <a:lnTo>
                        <a:pt x="21008" y="335"/>
                      </a:lnTo>
                      <a:lnTo>
                        <a:pt x="21029" y="273"/>
                      </a:lnTo>
                      <a:lnTo>
                        <a:pt x="21134" y="210"/>
                      </a:lnTo>
                      <a:lnTo>
                        <a:pt x="21092" y="168"/>
                      </a:lnTo>
                      <a:lnTo>
                        <a:pt x="20945" y="210"/>
                      </a:lnTo>
                      <a:lnTo>
                        <a:pt x="20736" y="315"/>
                      </a:lnTo>
                      <a:lnTo>
                        <a:pt x="20590" y="398"/>
                      </a:lnTo>
                      <a:lnTo>
                        <a:pt x="20527" y="524"/>
                      </a:lnTo>
                      <a:lnTo>
                        <a:pt x="20569" y="628"/>
                      </a:lnTo>
                      <a:lnTo>
                        <a:pt x="20694" y="649"/>
                      </a:lnTo>
                      <a:lnTo>
                        <a:pt x="20611" y="733"/>
                      </a:lnTo>
                      <a:lnTo>
                        <a:pt x="20255" y="733"/>
                      </a:lnTo>
                      <a:lnTo>
                        <a:pt x="20088" y="859"/>
                      </a:lnTo>
                      <a:lnTo>
                        <a:pt x="19983" y="1131"/>
                      </a:lnTo>
                      <a:lnTo>
                        <a:pt x="19941" y="1319"/>
                      </a:lnTo>
                      <a:lnTo>
                        <a:pt x="19878" y="1319"/>
                      </a:lnTo>
                      <a:lnTo>
                        <a:pt x="19857" y="1256"/>
                      </a:lnTo>
                      <a:lnTo>
                        <a:pt x="19878" y="1068"/>
                      </a:lnTo>
                      <a:lnTo>
                        <a:pt x="20025" y="817"/>
                      </a:lnTo>
                      <a:lnTo>
                        <a:pt x="20025" y="733"/>
                      </a:lnTo>
                      <a:lnTo>
                        <a:pt x="19983" y="733"/>
                      </a:lnTo>
                      <a:lnTo>
                        <a:pt x="19732" y="1047"/>
                      </a:lnTo>
                      <a:lnTo>
                        <a:pt x="19585" y="1047"/>
                      </a:lnTo>
                      <a:lnTo>
                        <a:pt x="19523" y="1026"/>
                      </a:lnTo>
                      <a:lnTo>
                        <a:pt x="19439" y="921"/>
                      </a:lnTo>
                      <a:lnTo>
                        <a:pt x="19313" y="900"/>
                      </a:lnTo>
                      <a:lnTo>
                        <a:pt x="19230" y="900"/>
                      </a:lnTo>
                      <a:lnTo>
                        <a:pt x="19230" y="942"/>
                      </a:lnTo>
                      <a:lnTo>
                        <a:pt x="19418" y="1026"/>
                      </a:lnTo>
                      <a:lnTo>
                        <a:pt x="19460" y="1110"/>
                      </a:lnTo>
                      <a:lnTo>
                        <a:pt x="19418" y="1131"/>
                      </a:lnTo>
                      <a:lnTo>
                        <a:pt x="19251" y="1068"/>
                      </a:lnTo>
                      <a:lnTo>
                        <a:pt x="19062" y="1047"/>
                      </a:lnTo>
                      <a:lnTo>
                        <a:pt x="18832" y="1151"/>
                      </a:lnTo>
                      <a:lnTo>
                        <a:pt x="18539" y="1423"/>
                      </a:lnTo>
                      <a:lnTo>
                        <a:pt x="18204" y="1570"/>
                      </a:lnTo>
                      <a:lnTo>
                        <a:pt x="17974" y="1758"/>
                      </a:lnTo>
                      <a:lnTo>
                        <a:pt x="17744" y="1967"/>
                      </a:lnTo>
                      <a:lnTo>
                        <a:pt x="17451" y="2219"/>
                      </a:lnTo>
                      <a:lnTo>
                        <a:pt x="17263" y="2302"/>
                      </a:lnTo>
                      <a:lnTo>
                        <a:pt x="17158" y="2323"/>
                      </a:lnTo>
                      <a:lnTo>
                        <a:pt x="17012" y="2428"/>
                      </a:lnTo>
                      <a:lnTo>
                        <a:pt x="16865" y="2428"/>
                      </a:lnTo>
                      <a:lnTo>
                        <a:pt x="16698" y="2574"/>
                      </a:lnTo>
                      <a:lnTo>
                        <a:pt x="16510" y="2574"/>
                      </a:lnTo>
                      <a:lnTo>
                        <a:pt x="16426" y="2491"/>
                      </a:lnTo>
                      <a:lnTo>
                        <a:pt x="16238" y="2470"/>
                      </a:lnTo>
                      <a:lnTo>
                        <a:pt x="16091" y="2365"/>
                      </a:lnTo>
                      <a:lnTo>
                        <a:pt x="15986" y="2302"/>
                      </a:lnTo>
                      <a:lnTo>
                        <a:pt x="15798" y="2219"/>
                      </a:lnTo>
                      <a:lnTo>
                        <a:pt x="15714" y="2260"/>
                      </a:lnTo>
                      <a:lnTo>
                        <a:pt x="15589" y="2386"/>
                      </a:lnTo>
                      <a:lnTo>
                        <a:pt x="15380" y="2595"/>
                      </a:lnTo>
                      <a:lnTo>
                        <a:pt x="15338" y="2721"/>
                      </a:lnTo>
                      <a:lnTo>
                        <a:pt x="15233" y="2825"/>
                      </a:lnTo>
                      <a:lnTo>
                        <a:pt x="15170" y="2951"/>
                      </a:lnTo>
                      <a:lnTo>
                        <a:pt x="15087" y="2951"/>
                      </a:lnTo>
                      <a:lnTo>
                        <a:pt x="15024" y="2909"/>
                      </a:lnTo>
                      <a:lnTo>
                        <a:pt x="14940" y="2951"/>
                      </a:lnTo>
                      <a:lnTo>
                        <a:pt x="15045" y="3202"/>
                      </a:lnTo>
                      <a:lnTo>
                        <a:pt x="15170" y="3683"/>
                      </a:lnTo>
                      <a:lnTo>
                        <a:pt x="15296" y="4081"/>
                      </a:lnTo>
                      <a:lnTo>
                        <a:pt x="15359" y="4416"/>
                      </a:lnTo>
                      <a:lnTo>
                        <a:pt x="15338" y="4729"/>
                      </a:lnTo>
                      <a:lnTo>
                        <a:pt x="15191" y="4980"/>
                      </a:lnTo>
                      <a:lnTo>
                        <a:pt x="15087" y="5127"/>
                      </a:lnTo>
                      <a:lnTo>
                        <a:pt x="15087" y="5190"/>
                      </a:lnTo>
                      <a:lnTo>
                        <a:pt x="15296" y="5441"/>
                      </a:lnTo>
                      <a:lnTo>
                        <a:pt x="15442" y="5504"/>
                      </a:lnTo>
                      <a:lnTo>
                        <a:pt x="15442" y="5357"/>
                      </a:lnTo>
                      <a:lnTo>
                        <a:pt x="15484" y="5420"/>
                      </a:lnTo>
                      <a:lnTo>
                        <a:pt x="15589" y="5357"/>
                      </a:lnTo>
                      <a:lnTo>
                        <a:pt x="15673" y="5357"/>
                      </a:lnTo>
                      <a:lnTo>
                        <a:pt x="15589" y="5441"/>
                      </a:lnTo>
                      <a:lnTo>
                        <a:pt x="15589" y="5525"/>
                      </a:lnTo>
                      <a:lnTo>
                        <a:pt x="15882" y="5755"/>
                      </a:lnTo>
                      <a:lnTo>
                        <a:pt x="15798" y="5817"/>
                      </a:lnTo>
                      <a:lnTo>
                        <a:pt x="15673" y="5776"/>
                      </a:lnTo>
                      <a:lnTo>
                        <a:pt x="15652" y="5859"/>
                      </a:lnTo>
                      <a:lnTo>
                        <a:pt x="15610" y="6152"/>
                      </a:lnTo>
                      <a:lnTo>
                        <a:pt x="15610" y="6278"/>
                      </a:lnTo>
                      <a:lnTo>
                        <a:pt x="15673" y="6341"/>
                      </a:lnTo>
                      <a:lnTo>
                        <a:pt x="15756" y="6257"/>
                      </a:lnTo>
                      <a:lnTo>
                        <a:pt x="15882" y="6236"/>
                      </a:lnTo>
                      <a:lnTo>
                        <a:pt x="15986" y="6278"/>
                      </a:lnTo>
                      <a:lnTo>
                        <a:pt x="16028" y="6361"/>
                      </a:lnTo>
                      <a:lnTo>
                        <a:pt x="16196" y="6299"/>
                      </a:lnTo>
                      <a:lnTo>
                        <a:pt x="16384" y="6361"/>
                      </a:lnTo>
                      <a:lnTo>
                        <a:pt x="16530" y="6445"/>
                      </a:lnTo>
                      <a:lnTo>
                        <a:pt x="16384" y="6508"/>
                      </a:lnTo>
                      <a:lnTo>
                        <a:pt x="16405" y="6654"/>
                      </a:lnTo>
                      <a:lnTo>
                        <a:pt x="16384" y="6759"/>
                      </a:lnTo>
                      <a:lnTo>
                        <a:pt x="16196" y="6780"/>
                      </a:lnTo>
                      <a:lnTo>
                        <a:pt x="16217" y="6696"/>
                      </a:lnTo>
                      <a:lnTo>
                        <a:pt x="16112" y="6613"/>
                      </a:lnTo>
                      <a:lnTo>
                        <a:pt x="16028" y="6675"/>
                      </a:lnTo>
                      <a:lnTo>
                        <a:pt x="15882" y="6654"/>
                      </a:lnTo>
                      <a:lnTo>
                        <a:pt x="15819" y="6592"/>
                      </a:lnTo>
                      <a:lnTo>
                        <a:pt x="15777" y="6445"/>
                      </a:lnTo>
                      <a:lnTo>
                        <a:pt x="15673" y="6403"/>
                      </a:lnTo>
                      <a:lnTo>
                        <a:pt x="15610" y="6403"/>
                      </a:lnTo>
                      <a:lnTo>
                        <a:pt x="15484" y="6299"/>
                      </a:lnTo>
                      <a:lnTo>
                        <a:pt x="15505" y="6131"/>
                      </a:lnTo>
                      <a:lnTo>
                        <a:pt x="15652" y="5776"/>
                      </a:lnTo>
                      <a:lnTo>
                        <a:pt x="15610" y="5671"/>
                      </a:lnTo>
                      <a:lnTo>
                        <a:pt x="15568" y="5671"/>
                      </a:lnTo>
                      <a:lnTo>
                        <a:pt x="15463" y="5776"/>
                      </a:lnTo>
                      <a:lnTo>
                        <a:pt x="15463" y="6131"/>
                      </a:lnTo>
                      <a:lnTo>
                        <a:pt x="15401" y="6341"/>
                      </a:lnTo>
                      <a:lnTo>
                        <a:pt x="15296" y="6445"/>
                      </a:lnTo>
                      <a:lnTo>
                        <a:pt x="15296" y="6508"/>
                      </a:lnTo>
                      <a:lnTo>
                        <a:pt x="15380" y="6382"/>
                      </a:lnTo>
                      <a:lnTo>
                        <a:pt x="15463" y="6382"/>
                      </a:lnTo>
                      <a:lnTo>
                        <a:pt x="15505" y="6445"/>
                      </a:lnTo>
                      <a:lnTo>
                        <a:pt x="15652" y="6445"/>
                      </a:lnTo>
                      <a:lnTo>
                        <a:pt x="15694" y="6571"/>
                      </a:lnTo>
                      <a:lnTo>
                        <a:pt x="15694" y="6780"/>
                      </a:lnTo>
                      <a:lnTo>
                        <a:pt x="15589" y="6905"/>
                      </a:lnTo>
                      <a:lnTo>
                        <a:pt x="15442" y="6968"/>
                      </a:lnTo>
                      <a:lnTo>
                        <a:pt x="15442" y="6968"/>
                      </a:lnTo>
                      <a:lnTo>
                        <a:pt x="15589" y="6780"/>
                      </a:lnTo>
                      <a:lnTo>
                        <a:pt x="15589" y="6696"/>
                      </a:lnTo>
                      <a:lnTo>
                        <a:pt x="15505" y="6675"/>
                      </a:lnTo>
                      <a:lnTo>
                        <a:pt x="15463" y="6613"/>
                      </a:lnTo>
                      <a:lnTo>
                        <a:pt x="15380" y="6675"/>
                      </a:lnTo>
                      <a:lnTo>
                        <a:pt x="15191" y="6801"/>
                      </a:lnTo>
                      <a:lnTo>
                        <a:pt x="15191" y="6905"/>
                      </a:lnTo>
                      <a:lnTo>
                        <a:pt x="15087" y="6926"/>
                      </a:lnTo>
                      <a:lnTo>
                        <a:pt x="14982" y="6989"/>
                      </a:lnTo>
                      <a:lnTo>
                        <a:pt x="14961" y="6885"/>
                      </a:lnTo>
                      <a:lnTo>
                        <a:pt x="14898" y="6864"/>
                      </a:lnTo>
                      <a:lnTo>
                        <a:pt x="14752" y="6864"/>
                      </a:lnTo>
                      <a:lnTo>
                        <a:pt x="14668" y="6822"/>
                      </a:lnTo>
                      <a:lnTo>
                        <a:pt x="14647" y="6696"/>
                      </a:lnTo>
                      <a:lnTo>
                        <a:pt x="14564" y="6675"/>
                      </a:lnTo>
                      <a:lnTo>
                        <a:pt x="14522" y="6696"/>
                      </a:lnTo>
                      <a:lnTo>
                        <a:pt x="14417" y="6696"/>
                      </a:lnTo>
                      <a:lnTo>
                        <a:pt x="14417" y="6613"/>
                      </a:lnTo>
                      <a:lnTo>
                        <a:pt x="14334" y="6571"/>
                      </a:lnTo>
                      <a:lnTo>
                        <a:pt x="14250" y="6613"/>
                      </a:lnTo>
                      <a:lnTo>
                        <a:pt x="14208" y="6613"/>
                      </a:lnTo>
                      <a:lnTo>
                        <a:pt x="14208" y="6487"/>
                      </a:lnTo>
                      <a:lnTo>
                        <a:pt x="14145" y="6403"/>
                      </a:lnTo>
                      <a:lnTo>
                        <a:pt x="14145" y="6341"/>
                      </a:lnTo>
                      <a:lnTo>
                        <a:pt x="14250" y="6299"/>
                      </a:lnTo>
                      <a:lnTo>
                        <a:pt x="14396" y="6131"/>
                      </a:lnTo>
                      <a:lnTo>
                        <a:pt x="14459" y="6131"/>
                      </a:lnTo>
                      <a:lnTo>
                        <a:pt x="14543" y="6048"/>
                      </a:lnTo>
                      <a:lnTo>
                        <a:pt x="14543" y="5964"/>
                      </a:lnTo>
                      <a:lnTo>
                        <a:pt x="14396" y="5817"/>
                      </a:lnTo>
                      <a:lnTo>
                        <a:pt x="14313" y="5755"/>
                      </a:lnTo>
                      <a:lnTo>
                        <a:pt x="14208" y="5755"/>
                      </a:lnTo>
                      <a:lnTo>
                        <a:pt x="14020" y="5859"/>
                      </a:lnTo>
                      <a:lnTo>
                        <a:pt x="13915" y="5859"/>
                      </a:lnTo>
                      <a:lnTo>
                        <a:pt x="13810" y="5776"/>
                      </a:lnTo>
                      <a:lnTo>
                        <a:pt x="13706" y="5776"/>
                      </a:lnTo>
                      <a:lnTo>
                        <a:pt x="13371" y="5922"/>
                      </a:lnTo>
                      <a:lnTo>
                        <a:pt x="13329" y="5964"/>
                      </a:lnTo>
                      <a:lnTo>
                        <a:pt x="13392" y="6027"/>
                      </a:lnTo>
                      <a:lnTo>
                        <a:pt x="13517" y="6131"/>
                      </a:lnTo>
                      <a:lnTo>
                        <a:pt x="13497" y="6152"/>
                      </a:lnTo>
                      <a:lnTo>
                        <a:pt x="13392" y="6131"/>
                      </a:lnTo>
                      <a:lnTo>
                        <a:pt x="13287" y="6131"/>
                      </a:lnTo>
                      <a:lnTo>
                        <a:pt x="13225" y="6069"/>
                      </a:lnTo>
                      <a:lnTo>
                        <a:pt x="13120" y="6048"/>
                      </a:lnTo>
                      <a:lnTo>
                        <a:pt x="12911" y="6027"/>
                      </a:lnTo>
                      <a:lnTo>
                        <a:pt x="12701" y="6048"/>
                      </a:lnTo>
                      <a:lnTo>
                        <a:pt x="12639" y="6089"/>
                      </a:lnTo>
                      <a:lnTo>
                        <a:pt x="12639" y="6152"/>
                      </a:lnTo>
                      <a:lnTo>
                        <a:pt x="12534" y="6152"/>
                      </a:lnTo>
                      <a:lnTo>
                        <a:pt x="12492" y="6131"/>
                      </a:lnTo>
                      <a:lnTo>
                        <a:pt x="12429" y="6131"/>
                      </a:lnTo>
                      <a:lnTo>
                        <a:pt x="12262" y="6236"/>
                      </a:lnTo>
                      <a:lnTo>
                        <a:pt x="12262" y="6278"/>
                      </a:lnTo>
                      <a:lnTo>
                        <a:pt x="12178" y="6299"/>
                      </a:lnTo>
                      <a:lnTo>
                        <a:pt x="12011" y="6382"/>
                      </a:lnTo>
                      <a:lnTo>
                        <a:pt x="11865" y="6466"/>
                      </a:lnTo>
                      <a:lnTo>
                        <a:pt x="11802" y="6466"/>
                      </a:lnTo>
                      <a:lnTo>
                        <a:pt x="11823" y="6403"/>
                      </a:lnTo>
                      <a:lnTo>
                        <a:pt x="11844" y="6341"/>
                      </a:lnTo>
                      <a:lnTo>
                        <a:pt x="11739" y="6382"/>
                      </a:lnTo>
                      <a:lnTo>
                        <a:pt x="11634" y="6508"/>
                      </a:lnTo>
                      <a:lnTo>
                        <a:pt x="11634" y="6571"/>
                      </a:lnTo>
                      <a:lnTo>
                        <a:pt x="11802" y="6759"/>
                      </a:lnTo>
                      <a:lnTo>
                        <a:pt x="11948" y="6989"/>
                      </a:lnTo>
                      <a:lnTo>
                        <a:pt x="12116" y="7031"/>
                      </a:lnTo>
                      <a:lnTo>
                        <a:pt x="12241" y="7198"/>
                      </a:lnTo>
                      <a:lnTo>
                        <a:pt x="12367" y="7282"/>
                      </a:lnTo>
                      <a:lnTo>
                        <a:pt x="12429" y="7408"/>
                      </a:lnTo>
                      <a:lnTo>
                        <a:pt x="12534" y="7429"/>
                      </a:lnTo>
                      <a:lnTo>
                        <a:pt x="12660" y="7512"/>
                      </a:lnTo>
                      <a:lnTo>
                        <a:pt x="12597" y="7533"/>
                      </a:lnTo>
                      <a:lnTo>
                        <a:pt x="12429" y="7533"/>
                      </a:lnTo>
                      <a:lnTo>
                        <a:pt x="12388" y="7429"/>
                      </a:lnTo>
                      <a:lnTo>
                        <a:pt x="12262" y="7324"/>
                      </a:lnTo>
                      <a:lnTo>
                        <a:pt x="12178" y="7282"/>
                      </a:lnTo>
                      <a:lnTo>
                        <a:pt x="12137" y="7282"/>
                      </a:lnTo>
                      <a:lnTo>
                        <a:pt x="12011" y="7408"/>
                      </a:lnTo>
                      <a:lnTo>
                        <a:pt x="11885" y="7408"/>
                      </a:lnTo>
                      <a:lnTo>
                        <a:pt x="11802" y="7303"/>
                      </a:lnTo>
                      <a:lnTo>
                        <a:pt x="11906" y="7198"/>
                      </a:lnTo>
                      <a:lnTo>
                        <a:pt x="11906" y="7136"/>
                      </a:lnTo>
                      <a:lnTo>
                        <a:pt x="11823" y="7136"/>
                      </a:lnTo>
                      <a:lnTo>
                        <a:pt x="11739" y="7282"/>
                      </a:lnTo>
                      <a:lnTo>
                        <a:pt x="11781" y="7512"/>
                      </a:lnTo>
                      <a:lnTo>
                        <a:pt x="11802" y="7554"/>
                      </a:lnTo>
                      <a:lnTo>
                        <a:pt x="11802" y="7638"/>
                      </a:lnTo>
                      <a:lnTo>
                        <a:pt x="11676" y="7742"/>
                      </a:lnTo>
                      <a:lnTo>
                        <a:pt x="11593" y="7910"/>
                      </a:lnTo>
                      <a:lnTo>
                        <a:pt x="11572" y="8056"/>
                      </a:lnTo>
                      <a:lnTo>
                        <a:pt x="11593" y="8224"/>
                      </a:lnTo>
                      <a:lnTo>
                        <a:pt x="11802" y="8454"/>
                      </a:lnTo>
                      <a:lnTo>
                        <a:pt x="11990" y="8538"/>
                      </a:lnTo>
                      <a:lnTo>
                        <a:pt x="12116" y="8663"/>
                      </a:lnTo>
                      <a:lnTo>
                        <a:pt x="12199" y="8663"/>
                      </a:lnTo>
                      <a:lnTo>
                        <a:pt x="12346" y="8558"/>
                      </a:lnTo>
                      <a:lnTo>
                        <a:pt x="12492" y="8496"/>
                      </a:lnTo>
                      <a:lnTo>
                        <a:pt x="12639" y="8579"/>
                      </a:lnTo>
                      <a:lnTo>
                        <a:pt x="12890" y="8600"/>
                      </a:lnTo>
                      <a:lnTo>
                        <a:pt x="12994" y="8684"/>
                      </a:lnTo>
                      <a:lnTo>
                        <a:pt x="13015" y="8810"/>
                      </a:lnTo>
                      <a:lnTo>
                        <a:pt x="13078" y="8851"/>
                      </a:lnTo>
                      <a:lnTo>
                        <a:pt x="13141" y="8789"/>
                      </a:lnTo>
                      <a:lnTo>
                        <a:pt x="13141" y="8642"/>
                      </a:lnTo>
                      <a:lnTo>
                        <a:pt x="13162" y="8579"/>
                      </a:lnTo>
                      <a:lnTo>
                        <a:pt x="13266" y="8642"/>
                      </a:lnTo>
                      <a:lnTo>
                        <a:pt x="13266" y="8705"/>
                      </a:lnTo>
                      <a:lnTo>
                        <a:pt x="13162" y="8851"/>
                      </a:lnTo>
                      <a:lnTo>
                        <a:pt x="13162" y="8956"/>
                      </a:lnTo>
                      <a:lnTo>
                        <a:pt x="13204" y="8956"/>
                      </a:lnTo>
                      <a:lnTo>
                        <a:pt x="13371" y="8810"/>
                      </a:lnTo>
                      <a:lnTo>
                        <a:pt x="13413" y="8747"/>
                      </a:lnTo>
                      <a:lnTo>
                        <a:pt x="13601" y="8684"/>
                      </a:lnTo>
                      <a:lnTo>
                        <a:pt x="13831" y="8538"/>
                      </a:lnTo>
                      <a:lnTo>
                        <a:pt x="13999" y="8496"/>
                      </a:lnTo>
                      <a:lnTo>
                        <a:pt x="14082" y="8391"/>
                      </a:lnTo>
                      <a:lnTo>
                        <a:pt x="14124" y="8391"/>
                      </a:lnTo>
                      <a:lnTo>
                        <a:pt x="14145" y="8475"/>
                      </a:lnTo>
                      <a:lnTo>
                        <a:pt x="14208" y="8496"/>
                      </a:lnTo>
                      <a:lnTo>
                        <a:pt x="14396" y="8370"/>
                      </a:lnTo>
                      <a:lnTo>
                        <a:pt x="14543" y="8370"/>
                      </a:lnTo>
                      <a:lnTo>
                        <a:pt x="14606" y="8328"/>
                      </a:lnTo>
                      <a:lnTo>
                        <a:pt x="14543" y="8391"/>
                      </a:lnTo>
                      <a:lnTo>
                        <a:pt x="14417" y="8475"/>
                      </a:lnTo>
                      <a:lnTo>
                        <a:pt x="14417" y="8538"/>
                      </a:lnTo>
                      <a:lnTo>
                        <a:pt x="14459" y="8558"/>
                      </a:lnTo>
                      <a:lnTo>
                        <a:pt x="14354" y="8747"/>
                      </a:lnTo>
                      <a:lnTo>
                        <a:pt x="14208" y="8768"/>
                      </a:lnTo>
                      <a:lnTo>
                        <a:pt x="14145" y="8705"/>
                      </a:lnTo>
                      <a:lnTo>
                        <a:pt x="14082" y="8705"/>
                      </a:lnTo>
                      <a:lnTo>
                        <a:pt x="13915" y="8851"/>
                      </a:lnTo>
                      <a:lnTo>
                        <a:pt x="13915" y="8872"/>
                      </a:lnTo>
                      <a:lnTo>
                        <a:pt x="14041" y="8893"/>
                      </a:lnTo>
                      <a:lnTo>
                        <a:pt x="14124" y="8977"/>
                      </a:lnTo>
                      <a:lnTo>
                        <a:pt x="14124" y="9123"/>
                      </a:lnTo>
                      <a:lnTo>
                        <a:pt x="13936" y="9333"/>
                      </a:lnTo>
                      <a:lnTo>
                        <a:pt x="13915" y="9479"/>
                      </a:lnTo>
                      <a:lnTo>
                        <a:pt x="13873" y="9542"/>
                      </a:lnTo>
                      <a:lnTo>
                        <a:pt x="13831" y="9626"/>
                      </a:lnTo>
                      <a:lnTo>
                        <a:pt x="13873" y="9688"/>
                      </a:lnTo>
                      <a:lnTo>
                        <a:pt x="13894" y="9751"/>
                      </a:lnTo>
                      <a:lnTo>
                        <a:pt x="13873" y="9856"/>
                      </a:lnTo>
                      <a:lnTo>
                        <a:pt x="13748" y="10002"/>
                      </a:lnTo>
                      <a:lnTo>
                        <a:pt x="13643" y="10065"/>
                      </a:lnTo>
                      <a:lnTo>
                        <a:pt x="13538" y="10065"/>
                      </a:lnTo>
                      <a:lnTo>
                        <a:pt x="13476" y="10128"/>
                      </a:lnTo>
                      <a:lnTo>
                        <a:pt x="13371" y="10232"/>
                      </a:lnTo>
                      <a:lnTo>
                        <a:pt x="13287" y="10253"/>
                      </a:lnTo>
                      <a:lnTo>
                        <a:pt x="13162" y="10232"/>
                      </a:lnTo>
                      <a:lnTo>
                        <a:pt x="12994" y="10128"/>
                      </a:lnTo>
                      <a:lnTo>
                        <a:pt x="12953" y="10149"/>
                      </a:lnTo>
                      <a:lnTo>
                        <a:pt x="12890" y="10107"/>
                      </a:lnTo>
                      <a:lnTo>
                        <a:pt x="12806" y="10002"/>
                      </a:lnTo>
                      <a:lnTo>
                        <a:pt x="12785" y="10023"/>
                      </a:lnTo>
                      <a:lnTo>
                        <a:pt x="12681" y="10170"/>
                      </a:lnTo>
                      <a:lnTo>
                        <a:pt x="12555" y="10253"/>
                      </a:lnTo>
                      <a:lnTo>
                        <a:pt x="12471" y="10358"/>
                      </a:lnTo>
                      <a:lnTo>
                        <a:pt x="12241" y="10442"/>
                      </a:lnTo>
                      <a:lnTo>
                        <a:pt x="12157" y="10483"/>
                      </a:lnTo>
                      <a:lnTo>
                        <a:pt x="12053" y="10483"/>
                      </a:lnTo>
                      <a:lnTo>
                        <a:pt x="11948" y="10462"/>
                      </a:lnTo>
                      <a:lnTo>
                        <a:pt x="11760" y="10462"/>
                      </a:lnTo>
                      <a:lnTo>
                        <a:pt x="11634" y="10567"/>
                      </a:lnTo>
                      <a:lnTo>
                        <a:pt x="11509" y="10567"/>
                      </a:lnTo>
                      <a:lnTo>
                        <a:pt x="11425" y="10630"/>
                      </a:lnTo>
                      <a:lnTo>
                        <a:pt x="11425" y="10755"/>
                      </a:lnTo>
                      <a:lnTo>
                        <a:pt x="11341" y="10965"/>
                      </a:lnTo>
                      <a:lnTo>
                        <a:pt x="11279" y="11048"/>
                      </a:lnTo>
                      <a:lnTo>
                        <a:pt x="11279" y="10965"/>
                      </a:lnTo>
                      <a:lnTo>
                        <a:pt x="11132" y="10839"/>
                      </a:lnTo>
                      <a:lnTo>
                        <a:pt x="10986" y="10839"/>
                      </a:lnTo>
                      <a:lnTo>
                        <a:pt x="10902" y="10860"/>
                      </a:lnTo>
                      <a:lnTo>
                        <a:pt x="10923" y="10944"/>
                      </a:lnTo>
                      <a:lnTo>
                        <a:pt x="11007" y="10986"/>
                      </a:lnTo>
                      <a:lnTo>
                        <a:pt x="10965" y="11090"/>
                      </a:lnTo>
                      <a:lnTo>
                        <a:pt x="10902" y="11090"/>
                      </a:lnTo>
                      <a:lnTo>
                        <a:pt x="10860" y="10986"/>
                      </a:lnTo>
                      <a:lnTo>
                        <a:pt x="10756" y="10881"/>
                      </a:lnTo>
                      <a:lnTo>
                        <a:pt x="10693" y="10881"/>
                      </a:lnTo>
                      <a:lnTo>
                        <a:pt x="10546" y="11048"/>
                      </a:lnTo>
                      <a:lnTo>
                        <a:pt x="10484" y="11174"/>
                      </a:lnTo>
                      <a:lnTo>
                        <a:pt x="10400" y="11195"/>
                      </a:lnTo>
                      <a:lnTo>
                        <a:pt x="10337" y="11195"/>
                      </a:lnTo>
                      <a:lnTo>
                        <a:pt x="10065" y="11425"/>
                      </a:lnTo>
                      <a:lnTo>
                        <a:pt x="10023" y="11613"/>
                      </a:lnTo>
                      <a:lnTo>
                        <a:pt x="9960" y="11634"/>
                      </a:lnTo>
                      <a:lnTo>
                        <a:pt x="9835" y="11676"/>
                      </a:lnTo>
                      <a:lnTo>
                        <a:pt x="9730" y="11613"/>
                      </a:lnTo>
                      <a:lnTo>
                        <a:pt x="9709" y="11634"/>
                      </a:lnTo>
                      <a:lnTo>
                        <a:pt x="9814" y="11781"/>
                      </a:lnTo>
                      <a:lnTo>
                        <a:pt x="9772" y="11843"/>
                      </a:lnTo>
                      <a:lnTo>
                        <a:pt x="9709" y="11843"/>
                      </a:lnTo>
                      <a:lnTo>
                        <a:pt x="9647" y="11739"/>
                      </a:lnTo>
                      <a:lnTo>
                        <a:pt x="9605" y="11739"/>
                      </a:lnTo>
                      <a:lnTo>
                        <a:pt x="9542" y="11843"/>
                      </a:lnTo>
                      <a:lnTo>
                        <a:pt x="9416" y="12011"/>
                      </a:lnTo>
                      <a:lnTo>
                        <a:pt x="9416" y="12095"/>
                      </a:lnTo>
                      <a:lnTo>
                        <a:pt x="9521" y="12241"/>
                      </a:lnTo>
                      <a:lnTo>
                        <a:pt x="9542" y="12367"/>
                      </a:lnTo>
                      <a:lnTo>
                        <a:pt x="9521" y="12471"/>
                      </a:lnTo>
                      <a:lnTo>
                        <a:pt x="9458" y="12576"/>
                      </a:lnTo>
                      <a:lnTo>
                        <a:pt x="9500" y="12680"/>
                      </a:lnTo>
                      <a:lnTo>
                        <a:pt x="9563" y="12659"/>
                      </a:lnTo>
                      <a:lnTo>
                        <a:pt x="9647" y="12576"/>
                      </a:lnTo>
                      <a:lnTo>
                        <a:pt x="9668" y="12639"/>
                      </a:lnTo>
                      <a:lnTo>
                        <a:pt x="9709" y="12785"/>
                      </a:lnTo>
                      <a:lnTo>
                        <a:pt x="9647" y="12827"/>
                      </a:lnTo>
                      <a:lnTo>
                        <a:pt x="9605" y="12869"/>
                      </a:lnTo>
                      <a:lnTo>
                        <a:pt x="9626" y="12931"/>
                      </a:lnTo>
                      <a:lnTo>
                        <a:pt x="9709" y="12931"/>
                      </a:lnTo>
                      <a:lnTo>
                        <a:pt x="9751" y="12869"/>
                      </a:lnTo>
                      <a:lnTo>
                        <a:pt x="9835" y="12869"/>
                      </a:lnTo>
                      <a:lnTo>
                        <a:pt x="9856" y="12931"/>
                      </a:lnTo>
                      <a:lnTo>
                        <a:pt x="9856" y="12973"/>
                      </a:lnTo>
                      <a:lnTo>
                        <a:pt x="9981" y="12994"/>
                      </a:lnTo>
                      <a:lnTo>
                        <a:pt x="10086" y="13057"/>
                      </a:lnTo>
                      <a:lnTo>
                        <a:pt x="10232" y="13057"/>
                      </a:lnTo>
                      <a:lnTo>
                        <a:pt x="10337" y="12973"/>
                      </a:lnTo>
                      <a:lnTo>
                        <a:pt x="10379" y="12764"/>
                      </a:lnTo>
                      <a:lnTo>
                        <a:pt x="10463" y="12680"/>
                      </a:lnTo>
                      <a:lnTo>
                        <a:pt x="10672" y="12680"/>
                      </a:lnTo>
                      <a:lnTo>
                        <a:pt x="10756" y="12639"/>
                      </a:lnTo>
                      <a:lnTo>
                        <a:pt x="10651" y="12764"/>
                      </a:lnTo>
                      <a:lnTo>
                        <a:pt x="10546" y="12764"/>
                      </a:lnTo>
                      <a:lnTo>
                        <a:pt x="10358" y="12952"/>
                      </a:lnTo>
                      <a:lnTo>
                        <a:pt x="10337" y="13057"/>
                      </a:lnTo>
                      <a:lnTo>
                        <a:pt x="10253" y="13141"/>
                      </a:lnTo>
                      <a:lnTo>
                        <a:pt x="10358" y="13266"/>
                      </a:lnTo>
                      <a:lnTo>
                        <a:pt x="10358" y="13350"/>
                      </a:lnTo>
                      <a:lnTo>
                        <a:pt x="10191" y="13392"/>
                      </a:lnTo>
                      <a:lnTo>
                        <a:pt x="10149" y="13350"/>
                      </a:lnTo>
                      <a:lnTo>
                        <a:pt x="10149" y="13266"/>
                      </a:lnTo>
                      <a:lnTo>
                        <a:pt x="10086" y="13203"/>
                      </a:lnTo>
                      <a:lnTo>
                        <a:pt x="9981" y="13203"/>
                      </a:lnTo>
                      <a:lnTo>
                        <a:pt x="9940" y="13099"/>
                      </a:lnTo>
                      <a:lnTo>
                        <a:pt x="9772" y="13078"/>
                      </a:lnTo>
                      <a:lnTo>
                        <a:pt x="9730" y="12994"/>
                      </a:lnTo>
                      <a:lnTo>
                        <a:pt x="9647" y="13078"/>
                      </a:lnTo>
                      <a:lnTo>
                        <a:pt x="9542" y="13099"/>
                      </a:lnTo>
                      <a:lnTo>
                        <a:pt x="9521" y="13203"/>
                      </a:lnTo>
                      <a:lnTo>
                        <a:pt x="9437" y="13266"/>
                      </a:lnTo>
                      <a:lnTo>
                        <a:pt x="9312" y="13245"/>
                      </a:lnTo>
                      <a:lnTo>
                        <a:pt x="9291" y="13308"/>
                      </a:lnTo>
                      <a:lnTo>
                        <a:pt x="9333" y="13413"/>
                      </a:lnTo>
                      <a:lnTo>
                        <a:pt x="9396" y="13413"/>
                      </a:lnTo>
                      <a:lnTo>
                        <a:pt x="9312" y="13496"/>
                      </a:lnTo>
                      <a:lnTo>
                        <a:pt x="9291" y="13664"/>
                      </a:lnTo>
                      <a:lnTo>
                        <a:pt x="9312" y="13768"/>
                      </a:lnTo>
                      <a:lnTo>
                        <a:pt x="9396" y="13768"/>
                      </a:lnTo>
                      <a:lnTo>
                        <a:pt x="9396" y="13936"/>
                      </a:lnTo>
                      <a:lnTo>
                        <a:pt x="9416" y="13999"/>
                      </a:lnTo>
                      <a:lnTo>
                        <a:pt x="9416" y="14082"/>
                      </a:lnTo>
                      <a:lnTo>
                        <a:pt x="9521" y="14187"/>
                      </a:lnTo>
                      <a:lnTo>
                        <a:pt x="9521" y="14229"/>
                      </a:lnTo>
                      <a:lnTo>
                        <a:pt x="9396" y="14250"/>
                      </a:lnTo>
                      <a:lnTo>
                        <a:pt x="9354" y="14312"/>
                      </a:lnTo>
                      <a:lnTo>
                        <a:pt x="9730" y="14501"/>
                      </a:lnTo>
                      <a:lnTo>
                        <a:pt x="9877" y="14501"/>
                      </a:lnTo>
                      <a:lnTo>
                        <a:pt x="10065" y="14417"/>
                      </a:lnTo>
                      <a:lnTo>
                        <a:pt x="10170" y="14396"/>
                      </a:lnTo>
                      <a:lnTo>
                        <a:pt x="10232" y="14438"/>
                      </a:lnTo>
                      <a:lnTo>
                        <a:pt x="10295" y="14438"/>
                      </a:lnTo>
                      <a:lnTo>
                        <a:pt x="10463" y="14229"/>
                      </a:lnTo>
                      <a:lnTo>
                        <a:pt x="10463" y="14124"/>
                      </a:lnTo>
                      <a:lnTo>
                        <a:pt x="10400" y="14040"/>
                      </a:lnTo>
                      <a:lnTo>
                        <a:pt x="10400" y="13999"/>
                      </a:lnTo>
                      <a:lnTo>
                        <a:pt x="10567" y="13915"/>
                      </a:lnTo>
                      <a:lnTo>
                        <a:pt x="10714" y="13789"/>
                      </a:lnTo>
                      <a:lnTo>
                        <a:pt x="10986" y="13622"/>
                      </a:lnTo>
                      <a:lnTo>
                        <a:pt x="11090" y="13664"/>
                      </a:lnTo>
                      <a:lnTo>
                        <a:pt x="10986" y="13664"/>
                      </a:lnTo>
                      <a:lnTo>
                        <a:pt x="10756" y="13894"/>
                      </a:lnTo>
                      <a:lnTo>
                        <a:pt x="10588" y="13978"/>
                      </a:lnTo>
                      <a:lnTo>
                        <a:pt x="10588" y="14019"/>
                      </a:lnTo>
                      <a:lnTo>
                        <a:pt x="10693" y="14103"/>
                      </a:lnTo>
                      <a:lnTo>
                        <a:pt x="10693" y="14187"/>
                      </a:lnTo>
                      <a:lnTo>
                        <a:pt x="10588" y="14333"/>
                      </a:lnTo>
                      <a:lnTo>
                        <a:pt x="10463" y="14417"/>
                      </a:lnTo>
                      <a:lnTo>
                        <a:pt x="10442" y="14543"/>
                      </a:lnTo>
                      <a:lnTo>
                        <a:pt x="10463" y="14710"/>
                      </a:lnTo>
                      <a:lnTo>
                        <a:pt x="10442" y="14815"/>
                      </a:lnTo>
                      <a:lnTo>
                        <a:pt x="10442" y="14856"/>
                      </a:lnTo>
                      <a:lnTo>
                        <a:pt x="10442" y="14961"/>
                      </a:lnTo>
                      <a:lnTo>
                        <a:pt x="10463" y="15087"/>
                      </a:lnTo>
                      <a:lnTo>
                        <a:pt x="10295" y="15149"/>
                      </a:lnTo>
                      <a:lnTo>
                        <a:pt x="10232" y="15191"/>
                      </a:lnTo>
                      <a:lnTo>
                        <a:pt x="10191" y="15275"/>
                      </a:lnTo>
                      <a:lnTo>
                        <a:pt x="10044" y="15442"/>
                      </a:lnTo>
                      <a:lnTo>
                        <a:pt x="10002" y="15463"/>
                      </a:lnTo>
                      <a:lnTo>
                        <a:pt x="10044" y="15568"/>
                      </a:lnTo>
                      <a:lnTo>
                        <a:pt x="10044" y="15672"/>
                      </a:lnTo>
                      <a:lnTo>
                        <a:pt x="10107" y="15693"/>
                      </a:lnTo>
                      <a:lnTo>
                        <a:pt x="10212" y="15672"/>
                      </a:lnTo>
                      <a:lnTo>
                        <a:pt x="10274" y="15672"/>
                      </a:lnTo>
                      <a:lnTo>
                        <a:pt x="10316" y="15714"/>
                      </a:lnTo>
                      <a:lnTo>
                        <a:pt x="10253" y="15798"/>
                      </a:lnTo>
                      <a:lnTo>
                        <a:pt x="10128" y="15798"/>
                      </a:lnTo>
                      <a:lnTo>
                        <a:pt x="10065" y="15840"/>
                      </a:lnTo>
                      <a:lnTo>
                        <a:pt x="10086" y="15903"/>
                      </a:lnTo>
                      <a:lnTo>
                        <a:pt x="10065" y="15944"/>
                      </a:lnTo>
                      <a:lnTo>
                        <a:pt x="10086" y="16028"/>
                      </a:lnTo>
                      <a:lnTo>
                        <a:pt x="10023" y="16091"/>
                      </a:lnTo>
                      <a:lnTo>
                        <a:pt x="9940" y="16112"/>
                      </a:lnTo>
                      <a:lnTo>
                        <a:pt x="9835" y="16154"/>
                      </a:lnTo>
                      <a:lnTo>
                        <a:pt x="9751" y="16133"/>
                      </a:lnTo>
                      <a:lnTo>
                        <a:pt x="9709" y="16154"/>
                      </a:lnTo>
                      <a:lnTo>
                        <a:pt x="9772" y="16216"/>
                      </a:lnTo>
                      <a:lnTo>
                        <a:pt x="9877" y="16237"/>
                      </a:lnTo>
                      <a:lnTo>
                        <a:pt x="9960" y="16300"/>
                      </a:lnTo>
                      <a:lnTo>
                        <a:pt x="10086" y="16154"/>
                      </a:lnTo>
                      <a:lnTo>
                        <a:pt x="10337" y="16007"/>
                      </a:lnTo>
                      <a:lnTo>
                        <a:pt x="10379" y="16007"/>
                      </a:lnTo>
                      <a:lnTo>
                        <a:pt x="10463" y="16028"/>
                      </a:lnTo>
                      <a:lnTo>
                        <a:pt x="10546" y="15944"/>
                      </a:lnTo>
                      <a:lnTo>
                        <a:pt x="10714" y="15882"/>
                      </a:lnTo>
                      <a:lnTo>
                        <a:pt x="10693" y="15944"/>
                      </a:lnTo>
                      <a:lnTo>
                        <a:pt x="10630" y="16007"/>
                      </a:lnTo>
                      <a:lnTo>
                        <a:pt x="10630" y="16049"/>
                      </a:lnTo>
                      <a:lnTo>
                        <a:pt x="10693" y="16091"/>
                      </a:lnTo>
                      <a:lnTo>
                        <a:pt x="10714" y="16196"/>
                      </a:lnTo>
                      <a:lnTo>
                        <a:pt x="10693" y="16237"/>
                      </a:lnTo>
                      <a:lnTo>
                        <a:pt x="10776" y="16300"/>
                      </a:lnTo>
                      <a:lnTo>
                        <a:pt x="10881" y="16216"/>
                      </a:lnTo>
                      <a:lnTo>
                        <a:pt x="10944" y="16133"/>
                      </a:lnTo>
                      <a:lnTo>
                        <a:pt x="10986" y="16196"/>
                      </a:lnTo>
                      <a:lnTo>
                        <a:pt x="10965" y="16237"/>
                      </a:lnTo>
                      <a:lnTo>
                        <a:pt x="11049" y="16363"/>
                      </a:lnTo>
                      <a:lnTo>
                        <a:pt x="11069" y="16551"/>
                      </a:lnTo>
                      <a:lnTo>
                        <a:pt x="11049" y="16656"/>
                      </a:lnTo>
                      <a:lnTo>
                        <a:pt x="11090" y="16823"/>
                      </a:lnTo>
                      <a:lnTo>
                        <a:pt x="11153" y="16823"/>
                      </a:lnTo>
                      <a:lnTo>
                        <a:pt x="11195" y="16677"/>
                      </a:lnTo>
                      <a:lnTo>
                        <a:pt x="11195" y="16572"/>
                      </a:lnTo>
                      <a:lnTo>
                        <a:pt x="11300" y="16426"/>
                      </a:lnTo>
                      <a:lnTo>
                        <a:pt x="11321" y="16321"/>
                      </a:lnTo>
                      <a:lnTo>
                        <a:pt x="11467" y="16216"/>
                      </a:lnTo>
                      <a:lnTo>
                        <a:pt x="11488" y="16216"/>
                      </a:lnTo>
                      <a:lnTo>
                        <a:pt x="11593" y="16133"/>
                      </a:lnTo>
                      <a:lnTo>
                        <a:pt x="11739" y="16133"/>
                      </a:lnTo>
                      <a:lnTo>
                        <a:pt x="11593" y="16216"/>
                      </a:lnTo>
                      <a:lnTo>
                        <a:pt x="11425" y="16405"/>
                      </a:lnTo>
                      <a:lnTo>
                        <a:pt x="11425" y="16447"/>
                      </a:lnTo>
                      <a:lnTo>
                        <a:pt x="11572" y="16614"/>
                      </a:lnTo>
                      <a:lnTo>
                        <a:pt x="11634" y="16635"/>
                      </a:lnTo>
                      <a:lnTo>
                        <a:pt x="11802" y="16551"/>
                      </a:lnTo>
                      <a:lnTo>
                        <a:pt x="12032" y="16530"/>
                      </a:lnTo>
                      <a:lnTo>
                        <a:pt x="12137" y="16447"/>
                      </a:lnTo>
                      <a:lnTo>
                        <a:pt x="12220" y="16447"/>
                      </a:lnTo>
                      <a:lnTo>
                        <a:pt x="12429" y="16342"/>
                      </a:lnTo>
                      <a:lnTo>
                        <a:pt x="12513" y="16342"/>
                      </a:lnTo>
                      <a:lnTo>
                        <a:pt x="12429" y="16363"/>
                      </a:lnTo>
                      <a:lnTo>
                        <a:pt x="12304" y="16530"/>
                      </a:lnTo>
                      <a:lnTo>
                        <a:pt x="12304" y="16572"/>
                      </a:lnTo>
                      <a:lnTo>
                        <a:pt x="12220" y="16656"/>
                      </a:lnTo>
                      <a:lnTo>
                        <a:pt x="11906" y="16844"/>
                      </a:lnTo>
                      <a:lnTo>
                        <a:pt x="11781" y="16970"/>
                      </a:lnTo>
                      <a:lnTo>
                        <a:pt x="11676" y="17158"/>
                      </a:lnTo>
                      <a:lnTo>
                        <a:pt x="11634" y="17263"/>
                      </a:lnTo>
                      <a:lnTo>
                        <a:pt x="11697" y="17367"/>
                      </a:lnTo>
                      <a:lnTo>
                        <a:pt x="11802" y="17451"/>
                      </a:lnTo>
                      <a:lnTo>
                        <a:pt x="11613" y="17409"/>
                      </a:lnTo>
                      <a:lnTo>
                        <a:pt x="11530" y="17451"/>
                      </a:lnTo>
                      <a:lnTo>
                        <a:pt x="11425" y="17577"/>
                      </a:lnTo>
                      <a:lnTo>
                        <a:pt x="11383" y="17702"/>
                      </a:lnTo>
                      <a:lnTo>
                        <a:pt x="11216" y="17869"/>
                      </a:lnTo>
                      <a:lnTo>
                        <a:pt x="11153" y="17974"/>
                      </a:lnTo>
                      <a:lnTo>
                        <a:pt x="11174" y="18016"/>
                      </a:lnTo>
                      <a:lnTo>
                        <a:pt x="11216" y="18079"/>
                      </a:lnTo>
                      <a:lnTo>
                        <a:pt x="11195" y="18141"/>
                      </a:lnTo>
                      <a:lnTo>
                        <a:pt x="11111" y="18121"/>
                      </a:lnTo>
                      <a:lnTo>
                        <a:pt x="11090" y="18037"/>
                      </a:lnTo>
                      <a:lnTo>
                        <a:pt x="11007" y="18016"/>
                      </a:lnTo>
                      <a:lnTo>
                        <a:pt x="10944" y="18121"/>
                      </a:lnTo>
                      <a:lnTo>
                        <a:pt x="10776" y="18204"/>
                      </a:lnTo>
                      <a:lnTo>
                        <a:pt x="10839" y="18288"/>
                      </a:lnTo>
                      <a:lnTo>
                        <a:pt x="10776" y="18351"/>
                      </a:lnTo>
                      <a:lnTo>
                        <a:pt x="10693" y="18330"/>
                      </a:lnTo>
                      <a:lnTo>
                        <a:pt x="10672" y="18288"/>
                      </a:lnTo>
                      <a:lnTo>
                        <a:pt x="10630" y="18330"/>
                      </a:lnTo>
                      <a:lnTo>
                        <a:pt x="10358" y="18539"/>
                      </a:lnTo>
                      <a:lnTo>
                        <a:pt x="10274" y="18644"/>
                      </a:lnTo>
                      <a:lnTo>
                        <a:pt x="10316" y="18727"/>
                      </a:lnTo>
                      <a:lnTo>
                        <a:pt x="10253" y="18769"/>
                      </a:lnTo>
                      <a:lnTo>
                        <a:pt x="10170" y="18748"/>
                      </a:lnTo>
                      <a:lnTo>
                        <a:pt x="10170" y="18644"/>
                      </a:lnTo>
                      <a:lnTo>
                        <a:pt x="10023" y="18727"/>
                      </a:lnTo>
                      <a:lnTo>
                        <a:pt x="9898" y="18811"/>
                      </a:lnTo>
                      <a:lnTo>
                        <a:pt x="9793" y="18853"/>
                      </a:lnTo>
                      <a:lnTo>
                        <a:pt x="9751" y="18937"/>
                      </a:lnTo>
                      <a:lnTo>
                        <a:pt x="9647" y="18978"/>
                      </a:lnTo>
                      <a:lnTo>
                        <a:pt x="9500" y="18978"/>
                      </a:lnTo>
                      <a:lnTo>
                        <a:pt x="9333" y="19146"/>
                      </a:lnTo>
                      <a:lnTo>
                        <a:pt x="9082" y="19250"/>
                      </a:lnTo>
                      <a:lnTo>
                        <a:pt x="8893" y="19397"/>
                      </a:lnTo>
                      <a:lnTo>
                        <a:pt x="8810" y="19564"/>
                      </a:lnTo>
                      <a:lnTo>
                        <a:pt x="8810" y="19606"/>
                      </a:lnTo>
                      <a:lnTo>
                        <a:pt x="8872" y="19711"/>
                      </a:lnTo>
                      <a:lnTo>
                        <a:pt x="8872" y="19794"/>
                      </a:lnTo>
                      <a:lnTo>
                        <a:pt x="8852" y="19815"/>
                      </a:lnTo>
                      <a:lnTo>
                        <a:pt x="8768" y="19711"/>
                      </a:lnTo>
                      <a:lnTo>
                        <a:pt x="8747" y="19711"/>
                      </a:lnTo>
                      <a:lnTo>
                        <a:pt x="8705" y="19773"/>
                      </a:lnTo>
                      <a:lnTo>
                        <a:pt x="8747" y="19857"/>
                      </a:lnTo>
                      <a:lnTo>
                        <a:pt x="8684" y="19878"/>
                      </a:lnTo>
                      <a:lnTo>
                        <a:pt x="8621" y="19794"/>
                      </a:lnTo>
                      <a:lnTo>
                        <a:pt x="8705" y="19711"/>
                      </a:lnTo>
                      <a:cubicBezTo>
                        <a:pt x="8761" y="19673"/>
                        <a:pt x="8717" y="19603"/>
                        <a:pt x="8677" y="19603"/>
                      </a:cubicBezTo>
                      <a:cubicBezTo>
                        <a:pt x="8673" y="19603"/>
                        <a:pt x="8668" y="19604"/>
                        <a:pt x="8663" y="19606"/>
                      </a:cubicBezTo>
                      <a:lnTo>
                        <a:pt x="8600" y="19585"/>
                      </a:lnTo>
                      <a:lnTo>
                        <a:pt x="8496" y="19585"/>
                      </a:lnTo>
                      <a:lnTo>
                        <a:pt x="8454" y="19564"/>
                      </a:lnTo>
                      <a:lnTo>
                        <a:pt x="8349" y="19585"/>
                      </a:lnTo>
                      <a:lnTo>
                        <a:pt x="8161" y="19606"/>
                      </a:lnTo>
                      <a:lnTo>
                        <a:pt x="8056" y="19669"/>
                      </a:lnTo>
                      <a:lnTo>
                        <a:pt x="7973" y="19773"/>
                      </a:lnTo>
                      <a:lnTo>
                        <a:pt x="7826" y="19815"/>
                      </a:lnTo>
                      <a:lnTo>
                        <a:pt x="7680" y="19899"/>
                      </a:lnTo>
                      <a:lnTo>
                        <a:pt x="7554" y="20066"/>
                      </a:lnTo>
                      <a:lnTo>
                        <a:pt x="7575" y="20108"/>
                      </a:lnTo>
                      <a:lnTo>
                        <a:pt x="7533" y="20171"/>
                      </a:lnTo>
                      <a:lnTo>
                        <a:pt x="7471" y="20171"/>
                      </a:lnTo>
                      <a:lnTo>
                        <a:pt x="7345" y="20213"/>
                      </a:lnTo>
                      <a:lnTo>
                        <a:pt x="7261" y="20276"/>
                      </a:lnTo>
                      <a:lnTo>
                        <a:pt x="7261" y="20338"/>
                      </a:lnTo>
                      <a:lnTo>
                        <a:pt x="7219" y="20338"/>
                      </a:lnTo>
                      <a:lnTo>
                        <a:pt x="7115" y="20318"/>
                      </a:lnTo>
                      <a:lnTo>
                        <a:pt x="7010" y="20338"/>
                      </a:lnTo>
                      <a:lnTo>
                        <a:pt x="6989" y="20422"/>
                      </a:lnTo>
                      <a:lnTo>
                        <a:pt x="6947" y="20548"/>
                      </a:lnTo>
                      <a:lnTo>
                        <a:pt x="6947" y="20590"/>
                      </a:lnTo>
                      <a:cubicBezTo>
                        <a:pt x="6927" y="20590"/>
                        <a:pt x="6906" y="20610"/>
                        <a:pt x="6885" y="20610"/>
                      </a:cubicBezTo>
                      <a:lnTo>
                        <a:pt x="6843" y="20590"/>
                      </a:lnTo>
                      <a:lnTo>
                        <a:pt x="6906" y="20485"/>
                      </a:lnTo>
                      <a:lnTo>
                        <a:pt x="6822" y="20380"/>
                      </a:lnTo>
                      <a:lnTo>
                        <a:pt x="6675" y="20380"/>
                      </a:lnTo>
                      <a:lnTo>
                        <a:pt x="6634" y="20422"/>
                      </a:lnTo>
                      <a:lnTo>
                        <a:pt x="6571" y="20485"/>
                      </a:lnTo>
                      <a:lnTo>
                        <a:pt x="6466" y="20485"/>
                      </a:lnTo>
                      <a:lnTo>
                        <a:pt x="6403" y="20527"/>
                      </a:lnTo>
                      <a:lnTo>
                        <a:pt x="6299" y="20422"/>
                      </a:lnTo>
                      <a:lnTo>
                        <a:pt x="6257" y="20422"/>
                      </a:lnTo>
                      <a:lnTo>
                        <a:pt x="6152" y="20610"/>
                      </a:lnTo>
                      <a:lnTo>
                        <a:pt x="6090" y="20631"/>
                      </a:lnTo>
                      <a:lnTo>
                        <a:pt x="5985" y="20715"/>
                      </a:lnTo>
                      <a:lnTo>
                        <a:pt x="5943" y="20694"/>
                      </a:lnTo>
                      <a:lnTo>
                        <a:pt x="5880" y="20736"/>
                      </a:lnTo>
                      <a:lnTo>
                        <a:pt x="5859" y="20841"/>
                      </a:lnTo>
                      <a:lnTo>
                        <a:pt x="5880" y="20945"/>
                      </a:lnTo>
                      <a:lnTo>
                        <a:pt x="5943" y="20966"/>
                      </a:lnTo>
                      <a:cubicBezTo>
                        <a:pt x="5776" y="21029"/>
                        <a:pt x="5629" y="21071"/>
                        <a:pt x="5462" y="21154"/>
                      </a:cubicBezTo>
                      <a:lnTo>
                        <a:pt x="5441" y="21071"/>
                      </a:lnTo>
                      <a:lnTo>
                        <a:pt x="5378" y="21050"/>
                      </a:lnTo>
                      <a:lnTo>
                        <a:pt x="5378" y="21154"/>
                      </a:lnTo>
                      <a:lnTo>
                        <a:pt x="5378" y="21217"/>
                      </a:lnTo>
                      <a:cubicBezTo>
                        <a:pt x="5357" y="21217"/>
                        <a:pt x="5336" y="21238"/>
                        <a:pt x="5274" y="21238"/>
                      </a:cubicBezTo>
                      <a:lnTo>
                        <a:pt x="5232" y="21217"/>
                      </a:lnTo>
                      <a:lnTo>
                        <a:pt x="5169" y="21134"/>
                      </a:lnTo>
                      <a:lnTo>
                        <a:pt x="5064" y="21154"/>
                      </a:lnTo>
                      <a:lnTo>
                        <a:pt x="5064" y="21238"/>
                      </a:lnTo>
                      <a:lnTo>
                        <a:pt x="5127" y="21280"/>
                      </a:lnTo>
                      <a:cubicBezTo>
                        <a:pt x="5106" y="21322"/>
                        <a:pt x="5043" y="21322"/>
                        <a:pt x="5022" y="21343"/>
                      </a:cubicBezTo>
                      <a:lnTo>
                        <a:pt x="4960" y="21280"/>
                      </a:lnTo>
                      <a:lnTo>
                        <a:pt x="4960" y="21364"/>
                      </a:lnTo>
                      <a:cubicBezTo>
                        <a:pt x="4939" y="21385"/>
                        <a:pt x="4918" y="21385"/>
                        <a:pt x="4897" y="21385"/>
                      </a:cubicBezTo>
                      <a:lnTo>
                        <a:pt x="4855" y="21343"/>
                      </a:lnTo>
                      <a:lnTo>
                        <a:pt x="4730" y="21322"/>
                      </a:lnTo>
                      <a:lnTo>
                        <a:pt x="4688" y="21238"/>
                      </a:lnTo>
                      <a:lnTo>
                        <a:pt x="4583" y="21238"/>
                      </a:lnTo>
                      <a:lnTo>
                        <a:pt x="4478" y="21343"/>
                      </a:lnTo>
                      <a:lnTo>
                        <a:pt x="4478" y="21426"/>
                      </a:lnTo>
                      <a:lnTo>
                        <a:pt x="4541" y="21489"/>
                      </a:lnTo>
                      <a:cubicBezTo>
                        <a:pt x="4520" y="21489"/>
                        <a:pt x="4499" y="21531"/>
                        <a:pt x="4499" y="21531"/>
                      </a:cubicBezTo>
                      <a:lnTo>
                        <a:pt x="4395" y="21468"/>
                      </a:lnTo>
                      <a:lnTo>
                        <a:pt x="4290" y="21552"/>
                      </a:lnTo>
                      <a:lnTo>
                        <a:pt x="4290" y="21594"/>
                      </a:lnTo>
                      <a:cubicBezTo>
                        <a:pt x="4081" y="21678"/>
                        <a:pt x="3893" y="21761"/>
                        <a:pt x="3683" y="21845"/>
                      </a:cubicBezTo>
                      <a:lnTo>
                        <a:pt x="3704" y="21782"/>
                      </a:lnTo>
                      <a:lnTo>
                        <a:pt x="3809" y="21740"/>
                      </a:lnTo>
                      <a:lnTo>
                        <a:pt x="3746" y="21698"/>
                      </a:lnTo>
                      <a:lnTo>
                        <a:pt x="3704" y="21573"/>
                      </a:lnTo>
                      <a:lnTo>
                        <a:pt x="3600" y="21636"/>
                      </a:lnTo>
                      <a:lnTo>
                        <a:pt x="3432" y="21636"/>
                      </a:lnTo>
                      <a:lnTo>
                        <a:pt x="3453" y="21698"/>
                      </a:lnTo>
                      <a:lnTo>
                        <a:pt x="3390" y="21803"/>
                      </a:lnTo>
                      <a:lnTo>
                        <a:pt x="3286" y="21845"/>
                      </a:lnTo>
                      <a:lnTo>
                        <a:pt x="3160" y="21970"/>
                      </a:lnTo>
                      <a:lnTo>
                        <a:pt x="3160" y="22012"/>
                      </a:lnTo>
                      <a:cubicBezTo>
                        <a:pt x="2951" y="22096"/>
                        <a:pt x="2742" y="22159"/>
                        <a:pt x="2533" y="22201"/>
                      </a:cubicBezTo>
                      <a:lnTo>
                        <a:pt x="2512" y="22180"/>
                      </a:lnTo>
                      <a:lnTo>
                        <a:pt x="2386" y="22222"/>
                      </a:lnTo>
                      <a:lnTo>
                        <a:pt x="2407" y="22263"/>
                      </a:lnTo>
                      <a:cubicBezTo>
                        <a:pt x="2344" y="22263"/>
                        <a:pt x="2302" y="22284"/>
                        <a:pt x="2240" y="22284"/>
                      </a:cubicBezTo>
                      <a:cubicBezTo>
                        <a:pt x="2177" y="22305"/>
                        <a:pt x="2093" y="22305"/>
                        <a:pt x="2009" y="22326"/>
                      </a:cubicBezTo>
                      <a:lnTo>
                        <a:pt x="1926" y="22263"/>
                      </a:lnTo>
                      <a:lnTo>
                        <a:pt x="1821" y="22368"/>
                      </a:lnTo>
                      <a:lnTo>
                        <a:pt x="1821" y="22389"/>
                      </a:lnTo>
                      <a:cubicBezTo>
                        <a:pt x="1758" y="22410"/>
                        <a:pt x="1654" y="22410"/>
                        <a:pt x="1570" y="22431"/>
                      </a:cubicBezTo>
                      <a:cubicBezTo>
                        <a:pt x="1264" y="22480"/>
                        <a:pt x="957" y="22500"/>
                        <a:pt x="651" y="22500"/>
                      </a:cubicBezTo>
                      <a:cubicBezTo>
                        <a:pt x="434" y="22500"/>
                        <a:pt x="218" y="22490"/>
                        <a:pt x="1" y="22473"/>
                      </a:cubicBezTo>
                      <a:lnTo>
                        <a:pt x="1" y="22473"/>
                      </a:lnTo>
                      <a:cubicBezTo>
                        <a:pt x="332" y="22512"/>
                        <a:pt x="664" y="22527"/>
                        <a:pt x="990" y="22527"/>
                      </a:cubicBezTo>
                      <a:cubicBezTo>
                        <a:pt x="1179" y="22527"/>
                        <a:pt x="1365" y="22522"/>
                        <a:pt x="1549" y="22514"/>
                      </a:cubicBezTo>
                      <a:lnTo>
                        <a:pt x="1549" y="22535"/>
                      </a:lnTo>
                      <a:lnTo>
                        <a:pt x="1654" y="22577"/>
                      </a:lnTo>
                      <a:lnTo>
                        <a:pt x="1612" y="22514"/>
                      </a:lnTo>
                      <a:cubicBezTo>
                        <a:pt x="2093" y="22473"/>
                        <a:pt x="2533" y="22389"/>
                        <a:pt x="2972" y="22263"/>
                      </a:cubicBezTo>
                      <a:lnTo>
                        <a:pt x="2972" y="22263"/>
                      </a:lnTo>
                      <a:lnTo>
                        <a:pt x="2867" y="22368"/>
                      </a:lnTo>
                      <a:lnTo>
                        <a:pt x="3077" y="22368"/>
                      </a:lnTo>
                      <a:lnTo>
                        <a:pt x="3223" y="22222"/>
                      </a:lnTo>
                      <a:lnTo>
                        <a:pt x="3370" y="22222"/>
                      </a:lnTo>
                      <a:lnTo>
                        <a:pt x="3453" y="22159"/>
                      </a:lnTo>
                      <a:cubicBezTo>
                        <a:pt x="3579" y="22096"/>
                        <a:pt x="3746" y="22075"/>
                        <a:pt x="3872" y="22012"/>
                      </a:cubicBezTo>
                      <a:lnTo>
                        <a:pt x="3893" y="22054"/>
                      </a:lnTo>
                      <a:lnTo>
                        <a:pt x="4081" y="22054"/>
                      </a:lnTo>
                      <a:lnTo>
                        <a:pt x="4227" y="21991"/>
                      </a:lnTo>
                      <a:lnTo>
                        <a:pt x="4290" y="21719"/>
                      </a:lnTo>
                      <a:lnTo>
                        <a:pt x="4311" y="21803"/>
                      </a:lnTo>
                      <a:lnTo>
                        <a:pt x="4374" y="21845"/>
                      </a:lnTo>
                      <a:lnTo>
                        <a:pt x="4416" y="21740"/>
                      </a:lnTo>
                      <a:lnTo>
                        <a:pt x="4458" y="21657"/>
                      </a:lnTo>
                      <a:lnTo>
                        <a:pt x="4520" y="21678"/>
                      </a:lnTo>
                      <a:lnTo>
                        <a:pt x="4562" y="21740"/>
                      </a:lnTo>
                      <a:lnTo>
                        <a:pt x="4604" y="21719"/>
                      </a:lnTo>
                      <a:lnTo>
                        <a:pt x="4688" y="21615"/>
                      </a:lnTo>
                      <a:lnTo>
                        <a:pt x="4834" y="21531"/>
                      </a:lnTo>
                      <a:lnTo>
                        <a:pt x="4834" y="21468"/>
                      </a:lnTo>
                      <a:cubicBezTo>
                        <a:pt x="5043" y="21406"/>
                        <a:pt x="5253" y="21301"/>
                        <a:pt x="5462" y="21217"/>
                      </a:cubicBezTo>
                      <a:lnTo>
                        <a:pt x="5462" y="21217"/>
                      </a:lnTo>
                      <a:lnTo>
                        <a:pt x="5420" y="21238"/>
                      </a:lnTo>
                      <a:lnTo>
                        <a:pt x="5546" y="21238"/>
                      </a:lnTo>
                      <a:lnTo>
                        <a:pt x="5504" y="21196"/>
                      </a:lnTo>
                      <a:cubicBezTo>
                        <a:pt x="5839" y="21050"/>
                        <a:pt x="6173" y="20903"/>
                        <a:pt x="6508" y="20778"/>
                      </a:cubicBezTo>
                      <a:lnTo>
                        <a:pt x="6571" y="20799"/>
                      </a:lnTo>
                      <a:lnTo>
                        <a:pt x="6759" y="20778"/>
                      </a:lnTo>
                      <a:lnTo>
                        <a:pt x="6822" y="20694"/>
                      </a:lnTo>
                      <a:lnTo>
                        <a:pt x="6989" y="20715"/>
                      </a:lnTo>
                      <a:lnTo>
                        <a:pt x="6989" y="20673"/>
                      </a:lnTo>
                      <a:lnTo>
                        <a:pt x="6927" y="20610"/>
                      </a:lnTo>
                      <a:cubicBezTo>
                        <a:pt x="7031" y="20569"/>
                        <a:pt x="7136" y="20527"/>
                        <a:pt x="7240" y="20485"/>
                      </a:cubicBezTo>
                      <a:lnTo>
                        <a:pt x="7282" y="20485"/>
                      </a:lnTo>
                      <a:cubicBezTo>
                        <a:pt x="7324" y="20464"/>
                        <a:pt x="7387" y="20422"/>
                        <a:pt x="7429" y="20422"/>
                      </a:cubicBezTo>
                      <a:lnTo>
                        <a:pt x="7450" y="20485"/>
                      </a:lnTo>
                      <a:lnTo>
                        <a:pt x="7554" y="20485"/>
                      </a:lnTo>
                      <a:lnTo>
                        <a:pt x="7617" y="20380"/>
                      </a:lnTo>
                      <a:lnTo>
                        <a:pt x="7638" y="20464"/>
                      </a:lnTo>
                      <a:lnTo>
                        <a:pt x="7659" y="20464"/>
                      </a:lnTo>
                      <a:lnTo>
                        <a:pt x="7701" y="20380"/>
                      </a:lnTo>
                      <a:lnTo>
                        <a:pt x="7763" y="20318"/>
                      </a:lnTo>
                      <a:lnTo>
                        <a:pt x="7868" y="20318"/>
                      </a:lnTo>
                      <a:lnTo>
                        <a:pt x="7973" y="20255"/>
                      </a:lnTo>
                      <a:lnTo>
                        <a:pt x="8015" y="20171"/>
                      </a:lnTo>
                      <a:cubicBezTo>
                        <a:pt x="8077" y="20150"/>
                        <a:pt x="8161" y="20087"/>
                        <a:pt x="8224" y="20066"/>
                      </a:cubicBezTo>
                      <a:lnTo>
                        <a:pt x="8224" y="20066"/>
                      </a:lnTo>
                      <a:lnTo>
                        <a:pt x="8182" y="20108"/>
                      </a:lnTo>
                      <a:lnTo>
                        <a:pt x="8182" y="20213"/>
                      </a:lnTo>
                      <a:lnTo>
                        <a:pt x="8224" y="20255"/>
                      </a:lnTo>
                      <a:lnTo>
                        <a:pt x="8370" y="20150"/>
                      </a:lnTo>
                      <a:lnTo>
                        <a:pt x="8391" y="20066"/>
                      </a:lnTo>
                      <a:lnTo>
                        <a:pt x="8475" y="20045"/>
                      </a:lnTo>
                      <a:lnTo>
                        <a:pt x="8496" y="20087"/>
                      </a:lnTo>
                      <a:lnTo>
                        <a:pt x="8538" y="20045"/>
                      </a:lnTo>
                      <a:lnTo>
                        <a:pt x="8580" y="20045"/>
                      </a:lnTo>
                      <a:lnTo>
                        <a:pt x="8600" y="20108"/>
                      </a:lnTo>
                      <a:lnTo>
                        <a:pt x="8580" y="20192"/>
                      </a:lnTo>
                      <a:lnTo>
                        <a:pt x="8642" y="20192"/>
                      </a:lnTo>
                      <a:lnTo>
                        <a:pt x="8705" y="20087"/>
                      </a:lnTo>
                      <a:lnTo>
                        <a:pt x="8789" y="20087"/>
                      </a:lnTo>
                      <a:lnTo>
                        <a:pt x="8872" y="20004"/>
                      </a:lnTo>
                      <a:lnTo>
                        <a:pt x="8977" y="20004"/>
                      </a:lnTo>
                      <a:lnTo>
                        <a:pt x="9082" y="19857"/>
                      </a:lnTo>
                      <a:lnTo>
                        <a:pt x="9186" y="19794"/>
                      </a:lnTo>
                      <a:lnTo>
                        <a:pt x="9270" y="19836"/>
                      </a:lnTo>
                      <a:lnTo>
                        <a:pt x="9270" y="19899"/>
                      </a:lnTo>
                      <a:lnTo>
                        <a:pt x="9186" y="20004"/>
                      </a:lnTo>
                      <a:lnTo>
                        <a:pt x="9103" y="20150"/>
                      </a:lnTo>
                      <a:lnTo>
                        <a:pt x="9103" y="20192"/>
                      </a:lnTo>
                      <a:lnTo>
                        <a:pt x="9165" y="20192"/>
                      </a:lnTo>
                      <a:lnTo>
                        <a:pt x="9312" y="20045"/>
                      </a:lnTo>
                      <a:lnTo>
                        <a:pt x="9312" y="19857"/>
                      </a:lnTo>
                      <a:lnTo>
                        <a:pt x="9333" y="19836"/>
                      </a:lnTo>
                      <a:lnTo>
                        <a:pt x="9396" y="19899"/>
                      </a:lnTo>
                      <a:lnTo>
                        <a:pt x="9479" y="19857"/>
                      </a:lnTo>
                      <a:lnTo>
                        <a:pt x="9542" y="19878"/>
                      </a:lnTo>
                      <a:lnTo>
                        <a:pt x="9647" y="19878"/>
                      </a:lnTo>
                      <a:lnTo>
                        <a:pt x="9751" y="19753"/>
                      </a:lnTo>
                      <a:lnTo>
                        <a:pt x="9793" y="19753"/>
                      </a:lnTo>
                      <a:lnTo>
                        <a:pt x="9814" y="19773"/>
                      </a:lnTo>
                      <a:lnTo>
                        <a:pt x="9856" y="19648"/>
                      </a:lnTo>
                      <a:lnTo>
                        <a:pt x="9919" y="19585"/>
                      </a:lnTo>
                      <a:lnTo>
                        <a:pt x="9940" y="19627"/>
                      </a:lnTo>
                      <a:lnTo>
                        <a:pt x="9919" y="19690"/>
                      </a:lnTo>
                      <a:lnTo>
                        <a:pt x="9919" y="19794"/>
                      </a:lnTo>
                      <a:lnTo>
                        <a:pt x="9960" y="19773"/>
                      </a:lnTo>
                      <a:lnTo>
                        <a:pt x="10044" y="19669"/>
                      </a:lnTo>
                      <a:lnTo>
                        <a:pt x="10002" y="19648"/>
                      </a:lnTo>
                      <a:lnTo>
                        <a:pt x="10065" y="19564"/>
                      </a:lnTo>
                      <a:lnTo>
                        <a:pt x="10065" y="19522"/>
                      </a:lnTo>
                      <a:lnTo>
                        <a:pt x="9898" y="19522"/>
                      </a:lnTo>
                      <a:lnTo>
                        <a:pt x="9856" y="19481"/>
                      </a:lnTo>
                      <a:lnTo>
                        <a:pt x="10023" y="19439"/>
                      </a:lnTo>
                      <a:lnTo>
                        <a:pt x="10212" y="19334"/>
                      </a:lnTo>
                      <a:lnTo>
                        <a:pt x="10442" y="19334"/>
                      </a:lnTo>
                      <a:lnTo>
                        <a:pt x="10484" y="19271"/>
                      </a:lnTo>
                      <a:lnTo>
                        <a:pt x="10484" y="19209"/>
                      </a:lnTo>
                      <a:lnTo>
                        <a:pt x="10442" y="19209"/>
                      </a:lnTo>
                      <a:lnTo>
                        <a:pt x="10484" y="19167"/>
                      </a:lnTo>
                      <a:lnTo>
                        <a:pt x="10567" y="19146"/>
                      </a:lnTo>
                      <a:lnTo>
                        <a:pt x="10651" y="19104"/>
                      </a:lnTo>
                      <a:lnTo>
                        <a:pt x="10693" y="19104"/>
                      </a:lnTo>
                      <a:lnTo>
                        <a:pt x="10735" y="19209"/>
                      </a:lnTo>
                      <a:lnTo>
                        <a:pt x="10839" y="19209"/>
                      </a:lnTo>
                      <a:lnTo>
                        <a:pt x="10881" y="19125"/>
                      </a:lnTo>
                      <a:lnTo>
                        <a:pt x="10860" y="19104"/>
                      </a:lnTo>
                      <a:lnTo>
                        <a:pt x="10944" y="19020"/>
                      </a:lnTo>
                      <a:lnTo>
                        <a:pt x="10944" y="18916"/>
                      </a:lnTo>
                      <a:lnTo>
                        <a:pt x="10986" y="18853"/>
                      </a:lnTo>
                      <a:lnTo>
                        <a:pt x="11049" y="18916"/>
                      </a:lnTo>
                      <a:lnTo>
                        <a:pt x="11049" y="18999"/>
                      </a:lnTo>
                      <a:lnTo>
                        <a:pt x="11090" y="19041"/>
                      </a:lnTo>
                      <a:lnTo>
                        <a:pt x="11216" y="18957"/>
                      </a:lnTo>
                      <a:lnTo>
                        <a:pt x="11279" y="18895"/>
                      </a:lnTo>
                      <a:lnTo>
                        <a:pt x="11362" y="18895"/>
                      </a:lnTo>
                      <a:lnTo>
                        <a:pt x="11404" y="18790"/>
                      </a:lnTo>
                      <a:lnTo>
                        <a:pt x="11425" y="18748"/>
                      </a:lnTo>
                      <a:lnTo>
                        <a:pt x="11488" y="18811"/>
                      </a:lnTo>
                      <a:lnTo>
                        <a:pt x="11593" y="18790"/>
                      </a:lnTo>
                      <a:lnTo>
                        <a:pt x="11718" y="18623"/>
                      </a:lnTo>
                      <a:lnTo>
                        <a:pt x="11718" y="18539"/>
                      </a:lnTo>
                      <a:lnTo>
                        <a:pt x="11613" y="18539"/>
                      </a:lnTo>
                      <a:lnTo>
                        <a:pt x="11593" y="18518"/>
                      </a:lnTo>
                      <a:lnTo>
                        <a:pt x="11739" y="18413"/>
                      </a:lnTo>
                      <a:lnTo>
                        <a:pt x="11844" y="18393"/>
                      </a:lnTo>
                      <a:lnTo>
                        <a:pt x="11927" y="18288"/>
                      </a:lnTo>
                      <a:lnTo>
                        <a:pt x="11990" y="18288"/>
                      </a:lnTo>
                      <a:lnTo>
                        <a:pt x="12011" y="18330"/>
                      </a:lnTo>
                      <a:lnTo>
                        <a:pt x="12137" y="18204"/>
                      </a:lnTo>
                      <a:lnTo>
                        <a:pt x="12241" y="18141"/>
                      </a:lnTo>
                      <a:lnTo>
                        <a:pt x="12262" y="18079"/>
                      </a:lnTo>
                      <a:lnTo>
                        <a:pt x="12346" y="18037"/>
                      </a:lnTo>
                      <a:lnTo>
                        <a:pt x="12367" y="17995"/>
                      </a:lnTo>
                      <a:lnTo>
                        <a:pt x="12450" y="17995"/>
                      </a:lnTo>
                      <a:lnTo>
                        <a:pt x="12471" y="18079"/>
                      </a:lnTo>
                      <a:lnTo>
                        <a:pt x="12534" y="18100"/>
                      </a:lnTo>
                      <a:lnTo>
                        <a:pt x="12555" y="18016"/>
                      </a:lnTo>
                      <a:lnTo>
                        <a:pt x="12660" y="18016"/>
                      </a:lnTo>
                      <a:lnTo>
                        <a:pt x="12722" y="17995"/>
                      </a:lnTo>
                      <a:lnTo>
                        <a:pt x="12722" y="17911"/>
                      </a:lnTo>
                      <a:lnTo>
                        <a:pt x="12827" y="17890"/>
                      </a:lnTo>
                      <a:lnTo>
                        <a:pt x="12848" y="17828"/>
                      </a:lnTo>
                      <a:lnTo>
                        <a:pt x="12869" y="17869"/>
                      </a:lnTo>
                      <a:lnTo>
                        <a:pt x="13036" y="17890"/>
                      </a:lnTo>
                      <a:lnTo>
                        <a:pt x="13057" y="17786"/>
                      </a:lnTo>
                      <a:lnTo>
                        <a:pt x="13099" y="17786"/>
                      </a:lnTo>
                      <a:lnTo>
                        <a:pt x="13099" y="17849"/>
                      </a:lnTo>
                      <a:lnTo>
                        <a:pt x="13162" y="17849"/>
                      </a:lnTo>
                      <a:lnTo>
                        <a:pt x="13204" y="17786"/>
                      </a:lnTo>
                      <a:lnTo>
                        <a:pt x="13266" y="17849"/>
                      </a:lnTo>
                      <a:lnTo>
                        <a:pt x="13308" y="17807"/>
                      </a:lnTo>
                      <a:lnTo>
                        <a:pt x="13371" y="17660"/>
                      </a:lnTo>
                      <a:lnTo>
                        <a:pt x="13308" y="17660"/>
                      </a:lnTo>
                      <a:lnTo>
                        <a:pt x="13266" y="17681"/>
                      </a:lnTo>
                      <a:lnTo>
                        <a:pt x="13287" y="17597"/>
                      </a:lnTo>
                      <a:lnTo>
                        <a:pt x="13350" y="17556"/>
                      </a:lnTo>
                      <a:cubicBezTo>
                        <a:pt x="13371" y="17618"/>
                        <a:pt x="13392" y="17702"/>
                        <a:pt x="13455" y="17765"/>
                      </a:cubicBezTo>
                      <a:cubicBezTo>
                        <a:pt x="13517" y="17849"/>
                        <a:pt x="13392" y="17995"/>
                        <a:pt x="13308" y="18079"/>
                      </a:cubicBezTo>
                      <a:lnTo>
                        <a:pt x="13245" y="18183"/>
                      </a:lnTo>
                      <a:lnTo>
                        <a:pt x="13266" y="18225"/>
                      </a:lnTo>
                      <a:lnTo>
                        <a:pt x="13371" y="18309"/>
                      </a:lnTo>
                      <a:lnTo>
                        <a:pt x="13350" y="18413"/>
                      </a:lnTo>
                      <a:lnTo>
                        <a:pt x="13266" y="18351"/>
                      </a:lnTo>
                      <a:lnTo>
                        <a:pt x="13245" y="18393"/>
                      </a:lnTo>
                      <a:lnTo>
                        <a:pt x="13266" y="18497"/>
                      </a:lnTo>
                      <a:lnTo>
                        <a:pt x="13162" y="18623"/>
                      </a:lnTo>
                      <a:lnTo>
                        <a:pt x="13099" y="18602"/>
                      </a:lnTo>
                      <a:lnTo>
                        <a:pt x="13099" y="18351"/>
                      </a:lnTo>
                      <a:lnTo>
                        <a:pt x="13057" y="18330"/>
                      </a:lnTo>
                      <a:lnTo>
                        <a:pt x="12890" y="18351"/>
                      </a:lnTo>
                      <a:lnTo>
                        <a:pt x="12639" y="18497"/>
                      </a:lnTo>
                      <a:lnTo>
                        <a:pt x="12471" y="18602"/>
                      </a:lnTo>
                      <a:lnTo>
                        <a:pt x="12450" y="18665"/>
                      </a:lnTo>
                      <a:lnTo>
                        <a:pt x="12471" y="18727"/>
                      </a:lnTo>
                      <a:lnTo>
                        <a:pt x="12471" y="18853"/>
                      </a:lnTo>
                      <a:lnTo>
                        <a:pt x="12450" y="18957"/>
                      </a:lnTo>
                      <a:lnTo>
                        <a:pt x="12409" y="19041"/>
                      </a:lnTo>
                      <a:lnTo>
                        <a:pt x="12409" y="19146"/>
                      </a:lnTo>
                      <a:lnTo>
                        <a:pt x="12471" y="19188"/>
                      </a:lnTo>
                      <a:lnTo>
                        <a:pt x="12555" y="19167"/>
                      </a:lnTo>
                      <a:lnTo>
                        <a:pt x="12576" y="19125"/>
                      </a:lnTo>
                      <a:lnTo>
                        <a:pt x="12555" y="19083"/>
                      </a:lnTo>
                      <a:lnTo>
                        <a:pt x="12513" y="19062"/>
                      </a:lnTo>
                      <a:lnTo>
                        <a:pt x="12555" y="19020"/>
                      </a:lnTo>
                      <a:lnTo>
                        <a:pt x="12681" y="19020"/>
                      </a:lnTo>
                      <a:lnTo>
                        <a:pt x="12660" y="19062"/>
                      </a:lnTo>
                      <a:lnTo>
                        <a:pt x="12722" y="19125"/>
                      </a:lnTo>
                      <a:lnTo>
                        <a:pt x="12785" y="19041"/>
                      </a:lnTo>
                      <a:lnTo>
                        <a:pt x="12848" y="19041"/>
                      </a:lnTo>
                      <a:lnTo>
                        <a:pt x="12764" y="19146"/>
                      </a:lnTo>
                      <a:lnTo>
                        <a:pt x="12764" y="19188"/>
                      </a:lnTo>
                      <a:lnTo>
                        <a:pt x="12555" y="19355"/>
                      </a:lnTo>
                      <a:lnTo>
                        <a:pt x="12534" y="19397"/>
                      </a:lnTo>
                      <a:lnTo>
                        <a:pt x="12639" y="19439"/>
                      </a:lnTo>
                      <a:lnTo>
                        <a:pt x="12681" y="19355"/>
                      </a:lnTo>
                      <a:lnTo>
                        <a:pt x="12764" y="19292"/>
                      </a:lnTo>
                      <a:lnTo>
                        <a:pt x="12764" y="19229"/>
                      </a:lnTo>
                      <a:lnTo>
                        <a:pt x="12890" y="19146"/>
                      </a:lnTo>
                      <a:lnTo>
                        <a:pt x="12869" y="19083"/>
                      </a:lnTo>
                      <a:lnTo>
                        <a:pt x="12932" y="19041"/>
                      </a:lnTo>
                      <a:lnTo>
                        <a:pt x="12973" y="19041"/>
                      </a:lnTo>
                      <a:lnTo>
                        <a:pt x="13036" y="18916"/>
                      </a:lnTo>
                      <a:lnTo>
                        <a:pt x="13078" y="18937"/>
                      </a:lnTo>
                      <a:lnTo>
                        <a:pt x="13183" y="18916"/>
                      </a:lnTo>
                      <a:lnTo>
                        <a:pt x="13287" y="18937"/>
                      </a:lnTo>
                      <a:lnTo>
                        <a:pt x="13455" y="18832"/>
                      </a:lnTo>
                      <a:lnTo>
                        <a:pt x="13413" y="18748"/>
                      </a:lnTo>
                      <a:lnTo>
                        <a:pt x="13287" y="18706"/>
                      </a:lnTo>
                      <a:lnTo>
                        <a:pt x="13371" y="18665"/>
                      </a:lnTo>
                      <a:lnTo>
                        <a:pt x="13497" y="18665"/>
                      </a:lnTo>
                      <a:lnTo>
                        <a:pt x="13580" y="18769"/>
                      </a:lnTo>
                      <a:lnTo>
                        <a:pt x="13664" y="18769"/>
                      </a:lnTo>
                      <a:lnTo>
                        <a:pt x="13727" y="18665"/>
                      </a:lnTo>
                      <a:lnTo>
                        <a:pt x="13685" y="18539"/>
                      </a:lnTo>
                      <a:lnTo>
                        <a:pt x="13580" y="18518"/>
                      </a:lnTo>
                      <a:lnTo>
                        <a:pt x="13622" y="18455"/>
                      </a:lnTo>
                      <a:lnTo>
                        <a:pt x="13706" y="18455"/>
                      </a:lnTo>
                      <a:lnTo>
                        <a:pt x="13789" y="18497"/>
                      </a:lnTo>
                      <a:lnTo>
                        <a:pt x="13852" y="18455"/>
                      </a:lnTo>
                      <a:lnTo>
                        <a:pt x="13894" y="18518"/>
                      </a:lnTo>
                      <a:lnTo>
                        <a:pt x="13957" y="18539"/>
                      </a:lnTo>
                      <a:lnTo>
                        <a:pt x="14041" y="18413"/>
                      </a:lnTo>
                      <a:lnTo>
                        <a:pt x="14020" y="18330"/>
                      </a:lnTo>
                      <a:lnTo>
                        <a:pt x="13957" y="18309"/>
                      </a:lnTo>
                      <a:lnTo>
                        <a:pt x="13957" y="18225"/>
                      </a:lnTo>
                      <a:lnTo>
                        <a:pt x="14062" y="18225"/>
                      </a:lnTo>
                      <a:lnTo>
                        <a:pt x="14166" y="18204"/>
                      </a:lnTo>
                      <a:lnTo>
                        <a:pt x="14124" y="18079"/>
                      </a:lnTo>
                      <a:lnTo>
                        <a:pt x="14041" y="18037"/>
                      </a:lnTo>
                      <a:lnTo>
                        <a:pt x="13957" y="18079"/>
                      </a:lnTo>
                      <a:lnTo>
                        <a:pt x="14041" y="17995"/>
                      </a:lnTo>
                      <a:cubicBezTo>
                        <a:pt x="14062" y="17974"/>
                        <a:pt x="14041" y="17932"/>
                        <a:pt x="14041" y="17932"/>
                      </a:cubicBezTo>
                      <a:lnTo>
                        <a:pt x="14145" y="17828"/>
                      </a:lnTo>
                      <a:lnTo>
                        <a:pt x="14166" y="17911"/>
                      </a:lnTo>
                      <a:lnTo>
                        <a:pt x="14229" y="17911"/>
                      </a:lnTo>
                      <a:lnTo>
                        <a:pt x="14313" y="17807"/>
                      </a:lnTo>
                      <a:lnTo>
                        <a:pt x="14354" y="17869"/>
                      </a:lnTo>
                      <a:lnTo>
                        <a:pt x="14438" y="17828"/>
                      </a:lnTo>
                      <a:lnTo>
                        <a:pt x="14417" y="17765"/>
                      </a:lnTo>
                      <a:lnTo>
                        <a:pt x="14334" y="17723"/>
                      </a:lnTo>
                      <a:lnTo>
                        <a:pt x="14396" y="17660"/>
                      </a:lnTo>
                      <a:lnTo>
                        <a:pt x="14438" y="17597"/>
                      </a:lnTo>
                      <a:lnTo>
                        <a:pt x="14396" y="17514"/>
                      </a:lnTo>
                      <a:lnTo>
                        <a:pt x="14313" y="17556"/>
                      </a:lnTo>
                      <a:lnTo>
                        <a:pt x="14292" y="17597"/>
                      </a:lnTo>
                      <a:lnTo>
                        <a:pt x="14229" y="17597"/>
                      </a:lnTo>
                      <a:lnTo>
                        <a:pt x="14250" y="17493"/>
                      </a:lnTo>
                      <a:lnTo>
                        <a:pt x="14208" y="17472"/>
                      </a:lnTo>
                      <a:lnTo>
                        <a:pt x="14103" y="17493"/>
                      </a:lnTo>
                      <a:lnTo>
                        <a:pt x="14041" y="17577"/>
                      </a:lnTo>
                      <a:lnTo>
                        <a:pt x="14103" y="17618"/>
                      </a:lnTo>
                      <a:lnTo>
                        <a:pt x="14041" y="17723"/>
                      </a:lnTo>
                      <a:lnTo>
                        <a:pt x="13999" y="17702"/>
                      </a:lnTo>
                      <a:lnTo>
                        <a:pt x="13978" y="17786"/>
                      </a:lnTo>
                      <a:lnTo>
                        <a:pt x="13894" y="17765"/>
                      </a:lnTo>
                      <a:lnTo>
                        <a:pt x="13831" y="17807"/>
                      </a:lnTo>
                      <a:lnTo>
                        <a:pt x="13873" y="17869"/>
                      </a:lnTo>
                      <a:lnTo>
                        <a:pt x="13999" y="17995"/>
                      </a:lnTo>
                      <a:lnTo>
                        <a:pt x="13831" y="18141"/>
                      </a:lnTo>
                      <a:lnTo>
                        <a:pt x="13831" y="18079"/>
                      </a:lnTo>
                      <a:lnTo>
                        <a:pt x="13727" y="17995"/>
                      </a:lnTo>
                      <a:lnTo>
                        <a:pt x="13685" y="18037"/>
                      </a:lnTo>
                      <a:lnTo>
                        <a:pt x="13706" y="18121"/>
                      </a:lnTo>
                      <a:lnTo>
                        <a:pt x="13685" y="18225"/>
                      </a:lnTo>
                      <a:lnTo>
                        <a:pt x="13622" y="18204"/>
                      </a:lnTo>
                      <a:lnTo>
                        <a:pt x="13580" y="18225"/>
                      </a:lnTo>
                      <a:lnTo>
                        <a:pt x="13517" y="18330"/>
                      </a:lnTo>
                      <a:lnTo>
                        <a:pt x="13434" y="18351"/>
                      </a:lnTo>
                      <a:lnTo>
                        <a:pt x="13434" y="18288"/>
                      </a:lnTo>
                      <a:lnTo>
                        <a:pt x="13497" y="18225"/>
                      </a:lnTo>
                      <a:lnTo>
                        <a:pt x="13497" y="18121"/>
                      </a:lnTo>
                      <a:lnTo>
                        <a:pt x="13413" y="18079"/>
                      </a:lnTo>
                      <a:lnTo>
                        <a:pt x="13371" y="18079"/>
                      </a:lnTo>
                      <a:cubicBezTo>
                        <a:pt x="13413" y="17995"/>
                        <a:pt x="13476" y="17911"/>
                        <a:pt x="13559" y="17849"/>
                      </a:cubicBezTo>
                      <a:lnTo>
                        <a:pt x="13559" y="17807"/>
                      </a:lnTo>
                      <a:cubicBezTo>
                        <a:pt x="13497" y="17702"/>
                        <a:pt x="13476" y="17597"/>
                        <a:pt x="13434" y="17493"/>
                      </a:cubicBezTo>
                      <a:lnTo>
                        <a:pt x="13476" y="17493"/>
                      </a:lnTo>
                      <a:lnTo>
                        <a:pt x="13517" y="17535"/>
                      </a:lnTo>
                      <a:lnTo>
                        <a:pt x="13538" y="17493"/>
                      </a:lnTo>
                      <a:lnTo>
                        <a:pt x="13497" y="17409"/>
                      </a:lnTo>
                      <a:lnTo>
                        <a:pt x="13413" y="17388"/>
                      </a:lnTo>
                      <a:lnTo>
                        <a:pt x="13476" y="17367"/>
                      </a:lnTo>
                      <a:lnTo>
                        <a:pt x="13580" y="17388"/>
                      </a:lnTo>
                      <a:lnTo>
                        <a:pt x="13706" y="17263"/>
                      </a:lnTo>
                      <a:lnTo>
                        <a:pt x="13831" y="17263"/>
                      </a:lnTo>
                      <a:lnTo>
                        <a:pt x="13936" y="17158"/>
                      </a:lnTo>
                      <a:lnTo>
                        <a:pt x="14020" y="17137"/>
                      </a:lnTo>
                      <a:lnTo>
                        <a:pt x="14145" y="16991"/>
                      </a:lnTo>
                      <a:lnTo>
                        <a:pt x="14145" y="16844"/>
                      </a:lnTo>
                      <a:lnTo>
                        <a:pt x="14103" y="16781"/>
                      </a:lnTo>
                      <a:lnTo>
                        <a:pt x="14082" y="16781"/>
                      </a:lnTo>
                      <a:lnTo>
                        <a:pt x="14020" y="16656"/>
                      </a:lnTo>
                      <a:lnTo>
                        <a:pt x="13957" y="16635"/>
                      </a:lnTo>
                      <a:lnTo>
                        <a:pt x="13810" y="16635"/>
                      </a:lnTo>
                      <a:lnTo>
                        <a:pt x="13831" y="16530"/>
                      </a:lnTo>
                      <a:lnTo>
                        <a:pt x="13831" y="16426"/>
                      </a:lnTo>
                      <a:lnTo>
                        <a:pt x="13999" y="16363"/>
                      </a:lnTo>
                      <a:lnTo>
                        <a:pt x="14020" y="16321"/>
                      </a:lnTo>
                      <a:lnTo>
                        <a:pt x="14103" y="16300"/>
                      </a:lnTo>
                      <a:lnTo>
                        <a:pt x="14124" y="16216"/>
                      </a:lnTo>
                      <a:lnTo>
                        <a:pt x="14103" y="16216"/>
                      </a:lnTo>
                      <a:lnTo>
                        <a:pt x="14145" y="16154"/>
                      </a:lnTo>
                      <a:lnTo>
                        <a:pt x="14250" y="16196"/>
                      </a:lnTo>
                      <a:lnTo>
                        <a:pt x="14417" y="16091"/>
                      </a:lnTo>
                      <a:lnTo>
                        <a:pt x="14522" y="16175"/>
                      </a:lnTo>
                      <a:lnTo>
                        <a:pt x="14647" y="16091"/>
                      </a:lnTo>
                      <a:lnTo>
                        <a:pt x="14626" y="16175"/>
                      </a:lnTo>
                      <a:lnTo>
                        <a:pt x="14647" y="16216"/>
                      </a:lnTo>
                      <a:lnTo>
                        <a:pt x="14731" y="16216"/>
                      </a:lnTo>
                      <a:lnTo>
                        <a:pt x="14857" y="16091"/>
                      </a:lnTo>
                      <a:lnTo>
                        <a:pt x="14836" y="16028"/>
                      </a:lnTo>
                      <a:lnTo>
                        <a:pt x="14773" y="16007"/>
                      </a:lnTo>
                      <a:lnTo>
                        <a:pt x="14752" y="15965"/>
                      </a:lnTo>
                      <a:lnTo>
                        <a:pt x="14794" y="15924"/>
                      </a:lnTo>
                      <a:lnTo>
                        <a:pt x="14919" y="15986"/>
                      </a:lnTo>
                      <a:lnTo>
                        <a:pt x="15129" y="15924"/>
                      </a:lnTo>
                      <a:lnTo>
                        <a:pt x="15170" y="15777"/>
                      </a:lnTo>
                      <a:lnTo>
                        <a:pt x="15129" y="15631"/>
                      </a:lnTo>
                      <a:lnTo>
                        <a:pt x="14961" y="15526"/>
                      </a:lnTo>
                      <a:lnTo>
                        <a:pt x="14891" y="15526"/>
                      </a:lnTo>
                      <a:lnTo>
                        <a:pt x="14919" y="15505"/>
                      </a:lnTo>
                      <a:lnTo>
                        <a:pt x="15066" y="15505"/>
                      </a:lnTo>
                      <a:lnTo>
                        <a:pt x="15150" y="15589"/>
                      </a:lnTo>
                      <a:lnTo>
                        <a:pt x="15296" y="15589"/>
                      </a:lnTo>
                      <a:lnTo>
                        <a:pt x="15401" y="15484"/>
                      </a:lnTo>
                      <a:lnTo>
                        <a:pt x="15401" y="15400"/>
                      </a:lnTo>
                      <a:lnTo>
                        <a:pt x="15673" y="15275"/>
                      </a:lnTo>
                      <a:lnTo>
                        <a:pt x="15798" y="15149"/>
                      </a:lnTo>
                      <a:lnTo>
                        <a:pt x="15924" y="15149"/>
                      </a:lnTo>
                      <a:lnTo>
                        <a:pt x="15986" y="15087"/>
                      </a:lnTo>
                      <a:lnTo>
                        <a:pt x="15986" y="15003"/>
                      </a:lnTo>
                      <a:lnTo>
                        <a:pt x="16217" y="14836"/>
                      </a:lnTo>
                      <a:lnTo>
                        <a:pt x="16426" y="14794"/>
                      </a:lnTo>
                      <a:lnTo>
                        <a:pt x="16656" y="14584"/>
                      </a:lnTo>
                      <a:lnTo>
                        <a:pt x="16844" y="14564"/>
                      </a:lnTo>
                      <a:lnTo>
                        <a:pt x="17033" y="14333"/>
                      </a:lnTo>
                      <a:lnTo>
                        <a:pt x="16949" y="14480"/>
                      </a:lnTo>
                      <a:lnTo>
                        <a:pt x="16949" y="14626"/>
                      </a:lnTo>
                      <a:lnTo>
                        <a:pt x="17012" y="14647"/>
                      </a:lnTo>
                      <a:lnTo>
                        <a:pt x="17075" y="14668"/>
                      </a:lnTo>
                      <a:lnTo>
                        <a:pt x="17116" y="14731"/>
                      </a:lnTo>
                      <a:lnTo>
                        <a:pt x="17263" y="14564"/>
                      </a:lnTo>
                      <a:lnTo>
                        <a:pt x="17367" y="14522"/>
                      </a:lnTo>
                      <a:lnTo>
                        <a:pt x="17598" y="14438"/>
                      </a:lnTo>
                      <a:lnTo>
                        <a:pt x="17681" y="14354"/>
                      </a:lnTo>
                      <a:lnTo>
                        <a:pt x="17681" y="14354"/>
                      </a:lnTo>
                      <a:lnTo>
                        <a:pt x="17639" y="14480"/>
                      </a:lnTo>
                      <a:lnTo>
                        <a:pt x="17451" y="14584"/>
                      </a:lnTo>
                      <a:lnTo>
                        <a:pt x="17326" y="14584"/>
                      </a:lnTo>
                      <a:lnTo>
                        <a:pt x="17054" y="14856"/>
                      </a:lnTo>
                      <a:lnTo>
                        <a:pt x="17033" y="14961"/>
                      </a:lnTo>
                      <a:lnTo>
                        <a:pt x="17158" y="15149"/>
                      </a:lnTo>
                      <a:lnTo>
                        <a:pt x="17179" y="15275"/>
                      </a:lnTo>
                      <a:lnTo>
                        <a:pt x="17054" y="15191"/>
                      </a:lnTo>
                      <a:lnTo>
                        <a:pt x="16949" y="15191"/>
                      </a:lnTo>
                      <a:lnTo>
                        <a:pt x="16886" y="15212"/>
                      </a:lnTo>
                      <a:lnTo>
                        <a:pt x="16823" y="15212"/>
                      </a:lnTo>
                      <a:lnTo>
                        <a:pt x="16719" y="15149"/>
                      </a:lnTo>
                      <a:lnTo>
                        <a:pt x="16698" y="14982"/>
                      </a:lnTo>
                      <a:lnTo>
                        <a:pt x="16510" y="15066"/>
                      </a:lnTo>
                      <a:lnTo>
                        <a:pt x="16405" y="15066"/>
                      </a:lnTo>
                      <a:lnTo>
                        <a:pt x="16238" y="15170"/>
                      </a:lnTo>
                      <a:lnTo>
                        <a:pt x="16091" y="15170"/>
                      </a:lnTo>
                      <a:lnTo>
                        <a:pt x="15986" y="15275"/>
                      </a:lnTo>
                      <a:lnTo>
                        <a:pt x="15986" y="15380"/>
                      </a:lnTo>
                      <a:lnTo>
                        <a:pt x="16007" y="15421"/>
                      </a:lnTo>
                      <a:lnTo>
                        <a:pt x="15903" y="15610"/>
                      </a:lnTo>
                      <a:lnTo>
                        <a:pt x="15777" y="15693"/>
                      </a:lnTo>
                      <a:lnTo>
                        <a:pt x="15714" y="15840"/>
                      </a:lnTo>
                      <a:lnTo>
                        <a:pt x="15380" y="16133"/>
                      </a:lnTo>
                      <a:lnTo>
                        <a:pt x="15296" y="16237"/>
                      </a:lnTo>
                      <a:lnTo>
                        <a:pt x="15296" y="16321"/>
                      </a:lnTo>
                      <a:lnTo>
                        <a:pt x="15401" y="16468"/>
                      </a:lnTo>
                      <a:lnTo>
                        <a:pt x="15463" y="16405"/>
                      </a:lnTo>
                      <a:lnTo>
                        <a:pt x="15505" y="16405"/>
                      </a:lnTo>
                      <a:lnTo>
                        <a:pt x="15610" y="16321"/>
                      </a:lnTo>
                      <a:lnTo>
                        <a:pt x="15694" y="16342"/>
                      </a:lnTo>
                      <a:lnTo>
                        <a:pt x="15694" y="16405"/>
                      </a:lnTo>
                      <a:lnTo>
                        <a:pt x="15484" y="16551"/>
                      </a:lnTo>
                      <a:lnTo>
                        <a:pt x="15401" y="16551"/>
                      </a:lnTo>
                      <a:lnTo>
                        <a:pt x="15359" y="16656"/>
                      </a:lnTo>
                      <a:lnTo>
                        <a:pt x="15254" y="16614"/>
                      </a:lnTo>
                      <a:lnTo>
                        <a:pt x="15170" y="16614"/>
                      </a:lnTo>
                      <a:lnTo>
                        <a:pt x="15087" y="16635"/>
                      </a:lnTo>
                      <a:lnTo>
                        <a:pt x="15087" y="16740"/>
                      </a:lnTo>
                      <a:lnTo>
                        <a:pt x="15024" y="16719"/>
                      </a:lnTo>
                      <a:lnTo>
                        <a:pt x="14919" y="16740"/>
                      </a:lnTo>
                      <a:lnTo>
                        <a:pt x="14919" y="16865"/>
                      </a:lnTo>
                      <a:lnTo>
                        <a:pt x="15066" y="17053"/>
                      </a:lnTo>
                      <a:lnTo>
                        <a:pt x="15129" y="17032"/>
                      </a:lnTo>
                      <a:lnTo>
                        <a:pt x="15170" y="16949"/>
                      </a:lnTo>
                      <a:lnTo>
                        <a:pt x="15233" y="17032"/>
                      </a:lnTo>
                      <a:lnTo>
                        <a:pt x="15275" y="16886"/>
                      </a:lnTo>
                      <a:lnTo>
                        <a:pt x="15359" y="16886"/>
                      </a:lnTo>
                      <a:lnTo>
                        <a:pt x="15359" y="16991"/>
                      </a:lnTo>
                      <a:lnTo>
                        <a:pt x="15442" y="16949"/>
                      </a:lnTo>
                      <a:lnTo>
                        <a:pt x="15463" y="16865"/>
                      </a:lnTo>
                      <a:lnTo>
                        <a:pt x="15526" y="16823"/>
                      </a:lnTo>
                      <a:lnTo>
                        <a:pt x="15652" y="16740"/>
                      </a:lnTo>
                      <a:lnTo>
                        <a:pt x="15652" y="16614"/>
                      </a:lnTo>
                      <a:lnTo>
                        <a:pt x="15714" y="16530"/>
                      </a:lnTo>
                      <a:lnTo>
                        <a:pt x="15714" y="16572"/>
                      </a:lnTo>
                      <a:lnTo>
                        <a:pt x="15673" y="16635"/>
                      </a:lnTo>
                      <a:lnTo>
                        <a:pt x="15714" y="16719"/>
                      </a:lnTo>
                      <a:lnTo>
                        <a:pt x="15840" y="16719"/>
                      </a:lnTo>
                      <a:lnTo>
                        <a:pt x="16028" y="16572"/>
                      </a:lnTo>
                      <a:lnTo>
                        <a:pt x="16175" y="16572"/>
                      </a:lnTo>
                      <a:lnTo>
                        <a:pt x="16196" y="16656"/>
                      </a:lnTo>
                      <a:lnTo>
                        <a:pt x="16258" y="16614"/>
                      </a:lnTo>
                      <a:lnTo>
                        <a:pt x="16321" y="16405"/>
                      </a:lnTo>
                      <a:lnTo>
                        <a:pt x="16447" y="16321"/>
                      </a:lnTo>
                      <a:lnTo>
                        <a:pt x="16510" y="16321"/>
                      </a:lnTo>
                      <a:lnTo>
                        <a:pt x="16363" y="16468"/>
                      </a:lnTo>
                      <a:lnTo>
                        <a:pt x="16363" y="16551"/>
                      </a:lnTo>
                      <a:lnTo>
                        <a:pt x="16447" y="16509"/>
                      </a:lnTo>
                      <a:lnTo>
                        <a:pt x="16572" y="16342"/>
                      </a:lnTo>
                      <a:lnTo>
                        <a:pt x="16656" y="16154"/>
                      </a:lnTo>
                      <a:lnTo>
                        <a:pt x="16740" y="16112"/>
                      </a:lnTo>
                      <a:lnTo>
                        <a:pt x="16740" y="16196"/>
                      </a:lnTo>
                      <a:lnTo>
                        <a:pt x="16656" y="16321"/>
                      </a:lnTo>
                      <a:lnTo>
                        <a:pt x="16656" y="16363"/>
                      </a:lnTo>
                      <a:lnTo>
                        <a:pt x="16782" y="16237"/>
                      </a:lnTo>
                      <a:lnTo>
                        <a:pt x="16844" y="16321"/>
                      </a:lnTo>
                      <a:lnTo>
                        <a:pt x="16844" y="16405"/>
                      </a:lnTo>
                      <a:lnTo>
                        <a:pt x="16970" y="16426"/>
                      </a:lnTo>
                      <a:lnTo>
                        <a:pt x="17033" y="16468"/>
                      </a:lnTo>
                      <a:lnTo>
                        <a:pt x="17095" y="16405"/>
                      </a:lnTo>
                      <a:lnTo>
                        <a:pt x="17158" y="16258"/>
                      </a:lnTo>
                      <a:lnTo>
                        <a:pt x="17305" y="16237"/>
                      </a:lnTo>
                      <a:lnTo>
                        <a:pt x="17409" y="16154"/>
                      </a:lnTo>
                      <a:lnTo>
                        <a:pt x="17347" y="16133"/>
                      </a:lnTo>
                      <a:lnTo>
                        <a:pt x="17367" y="16007"/>
                      </a:lnTo>
                      <a:lnTo>
                        <a:pt x="17577" y="15924"/>
                      </a:lnTo>
                      <a:lnTo>
                        <a:pt x="17598" y="15840"/>
                      </a:lnTo>
                      <a:lnTo>
                        <a:pt x="17598" y="15735"/>
                      </a:lnTo>
                      <a:lnTo>
                        <a:pt x="17493" y="15777"/>
                      </a:lnTo>
                      <a:lnTo>
                        <a:pt x="17409" y="15714"/>
                      </a:lnTo>
                      <a:lnTo>
                        <a:pt x="17284" y="15693"/>
                      </a:lnTo>
                      <a:lnTo>
                        <a:pt x="17347" y="15610"/>
                      </a:lnTo>
                      <a:lnTo>
                        <a:pt x="17451" y="15610"/>
                      </a:lnTo>
                      <a:lnTo>
                        <a:pt x="17514" y="15631"/>
                      </a:lnTo>
                      <a:lnTo>
                        <a:pt x="17577" y="15568"/>
                      </a:lnTo>
                      <a:lnTo>
                        <a:pt x="17577" y="15463"/>
                      </a:lnTo>
                      <a:lnTo>
                        <a:pt x="17472" y="15505"/>
                      </a:lnTo>
                      <a:lnTo>
                        <a:pt x="17367" y="15400"/>
                      </a:lnTo>
                      <a:lnTo>
                        <a:pt x="17367" y="15317"/>
                      </a:lnTo>
                      <a:lnTo>
                        <a:pt x="17514" y="15296"/>
                      </a:lnTo>
                      <a:lnTo>
                        <a:pt x="17598" y="15275"/>
                      </a:lnTo>
                      <a:lnTo>
                        <a:pt x="17660" y="15296"/>
                      </a:lnTo>
                      <a:lnTo>
                        <a:pt x="17681" y="15254"/>
                      </a:lnTo>
                      <a:lnTo>
                        <a:pt x="17619" y="15108"/>
                      </a:lnTo>
                      <a:lnTo>
                        <a:pt x="17807" y="15045"/>
                      </a:lnTo>
                      <a:lnTo>
                        <a:pt x="17911" y="15108"/>
                      </a:lnTo>
                      <a:lnTo>
                        <a:pt x="17995" y="15087"/>
                      </a:lnTo>
                      <a:lnTo>
                        <a:pt x="18121" y="15087"/>
                      </a:lnTo>
                      <a:lnTo>
                        <a:pt x="17911" y="15254"/>
                      </a:lnTo>
                      <a:lnTo>
                        <a:pt x="17911" y="15359"/>
                      </a:lnTo>
                      <a:lnTo>
                        <a:pt x="17932" y="15526"/>
                      </a:lnTo>
                      <a:lnTo>
                        <a:pt x="17995" y="15526"/>
                      </a:lnTo>
                      <a:lnTo>
                        <a:pt x="18079" y="15317"/>
                      </a:lnTo>
                      <a:lnTo>
                        <a:pt x="18142" y="15275"/>
                      </a:lnTo>
                      <a:lnTo>
                        <a:pt x="18204" y="15275"/>
                      </a:lnTo>
                      <a:lnTo>
                        <a:pt x="18183" y="15359"/>
                      </a:lnTo>
                      <a:lnTo>
                        <a:pt x="18121" y="15421"/>
                      </a:lnTo>
                      <a:lnTo>
                        <a:pt x="18142" y="15505"/>
                      </a:lnTo>
                      <a:lnTo>
                        <a:pt x="18288" y="15400"/>
                      </a:lnTo>
                      <a:lnTo>
                        <a:pt x="18309" y="15317"/>
                      </a:lnTo>
                      <a:lnTo>
                        <a:pt x="18393" y="15400"/>
                      </a:lnTo>
                      <a:lnTo>
                        <a:pt x="18497" y="15317"/>
                      </a:lnTo>
                      <a:lnTo>
                        <a:pt x="18539" y="15317"/>
                      </a:lnTo>
                      <a:lnTo>
                        <a:pt x="18644" y="15254"/>
                      </a:lnTo>
                      <a:lnTo>
                        <a:pt x="18769" y="15212"/>
                      </a:lnTo>
                      <a:lnTo>
                        <a:pt x="18874" y="15254"/>
                      </a:lnTo>
                      <a:lnTo>
                        <a:pt x="18853" y="15296"/>
                      </a:lnTo>
                      <a:lnTo>
                        <a:pt x="18727" y="15296"/>
                      </a:lnTo>
                      <a:lnTo>
                        <a:pt x="18602" y="15421"/>
                      </a:lnTo>
                      <a:lnTo>
                        <a:pt x="18686" y="15421"/>
                      </a:lnTo>
                      <a:lnTo>
                        <a:pt x="18623" y="15505"/>
                      </a:lnTo>
                      <a:lnTo>
                        <a:pt x="18686" y="15568"/>
                      </a:lnTo>
                      <a:lnTo>
                        <a:pt x="18895" y="15610"/>
                      </a:lnTo>
                      <a:lnTo>
                        <a:pt x="18958" y="15693"/>
                      </a:lnTo>
                      <a:lnTo>
                        <a:pt x="18958" y="15735"/>
                      </a:lnTo>
                      <a:lnTo>
                        <a:pt x="18832" y="15631"/>
                      </a:lnTo>
                      <a:lnTo>
                        <a:pt x="18686" y="15610"/>
                      </a:lnTo>
                      <a:lnTo>
                        <a:pt x="18581" y="15672"/>
                      </a:lnTo>
                      <a:lnTo>
                        <a:pt x="18581" y="15777"/>
                      </a:lnTo>
                      <a:lnTo>
                        <a:pt x="18644" y="15798"/>
                      </a:lnTo>
                      <a:lnTo>
                        <a:pt x="18748" y="15735"/>
                      </a:lnTo>
                      <a:lnTo>
                        <a:pt x="18832" y="15819"/>
                      </a:lnTo>
                      <a:lnTo>
                        <a:pt x="18790" y="15840"/>
                      </a:lnTo>
                      <a:lnTo>
                        <a:pt x="18644" y="15840"/>
                      </a:lnTo>
                      <a:lnTo>
                        <a:pt x="18644" y="15924"/>
                      </a:lnTo>
                      <a:lnTo>
                        <a:pt x="18811" y="15986"/>
                      </a:lnTo>
                      <a:lnTo>
                        <a:pt x="18853" y="16049"/>
                      </a:lnTo>
                      <a:lnTo>
                        <a:pt x="18790" y="16091"/>
                      </a:lnTo>
                      <a:lnTo>
                        <a:pt x="18707" y="16112"/>
                      </a:lnTo>
                      <a:lnTo>
                        <a:pt x="18707" y="16154"/>
                      </a:lnTo>
                      <a:lnTo>
                        <a:pt x="18811" y="16154"/>
                      </a:lnTo>
                      <a:lnTo>
                        <a:pt x="18916" y="16112"/>
                      </a:lnTo>
                      <a:lnTo>
                        <a:pt x="19020" y="16196"/>
                      </a:lnTo>
                      <a:lnTo>
                        <a:pt x="19125" y="16237"/>
                      </a:lnTo>
                      <a:lnTo>
                        <a:pt x="19271" y="16196"/>
                      </a:lnTo>
                      <a:lnTo>
                        <a:pt x="19334" y="16258"/>
                      </a:lnTo>
                      <a:lnTo>
                        <a:pt x="19334" y="16321"/>
                      </a:lnTo>
                      <a:lnTo>
                        <a:pt x="19251" y="16363"/>
                      </a:lnTo>
                      <a:lnTo>
                        <a:pt x="19271" y="16447"/>
                      </a:lnTo>
                      <a:lnTo>
                        <a:pt x="19334" y="16468"/>
                      </a:lnTo>
                      <a:lnTo>
                        <a:pt x="19355" y="16551"/>
                      </a:lnTo>
                      <a:lnTo>
                        <a:pt x="19439" y="16572"/>
                      </a:lnTo>
                      <a:lnTo>
                        <a:pt x="19523" y="16488"/>
                      </a:lnTo>
                      <a:lnTo>
                        <a:pt x="19481" y="16426"/>
                      </a:lnTo>
                      <a:lnTo>
                        <a:pt x="19523" y="16384"/>
                      </a:lnTo>
                      <a:lnTo>
                        <a:pt x="19648" y="16384"/>
                      </a:lnTo>
                      <a:lnTo>
                        <a:pt x="19564" y="16488"/>
                      </a:lnTo>
                      <a:lnTo>
                        <a:pt x="19564" y="16551"/>
                      </a:lnTo>
                      <a:lnTo>
                        <a:pt x="19418" y="16719"/>
                      </a:lnTo>
                      <a:lnTo>
                        <a:pt x="19443" y="16744"/>
                      </a:lnTo>
                      <a:lnTo>
                        <a:pt x="19376" y="16760"/>
                      </a:lnTo>
                      <a:lnTo>
                        <a:pt x="19418" y="16844"/>
                      </a:lnTo>
                      <a:lnTo>
                        <a:pt x="19690" y="16907"/>
                      </a:lnTo>
                      <a:lnTo>
                        <a:pt x="19774" y="16865"/>
                      </a:lnTo>
                      <a:lnTo>
                        <a:pt x="19857" y="16907"/>
                      </a:lnTo>
                      <a:lnTo>
                        <a:pt x="20108" y="16907"/>
                      </a:lnTo>
                      <a:lnTo>
                        <a:pt x="20234" y="16865"/>
                      </a:lnTo>
                      <a:lnTo>
                        <a:pt x="20297" y="16907"/>
                      </a:lnTo>
                      <a:lnTo>
                        <a:pt x="20297" y="16970"/>
                      </a:lnTo>
                      <a:lnTo>
                        <a:pt x="20380" y="16970"/>
                      </a:lnTo>
                      <a:lnTo>
                        <a:pt x="20443" y="17053"/>
                      </a:lnTo>
                      <a:lnTo>
                        <a:pt x="20527" y="17116"/>
                      </a:lnTo>
                      <a:lnTo>
                        <a:pt x="20548" y="17179"/>
                      </a:lnTo>
                      <a:lnTo>
                        <a:pt x="20652" y="17179"/>
                      </a:lnTo>
                      <a:lnTo>
                        <a:pt x="20820" y="17116"/>
                      </a:lnTo>
                      <a:lnTo>
                        <a:pt x="20841" y="17074"/>
                      </a:lnTo>
                      <a:lnTo>
                        <a:pt x="20904" y="17116"/>
                      </a:lnTo>
                      <a:lnTo>
                        <a:pt x="20904" y="17179"/>
                      </a:lnTo>
                      <a:lnTo>
                        <a:pt x="20820" y="17263"/>
                      </a:lnTo>
                      <a:lnTo>
                        <a:pt x="20715" y="17284"/>
                      </a:lnTo>
                      <a:lnTo>
                        <a:pt x="20736" y="17346"/>
                      </a:lnTo>
                      <a:lnTo>
                        <a:pt x="20904" y="17388"/>
                      </a:lnTo>
                      <a:lnTo>
                        <a:pt x="20924" y="17493"/>
                      </a:lnTo>
                      <a:lnTo>
                        <a:pt x="21008" y="17577"/>
                      </a:lnTo>
                      <a:lnTo>
                        <a:pt x="21176" y="17639"/>
                      </a:lnTo>
                      <a:lnTo>
                        <a:pt x="21385" y="17577"/>
                      </a:lnTo>
                      <a:lnTo>
                        <a:pt x="21468" y="17556"/>
                      </a:lnTo>
                      <a:lnTo>
                        <a:pt x="21489" y="17597"/>
                      </a:lnTo>
                      <a:lnTo>
                        <a:pt x="21573" y="17535"/>
                      </a:lnTo>
                      <a:lnTo>
                        <a:pt x="21740" y="17430"/>
                      </a:lnTo>
                      <a:lnTo>
                        <a:pt x="21782" y="17430"/>
                      </a:lnTo>
                      <a:lnTo>
                        <a:pt x="21740" y="17493"/>
                      </a:lnTo>
                      <a:lnTo>
                        <a:pt x="21636" y="17577"/>
                      </a:lnTo>
                      <a:lnTo>
                        <a:pt x="21594" y="17786"/>
                      </a:lnTo>
                      <a:lnTo>
                        <a:pt x="21552" y="17911"/>
                      </a:lnTo>
                      <a:lnTo>
                        <a:pt x="21468" y="17911"/>
                      </a:lnTo>
                      <a:lnTo>
                        <a:pt x="21343" y="17849"/>
                      </a:lnTo>
                      <a:lnTo>
                        <a:pt x="21280" y="17869"/>
                      </a:lnTo>
                      <a:lnTo>
                        <a:pt x="21364" y="17995"/>
                      </a:lnTo>
                      <a:lnTo>
                        <a:pt x="21385" y="18100"/>
                      </a:lnTo>
                      <a:lnTo>
                        <a:pt x="21468" y="18162"/>
                      </a:lnTo>
                      <a:lnTo>
                        <a:pt x="21573" y="18121"/>
                      </a:lnTo>
                      <a:lnTo>
                        <a:pt x="21657" y="18162"/>
                      </a:lnTo>
                      <a:lnTo>
                        <a:pt x="21636" y="18225"/>
                      </a:lnTo>
                      <a:lnTo>
                        <a:pt x="21552" y="18225"/>
                      </a:lnTo>
                      <a:lnTo>
                        <a:pt x="21552" y="18288"/>
                      </a:lnTo>
                      <a:lnTo>
                        <a:pt x="21720" y="18434"/>
                      </a:lnTo>
                      <a:lnTo>
                        <a:pt x="21761" y="18413"/>
                      </a:lnTo>
                      <a:lnTo>
                        <a:pt x="21887" y="18434"/>
                      </a:lnTo>
                      <a:lnTo>
                        <a:pt x="21950" y="18330"/>
                      </a:lnTo>
                      <a:lnTo>
                        <a:pt x="22075" y="18100"/>
                      </a:lnTo>
                      <a:lnTo>
                        <a:pt x="22033" y="18288"/>
                      </a:lnTo>
                      <a:lnTo>
                        <a:pt x="22033" y="18413"/>
                      </a:lnTo>
                      <a:lnTo>
                        <a:pt x="21992" y="18497"/>
                      </a:lnTo>
                      <a:lnTo>
                        <a:pt x="21950" y="18518"/>
                      </a:lnTo>
                      <a:lnTo>
                        <a:pt x="21866" y="18623"/>
                      </a:lnTo>
                      <a:lnTo>
                        <a:pt x="21887" y="18706"/>
                      </a:lnTo>
                      <a:lnTo>
                        <a:pt x="21971" y="18748"/>
                      </a:lnTo>
                      <a:lnTo>
                        <a:pt x="21929" y="18811"/>
                      </a:lnTo>
                      <a:lnTo>
                        <a:pt x="21929" y="19062"/>
                      </a:lnTo>
                      <a:lnTo>
                        <a:pt x="21971" y="19125"/>
                      </a:lnTo>
                      <a:lnTo>
                        <a:pt x="22054" y="19125"/>
                      </a:lnTo>
                      <a:lnTo>
                        <a:pt x="22033" y="19229"/>
                      </a:lnTo>
                      <a:lnTo>
                        <a:pt x="22054" y="19334"/>
                      </a:lnTo>
                      <a:lnTo>
                        <a:pt x="22243" y="19522"/>
                      </a:lnTo>
                      <a:lnTo>
                        <a:pt x="22284" y="19543"/>
                      </a:lnTo>
                      <a:lnTo>
                        <a:pt x="22284" y="19585"/>
                      </a:lnTo>
                      <a:lnTo>
                        <a:pt x="22347" y="19543"/>
                      </a:lnTo>
                      <a:lnTo>
                        <a:pt x="22389" y="19627"/>
                      </a:lnTo>
                      <a:lnTo>
                        <a:pt x="22473" y="19585"/>
                      </a:lnTo>
                      <a:lnTo>
                        <a:pt x="22452" y="19543"/>
                      </a:lnTo>
                      <a:lnTo>
                        <a:pt x="22473" y="19481"/>
                      </a:lnTo>
                      <a:lnTo>
                        <a:pt x="22515" y="19543"/>
                      </a:lnTo>
                      <a:lnTo>
                        <a:pt x="22598" y="19564"/>
                      </a:lnTo>
                      <a:lnTo>
                        <a:pt x="22661" y="19481"/>
                      </a:lnTo>
                      <a:lnTo>
                        <a:pt x="22577" y="19334"/>
                      </a:lnTo>
                      <a:lnTo>
                        <a:pt x="22515" y="19334"/>
                      </a:lnTo>
                      <a:lnTo>
                        <a:pt x="22473" y="19355"/>
                      </a:lnTo>
                      <a:lnTo>
                        <a:pt x="22452" y="19334"/>
                      </a:lnTo>
                      <a:lnTo>
                        <a:pt x="22515" y="19229"/>
                      </a:lnTo>
                      <a:lnTo>
                        <a:pt x="22515" y="19146"/>
                      </a:lnTo>
                      <a:lnTo>
                        <a:pt x="22494" y="19062"/>
                      </a:lnTo>
                      <a:lnTo>
                        <a:pt x="22410" y="19041"/>
                      </a:lnTo>
                      <a:lnTo>
                        <a:pt x="22410" y="18999"/>
                      </a:lnTo>
                      <a:lnTo>
                        <a:pt x="22473" y="18937"/>
                      </a:lnTo>
                      <a:lnTo>
                        <a:pt x="22494" y="18811"/>
                      </a:lnTo>
                      <a:lnTo>
                        <a:pt x="22577" y="18811"/>
                      </a:lnTo>
                      <a:lnTo>
                        <a:pt x="22577" y="18916"/>
                      </a:lnTo>
                      <a:lnTo>
                        <a:pt x="22598" y="18999"/>
                      </a:lnTo>
                      <a:lnTo>
                        <a:pt x="22682" y="18895"/>
                      </a:lnTo>
                      <a:lnTo>
                        <a:pt x="22703" y="18957"/>
                      </a:lnTo>
                      <a:lnTo>
                        <a:pt x="22766" y="19041"/>
                      </a:lnTo>
                      <a:lnTo>
                        <a:pt x="22703" y="19146"/>
                      </a:lnTo>
                      <a:lnTo>
                        <a:pt x="22724" y="19229"/>
                      </a:lnTo>
                      <a:lnTo>
                        <a:pt x="22787" y="19250"/>
                      </a:lnTo>
                      <a:lnTo>
                        <a:pt x="22891" y="19146"/>
                      </a:lnTo>
                      <a:lnTo>
                        <a:pt x="22933" y="19146"/>
                      </a:lnTo>
                      <a:lnTo>
                        <a:pt x="22912" y="19229"/>
                      </a:lnTo>
                      <a:lnTo>
                        <a:pt x="22828" y="19313"/>
                      </a:lnTo>
                      <a:lnTo>
                        <a:pt x="22828" y="19376"/>
                      </a:lnTo>
                      <a:lnTo>
                        <a:pt x="22870" y="19481"/>
                      </a:lnTo>
                      <a:lnTo>
                        <a:pt x="22808" y="19627"/>
                      </a:lnTo>
                      <a:lnTo>
                        <a:pt x="22828" y="19669"/>
                      </a:lnTo>
                      <a:lnTo>
                        <a:pt x="22891" y="19669"/>
                      </a:lnTo>
                      <a:lnTo>
                        <a:pt x="22891" y="19857"/>
                      </a:lnTo>
                      <a:cubicBezTo>
                        <a:pt x="22891" y="19899"/>
                        <a:pt x="22870" y="19983"/>
                        <a:pt x="22870" y="20045"/>
                      </a:cubicBezTo>
                      <a:lnTo>
                        <a:pt x="22828" y="20087"/>
                      </a:lnTo>
                      <a:lnTo>
                        <a:pt x="22808" y="20004"/>
                      </a:lnTo>
                      <a:lnTo>
                        <a:pt x="22870" y="19941"/>
                      </a:lnTo>
                      <a:lnTo>
                        <a:pt x="22870" y="19857"/>
                      </a:lnTo>
                      <a:lnTo>
                        <a:pt x="22766" y="19794"/>
                      </a:lnTo>
                      <a:lnTo>
                        <a:pt x="22598" y="19836"/>
                      </a:lnTo>
                      <a:lnTo>
                        <a:pt x="22577" y="19878"/>
                      </a:lnTo>
                      <a:lnTo>
                        <a:pt x="22515" y="19899"/>
                      </a:lnTo>
                      <a:lnTo>
                        <a:pt x="22473" y="19794"/>
                      </a:lnTo>
                      <a:lnTo>
                        <a:pt x="22410" y="19941"/>
                      </a:lnTo>
                      <a:lnTo>
                        <a:pt x="22452" y="20066"/>
                      </a:lnTo>
                      <a:lnTo>
                        <a:pt x="22515" y="20108"/>
                      </a:lnTo>
                      <a:lnTo>
                        <a:pt x="22473" y="20192"/>
                      </a:lnTo>
                      <a:lnTo>
                        <a:pt x="22410" y="20150"/>
                      </a:lnTo>
                      <a:lnTo>
                        <a:pt x="22368" y="20255"/>
                      </a:lnTo>
                      <a:lnTo>
                        <a:pt x="22452" y="20401"/>
                      </a:lnTo>
                      <a:lnTo>
                        <a:pt x="22410" y="20506"/>
                      </a:lnTo>
                      <a:lnTo>
                        <a:pt x="22494" y="20569"/>
                      </a:lnTo>
                      <a:lnTo>
                        <a:pt x="22410" y="20631"/>
                      </a:lnTo>
                      <a:lnTo>
                        <a:pt x="22515" y="20778"/>
                      </a:lnTo>
                      <a:lnTo>
                        <a:pt x="22619" y="20778"/>
                      </a:lnTo>
                      <a:lnTo>
                        <a:pt x="22703" y="20694"/>
                      </a:lnTo>
                      <a:lnTo>
                        <a:pt x="22703" y="20569"/>
                      </a:lnTo>
                      <a:lnTo>
                        <a:pt x="22619" y="20401"/>
                      </a:lnTo>
                      <a:lnTo>
                        <a:pt x="22661" y="20297"/>
                      </a:lnTo>
                      <a:lnTo>
                        <a:pt x="22787" y="20527"/>
                      </a:lnTo>
                      <a:lnTo>
                        <a:pt x="22787" y="20631"/>
                      </a:lnTo>
                      <a:lnTo>
                        <a:pt x="22787" y="20694"/>
                      </a:lnTo>
                      <a:cubicBezTo>
                        <a:pt x="22766" y="20694"/>
                        <a:pt x="22724" y="20694"/>
                        <a:pt x="22724" y="20715"/>
                      </a:cubicBezTo>
                      <a:lnTo>
                        <a:pt x="22724" y="20736"/>
                      </a:lnTo>
                      <a:lnTo>
                        <a:pt x="22682" y="20799"/>
                      </a:lnTo>
                      <a:lnTo>
                        <a:pt x="22577" y="20841"/>
                      </a:lnTo>
                      <a:lnTo>
                        <a:pt x="22598" y="20924"/>
                      </a:lnTo>
                      <a:lnTo>
                        <a:pt x="22682" y="21008"/>
                      </a:lnTo>
                      <a:lnTo>
                        <a:pt x="22598" y="21092"/>
                      </a:lnTo>
                      <a:lnTo>
                        <a:pt x="22598" y="21196"/>
                      </a:lnTo>
                      <a:lnTo>
                        <a:pt x="22536" y="21259"/>
                      </a:lnTo>
                      <a:lnTo>
                        <a:pt x="22431" y="21301"/>
                      </a:lnTo>
                      <a:lnTo>
                        <a:pt x="22431" y="21343"/>
                      </a:lnTo>
                      <a:lnTo>
                        <a:pt x="22577" y="21364"/>
                      </a:lnTo>
                      <a:lnTo>
                        <a:pt x="22536" y="21426"/>
                      </a:lnTo>
                      <a:lnTo>
                        <a:pt x="22494" y="21447"/>
                      </a:lnTo>
                      <a:lnTo>
                        <a:pt x="22494" y="21531"/>
                      </a:lnTo>
                      <a:lnTo>
                        <a:pt x="22536" y="21531"/>
                      </a:lnTo>
                      <a:lnTo>
                        <a:pt x="22619" y="21510"/>
                      </a:lnTo>
                      <a:lnTo>
                        <a:pt x="22640" y="21552"/>
                      </a:lnTo>
                      <a:lnTo>
                        <a:pt x="22598" y="21615"/>
                      </a:lnTo>
                      <a:lnTo>
                        <a:pt x="22515" y="21636"/>
                      </a:lnTo>
                      <a:lnTo>
                        <a:pt x="22473" y="21719"/>
                      </a:lnTo>
                      <a:lnTo>
                        <a:pt x="22494" y="21866"/>
                      </a:lnTo>
                      <a:lnTo>
                        <a:pt x="22536" y="21929"/>
                      </a:lnTo>
                      <a:lnTo>
                        <a:pt x="22515" y="21991"/>
                      </a:lnTo>
                      <a:lnTo>
                        <a:pt x="22536" y="22075"/>
                      </a:lnTo>
                      <a:lnTo>
                        <a:pt x="22598" y="22054"/>
                      </a:lnTo>
                      <a:lnTo>
                        <a:pt x="22619" y="21970"/>
                      </a:lnTo>
                      <a:lnTo>
                        <a:pt x="22640" y="21845"/>
                      </a:lnTo>
                      <a:lnTo>
                        <a:pt x="22703" y="21678"/>
                      </a:lnTo>
                      <a:lnTo>
                        <a:pt x="22745" y="21615"/>
                      </a:lnTo>
                      <a:lnTo>
                        <a:pt x="22787" y="21406"/>
                      </a:lnTo>
                      <a:lnTo>
                        <a:pt x="22828" y="21343"/>
                      </a:lnTo>
                      <a:lnTo>
                        <a:pt x="22844" y="21204"/>
                      </a:lnTo>
                      <a:lnTo>
                        <a:pt x="22870" y="21217"/>
                      </a:lnTo>
                      <a:cubicBezTo>
                        <a:pt x="22870" y="21301"/>
                        <a:pt x="22870" y="21364"/>
                        <a:pt x="22891" y="21447"/>
                      </a:cubicBezTo>
                      <a:lnTo>
                        <a:pt x="22870" y="21426"/>
                      </a:lnTo>
                      <a:lnTo>
                        <a:pt x="22808" y="21510"/>
                      </a:lnTo>
                      <a:lnTo>
                        <a:pt x="22808" y="21636"/>
                      </a:lnTo>
                      <a:lnTo>
                        <a:pt x="22870" y="21678"/>
                      </a:lnTo>
                      <a:lnTo>
                        <a:pt x="22787" y="21782"/>
                      </a:lnTo>
                      <a:lnTo>
                        <a:pt x="22891" y="21845"/>
                      </a:lnTo>
                      <a:lnTo>
                        <a:pt x="22891" y="21929"/>
                      </a:lnTo>
                      <a:lnTo>
                        <a:pt x="22828" y="21970"/>
                      </a:lnTo>
                      <a:lnTo>
                        <a:pt x="22766" y="21929"/>
                      </a:lnTo>
                      <a:lnTo>
                        <a:pt x="22703" y="21991"/>
                      </a:lnTo>
                      <a:lnTo>
                        <a:pt x="22703" y="22054"/>
                      </a:lnTo>
                      <a:lnTo>
                        <a:pt x="22661" y="22138"/>
                      </a:lnTo>
                      <a:lnTo>
                        <a:pt x="22619" y="22201"/>
                      </a:lnTo>
                      <a:lnTo>
                        <a:pt x="22682" y="22263"/>
                      </a:lnTo>
                      <a:lnTo>
                        <a:pt x="22766" y="22054"/>
                      </a:lnTo>
                      <a:lnTo>
                        <a:pt x="22787" y="22096"/>
                      </a:lnTo>
                      <a:lnTo>
                        <a:pt x="22724" y="22201"/>
                      </a:lnTo>
                      <a:lnTo>
                        <a:pt x="22828" y="22180"/>
                      </a:lnTo>
                      <a:lnTo>
                        <a:pt x="22891" y="22096"/>
                      </a:lnTo>
                      <a:lnTo>
                        <a:pt x="22891" y="21991"/>
                      </a:lnTo>
                      <a:lnTo>
                        <a:pt x="23017" y="21845"/>
                      </a:lnTo>
                      <a:cubicBezTo>
                        <a:pt x="23017" y="21929"/>
                        <a:pt x="23017" y="21991"/>
                        <a:pt x="23038" y="22075"/>
                      </a:cubicBezTo>
                      <a:lnTo>
                        <a:pt x="23017" y="22096"/>
                      </a:lnTo>
                      <a:lnTo>
                        <a:pt x="23080" y="22159"/>
                      </a:lnTo>
                      <a:cubicBezTo>
                        <a:pt x="23101" y="22201"/>
                        <a:pt x="23101" y="22284"/>
                        <a:pt x="23121" y="22326"/>
                      </a:cubicBezTo>
                      <a:lnTo>
                        <a:pt x="23080" y="22473"/>
                      </a:lnTo>
                      <a:lnTo>
                        <a:pt x="23080" y="22556"/>
                      </a:lnTo>
                      <a:lnTo>
                        <a:pt x="23038" y="22640"/>
                      </a:lnTo>
                      <a:lnTo>
                        <a:pt x="22933" y="22682"/>
                      </a:lnTo>
                      <a:lnTo>
                        <a:pt x="22912" y="22724"/>
                      </a:lnTo>
                      <a:lnTo>
                        <a:pt x="22933" y="22786"/>
                      </a:lnTo>
                      <a:lnTo>
                        <a:pt x="23017" y="22745"/>
                      </a:lnTo>
                      <a:lnTo>
                        <a:pt x="23101" y="22786"/>
                      </a:lnTo>
                      <a:lnTo>
                        <a:pt x="23101" y="22828"/>
                      </a:lnTo>
                      <a:lnTo>
                        <a:pt x="22996" y="22912"/>
                      </a:lnTo>
                      <a:lnTo>
                        <a:pt x="22996" y="22954"/>
                      </a:lnTo>
                      <a:lnTo>
                        <a:pt x="22975" y="23038"/>
                      </a:lnTo>
                      <a:lnTo>
                        <a:pt x="22912" y="23038"/>
                      </a:lnTo>
                      <a:lnTo>
                        <a:pt x="22870" y="23100"/>
                      </a:lnTo>
                      <a:lnTo>
                        <a:pt x="22891" y="23142"/>
                      </a:lnTo>
                      <a:lnTo>
                        <a:pt x="22975" y="23142"/>
                      </a:lnTo>
                      <a:lnTo>
                        <a:pt x="23017" y="23205"/>
                      </a:lnTo>
                      <a:lnTo>
                        <a:pt x="23038" y="23142"/>
                      </a:lnTo>
                      <a:lnTo>
                        <a:pt x="23121" y="23121"/>
                      </a:lnTo>
                      <a:lnTo>
                        <a:pt x="23184" y="23163"/>
                      </a:lnTo>
                      <a:lnTo>
                        <a:pt x="23101" y="23226"/>
                      </a:lnTo>
                      <a:lnTo>
                        <a:pt x="23080" y="23268"/>
                      </a:lnTo>
                      <a:lnTo>
                        <a:pt x="23121" y="23351"/>
                      </a:lnTo>
                      <a:lnTo>
                        <a:pt x="23038" y="23435"/>
                      </a:lnTo>
                      <a:lnTo>
                        <a:pt x="23017" y="23519"/>
                      </a:lnTo>
                      <a:lnTo>
                        <a:pt x="23121" y="23582"/>
                      </a:lnTo>
                      <a:lnTo>
                        <a:pt x="23101" y="23686"/>
                      </a:lnTo>
                      <a:lnTo>
                        <a:pt x="23142" y="23749"/>
                      </a:lnTo>
                      <a:lnTo>
                        <a:pt x="23247" y="23749"/>
                      </a:lnTo>
                      <a:lnTo>
                        <a:pt x="23310" y="23686"/>
                      </a:lnTo>
                      <a:lnTo>
                        <a:pt x="23247" y="23623"/>
                      </a:lnTo>
                      <a:lnTo>
                        <a:pt x="23310" y="23561"/>
                      </a:lnTo>
                      <a:lnTo>
                        <a:pt x="23247" y="23519"/>
                      </a:lnTo>
                      <a:lnTo>
                        <a:pt x="23205" y="23519"/>
                      </a:lnTo>
                      <a:lnTo>
                        <a:pt x="23247" y="23435"/>
                      </a:lnTo>
                      <a:lnTo>
                        <a:pt x="23331" y="23414"/>
                      </a:lnTo>
                      <a:lnTo>
                        <a:pt x="23435" y="23331"/>
                      </a:lnTo>
                      <a:lnTo>
                        <a:pt x="23435" y="23247"/>
                      </a:lnTo>
                      <a:lnTo>
                        <a:pt x="23393" y="23226"/>
                      </a:lnTo>
                      <a:lnTo>
                        <a:pt x="23310" y="23226"/>
                      </a:lnTo>
                      <a:lnTo>
                        <a:pt x="23310" y="23205"/>
                      </a:lnTo>
                      <a:lnTo>
                        <a:pt x="23414" y="23121"/>
                      </a:lnTo>
                      <a:lnTo>
                        <a:pt x="23393" y="23017"/>
                      </a:lnTo>
                      <a:lnTo>
                        <a:pt x="23247" y="22912"/>
                      </a:lnTo>
                      <a:lnTo>
                        <a:pt x="23310" y="22807"/>
                      </a:lnTo>
                      <a:lnTo>
                        <a:pt x="23331" y="22828"/>
                      </a:lnTo>
                      <a:lnTo>
                        <a:pt x="23414" y="22828"/>
                      </a:lnTo>
                      <a:lnTo>
                        <a:pt x="23414" y="22766"/>
                      </a:lnTo>
                      <a:lnTo>
                        <a:pt x="23310" y="22661"/>
                      </a:lnTo>
                      <a:lnTo>
                        <a:pt x="23373" y="22661"/>
                      </a:lnTo>
                      <a:lnTo>
                        <a:pt x="23373" y="22473"/>
                      </a:lnTo>
                      <a:lnTo>
                        <a:pt x="23247" y="22389"/>
                      </a:lnTo>
                      <a:lnTo>
                        <a:pt x="23226" y="22410"/>
                      </a:lnTo>
                      <a:lnTo>
                        <a:pt x="23142" y="22347"/>
                      </a:lnTo>
                      <a:lnTo>
                        <a:pt x="23163" y="22305"/>
                      </a:lnTo>
                      <a:lnTo>
                        <a:pt x="23163" y="22284"/>
                      </a:lnTo>
                      <a:lnTo>
                        <a:pt x="23247" y="22180"/>
                      </a:lnTo>
                      <a:lnTo>
                        <a:pt x="23205" y="22096"/>
                      </a:lnTo>
                      <a:cubicBezTo>
                        <a:pt x="23205" y="22054"/>
                        <a:pt x="23226" y="21991"/>
                        <a:pt x="23226" y="21950"/>
                      </a:cubicBezTo>
                      <a:lnTo>
                        <a:pt x="23226" y="21887"/>
                      </a:lnTo>
                      <a:lnTo>
                        <a:pt x="23268" y="21929"/>
                      </a:lnTo>
                      <a:lnTo>
                        <a:pt x="23352" y="21866"/>
                      </a:lnTo>
                      <a:lnTo>
                        <a:pt x="23310" y="21761"/>
                      </a:lnTo>
                      <a:lnTo>
                        <a:pt x="23352" y="21719"/>
                      </a:lnTo>
                      <a:lnTo>
                        <a:pt x="23352" y="21573"/>
                      </a:lnTo>
                      <a:lnTo>
                        <a:pt x="23414" y="21552"/>
                      </a:lnTo>
                      <a:lnTo>
                        <a:pt x="23435" y="21719"/>
                      </a:lnTo>
                      <a:lnTo>
                        <a:pt x="23477" y="21678"/>
                      </a:lnTo>
                      <a:lnTo>
                        <a:pt x="23519" y="21657"/>
                      </a:lnTo>
                      <a:lnTo>
                        <a:pt x="23519" y="21678"/>
                      </a:lnTo>
                      <a:lnTo>
                        <a:pt x="23519" y="21719"/>
                      </a:lnTo>
                      <a:lnTo>
                        <a:pt x="23477" y="21761"/>
                      </a:lnTo>
                      <a:lnTo>
                        <a:pt x="23477" y="21845"/>
                      </a:lnTo>
                      <a:lnTo>
                        <a:pt x="23540" y="21887"/>
                      </a:lnTo>
                      <a:lnTo>
                        <a:pt x="23665" y="21866"/>
                      </a:lnTo>
                      <a:lnTo>
                        <a:pt x="23749" y="21761"/>
                      </a:lnTo>
                      <a:lnTo>
                        <a:pt x="23728" y="21719"/>
                      </a:lnTo>
                      <a:cubicBezTo>
                        <a:pt x="23749" y="21657"/>
                        <a:pt x="23770" y="21573"/>
                        <a:pt x="23791" y="21510"/>
                      </a:cubicBezTo>
                      <a:lnTo>
                        <a:pt x="23833" y="21531"/>
                      </a:lnTo>
                      <a:lnTo>
                        <a:pt x="23854" y="21636"/>
                      </a:lnTo>
                      <a:lnTo>
                        <a:pt x="23958" y="21719"/>
                      </a:lnTo>
                      <a:lnTo>
                        <a:pt x="24000" y="21719"/>
                      </a:lnTo>
                      <a:lnTo>
                        <a:pt x="23937" y="21740"/>
                      </a:lnTo>
                      <a:lnTo>
                        <a:pt x="23854" y="21740"/>
                      </a:lnTo>
                      <a:lnTo>
                        <a:pt x="23833" y="21782"/>
                      </a:lnTo>
                      <a:cubicBezTo>
                        <a:pt x="23749" y="21824"/>
                        <a:pt x="23665" y="21866"/>
                        <a:pt x="23665" y="21970"/>
                      </a:cubicBezTo>
                      <a:cubicBezTo>
                        <a:pt x="23665" y="22054"/>
                        <a:pt x="23665" y="22096"/>
                        <a:pt x="23686" y="22180"/>
                      </a:cubicBezTo>
                      <a:lnTo>
                        <a:pt x="23665" y="22159"/>
                      </a:lnTo>
                      <a:lnTo>
                        <a:pt x="23665" y="22138"/>
                      </a:lnTo>
                      <a:lnTo>
                        <a:pt x="23645" y="22159"/>
                      </a:lnTo>
                      <a:cubicBezTo>
                        <a:pt x="23624" y="22159"/>
                        <a:pt x="23603" y="22138"/>
                        <a:pt x="23561" y="22138"/>
                      </a:cubicBezTo>
                      <a:lnTo>
                        <a:pt x="23624" y="22075"/>
                      </a:lnTo>
                      <a:lnTo>
                        <a:pt x="23645" y="21991"/>
                      </a:lnTo>
                      <a:lnTo>
                        <a:pt x="23456" y="21970"/>
                      </a:lnTo>
                      <a:lnTo>
                        <a:pt x="23352" y="22075"/>
                      </a:lnTo>
                      <a:lnTo>
                        <a:pt x="23414" y="22180"/>
                      </a:lnTo>
                      <a:lnTo>
                        <a:pt x="23435" y="22180"/>
                      </a:lnTo>
                      <a:cubicBezTo>
                        <a:pt x="23414" y="22201"/>
                        <a:pt x="23414" y="22222"/>
                        <a:pt x="23414" y="22263"/>
                      </a:cubicBezTo>
                      <a:cubicBezTo>
                        <a:pt x="23435" y="22284"/>
                        <a:pt x="23435" y="22326"/>
                        <a:pt x="23456" y="22368"/>
                      </a:cubicBezTo>
                      <a:cubicBezTo>
                        <a:pt x="23498" y="22389"/>
                        <a:pt x="23519" y="22431"/>
                        <a:pt x="23540" y="22494"/>
                      </a:cubicBezTo>
                      <a:lnTo>
                        <a:pt x="23561" y="22494"/>
                      </a:lnTo>
                      <a:cubicBezTo>
                        <a:pt x="23561" y="22494"/>
                        <a:pt x="23561" y="22514"/>
                        <a:pt x="23582" y="22514"/>
                      </a:cubicBezTo>
                      <a:cubicBezTo>
                        <a:pt x="23624" y="22577"/>
                        <a:pt x="23665" y="22577"/>
                        <a:pt x="23686" y="22598"/>
                      </a:cubicBezTo>
                      <a:lnTo>
                        <a:pt x="23665" y="22619"/>
                      </a:lnTo>
                      <a:lnTo>
                        <a:pt x="23540" y="22724"/>
                      </a:lnTo>
                      <a:lnTo>
                        <a:pt x="23540" y="22828"/>
                      </a:lnTo>
                      <a:lnTo>
                        <a:pt x="23603" y="22933"/>
                      </a:lnTo>
                      <a:lnTo>
                        <a:pt x="23728" y="22828"/>
                      </a:lnTo>
                      <a:lnTo>
                        <a:pt x="23812" y="22682"/>
                      </a:lnTo>
                      <a:lnTo>
                        <a:pt x="23812" y="22619"/>
                      </a:lnTo>
                      <a:lnTo>
                        <a:pt x="23875" y="22598"/>
                      </a:lnTo>
                      <a:lnTo>
                        <a:pt x="24021" y="22473"/>
                      </a:lnTo>
                      <a:lnTo>
                        <a:pt x="24042" y="22514"/>
                      </a:lnTo>
                      <a:lnTo>
                        <a:pt x="24251" y="22514"/>
                      </a:lnTo>
                      <a:lnTo>
                        <a:pt x="24168" y="22619"/>
                      </a:lnTo>
                      <a:lnTo>
                        <a:pt x="24189" y="22640"/>
                      </a:lnTo>
                      <a:lnTo>
                        <a:pt x="24314" y="22640"/>
                      </a:lnTo>
                      <a:lnTo>
                        <a:pt x="24314" y="22703"/>
                      </a:lnTo>
                      <a:lnTo>
                        <a:pt x="24209" y="22807"/>
                      </a:lnTo>
                      <a:cubicBezTo>
                        <a:pt x="24189" y="22807"/>
                        <a:pt x="24168" y="22828"/>
                        <a:pt x="24147" y="22828"/>
                      </a:cubicBezTo>
                      <a:lnTo>
                        <a:pt x="24168" y="22724"/>
                      </a:lnTo>
                      <a:lnTo>
                        <a:pt x="24105" y="22598"/>
                      </a:lnTo>
                      <a:lnTo>
                        <a:pt x="23979" y="22598"/>
                      </a:lnTo>
                      <a:lnTo>
                        <a:pt x="23979" y="22640"/>
                      </a:lnTo>
                      <a:lnTo>
                        <a:pt x="23875" y="22703"/>
                      </a:lnTo>
                      <a:lnTo>
                        <a:pt x="23833" y="22849"/>
                      </a:lnTo>
                      <a:lnTo>
                        <a:pt x="23833" y="22912"/>
                      </a:lnTo>
                      <a:lnTo>
                        <a:pt x="23728" y="23017"/>
                      </a:lnTo>
                      <a:lnTo>
                        <a:pt x="23749" y="23100"/>
                      </a:lnTo>
                      <a:lnTo>
                        <a:pt x="23937" y="23017"/>
                      </a:lnTo>
                      <a:cubicBezTo>
                        <a:pt x="23937" y="23038"/>
                        <a:pt x="23958" y="23038"/>
                        <a:pt x="23958" y="23038"/>
                      </a:cubicBezTo>
                      <a:lnTo>
                        <a:pt x="23854" y="23121"/>
                      </a:lnTo>
                      <a:lnTo>
                        <a:pt x="23770" y="23247"/>
                      </a:lnTo>
                      <a:lnTo>
                        <a:pt x="23833" y="23310"/>
                      </a:lnTo>
                      <a:lnTo>
                        <a:pt x="24000" y="23163"/>
                      </a:lnTo>
                      <a:lnTo>
                        <a:pt x="24063" y="23100"/>
                      </a:lnTo>
                      <a:cubicBezTo>
                        <a:pt x="24084" y="23121"/>
                        <a:pt x="24105" y="23121"/>
                        <a:pt x="24147" y="23142"/>
                      </a:cubicBezTo>
                      <a:lnTo>
                        <a:pt x="24147" y="23163"/>
                      </a:lnTo>
                      <a:lnTo>
                        <a:pt x="24168" y="23226"/>
                      </a:lnTo>
                      <a:lnTo>
                        <a:pt x="24189" y="23268"/>
                      </a:lnTo>
                      <a:lnTo>
                        <a:pt x="24000" y="23268"/>
                      </a:lnTo>
                      <a:lnTo>
                        <a:pt x="23937" y="23351"/>
                      </a:lnTo>
                      <a:lnTo>
                        <a:pt x="23937" y="23414"/>
                      </a:lnTo>
                      <a:lnTo>
                        <a:pt x="24000" y="23414"/>
                      </a:lnTo>
                      <a:lnTo>
                        <a:pt x="24063" y="23372"/>
                      </a:lnTo>
                      <a:lnTo>
                        <a:pt x="24168" y="23372"/>
                      </a:lnTo>
                      <a:lnTo>
                        <a:pt x="24168" y="23414"/>
                      </a:lnTo>
                      <a:lnTo>
                        <a:pt x="24063" y="23477"/>
                      </a:lnTo>
                      <a:lnTo>
                        <a:pt x="23937" y="23477"/>
                      </a:lnTo>
                      <a:lnTo>
                        <a:pt x="23875" y="23540"/>
                      </a:lnTo>
                      <a:lnTo>
                        <a:pt x="23854" y="23665"/>
                      </a:lnTo>
                      <a:lnTo>
                        <a:pt x="23896" y="23770"/>
                      </a:lnTo>
                      <a:lnTo>
                        <a:pt x="23979" y="23728"/>
                      </a:lnTo>
                      <a:lnTo>
                        <a:pt x="24000" y="23644"/>
                      </a:lnTo>
                      <a:lnTo>
                        <a:pt x="24084" y="23644"/>
                      </a:lnTo>
                      <a:lnTo>
                        <a:pt x="24189" y="23582"/>
                      </a:lnTo>
                      <a:lnTo>
                        <a:pt x="24314" y="23435"/>
                      </a:lnTo>
                      <a:lnTo>
                        <a:pt x="24461" y="23247"/>
                      </a:lnTo>
                      <a:lnTo>
                        <a:pt x="24502" y="23017"/>
                      </a:lnTo>
                      <a:lnTo>
                        <a:pt x="24628" y="22745"/>
                      </a:lnTo>
                      <a:lnTo>
                        <a:pt x="24691" y="22724"/>
                      </a:lnTo>
                      <a:lnTo>
                        <a:pt x="24691" y="22703"/>
                      </a:lnTo>
                      <a:lnTo>
                        <a:pt x="24691" y="22661"/>
                      </a:lnTo>
                      <a:lnTo>
                        <a:pt x="24670" y="22661"/>
                      </a:lnTo>
                      <a:lnTo>
                        <a:pt x="24712" y="22619"/>
                      </a:lnTo>
                      <a:lnTo>
                        <a:pt x="24712" y="22577"/>
                      </a:lnTo>
                      <a:lnTo>
                        <a:pt x="24753" y="22514"/>
                      </a:lnTo>
                      <a:lnTo>
                        <a:pt x="24712" y="22473"/>
                      </a:lnTo>
                      <a:lnTo>
                        <a:pt x="24670" y="22452"/>
                      </a:lnTo>
                      <a:lnTo>
                        <a:pt x="24670" y="22347"/>
                      </a:lnTo>
                      <a:lnTo>
                        <a:pt x="24607" y="22242"/>
                      </a:lnTo>
                      <a:lnTo>
                        <a:pt x="24481" y="22159"/>
                      </a:lnTo>
                      <a:lnTo>
                        <a:pt x="24398" y="22096"/>
                      </a:lnTo>
                      <a:lnTo>
                        <a:pt x="24377" y="22033"/>
                      </a:lnTo>
                      <a:lnTo>
                        <a:pt x="24272" y="21866"/>
                      </a:lnTo>
                      <a:lnTo>
                        <a:pt x="24189" y="21845"/>
                      </a:lnTo>
                      <a:lnTo>
                        <a:pt x="24084" y="21845"/>
                      </a:lnTo>
                      <a:lnTo>
                        <a:pt x="24084" y="21782"/>
                      </a:lnTo>
                      <a:lnTo>
                        <a:pt x="24126" y="21740"/>
                      </a:lnTo>
                      <a:lnTo>
                        <a:pt x="24084" y="21657"/>
                      </a:lnTo>
                      <a:lnTo>
                        <a:pt x="24042" y="21615"/>
                      </a:lnTo>
                      <a:lnTo>
                        <a:pt x="24021" y="21531"/>
                      </a:lnTo>
                      <a:lnTo>
                        <a:pt x="24063" y="21468"/>
                      </a:lnTo>
                      <a:lnTo>
                        <a:pt x="24126" y="21447"/>
                      </a:lnTo>
                      <a:lnTo>
                        <a:pt x="24084" y="21406"/>
                      </a:lnTo>
                      <a:lnTo>
                        <a:pt x="24021" y="21343"/>
                      </a:lnTo>
                      <a:lnTo>
                        <a:pt x="23958" y="21343"/>
                      </a:lnTo>
                      <a:lnTo>
                        <a:pt x="23958" y="21259"/>
                      </a:lnTo>
                      <a:lnTo>
                        <a:pt x="24063" y="21217"/>
                      </a:lnTo>
                      <a:lnTo>
                        <a:pt x="24042" y="20799"/>
                      </a:lnTo>
                      <a:lnTo>
                        <a:pt x="24042" y="20380"/>
                      </a:lnTo>
                      <a:lnTo>
                        <a:pt x="24084" y="20025"/>
                      </a:lnTo>
                      <a:lnTo>
                        <a:pt x="24063" y="19941"/>
                      </a:lnTo>
                      <a:lnTo>
                        <a:pt x="24063" y="19836"/>
                      </a:lnTo>
                      <a:lnTo>
                        <a:pt x="24126" y="19732"/>
                      </a:lnTo>
                      <a:lnTo>
                        <a:pt x="24084" y="19627"/>
                      </a:lnTo>
                      <a:lnTo>
                        <a:pt x="24042" y="19543"/>
                      </a:lnTo>
                      <a:lnTo>
                        <a:pt x="24021" y="19334"/>
                      </a:lnTo>
                      <a:lnTo>
                        <a:pt x="23875" y="19167"/>
                      </a:lnTo>
                      <a:lnTo>
                        <a:pt x="23833" y="18957"/>
                      </a:lnTo>
                      <a:lnTo>
                        <a:pt x="23854" y="18853"/>
                      </a:lnTo>
                      <a:lnTo>
                        <a:pt x="23728" y="18518"/>
                      </a:lnTo>
                      <a:lnTo>
                        <a:pt x="23749" y="18434"/>
                      </a:lnTo>
                      <a:lnTo>
                        <a:pt x="23833" y="18288"/>
                      </a:lnTo>
                      <a:lnTo>
                        <a:pt x="23812" y="18204"/>
                      </a:lnTo>
                      <a:lnTo>
                        <a:pt x="23812" y="18100"/>
                      </a:lnTo>
                      <a:lnTo>
                        <a:pt x="23665" y="17995"/>
                      </a:lnTo>
                      <a:lnTo>
                        <a:pt x="23498" y="17995"/>
                      </a:lnTo>
                      <a:lnTo>
                        <a:pt x="23289" y="18058"/>
                      </a:lnTo>
                      <a:lnTo>
                        <a:pt x="23226" y="18079"/>
                      </a:lnTo>
                      <a:lnTo>
                        <a:pt x="23017" y="18162"/>
                      </a:lnTo>
                      <a:lnTo>
                        <a:pt x="22891" y="18288"/>
                      </a:lnTo>
                      <a:lnTo>
                        <a:pt x="22724" y="18518"/>
                      </a:lnTo>
                      <a:lnTo>
                        <a:pt x="22598" y="18602"/>
                      </a:lnTo>
                      <a:lnTo>
                        <a:pt x="22410" y="18623"/>
                      </a:lnTo>
                      <a:lnTo>
                        <a:pt x="22201" y="18644"/>
                      </a:lnTo>
                      <a:lnTo>
                        <a:pt x="22159" y="18644"/>
                      </a:lnTo>
                      <a:lnTo>
                        <a:pt x="22159" y="18581"/>
                      </a:lnTo>
                      <a:lnTo>
                        <a:pt x="22264" y="18413"/>
                      </a:lnTo>
                      <a:lnTo>
                        <a:pt x="22201" y="18267"/>
                      </a:lnTo>
                      <a:lnTo>
                        <a:pt x="22054" y="17597"/>
                      </a:lnTo>
                      <a:lnTo>
                        <a:pt x="21950" y="17325"/>
                      </a:lnTo>
                      <a:lnTo>
                        <a:pt x="21887" y="17179"/>
                      </a:lnTo>
                      <a:lnTo>
                        <a:pt x="22033" y="16928"/>
                      </a:lnTo>
                      <a:lnTo>
                        <a:pt x="21740" y="16886"/>
                      </a:lnTo>
                      <a:lnTo>
                        <a:pt x="21531" y="17032"/>
                      </a:lnTo>
                      <a:lnTo>
                        <a:pt x="21406" y="16970"/>
                      </a:lnTo>
                      <a:lnTo>
                        <a:pt x="21029" y="16970"/>
                      </a:lnTo>
                      <a:lnTo>
                        <a:pt x="27704" y="4792"/>
                      </a:lnTo>
                      <a:lnTo>
                        <a:pt x="27683" y="4729"/>
                      </a:lnTo>
                      <a:lnTo>
                        <a:pt x="27536" y="4708"/>
                      </a:lnTo>
                      <a:lnTo>
                        <a:pt x="27474" y="4729"/>
                      </a:lnTo>
                      <a:lnTo>
                        <a:pt x="27411" y="4667"/>
                      </a:lnTo>
                      <a:lnTo>
                        <a:pt x="27369" y="4416"/>
                      </a:lnTo>
                      <a:lnTo>
                        <a:pt x="27306" y="4290"/>
                      </a:lnTo>
                      <a:lnTo>
                        <a:pt x="27222" y="4248"/>
                      </a:lnTo>
                      <a:lnTo>
                        <a:pt x="27202" y="4102"/>
                      </a:lnTo>
                      <a:lnTo>
                        <a:pt x="27118" y="3955"/>
                      </a:lnTo>
                      <a:lnTo>
                        <a:pt x="27076" y="3892"/>
                      </a:lnTo>
                      <a:lnTo>
                        <a:pt x="26867" y="3892"/>
                      </a:lnTo>
                      <a:lnTo>
                        <a:pt x="26846" y="3934"/>
                      </a:lnTo>
                      <a:lnTo>
                        <a:pt x="26678" y="3892"/>
                      </a:lnTo>
                      <a:lnTo>
                        <a:pt x="26532" y="3934"/>
                      </a:lnTo>
                      <a:lnTo>
                        <a:pt x="26448" y="3872"/>
                      </a:lnTo>
                      <a:lnTo>
                        <a:pt x="26386" y="3892"/>
                      </a:lnTo>
                      <a:lnTo>
                        <a:pt x="26344" y="3872"/>
                      </a:lnTo>
                      <a:lnTo>
                        <a:pt x="26323" y="3892"/>
                      </a:lnTo>
                      <a:lnTo>
                        <a:pt x="26239" y="3892"/>
                      </a:lnTo>
                      <a:lnTo>
                        <a:pt x="26239" y="3872"/>
                      </a:lnTo>
                      <a:lnTo>
                        <a:pt x="26281" y="3872"/>
                      </a:lnTo>
                      <a:lnTo>
                        <a:pt x="26281" y="3830"/>
                      </a:lnTo>
                      <a:lnTo>
                        <a:pt x="26176" y="3746"/>
                      </a:lnTo>
                      <a:lnTo>
                        <a:pt x="26114" y="3767"/>
                      </a:lnTo>
                      <a:lnTo>
                        <a:pt x="26030" y="3746"/>
                      </a:lnTo>
                      <a:lnTo>
                        <a:pt x="26051" y="3725"/>
                      </a:lnTo>
                      <a:lnTo>
                        <a:pt x="26114" y="3683"/>
                      </a:lnTo>
                      <a:lnTo>
                        <a:pt x="26051" y="3641"/>
                      </a:lnTo>
                      <a:lnTo>
                        <a:pt x="25967" y="3641"/>
                      </a:lnTo>
                      <a:lnTo>
                        <a:pt x="25904" y="3620"/>
                      </a:lnTo>
                      <a:lnTo>
                        <a:pt x="25904" y="3558"/>
                      </a:lnTo>
                      <a:lnTo>
                        <a:pt x="25821" y="3474"/>
                      </a:lnTo>
                      <a:lnTo>
                        <a:pt x="25737" y="3411"/>
                      </a:lnTo>
                      <a:lnTo>
                        <a:pt x="25716" y="3411"/>
                      </a:lnTo>
                      <a:lnTo>
                        <a:pt x="25653" y="3369"/>
                      </a:lnTo>
                      <a:lnTo>
                        <a:pt x="25611" y="3369"/>
                      </a:lnTo>
                      <a:lnTo>
                        <a:pt x="25549" y="3432"/>
                      </a:lnTo>
                      <a:lnTo>
                        <a:pt x="25549" y="3369"/>
                      </a:lnTo>
                      <a:lnTo>
                        <a:pt x="25528" y="3328"/>
                      </a:lnTo>
                      <a:lnTo>
                        <a:pt x="25444" y="3265"/>
                      </a:lnTo>
                      <a:lnTo>
                        <a:pt x="25381" y="3369"/>
                      </a:lnTo>
                      <a:lnTo>
                        <a:pt x="25318" y="3328"/>
                      </a:lnTo>
                      <a:lnTo>
                        <a:pt x="25318" y="3244"/>
                      </a:lnTo>
                      <a:lnTo>
                        <a:pt x="25381" y="3223"/>
                      </a:lnTo>
                      <a:lnTo>
                        <a:pt x="25339" y="3160"/>
                      </a:lnTo>
                      <a:lnTo>
                        <a:pt x="25277" y="3139"/>
                      </a:lnTo>
                      <a:lnTo>
                        <a:pt x="25193" y="3160"/>
                      </a:lnTo>
                      <a:lnTo>
                        <a:pt x="25193" y="3160"/>
                      </a:lnTo>
                      <a:lnTo>
                        <a:pt x="25214" y="3118"/>
                      </a:lnTo>
                      <a:lnTo>
                        <a:pt x="25214" y="3056"/>
                      </a:lnTo>
                      <a:lnTo>
                        <a:pt x="25109" y="3014"/>
                      </a:lnTo>
                      <a:lnTo>
                        <a:pt x="25025" y="2909"/>
                      </a:lnTo>
                      <a:lnTo>
                        <a:pt x="25067" y="2888"/>
                      </a:lnTo>
                      <a:lnTo>
                        <a:pt x="25025" y="2825"/>
                      </a:lnTo>
                      <a:lnTo>
                        <a:pt x="24963" y="2804"/>
                      </a:lnTo>
                      <a:lnTo>
                        <a:pt x="24900" y="2846"/>
                      </a:lnTo>
                      <a:lnTo>
                        <a:pt x="24691" y="3056"/>
                      </a:lnTo>
                      <a:lnTo>
                        <a:pt x="24461" y="3202"/>
                      </a:lnTo>
                      <a:lnTo>
                        <a:pt x="24670" y="3035"/>
                      </a:lnTo>
                      <a:lnTo>
                        <a:pt x="24795" y="2846"/>
                      </a:lnTo>
                      <a:lnTo>
                        <a:pt x="24921" y="2721"/>
                      </a:lnTo>
                      <a:lnTo>
                        <a:pt x="24963" y="2595"/>
                      </a:lnTo>
                      <a:lnTo>
                        <a:pt x="24879" y="2532"/>
                      </a:lnTo>
                      <a:lnTo>
                        <a:pt x="24712" y="2428"/>
                      </a:lnTo>
                      <a:lnTo>
                        <a:pt x="24586" y="2428"/>
                      </a:lnTo>
                      <a:lnTo>
                        <a:pt x="24440" y="2491"/>
                      </a:lnTo>
                      <a:lnTo>
                        <a:pt x="24356" y="2491"/>
                      </a:lnTo>
                      <a:lnTo>
                        <a:pt x="24293" y="2512"/>
                      </a:lnTo>
                      <a:lnTo>
                        <a:pt x="24147" y="2532"/>
                      </a:lnTo>
                      <a:lnTo>
                        <a:pt x="23979" y="2721"/>
                      </a:lnTo>
                      <a:lnTo>
                        <a:pt x="23854" y="2825"/>
                      </a:lnTo>
                      <a:lnTo>
                        <a:pt x="23854" y="2825"/>
                      </a:lnTo>
                      <a:lnTo>
                        <a:pt x="23958" y="2700"/>
                      </a:lnTo>
                      <a:lnTo>
                        <a:pt x="23937" y="2532"/>
                      </a:lnTo>
                      <a:lnTo>
                        <a:pt x="23958" y="2407"/>
                      </a:lnTo>
                      <a:lnTo>
                        <a:pt x="23958" y="2302"/>
                      </a:lnTo>
                      <a:lnTo>
                        <a:pt x="23770" y="2198"/>
                      </a:lnTo>
                      <a:lnTo>
                        <a:pt x="23770" y="2156"/>
                      </a:lnTo>
                      <a:lnTo>
                        <a:pt x="23875" y="2093"/>
                      </a:lnTo>
                      <a:lnTo>
                        <a:pt x="23979" y="2093"/>
                      </a:lnTo>
                      <a:lnTo>
                        <a:pt x="23979" y="2051"/>
                      </a:lnTo>
                      <a:lnTo>
                        <a:pt x="23707" y="1884"/>
                      </a:lnTo>
                      <a:lnTo>
                        <a:pt x="23665" y="1800"/>
                      </a:lnTo>
                      <a:lnTo>
                        <a:pt x="23728" y="1737"/>
                      </a:lnTo>
                      <a:lnTo>
                        <a:pt x="23875" y="1654"/>
                      </a:lnTo>
                      <a:lnTo>
                        <a:pt x="23958" y="1570"/>
                      </a:lnTo>
                      <a:lnTo>
                        <a:pt x="23917" y="1486"/>
                      </a:lnTo>
                      <a:lnTo>
                        <a:pt x="23854" y="1361"/>
                      </a:lnTo>
                      <a:lnTo>
                        <a:pt x="23812" y="1361"/>
                      </a:lnTo>
                      <a:lnTo>
                        <a:pt x="23749" y="1382"/>
                      </a:lnTo>
                      <a:lnTo>
                        <a:pt x="23707" y="1319"/>
                      </a:lnTo>
                      <a:lnTo>
                        <a:pt x="23624" y="1256"/>
                      </a:lnTo>
                      <a:lnTo>
                        <a:pt x="23519" y="1256"/>
                      </a:lnTo>
                      <a:lnTo>
                        <a:pt x="23393" y="1214"/>
                      </a:lnTo>
                      <a:lnTo>
                        <a:pt x="23331" y="1172"/>
                      </a:lnTo>
                      <a:lnTo>
                        <a:pt x="23247" y="1214"/>
                      </a:lnTo>
                      <a:lnTo>
                        <a:pt x="23121" y="1214"/>
                      </a:lnTo>
                      <a:lnTo>
                        <a:pt x="23080" y="1319"/>
                      </a:lnTo>
                      <a:lnTo>
                        <a:pt x="23080" y="1361"/>
                      </a:lnTo>
                      <a:lnTo>
                        <a:pt x="22996" y="1256"/>
                      </a:lnTo>
                      <a:lnTo>
                        <a:pt x="23038" y="1151"/>
                      </a:lnTo>
                      <a:lnTo>
                        <a:pt x="23101" y="1131"/>
                      </a:lnTo>
                      <a:lnTo>
                        <a:pt x="23101" y="1026"/>
                      </a:lnTo>
                      <a:lnTo>
                        <a:pt x="23142" y="942"/>
                      </a:lnTo>
                      <a:lnTo>
                        <a:pt x="23205" y="921"/>
                      </a:lnTo>
                      <a:lnTo>
                        <a:pt x="23205" y="817"/>
                      </a:lnTo>
                      <a:lnTo>
                        <a:pt x="23226" y="712"/>
                      </a:lnTo>
                      <a:lnTo>
                        <a:pt x="23205" y="649"/>
                      </a:lnTo>
                      <a:lnTo>
                        <a:pt x="23184" y="649"/>
                      </a:lnTo>
                      <a:lnTo>
                        <a:pt x="23038" y="796"/>
                      </a:lnTo>
                      <a:lnTo>
                        <a:pt x="23017" y="900"/>
                      </a:lnTo>
                      <a:lnTo>
                        <a:pt x="22996" y="900"/>
                      </a:lnTo>
                      <a:lnTo>
                        <a:pt x="22912" y="838"/>
                      </a:lnTo>
                      <a:lnTo>
                        <a:pt x="22808" y="900"/>
                      </a:lnTo>
                      <a:lnTo>
                        <a:pt x="22787" y="942"/>
                      </a:lnTo>
                      <a:lnTo>
                        <a:pt x="22808" y="1047"/>
                      </a:lnTo>
                      <a:lnTo>
                        <a:pt x="22724" y="1131"/>
                      </a:lnTo>
                      <a:lnTo>
                        <a:pt x="22682" y="1131"/>
                      </a:lnTo>
                      <a:lnTo>
                        <a:pt x="22661" y="1068"/>
                      </a:lnTo>
                      <a:lnTo>
                        <a:pt x="22598" y="1214"/>
                      </a:lnTo>
                      <a:lnTo>
                        <a:pt x="22598" y="1319"/>
                      </a:lnTo>
                      <a:lnTo>
                        <a:pt x="22556" y="1172"/>
                      </a:lnTo>
                      <a:lnTo>
                        <a:pt x="22556" y="1047"/>
                      </a:lnTo>
                      <a:lnTo>
                        <a:pt x="22598" y="942"/>
                      </a:lnTo>
                      <a:lnTo>
                        <a:pt x="22556" y="921"/>
                      </a:lnTo>
                      <a:lnTo>
                        <a:pt x="22473" y="1005"/>
                      </a:lnTo>
                      <a:lnTo>
                        <a:pt x="22452" y="1068"/>
                      </a:lnTo>
                      <a:lnTo>
                        <a:pt x="22368" y="1110"/>
                      </a:lnTo>
                      <a:lnTo>
                        <a:pt x="22410" y="921"/>
                      </a:lnTo>
                      <a:lnTo>
                        <a:pt x="22368" y="817"/>
                      </a:lnTo>
                      <a:lnTo>
                        <a:pt x="22264" y="817"/>
                      </a:lnTo>
                      <a:lnTo>
                        <a:pt x="22284" y="733"/>
                      </a:lnTo>
                      <a:lnTo>
                        <a:pt x="22410" y="628"/>
                      </a:lnTo>
                      <a:lnTo>
                        <a:pt x="22515" y="607"/>
                      </a:lnTo>
                      <a:lnTo>
                        <a:pt x="22661" y="712"/>
                      </a:lnTo>
                      <a:lnTo>
                        <a:pt x="22808" y="628"/>
                      </a:lnTo>
                      <a:lnTo>
                        <a:pt x="22912" y="607"/>
                      </a:lnTo>
                      <a:lnTo>
                        <a:pt x="23017" y="503"/>
                      </a:lnTo>
                      <a:lnTo>
                        <a:pt x="23017" y="440"/>
                      </a:lnTo>
                      <a:lnTo>
                        <a:pt x="23038" y="398"/>
                      </a:lnTo>
                      <a:lnTo>
                        <a:pt x="23017" y="335"/>
                      </a:lnTo>
                      <a:lnTo>
                        <a:pt x="22891" y="294"/>
                      </a:lnTo>
                      <a:lnTo>
                        <a:pt x="22828" y="294"/>
                      </a:lnTo>
                      <a:lnTo>
                        <a:pt x="22828" y="189"/>
                      </a:lnTo>
                      <a:lnTo>
                        <a:pt x="22787" y="126"/>
                      </a:lnTo>
                      <a:lnTo>
                        <a:pt x="22766" y="105"/>
                      </a:lnTo>
                      <a:lnTo>
                        <a:pt x="22787" y="84"/>
                      </a:lnTo>
                      <a:lnTo>
                        <a:pt x="22828" y="63"/>
                      </a:lnTo>
                      <a:lnTo>
                        <a:pt x="22870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56" name="Google Shape;756;p34"/>
                <p:cNvSpPr/>
                <p:nvPr/>
              </p:nvSpPr>
              <p:spPr>
                <a:xfrm>
                  <a:off x="1979950" y="2384350"/>
                  <a:ext cx="816050" cy="481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642" h="19251" extrusionOk="0">
                      <a:moveTo>
                        <a:pt x="2846" y="1"/>
                      </a:moveTo>
                      <a:lnTo>
                        <a:pt x="2909" y="210"/>
                      </a:lnTo>
                      <a:lnTo>
                        <a:pt x="3035" y="273"/>
                      </a:lnTo>
                      <a:lnTo>
                        <a:pt x="2993" y="356"/>
                      </a:lnTo>
                      <a:lnTo>
                        <a:pt x="2909" y="440"/>
                      </a:lnTo>
                      <a:lnTo>
                        <a:pt x="2930" y="545"/>
                      </a:lnTo>
                      <a:lnTo>
                        <a:pt x="2993" y="586"/>
                      </a:lnTo>
                      <a:lnTo>
                        <a:pt x="2972" y="649"/>
                      </a:lnTo>
                      <a:lnTo>
                        <a:pt x="2909" y="733"/>
                      </a:lnTo>
                      <a:lnTo>
                        <a:pt x="2951" y="775"/>
                      </a:lnTo>
                      <a:lnTo>
                        <a:pt x="2951" y="858"/>
                      </a:lnTo>
                      <a:lnTo>
                        <a:pt x="2993" y="900"/>
                      </a:lnTo>
                      <a:lnTo>
                        <a:pt x="2909" y="1047"/>
                      </a:lnTo>
                      <a:lnTo>
                        <a:pt x="2825" y="1089"/>
                      </a:lnTo>
                      <a:lnTo>
                        <a:pt x="2763" y="1256"/>
                      </a:lnTo>
                      <a:lnTo>
                        <a:pt x="2721" y="1298"/>
                      </a:lnTo>
                      <a:lnTo>
                        <a:pt x="2721" y="1423"/>
                      </a:lnTo>
                      <a:lnTo>
                        <a:pt x="2637" y="1486"/>
                      </a:lnTo>
                      <a:lnTo>
                        <a:pt x="2616" y="1591"/>
                      </a:lnTo>
                      <a:lnTo>
                        <a:pt x="2470" y="1674"/>
                      </a:lnTo>
                      <a:lnTo>
                        <a:pt x="2386" y="1633"/>
                      </a:lnTo>
                      <a:lnTo>
                        <a:pt x="2344" y="1570"/>
                      </a:lnTo>
                      <a:lnTo>
                        <a:pt x="2428" y="1465"/>
                      </a:lnTo>
                      <a:lnTo>
                        <a:pt x="2449" y="1507"/>
                      </a:lnTo>
                      <a:lnTo>
                        <a:pt x="2532" y="1465"/>
                      </a:lnTo>
                      <a:lnTo>
                        <a:pt x="2553" y="1528"/>
                      </a:lnTo>
                      <a:lnTo>
                        <a:pt x="2595" y="1486"/>
                      </a:lnTo>
                      <a:lnTo>
                        <a:pt x="2595" y="1361"/>
                      </a:lnTo>
                      <a:lnTo>
                        <a:pt x="2658" y="1214"/>
                      </a:lnTo>
                      <a:lnTo>
                        <a:pt x="2742" y="1151"/>
                      </a:lnTo>
                      <a:lnTo>
                        <a:pt x="2742" y="1047"/>
                      </a:lnTo>
                      <a:lnTo>
                        <a:pt x="2700" y="1068"/>
                      </a:lnTo>
                      <a:lnTo>
                        <a:pt x="2553" y="1172"/>
                      </a:lnTo>
                      <a:lnTo>
                        <a:pt x="2512" y="1214"/>
                      </a:lnTo>
                      <a:lnTo>
                        <a:pt x="2428" y="1214"/>
                      </a:lnTo>
                      <a:lnTo>
                        <a:pt x="2428" y="1172"/>
                      </a:lnTo>
                      <a:lnTo>
                        <a:pt x="2532" y="1068"/>
                      </a:lnTo>
                      <a:lnTo>
                        <a:pt x="2658" y="1005"/>
                      </a:lnTo>
                      <a:lnTo>
                        <a:pt x="2700" y="963"/>
                      </a:lnTo>
                      <a:lnTo>
                        <a:pt x="2658" y="879"/>
                      </a:lnTo>
                      <a:lnTo>
                        <a:pt x="2616" y="879"/>
                      </a:lnTo>
                      <a:lnTo>
                        <a:pt x="2532" y="900"/>
                      </a:lnTo>
                      <a:lnTo>
                        <a:pt x="2470" y="796"/>
                      </a:lnTo>
                      <a:lnTo>
                        <a:pt x="2407" y="754"/>
                      </a:lnTo>
                      <a:lnTo>
                        <a:pt x="2135" y="754"/>
                      </a:lnTo>
                      <a:lnTo>
                        <a:pt x="2009" y="649"/>
                      </a:lnTo>
                      <a:lnTo>
                        <a:pt x="1716" y="419"/>
                      </a:lnTo>
                      <a:lnTo>
                        <a:pt x="1696" y="440"/>
                      </a:lnTo>
                      <a:lnTo>
                        <a:pt x="1675" y="545"/>
                      </a:lnTo>
                      <a:lnTo>
                        <a:pt x="1591" y="754"/>
                      </a:lnTo>
                      <a:lnTo>
                        <a:pt x="1591" y="858"/>
                      </a:lnTo>
                      <a:lnTo>
                        <a:pt x="1654" y="1068"/>
                      </a:lnTo>
                      <a:lnTo>
                        <a:pt x="1591" y="1382"/>
                      </a:lnTo>
                      <a:lnTo>
                        <a:pt x="1612" y="1507"/>
                      </a:lnTo>
                      <a:lnTo>
                        <a:pt x="1591" y="1674"/>
                      </a:lnTo>
                      <a:lnTo>
                        <a:pt x="1612" y="1737"/>
                      </a:lnTo>
                      <a:lnTo>
                        <a:pt x="1675" y="1737"/>
                      </a:lnTo>
                      <a:lnTo>
                        <a:pt x="1696" y="1800"/>
                      </a:lnTo>
                      <a:lnTo>
                        <a:pt x="1654" y="1884"/>
                      </a:lnTo>
                      <a:lnTo>
                        <a:pt x="1591" y="1884"/>
                      </a:lnTo>
                      <a:lnTo>
                        <a:pt x="1570" y="1946"/>
                      </a:lnTo>
                      <a:lnTo>
                        <a:pt x="1591" y="2009"/>
                      </a:lnTo>
                      <a:lnTo>
                        <a:pt x="1696" y="2030"/>
                      </a:lnTo>
                      <a:lnTo>
                        <a:pt x="1654" y="2135"/>
                      </a:lnTo>
                      <a:lnTo>
                        <a:pt x="1654" y="2239"/>
                      </a:lnTo>
                      <a:lnTo>
                        <a:pt x="1591" y="2323"/>
                      </a:lnTo>
                      <a:lnTo>
                        <a:pt x="1549" y="2302"/>
                      </a:lnTo>
                      <a:lnTo>
                        <a:pt x="1507" y="2344"/>
                      </a:lnTo>
                      <a:lnTo>
                        <a:pt x="1507" y="2428"/>
                      </a:lnTo>
                      <a:lnTo>
                        <a:pt x="1675" y="2449"/>
                      </a:lnTo>
                      <a:lnTo>
                        <a:pt x="1821" y="2470"/>
                      </a:lnTo>
                      <a:lnTo>
                        <a:pt x="1926" y="2553"/>
                      </a:lnTo>
                      <a:lnTo>
                        <a:pt x="2072" y="2553"/>
                      </a:lnTo>
                      <a:lnTo>
                        <a:pt x="2114" y="2637"/>
                      </a:lnTo>
                      <a:lnTo>
                        <a:pt x="2135" y="2783"/>
                      </a:lnTo>
                      <a:lnTo>
                        <a:pt x="2093" y="2658"/>
                      </a:lnTo>
                      <a:lnTo>
                        <a:pt x="1988" y="2574"/>
                      </a:lnTo>
                      <a:lnTo>
                        <a:pt x="1905" y="2616"/>
                      </a:lnTo>
                      <a:lnTo>
                        <a:pt x="1821" y="2553"/>
                      </a:lnTo>
                      <a:lnTo>
                        <a:pt x="1612" y="2532"/>
                      </a:lnTo>
                      <a:lnTo>
                        <a:pt x="1570" y="2470"/>
                      </a:lnTo>
                      <a:lnTo>
                        <a:pt x="1507" y="2511"/>
                      </a:lnTo>
                      <a:lnTo>
                        <a:pt x="1507" y="2616"/>
                      </a:lnTo>
                      <a:lnTo>
                        <a:pt x="1403" y="2763"/>
                      </a:lnTo>
                      <a:lnTo>
                        <a:pt x="1403" y="2846"/>
                      </a:lnTo>
                      <a:lnTo>
                        <a:pt x="1403" y="2930"/>
                      </a:lnTo>
                      <a:lnTo>
                        <a:pt x="1340" y="3076"/>
                      </a:lnTo>
                      <a:lnTo>
                        <a:pt x="1277" y="3202"/>
                      </a:lnTo>
                      <a:lnTo>
                        <a:pt x="1131" y="3558"/>
                      </a:lnTo>
                      <a:lnTo>
                        <a:pt x="1089" y="3809"/>
                      </a:lnTo>
                      <a:lnTo>
                        <a:pt x="942" y="4102"/>
                      </a:lnTo>
                      <a:lnTo>
                        <a:pt x="921" y="4415"/>
                      </a:lnTo>
                      <a:lnTo>
                        <a:pt x="838" y="4541"/>
                      </a:lnTo>
                      <a:lnTo>
                        <a:pt x="733" y="4667"/>
                      </a:lnTo>
                      <a:lnTo>
                        <a:pt x="649" y="4855"/>
                      </a:lnTo>
                      <a:lnTo>
                        <a:pt x="608" y="4939"/>
                      </a:lnTo>
                      <a:lnTo>
                        <a:pt x="566" y="5043"/>
                      </a:lnTo>
                      <a:lnTo>
                        <a:pt x="419" y="5231"/>
                      </a:lnTo>
                      <a:lnTo>
                        <a:pt x="356" y="5336"/>
                      </a:lnTo>
                      <a:lnTo>
                        <a:pt x="398" y="5566"/>
                      </a:lnTo>
                      <a:lnTo>
                        <a:pt x="336" y="5776"/>
                      </a:lnTo>
                      <a:lnTo>
                        <a:pt x="336" y="5922"/>
                      </a:lnTo>
                      <a:lnTo>
                        <a:pt x="419" y="6027"/>
                      </a:lnTo>
                      <a:lnTo>
                        <a:pt x="356" y="6110"/>
                      </a:lnTo>
                      <a:lnTo>
                        <a:pt x="336" y="6194"/>
                      </a:lnTo>
                      <a:lnTo>
                        <a:pt x="398" y="6340"/>
                      </a:lnTo>
                      <a:lnTo>
                        <a:pt x="356" y="6592"/>
                      </a:lnTo>
                      <a:lnTo>
                        <a:pt x="315" y="6717"/>
                      </a:lnTo>
                      <a:lnTo>
                        <a:pt x="231" y="6759"/>
                      </a:lnTo>
                      <a:lnTo>
                        <a:pt x="252" y="6843"/>
                      </a:lnTo>
                      <a:lnTo>
                        <a:pt x="294" y="6864"/>
                      </a:lnTo>
                      <a:lnTo>
                        <a:pt x="231" y="7031"/>
                      </a:lnTo>
                      <a:lnTo>
                        <a:pt x="84" y="7136"/>
                      </a:lnTo>
                      <a:lnTo>
                        <a:pt x="1" y="7261"/>
                      </a:lnTo>
                      <a:lnTo>
                        <a:pt x="1" y="7387"/>
                      </a:lnTo>
                      <a:lnTo>
                        <a:pt x="105" y="7554"/>
                      </a:lnTo>
                      <a:lnTo>
                        <a:pt x="210" y="7763"/>
                      </a:lnTo>
                      <a:lnTo>
                        <a:pt x="210" y="7993"/>
                      </a:lnTo>
                      <a:lnTo>
                        <a:pt x="189" y="8119"/>
                      </a:lnTo>
                      <a:lnTo>
                        <a:pt x="126" y="8203"/>
                      </a:lnTo>
                      <a:lnTo>
                        <a:pt x="126" y="8286"/>
                      </a:lnTo>
                      <a:lnTo>
                        <a:pt x="147" y="8370"/>
                      </a:lnTo>
                      <a:lnTo>
                        <a:pt x="189" y="8496"/>
                      </a:lnTo>
                      <a:lnTo>
                        <a:pt x="126" y="8579"/>
                      </a:lnTo>
                      <a:lnTo>
                        <a:pt x="105" y="8642"/>
                      </a:lnTo>
                      <a:lnTo>
                        <a:pt x="126" y="8726"/>
                      </a:lnTo>
                      <a:lnTo>
                        <a:pt x="356" y="9102"/>
                      </a:lnTo>
                      <a:lnTo>
                        <a:pt x="398" y="9207"/>
                      </a:lnTo>
                      <a:lnTo>
                        <a:pt x="356" y="9270"/>
                      </a:lnTo>
                      <a:lnTo>
                        <a:pt x="398" y="9353"/>
                      </a:lnTo>
                      <a:lnTo>
                        <a:pt x="524" y="9479"/>
                      </a:lnTo>
                      <a:lnTo>
                        <a:pt x="545" y="9542"/>
                      </a:lnTo>
                      <a:lnTo>
                        <a:pt x="628" y="9542"/>
                      </a:lnTo>
                      <a:lnTo>
                        <a:pt x="628" y="9437"/>
                      </a:lnTo>
                      <a:lnTo>
                        <a:pt x="628" y="9312"/>
                      </a:lnTo>
                      <a:lnTo>
                        <a:pt x="712" y="9333"/>
                      </a:lnTo>
                      <a:lnTo>
                        <a:pt x="733" y="9312"/>
                      </a:lnTo>
                      <a:lnTo>
                        <a:pt x="733" y="9353"/>
                      </a:lnTo>
                      <a:lnTo>
                        <a:pt x="838" y="9353"/>
                      </a:lnTo>
                      <a:lnTo>
                        <a:pt x="859" y="9416"/>
                      </a:lnTo>
                      <a:lnTo>
                        <a:pt x="984" y="9437"/>
                      </a:lnTo>
                      <a:lnTo>
                        <a:pt x="880" y="9437"/>
                      </a:lnTo>
                      <a:lnTo>
                        <a:pt x="817" y="9479"/>
                      </a:lnTo>
                      <a:lnTo>
                        <a:pt x="754" y="9437"/>
                      </a:lnTo>
                      <a:lnTo>
                        <a:pt x="712" y="9437"/>
                      </a:lnTo>
                      <a:lnTo>
                        <a:pt x="712" y="9521"/>
                      </a:lnTo>
                      <a:lnTo>
                        <a:pt x="754" y="9542"/>
                      </a:lnTo>
                      <a:lnTo>
                        <a:pt x="754" y="9688"/>
                      </a:lnTo>
                      <a:lnTo>
                        <a:pt x="817" y="9793"/>
                      </a:lnTo>
                      <a:lnTo>
                        <a:pt x="838" y="9835"/>
                      </a:lnTo>
                      <a:lnTo>
                        <a:pt x="733" y="9793"/>
                      </a:lnTo>
                      <a:lnTo>
                        <a:pt x="670" y="9688"/>
                      </a:lnTo>
                      <a:lnTo>
                        <a:pt x="649" y="9646"/>
                      </a:lnTo>
                      <a:lnTo>
                        <a:pt x="608" y="9688"/>
                      </a:lnTo>
                      <a:lnTo>
                        <a:pt x="608" y="9772"/>
                      </a:lnTo>
                      <a:lnTo>
                        <a:pt x="545" y="9835"/>
                      </a:lnTo>
                      <a:lnTo>
                        <a:pt x="566" y="9877"/>
                      </a:lnTo>
                      <a:lnTo>
                        <a:pt x="545" y="9981"/>
                      </a:lnTo>
                      <a:lnTo>
                        <a:pt x="545" y="10086"/>
                      </a:lnTo>
                      <a:lnTo>
                        <a:pt x="608" y="10107"/>
                      </a:lnTo>
                      <a:lnTo>
                        <a:pt x="628" y="10211"/>
                      </a:lnTo>
                      <a:lnTo>
                        <a:pt x="733" y="10274"/>
                      </a:lnTo>
                      <a:lnTo>
                        <a:pt x="775" y="10358"/>
                      </a:lnTo>
                      <a:lnTo>
                        <a:pt x="775" y="10421"/>
                      </a:lnTo>
                      <a:lnTo>
                        <a:pt x="712" y="10504"/>
                      </a:lnTo>
                      <a:lnTo>
                        <a:pt x="649" y="10504"/>
                      </a:lnTo>
                      <a:lnTo>
                        <a:pt x="649" y="10567"/>
                      </a:lnTo>
                      <a:lnTo>
                        <a:pt x="670" y="10672"/>
                      </a:lnTo>
                      <a:lnTo>
                        <a:pt x="670" y="10797"/>
                      </a:lnTo>
                      <a:lnTo>
                        <a:pt x="712" y="10839"/>
                      </a:lnTo>
                      <a:lnTo>
                        <a:pt x="775" y="10923"/>
                      </a:lnTo>
                      <a:lnTo>
                        <a:pt x="817" y="11111"/>
                      </a:lnTo>
                      <a:lnTo>
                        <a:pt x="942" y="11362"/>
                      </a:lnTo>
                      <a:lnTo>
                        <a:pt x="1026" y="11509"/>
                      </a:lnTo>
                      <a:lnTo>
                        <a:pt x="1068" y="11530"/>
                      </a:lnTo>
                      <a:lnTo>
                        <a:pt x="1047" y="11571"/>
                      </a:lnTo>
                      <a:lnTo>
                        <a:pt x="1047" y="11613"/>
                      </a:lnTo>
                      <a:lnTo>
                        <a:pt x="1152" y="11718"/>
                      </a:lnTo>
                      <a:lnTo>
                        <a:pt x="1172" y="11843"/>
                      </a:lnTo>
                      <a:lnTo>
                        <a:pt x="1152" y="11990"/>
                      </a:lnTo>
                      <a:lnTo>
                        <a:pt x="1131" y="12094"/>
                      </a:lnTo>
                      <a:lnTo>
                        <a:pt x="1089" y="12136"/>
                      </a:lnTo>
                      <a:lnTo>
                        <a:pt x="1131" y="12199"/>
                      </a:lnTo>
                      <a:lnTo>
                        <a:pt x="1172" y="12262"/>
                      </a:lnTo>
                      <a:lnTo>
                        <a:pt x="1382" y="12262"/>
                      </a:lnTo>
                      <a:lnTo>
                        <a:pt x="1486" y="12283"/>
                      </a:lnTo>
                      <a:lnTo>
                        <a:pt x="1591" y="12346"/>
                      </a:lnTo>
                      <a:lnTo>
                        <a:pt x="1675" y="12366"/>
                      </a:lnTo>
                      <a:lnTo>
                        <a:pt x="1821" y="12366"/>
                      </a:lnTo>
                      <a:lnTo>
                        <a:pt x="1884" y="12450"/>
                      </a:lnTo>
                      <a:lnTo>
                        <a:pt x="1884" y="12555"/>
                      </a:lnTo>
                      <a:lnTo>
                        <a:pt x="2030" y="12618"/>
                      </a:lnTo>
                      <a:lnTo>
                        <a:pt x="2135" y="12618"/>
                      </a:lnTo>
                      <a:lnTo>
                        <a:pt x="2281" y="12680"/>
                      </a:lnTo>
                      <a:lnTo>
                        <a:pt x="2302" y="12722"/>
                      </a:lnTo>
                      <a:lnTo>
                        <a:pt x="2302" y="12827"/>
                      </a:lnTo>
                      <a:lnTo>
                        <a:pt x="2344" y="12869"/>
                      </a:lnTo>
                      <a:lnTo>
                        <a:pt x="2407" y="12827"/>
                      </a:lnTo>
                      <a:lnTo>
                        <a:pt x="2470" y="12827"/>
                      </a:lnTo>
                      <a:lnTo>
                        <a:pt x="2616" y="12973"/>
                      </a:lnTo>
                      <a:lnTo>
                        <a:pt x="2805" y="13245"/>
                      </a:lnTo>
                      <a:lnTo>
                        <a:pt x="2825" y="13434"/>
                      </a:lnTo>
                      <a:lnTo>
                        <a:pt x="2805" y="13559"/>
                      </a:lnTo>
                      <a:lnTo>
                        <a:pt x="2805" y="13664"/>
                      </a:lnTo>
                      <a:lnTo>
                        <a:pt x="4185" y="13643"/>
                      </a:lnTo>
                      <a:lnTo>
                        <a:pt x="4206" y="13706"/>
                      </a:lnTo>
                      <a:lnTo>
                        <a:pt x="4206" y="13747"/>
                      </a:lnTo>
                      <a:lnTo>
                        <a:pt x="6131" y="14647"/>
                      </a:lnTo>
                      <a:lnTo>
                        <a:pt x="7784" y="14689"/>
                      </a:lnTo>
                      <a:lnTo>
                        <a:pt x="7826" y="14480"/>
                      </a:lnTo>
                      <a:lnTo>
                        <a:pt x="8747" y="14501"/>
                      </a:lnTo>
                      <a:lnTo>
                        <a:pt x="8872" y="14584"/>
                      </a:lnTo>
                      <a:lnTo>
                        <a:pt x="8935" y="14710"/>
                      </a:lnTo>
                      <a:lnTo>
                        <a:pt x="8998" y="14773"/>
                      </a:lnTo>
                      <a:lnTo>
                        <a:pt x="9019" y="14815"/>
                      </a:lnTo>
                      <a:lnTo>
                        <a:pt x="9082" y="14815"/>
                      </a:lnTo>
                      <a:lnTo>
                        <a:pt x="9123" y="14898"/>
                      </a:lnTo>
                      <a:lnTo>
                        <a:pt x="9103" y="14961"/>
                      </a:lnTo>
                      <a:lnTo>
                        <a:pt x="9207" y="14982"/>
                      </a:lnTo>
                      <a:lnTo>
                        <a:pt x="9270" y="15066"/>
                      </a:lnTo>
                      <a:lnTo>
                        <a:pt x="9270" y="15107"/>
                      </a:lnTo>
                      <a:lnTo>
                        <a:pt x="9228" y="15170"/>
                      </a:lnTo>
                      <a:lnTo>
                        <a:pt x="9312" y="15191"/>
                      </a:lnTo>
                      <a:lnTo>
                        <a:pt x="9395" y="15233"/>
                      </a:lnTo>
                      <a:lnTo>
                        <a:pt x="9437" y="15317"/>
                      </a:lnTo>
                      <a:lnTo>
                        <a:pt x="9458" y="15442"/>
                      </a:lnTo>
                      <a:lnTo>
                        <a:pt x="9500" y="15484"/>
                      </a:lnTo>
                      <a:lnTo>
                        <a:pt x="9521" y="15505"/>
                      </a:lnTo>
                      <a:lnTo>
                        <a:pt x="9542" y="15526"/>
                      </a:lnTo>
                      <a:lnTo>
                        <a:pt x="9626" y="15610"/>
                      </a:lnTo>
                      <a:lnTo>
                        <a:pt x="9626" y="15693"/>
                      </a:lnTo>
                      <a:lnTo>
                        <a:pt x="9605" y="15714"/>
                      </a:lnTo>
                      <a:lnTo>
                        <a:pt x="9521" y="15735"/>
                      </a:lnTo>
                      <a:lnTo>
                        <a:pt x="9521" y="15756"/>
                      </a:lnTo>
                      <a:lnTo>
                        <a:pt x="9626" y="15903"/>
                      </a:lnTo>
                      <a:lnTo>
                        <a:pt x="9709" y="15965"/>
                      </a:lnTo>
                      <a:lnTo>
                        <a:pt x="9730" y="16070"/>
                      </a:lnTo>
                      <a:lnTo>
                        <a:pt x="9730" y="16112"/>
                      </a:lnTo>
                      <a:lnTo>
                        <a:pt x="9751" y="16112"/>
                      </a:lnTo>
                      <a:lnTo>
                        <a:pt x="9793" y="16133"/>
                      </a:lnTo>
                      <a:lnTo>
                        <a:pt x="9835" y="16133"/>
                      </a:lnTo>
                      <a:lnTo>
                        <a:pt x="9877" y="16154"/>
                      </a:lnTo>
                      <a:lnTo>
                        <a:pt x="9919" y="16216"/>
                      </a:lnTo>
                      <a:lnTo>
                        <a:pt x="9919" y="16237"/>
                      </a:lnTo>
                      <a:lnTo>
                        <a:pt x="9960" y="16279"/>
                      </a:lnTo>
                      <a:lnTo>
                        <a:pt x="10023" y="16279"/>
                      </a:lnTo>
                      <a:lnTo>
                        <a:pt x="10149" y="16342"/>
                      </a:lnTo>
                      <a:lnTo>
                        <a:pt x="10170" y="16384"/>
                      </a:lnTo>
                      <a:lnTo>
                        <a:pt x="10253" y="16426"/>
                      </a:lnTo>
                      <a:lnTo>
                        <a:pt x="10379" y="16467"/>
                      </a:lnTo>
                      <a:lnTo>
                        <a:pt x="10400" y="16530"/>
                      </a:lnTo>
                      <a:lnTo>
                        <a:pt x="10463" y="16530"/>
                      </a:lnTo>
                      <a:lnTo>
                        <a:pt x="10504" y="16488"/>
                      </a:lnTo>
                      <a:lnTo>
                        <a:pt x="10504" y="16467"/>
                      </a:lnTo>
                      <a:lnTo>
                        <a:pt x="10609" y="16384"/>
                      </a:lnTo>
                      <a:lnTo>
                        <a:pt x="10672" y="16384"/>
                      </a:lnTo>
                      <a:lnTo>
                        <a:pt x="10672" y="16342"/>
                      </a:lnTo>
                      <a:lnTo>
                        <a:pt x="10672" y="16321"/>
                      </a:lnTo>
                      <a:lnTo>
                        <a:pt x="10714" y="16237"/>
                      </a:lnTo>
                      <a:lnTo>
                        <a:pt x="10797" y="16070"/>
                      </a:lnTo>
                      <a:lnTo>
                        <a:pt x="10839" y="16028"/>
                      </a:lnTo>
                      <a:lnTo>
                        <a:pt x="10923" y="16007"/>
                      </a:lnTo>
                      <a:lnTo>
                        <a:pt x="10965" y="16007"/>
                      </a:lnTo>
                      <a:lnTo>
                        <a:pt x="10986" y="16028"/>
                      </a:lnTo>
                      <a:lnTo>
                        <a:pt x="11027" y="16028"/>
                      </a:lnTo>
                      <a:lnTo>
                        <a:pt x="11069" y="15944"/>
                      </a:lnTo>
                      <a:lnTo>
                        <a:pt x="11174" y="15944"/>
                      </a:lnTo>
                      <a:lnTo>
                        <a:pt x="11279" y="15965"/>
                      </a:lnTo>
                      <a:lnTo>
                        <a:pt x="11383" y="15944"/>
                      </a:lnTo>
                      <a:lnTo>
                        <a:pt x="11404" y="15965"/>
                      </a:lnTo>
                      <a:lnTo>
                        <a:pt x="11425" y="16007"/>
                      </a:lnTo>
                      <a:lnTo>
                        <a:pt x="11509" y="16007"/>
                      </a:lnTo>
                      <a:lnTo>
                        <a:pt x="11592" y="16028"/>
                      </a:lnTo>
                      <a:lnTo>
                        <a:pt x="11634" y="16133"/>
                      </a:lnTo>
                      <a:lnTo>
                        <a:pt x="11739" y="16216"/>
                      </a:lnTo>
                      <a:lnTo>
                        <a:pt x="11844" y="16363"/>
                      </a:lnTo>
                      <a:lnTo>
                        <a:pt x="11864" y="16467"/>
                      </a:lnTo>
                      <a:lnTo>
                        <a:pt x="11927" y="16530"/>
                      </a:lnTo>
                      <a:lnTo>
                        <a:pt x="11927" y="16593"/>
                      </a:lnTo>
                      <a:lnTo>
                        <a:pt x="11927" y="16760"/>
                      </a:lnTo>
                      <a:lnTo>
                        <a:pt x="12011" y="16781"/>
                      </a:lnTo>
                      <a:lnTo>
                        <a:pt x="12032" y="16865"/>
                      </a:lnTo>
                      <a:lnTo>
                        <a:pt x="12116" y="17074"/>
                      </a:lnTo>
                      <a:lnTo>
                        <a:pt x="12157" y="17095"/>
                      </a:lnTo>
                      <a:lnTo>
                        <a:pt x="12178" y="17179"/>
                      </a:lnTo>
                      <a:lnTo>
                        <a:pt x="12262" y="17221"/>
                      </a:lnTo>
                      <a:lnTo>
                        <a:pt x="12283" y="17325"/>
                      </a:lnTo>
                      <a:lnTo>
                        <a:pt x="12346" y="17430"/>
                      </a:lnTo>
                      <a:lnTo>
                        <a:pt x="12450" y="17514"/>
                      </a:lnTo>
                      <a:lnTo>
                        <a:pt x="12429" y="17618"/>
                      </a:lnTo>
                      <a:lnTo>
                        <a:pt x="12429" y="17723"/>
                      </a:lnTo>
                      <a:lnTo>
                        <a:pt x="12429" y="17786"/>
                      </a:lnTo>
                      <a:lnTo>
                        <a:pt x="12429" y="17807"/>
                      </a:lnTo>
                      <a:lnTo>
                        <a:pt x="12555" y="18141"/>
                      </a:lnTo>
                      <a:lnTo>
                        <a:pt x="12534" y="18309"/>
                      </a:lnTo>
                      <a:lnTo>
                        <a:pt x="12576" y="18351"/>
                      </a:lnTo>
                      <a:lnTo>
                        <a:pt x="12597" y="18351"/>
                      </a:lnTo>
                      <a:lnTo>
                        <a:pt x="12660" y="18372"/>
                      </a:lnTo>
                      <a:lnTo>
                        <a:pt x="12743" y="18372"/>
                      </a:lnTo>
                      <a:lnTo>
                        <a:pt x="12806" y="18413"/>
                      </a:lnTo>
                      <a:lnTo>
                        <a:pt x="12911" y="18518"/>
                      </a:lnTo>
                      <a:lnTo>
                        <a:pt x="13099" y="18560"/>
                      </a:lnTo>
                      <a:lnTo>
                        <a:pt x="13204" y="18644"/>
                      </a:lnTo>
                      <a:lnTo>
                        <a:pt x="13308" y="18644"/>
                      </a:lnTo>
                      <a:lnTo>
                        <a:pt x="13329" y="18727"/>
                      </a:lnTo>
                      <a:lnTo>
                        <a:pt x="13392" y="18748"/>
                      </a:lnTo>
                      <a:lnTo>
                        <a:pt x="13476" y="18581"/>
                      </a:lnTo>
                      <a:lnTo>
                        <a:pt x="13496" y="18455"/>
                      </a:lnTo>
                      <a:lnTo>
                        <a:pt x="13476" y="18372"/>
                      </a:lnTo>
                      <a:lnTo>
                        <a:pt x="13476" y="18120"/>
                      </a:lnTo>
                      <a:lnTo>
                        <a:pt x="13413" y="18037"/>
                      </a:lnTo>
                      <a:lnTo>
                        <a:pt x="13496" y="17911"/>
                      </a:lnTo>
                      <a:lnTo>
                        <a:pt x="13538" y="17723"/>
                      </a:lnTo>
                      <a:lnTo>
                        <a:pt x="13622" y="17618"/>
                      </a:lnTo>
                      <a:lnTo>
                        <a:pt x="13580" y="17409"/>
                      </a:lnTo>
                      <a:lnTo>
                        <a:pt x="13685" y="17367"/>
                      </a:lnTo>
                      <a:lnTo>
                        <a:pt x="13789" y="17284"/>
                      </a:lnTo>
                      <a:lnTo>
                        <a:pt x="13727" y="17200"/>
                      </a:lnTo>
                      <a:lnTo>
                        <a:pt x="13831" y="17074"/>
                      </a:lnTo>
                      <a:lnTo>
                        <a:pt x="13894" y="17095"/>
                      </a:lnTo>
                      <a:lnTo>
                        <a:pt x="13999" y="17053"/>
                      </a:lnTo>
                      <a:lnTo>
                        <a:pt x="13957" y="16907"/>
                      </a:lnTo>
                      <a:lnTo>
                        <a:pt x="13957" y="16907"/>
                      </a:lnTo>
                      <a:lnTo>
                        <a:pt x="14040" y="16970"/>
                      </a:lnTo>
                      <a:lnTo>
                        <a:pt x="14145" y="16907"/>
                      </a:lnTo>
                      <a:lnTo>
                        <a:pt x="14103" y="16865"/>
                      </a:lnTo>
                      <a:lnTo>
                        <a:pt x="14208" y="16781"/>
                      </a:lnTo>
                      <a:lnTo>
                        <a:pt x="14250" y="16802"/>
                      </a:lnTo>
                      <a:lnTo>
                        <a:pt x="14312" y="16781"/>
                      </a:lnTo>
                      <a:lnTo>
                        <a:pt x="14375" y="16865"/>
                      </a:lnTo>
                      <a:lnTo>
                        <a:pt x="14271" y="16949"/>
                      </a:lnTo>
                      <a:lnTo>
                        <a:pt x="14354" y="16949"/>
                      </a:lnTo>
                      <a:lnTo>
                        <a:pt x="14459" y="16844"/>
                      </a:lnTo>
                      <a:lnTo>
                        <a:pt x="14543" y="16844"/>
                      </a:lnTo>
                      <a:lnTo>
                        <a:pt x="14794" y="16739"/>
                      </a:lnTo>
                      <a:lnTo>
                        <a:pt x="14982" y="16551"/>
                      </a:lnTo>
                      <a:lnTo>
                        <a:pt x="15066" y="16551"/>
                      </a:lnTo>
                      <a:lnTo>
                        <a:pt x="15108" y="16488"/>
                      </a:lnTo>
                      <a:lnTo>
                        <a:pt x="15087" y="16384"/>
                      </a:lnTo>
                      <a:lnTo>
                        <a:pt x="15108" y="16258"/>
                      </a:lnTo>
                      <a:lnTo>
                        <a:pt x="15045" y="16112"/>
                      </a:lnTo>
                      <a:lnTo>
                        <a:pt x="15087" y="16175"/>
                      </a:lnTo>
                      <a:lnTo>
                        <a:pt x="15170" y="16175"/>
                      </a:lnTo>
                      <a:lnTo>
                        <a:pt x="15275" y="16070"/>
                      </a:lnTo>
                      <a:lnTo>
                        <a:pt x="15275" y="16028"/>
                      </a:lnTo>
                      <a:lnTo>
                        <a:pt x="15317" y="16133"/>
                      </a:lnTo>
                      <a:lnTo>
                        <a:pt x="15254" y="16237"/>
                      </a:lnTo>
                      <a:lnTo>
                        <a:pt x="15275" y="16321"/>
                      </a:lnTo>
                      <a:lnTo>
                        <a:pt x="15275" y="16426"/>
                      </a:lnTo>
                      <a:lnTo>
                        <a:pt x="15401" y="16384"/>
                      </a:lnTo>
                      <a:lnTo>
                        <a:pt x="15484" y="16258"/>
                      </a:lnTo>
                      <a:lnTo>
                        <a:pt x="15568" y="16258"/>
                      </a:lnTo>
                      <a:lnTo>
                        <a:pt x="15631" y="16216"/>
                      </a:lnTo>
                      <a:lnTo>
                        <a:pt x="15840" y="16154"/>
                      </a:lnTo>
                      <a:lnTo>
                        <a:pt x="16007" y="16154"/>
                      </a:lnTo>
                      <a:lnTo>
                        <a:pt x="16258" y="16237"/>
                      </a:lnTo>
                      <a:lnTo>
                        <a:pt x="16321" y="16279"/>
                      </a:lnTo>
                      <a:lnTo>
                        <a:pt x="16635" y="16321"/>
                      </a:lnTo>
                      <a:lnTo>
                        <a:pt x="16740" y="16279"/>
                      </a:lnTo>
                      <a:lnTo>
                        <a:pt x="16740" y="16237"/>
                      </a:lnTo>
                      <a:lnTo>
                        <a:pt x="16740" y="16154"/>
                      </a:lnTo>
                      <a:lnTo>
                        <a:pt x="16844" y="16133"/>
                      </a:lnTo>
                      <a:lnTo>
                        <a:pt x="16928" y="16154"/>
                      </a:lnTo>
                      <a:lnTo>
                        <a:pt x="16865" y="16216"/>
                      </a:lnTo>
                      <a:lnTo>
                        <a:pt x="16928" y="16237"/>
                      </a:lnTo>
                      <a:lnTo>
                        <a:pt x="16991" y="16216"/>
                      </a:lnTo>
                      <a:lnTo>
                        <a:pt x="17053" y="16258"/>
                      </a:lnTo>
                      <a:lnTo>
                        <a:pt x="17053" y="16342"/>
                      </a:lnTo>
                      <a:lnTo>
                        <a:pt x="17074" y="16384"/>
                      </a:lnTo>
                      <a:lnTo>
                        <a:pt x="17200" y="16363"/>
                      </a:lnTo>
                      <a:lnTo>
                        <a:pt x="17242" y="16426"/>
                      </a:lnTo>
                      <a:lnTo>
                        <a:pt x="17158" y="16488"/>
                      </a:lnTo>
                      <a:lnTo>
                        <a:pt x="17095" y="16551"/>
                      </a:lnTo>
                      <a:lnTo>
                        <a:pt x="17179" y="16572"/>
                      </a:lnTo>
                      <a:lnTo>
                        <a:pt x="17263" y="16551"/>
                      </a:lnTo>
                      <a:lnTo>
                        <a:pt x="17346" y="16593"/>
                      </a:lnTo>
                      <a:lnTo>
                        <a:pt x="17493" y="16656"/>
                      </a:lnTo>
                      <a:lnTo>
                        <a:pt x="17556" y="16572"/>
                      </a:lnTo>
                      <a:lnTo>
                        <a:pt x="17618" y="16530"/>
                      </a:lnTo>
                      <a:lnTo>
                        <a:pt x="17723" y="16593"/>
                      </a:lnTo>
                      <a:lnTo>
                        <a:pt x="17786" y="16656"/>
                      </a:lnTo>
                      <a:lnTo>
                        <a:pt x="17870" y="16635"/>
                      </a:lnTo>
                      <a:lnTo>
                        <a:pt x="17870" y="16467"/>
                      </a:lnTo>
                      <a:lnTo>
                        <a:pt x="17807" y="16363"/>
                      </a:lnTo>
                      <a:lnTo>
                        <a:pt x="17911" y="16363"/>
                      </a:lnTo>
                      <a:lnTo>
                        <a:pt x="18016" y="16488"/>
                      </a:lnTo>
                      <a:lnTo>
                        <a:pt x="18100" y="16530"/>
                      </a:lnTo>
                      <a:lnTo>
                        <a:pt x="18142" y="16593"/>
                      </a:lnTo>
                      <a:lnTo>
                        <a:pt x="18204" y="16593"/>
                      </a:lnTo>
                      <a:lnTo>
                        <a:pt x="18288" y="16635"/>
                      </a:lnTo>
                      <a:lnTo>
                        <a:pt x="18288" y="16760"/>
                      </a:lnTo>
                      <a:lnTo>
                        <a:pt x="18309" y="16677"/>
                      </a:lnTo>
                      <a:lnTo>
                        <a:pt x="18414" y="16656"/>
                      </a:lnTo>
                      <a:lnTo>
                        <a:pt x="18414" y="16635"/>
                      </a:lnTo>
                      <a:lnTo>
                        <a:pt x="18288" y="16530"/>
                      </a:lnTo>
                      <a:lnTo>
                        <a:pt x="18100" y="16447"/>
                      </a:lnTo>
                      <a:lnTo>
                        <a:pt x="18037" y="16363"/>
                      </a:lnTo>
                      <a:lnTo>
                        <a:pt x="18037" y="16258"/>
                      </a:lnTo>
                      <a:lnTo>
                        <a:pt x="18225" y="16175"/>
                      </a:lnTo>
                      <a:lnTo>
                        <a:pt x="18288" y="16154"/>
                      </a:lnTo>
                      <a:lnTo>
                        <a:pt x="18183" y="16112"/>
                      </a:lnTo>
                      <a:lnTo>
                        <a:pt x="18121" y="16049"/>
                      </a:lnTo>
                      <a:lnTo>
                        <a:pt x="18100" y="16049"/>
                      </a:lnTo>
                      <a:lnTo>
                        <a:pt x="18016" y="16112"/>
                      </a:lnTo>
                      <a:lnTo>
                        <a:pt x="17932" y="16154"/>
                      </a:lnTo>
                      <a:lnTo>
                        <a:pt x="17932" y="16070"/>
                      </a:lnTo>
                      <a:lnTo>
                        <a:pt x="18037" y="15944"/>
                      </a:lnTo>
                      <a:lnTo>
                        <a:pt x="18246" y="15861"/>
                      </a:lnTo>
                      <a:lnTo>
                        <a:pt x="18330" y="15798"/>
                      </a:lnTo>
                      <a:lnTo>
                        <a:pt x="18665" y="15735"/>
                      </a:lnTo>
                      <a:lnTo>
                        <a:pt x="18811" y="15756"/>
                      </a:lnTo>
                      <a:lnTo>
                        <a:pt x="18874" y="15735"/>
                      </a:lnTo>
                      <a:lnTo>
                        <a:pt x="18958" y="15735"/>
                      </a:lnTo>
                      <a:lnTo>
                        <a:pt x="19020" y="15651"/>
                      </a:lnTo>
                      <a:lnTo>
                        <a:pt x="19062" y="15547"/>
                      </a:lnTo>
                      <a:lnTo>
                        <a:pt x="19146" y="15547"/>
                      </a:lnTo>
                      <a:lnTo>
                        <a:pt x="19125" y="15631"/>
                      </a:lnTo>
                      <a:lnTo>
                        <a:pt x="19125" y="15714"/>
                      </a:lnTo>
                      <a:lnTo>
                        <a:pt x="19250" y="15819"/>
                      </a:lnTo>
                      <a:lnTo>
                        <a:pt x="19334" y="15756"/>
                      </a:lnTo>
                      <a:lnTo>
                        <a:pt x="19481" y="15756"/>
                      </a:lnTo>
                      <a:lnTo>
                        <a:pt x="19585" y="15735"/>
                      </a:lnTo>
                      <a:lnTo>
                        <a:pt x="19648" y="15798"/>
                      </a:lnTo>
                      <a:lnTo>
                        <a:pt x="19815" y="15756"/>
                      </a:lnTo>
                      <a:lnTo>
                        <a:pt x="19878" y="15798"/>
                      </a:lnTo>
                      <a:lnTo>
                        <a:pt x="20004" y="15714"/>
                      </a:lnTo>
                      <a:lnTo>
                        <a:pt x="20108" y="15714"/>
                      </a:lnTo>
                      <a:lnTo>
                        <a:pt x="20129" y="15735"/>
                      </a:lnTo>
                      <a:lnTo>
                        <a:pt x="20087" y="15756"/>
                      </a:lnTo>
                      <a:lnTo>
                        <a:pt x="19962" y="15756"/>
                      </a:lnTo>
                      <a:lnTo>
                        <a:pt x="19920" y="15798"/>
                      </a:lnTo>
                      <a:lnTo>
                        <a:pt x="20087" y="15819"/>
                      </a:lnTo>
                      <a:lnTo>
                        <a:pt x="20213" y="15819"/>
                      </a:lnTo>
                      <a:lnTo>
                        <a:pt x="20318" y="15903"/>
                      </a:lnTo>
                      <a:lnTo>
                        <a:pt x="20401" y="15944"/>
                      </a:lnTo>
                      <a:lnTo>
                        <a:pt x="20338" y="15861"/>
                      </a:lnTo>
                      <a:lnTo>
                        <a:pt x="20338" y="15819"/>
                      </a:lnTo>
                      <a:lnTo>
                        <a:pt x="20401" y="15819"/>
                      </a:lnTo>
                      <a:lnTo>
                        <a:pt x="20422" y="15861"/>
                      </a:lnTo>
                      <a:lnTo>
                        <a:pt x="20527" y="15944"/>
                      </a:lnTo>
                      <a:lnTo>
                        <a:pt x="20506" y="16007"/>
                      </a:lnTo>
                      <a:lnTo>
                        <a:pt x="20443" y="15944"/>
                      </a:lnTo>
                      <a:lnTo>
                        <a:pt x="20422" y="15965"/>
                      </a:lnTo>
                      <a:lnTo>
                        <a:pt x="20548" y="16049"/>
                      </a:lnTo>
                      <a:lnTo>
                        <a:pt x="20610" y="16133"/>
                      </a:lnTo>
                      <a:lnTo>
                        <a:pt x="20652" y="16175"/>
                      </a:lnTo>
                      <a:lnTo>
                        <a:pt x="20631" y="16216"/>
                      </a:lnTo>
                      <a:lnTo>
                        <a:pt x="20610" y="16154"/>
                      </a:lnTo>
                      <a:lnTo>
                        <a:pt x="20590" y="16216"/>
                      </a:lnTo>
                      <a:lnTo>
                        <a:pt x="20610" y="16258"/>
                      </a:lnTo>
                      <a:lnTo>
                        <a:pt x="20799" y="16237"/>
                      </a:lnTo>
                      <a:lnTo>
                        <a:pt x="20903" y="16216"/>
                      </a:lnTo>
                      <a:lnTo>
                        <a:pt x="21029" y="16070"/>
                      </a:lnTo>
                      <a:lnTo>
                        <a:pt x="21113" y="16070"/>
                      </a:lnTo>
                      <a:lnTo>
                        <a:pt x="21113" y="16049"/>
                      </a:lnTo>
                      <a:lnTo>
                        <a:pt x="21175" y="15965"/>
                      </a:lnTo>
                      <a:lnTo>
                        <a:pt x="21280" y="15965"/>
                      </a:lnTo>
                      <a:lnTo>
                        <a:pt x="21364" y="16007"/>
                      </a:lnTo>
                      <a:lnTo>
                        <a:pt x="21489" y="16049"/>
                      </a:lnTo>
                      <a:lnTo>
                        <a:pt x="21552" y="16258"/>
                      </a:lnTo>
                      <a:lnTo>
                        <a:pt x="21636" y="16321"/>
                      </a:lnTo>
                      <a:lnTo>
                        <a:pt x="21657" y="16321"/>
                      </a:lnTo>
                      <a:lnTo>
                        <a:pt x="21678" y="16447"/>
                      </a:lnTo>
                      <a:lnTo>
                        <a:pt x="21761" y="16488"/>
                      </a:lnTo>
                      <a:lnTo>
                        <a:pt x="21803" y="16488"/>
                      </a:lnTo>
                      <a:lnTo>
                        <a:pt x="21803" y="16551"/>
                      </a:lnTo>
                      <a:lnTo>
                        <a:pt x="21866" y="16635"/>
                      </a:lnTo>
                      <a:lnTo>
                        <a:pt x="21950" y="16656"/>
                      </a:lnTo>
                      <a:lnTo>
                        <a:pt x="22012" y="16781"/>
                      </a:lnTo>
                      <a:lnTo>
                        <a:pt x="21991" y="16907"/>
                      </a:lnTo>
                      <a:lnTo>
                        <a:pt x="21908" y="17179"/>
                      </a:lnTo>
                      <a:lnTo>
                        <a:pt x="21803" y="17409"/>
                      </a:lnTo>
                      <a:lnTo>
                        <a:pt x="21803" y="17493"/>
                      </a:lnTo>
                      <a:lnTo>
                        <a:pt x="21887" y="17597"/>
                      </a:lnTo>
                      <a:lnTo>
                        <a:pt x="21908" y="17576"/>
                      </a:lnTo>
                      <a:lnTo>
                        <a:pt x="21971" y="17493"/>
                      </a:lnTo>
                      <a:lnTo>
                        <a:pt x="21971" y="17430"/>
                      </a:lnTo>
                      <a:lnTo>
                        <a:pt x="21991" y="17388"/>
                      </a:lnTo>
                      <a:lnTo>
                        <a:pt x="22075" y="17430"/>
                      </a:lnTo>
                      <a:lnTo>
                        <a:pt x="22096" y="17535"/>
                      </a:lnTo>
                      <a:lnTo>
                        <a:pt x="21950" y="17744"/>
                      </a:lnTo>
                      <a:lnTo>
                        <a:pt x="21971" y="17807"/>
                      </a:lnTo>
                      <a:lnTo>
                        <a:pt x="21991" y="17911"/>
                      </a:lnTo>
                      <a:lnTo>
                        <a:pt x="22054" y="18016"/>
                      </a:lnTo>
                      <a:lnTo>
                        <a:pt x="22075" y="18058"/>
                      </a:lnTo>
                      <a:lnTo>
                        <a:pt x="22117" y="18037"/>
                      </a:lnTo>
                      <a:lnTo>
                        <a:pt x="22159" y="18141"/>
                      </a:lnTo>
                      <a:lnTo>
                        <a:pt x="22201" y="18100"/>
                      </a:lnTo>
                      <a:lnTo>
                        <a:pt x="22201" y="18058"/>
                      </a:lnTo>
                      <a:lnTo>
                        <a:pt x="22222" y="18100"/>
                      </a:lnTo>
                      <a:lnTo>
                        <a:pt x="22368" y="18058"/>
                      </a:lnTo>
                      <a:lnTo>
                        <a:pt x="22368" y="18058"/>
                      </a:lnTo>
                      <a:lnTo>
                        <a:pt x="22263" y="18141"/>
                      </a:lnTo>
                      <a:lnTo>
                        <a:pt x="22222" y="18246"/>
                      </a:lnTo>
                      <a:lnTo>
                        <a:pt x="22201" y="18309"/>
                      </a:lnTo>
                      <a:lnTo>
                        <a:pt x="22201" y="18351"/>
                      </a:lnTo>
                      <a:lnTo>
                        <a:pt x="22368" y="18455"/>
                      </a:lnTo>
                      <a:lnTo>
                        <a:pt x="22368" y="18581"/>
                      </a:lnTo>
                      <a:lnTo>
                        <a:pt x="22368" y="18748"/>
                      </a:lnTo>
                      <a:lnTo>
                        <a:pt x="22410" y="18769"/>
                      </a:lnTo>
                      <a:lnTo>
                        <a:pt x="22494" y="18769"/>
                      </a:lnTo>
                      <a:lnTo>
                        <a:pt x="22535" y="18853"/>
                      </a:lnTo>
                      <a:lnTo>
                        <a:pt x="22515" y="18957"/>
                      </a:lnTo>
                      <a:lnTo>
                        <a:pt x="22682" y="19062"/>
                      </a:lnTo>
                      <a:lnTo>
                        <a:pt x="22598" y="19083"/>
                      </a:lnTo>
                      <a:lnTo>
                        <a:pt x="22724" y="19146"/>
                      </a:lnTo>
                      <a:lnTo>
                        <a:pt x="22787" y="19188"/>
                      </a:lnTo>
                      <a:lnTo>
                        <a:pt x="22891" y="19250"/>
                      </a:lnTo>
                      <a:lnTo>
                        <a:pt x="22996" y="19188"/>
                      </a:lnTo>
                      <a:lnTo>
                        <a:pt x="23100" y="19167"/>
                      </a:lnTo>
                      <a:lnTo>
                        <a:pt x="23100" y="18999"/>
                      </a:lnTo>
                      <a:lnTo>
                        <a:pt x="23163" y="18895"/>
                      </a:lnTo>
                      <a:lnTo>
                        <a:pt x="23226" y="18769"/>
                      </a:lnTo>
                      <a:lnTo>
                        <a:pt x="23331" y="18560"/>
                      </a:lnTo>
                      <a:lnTo>
                        <a:pt x="23310" y="18455"/>
                      </a:lnTo>
                      <a:lnTo>
                        <a:pt x="23351" y="18413"/>
                      </a:lnTo>
                      <a:lnTo>
                        <a:pt x="23351" y="18225"/>
                      </a:lnTo>
                      <a:lnTo>
                        <a:pt x="23331" y="18162"/>
                      </a:lnTo>
                      <a:lnTo>
                        <a:pt x="23414" y="18120"/>
                      </a:lnTo>
                      <a:lnTo>
                        <a:pt x="23351" y="17932"/>
                      </a:lnTo>
                      <a:lnTo>
                        <a:pt x="23247" y="17848"/>
                      </a:lnTo>
                      <a:lnTo>
                        <a:pt x="23205" y="17493"/>
                      </a:lnTo>
                      <a:lnTo>
                        <a:pt x="23142" y="17430"/>
                      </a:lnTo>
                      <a:lnTo>
                        <a:pt x="23163" y="17263"/>
                      </a:lnTo>
                      <a:lnTo>
                        <a:pt x="23205" y="17116"/>
                      </a:lnTo>
                      <a:lnTo>
                        <a:pt x="23163" y="17011"/>
                      </a:lnTo>
                      <a:lnTo>
                        <a:pt x="23100" y="16907"/>
                      </a:lnTo>
                      <a:lnTo>
                        <a:pt x="23038" y="16656"/>
                      </a:lnTo>
                      <a:lnTo>
                        <a:pt x="22996" y="16551"/>
                      </a:lnTo>
                      <a:lnTo>
                        <a:pt x="22954" y="16279"/>
                      </a:lnTo>
                      <a:lnTo>
                        <a:pt x="22912" y="16133"/>
                      </a:lnTo>
                      <a:lnTo>
                        <a:pt x="22933" y="15903"/>
                      </a:lnTo>
                      <a:lnTo>
                        <a:pt x="22912" y="15714"/>
                      </a:lnTo>
                      <a:lnTo>
                        <a:pt x="22933" y="15379"/>
                      </a:lnTo>
                      <a:lnTo>
                        <a:pt x="22933" y="15170"/>
                      </a:lnTo>
                      <a:lnTo>
                        <a:pt x="23038" y="15003"/>
                      </a:lnTo>
                      <a:lnTo>
                        <a:pt x="23121" y="14856"/>
                      </a:lnTo>
                      <a:lnTo>
                        <a:pt x="23226" y="14815"/>
                      </a:lnTo>
                      <a:lnTo>
                        <a:pt x="23268" y="14752"/>
                      </a:lnTo>
                      <a:lnTo>
                        <a:pt x="23331" y="14752"/>
                      </a:lnTo>
                      <a:lnTo>
                        <a:pt x="23414" y="14605"/>
                      </a:lnTo>
                      <a:lnTo>
                        <a:pt x="23414" y="14543"/>
                      </a:lnTo>
                      <a:lnTo>
                        <a:pt x="23372" y="14501"/>
                      </a:lnTo>
                      <a:lnTo>
                        <a:pt x="23414" y="14480"/>
                      </a:lnTo>
                      <a:lnTo>
                        <a:pt x="23540" y="14480"/>
                      </a:lnTo>
                      <a:lnTo>
                        <a:pt x="23561" y="14396"/>
                      </a:lnTo>
                      <a:lnTo>
                        <a:pt x="23665" y="14396"/>
                      </a:lnTo>
                      <a:lnTo>
                        <a:pt x="23686" y="14354"/>
                      </a:lnTo>
                      <a:lnTo>
                        <a:pt x="23875" y="14333"/>
                      </a:lnTo>
                      <a:lnTo>
                        <a:pt x="23937" y="14250"/>
                      </a:lnTo>
                      <a:lnTo>
                        <a:pt x="24063" y="14250"/>
                      </a:lnTo>
                      <a:lnTo>
                        <a:pt x="24084" y="14187"/>
                      </a:lnTo>
                      <a:lnTo>
                        <a:pt x="24168" y="14187"/>
                      </a:lnTo>
                      <a:lnTo>
                        <a:pt x="24209" y="14229"/>
                      </a:lnTo>
                      <a:lnTo>
                        <a:pt x="24314" y="14082"/>
                      </a:lnTo>
                      <a:lnTo>
                        <a:pt x="24314" y="14040"/>
                      </a:lnTo>
                      <a:lnTo>
                        <a:pt x="24377" y="14040"/>
                      </a:lnTo>
                      <a:lnTo>
                        <a:pt x="24481" y="13957"/>
                      </a:lnTo>
                      <a:lnTo>
                        <a:pt x="24481" y="13873"/>
                      </a:lnTo>
                      <a:lnTo>
                        <a:pt x="24691" y="13601"/>
                      </a:lnTo>
                      <a:lnTo>
                        <a:pt x="24795" y="13496"/>
                      </a:lnTo>
                      <a:lnTo>
                        <a:pt x="24984" y="13496"/>
                      </a:lnTo>
                      <a:lnTo>
                        <a:pt x="25025" y="13517"/>
                      </a:lnTo>
                      <a:lnTo>
                        <a:pt x="25088" y="13517"/>
                      </a:lnTo>
                      <a:lnTo>
                        <a:pt x="25193" y="13329"/>
                      </a:lnTo>
                      <a:lnTo>
                        <a:pt x="25465" y="13099"/>
                      </a:lnTo>
                      <a:lnTo>
                        <a:pt x="25737" y="12931"/>
                      </a:lnTo>
                      <a:lnTo>
                        <a:pt x="25862" y="12910"/>
                      </a:lnTo>
                      <a:lnTo>
                        <a:pt x="25925" y="12890"/>
                      </a:lnTo>
                      <a:lnTo>
                        <a:pt x="25988" y="12890"/>
                      </a:lnTo>
                      <a:lnTo>
                        <a:pt x="25988" y="12910"/>
                      </a:lnTo>
                      <a:lnTo>
                        <a:pt x="26092" y="12910"/>
                      </a:lnTo>
                      <a:lnTo>
                        <a:pt x="26197" y="12785"/>
                      </a:lnTo>
                      <a:lnTo>
                        <a:pt x="26155" y="12785"/>
                      </a:lnTo>
                      <a:lnTo>
                        <a:pt x="26134" y="12722"/>
                      </a:lnTo>
                      <a:lnTo>
                        <a:pt x="26030" y="12827"/>
                      </a:lnTo>
                      <a:lnTo>
                        <a:pt x="25883" y="12806"/>
                      </a:lnTo>
                      <a:lnTo>
                        <a:pt x="25820" y="12722"/>
                      </a:lnTo>
                      <a:lnTo>
                        <a:pt x="25925" y="12785"/>
                      </a:lnTo>
                      <a:lnTo>
                        <a:pt x="26051" y="12701"/>
                      </a:lnTo>
                      <a:lnTo>
                        <a:pt x="26030" y="12680"/>
                      </a:lnTo>
                      <a:lnTo>
                        <a:pt x="26092" y="12618"/>
                      </a:lnTo>
                      <a:lnTo>
                        <a:pt x="26051" y="12555"/>
                      </a:lnTo>
                      <a:lnTo>
                        <a:pt x="25925" y="12513"/>
                      </a:lnTo>
                      <a:lnTo>
                        <a:pt x="25862" y="12471"/>
                      </a:lnTo>
                      <a:lnTo>
                        <a:pt x="25946" y="12471"/>
                      </a:lnTo>
                      <a:lnTo>
                        <a:pt x="26030" y="12492"/>
                      </a:lnTo>
                      <a:lnTo>
                        <a:pt x="26092" y="12471"/>
                      </a:lnTo>
                      <a:lnTo>
                        <a:pt x="26092" y="12387"/>
                      </a:lnTo>
                      <a:lnTo>
                        <a:pt x="26155" y="12513"/>
                      </a:lnTo>
                      <a:lnTo>
                        <a:pt x="26239" y="12492"/>
                      </a:lnTo>
                      <a:lnTo>
                        <a:pt x="26302" y="12555"/>
                      </a:lnTo>
                      <a:lnTo>
                        <a:pt x="26364" y="12513"/>
                      </a:lnTo>
                      <a:lnTo>
                        <a:pt x="26385" y="12408"/>
                      </a:lnTo>
                      <a:lnTo>
                        <a:pt x="26511" y="12304"/>
                      </a:lnTo>
                      <a:lnTo>
                        <a:pt x="26553" y="12304"/>
                      </a:lnTo>
                      <a:lnTo>
                        <a:pt x="26574" y="12199"/>
                      </a:lnTo>
                      <a:lnTo>
                        <a:pt x="26553" y="12094"/>
                      </a:lnTo>
                      <a:lnTo>
                        <a:pt x="26511" y="12094"/>
                      </a:lnTo>
                      <a:lnTo>
                        <a:pt x="26448" y="12241"/>
                      </a:lnTo>
                      <a:lnTo>
                        <a:pt x="26448" y="12283"/>
                      </a:lnTo>
                      <a:lnTo>
                        <a:pt x="26385" y="12262"/>
                      </a:lnTo>
                      <a:lnTo>
                        <a:pt x="26364" y="12094"/>
                      </a:lnTo>
                      <a:lnTo>
                        <a:pt x="26344" y="12074"/>
                      </a:lnTo>
                      <a:lnTo>
                        <a:pt x="26092" y="12094"/>
                      </a:lnTo>
                      <a:lnTo>
                        <a:pt x="25967" y="12157"/>
                      </a:lnTo>
                      <a:lnTo>
                        <a:pt x="25988" y="12074"/>
                      </a:lnTo>
                      <a:lnTo>
                        <a:pt x="25988" y="11927"/>
                      </a:lnTo>
                      <a:lnTo>
                        <a:pt x="26051" y="11885"/>
                      </a:lnTo>
                      <a:lnTo>
                        <a:pt x="26092" y="11990"/>
                      </a:lnTo>
                      <a:lnTo>
                        <a:pt x="26176" y="12032"/>
                      </a:lnTo>
                      <a:lnTo>
                        <a:pt x="26239" y="11969"/>
                      </a:lnTo>
                      <a:lnTo>
                        <a:pt x="26385" y="11948"/>
                      </a:lnTo>
                      <a:lnTo>
                        <a:pt x="26406" y="11885"/>
                      </a:lnTo>
                      <a:lnTo>
                        <a:pt x="26490" y="11885"/>
                      </a:lnTo>
                      <a:lnTo>
                        <a:pt x="26511" y="11843"/>
                      </a:lnTo>
                      <a:lnTo>
                        <a:pt x="26490" y="11718"/>
                      </a:lnTo>
                      <a:lnTo>
                        <a:pt x="26448" y="11655"/>
                      </a:lnTo>
                      <a:lnTo>
                        <a:pt x="26469" y="11613"/>
                      </a:lnTo>
                      <a:lnTo>
                        <a:pt x="26511" y="11634"/>
                      </a:lnTo>
                      <a:lnTo>
                        <a:pt x="26574" y="11530"/>
                      </a:lnTo>
                      <a:lnTo>
                        <a:pt x="26511" y="11425"/>
                      </a:lnTo>
                      <a:lnTo>
                        <a:pt x="26469" y="11362"/>
                      </a:lnTo>
                      <a:lnTo>
                        <a:pt x="26385" y="11404"/>
                      </a:lnTo>
                      <a:lnTo>
                        <a:pt x="26302" y="11362"/>
                      </a:lnTo>
                      <a:lnTo>
                        <a:pt x="26260" y="11237"/>
                      </a:lnTo>
                      <a:lnTo>
                        <a:pt x="26176" y="11237"/>
                      </a:lnTo>
                      <a:lnTo>
                        <a:pt x="26092" y="11195"/>
                      </a:lnTo>
                      <a:lnTo>
                        <a:pt x="26030" y="11111"/>
                      </a:lnTo>
                      <a:lnTo>
                        <a:pt x="26030" y="11111"/>
                      </a:lnTo>
                      <a:lnTo>
                        <a:pt x="26092" y="11153"/>
                      </a:lnTo>
                      <a:lnTo>
                        <a:pt x="26260" y="11153"/>
                      </a:lnTo>
                      <a:lnTo>
                        <a:pt x="26302" y="11257"/>
                      </a:lnTo>
                      <a:lnTo>
                        <a:pt x="26385" y="11299"/>
                      </a:lnTo>
                      <a:lnTo>
                        <a:pt x="26406" y="11216"/>
                      </a:lnTo>
                      <a:lnTo>
                        <a:pt x="26281" y="11090"/>
                      </a:lnTo>
                      <a:lnTo>
                        <a:pt x="26385" y="11111"/>
                      </a:lnTo>
                      <a:lnTo>
                        <a:pt x="26406" y="11048"/>
                      </a:lnTo>
                      <a:lnTo>
                        <a:pt x="26448" y="11027"/>
                      </a:lnTo>
                      <a:lnTo>
                        <a:pt x="26406" y="10944"/>
                      </a:lnTo>
                      <a:lnTo>
                        <a:pt x="26281" y="10881"/>
                      </a:lnTo>
                      <a:lnTo>
                        <a:pt x="26239" y="10713"/>
                      </a:lnTo>
                      <a:lnTo>
                        <a:pt x="26281" y="10734"/>
                      </a:lnTo>
                      <a:lnTo>
                        <a:pt x="26344" y="10839"/>
                      </a:lnTo>
                      <a:lnTo>
                        <a:pt x="26406" y="10839"/>
                      </a:lnTo>
                      <a:lnTo>
                        <a:pt x="26448" y="10734"/>
                      </a:lnTo>
                      <a:lnTo>
                        <a:pt x="26448" y="10630"/>
                      </a:lnTo>
                      <a:lnTo>
                        <a:pt x="26344" y="10588"/>
                      </a:lnTo>
                      <a:lnTo>
                        <a:pt x="26197" y="10421"/>
                      </a:lnTo>
                      <a:lnTo>
                        <a:pt x="26092" y="10379"/>
                      </a:lnTo>
                      <a:lnTo>
                        <a:pt x="26030" y="10274"/>
                      </a:lnTo>
                      <a:lnTo>
                        <a:pt x="25946" y="10253"/>
                      </a:lnTo>
                      <a:lnTo>
                        <a:pt x="25946" y="10149"/>
                      </a:lnTo>
                      <a:lnTo>
                        <a:pt x="26030" y="10044"/>
                      </a:lnTo>
                      <a:lnTo>
                        <a:pt x="25967" y="10149"/>
                      </a:lnTo>
                      <a:lnTo>
                        <a:pt x="25988" y="10190"/>
                      </a:lnTo>
                      <a:lnTo>
                        <a:pt x="26051" y="10211"/>
                      </a:lnTo>
                      <a:lnTo>
                        <a:pt x="26134" y="10316"/>
                      </a:lnTo>
                      <a:lnTo>
                        <a:pt x="26239" y="10358"/>
                      </a:lnTo>
                      <a:lnTo>
                        <a:pt x="26364" y="10504"/>
                      </a:lnTo>
                      <a:lnTo>
                        <a:pt x="26385" y="10504"/>
                      </a:lnTo>
                      <a:lnTo>
                        <a:pt x="26406" y="10274"/>
                      </a:lnTo>
                      <a:lnTo>
                        <a:pt x="26406" y="10169"/>
                      </a:lnTo>
                      <a:lnTo>
                        <a:pt x="26406" y="10086"/>
                      </a:lnTo>
                      <a:lnTo>
                        <a:pt x="26385" y="10044"/>
                      </a:lnTo>
                      <a:lnTo>
                        <a:pt x="26406" y="9856"/>
                      </a:lnTo>
                      <a:lnTo>
                        <a:pt x="26448" y="9793"/>
                      </a:lnTo>
                      <a:lnTo>
                        <a:pt x="26409" y="9728"/>
                      </a:lnTo>
                      <a:lnTo>
                        <a:pt x="26409" y="9728"/>
                      </a:lnTo>
                      <a:lnTo>
                        <a:pt x="26490" y="9667"/>
                      </a:lnTo>
                      <a:lnTo>
                        <a:pt x="26616" y="9563"/>
                      </a:lnTo>
                      <a:lnTo>
                        <a:pt x="26657" y="9458"/>
                      </a:lnTo>
                      <a:lnTo>
                        <a:pt x="26657" y="9437"/>
                      </a:lnTo>
                      <a:lnTo>
                        <a:pt x="26678" y="9458"/>
                      </a:lnTo>
                      <a:lnTo>
                        <a:pt x="26657" y="9584"/>
                      </a:lnTo>
                      <a:lnTo>
                        <a:pt x="26678" y="9625"/>
                      </a:lnTo>
                      <a:lnTo>
                        <a:pt x="26574" y="9667"/>
                      </a:lnTo>
                      <a:lnTo>
                        <a:pt x="26511" y="9793"/>
                      </a:lnTo>
                      <a:lnTo>
                        <a:pt x="26595" y="9960"/>
                      </a:lnTo>
                      <a:lnTo>
                        <a:pt x="26574" y="10107"/>
                      </a:lnTo>
                      <a:lnTo>
                        <a:pt x="26490" y="10253"/>
                      </a:lnTo>
                      <a:lnTo>
                        <a:pt x="26490" y="10358"/>
                      </a:lnTo>
                      <a:lnTo>
                        <a:pt x="26595" y="10462"/>
                      </a:lnTo>
                      <a:lnTo>
                        <a:pt x="26616" y="10400"/>
                      </a:lnTo>
                      <a:lnTo>
                        <a:pt x="26657" y="10462"/>
                      </a:lnTo>
                      <a:lnTo>
                        <a:pt x="26699" y="10462"/>
                      </a:lnTo>
                      <a:lnTo>
                        <a:pt x="26699" y="10483"/>
                      </a:lnTo>
                      <a:lnTo>
                        <a:pt x="26678" y="10525"/>
                      </a:lnTo>
                      <a:lnTo>
                        <a:pt x="26699" y="10609"/>
                      </a:lnTo>
                      <a:lnTo>
                        <a:pt x="26825" y="10609"/>
                      </a:lnTo>
                      <a:lnTo>
                        <a:pt x="26762" y="10672"/>
                      </a:lnTo>
                      <a:lnTo>
                        <a:pt x="26762" y="10693"/>
                      </a:lnTo>
                      <a:lnTo>
                        <a:pt x="26699" y="10797"/>
                      </a:lnTo>
                      <a:lnTo>
                        <a:pt x="26699" y="10881"/>
                      </a:lnTo>
                      <a:lnTo>
                        <a:pt x="26657" y="10985"/>
                      </a:lnTo>
                      <a:lnTo>
                        <a:pt x="26616" y="11111"/>
                      </a:lnTo>
                      <a:lnTo>
                        <a:pt x="26616" y="11216"/>
                      </a:lnTo>
                      <a:lnTo>
                        <a:pt x="26657" y="11153"/>
                      </a:lnTo>
                      <a:lnTo>
                        <a:pt x="26678" y="11111"/>
                      </a:lnTo>
                      <a:lnTo>
                        <a:pt x="26783" y="10902"/>
                      </a:lnTo>
                      <a:lnTo>
                        <a:pt x="26804" y="10944"/>
                      </a:lnTo>
                      <a:lnTo>
                        <a:pt x="26804" y="11006"/>
                      </a:lnTo>
                      <a:lnTo>
                        <a:pt x="26825" y="10944"/>
                      </a:lnTo>
                      <a:lnTo>
                        <a:pt x="26825" y="10881"/>
                      </a:lnTo>
                      <a:lnTo>
                        <a:pt x="26909" y="10776"/>
                      </a:lnTo>
                      <a:lnTo>
                        <a:pt x="26992" y="10525"/>
                      </a:lnTo>
                      <a:lnTo>
                        <a:pt x="27118" y="10462"/>
                      </a:lnTo>
                      <a:lnTo>
                        <a:pt x="27222" y="10253"/>
                      </a:lnTo>
                      <a:lnTo>
                        <a:pt x="27222" y="10086"/>
                      </a:lnTo>
                      <a:lnTo>
                        <a:pt x="27139" y="9897"/>
                      </a:lnTo>
                      <a:lnTo>
                        <a:pt x="27097" y="9856"/>
                      </a:lnTo>
                      <a:lnTo>
                        <a:pt x="27076" y="9688"/>
                      </a:lnTo>
                      <a:lnTo>
                        <a:pt x="27013" y="9625"/>
                      </a:lnTo>
                      <a:lnTo>
                        <a:pt x="27013" y="9521"/>
                      </a:lnTo>
                      <a:lnTo>
                        <a:pt x="27076" y="9416"/>
                      </a:lnTo>
                      <a:lnTo>
                        <a:pt x="27181" y="9312"/>
                      </a:lnTo>
                      <a:lnTo>
                        <a:pt x="27306" y="9249"/>
                      </a:lnTo>
                      <a:lnTo>
                        <a:pt x="27118" y="9458"/>
                      </a:lnTo>
                      <a:lnTo>
                        <a:pt x="27076" y="9542"/>
                      </a:lnTo>
                      <a:lnTo>
                        <a:pt x="27118" y="9625"/>
                      </a:lnTo>
                      <a:lnTo>
                        <a:pt x="27243" y="9751"/>
                      </a:lnTo>
                      <a:lnTo>
                        <a:pt x="27327" y="9730"/>
                      </a:lnTo>
                      <a:lnTo>
                        <a:pt x="27390" y="9772"/>
                      </a:lnTo>
                      <a:lnTo>
                        <a:pt x="27327" y="9939"/>
                      </a:lnTo>
                      <a:lnTo>
                        <a:pt x="27327" y="9939"/>
                      </a:lnTo>
                      <a:lnTo>
                        <a:pt x="27411" y="9877"/>
                      </a:lnTo>
                      <a:lnTo>
                        <a:pt x="27432" y="9897"/>
                      </a:lnTo>
                      <a:lnTo>
                        <a:pt x="27515" y="9793"/>
                      </a:lnTo>
                      <a:lnTo>
                        <a:pt x="27515" y="9730"/>
                      </a:lnTo>
                      <a:lnTo>
                        <a:pt x="27557" y="9730"/>
                      </a:lnTo>
                      <a:lnTo>
                        <a:pt x="27620" y="9646"/>
                      </a:lnTo>
                      <a:lnTo>
                        <a:pt x="27704" y="9625"/>
                      </a:lnTo>
                      <a:lnTo>
                        <a:pt x="27745" y="9458"/>
                      </a:lnTo>
                      <a:lnTo>
                        <a:pt x="27808" y="9374"/>
                      </a:lnTo>
                      <a:lnTo>
                        <a:pt x="27850" y="9374"/>
                      </a:lnTo>
                      <a:lnTo>
                        <a:pt x="27913" y="9270"/>
                      </a:lnTo>
                      <a:lnTo>
                        <a:pt x="27934" y="9207"/>
                      </a:lnTo>
                      <a:lnTo>
                        <a:pt x="27934" y="9144"/>
                      </a:lnTo>
                      <a:lnTo>
                        <a:pt x="27976" y="9040"/>
                      </a:lnTo>
                      <a:lnTo>
                        <a:pt x="27976" y="8998"/>
                      </a:lnTo>
                      <a:lnTo>
                        <a:pt x="28038" y="8914"/>
                      </a:lnTo>
                      <a:lnTo>
                        <a:pt x="28017" y="8830"/>
                      </a:lnTo>
                      <a:lnTo>
                        <a:pt x="27955" y="8789"/>
                      </a:lnTo>
                      <a:lnTo>
                        <a:pt x="27913" y="8705"/>
                      </a:lnTo>
                      <a:lnTo>
                        <a:pt x="28059" y="8621"/>
                      </a:lnTo>
                      <a:lnTo>
                        <a:pt x="28059" y="8537"/>
                      </a:lnTo>
                      <a:lnTo>
                        <a:pt x="28164" y="8475"/>
                      </a:lnTo>
                      <a:lnTo>
                        <a:pt x="28248" y="8433"/>
                      </a:lnTo>
                      <a:lnTo>
                        <a:pt x="28436" y="8328"/>
                      </a:lnTo>
                      <a:lnTo>
                        <a:pt x="28561" y="8328"/>
                      </a:lnTo>
                      <a:lnTo>
                        <a:pt x="28750" y="8203"/>
                      </a:lnTo>
                      <a:lnTo>
                        <a:pt x="28813" y="8203"/>
                      </a:lnTo>
                      <a:lnTo>
                        <a:pt x="28854" y="8224"/>
                      </a:lnTo>
                      <a:lnTo>
                        <a:pt x="29085" y="8203"/>
                      </a:lnTo>
                      <a:lnTo>
                        <a:pt x="29189" y="8265"/>
                      </a:lnTo>
                      <a:lnTo>
                        <a:pt x="29336" y="8203"/>
                      </a:lnTo>
                      <a:lnTo>
                        <a:pt x="29587" y="8203"/>
                      </a:lnTo>
                      <a:lnTo>
                        <a:pt x="29629" y="8182"/>
                      </a:lnTo>
                      <a:lnTo>
                        <a:pt x="29608" y="8119"/>
                      </a:lnTo>
                      <a:lnTo>
                        <a:pt x="29608" y="7972"/>
                      </a:lnTo>
                      <a:lnTo>
                        <a:pt x="29608" y="7847"/>
                      </a:lnTo>
                      <a:lnTo>
                        <a:pt x="29733" y="7952"/>
                      </a:lnTo>
                      <a:lnTo>
                        <a:pt x="29733" y="8077"/>
                      </a:lnTo>
                      <a:lnTo>
                        <a:pt x="29712" y="8161"/>
                      </a:lnTo>
                      <a:lnTo>
                        <a:pt x="29796" y="8161"/>
                      </a:lnTo>
                      <a:lnTo>
                        <a:pt x="29901" y="8056"/>
                      </a:lnTo>
                      <a:lnTo>
                        <a:pt x="30005" y="7868"/>
                      </a:lnTo>
                      <a:lnTo>
                        <a:pt x="30047" y="7972"/>
                      </a:lnTo>
                      <a:lnTo>
                        <a:pt x="30047" y="8056"/>
                      </a:lnTo>
                      <a:lnTo>
                        <a:pt x="30131" y="8077"/>
                      </a:lnTo>
                      <a:lnTo>
                        <a:pt x="30382" y="7952"/>
                      </a:lnTo>
                      <a:lnTo>
                        <a:pt x="30466" y="7805"/>
                      </a:lnTo>
                      <a:lnTo>
                        <a:pt x="30424" y="7596"/>
                      </a:lnTo>
                      <a:lnTo>
                        <a:pt x="30361" y="7638"/>
                      </a:lnTo>
                      <a:lnTo>
                        <a:pt x="30361" y="7742"/>
                      </a:lnTo>
                      <a:lnTo>
                        <a:pt x="30319" y="7868"/>
                      </a:lnTo>
                      <a:lnTo>
                        <a:pt x="30152" y="7868"/>
                      </a:lnTo>
                      <a:lnTo>
                        <a:pt x="30131" y="7763"/>
                      </a:lnTo>
                      <a:lnTo>
                        <a:pt x="30068" y="7575"/>
                      </a:lnTo>
                      <a:lnTo>
                        <a:pt x="29922" y="7491"/>
                      </a:lnTo>
                      <a:lnTo>
                        <a:pt x="29922" y="7449"/>
                      </a:lnTo>
                      <a:lnTo>
                        <a:pt x="30131" y="7261"/>
                      </a:lnTo>
                      <a:lnTo>
                        <a:pt x="30131" y="7177"/>
                      </a:lnTo>
                      <a:lnTo>
                        <a:pt x="30047" y="7177"/>
                      </a:lnTo>
                      <a:lnTo>
                        <a:pt x="30047" y="7115"/>
                      </a:lnTo>
                      <a:lnTo>
                        <a:pt x="30131" y="7052"/>
                      </a:lnTo>
                      <a:lnTo>
                        <a:pt x="30152" y="6968"/>
                      </a:lnTo>
                      <a:lnTo>
                        <a:pt x="30214" y="6905"/>
                      </a:lnTo>
                      <a:lnTo>
                        <a:pt x="30277" y="6696"/>
                      </a:lnTo>
                      <a:lnTo>
                        <a:pt x="30486" y="6529"/>
                      </a:lnTo>
                      <a:lnTo>
                        <a:pt x="30570" y="6382"/>
                      </a:lnTo>
                      <a:lnTo>
                        <a:pt x="30633" y="6382"/>
                      </a:lnTo>
                      <a:lnTo>
                        <a:pt x="30696" y="6278"/>
                      </a:lnTo>
                      <a:lnTo>
                        <a:pt x="30696" y="6340"/>
                      </a:lnTo>
                      <a:lnTo>
                        <a:pt x="30779" y="6382"/>
                      </a:lnTo>
                      <a:lnTo>
                        <a:pt x="30842" y="6299"/>
                      </a:lnTo>
                      <a:lnTo>
                        <a:pt x="30905" y="6173"/>
                      </a:lnTo>
                      <a:lnTo>
                        <a:pt x="30905" y="6299"/>
                      </a:lnTo>
                      <a:lnTo>
                        <a:pt x="30989" y="6299"/>
                      </a:lnTo>
                      <a:lnTo>
                        <a:pt x="31051" y="6173"/>
                      </a:lnTo>
                      <a:lnTo>
                        <a:pt x="31093" y="6215"/>
                      </a:lnTo>
                      <a:lnTo>
                        <a:pt x="31156" y="6173"/>
                      </a:lnTo>
                      <a:lnTo>
                        <a:pt x="31261" y="6006"/>
                      </a:lnTo>
                      <a:lnTo>
                        <a:pt x="31407" y="5796"/>
                      </a:lnTo>
                      <a:lnTo>
                        <a:pt x="31386" y="5922"/>
                      </a:lnTo>
                      <a:lnTo>
                        <a:pt x="31407" y="6006"/>
                      </a:lnTo>
                      <a:lnTo>
                        <a:pt x="31512" y="6006"/>
                      </a:lnTo>
                      <a:lnTo>
                        <a:pt x="31616" y="5880"/>
                      </a:lnTo>
                      <a:lnTo>
                        <a:pt x="31742" y="5880"/>
                      </a:lnTo>
                      <a:lnTo>
                        <a:pt x="31784" y="6006"/>
                      </a:lnTo>
                      <a:lnTo>
                        <a:pt x="31846" y="6006"/>
                      </a:lnTo>
                      <a:lnTo>
                        <a:pt x="31951" y="5880"/>
                      </a:lnTo>
                      <a:lnTo>
                        <a:pt x="32035" y="5922"/>
                      </a:lnTo>
                      <a:lnTo>
                        <a:pt x="32098" y="5901"/>
                      </a:lnTo>
                      <a:lnTo>
                        <a:pt x="32202" y="5817"/>
                      </a:lnTo>
                      <a:lnTo>
                        <a:pt x="32307" y="5817"/>
                      </a:lnTo>
                      <a:lnTo>
                        <a:pt x="32432" y="5755"/>
                      </a:lnTo>
                      <a:lnTo>
                        <a:pt x="32474" y="5817"/>
                      </a:lnTo>
                      <a:lnTo>
                        <a:pt x="32558" y="5796"/>
                      </a:lnTo>
                      <a:lnTo>
                        <a:pt x="32642" y="5713"/>
                      </a:lnTo>
                      <a:lnTo>
                        <a:pt x="32537" y="5650"/>
                      </a:lnTo>
                      <a:lnTo>
                        <a:pt x="32474" y="5713"/>
                      </a:lnTo>
                      <a:lnTo>
                        <a:pt x="32411" y="5650"/>
                      </a:lnTo>
                      <a:lnTo>
                        <a:pt x="32453" y="5504"/>
                      </a:lnTo>
                      <a:lnTo>
                        <a:pt x="32223" y="5378"/>
                      </a:lnTo>
                      <a:lnTo>
                        <a:pt x="32202" y="5357"/>
                      </a:lnTo>
                      <a:lnTo>
                        <a:pt x="32223" y="5294"/>
                      </a:lnTo>
                      <a:lnTo>
                        <a:pt x="32223" y="5252"/>
                      </a:lnTo>
                      <a:lnTo>
                        <a:pt x="32223" y="5169"/>
                      </a:lnTo>
                      <a:lnTo>
                        <a:pt x="32244" y="5085"/>
                      </a:lnTo>
                      <a:lnTo>
                        <a:pt x="32202" y="5022"/>
                      </a:lnTo>
                      <a:lnTo>
                        <a:pt x="32139" y="4959"/>
                      </a:lnTo>
                      <a:lnTo>
                        <a:pt x="32098" y="4939"/>
                      </a:lnTo>
                      <a:lnTo>
                        <a:pt x="32118" y="4855"/>
                      </a:lnTo>
                      <a:lnTo>
                        <a:pt x="32244" y="4123"/>
                      </a:lnTo>
                      <a:lnTo>
                        <a:pt x="32244" y="3934"/>
                      </a:lnTo>
                      <a:lnTo>
                        <a:pt x="32014" y="3725"/>
                      </a:lnTo>
                      <a:lnTo>
                        <a:pt x="31951" y="3788"/>
                      </a:lnTo>
                      <a:lnTo>
                        <a:pt x="31805" y="3725"/>
                      </a:lnTo>
                      <a:lnTo>
                        <a:pt x="31700" y="3767"/>
                      </a:lnTo>
                      <a:lnTo>
                        <a:pt x="31616" y="3683"/>
                      </a:lnTo>
                      <a:lnTo>
                        <a:pt x="31533" y="3662"/>
                      </a:lnTo>
                      <a:lnTo>
                        <a:pt x="31512" y="3662"/>
                      </a:lnTo>
                      <a:lnTo>
                        <a:pt x="31407" y="3767"/>
                      </a:lnTo>
                      <a:lnTo>
                        <a:pt x="31365" y="3830"/>
                      </a:lnTo>
                      <a:lnTo>
                        <a:pt x="31156" y="4081"/>
                      </a:lnTo>
                      <a:lnTo>
                        <a:pt x="31072" y="4206"/>
                      </a:lnTo>
                      <a:lnTo>
                        <a:pt x="31072" y="4311"/>
                      </a:lnTo>
                      <a:lnTo>
                        <a:pt x="30905" y="4395"/>
                      </a:lnTo>
                      <a:lnTo>
                        <a:pt x="30905" y="4520"/>
                      </a:lnTo>
                      <a:lnTo>
                        <a:pt x="30863" y="4625"/>
                      </a:lnTo>
                      <a:lnTo>
                        <a:pt x="30696" y="4813"/>
                      </a:lnTo>
                      <a:lnTo>
                        <a:pt x="30633" y="4834"/>
                      </a:lnTo>
                      <a:lnTo>
                        <a:pt x="30445" y="5043"/>
                      </a:lnTo>
                      <a:lnTo>
                        <a:pt x="30424" y="5127"/>
                      </a:lnTo>
                      <a:lnTo>
                        <a:pt x="30340" y="5169"/>
                      </a:lnTo>
                      <a:lnTo>
                        <a:pt x="30235" y="5148"/>
                      </a:lnTo>
                      <a:lnTo>
                        <a:pt x="30173" y="5148"/>
                      </a:lnTo>
                      <a:lnTo>
                        <a:pt x="30131" y="5190"/>
                      </a:lnTo>
                      <a:lnTo>
                        <a:pt x="30068" y="5190"/>
                      </a:lnTo>
                      <a:lnTo>
                        <a:pt x="29942" y="5336"/>
                      </a:lnTo>
                      <a:lnTo>
                        <a:pt x="28269" y="5294"/>
                      </a:lnTo>
                      <a:lnTo>
                        <a:pt x="28059" y="5336"/>
                      </a:lnTo>
                      <a:lnTo>
                        <a:pt x="27955" y="5441"/>
                      </a:lnTo>
                      <a:lnTo>
                        <a:pt x="27829" y="5483"/>
                      </a:lnTo>
                      <a:lnTo>
                        <a:pt x="27704" y="5566"/>
                      </a:lnTo>
                      <a:lnTo>
                        <a:pt x="27453" y="5817"/>
                      </a:lnTo>
                      <a:lnTo>
                        <a:pt x="27285" y="5859"/>
                      </a:lnTo>
                      <a:lnTo>
                        <a:pt x="27181" y="5922"/>
                      </a:lnTo>
                      <a:lnTo>
                        <a:pt x="26699" y="6299"/>
                      </a:lnTo>
                      <a:lnTo>
                        <a:pt x="25611" y="6612"/>
                      </a:lnTo>
                      <a:lnTo>
                        <a:pt x="25569" y="6864"/>
                      </a:lnTo>
                      <a:lnTo>
                        <a:pt x="25318" y="6968"/>
                      </a:lnTo>
                      <a:lnTo>
                        <a:pt x="23331" y="7491"/>
                      </a:lnTo>
                      <a:lnTo>
                        <a:pt x="23247" y="7324"/>
                      </a:lnTo>
                      <a:lnTo>
                        <a:pt x="23351" y="7177"/>
                      </a:lnTo>
                      <a:lnTo>
                        <a:pt x="23561" y="7073"/>
                      </a:lnTo>
                      <a:lnTo>
                        <a:pt x="23665" y="6947"/>
                      </a:lnTo>
                      <a:lnTo>
                        <a:pt x="23728" y="6822"/>
                      </a:lnTo>
                      <a:lnTo>
                        <a:pt x="23770" y="6696"/>
                      </a:lnTo>
                      <a:lnTo>
                        <a:pt x="23833" y="5922"/>
                      </a:lnTo>
                      <a:lnTo>
                        <a:pt x="23456" y="4143"/>
                      </a:lnTo>
                      <a:lnTo>
                        <a:pt x="23100" y="3871"/>
                      </a:lnTo>
                      <a:lnTo>
                        <a:pt x="22954" y="3683"/>
                      </a:lnTo>
                      <a:lnTo>
                        <a:pt x="20652" y="2616"/>
                      </a:lnTo>
                      <a:lnTo>
                        <a:pt x="20548" y="2553"/>
                      </a:lnTo>
                      <a:lnTo>
                        <a:pt x="20422" y="2511"/>
                      </a:lnTo>
                      <a:lnTo>
                        <a:pt x="20380" y="2449"/>
                      </a:lnTo>
                      <a:lnTo>
                        <a:pt x="20087" y="2449"/>
                      </a:lnTo>
                      <a:lnTo>
                        <a:pt x="20066" y="2344"/>
                      </a:lnTo>
                      <a:lnTo>
                        <a:pt x="19983" y="2302"/>
                      </a:lnTo>
                      <a:lnTo>
                        <a:pt x="19899" y="2344"/>
                      </a:lnTo>
                      <a:lnTo>
                        <a:pt x="19711" y="2344"/>
                      </a:lnTo>
                      <a:lnTo>
                        <a:pt x="19606" y="2323"/>
                      </a:lnTo>
                      <a:lnTo>
                        <a:pt x="19543" y="2239"/>
                      </a:lnTo>
                      <a:lnTo>
                        <a:pt x="19439" y="2198"/>
                      </a:lnTo>
                      <a:lnTo>
                        <a:pt x="19230" y="2135"/>
                      </a:lnTo>
                      <a:lnTo>
                        <a:pt x="19167" y="2009"/>
                      </a:lnTo>
                      <a:lnTo>
                        <a:pt x="19083" y="2009"/>
                      </a:lnTo>
                      <a:lnTo>
                        <a:pt x="18958" y="1905"/>
                      </a:lnTo>
                      <a:lnTo>
                        <a:pt x="18853" y="1905"/>
                      </a:lnTo>
                      <a:lnTo>
                        <a:pt x="18769" y="1884"/>
                      </a:lnTo>
                      <a:lnTo>
                        <a:pt x="18644" y="1905"/>
                      </a:lnTo>
                      <a:lnTo>
                        <a:pt x="18623" y="1926"/>
                      </a:lnTo>
                      <a:lnTo>
                        <a:pt x="18560" y="1842"/>
                      </a:lnTo>
                      <a:lnTo>
                        <a:pt x="18434" y="1821"/>
                      </a:lnTo>
                      <a:lnTo>
                        <a:pt x="18414" y="1800"/>
                      </a:lnTo>
                      <a:lnTo>
                        <a:pt x="18309" y="1737"/>
                      </a:lnTo>
                      <a:lnTo>
                        <a:pt x="18288" y="1716"/>
                      </a:lnTo>
                      <a:lnTo>
                        <a:pt x="18204" y="1633"/>
                      </a:lnTo>
                      <a:lnTo>
                        <a:pt x="18204" y="1612"/>
                      </a:lnTo>
                      <a:lnTo>
                        <a:pt x="18079" y="1507"/>
                      </a:lnTo>
                      <a:lnTo>
                        <a:pt x="17932" y="1507"/>
                      </a:lnTo>
                      <a:lnTo>
                        <a:pt x="17807" y="1486"/>
                      </a:lnTo>
                      <a:lnTo>
                        <a:pt x="2846" y="1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57" name="Google Shape;757;p34"/>
            <p:cNvGrpSpPr/>
            <p:nvPr/>
          </p:nvGrpSpPr>
          <p:grpSpPr>
            <a:xfrm>
              <a:off x="3230417" y="3103734"/>
              <a:ext cx="282982" cy="280332"/>
              <a:chOff x="2605700" y="3152850"/>
              <a:chExt cx="594125" cy="616250"/>
            </a:xfrm>
          </p:grpSpPr>
          <p:sp>
            <p:nvSpPr>
              <p:cNvPr id="758" name="Google Shape;758;p34"/>
              <p:cNvSpPr/>
              <p:nvPr/>
            </p:nvSpPr>
            <p:spPr>
              <a:xfrm>
                <a:off x="2605700" y="3152850"/>
                <a:ext cx="379825" cy="616250"/>
              </a:xfrm>
              <a:custGeom>
                <a:avLst/>
                <a:gdLst/>
                <a:ahLst/>
                <a:cxnLst/>
                <a:rect l="l" t="t" r="r" b="b"/>
                <a:pathLst>
                  <a:path w="15193" h="24650" extrusionOk="0">
                    <a:moveTo>
                      <a:pt x="14024" y="2338"/>
                    </a:moveTo>
                    <a:lnTo>
                      <a:pt x="8818" y="0"/>
                    </a:lnTo>
                    <a:lnTo>
                      <a:pt x="4037" y="1594"/>
                    </a:lnTo>
                    <a:lnTo>
                      <a:pt x="0" y="7225"/>
                    </a:lnTo>
                    <a:lnTo>
                      <a:pt x="2018" y="11156"/>
                    </a:lnTo>
                    <a:lnTo>
                      <a:pt x="7331" y="12325"/>
                    </a:lnTo>
                    <a:lnTo>
                      <a:pt x="10518" y="17531"/>
                    </a:lnTo>
                    <a:lnTo>
                      <a:pt x="11049" y="22843"/>
                    </a:lnTo>
                    <a:lnTo>
                      <a:pt x="13705" y="24650"/>
                    </a:lnTo>
                    <a:lnTo>
                      <a:pt x="15193" y="18700"/>
                    </a:lnTo>
                    <a:lnTo>
                      <a:pt x="12218" y="5844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59" name="Google Shape;759;p34"/>
              <p:cNvSpPr/>
              <p:nvPr/>
            </p:nvSpPr>
            <p:spPr>
              <a:xfrm>
                <a:off x="2632775" y="3168475"/>
                <a:ext cx="567050" cy="590050"/>
              </a:xfrm>
              <a:custGeom>
                <a:avLst/>
                <a:gdLst/>
                <a:ahLst/>
                <a:cxnLst/>
                <a:rect l="l" t="t" r="r" b="b"/>
                <a:pathLst>
                  <a:path w="22682" h="23602" extrusionOk="0">
                    <a:moveTo>
                      <a:pt x="13852" y="21070"/>
                    </a:moveTo>
                    <a:lnTo>
                      <a:pt x="13894" y="21091"/>
                    </a:lnTo>
                    <a:lnTo>
                      <a:pt x="13977" y="21217"/>
                    </a:lnTo>
                    <a:lnTo>
                      <a:pt x="14103" y="21384"/>
                    </a:lnTo>
                    <a:lnTo>
                      <a:pt x="14166" y="21384"/>
                    </a:lnTo>
                    <a:lnTo>
                      <a:pt x="14208" y="21342"/>
                    </a:lnTo>
                    <a:lnTo>
                      <a:pt x="14228" y="21384"/>
                    </a:lnTo>
                    <a:lnTo>
                      <a:pt x="14228" y="21489"/>
                    </a:lnTo>
                    <a:lnTo>
                      <a:pt x="14187" y="21489"/>
                    </a:lnTo>
                    <a:lnTo>
                      <a:pt x="14124" y="21698"/>
                    </a:lnTo>
                    <a:lnTo>
                      <a:pt x="13998" y="21928"/>
                    </a:lnTo>
                    <a:lnTo>
                      <a:pt x="13873" y="21928"/>
                    </a:lnTo>
                    <a:lnTo>
                      <a:pt x="13852" y="22075"/>
                    </a:lnTo>
                    <a:lnTo>
                      <a:pt x="13789" y="22158"/>
                    </a:lnTo>
                    <a:lnTo>
                      <a:pt x="13768" y="22158"/>
                    </a:lnTo>
                    <a:lnTo>
                      <a:pt x="13643" y="22242"/>
                    </a:lnTo>
                    <a:lnTo>
                      <a:pt x="13559" y="22326"/>
                    </a:lnTo>
                    <a:lnTo>
                      <a:pt x="13559" y="22367"/>
                    </a:lnTo>
                    <a:lnTo>
                      <a:pt x="13454" y="22388"/>
                    </a:lnTo>
                    <a:lnTo>
                      <a:pt x="13392" y="22451"/>
                    </a:lnTo>
                    <a:lnTo>
                      <a:pt x="13392" y="22472"/>
                    </a:lnTo>
                    <a:lnTo>
                      <a:pt x="13329" y="22347"/>
                    </a:lnTo>
                    <a:lnTo>
                      <a:pt x="13371" y="22242"/>
                    </a:lnTo>
                    <a:lnTo>
                      <a:pt x="13454" y="22179"/>
                    </a:lnTo>
                    <a:lnTo>
                      <a:pt x="13454" y="22116"/>
                    </a:lnTo>
                    <a:lnTo>
                      <a:pt x="13559" y="22012"/>
                    </a:lnTo>
                    <a:lnTo>
                      <a:pt x="13559" y="21928"/>
                    </a:lnTo>
                    <a:lnTo>
                      <a:pt x="13601" y="21970"/>
                    </a:lnTo>
                    <a:lnTo>
                      <a:pt x="13684" y="21970"/>
                    </a:lnTo>
                    <a:lnTo>
                      <a:pt x="13789" y="21865"/>
                    </a:lnTo>
                    <a:lnTo>
                      <a:pt x="13789" y="21761"/>
                    </a:lnTo>
                    <a:lnTo>
                      <a:pt x="13810" y="21740"/>
                    </a:lnTo>
                    <a:lnTo>
                      <a:pt x="13810" y="21614"/>
                    </a:lnTo>
                    <a:lnTo>
                      <a:pt x="13873" y="21551"/>
                    </a:lnTo>
                    <a:lnTo>
                      <a:pt x="13915" y="21551"/>
                    </a:lnTo>
                    <a:lnTo>
                      <a:pt x="13977" y="21447"/>
                    </a:lnTo>
                    <a:lnTo>
                      <a:pt x="13956" y="21384"/>
                    </a:lnTo>
                    <a:lnTo>
                      <a:pt x="13894" y="21300"/>
                    </a:lnTo>
                    <a:lnTo>
                      <a:pt x="13894" y="21112"/>
                    </a:lnTo>
                    <a:lnTo>
                      <a:pt x="13852" y="21070"/>
                    </a:lnTo>
                    <a:close/>
                    <a:moveTo>
                      <a:pt x="7617" y="0"/>
                    </a:moveTo>
                    <a:lnTo>
                      <a:pt x="7617" y="147"/>
                    </a:lnTo>
                    <a:lnTo>
                      <a:pt x="7575" y="272"/>
                    </a:lnTo>
                    <a:lnTo>
                      <a:pt x="7282" y="481"/>
                    </a:lnTo>
                    <a:lnTo>
                      <a:pt x="7094" y="502"/>
                    </a:lnTo>
                    <a:lnTo>
                      <a:pt x="6842" y="607"/>
                    </a:lnTo>
                    <a:lnTo>
                      <a:pt x="6738" y="565"/>
                    </a:lnTo>
                    <a:lnTo>
                      <a:pt x="6570" y="586"/>
                    </a:lnTo>
                    <a:lnTo>
                      <a:pt x="6382" y="732"/>
                    </a:lnTo>
                    <a:lnTo>
                      <a:pt x="6215" y="795"/>
                    </a:lnTo>
                    <a:lnTo>
                      <a:pt x="6152" y="732"/>
                    </a:lnTo>
                    <a:lnTo>
                      <a:pt x="5901" y="774"/>
                    </a:lnTo>
                    <a:lnTo>
                      <a:pt x="5692" y="774"/>
                    </a:lnTo>
                    <a:lnTo>
                      <a:pt x="5503" y="670"/>
                    </a:lnTo>
                    <a:lnTo>
                      <a:pt x="5315" y="628"/>
                    </a:lnTo>
                    <a:lnTo>
                      <a:pt x="5169" y="586"/>
                    </a:lnTo>
                    <a:lnTo>
                      <a:pt x="5169" y="586"/>
                    </a:lnTo>
                    <a:lnTo>
                      <a:pt x="5231" y="711"/>
                    </a:lnTo>
                    <a:lnTo>
                      <a:pt x="5378" y="774"/>
                    </a:lnTo>
                    <a:lnTo>
                      <a:pt x="5503" y="879"/>
                    </a:lnTo>
                    <a:lnTo>
                      <a:pt x="5545" y="984"/>
                    </a:lnTo>
                    <a:lnTo>
                      <a:pt x="5399" y="1235"/>
                    </a:lnTo>
                    <a:lnTo>
                      <a:pt x="5420" y="1297"/>
                    </a:lnTo>
                    <a:lnTo>
                      <a:pt x="5441" y="1339"/>
                    </a:lnTo>
                    <a:lnTo>
                      <a:pt x="5420" y="1528"/>
                    </a:lnTo>
                    <a:lnTo>
                      <a:pt x="5692" y="1611"/>
                    </a:lnTo>
                    <a:lnTo>
                      <a:pt x="5859" y="1569"/>
                    </a:lnTo>
                    <a:lnTo>
                      <a:pt x="6047" y="1611"/>
                    </a:lnTo>
                    <a:lnTo>
                      <a:pt x="6047" y="1716"/>
                    </a:lnTo>
                    <a:lnTo>
                      <a:pt x="5922" y="1758"/>
                    </a:lnTo>
                    <a:lnTo>
                      <a:pt x="5650" y="1820"/>
                    </a:lnTo>
                    <a:lnTo>
                      <a:pt x="5608" y="1862"/>
                    </a:lnTo>
                    <a:lnTo>
                      <a:pt x="5545" y="1925"/>
                    </a:lnTo>
                    <a:lnTo>
                      <a:pt x="5503" y="2072"/>
                    </a:lnTo>
                    <a:lnTo>
                      <a:pt x="5210" y="2239"/>
                    </a:lnTo>
                    <a:lnTo>
                      <a:pt x="5106" y="2344"/>
                    </a:lnTo>
                    <a:lnTo>
                      <a:pt x="4897" y="2469"/>
                    </a:lnTo>
                    <a:lnTo>
                      <a:pt x="4771" y="2616"/>
                    </a:lnTo>
                    <a:lnTo>
                      <a:pt x="4541" y="2616"/>
                    </a:lnTo>
                    <a:lnTo>
                      <a:pt x="4394" y="2595"/>
                    </a:lnTo>
                    <a:lnTo>
                      <a:pt x="4164" y="2406"/>
                    </a:lnTo>
                    <a:lnTo>
                      <a:pt x="3955" y="2260"/>
                    </a:lnTo>
                    <a:lnTo>
                      <a:pt x="3809" y="2281"/>
                    </a:lnTo>
                    <a:lnTo>
                      <a:pt x="3809" y="2134"/>
                    </a:lnTo>
                    <a:lnTo>
                      <a:pt x="3767" y="1988"/>
                    </a:lnTo>
                    <a:lnTo>
                      <a:pt x="3662" y="1883"/>
                    </a:lnTo>
                    <a:lnTo>
                      <a:pt x="3641" y="1820"/>
                    </a:lnTo>
                    <a:lnTo>
                      <a:pt x="3495" y="1862"/>
                    </a:lnTo>
                    <a:lnTo>
                      <a:pt x="3390" y="1988"/>
                    </a:lnTo>
                    <a:lnTo>
                      <a:pt x="3306" y="1988"/>
                    </a:lnTo>
                    <a:lnTo>
                      <a:pt x="3244" y="1946"/>
                    </a:lnTo>
                    <a:lnTo>
                      <a:pt x="3139" y="1946"/>
                    </a:lnTo>
                    <a:lnTo>
                      <a:pt x="3076" y="2030"/>
                    </a:lnTo>
                    <a:lnTo>
                      <a:pt x="2407" y="2030"/>
                    </a:lnTo>
                    <a:lnTo>
                      <a:pt x="2386" y="2197"/>
                    </a:lnTo>
                    <a:lnTo>
                      <a:pt x="2448" y="2344"/>
                    </a:lnTo>
                    <a:lnTo>
                      <a:pt x="2658" y="2385"/>
                    </a:lnTo>
                    <a:lnTo>
                      <a:pt x="2720" y="2553"/>
                    </a:lnTo>
                    <a:lnTo>
                      <a:pt x="2679" y="2616"/>
                    </a:lnTo>
                    <a:lnTo>
                      <a:pt x="2762" y="2699"/>
                    </a:lnTo>
                    <a:lnTo>
                      <a:pt x="2720" y="2804"/>
                    </a:lnTo>
                    <a:lnTo>
                      <a:pt x="2595" y="2720"/>
                    </a:lnTo>
                    <a:lnTo>
                      <a:pt x="2197" y="2867"/>
                    </a:lnTo>
                    <a:lnTo>
                      <a:pt x="2239" y="3180"/>
                    </a:lnTo>
                    <a:lnTo>
                      <a:pt x="2344" y="3306"/>
                    </a:lnTo>
                    <a:lnTo>
                      <a:pt x="2553" y="3452"/>
                    </a:lnTo>
                    <a:lnTo>
                      <a:pt x="2679" y="3724"/>
                    </a:lnTo>
                    <a:lnTo>
                      <a:pt x="2679" y="3913"/>
                    </a:lnTo>
                    <a:lnTo>
                      <a:pt x="2679" y="3976"/>
                    </a:lnTo>
                    <a:lnTo>
                      <a:pt x="2365" y="5189"/>
                    </a:lnTo>
                    <a:lnTo>
                      <a:pt x="2260" y="5503"/>
                    </a:lnTo>
                    <a:lnTo>
                      <a:pt x="2281" y="5545"/>
                    </a:lnTo>
                    <a:lnTo>
                      <a:pt x="2239" y="5629"/>
                    </a:lnTo>
                    <a:lnTo>
                      <a:pt x="2093" y="5608"/>
                    </a:lnTo>
                    <a:lnTo>
                      <a:pt x="2093" y="5587"/>
                    </a:lnTo>
                    <a:lnTo>
                      <a:pt x="1967" y="5503"/>
                    </a:lnTo>
                    <a:lnTo>
                      <a:pt x="1821" y="5503"/>
                    </a:lnTo>
                    <a:lnTo>
                      <a:pt x="1758" y="5482"/>
                    </a:lnTo>
                    <a:lnTo>
                      <a:pt x="1716" y="5545"/>
                    </a:lnTo>
                    <a:lnTo>
                      <a:pt x="1319" y="5691"/>
                    </a:lnTo>
                    <a:lnTo>
                      <a:pt x="1026" y="5733"/>
                    </a:lnTo>
                    <a:lnTo>
                      <a:pt x="942" y="5817"/>
                    </a:lnTo>
                    <a:lnTo>
                      <a:pt x="879" y="5838"/>
                    </a:lnTo>
                    <a:lnTo>
                      <a:pt x="733" y="5963"/>
                    </a:lnTo>
                    <a:lnTo>
                      <a:pt x="607" y="6026"/>
                    </a:lnTo>
                    <a:lnTo>
                      <a:pt x="503" y="6110"/>
                    </a:lnTo>
                    <a:lnTo>
                      <a:pt x="523" y="6256"/>
                    </a:lnTo>
                    <a:lnTo>
                      <a:pt x="482" y="6340"/>
                    </a:lnTo>
                    <a:lnTo>
                      <a:pt x="503" y="6424"/>
                    </a:lnTo>
                    <a:lnTo>
                      <a:pt x="356" y="6570"/>
                    </a:lnTo>
                    <a:lnTo>
                      <a:pt x="398" y="6779"/>
                    </a:lnTo>
                    <a:lnTo>
                      <a:pt x="461" y="6884"/>
                    </a:lnTo>
                    <a:lnTo>
                      <a:pt x="356" y="6968"/>
                    </a:lnTo>
                    <a:lnTo>
                      <a:pt x="272" y="6947"/>
                    </a:lnTo>
                    <a:lnTo>
                      <a:pt x="105" y="7051"/>
                    </a:lnTo>
                    <a:lnTo>
                      <a:pt x="105" y="7156"/>
                    </a:lnTo>
                    <a:lnTo>
                      <a:pt x="63" y="7198"/>
                    </a:lnTo>
                    <a:lnTo>
                      <a:pt x="84" y="7282"/>
                    </a:lnTo>
                    <a:lnTo>
                      <a:pt x="63" y="7407"/>
                    </a:lnTo>
                    <a:lnTo>
                      <a:pt x="0" y="7512"/>
                    </a:lnTo>
                    <a:lnTo>
                      <a:pt x="63" y="7616"/>
                    </a:lnTo>
                    <a:lnTo>
                      <a:pt x="42" y="7700"/>
                    </a:lnTo>
                    <a:lnTo>
                      <a:pt x="189" y="7846"/>
                    </a:lnTo>
                    <a:lnTo>
                      <a:pt x="482" y="8307"/>
                    </a:lnTo>
                    <a:lnTo>
                      <a:pt x="314" y="8474"/>
                    </a:lnTo>
                    <a:lnTo>
                      <a:pt x="691" y="8453"/>
                    </a:lnTo>
                    <a:lnTo>
                      <a:pt x="879" y="8474"/>
                    </a:lnTo>
                    <a:lnTo>
                      <a:pt x="1005" y="8662"/>
                    </a:lnTo>
                    <a:lnTo>
                      <a:pt x="1026" y="8830"/>
                    </a:lnTo>
                    <a:lnTo>
                      <a:pt x="1256" y="8830"/>
                    </a:lnTo>
                    <a:lnTo>
                      <a:pt x="1549" y="8851"/>
                    </a:lnTo>
                    <a:lnTo>
                      <a:pt x="1779" y="8621"/>
                    </a:lnTo>
                    <a:lnTo>
                      <a:pt x="1988" y="8474"/>
                    </a:lnTo>
                    <a:lnTo>
                      <a:pt x="2051" y="8537"/>
                    </a:lnTo>
                    <a:lnTo>
                      <a:pt x="2030" y="8662"/>
                    </a:lnTo>
                    <a:lnTo>
                      <a:pt x="1967" y="8725"/>
                    </a:lnTo>
                    <a:lnTo>
                      <a:pt x="1967" y="8934"/>
                    </a:lnTo>
                    <a:lnTo>
                      <a:pt x="1988" y="9269"/>
                    </a:lnTo>
                    <a:lnTo>
                      <a:pt x="1988" y="9395"/>
                    </a:lnTo>
                    <a:lnTo>
                      <a:pt x="2072" y="9478"/>
                    </a:lnTo>
                    <a:lnTo>
                      <a:pt x="2176" y="9458"/>
                    </a:lnTo>
                    <a:lnTo>
                      <a:pt x="2281" y="9416"/>
                    </a:lnTo>
                    <a:lnTo>
                      <a:pt x="2469" y="9416"/>
                    </a:lnTo>
                    <a:lnTo>
                      <a:pt x="2511" y="9458"/>
                    </a:lnTo>
                    <a:lnTo>
                      <a:pt x="3076" y="9458"/>
                    </a:lnTo>
                    <a:lnTo>
                      <a:pt x="3223" y="9353"/>
                    </a:lnTo>
                    <a:lnTo>
                      <a:pt x="3306" y="9353"/>
                    </a:lnTo>
                    <a:lnTo>
                      <a:pt x="3432" y="9248"/>
                    </a:lnTo>
                    <a:lnTo>
                      <a:pt x="3557" y="9248"/>
                    </a:lnTo>
                    <a:lnTo>
                      <a:pt x="3725" y="9186"/>
                    </a:lnTo>
                    <a:lnTo>
                      <a:pt x="3829" y="8934"/>
                    </a:lnTo>
                    <a:lnTo>
                      <a:pt x="4081" y="8746"/>
                    </a:lnTo>
                    <a:lnTo>
                      <a:pt x="4269" y="8725"/>
                    </a:lnTo>
                    <a:lnTo>
                      <a:pt x="4457" y="8621"/>
                    </a:lnTo>
                    <a:lnTo>
                      <a:pt x="4583" y="8621"/>
                    </a:lnTo>
                    <a:lnTo>
                      <a:pt x="4687" y="8683"/>
                    </a:lnTo>
                    <a:lnTo>
                      <a:pt x="4813" y="8621"/>
                    </a:lnTo>
                    <a:lnTo>
                      <a:pt x="4897" y="8662"/>
                    </a:lnTo>
                    <a:lnTo>
                      <a:pt x="4876" y="8788"/>
                    </a:lnTo>
                    <a:lnTo>
                      <a:pt x="4959" y="8997"/>
                    </a:lnTo>
                    <a:lnTo>
                      <a:pt x="5085" y="9374"/>
                    </a:lnTo>
                    <a:lnTo>
                      <a:pt x="5169" y="9646"/>
                    </a:lnTo>
                    <a:lnTo>
                      <a:pt x="5106" y="9751"/>
                    </a:lnTo>
                    <a:lnTo>
                      <a:pt x="5210" y="9960"/>
                    </a:lnTo>
                    <a:lnTo>
                      <a:pt x="5357" y="10002"/>
                    </a:lnTo>
                    <a:lnTo>
                      <a:pt x="5399" y="10190"/>
                    </a:lnTo>
                    <a:lnTo>
                      <a:pt x="5524" y="10274"/>
                    </a:lnTo>
                    <a:lnTo>
                      <a:pt x="5713" y="10357"/>
                    </a:lnTo>
                    <a:lnTo>
                      <a:pt x="5838" y="10462"/>
                    </a:lnTo>
                    <a:lnTo>
                      <a:pt x="5901" y="10420"/>
                    </a:lnTo>
                    <a:lnTo>
                      <a:pt x="6131" y="10357"/>
                    </a:lnTo>
                    <a:lnTo>
                      <a:pt x="6340" y="10587"/>
                    </a:lnTo>
                    <a:lnTo>
                      <a:pt x="6508" y="10525"/>
                    </a:lnTo>
                    <a:lnTo>
                      <a:pt x="6717" y="10755"/>
                    </a:lnTo>
                    <a:lnTo>
                      <a:pt x="6822" y="10755"/>
                    </a:lnTo>
                    <a:lnTo>
                      <a:pt x="7073" y="10839"/>
                    </a:lnTo>
                    <a:lnTo>
                      <a:pt x="7240" y="10880"/>
                    </a:lnTo>
                    <a:lnTo>
                      <a:pt x="7261" y="11048"/>
                    </a:lnTo>
                    <a:lnTo>
                      <a:pt x="7366" y="11069"/>
                    </a:lnTo>
                    <a:lnTo>
                      <a:pt x="7512" y="11152"/>
                    </a:lnTo>
                    <a:lnTo>
                      <a:pt x="7868" y="11131"/>
                    </a:lnTo>
                    <a:lnTo>
                      <a:pt x="8098" y="11257"/>
                    </a:lnTo>
                    <a:lnTo>
                      <a:pt x="8140" y="11362"/>
                    </a:lnTo>
                    <a:lnTo>
                      <a:pt x="8119" y="11634"/>
                    </a:lnTo>
                    <a:lnTo>
                      <a:pt x="8182" y="11843"/>
                    </a:lnTo>
                    <a:lnTo>
                      <a:pt x="8098" y="11968"/>
                    </a:lnTo>
                    <a:lnTo>
                      <a:pt x="8307" y="12324"/>
                    </a:lnTo>
                    <a:lnTo>
                      <a:pt x="8286" y="12596"/>
                    </a:lnTo>
                    <a:lnTo>
                      <a:pt x="9290" y="12617"/>
                    </a:lnTo>
                    <a:lnTo>
                      <a:pt x="9353" y="12973"/>
                    </a:lnTo>
                    <a:lnTo>
                      <a:pt x="9332" y="13224"/>
                    </a:lnTo>
                    <a:lnTo>
                      <a:pt x="9604" y="13287"/>
                    </a:lnTo>
                    <a:lnTo>
                      <a:pt x="9897" y="13810"/>
                    </a:lnTo>
                    <a:lnTo>
                      <a:pt x="9918" y="14103"/>
                    </a:lnTo>
                    <a:lnTo>
                      <a:pt x="9646" y="14688"/>
                    </a:lnTo>
                    <a:lnTo>
                      <a:pt x="9667" y="14772"/>
                    </a:lnTo>
                    <a:lnTo>
                      <a:pt x="9583" y="14856"/>
                    </a:lnTo>
                    <a:lnTo>
                      <a:pt x="9646" y="14919"/>
                    </a:lnTo>
                    <a:lnTo>
                      <a:pt x="9604" y="15044"/>
                    </a:lnTo>
                    <a:lnTo>
                      <a:pt x="9751" y="15149"/>
                    </a:lnTo>
                    <a:lnTo>
                      <a:pt x="9751" y="15337"/>
                    </a:lnTo>
                    <a:lnTo>
                      <a:pt x="9855" y="15525"/>
                    </a:lnTo>
                    <a:lnTo>
                      <a:pt x="9793" y="15860"/>
                    </a:lnTo>
                    <a:lnTo>
                      <a:pt x="9814" y="15986"/>
                    </a:lnTo>
                    <a:lnTo>
                      <a:pt x="9772" y="16111"/>
                    </a:lnTo>
                    <a:lnTo>
                      <a:pt x="9814" y="16258"/>
                    </a:lnTo>
                    <a:lnTo>
                      <a:pt x="10023" y="16216"/>
                    </a:lnTo>
                    <a:lnTo>
                      <a:pt x="10107" y="16279"/>
                    </a:lnTo>
                    <a:lnTo>
                      <a:pt x="10379" y="16258"/>
                    </a:lnTo>
                    <a:lnTo>
                      <a:pt x="10525" y="16300"/>
                    </a:lnTo>
                    <a:lnTo>
                      <a:pt x="10797" y="16195"/>
                    </a:lnTo>
                    <a:lnTo>
                      <a:pt x="10923" y="16300"/>
                    </a:lnTo>
                    <a:lnTo>
                      <a:pt x="11027" y="16321"/>
                    </a:lnTo>
                    <a:lnTo>
                      <a:pt x="11069" y="16467"/>
                    </a:lnTo>
                    <a:lnTo>
                      <a:pt x="11236" y="17095"/>
                    </a:lnTo>
                    <a:lnTo>
                      <a:pt x="11341" y="17304"/>
                    </a:lnTo>
                    <a:lnTo>
                      <a:pt x="11446" y="17325"/>
                    </a:lnTo>
                    <a:lnTo>
                      <a:pt x="11676" y="17199"/>
                    </a:lnTo>
                    <a:lnTo>
                      <a:pt x="11801" y="17241"/>
                    </a:lnTo>
                    <a:lnTo>
                      <a:pt x="11885" y="17325"/>
                    </a:lnTo>
                    <a:lnTo>
                      <a:pt x="11969" y="17346"/>
                    </a:lnTo>
                    <a:lnTo>
                      <a:pt x="11906" y="17450"/>
                    </a:lnTo>
                    <a:lnTo>
                      <a:pt x="11885" y="17994"/>
                    </a:lnTo>
                    <a:lnTo>
                      <a:pt x="11864" y="18057"/>
                    </a:lnTo>
                    <a:lnTo>
                      <a:pt x="11822" y="18078"/>
                    </a:lnTo>
                    <a:lnTo>
                      <a:pt x="11822" y="18162"/>
                    </a:lnTo>
                    <a:lnTo>
                      <a:pt x="11801" y="18204"/>
                    </a:lnTo>
                    <a:lnTo>
                      <a:pt x="11801" y="18287"/>
                    </a:lnTo>
                    <a:lnTo>
                      <a:pt x="11906" y="18204"/>
                    </a:lnTo>
                    <a:lnTo>
                      <a:pt x="12178" y="18245"/>
                    </a:lnTo>
                    <a:lnTo>
                      <a:pt x="12178" y="18350"/>
                    </a:lnTo>
                    <a:lnTo>
                      <a:pt x="12283" y="18580"/>
                    </a:lnTo>
                    <a:lnTo>
                      <a:pt x="12283" y="18769"/>
                    </a:lnTo>
                    <a:lnTo>
                      <a:pt x="12303" y="18999"/>
                    </a:lnTo>
                    <a:lnTo>
                      <a:pt x="12324" y="19208"/>
                    </a:lnTo>
                    <a:lnTo>
                      <a:pt x="12303" y="19292"/>
                    </a:lnTo>
                    <a:lnTo>
                      <a:pt x="12199" y="19292"/>
                    </a:lnTo>
                    <a:lnTo>
                      <a:pt x="12073" y="19354"/>
                    </a:lnTo>
                    <a:lnTo>
                      <a:pt x="12031" y="19417"/>
                    </a:lnTo>
                    <a:lnTo>
                      <a:pt x="11969" y="19501"/>
                    </a:lnTo>
                    <a:lnTo>
                      <a:pt x="11927" y="19459"/>
                    </a:lnTo>
                    <a:lnTo>
                      <a:pt x="11697" y="19626"/>
                    </a:lnTo>
                    <a:lnTo>
                      <a:pt x="11655" y="19710"/>
                    </a:lnTo>
                    <a:lnTo>
                      <a:pt x="11571" y="19731"/>
                    </a:lnTo>
                    <a:lnTo>
                      <a:pt x="11362" y="19919"/>
                    </a:lnTo>
                    <a:lnTo>
                      <a:pt x="11278" y="19940"/>
                    </a:lnTo>
                    <a:lnTo>
                      <a:pt x="11278" y="20066"/>
                    </a:lnTo>
                    <a:lnTo>
                      <a:pt x="11195" y="20087"/>
                    </a:lnTo>
                    <a:lnTo>
                      <a:pt x="11132" y="20087"/>
                    </a:lnTo>
                    <a:lnTo>
                      <a:pt x="10943" y="20338"/>
                    </a:lnTo>
                    <a:lnTo>
                      <a:pt x="10923" y="20401"/>
                    </a:lnTo>
                    <a:lnTo>
                      <a:pt x="10923" y="20547"/>
                    </a:lnTo>
                    <a:lnTo>
                      <a:pt x="10839" y="20568"/>
                    </a:lnTo>
                    <a:lnTo>
                      <a:pt x="10776" y="20652"/>
                    </a:lnTo>
                    <a:lnTo>
                      <a:pt x="10671" y="20861"/>
                    </a:lnTo>
                    <a:lnTo>
                      <a:pt x="10609" y="20924"/>
                    </a:lnTo>
                    <a:lnTo>
                      <a:pt x="10504" y="21091"/>
                    </a:lnTo>
                    <a:lnTo>
                      <a:pt x="10504" y="21133"/>
                    </a:lnTo>
                    <a:lnTo>
                      <a:pt x="10399" y="21217"/>
                    </a:lnTo>
                    <a:lnTo>
                      <a:pt x="10358" y="21279"/>
                    </a:lnTo>
                    <a:lnTo>
                      <a:pt x="10441" y="21279"/>
                    </a:lnTo>
                    <a:lnTo>
                      <a:pt x="10504" y="21300"/>
                    </a:lnTo>
                    <a:lnTo>
                      <a:pt x="10776" y="21217"/>
                    </a:lnTo>
                    <a:lnTo>
                      <a:pt x="10923" y="21300"/>
                    </a:lnTo>
                    <a:lnTo>
                      <a:pt x="11048" y="21489"/>
                    </a:lnTo>
                    <a:lnTo>
                      <a:pt x="11153" y="21530"/>
                    </a:lnTo>
                    <a:lnTo>
                      <a:pt x="11236" y="21698"/>
                    </a:lnTo>
                    <a:lnTo>
                      <a:pt x="11362" y="21928"/>
                    </a:lnTo>
                    <a:lnTo>
                      <a:pt x="11446" y="21928"/>
                    </a:lnTo>
                    <a:lnTo>
                      <a:pt x="11550" y="21803"/>
                    </a:lnTo>
                    <a:lnTo>
                      <a:pt x="11592" y="21803"/>
                    </a:lnTo>
                    <a:lnTo>
                      <a:pt x="11718" y="22012"/>
                    </a:lnTo>
                    <a:lnTo>
                      <a:pt x="11885" y="22075"/>
                    </a:lnTo>
                    <a:lnTo>
                      <a:pt x="12011" y="22116"/>
                    </a:lnTo>
                    <a:lnTo>
                      <a:pt x="12136" y="22242"/>
                    </a:lnTo>
                    <a:lnTo>
                      <a:pt x="12136" y="22388"/>
                    </a:lnTo>
                    <a:lnTo>
                      <a:pt x="12241" y="22367"/>
                    </a:lnTo>
                    <a:lnTo>
                      <a:pt x="12492" y="22472"/>
                    </a:lnTo>
                    <a:lnTo>
                      <a:pt x="12617" y="22639"/>
                    </a:lnTo>
                    <a:lnTo>
                      <a:pt x="12743" y="22849"/>
                    </a:lnTo>
                    <a:lnTo>
                      <a:pt x="12868" y="22911"/>
                    </a:lnTo>
                    <a:lnTo>
                      <a:pt x="12848" y="23079"/>
                    </a:lnTo>
                    <a:lnTo>
                      <a:pt x="12743" y="23225"/>
                    </a:lnTo>
                    <a:lnTo>
                      <a:pt x="12806" y="23414"/>
                    </a:lnTo>
                    <a:lnTo>
                      <a:pt x="12827" y="23476"/>
                    </a:lnTo>
                    <a:lnTo>
                      <a:pt x="12848" y="23497"/>
                    </a:lnTo>
                    <a:lnTo>
                      <a:pt x="12931" y="23581"/>
                    </a:lnTo>
                    <a:lnTo>
                      <a:pt x="12952" y="23602"/>
                    </a:lnTo>
                    <a:lnTo>
                      <a:pt x="13161" y="23414"/>
                    </a:lnTo>
                    <a:lnTo>
                      <a:pt x="13245" y="23225"/>
                    </a:lnTo>
                    <a:lnTo>
                      <a:pt x="13350" y="22849"/>
                    </a:lnTo>
                    <a:lnTo>
                      <a:pt x="13433" y="22577"/>
                    </a:lnTo>
                    <a:lnTo>
                      <a:pt x="13454" y="22535"/>
                    </a:lnTo>
                    <a:lnTo>
                      <a:pt x="13426" y="22507"/>
                    </a:lnTo>
                    <a:lnTo>
                      <a:pt x="13426" y="22507"/>
                    </a:lnTo>
                    <a:lnTo>
                      <a:pt x="13496" y="22535"/>
                    </a:lnTo>
                    <a:lnTo>
                      <a:pt x="13873" y="22242"/>
                    </a:lnTo>
                    <a:lnTo>
                      <a:pt x="14061" y="22033"/>
                    </a:lnTo>
                    <a:lnTo>
                      <a:pt x="14312" y="21551"/>
                    </a:lnTo>
                    <a:lnTo>
                      <a:pt x="14417" y="21321"/>
                    </a:lnTo>
                    <a:lnTo>
                      <a:pt x="14521" y="21028"/>
                    </a:lnTo>
                    <a:lnTo>
                      <a:pt x="14793" y="20547"/>
                    </a:lnTo>
                    <a:lnTo>
                      <a:pt x="15044" y="20233"/>
                    </a:lnTo>
                    <a:lnTo>
                      <a:pt x="15107" y="20129"/>
                    </a:lnTo>
                    <a:lnTo>
                      <a:pt x="15065" y="20087"/>
                    </a:lnTo>
                    <a:lnTo>
                      <a:pt x="15065" y="20024"/>
                    </a:lnTo>
                    <a:lnTo>
                      <a:pt x="15128" y="19982"/>
                    </a:lnTo>
                    <a:lnTo>
                      <a:pt x="15170" y="19857"/>
                    </a:lnTo>
                    <a:lnTo>
                      <a:pt x="15254" y="19815"/>
                    </a:lnTo>
                    <a:lnTo>
                      <a:pt x="15233" y="19710"/>
                    </a:lnTo>
                    <a:lnTo>
                      <a:pt x="15254" y="19626"/>
                    </a:lnTo>
                    <a:lnTo>
                      <a:pt x="15233" y="19606"/>
                    </a:lnTo>
                    <a:lnTo>
                      <a:pt x="15296" y="19585"/>
                    </a:lnTo>
                    <a:lnTo>
                      <a:pt x="15296" y="19480"/>
                    </a:lnTo>
                    <a:lnTo>
                      <a:pt x="15191" y="19313"/>
                    </a:lnTo>
                    <a:lnTo>
                      <a:pt x="15191" y="19229"/>
                    </a:lnTo>
                    <a:lnTo>
                      <a:pt x="15212" y="19166"/>
                    </a:lnTo>
                    <a:lnTo>
                      <a:pt x="15191" y="19082"/>
                    </a:lnTo>
                    <a:lnTo>
                      <a:pt x="15149" y="18915"/>
                    </a:lnTo>
                    <a:lnTo>
                      <a:pt x="15107" y="18748"/>
                    </a:lnTo>
                    <a:lnTo>
                      <a:pt x="15149" y="18685"/>
                    </a:lnTo>
                    <a:lnTo>
                      <a:pt x="15316" y="18664"/>
                    </a:lnTo>
                    <a:lnTo>
                      <a:pt x="15296" y="18559"/>
                    </a:lnTo>
                    <a:lnTo>
                      <a:pt x="15212" y="18497"/>
                    </a:lnTo>
                    <a:lnTo>
                      <a:pt x="15337" y="18476"/>
                    </a:lnTo>
                    <a:lnTo>
                      <a:pt x="15337" y="18371"/>
                    </a:lnTo>
                    <a:lnTo>
                      <a:pt x="15212" y="18308"/>
                    </a:lnTo>
                    <a:lnTo>
                      <a:pt x="15316" y="18287"/>
                    </a:lnTo>
                    <a:lnTo>
                      <a:pt x="15379" y="18183"/>
                    </a:lnTo>
                    <a:lnTo>
                      <a:pt x="15442" y="18245"/>
                    </a:lnTo>
                    <a:lnTo>
                      <a:pt x="15630" y="18057"/>
                    </a:lnTo>
                    <a:lnTo>
                      <a:pt x="15735" y="17973"/>
                    </a:lnTo>
                    <a:lnTo>
                      <a:pt x="15735" y="17932"/>
                    </a:lnTo>
                    <a:lnTo>
                      <a:pt x="15881" y="17785"/>
                    </a:lnTo>
                    <a:lnTo>
                      <a:pt x="16070" y="17681"/>
                    </a:lnTo>
                    <a:lnTo>
                      <a:pt x="16300" y="17429"/>
                    </a:lnTo>
                    <a:lnTo>
                      <a:pt x="16509" y="17409"/>
                    </a:lnTo>
                    <a:lnTo>
                      <a:pt x="16614" y="17304"/>
                    </a:lnTo>
                    <a:lnTo>
                      <a:pt x="16739" y="17199"/>
                    </a:lnTo>
                    <a:lnTo>
                      <a:pt x="16844" y="17199"/>
                    </a:lnTo>
                    <a:lnTo>
                      <a:pt x="16928" y="17241"/>
                    </a:lnTo>
                    <a:lnTo>
                      <a:pt x="17011" y="17283"/>
                    </a:lnTo>
                    <a:lnTo>
                      <a:pt x="17011" y="17199"/>
                    </a:lnTo>
                    <a:lnTo>
                      <a:pt x="17095" y="17032"/>
                    </a:lnTo>
                    <a:lnTo>
                      <a:pt x="17325" y="16885"/>
                    </a:lnTo>
                    <a:lnTo>
                      <a:pt x="17430" y="16865"/>
                    </a:lnTo>
                    <a:lnTo>
                      <a:pt x="17430" y="16802"/>
                    </a:lnTo>
                    <a:lnTo>
                      <a:pt x="17367" y="16781"/>
                    </a:lnTo>
                    <a:lnTo>
                      <a:pt x="17304" y="16739"/>
                    </a:lnTo>
                    <a:lnTo>
                      <a:pt x="17262" y="16676"/>
                    </a:lnTo>
                    <a:lnTo>
                      <a:pt x="17346" y="16634"/>
                    </a:lnTo>
                    <a:lnTo>
                      <a:pt x="17513" y="16572"/>
                    </a:lnTo>
                    <a:lnTo>
                      <a:pt x="17576" y="16593"/>
                    </a:lnTo>
                    <a:lnTo>
                      <a:pt x="17681" y="16593"/>
                    </a:lnTo>
                    <a:lnTo>
                      <a:pt x="17765" y="16530"/>
                    </a:lnTo>
                    <a:lnTo>
                      <a:pt x="17869" y="16530"/>
                    </a:lnTo>
                    <a:lnTo>
                      <a:pt x="17869" y="16593"/>
                    </a:lnTo>
                    <a:lnTo>
                      <a:pt x="17744" y="16676"/>
                    </a:lnTo>
                    <a:lnTo>
                      <a:pt x="17576" y="16697"/>
                    </a:lnTo>
                    <a:lnTo>
                      <a:pt x="17555" y="16718"/>
                    </a:lnTo>
                    <a:lnTo>
                      <a:pt x="17618" y="16739"/>
                    </a:lnTo>
                    <a:lnTo>
                      <a:pt x="17848" y="16676"/>
                    </a:lnTo>
                    <a:lnTo>
                      <a:pt x="18099" y="16572"/>
                    </a:lnTo>
                    <a:lnTo>
                      <a:pt x="18078" y="16509"/>
                    </a:lnTo>
                    <a:lnTo>
                      <a:pt x="18162" y="16467"/>
                    </a:lnTo>
                    <a:lnTo>
                      <a:pt x="18246" y="16467"/>
                    </a:lnTo>
                    <a:lnTo>
                      <a:pt x="18204" y="16509"/>
                    </a:lnTo>
                    <a:cubicBezTo>
                      <a:pt x="18204" y="16509"/>
                      <a:pt x="18204" y="16613"/>
                      <a:pt x="18246" y="16613"/>
                    </a:cubicBezTo>
                    <a:lnTo>
                      <a:pt x="18392" y="16634"/>
                    </a:lnTo>
                    <a:lnTo>
                      <a:pt x="18497" y="16593"/>
                    </a:lnTo>
                    <a:lnTo>
                      <a:pt x="18664" y="16593"/>
                    </a:lnTo>
                    <a:lnTo>
                      <a:pt x="18832" y="16613"/>
                    </a:lnTo>
                    <a:lnTo>
                      <a:pt x="18936" y="16551"/>
                    </a:lnTo>
                    <a:lnTo>
                      <a:pt x="18936" y="16488"/>
                    </a:lnTo>
                    <a:lnTo>
                      <a:pt x="18915" y="16467"/>
                    </a:lnTo>
                    <a:lnTo>
                      <a:pt x="18936" y="16404"/>
                    </a:lnTo>
                    <a:lnTo>
                      <a:pt x="19208" y="16237"/>
                    </a:lnTo>
                    <a:lnTo>
                      <a:pt x="19418" y="16153"/>
                    </a:lnTo>
                    <a:lnTo>
                      <a:pt x="19522" y="16069"/>
                    </a:lnTo>
                    <a:lnTo>
                      <a:pt x="19543" y="15986"/>
                    </a:lnTo>
                    <a:lnTo>
                      <a:pt x="19522" y="15944"/>
                    </a:lnTo>
                    <a:lnTo>
                      <a:pt x="19418" y="15735"/>
                    </a:lnTo>
                    <a:lnTo>
                      <a:pt x="19501" y="15567"/>
                    </a:lnTo>
                    <a:lnTo>
                      <a:pt x="19564" y="15463"/>
                    </a:lnTo>
                    <a:lnTo>
                      <a:pt x="19564" y="15358"/>
                    </a:lnTo>
                    <a:lnTo>
                      <a:pt x="19627" y="15316"/>
                    </a:lnTo>
                    <a:lnTo>
                      <a:pt x="19731" y="15232"/>
                    </a:lnTo>
                    <a:lnTo>
                      <a:pt x="19752" y="15128"/>
                    </a:lnTo>
                    <a:lnTo>
                      <a:pt x="19731" y="15107"/>
                    </a:lnTo>
                    <a:lnTo>
                      <a:pt x="19878" y="14835"/>
                    </a:lnTo>
                    <a:lnTo>
                      <a:pt x="20087" y="14584"/>
                    </a:lnTo>
                    <a:lnTo>
                      <a:pt x="20087" y="14479"/>
                    </a:lnTo>
                    <a:lnTo>
                      <a:pt x="20045" y="14103"/>
                    </a:lnTo>
                    <a:lnTo>
                      <a:pt x="20003" y="14082"/>
                    </a:lnTo>
                    <a:lnTo>
                      <a:pt x="20066" y="13872"/>
                    </a:lnTo>
                    <a:lnTo>
                      <a:pt x="20129" y="13789"/>
                    </a:lnTo>
                    <a:lnTo>
                      <a:pt x="20129" y="13726"/>
                    </a:lnTo>
                    <a:lnTo>
                      <a:pt x="20317" y="13580"/>
                    </a:lnTo>
                    <a:lnTo>
                      <a:pt x="20338" y="13496"/>
                    </a:lnTo>
                    <a:lnTo>
                      <a:pt x="20275" y="13287"/>
                    </a:lnTo>
                    <a:lnTo>
                      <a:pt x="20359" y="13036"/>
                    </a:lnTo>
                    <a:lnTo>
                      <a:pt x="20338" y="12826"/>
                    </a:lnTo>
                    <a:lnTo>
                      <a:pt x="20359" y="12659"/>
                    </a:lnTo>
                    <a:lnTo>
                      <a:pt x="20359" y="12596"/>
                    </a:lnTo>
                    <a:lnTo>
                      <a:pt x="20422" y="12387"/>
                    </a:lnTo>
                    <a:lnTo>
                      <a:pt x="20359" y="11592"/>
                    </a:lnTo>
                    <a:lnTo>
                      <a:pt x="20359" y="11445"/>
                    </a:lnTo>
                    <a:lnTo>
                      <a:pt x="20422" y="11341"/>
                    </a:lnTo>
                    <a:lnTo>
                      <a:pt x="20422" y="11236"/>
                    </a:lnTo>
                    <a:lnTo>
                      <a:pt x="20359" y="11278"/>
                    </a:lnTo>
                    <a:lnTo>
                      <a:pt x="20275" y="11194"/>
                    </a:lnTo>
                    <a:lnTo>
                      <a:pt x="20275" y="11131"/>
                    </a:lnTo>
                    <a:lnTo>
                      <a:pt x="20359" y="10985"/>
                    </a:lnTo>
                    <a:lnTo>
                      <a:pt x="20338" y="10859"/>
                    </a:lnTo>
                    <a:lnTo>
                      <a:pt x="20359" y="10776"/>
                    </a:lnTo>
                    <a:lnTo>
                      <a:pt x="20443" y="10755"/>
                    </a:lnTo>
                    <a:lnTo>
                      <a:pt x="20464" y="10629"/>
                    </a:lnTo>
                    <a:lnTo>
                      <a:pt x="20380" y="10504"/>
                    </a:lnTo>
                    <a:lnTo>
                      <a:pt x="20234" y="10420"/>
                    </a:lnTo>
                    <a:lnTo>
                      <a:pt x="20275" y="10399"/>
                    </a:lnTo>
                    <a:lnTo>
                      <a:pt x="20317" y="10336"/>
                    </a:lnTo>
                    <a:lnTo>
                      <a:pt x="20338" y="10399"/>
                    </a:lnTo>
                    <a:lnTo>
                      <a:pt x="20422" y="10441"/>
                    </a:lnTo>
                    <a:lnTo>
                      <a:pt x="20485" y="10462"/>
                    </a:lnTo>
                    <a:lnTo>
                      <a:pt x="20526" y="10336"/>
                    </a:lnTo>
                    <a:lnTo>
                      <a:pt x="20589" y="10336"/>
                    </a:lnTo>
                    <a:lnTo>
                      <a:pt x="20631" y="10420"/>
                    </a:lnTo>
                    <a:lnTo>
                      <a:pt x="20673" y="10441"/>
                    </a:lnTo>
                    <a:lnTo>
                      <a:pt x="20631" y="10525"/>
                    </a:lnTo>
                    <a:lnTo>
                      <a:pt x="20547" y="10567"/>
                    </a:lnTo>
                    <a:lnTo>
                      <a:pt x="20526" y="10650"/>
                    </a:lnTo>
                    <a:lnTo>
                      <a:pt x="20568" y="10650"/>
                    </a:lnTo>
                    <a:lnTo>
                      <a:pt x="20673" y="10546"/>
                    </a:lnTo>
                    <a:lnTo>
                      <a:pt x="20840" y="10462"/>
                    </a:lnTo>
                    <a:lnTo>
                      <a:pt x="21008" y="10190"/>
                    </a:lnTo>
                    <a:lnTo>
                      <a:pt x="21091" y="9981"/>
                    </a:lnTo>
                    <a:lnTo>
                      <a:pt x="21112" y="9834"/>
                    </a:lnTo>
                    <a:lnTo>
                      <a:pt x="21196" y="9771"/>
                    </a:lnTo>
                    <a:lnTo>
                      <a:pt x="21280" y="9562"/>
                    </a:lnTo>
                    <a:lnTo>
                      <a:pt x="21363" y="9374"/>
                    </a:lnTo>
                    <a:lnTo>
                      <a:pt x="21677" y="9165"/>
                    </a:lnTo>
                    <a:lnTo>
                      <a:pt x="21698" y="9060"/>
                    </a:lnTo>
                    <a:lnTo>
                      <a:pt x="21803" y="9039"/>
                    </a:lnTo>
                    <a:lnTo>
                      <a:pt x="21887" y="8934"/>
                    </a:lnTo>
                    <a:lnTo>
                      <a:pt x="22138" y="8683"/>
                    </a:lnTo>
                    <a:lnTo>
                      <a:pt x="22368" y="8370"/>
                    </a:lnTo>
                    <a:lnTo>
                      <a:pt x="22431" y="8307"/>
                    </a:lnTo>
                    <a:lnTo>
                      <a:pt x="22556" y="7993"/>
                    </a:lnTo>
                    <a:lnTo>
                      <a:pt x="22577" y="7846"/>
                    </a:lnTo>
                    <a:lnTo>
                      <a:pt x="22661" y="7742"/>
                    </a:lnTo>
                    <a:lnTo>
                      <a:pt x="22661" y="7637"/>
                    </a:lnTo>
                    <a:lnTo>
                      <a:pt x="22577" y="7533"/>
                    </a:lnTo>
                    <a:lnTo>
                      <a:pt x="22619" y="7449"/>
                    </a:lnTo>
                    <a:lnTo>
                      <a:pt x="22682" y="7449"/>
                    </a:lnTo>
                    <a:lnTo>
                      <a:pt x="22661" y="7156"/>
                    </a:lnTo>
                    <a:lnTo>
                      <a:pt x="22577" y="7093"/>
                    </a:lnTo>
                    <a:lnTo>
                      <a:pt x="22556" y="6968"/>
                    </a:lnTo>
                    <a:lnTo>
                      <a:pt x="22347" y="6528"/>
                    </a:lnTo>
                    <a:lnTo>
                      <a:pt x="22347" y="6361"/>
                    </a:lnTo>
                    <a:lnTo>
                      <a:pt x="22326" y="6193"/>
                    </a:lnTo>
                    <a:lnTo>
                      <a:pt x="21949" y="6026"/>
                    </a:lnTo>
                    <a:lnTo>
                      <a:pt x="21740" y="6026"/>
                    </a:lnTo>
                    <a:lnTo>
                      <a:pt x="21594" y="6110"/>
                    </a:lnTo>
                    <a:lnTo>
                      <a:pt x="21489" y="5942"/>
                    </a:lnTo>
                    <a:lnTo>
                      <a:pt x="21342" y="5921"/>
                    </a:lnTo>
                    <a:lnTo>
                      <a:pt x="21217" y="5796"/>
                    </a:lnTo>
                    <a:lnTo>
                      <a:pt x="21070" y="5712"/>
                    </a:lnTo>
                    <a:lnTo>
                      <a:pt x="20966" y="5691"/>
                    </a:lnTo>
                    <a:lnTo>
                      <a:pt x="20694" y="5398"/>
                    </a:lnTo>
                    <a:lnTo>
                      <a:pt x="20485" y="5105"/>
                    </a:lnTo>
                    <a:lnTo>
                      <a:pt x="20380" y="5085"/>
                    </a:lnTo>
                    <a:lnTo>
                      <a:pt x="20254" y="4959"/>
                    </a:lnTo>
                    <a:lnTo>
                      <a:pt x="20129" y="4959"/>
                    </a:lnTo>
                    <a:lnTo>
                      <a:pt x="19773" y="4687"/>
                    </a:lnTo>
                    <a:lnTo>
                      <a:pt x="19627" y="4687"/>
                    </a:lnTo>
                    <a:lnTo>
                      <a:pt x="19438" y="4603"/>
                    </a:lnTo>
                    <a:lnTo>
                      <a:pt x="19334" y="4666"/>
                    </a:lnTo>
                    <a:lnTo>
                      <a:pt x="19187" y="4666"/>
                    </a:lnTo>
                    <a:lnTo>
                      <a:pt x="19083" y="4603"/>
                    </a:lnTo>
                    <a:lnTo>
                      <a:pt x="18978" y="4666"/>
                    </a:lnTo>
                    <a:lnTo>
                      <a:pt x="18915" y="4750"/>
                    </a:lnTo>
                    <a:lnTo>
                      <a:pt x="18832" y="4666"/>
                    </a:lnTo>
                    <a:lnTo>
                      <a:pt x="18685" y="4561"/>
                    </a:lnTo>
                    <a:lnTo>
                      <a:pt x="18685" y="4666"/>
                    </a:lnTo>
                    <a:lnTo>
                      <a:pt x="18602" y="4624"/>
                    </a:lnTo>
                    <a:lnTo>
                      <a:pt x="18581" y="4687"/>
                    </a:lnTo>
                    <a:lnTo>
                      <a:pt x="18581" y="4750"/>
                    </a:lnTo>
                    <a:lnTo>
                      <a:pt x="18476" y="4666"/>
                    </a:lnTo>
                    <a:lnTo>
                      <a:pt x="18455" y="4624"/>
                    </a:lnTo>
                    <a:lnTo>
                      <a:pt x="18371" y="4582"/>
                    </a:lnTo>
                    <a:lnTo>
                      <a:pt x="18371" y="4582"/>
                    </a:lnTo>
                    <a:lnTo>
                      <a:pt x="18392" y="4645"/>
                    </a:lnTo>
                    <a:lnTo>
                      <a:pt x="18371" y="4666"/>
                    </a:lnTo>
                    <a:lnTo>
                      <a:pt x="18183" y="4582"/>
                    </a:lnTo>
                    <a:lnTo>
                      <a:pt x="18141" y="4582"/>
                    </a:lnTo>
                    <a:lnTo>
                      <a:pt x="17995" y="4561"/>
                    </a:lnTo>
                    <a:lnTo>
                      <a:pt x="17702" y="4394"/>
                    </a:lnTo>
                    <a:lnTo>
                      <a:pt x="17555" y="4394"/>
                    </a:lnTo>
                    <a:lnTo>
                      <a:pt x="17555" y="4436"/>
                    </a:lnTo>
                    <a:lnTo>
                      <a:pt x="17597" y="4478"/>
                    </a:lnTo>
                    <a:lnTo>
                      <a:pt x="17555" y="4520"/>
                    </a:lnTo>
                    <a:lnTo>
                      <a:pt x="17472" y="4478"/>
                    </a:lnTo>
                    <a:lnTo>
                      <a:pt x="17451" y="4520"/>
                    </a:lnTo>
                    <a:lnTo>
                      <a:pt x="17430" y="4561"/>
                    </a:lnTo>
                    <a:lnTo>
                      <a:pt x="17325" y="4603"/>
                    </a:lnTo>
                    <a:lnTo>
                      <a:pt x="17262" y="4666"/>
                    </a:lnTo>
                    <a:lnTo>
                      <a:pt x="17241" y="4792"/>
                    </a:lnTo>
                    <a:lnTo>
                      <a:pt x="17200" y="4687"/>
                    </a:lnTo>
                    <a:lnTo>
                      <a:pt x="17158" y="4603"/>
                    </a:lnTo>
                    <a:lnTo>
                      <a:pt x="17116" y="4645"/>
                    </a:lnTo>
                    <a:lnTo>
                      <a:pt x="17116" y="4750"/>
                    </a:lnTo>
                    <a:lnTo>
                      <a:pt x="17011" y="4917"/>
                    </a:lnTo>
                    <a:lnTo>
                      <a:pt x="17011" y="5085"/>
                    </a:lnTo>
                    <a:lnTo>
                      <a:pt x="16990" y="4917"/>
                    </a:lnTo>
                    <a:lnTo>
                      <a:pt x="17011" y="4771"/>
                    </a:lnTo>
                    <a:lnTo>
                      <a:pt x="16990" y="4645"/>
                    </a:lnTo>
                    <a:lnTo>
                      <a:pt x="17032" y="4457"/>
                    </a:lnTo>
                    <a:lnTo>
                      <a:pt x="17095" y="4394"/>
                    </a:lnTo>
                    <a:lnTo>
                      <a:pt x="17032" y="4373"/>
                    </a:lnTo>
                    <a:lnTo>
                      <a:pt x="16928" y="4373"/>
                    </a:lnTo>
                    <a:lnTo>
                      <a:pt x="17053" y="4248"/>
                    </a:lnTo>
                    <a:lnTo>
                      <a:pt x="16907" y="4059"/>
                    </a:lnTo>
                    <a:lnTo>
                      <a:pt x="16823" y="3913"/>
                    </a:lnTo>
                    <a:lnTo>
                      <a:pt x="16739" y="3913"/>
                    </a:lnTo>
                    <a:lnTo>
                      <a:pt x="16614" y="3871"/>
                    </a:lnTo>
                    <a:lnTo>
                      <a:pt x="16530" y="3976"/>
                    </a:lnTo>
                    <a:lnTo>
                      <a:pt x="16467" y="4017"/>
                    </a:lnTo>
                    <a:lnTo>
                      <a:pt x="16425" y="3934"/>
                    </a:lnTo>
                    <a:lnTo>
                      <a:pt x="16384" y="3913"/>
                    </a:lnTo>
                    <a:lnTo>
                      <a:pt x="16363" y="3829"/>
                    </a:lnTo>
                    <a:lnTo>
                      <a:pt x="16279" y="3766"/>
                    </a:lnTo>
                    <a:lnTo>
                      <a:pt x="16195" y="3766"/>
                    </a:lnTo>
                    <a:lnTo>
                      <a:pt x="16153" y="3724"/>
                    </a:lnTo>
                    <a:lnTo>
                      <a:pt x="16070" y="3704"/>
                    </a:lnTo>
                    <a:lnTo>
                      <a:pt x="16007" y="3745"/>
                    </a:lnTo>
                    <a:lnTo>
                      <a:pt x="16007" y="3704"/>
                    </a:lnTo>
                    <a:lnTo>
                      <a:pt x="15965" y="3662"/>
                    </a:lnTo>
                    <a:lnTo>
                      <a:pt x="15902" y="3599"/>
                    </a:lnTo>
                    <a:lnTo>
                      <a:pt x="15840" y="3620"/>
                    </a:lnTo>
                    <a:lnTo>
                      <a:pt x="15693" y="3599"/>
                    </a:lnTo>
                    <a:lnTo>
                      <a:pt x="15526" y="3494"/>
                    </a:lnTo>
                    <a:lnTo>
                      <a:pt x="15463" y="3494"/>
                    </a:lnTo>
                    <a:lnTo>
                      <a:pt x="15442" y="3536"/>
                    </a:lnTo>
                    <a:lnTo>
                      <a:pt x="15337" y="3452"/>
                    </a:lnTo>
                    <a:lnTo>
                      <a:pt x="15254" y="3452"/>
                    </a:lnTo>
                    <a:lnTo>
                      <a:pt x="15233" y="3536"/>
                    </a:lnTo>
                    <a:lnTo>
                      <a:pt x="15170" y="3536"/>
                    </a:lnTo>
                    <a:lnTo>
                      <a:pt x="15149" y="3452"/>
                    </a:lnTo>
                    <a:lnTo>
                      <a:pt x="15024" y="3452"/>
                    </a:lnTo>
                    <a:lnTo>
                      <a:pt x="14919" y="3515"/>
                    </a:lnTo>
                    <a:lnTo>
                      <a:pt x="14856" y="3620"/>
                    </a:lnTo>
                    <a:lnTo>
                      <a:pt x="14856" y="3704"/>
                    </a:lnTo>
                    <a:lnTo>
                      <a:pt x="14731" y="3829"/>
                    </a:lnTo>
                    <a:lnTo>
                      <a:pt x="14584" y="3934"/>
                    </a:lnTo>
                    <a:lnTo>
                      <a:pt x="14375" y="4059"/>
                    </a:lnTo>
                    <a:lnTo>
                      <a:pt x="14270" y="4185"/>
                    </a:lnTo>
                    <a:lnTo>
                      <a:pt x="14208" y="4352"/>
                    </a:lnTo>
                    <a:lnTo>
                      <a:pt x="14187" y="4499"/>
                    </a:lnTo>
                    <a:lnTo>
                      <a:pt x="14124" y="4582"/>
                    </a:lnTo>
                    <a:lnTo>
                      <a:pt x="14019" y="4687"/>
                    </a:lnTo>
                    <a:lnTo>
                      <a:pt x="14019" y="4771"/>
                    </a:lnTo>
                    <a:lnTo>
                      <a:pt x="14061" y="4896"/>
                    </a:lnTo>
                    <a:lnTo>
                      <a:pt x="14019" y="5105"/>
                    </a:lnTo>
                    <a:lnTo>
                      <a:pt x="13998" y="4980"/>
                    </a:lnTo>
                    <a:lnTo>
                      <a:pt x="13915" y="4854"/>
                    </a:lnTo>
                    <a:lnTo>
                      <a:pt x="13915" y="4750"/>
                    </a:lnTo>
                    <a:lnTo>
                      <a:pt x="13998" y="4645"/>
                    </a:lnTo>
                    <a:lnTo>
                      <a:pt x="14103" y="4561"/>
                    </a:lnTo>
                    <a:lnTo>
                      <a:pt x="14082" y="4394"/>
                    </a:lnTo>
                    <a:lnTo>
                      <a:pt x="14124" y="4269"/>
                    </a:lnTo>
                    <a:lnTo>
                      <a:pt x="14124" y="4185"/>
                    </a:lnTo>
                    <a:lnTo>
                      <a:pt x="14061" y="4185"/>
                    </a:lnTo>
                    <a:lnTo>
                      <a:pt x="13915" y="4248"/>
                    </a:lnTo>
                    <a:lnTo>
                      <a:pt x="13768" y="4185"/>
                    </a:lnTo>
                    <a:lnTo>
                      <a:pt x="13643" y="4185"/>
                    </a:lnTo>
                    <a:lnTo>
                      <a:pt x="13538" y="4227"/>
                    </a:lnTo>
                    <a:lnTo>
                      <a:pt x="13454" y="4164"/>
                    </a:lnTo>
                    <a:lnTo>
                      <a:pt x="13538" y="4164"/>
                    </a:lnTo>
                    <a:lnTo>
                      <a:pt x="13643" y="4080"/>
                    </a:lnTo>
                    <a:lnTo>
                      <a:pt x="13747" y="4059"/>
                    </a:lnTo>
                    <a:lnTo>
                      <a:pt x="13915" y="4080"/>
                    </a:lnTo>
                    <a:lnTo>
                      <a:pt x="14019" y="4059"/>
                    </a:lnTo>
                    <a:lnTo>
                      <a:pt x="14103" y="3955"/>
                    </a:lnTo>
                    <a:lnTo>
                      <a:pt x="14166" y="3955"/>
                    </a:lnTo>
                    <a:lnTo>
                      <a:pt x="14208" y="4017"/>
                    </a:lnTo>
                    <a:lnTo>
                      <a:pt x="14270" y="3976"/>
                    </a:lnTo>
                    <a:lnTo>
                      <a:pt x="14375" y="3934"/>
                    </a:lnTo>
                    <a:lnTo>
                      <a:pt x="14521" y="3871"/>
                    </a:lnTo>
                    <a:lnTo>
                      <a:pt x="14521" y="3745"/>
                    </a:lnTo>
                    <a:lnTo>
                      <a:pt x="14689" y="3557"/>
                    </a:lnTo>
                    <a:lnTo>
                      <a:pt x="14689" y="3432"/>
                    </a:lnTo>
                    <a:lnTo>
                      <a:pt x="14731" y="3348"/>
                    </a:lnTo>
                    <a:lnTo>
                      <a:pt x="14731" y="3243"/>
                    </a:lnTo>
                    <a:lnTo>
                      <a:pt x="14584" y="3222"/>
                    </a:lnTo>
                    <a:lnTo>
                      <a:pt x="14438" y="3118"/>
                    </a:lnTo>
                    <a:lnTo>
                      <a:pt x="14333" y="3118"/>
                    </a:lnTo>
                    <a:lnTo>
                      <a:pt x="14187" y="3222"/>
                    </a:lnTo>
                    <a:lnTo>
                      <a:pt x="14061" y="3222"/>
                    </a:lnTo>
                    <a:lnTo>
                      <a:pt x="13852" y="3139"/>
                    </a:lnTo>
                    <a:lnTo>
                      <a:pt x="13643" y="3118"/>
                    </a:lnTo>
                    <a:lnTo>
                      <a:pt x="13475" y="3285"/>
                    </a:lnTo>
                    <a:lnTo>
                      <a:pt x="13475" y="3348"/>
                    </a:lnTo>
                    <a:lnTo>
                      <a:pt x="13538" y="3390"/>
                    </a:lnTo>
                    <a:lnTo>
                      <a:pt x="13559" y="3432"/>
                    </a:lnTo>
                    <a:lnTo>
                      <a:pt x="13475" y="3432"/>
                    </a:lnTo>
                    <a:lnTo>
                      <a:pt x="13433" y="3452"/>
                    </a:lnTo>
                    <a:lnTo>
                      <a:pt x="13371" y="3557"/>
                    </a:lnTo>
                    <a:lnTo>
                      <a:pt x="13350" y="3494"/>
                    </a:lnTo>
                    <a:lnTo>
                      <a:pt x="13287" y="3452"/>
                    </a:lnTo>
                    <a:lnTo>
                      <a:pt x="13161" y="3515"/>
                    </a:lnTo>
                    <a:lnTo>
                      <a:pt x="13036" y="3704"/>
                    </a:lnTo>
                    <a:lnTo>
                      <a:pt x="12848" y="3913"/>
                    </a:lnTo>
                    <a:lnTo>
                      <a:pt x="12973" y="3724"/>
                    </a:lnTo>
                    <a:lnTo>
                      <a:pt x="12973" y="3599"/>
                    </a:lnTo>
                    <a:lnTo>
                      <a:pt x="13015" y="3515"/>
                    </a:lnTo>
                    <a:lnTo>
                      <a:pt x="13015" y="3432"/>
                    </a:lnTo>
                    <a:lnTo>
                      <a:pt x="12952" y="3432"/>
                    </a:lnTo>
                    <a:lnTo>
                      <a:pt x="12848" y="3536"/>
                    </a:lnTo>
                    <a:lnTo>
                      <a:pt x="12806" y="3662"/>
                    </a:lnTo>
                    <a:lnTo>
                      <a:pt x="12743" y="3829"/>
                    </a:lnTo>
                    <a:lnTo>
                      <a:pt x="12638" y="3871"/>
                    </a:lnTo>
                    <a:lnTo>
                      <a:pt x="12722" y="3704"/>
                    </a:lnTo>
                    <a:lnTo>
                      <a:pt x="12743" y="3557"/>
                    </a:lnTo>
                    <a:lnTo>
                      <a:pt x="12952" y="3306"/>
                    </a:lnTo>
                    <a:lnTo>
                      <a:pt x="13015" y="3118"/>
                    </a:lnTo>
                    <a:lnTo>
                      <a:pt x="13078" y="3013"/>
                    </a:lnTo>
                    <a:lnTo>
                      <a:pt x="13182" y="2971"/>
                    </a:lnTo>
                    <a:lnTo>
                      <a:pt x="13329" y="2888"/>
                    </a:lnTo>
                    <a:lnTo>
                      <a:pt x="13392" y="2867"/>
                    </a:lnTo>
                    <a:lnTo>
                      <a:pt x="13496" y="2699"/>
                    </a:lnTo>
                    <a:lnTo>
                      <a:pt x="13768" y="2448"/>
                    </a:lnTo>
                    <a:lnTo>
                      <a:pt x="13789" y="2364"/>
                    </a:lnTo>
                    <a:lnTo>
                      <a:pt x="13852" y="2302"/>
                    </a:lnTo>
                    <a:lnTo>
                      <a:pt x="13789" y="2239"/>
                    </a:lnTo>
                    <a:lnTo>
                      <a:pt x="13810" y="2155"/>
                    </a:lnTo>
                    <a:lnTo>
                      <a:pt x="13852" y="2134"/>
                    </a:lnTo>
                    <a:lnTo>
                      <a:pt x="13852" y="2030"/>
                    </a:lnTo>
                    <a:lnTo>
                      <a:pt x="13747" y="1946"/>
                    </a:lnTo>
                    <a:lnTo>
                      <a:pt x="13601" y="1946"/>
                    </a:lnTo>
                    <a:lnTo>
                      <a:pt x="13580" y="1988"/>
                    </a:lnTo>
                    <a:lnTo>
                      <a:pt x="13538" y="1883"/>
                    </a:lnTo>
                    <a:lnTo>
                      <a:pt x="13454" y="1674"/>
                    </a:lnTo>
                    <a:lnTo>
                      <a:pt x="13329" y="1360"/>
                    </a:lnTo>
                    <a:lnTo>
                      <a:pt x="13224" y="1214"/>
                    </a:lnTo>
                    <a:lnTo>
                      <a:pt x="13140" y="1004"/>
                    </a:lnTo>
                    <a:lnTo>
                      <a:pt x="13140" y="879"/>
                    </a:lnTo>
                    <a:lnTo>
                      <a:pt x="13120" y="732"/>
                    </a:lnTo>
                    <a:lnTo>
                      <a:pt x="13057" y="691"/>
                    </a:lnTo>
                    <a:lnTo>
                      <a:pt x="13036" y="586"/>
                    </a:lnTo>
                    <a:lnTo>
                      <a:pt x="12952" y="460"/>
                    </a:lnTo>
                    <a:lnTo>
                      <a:pt x="12931" y="481"/>
                    </a:lnTo>
                    <a:lnTo>
                      <a:pt x="12931" y="565"/>
                    </a:lnTo>
                    <a:lnTo>
                      <a:pt x="12868" y="628"/>
                    </a:lnTo>
                    <a:lnTo>
                      <a:pt x="12743" y="711"/>
                    </a:lnTo>
                    <a:lnTo>
                      <a:pt x="12701" y="795"/>
                    </a:lnTo>
                    <a:lnTo>
                      <a:pt x="12555" y="984"/>
                    </a:lnTo>
                    <a:lnTo>
                      <a:pt x="12408" y="1151"/>
                    </a:lnTo>
                    <a:lnTo>
                      <a:pt x="12408" y="1256"/>
                    </a:lnTo>
                    <a:lnTo>
                      <a:pt x="12303" y="1507"/>
                    </a:lnTo>
                    <a:lnTo>
                      <a:pt x="12199" y="1653"/>
                    </a:lnTo>
                    <a:lnTo>
                      <a:pt x="12115" y="1779"/>
                    </a:lnTo>
                    <a:lnTo>
                      <a:pt x="12011" y="1820"/>
                    </a:lnTo>
                    <a:lnTo>
                      <a:pt x="11969" y="1862"/>
                    </a:lnTo>
                    <a:lnTo>
                      <a:pt x="11927" y="1967"/>
                    </a:lnTo>
                    <a:lnTo>
                      <a:pt x="11822" y="2051"/>
                    </a:lnTo>
                    <a:lnTo>
                      <a:pt x="11759" y="2030"/>
                    </a:lnTo>
                    <a:lnTo>
                      <a:pt x="11759" y="1862"/>
                    </a:lnTo>
                    <a:lnTo>
                      <a:pt x="11697" y="1841"/>
                    </a:lnTo>
                    <a:lnTo>
                      <a:pt x="11676" y="1779"/>
                    </a:lnTo>
                    <a:lnTo>
                      <a:pt x="11613" y="1779"/>
                    </a:lnTo>
                    <a:lnTo>
                      <a:pt x="11550" y="1820"/>
                    </a:lnTo>
                    <a:lnTo>
                      <a:pt x="11487" y="1883"/>
                    </a:lnTo>
                    <a:lnTo>
                      <a:pt x="11383" y="1862"/>
                    </a:lnTo>
                    <a:lnTo>
                      <a:pt x="11299" y="1779"/>
                    </a:lnTo>
                    <a:lnTo>
                      <a:pt x="11299" y="1737"/>
                    </a:lnTo>
                    <a:lnTo>
                      <a:pt x="11278" y="1716"/>
                    </a:lnTo>
                    <a:lnTo>
                      <a:pt x="11257" y="1611"/>
                    </a:lnTo>
                    <a:lnTo>
                      <a:pt x="11236" y="1548"/>
                    </a:lnTo>
                    <a:lnTo>
                      <a:pt x="11153" y="1528"/>
                    </a:lnTo>
                    <a:lnTo>
                      <a:pt x="11048" y="1423"/>
                    </a:lnTo>
                    <a:lnTo>
                      <a:pt x="10881" y="1423"/>
                    </a:lnTo>
                    <a:lnTo>
                      <a:pt x="10776" y="1465"/>
                    </a:lnTo>
                    <a:lnTo>
                      <a:pt x="10546" y="1465"/>
                    </a:lnTo>
                    <a:lnTo>
                      <a:pt x="10420" y="1444"/>
                    </a:lnTo>
                    <a:lnTo>
                      <a:pt x="10316" y="1528"/>
                    </a:lnTo>
                    <a:lnTo>
                      <a:pt x="10295" y="1632"/>
                    </a:lnTo>
                    <a:lnTo>
                      <a:pt x="10399" y="1737"/>
                    </a:lnTo>
                    <a:lnTo>
                      <a:pt x="10420" y="1820"/>
                    </a:lnTo>
                    <a:lnTo>
                      <a:pt x="10462" y="1946"/>
                    </a:lnTo>
                    <a:lnTo>
                      <a:pt x="10441" y="1988"/>
                    </a:lnTo>
                    <a:lnTo>
                      <a:pt x="10337" y="1988"/>
                    </a:lnTo>
                    <a:lnTo>
                      <a:pt x="10190" y="1946"/>
                    </a:lnTo>
                    <a:lnTo>
                      <a:pt x="10148" y="1925"/>
                    </a:lnTo>
                    <a:lnTo>
                      <a:pt x="9918" y="1925"/>
                    </a:lnTo>
                    <a:lnTo>
                      <a:pt x="9814" y="1946"/>
                    </a:lnTo>
                    <a:lnTo>
                      <a:pt x="9772" y="1883"/>
                    </a:lnTo>
                    <a:lnTo>
                      <a:pt x="9604" y="1883"/>
                    </a:lnTo>
                    <a:lnTo>
                      <a:pt x="9479" y="1946"/>
                    </a:lnTo>
                    <a:lnTo>
                      <a:pt x="9395" y="2134"/>
                    </a:lnTo>
                    <a:lnTo>
                      <a:pt x="9165" y="2134"/>
                    </a:lnTo>
                    <a:lnTo>
                      <a:pt x="9039" y="2155"/>
                    </a:lnTo>
                    <a:lnTo>
                      <a:pt x="8998" y="2197"/>
                    </a:lnTo>
                    <a:lnTo>
                      <a:pt x="8935" y="2302"/>
                    </a:lnTo>
                    <a:lnTo>
                      <a:pt x="8788" y="2302"/>
                    </a:lnTo>
                    <a:lnTo>
                      <a:pt x="8767" y="2281"/>
                    </a:lnTo>
                    <a:lnTo>
                      <a:pt x="8684" y="2302"/>
                    </a:lnTo>
                    <a:lnTo>
                      <a:pt x="8621" y="2385"/>
                    </a:lnTo>
                    <a:lnTo>
                      <a:pt x="8537" y="2364"/>
                    </a:lnTo>
                    <a:lnTo>
                      <a:pt x="8307" y="2176"/>
                    </a:lnTo>
                    <a:lnTo>
                      <a:pt x="8223" y="2072"/>
                    </a:lnTo>
                    <a:lnTo>
                      <a:pt x="8223" y="1988"/>
                    </a:lnTo>
                    <a:lnTo>
                      <a:pt x="8098" y="1862"/>
                    </a:lnTo>
                    <a:lnTo>
                      <a:pt x="7993" y="1758"/>
                    </a:lnTo>
                    <a:lnTo>
                      <a:pt x="7993" y="1653"/>
                    </a:lnTo>
                    <a:lnTo>
                      <a:pt x="8014" y="1569"/>
                    </a:lnTo>
                    <a:lnTo>
                      <a:pt x="7993" y="1528"/>
                    </a:lnTo>
                    <a:lnTo>
                      <a:pt x="8014" y="1423"/>
                    </a:lnTo>
                    <a:lnTo>
                      <a:pt x="8056" y="1339"/>
                    </a:lnTo>
                    <a:lnTo>
                      <a:pt x="8056" y="1214"/>
                    </a:lnTo>
                    <a:lnTo>
                      <a:pt x="8161" y="1025"/>
                    </a:lnTo>
                    <a:lnTo>
                      <a:pt x="8202" y="879"/>
                    </a:lnTo>
                    <a:lnTo>
                      <a:pt x="8307" y="732"/>
                    </a:lnTo>
                    <a:lnTo>
                      <a:pt x="8307" y="691"/>
                    </a:lnTo>
                    <a:lnTo>
                      <a:pt x="8202" y="691"/>
                    </a:lnTo>
                    <a:lnTo>
                      <a:pt x="8140" y="607"/>
                    </a:lnTo>
                    <a:lnTo>
                      <a:pt x="8119" y="523"/>
                    </a:lnTo>
                    <a:lnTo>
                      <a:pt x="7993" y="523"/>
                    </a:lnTo>
                    <a:lnTo>
                      <a:pt x="7889" y="481"/>
                    </a:lnTo>
                    <a:lnTo>
                      <a:pt x="7930" y="398"/>
                    </a:lnTo>
                    <a:lnTo>
                      <a:pt x="8014" y="293"/>
                    </a:lnTo>
                    <a:lnTo>
                      <a:pt x="8014" y="147"/>
                    </a:lnTo>
                    <a:lnTo>
                      <a:pt x="7910" y="0"/>
                    </a:lnTo>
                    <a:lnTo>
                      <a:pt x="7784" y="0"/>
                    </a:lnTo>
                    <a:lnTo>
                      <a:pt x="7721" y="63"/>
                    </a:lnTo>
                    <a:lnTo>
                      <a:pt x="767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FF6B65"/>
                  </a:solidFill>
                </a:endParaRPr>
              </a:p>
            </p:txBody>
          </p:sp>
        </p:grpSp>
        <p:grpSp>
          <p:nvGrpSpPr>
            <p:cNvPr id="760" name="Google Shape;760;p34"/>
            <p:cNvGrpSpPr/>
            <p:nvPr/>
          </p:nvGrpSpPr>
          <p:grpSpPr>
            <a:xfrm>
              <a:off x="3265985" y="3226989"/>
              <a:ext cx="87151" cy="346202"/>
              <a:chOff x="2680375" y="3423800"/>
              <a:chExt cx="182975" cy="761050"/>
            </a:xfrm>
          </p:grpSpPr>
          <p:sp>
            <p:nvSpPr>
              <p:cNvPr id="761" name="Google Shape;761;p34"/>
              <p:cNvSpPr/>
              <p:nvPr/>
            </p:nvSpPr>
            <p:spPr>
              <a:xfrm>
                <a:off x="2698650" y="3423800"/>
                <a:ext cx="164700" cy="703875"/>
              </a:xfrm>
              <a:custGeom>
                <a:avLst/>
                <a:gdLst/>
                <a:ahLst/>
                <a:cxnLst/>
                <a:rect l="l" t="t" r="r" b="b"/>
                <a:pathLst>
                  <a:path w="6588" h="28155" extrusionOk="0">
                    <a:moveTo>
                      <a:pt x="319" y="4568"/>
                    </a:moveTo>
                    <a:lnTo>
                      <a:pt x="107" y="1274"/>
                    </a:lnTo>
                    <a:lnTo>
                      <a:pt x="319" y="0"/>
                    </a:lnTo>
                    <a:lnTo>
                      <a:pt x="6588" y="4356"/>
                    </a:lnTo>
                    <a:lnTo>
                      <a:pt x="4994" y="7331"/>
                    </a:lnTo>
                    <a:lnTo>
                      <a:pt x="1913" y="16149"/>
                    </a:lnTo>
                    <a:lnTo>
                      <a:pt x="2656" y="24330"/>
                    </a:lnTo>
                    <a:lnTo>
                      <a:pt x="4144" y="28155"/>
                    </a:lnTo>
                    <a:lnTo>
                      <a:pt x="1700" y="27836"/>
                    </a:lnTo>
                    <a:lnTo>
                      <a:pt x="532" y="25605"/>
                    </a:lnTo>
                    <a:lnTo>
                      <a:pt x="1063" y="22736"/>
                    </a:lnTo>
                    <a:lnTo>
                      <a:pt x="0" y="17530"/>
                    </a:lnTo>
                    <a:lnTo>
                      <a:pt x="638" y="14024"/>
                    </a:lnTo>
                    <a:lnTo>
                      <a:pt x="213" y="11793"/>
                    </a:lnTo>
                    <a:lnTo>
                      <a:pt x="744" y="775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62" name="Google Shape;762;p34"/>
              <p:cNvSpPr/>
              <p:nvPr/>
            </p:nvSpPr>
            <p:spPr>
              <a:xfrm>
                <a:off x="2680375" y="3510050"/>
                <a:ext cx="137075" cy="674800"/>
              </a:xfrm>
              <a:custGeom>
                <a:avLst/>
                <a:gdLst/>
                <a:ahLst/>
                <a:cxnLst/>
                <a:rect l="l" t="t" r="r" b="b"/>
                <a:pathLst>
                  <a:path w="5483" h="26992" extrusionOk="0">
                    <a:moveTo>
                      <a:pt x="984" y="23016"/>
                    </a:moveTo>
                    <a:lnTo>
                      <a:pt x="984" y="23121"/>
                    </a:lnTo>
                    <a:lnTo>
                      <a:pt x="1026" y="23058"/>
                    </a:lnTo>
                    <a:lnTo>
                      <a:pt x="1088" y="23016"/>
                    </a:lnTo>
                    <a:close/>
                    <a:moveTo>
                      <a:pt x="1047" y="0"/>
                    </a:moveTo>
                    <a:lnTo>
                      <a:pt x="984" y="105"/>
                    </a:lnTo>
                    <a:lnTo>
                      <a:pt x="963" y="209"/>
                    </a:lnTo>
                    <a:lnTo>
                      <a:pt x="1068" y="314"/>
                    </a:lnTo>
                    <a:lnTo>
                      <a:pt x="1005" y="419"/>
                    </a:lnTo>
                    <a:lnTo>
                      <a:pt x="900" y="502"/>
                    </a:lnTo>
                    <a:lnTo>
                      <a:pt x="837" y="461"/>
                    </a:lnTo>
                    <a:lnTo>
                      <a:pt x="691" y="544"/>
                    </a:lnTo>
                    <a:lnTo>
                      <a:pt x="565" y="628"/>
                    </a:lnTo>
                    <a:lnTo>
                      <a:pt x="628" y="670"/>
                    </a:lnTo>
                    <a:lnTo>
                      <a:pt x="628" y="837"/>
                    </a:lnTo>
                    <a:lnTo>
                      <a:pt x="586" y="963"/>
                    </a:lnTo>
                    <a:lnTo>
                      <a:pt x="628" y="1130"/>
                    </a:lnTo>
                    <a:lnTo>
                      <a:pt x="733" y="1549"/>
                    </a:lnTo>
                    <a:lnTo>
                      <a:pt x="733" y="1695"/>
                    </a:lnTo>
                    <a:lnTo>
                      <a:pt x="691" y="1800"/>
                    </a:lnTo>
                    <a:lnTo>
                      <a:pt x="649" y="1883"/>
                    </a:lnTo>
                    <a:lnTo>
                      <a:pt x="691" y="2093"/>
                    </a:lnTo>
                    <a:lnTo>
                      <a:pt x="775" y="2302"/>
                    </a:lnTo>
                    <a:lnTo>
                      <a:pt x="858" y="2490"/>
                    </a:lnTo>
                    <a:lnTo>
                      <a:pt x="858" y="2762"/>
                    </a:lnTo>
                    <a:lnTo>
                      <a:pt x="837" y="2846"/>
                    </a:lnTo>
                    <a:lnTo>
                      <a:pt x="796" y="2909"/>
                    </a:lnTo>
                    <a:lnTo>
                      <a:pt x="837" y="3327"/>
                    </a:lnTo>
                    <a:lnTo>
                      <a:pt x="837" y="3432"/>
                    </a:lnTo>
                    <a:lnTo>
                      <a:pt x="754" y="3474"/>
                    </a:lnTo>
                    <a:lnTo>
                      <a:pt x="670" y="3536"/>
                    </a:lnTo>
                    <a:lnTo>
                      <a:pt x="670" y="3766"/>
                    </a:lnTo>
                    <a:lnTo>
                      <a:pt x="691" y="3829"/>
                    </a:lnTo>
                    <a:lnTo>
                      <a:pt x="775" y="3766"/>
                    </a:lnTo>
                    <a:lnTo>
                      <a:pt x="837" y="3829"/>
                    </a:lnTo>
                    <a:lnTo>
                      <a:pt x="754" y="3892"/>
                    </a:lnTo>
                    <a:lnTo>
                      <a:pt x="754" y="4499"/>
                    </a:lnTo>
                    <a:lnTo>
                      <a:pt x="837" y="4729"/>
                    </a:lnTo>
                    <a:lnTo>
                      <a:pt x="858" y="4917"/>
                    </a:lnTo>
                    <a:lnTo>
                      <a:pt x="837" y="5064"/>
                    </a:lnTo>
                    <a:lnTo>
                      <a:pt x="733" y="5231"/>
                    </a:lnTo>
                    <a:lnTo>
                      <a:pt x="733" y="5399"/>
                    </a:lnTo>
                    <a:lnTo>
                      <a:pt x="837" y="5566"/>
                    </a:lnTo>
                    <a:lnTo>
                      <a:pt x="796" y="5712"/>
                    </a:lnTo>
                    <a:lnTo>
                      <a:pt x="796" y="5984"/>
                    </a:lnTo>
                    <a:lnTo>
                      <a:pt x="754" y="6089"/>
                    </a:lnTo>
                    <a:lnTo>
                      <a:pt x="754" y="6256"/>
                    </a:lnTo>
                    <a:lnTo>
                      <a:pt x="775" y="6340"/>
                    </a:lnTo>
                    <a:lnTo>
                      <a:pt x="775" y="6403"/>
                    </a:lnTo>
                    <a:lnTo>
                      <a:pt x="670" y="6570"/>
                    </a:lnTo>
                    <a:lnTo>
                      <a:pt x="670" y="6717"/>
                    </a:lnTo>
                    <a:lnTo>
                      <a:pt x="628" y="6821"/>
                    </a:lnTo>
                    <a:lnTo>
                      <a:pt x="649" y="7010"/>
                    </a:lnTo>
                    <a:lnTo>
                      <a:pt x="628" y="7093"/>
                    </a:lnTo>
                    <a:lnTo>
                      <a:pt x="524" y="7303"/>
                    </a:lnTo>
                    <a:lnTo>
                      <a:pt x="524" y="7407"/>
                    </a:lnTo>
                    <a:lnTo>
                      <a:pt x="628" y="7554"/>
                    </a:lnTo>
                    <a:lnTo>
                      <a:pt x="649" y="7721"/>
                    </a:lnTo>
                    <a:lnTo>
                      <a:pt x="733" y="7826"/>
                    </a:lnTo>
                    <a:lnTo>
                      <a:pt x="649" y="7867"/>
                    </a:lnTo>
                    <a:lnTo>
                      <a:pt x="586" y="8014"/>
                    </a:lnTo>
                    <a:lnTo>
                      <a:pt x="670" y="8119"/>
                    </a:lnTo>
                    <a:lnTo>
                      <a:pt x="586" y="8202"/>
                    </a:lnTo>
                    <a:lnTo>
                      <a:pt x="524" y="8244"/>
                    </a:lnTo>
                    <a:lnTo>
                      <a:pt x="524" y="8391"/>
                    </a:lnTo>
                    <a:lnTo>
                      <a:pt x="544" y="8537"/>
                    </a:lnTo>
                    <a:lnTo>
                      <a:pt x="544" y="8663"/>
                    </a:lnTo>
                    <a:lnTo>
                      <a:pt x="670" y="8997"/>
                    </a:lnTo>
                    <a:lnTo>
                      <a:pt x="670" y="9186"/>
                    </a:lnTo>
                    <a:lnTo>
                      <a:pt x="628" y="9228"/>
                    </a:lnTo>
                    <a:lnTo>
                      <a:pt x="628" y="9332"/>
                    </a:lnTo>
                    <a:lnTo>
                      <a:pt x="754" y="9520"/>
                    </a:lnTo>
                    <a:lnTo>
                      <a:pt x="754" y="9730"/>
                    </a:lnTo>
                    <a:lnTo>
                      <a:pt x="733" y="9855"/>
                    </a:lnTo>
                    <a:lnTo>
                      <a:pt x="733" y="9918"/>
                    </a:lnTo>
                    <a:lnTo>
                      <a:pt x="754" y="10023"/>
                    </a:lnTo>
                    <a:lnTo>
                      <a:pt x="733" y="10106"/>
                    </a:lnTo>
                    <a:lnTo>
                      <a:pt x="691" y="10211"/>
                    </a:lnTo>
                    <a:lnTo>
                      <a:pt x="733" y="10253"/>
                    </a:lnTo>
                    <a:lnTo>
                      <a:pt x="858" y="10441"/>
                    </a:lnTo>
                    <a:lnTo>
                      <a:pt x="879" y="10546"/>
                    </a:lnTo>
                    <a:lnTo>
                      <a:pt x="837" y="10650"/>
                    </a:lnTo>
                    <a:lnTo>
                      <a:pt x="754" y="10692"/>
                    </a:lnTo>
                    <a:lnTo>
                      <a:pt x="670" y="10860"/>
                    </a:lnTo>
                    <a:lnTo>
                      <a:pt x="670" y="10901"/>
                    </a:lnTo>
                    <a:lnTo>
                      <a:pt x="733" y="10964"/>
                    </a:lnTo>
                    <a:lnTo>
                      <a:pt x="670" y="11090"/>
                    </a:lnTo>
                    <a:lnTo>
                      <a:pt x="586" y="11173"/>
                    </a:lnTo>
                    <a:lnTo>
                      <a:pt x="586" y="11278"/>
                    </a:lnTo>
                    <a:lnTo>
                      <a:pt x="565" y="11466"/>
                    </a:lnTo>
                    <a:lnTo>
                      <a:pt x="524" y="11571"/>
                    </a:lnTo>
                    <a:lnTo>
                      <a:pt x="524" y="11676"/>
                    </a:lnTo>
                    <a:lnTo>
                      <a:pt x="482" y="11717"/>
                    </a:lnTo>
                    <a:lnTo>
                      <a:pt x="482" y="11843"/>
                    </a:lnTo>
                    <a:lnTo>
                      <a:pt x="419" y="11927"/>
                    </a:lnTo>
                    <a:lnTo>
                      <a:pt x="419" y="11989"/>
                    </a:lnTo>
                    <a:lnTo>
                      <a:pt x="461" y="12052"/>
                    </a:lnTo>
                    <a:lnTo>
                      <a:pt x="377" y="12157"/>
                    </a:lnTo>
                    <a:lnTo>
                      <a:pt x="377" y="12324"/>
                    </a:lnTo>
                    <a:lnTo>
                      <a:pt x="377" y="12429"/>
                    </a:lnTo>
                    <a:lnTo>
                      <a:pt x="314" y="12471"/>
                    </a:lnTo>
                    <a:lnTo>
                      <a:pt x="314" y="12575"/>
                    </a:lnTo>
                    <a:lnTo>
                      <a:pt x="272" y="12659"/>
                    </a:lnTo>
                    <a:lnTo>
                      <a:pt x="272" y="12743"/>
                    </a:lnTo>
                    <a:lnTo>
                      <a:pt x="314" y="12847"/>
                    </a:lnTo>
                    <a:lnTo>
                      <a:pt x="314" y="12952"/>
                    </a:lnTo>
                    <a:lnTo>
                      <a:pt x="231" y="13057"/>
                    </a:lnTo>
                    <a:lnTo>
                      <a:pt x="147" y="13057"/>
                    </a:lnTo>
                    <a:lnTo>
                      <a:pt x="63" y="12994"/>
                    </a:lnTo>
                    <a:lnTo>
                      <a:pt x="0" y="13015"/>
                    </a:lnTo>
                    <a:lnTo>
                      <a:pt x="0" y="13098"/>
                    </a:lnTo>
                    <a:lnTo>
                      <a:pt x="21" y="13224"/>
                    </a:lnTo>
                    <a:lnTo>
                      <a:pt x="21" y="13412"/>
                    </a:lnTo>
                    <a:lnTo>
                      <a:pt x="105" y="13517"/>
                    </a:lnTo>
                    <a:lnTo>
                      <a:pt x="231" y="13621"/>
                    </a:lnTo>
                    <a:lnTo>
                      <a:pt x="252" y="13747"/>
                    </a:lnTo>
                    <a:lnTo>
                      <a:pt x="231" y="13914"/>
                    </a:lnTo>
                    <a:lnTo>
                      <a:pt x="398" y="14228"/>
                    </a:lnTo>
                    <a:lnTo>
                      <a:pt x="440" y="14312"/>
                    </a:lnTo>
                    <a:lnTo>
                      <a:pt x="524" y="14375"/>
                    </a:lnTo>
                    <a:lnTo>
                      <a:pt x="524" y="14563"/>
                    </a:lnTo>
                    <a:lnTo>
                      <a:pt x="461" y="14835"/>
                    </a:lnTo>
                    <a:lnTo>
                      <a:pt x="419" y="14856"/>
                    </a:lnTo>
                    <a:lnTo>
                      <a:pt x="440" y="14940"/>
                    </a:lnTo>
                    <a:lnTo>
                      <a:pt x="419" y="15002"/>
                    </a:lnTo>
                    <a:lnTo>
                      <a:pt x="356" y="14982"/>
                    </a:lnTo>
                    <a:lnTo>
                      <a:pt x="314" y="14982"/>
                    </a:lnTo>
                    <a:lnTo>
                      <a:pt x="272" y="15086"/>
                    </a:lnTo>
                    <a:lnTo>
                      <a:pt x="314" y="15191"/>
                    </a:lnTo>
                    <a:lnTo>
                      <a:pt x="377" y="15254"/>
                    </a:lnTo>
                    <a:lnTo>
                      <a:pt x="335" y="15484"/>
                    </a:lnTo>
                    <a:lnTo>
                      <a:pt x="356" y="15588"/>
                    </a:lnTo>
                    <a:lnTo>
                      <a:pt x="314" y="15672"/>
                    </a:lnTo>
                    <a:lnTo>
                      <a:pt x="356" y="15714"/>
                    </a:lnTo>
                    <a:lnTo>
                      <a:pt x="335" y="15798"/>
                    </a:lnTo>
                    <a:lnTo>
                      <a:pt x="314" y="15818"/>
                    </a:lnTo>
                    <a:lnTo>
                      <a:pt x="335" y="15881"/>
                    </a:lnTo>
                    <a:lnTo>
                      <a:pt x="524" y="16153"/>
                    </a:lnTo>
                    <a:lnTo>
                      <a:pt x="565" y="16216"/>
                    </a:lnTo>
                    <a:lnTo>
                      <a:pt x="565" y="16362"/>
                    </a:lnTo>
                    <a:lnTo>
                      <a:pt x="524" y="16342"/>
                    </a:lnTo>
                    <a:lnTo>
                      <a:pt x="377" y="16342"/>
                    </a:lnTo>
                    <a:lnTo>
                      <a:pt x="314" y="16425"/>
                    </a:lnTo>
                    <a:lnTo>
                      <a:pt x="314" y="16467"/>
                    </a:lnTo>
                    <a:lnTo>
                      <a:pt x="356" y="16530"/>
                    </a:lnTo>
                    <a:lnTo>
                      <a:pt x="356" y="16614"/>
                    </a:lnTo>
                    <a:lnTo>
                      <a:pt x="314" y="16655"/>
                    </a:lnTo>
                    <a:lnTo>
                      <a:pt x="272" y="16739"/>
                    </a:lnTo>
                    <a:lnTo>
                      <a:pt x="314" y="16823"/>
                    </a:lnTo>
                    <a:lnTo>
                      <a:pt x="335" y="16844"/>
                    </a:lnTo>
                    <a:lnTo>
                      <a:pt x="377" y="16969"/>
                    </a:lnTo>
                    <a:lnTo>
                      <a:pt x="419" y="17304"/>
                    </a:lnTo>
                    <a:lnTo>
                      <a:pt x="356" y="17451"/>
                    </a:lnTo>
                    <a:lnTo>
                      <a:pt x="482" y="17492"/>
                    </a:lnTo>
                    <a:lnTo>
                      <a:pt x="670" y="17471"/>
                    </a:lnTo>
                    <a:lnTo>
                      <a:pt x="670" y="17409"/>
                    </a:lnTo>
                    <a:lnTo>
                      <a:pt x="670" y="17283"/>
                    </a:lnTo>
                    <a:lnTo>
                      <a:pt x="733" y="17199"/>
                    </a:lnTo>
                    <a:lnTo>
                      <a:pt x="837" y="17241"/>
                    </a:lnTo>
                    <a:lnTo>
                      <a:pt x="858" y="17199"/>
                    </a:lnTo>
                    <a:lnTo>
                      <a:pt x="733" y="17095"/>
                    </a:lnTo>
                    <a:lnTo>
                      <a:pt x="775" y="17053"/>
                    </a:lnTo>
                    <a:lnTo>
                      <a:pt x="649" y="16927"/>
                    </a:lnTo>
                    <a:lnTo>
                      <a:pt x="649" y="16844"/>
                    </a:lnTo>
                    <a:lnTo>
                      <a:pt x="733" y="16844"/>
                    </a:lnTo>
                    <a:lnTo>
                      <a:pt x="837" y="16886"/>
                    </a:lnTo>
                    <a:lnTo>
                      <a:pt x="837" y="16865"/>
                    </a:lnTo>
                    <a:lnTo>
                      <a:pt x="775" y="16823"/>
                    </a:lnTo>
                    <a:lnTo>
                      <a:pt x="649" y="16718"/>
                    </a:lnTo>
                    <a:lnTo>
                      <a:pt x="775" y="16739"/>
                    </a:lnTo>
                    <a:lnTo>
                      <a:pt x="775" y="16634"/>
                    </a:lnTo>
                    <a:lnTo>
                      <a:pt x="754" y="16572"/>
                    </a:lnTo>
                    <a:lnTo>
                      <a:pt x="754" y="16425"/>
                    </a:lnTo>
                    <a:lnTo>
                      <a:pt x="733" y="16362"/>
                    </a:lnTo>
                    <a:cubicBezTo>
                      <a:pt x="733" y="16321"/>
                      <a:pt x="754" y="16258"/>
                      <a:pt x="775" y="16237"/>
                    </a:cubicBezTo>
                    <a:lnTo>
                      <a:pt x="837" y="16258"/>
                    </a:lnTo>
                    <a:lnTo>
                      <a:pt x="879" y="16237"/>
                    </a:lnTo>
                    <a:cubicBezTo>
                      <a:pt x="879" y="16342"/>
                      <a:pt x="900" y="16467"/>
                      <a:pt x="900" y="16572"/>
                    </a:cubicBezTo>
                    <a:lnTo>
                      <a:pt x="1068" y="17764"/>
                    </a:lnTo>
                    <a:lnTo>
                      <a:pt x="1047" y="17785"/>
                    </a:lnTo>
                    <a:lnTo>
                      <a:pt x="1068" y="17869"/>
                    </a:lnTo>
                    <a:lnTo>
                      <a:pt x="1068" y="18036"/>
                    </a:lnTo>
                    <a:lnTo>
                      <a:pt x="1005" y="18078"/>
                    </a:lnTo>
                    <a:lnTo>
                      <a:pt x="1047" y="18120"/>
                    </a:lnTo>
                    <a:lnTo>
                      <a:pt x="1047" y="18287"/>
                    </a:lnTo>
                    <a:lnTo>
                      <a:pt x="1005" y="18350"/>
                    </a:lnTo>
                    <a:lnTo>
                      <a:pt x="1047" y="18434"/>
                    </a:lnTo>
                    <a:lnTo>
                      <a:pt x="1047" y="18455"/>
                    </a:lnTo>
                    <a:cubicBezTo>
                      <a:pt x="1047" y="18643"/>
                      <a:pt x="1005" y="18852"/>
                      <a:pt x="963" y="19041"/>
                    </a:cubicBezTo>
                    <a:cubicBezTo>
                      <a:pt x="921" y="19187"/>
                      <a:pt x="900" y="19334"/>
                      <a:pt x="858" y="19459"/>
                    </a:cubicBezTo>
                    <a:lnTo>
                      <a:pt x="796" y="19480"/>
                    </a:lnTo>
                    <a:lnTo>
                      <a:pt x="691" y="19564"/>
                    </a:lnTo>
                    <a:lnTo>
                      <a:pt x="649" y="19564"/>
                    </a:lnTo>
                    <a:lnTo>
                      <a:pt x="649" y="19501"/>
                    </a:lnTo>
                    <a:lnTo>
                      <a:pt x="754" y="19480"/>
                    </a:lnTo>
                    <a:lnTo>
                      <a:pt x="837" y="19438"/>
                    </a:lnTo>
                    <a:lnTo>
                      <a:pt x="837" y="19271"/>
                    </a:lnTo>
                    <a:lnTo>
                      <a:pt x="775" y="19250"/>
                    </a:lnTo>
                    <a:lnTo>
                      <a:pt x="670" y="19292"/>
                    </a:lnTo>
                    <a:lnTo>
                      <a:pt x="461" y="19292"/>
                    </a:lnTo>
                    <a:lnTo>
                      <a:pt x="377" y="19271"/>
                    </a:lnTo>
                    <a:lnTo>
                      <a:pt x="293" y="19292"/>
                    </a:lnTo>
                    <a:lnTo>
                      <a:pt x="293" y="19375"/>
                    </a:lnTo>
                    <a:lnTo>
                      <a:pt x="356" y="19501"/>
                    </a:lnTo>
                    <a:lnTo>
                      <a:pt x="398" y="19501"/>
                    </a:lnTo>
                    <a:lnTo>
                      <a:pt x="440" y="19585"/>
                    </a:lnTo>
                    <a:lnTo>
                      <a:pt x="356" y="19585"/>
                    </a:lnTo>
                    <a:lnTo>
                      <a:pt x="335" y="19689"/>
                    </a:lnTo>
                    <a:lnTo>
                      <a:pt x="252" y="19752"/>
                    </a:lnTo>
                    <a:lnTo>
                      <a:pt x="189" y="19857"/>
                    </a:lnTo>
                    <a:lnTo>
                      <a:pt x="42" y="19919"/>
                    </a:lnTo>
                    <a:lnTo>
                      <a:pt x="42" y="20003"/>
                    </a:lnTo>
                    <a:lnTo>
                      <a:pt x="189" y="20192"/>
                    </a:lnTo>
                    <a:lnTo>
                      <a:pt x="272" y="20192"/>
                    </a:lnTo>
                    <a:lnTo>
                      <a:pt x="335" y="20129"/>
                    </a:lnTo>
                    <a:lnTo>
                      <a:pt x="335" y="20066"/>
                    </a:lnTo>
                    <a:lnTo>
                      <a:pt x="231" y="20024"/>
                    </a:lnTo>
                    <a:lnTo>
                      <a:pt x="231" y="19982"/>
                    </a:lnTo>
                    <a:lnTo>
                      <a:pt x="272" y="19878"/>
                    </a:lnTo>
                    <a:lnTo>
                      <a:pt x="440" y="19878"/>
                    </a:lnTo>
                    <a:lnTo>
                      <a:pt x="461" y="19857"/>
                    </a:lnTo>
                    <a:lnTo>
                      <a:pt x="482" y="19982"/>
                    </a:lnTo>
                    <a:lnTo>
                      <a:pt x="586" y="20066"/>
                    </a:lnTo>
                    <a:lnTo>
                      <a:pt x="712" y="20066"/>
                    </a:lnTo>
                    <a:lnTo>
                      <a:pt x="754" y="20003"/>
                    </a:lnTo>
                    <a:lnTo>
                      <a:pt x="754" y="20003"/>
                    </a:lnTo>
                    <a:cubicBezTo>
                      <a:pt x="670" y="20317"/>
                      <a:pt x="649" y="20631"/>
                      <a:pt x="649" y="20924"/>
                    </a:cubicBezTo>
                    <a:lnTo>
                      <a:pt x="586" y="20966"/>
                    </a:lnTo>
                    <a:lnTo>
                      <a:pt x="649" y="21008"/>
                    </a:lnTo>
                    <a:lnTo>
                      <a:pt x="649" y="21154"/>
                    </a:lnTo>
                    <a:lnTo>
                      <a:pt x="565" y="21028"/>
                    </a:lnTo>
                    <a:lnTo>
                      <a:pt x="461" y="21008"/>
                    </a:lnTo>
                    <a:lnTo>
                      <a:pt x="440" y="21049"/>
                    </a:lnTo>
                    <a:lnTo>
                      <a:pt x="440" y="21133"/>
                    </a:lnTo>
                    <a:lnTo>
                      <a:pt x="461" y="21259"/>
                    </a:lnTo>
                    <a:lnTo>
                      <a:pt x="565" y="21280"/>
                    </a:lnTo>
                    <a:lnTo>
                      <a:pt x="649" y="21342"/>
                    </a:lnTo>
                    <a:lnTo>
                      <a:pt x="649" y="21384"/>
                    </a:lnTo>
                    <a:lnTo>
                      <a:pt x="691" y="21552"/>
                    </a:lnTo>
                    <a:lnTo>
                      <a:pt x="754" y="21572"/>
                    </a:lnTo>
                    <a:cubicBezTo>
                      <a:pt x="754" y="21635"/>
                      <a:pt x="775" y="21656"/>
                      <a:pt x="796" y="21698"/>
                    </a:cubicBezTo>
                    <a:lnTo>
                      <a:pt x="670" y="21656"/>
                    </a:lnTo>
                    <a:lnTo>
                      <a:pt x="649" y="21635"/>
                    </a:lnTo>
                    <a:lnTo>
                      <a:pt x="586" y="21677"/>
                    </a:lnTo>
                    <a:lnTo>
                      <a:pt x="649" y="21865"/>
                    </a:lnTo>
                    <a:lnTo>
                      <a:pt x="649" y="21949"/>
                    </a:lnTo>
                    <a:lnTo>
                      <a:pt x="691" y="21970"/>
                    </a:lnTo>
                    <a:lnTo>
                      <a:pt x="796" y="21803"/>
                    </a:lnTo>
                    <a:lnTo>
                      <a:pt x="858" y="21782"/>
                    </a:lnTo>
                    <a:cubicBezTo>
                      <a:pt x="879" y="21844"/>
                      <a:pt x="900" y="21886"/>
                      <a:pt x="921" y="21970"/>
                    </a:cubicBezTo>
                    <a:lnTo>
                      <a:pt x="921" y="22012"/>
                    </a:lnTo>
                    <a:lnTo>
                      <a:pt x="816" y="22054"/>
                    </a:lnTo>
                    <a:lnTo>
                      <a:pt x="921" y="22284"/>
                    </a:lnTo>
                    <a:lnTo>
                      <a:pt x="963" y="22409"/>
                    </a:lnTo>
                    <a:cubicBezTo>
                      <a:pt x="963" y="22493"/>
                      <a:pt x="984" y="22577"/>
                      <a:pt x="1005" y="22640"/>
                    </a:cubicBezTo>
                    <a:lnTo>
                      <a:pt x="984" y="22681"/>
                    </a:lnTo>
                    <a:lnTo>
                      <a:pt x="984" y="22744"/>
                    </a:lnTo>
                    <a:lnTo>
                      <a:pt x="921" y="22807"/>
                    </a:lnTo>
                    <a:lnTo>
                      <a:pt x="1005" y="22849"/>
                    </a:lnTo>
                    <a:lnTo>
                      <a:pt x="1026" y="22932"/>
                    </a:lnTo>
                    <a:lnTo>
                      <a:pt x="1068" y="22932"/>
                    </a:lnTo>
                    <a:cubicBezTo>
                      <a:pt x="1068" y="22953"/>
                      <a:pt x="1068" y="22995"/>
                      <a:pt x="1088" y="23016"/>
                    </a:cubicBezTo>
                    <a:cubicBezTo>
                      <a:pt x="1130" y="23163"/>
                      <a:pt x="1193" y="23330"/>
                      <a:pt x="1235" y="23456"/>
                    </a:cubicBezTo>
                    <a:lnTo>
                      <a:pt x="1277" y="23518"/>
                    </a:lnTo>
                    <a:cubicBezTo>
                      <a:pt x="1277" y="23539"/>
                      <a:pt x="1277" y="23539"/>
                      <a:pt x="1298" y="23560"/>
                    </a:cubicBezTo>
                    <a:lnTo>
                      <a:pt x="1235" y="23665"/>
                    </a:lnTo>
                    <a:lnTo>
                      <a:pt x="1193" y="23728"/>
                    </a:lnTo>
                    <a:lnTo>
                      <a:pt x="1235" y="23749"/>
                    </a:lnTo>
                    <a:lnTo>
                      <a:pt x="1381" y="23728"/>
                    </a:lnTo>
                    <a:lnTo>
                      <a:pt x="1444" y="23874"/>
                    </a:lnTo>
                    <a:lnTo>
                      <a:pt x="1423" y="23874"/>
                    </a:lnTo>
                    <a:lnTo>
                      <a:pt x="1444" y="23937"/>
                    </a:lnTo>
                    <a:lnTo>
                      <a:pt x="1486" y="23958"/>
                    </a:lnTo>
                    <a:lnTo>
                      <a:pt x="1423" y="24000"/>
                    </a:lnTo>
                    <a:lnTo>
                      <a:pt x="1402" y="24062"/>
                    </a:lnTo>
                    <a:lnTo>
                      <a:pt x="1423" y="24146"/>
                    </a:lnTo>
                    <a:lnTo>
                      <a:pt x="1486" y="24167"/>
                    </a:lnTo>
                    <a:lnTo>
                      <a:pt x="1549" y="24188"/>
                    </a:lnTo>
                    <a:lnTo>
                      <a:pt x="1507" y="24104"/>
                    </a:lnTo>
                    <a:lnTo>
                      <a:pt x="1549" y="24083"/>
                    </a:lnTo>
                    <a:cubicBezTo>
                      <a:pt x="1612" y="24167"/>
                      <a:pt x="1653" y="24272"/>
                      <a:pt x="1716" y="24355"/>
                    </a:cubicBezTo>
                    <a:lnTo>
                      <a:pt x="1716" y="24397"/>
                    </a:lnTo>
                    <a:lnTo>
                      <a:pt x="1653" y="24460"/>
                    </a:lnTo>
                    <a:lnTo>
                      <a:pt x="1695" y="24481"/>
                    </a:lnTo>
                    <a:lnTo>
                      <a:pt x="1737" y="24460"/>
                    </a:lnTo>
                    <a:lnTo>
                      <a:pt x="1758" y="24418"/>
                    </a:lnTo>
                    <a:cubicBezTo>
                      <a:pt x="1967" y="24753"/>
                      <a:pt x="2218" y="25004"/>
                      <a:pt x="2469" y="25234"/>
                    </a:cubicBezTo>
                    <a:lnTo>
                      <a:pt x="2449" y="25234"/>
                    </a:lnTo>
                    <a:lnTo>
                      <a:pt x="2365" y="25192"/>
                    </a:lnTo>
                    <a:lnTo>
                      <a:pt x="2260" y="25150"/>
                    </a:lnTo>
                    <a:lnTo>
                      <a:pt x="2156" y="25150"/>
                    </a:lnTo>
                    <a:lnTo>
                      <a:pt x="2072" y="25109"/>
                    </a:lnTo>
                    <a:lnTo>
                      <a:pt x="1946" y="24983"/>
                    </a:lnTo>
                    <a:lnTo>
                      <a:pt x="1863" y="24920"/>
                    </a:lnTo>
                    <a:lnTo>
                      <a:pt x="1842" y="24983"/>
                    </a:lnTo>
                    <a:lnTo>
                      <a:pt x="1863" y="25088"/>
                    </a:lnTo>
                    <a:lnTo>
                      <a:pt x="1946" y="25213"/>
                    </a:lnTo>
                    <a:lnTo>
                      <a:pt x="2072" y="25234"/>
                    </a:lnTo>
                    <a:lnTo>
                      <a:pt x="2239" y="25318"/>
                    </a:lnTo>
                    <a:lnTo>
                      <a:pt x="2281" y="25401"/>
                    </a:lnTo>
                    <a:lnTo>
                      <a:pt x="2365" y="25401"/>
                    </a:lnTo>
                    <a:lnTo>
                      <a:pt x="2428" y="25360"/>
                    </a:lnTo>
                    <a:lnTo>
                      <a:pt x="2574" y="25422"/>
                    </a:lnTo>
                    <a:lnTo>
                      <a:pt x="2679" y="25464"/>
                    </a:lnTo>
                    <a:lnTo>
                      <a:pt x="2783" y="25464"/>
                    </a:lnTo>
                    <a:cubicBezTo>
                      <a:pt x="2804" y="25464"/>
                      <a:pt x="2846" y="25506"/>
                      <a:pt x="2846" y="25527"/>
                    </a:cubicBezTo>
                    <a:lnTo>
                      <a:pt x="2804" y="25527"/>
                    </a:lnTo>
                    <a:lnTo>
                      <a:pt x="2700" y="25569"/>
                    </a:lnTo>
                    <a:lnTo>
                      <a:pt x="2658" y="25548"/>
                    </a:lnTo>
                    <a:lnTo>
                      <a:pt x="2595" y="25506"/>
                    </a:lnTo>
                    <a:lnTo>
                      <a:pt x="2532" y="25506"/>
                    </a:lnTo>
                    <a:lnTo>
                      <a:pt x="2490" y="25548"/>
                    </a:lnTo>
                    <a:lnTo>
                      <a:pt x="2490" y="25611"/>
                    </a:lnTo>
                    <a:lnTo>
                      <a:pt x="2595" y="25653"/>
                    </a:lnTo>
                    <a:lnTo>
                      <a:pt x="2658" y="25757"/>
                    </a:lnTo>
                    <a:lnTo>
                      <a:pt x="2762" y="25799"/>
                    </a:lnTo>
                    <a:lnTo>
                      <a:pt x="2867" y="25925"/>
                    </a:lnTo>
                    <a:lnTo>
                      <a:pt x="2951" y="25945"/>
                    </a:lnTo>
                    <a:lnTo>
                      <a:pt x="3076" y="25925"/>
                    </a:lnTo>
                    <a:lnTo>
                      <a:pt x="3118" y="25945"/>
                    </a:lnTo>
                    <a:lnTo>
                      <a:pt x="3118" y="26029"/>
                    </a:lnTo>
                    <a:lnTo>
                      <a:pt x="3202" y="26092"/>
                    </a:lnTo>
                    <a:lnTo>
                      <a:pt x="3285" y="26071"/>
                    </a:lnTo>
                    <a:lnTo>
                      <a:pt x="3265" y="26029"/>
                    </a:lnTo>
                    <a:lnTo>
                      <a:pt x="3327" y="25945"/>
                    </a:lnTo>
                    <a:lnTo>
                      <a:pt x="3327" y="25883"/>
                    </a:lnTo>
                    <a:lnTo>
                      <a:pt x="3285" y="25862"/>
                    </a:lnTo>
                    <a:lnTo>
                      <a:pt x="3327" y="25841"/>
                    </a:lnTo>
                    <a:lnTo>
                      <a:pt x="3411" y="25841"/>
                    </a:lnTo>
                    <a:lnTo>
                      <a:pt x="3369" y="25757"/>
                    </a:lnTo>
                    <a:lnTo>
                      <a:pt x="3285" y="25736"/>
                    </a:lnTo>
                    <a:lnTo>
                      <a:pt x="3160" y="25757"/>
                    </a:lnTo>
                    <a:lnTo>
                      <a:pt x="3118" y="25715"/>
                    </a:lnTo>
                    <a:lnTo>
                      <a:pt x="3118" y="25715"/>
                    </a:lnTo>
                    <a:cubicBezTo>
                      <a:pt x="3141" y="25721"/>
                      <a:pt x="3164" y="25724"/>
                      <a:pt x="3189" y="25724"/>
                    </a:cubicBezTo>
                    <a:cubicBezTo>
                      <a:pt x="3256" y="25724"/>
                      <a:pt x="3329" y="25704"/>
                      <a:pt x="3390" y="25673"/>
                    </a:cubicBezTo>
                    <a:lnTo>
                      <a:pt x="3411" y="25715"/>
                    </a:lnTo>
                    <a:lnTo>
                      <a:pt x="3578" y="25736"/>
                    </a:lnTo>
                    <a:lnTo>
                      <a:pt x="3683" y="25778"/>
                    </a:lnTo>
                    <a:lnTo>
                      <a:pt x="3746" y="25778"/>
                    </a:lnTo>
                    <a:lnTo>
                      <a:pt x="3829" y="25841"/>
                    </a:lnTo>
                    <a:lnTo>
                      <a:pt x="3892" y="25778"/>
                    </a:lnTo>
                    <a:lnTo>
                      <a:pt x="3955" y="25653"/>
                    </a:lnTo>
                    <a:lnTo>
                      <a:pt x="3913" y="25464"/>
                    </a:lnTo>
                    <a:lnTo>
                      <a:pt x="3934" y="25401"/>
                    </a:lnTo>
                    <a:lnTo>
                      <a:pt x="3934" y="25318"/>
                    </a:lnTo>
                    <a:lnTo>
                      <a:pt x="3955" y="25150"/>
                    </a:lnTo>
                    <a:lnTo>
                      <a:pt x="3955" y="25109"/>
                    </a:lnTo>
                    <a:cubicBezTo>
                      <a:pt x="4018" y="25213"/>
                      <a:pt x="4060" y="25318"/>
                      <a:pt x="4143" y="25422"/>
                    </a:cubicBezTo>
                    <a:lnTo>
                      <a:pt x="4122" y="25527"/>
                    </a:lnTo>
                    <a:lnTo>
                      <a:pt x="4060" y="25632"/>
                    </a:lnTo>
                    <a:lnTo>
                      <a:pt x="4122" y="25736"/>
                    </a:lnTo>
                    <a:lnTo>
                      <a:pt x="4060" y="25820"/>
                    </a:lnTo>
                    <a:lnTo>
                      <a:pt x="4060" y="25883"/>
                    </a:lnTo>
                    <a:lnTo>
                      <a:pt x="4164" y="25945"/>
                    </a:lnTo>
                    <a:lnTo>
                      <a:pt x="4269" y="25966"/>
                    </a:lnTo>
                    <a:lnTo>
                      <a:pt x="4332" y="25987"/>
                    </a:lnTo>
                    <a:lnTo>
                      <a:pt x="4373" y="25945"/>
                    </a:lnTo>
                    <a:lnTo>
                      <a:pt x="4248" y="25841"/>
                    </a:lnTo>
                    <a:lnTo>
                      <a:pt x="4332" y="25757"/>
                    </a:lnTo>
                    <a:lnTo>
                      <a:pt x="4562" y="26155"/>
                    </a:lnTo>
                    <a:lnTo>
                      <a:pt x="4562" y="26155"/>
                    </a:lnTo>
                    <a:lnTo>
                      <a:pt x="4520" y="26134"/>
                    </a:lnTo>
                    <a:lnTo>
                      <a:pt x="4332" y="26050"/>
                    </a:lnTo>
                    <a:lnTo>
                      <a:pt x="4227" y="25987"/>
                    </a:lnTo>
                    <a:lnTo>
                      <a:pt x="4206" y="26029"/>
                    </a:lnTo>
                    <a:lnTo>
                      <a:pt x="4248" y="26071"/>
                    </a:lnTo>
                    <a:lnTo>
                      <a:pt x="4520" y="26197"/>
                    </a:lnTo>
                    <a:lnTo>
                      <a:pt x="4541" y="26259"/>
                    </a:lnTo>
                    <a:lnTo>
                      <a:pt x="4436" y="26259"/>
                    </a:lnTo>
                    <a:lnTo>
                      <a:pt x="4436" y="26322"/>
                    </a:lnTo>
                    <a:lnTo>
                      <a:pt x="4373" y="26322"/>
                    </a:lnTo>
                    <a:lnTo>
                      <a:pt x="4353" y="26238"/>
                    </a:lnTo>
                    <a:lnTo>
                      <a:pt x="4227" y="26155"/>
                    </a:lnTo>
                    <a:lnTo>
                      <a:pt x="4206" y="26176"/>
                    </a:lnTo>
                    <a:lnTo>
                      <a:pt x="4206" y="26259"/>
                    </a:lnTo>
                    <a:lnTo>
                      <a:pt x="4122" y="26259"/>
                    </a:lnTo>
                    <a:lnTo>
                      <a:pt x="3934" y="26280"/>
                    </a:lnTo>
                    <a:lnTo>
                      <a:pt x="3892" y="26322"/>
                    </a:lnTo>
                    <a:lnTo>
                      <a:pt x="3934" y="26364"/>
                    </a:lnTo>
                    <a:lnTo>
                      <a:pt x="3913" y="26385"/>
                    </a:lnTo>
                    <a:lnTo>
                      <a:pt x="3809" y="26364"/>
                    </a:lnTo>
                    <a:lnTo>
                      <a:pt x="3704" y="26385"/>
                    </a:lnTo>
                    <a:lnTo>
                      <a:pt x="3725" y="26448"/>
                    </a:lnTo>
                    <a:lnTo>
                      <a:pt x="3850" y="26469"/>
                    </a:lnTo>
                    <a:lnTo>
                      <a:pt x="3955" y="26469"/>
                    </a:lnTo>
                    <a:lnTo>
                      <a:pt x="3997" y="26427"/>
                    </a:lnTo>
                    <a:lnTo>
                      <a:pt x="4018" y="26385"/>
                    </a:lnTo>
                    <a:lnTo>
                      <a:pt x="4101" y="26427"/>
                    </a:lnTo>
                    <a:lnTo>
                      <a:pt x="4206" y="26490"/>
                    </a:lnTo>
                    <a:lnTo>
                      <a:pt x="4248" y="26469"/>
                    </a:lnTo>
                    <a:lnTo>
                      <a:pt x="4269" y="26531"/>
                    </a:lnTo>
                    <a:lnTo>
                      <a:pt x="4269" y="26573"/>
                    </a:lnTo>
                    <a:lnTo>
                      <a:pt x="4353" y="26636"/>
                    </a:lnTo>
                    <a:lnTo>
                      <a:pt x="4269" y="26678"/>
                    </a:lnTo>
                    <a:lnTo>
                      <a:pt x="4227" y="26782"/>
                    </a:lnTo>
                    <a:lnTo>
                      <a:pt x="4269" y="26866"/>
                    </a:lnTo>
                    <a:lnTo>
                      <a:pt x="4353" y="26866"/>
                    </a:lnTo>
                    <a:lnTo>
                      <a:pt x="4436" y="26887"/>
                    </a:lnTo>
                    <a:lnTo>
                      <a:pt x="4541" y="26992"/>
                    </a:lnTo>
                    <a:lnTo>
                      <a:pt x="4625" y="26992"/>
                    </a:lnTo>
                    <a:lnTo>
                      <a:pt x="4646" y="26971"/>
                    </a:lnTo>
                    <a:lnTo>
                      <a:pt x="4562" y="26908"/>
                    </a:lnTo>
                    <a:lnTo>
                      <a:pt x="4457" y="26845"/>
                    </a:lnTo>
                    <a:lnTo>
                      <a:pt x="4436" y="26782"/>
                    </a:lnTo>
                    <a:lnTo>
                      <a:pt x="4457" y="26782"/>
                    </a:lnTo>
                    <a:lnTo>
                      <a:pt x="4541" y="26803"/>
                    </a:lnTo>
                    <a:lnTo>
                      <a:pt x="4625" y="26762"/>
                    </a:lnTo>
                    <a:lnTo>
                      <a:pt x="4646" y="26699"/>
                    </a:lnTo>
                    <a:lnTo>
                      <a:pt x="4562" y="26678"/>
                    </a:lnTo>
                    <a:lnTo>
                      <a:pt x="4520" y="26636"/>
                    </a:lnTo>
                    <a:lnTo>
                      <a:pt x="4750" y="26531"/>
                    </a:lnTo>
                    <a:lnTo>
                      <a:pt x="4855" y="26469"/>
                    </a:lnTo>
                    <a:lnTo>
                      <a:pt x="4938" y="26490"/>
                    </a:lnTo>
                    <a:cubicBezTo>
                      <a:pt x="4959" y="26531"/>
                      <a:pt x="4959" y="26552"/>
                      <a:pt x="4980" y="26552"/>
                    </a:cubicBezTo>
                    <a:lnTo>
                      <a:pt x="5001" y="26552"/>
                    </a:lnTo>
                    <a:lnTo>
                      <a:pt x="5001" y="26531"/>
                    </a:lnTo>
                    <a:lnTo>
                      <a:pt x="5294" y="26594"/>
                    </a:lnTo>
                    <a:lnTo>
                      <a:pt x="5357" y="26573"/>
                    </a:lnTo>
                    <a:lnTo>
                      <a:pt x="5357" y="26510"/>
                    </a:lnTo>
                    <a:lnTo>
                      <a:pt x="5482" y="26510"/>
                    </a:lnTo>
                    <a:lnTo>
                      <a:pt x="5420" y="26322"/>
                    </a:lnTo>
                    <a:lnTo>
                      <a:pt x="5357" y="26322"/>
                    </a:lnTo>
                    <a:lnTo>
                      <a:pt x="5252" y="26238"/>
                    </a:lnTo>
                    <a:lnTo>
                      <a:pt x="5106" y="26176"/>
                    </a:lnTo>
                    <a:lnTo>
                      <a:pt x="5106" y="26113"/>
                    </a:lnTo>
                    <a:lnTo>
                      <a:pt x="5273" y="26218"/>
                    </a:lnTo>
                    <a:lnTo>
                      <a:pt x="5399" y="26238"/>
                    </a:lnTo>
                    <a:lnTo>
                      <a:pt x="5148" y="25171"/>
                    </a:lnTo>
                    <a:lnTo>
                      <a:pt x="5106" y="25171"/>
                    </a:lnTo>
                    <a:lnTo>
                      <a:pt x="5106" y="25129"/>
                    </a:lnTo>
                    <a:lnTo>
                      <a:pt x="4959" y="24481"/>
                    </a:lnTo>
                    <a:lnTo>
                      <a:pt x="4792" y="24544"/>
                    </a:lnTo>
                    <a:lnTo>
                      <a:pt x="4750" y="24585"/>
                    </a:lnTo>
                    <a:lnTo>
                      <a:pt x="4666" y="24502"/>
                    </a:lnTo>
                    <a:lnTo>
                      <a:pt x="4583" y="24481"/>
                    </a:lnTo>
                    <a:lnTo>
                      <a:pt x="4562" y="24544"/>
                    </a:lnTo>
                    <a:cubicBezTo>
                      <a:pt x="4562" y="24502"/>
                      <a:pt x="4541" y="24502"/>
                      <a:pt x="4541" y="24481"/>
                    </a:cubicBezTo>
                    <a:lnTo>
                      <a:pt x="4541" y="24334"/>
                    </a:lnTo>
                    <a:lnTo>
                      <a:pt x="4625" y="24272"/>
                    </a:lnTo>
                    <a:lnTo>
                      <a:pt x="4750" y="24251"/>
                    </a:lnTo>
                    <a:lnTo>
                      <a:pt x="4897" y="24334"/>
                    </a:lnTo>
                    <a:lnTo>
                      <a:pt x="4980" y="24272"/>
                    </a:lnTo>
                    <a:lnTo>
                      <a:pt x="5001" y="24272"/>
                    </a:lnTo>
                    <a:lnTo>
                      <a:pt x="4855" y="24146"/>
                    </a:lnTo>
                    <a:lnTo>
                      <a:pt x="4520" y="23937"/>
                    </a:lnTo>
                    <a:lnTo>
                      <a:pt x="4457" y="23874"/>
                    </a:lnTo>
                    <a:lnTo>
                      <a:pt x="3725" y="23874"/>
                    </a:lnTo>
                    <a:lnTo>
                      <a:pt x="3306" y="23958"/>
                    </a:lnTo>
                    <a:lnTo>
                      <a:pt x="3202" y="23895"/>
                    </a:lnTo>
                    <a:lnTo>
                      <a:pt x="2930" y="23874"/>
                    </a:lnTo>
                    <a:lnTo>
                      <a:pt x="2846" y="23644"/>
                    </a:lnTo>
                    <a:lnTo>
                      <a:pt x="2783" y="23435"/>
                    </a:lnTo>
                    <a:lnTo>
                      <a:pt x="2658" y="23330"/>
                    </a:lnTo>
                    <a:lnTo>
                      <a:pt x="2637" y="22995"/>
                    </a:lnTo>
                    <a:lnTo>
                      <a:pt x="2637" y="22828"/>
                    </a:lnTo>
                    <a:lnTo>
                      <a:pt x="2511" y="22828"/>
                    </a:lnTo>
                    <a:lnTo>
                      <a:pt x="2323" y="22912"/>
                    </a:lnTo>
                    <a:lnTo>
                      <a:pt x="2218" y="23016"/>
                    </a:lnTo>
                    <a:lnTo>
                      <a:pt x="2093" y="23016"/>
                    </a:lnTo>
                    <a:lnTo>
                      <a:pt x="1842" y="22577"/>
                    </a:lnTo>
                    <a:cubicBezTo>
                      <a:pt x="1821" y="22493"/>
                      <a:pt x="1800" y="22409"/>
                      <a:pt x="1800" y="22326"/>
                    </a:cubicBezTo>
                    <a:lnTo>
                      <a:pt x="1884" y="21844"/>
                    </a:lnTo>
                    <a:lnTo>
                      <a:pt x="2009" y="21656"/>
                    </a:lnTo>
                    <a:lnTo>
                      <a:pt x="2218" y="21447"/>
                    </a:lnTo>
                    <a:lnTo>
                      <a:pt x="2260" y="21154"/>
                    </a:lnTo>
                    <a:lnTo>
                      <a:pt x="2218" y="20840"/>
                    </a:lnTo>
                    <a:lnTo>
                      <a:pt x="2135" y="20610"/>
                    </a:lnTo>
                    <a:lnTo>
                      <a:pt x="2197" y="20338"/>
                    </a:lnTo>
                    <a:lnTo>
                      <a:pt x="2302" y="20212"/>
                    </a:lnTo>
                    <a:lnTo>
                      <a:pt x="2197" y="19961"/>
                    </a:lnTo>
                    <a:lnTo>
                      <a:pt x="2218" y="19815"/>
                    </a:lnTo>
                    <a:lnTo>
                      <a:pt x="2323" y="19710"/>
                    </a:lnTo>
                    <a:lnTo>
                      <a:pt x="2239" y="19480"/>
                    </a:lnTo>
                    <a:lnTo>
                      <a:pt x="2197" y="19166"/>
                    </a:lnTo>
                    <a:lnTo>
                      <a:pt x="2114" y="19020"/>
                    </a:lnTo>
                    <a:lnTo>
                      <a:pt x="2114" y="18915"/>
                    </a:lnTo>
                    <a:lnTo>
                      <a:pt x="2260" y="18769"/>
                    </a:lnTo>
                    <a:lnTo>
                      <a:pt x="2260" y="18643"/>
                    </a:lnTo>
                    <a:lnTo>
                      <a:pt x="2135" y="18434"/>
                    </a:lnTo>
                    <a:lnTo>
                      <a:pt x="1946" y="18308"/>
                    </a:lnTo>
                    <a:lnTo>
                      <a:pt x="1821" y="18308"/>
                    </a:lnTo>
                    <a:lnTo>
                      <a:pt x="1800" y="18329"/>
                    </a:lnTo>
                    <a:lnTo>
                      <a:pt x="1716" y="18246"/>
                    </a:lnTo>
                    <a:lnTo>
                      <a:pt x="1779" y="18141"/>
                    </a:lnTo>
                    <a:lnTo>
                      <a:pt x="2030" y="18141"/>
                    </a:lnTo>
                    <a:lnTo>
                      <a:pt x="2156" y="17995"/>
                    </a:lnTo>
                    <a:lnTo>
                      <a:pt x="2156" y="17869"/>
                    </a:lnTo>
                    <a:lnTo>
                      <a:pt x="2093" y="17827"/>
                    </a:lnTo>
                    <a:lnTo>
                      <a:pt x="2009" y="17890"/>
                    </a:lnTo>
                    <a:lnTo>
                      <a:pt x="1905" y="17869"/>
                    </a:lnTo>
                    <a:lnTo>
                      <a:pt x="1842" y="17597"/>
                    </a:lnTo>
                    <a:lnTo>
                      <a:pt x="1737" y="17367"/>
                    </a:lnTo>
                    <a:lnTo>
                      <a:pt x="1737" y="17199"/>
                    </a:lnTo>
                    <a:lnTo>
                      <a:pt x="1737" y="17032"/>
                    </a:lnTo>
                    <a:lnTo>
                      <a:pt x="1570" y="16969"/>
                    </a:lnTo>
                    <a:lnTo>
                      <a:pt x="1570" y="16948"/>
                    </a:lnTo>
                    <a:cubicBezTo>
                      <a:pt x="1528" y="16865"/>
                      <a:pt x="1528" y="16760"/>
                      <a:pt x="1507" y="16676"/>
                    </a:cubicBezTo>
                    <a:lnTo>
                      <a:pt x="1486" y="16362"/>
                    </a:lnTo>
                    <a:lnTo>
                      <a:pt x="1612" y="16300"/>
                    </a:lnTo>
                    <a:lnTo>
                      <a:pt x="1633" y="16132"/>
                    </a:lnTo>
                    <a:lnTo>
                      <a:pt x="1591" y="16028"/>
                    </a:lnTo>
                    <a:lnTo>
                      <a:pt x="1486" y="15986"/>
                    </a:lnTo>
                    <a:lnTo>
                      <a:pt x="1423" y="15714"/>
                    </a:lnTo>
                    <a:lnTo>
                      <a:pt x="1402" y="15358"/>
                    </a:lnTo>
                    <a:lnTo>
                      <a:pt x="1423" y="14940"/>
                    </a:lnTo>
                    <a:lnTo>
                      <a:pt x="1319" y="14751"/>
                    </a:lnTo>
                    <a:lnTo>
                      <a:pt x="1298" y="14542"/>
                    </a:lnTo>
                    <a:lnTo>
                      <a:pt x="1507" y="14249"/>
                    </a:lnTo>
                    <a:lnTo>
                      <a:pt x="1528" y="13935"/>
                    </a:lnTo>
                    <a:lnTo>
                      <a:pt x="1695" y="13852"/>
                    </a:lnTo>
                    <a:lnTo>
                      <a:pt x="1779" y="13747"/>
                    </a:lnTo>
                    <a:lnTo>
                      <a:pt x="1423" y="13077"/>
                    </a:lnTo>
                    <a:lnTo>
                      <a:pt x="1486" y="12847"/>
                    </a:lnTo>
                    <a:lnTo>
                      <a:pt x="1486" y="12680"/>
                    </a:lnTo>
                    <a:lnTo>
                      <a:pt x="1486" y="12282"/>
                    </a:lnTo>
                    <a:lnTo>
                      <a:pt x="1612" y="12052"/>
                    </a:lnTo>
                    <a:lnTo>
                      <a:pt x="1737" y="11927"/>
                    </a:lnTo>
                    <a:lnTo>
                      <a:pt x="1716" y="11717"/>
                    </a:lnTo>
                    <a:lnTo>
                      <a:pt x="1612" y="11529"/>
                    </a:lnTo>
                    <a:lnTo>
                      <a:pt x="1528" y="11445"/>
                    </a:lnTo>
                    <a:lnTo>
                      <a:pt x="1674" y="11278"/>
                    </a:lnTo>
                    <a:lnTo>
                      <a:pt x="1633" y="11027"/>
                    </a:lnTo>
                    <a:lnTo>
                      <a:pt x="1737" y="10797"/>
                    </a:lnTo>
                    <a:lnTo>
                      <a:pt x="1842" y="10776"/>
                    </a:lnTo>
                    <a:lnTo>
                      <a:pt x="1884" y="10504"/>
                    </a:lnTo>
                    <a:lnTo>
                      <a:pt x="1821" y="10064"/>
                    </a:lnTo>
                    <a:lnTo>
                      <a:pt x="1737" y="9981"/>
                    </a:lnTo>
                    <a:lnTo>
                      <a:pt x="1674" y="9646"/>
                    </a:lnTo>
                    <a:lnTo>
                      <a:pt x="1591" y="9458"/>
                    </a:lnTo>
                    <a:lnTo>
                      <a:pt x="1444" y="9248"/>
                    </a:lnTo>
                    <a:lnTo>
                      <a:pt x="1423" y="9144"/>
                    </a:lnTo>
                    <a:lnTo>
                      <a:pt x="1319" y="9018"/>
                    </a:lnTo>
                    <a:lnTo>
                      <a:pt x="1277" y="8725"/>
                    </a:lnTo>
                    <a:lnTo>
                      <a:pt x="1298" y="8516"/>
                    </a:lnTo>
                    <a:lnTo>
                      <a:pt x="1444" y="8453"/>
                    </a:lnTo>
                    <a:lnTo>
                      <a:pt x="1444" y="8160"/>
                    </a:lnTo>
                    <a:lnTo>
                      <a:pt x="1528" y="8056"/>
                    </a:lnTo>
                    <a:lnTo>
                      <a:pt x="1528" y="7784"/>
                    </a:lnTo>
                    <a:lnTo>
                      <a:pt x="1423" y="7616"/>
                    </a:lnTo>
                    <a:lnTo>
                      <a:pt x="1402" y="7240"/>
                    </a:lnTo>
                    <a:lnTo>
                      <a:pt x="1486" y="7156"/>
                    </a:lnTo>
                    <a:lnTo>
                      <a:pt x="1528" y="6738"/>
                    </a:lnTo>
                    <a:lnTo>
                      <a:pt x="1633" y="6591"/>
                    </a:lnTo>
                    <a:lnTo>
                      <a:pt x="1800" y="6194"/>
                    </a:lnTo>
                    <a:lnTo>
                      <a:pt x="1946" y="6047"/>
                    </a:lnTo>
                    <a:lnTo>
                      <a:pt x="2051" y="5984"/>
                    </a:lnTo>
                    <a:lnTo>
                      <a:pt x="2135" y="5880"/>
                    </a:lnTo>
                    <a:lnTo>
                      <a:pt x="2093" y="5838"/>
                    </a:lnTo>
                    <a:lnTo>
                      <a:pt x="2093" y="5671"/>
                    </a:lnTo>
                    <a:lnTo>
                      <a:pt x="2030" y="5587"/>
                    </a:lnTo>
                    <a:lnTo>
                      <a:pt x="1946" y="5545"/>
                    </a:lnTo>
                    <a:lnTo>
                      <a:pt x="1988" y="5440"/>
                    </a:lnTo>
                    <a:lnTo>
                      <a:pt x="2093" y="5357"/>
                    </a:lnTo>
                    <a:lnTo>
                      <a:pt x="2093" y="5210"/>
                    </a:lnTo>
                    <a:lnTo>
                      <a:pt x="1946" y="5043"/>
                    </a:lnTo>
                    <a:lnTo>
                      <a:pt x="1925" y="4854"/>
                    </a:lnTo>
                    <a:lnTo>
                      <a:pt x="2009" y="4729"/>
                    </a:lnTo>
                    <a:lnTo>
                      <a:pt x="1988" y="4624"/>
                    </a:lnTo>
                    <a:lnTo>
                      <a:pt x="1842" y="4520"/>
                    </a:lnTo>
                    <a:lnTo>
                      <a:pt x="1905" y="4373"/>
                    </a:lnTo>
                    <a:lnTo>
                      <a:pt x="2574" y="3997"/>
                    </a:lnTo>
                    <a:lnTo>
                      <a:pt x="2741" y="3348"/>
                    </a:lnTo>
                    <a:lnTo>
                      <a:pt x="2658" y="3181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344" y="3285"/>
                    </a:lnTo>
                    <a:lnTo>
                      <a:pt x="1925" y="2134"/>
                    </a:lnTo>
                    <a:lnTo>
                      <a:pt x="1633" y="1883"/>
                    </a:lnTo>
                    <a:lnTo>
                      <a:pt x="1570" y="1779"/>
                    </a:lnTo>
                    <a:lnTo>
                      <a:pt x="1695" y="1465"/>
                    </a:lnTo>
                    <a:lnTo>
                      <a:pt x="1633" y="1360"/>
                    </a:lnTo>
                    <a:lnTo>
                      <a:pt x="1716" y="1193"/>
                    </a:lnTo>
                    <a:lnTo>
                      <a:pt x="1695" y="1130"/>
                    </a:lnTo>
                    <a:lnTo>
                      <a:pt x="1423" y="921"/>
                    </a:lnTo>
                    <a:lnTo>
                      <a:pt x="1360" y="774"/>
                    </a:lnTo>
                    <a:lnTo>
                      <a:pt x="1319" y="607"/>
                    </a:lnTo>
                    <a:lnTo>
                      <a:pt x="1298" y="544"/>
                    </a:lnTo>
                    <a:lnTo>
                      <a:pt x="1319" y="440"/>
                    </a:lnTo>
                    <a:lnTo>
                      <a:pt x="1298" y="335"/>
                    </a:lnTo>
                    <a:lnTo>
                      <a:pt x="1256" y="293"/>
                    </a:lnTo>
                    <a:lnTo>
                      <a:pt x="1151" y="189"/>
                    </a:lnTo>
                    <a:lnTo>
                      <a:pt x="1151" y="21"/>
                    </a:lnTo>
                    <a:lnTo>
                      <a:pt x="1109" y="21"/>
                    </a:lnTo>
                    <a:lnTo>
                      <a:pt x="104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63" name="Google Shape;763;p34"/>
            <p:cNvGrpSpPr/>
            <p:nvPr/>
          </p:nvGrpSpPr>
          <p:grpSpPr>
            <a:xfrm>
              <a:off x="3855466" y="3289811"/>
              <a:ext cx="112514" cy="94210"/>
              <a:chOff x="3918000" y="3561900"/>
              <a:chExt cx="236225" cy="207100"/>
            </a:xfrm>
          </p:grpSpPr>
          <p:sp>
            <p:nvSpPr>
              <p:cNvPr id="764" name="Google Shape;764;p34"/>
              <p:cNvSpPr/>
              <p:nvPr/>
            </p:nvSpPr>
            <p:spPr>
              <a:xfrm>
                <a:off x="3925800" y="3561900"/>
                <a:ext cx="228425" cy="170000"/>
              </a:xfrm>
              <a:custGeom>
                <a:avLst/>
                <a:gdLst/>
                <a:ahLst/>
                <a:cxnLst/>
                <a:rect l="l" t="t" r="r" b="b"/>
                <a:pathLst>
                  <a:path w="9137" h="6800" extrusionOk="0">
                    <a:moveTo>
                      <a:pt x="0" y="4356"/>
                    </a:moveTo>
                    <a:lnTo>
                      <a:pt x="1381" y="1594"/>
                    </a:lnTo>
                    <a:lnTo>
                      <a:pt x="7012" y="0"/>
                    </a:lnTo>
                    <a:lnTo>
                      <a:pt x="9137" y="532"/>
                    </a:lnTo>
                    <a:lnTo>
                      <a:pt x="8500" y="2444"/>
                    </a:lnTo>
                    <a:lnTo>
                      <a:pt x="6906" y="5206"/>
                    </a:lnTo>
                    <a:lnTo>
                      <a:pt x="3719" y="68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65" name="Google Shape;765;p34"/>
              <p:cNvSpPr/>
              <p:nvPr/>
            </p:nvSpPr>
            <p:spPr>
              <a:xfrm>
                <a:off x="3918000" y="3569675"/>
                <a:ext cx="229150" cy="199325"/>
              </a:xfrm>
              <a:custGeom>
                <a:avLst/>
                <a:gdLst/>
                <a:ahLst/>
                <a:cxnLst/>
                <a:rect l="l" t="t" r="r" b="b"/>
                <a:pathLst>
                  <a:path w="9166" h="7973" extrusionOk="0">
                    <a:moveTo>
                      <a:pt x="6696" y="3976"/>
                    </a:moveTo>
                    <a:lnTo>
                      <a:pt x="6738" y="4018"/>
                    </a:lnTo>
                    <a:lnTo>
                      <a:pt x="6780" y="3997"/>
                    </a:lnTo>
                    <a:lnTo>
                      <a:pt x="6843" y="4039"/>
                    </a:lnTo>
                    <a:lnTo>
                      <a:pt x="6926" y="4018"/>
                    </a:lnTo>
                    <a:lnTo>
                      <a:pt x="7052" y="4122"/>
                    </a:lnTo>
                    <a:lnTo>
                      <a:pt x="7136" y="4353"/>
                    </a:lnTo>
                    <a:lnTo>
                      <a:pt x="7136" y="4499"/>
                    </a:lnTo>
                    <a:lnTo>
                      <a:pt x="7094" y="4583"/>
                    </a:lnTo>
                    <a:lnTo>
                      <a:pt x="6989" y="4625"/>
                    </a:lnTo>
                    <a:lnTo>
                      <a:pt x="6989" y="4708"/>
                    </a:lnTo>
                    <a:lnTo>
                      <a:pt x="7031" y="4750"/>
                    </a:lnTo>
                    <a:lnTo>
                      <a:pt x="7031" y="4834"/>
                    </a:lnTo>
                    <a:lnTo>
                      <a:pt x="6926" y="4918"/>
                    </a:lnTo>
                    <a:lnTo>
                      <a:pt x="6843" y="4876"/>
                    </a:lnTo>
                    <a:lnTo>
                      <a:pt x="6738" y="4918"/>
                    </a:lnTo>
                    <a:lnTo>
                      <a:pt x="6675" y="4959"/>
                    </a:lnTo>
                    <a:lnTo>
                      <a:pt x="6571" y="5001"/>
                    </a:lnTo>
                    <a:lnTo>
                      <a:pt x="6508" y="5127"/>
                    </a:lnTo>
                    <a:lnTo>
                      <a:pt x="6466" y="5169"/>
                    </a:lnTo>
                    <a:lnTo>
                      <a:pt x="6424" y="5231"/>
                    </a:lnTo>
                    <a:lnTo>
                      <a:pt x="6320" y="5231"/>
                    </a:lnTo>
                    <a:lnTo>
                      <a:pt x="6194" y="5169"/>
                    </a:lnTo>
                    <a:lnTo>
                      <a:pt x="6152" y="5106"/>
                    </a:lnTo>
                    <a:lnTo>
                      <a:pt x="6069" y="5022"/>
                    </a:lnTo>
                    <a:lnTo>
                      <a:pt x="6069" y="4918"/>
                    </a:lnTo>
                    <a:lnTo>
                      <a:pt x="5985" y="4834"/>
                    </a:lnTo>
                    <a:lnTo>
                      <a:pt x="5964" y="4771"/>
                    </a:lnTo>
                    <a:lnTo>
                      <a:pt x="5880" y="4708"/>
                    </a:lnTo>
                    <a:lnTo>
                      <a:pt x="5838" y="4604"/>
                    </a:lnTo>
                    <a:lnTo>
                      <a:pt x="5901" y="4541"/>
                    </a:lnTo>
                    <a:lnTo>
                      <a:pt x="6069" y="4415"/>
                    </a:lnTo>
                    <a:lnTo>
                      <a:pt x="6110" y="4248"/>
                    </a:lnTo>
                    <a:lnTo>
                      <a:pt x="6257" y="4164"/>
                    </a:lnTo>
                    <a:lnTo>
                      <a:pt x="6466" y="4122"/>
                    </a:lnTo>
                    <a:lnTo>
                      <a:pt x="6508" y="4081"/>
                    </a:lnTo>
                    <a:lnTo>
                      <a:pt x="6592" y="4018"/>
                    </a:lnTo>
                    <a:lnTo>
                      <a:pt x="6613" y="3976"/>
                    </a:lnTo>
                    <a:close/>
                    <a:moveTo>
                      <a:pt x="7659" y="1"/>
                    </a:moveTo>
                    <a:lnTo>
                      <a:pt x="7470" y="21"/>
                    </a:lnTo>
                    <a:lnTo>
                      <a:pt x="7387" y="21"/>
                    </a:lnTo>
                    <a:lnTo>
                      <a:pt x="7345" y="63"/>
                    </a:lnTo>
                    <a:lnTo>
                      <a:pt x="7240" y="63"/>
                    </a:lnTo>
                    <a:lnTo>
                      <a:pt x="7178" y="126"/>
                    </a:lnTo>
                    <a:lnTo>
                      <a:pt x="7178" y="168"/>
                    </a:lnTo>
                    <a:lnTo>
                      <a:pt x="7157" y="252"/>
                    </a:lnTo>
                    <a:lnTo>
                      <a:pt x="7073" y="273"/>
                    </a:lnTo>
                    <a:lnTo>
                      <a:pt x="7010" y="356"/>
                    </a:lnTo>
                    <a:lnTo>
                      <a:pt x="6843" y="356"/>
                    </a:lnTo>
                    <a:lnTo>
                      <a:pt x="6822" y="335"/>
                    </a:lnTo>
                    <a:lnTo>
                      <a:pt x="6717" y="356"/>
                    </a:lnTo>
                    <a:lnTo>
                      <a:pt x="6592" y="461"/>
                    </a:lnTo>
                    <a:lnTo>
                      <a:pt x="6529" y="524"/>
                    </a:lnTo>
                    <a:lnTo>
                      <a:pt x="6445" y="565"/>
                    </a:lnTo>
                    <a:lnTo>
                      <a:pt x="6424" y="628"/>
                    </a:lnTo>
                    <a:lnTo>
                      <a:pt x="6341" y="649"/>
                    </a:lnTo>
                    <a:lnTo>
                      <a:pt x="6299" y="691"/>
                    </a:lnTo>
                    <a:lnTo>
                      <a:pt x="6236" y="733"/>
                    </a:lnTo>
                    <a:lnTo>
                      <a:pt x="6173" y="754"/>
                    </a:lnTo>
                    <a:lnTo>
                      <a:pt x="6006" y="963"/>
                    </a:lnTo>
                    <a:lnTo>
                      <a:pt x="5985" y="1089"/>
                    </a:lnTo>
                    <a:lnTo>
                      <a:pt x="6006" y="1151"/>
                    </a:lnTo>
                    <a:lnTo>
                      <a:pt x="6006" y="1214"/>
                    </a:lnTo>
                    <a:lnTo>
                      <a:pt x="5922" y="1256"/>
                    </a:lnTo>
                    <a:lnTo>
                      <a:pt x="5901" y="1298"/>
                    </a:lnTo>
                    <a:lnTo>
                      <a:pt x="5859" y="1319"/>
                    </a:lnTo>
                    <a:lnTo>
                      <a:pt x="5776" y="1402"/>
                    </a:lnTo>
                    <a:lnTo>
                      <a:pt x="5755" y="1486"/>
                    </a:lnTo>
                    <a:lnTo>
                      <a:pt x="5713" y="1507"/>
                    </a:lnTo>
                    <a:lnTo>
                      <a:pt x="5692" y="1570"/>
                    </a:lnTo>
                    <a:lnTo>
                      <a:pt x="5608" y="1570"/>
                    </a:lnTo>
                    <a:lnTo>
                      <a:pt x="5545" y="1612"/>
                    </a:lnTo>
                    <a:lnTo>
                      <a:pt x="5399" y="1633"/>
                    </a:lnTo>
                    <a:lnTo>
                      <a:pt x="5357" y="1737"/>
                    </a:lnTo>
                    <a:lnTo>
                      <a:pt x="5357" y="1905"/>
                    </a:lnTo>
                    <a:lnTo>
                      <a:pt x="5294" y="1967"/>
                    </a:lnTo>
                    <a:lnTo>
                      <a:pt x="5294" y="2030"/>
                    </a:lnTo>
                    <a:lnTo>
                      <a:pt x="5273" y="2135"/>
                    </a:lnTo>
                    <a:lnTo>
                      <a:pt x="5294" y="2197"/>
                    </a:lnTo>
                    <a:lnTo>
                      <a:pt x="5169" y="2260"/>
                    </a:lnTo>
                    <a:lnTo>
                      <a:pt x="5085" y="2239"/>
                    </a:lnTo>
                    <a:lnTo>
                      <a:pt x="5043" y="2197"/>
                    </a:lnTo>
                    <a:lnTo>
                      <a:pt x="4834" y="2197"/>
                    </a:lnTo>
                    <a:lnTo>
                      <a:pt x="4709" y="2218"/>
                    </a:lnTo>
                    <a:lnTo>
                      <a:pt x="4604" y="2197"/>
                    </a:lnTo>
                    <a:lnTo>
                      <a:pt x="4520" y="2218"/>
                    </a:lnTo>
                    <a:lnTo>
                      <a:pt x="4311" y="2093"/>
                    </a:lnTo>
                    <a:lnTo>
                      <a:pt x="4227" y="2093"/>
                    </a:lnTo>
                    <a:lnTo>
                      <a:pt x="4185" y="2009"/>
                    </a:lnTo>
                    <a:lnTo>
                      <a:pt x="3997" y="1988"/>
                    </a:lnTo>
                    <a:lnTo>
                      <a:pt x="3872" y="2009"/>
                    </a:lnTo>
                    <a:lnTo>
                      <a:pt x="3704" y="2135"/>
                    </a:lnTo>
                    <a:lnTo>
                      <a:pt x="3621" y="2365"/>
                    </a:lnTo>
                    <a:lnTo>
                      <a:pt x="3516" y="2469"/>
                    </a:lnTo>
                    <a:lnTo>
                      <a:pt x="3349" y="2553"/>
                    </a:lnTo>
                    <a:lnTo>
                      <a:pt x="3286" y="2637"/>
                    </a:lnTo>
                    <a:lnTo>
                      <a:pt x="3181" y="2721"/>
                    </a:lnTo>
                    <a:lnTo>
                      <a:pt x="3056" y="2742"/>
                    </a:lnTo>
                    <a:lnTo>
                      <a:pt x="2972" y="2783"/>
                    </a:lnTo>
                    <a:lnTo>
                      <a:pt x="2846" y="2762"/>
                    </a:lnTo>
                    <a:lnTo>
                      <a:pt x="2763" y="2825"/>
                    </a:lnTo>
                    <a:lnTo>
                      <a:pt x="2616" y="2783"/>
                    </a:lnTo>
                    <a:lnTo>
                      <a:pt x="2449" y="2825"/>
                    </a:lnTo>
                    <a:lnTo>
                      <a:pt x="2449" y="2721"/>
                    </a:lnTo>
                    <a:lnTo>
                      <a:pt x="2532" y="2532"/>
                    </a:lnTo>
                    <a:lnTo>
                      <a:pt x="2532" y="2365"/>
                    </a:lnTo>
                    <a:lnTo>
                      <a:pt x="2365" y="2051"/>
                    </a:lnTo>
                    <a:lnTo>
                      <a:pt x="2323" y="1905"/>
                    </a:lnTo>
                    <a:lnTo>
                      <a:pt x="2135" y="1779"/>
                    </a:lnTo>
                    <a:lnTo>
                      <a:pt x="2051" y="3871"/>
                    </a:lnTo>
                    <a:lnTo>
                      <a:pt x="1821" y="3871"/>
                    </a:lnTo>
                    <a:lnTo>
                      <a:pt x="1675" y="3934"/>
                    </a:lnTo>
                    <a:lnTo>
                      <a:pt x="1612" y="4039"/>
                    </a:lnTo>
                    <a:lnTo>
                      <a:pt x="1528" y="4081"/>
                    </a:lnTo>
                    <a:lnTo>
                      <a:pt x="1486" y="4122"/>
                    </a:lnTo>
                    <a:lnTo>
                      <a:pt x="1486" y="4248"/>
                    </a:lnTo>
                    <a:lnTo>
                      <a:pt x="1403" y="4227"/>
                    </a:lnTo>
                    <a:lnTo>
                      <a:pt x="1319" y="4227"/>
                    </a:lnTo>
                    <a:lnTo>
                      <a:pt x="1277" y="4143"/>
                    </a:lnTo>
                    <a:lnTo>
                      <a:pt x="1193" y="4143"/>
                    </a:lnTo>
                    <a:lnTo>
                      <a:pt x="1152" y="4206"/>
                    </a:lnTo>
                    <a:lnTo>
                      <a:pt x="1047" y="4185"/>
                    </a:lnTo>
                    <a:lnTo>
                      <a:pt x="984" y="4143"/>
                    </a:lnTo>
                    <a:lnTo>
                      <a:pt x="880" y="4185"/>
                    </a:lnTo>
                    <a:lnTo>
                      <a:pt x="754" y="4102"/>
                    </a:lnTo>
                    <a:lnTo>
                      <a:pt x="566" y="4039"/>
                    </a:lnTo>
                    <a:lnTo>
                      <a:pt x="482" y="3871"/>
                    </a:lnTo>
                    <a:lnTo>
                      <a:pt x="545" y="3725"/>
                    </a:lnTo>
                    <a:lnTo>
                      <a:pt x="440" y="3725"/>
                    </a:lnTo>
                    <a:lnTo>
                      <a:pt x="356" y="3599"/>
                    </a:lnTo>
                    <a:lnTo>
                      <a:pt x="231" y="3662"/>
                    </a:lnTo>
                    <a:lnTo>
                      <a:pt x="168" y="3767"/>
                    </a:lnTo>
                    <a:lnTo>
                      <a:pt x="210" y="3788"/>
                    </a:lnTo>
                    <a:lnTo>
                      <a:pt x="210" y="3871"/>
                    </a:lnTo>
                    <a:lnTo>
                      <a:pt x="64" y="3892"/>
                    </a:lnTo>
                    <a:lnTo>
                      <a:pt x="1" y="3934"/>
                    </a:lnTo>
                    <a:lnTo>
                      <a:pt x="22" y="4122"/>
                    </a:lnTo>
                    <a:lnTo>
                      <a:pt x="210" y="4248"/>
                    </a:lnTo>
                    <a:lnTo>
                      <a:pt x="336" y="4625"/>
                    </a:lnTo>
                    <a:lnTo>
                      <a:pt x="336" y="4771"/>
                    </a:lnTo>
                    <a:lnTo>
                      <a:pt x="461" y="5085"/>
                    </a:lnTo>
                    <a:lnTo>
                      <a:pt x="545" y="5441"/>
                    </a:lnTo>
                    <a:lnTo>
                      <a:pt x="691" y="5650"/>
                    </a:lnTo>
                    <a:lnTo>
                      <a:pt x="691" y="5775"/>
                    </a:lnTo>
                    <a:lnTo>
                      <a:pt x="859" y="6027"/>
                    </a:lnTo>
                    <a:lnTo>
                      <a:pt x="859" y="6110"/>
                    </a:lnTo>
                    <a:lnTo>
                      <a:pt x="900" y="6299"/>
                    </a:lnTo>
                    <a:lnTo>
                      <a:pt x="880" y="6487"/>
                    </a:lnTo>
                    <a:lnTo>
                      <a:pt x="796" y="6550"/>
                    </a:lnTo>
                    <a:lnTo>
                      <a:pt x="754" y="6550"/>
                    </a:lnTo>
                    <a:lnTo>
                      <a:pt x="691" y="6508"/>
                    </a:lnTo>
                    <a:lnTo>
                      <a:pt x="649" y="6550"/>
                    </a:lnTo>
                    <a:lnTo>
                      <a:pt x="649" y="6717"/>
                    </a:lnTo>
                    <a:lnTo>
                      <a:pt x="733" y="6863"/>
                    </a:lnTo>
                    <a:lnTo>
                      <a:pt x="838" y="6968"/>
                    </a:lnTo>
                    <a:lnTo>
                      <a:pt x="942" y="7156"/>
                    </a:lnTo>
                    <a:lnTo>
                      <a:pt x="859" y="7282"/>
                    </a:lnTo>
                    <a:lnTo>
                      <a:pt x="880" y="7449"/>
                    </a:lnTo>
                    <a:lnTo>
                      <a:pt x="838" y="7554"/>
                    </a:lnTo>
                    <a:lnTo>
                      <a:pt x="838" y="7659"/>
                    </a:lnTo>
                    <a:lnTo>
                      <a:pt x="900" y="7700"/>
                    </a:lnTo>
                    <a:lnTo>
                      <a:pt x="900" y="7596"/>
                    </a:lnTo>
                    <a:lnTo>
                      <a:pt x="1005" y="7533"/>
                    </a:lnTo>
                    <a:lnTo>
                      <a:pt x="1152" y="7554"/>
                    </a:lnTo>
                    <a:lnTo>
                      <a:pt x="1172" y="7679"/>
                    </a:lnTo>
                    <a:lnTo>
                      <a:pt x="1110" y="7721"/>
                    </a:lnTo>
                    <a:lnTo>
                      <a:pt x="1172" y="7742"/>
                    </a:lnTo>
                    <a:lnTo>
                      <a:pt x="1256" y="7679"/>
                    </a:lnTo>
                    <a:lnTo>
                      <a:pt x="1361" y="7742"/>
                    </a:lnTo>
                    <a:lnTo>
                      <a:pt x="1361" y="7868"/>
                    </a:lnTo>
                    <a:lnTo>
                      <a:pt x="1403" y="7847"/>
                    </a:lnTo>
                    <a:lnTo>
                      <a:pt x="1696" y="7972"/>
                    </a:lnTo>
                    <a:lnTo>
                      <a:pt x="1737" y="7951"/>
                    </a:lnTo>
                    <a:lnTo>
                      <a:pt x="1800" y="7972"/>
                    </a:lnTo>
                    <a:lnTo>
                      <a:pt x="1821" y="7889"/>
                    </a:lnTo>
                    <a:lnTo>
                      <a:pt x="1926" y="7868"/>
                    </a:lnTo>
                    <a:lnTo>
                      <a:pt x="2051" y="7742"/>
                    </a:lnTo>
                    <a:lnTo>
                      <a:pt x="2198" y="7763"/>
                    </a:lnTo>
                    <a:lnTo>
                      <a:pt x="2219" y="7721"/>
                    </a:lnTo>
                    <a:lnTo>
                      <a:pt x="2344" y="7721"/>
                    </a:lnTo>
                    <a:lnTo>
                      <a:pt x="2512" y="7763"/>
                    </a:lnTo>
                    <a:lnTo>
                      <a:pt x="2574" y="7742"/>
                    </a:lnTo>
                    <a:lnTo>
                      <a:pt x="2721" y="7742"/>
                    </a:lnTo>
                    <a:lnTo>
                      <a:pt x="2742" y="7679"/>
                    </a:lnTo>
                    <a:lnTo>
                      <a:pt x="2784" y="7638"/>
                    </a:lnTo>
                    <a:lnTo>
                      <a:pt x="2867" y="7596"/>
                    </a:lnTo>
                    <a:lnTo>
                      <a:pt x="2930" y="7638"/>
                    </a:lnTo>
                    <a:lnTo>
                      <a:pt x="2951" y="7533"/>
                    </a:lnTo>
                    <a:lnTo>
                      <a:pt x="3035" y="7470"/>
                    </a:lnTo>
                    <a:lnTo>
                      <a:pt x="3349" y="7470"/>
                    </a:lnTo>
                    <a:lnTo>
                      <a:pt x="3474" y="7554"/>
                    </a:lnTo>
                    <a:lnTo>
                      <a:pt x="3558" y="7533"/>
                    </a:lnTo>
                    <a:lnTo>
                      <a:pt x="3558" y="7470"/>
                    </a:lnTo>
                    <a:lnTo>
                      <a:pt x="3725" y="7449"/>
                    </a:lnTo>
                    <a:lnTo>
                      <a:pt x="3997" y="7533"/>
                    </a:lnTo>
                    <a:lnTo>
                      <a:pt x="4081" y="7575"/>
                    </a:lnTo>
                    <a:lnTo>
                      <a:pt x="4353" y="7638"/>
                    </a:lnTo>
                    <a:lnTo>
                      <a:pt x="4395" y="7596"/>
                    </a:lnTo>
                    <a:lnTo>
                      <a:pt x="4353" y="7533"/>
                    </a:lnTo>
                    <a:lnTo>
                      <a:pt x="4437" y="7449"/>
                    </a:lnTo>
                    <a:lnTo>
                      <a:pt x="4541" y="7449"/>
                    </a:lnTo>
                    <a:lnTo>
                      <a:pt x="4667" y="7491"/>
                    </a:lnTo>
                    <a:lnTo>
                      <a:pt x="4876" y="7491"/>
                    </a:lnTo>
                    <a:lnTo>
                      <a:pt x="4876" y="7470"/>
                    </a:lnTo>
                    <a:lnTo>
                      <a:pt x="4813" y="7387"/>
                    </a:lnTo>
                    <a:lnTo>
                      <a:pt x="4855" y="7303"/>
                    </a:lnTo>
                    <a:lnTo>
                      <a:pt x="5022" y="7240"/>
                    </a:lnTo>
                    <a:lnTo>
                      <a:pt x="5190" y="7240"/>
                    </a:lnTo>
                    <a:lnTo>
                      <a:pt x="5253" y="7303"/>
                    </a:lnTo>
                    <a:lnTo>
                      <a:pt x="5378" y="7303"/>
                    </a:lnTo>
                    <a:lnTo>
                      <a:pt x="5504" y="7219"/>
                    </a:lnTo>
                    <a:lnTo>
                      <a:pt x="5713" y="7156"/>
                    </a:lnTo>
                    <a:lnTo>
                      <a:pt x="5713" y="7135"/>
                    </a:lnTo>
                    <a:lnTo>
                      <a:pt x="5859" y="7073"/>
                    </a:lnTo>
                    <a:lnTo>
                      <a:pt x="5922" y="6968"/>
                    </a:lnTo>
                    <a:lnTo>
                      <a:pt x="6320" y="6717"/>
                    </a:lnTo>
                    <a:lnTo>
                      <a:pt x="6424" y="6612"/>
                    </a:lnTo>
                    <a:lnTo>
                      <a:pt x="6424" y="6591"/>
                    </a:lnTo>
                    <a:lnTo>
                      <a:pt x="6508" y="6591"/>
                    </a:lnTo>
                    <a:lnTo>
                      <a:pt x="7115" y="5985"/>
                    </a:lnTo>
                    <a:lnTo>
                      <a:pt x="7136" y="5922"/>
                    </a:lnTo>
                    <a:lnTo>
                      <a:pt x="7198" y="5922"/>
                    </a:lnTo>
                    <a:lnTo>
                      <a:pt x="7282" y="5796"/>
                    </a:lnTo>
                    <a:lnTo>
                      <a:pt x="7387" y="5755"/>
                    </a:lnTo>
                    <a:lnTo>
                      <a:pt x="7429" y="5587"/>
                    </a:lnTo>
                    <a:lnTo>
                      <a:pt x="7596" y="5399"/>
                    </a:lnTo>
                    <a:lnTo>
                      <a:pt x="7847" y="5022"/>
                    </a:lnTo>
                    <a:lnTo>
                      <a:pt x="7910" y="4834"/>
                    </a:lnTo>
                    <a:lnTo>
                      <a:pt x="8014" y="4834"/>
                    </a:lnTo>
                    <a:lnTo>
                      <a:pt x="8077" y="4708"/>
                    </a:lnTo>
                    <a:lnTo>
                      <a:pt x="8077" y="4646"/>
                    </a:lnTo>
                    <a:lnTo>
                      <a:pt x="8182" y="4520"/>
                    </a:lnTo>
                    <a:lnTo>
                      <a:pt x="8266" y="4394"/>
                    </a:lnTo>
                    <a:lnTo>
                      <a:pt x="8391" y="4311"/>
                    </a:lnTo>
                    <a:lnTo>
                      <a:pt x="8433" y="4227"/>
                    </a:lnTo>
                    <a:lnTo>
                      <a:pt x="8538" y="4185"/>
                    </a:lnTo>
                    <a:lnTo>
                      <a:pt x="8579" y="4122"/>
                    </a:lnTo>
                    <a:lnTo>
                      <a:pt x="8621" y="4122"/>
                    </a:lnTo>
                    <a:lnTo>
                      <a:pt x="8789" y="3934"/>
                    </a:lnTo>
                    <a:lnTo>
                      <a:pt x="8810" y="3830"/>
                    </a:lnTo>
                    <a:lnTo>
                      <a:pt x="8893" y="3725"/>
                    </a:lnTo>
                    <a:lnTo>
                      <a:pt x="8935" y="3516"/>
                    </a:lnTo>
                    <a:lnTo>
                      <a:pt x="9019" y="3348"/>
                    </a:lnTo>
                    <a:lnTo>
                      <a:pt x="9040" y="3160"/>
                    </a:lnTo>
                    <a:lnTo>
                      <a:pt x="9123" y="2951"/>
                    </a:lnTo>
                    <a:lnTo>
                      <a:pt x="9103" y="2951"/>
                    </a:lnTo>
                    <a:lnTo>
                      <a:pt x="9165" y="2846"/>
                    </a:lnTo>
                    <a:lnTo>
                      <a:pt x="9165" y="2825"/>
                    </a:lnTo>
                    <a:lnTo>
                      <a:pt x="9061" y="2825"/>
                    </a:lnTo>
                    <a:lnTo>
                      <a:pt x="8935" y="2762"/>
                    </a:lnTo>
                    <a:lnTo>
                      <a:pt x="8830" y="2762"/>
                    </a:lnTo>
                    <a:lnTo>
                      <a:pt x="8768" y="2825"/>
                    </a:lnTo>
                    <a:lnTo>
                      <a:pt x="8768" y="2909"/>
                    </a:lnTo>
                    <a:lnTo>
                      <a:pt x="8726" y="3014"/>
                    </a:lnTo>
                    <a:lnTo>
                      <a:pt x="8663" y="3034"/>
                    </a:lnTo>
                    <a:lnTo>
                      <a:pt x="8454" y="3034"/>
                    </a:lnTo>
                    <a:lnTo>
                      <a:pt x="8266" y="2930"/>
                    </a:lnTo>
                    <a:lnTo>
                      <a:pt x="8182" y="2804"/>
                    </a:lnTo>
                    <a:lnTo>
                      <a:pt x="8140" y="2742"/>
                    </a:lnTo>
                    <a:lnTo>
                      <a:pt x="8098" y="2658"/>
                    </a:lnTo>
                    <a:lnTo>
                      <a:pt x="8161" y="2532"/>
                    </a:lnTo>
                    <a:lnTo>
                      <a:pt x="8286" y="2281"/>
                    </a:lnTo>
                    <a:lnTo>
                      <a:pt x="8307" y="2177"/>
                    </a:lnTo>
                    <a:lnTo>
                      <a:pt x="8412" y="2114"/>
                    </a:lnTo>
                    <a:lnTo>
                      <a:pt x="8579" y="2197"/>
                    </a:lnTo>
                    <a:lnTo>
                      <a:pt x="8663" y="2260"/>
                    </a:lnTo>
                    <a:lnTo>
                      <a:pt x="8768" y="2323"/>
                    </a:lnTo>
                    <a:lnTo>
                      <a:pt x="8768" y="2135"/>
                    </a:lnTo>
                    <a:lnTo>
                      <a:pt x="8768" y="1988"/>
                    </a:lnTo>
                    <a:lnTo>
                      <a:pt x="8810" y="1800"/>
                    </a:lnTo>
                    <a:lnTo>
                      <a:pt x="8810" y="1361"/>
                    </a:lnTo>
                    <a:lnTo>
                      <a:pt x="8789" y="1214"/>
                    </a:lnTo>
                    <a:lnTo>
                      <a:pt x="8747" y="1109"/>
                    </a:lnTo>
                    <a:lnTo>
                      <a:pt x="8747" y="1005"/>
                    </a:lnTo>
                    <a:lnTo>
                      <a:pt x="8747" y="984"/>
                    </a:lnTo>
                    <a:lnTo>
                      <a:pt x="8747" y="733"/>
                    </a:lnTo>
                    <a:lnTo>
                      <a:pt x="8684" y="586"/>
                    </a:lnTo>
                    <a:lnTo>
                      <a:pt x="8642" y="440"/>
                    </a:lnTo>
                    <a:lnTo>
                      <a:pt x="8621" y="273"/>
                    </a:lnTo>
                    <a:lnTo>
                      <a:pt x="8517" y="168"/>
                    </a:lnTo>
                    <a:lnTo>
                      <a:pt x="8328" y="126"/>
                    </a:lnTo>
                    <a:lnTo>
                      <a:pt x="8182" y="147"/>
                    </a:lnTo>
                    <a:lnTo>
                      <a:pt x="8098" y="168"/>
                    </a:lnTo>
                    <a:lnTo>
                      <a:pt x="8056" y="147"/>
                    </a:lnTo>
                    <a:lnTo>
                      <a:pt x="7910" y="105"/>
                    </a:lnTo>
                    <a:lnTo>
                      <a:pt x="7847" y="105"/>
                    </a:lnTo>
                    <a:lnTo>
                      <a:pt x="7784" y="21"/>
                    </a:lnTo>
                    <a:lnTo>
                      <a:pt x="765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66" name="Google Shape;766;p34"/>
            <p:cNvSpPr/>
            <p:nvPr/>
          </p:nvSpPr>
          <p:spPr>
            <a:xfrm>
              <a:off x="3292646" y="3020419"/>
              <a:ext cx="18695" cy="5482"/>
            </a:xfrm>
            <a:custGeom>
              <a:avLst/>
              <a:gdLst/>
              <a:ahLst/>
              <a:cxnLst/>
              <a:rect l="l" t="t" r="r" b="b"/>
              <a:pathLst>
                <a:path w="1570" h="482" extrusionOk="0">
                  <a:moveTo>
                    <a:pt x="189" y="0"/>
                  </a:moveTo>
                  <a:lnTo>
                    <a:pt x="126" y="84"/>
                  </a:lnTo>
                  <a:lnTo>
                    <a:pt x="21" y="147"/>
                  </a:lnTo>
                  <a:lnTo>
                    <a:pt x="21" y="209"/>
                  </a:lnTo>
                  <a:lnTo>
                    <a:pt x="0" y="272"/>
                  </a:lnTo>
                  <a:lnTo>
                    <a:pt x="42" y="377"/>
                  </a:lnTo>
                  <a:lnTo>
                    <a:pt x="314" y="377"/>
                  </a:lnTo>
                  <a:lnTo>
                    <a:pt x="398" y="398"/>
                  </a:lnTo>
                  <a:lnTo>
                    <a:pt x="607" y="356"/>
                  </a:lnTo>
                  <a:lnTo>
                    <a:pt x="691" y="377"/>
                  </a:lnTo>
                  <a:lnTo>
                    <a:pt x="837" y="293"/>
                  </a:lnTo>
                  <a:cubicBezTo>
                    <a:pt x="1026" y="398"/>
                    <a:pt x="1235" y="356"/>
                    <a:pt x="1423" y="481"/>
                  </a:cubicBezTo>
                  <a:lnTo>
                    <a:pt x="1570" y="460"/>
                  </a:lnTo>
                  <a:lnTo>
                    <a:pt x="1528" y="398"/>
                  </a:lnTo>
                  <a:lnTo>
                    <a:pt x="1444" y="460"/>
                  </a:lnTo>
                  <a:lnTo>
                    <a:pt x="1444" y="440"/>
                  </a:lnTo>
                  <a:cubicBezTo>
                    <a:pt x="1360" y="377"/>
                    <a:pt x="1318" y="356"/>
                    <a:pt x="1235" y="335"/>
                  </a:cubicBezTo>
                  <a:lnTo>
                    <a:pt x="1277" y="293"/>
                  </a:lnTo>
                  <a:lnTo>
                    <a:pt x="1130" y="251"/>
                  </a:lnTo>
                  <a:lnTo>
                    <a:pt x="1046" y="335"/>
                  </a:lnTo>
                  <a:cubicBezTo>
                    <a:pt x="1005" y="335"/>
                    <a:pt x="942" y="335"/>
                    <a:pt x="921" y="293"/>
                  </a:cubicBezTo>
                  <a:lnTo>
                    <a:pt x="921" y="272"/>
                  </a:lnTo>
                  <a:lnTo>
                    <a:pt x="1046" y="147"/>
                  </a:lnTo>
                  <a:lnTo>
                    <a:pt x="942" y="105"/>
                  </a:lnTo>
                  <a:lnTo>
                    <a:pt x="921" y="42"/>
                  </a:lnTo>
                  <a:lnTo>
                    <a:pt x="837" y="0"/>
                  </a:lnTo>
                  <a:lnTo>
                    <a:pt x="607" y="42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7" name="Google Shape;767;p34"/>
            <p:cNvSpPr/>
            <p:nvPr/>
          </p:nvSpPr>
          <p:spPr>
            <a:xfrm>
              <a:off x="3260258" y="3010662"/>
              <a:ext cx="26423" cy="16661"/>
            </a:xfrm>
            <a:custGeom>
              <a:avLst/>
              <a:gdLst/>
              <a:ahLst/>
              <a:cxnLst/>
              <a:rect l="l" t="t" r="r" b="b"/>
              <a:pathLst>
                <a:path w="2219" h="1465" extrusionOk="0">
                  <a:moveTo>
                    <a:pt x="481" y="0"/>
                  </a:moveTo>
                  <a:lnTo>
                    <a:pt x="293" y="42"/>
                  </a:lnTo>
                  <a:lnTo>
                    <a:pt x="230" y="147"/>
                  </a:lnTo>
                  <a:lnTo>
                    <a:pt x="230" y="209"/>
                  </a:lnTo>
                  <a:lnTo>
                    <a:pt x="189" y="314"/>
                  </a:lnTo>
                  <a:lnTo>
                    <a:pt x="230" y="398"/>
                  </a:lnTo>
                  <a:lnTo>
                    <a:pt x="189" y="523"/>
                  </a:lnTo>
                  <a:lnTo>
                    <a:pt x="105" y="586"/>
                  </a:lnTo>
                  <a:lnTo>
                    <a:pt x="84" y="607"/>
                  </a:lnTo>
                  <a:lnTo>
                    <a:pt x="126" y="733"/>
                  </a:lnTo>
                  <a:lnTo>
                    <a:pt x="126" y="837"/>
                  </a:lnTo>
                  <a:lnTo>
                    <a:pt x="126" y="900"/>
                  </a:lnTo>
                  <a:lnTo>
                    <a:pt x="0" y="1046"/>
                  </a:lnTo>
                  <a:lnTo>
                    <a:pt x="0" y="1109"/>
                  </a:lnTo>
                  <a:lnTo>
                    <a:pt x="63" y="1130"/>
                  </a:lnTo>
                  <a:lnTo>
                    <a:pt x="126" y="1256"/>
                  </a:lnTo>
                  <a:lnTo>
                    <a:pt x="84" y="1339"/>
                  </a:lnTo>
                  <a:lnTo>
                    <a:pt x="189" y="1402"/>
                  </a:lnTo>
                  <a:lnTo>
                    <a:pt x="230" y="1444"/>
                  </a:lnTo>
                  <a:lnTo>
                    <a:pt x="293" y="1465"/>
                  </a:lnTo>
                  <a:lnTo>
                    <a:pt x="377" y="1318"/>
                  </a:lnTo>
                  <a:lnTo>
                    <a:pt x="502" y="1130"/>
                  </a:lnTo>
                  <a:lnTo>
                    <a:pt x="502" y="1088"/>
                  </a:lnTo>
                  <a:lnTo>
                    <a:pt x="544" y="984"/>
                  </a:lnTo>
                  <a:lnTo>
                    <a:pt x="607" y="1046"/>
                  </a:lnTo>
                  <a:lnTo>
                    <a:pt x="691" y="1046"/>
                  </a:lnTo>
                  <a:lnTo>
                    <a:pt x="753" y="921"/>
                  </a:lnTo>
                  <a:lnTo>
                    <a:pt x="837" y="984"/>
                  </a:lnTo>
                  <a:lnTo>
                    <a:pt x="837" y="1088"/>
                  </a:lnTo>
                  <a:lnTo>
                    <a:pt x="921" y="1130"/>
                  </a:lnTo>
                  <a:lnTo>
                    <a:pt x="1067" y="1088"/>
                  </a:lnTo>
                  <a:lnTo>
                    <a:pt x="1235" y="942"/>
                  </a:lnTo>
                  <a:lnTo>
                    <a:pt x="1381" y="900"/>
                  </a:lnTo>
                  <a:lnTo>
                    <a:pt x="1569" y="921"/>
                  </a:lnTo>
                  <a:lnTo>
                    <a:pt x="1674" y="900"/>
                  </a:lnTo>
                  <a:lnTo>
                    <a:pt x="1758" y="942"/>
                  </a:lnTo>
                  <a:lnTo>
                    <a:pt x="1883" y="984"/>
                  </a:lnTo>
                  <a:lnTo>
                    <a:pt x="2072" y="1005"/>
                  </a:lnTo>
                  <a:lnTo>
                    <a:pt x="2093" y="921"/>
                  </a:lnTo>
                  <a:lnTo>
                    <a:pt x="2176" y="921"/>
                  </a:lnTo>
                  <a:lnTo>
                    <a:pt x="2218" y="816"/>
                  </a:lnTo>
                  <a:lnTo>
                    <a:pt x="2176" y="733"/>
                  </a:lnTo>
                  <a:lnTo>
                    <a:pt x="1946" y="607"/>
                  </a:lnTo>
                  <a:lnTo>
                    <a:pt x="1862" y="607"/>
                  </a:lnTo>
                  <a:lnTo>
                    <a:pt x="1695" y="565"/>
                  </a:lnTo>
                  <a:lnTo>
                    <a:pt x="1632" y="565"/>
                  </a:lnTo>
                  <a:lnTo>
                    <a:pt x="1465" y="502"/>
                  </a:lnTo>
                  <a:lnTo>
                    <a:pt x="1277" y="398"/>
                  </a:lnTo>
                  <a:lnTo>
                    <a:pt x="1172" y="398"/>
                  </a:lnTo>
                  <a:lnTo>
                    <a:pt x="1256" y="377"/>
                  </a:lnTo>
                  <a:lnTo>
                    <a:pt x="1423" y="419"/>
                  </a:lnTo>
                  <a:lnTo>
                    <a:pt x="1674" y="419"/>
                  </a:lnTo>
                  <a:lnTo>
                    <a:pt x="1779" y="398"/>
                  </a:lnTo>
                  <a:lnTo>
                    <a:pt x="1695" y="356"/>
                  </a:lnTo>
                  <a:lnTo>
                    <a:pt x="1632" y="356"/>
                  </a:lnTo>
                  <a:lnTo>
                    <a:pt x="1444" y="314"/>
                  </a:lnTo>
                  <a:lnTo>
                    <a:pt x="1360" y="147"/>
                  </a:lnTo>
                  <a:lnTo>
                    <a:pt x="1256" y="147"/>
                  </a:lnTo>
                  <a:lnTo>
                    <a:pt x="1214" y="168"/>
                  </a:lnTo>
                  <a:lnTo>
                    <a:pt x="1130" y="105"/>
                  </a:lnTo>
                  <a:lnTo>
                    <a:pt x="649" y="0"/>
                  </a:lnTo>
                  <a:lnTo>
                    <a:pt x="586" y="42"/>
                  </a:lnTo>
                  <a:lnTo>
                    <a:pt x="48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8" name="Google Shape;768;p34"/>
            <p:cNvSpPr/>
            <p:nvPr/>
          </p:nvSpPr>
          <p:spPr>
            <a:xfrm>
              <a:off x="3408744" y="2329870"/>
              <a:ext cx="289769" cy="354333"/>
            </a:xfrm>
            <a:custGeom>
              <a:avLst/>
              <a:gdLst/>
              <a:ahLst/>
              <a:cxnLst/>
              <a:rect l="l" t="t" r="r" b="b"/>
              <a:pathLst>
                <a:path w="24335" h="31157" extrusionOk="0">
                  <a:moveTo>
                    <a:pt x="19167" y="16300"/>
                  </a:moveTo>
                  <a:lnTo>
                    <a:pt x="19161" y="16311"/>
                  </a:lnTo>
                  <a:lnTo>
                    <a:pt x="19167" y="16321"/>
                  </a:lnTo>
                  <a:lnTo>
                    <a:pt x="19167" y="16300"/>
                  </a:lnTo>
                  <a:close/>
                  <a:moveTo>
                    <a:pt x="16572" y="17849"/>
                  </a:moveTo>
                  <a:lnTo>
                    <a:pt x="16593" y="17870"/>
                  </a:lnTo>
                  <a:lnTo>
                    <a:pt x="16509" y="17870"/>
                  </a:lnTo>
                  <a:lnTo>
                    <a:pt x="16509" y="17849"/>
                  </a:lnTo>
                  <a:close/>
                  <a:moveTo>
                    <a:pt x="4771" y="22933"/>
                  </a:moveTo>
                  <a:lnTo>
                    <a:pt x="4813" y="22996"/>
                  </a:lnTo>
                  <a:lnTo>
                    <a:pt x="4792" y="23038"/>
                  </a:lnTo>
                  <a:lnTo>
                    <a:pt x="4750" y="23038"/>
                  </a:lnTo>
                  <a:lnTo>
                    <a:pt x="4688" y="23059"/>
                  </a:lnTo>
                  <a:lnTo>
                    <a:pt x="4709" y="23142"/>
                  </a:lnTo>
                  <a:lnTo>
                    <a:pt x="4792" y="23205"/>
                  </a:lnTo>
                  <a:lnTo>
                    <a:pt x="4960" y="23205"/>
                  </a:lnTo>
                  <a:lnTo>
                    <a:pt x="4981" y="23163"/>
                  </a:lnTo>
                  <a:lnTo>
                    <a:pt x="4960" y="23121"/>
                  </a:lnTo>
                  <a:lnTo>
                    <a:pt x="4960" y="23059"/>
                  </a:lnTo>
                  <a:lnTo>
                    <a:pt x="5001" y="23038"/>
                  </a:lnTo>
                  <a:lnTo>
                    <a:pt x="5127" y="23059"/>
                  </a:lnTo>
                  <a:lnTo>
                    <a:pt x="5169" y="23121"/>
                  </a:lnTo>
                  <a:lnTo>
                    <a:pt x="5106" y="23163"/>
                  </a:lnTo>
                  <a:lnTo>
                    <a:pt x="4960" y="23226"/>
                  </a:lnTo>
                  <a:lnTo>
                    <a:pt x="4750" y="23226"/>
                  </a:lnTo>
                  <a:lnTo>
                    <a:pt x="4750" y="23268"/>
                  </a:lnTo>
                  <a:lnTo>
                    <a:pt x="4855" y="23435"/>
                  </a:lnTo>
                  <a:lnTo>
                    <a:pt x="4981" y="23519"/>
                  </a:lnTo>
                  <a:lnTo>
                    <a:pt x="5064" y="23540"/>
                  </a:lnTo>
                  <a:lnTo>
                    <a:pt x="5085" y="23519"/>
                  </a:lnTo>
                  <a:lnTo>
                    <a:pt x="5190" y="23477"/>
                  </a:lnTo>
                  <a:lnTo>
                    <a:pt x="5211" y="23540"/>
                  </a:lnTo>
                  <a:lnTo>
                    <a:pt x="5190" y="23561"/>
                  </a:lnTo>
                  <a:lnTo>
                    <a:pt x="5127" y="23561"/>
                  </a:lnTo>
                  <a:lnTo>
                    <a:pt x="5064" y="23582"/>
                  </a:lnTo>
                  <a:lnTo>
                    <a:pt x="4897" y="23540"/>
                  </a:lnTo>
                  <a:lnTo>
                    <a:pt x="4771" y="23477"/>
                  </a:lnTo>
                  <a:lnTo>
                    <a:pt x="4646" y="23352"/>
                  </a:lnTo>
                  <a:lnTo>
                    <a:pt x="4541" y="23310"/>
                  </a:lnTo>
                  <a:lnTo>
                    <a:pt x="4436" y="23310"/>
                  </a:lnTo>
                  <a:lnTo>
                    <a:pt x="4332" y="23205"/>
                  </a:lnTo>
                  <a:lnTo>
                    <a:pt x="4185" y="23142"/>
                  </a:lnTo>
                  <a:lnTo>
                    <a:pt x="4164" y="23121"/>
                  </a:lnTo>
                  <a:lnTo>
                    <a:pt x="4081" y="23121"/>
                  </a:lnTo>
                  <a:lnTo>
                    <a:pt x="4018" y="23142"/>
                  </a:lnTo>
                  <a:lnTo>
                    <a:pt x="3913" y="23142"/>
                  </a:lnTo>
                  <a:lnTo>
                    <a:pt x="3892" y="23132"/>
                  </a:lnTo>
                  <a:lnTo>
                    <a:pt x="3892" y="23132"/>
                  </a:lnTo>
                  <a:lnTo>
                    <a:pt x="3913" y="23121"/>
                  </a:lnTo>
                  <a:lnTo>
                    <a:pt x="3976" y="23121"/>
                  </a:lnTo>
                  <a:lnTo>
                    <a:pt x="4123" y="23100"/>
                  </a:lnTo>
                  <a:lnTo>
                    <a:pt x="4164" y="23038"/>
                  </a:lnTo>
                  <a:lnTo>
                    <a:pt x="4185" y="23038"/>
                  </a:lnTo>
                  <a:lnTo>
                    <a:pt x="4185" y="23100"/>
                  </a:lnTo>
                  <a:lnTo>
                    <a:pt x="4248" y="23121"/>
                  </a:lnTo>
                  <a:lnTo>
                    <a:pt x="4332" y="23121"/>
                  </a:lnTo>
                  <a:lnTo>
                    <a:pt x="4436" y="23247"/>
                  </a:lnTo>
                  <a:lnTo>
                    <a:pt x="4478" y="23268"/>
                  </a:lnTo>
                  <a:lnTo>
                    <a:pt x="4562" y="23226"/>
                  </a:lnTo>
                  <a:lnTo>
                    <a:pt x="4604" y="23142"/>
                  </a:lnTo>
                  <a:lnTo>
                    <a:pt x="4604" y="23059"/>
                  </a:lnTo>
                  <a:lnTo>
                    <a:pt x="4583" y="23017"/>
                  </a:lnTo>
                  <a:lnTo>
                    <a:pt x="4583" y="22954"/>
                  </a:lnTo>
                  <a:lnTo>
                    <a:pt x="4688" y="22954"/>
                  </a:lnTo>
                  <a:lnTo>
                    <a:pt x="4709" y="22933"/>
                  </a:lnTo>
                  <a:close/>
                  <a:moveTo>
                    <a:pt x="4269" y="25193"/>
                  </a:moveTo>
                  <a:lnTo>
                    <a:pt x="4290" y="25277"/>
                  </a:lnTo>
                  <a:lnTo>
                    <a:pt x="4395" y="25297"/>
                  </a:lnTo>
                  <a:lnTo>
                    <a:pt x="4436" y="25339"/>
                  </a:lnTo>
                  <a:lnTo>
                    <a:pt x="4353" y="25339"/>
                  </a:lnTo>
                  <a:lnTo>
                    <a:pt x="4290" y="25318"/>
                  </a:lnTo>
                  <a:lnTo>
                    <a:pt x="4123" y="25318"/>
                  </a:lnTo>
                  <a:lnTo>
                    <a:pt x="4060" y="25381"/>
                  </a:lnTo>
                  <a:lnTo>
                    <a:pt x="4039" y="25318"/>
                  </a:lnTo>
                  <a:lnTo>
                    <a:pt x="3976" y="25339"/>
                  </a:lnTo>
                  <a:lnTo>
                    <a:pt x="3955" y="25444"/>
                  </a:lnTo>
                  <a:lnTo>
                    <a:pt x="3913" y="25486"/>
                  </a:lnTo>
                  <a:lnTo>
                    <a:pt x="3851" y="25528"/>
                  </a:lnTo>
                  <a:lnTo>
                    <a:pt x="3725" y="25549"/>
                  </a:lnTo>
                  <a:lnTo>
                    <a:pt x="3641" y="25611"/>
                  </a:lnTo>
                  <a:lnTo>
                    <a:pt x="3725" y="25528"/>
                  </a:lnTo>
                  <a:lnTo>
                    <a:pt x="3830" y="25507"/>
                  </a:lnTo>
                  <a:lnTo>
                    <a:pt x="3872" y="25444"/>
                  </a:lnTo>
                  <a:lnTo>
                    <a:pt x="3913" y="25381"/>
                  </a:lnTo>
                  <a:lnTo>
                    <a:pt x="3955" y="25318"/>
                  </a:lnTo>
                  <a:lnTo>
                    <a:pt x="4018" y="25318"/>
                  </a:lnTo>
                  <a:lnTo>
                    <a:pt x="4227" y="25193"/>
                  </a:lnTo>
                  <a:close/>
                  <a:moveTo>
                    <a:pt x="16614" y="1"/>
                  </a:moveTo>
                  <a:lnTo>
                    <a:pt x="16530" y="22"/>
                  </a:lnTo>
                  <a:lnTo>
                    <a:pt x="16489" y="84"/>
                  </a:lnTo>
                  <a:lnTo>
                    <a:pt x="16489" y="168"/>
                  </a:lnTo>
                  <a:lnTo>
                    <a:pt x="16509" y="273"/>
                  </a:lnTo>
                  <a:lnTo>
                    <a:pt x="16509" y="336"/>
                  </a:lnTo>
                  <a:lnTo>
                    <a:pt x="16468" y="398"/>
                  </a:lnTo>
                  <a:lnTo>
                    <a:pt x="16405" y="336"/>
                  </a:lnTo>
                  <a:lnTo>
                    <a:pt x="16384" y="210"/>
                  </a:lnTo>
                  <a:lnTo>
                    <a:pt x="16321" y="126"/>
                  </a:lnTo>
                  <a:lnTo>
                    <a:pt x="16279" y="126"/>
                  </a:lnTo>
                  <a:lnTo>
                    <a:pt x="16216" y="84"/>
                  </a:lnTo>
                  <a:lnTo>
                    <a:pt x="16175" y="64"/>
                  </a:lnTo>
                  <a:lnTo>
                    <a:pt x="16154" y="105"/>
                  </a:lnTo>
                  <a:lnTo>
                    <a:pt x="16112" y="210"/>
                  </a:lnTo>
                  <a:lnTo>
                    <a:pt x="16070" y="273"/>
                  </a:lnTo>
                  <a:lnTo>
                    <a:pt x="15986" y="231"/>
                  </a:lnTo>
                  <a:lnTo>
                    <a:pt x="15903" y="273"/>
                  </a:lnTo>
                  <a:lnTo>
                    <a:pt x="15882" y="377"/>
                  </a:lnTo>
                  <a:lnTo>
                    <a:pt x="15924" y="440"/>
                  </a:lnTo>
                  <a:lnTo>
                    <a:pt x="15965" y="503"/>
                  </a:lnTo>
                  <a:lnTo>
                    <a:pt x="15882" y="587"/>
                  </a:lnTo>
                  <a:lnTo>
                    <a:pt x="15777" y="712"/>
                  </a:lnTo>
                  <a:lnTo>
                    <a:pt x="15777" y="754"/>
                  </a:lnTo>
                  <a:lnTo>
                    <a:pt x="15861" y="796"/>
                  </a:lnTo>
                  <a:lnTo>
                    <a:pt x="15882" y="838"/>
                  </a:lnTo>
                  <a:lnTo>
                    <a:pt x="15840" y="901"/>
                  </a:lnTo>
                  <a:lnTo>
                    <a:pt x="15777" y="901"/>
                  </a:lnTo>
                  <a:lnTo>
                    <a:pt x="15631" y="817"/>
                  </a:lnTo>
                  <a:lnTo>
                    <a:pt x="15421" y="817"/>
                  </a:lnTo>
                  <a:lnTo>
                    <a:pt x="15380" y="963"/>
                  </a:lnTo>
                  <a:lnTo>
                    <a:pt x="15421" y="1131"/>
                  </a:lnTo>
                  <a:lnTo>
                    <a:pt x="15484" y="1277"/>
                  </a:lnTo>
                  <a:lnTo>
                    <a:pt x="15631" y="1340"/>
                  </a:lnTo>
                  <a:lnTo>
                    <a:pt x="15672" y="1382"/>
                  </a:lnTo>
                  <a:lnTo>
                    <a:pt x="15672" y="1445"/>
                  </a:lnTo>
                  <a:lnTo>
                    <a:pt x="15547" y="1403"/>
                  </a:lnTo>
                  <a:lnTo>
                    <a:pt x="15421" y="1340"/>
                  </a:lnTo>
                  <a:lnTo>
                    <a:pt x="15317" y="1152"/>
                  </a:lnTo>
                  <a:lnTo>
                    <a:pt x="15128" y="1026"/>
                  </a:lnTo>
                  <a:lnTo>
                    <a:pt x="15045" y="963"/>
                  </a:lnTo>
                  <a:lnTo>
                    <a:pt x="15024" y="1026"/>
                  </a:lnTo>
                  <a:lnTo>
                    <a:pt x="15045" y="1068"/>
                  </a:lnTo>
                  <a:lnTo>
                    <a:pt x="15045" y="1173"/>
                  </a:lnTo>
                  <a:lnTo>
                    <a:pt x="15066" y="1256"/>
                  </a:lnTo>
                  <a:lnTo>
                    <a:pt x="15128" y="1340"/>
                  </a:lnTo>
                  <a:lnTo>
                    <a:pt x="15128" y="1465"/>
                  </a:lnTo>
                  <a:lnTo>
                    <a:pt x="15045" y="1549"/>
                  </a:lnTo>
                  <a:lnTo>
                    <a:pt x="15045" y="1382"/>
                  </a:lnTo>
                  <a:lnTo>
                    <a:pt x="15003" y="1256"/>
                  </a:lnTo>
                  <a:lnTo>
                    <a:pt x="14919" y="1110"/>
                  </a:lnTo>
                  <a:lnTo>
                    <a:pt x="14919" y="1026"/>
                  </a:lnTo>
                  <a:lnTo>
                    <a:pt x="14836" y="921"/>
                  </a:lnTo>
                  <a:lnTo>
                    <a:pt x="14731" y="859"/>
                  </a:lnTo>
                  <a:lnTo>
                    <a:pt x="14647" y="984"/>
                  </a:lnTo>
                  <a:lnTo>
                    <a:pt x="14605" y="1068"/>
                  </a:lnTo>
                  <a:lnTo>
                    <a:pt x="14543" y="984"/>
                  </a:lnTo>
                  <a:lnTo>
                    <a:pt x="14605" y="921"/>
                  </a:lnTo>
                  <a:lnTo>
                    <a:pt x="14605" y="859"/>
                  </a:lnTo>
                  <a:lnTo>
                    <a:pt x="14522" y="817"/>
                  </a:lnTo>
                  <a:lnTo>
                    <a:pt x="14501" y="733"/>
                  </a:lnTo>
                  <a:lnTo>
                    <a:pt x="14480" y="691"/>
                  </a:lnTo>
                  <a:lnTo>
                    <a:pt x="14375" y="691"/>
                  </a:lnTo>
                  <a:lnTo>
                    <a:pt x="14292" y="733"/>
                  </a:lnTo>
                  <a:lnTo>
                    <a:pt x="14271" y="712"/>
                  </a:lnTo>
                  <a:lnTo>
                    <a:pt x="14292" y="628"/>
                  </a:lnTo>
                  <a:lnTo>
                    <a:pt x="14375" y="545"/>
                  </a:lnTo>
                  <a:lnTo>
                    <a:pt x="14271" y="566"/>
                  </a:lnTo>
                  <a:lnTo>
                    <a:pt x="14166" y="670"/>
                  </a:lnTo>
                  <a:lnTo>
                    <a:pt x="14124" y="754"/>
                  </a:lnTo>
                  <a:lnTo>
                    <a:pt x="14020" y="817"/>
                  </a:lnTo>
                  <a:lnTo>
                    <a:pt x="13957" y="838"/>
                  </a:lnTo>
                  <a:lnTo>
                    <a:pt x="13852" y="984"/>
                  </a:lnTo>
                  <a:lnTo>
                    <a:pt x="13810" y="984"/>
                  </a:lnTo>
                  <a:lnTo>
                    <a:pt x="13768" y="880"/>
                  </a:lnTo>
                  <a:lnTo>
                    <a:pt x="13685" y="817"/>
                  </a:lnTo>
                  <a:lnTo>
                    <a:pt x="13643" y="817"/>
                  </a:lnTo>
                  <a:lnTo>
                    <a:pt x="13601" y="880"/>
                  </a:lnTo>
                  <a:lnTo>
                    <a:pt x="13580" y="963"/>
                  </a:lnTo>
                  <a:lnTo>
                    <a:pt x="13601" y="1089"/>
                  </a:lnTo>
                  <a:lnTo>
                    <a:pt x="13768" y="1193"/>
                  </a:lnTo>
                  <a:lnTo>
                    <a:pt x="13768" y="1256"/>
                  </a:lnTo>
                  <a:lnTo>
                    <a:pt x="13685" y="1256"/>
                  </a:lnTo>
                  <a:lnTo>
                    <a:pt x="13643" y="1382"/>
                  </a:lnTo>
                  <a:lnTo>
                    <a:pt x="13643" y="1507"/>
                  </a:lnTo>
                  <a:lnTo>
                    <a:pt x="13768" y="1591"/>
                  </a:lnTo>
                  <a:lnTo>
                    <a:pt x="13852" y="1570"/>
                  </a:lnTo>
                  <a:lnTo>
                    <a:pt x="13915" y="1507"/>
                  </a:lnTo>
                  <a:lnTo>
                    <a:pt x="14103" y="1507"/>
                  </a:lnTo>
                  <a:lnTo>
                    <a:pt x="14229" y="1675"/>
                  </a:lnTo>
                  <a:lnTo>
                    <a:pt x="14333" y="1717"/>
                  </a:lnTo>
                  <a:lnTo>
                    <a:pt x="14396" y="1800"/>
                  </a:lnTo>
                  <a:lnTo>
                    <a:pt x="14375" y="1863"/>
                  </a:lnTo>
                  <a:lnTo>
                    <a:pt x="14375" y="1926"/>
                  </a:lnTo>
                  <a:lnTo>
                    <a:pt x="14396" y="2072"/>
                  </a:lnTo>
                  <a:lnTo>
                    <a:pt x="14333" y="2219"/>
                  </a:lnTo>
                  <a:lnTo>
                    <a:pt x="14333" y="2302"/>
                  </a:lnTo>
                  <a:lnTo>
                    <a:pt x="14417" y="2407"/>
                  </a:lnTo>
                  <a:lnTo>
                    <a:pt x="14417" y="2533"/>
                  </a:lnTo>
                  <a:lnTo>
                    <a:pt x="14438" y="2616"/>
                  </a:lnTo>
                  <a:lnTo>
                    <a:pt x="14543" y="2700"/>
                  </a:lnTo>
                  <a:lnTo>
                    <a:pt x="14626" y="2700"/>
                  </a:lnTo>
                  <a:lnTo>
                    <a:pt x="14710" y="2784"/>
                  </a:lnTo>
                  <a:lnTo>
                    <a:pt x="14836" y="2846"/>
                  </a:lnTo>
                  <a:lnTo>
                    <a:pt x="14836" y="2909"/>
                  </a:lnTo>
                  <a:lnTo>
                    <a:pt x="14856" y="2993"/>
                  </a:lnTo>
                  <a:lnTo>
                    <a:pt x="14731" y="2888"/>
                  </a:lnTo>
                  <a:lnTo>
                    <a:pt x="14584" y="2805"/>
                  </a:lnTo>
                  <a:lnTo>
                    <a:pt x="14417" y="2805"/>
                  </a:lnTo>
                  <a:lnTo>
                    <a:pt x="14333" y="2742"/>
                  </a:lnTo>
                  <a:lnTo>
                    <a:pt x="14312" y="2679"/>
                  </a:lnTo>
                  <a:lnTo>
                    <a:pt x="14312" y="2533"/>
                  </a:lnTo>
                  <a:lnTo>
                    <a:pt x="14271" y="2323"/>
                  </a:lnTo>
                  <a:lnTo>
                    <a:pt x="14312" y="2219"/>
                  </a:lnTo>
                  <a:lnTo>
                    <a:pt x="14312" y="2114"/>
                  </a:lnTo>
                  <a:lnTo>
                    <a:pt x="14208" y="2009"/>
                  </a:lnTo>
                  <a:lnTo>
                    <a:pt x="14208" y="1926"/>
                  </a:lnTo>
                  <a:lnTo>
                    <a:pt x="14166" y="1779"/>
                  </a:lnTo>
                  <a:lnTo>
                    <a:pt x="14103" y="1737"/>
                  </a:lnTo>
                  <a:lnTo>
                    <a:pt x="14020" y="1696"/>
                  </a:lnTo>
                  <a:lnTo>
                    <a:pt x="13957" y="1654"/>
                  </a:lnTo>
                  <a:lnTo>
                    <a:pt x="13852" y="1633"/>
                  </a:lnTo>
                  <a:lnTo>
                    <a:pt x="13748" y="1675"/>
                  </a:lnTo>
                  <a:lnTo>
                    <a:pt x="13601" y="1696"/>
                  </a:lnTo>
                  <a:lnTo>
                    <a:pt x="13538" y="1675"/>
                  </a:lnTo>
                  <a:lnTo>
                    <a:pt x="13476" y="1675"/>
                  </a:lnTo>
                  <a:lnTo>
                    <a:pt x="13434" y="1863"/>
                  </a:lnTo>
                  <a:lnTo>
                    <a:pt x="13476" y="1905"/>
                  </a:lnTo>
                  <a:lnTo>
                    <a:pt x="13476" y="2009"/>
                  </a:lnTo>
                  <a:lnTo>
                    <a:pt x="13434" y="2072"/>
                  </a:lnTo>
                  <a:lnTo>
                    <a:pt x="13266" y="1989"/>
                  </a:lnTo>
                  <a:lnTo>
                    <a:pt x="13078" y="1779"/>
                  </a:lnTo>
                  <a:lnTo>
                    <a:pt x="13036" y="1779"/>
                  </a:lnTo>
                  <a:lnTo>
                    <a:pt x="12973" y="1821"/>
                  </a:lnTo>
                  <a:lnTo>
                    <a:pt x="12931" y="1821"/>
                  </a:lnTo>
                  <a:lnTo>
                    <a:pt x="12869" y="1758"/>
                  </a:lnTo>
                  <a:lnTo>
                    <a:pt x="12701" y="1717"/>
                  </a:lnTo>
                  <a:lnTo>
                    <a:pt x="12639" y="1779"/>
                  </a:lnTo>
                  <a:lnTo>
                    <a:pt x="12639" y="1884"/>
                  </a:lnTo>
                  <a:lnTo>
                    <a:pt x="12701" y="2009"/>
                  </a:lnTo>
                  <a:lnTo>
                    <a:pt x="12639" y="2093"/>
                  </a:lnTo>
                  <a:lnTo>
                    <a:pt x="12701" y="2198"/>
                  </a:lnTo>
                  <a:lnTo>
                    <a:pt x="12743" y="2344"/>
                  </a:lnTo>
                  <a:lnTo>
                    <a:pt x="12722" y="2491"/>
                  </a:lnTo>
                  <a:lnTo>
                    <a:pt x="12743" y="2533"/>
                  </a:lnTo>
                  <a:lnTo>
                    <a:pt x="12764" y="2700"/>
                  </a:lnTo>
                  <a:lnTo>
                    <a:pt x="12743" y="2742"/>
                  </a:lnTo>
                  <a:lnTo>
                    <a:pt x="12743" y="2846"/>
                  </a:lnTo>
                  <a:lnTo>
                    <a:pt x="12827" y="3014"/>
                  </a:lnTo>
                  <a:lnTo>
                    <a:pt x="12848" y="3118"/>
                  </a:lnTo>
                  <a:lnTo>
                    <a:pt x="12827" y="3265"/>
                  </a:lnTo>
                  <a:lnTo>
                    <a:pt x="12827" y="3349"/>
                  </a:lnTo>
                  <a:lnTo>
                    <a:pt x="12911" y="3453"/>
                  </a:lnTo>
                  <a:lnTo>
                    <a:pt x="12931" y="3579"/>
                  </a:lnTo>
                  <a:lnTo>
                    <a:pt x="12931" y="3662"/>
                  </a:lnTo>
                  <a:lnTo>
                    <a:pt x="13057" y="3767"/>
                  </a:lnTo>
                  <a:lnTo>
                    <a:pt x="13120" y="3851"/>
                  </a:lnTo>
                  <a:lnTo>
                    <a:pt x="13120" y="3955"/>
                  </a:lnTo>
                  <a:lnTo>
                    <a:pt x="13162" y="3997"/>
                  </a:lnTo>
                  <a:lnTo>
                    <a:pt x="13245" y="3997"/>
                  </a:lnTo>
                  <a:lnTo>
                    <a:pt x="13245" y="4060"/>
                  </a:lnTo>
                  <a:lnTo>
                    <a:pt x="13266" y="4123"/>
                  </a:lnTo>
                  <a:lnTo>
                    <a:pt x="13371" y="4186"/>
                  </a:lnTo>
                  <a:lnTo>
                    <a:pt x="13392" y="4206"/>
                  </a:lnTo>
                  <a:lnTo>
                    <a:pt x="13371" y="4227"/>
                  </a:lnTo>
                  <a:lnTo>
                    <a:pt x="13266" y="4227"/>
                  </a:lnTo>
                  <a:lnTo>
                    <a:pt x="13224" y="4206"/>
                  </a:lnTo>
                  <a:lnTo>
                    <a:pt x="13141" y="4206"/>
                  </a:lnTo>
                  <a:lnTo>
                    <a:pt x="13078" y="4165"/>
                  </a:lnTo>
                  <a:lnTo>
                    <a:pt x="13078" y="4081"/>
                  </a:lnTo>
                  <a:lnTo>
                    <a:pt x="13057" y="4018"/>
                  </a:lnTo>
                  <a:lnTo>
                    <a:pt x="12973" y="3997"/>
                  </a:lnTo>
                  <a:lnTo>
                    <a:pt x="12911" y="4018"/>
                  </a:lnTo>
                  <a:lnTo>
                    <a:pt x="12848" y="4018"/>
                  </a:lnTo>
                  <a:lnTo>
                    <a:pt x="12827" y="3976"/>
                  </a:lnTo>
                  <a:lnTo>
                    <a:pt x="12827" y="3872"/>
                  </a:lnTo>
                  <a:lnTo>
                    <a:pt x="12806" y="3851"/>
                  </a:lnTo>
                  <a:lnTo>
                    <a:pt x="12743" y="3893"/>
                  </a:lnTo>
                  <a:lnTo>
                    <a:pt x="12659" y="4060"/>
                  </a:lnTo>
                  <a:lnTo>
                    <a:pt x="12534" y="4102"/>
                  </a:lnTo>
                  <a:lnTo>
                    <a:pt x="12450" y="4102"/>
                  </a:lnTo>
                  <a:lnTo>
                    <a:pt x="12325" y="3997"/>
                  </a:lnTo>
                  <a:lnTo>
                    <a:pt x="12220" y="3997"/>
                  </a:lnTo>
                  <a:lnTo>
                    <a:pt x="12178" y="3914"/>
                  </a:lnTo>
                  <a:lnTo>
                    <a:pt x="12178" y="3809"/>
                  </a:lnTo>
                  <a:lnTo>
                    <a:pt x="12199" y="3683"/>
                  </a:lnTo>
                  <a:lnTo>
                    <a:pt x="12115" y="3495"/>
                  </a:lnTo>
                  <a:lnTo>
                    <a:pt x="12074" y="3453"/>
                  </a:lnTo>
                  <a:lnTo>
                    <a:pt x="12032" y="3328"/>
                  </a:lnTo>
                  <a:lnTo>
                    <a:pt x="12032" y="3244"/>
                  </a:lnTo>
                  <a:lnTo>
                    <a:pt x="12095" y="3181"/>
                  </a:lnTo>
                  <a:lnTo>
                    <a:pt x="12115" y="3139"/>
                  </a:lnTo>
                  <a:lnTo>
                    <a:pt x="12095" y="2867"/>
                  </a:lnTo>
                  <a:lnTo>
                    <a:pt x="12011" y="2742"/>
                  </a:lnTo>
                  <a:lnTo>
                    <a:pt x="11906" y="2595"/>
                  </a:lnTo>
                  <a:lnTo>
                    <a:pt x="11906" y="2491"/>
                  </a:lnTo>
                  <a:lnTo>
                    <a:pt x="11802" y="2240"/>
                  </a:lnTo>
                  <a:lnTo>
                    <a:pt x="11760" y="2135"/>
                  </a:lnTo>
                  <a:lnTo>
                    <a:pt x="11676" y="2093"/>
                  </a:lnTo>
                  <a:lnTo>
                    <a:pt x="11655" y="2009"/>
                  </a:lnTo>
                  <a:lnTo>
                    <a:pt x="11571" y="1989"/>
                  </a:lnTo>
                  <a:lnTo>
                    <a:pt x="11467" y="1968"/>
                  </a:lnTo>
                  <a:lnTo>
                    <a:pt x="11383" y="1905"/>
                  </a:lnTo>
                  <a:lnTo>
                    <a:pt x="11279" y="1926"/>
                  </a:lnTo>
                  <a:lnTo>
                    <a:pt x="11237" y="1989"/>
                  </a:lnTo>
                  <a:lnTo>
                    <a:pt x="11237" y="2114"/>
                  </a:lnTo>
                  <a:lnTo>
                    <a:pt x="11195" y="2177"/>
                  </a:lnTo>
                  <a:lnTo>
                    <a:pt x="11237" y="2240"/>
                  </a:lnTo>
                  <a:lnTo>
                    <a:pt x="11195" y="2323"/>
                  </a:lnTo>
                  <a:lnTo>
                    <a:pt x="11132" y="2533"/>
                  </a:lnTo>
                  <a:lnTo>
                    <a:pt x="11132" y="2658"/>
                  </a:lnTo>
                  <a:lnTo>
                    <a:pt x="11153" y="2825"/>
                  </a:lnTo>
                  <a:lnTo>
                    <a:pt x="11195" y="2867"/>
                  </a:lnTo>
                  <a:lnTo>
                    <a:pt x="11174" y="3035"/>
                  </a:lnTo>
                  <a:lnTo>
                    <a:pt x="11132" y="3181"/>
                  </a:lnTo>
                  <a:lnTo>
                    <a:pt x="11153" y="3286"/>
                  </a:lnTo>
                  <a:lnTo>
                    <a:pt x="11153" y="3495"/>
                  </a:lnTo>
                  <a:lnTo>
                    <a:pt x="11090" y="3537"/>
                  </a:lnTo>
                  <a:lnTo>
                    <a:pt x="11048" y="3474"/>
                  </a:lnTo>
                  <a:lnTo>
                    <a:pt x="10986" y="3453"/>
                  </a:lnTo>
                  <a:lnTo>
                    <a:pt x="10944" y="3495"/>
                  </a:lnTo>
                  <a:lnTo>
                    <a:pt x="10860" y="3474"/>
                  </a:lnTo>
                  <a:lnTo>
                    <a:pt x="10839" y="3453"/>
                  </a:lnTo>
                  <a:lnTo>
                    <a:pt x="10755" y="3432"/>
                  </a:lnTo>
                  <a:lnTo>
                    <a:pt x="10630" y="3390"/>
                  </a:lnTo>
                  <a:lnTo>
                    <a:pt x="10546" y="3328"/>
                  </a:lnTo>
                  <a:lnTo>
                    <a:pt x="10504" y="3328"/>
                  </a:lnTo>
                  <a:lnTo>
                    <a:pt x="10462" y="3349"/>
                  </a:lnTo>
                  <a:lnTo>
                    <a:pt x="10504" y="3432"/>
                  </a:lnTo>
                  <a:lnTo>
                    <a:pt x="10567" y="3495"/>
                  </a:lnTo>
                  <a:lnTo>
                    <a:pt x="10567" y="3558"/>
                  </a:lnTo>
                  <a:lnTo>
                    <a:pt x="10546" y="3600"/>
                  </a:lnTo>
                  <a:lnTo>
                    <a:pt x="10525" y="3662"/>
                  </a:lnTo>
                  <a:lnTo>
                    <a:pt x="10462" y="3662"/>
                  </a:lnTo>
                  <a:lnTo>
                    <a:pt x="10442" y="3641"/>
                  </a:lnTo>
                  <a:lnTo>
                    <a:pt x="10358" y="3641"/>
                  </a:lnTo>
                  <a:lnTo>
                    <a:pt x="10316" y="3579"/>
                  </a:lnTo>
                  <a:lnTo>
                    <a:pt x="10316" y="3432"/>
                  </a:lnTo>
                  <a:lnTo>
                    <a:pt x="10232" y="3286"/>
                  </a:lnTo>
                  <a:lnTo>
                    <a:pt x="10211" y="3160"/>
                  </a:lnTo>
                  <a:lnTo>
                    <a:pt x="10190" y="3056"/>
                  </a:lnTo>
                  <a:lnTo>
                    <a:pt x="10107" y="2972"/>
                  </a:lnTo>
                  <a:lnTo>
                    <a:pt x="10107" y="2909"/>
                  </a:lnTo>
                  <a:lnTo>
                    <a:pt x="10044" y="2825"/>
                  </a:lnTo>
                  <a:lnTo>
                    <a:pt x="9981" y="2909"/>
                  </a:lnTo>
                  <a:lnTo>
                    <a:pt x="10023" y="2993"/>
                  </a:lnTo>
                  <a:lnTo>
                    <a:pt x="9981" y="3035"/>
                  </a:lnTo>
                  <a:lnTo>
                    <a:pt x="9981" y="3118"/>
                  </a:lnTo>
                  <a:lnTo>
                    <a:pt x="9939" y="3202"/>
                  </a:lnTo>
                  <a:lnTo>
                    <a:pt x="9898" y="3244"/>
                  </a:lnTo>
                  <a:lnTo>
                    <a:pt x="9814" y="3265"/>
                  </a:lnTo>
                  <a:lnTo>
                    <a:pt x="9772" y="3369"/>
                  </a:lnTo>
                  <a:lnTo>
                    <a:pt x="9667" y="3537"/>
                  </a:lnTo>
                  <a:lnTo>
                    <a:pt x="9584" y="3621"/>
                  </a:lnTo>
                  <a:lnTo>
                    <a:pt x="9584" y="3662"/>
                  </a:lnTo>
                  <a:lnTo>
                    <a:pt x="9521" y="3725"/>
                  </a:lnTo>
                  <a:lnTo>
                    <a:pt x="9458" y="3851"/>
                  </a:lnTo>
                  <a:lnTo>
                    <a:pt x="9395" y="3851"/>
                  </a:lnTo>
                  <a:lnTo>
                    <a:pt x="9374" y="3788"/>
                  </a:lnTo>
                  <a:lnTo>
                    <a:pt x="9395" y="3683"/>
                  </a:lnTo>
                  <a:lnTo>
                    <a:pt x="9479" y="3579"/>
                  </a:lnTo>
                  <a:lnTo>
                    <a:pt x="9500" y="3474"/>
                  </a:lnTo>
                  <a:lnTo>
                    <a:pt x="9563" y="3432"/>
                  </a:lnTo>
                  <a:lnTo>
                    <a:pt x="9667" y="3369"/>
                  </a:lnTo>
                  <a:lnTo>
                    <a:pt x="9709" y="3244"/>
                  </a:lnTo>
                  <a:lnTo>
                    <a:pt x="9793" y="3160"/>
                  </a:lnTo>
                  <a:lnTo>
                    <a:pt x="9814" y="3077"/>
                  </a:lnTo>
                  <a:lnTo>
                    <a:pt x="9814" y="3035"/>
                  </a:lnTo>
                  <a:lnTo>
                    <a:pt x="9772" y="2993"/>
                  </a:lnTo>
                  <a:lnTo>
                    <a:pt x="9793" y="2930"/>
                  </a:lnTo>
                  <a:lnTo>
                    <a:pt x="9877" y="2909"/>
                  </a:lnTo>
                  <a:lnTo>
                    <a:pt x="9898" y="2825"/>
                  </a:lnTo>
                  <a:lnTo>
                    <a:pt x="9898" y="2742"/>
                  </a:lnTo>
                  <a:lnTo>
                    <a:pt x="9939" y="2637"/>
                  </a:lnTo>
                  <a:lnTo>
                    <a:pt x="10023" y="2470"/>
                  </a:lnTo>
                  <a:lnTo>
                    <a:pt x="10023" y="2365"/>
                  </a:lnTo>
                  <a:lnTo>
                    <a:pt x="10086" y="2198"/>
                  </a:lnTo>
                  <a:lnTo>
                    <a:pt x="10107" y="1947"/>
                  </a:lnTo>
                  <a:lnTo>
                    <a:pt x="10086" y="1863"/>
                  </a:lnTo>
                  <a:lnTo>
                    <a:pt x="9918" y="1842"/>
                  </a:lnTo>
                  <a:lnTo>
                    <a:pt x="9814" y="1863"/>
                  </a:lnTo>
                  <a:lnTo>
                    <a:pt x="9709" y="1947"/>
                  </a:lnTo>
                  <a:lnTo>
                    <a:pt x="9605" y="1884"/>
                  </a:lnTo>
                  <a:lnTo>
                    <a:pt x="9521" y="1863"/>
                  </a:lnTo>
                  <a:lnTo>
                    <a:pt x="9479" y="1884"/>
                  </a:lnTo>
                  <a:lnTo>
                    <a:pt x="9500" y="1968"/>
                  </a:lnTo>
                  <a:lnTo>
                    <a:pt x="9584" y="2051"/>
                  </a:lnTo>
                  <a:lnTo>
                    <a:pt x="9584" y="2198"/>
                  </a:lnTo>
                  <a:lnTo>
                    <a:pt x="9563" y="2281"/>
                  </a:lnTo>
                  <a:lnTo>
                    <a:pt x="9500" y="2219"/>
                  </a:lnTo>
                  <a:lnTo>
                    <a:pt x="9479" y="2093"/>
                  </a:lnTo>
                  <a:lnTo>
                    <a:pt x="9395" y="2009"/>
                  </a:lnTo>
                  <a:lnTo>
                    <a:pt x="9312" y="1989"/>
                  </a:lnTo>
                  <a:lnTo>
                    <a:pt x="9165" y="2114"/>
                  </a:lnTo>
                  <a:lnTo>
                    <a:pt x="9165" y="2219"/>
                  </a:lnTo>
                  <a:lnTo>
                    <a:pt x="9207" y="2302"/>
                  </a:lnTo>
                  <a:lnTo>
                    <a:pt x="9165" y="2386"/>
                  </a:lnTo>
                  <a:lnTo>
                    <a:pt x="9061" y="2386"/>
                  </a:lnTo>
                  <a:lnTo>
                    <a:pt x="9061" y="2323"/>
                  </a:lnTo>
                  <a:lnTo>
                    <a:pt x="9061" y="2219"/>
                  </a:lnTo>
                  <a:lnTo>
                    <a:pt x="9040" y="2114"/>
                  </a:lnTo>
                  <a:lnTo>
                    <a:pt x="8956" y="2072"/>
                  </a:lnTo>
                  <a:lnTo>
                    <a:pt x="8747" y="2072"/>
                  </a:lnTo>
                  <a:lnTo>
                    <a:pt x="8538" y="2156"/>
                  </a:lnTo>
                  <a:lnTo>
                    <a:pt x="8307" y="2156"/>
                  </a:lnTo>
                  <a:lnTo>
                    <a:pt x="8140" y="2093"/>
                  </a:lnTo>
                  <a:lnTo>
                    <a:pt x="8056" y="2093"/>
                  </a:lnTo>
                  <a:lnTo>
                    <a:pt x="7994" y="2114"/>
                  </a:lnTo>
                  <a:lnTo>
                    <a:pt x="7910" y="2093"/>
                  </a:lnTo>
                  <a:lnTo>
                    <a:pt x="7805" y="2093"/>
                  </a:lnTo>
                  <a:lnTo>
                    <a:pt x="7701" y="2177"/>
                  </a:lnTo>
                  <a:lnTo>
                    <a:pt x="7680" y="2219"/>
                  </a:lnTo>
                  <a:lnTo>
                    <a:pt x="7722" y="2302"/>
                  </a:lnTo>
                  <a:lnTo>
                    <a:pt x="7722" y="2386"/>
                  </a:lnTo>
                  <a:lnTo>
                    <a:pt x="7784" y="2491"/>
                  </a:lnTo>
                  <a:lnTo>
                    <a:pt x="7805" y="2533"/>
                  </a:lnTo>
                  <a:lnTo>
                    <a:pt x="7784" y="2616"/>
                  </a:lnTo>
                  <a:lnTo>
                    <a:pt x="7722" y="2784"/>
                  </a:lnTo>
                  <a:lnTo>
                    <a:pt x="7742" y="2930"/>
                  </a:lnTo>
                  <a:lnTo>
                    <a:pt x="7889" y="3118"/>
                  </a:lnTo>
                  <a:lnTo>
                    <a:pt x="7889" y="3223"/>
                  </a:lnTo>
                  <a:lnTo>
                    <a:pt x="7910" y="3432"/>
                  </a:lnTo>
                  <a:lnTo>
                    <a:pt x="7889" y="3453"/>
                  </a:lnTo>
                  <a:lnTo>
                    <a:pt x="7826" y="3411"/>
                  </a:lnTo>
                  <a:lnTo>
                    <a:pt x="7784" y="3307"/>
                  </a:lnTo>
                  <a:lnTo>
                    <a:pt x="7638" y="3160"/>
                  </a:lnTo>
                  <a:lnTo>
                    <a:pt x="7596" y="3118"/>
                  </a:lnTo>
                  <a:lnTo>
                    <a:pt x="7596" y="2909"/>
                  </a:lnTo>
                  <a:lnTo>
                    <a:pt x="7617" y="2700"/>
                  </a:lnTo>
                  <a:lnTo>
                    <a:pt x="7617" y="2595"/>
                  </a:lnTo>
                  <a:lnTo>
                    <a:pt x="7512" y="2428"/>
                  </a:lnTo>
                  <a:lnTo>
                    <a:pt x="7512" y="2323"/>
                  </a:lnTo>
                  <a:lnTo>
                    <a:pt x="7491" y="2281"/>
                  </a:lnTo>
                  <a:lnTo>
                    <a:pt x="7429" y="2261"/>
                  </a:lnTo>
                  <a:lnTo>
                    <a:pt x="7303" y="2302"/>
                  </a:lnTo>
                  <a:lnTo>
                    <a:pt x="7177" y="2386"/>
                  </a:lnTo>
                  <a:lnTo>
                    <a:pt x="7010" y="2407"/>
                  </a:lnTo>
                  <a:lnTo>
                    <a:pt x="6947" y="2470"/>
                  </a:lnTo>
                  <a:lnTo>
                    <a:pt x="6905" y="2595"/>
                  </a:lnTo>
                  <a:lnTo>
                    <a:pt x="6947" y="2700"/>
                  </a:lnTo>
                  <a:lnTo>
                    <a:pt x="6905" y="2825"/>
                  </a:lnTo>
                  <a:lnTo>
                    <a:pt x="6843" y="2930"/>
                  </a:lnTo>
                  <a:lnTo>
                    <a:pt x="6801" y="2993"/>
                  </a:lnTo>
                  <a:lnTo>
                    <a:pt x="6843" y="3035"/>
                  </a:lnTo>
                  <a:lnTo>
                    <a:pt x="6885" y="3035"/>
                  </a:lnTo>
                  <a:lnTo>
                    <a:pt x="6947" y="3056"/>
                  </a:lnTo>
                  <a:lnTo>
                    <a:pt x="6947" y="3202"/>
                  </a:lnTo>
                  <a:lnTo>
                    <a:pt x="6885" y="3307"/>
                  </a:lnTo>
                  <a:lnTo>
                    <a:pt x="6738" y="3411"/>
                  </a:lnTo>
                  <a:lnTo>
                    <a:pt x="6633" y="3411"/>
                  </a:lnTo>
                  <a:lnTo>
                    <a:pt x="6592" y="3453"/>
                  </a:lnTo>
                  <a:lnTo>
                    <a:pt x="6571" y="3558"/>
                  </a:lnTo>
                  <a:lnTo>
                    <a:pt x="6529" y="3621"/>
                  </a:lnTo>
                  <a:lnTo>
                    <a:pt x="6487" y="3683"/>
                  </a:lnTo>
                  <a:lnTo>
                    <a:pt x="6529" y="3767"/>
                  </a:lnTo>
                  <a:lnTo>
                    <a:pt x="6487" y="3830"/>
                  </a:lnTo>
                  <a:lnTo>
                    <a:pt x="6424" y="3830"/>
                  </a:lnTo>
                  <a:lnTo>
                    <a:pt x="6382" y="3851"/>
                  </a:lnTo>
                  <a:lnTo>
                    <a:pt x="6236" y="3872"/>
                  </a:lnTo>
                  <a:lnTo>
                    <a:pt x="6131" y="3830"/>
                  </a:lnTo>
                  <a:lnTo>
                    <a:pt x="6089" y="3767"/>
                  </a:lnTo>
                  <a:lnTo>
                    <a:pt x="6089" y="3683"/>
                  </a:lnTo>
                  <a:lnTo>
                    <a:pt x="6048" y="3662"/>
                  </a:lnTo>
                  <a:lnTo>
                    <a:pt x="5985" y="3662"/>
                  </a:lnTo>
                  <a:lnTo>
                    <a:pt x="5964" y="3621"/>
                  </a:lnTo>
                  <a:lnTo>
                    <a:pt x="5943" y="3537"/>
                  </a:lnTo>
                  <a:lnTo>
                    <a:pt x="5838" y="3537"/>
                  </a:lnTo>
                  <a:lnTo>
                    <a:pt x="5797" y="3579"/>
                  </a:lnTo>
                  <a:lnTo>
                    <a:pt x="5755" y="3641"/>
                  </a:lnTo>
                  <a:lnTo>
                    <a:pt x="5671" y="3641"/>
                  </a:lnTo>
                  <a:lnTo>
                    <a:pt x="5629" y="3662"/>
                  </a:lnTo>
                  <a:lnTo>
                    <a:pt x="5629" y="3830"/>
                  </a:lnTo>
                  <a:lnTo>
                    <a:pt x="5608" y="3893"/>
                  </a:lnTo>
                  <a:lnTo>
                    <a:pt x="5608" y="3997"/>
                  </a:lnTo>
                  <a:lnTo>
                    <a:pt x="5650" y="4165"/>
                  </a:lnTo>
                  <a:lnTo>
                    <a:pt x="5629" y="4353"/>
                  </a:lnTo>
                  <a:lnTo>
                    <a:pt x="5566" y="4416"/>
                  </a:lnTo>
                  <a:lnTo>
                    <a:pt x="5525" y="4416"/>
                  </a:lnTo>
                  <a:lnTo>
                    <a:pt x="5545" y="4206"/>
                  </a:lnTo>
                  <a:lnTo>
                    <a:pt x="5545" y="4060"/>
                  </a:lnTo>
                  <a:lnTo>
                    <a:pt x="5525" y="3976"/>
                  </a:lnTo>
                  <a:lnTo>
                    <a:pt x="5525" y="3767"/>
                  </a:lnTo>
                  <a:lnTo>
                    <a:pt x="5504" y="3662"/>
                  </a:lnTo>
                  <a:lnTo>
                    <a:pt x="5462" y="3641"/>
                  </a:lnTo>
                  <a:lnTo>
                    <a:pt x="5420" y="3662"/>
                  </a:lnTo>
                  <a:lnTo>
                    <a:pt x="5336" y="3662"/>
                  </a:lnTo>
                  <a:lnTo>
                    <a:pt x="5253" y="3767"/>
                  </a:lnTo>
                  <a:lnTo>
                    <a:pt x="5190" y="3788"/>
                  </a:lnTo>
                  <a:lnTo>
                    <a:pt x="5085" y="3872"/>
                  </a:lnTo>
                  <a:lnTo>
                    <a:pt x="5043" y="3955"/>
                  </a:lnTo>
                  <a:lnTo>
                    <a:pt x="5043" y="4039"/>
                  </a:lnTo>
                  <a:lnTo>
                    <a:pt x="4918" y="4186"/>
                  </a:lnTo>
                  <a:lnTo>
                    <a:pt x="4876" y="4206"/>
                  </a:lnTo>
                  <a:lnTo>
                    <a:pt x="4834" y="4165"/>
                  </a:lnTo>
                  <a:lnTo>
                    <a:pt x="4729" y="4165"/>
                  </a:lnTo>
                  <a:lnTo>
                    <a:pt x="4688" y="4186"/>
                  </a:lnTo>
                  <a:lnTo>
                    <a:pt x="4688" y="4248"/>
                  </a:lnTo>
                  <a:lnTo>
                    <a:pt x="4771" y="4269"/>
                  </a:lnTo>
                  <a:lnTo>
                    <a:pt x="4792" y="4290"/>
                  </a:lnTo>
                  <a:lnTo>
                    <a:pt x="4709" y="4311"/>
                  </a:lnTo>
                  <a:lnTo>
                    <a:pt x="4562" y="4311"/>
                  </a:lnTo>
                  <a:lnTo>
                    <a:pt x="4478" y="4353"/>
                  </a:lnTo>
                  <a:lnTo>
                    <a:pt x="4416" y="4416"/>
                  </a:lnTo>
                  <a:lnTo>
                    <a:pt x="4248" y="4478"/>
                  </a:lnTo>
                  <a:lnTo>
                    <a:pt x="4248" y="4520"/>
                  </a:lnTo>
                  <a:lnTo>
                    <a:pt x="4185" y="4583"/>
                  </a:lnTo>
                  <a:lnTo>
                    <a:pt x="4081" y="4625"/>
                  </a:lnTo>
                  <a:lnTo>
                    <a:pt x="3997" y="4625"/>
                  </a:lnTo>
                  <a:lnTo>
                    <a:pt x="3976" y="4688"/>
                  </a:lnTo>
                  <a:lnTo>
                    <a:pt x="3976" y="4771"/>
                  </a:lnTo>
                  <a:lnTo>
                    <a:pt x="4039" y="4813"/>
                  </a:lnTo>
                  <a:lnTo>
                    <a:pt x="3997" y="4876"/>
                  </a:lnTo>
                  <a:lnTo>
                    <a:pt x="3955" y="4897"/>
                  </a:lnTo>
                  <a:lnTo>
                    <a:pt x="3892" y="4939"/>
                  </a:lnTo>
                  <a:lnTo>
                    <a:pt x="3851" y="5022"/>
                  </a:lnTo>
                  <a:lnTo>
                    <a:pt x="3767" y="5043"/>
                  </a:lnTo>
                  <a:lnTo>
                    <a:pt x="3746" y="5127"/>
                  </a:lnTo>
                  <a:lnTo>
                    <a:pt x="3746" y="5169"/>
                  </a:lnTo>
                  <a:lnTo>
                    <a:pt x="3767" y="5211"/>
                  </a:lnTo>
                  <a:lnTo>
                    <a:pt x="3767" y="5294"/>
                  </a:lnTo>
                  <a:lnTo>
                    <a:pt x="3767" y="5336"/>
                  </a:lnTo>
                  <a:lnTo>
                    <a:pt x="3830" y="5357"/>
                  </a:lnTo>
                  <a:lnTo>
                    <a:pt x="3892" y="5357"/>
                  </a:lnTo>
                  <a:lnTo>
                    <a:pt x="3976" y="5420"/>
                  </a:lnTo>
                  <a:lnTo>
                    <a:pt x="4039" y="5420"/>
                  </a:lnTo>
                  <a:lnTo>
                    <a:pt x="4081" y="5357"/>
                  </a:lnTo>
                  <a:lnTo>
                    <a:pt x="4144" y="5357"/>
                  </a:lnTo>
                  <a:lnTo>
                    <a:pt x="4248" y="5441"/>
                  </a:lnTo>
                  <a:lnTo>
                    <a:pt x="4269" y="5525"/>
                  </a:lnTo>
                  <a:lnTo>
                    <a:pt x="4353" y="5525"/>
                  </a:lnTo>
                  <a:lnTo>
                    <a:pt x="4457" y="5441"/>
                  </a:lnTo>
                  <a:lnTo>
                    <a:pt x="4499" y="5441"/>
                  </a:lnTo>
                  <a:lnTo>
                    <a:pt x="4604" y="5462"/>
                  </a:lnTo>
                  <a:lnTo>
                    <a:pt x="4792" y="5462"/>
                  </a:lnTo>
                  <a:lnTo>
                    <a:pt x="4834" y="5441"/>
                  </a:lnTo>
                  <a:lnTo>
                    <a:pt x="4834" y="5336"/>
                  </a:lnTo>
                  <a:lnTo>
                    <a:pt x="4918" y="5253"/>
                  </a:lnTo>
                  <a:lnTo>
                    <a:pt x="4939" y="5253"/>
                  </a:lnTo>
                  <a:lnTo>
                    <a:pt x="4939" y="5357"/>
                  </a:lnTo>
                  <a:lnTo>
                    <a:pt x="4981" y="5378"/>
                  </a:lnTo>
                  <a:lnTo>
                    <a:pt x="4939" y="5441"/>
                  </a:lnTo>
                  <a:lnTo>
                    <a:pt x="4813" y="5483"/>
                  </a:lnTo>
                  <a:lnTo>
                    <a:pt x="4709" y="5566"/>
                  </a:lnTo>
                  <a:lnTo>
                    <a:pt x="4562" y="5546"/>
                  </a:lnTo>
                  <a:lnTo>
                    <a:pt x="4457" y="5566"/>
                  </a:lnTo>
                  <a:lnTo>
                    <a:pt x="4416" y="5629"/>
                  </a:lnTo>
                  <a:lnTo>
                    <a:pt x="4416" y="5671"/>
                  </a:lnTo>
                  <a:lnTo>
                    <a:pt x="4520" y="5755"/>
                  </a:lnTo>
                  <a:lnTo>
                    <a:pt x="4667" y="5755"/>
                  </a:lnTo>
                  <a:lnTo>
                    <a:pt x="4688" y="5776"/>
                  </a:lnTo>
                  <a:lnTo>
                    <a:pt x="4667" y="5859"/>
                  </a:lnTo>
                  <a:lnTo>
                    <a:pt x="4520" y="5943"/>
                  </a:lnTo>
                  <a:lnTo>
                    <a:pt x="4290" y="5943"/>
                  </a:lnTo>
                  <a:lnTo>
                    <a:pt x="4206" y="6048"/>
                  </a:lnTo>
                  <a:lnTo>
                    <a:pt x="4206" y="6152"/>
                  </a:lnTo>
                  <a:lnTo>
                    <a:pt x="4290" y="6194"/>
                  </a:lnTo>
                  <a:lnTo>
                    <a:pt x="4269" y="6299"/>
                  </a:lnTo>
                  <a:lnTo>
                    <a:pt x="4185" y="6320"/>
                  </a:lnTo>
                  <a:lnTo>
                    <a:pt x="4081" y="6487"/>
                  </a:lnTo>
                  <a:lnTo>
                    <a:pt x="4039" y="6571"/>
                  </a:lnTo>
                  <a:lnTo>
                    <a:pt x="3892" y="6613"/>
                  </a:lnTo>
                  <a:lnTo>
                    <a:pt x="3788" y="6738"/>
                  </a:lnTo>
                  <a:lnTo>
                    <a:pt x="3725" y="6843"/>
                  </a:lnTo>
                  <a:lnTo>
                    <a:pt x="3620" y="6947"/>
                  </a:lnTo>
                  <a:lnTo>
                    <a:pt x="3620" y="7010"/>
                  </a:lnTo>
                  <a:lnTo>
                    <a:pt x="3537" y="7031"/>
                  </a:lnTo>
                  <a:lnTo>
                    <a:pt x="3453" y="7031"/>
                  </a:lnTo>
                  <a:lnTo>
                    <a:pt x="3348" y="6947"/>
                  </a:lnTo>
                  <a:lnTo>
                    <a:pt x="3307" y="6906"/>
                  </a:lnTo>
                  <a:lnTo>
                    <a:pt x="3202" y="6885"/>
                  </a:lnTo>
                  <a:lnTo>
                    <a:pt x="3139" y="6822"/>
                  </a:lnTo>
                  <a:lnTo>
                    <a:pt x="3014" y="6801"/>
                  </a:lnTo>
                  <a:lnTo>
                    <a:pt x="2888" y="6822"/>
                  </a:lnTo>
                  <a:lnTo>
                    <a:pt x="2784" y="6885"/>
                  </a:lnTo>
                  <a:lnTo>
                    <a:pt x="2679" y="6843"/>
                  </a:lnTo>
                  <a:lnTo>
                    <a:pt x="2616" y="6822"/>
                  </a:lnTo>
                  <a:lnTo>
                    <a:pt x="2512" y="6843"/>
                  </a:lnTo>
                  <a:lnTo>
                    <a:pt x="2344" y="6843"/>
                  </a:lnTo>
                  <a:lnTo>
                    <a:pt x="2177" y="6927"/>
                  </a:lnTo>
                  <a:lnTo>
                    <a:pt x="2156" y="7010"/>
                  </a:lnTo>
                  <a:lnTo>
                    <a:pt x="2198" y="7052"/>
                  </a:lnTo>
                  <a:lnTo>
                    <a:pt x="2177" y="7115"/>
                  </a:lnTo>
                  <a:lnTo>
                    <a:pt x="2156" y="7052"/>
                  </a:lnTo>
                  <a:lnTo>
                    <a:pt x="2072" y="7052"/>
                  </a:lnTo>
                  <a:lnTo>
                    <a:pt x="1654" y="7157"/>
                  </a:lnTo>
                  <a:lnTo>
                    <a:pt x="1549" y="7157"/>
                  </a:lnTo>
                  <a:lnTo>
                    <a:pt x="1486" y="7199"/>
                  </a:lnTo>
                  <a:lnTo>
                    <a:pt x="1465" y="7199"/>
                  </a:lnTo>
                  <a:lnTo>
                    <a:pt x="1382" y="7157"/>
                  </a:lnTo>
                  <a:lnTo>
                    <a:pt x="1319" y="7219"/>
                  </a:lnTo>
                  <a:lnTo>
                    <a:pt x="1277" y="7261"/>
                  </a:lnTo>
                  <a:lnTo>
                    <a:pt x="1214" y="7303"/>
                  </a:lnTo>
                  <a:lnTo>
                    <a:pt x="1172" y="7261"/>
                  </a:lnTo>
                  <a:lnTo>
                    <a:pt x="1172" y="7240"/>
                  </a:lnTo>
                  <a:lnTo>
                    <a:pt x="1110" y="7219"/>
                  </a:lnTo>
                  <a:lnTo>
                    <a:pt x="1026" y="7219"/>
                  </a:lnTo>
                  <a:lnTo>
                    <a:pt x="942" y="7261"/>
                  </a:lnTo>
                  <a:lnTo>
                    <a:pt x="859" y="7261"/>
                  </a:lnTo>
                  <a:lnTo>
                    <a:pt x="817" y="7240"/>
                  </a:lnTo>
                  <a:lnTo>
                    <a:pt x="733" y="7240"/>
                  </a:lnTo>
                  <a:lnTo>
                    <a:pt x="691" y="7303"/>
                  </a:lnTo>
                  <a:lnTo>
                    <a:pt x="607" y="7324"/>
                  </a:lnTo>
                  <a:lnTo>
                    <a:pt x="607" y="7366"/>
                  </a:lnTo>
                  <a:lnTo>
                    <a:pt x="607" y="7429"/>
                  </a:lnTo>
                  <a:lnTo>
                    <a:pt x="419" y="7512"/>
                  </a:lnTo>
                  <a:lnTo>
                    <a:pt x="315" y="7512"/>
                  </a:lnTo>
                  <a:lnTo>
                    <a:pt x="294" y="7554"/>
                  </a:lnTo>
                  <a:lnTo>
                    <a:pt x="335" y="7638"/>
                  </a:lnTo>
                  <a:lnTo>
                    <a:pt x="419" y="7638"/>
                  </a:lnTo>
                  <a:lnTo>
                    <a:pt x="482" y="7659"/>
                  </a:lnTo>
                  <a:lnTo>
                    <a:pt x="482" y="7722"/>
                  </a:lnTo>
                  <a:lnTo>
                    <a:pt x="398" y="7722"/>
                  </a:lnTo>
                  <a:lnTo>
                    <a:pt x="377" y="7680"/>
                  </a:lnTo>
                  <a:lnTo>
                    <a:pt x="335" y="7722"/>
                  </a:lnTo>
                  <a:lnTo>
                    <a:pt x="294" y="7784"/>
                  </a:lnTo>
                  <a:lnTo>
                    <a:pt x="189" y="7847"/>
                  </a:lnTo>
                  <a:lnTo>
                    <a:pt x="105" y="7868"/>
                  </a:lnTo>
                  <a:lnTo>
                    <a:pt x="168" y="7931"/>
                  </a:lnTo>
                  <a:lnTo>
                    <a:pt x="273" y="7973"/>
                  </a:lnTo>
                  <a:lnTo>
                    <a:pt x="315" y="8035"/>
                  </a:lnTo>
                  <a:lnTo>
                    <a:pt x="419" y="8266"/>
                  </a:lnTo>
                  <a:lnTo>
                    <a:pt x="482" y="8307"/>
                  </a:lnTo>
                  <a:lnTo>
                    <a:pt x="587" y="8307"/>
                  </a:lnTo>
                  <a:lnTo>
                    <a:pt x="628" y="8349"/>
                  </a:lnTo>
                  <a:lnTo>
                    <a:pt x="649" y="8391"/>
                  </a:lnTo>
                  <a:lnTo>
                    <a:pt x="607" y="8454"/>
                  </a:lnTo>
                  <a:lnTo>
                    <a:pt x="545" y="8496"/>
                  </a:lnTo>
                  <a:lnTo>
                    <a:pt x="524" y="8559"/>
                  </a:lnTo>
                  <a:lnTo>
                    <a:pt x="587" y="8621"/>
                  </a:lnTo>
                  <a:lnTo>
                    <a:pt x="691" y="8663"/>
                  </a:lnTo>
                  <a:lnTo>
                    <a:pt x="817" y="8621"/>
                  </a:lnTo>
                  <a:lnTo>
                    <a:pt x="921" y="8559"/>
                  </a:lnTo>
                  <a:lnTo>
                    <a:pt x="963" y="8496"/>
                  </a:lnTo>
                  <a:lnTo>
                    <a:pt x="1005" y="8475"/>
                  </a:lnTo>
                  <a:lnTo>
                    <a:pt x="1047" y="8496"/>
                  </a:lnTo>
                  <a:lnTo>
                    <a:pt x="1068" y="8559"/>
                  </a:lnTo>
                  <a:lnTo>
                    <a:pt x="1005" y="8684"/>
                  </a:lnTo>
                  <a:lnTo>
                    <a:pt x="900" y="8726"/>
                  </a:lnTo>
                  <a:lnTo>
                    <a:pt x="796" y="8768"/>
                  </a:lnTo>
                  <a:lnTo>
                    <a:pt x="754" y="8810"/>
                  </a:lnTo>
                  <a:lnTo>
                    <a:pt x="796" y="8893"/>
                  </a:lnTo>
                  <a:lnTo>
                    <a:pt x="900" y="8914"/>
                  </a:lnTo>
                  <a:lnTo>
                    <a:pt x="963" y="8872"/>
                  </a:lnTo>
                  <a:lnTo>
                    <a:pt x="1110" y="8810"/>
                  </a:lnTo>
                  <a:lnTo>
                    <a:pt x="1151" y="8831"/>
                  </a:lnTo>
                  <a:lnTo>
                    <a:pt x="1151" y="8872"/>
                  </a:lnTo>
                  <a:lnTo>
                    <a:pt x="963" y="8935"/>
                  </a:lnTo>
                  <a:lnTo>
                    <a:pt x="838" y="8998"/>
                  </a:lnTo>
                  <a:lnTo>
                    <a:pt x="817" y="9040"/>
                  </a:lnTo>
                  <a:lnTo>
                    <a:pt x="1005" y="9228"/>
                  </a:lnTo>
                  <a:lnTo>
                    <a:pt x="1131" y="9291"/>
                  </a:lnTo>
                  <a:lnTo>
                    <a:pt x="1277" y="9291"/>
                  </a:lnTo>
                  <a:lnTo>
                    <a:pt x="1340" y="9228"/>
                  </a:lnTo>
                  <a:lnTo>
                    <a:pt x="1361" y="9103"/>
                  </a:lnTo>
                  <a:lnTo>
                    <a:pt x="1319" y="9040"/>
                  </a:lnTo>
                  <a:lnTo>
                    <a:pt x="1277" y="8998"/>
                  </a:lnTo>
                  <a:lnTo>
                    <a:pt x="1319" y="8977"/>
                  </a:lnTo>
                  <a:lnTo>
                    <a:pt x="1361" y="8977"/>
                  </a:lnTo>
                  <a:lnTo>
                    <a:pt x="1444" y="9082"/>
                  </a:lnTo>
                  <a:lnTo>
                    <a:pt x="1465" y="9103"/>
                  </a:lnTo>
                  <a:lnTo>
                    <a:pt x="1465" y="9144"/>
                  </a:lnTo>
                  <a:lnTo>
                    <a:pt x="1570" y="9207"/>
                  </a:lnTo>
                  <a:lnTo>
                    <a:pt x="1758" y="9228"/>
                  </a:lnTo>
                  <a:lnTo>
                    <a:pt x="1884" y="9228"/>
                  </a:lnTo>
                  <a:lnTo>
                    <a:pt x="1988" y="9144"/>
                  </a:lnTo>
                  <a:lnTo>
                    <a:pt x="2051" y="9123"/>
                  </a:lnTo>
                  <a:lnTo>
                    <a:pt x="2114" y="9144"/>
                  </a:lnTo>
                  <a:lnTo>
                    <a:pt x="2114" y="9228"/>
                  </a:lnTo>
                  <a:lnTo>
                    <a:pt x="2177" y="9291"/>
                  </a:lnTo>
                  <a:lnTo>
                    <a:pt x="2219" y="9291"/>
                  </a:lnTo>
                  <a:lnTo>
                    <a:pt x="2281" y="9312"/>
                  </a:lnTo>
                  <a:lnTo>
                    <a:pt x="2302" y="9458"/>
                  </a:lnTo>
                  <a:lnTo>
                    <a:pt x="2260" y="9458"/>
                  </a:lnTo>
                  <a:lnTo>
                    <a:pt x="2114" y="9542"/>
                  </a:lnTo>
                  <a:lnTo>
                    <a:pt x="2114" y="9626"/>
                  </a:lnTo>
                  <a:lnTo>
                    <a:pt x="2156" y="9667"/>
                  </a:lnTo>
                  <a:lnTo>
                    <a:pt x="2156" y="9730"/>
                  </a:lnTo>
                  <a:lnTo>
                    <a:pt x="2072" y="9667"/>
                  </a:lnTo>
                  <a:lnTo>
                    <a:pt x="2051" y="9647"/>
                  </a:lnTo>
                  <a:lnTo>
                    <a:pt x="1968" y="9626"/>
                  </a:lnTo>
                  <a:lnTo>
                    <a:pt x="1884" y="9542"/>
                  </a:lnTo>
                  <a:lnTo>
                    <a:pt x="1696" y="9458"/>
                  </a:lnTo>
                  <a:lnTo>
                    <a:pt x="1465" y="9458"/>
                  </a:lnTo>
                  <a:lnTo>
                    <a:pt x="1319" y="9437"/>
                  </a:lnTo>
                  <a:lnTo>
                    <a:pt x="1110" y="9500"/>
                  </a:lnTo>
                  <a:lnTo>
                    <a:pt x="1110" y="9542"/>
                  </a:lnTo>
                  <a:lnTo>
                    <a:pt x="1214" y="9626"/>
                  </a:lnTo>
                  <a:lnTo>
                    <a:pt x="1361" y="9647"/>
                  </a:lnTo>
                  <a:lnTo>
                    <a:pt x="1486" y="9667"/>
                  </a:lnTo>
                  <a:lnTo>
                    <a:pt x="1654" y="9772"/>
                  </a:lnTo>
                  <a:lnTo>
                    <a:pt x="1842" y="9856"/>
                  </a:lnTo>
                  <a:lnTo>
                    <a:pt x="1947" y="9856"/>
                  </a:lnTo>
                  <a:lnTo>
                    <a:pt x="2009" y="9877"/>
                  </a:lnTo>
                  <a:lnTo>
                    <a:pt x="1884" y="9940"/>
                  </a:lnTo>
                  <a:lnTo>
                    <a:pt x="1654" y="9940"/>
                  </a:lnTo>
                  <a:lnTo>
                    <a:pt x="1444" y="9814"/>
                  </a:lnTo>
                  <a:lnTo>
                    <a:pt x="1361" y="9751"/>
                  </a:lnTo>
                  <a:lnTo>
                    <a:pt x="1214" y="9751"/>
                  </a:lnTo>
                  <a:lnTo>
                    <a:pt x="1005" y="9647"/>
                  </a:lnTo>
                  <a:lnTo>
                    <a:pt x="796" y="9647"/>
                  </a:lnTo>
                  <a:lnTo>
                    <a:pt x="649" y="9563"/>
                  </a:lnTo>
                  <a:lnTo>
                    <a:pt x="482" y="9521"/>
                  </a:lnTo>
                  <a:lnTo>
                    <a:pt x="294" y="9605"/>
                  </a:lnTo>
                  <a:lnTo>
                    <a:pt x="294" y="9730"/>
                  </a:lnTo>
                  <a:lnTo>
                    <a:pt x="231" y="9667"/>
                  </a:lnTo>
                  <a:lnTo>
                    <a:pt x="168" y="9667"/>
                  </a:lnTo>
                  <a:lnTo>
                    <a:pt x="105" y="9730"/>
                  </a:lnTo>
                  <a:lnTo>
                    <a:pt x="63" y="9730"/>
                  </a:lnTo>
                  <a:lnTo>
                    <a:pt x="1" y="9814"/>
                  </a:lnTo>
                  <a:lnTo>
                    <a:pt x="1" y="9877"/>
                  </a:lnTo>
                  <a:lnTo>
                    <a:pt x="1" y="9960"/>
                  </a:lnTo>
                  <a:lnTo>
                    <a:pt x="63" y="9940"/>
                  </a:lnTo>
                  <a:lnTo>
                    <a:pt x="105" y="9940"/>
                  </a:lnTo>
                  <a:lnTo>
                    <a:pt x="147" y="9960"/>
                  </a:lnTo>
                  <a:lnTo>
                    <a:pt x="63" y="10023"/>
                  </a:lnTo>
                  <a:lnTo>
                    <a:pt x="22" y="10086"/>
                  </a:lnTo>
                  <a:lnTo>
                    <a:pt x="63" y="10191"/>
                  </a:lnTo>
                  <a:lnTo>
                    <a:pt x="189" y="10253"/>
                  </a:lnTo>
                  <a:lnTo>
                    <a:pt x="273" y="10170"/>
                  </a:lnTo>
                  <a:lnTo>
                    <a:pt x="315" y="10149"/>
                  </a:lnTo>
                  <a:lnTo>
                    <a:pt x="377" y="10149"/>
                  </a:lnTo>
                  <a:lnTo>
                    <a:pt x="440" y="10023"/>
                  </a:lnTo>
                  <a:lnTo>
                    <a:pt x="503" y="9981"/>
                  </a:lnTo>
                  <a:lnTo>
                    <a:pt x="587" y="9981"/>
                  </a:lnTo>
                  <a:lnTo>
                    <a:pt x="524" y="10044"/>
                  </a:lnTo>
                  <a:lnTo>
                    <a:pt x="482" y="10170"/>
                  </a:lnTo>
                  <a:lnTo>
                    <a:pt x="398" y="10232"/>
                  </a:lnTo>
                  <a:lnTo>
                    <a:pt x="315" y="10274"/>
                  </a:lnTo>
                  <a:lnTo>
                    <a:pt x="356" y="10442"/>
                  </a:lnTo>
                  <a:lnTo>
                    <a:pt x="503" y="10588"/>
                  </a:lnTo>
                  <a:lnTo>
                    <a:pt x="566" y="10546"/>
                  </a:lnTo>
                  <a:lnTo>
                    <a:pt x="607" y="10546"/>
                  </a:lnTo>
                  <a:lnTo>
                    <a:pt x="775" y="10609"/>
                  </a:lnTo>
                  <a:lnTo>
                    <a:pt x="879" y="10609"/>
                  </a:lnTo>
                  <a:lnTo>
                    <a:pt x="879" y="10672"/>
                  </a:lnTo>
                  <a:lnTo>
                    <a:pt x="817" y="10756"/>
                  </a:lnTo>
                  <a:lnTo>
                    <a:pt x="733" y="10797"/>
                  </a:lnTo>
                  <a:lnTo>
                    <a:pt x="712" y="10776"/>
                  </a:lnTo>
                  <a:lnTo>
                    <a:pt x="545" y="10776"/>
                  </a:lnTo>
                  <a:lnTo>
                    <a:pt x="482" y="10797"/>
                  </a:lnTo>
                  <a:lnTo>
                    <a:pt x="419" y="10881"/>
                  </a:lnTo>
                  <a:lnTo>
                    <a:pt x="273" y="10881"/>
                  </a:lnTo>
                  <a:lnTo>
                    <a:pt x="210" y="10923"/>
                  </a:lnTo>
                  <a:lnTo>
                    <a:pt x="210" y="11069"/>
                  </a:lnTo>
                  <a:lnTo>
                    <a:pt x="294" y="11174"/>
                  </a:lnTo>
                  <a:lnTo>
                    <a:pt x="335" y="11237"/>
                  </a:lnTo>
                  <a:lnTo>
                    <a:pt x="419" y="11425"/>
                  </a:lnTo>
                  <a:lnTo>
                    <a:pt x="545" y="11488"/>
                  </a:lnTo>
                  <a:lnTo>
                    <a:pt x="503" y="11509"/>
                  </a:lnTo>
                  <a:lnTo>
                    <a:pt x="503" y="11530"/>
                  </a:lnTo>
                  <a:lnTo>
                    <a:pt x="587" y="11592"/>
                  </a:lnTo>
                  <a:lnTo>
                    <a:pt x="670" y="11697"/>
                  </a:lnTo>
                  <a:lnTo>
                    <a:pt x="754" y="11760"/>
                  </a:lnTo>
                  <a:lnTo>
                    <a:pt x="859" y="11823"/>
                  </a:lnTo>
                  <a:lnTo>
                    <a:pt x="963" y="11927"/>
                  </a:lnTo>
                  <a:lnTo>
                    <a:pt x="1047" y="11969"/>
                  </a:lnTo>
                  <a:lnTo>
                    <a:pt x="1068" y="11948"/>
                  </a:lnTo>
                  <a:lnTo>
                    <a:pt x="1068" y="11864"/>
                  </a:lnTo>
                  <a:lnTo>
                    <a:pt x="1047" y="11718"/>
                  </a:lnTo>
                  <a:lnTo>
                    <a:pt x="1047" y="11634"/>
                  </a:lnTo>
                  <a:lnTo>
                    <a:pt x="1110" y="11592"/>
                  </a:lnTo>
                  <a:lnTo>
                    <a:pt x="1131" y="11488"/>
                  </a:lnTo>
                  <a:lnTo>
                    <a:pt x="1131" y="11404"/>
                  </a:lnTo>
                  <a:lnTo>
                    <a:pt x="1172" y="11383"/>
                  </a:lnTo>
                  <a:lnTo>
                    <a:pt x="1214" y="11383"/>
                  </a:lnTo>
                  <a:lnTo>
                    <a:pt x="1235" y="11488"/>
                  </a:lnTo>
                  <a:lnTo>
                    <a:pt x="1277" y="11592"/>
                  </a:lnTo>
                  <a:lnTo>
                    <a:pt x="1277" y="11655"/>
                  </a:lnTo>
                  <a:lnTo>
                    <a:pt x="1319" y="11718"/>
                  </a:lnTo>
                  <a:lnTo>
                    <a:pt x="1340" y="11697"/>
                  </a:lnTo>
                  <a:lnTo>
                    <a:pt x="1361" y="11634"/>
                  </a:lnTo>
                  <a:lnTo>
                    <a:pt x="1444" y="11634"/>
                  </a:lnTo>
                  <a:lnTo>
                    <a:pt x="1549" y="11551"/>
                  </a:lnTo>
                  <a:lnTo>
                    <a:pt x="1570" y="11592"/>
                  </a:lnTo>
                  <a:lnTo>
                    <a:pt x="1654" y="11592"/>
                  </a:lnTo>
                  <a:lnTo>
                    <a:pt x="1675" y="11634"/>
                  </a:lnTo>
                  <a:lnTo>
                    <a:pt x="1612" y="11718"/>
                  </a:lnTo>
                  <a:lnTo>
                    <a:pt x="1549" y="11823"/>
                  </a:lnTo>
                  <a:lnTo>
                    <a:pt x="1549" y="11927"/>
                  </a:lnTo>
                  <a:lnTo>
                    <a:pt x="1633" y="11948"/>
                  </a:lnTo>
                  <a:lnTo>
                    <a:pt x="1675" y="11927"/>
                  </a:lnTo>
                  <a:lnTo>
                    <a:pt x="1737" y="11739"/>
                  </a:lnTo>
                  <a:lnTo>
                    <a:pt x="1758" y="11655"/>
                  </a:lnTo>
                  <a:lnTo>
                    <a:pt x="1842" y="11697"/>
                  </a:lnTo>
                  <a:lnTo>
                    <a:pt x="1926" y="11823"/>
                  </a:lnTo>
                  <a:lnTo>
                    <a:pt x="1968" y="11844"/>
                  </a:lnTo>
                  <a:lnTo>
                    <a:pt x="2051" y="11802"/>
                  </a:lnTo>
                  <a:lnTo>
                    <a:pt x="2051" y="11718"/>
                  </a:lnTo>
                  <a:lnTo>
                    <a:pt x="2093" y="11634"/>
                  </a:lnTo>
                  <a:lnTo>
                    <a:pt x="2198" y="11634"/>
                  </a:lnTo>
                  <a:lnTo>
                    <a:pt x="2240" y="11655"/>
                  </a:lnTo>
                  <a:lnTo>
                    <a:pt x="2240" y="11760"/>
                  </a:lnTo>
                  <a:lnTo>
                    <a:pt x="2177" y="11864"/>
                  </a:lnTo>
                  <a:lnTo>
                    <a:pt x="2177" y="11969"/>
                  </a:lnTo>
                  <a:lnTo>
                    <a:pt x="2240" y="11927"/>
                  </a:lnTo>
                  <a:lnTo>
                    <a:pt x="2344" y="11844"/>
                  </a:lnTo>
                  <a:lnTo>
                    <a:pt x="2386" y="11739"/>
                  </a:lnTo>
                  <a:lnTo>
                    <a:pt x="2470" y="11655"/>
                  </a:lnTo>
                  <a:lnTo>
                    <a:pt x="2595" y="11634"/>
                  </a:lnTo>
                  <a:lnTo>
                    <a:pt x="2700" y="11655"/>
                  </a:lnTo>
                  <a:lnTo>
                    <a:pt x="2784" y="11739"/>
                  </a:lnTo>
                  <a:lnTo>
                    <a:pt x="2909" y="11802"/>
                  </a:lnTo>
                  <a:lnTo>
                    <a:pt x="3076" y="11927"/>
                  </a:lnTo>
                  <a:lnTo>
                    <a:pt x="3181" y="11948"/>
                  </a:lnTo>
                  <a:lnTo>
                    <a:pt x="3223" y="11906"/>
                  </a:lnTo>
                  <a:lnTo>
                    <a:pt x="3286" y="11906"/>
                  </a:lnTo>
                  <a:lnTo>
                    <a:pt x="3390" y="12011"/>
                  </a:lnTo>
                  <a:lnTo>
                    <a:pt x="3516" y="12116"/>
                  </a:lnTo>
                  <a:lnTo>
                    <a:pt x="3495" y="12220"/>
                  </a:lnTo>
                  <a:lnTo>
                    <a:pt x="3495" y="12241"/>
                  </a:lnTo>
                  <a:lnTo>
                    <a:pt x="3537" y="12241"/>
                  </a:lnTo>
                  <a:lnTo>
                    <a:pt x="3558" y="12220"/>
                  </a:lnTo>
                  <a:lnTo>
                    <a:pt x="3620" y="12241"/>
                  </a:lnTo>
                  <a:lnTo>
                    <a:pt x="3662" y="12325"/>
                  </a:lnTo>
                  <a:lnTo>
                    <a:pt x="3746" y="12367"/>
                  </a:lnTo>
                  <a:lnTo>
                    <a:pt x="3809" y="12429"/>
                  </a:lnTo>
                  <a:lnTo>
                    <a:pt x="3830" y="12492"/>
                  </a:lnTo>
                  <a:lnTo>
                    <a:pt x="3851" y="12534"/>
                  </a:lnTo>
                  <a:lnTo>
                    <a:pt x="3913" y="12534"/>
                  </a:lnTo>
                  <a:lnTo>
                    <a:pt x="3913" y="12471"/>
                  </a:lnTo>
                  <a:lnTo>
                    <a:pt x="3955" y="12471"/>
                  </a:lnTo>
                  <a:lnTo>
                    <a:pt x="4018" y="12492"/>
                  </a:lnTo>
                  <a:lnTo>
                    <a:pt x="4039" y="12576"/>
                  </a:lnTo>
                  <a:lnTo>
                    <a:pt x="4164" y="12681"/>
                  </a:lnTo>
                  <a:lnTo>
                    <a:pt x="4248" y="12785"/>
                  </a:lnTo>
                  <a:lnTo>
                    <a:pt x="4290" y="12806"/>
                  </a:lnTo>
                  <a:lnTo>
                    <a:pt x="4353" y="12869"/>
                  </a:lnTo>
                  <a:lnTo>
                    <a:pt x="4332" y="12953"/>
                  </a:lnTo>
                  <a:lnTo>
                    <a:pt x="4353" y="12973"/>
                  </a:lnTo>
                  <a:lnTo>
                    <a:pt x="4353" y="13015"/>
                  </a:lnTo>
                  <a:lnTo>
                    <a:pt x="4290" y="13078"/>
                  </a:lnTo>
                  <a:lnTo>
                    <a:pt x="4248" y="13183"/>
                  </a:lnTo>
                  <a:lnTo>
                    <a:pt x="4164" y="13225"/>
                  </a:lnTo>
                  <a:lnTo>
                    <a:pt x="4164" y="13266"/>
                  </a:lnTo>
                  <a:lnTo>
                    <a:pt x="4269" y="13266"/>
                  </a:lnTo>
                  <a:lnTo>
                    <a:pt x="4290" y="13287"/>
                  </a:lnTo>
                  <a:lnTo>
                    <a:pt x="4269" y="13329"/>
                  </a:lnTo>
                  <a:lnTo>
                    <a:pt x="4227" y="13371"/>
                  </a:lnTo>
                  <a:lnTo>
                    <a:pt x="4123" y="13476"/>
                  </a:lnTo>
                  <a:lnTo>
                    <a:pt x="4081" y="13497"/>
                  </a:lnTo>
                  <a:lnTo>
                    <a:pt x="4081" y="13538"/>
                  </a:lnTo>
                  <a:lnTo>
                    <a:pt x="4144" y="13601"/>
                  </a:lnTo>
                  <a:lnTo>
                    <a:pt x="4185" y="13685"/>
                  </a:lnTo>
                  <a:lnTo>
                    <a:pt x="4185" y="13727"/>
                  </a:lnTo>
                  <a:lnTo>
                    <a:pt x="4374" y="13894"/>
                  </a:lnTo>
                  <a:lnTo>
                    <a:pt x="4416" y="13957"/>
                  </a:lnTo>
                  <a:lnTo>
                    <a:pt x="4416" y="14061"/>
                  </a:lnTo>
                  <a:lnTo>
                    <a:pt x="4457" y="14124"/>
                  </a:lnTo>
                  <a:lnTo>
                    <a:pt x="4416" y="14166"/>
                  </a:lnTo>
                  <a:lnTo>
                    <a:pt x="4416" y="14250"/>
                  </a:lnTo>
                  <a:lnTo>
                    <a:pt x="4478" y="14333"/>
                  </a:lnTo>
                  <a:lnTo>
                    <a:pt x="4520" y="14333"/>
                  </a:lnTo>
                  <a:lnTo>
                    <a:pt x="4562" y="14354"/>
                  </a:lnTo>
                  <a:lnTo>
                    <a:pt x="4583" y="14438"/>
                  </a:lnTo>
                  <a:lnTo>
                    <a:pt x="4667" y="14543"/>
                  </a:lnTo>
                  <a:lnTo>
                    <a:pt x="4709" y="14585"/>
                  </a:lnTo>
                  <a:lnTo>
                    <a:pt x="4709" y="14668"/>
                  </a:lnTo>
                  <a:lnTo>
                    <a:pt x="4688" y="14752"/>
                  </a:lnTo>
                  <a:lnTo>
                    <a:pt x="4604" y="14773"/>
                  </a:lnTo>
                  <a:lnTo>
                    <a:pt x="4520" y="14857"/>
                  </a:lnTo>
                  <a:lnTo>
                    <a:pt x="4499" y="14940"/>
                  </a:lnTo>
                  <a:lnTo>
                    <a:pt x="4457" y="15003"/>
                  </a:lnTo>
                  <a:lnTo>
                    <a:pt x="4395" y="15003"/>
                  </a:lnTo>
                  <a:lnTo>
                    <a:pt x="4290" y="15087"/>
                  </a:lnTo>
                  <a:lnTo>
                    <a:pt x="4269" y="15149"/>
                  </a:lnTo>
                  <a:lnTo>
                    <a:pt x="4311" y="15170"/>
                  </a:lnTo>
                  <a:lnTo>
                    <a:pt x="4374" y="15149"/>
                  </a:lnTo>
                  <a:lnTo>
                    <a:pt x="4416" y="15087"/>
                  </a:lnTo>
                  <a:lnTo>
                    <a:pt x="4478" y="15087"/>
                  </a:lnTo>
                  <a:lnTo>
                    <a:pt x="4583" y="14982"/>
                  </a:lnTo>
                  <a:lnTo>
                    <a:pt x="4688" y="14982"/>
                  </a:lnTo>
                  <a:lnTo>
                    <a:pt x="4667" y="15108"/>
                  </a:lnTo>
                  <a:lnTo>
                    <a:pt x="4625" y="15170"/>
                  </a:lnTo>
                  <a:lnTo>
                    <a:pt x="4667" y="15254"/>
                  </a:lnTo>
                  <a:lnTo>
                    <a:pt x="4667" y="15317"/>
                  </a:lnTo>
                  <a:lnTo>
                    <a:pt x="4709" y="15421"/>
                  </a:lnTo>
                  <a:lnTo>
                    <a:pt x="4729" y="15526"/>
                  </a:lnTo>
                  <a:lnTo>
                    <a:pt x="4688" y="15631"/>
                  </a:lnTo>
                  <a:lnTo>
                    <a:pt x="4688" y="15694"/>
                  </a:lnTo>
                  <a:lnTo>
                    <a:pt x="4709" y="15777"/>
                  </a:lnTo>
                  <a:lnTo>
                    <a:pt x="4709" y="15798"/>
                  </a:lnTo>
                  <a:lnTo>
                    <a:pt x="4667" y="15735"/>
                  </a:lnTo>
                  <a:lnTo>
                    <a:pt x="4604" y="15777"/>
                  </a:lnTo>
                  <a:lnTo>
                    <a:pt x="4625" y="15903"/>
                  </a:lnTo>
                  <a:lnTo>
                    <a:pt x="4688" y="16007"/>
                  </a:lnTo>
                  <a:lnTo>
                    <a:pt x="4688" y="16049"/>
                  </a:lnTo>
                  <a:lnTo>
                    <a:pt x="4667" y="16049"/>
                  </a:lnTo>
                  <a:lnTo>
                    <a:pt x="4604" y="16112"/>
                  </a:lnTo>
                  <a:lnTo>
                    <a:pt x="4625" y="16196"/>
                  </a:lnTo>
                  <a:lnTo>
                    <a:pt x="4667" y="16238"/>
                  </a:lnTo>
                  <a:lnTo>
                    <a:pt x="4729" y="16238"/>
                  </a:lnTo>
                  <a:lnTo>
                    <a:pt x="4792" y="16300"/>
                  </a:lnTo>
                  <a:lnTo>
                    <a:pt x="4792" y="16342"/>
                  </a:lnTo>
                  <a:lnTo>
                    <a:pt x="4729" y="16405"/>
                  </a:lnTo>
                  <a:lnTo>
                    <a:pt x="4729" y="16468"/>
                  </a:lnTo>
                  <a:lnTo>
                    <a:pt x="4667" y="16551"/>
                  </a:lnTo>
                  <a:lnTo>
                    <a:pt x="4604" y="16572"/>
                  </a:lnTo>
                  <a:lnTo>
                    <a:pt x="4520" y="16551"/>
                  </a:lnTo>
                  <a:lnTo>
                    <a:pt x="4478" y="16572"/>
                  </a:lnTo>
                  <a:lnTo>
                    <a:pt x="4478" y="16635"/>
                  </a:lnTo>
                  <a:lnTo>
                    <a:pt x="4562" y="16656"/>
                  </a:lnTo>
                  <a:lnTo>
                    <a:pt x="4625" y="16656"/>
                  </a:lnTo>
                  <a:lnTo>
                    <a:pt x="4688" y="16719"/>
                  </a:lnTo>
                  <a:lnTo>
                    <a:pt x="4729" y="16719"/>
                  </a:lnTo>
                  <a:lnTo>
                    <a:pt x="4813" y="16740"/>
                  </a:lnTo>
                  <a:lnTo>
                    <a:pt x="4855" y="16782"/>
                  </a:lnTo>
                  <a:lnTo>
                    <a:pt x="4855" y="16886"/>
                  </a:lnTo>
                  <a:lnTo>
                    <a:pt x="4876" y="17033"/>
                  </a:lnTo>
                  <a:lnTo>
                    <a:pt x="4771" y="17137"/>
                  </a:lnTo>
                  <a:lnTo>
                    <a:pt x="4750" y="17200"/>
                  </a:lnTo>
                  <a:lnTo>
                    <a:pt x="4792" y="17263"/>
                  </a:lnTo>
                  <a:lnTo>
                    <a:pt x="4709" y="17409"/>
                  </a:lnTo>
                  <a:lnTo>
                    <a:pt x="4604" y="17472"/>
                  </a:lnTo>
                  <a:lnTo>
                    <a:pt x="4541" y="17472"/>
                  </a:lnTo>
                  <a:lnTo>
                    <a:pt x="4478" y="17409"/>
                  </a:lnTo>
                  <a:lnTo>
                    <a:pt x="4436" y="17409"/>
                  </a:lnTo>
                  <a:lnTo>
                    <a:pt x="4332" y="17493"/>
                  </a:lnTo>
                  <a:lnTo>
                    <a:pt x="4290" y="17577"/>
                  </a:lnTo>
                  <a:lnTo>
                    <a:pt x="4332" y="17598"/>
                  </a:lnTo>
                  <a:lnTo>
                    <a:pt x="4374" y="17598"/>
                  </a:lnTo>
                  <a:lnTo>
                    <a:pt x="4541" y="17618"/>
                  </a:lnTo>
                  <a:lnTo>
                    <a:pt x="4583" y="17577"/>
                  </a:lnTo>
                  <a:lnTo>
                    <a:pt x="4604" y="17556"/>
                  </a:lnTo>
                  <a:lnTo>
                    <a:pt x="4646" y="17577"/>
                  </a:lnTo>
                  <a:lnTo>
                    <a:pt x="4646" y="17618"/>
                  </a:lnTo>
                  <a:lnTo>
                    <a:pt x="4667" y="17660"/>
                  </a:lnTo>
                  <a:lnTo>
                    <a:pt x="4604" y="17702"/>
                  </a:lnTo>
                  <a:lnTo>
                    <a:pt x="4562" y="17702"/>
                  </a:lnTo>
                  <a:lnTo>
                    <a:pt x="4541" y="17723"/>
                  </a:lnTo>
                  <a:lnTo>
                    <a:pt x="4541" y="17807"/>
                  </a:lnTo>
                  <a:lnTo>
                    <a:pt x="4499" y="17828"/>
                  </a:lnTo>
                  <a:lnTo>
                    <a:pt x="4436" y="17828"/>
                  </a:lnTo>
                  <a:lnTo>
                    <a:pt x="4290" y="17932"/>
                  </a:lnTo>
                  <a:lnTo>
                    <a:pt x="4185" y="17995"/>
                  </a:lnTo>
                  <a:lnTo>
                    <a:pt x="4185" y="18037"/>
                  </a:lnTo>
                  <a:lnTo>
                    <a:pt x="4269" y="18121"/>
                  </a:lnTo>
                  <a:lnTo>
                    <a:pt x="4395" y="18142"/>
                  </a:lnTo>
                  <a:lnTo>
                    <a:pt x="4499" y="18121"/>
                  </a:lnTo>
                  <a:lnTo>
                    <a:pt x="4583" y="18016"/>
                  </a:lnTo>
                  <a:lnTo>
                    <a:pt x="4646" y="17911"/>
                  </a:lnTo>
                  <a:lnTo>
                    <a:pt x="4688" y="17870"/>
                  </a:lnTo>
                  <a:lnTo>
                    <a:pt x="4709" y="17870"/>
                  </a:lnTo>
                  <a:lnTo>
                    <a:pt x="4709" y="17911"/>
                  </a:lnTo>
                  <a:lnTo>
                    <a:pt x="4604" y="18079"/>
                  </a:lnTo>
                  <a:lnTo>
                    <a:pt x="4478" y="18204"/>
                  </a:lnTo>
                  <a:lnTo>
                    <a:pt x="4436" y="18183"/>
                  </a:lnTo>
                  <a:lnTo>
                    <a:pt x="4269" y="18204"/>
                  </a:lnTo>
                  <a:lnTo>
                    <a:pt x="4227" y="18225"/>
                  </a:lnTo>
                  <a:lnTo>
                    <a:pt x="4164" y="18309"/>
                  </a:lnTo>
                  <a:lnTo>
                    <a:pt x="4144" y="18288"/>
                  </a:lnTo>
                  <a:lnTo>
                    <a:pt x="4039" y="18288"/>
                  </a:lnTo>
                  <a:lnTo>
                    <a:pt x="3934" y="18330"/>
                  </a:lnTo>
                  <a:lnTo>
                    <a:pt x="3934" y="18393"/>
                  </a:lnTo>
                  <a:lnTo>
                    <a:pt x="3955" y="18414"/>
                  </a:lnTo>
                  <a:lnTo>
                    <a:pt x="3976" y="18455"/>
                  </a:lnTo>
                  <a:lnTo>
                    <a:pt x="3955" y="18539"/>
                  </a:lnTo>
                  <a:lnTo>
                    <a:pt x="4018" y="18665"/>
                  </a:lnTo>
                  <a:lnTo>
                    <a:pt x="4039" y="18665"/>
                  </a:lnTo>
                  <a:lnTo>
                    <a:pt x="4060" y="18602"/>
                  </a:lnTo>
                  <a:lnTo>
                    <a:pt x="4123" y="18602"/>
                  </a:lnTo>
                  <a:lnTo>
                    <a:pt x="4164" y="18644"/>
                  </a:lnTo>
                  <a:lnTo>
                    <a:pt x="4185" y="18707"/>
                  </a:lnTo>
                  <a:lnTo>
                    <a:pt x="4185" y="18769"/>
                  </a:lnTo>
                  <a:lnTo>
                    <a:pt x="4248" y="18832"/>
                  </a:lnTo>
                  <a:lnTo>
                    <a:pt x="4374" y="18832"/>
                  </a:lnTo>
                  <a:lnTo>
                    <a:pt x="4457" y="18769"/>
                  </a:lnTo>
                  <a:lnTo>
                    <a:pt x="4478" y="18748"/>
                  </a:lnTo>
                  <a:lnTo>
                    <a:pt x="4541" y="18748"/>
                  </a:lnTo>
                  <a:lnTo>
                    <a:pt x="4646" y="18727"/>
                  </a:lnTo>
                  <a:lnTo>
                    <a:pt x="4688" y="18665"/>
                  </a:lnTo>
                  <a:lnTo>
                    <a:pt x="4709" y="18560"/>
                  </a:lnTo>
                  <a:lnTo>
                    <a:pt x="4688" y="18497"/>
                  </a:lnTo>
                  <a:lnTo>
                    <a:pt x="4646" y="18434"/>
                  </a:lnTo>
                  <a:lnTo>
                    <a:pt x="4750" y="18434"/>
                  </a:lnTo>
                  <a:lnTo>
                    <a:pt x="4750" y="18393"/>
                  </a:lnTo>
                  <a:lnTo>
                    <a:pt x="4771" y="18225"/>
                  </a:lnTo>
                  <a:lnTo>
                    <a:pt x="4813" y="18309"/>
                  </a:lnTo>
                  <a:lnTo>
                    <a:pt x="4876" y="18351"/>
                  </a:lnTo>
                  <a:lnTo>
                    <a:pt x="4918" y="18351"/>
                  </a:lnTo>
                  <a:lnTo>
                    <a:pt x="4981" y="18288"/>
                  </a:lnTo>
                  <a:lnTo>
                    <a:pt x="4981" y="18121"/>
                  </a:lnTo>
                  <a:lnTo>
                    <a:pt x="4981" y="18016"/>
                  </a:lnTo>
                  <a:lnTo>
                    <a:pt x="4918" y="17911"/>
                  </a:lnTo>
                  <a:lnTo>
                    <a:pt x="4897" y="17828"/>
                  </a:lnTo>
                  <a:lnTo>
                    <a:pt x="4918" y="17618"/>
                  </a:lnTo>
                  <a:lnTo>
                    <a:pt x="4960" y="17577"/>
                  </a:lnTo>
                  <a:lnTo>
                    <a:pt x="4981" y="17577"/>
                  </a:lnTo>
                  <a:lnTo>
                    <a:pt x="4981" y="17660"/>
                  </a:lnTo>
                  <a:lnTo>
                    <a:pt x="4960" y="17723"/>
                  </a:lnTo>
                  <a:lnTo>
                    <a:pt x="4981" y="17828"/>
                  </a:lnTo>
                  <a:lnTo>
                    <a:pt x="5022" y="17932"/>
                  </a:lnTo>
                  <a:lnTo>
                    <a:pt x="5022" y="18079"/>
                  </a:lnTo>
                  <a:lnTo>
                    <a:pt x="5001" y="18204"/>
                  </a:lnTo>
                  <a:lnTo>
                    <a:pt x="5001" y="18309"/>
                  </a:lnTo>
                  <a:lnTo>
                    <a:pt x="5064" y="18309"/>
                  </a:lnTo>
                  <a:lnTo>
                    <a:pt x="5085" y="18288"/>
                  </a:lnTo>
                  <a:lnTo>
                    <a:pt x="5169" y="18225"/>
                  </a:lnTo>
                  <a:lnTo>
                    <a:pt x="5169" y="18183"/>
                  </a:lnTo>
                  <a:lnTo>
                    <a:pt x="5273" y="18037"/>
                  </a:lnTo>
                  <a:lnTo>
                    <a:pt x="5378" y="17995"/>
                  </a:lnTo>
                  <a:lnTo>
                    <a:pt x="5420" y="17995"/>
                  </a:lnTo>
                  <a:lnTo>
                    <a:pt x="5420" y="18016"/>
                  </a:lnTo>
                  <a:lnTo>
                    <a:pt x="5336" y="18079"/>
                  </a:lnTo>
                  <a:lnTo>
                    <a:pt x="5294" y="18121"/>
                  </a:lnTo>
                  <a:lnTo>
                    <a:pt x="5232" y="18246"/>
                  </a:lnTo>
                  <a:lnTo>
                    <a:pt x="5169" y="18330"/>
                  </a:lnTo>
                  <a:lnTo>
                    <a:pt x="5169" y="18393"/>
                  </a:lnTo>
                  <a:lnTo>
                    <a:pt x="5211" y="18414"/>
                  </a:lnTo>
                  <a:lnTo>
                    <a:pt x="5294" y="18414"/>
                  </a:lnTo>
                  <a:lnTo>
                    <a:pt x="5336" y="18434"/>
                  </a:lnTo>
                  <a:lnTo>
                    <a:pt x="5399" y="18518"/>
                  </a:lnTo>
                  <a:lnTo>
                    <a:pt x="5483" y="18539"/>
                  </a:lnTo>
                  <a:lnTo>
                    <a:pt x="5587" y="18518"/>
                  </a:lnTo>
                  <a:lnTo>
                    <a:pt x="5650" y="18455"/>
                  </a:lnTo>
                  <a:lnTo>
                    <a:pt x="5713" y="18455"/>
                  </a:lnTo>
                  <a:lnTo>
                    <a:pt x="5734" y="18497"/>
                  </a:lnTo>
                  <a:lnTo>
                    <a:pt x="5734" y="18539"/>
                  </a:lnTo>
                  <a:lnTo>
                    <a:pt x="5608" y="18623"/>
                  </a:lnTo>
                  <a:lnTo>
                    <a:pt x="5420" y="18665"/>
                  </a:lnTo>
                  <a:lnTo>
                    <a:pt x="5294" y="18665"/>
                  </a:lnTo>
                  <a:lnTo>
                    <a:pt x="5211" y="18727"/>
                  </a:lnTo>
                  <a:lnTo>
                    <a:pt x="5169" y="18769"/>
                  </a:lnTo>
                  <a:lnTo>
                    <a:pt x="5169" y="18832"/>
                  </a:lnTo>
                  <a:lnTo>
                    <a:pt x="5190" y="18853"/>
                  </a:lnTo>
                  <a:lnTo>
                    <a:pt x="5315" y="18832"/>
                  </a:lnTo>
                  <a:lnTo>
                    <a:pt x="5378" y="18853"/>
                  </a:lnTo>
                  <a:lnTo>
                    <a:pt x="5420" y="18832"/>
                  </a:lnTo>
                  <a:lnTo>
                    <a:pt x="5504" y="18769"/>
                  </a:lnTo>
                  <a:lnTo>
                    <a:pt x="5629" y="18769"/>
                  </a:lnTo>
                  <a:lnTo>
                    <a:pt x="5650" y="18811"/>
                  </a:lnTo>
                  <a:lnTo>
                    <a:pt x="5629" y="18853"/>
                  </a:lnTo>
                  <a:lnTo>
                    <a:pt x="5545" y="18874"/>
                  </a:lnTo>
                  <a:lnTo>
                    <a:pt x="5483" y="18937"/>
                  </a:lnTo>
                  <a:lnTo>
                    <a:pt x="5336" y="18937"/>
                  </a:lnTo>
                  <a:lnTo>
                    <a:pt x="5294" y="19020"/>
                  </a:lnTo>
                  <a:lnTo>
                    <a:pt x="5273" y="19083"/>
                  </a:lnTo>
                  <a:lnTo>
                    <a:pt x="5211" y="19146"/>
                  </a:lnTo>
                  <a:lnTo>
                    <a:pt x="5211" y="19188"/>
                  </a:lnTo>
                  <a:lnTo>
                    <a:pt x="5273" y="19188"/>
                  </a:lnTo>
                  <a:lnTo>
                    <a:pt x="5420" y="19062"/>
                  </a:lnTo>
                  <a:lnTo>
                    <a:pt x="5483" y="19041"/>
                  </a:lnTo>
                  <a:lnTo>
                    <a:pt x="5545" y="19041"/>
                  </a:lnTo>
                  <a:lnTo>
                    <a:pt x="5587" y="19020"/>
                  </a:lnTo>
                  <a:lnTo>
                    <a:pt x="5629" y="19020"/>
                  </a:lnTo>
                  <a:lnTo>
                    <a:pt x="5692" y="19083"/>
                  </a:lnTo>
                  <a:lnTo>
                    <a:pt x="5692" y="19146"/>
                  </a:lnTo>
                  <a:lnTo>
                    <a:pt x="5650" y="19188"/>
                  </a:lnTo>
                  <a:lnTo>
                    <a:pt x="5587" y="19146"/>
                  </a:lnTo>
                  <a:lnTo>
                    <a:pt x="5525" y="19125"/>
                  </a:lnTo>
                  <a:lnTo>
                    <a:pt x="5399" y="19167"/>
                  </a:lnTo>
                  <a:lnTo>
                    <a:pt x="5378" y="19230"/>
                  </a:lnTo>
                  <a:lnTo>
                    <a:pt x="5399" y="19271"/>
                  </a:lnTo>
                  <a:lnTo>
                    <a:pt x="5587" y="19271"/>
                  </a:lnTo>
                  <a:lnTo>
                    <a:pt x="5650" y="19230"/>
                  </a:lnTo>
                  <a:lnTo>
                    <a:pt x="5713" y="19230"/>
                  </a:lnTo>
                  <a:lnTo>
                    <a:pt x="5797" y="19334"/>
                  </a:lnTo>
                  <a:lnTo>
                    <a:pt x="5797" y="19397"/>
                  </a:lnTo>
                  <a:lnTo>
                    <a:pt x="5734" y="19439"/>
                  </a:lnTo>
                  <a:lnTo>
                    <a:pt x="5525" y="19355"/>
                  </a:lnTo>
                  <a:lnTo>
                    <a:pt x="5420" y="19292"/>
                  </a:lnTo>
                  <a:lnTo>
                    <a:pt x="5399" y="19355"/>
                  </a:lnTo>
                  <a:lnTo>
                    <a:pt x="5420" y="19439"/>
                  </a:lnTo>
                  <a:lnTo>
                    <a:pt x="5525" y="19502"/>
                  </a:lnTo>
                  <a:lnTo>
                    <a:pt x="5629" y="19648"/>
                  </a:lnTo>
                  <a:lnTo>
                    <a:pt x="5692" y="19753"/>
                  </a:lnTo>
                  <a:lnTo>
                    <a:pt x="5629" y="19753"/>
                  </a:lnTo>
                  <a:lnTo>
                    <a:pt x="5545" y="19648"/>
                  </a:lnTo>
                  <a:lnTo>
                    <a:pt x="5525" y="19648"/>
                  </a:lnTo>
                  <a:lnTo>
                    <a:pt x="5504" y="19690"/>
                  </a:lnTo>
                  <a:lnTo>
                    <a:pt x="5525" y="19774"/>
                  </a:lnTo>
                  <a:lnTo>
                    <a:pt x="5650" y="19878"/>
                  </a:lnTo>
                  <a:lnTo>
                    <a:pt x="5797" y="19983"/>
                  </a:lnTo>
                  <a:lnTo>
                    <a:pt x="5797" y="20025"/>
                  </a:lnTo>
                  <a:lnTo>
                    <a:pt x="5734" y="20025"/>
                  </a:lnTo>
                  <a:lnTo>
                    <a:pt x="5734" y="20087"/>
                  </a:lnTo>
                  <a:lnTo>
                    <a:pt x="5692" y="20087"/>
                  </a:lnTo>
                  <a:lnTo>
                    <a:pt x="5587" y="19983"/>
                  </a:lnTo>
                  <a:lnTo>
                    <a:pt x="5545" y="19983"/>
                  </a:lnTo>
                  <a:lnTo>
                    <a:pt x="5545" y="20025"/>
                  </a:lnTo>
                  <a:lnTo>
                    <a:pt x="5650" y="20171"/>
                  </a:lnTo>
                  <a:lnTo>
                    <a:pt x="5713" y="20213"/>
                  </a:lnTo>
                  <a:lnTo>
                    <a:pt x="5755" y="20213"/>
                  </a:lnTo>
                  <a:lnTo>
                    <a:pt x="5817" y="20192"/>
                  </a:lnTo>
                  <a:lnTo>
                    <a:pt x="5838" y="20213"/>
                  </a:lnTo>
                  <a:lnTo>
                    <a:pt x="5797" y="20297"/>
                  </a:lnTo>
                  <a:lnTo>
                    <a:pt x="5734" y="20318"/>
                  </a:lnTo>
                  <a:lnTo>
                    <a:pt x="5629" y="20276"/>
                  </a:lnTo>
                  <a:lnTo>
                    <a:pt x="5545" y="20192"/>
                  </a:lnTo>
                  <a:lnTo>
                    <a:pt x="5441" y="20108"/>
                  </a:lnTo>
                  <a:lnTo>
                    <a:pt x="5378" y="20004"/>
                  </a:lnTo>
                  <a:lnTo>
                    <a:pt x="5294" y="19795"/>
                  </a:lnTo>
                  <a:lnTo>
                    <a:pt x="5232" y="19711"/>
                  </a:lnTo>
                  <a:lnTo>
                    <a:pt x="5169" y="19690"/>
                  </a:lnTo>
                  <a:lnTo>
                    <a:pt x="5085" y="19648"/>
                  </a:lnTo>
                  <a:lnTo>
                    <a:pt x="4981" y="19606"/>
                  </a:lnTo>
                  <a:lnTo>
                    <a:pt x="4876" y="19606"/>
                  </a:lnTo>
                  <a:lnTo>
                    <a:pt x="4813" y="19585"/>
                  </a:lnTo>
                  <a:lnTo>
                    <a:pt x="4750" y="19585"/>
                  </a:lnTo>
                  <a:lnTo>
                    <a:pt x="4646" y="19564"/>
                  </a:lnTo>
                  <a:lnTo>
                    <a:pt x="4541" y="19460"/>
                  </a:lnTo>
                  <a:lnTo>
                    <a:pt x="4436" y="19460"/>
                  </a:lnTo>
                  <a:lnTo>
                    <a:pt x="4353" y="19439"/>
                  </a:lnTo>
                  <a:lnTo>
                    <a:pt x="4290" y="19460"/>
                  </a:lnTo>
                  <a:lnTo>
                    <a:pt x="4185" y="19460"/>
                  </a:lnTo>
                  <a:lnTo>
                    <a:pt x="4060" y="19564"/>
                  </a:lnTo>
                  <a:lnTo>
                    <a:pt x="4060" y="19606"/>
                  </a:lnTo>
                  <a:lnTo>
                    <a:pt x="4123" y="19669"/>
                  </a:lnTo>
                  <a:lnTo>
                    <a:pt x="4185" y="19753"/>
                  </a:lnTo>
                  <a:lnTo>
                    <a:pt x="4248" y="19878"/>
                  </a:lnTo>
                  <a:lnTo>
                    <a:pt x="4248" y="19962"/>
                  </a:lnTo>
                  <a:lnTo>
                    <a:pt x="4353" y="20067"/>
                  </a:lnTo>
                  <a:lnTo>
                    <a:pt x="4499" y="20108"/>
                  </a:lnTo>
                  <a:lnTo>
                    <a:pt x="4709" y="20192"/>
                  </a:lnTo>
                  <a:lnTo>
                    <a:pt x="4855" y="20276"/>
                  </a:lnTo>
                  <a:lnTo>
                    <a:pt x="4897" y="20380"/>
                  </a:lnTo>
                  <a:lnTo>
                    <a:pt x="4897" y="20422"/>
                  </a:lnTo>
                  <a:lnTo>
                    <a:pt x="4981" y="20443"/>
                  </a:lnTo>
                  <a:lnTo>
                    <a:pt x="5064" y="20443"/>
                  </a:lnTo>
                  <a:lnTo>
                    <a:pt x="5127" y="20527"/>
                  </a:lnTo>
                  <a:lnTo>
                    <a:pt x="5211" y="20548"/>
                  </a:lnTo>
                  <a:lnTo>
                    <a:pt x="5273" y="20527"/>
                  </a:lnTo>
                  <a:lnTo>
                    <a:pt x="5315" y="20590"/>
                  </a:lnTo>
                  <a:lnTo>
                    <a:pt x="5399" y="20590"/>
                  </a:lnTo>
                  <a:lnTo>
                    <a:pt x="5441" y="20548"/>
                  </a:lnTo>
                  <a:lnTo>
                    <a:pt x="5504" y="20631"/>
                  </a:lnTo>
                  <a:lnTo>
                    <a:pt x="5608" y="20631"/>
                  </a:lnTo>
                  <a:lnTo>
                    <a:pt x="5692" y="20548"/>
                  </a:lnTo>
                  <a:lnTo>
                    <a:pt x="5797" y="20548"/>
                  </a:lnTo>
                  <a:lnTo>
                    <a:pt x="5838" y="20590"/>
                  </a:lnTo>
                  <a:lnTo>
                    <a:pt x="5838" y="20652"/>
                  </a:lnTo>
                  <a:lnTo>
                    <a:pt x="5755" y="20652"/>
                  </a:lnTo>
                  <a:lnTo>
                    <a:pt x="5692" y="20694"/>
                  </a:lnTo>
                  <a:lnTo>
                    <a:pt x="5692" y="20736"/>
                  </a:lnTo>
                  <a:lnTo>
                    <a:pt x="5755" y="20736"/>
                  </a:lnTo>
                  <a:lnTo>
                    <a:pt x="5817" y="20820"/>
                  </a:lnTo>
                  <a:lnTo>
                    <a:pt x="5734" y="20862"/>
                  </a:lnTo>
                  <a:lnTo>
                    <a:pt x="5734" y="20903"/>
                  </a:lnTo>
                  <a:lnTo>
                    <a:pt x="5650" y="20924"/>
                  </a:lnTo>
                  <a:lnTo>
                    <a:pt x="5608" y="20966"/>
                  </a:lnTo>
                  <a:lnTo>
                    <a:pt x="5504" y="21029"/>
                  </a:lnTo>
                  <a:lnTo>
                    <a:pt x="5483" y="21071"/>
                  </a:lnTo>
                  <a:lnTo>
                    <a:pt x="5504" y="21113"/>
                  </a:lnTo>
                  <a:lnTo>
                    <a:pt x="5608" y="21113"/>
                  </a:lnTo>
                  <a:lnTo>
                    <a:pt x="5692" y="21134"/>
                  </a:lnTo>
                  <a:lnTo>
                    <a:pt x="5713" y="21175"/>
                  </a:lnTo>
                  <a:lnTo>
                    <a:pt x="5629" y="21175"/>
                  </a:lnTo>
                  <a:lnTo>
                    <a:pt x="5587" y="21217"/>
                  </a:lnTo>
                  <a:lnTo>
                    <a:pt x="5545" y="21175"/>
                  </a:lnTo>
                  <a:lnTo>
                    <a:pt x="5504" y="21238"/>
                  </a:lnTo>
                  <a:lnTo>
                    <a:pt x="5420" y="21364"/>
                  </a:lnTo>
                  <a:lnTo>
                    <a:pt x="5378" y="21364"/>
                  </a:lnTo>
                  <a:lnTo>
                    <a:pt x="5315" y="21427"/>
                  </a:lnTo>
                  <a:lnTo>
                    <a:pt x="5315" y="21468"/>
                  </a:lnTo>
                  <a:lnTo>
                    <a:pt x="5399" y="21489"/>
                  </a:lnTo>
                  <a:lnTo>
                    <a:pt x="5441" y="21489"/>
                  </a:lnTo>
                  <a:lnTo>
                    <a:pt x="5504" y="21468"/>
                  </a:lnTo>
                  <a:lnTo>
                    <a:pt x="5525" y="21489"/>
                  </a:lnTo>
                  <a:lnTo>
                    <a:pt x="5545" y="21552"/>
                  </a:lnTo>
                  <a:lnTo>
                    <a:pt x="5608" y="21552"/>
                  </a:lnTo>
                  <a:lnTo>
                    <a:pt x="5650" y="21573"/>
                  </a:lnTo>
                  <a:lnTo>
                    <a:pt x="5650" y="21636"/>
                  </a:lnTo>
                  <a:lnTo>
                    <a:pt x="5545" y="21657"/>
                  </a:lnTo>
                  <a:lnTo>
                    <a:pt x="5483" y="21678"/>
                  </a:lnTo>
                  <a:lnTo>
                    <a:pt x="5483" y="21699"/>
                  </a:lnTo>
                  <a:lnTo>
                    <a:pt x="5608" y="21699"/>
                  </a:lnTo>
                  <a:lnTo>
                    <a:pt x="5650" y="21761"/>
                  </a:lnTo>
                  <a:lnTo>
                    <a:pt x="5650" y="21803"/>
                  </a:lnTo>
                  <a:lnTo>
                    <a:pt x="5608" y="21803"/>
                  </a:lnTo>
                  <a:lnTo>
                    <a:pt x="5545" y="21782"/>
                  </a:lnTo>
                  <a:lnTo>
                    <a:pt x="5525" y="21803"/>
                  </a:lnTo>
                  <a:lnTo>
                    <a:pt x="5483" y="21803"/>
                  </a:lnTo>
                  <a:lnTo>
                    <a:pt x="5420" y="21761"/>
                  </a:lnTo>
                  <a:lnTo>
                    <a:pt x="5336" y="21761"/>
                  </a:lnTo>
                  <a:lnTo>
                    <a:pt x="5232" y="21740"/>
                  </a:lnTo>
                  <a:lnTo>
                    <a:pt x="5232" y="21678"/>
                  </a:lnTo>
                  <a:lnTo>
                    <a:pt x="5273" y="21657"/>
                  </a:lnTo>
                  <a:lnTo>
                    <a:pt x="5211" y="21552"/>
                  </a:lnTo>
                  <a:lnTo>
                    <a:pt x="5190" y="21531"/>
                  </a:lnTo>
                  <a:lnTo>
                    <a:pt x="5127" y="21552"/>
                  </a:lnTo>
                  <a:lnTo>
                    <a:pt x="5127" y="21657"/>
                  </a:lnTo>
                  <a:lnTo>
                    <a:pt x="5064" y="21866"/>
                  </a:lnTo>
                  <a:lnTo>
                    <a:pt x="5001" y="21950"/>
                  </a:lnTo>
                  <a:lnTo>
                    <a:pt x="5022" y="21992"/>
                  </a:lnTo>
                  <a:lnTo>
                    <a:pt x="5085" y="21992"/>
                  </a:lnTo>
                  <a:lnTo>
                    <a:pt x="5169" y="21950"/>
                  </a:lnTo>
                  <a:lnTo>
                    <a:pt x="5190" y="21950"/>
                  </a:lnTo>
                  <a:lnTo>
                    <a:pt x="5169" y="21992"/>
                  </a:lnTo>
                  <a:lnTo>
                    <a:pt x="5085" y="22054"/>
                  </a:lnTo>
                  <a:lnTo>
                    <a:pt x="5022" y="22096"/>
                  </a:lnTo>
                  <a:lnTo>
                    <a:pt x="4981" y="22117"/>
                  </a:lnTo>
                  <a:lnTo>
                    <a:pt x="4981" y="22180"/>
                  </a:lnTo>
                  <a:lnTo>
                    <a:pt x="4855" y="22159"/>
                  </a:lnTo>
                  <a:lnTo>
                    <a:pt x="4750" y="22159"/>
                  </a:lnTo>
                  <a:lnTo>
                    <a:pt x="4646" y="22180"/>
                  </a:lnTo>
                  <a:lnTo>
                    <a:pt x="4604" y="22159"/>
                  </a:lnTo>
                  <a:lnTo>
                    <a:pt x="4478" y="22159"/>
                  </a:lnTo>
                  <a:lnTo>
                    <a:pt x="4395" y="22180"/>
                  </a:lnTo>
                  <a:lnTo>
                    <a:pt x="4248" y="22264"/>
                  </a:lnTo>
                  <a:lnTo>
                    <a:pt x="4123" y="22284"/>
                  </a:lnTo>
                  <a:lnTo>
                    <a:pt x="4144" y="22305"/>
                  </a:lnTo>
                  <a:lnTo>
                    <a:pt x="4248" y="22284"/>
                  </a:lnTo>
                  <a:lnTo>
                    <a:pt x="4290" y="22284"/>
                  </a:lnTo>
                  <a:lnTo>
                    <a:pt x="4248" y="22326"/>
                  </a:lnTo>
                  <a:lnTo>
                    <a:pt x="4185" y="22368"/>
                  </a:lnTo>
                  <a:lnTo>
                    <a:pt x="4227" y="22410"/>
                  </a:lnTo>
                  <a:lnTo>
                    <a:pt x="4290" y="22431"/>
                  </a:lnTo>
                  <a:lnTo>
                    <a:pt x="4353" y="22515"/>
                  </a:lnTo>
                  <a:lnTo>
                    <a:pt x="4457" y="22494"/>
                  </a:lnTo>
                  <a:lnTo>
                    <a:pt x="4541" y="22515"/>
                  </a:lnTo>
                  <a:lnTo>
                    <a:pt x="4583" y="22494"/>
                  </a:lnTo>
                  <a:lnTo>
                    <a:pt x="4709" y="22494"/>
                  </a:lnTo>
                  <a:lnTo>
                    <a:pt x="4750" y="22473"/>
                  </a:lnTo>
                  <a:lnTo>
                    <a:pt x="4667" y="22410"/>
                  </a:lnTo>
                  <a:lnTo>
                    <a:pt x="4646" y="22389"/>
                  </a:lnTo>
                  <a:lnTo>
                    <a:pt x="4688" y="22326"/>
                  </a:lnTo>
                  <a:lnTo>
                    <a:pt x="4855" y="22326"/>
                  </a:lnTo>
                  <a:lnTo>
                    <a:pt x="4918" y="22305"/>
                  </a:lnTo>
                  <a:lnTo>
                    <a:pt x="5001" y="22305"/>
                  </a:lnTo>
                  <a:lnTo>
                    <a:pt x="5001" y="22326"/>
                  </a:lnTo>
                  <a:lnTo>
                    <a:pt x="4960" y="22368"/>
                  </a:lnTo>
                  <a:lnTo>
                    <a:pt x="4918" y="22431"/>
                  </a:lnTo>
                  <a:lnTo>
                    <a:pt x="4918" y="22515"/>
                  </a:lnTo>
                  <a:lnTo>
                    <a:pt x="4792" y="22577"/>
                  </a:lnTo>
                  <a:lnTo>
                    <a:pt x="4792" y="22619"/>
                  </a:lnTo>
                  <a:lnTo>
                    <a:pt x="4813" y="22682"/>
                  </a:lnTo>
                  <a:lnTo>
                    <a:pt x="5064" y="22849"/>
                  </a:lnTo>
                  <a:lnTo>
                    <a:pt x="5169" y="22933"/>
                  </a:lnTo>
                  <a:lnTo>
                    <a:pt x="5169" y="22954"/>
                  </a:lnTo>
                  <a:lnTo>
                    <a:pt x="5085" y="22954"/>
                  </a:lnTo>
                  <a:lnTo>
                    <a:pt x="5064" y="22933"/>
                  </a:lnTo>
                  <a:lnTo>
                    <a:pt x="4960" y="22891"/>
                  </a:lnTo>
                  <a:lnTo>
                    <a:pt x="4813" y="22808"/>
                  </a:lnTo>
                  <a:lnTo>
                    <a:pt x="4771" y="22745"/>
                  </a:lnTo>
                  <a:lnTo>
                    <a:pt x="4667" y="22745"/>
                  </a:lnTo>
                  <a:lnTo>
                    <a:pt x="4604" y="22787"/>
                  </a:lnTo>
                  <a:lnTo>
                    <a:pt x="4541" y="22808"/>
                  </a:lnTo>
                  <a:lnTo>
                    <a:pt x="4332" y="22682"/>
                  </a:lnTo>
                  <a:lnTo>
                    <a:pt x="4290" y="22598"/>
                  </a:lnTo>
                  <a:lnTo>
                    <a:pt x="4248" y="22515"/>
                  </a:lnTo>
                  <a:lnTo>
                    <a:pt x="4227" y="22515"/>
                  </a:lnTo>
                  <a:lnTo>
                    <a:pt x="4248" y="22619"/>
                  </a:lnTo>
                  <a:lnTo>
                    <a:pt x="4269" y="22703"/>
                  </a:lnTo>
                  <a:lnTo>
                    <a:pt x="4248" y="22724"/>
                  </a:lnTo>
                  <a:lnTo>
                    <a:pt x="4144" y="22619"/>
                  </a:lnTo>
                  <a:lnTo>
                    <a:pt x="4039" y="22494"/>
                  </a:lnTo>
                  <a:lnTo>
                    <a:pt x="3913" y="22431"/>
                  </a:lnTo>
                  <a:lnTo>
                    <a:pt x="3851" y="22473"/>
                  </a:lnTo>
                  <a:lnTo>
                    <a:pt x="3872" y="22515"/>
                  </a:lnTo>
                  <a:lnTo>
                    <a:pt x="3955" y="22536"/>
                  </a:lnTo>
                  <a:lnTo>
                    <a:pt x="3976" y="22619"/>
                  </a:lnTo>
                  <a:lnTo>
                    <a:pt x="4123" y="22745"/>
                  </a:lnTo>
                  <a:lnTo>
                    <a:pt x="4164" y="22808"/>
                  </a:lnTo>
                  <a:lnTo>
                    <a:pt x="4227" y="22808"/>
                  </a:lnTo>
                  <a:lnTo>
                    <a:pt x="4290" y="22828"/>
                  </a:lnTo>
                  <a:lnTo>
                    <a:pt x="4332" y="22891"/>
                  </a:lnTo>
                  <a:lnTo>
                    <a:pt x="4164" y="22891"/>
                  </a:lnTo>
                  <a:lnTo>
                    <a:pt x="4060" y="22828"/>
                  </a:lnTo>
                  <a:lnTo>
                    <a:pt x="3976" y="22787"/>
                  </a:lnTo>
                  <a:lnTo>
                    <a:pt x="3934" y="22787"/>
                  </a:lnTo>
                  <a:lnTo>
                    <a:pt x="3913" y="22849"/>
                  </a:lnTo>
                  <a:lnTo>
                    <a:pt x="3913" y="22912"/>
                  </a:lnTo>
                  <a:lnTo>
                    <a:pt x="3851" y="22954"/>
                  </a:lnTo>
                  <a:lnTo>
                    <a:pt x="3830" y="22954"/>
                  </a:lnTo>
                  <a:lnTo>
                    <a:pt x="3830" y="23017"/>
                  </a:lnTo>
                  <a:lnTo>
                    <a:pt x="3767" y="23059"/>
                  </a:lnTo>
                  <a:lnTo>
                    <a:pt x="3725" y="23100"/>
                  </a:lnTo>
                  <a:lnTo>
                    <a:pt x="3600" y="23247"/>
                  </a:lnTo>
                  <a:lnTo>
                    <a:pt x="3600" y="23310"/>
                  </a:lnTo>
                  <a:lnTo>
                    <a:pt x="3627" y="23324"/>
                  </a:lnTo>
                  <a:lnTo>
                    <a:pt x="3627" y="23324"/>
                  </a:lnTo>
                  <a:lnTo>
                    <a:pt x="3558" y="23352"/>
                  </a:lnTo>
                  <a:lnTo>
                    <a:pt x="3495" y="23414"/>
                  </a:lnTo>
                  <a:lnTo>
                    <a:pt x="3390" y="23456"/>
                  </a:lnTo>
                  <a:lnTo>
                    <a:pt x="3328" y="23561"/>
                  </a:lnTo>
                  <a:lnTo>
                    <a:pt x="3328" y="23644"/>
                  </a:lnTo>
                  <a:lnTo>
                    <a:pt x="3348" y="23665"/>
                  </a:lnTo>
                  <a:lnTo>
                    <a:pt x="3432" y="23624"/>
                  </a:lnTo>
                  <a:lnTo>
                    <a:pt x="3537" y="23582"/>
                  </a:lnTo>
                  <a:lnTo>
                    <a:pt x="3600" y="23624"/>
                  </a:lnTo>
                  <a:lnTo>
                    <a:pt x="3620" y="23644"/>
                  </a:lnTo>
                  <a:lnTo>
                    <a:pt x="3725" y="23644"/>
                  </a:lnTo>
                  <a:lnTo>
                    <a:pt x="3913" y="23582"/>
                  </a:lnTo>
                  <a:lnTo>
                    <a:pt x="4060" y="23582"/>
                  </a:lnTo>
                  <a:lnTo>
                    <a:pt x="4185" y="23644"/>
                  </a:lnTo>
                  <a:lnTo>
                    <a:pt x="4185" y="23686"/>
                  </a:lnTo>
                  <a:lnTo>
                    <a:pt x="4144" y="23728"/>
                  </a:lnTo>
                  <a:lnTo>
                    <a:pt x="4018" y="23686"/>
                  </a:lnTo>
                  <a:lnTo>
                    <a:pt x="3934" y="23728"/>
                  </a:lnTo>
                  <a:lnTo>
                    <a:pt x="3558" y="23686"/>
                  </a:lnTo>
                  <a:lnTo>
                    <a:pt x="3453" y="23686"/>
                  </a:lnTo>
                  <a:lnTo>
                    <a:pt x="3432" y="23728"/>
                  </a:lnTo>
                  <a:lnTo>
                    <a:pt x="3286" y="23728"/>
                  </a:lnTo>
                  <a:lnTo>
                    <a:pt x="3286" y="23770"/>
                  </a:lnTo>
                  <a:lnTo>
                    <a:pt x="3307" y="23791"/>
                  </a:lnTo>
                  <a:lnTo>
                    <a:pt x="3411" y="23791"/>
                  </a:lnTo>
                  <a:lnTo>
                    <a:pt x="3432" y="23833"/>
                  </a:lnTo>
                  <a:lnTo>
                    <a:pt x="3390" y="23854"/>
                  </a:lnTo>
                  <a:lnTo>
                    <a:pt x="3307" y="23833"/>
                  </a:lnTo>
                  <a:lnTo>
                    <a:pt x="3202" y="23833"/>
                  </a:lnTo>
                  <a:lnTo>
                    <a:pt x="3202" y="23854"/>
                  </a:lnTo>
                  <a:lnTo>
                    <a:pt x="3244" y="23896"/>
                  </a:lnTo>
                  <a:lnTo>
                    <a:pt x="3348" y="23896"/>
                  </a:lnTo>
                  <a:lnTo>
                    <a:pt x="3620" y="23979"/>
                  </a:lnTo>
                  <a:lnTo>
                    <a:pt x="3704" y="23979"/>
                  </a:lnTo>
                  <a:lnTo>
                    <a:pt x="3746" y="23958"/>
                  </a:lnTo>
                  <a:lnTo>
                    <a:pt x="3830" y="23958"/>
                  </a:lnTo>
                  <a:lnTo>
                    <a:pt x="3851" y="23979"/>
                  </a:lnTo>
                  <a:lnTo>
                    <a:pt x="3851" y="24063"/>
                  </a:lnTo>
                  <a:lnTo>
                    <a:pt x="3872" y="24147"/>
                  </a:lnTo>
                  <a:lnTo>
                    <a:pt x="3830" y="24168"/>
                  </a:lnTo>
                  <a:lnTo>
                    <a:pt x="3746" y="24147"/>
                  </a:lnTo>
                  <a:lnTo>
                    <a:pt x="3725" y="24168"/>
                  </a:lnTo>
                  <a:lnTo>
                    <a:pt x="3704" y="24147"/>
                  </a:lnTo>
                  <a:lnTo>
                    <a:pt x="3600" y="24168"/>
                  </a:lnTo>
                  <a:lnTo>
                    <a:pt x="3600" y="24209"/>
                  </a:lnTo>
                  <a:lnTo>
                    <a:pt x="3620" y="24251"/>
                  </a:lnTo>
                  <a:lnTo>
                    <a:pt x="3662" y="24251"/>
                  </a:lnTo>
                  <a:lnTo>
                    <a:pt x="3746" y="24272"/>
                  </a:lnTo>
                  <a:lnTo>
                    <a:pt x="3767" y="24293"/>
                  </a:lnTo>
                  <a:lnTo>
                    <a:pt x="3662" y="24356"/>
                  </a:lnTo>
                  <a:lnTo>
                    <a:pt x="3600" y="24356"/>
                  </a:lnTo>
                  <a:lnTo>
                    <a:pt x="3495" y="24293"/>
                  </a:lnTo>
                  <a:lnTo>
                    <a:pt x="3390" y="24335"/>
                  </a:lnTo>
                  <a:lnTo>
                    <a:pt x="3390" y="24377"/>
                  </a:lnTo>
                  <a:lnTo>
                    <a:pt x="3411" y="24460"/>
                  </a:lnTo>
                  <a:lnTo>
                    <a:pt x="3453" y="24481"/>
                  </a:lnTo>
                  <a:lnTo>
                    <a:pt x="3516" y="24460"/>
                  </a:lnTo>
                  <a:lnTo>
                    <a:pt x="3620" y="24460"/>
                  </a:lnTo>
                  <a:lnTo>
                    <a:pt x="3704" y="24502"/>
                  </a:lnTo>
                  <a:lnTo>
                    <a:pt x="3725" y="24565"/>
                  </a:lnTo>
                  <a:lnTo>
                    <a:pt x="3495" y="24565"/>
                  </a:lnTo>
                  <a:lnTo>
                    <a:pt x="3432" y="24586"/>
                  </a:lnTo>
                  <a:lnTo>
                    <a:pt x="3348" y="24544"/>
                  </a:lnTo>
                  <a:lnTo>
                    <a:pt x="3307" y="24544"/>
                  </a:lnTo>
                  <a:lnTo>
                    <a:pt x="3244" y="24607"/>
                  </a:lnTo>
                  <a:lnTo>
                    <a:pt x="3244" y="24816"/>
                  </a:lnTo>
                  <a:lnTo>
                    <a:pt x="3223" y="24879"/>
                  </a:lnTo>
                  <a:lnTo>
                    <a:pt x="3244" y="24921"/>
                  </a:lnTo>
                  <a:lnTo>
                    <a:pt x="3328" y="24921"/>
                  </a:lnTo>
                  <a:lnTo>
                    <a:pt x="3558" y="24816"/>
                  </a:lnTo>
                  <a:lnTo>
                    <a:pt x="3620" y="24774"/>
                  </a:lnTo>
                  <a:lnTo>
                    <a:pt x="3809" y="24712"/>
                  </a:lnTo>
                  <a:lnTo>
                    <a:pt x="3913" y="24670"/>
                  </a:lnTo>
                  <a:lnTo>
                    <a:pt x="3976" y="24544"/>
                  </a:lnTo>
                  <a:lnTo>
                    <a:pt x="4123" y="24398"/>
                  </a:lnTo>
                  <a:lnTo>
                    <a:pt x="4395" y="24272"/>
                  </a:lnTo>
                  <a:lnTo>
                    <a:pt x="4541" y="24230"/>
                  </a:lnTo>
                  <a:lnTo>
                    <a:pt x="4604" y="24251"/>
                  </a:lnTo>
                  <a:lnTo>
                    <a:pt x="4604" y="24293"/>
                  </a:lnTo>
                  <a:lnTo>
                    <a:pt x="4562" y="24335"/>
                  </a:lnTo>
                  <a:lnTo>
                    <a:pt x="4478" y="24335"/>
                  </a:lnTo>
                  <a:lnTo>
                    <a:pt x="4332" y="24377"/>
                  </a:lnTo>
                  <a:lnTo>
                    <a:pt x="4144" y="24460"/>
                  </a:lnTo>
                  <a:lnTo>
                    <a:pt x="3955" y="24670"/>
                  </a:lnTo>
                  <a:lnTo>
                    <a:pt x="3872" y="24774"/>
                  </a:lnTo>
                  <a:lnTo>
                    <a:pt x="3725" y="24795"/>
                  </a:lnTo>
                  <a:lnTo>
                    <a:pt x="3641" y="24816"/>
                  </a:lnTo>
                  <a:lnTo>
                    <a:pt x="3495" y="24921"/>
                  </a:lnTo>
                  <a:lnTo>
                    <a:pt x="3328" y="24984"/>
                  </a:lnTo>
                  <a:lnTo>
                    <a:pt x="3244" y="25005"/>
                  </a:lnTo>
                  <a:lnTo>
                    <a:pt x="3223" y="25067"/>
                  </a:lnTo>
                  <a:lnTo>
                    <a:pt x="3307" y="25067"/>
                  </a:lnTo>
                  <a:lnTo>
                    <a:pt x="3348" y="25025"/>
                  </a:lnTo>
                  <a:lnTo>
                    <a:pt x="3411" y="25067"/>
                  </a:lnTo>
                  <a:lnTo>
                    <a:pt x="3411" y="25109"/>
                  </a:lnTo>
                  <a:lnTo>
                    <a:pt x="3516" y="25067"/>
                  </a:lnTo>
                  <a:lnTo>
                    <a:pt x="3558" y="25005"/>
                  </a:lnTo>
                  <a:lnTo>
                    <a:pt x="3620" y="25005"/>
                  </a:lnTo>
                  <a:lnTo>
                    <a:pt x="3704" y="25088"/>
                  </a:lnTo>
                  <a:lnTo>
                    <a:pt x="3746" y="25088"/>
                  </a:lnTo>
                  <a:lnTo>
                    <a:pt x="3830" y="25025"/>
                  </a:lnTo>
                  <a:lnTo>
                    <a:pt x="3934" y="24963"/>
                  </a:lnTo>
                  <a:lnTo>
                    <a:pt x="4018" y="24963"/>
                  </a:lnTo>
                  <a:lnTo>
                    <a:pt x="4039" y="24984"/>
                  </a:lnTo>
                  <a:lnTo>
                    <a:pt x="4018" y="25025"/>
                  </a:lnTo>
                  <a:lnTo>
                    <a:pt x="3934" y="25025"/>
                  </a:lnTo>
                  <a:lnTo>
                    <a:pt x="3851" y="25109"/>
                  </a:lnTo>
                  <a:lnTo>
                    <a:pt x="3767" y="25130"/>
                  </a:lnTo>
                  <a:lnTo>
                    <a:pt x="3662" y="25130"/>
                  </a:lnTo>
                  <a:lnTo>
                    <a:pt x="3620" y="25088"/>
                  </a:lnTo>
                  <a:lnTo>
                    <a:pt x="3558" y="25109"/>
                  </a:lnTo>
                  <a:lnTo>
                    <a:pt x="3516" y="25172"/>
                  </a:lnTo>
                  <a:lnTo>
                    <a:pt x="3390" y="25214"/>
                  </a:lnTo>
                  <a:lnTo>
                    <a:pt x="3348" y="25235"/>
                  </a:lnTo>
                  <a:lnTo>
                    <a:pt x="3432" y="25297"/>
                  </a:lnTo>
                  <a:lnTo>
                    <a:pt x="3495" y="25297"/>
                  </a:lnTo>
                  <a:lnTo>
                    <a:pt x="3600" y="25339"/>
                  </a:lnTo>
                  <a:lnTo>
                    <a:pt x="3516" y="25423"/>
                  </a:lnTo>
                  <a:lnTo>
                    <a:pt x="3516" y="25486"/>
                  </a:lnTo>
                  <a:lnTo>
                    <a:pt x="3600" y="25507"/>
                  </a:lnTo>
                  <a:lnTo>
                    <a:pt x="3558" y="25549"/>
                  </a:lnTo>
                  <a:lnTo>
                    <a:pt x="3600" y="25611"/>
                  </a:lnTo>
                  <a:lnTo>
                    <a:pt x="3537" y="25611"/>
                  </a:lnTo>
                  <a:lnTo>
                    <a:pt x="3453" y="25695"/>
                  </a:lnTo>
                  <a:lnTo>
                    <a:pt x="3495" y="25758"/>
                  </a:lnTo>
                  <a:lnTo>
                    <a:pt x="3537" y="25758"/>
                  </a:lnTo>
                  <a:lnTo>
                    <a:pt x="3600" y="25716"/>
                  </a:lnTo>
                  <a:lnTo>
                    <a:pt x="3620" y="25716"/>
                  </a:lnTo>
                  <a:lnTo>
                    <a:pt x="3641" y="25821"/>
                  </a:lnTo>
                  <a:lnTo>
                    <a:pt x="3641" y="25904"/>
                  </a:lnTo>
                  <a:lnTo>
                    <a:pt x="3558" y="25946"/>
                  </a:lnTo>
                  <a:lnTo>
                    <a:pt x="3558" y="26113"/>
                  </a:lnTo>
                  <a:lnTo>
                    <a:pt x="3620" y="26176"/>
                  </a:lnTo>
                  <a:lnTo>
                    <a:pt x="3704" y="26176"/>
                  </a:lnTo>
                  <a:lnTo>
                    <a:pt x="3767" y="26134"/>
                  </a:lnTo>
                  <a:lnTo>
                    <a:pt x="3809" y="26051"/>
                  </a:lnTo>
                  <a:lnTo>
                    <a:pt x="3851" y="26072"/>
                  </a:lnTo>
                  <a:lnTo>
                    <a:pt x="3913" y="26030"/>
                  </a:lnTo>
                  <a:lnTo>
                    <a:pt x="3955" y="26030"/>
                  </a:lnTo>
                  <a:lnTo>
                    <a:pt x="4018" y="26072"/>
                  </a:lnTo>
                  <a:lnTo>
                    <a:pt x="3976" y="26113"/>
                  </a:lnTo>
                  <a:lnTo>
                    <a:pt x="3872" y="26176"/>
                  </a:lnTo>
                  <a:lnTo>
                    <a:pt x="3809" y="26176"/>
                  </a:lnTo>
                  <a:lnTo>
                    <a:pt x="3641" y="26239"/>
                  </a:lnTo>
                  <a:lnTo>
                    <a:pt x="3558" y="26281"/>
                  </a:lnTo>
                  <a:lnTo>
                    <a:pt x="3558" y="26365"/>
                  </a:lnTo>
                  <a:lnTo>
                    <a:pt x="3537" y="26448"/>
                  </a:lnTo>
                  <a:lnTo>
                    <a:pt x="3620" y="26490"/>
                  </a:lnTo>
                  <a:lnTo>
                    <a:pt x="3558" y="26553"/>
                  </a:lnTo>
                  <a:lnTo>
                    <a:pt x="3537" y="26657"/>
                  </a:lnTo>
                  <a:lnTo>
                    <a:pt x="3558" y="26783"/>
                  </a:lnTo>
                  <a:lnTo>
                    <a:pt x="3620" y="26783"/>
                  </a:lnTo>
                  <a:lnTo>
                    <a:pt x="3704" y="26637"/>
                  </a:lnTo>
                  <a:lnTo>
                    <a:pt x="3746" y="26595"/>
                  </a:lnTo>
                  <a:lnTo>
                    <a:pt x="3872" y="26469"/>
                  </a:lnTo>
                  <a:lnTo>
                    <a:pt x="3934" y="26469"/>
                  </a:lnTo>
                  <a:lnTo>
                    <a:pt x="3976" y="26385"/>
                  </a:lnTo>
                  <a:lnTo>
                    <a:pt x="4060" y="26365"/>
                  </a:lnTo>
                  <a:lnTo>
                    <a:pt x="4060" y="26385"/>
                  </a:lnTo>
                  <a:lnTo>
                    <a:pt x="4018" y="26448"/>
                  </a:lnTo>
                  <a:lnTo>
                    <a:pt x="4018" y="26490"/>
                  </a:lnTo>
                  <a:lnTo>
                    <a:pt x="4039" y="26532"/>
                  </a:lnTo>
                  <a:lnTo>
                    <a:pt x="4123" y="26490"/>
                  </a:lnTo>
                  <a:lnTo>
                    <a:pt x="4248" y="26365"/>
                  </a:lnTo>
                  <a:lnTo>
                    <a:pt x="4269" y="26323"/>
                  </a:lnTo>
                  <a:lnTo>
                    <a:pt x="4332" y="26385"/>
                  </a:lnTo>
                  <a:lnTo>
                    <a:pt x="4374" y="26385"/>
                  </a:lnTo>
                  <a:lnTo>
                    <a:pt x="4436" y="26344"/>
                  </a:lnTo>
                  <a:lnTo>
                    <a:pt x="4499" y="26344"/>
                  </a:lnTo>
                  <a:lnTo>
                    <a:pt x="4499" y="26365"/>
                  </a:lnTo>
                  <a:lnTo>
                    <a:pt x="4436" y="26448"/>
                  </a:lnTo>
                  <a:lnTo>
                    <a:pt x="4436" y="26637"/>
                  </a:lnTo>
                  <a:lnTo>
                    <a:pt x="4478" y="26657"/>
                  </a:lnTo>
                  <a:lnTo>
                    <a:pt x="4541" y="26741"/>
                  </a:lnTo>
                  <a:lnTo>
                    <a:pt x="4499" y="26762"/>
                  </a:lnTo>
                  <a:lnTo>
                    <a:pt x="4436" y="26741"/>
                  </a:lnTo>
                  <a:lnTo>
                    <a:pt x="4332" y="26637"/>
                  </a:lnTo>
                  <a:lnTo>
                    <a:pt x="4269" y="26553"/>
                  </a:lnTo>
                  <a:lnTo>
                    <a:pt x="4227" y="26553"/>
                  </a:lnTo>
                  <a:lnTo>
                    <a:pt x="4164" y="26574"/>
                  </a:lnTo>
                  <a:lnTo>
                    <a:pt x="4081" y="26574"/>
                  </a:lnTo>
                  <a:lnTo>
                    <a:pt x="4060" y="26637"/>
                  </a:lnTo>
                  <a:lnTo>
                    <a:pt x="4123" y="26678"/>
                  </a:lnTo>
                  <a:lnTo>
                    <a:pt x="4164" y="26678"/>
                  </a:lnTo>
                  <a:lnTo>
                    <a:pt x="4248" y="26783"/>
                  </a:lnTo>
                  <a:lnTo>
                    <a:pt x="4290" y="26804"/>
                  </a:lnTo>
                  <a:lnTo>
                    <a:pt x="4269" y="26867"/>
                  </a:lnTo>
                  <a:lnTo>
                    <a:pt x="4185" y="26783"/>
                  </a:lnTo>
                  <a:lnTo>
                    <a:pt x="4144" y="26762"/>
                  </a:lnTo>
                  <a:lnTo>
                    <a:pt x="4060" y="26762"/>
                  </a:lnTo>
                  <a:lnTo>
                    <a:pt x="3955" y="26888"/>
                  </a:lnTo>
                  <a:lnTo>
                    <a:pt x="3872" y="26950"/>
                  </a:lnTo>
                  <a:lnTo>
                    <a:pt x="3704" y="26950"/>
                  </a:lnTo>
                  <a:lnTo>
                    <a:pt x="3662" y="26971"/>
                  </a:lnTo>
                  <a:lnTo>
                    <a:pt x="3725" y="26992"/>
                  </a:lnTo>
                  <a:lnTo>
                    <a:pt x="3830" y="26992"/>
                  </a:lnTo>
                  <a:lnTo>
                    <a:pt x="3892" y="26971"/>
                  </a:lnTo>
                  <a:lnTo>
                    <a:pt x="4060" y="26950"/>
                  </a:lnTo>
                  <a:lnTo>
                    <a:pt x="4164" y="26888"/>
                  </a:lnTo>
                  <a:lnTo>
                    <a:pt x="4248" y="26909"/>
                  </a:lnTo>
                  <a:lnTo>
                    <a:pt x="4353" y="26909"/>
                  </a:lnTo>
                  <a:lnTo>
                    <a:pt x="4311" y="26950"/>
                  </a:lnTo>
                  <a:lnTo>
                    <a:pt x="4248" y="27013"/>
                  </a:lnTo>
                  <a:lnTo>
                    <a:pt x="4102" y="27013"/>
                  </a:lnTo>
                  <a:lnTo>
                    <a:pt x="3976" y="27055"/>
                  </a:lnTo>
                  <a:lnTo>
                    <a:pt x="3767" y="27055"/>
                  </a:lnTo>
                  <a:lnTo>
                    <a:pt x="3662" y="27076"/>
                  </a:lnTo>
                  <a:lnTo>
                    <a:pt x="3641" y="27160"/>
                  </a:lnTo>
                  <a:lnTo>
                    <a:pt x="3662" y="27222"/>
                  </a:lnTo>
                  <a:lnTo>
                    <a:pt x="3767" y="27264"/>
                  </a:lnTo>
                  <a:lnTo>
                    <a:pt x="3872" y="27222"/>
                  </a:lnTo>
                  <a:lnTo>
                    <a:pt x="3892" y="27264"/>
                  </a:lnTo>
                  <a:lnTo>
                    <a:pt x="3830" y="27306"/>
                  </a:lnTo>
                  <a:lnTo>
                    <a:pt x="3725" y="27306"/>
                  </a:lnTo>
                  <a:lnTo>
                    <a:pt x="3662" y="27390"/>
                  </a:lnTo>
                  <a:lnTo>
                    <a:pt x="3683" y="27473"/>
                  </a:lnTo>
                  <a:lnTo>
                    <a:pt x="3767" y="27515"/>
                  </a:lnTo>
                  <a:lnTo>
                    <a:pt x="3830" y="27473"/>
                  </a:lnTo>
                  <a:lnTo>
                    <a:pt x="3851" y="27411"/>
                  </a:lnTo>
                  <a:lnTo>
                    <a:pt x="3934" y="27411"/>
                  </a:lnTo>
                  <a:lnTo>
                    <a:pt x="3976" y="27432"/>
                  </a:lnTo>
                  <a:lnTo>
                    <a:pt x="4060" y="27432"/>
                  </a:lnTo>
                  <a:lnTo>
                    <a:pt x="4144" y="27411"/>
                  </a:lnTo>
                  <a:lnTo>
                    <a:pt x="4185" y="27390"/>
                  </a:lnTo>
                  <a:lnTo>
                    <a:pt x="4227" y="27411"/>
                  </a:lnTo>
                  <a:lnTo>
                    <a:pt x="4164" y="27473"/>
                  </a:lnTo>
                  <a:lnTo>
                    <a:pt x="4039" y="27515"/>
                  </a:lnTo>
                  <a:lnTo>
                    <a:pt x="3976" y="27494"/>
                  </a:lnTo>
                  <a:lnTo>
                    <a:pt x="3913" y="27473"/>
                  </a:lnTo>
                  <a:lnTo>
                    <a:pt x="3851" y="27473"/>
                  </a:lnTo>
                  <a:lnTo>
                    <a:pt x="3913" y="27515"/>
                  </a:lnTo>
                  <a:lnTo>
                    <a:pt x="3976" y="27515"/>
                  </a:lnTo>
                  <a:lnTo>
                    <a:pt x="4039" y="27536"/>
                  </a:lnTo>
                  <a:lnTo>
                    <a:pt x="3976" y="27578"/>
                  </a:lnTo>
                  <a:lnTo>
                    <a:pt x="3851" y="27578"/>
                  </a:lnTo>
                  <a:lnTo>
                    <a:pt x="3746" y="27641"/>
                  </a:lnTo>
                  <a:lnTo>
                    <a:pt x="3809" y="27704"/>
                  </a:lnTo>
                  <a:lnTo>
                    <a:pt x="3851" y="27704"/>
                  </a:lnTo>
                  <a:lnTo>
                    <a:pt x="3913" y="27683"/>
                  </a:lnTo>
                  <a:lnTo>
                    <a:pt x="4039" y="27683"/>
                  </a:lnTo>
                  <a:lnTo>
                    <a:pt x="4081" y="27704"/>
                  </a:lnTo>
                  <a:lnTo>
                    <a:pt x="4144" y="27704"/>
                  </a:lnTo>
                  <a:lnTo>
                    <a:pt x="4081" y="27746"/>
                  </a:lnTo>
                  <a:lnTo>
                    <a:pt x="3955" y="27787"/>
                  </a:lnTo>
                  <a:lnTo>
                    <a:pt x="3872" y="27746"/>
                  </a:lnTo>
                  <a:lnTo>
                    <a:pt x="3809" y="27787"/>
                  </a:lnTo>
                  <a:lnTo>
                    <a:pt x="3767" y="27829"/>
                  </a:lnTo>
                  <a:lnTo>
                    <a:pt x="3809" y="27892"/>
                  </a:lnTo>
                  <a:lnTo>
                    <a:pt x="3851" y="27892"/>
                  </a:lnTo>
                  <a:lnTo>
                    <a:pt x="3934" y="27829"/>
                  </a:lnTo>
                  <a:lnTo>
                    <a:pt x="4018" y="27829"/>
                  </a:lnTo>
                  <a:lnTo>
                    <a:pt x="4081" y="27892"/>
                  </a:lnTo>
                  <a:lnTo>
                    <a:pt x="4081" y="27934"/>
                  </a:lnTo>
                  <a:lnTo>
                    <a:pt x="3934" y="27997"/>
                  </a:lnTo>
                  <a:lnTo>
                    <a:pt x="3892" y="28038"/>
                  </a:lnTo>
                  <a:lnTo>
                    <a:pt x="3955" y="28143"/>
                  </a:lnTo>
                  <a:lnTo>
                    <a:pt x="3997" y="28143"/>
                  </a:lnTo>
                  <a:lnTo>
                    <a:pt x="4039" y="28122"/>
                  </a:lnTo>
                  <a:lnTo>
                    <a:pt x="4102" y="28122"/>
                  </a:lnTo>
                  <a:lnTo>
                    <a:pt x="4164" y="28206"/>
                  </a:lnTo>
                  <a:lnTo>
                    <a:pt x="4185" y="28143"/>
                  </a:lnTo>
                  <a:lnTo>
                    <a:pt x="4227" y="28122"/>
                  </a:lnTo>
                  <a:lnTo>
                    <a:pt x="4269" y="28143"/>
                  </a:lnTo>
                  <a:lnTo>
                    <a:pt x="4248" y="28206"/>
                  </a:lnTo>
                  <a:lnTo>
                    <a:pt x="4206" y="28248"/>
                  </a:lnTo>
                  <a:lnTo>
                    <a:pt x="4269" y="28310"/>
                  </a:lnTo>
                  <a:lnTo>
                    <a:pt x="4164" y="28436"/>
                  </a:lnTo>
                  <a:lnTo>
                    <a:pt x="4144" y="28436"/>
                  </a:lnTo>
                  <a:lnTo>
                    <a:pt x="4081" y="28520"/>
                  </a:lnTo>
                  <a:lnTo>
                    <a:pt x="4039" y="28582"/>
                  </a:lnTo>
                  <a:lnTo>
                    <a:pt x="4039" y="28624"/>
                  </a:lnTo>
                  <a:lnTo>
                    <a:pt x="4102" y="28624"/>
                  </a:lnTo>
                  <a:lnTo>
                    <a:pt x="4164" y="28582"/>
                  </a:lnTo>
                  <a:lnTo>
                    <a:pt x="4248" y="28624"/>
                  </a:lnTo>
                  <a:lnTo>
                    <a:pt x="4269" y="28687"/>
                  </a:lnTo>
                  <a:lnTo>
                    <a:pt x="4227" y="28750"/>
                  </a:lnTo>
                  <a:lnTo>
                    <a:pt x="4227" y="28771"/>
                  </a:lnTo>
                  <a:lnTo>
                    <a:pt x="4290" y="28771"/>
                  </a:lnTo>
                  <a:lnTo>
                    <a:pt x="4353" y="28792"/>
                  </a:lnTo>
                  <a:lnTo>
                    <a:pt x="4353" y="28854"/>
                  </a:lnTo>
                  <a:lnTo>
                    <a:pt x="4290" y="28896"/>
                  </a:lnTo>
                  <a:lnTo>
                    <a:pt x="4353" y="28959"/>
                  </a:lnTo>
                  <a:lnTo>
                    <a:pt x="4332" y="29043"/>
                  </a:lnTo>
                  <a:lnTo>
                    <a:pt x="4248" y="29085"/>
                  </a:lnTo>
                  <a:lnTo>
                    <a:pt x="4206" y="29147"/>
                  </a:lnTo>
                  <a:lnTo>
                    <a:pt x="4311" y="29147"/>
                  </a:lnTo>
                  <a:lnTo>
                    <a:pt x="4374" y="29085"/>
                  </a:lnTo>
                  <a:lnTo>
                    <a:pt x="4395" y="29043"/>
                  </a:lnTo>
                  <a:lnTo>
                    <a:pt x="4520" y="28980"/>
                  </a:lnTo>
                  <a:lnTo>
                    <a:pt x="4562" y="29001"/>
                  </a:lnTo>
                  <a:lnTo>
                    <a:pt x="4499" y="29064"/>
                  </a:lnTo>
                  <a:lnTo>
                    <a:pt x="4541" y="29106"/>
                  </a:lnTo>
                  <a:lnTo>
                    <a:pt x="4457" y="29168"/>
                  </a:lnTo>
                  <a:lnTo>
                    <a:pt x="4395" y="29210"/>
                  </a:lnTo>
                  <a:lnTo>
                    <a:pt x="4332" y="29210"/>
                  </a:lnTo>
                  <a:lnTo>
                    <a:pt x="4248" y="29252"/>
                  </a:lnTo>
                  <a:lnTo>
                    <a:pt x="4185" y="29294"/>
                  </a:lnTo>
                  <a:lnTo>
                    <a:pt x="4248" y="29357"/>
                  </a:lnTo>
                  <a:lnTo>
                    <a:pt x="4332" y="29294"/>
                  </a:lnTo>
                  <a:lnTo>
                    <a:pt x="4374" y="29252"/>
                  </a:lnTo>
                  <a:lnTo>
                    <a:pt x="4478" y="29273"/>
                  </a:lnTo>
                  <a:lnTo>
                    <a:pt x="4499" y="29294"/>
                  </a:lnTo>
                  <a:lnTo>
                    <a:pt x="4457" y="29357"/>
                  </a:lnTo>
                  <a:lnTo>
                    <a:pt x="4332" y="29398"/>
                  </a:lnTo>
                  <a:lnTo>
                    <a:pt x="4332" y="29503"/>
                  </a:lnTo>
                  <a:lnTo>
                    <a:pt x="4269" y="29566"/>
                  </a:lnTo>
                  <a:lnTo>
                    <a:pt x="4185" y="29587"/>
                  </a:lnTo>
                  <a:lnTo>
                    <a:pt x="4164" y="29629"/>
                  </a:lnTo>
                  <a:lnTo>
                    <a:pt x="4248" y="29691"/>
                  </a:lnTo>
                  <a:lnTo>
                    <a:pt x="4374" y="29670"/>
                  </a:lnTo>
                  <a:lnTo>
                    <a:pt x="4457" y="29608"/>
                  </a:lnTo>
                  <a:lnTo>
                    <a:pt x="4562" y="29587"/>
                  </a:lnTo>
                  <a:lnTo>
                    <a:pt x="4625" y="29587"/>
                  </a:lnTo>
                  <a:lnTo>
                    <a:pt x="4667" y="29629"/>
                  </a:lnTo>
                  <a:lnTo>
                    <a:pt x="4625" y="29691"/>
                  </a:lnTo>
                  <a:lnTo>
                    <a:pt x="4562" y="29691"/>
                  </a:lnTo>
                  <a:lnTo>
                    <a:pt x="4416" y="29733"/>
                  </a:lnTo>
                  <a:lnTo>
                    <a:pt x="4416" y="29775"/>
                  </a:lnTo>
                  <a:lnTo>
                    <a:pt x="4499" y="29775"/>
                  </a:lnTo>
                  <a:lnTo>
                    <a:pt x="4541" y="29817"/>
                  </a:lnTo>
                  <a:lnTo>
                    <a:pt x="4457" y="29901"/>
                  </a:lnTo>
                  <a:lnTo>
                    <a:pt x="4478" y="29984"/>
                  </a:lnTo>
                  <a:lnTo>
                    <a:pt x="4562" y="30005"/>
                  </a:lnTo>
                  <a:lnTo>
                    <a:pt x="4688" y="29901"/>
                  </a:lnTo>
                  <a:lnTo>
                    <a:pt x="4750" y="29880"/>
                  </a:lnTo>
                  <a:lnTo>
                    <a:pt x="4771" y="29901"/>
                  </a:lnTo>
                  <a:lnTo>
                    <a:pt x="4855" y="29984"/>
                  </a:lnTo>
                  <a:lnTo>
                    <a:pt x="4855" y="30089"/>
                  </a:lnTo>
                  <a:lnTo>
                    <a:pt x="4918" y="30131"/>
                  </a:lnTo>
                  <a:lnTo>
                    <a:pt x="4918" y="30152"/>
                  </a:lnTo>
                  <a:lnTo>
                    <a:pt x="4876" y="30214"/>
                  </a:lnTo>
                  <a:lnTo>
                    <a:pt x="4792" y="30214"/>
                  </a:lnTo>
                  <a:lnTo>
                    <a:pt x="4750" y="30298"/>
                  </a:lnTo>
                  <a:lnTo>
                    <a:pt x="4771" y="30340"/>
                  </a:lnTo>
                  <a:lnTo>
                    <a:pt x="4918" y="30361"/>
                  </a:lnTo>
                  <a:lnTo>
                    <a:pt x="4981" y="30340"/>
                  </a:lnTo>
                  <a:lnTo>
                    <a:pt x="4960" y="30298"/>
                  </a:lnTo>
                  <a:lnTo>
                    <a:pt x="4960" y="30235"/>
                  </a:lnTo>
                  <a:lnTo>
                    <a:pt x="5001" y="30214"/>
                  </a:lnTo>
                  <a:lnTo>
                    <a:pt x="5064" y="30235"/>
                  </a:lnTo>
                  <a:lnTo>
                    <a:pt x="5127" y="30194"/>
                  </a:lnTo>
                  <a:lnTo>
                    <a:pt x="5211" y="30152"/>
                  </a:lnTo>
                  <a:lnTo>
                    <a:pt x="5273" y="30214"/>
                  </a:lnTo>
                  <a:lnTo>
                    <a:pt x="5315" y="30235"/>
                  </a:lnTo>
                  <a:lnTo>
                    <a:pt x="5378" y="30214"/>
                  </a:lnTo>
                  <a:lnTo>
                    <a:pt x="5420" y="30131"/>
                  </a:lnTo>
                  <a:lnTo>
                    <a:pt x="5483" y="30089"/>
                  </a:lnTo>
                  <a:lnTo>
                    <a:pt x="5545" y="30089"/>
                  </a:lnTo>
                  <a:lnTo>
                    <a:pt x="5629" y="30047"/>
                  </a:lnTo>
                  <a:lnTo>
                    <a:pt x="5713" y="30089"/>
                  </a:lnTo>
                  <a:lnTo>
                    <a:pt x="5755" y="30026"/>
                  </a:lnTo>
                  <a:lnTo>
                    <a:pt x="5755" y="29984"/>
                  </a:lnTo>
                  <a:lnTo>
                    <a:pt x="5713" y="29922"/>
                  </a:lnTo>
                  <a:lnTo>
                    <a:pt x="5713" y="29880"/>
                  </a:lnTo>
                  <a:lnTo>
                    <a:pt x="5755" y="29838"/>
                  </a:lnTo>
                  <a:lnTo>
                    <a:pt x="5817" y="29880"/>
                  </a:lnTo>
                  <a:lnTo>
                    <a:pt x="5859" y="29942"/>
                  </a:lnTo>
                  <a:lnTo>
                    <a:pt x="5859" y="30047"/>
                  </a:lnTo>
                  <a:lnTo>
                    <a:pt x="5797" y="30131"/>
                  </a:lnTo>
                  <a:lnTo>
                    <a:pt x="5734" y="30152"/>
                  </a:lnTo>
                  <a:lnTo>
                    <a:pt x="5692" y="30214"/>
                  </a:lnTo>
                  <a:lnTo>
                    <a:pt x="5713" y="30235"/>
                  </a:lnTo>
                  <a:lnTo>
                    <a:pt x="5838" y="30194"/>
                  </a:lnTo>
                  <a:lnTo>
                    <a:pt x="6027" y="30089"/>
                  </a:lnTo>
                  <a:lnTo>
                    <a:pt x="6131" y="29922"/>
                  </a:lnTo>
                  <a:lnTo>
                    <a:pt x="6173" y="29922"/>
                  </a:lnTo>
                  <a:lnTo>
                    <a:pt x="6215" y="30005"/>
                  </a:lnTo>
                  <a:lnTo>
                    <a:pt x="6215" y="30110"/>
                  </a:lnTo>
                  <a:lnTo>
                    <a:pt x="6131" y="30131"/>
                  </a:lnTo>
                  <a:lnTo>
                    <a:pt x="6048" y="30194"/>
                  </a:lnTo>
                  <a:lnTo>
                    <a:pt x="5964" y="30256"/>
                  </a:lnTo>
                  <a:lnTo>
                    <a:pt x="5859" y="30298"/>
                  </a:lnTo>
                  <a:lnTo>
                    <a:pt x="5838" y="30319"/>
                  </a:lnTo>
                  <a:lnTo>
                    <a:pt x="5859" y="30340"/>
                  </a:lnTo>
                  <a:lnTo>
                    <a:pt x="5964" y="30319"/>
                  </a:lnTo>
                  <a:lnTo>
                    <a:pt x="6110" y="30235"/>
                  </a:lnTo>
                  <a:lnTo>
                    <a:pt x="6131" y="30256"/>
                  </a:lnTo>
                  <a:lnTo>
                    <a:pt x="6027" y="30361"/>
                  </a:lnTo>
                  <a:lnTo>
                    <a:pt x="5943" y="30403"/>
                  </a:lnTo>
                  <a:lnTo>
                    <a:pt x="5943" y="30507"/>
                  </a:lnTo>
                  <a:lnTo>
                    <a:pt x="5797" y="30612"/>
                  </a:lnTo>
                  <a:lnTo>
                    <a:pt x="5755" y="30654"/>
                  </a:lnTo>
                  <a:lnTo>
                    <a:pt x="5817" y="30654"/>
                  </a:lnTo>
                  <a:lnTo>
                    <a:pt x="5859" y="30612"/>
                  </a:lnTo>
                  <a:lnTo>
                    <a:pt x="5901" y="30612"/>
                  </a:lnTo>
                  <a:lnTo>
                    <a:pt x="5901" y="30633"/>
                  </a:lnTo>
                  <a:lnTo>
                    <a:pt x="5922" y="30738"/>
                  </a:lnTo>
                  <a:lnTo>
                    <a:pt x="5943" y="30654"/>
                  </a:lnTo>
                  <a:lnTo>
                    <a:pt x="6027" y="30612"/>
                  </a:lnTo>
                  <a:lnTo>
                    <a:pt x="6048" y="30549"/>
                  </a:lnTo>
                  <a:lnTo>
                    <a:pt x="6110" y="30549"/>
                  </a:lnTo>
                  <a:lnTo>
                    <a:pt x="6131" y="30570"/>
                  </a:lnTo>
                  <a:lnTo>
                    <a:pt x="6048" y="30654"/>
                  </a:lnTo>
                  <a:lnTo>
                    <a:pt x="6027" y="30738"/>
                  </a:lnTo>
                  <a:lnTo>
                    <a:pt x="6048" y="30759"/>
                  </a:lnTo>
                  <a:lnTo>
                    <a:pt x="6131" y="30738"/>
                  </a:lnTo>
                  <a:lnTo>
                    <a:pt x="6173" y="30654"/>
                  </a:lnTo>
                  <a:lnTo>
                    <a:pt x="6236" y="30654"/>
                  </a:lnTo>
                  <a:lnTo>
                    <a:pt x="6320" y="30633"/>
                  </a:lnTo>
                  <a:lnTo>
                    <a:pt x="6236" y="30738"/>
                  </a:lnTo>
                  <a:lnTo>
                    <a:pt x="6215" y="30842"/>
                  </a:lnTo>
                  <a:lnTo>
                    <a:pt x="6110" y="30926"/>
                  </a:lnTo>
                  <a:lnTo>
                    <a:pt x="6110" y="30989"/>
                  </a:lnTo>
                  <a:lnTo>
                    <a:pt x="6131" y="31031"/>
                  </a:lnTo>
                  <a:lnTo>
                    <a:pt x="6236" y="30947"/>
                  </a:lnTo>
                  <a:lnTo>
                    <a:pt x="6320" y="30738"/>
                  </a:lnTo>
                  <a:lnTo>
                    <a:pt x="6382" y="30675"/>
                  </a:lnTo>
                  <a:lnTo>
                    <a:pt x="6424" y="30717"/>
                  </a:lnTo>
                  <a:lnTo>
                    <a:pt x="6320" y="30863"/>
                  </a:lnTo>
                  <a:lnTo>
                    <a:pt x="6320" y="30947"/>
                  </a:lnTo>
                  <a:lnTo>
                    <a:pt x="6257" y="31031"/>
                  </a:lnTo>
                  <a:lnTo>
                    <a:pt x="6236" y="31135"/>
                  </a:lnTo>
                  <a:lnTo>
                    <a:pt x="6278" y="31156"/>
                  </a:lnTo>
                  <a:lnTo>
                    <a:pt x="6341" y="31093"/>
                  </a:lnTo>
                  <a:lnTo>
                    <a:pt x="6341" y="31031"/>
                  </a:lnTo>
                  <a:lnTo>
                    <a:pt x="6361" y="30968"/>
                  </a:lnTo>
                  <a:lnTo>
                    <a:pt x="6424" y="30968"/>
                  </a:lnTo>
                  <a:lnTo>
                    <a:pt x="6487" y="30989"/>
                  </a:lnTo>
                  <a:lnTo>
                    <a:pt x="6487" y="30842"/>
                  </a:lnTo>
                  <a:lnTo>
                    <a:pt x="6550" y="30842"/>
                  </a:lnTo>
                  <a:lnTo>
                    <a:pt x="6592" y="30759"/>
                  </a:lnTo>
                  <a:lnTo>
                    <a:pt x="6654" y="30759"/>
                  </a:lnTo>
                  <a:lnTo>
                    <a:pt x="6654" y="30821"/>
                  </a:lnTo>
                  <a:lnTo>
                    <a:pt x="6633" y="30821"/>
                  </a:lnTo>
                  <a:lnTo>
                    <a:pt x="6592" y="30926"/>
                  </a:lnTo>
                  <a:lnTo>
                    <a:pt x="6592" y="30968"/>
                  </a:lnTo>
                  <a:lnTo>
                    <a:pt x="6759" y="30968"/>
                  </a:lnTo>
                  <a:lnTo>
                    <a:pt x="7010" y="31093"/>
                  </a:lnTo>
                  <a:lnTo>
                    <a:pt x="7052" y="31093"/>
                  </a:lnTo>
                  <a:lnTo>
                    <a:pt x="7052" y="31051"/>
                  </a:lnTo>
                  <a:lnTo>
                    <a:pt x="7094" y="30989"/>
                  </a:lnTo>
                  <a:lnTo>
                    <a:pt x="7157" y="30968"/>
                  </a:lnTo>
                  <a:lnTo>
                    <a:pt x="7157" y="30926"/>
                  </a:lnTo>
                  <a:lnTo>
                    <a:pt x="7094" y="30884"/>
                  </a:lnTo>
                  <a:lnTo>
                    <a:pt x="7073" y="30863"/>
                  </a:lnTo>
                  <a:lnTo>
                    <a:pt x="6989" y="30863"/>
                  </a:lnTo>
                  <a:lnTo>
                    <a:pt x="6968" y="30884"/>
                  </a:lnTo>
                  <a:lnTo>
                    <a:pt x="6968" y="30842"/>
                  </a:lnTo>
                  <a:lnTo>
                    <a:pt x="6989" y="30821"/>
                  </a:lnTo>
                  <a:lnTo>
                    <a:pt x="6989" y="30759"/>
                  </a:lnTo>
                  <a:lnTo>
                    <a:pt x="6885" y="30717"/>
                  </a:lnTo>
                  <a:lnTo>
                    <a:pt x="6696" y="30633"/>
                  </a:lnTo>
                  <a:lnTo>
                    <a:pt x="6675" y="30570"/>
                  </a:lnTo>
                  <a:lnTo>
                    <a:pt x="6696" y="30549"/>
                  </a:lnTo>
                  <a:lnTo>
                    <a:pt x="6780" y="30570"/>
                  </a:lnTo>
                  <a:lnTo>
                    <a:pt x="6843" y="30549"/>
                  </a:lnTo>
                  <a:lnTo>
                    <a:pt x="6864" y="30549"/>
                  </a:lnTo>
                  <a:lnTo>
                    <a:pt x="6885" y="30612"/>
                  </a:lnTo>
                  <a:lnTo>
                    <a:pt x="6968" y="30675"/>
                  </a:lnTo>
                  <a:lnTo>
                    <a:pt x="7052" y="30738"/>
                  </a:lnTo>
                  <a:lnTo>
                    <a:pt x="7115" y="30738"/>
                  </a:lnTo>
                  <a:lnTo>
                    <a:pt x="7219" y="30675"/>
                  </a:lnTo>
                  <a:lnTo>
                    <a:pt x="7303" y="30633"/>
                  </a:lnTo>
                  <a:lnTo>
                    <a:pt x="7324" y="30570"/>
                  </a:lnTo>
                  <a:lnTo>
                    <a:pt x="7261" y="30549"/>
                  </a:lnTo>
                  <a:lnTo>
                    <a:pt x="7157" y="30549"/>
                  </a:lnTo>
                  <a:lnTo>
                    <a:pt x="7094" y="30528"/>
                  </a:lnTo>
                  <a:lnTo>
                    <a:pt x="7094" y="30466"/>
                  </a:lnTo>
                  <a:lnTo>
                    <a:pt x="7219" y="30466"/>
                  </a:lnTo>
                  <a:lnTo>
                    <a:pt x="7303" y="30424"/>
                  </a:lnTo>
                  <a:lnTo>
                    <a:pt x="7303" y="30403"/>
                  </a:lnTo>
                  <a:lnTo>
                    <a:pt x="7219" y="30340"/>
                  </a:lnTo>
                  <a:lnTo>
                    <a:pt x="7157" y="30319"/>
                  </a:lnTo>
                  <a:lnTo>
                    <a:pt x="7157" y="30298"/>
                  </a:lnTo>
                  <a:lnTo>
                    <a:pt x="7198" y="30298"/>
                  </a:lnTo>
                  <a:lnTo>
                    <a:pt x="7219" y="30256"/>
                  </a:lnTo>
                  <a:lnTo>
                    <a:pt x="7198" y="30235"/>
                  </a:lnTo>
                  <a:lnTo>
                    <a:pt x="7094" y="30214"/>
                  </a:lnTo>
                  <a:lnTo>
                    <a:pt x="7052" y="30152"/>
                  </a:lnTo>
                  <a:lnTo>
                    <a:pt x="7073" y="30131"/>
                  </a:lnTo>
                  <a:lnTo>
                    <a:pt x="7157" y="30152"/>
                  </a:lnTo>
                  <a:lnTo>
                    <a:pt x="7261" y="30194"/>
                  </a:lnTo>
                  <a:lnTo>
                    <a:pt x="7408" y="30152"/>
                  </a:lnTo>
                  <a:lnTo>
                    <a:pt x="7491" y="30110"/>
                  </a:lnTo>
                  <a:lnTo>
                    <a:pt x="7512" y="30047"/>
                  </a:lnTo>
                  <a:lnTo>
                    <a:pt x="7491" y="30005"/>
                  </a:lnTo>
                  <a:lnTo>
                    <a:pt x="7387" y="29984"/>
                  </a:lnTo>
                  <a:lnTo>
                    <a:pt x="7198" y="29942"/>
                  </a:lnTo>
                  <a:lnTo>
                    <a:pt x="7115" y="29901"/>
                  </a:lnTo>
                  <a:lnTo>
                    <a:pt x="7115" y="29880"/>
                  </a:lnTo>
                  <a:lnTo>
                    <a:pt x="7177" y="29880"/>
                  </a:lnTo>
                  <a:lnTo>
                    <a:pt x="7261" y="29901"/>
                  </a:lnTo>
                  <a:lnTo>
                    <a:pt x="7408" y="29901"/>
                  </a:lnTo>
                  <a:lnTo>
                    <a:pt x="7491" y="29838"/>
                  </a:lnTo>
                  <a:lnTo>
                    <a:pt x="7491" y="29775"/>
                  </a:lnTo>
                  <a:lnTo>
                    <a:pt x="7408" y="29712"/>
                  </a:lnTo>
                  <a:lnTo>
                    <a:pt x="7324" y="29691"/>
                  </a:lnTo>
                  <a:lnTo>
                    <a:pt x="7303" y="29629"/>
                  </a:lnTo>
                  <a:lnTo>
                    <a:pt x="7366" y="29629"/>
                  </a:lnTo>
                  <a:lnTo>
                    <a:pt x="7408" y="29670"/>
                  </a:lnTo>
                  <a:lnTo>
                    <a:pt x="7429" y="29712"/>
                  </a:lnTo>
                  <a:lnTo>
                    <a:pt x="7512" y="29691"/>
                  </a:lnTo>
                  <a:lnTo>
                    <a:pt x="7575" y="29629"/>
                  </a:lnTo>
                  <a:lnTo>
                    <a:pt x="7575" y="29587"/>
                  </a:lnTo>
                  <a:lnTo>
                    <a:pt x="7512" y="29566"/>
                  </a:lnTo>
                  <a:lnTo>
                    <a:pt x="7429" y="29503"/>
                  </a:lnTo>
                  <a:lnTo>
                    <a:pt x="7429" y="29482"/>
                  </a:lnTo>
                  <a:lnTo>
                    <a:pt x="7491" y="29461"/>
                  </a:lnTo>
                  <a:lnTo>
                    <a:pt x="7512" y="29503"/>
                  </a:lnTo>
                  <a:lnTo>
                    <a:pt x="7575" y="29524"/>
                  </a:lnTo>
                  <a:lnTo>
                    <a:pt x="7638" y="29461"/>
                  </a:lnTo>
                  <a:lnTo>
                    <a:pt x="7638" y="29419"/>
                  </a:lnTo>
                  <a:lnTo>
                    <a:pt x="7533" y="29398"/>
                  </a:lnTo>
                  <a:lnTo>
                    <a:pt x="7470" y="29357"/>
                  </a:lnTo>
                  <a:lnTo>
                    <a:pt x="7429" y="29294"/>
                  </a:lnTo>
                  <a:lnTo>
                    <a:pt x="7491" y="29294"/>
                  </a:lnTo>
                  <a:lnTo>
                    <a:pt x="7575" y="29357"/>
                  </a:lnTo>
                  <a:lnTo>
                    <a:pt x="7638" y="29357"/>
                  </a:lnTo>
                  <a:lnTo>
                    <a:pt x="7701" y="29398"/>
                  </a:lnTo>
                  <a:lnTo>
                    <a:pt x="7742" y="29398"/>
                  </a:lnTo>
                  <a:lnTo>
                    <a:pt x="7784" y="29315"/>
                  </a:lnTo>
                  <a:lnTo>
                    <a:pt x="7784" y="29273"/>
                  </a:lnTo>
                  <a:lnTo>
                    <a:pt x="7826" y="29210"/>
                  </a:lnTo>
                  <a:lnTo>
                    <a:pt x="7826" y="29168"/>
                  </a:lnTo>
                  <a:lnTo>
                    <a:pt x="7805" y="29106"/>
                  </a:lnTo>
                  <a:lnTo>
                    <a:pt x="7826" y="29001"/>
                  </a:lnTo>
                  <a:lnTo>
                    <a:pt x="7826" y="28959"/>
                  </a:lnTo>
                  <a:lnTo>
                    <a:pt x="7742" y="28854"/>
                  </a:lnTo>
                  <a:lnTo>
                    <a:pt x="7617" y="28750"/>
                  </a:lnTo>
                  <a:lnTo>
                    <a:pt x="7512" y="28729"/>
                  </a:lnTo>
                  <a:lnTo>
                    <a:pt x="7470" y="28666"/>
                  </a:lnTo>
                  <a:lnTo>
                    <a:pt x="7470" y="28645"/>
                  </a:lnTo>
                  <a:lnTo>
                    <a:pt x="7533" y="28645"/>
                  </a:lnTo>
                  <a:lnTo>
                    <a:pt x="7596" y="28666"/>
                  </a:lnTo>
                  <a:lnTo>
                    <a:pt x="7722" y="28771"/>
                  </a:lnTo>
                  <a:lnTo>
                    <a:pt x="7805" y="28854"/>
                  </a:lnTo>
                  <a:lnTo>
                    <a:pt x="7889" y="28854"/>
                  </a:lnTo>
                  <a:lnTo>
                    <a:pt x="7910" y="28834"/>
                  </a:lnTo>
                  <a:lnTo>
                    <a:pt x="7889" y="28687"/>
                  </a:lnTo>
                  <a:lnTo>
                    <a:pt x="7826" y="28582"/>
                  </a:lnTo>
                  <a:lnTo>
                    <a:pt x="7701" y="28562"/>
                  </a:lnTo>
                  <a:lnTo>
                    <a:pt x="7533" y="28478"/>
                  </a:lnTo>
                  <a:lnTo>
                    <a:pt x="7491" y="28457"/>
                  </a:lnTo>
                  <a:lnTo>
                    <a:pt x="7491" y="28415"/>
                  </a:lnTo>
                  <a:lnTo>
                    <a:pt x="7533" y="28415"/>
                  </a:lnTo>
                  <a:lnTo>
                    <a:pt x="7596" y="28436"/>
                  </a:lnTo>
                  <a:lnTo>
                    <a:pt x="7638" y="28478"/>
                  </a:lnTo>
                  <a:lnTo>
                    <a:pt x="7742" y="28478"/>
                  </a:lnTo>
                  <a:lnTo>
                    <a:pt x="7805" y="28415"/>
                  </a:lnTo>
                  <a:lnTo>
                    <a:pt x="7826" y="28352"/>
                  </a:lnTo>
                  <a:lnTo>
                    <a:pt x="7826" y="28269"/>
                  </a:lnTo>
                  <a:lnTo>
                    <a:pt x="7847" y="28269"/>
                  </a:lnTo>
                  <a:lnTo>
                    <a:pt x="7910" y="28310"/>
                  </a:lnTo>
                  <a:lnTo>
                    <a:pt x="7910" y="28331"/>
                  </a:lnTo>
                  <a:lnTo>
                    <a:pt x="7910" y="28373"/>
                  </a:lnTo>
                  <a:lnTo>
                    <a:pt x="8014" y="28436"/>
                  </a:lnTo>
                  <a:lnTo>
                    <a:pt x="8056" y="28436"/>
                  </a:lnTo>
                  <a:lnTo>
                    <a:pt x="8119" y="28478"/>
                  </a:lnTo>
                  <a:lnTo>
                    <a:pt x="8161" y="28478"/>
                  </a:lnTo>
                  <a:lnTo>
                    <a:pt x="8203" y="28436"/>
                  </a:lnTo>
                  <a:lnTo>
                    <a:pt x="8245" y="28373"/>
                  </a:lnTo>
                  <a:lnTo>
                    <a:pt x="8266" y="28352"/>
                  </a:lnTo>
                  <a:lnTo>
                    <a:pt x="8245" y="28310"/>
                  </a:lnTo>
                  <a:lnTo>
                    <a:pt x="8161" y="28269"/>
                  </a:lnTo>
                  <a:lnTo>
                    <a:pt x="8014" y="28269"/>
                  </a:lnTo>
                  <a:lnTo>
                    <a:pt x="7994" y="28248"/>
                  </a:lnTo>
                  <a:lnTo>
                    <a:pt x="7994" y="28227"/>
                  </a:lnTo>
                  <a:lnTo>
                    <a:pt x="7994" y="28164"/>
                  </a:lnTo>
                  <a:lnTo>
                    <a:pt x="7931" y="28122"/>
                  </a:lnTo>
                  <a:lnTo>
                    <a:pt x="7931" y="28059"/>
                  </a:lnTo>
                  <a:lnTo>
                    <a:pt x="7994" y="28018"/>
                  </a:lnTo>
                  <a:lnTo>
                    <a:pt x="8014" y="28018"/>
                  </a:lnTo>
                  <a:lnTo>
                    <a:pt x="8056" y="28059"/>
                  </a:lnTo>
                  <a:lnTo>
                    <a:pt x="8056" y="28143"/>
                  </a:lnTo>
                  <a:lnTo>
                    <a:pt x="8119" y="28206"/>
                  </a:lnTo>
                  <a:lnTo>
                    <a:pt x="8245" y="28206"/>
                  </a:lnTo>
                  <a:lnTo>
                    <a:pt x="8307" y="28164"/>
                  </a:lnTo>
                  <a:lnTo>
                    <a:pt x="8307" y="28122"/>
                  </a:lnTo>
                  <a:lnTo>
                    <a:pt x="8266" y="28059"/>
                  </a:lnTo>
                  <a:lnTo>
                    <a:pt x="8161" y="28018"/>
                  </a:lnTo>
                  <a:lnTo>
                    <a:pt x="8098" y="27955"/>
                  </a:lnTo>
                  <a:lnTo>
                    <a:pt x="8056" y="27850"/>
                  </a:lnTo>
                  <a:lnTo>
                    <a:pt x="8098" y="27850"/>
                  </a:lnTo>
                  <a:lnTo>
                    <a:pt x="8140" y="27913"/>
                  </a:lnTo>
                  <a:lnTo>
                    <a:pt x="8245" y="27955"/>
                  </a:lnTo>
                  <a:lnTo>
                    <a:pt x="8307" y="27997"/>
                  </a:lnTo>
                  <a:lnTo>
                    <a:pt x="8370" y="28059"/>
                  </a:lnTo>
                  <a:lnTo>
                    <a:pt x="8412" y="28038"/>
                  </a:lnTo>
                  <a:lnTo>
                    <a:pt x="8412" y="27997"/>
                  </a:lnTo>
                  <a:lnTo>
                    <a:pt x="8370" y="27934"/>
                  </a:lnTo>
                  <a:lnTo>
                    <a:pt x="8266" y="27892"/>
                  </a:lnTo>
                  <a:lnTo>
                    <a:pt x="8203" y="27829"/>
                  </a:lnTo>
                  <a:lnTo>
                    <a:pt x="8203" y="27746"/>
                  </a:lnTo>
                  <a:lnTo>
                    <a:pt x="8245" y="27704"/>
                  </a:lnTo>
                  <a:lnTo>
                    <a:pt x="8266" y="27641"/>
                  </a:lnTo>
                  <a:lnTo>
                    <a:pt x="8328" y="27641"/>
                  </a:lnTo>
                  <a:lnTo>
                    <a:pt x="8349" y="27704"/>
                  </a:lnTo>
                  <a:lnTo>
                    <a:pt x="8475" y="27808"/>
                  </a:lnTo>
                  <a:lnTo>
                    <a:pt x="8558" y="27808"/>
                  </a:lnTo>
                  <a:lnTo>
                    <a:pt x="8621" y="27787"/>
                  </a:lnTo>
                  <a:lnTo>
                    <a:pt x="8684" y="27787"/>
                  </a:lnTo>
                  <a:lnTo>
                    <a:pt x="8768" y="27746"/>
                  </a:lnTo>
                  <a:lnTo>
                    <a:pt x="8789" y="27683"/>
                  </a:lnTo>
                  <a:lnTo>
                    <a:pt x="8768" y="27641"/>
                  </a:lnTo>
                  <a:lnTo>
                    <a:pt x="8684" y="27620"/>
                  </a:lnTo>
                  <a:lnTo>
                    <a:pt x="8621" y="27578"/>
                  </a:lnTo>
                  <a:lnTo>
                    <a:pt x="8517" y="27515"/>
                  </a:lnTo>
                  <a:lnTo>
                    <a:pt x="8454" y="27515"/>
                  </a:lnTo>
                  <a:lnTo>
                    <a:pt x="8370" y="27494"/>
                  </a:lnTo>
                  <a:lnTo>
                    <a:pt x="8412" y="27432"/>
                  </a:lnTo>
                  <a:lnTo>
                    <a:pt x="8433" y="27411"/>
                  </a:lnTo>
                  <a:lnTo>
                    <a:pt x="8517" y="27411"/>
                  </a:lnTo>
                  <a:lnTo>
                    <a:pt x="8579" y="27494"/>
                  </a:lnTo>
                  <a:lnTo>
                    <a:pt x="8642" y="27515"/>
                  </a:lnTo>
                  <a:lnTo>
                    <a:pt x="8684" y="27515"/>
                  </a:lnTo>
                  <a:lnTo>
                    <a:pt x="8768" y="27620"/>
                  </a:lnTo>
                  <a:lnTo>
                    <a:pt x="8851" y="27641"/>
                  </a:lnTo>
                  <a:lnTo>
                    <a:pt x="8893" y="27620"/>
                  </a:lnTo>
                  <a:lnTo>
                    <a:pt x="8935" y="27578"/>
                  </a:lnTo>
                  <a:lnTo>
                    <a:pt x="8935" y="27515"/>
                  </a:lnTo>
                  <a:lnTo>
                    <a:pt x="8935" y="27411"/>
                  </a:lnTo>
                  <a:lnTo>
                    <a:pt x="8893" y="27369"/>
                  </a:lnTo>
                  <a:lnTo>
                    <a:pt x="8851" y="27327"/>
                  </a:lnTo>
                  <a:lnTo>
                    <a:pt x="8851" y="27306"/>
                  </a:lnTo>
                  <a:lnTo>
                    <a:pt x="8956" y="27306"/>
                  </a:lnTo>
                  <a:lnTo>
                    <a:pt x="8977" y="27222"/>
                  </a:lnTo>
                  <a:lnTo>
                    <a:pt x="8977" y="27181"/>
                  </a:lnTo>
                  <a:lnTo>
                    <a:pt x="8935" y="27181"/>
                  </a:lnTo>
                  <a:lnTo>
                    <a:pt x="8872" y="27201"/>
                  </a:lnTo>
                  <a:lnTo>
                    <a:pt x="8830" y="27160"/>
                  </a:lnTo>
                  <a:lnTo>
                    <a:pt x="8768" y="27097"/>
                  </a:lnTo>
                  <a:lnTo>
                    <a:pt x="8684" y="27097"/>
                  </a:lnTo>
                  <a:lnTo>
                    <a:pt x="8558" y="27013"/>
                  </a:lnTo>
                  <a:lnTo>
                    <a:pt x="8538" y="26992"/>
                  </a:lnTo>
                  <a:lnTo>
                    <a:pt x="8579" y="26950"/>
                  </a:lnTo>
                  <a:lnTo>
                    <a:pt x="8684" y="26950"/>
                  </a:lnTo>
                  <a:lnTo>
                    <a:pt x="8789" y="26971"/>
                  </a:lnTo>
                  <a:lnTo>
                    <a:pt x="8872" y="26971"/>
                  </a:lnTo>
                  <a:lnTo>
                    <a:pt x="8893" y="26909"/>
                  </a:lnTo>
                  <a:lnTo>
                    <a:pt x="8956" y="26909"/>
                  </a:lnTo>
                  <a:lnTo>
                    <a:pt x="9040" y="26971"/>
                  </a:lnTo>
                  <a:lnTo>
                    <a:pt x="9061" y="26867"/>
                  </a:lnTo>
                  <a:lnTo>
                    <a:pt x="9040" y="26699"/>
                  </a:lnTo>
                  <a:lnTo>
                    <a:pt x="8998" y="26595"/>
                  </a:lnTo>
                  <a:lnTo>
                    <a:pt x="8956" y="26553"/>
                  </a:lnTo>
                  <a:lnTo>
                    <a:pt x="8935" y="26469"/>
                  </a:lnTo>
                  <a:lnTo>
                    <a:pt x="8935" y="26427"/>
                  </a:lnTo>
                  <a:lnTo>
                    <a:pt x="8977" y="26365"/>
                  </a:lnTo>
                  <a:lnTo>
                    <a:pt x="8956" y="26260"/>
                  </a:lnTo>
                  <a:lnTo>
                    <a:pt x="8956" y="26218"/>
                  </a:lnTo>
                  <a:lnTo>
                    <a:pt x="8977" y="26155"/>
                  </a:lnTo>
                  <a:lnTo>
                    <a:pt x="8998" y="26176"/>
                  </a:lnTo>
                  <a:lnTo>
                    <a:pt x="9040" y="26239"/>
                  </a:lnTo>
                  <a:lnTo>
                    <a:pt x="9102" y="26260"/>
                  </a:lnTo>
                  <a:lnTo>
                    <a:pt x="9102" y="26218"/>
                  </a:lnTo>
                  <a:lnTo>
                    <a:pt x="9165" y="26176"/>
                  </a:lnTo>
                  <a:lnTo>
                    <a:pt x="9207" y="26218"/>
                  </a:lnTo>
                  <a:lnTo>
                    <a:pt x="9249" y="26344"/>
                  </a:lnTo>
                  <a:lnTo>
                    <a:pt x="9291" y="26365"/>
                  </a:lnTo>
                  <a:lnTo>
                    <a:pt x="9374" y="26365"/>
                  </a:lnTo>
                  <a:lnTo>
                    <a:pt x="9479" y="26239"/>
                  </a:lnTo>
                  <a:lnTo>
                    <a:pt x="9521" y="26113"/>
                  </a:lnTo>
                  <a:lnTo>
                    <a:pt x="9521" y="26009"/>
                  </a:lnTo>
                  <a:lnTo>
                    <a:pt x="9500" y="25925"/>
                  </a:lnTo>
                  <a:lnTo>
                    <a:pt x="9500" y="25862"/>
                  </a:lnTo>
                  <a:lnTo>
                    <a:pt x="9563" y="25841"/>
                  </a:lnTo>
                  <a:lnTo>
                    <a:pt x="9605" y="25841"/>
                  </a:lnTo>
                  <a:lnTo>
                    <a:pt x="9626" y="25800"/>
                  </a:lnTo>
                  <a:lnTo>
                    <a:pt x="9667" y="25758"/>
                  </a:lnTo>
                  <a:lnTo>
                    <a:pt x="9688" y="25821"/>
                  </a:lnTo>
                  <a:lnTo>
                    <a:pt x="9730" y="25883"/>
                  </a:lnTo>
                  <a:lnTo>
                    <a:pt x="9814" y="25883"/>
                  </a:lnTo>
                  <a:lnTo>
                    <a:pt x="9877" y="25841"/>
                  </a:lnTo>
                  <a:lnTo>
                    <a:pt x="9877" y="25800"/>
                  </a:lnTo>
                  <a:lnTo>
                    <a:pt x="9877" y="25737"/>
                  </a:lnTo>
                  <a:lnTo>
                    <a:pt x="9898" y="25737"/>
                  </a:lnTo>
                  <a:lnTo>
                    <a:pt x="9918" y="25800"/>
                  </a:lnTo>
                  <a:lnTo>
                    <a:pt x="9939" y="25883"/>
                  </a:lnTo>
                  <a:lnTo>
                    <a:pt x="9981" y="25925"/>
                  </a:lnTo>
                  <a:lnTo>
                    <a:pt x="10044" y="25862"/>
                  </a:lnTo>
                  <a:lnTo>
                    <a:pt x="10107" y="25821"/>
                  </a:lnTo>
                  <a:lnTo>
                    <a:pt x="10149" y="25800"/>
                  </a:lnTo>
                  <a:lnTo>
                    <a:pt x="10211" y="25841"/>
                  </a:lnTo>
                  <a:lnTo>
                    <a:pt x="10295" y="25841"/>
                  </a:lnTo>
                  <a:lnTo>
                    <a:pt x="10358" y="25800"/>
                  </a:lnTo>
                  <a:lnTo>
                    <a:pt x="10400" y="25716"/>
                  </a:lnTo>
                  <a:lnTo>
                    <a:pt x="10421" y="25674"/>
                  </a:lnTo>
                  <a:lnTo>
                    <a:pt x="10421" y="25632"/>
                  </a:lnTo>
                  <a:lnTo>
                    <a:pt x="10358" y="25549"/>
                  </a:lnTo>
                  <a:lnTo>
                    <a:pt x="10316" y="25423"/>
                  </a:lnTo>
                  <a:lnTo>
                    <a:pt x="10295" y="25339"/>
                  </a:lnTo>
                  <a:lnTo>
                    <a:pt x="10337" y="25297"/>
                  </a:lnTo>
                  <a:lnTo>
                    <a:pt x="10358" y="25318"/>
                  </a:lnTo>
                  <a:lnTo>
                    <a:pt x="10400" y="25423"/>
                  </a:lnTo>
                  <a:lnTo>
                    <a:pt x="10442" y="25423"/>
                  </a:lnTo>
                  <a:lnTo>
                    <a:pt x="10525" y="25339"/>
                  </a:lnTo>
                  <a:lnTo>
                    <a:pt x="10546" y="25256"/>
                  </a:lnTo>
                  <a:lnTo>
                    <a:pt x="10609" y="25193"/>
                  </a:lnTo>
                  <a:lnTo>
                    <a:pt x="10630" y="25130"/>
                  </a:lnTo>
                  <a:lnTo>
                    <a:pt x="10546" y="25046"/>
                  </a:lnTo>
                  <a:lnTo>
                    <a:pt x="10546" y="25005"/>
                  </a:lnTo>
                  <a:lnTo>
                    <a:pt x="10609" y="24942"/>
                  </a:lnTo>
                  <a:lnTo>
                    <a:pt x="10651" y="24921"/>
                  </a:lnTo>
                  <a:lnTo>
                    <a:pt x="10672" y="24942"/>
                  </a:lnTo>
                  <a:lnTo>
                    <a:pt x="10672" y="24984"/>
                  </a:lnTo>
                  <a:lnTo>
                    <a:pt x="10735" y="25046"/>
                  </a:lnTo>
                  <a:lnTo>
                    <a:pt x="10839" y="25088"/>
                  </a:lnTo>
                  <a:lnTo>
                    <a:pt x="10881" y="25109"/>
                  </a:lnTo>
                  <a:lnTo>
                    <a:pt x="10839" y="25172"/>
                  </a:lnTo>
                  <a:lnTo>
                    <a:pt x="10755" y="25214"/>
                  </a:lnTo>
                  <a:lnTo>
                    <a:pt x="10714" y="25318"/>
                  </a:lnTo>
                  <a:lnTo>
                    <a:pt x="10714" y="25402"/>
                  </a:lnTo>
                  <a:lnTo>
                    <a:pt x="10839" y="25549"/>
                  </a:lnTo>
                  <a:lnTo>
                    <a:pt x="10881" y="25590"/>
                  </a:lnTo>
                  <a:lnTo>
                    <a:pt x="10923" y="25507"/>
                  </a:lnTo>
                  <a:lnTo>
                    <a:pt x="10923" y="25444"/>
                  </a:lnTo>
                  <a:lnTo>
                    <a:pt x="10944" y="25381"/>
                  </a:lnTo>
                  <a:lnTo>
                    <a:pt x="10965" y="25277"/>
                  </a:lnTo>
                  <a:lnTo>
                    <a:pt x="10986" y="25277"/>
                  </a:lnTo>
                  <a:lnTo>
                    <a:pt x="11027" y="25318"/>
                  </a:lnTo>
                  <a:lnTo>
                    <a:pt x="10986" y="25402"/>
                  </a:lnTo>
                  <a:lnTo>
                    <a:pt x="10986" y="25444"/>
                  </a:lnTo>
                  <a:lnTo>
                    <a:pt x="11048" y="25549"/>
                  </a:lnTo>
                  <a:lnTo>
                    <a:pt x="11132" y="25590"/>
                  </a:lnTo>
                  <a:lnTo>
                    <a:pt x="11195" y="25528"/>
                  </a:lnTo>
                  <a:lnTo>
                    <a:pt x="11279" y="25528"/>
                  </a:lnTo>
                  <a:lnTo>
                    <a:pt x="11299" y="25486"/>
                  </a:lnTo>
                  <a:lnTo>
                    <a:pt x="11299" y="25423"/>
                  </a:lnTo>
                  <a:lnTo>
                    <a:pt x="11341" y="25381"/>
                  </a:lnTo>
                  <a:lnTo>
                    <a:pt x="11362" y="25381"/>
                  </a:lnTo>
                  <a:lnTo>
                    <a:pt x="11383" y="25402"/>
                  </a:lnTo>
                  <a:lnTo>
                    <a:pt x="11362" y="25444"/>
                  </a:lnTo>
                  <a:lnTo>
                    <a:pt x="11362" y="25507"/>
                  </a:lnTo>
                  <a:lnTo>
                    <a:pt x="11404" y="25549"/>
                  </a:lnTo>
                  <a:lnTo>
                    <a:pt x="11488" y="25549"/>
                  </a:lnTo>
                  <a:lnTo>
                    <a:pt x="11571" y="25444"/>
                  </a:lnTo>
                  <a:lnTo>
                    <a:pt x="11718" y="25339"/>
                  </a:lnTo>
                  <a:lnTo>
                    <a:pt x="11781" y="25339"/>
                  </a:lnTo>
                  <a:lnTo>
                    <a:pt x="11823" y="25318"/>
                  </a:lnTo>
                  <a:lnTo>
                    <a:pt x="11823" y="25235"/>
                  </a:lnTo>
                  <a:lnTo>
                    <a:pt x="11781" y="25172"/>
                  </a:lnTo>
                  <a:lnTo>
                    <a:pt x="11718" y="25130"/>
                  </a:lnTo>
                  <a:lnTo>
                    <a:pt x="11676" y="25088"/>
                  </a:lnTo>
                  <a:lnTo>
                    <a:pt x="11697" y="25067"/>
                  </a:lnTo>
                  <a:lnTo>
                    <a:pt x="11760" y="25067"/>
                  </a:lnTo>
                  <a:lnTo>
                    <a:pt x="11781" y="25109"/>
                  </a:lnTo>
                  <a:lnTo>
                    <a:pt x="11885" y="25172"/>
                  </a:lnTo>
                  <a:lnTo>
                    <a:pt x="11927" y="25172"/>
                  </a:lnTo>
                  <a:lnTo>
                    <a:pt x="11927" y="25088"/>
                  </a:lnTo>
                  <a:lnTo>
                    <a:pt x="11990" y="25088"/>
                  </a:lnTo>
                  <a:lnTo>
                    <a:pt x="12011" y="25130"/>
                  </a:lnTo>
                  <a:lnTo>
                    <a:pt x="12011" y="25193"/>
                  </a:lnTo>
                  <a:lnTo>
                    <a:pt x="12032" y="25214"/>
                  </a:lnTo>
                  <a:lnTo>
                    <a:pt x="12095" y="25193"/>
                  </a:lnTo>
                  <a:lnTo>
                    <a:pt x="12220" y="25046"/>
                  </a:lnTo>
                  <a:lnTo>
                    <a:pt x="12241" y="25025"/>
                  </a:lnTo>
                  <a:lnTo>
                    <a:pt x="12241" y="25005"/>
                  </a:lnTo>
                  <a:lnTo>
                    <a:pt x="12283" y="24921"/>
                  </a:lnTo>
                  <a:lnTo>
                    <a:pt x="12304" y="24879"/>
                  </a:lnTo>
                  <a:lnTo>
                    <a:pt x="12346" y="24837"/>
                  </a:lnTo>
                  <a:lnTo>
                    <a:pt x="12346" y="24837"/>
                  </a:lnTo>
                  <a:lnTo>
                    <a:pt x="12325" y="24900"/>
                  </a:lnTo>
                  <a:lnTo>
                    <a:pt x="12346" y="24942"/>
                  </a:lnTo>
                  <a:lnTo>
                    <a:pt x="12387" y="24984"/>
                  </a:lnTo>
                  <a:lnTo>
                    <a:pt x="12429" y="24942"/>
                  </a:lnTo>
                  <a:lnTo>
                    <a:pt x="12513" y="24837"/>
                  </a:lnTo>
                  <a:lnTo>
                    <a:pt x="12534" y="24774"/>
                  </a:lnTo>
                  <a:lnTo>
                    <a:pt x="12513" y="24691"/>
                  </a:lnTo>
                  <a:lnTo>
                    <a:pt x="12513" y="24607"/>
                  </a:lnTo>
                  <a:lnTo>
                    <a:pt x="12639" y="24481"/>
                  </a:lnTo>
                  <a:lnTo>
                    <a:pt x="12722" y="24460"/>
                  </a:lnTo>
                  <a:lnTo>
                    <a:pt x="12764" y="24398"/>
                  </a:lnTo>
                  <a:lnTo>
                    <a:pt x="12743" y="24356"/>
                  </a:lnTo>
                  <a:lnTo>
                    <a:pt x="12722" y="24293"/>
                  </a:lnTo>
                  <a:lnTo>
                    <a:pt x="12722" y="24272"/>
                  </a:lnTo>
                  <a:lnTo>
                    <a:pt x="12764" y="24293"/>
                  </a:lnTo>
                  <a:lnTo>
                    <a:pt x="12827" y="24314"/>
                  </a:lnTo>
                  <a:lnTo>
                    <a:pt x="12869" y="24314"/>
                  </a:lnTo>
                  <a:lnTo>
                    <a:pt x="12911" y="24251"/>
                  </a:lnTo>
                  <a:lnTo>
                    <a:pt x="12869" y="24188"/>
                  </a:lnTo>
                  <a:lnTo>
                    <a:pt x="12827" y="24147"/>
                  </a:lnTo>
                  <a:lnTo>
                    <a:pt x="12869" y="24168"/>
                  </a:lnTo>
                  <a:lnTo>
                    <a:pt x="12931" y="24209"/>
                  </a:lnTo>
                  <a:lnTo>
                    <a:pt x="12931" y="24168"/>
                  </a:lnTo>
                  <a:lnTo>
                    <a:pt x="12952" y="24084"/>
                  </a:lnTo>
                  <a:lnTo>
                    <a:pt x="13036" y="24084"/>
                  </a:lnTo>
                  <a:lnTo>
                    <a:pt x="13120" y="24042"/>
                  </a:lnTo>
                  <a:lnTo>
                    <a:pt x="13120" y="23958"/>
                  </a:lnTo>
                  <a:lnTo>
                    <a:pt x="13120" y="23937"/>
                  </a:lnTo>
                  <a:lnTo>
                    <a:pt x="13141" y="23875"/>
                  </a:lnTo>
                  <a:lnTo>
                    <a:pt x="13224" y="23875"/>
                  </a:lnTo>
                  <a:lnTo>
                    <a:pt x="13266" y="23854"/>
                  </a:lnTo>
                  <a:lnTo>
                    <a:pt x="13350" y="23749"/>
                  </a:lnTo>
                  <a:lnTo>
                    <a:pt x="13434" y="23707"/>
                  </a:lnTo>
                  <a:lnTo>
                    <a:pt x="13476" y="23707"/>
                  </a:lnTo>
                  <a:lnTo>
                    <a:pt x="13496" y="23728"/>
                  </a:lnTo>
                  <a:lnTo>
                    <a:pt x="13580" y="23707"/>
                  </a:lnTo>
                  <a:lnTo>
                    <a:pt x="13643" y="23624"/>
                  </a:lnTo>
                  <a:lnTo>
                    <a:pt x="13664" y="23477"/>
                  </a:lnTo>
                  <a:lnTo>
                    <a:pt x="13643" y="23352"/>
                  </a:lnTo>
                  <a:lnTo>
                    <a:pt x="13580" y="23352"/>
                  </a:lnTo>
                  <a:lnTo>
                    <a:pt x="13559" y="23331"/>
                  </a:lnTo>
                  <a:lnTo>
                    <a:pt x="13580" y="23247"/>
                  </a:lnTo>
                  <a:lnTo>
                    <a:pt x="13580" y="23142"/>
                  </a:lnTo>
                  <a:lnTo>
                    <a:pt x="13559" y="23059"/>
                  </a:lnTo>
                  <a:lnTo>
                    <a:pt x="13496" y="23017"/>
                  </a:lnTo>
                  <a:lnTo>
                    <a:pt x="13476" y="22912"/>
                  </a:lnTo>
                  <a:lnTo>
                    <a:pt x="13455" y="22870"/>
                  </a:lnTo>
                  <a:lnTo>
                    <a:pt x="13455" y="22787"/>
                  </a:lnTo>
                  <a:lnTo>
                    <a:pt x="13496" y="22787"/>
                  </a:lnTo>
                  <a:lnTo>
                    <a:pt x="13559" y="22808"/>
                  </a:lnTo>
                  <a:lnTo>
                    <a:pt x="13580" y="22912"/>
                  </a:lnTo>
                  <a:lnTo>
                    <a:pt x="13643" y="22996"/>
                  </a:lnTo>
                  <a:lnTo>
                    <a:pt x="13643" y="23080"/>
                  </a:lnTo>
                  <a:lnTo>
                    <a:pt x="13685" y="23184"/>
                  </a:lnTo>
                  <a:lnTo>
                    <a:pt x="13748" y="23205"/>
                  </a:lnTo>
                  <a:lnTo>
                    <a:pt x="13789" y="23247"/>
                  </a:lnTo>
                  <a:lnTo>
                    <a:pt x="13768" y="23331"/>
                  </a:lnTo>
                  <a:lnTo>
                    <a:pt x="13789" y="23414"/>
                  </a:lnTo>
                  <a:lnTo>
                    <a:pt x="13873" y="23456"/>
                  </a:lnTo>
                  <a:lnTo>
                    <a:pt x="13915" y="23456"/>
                  </a:lnTo>
                  <a:lnTo>
                    <a:pt x="13915" y="23414"/>
                  </a:lnTo>
                  <a:lnTo>
                    <a:pt x="13957" y="23352"/>
                  </a:lnTo>
                  <a:lnTo>
                    <a:pt x="13999" y="23352"/>
                  </a:lnTo>
                  <a:lnTo>
                    <a:pt x="14061" y="23435"/>
                  </a:lnTo>
                  <a:lnTo>
                    <a:pt x="14229" y="23435"/>
                  </a:lnTo>
                  <a:lnTo>
                    <a:pt x="14292" y="23393"/>
                  </a:lnTo>
                  <a:lnTo>
                    <a:pt x="14312" y="23414"/>
                  </a:lnTo>
                  <a:lnTo>
                    <a:pt x="14375" y="23414"/>
                  </a:lnTo>
                  <a:lnTo>
                    <a:pt x="14438" y="23352"/>
                  </a:lnTo>
                  <a:lnTo>
                    <a:pt x="14480" y="23289"/>
                  </a:lnTo>
                  <a:lnTo>
                    <a:pt x="14522" y="23289"/>
                  </a:lnTo>
                  <a:lnTo>
                    <a:pt x="14522" y="23226"/>
                  </a:lnTo>
                  <a:lnTo>
                    <a:pt x="14584" y="23205"/>
                  </a:lnTo>
                  <a:lnTo>
                    <a:pt x="14626" y="23226"/>
                  </a:lnTo>
                  <a:lnTo>
                    <a:pt x="14731" y="23352"/>
                  </a:lnTo>
                  <a:lnTo>
                    <a:pt x="14752" y="23414"/>
                  </a:lnTo>
                  <a:lnTo>
                    <a:pt x="14815" y="23414"/>
                  </a:lnTo>
                  <a:lnTo>
                    <a:pt x="14856" y="23352"/>
                  </a:lnTo>
                  <a:lnTo>
                    <a:pt x="14919" y="23331"/>
                  </a:lnTo>
                  <a:lnTo>
                    <a:pt x="14919" y="23226"/>
                  </a:lnTo>
                  <a:lnTo>
                    <a:pt x="14940" y="23226"/>
                  </a:lnTo>
                  <a:lnTo>
                    <a:pt x="14961" y="23247"/>
                  </a:lnTo>
                  <a:lnTo>
                    <a:pt x="15024" y="23247"/>
                  </a:lnTo>
                  <a:lnTo>
                    <a:pt x="15024" y="23205"/>
                  </a:lnTo>
                  <a:lnTo>
                    <a:pt x="15066" y="23205"/>
                  </a:lnTo>
                  <a:lnTo>
                    <a:pt x="15108" y="23226"/>
                  </a:lnTo>
                  <a:lnTo>
                    <a:pt x="15170" y="23226"/>
                  </a:lnTo>
                  <a:lnTo>
                    <a:pt x="15212" y="23184"/>
                  </a:lnTo>
                  <a:lnTo>
                    <a:pt x="15212" y="23121"/>
                  </a:lnTo>
                  <a:lnTo>
                    <a:pt x="15254" y="23100"/>
                  </a:lnTo>
                  <a:lnTo>
                    <a:pt x="15338" y="23100"/>
                  </a:lnTo>
                  <a:lnTo>
                    <a:pt x="15359" y="23080"/>
                  </a:lnTo>
                  <a:lnTo>
                    <a:pt x="15359" y="23017"/>
                  </a:lnTo>
                  <a:lnTo>
                    <a:pt x="15380" y="23017"/>
                  </a:lnTo>
                  <a:lnTo>
                    <a:pt x="15380" y="23080"/>
                  </a:lnTo>
                  <a:lnTo>
                    <a:pt x="15442" y="23100"/>
                  </a:lnTo>
                  <a:lnTo>
                    <a:pt x="15484" y="23038"/>
                  </a:lnTo>
                  <a:lnTo>
                    <a:pt x="15526" y="22975"/>
                  </a:lnTo>
                  <a:lnTo>
                    <a:pt x="15547" y="22975"/>
                  </a:lnTo>
                  <a:lnTo>
                    <a:pt x="15589" y="23038"/>
                  </a:lnTo>
                  <a:lnTo>
                    <a:pt x="15652" y="23080"/>
                  </a:lnTo>
                  <a:lnTo>
                    <a:pt x="15693" y="22975"/>
                  </a:lnTo>
                  <a:lnTo>
                    <a:pt x="15735" y="22975"/>
                  </a:lnTo>
                  <a:lnTo>
                    <a:pt x="15756" y="23017"/>
                  </a:lnTo>
                  <a:lnTo>
                    <a:pt x="15798" y="23038"/>
                  </a:lnTo>
                  <a:lnTo>
                    <a:pt x="15861" y="23038"/>
                  </a:lnTo>
                  <a:lnTo>
                    <a:pt x="15882" y="22975"/>
                  </a:lnTo>
                  <a:lnTo>
                    <a:pt x="15944" y="22933"/>
                  </a:lnTo>
                  <a:lnTo>
                    <a:pt x="16007" y="22933"/>
                  </a:lnTo>
                  <a:lnTo>
                    <a:pt x="16112" y="22891"/>
                  </a:lnTo>
                  <a:lnTo>
                    <a:pt x="16175" y="22891"/>
                  </a:lnTo>
                  <a:lnTo>
                    <a:pt x="16196" y="22933"/>
                  </a:lnTo>
                  <a:lnTo>
                    <a:pt x="16258" y="22933"/>
                  </a:lnTo>
                  <a:lnTo>
                    <a:pt x="16279" y="22870"/>
                  </a:lnTo>
                  <a:lnTo>
                    <a:pt x="16321" y="22808"/>
                  </a:lnTo>
                  <a:lnTo>
                    <a:pt x="16426" y="22808"/>
                  </a:lnTo>
                  <a:lnTo>
                    <a:pt x="16468" y="22766"/>
                  </a:lnTo>
                  <a:lnTo>
                    <a:pt x="16572" y="22724"/>
                  </a:lnTo>
                  <a:lnTo>
                    <a:pt x="16614" y="22703"/>
                  </a:lnTo>
                  <a:lnTo>
                    <a:pt x="16614" y="22661"/>
                  </a:lnTo>
                  <a:lnTo>
                    <a:pt x="16572" y="22577"/>
                  </a:lnTo>
                  <a:lnTo>
                    <a:pt x="16572" y="22515"/>
                  </a:lnTo>
                  <a:lnTo>
                    <a:pt x="16719" y="22577"/>
                  </a:lnTo>
                  <a:lnTo>
                    <a:pt x="16802" y="22619"/>
                  </a:lnTo>
                  <a:lnTo>
                    <a:pt x="16823" y="22682"/>
                  </a:lnTo>
                  <a:lnTo>
                    <a:pt x="16886" y="22703"/>
                  </a:lnTo>
                  <a:lnTo>
                    <a:pt x="16991" y="22619"/>
                  </a:lnTo>
                  <a:lnTo>
                    <a:pt x="16991" y="22536"/>
                  </a:lnTo>
                  <a:lnTo>
                    <a:pt x="16928" y="22515"/>
                  </a:lnTo>
                  <a:lnTo>
                    <a:pt x="16928" y="22473"/>
                  </a:lnTo>
                  <a:lnTo>
                    <a:pt x="17012" y="22431"/>
                  </a:lnTo>
                  <a:lnTo>
                    <a:pt x="17033" y="22494"/>
                  </a:lnTo>
                  <a:lnTo>
                    <a:pt x="17116" y="22515"/>
                  </a:lnTo>
                  <a:lnTo>
                    <a:pt x="17158" y="22410"/>
                  </a:lnTo>
                  <a:lnTo>
                    <a:pt x="17137" y="22326"/>
                  </a:lnTo>
                  <a:lnTo>
                    <a:pt x="17137" y="22264"/>
                  </a:lnTo>
                  <a:lnTo>
                    <a:pt x="17200" y="22264"/>
                  </a:lnTo>
                  <a:lnTo>
                    <a:pt x="17221" y="22305"/>
                  </a:lnTo>
                  <a:lnTo>
                    <a:pt x="17305" y="22326"/>
                  </a:lnTo>
                  <a:lnTo>
                    <a:pt x="17346" y="22284"/>
                  </a:lnTo>
                  <a:lnTo>
                    <a:pt x="17409" y="22264"/>
                  </a:lnTo>
                  <a:lnTo>
                    <a:pt x="17451" y="22264"/>
                  </a:lnTo>
                  <a:lnTo>
                    <a:pt x="17451" y="22180"/>
                  </a:lnTo>
                  <a:lnTo>
                    <a:pt x="17430" y="22117"/>
                  </a:lnTo>
                  <a:lnTo>
                    <a:pt x="17451" y="22096"/>
                  </a:lnTo>
                  <a:lnTo>
                    <a:pt x="17514" y="22117"/>
                  </a:lnTo>
                  <a:lnTo>
                    <a:pt x="17556" y="22180"/>
                  </a:lnTo>
                  <a:lnTo>
                    <a:pt x="17639" y="22159"/>
                  </a:lnTo>
                  <a:lnTo>
                    <a:pt x="17681" y="22096"/>
                  </a:lnTo>
                  <a:lnTo>
                    <a:pt x="17681" y="22012"/>
                  </a:lnTo>
                  <a:lnTo>
                    <a:pt x="17660" y="21992"/>
                  </a:lnTo>
                  <a:lnTo>
                    <a:pt x="17660" y="21950"/>
                  </a:lnTo>
                  <a:lnTo>
                    <a:pt x="17681" y="21908"/>
                  </a:lnTo>
                  <a:lnTo>
                    <a:pt x="17786" y="21908"/>
                  </a:lnTo>
                  <a:lnTo>
                    <a:pt x="17849" y="21950"/>
                  </a:lnTo>
                  <a:lnTo>
                    <a:pt x="17869" y="21887"/>
                  </a:lnTo>
                  <a:lnTo>
                    <a:pt x="17890" y="21845"/>
                  </a:lnTo>
                  <a:lnTo>
                    <a:pt x="17953" y="21866"/>
                  </a:lnTo>
                  <a:lnTo>
                    <a:pt x="17995" y="21908"/>
                  </a:lnTo>
                  <a:lnTo>
                    <a:pt x="18058" y="21950"/>
                  </a:lnTo>
                  <a:lnTo>
                    <a:pt x="18079" y="21908"/>
                  </a:lnTo>
                  <a:lnTo>
                    <a:pt x="18079" y="21866"/>
                  </a:lnTo>
                  <a:lnTo>
                    <a:pt x="18037" y="21803"/>
                  </a:lnTo>
                  <a:lnTo>
                    <a:pt x="18037" y="21761"/>
                  </a:lnTo>
                  <a:lnTo>
                    <a:pt x="18100" y="21699"/>
                  </a:lnTo>
                  <a:lnTo>
                    <a:pt x="18162" y="21740"/>
                  </a:lnTo>
                  <a:lnTo>
                    <a:pt x="18288" y="21699"/>
                  </a:lnTo>
                  <a:lnTo>
                    <a:pt x="18393" y="21636"/>
                  </a:lnTo>
                  <a:lnTo>
                    <a:pt x="18455" y="21531"/>
                  </a:lnTo>
                  <a:lnTo>
                    <a:pt x="18455" y="21489"/>
                  </a:lnTo>
                  <a:lnTo>
                    <a:pt x="18309" y="21552"/>
                  </a:lnTo>
                  <a:lnTo>
                    <a:pt x="18183" y="21552"/>
                  </a:lnTo>
                  <a:lnTo>
                    <a:pt x="18141" y="21531"/>
                  </a:lnTo>
                  <a:lnTo>
                    <a:pt x="17890" y="21531"/>
                  </a:lnTo>
                  <a:lnTo>
                    <a:pt x="17765" y="21489"/>
                  </a:lnTo>
                  <a:lnTo>
                    <a:pt x="17639" y="21447"/>
                  </a:lnTo>
                  <a:lnTo>
                    <a:pt x="17472" y="21427"/>
                  </a:lnTo>
                  <a:lnTo>
                    <a:pt x="17325" y="21280"/>
                  </a:lnTo>
                  <a:lnTo>
                    <a:pt x="17263" y="21238"/>
                  </a:lnTo>
                  <a:lnTo>
                    <a:pt x="17221" y="21238"/>
                  </a:lnTo>
                  <a:lnTo>
                    <a:pt x="17095" y="21301"/>
                  </a:lnTo>
                  <a:lnTo>
                    <a:pt x="17053" y="21259"/>
                  </a:lnTo>
                  <a:lnTo>
                    <a:pt x="17095" y="21217"/>
                  </a:lnTo>
                  <a:lnTo>
                    <a:pt x="17095" y="21175"/>
                  </a:lnTo>
                  <a:lnTo>
                    <a:pt x="17033" y="21238"/>
                  </a:lnTo>
                  <a:lnTo>
                    <a:pt x="16886" y="21343"/>
                  </a:lnTo>
                  <a:lnTo>
                    <a:pt x="16802" y="21385"/>
                  </a:lnTo>
                  <a:lnTo>
                    <a:pt x="16635" y="21385"/>
                  </a:lnTo>
                  <a:lnTo>
                    <a:pt x="16593" y="21427"/>
                  </a:lnTo>
                  <a:lnTo>
                    <a:pt x="16530" y="21385"/>
                  </a:lnTo>
                  <a:lnTo>
                    <a:pt x="16489" y="21364"/>
                  </a:lnTo>
                  <a:cubicBezTo>
                    <a:pt x="16489" y="21364"/>
                    <a:pt x="16426" y="21385"/>
                    <a:pt x="16405" y="21385"/>
                  </a:cubicBezTo>
                  <a:lnTo>
                    <a:pt x="16321" y="21385"/>
                  </a:lnTo>
                  <a:lnTo>
                    <a:pt x="16196" y="21531"/>
                  </a:lnTo>
                  <a:lnTo>
                    <a:pt x="16154" y="21594"/>
                  </a:lnTo>
                  <a:lnTo>
                    <a:pt x="16091" y="21531"/>
                  </a:lnTo>
                  <a:lnTo>
                    <a:pt x="16049" y="21489"/>
                  </a:lnTo>
                  <a:lnTo>
                    <a:pt x="15861" y="21489"/>
                  </a:lnTo>
                  <a:lnTo>
                    <a:pt x="15777" y="21468"/>
                  </a:lnTo>
                  <a:lnTo>
                    <a:pt x="15735" y="21489"/>
                  </a:lnTo>
                  <a:lnTo>
                    <a:pt x="15672" y="21447"/>
                  </a:lnTo>
                  <a:lnTo>
                    <a:pt x="15735" y="21364"/>
                  </a:lnTo>
                  <a:lnTo>
                    <a:pt x="15840" y="21364"/>
                  </a:lnTo>
                  <a:lnTo>
                    <a:pt x="15882" y="21427"/>
                  </a:lnTo>
                  <a:lnTo>
                    <a:pt x="15965" y="21447"/>
                  </a:lnTo>
                  <a:lnTo>
                    <a:pt x="16049" y="21385"/>
                  </a:lnTo>
                  <a:lnTo>
                    <a:pt x="16175" y="21364"/>
                  </a:lnTo>
                  <a:lnTo>
                    <a:pt x="16258" y="21280"/>
                  </a:lnTo>
                  <a:lnTo>
                    <a:pt x="16321" y="21280"/>
                  </a:lnTo>
                  <a:lnTo>
                    <a:pt x="16426" y="21322"/>
                  </a:lnTo>
                  <a:lnTo>
                    <a:pt x="16530" y="21280"/>
                  </a:lnTo>
                  <a:lnTo>
                    <a:pt x="16572" y="21238"/>
                  </a:lnTo>
                  <a:lnTo>
                    <a:pt x="16530" y="21175"/>
                  </a:lnTo>
                  <a:lnTo>
                    <a:pt x="16489" y="21175"/>
                  </a:lnTo>
                  <a:lnTo>
                    <a:pt x="16468" y="21134"/>
                  </a:lnTo>
                  <a:lnTo>
                    <a:pt x="16405" y="21134"/>
                  </a:lnTo>
                  <a:lnTo>
                    <a:pt x="16300" y="21155"/>
                  </a:lnTo>
                  <a:lnTo>
                    <a:pt x="16216" y="21134"/>
                  </a:lnTo>
                  <a:lnTo>
                    <a:pt x="16049" y="21134"/>
                  </a:lnTo>
                  <a:lnTo>
                    <a:pt x="15944" y="21155"/>
                  </a:lnTo>
                  <a:lnTo>
                    <a:pt x="15840" y="21155"/>
                  </a:lnTo>
                  <a:lnTo>
                    <a:pt x="15693" y="21134"/>
                  </a:lnTo>
                  <a:lnTo>
                    <a:pt x="15672" y="21071"/>
                  </a:lnTo>
                  <a:lnTo>
                    <a:pt x="15631" y="21050"/>
                  </a:lnTo>
                  <a:lnTo>
                    <a:pt x="15526" y="21071"/>
                  </a:lnTo>
                  <a:lnTo>
                    <a:pt x="15380" y="21071"/>
                  </a:lnTo>
                  <a:lnTo>
                    <a:pt x="15212" y="21175"/>
                  </a:lnTo>
                  <a:lnTo>
                    <a:pt x="15170" y="21155"/>
                  </a:lnTo>
                  <a:lnTo>
                    <a:pt x="15212" y="21071"/>
                  </a:lnTo>
                  <a:lnTo>
                    <a:pt x="15275" y="21008"/>
                  </a:lnTo>
                  <a:lnTo>
                    <a:pt x="15463" y="21008"/>
                  </a:lnTo>
                  <a:lnTo>
                    <a:pt x="15672" y="20903"/>
                  </a:lnTo>
                  <a:lnTo>
                    <a:pt x="15756" y="20841"/>
                  </a:lnTo>
                  <a:lnTo>
                    <a:pt x="15756" y="20757"/>
                  </a:lnTo>
                  <a:lnTo>
                    <a:pt x="15777" y="20715"/>
                  </a:lnTo>
                  <a:lnTo>
                    <a:pt x="15861" y="20715"/>
                  </a:lnTo>
                  <a:lnTo>
                    <a:pt x="15903" y="20694"/>
                  </a:lnTo>
                  <a:lnTo>
                    <a:pt x="15965" y="20611"/>
                  </a:lnTo>
                  <a:lnTo>
                    <a:pt x="15944" y="20548"/>
                  </a:lnTo>
                  <a:lnTo>
                    <a:pt x="15882" y="20506"/>
                  </a:lnTo>
                  <a:lnTo>
                    <a:pt x="15798" y="20485"/>
                  </a:lnTo>
                  <a:lnTo>
                    <a:pt x="15777" y="20443"/>
                  </a:lnTo>
                  <a:lnTo>
                    <a:pt x="15861" y="20401"/>
                  </a:lnTo>
                  <a:lnTo>
                    <a:pt x="15903" y="20401"/>
                  </a:lnTo>
                  <a:lnTo>
                    <a:pt x="15903" y="20422"/>
                  </a:lnTo>
                  <a:lnTo>
                    <a:pt x="15986" y="20443"/>
                  </a:lnTo>
                  <a:lnTo>
                    <a:pt x="16007" y="20422"/>
                  </a:lnTo>
                  <a:lnTo>
                    <a:pt x="15986" y="20380"/>
                  </a:lnTo>
                  <a:lnTo>
                    <a:pt x="15965" y="20339"/>
                  </a:lnTo>
                  <a:lnTo>
                    <a:pt x="15965" y="20234"/>
                  </a:lnTo>
                  <a:lnTo>
                    <a:pt x="16007" y="20276"/>
                  </a:lnTo>
                  <a:lnTo>
                    <a:pt x="16049" y="20318"/>
                  </a:lnTo>
                  <a:lnTo>
                    <a:pt x="16049" y="20401"/>
                  </a:lnTo>
                  <a:lnTo>
                    <a:pt x="16091" y="20506"/>
                  </a:lnTo>
                  <a:lnTo>
                    <a:pt x="16175" y="20548"/>
                  </a:lnTo>
                  <a:lnTo>
                    <a:pt x="16279" y="20527"/>
                  </a:lnTo>
                  <a:lnTo>
                    <a:pt x="16405" y="20527"/>
                  </a:lnTo>
                  <a:lnTo>
                    <a:pt x="16698" y="20401"/>
                  </a:lnTo>
                  <a:lnTo>
                    <a:pt x="16781" y="20401"/>
                  </a:lnTo>
                  <a:lnTo>
                    <a:pt x="16844" y="20380"/>
                  </a:lnTo>
                  <a:lnTo>
                    <a:pt x="16907" y="20297"/>
                  </a:lnTo>
                  <a:lnTo>
                    <a:pt x="16991" y="20276"/>
                  </a:lnTo>
                  <a:lnTo>
                    <a:pt x="17033" y="20171"/>
                  </a:lnTo>
                  <a:lnTo>
                    <a:pt x="16991" y="20067"/>
                  </a:lnTo>
                  <a:lnTo>
                    <a:pt x="16949" y="19983"/>
                  </a:lnTo>
                  <a:lnTo>
                    <a:pt x="16907" y="19983"/>
                  </a:lnTo>
                  <a:lnTo>
                    <a:pt x="16802" y="19920"/>
                  </a:lnTo>
                  <a:lnTo>
                    <a:pt x="16530" y="19857"/>
                  </a:lnTo>
                  <a:lnTo>
                    <a:pt x="16489" y="19857"/>
                  </a:lnTo>
                  <a:lnTo>
                    <a:pt x="16384" y="19899"/>
                  </a:lnTo>
                  <a:lnTo>
                    <a:pt x="16321" y="19857"/>
                  </a:lnTo>
                  <a:lnTo>
                    <a:pt x="16321" y="19732"/>
                  </a:lnTo>
                  <a:lnTo>
                    <a:pt x="16300" y="19690"/>
                  </a:lnTo>
                  <a:lnTo>
                    <a:pt x="16196" y="19753"/>
                  </a:lnTo>
                  <a:lnTo>
                    <a:pt x="16112" y="19753"/>
                  </a:lnTo>
                  <a:lnTo>
                    <a:pt x="16007" y="19815"/>
                  </a:lnTo>
                  <a:lnTo>
                    <a:pt x="15944" y="19815"/>
                  </a:lnTo>
                  <a:lnTo>
                    <a:pt x="15861" y="19774"/>
                  </a:lnTo>
                  <a:lnTo>
                    <a:pt x="15861" y="19690"/>
                  </a:lnTo>
                  <a:lnTo>
                    <a:pt x="15944" y="19753"/>
                  </a:lnTo>
                  <a:lnTo>
                    <a:pt x="16007" y="19690"/>
                  </a:lnTo>
                  <a:lnTo>
                    <a:pt x="16070" y="19648"/>
                  </a:lnTo>
                  <a:lnTo>
                    <a:pt x="16196" y="19648"/>
                  </a:lnTo>
                  <a:lnTo>
                    <a:pt x="16216" y="19585"/>
                  </a:lnTo>
                  <a:lnTo>
                    <a:pt x="16175" y="19523"/>
                  </a:lnTo>
                  <a:lnTo>
                    <a:pt x="16091" y="19418"/>
                  </a:lnTo>
                  <a:lnTo>
                    <a:pt x="16049" y="19376"/>
                  </a:lnTo>
                  <a:lnTo>
                    <a:pt x="15944" y="19376"/>
                  </a:lnTo>
                  <a:lnTo>
                    <a:pt x="15965" y="19355"/>
                  </a:lnTo>
                  <a:lnTo>
                    <a:pt x="16070" y="19292"/>
                  </a:lnTo>
                  <a:lnTo>
                    <a:pt x="16070" y="19251"/>
                  </a:lnTo>
                  <a:lnTo>
                    <a:pt x="16070" y="19146"/>
                  </a:lnTo>
                  <a:lnTo>
                    <a:pt x="16091" y="19104"/>
                  </a:lnTo>
                  <a:lnTo>
                    <a:pt x="16154" y="19167"/>
                  </a:lnTo>
                  <a:lnTo>
                    <a:pt x="16175" y="19313"/>
                  </a:lnTo>
                  <a:lnTo>
                    <a:pt x="16216" y="19355"/>
                  </a:lnTo>
                  <a:lnTo>
                    <a:pt x="16216" y="19418"/>
                  </a:lnTo>
                  <a:lnTo>
                    <a:pt x="16363" y="19543"/>
                  </a:lnTo>
                  <a:lnTo>
                    <a:pt x="16363" y="19585"/>
                  </a:lnTo>
                  <a:lnTo>
                    <a:pt x="16426" y="19669"/>
                  </a:lnTo>
                  <a:lnTo>
                    <a:pt x="16489" y="19690"/>
                  </a:lnTo>
                  <a:lnTo>
                    <a:pt x="16572" y="19669"/>
                  </a:lnTo>
                  <a:lnTo>
                    <a:pt x="16614" y="19648"/>
                  </a:lnTo>
                  <a:lnTo>
                    <a:pt x="16698" y="19690"/>
                  </a:lnTo>
                  <a:lnTo>
                    <a:pt x="16802" y="19669"/>
                  </a:lnTo>
                  <a:lnTo>
                    <a:pt x="16886" y="19648"/>
                  </a:lnTo>
                  <a:lnTo>
                    <a:pt x="16928" y="19690"/>
                  </a:lnTo>
                  <a:lnTo>
                    <a:pt x="16928" y="19774"/>
                  </a:lnTo>
                  <a:lnTo>
                    <a:pt x="17116" y="20004"/>
                  </a:lnTo>
                  <a:lnTo>
                    <a:pt x="17200" y="20067"/>
                  </a:lnTo>
                  <a:lnTo>
                    <a:pt x="17221" y="20004"/>
                  </a:lnTo>
                  <a:lnTo>
                    <a:pt x="17325" y="19983"/>
                  </a:lnTo>
                  <a:lnTo>
                    <a:pt x="17346" y="19983"/>
                  </a:lnTo>
                  <a:lnTo>
                    <a:pt x="17367" y="20025"/>
                  </a:lnTo>
                  <a:lnTo>
                    <a:pt x="17346" y="20108"/>
                  </a:lnTo>
                  <a:lnTo>
                    <a:pt x="17325" y="20213"/>
                  </a:lnTo>
                  <a:lnTo>
                    <a:pt x="17346" y="20339"/>
                  </a:lnTo>
                  <a:lnTo>
                    <a:pt x="17409" y="20422"/>
                  </a:lnTo>
                  <a:lnTo>
                    <a:pt x="17451" y="20527"/>
                  </a:lnTo>
                  <a:lnTo>
                    <a:pt x="17472" y="20715"/>
                  </a:lnTo>
                  <a:lnTo>
                    <a:pt x="17535" y="20757"/>
                  </a:lnTo>
                  <a:lnTo>
                    <a:pt x="17618" y="20841"/>
                  </a:lnTo>
                  <a:lnTo>
                    <a:pt x="17681" y="21029"/>
                  </a:lnTo>
                  <a:lnTo>
                    <a:pt x="17828" y="21134"/>
                  </a:lnTo>
                  <a:lnTo>
                    <a:pt x="17869" y="21175"/>
                  </a:lnTo>
                  <a:lnTo>
                    <a:pt x="17953" y="21155"/>
                  </a:lnTo>
                  <a:lnTo>
                    <a:pt x="18037" y="21134"/>
                  </a:lnTo>
                  <a:lnTo>
                    <a:pt x="18100" y="21134"/>
                  </a:lnTo>
                  <a:lnTo>
                    <a:pt x="18141" y="21113"/>
                  </a:lnTo>
                  <a:lnTo>
                    <a:pt x="18141" y="21029"/>
                  </a:lnTo>
                  <a:lnTo>
                    <a:pt x="18141" y="20903"/>
                  </a:lnTo>
                  <a:lnTo>
                    <a:pt x="18141" y="20757"/>
                  </a:lnTo>
                  <a:lnTo>
                    <a:pt x="18162" y="20652"/>
                  </a:lnTo>
                  <a:lnTo>
                    <a:pt x="18183" y="20611"/>
                  </a:lnTo>
                  <a:lnTo>
                    <a:pt x="18204" y="20611"/>
                  </a:lnTo>
                  <a:lnTo>
                    <a:pt x="18246" y="20652"/>
                  </a:lnTo>
                  <a:lnTo>
                    <a:pt x="18204" y="20736"/>
                  </a:lnTo>
                  <a:lnTo>
                    <a:pt x="18204" y="20820"/>
                  </a:lnTo>
                  <a:lnTo>
                    <a:pt x="18267" y="20924"/>
                  </a:lnTo>
                  <a:lnTo>
                    <a:pt x="18204" y="21008"/>
                  </a:lnTo>
                  <a:lnTo>
                    <a:pt x="18204" y="21071"/>
                  </a:lnTo>
                  <a:lnTo>
                    <a:pt x="18267" y="21113"/>
                  </a:lnTo>
                  <a:lnTo>
                    <a:pt x="18309" y="21071"/>
                  </a:lnTo>
                  <a:lnTo>
                    <a:pt x="18393" y="21050"/>
                  </a:lnTo>
                  <a:lnTo>
                    <a:pt x="18455" y="21071"/>
                  </a:lnTo>
                  <a:lnTo>
                    <a:pt x="18476" y="21134"/>
                  </a:lnTo>
                  <a:lnTo>
                    <a:pt x="18455" y="21175"/>
                  </a:lnTo>
                  <a:lnTo>
                    <a:pt x="18476" y="21217"/>
                  </a:lnTo>
                  <a:lnTo>
                    <a:pt x="18581" y="21217"/>
                  </a:lnTo>
                  <a:lnTo>
                    <a:pt x="18623" y="21155"/>
                  </a:lnTo>
                  <a:lnTo>
                    <a:pt x="18623" y="21071"/>
                  </a:lnTo>
                  <a:lnTo>
                    <a:pt x="18602" y="21008"/>
                  </a:lnTo>
                  <a:lnTo>
                    <a:pt x="18602" y="20820"/>
                  </a:lnTo>
                  <a:lnTo>
                    <a:pt x="18623" y="20736"/>
                  </a:lnTo>
                  <a:lnTo>
                    <a:pt x="18623" y="20631"/>
                  </a:lnTo>
                  <a:lnTo>
                    <a:pt x="18665" y="20590"/>
                  </a:lnTo>
                  <a:lnTo>
                    <a:pt x="18623" y="20527"/>
                  </a:lnTo>
                  <a:lnTo>
                    <a:pt x="18581" y="20527"/>
                  </a:lnTo>
                  <a:lnTo>
                    <a:pt x="18602" y="20485"/>
                  </a:lnTo>
                  <a:lnTo>
                    <a:pt x="18623" y="20422"/>
                  </a:lnTo>
                  <a:lnTo>
                    <a:pt x="18602" y="20401"/>
                  </a:lnTo>
                  <a:lnTo>
                    <a:pt x="18497" y="20443"/>
                  </a:lnTo>
                  <a:lnTo>
                    <a:pt x="18497" y="20401"/>
                  </a:lnTo>
                  <a:lnTo>
                    <a:pt x="18518" y="20339"/>
                  </a:lnTo>
                  <a:lnTo>
                    <a:pt x="18623" y="20318"/>
                  </a:lnTo>
                  <a:lnTo>
                    <a:pt x="18685" y="20276"/>
                  </a:lnTo>
                  <a:lnTo>
                    <a:pt x="18685" y="20171"/>
                  </a:lnTo>
                  <a:lnTo>
                    <a:pt x="18665" y="20108"/>
                  </a:lnTo>
                  <a:lnTo>
                    <a:pt x="18602" y="20129"/>
                  </a:lnTo>
                  <a:lnTo>
                    <a:pt x="18581" y="20087"/>
                  </a:lnTo>
                  <a:lnTo>
                    <a:pt x="18623" y="20004"/>
                  </a:lnTo>
                  <a:lnTo>
                    <a:pt x="18685" y="19899"/>
                  </a:lnTo>
                  <a:lnTo>
                    <a:pt x="18685" y="19857"/>
                  </a:lnTo>
                  <a:lnTo>
                    <a:pt x="18623" y="19857"/>
                  </a:lnTo>
                  <a:lnTo>
                    <a:pt x="18560" y="19899"/>
                  </a:lnTo>
                  <a:lnTo>
                    <a:pt x="18476" y="20025"/>
                  </a:lnTo>
                  <a:lnTo>
                    <a:pt x="18455" y="20171"/>
                  </a:lnTo>
                  <a:lnTo>
                    <a:pt x="18393" y="20192"/>
                  </a:lnTo>
                  <a:lnTo>
                    <a:pt x="18393" y="20129"/>
                  </a:lnTo>
                  <a:lnTo>
                    <a:pt x="18413" y="20004"/>
                  </a:lnTo>
                  <a:lnTo>
                    <a:pt x="18413" y="19962"/>
                  </a:lnTo>
                  <a:lnTo>
                    <a:pt x="18393" y="19899"/>
                  </a:lnTo>
                  <a:lnTo>
                    <a:pt x="18393" y="19857"/>
                  </a:lnTo>
                  <a:lnTo>
                    <a:pt x="18413" y="19774"/>
                  </a:lnTo>
                  <a:lnTo>
                    <a:pt x="18497" y="19690"/>
                  </a:lnTo>
                  <a:lnTo>
                    <a:pt x="18581" y="19648"/>
                  </a:lnTo>
                  <a:lnTo>
                    <a:pt x="18602" y="19564"/>
                  </a:lnTo>
                  <a:lnTo>
                    <a:pt x="18560" y="19502"/>
                  </a:lnTo>
                  <a:lnTo>
                    <a:pt x="18476" y="19502"/>
                  </a:lnTo>
                  <a:lnTo>
                    <a:pt x="18413" y="19564"/>
                  </a:lnTo>
                  <a:lnTo>
                    <a:pt x="18393" y="19606"/>
                  </a:lnTo>
                  <a:lnTo>
                    <a:pt x="18372" y="19648"/>
                  </a:lnTo>
                  <a:lnTo>
                    <a:pt x="18393" y="19543"/>
                  </a:lnTo>
                  <a:lnTo>
                    <a:pt x="18413" y="19481"/>
                  </a:lnTo>
                  <a:lnTo>
                    <a:pt x="18393" y="19460"/>
                  </a:lnTo>
                  <a:lnTo>
                    <a:pt x="18351" y="19481"/>
                  </a:lnTo>
                  <a:lnTo>
                    <a:pt x="18246" y="19564"/>
                  </a:lnTo>
                  <a:lnTo>
                    <a:pt x="18162" y="19648"/>
                  </a:lnTo>
                  <a:lnTo>
                    <a:pt x="18162" y="19606"/>
                  </a:lnTo>
                  <a:lnTo>
                    <a:pt x="18183" y="19543"/>
                  </a:lnTo>
                  <a:lnTo>
                    <a:pt x="18246" y="19460"/>
                  </a:lnTo>
                  <a:lnTo>
                    <a:pt x="18288" y="19397"/>
                  </a:lnTo>
                  <a:lnTo>
                    <a:pt x="18351" y="19292"/>
                  </a:lnTo>
                  <a:lnTo>
                    <a:pt x="18351" y="19271"/>
                  </a:lnTo>
                  <a:lnTo>
                    <a:pt x="18288" y="19230"/>
                  </a:lnTo>
                  <a:lnTo>
                    <a:pt x="18267" y="19167"/>
                  </a:lnTo>
                  <a:lnTo>
                    <a:pt x="18204" y="19167"/>
                  </a:lnTo>
                  <a:lnTo>
                    <a:pt x="18162" y="19125"/>
                  </a:lnTo>
                  <a:lnTo>
                    <a:pt x="18141" y="19041"/>
                  </a:lnTo>
                  <a:lnTo>
                    <a:pt x="18079" y="19020"/>
                  </a:lnTo>
                  <a:lnTo>
                    <a:pt x="17995" y="18937"/>
                  </a:lnTo>
                  <a:lnTo>
                    <a:pt x="17953" y="18937"/>
                  </a:lnTo>
                  <a:lnTo>
                    <a:pt x="17932" y="18916"/>
                  </a:lnTo>
                  <a:lnTo>
                    <a:pt x="17869" y="18916"/>
                  </a:lnTo>
                  <a:lnTo>
                    <a:pt x="17869" y="18853"/>
                  </a:lnTo>
                  <a:lnTo>
                    <a:pt x="17849" y="18811"/>
                  </a:lnTo>
                  <a:lnTo>
                    <a:pt x="17660" y="18665"/>
                  </a:lnTo>
                  <a:lnTo>
                    <a:pt x="17639" y="18623"/>
                  </a:lnTo>
                  <a:lnTo>
                    <a:pt x="17535" y="18560"/>
                  </a:lnTo>
                  <a:lnTo>
                    <a:pt x="17430" y="18560"/>
                  </a:lnTo>
                  <a:lnTo>
                    <a:pt x="17325" y="18602"/>
                  </a:lnTo>
                  <a:lnTo>
                    <a:pt x="17242" y="18707"/>
                  </a:lnTo>
                  <a:lnTo>
                    <a:pt x="17242" y="18644"/>
                  </a:lnTo>
                  <a:lnTo>
                    <a:pt x="17221" y="18560"/>
                  </a:lnTo>
                  <a:lnTo>
                    <a:pt x="17053" y="18518"/>
                  </a:lnTo>
                  <a:lnTo>
                    <a:pt x="16949" y="18518"/>
                  </a:lnTo>
                  <a:lnTo>
                    <a:pt x="16844" y="18539"/>
                  </a:lnTo>
                  <a:lnTo>
                    <a:pt x="16823" y="18518"/>
                  </a:lnTo>
                  <a:lnTo>
                    <a:pt x="16907" y="18434"/>
                  </a:lnTo>
                  <a:lnTo>
                    <a:pt x="16949" y="18476"/>
                  </a:lnTo>
                  <a:lnTo>
                    <a:pt x="17137" y="18476"/>
                  </a:lnTo>
                  <a:lnTo>
                    <a:pt x="17221" y="18497"/>
                  </a:lnTo>
                  <a:lnTo>
                    <a:pt x="17325" y="18497"/>
                  </a:lnTo>
                  <a:lnTo>
                    <a:pt x="17430" y="18476"/>
                  </a:lnTo>
                  <a:lnTo>
                    <a:pt x="17472" y="18393"/>
                  </a:lnTo>
                  <a:lnTo>
                    <a:pt x="17514" y="18204"/>
                  </a:lnTo>
                  <a:lnTo>
                    <a:pt x="17472" y="18121"/>
                  </a:lnTo>
                  <a:lnTo>
                    <a:pt x="17451" y="18100"/>
                  </a:lnTo>
                  <a:lnTo>
                    <a:pt x="17409" y="18100"/>
                  </a:lnTo>
                  <a:lnTo>
                    <a:pt x="17263" y="17995"/>
                  </a:lnTo>
                  <a:lnTo>
                    <a:pt x="17221" y="17974"/>
                  </a:lnTo>
                  <a:lnTo>
                    <a:pt x="17158" y="17974"/>
                  </a:lnTo>
                  <a:lnTo>
                    <a:pt x="17053" y="18058"/>
                  </a:lnTo>
                  <a:lnTo>
                    <a:pt x="17012" y="18058"/>
                  </a:lnTo>
                  <a:lnTo>
                    <a:pt x="16928" y="18079"/>
                  </a:lnTo>
                  <a:lnTo>
                    <a:pt x="16886" y="18162"/>
                  </a:lnTo>
                  <a:lnTo>
                    <a:pt x="16844" y="18162"/>
                  </a:lnTo>
                  <a:lnTo>
                    <a:pt x="16844" y="18079"/>
                  </a:lnTo>
                  <a:lnTo>
                    <a:pt x="16823" y="18016"/>
                  </a:lnTo>
                  <a:lnTo>
                    <a:pt x="16781" y="18016"/>
                  </a:lnTo>
                  <a:lnTo>
                    <a:pt x="16635" y="18058"/>
                  </a:lnTo>
                  <a:lnTo>
                    <a:pt x="16593" y="18079"/>
                  </a:lnTo>
                  <a:lnTo>
                    <a:pt x="16530" y="18079"/>
                  </a:lnTo>
                  <a:lnTo>
                    <a:pt x="16572" y="18058"/>
                  </a:lnTo>
                  <a:lnTo>
                    <a:pt x="16677" y="17995"/>
                  </a:lnTo>
                  <a:lnTo>
                    <a:pt x="16781" y="17974"/>
                  </a:lnTo>
                  <a:lnTo>
                    <a:pt x="16802" y="17911"/>
                  </a:lnTo>
                  <a:lnTo>
                    <a:pt x="16781" y="17870"/>
                  </a:lnTo>
                  <a:lnTo>
                    <a:pt x="16719" y="17849"/>
                  </a:lnTo>
                  <a:lnTo>
                    <a:pt x="16677" y="17870"/>
                  </a:lnTo>
                  <a:lnTo>
                    <a:pt x="16719" y="17807"/>
                  </a:lnTo>
                  <a:lnTo>
                    <a:pt x="16781" y="17807"/>
                  </a:lnTo>
                  <a:lnTo>
                    <a:pt x="16823" y="17849"/>
                  </a:lnTo>
                  <a:lnTo>
                    <a:pt x="16928" y="17953"/>
                  </a:lnTo>
                  <a:lnTo>
                    <a:pt x="17012" y="17974"/>
                  </a:lnTo>
                  <a:lnTo>
                    <a:pt x="17095" y="17953"/>
                  </a:lnTo>
                  <a:lnTo>
                    <a:pt x="17200" y="17870"/>
                  </a:lnTo>
                  <a:lnTo>
                    <a:pt x="17367" y="17870"/>
                  </a:lnTo>
                  <a:lnTo>
                    <a:pt x="17430" y="17786"/>
                  </a:lnTo>
                  <a:lnTo>
                    <a:pt x="17472" y="17765"/>
                  </a:lnTo>
                  <a:lnTo>
                    <a:pt x="17514" y="17702"/>
                  </a:lnTo>
                  <a:lnTo>
                    <a:pt x="17472" y="17639"/>
                  </a:lnTo>
                  <a:lnTo>
                    <a:pt x="17409" y="17577"/>
                  </a:lnTo>
                  <a:lnTo>
                    <a:pt x="17263" y="17556"/>
                  </a:lnTo>
                  <a:lnTo>
                    <a:pt x="17200" y="17493"/>
                  </a:lnTo>
                  <a:lnTo>
                    <a:pt x="17137" y="17451"/>
                  </a:lnTo>
                  <a:lnTo>
                    <a:pt x="17033" y="17451"/>
                  </a:lnTo>
                  <a:lnTo>
                    <a:pt x="16928" y="17430"/>
                  </a:lnTo>
                  <a:lnTo>
                    <a:pt x="16844" y="17451"/>
                  </a:lnTo>
                  <a:lnTo>
                    <a:pt x="16823" y="17493"/>
                  </a:lnTo>
                  <a:lnTo>
                    <a:pt x="16740" y="17556"/>
                  </a:lnTo>
                  <a:lnTo>
                    <a:pt x="16677" y="17535"/>
                  </a:lnTo>
                  <a:lnTo>
                    <a:pt x="16593" y="17493"/>
                  </a:lnTo>
                  <a:lnTo>
                    <a:pt x="16489" y="17493"/>
                  </a:lnTo>
                  <a:lnTo>
                    <a:pt x="16468" y="17556"/>
                  </a:lnTo>
                  <a:lnTo>
                    <a:pt x="16426" y="17598"/>
                  </a:lnTo>
                  <a:lnTo>
                    <a:pt x="16384" y="17577"/>
                  </a:lnTo>
                  <a:lnTo>
                    <a:pt x="16321" y="17535"/>
                  </a:lnTo>
                  <a:lnTo>
                    <a:pt x="16300" y="17535"/>
                  </a:lnTo>
                  <a:lnTo>
                    <a:pt x="16279" y="17472"/>
                  </a:lnTo>
                  <a:lnTo>
                    <a:pt x="16321" y="17430"/>
                  </a:lnTo>
                  <a:lnTo>
                    <a:pt x="16426" y="17388"/>
                  </a:lnTo>
                  <a:lnTo>
                    <a:pt x="16572" y="17430"/>
                  </a:lnTo>
                  <a:lnTo>
                    <a:pt x="16740" y="17430"/>
                  </a:lnTo>
                  <a:lnTo>
                    <a:pt x="16802" y="17367"/>
                  </a:lnTo>
                  <a:lnTo>
                    <a:pt x="16802" y="17326"/>
                  </a:lnTo>
                  <a:lnTo>
                    <a:pt x="16740" y="17221"/>
                  </a:lnTo>
                  <a:lnTo>
                    <a:pt x="16635" y="17137"/>
                  </a:lnTo>
                  <a:lnTo>
                    <a:pt x="16530" y="17074"/>
                  </a:lnTo>
                  <a:lnTo>
                    <a:pt x="16489" y="17012"/>
                  </a:lnTo>
                  <a:lnTo>
                    <a:pt x="16489" y="16907"/>
                  </a:lnTo>
                  <a:lnTo>
                    <a:pt x="16509" y="16865"/>
                  </a:lnTo>
                  <a:lnTo>
                    <a:pt x="16572" y="16907"/>
                  </a:lnTo>
                  <a:lnTo>
                    <a:pt x="16593" y="16949"/>
                  </a:lnTo>
                  <a:lnTo>
                    <a:pt x="16593" y="17012"/>
                  </a:lnTo>
                  <a:lnTo>
                    <a:pt x="16677" y="17054"/>
                  </a:lnTo>
                  <a:lnTo>
                    <a:pt x="16802" y="17158"/>
                  </a:lnTo>
                  <a:lnTo>
                    <a:pt x="16823" y="17221"/>
                  </a:lnTo>
                  <a:lnTo>
                    <a:pt x="16886" y="17242"/>
                  </a:lnTo>
                  <a:lnTo>
                    <a:pt x="16928" y="17242"/>
                  </a:lnTo>
                  <a:lnTo>
                    <a:pt x="17012" y="17326"/>
                  </a:lnTo>
                  <a:lnTo>
                    <a:pt x="17095" y="17326"/>
                  </a:lnTo>
                  <a:lnTo>
                    <a:pt x="17200" y="17284"/>
                  </a:lnTo>
                  <a:lnTo>
                    <a:pt x="17263" y="17242"/>
                  </a:lnTo>
                  <a:lnTo>
                    <a:pt x="17346" y="17221"/>
                  </a:lnTo>
                  <a:lnTo>
                    <a:pt x="17409" y="17158"/>
                  </a:lnTo>
                  <a:lnTo>
                    <a:pt x="17472" y="17116"/>
                  </a:lnTo>
                  <a:lnTo>
                    <a:pt x="17556" y="17074"/>
                  </a:lnTo>
                  <a:lnTo>
                    <a:pt x="17606" y="17074"/>
                  </a:lnTo>
                  <a:lnTo>
                    <a:pt x="17618" y="17116"/>
                  </a:lnTo>
                  <a:lnTo>
                    <a:pt x="17618" y="17074"/>
                  </a:lnTo>
                  <a:lnTo>
                    <a:pt x="17618" y="17033"/>
                  </a:lnTo>
                  <a:lnTo>
                    <a:pt x="17577" y="16970"/>
                  </a:lnTo>
                  <a:lnTo>
                    <a:pt x="17588" y="17010"/>
                  </a:lnTo>
                  <a:lnTo>
                    <a:pt x="17472" y="16844"/>
                  </a:lnTo>
                  <a:lnTo>
                    <a:pt x="17409" y="16802"/>
                  </a:lnTo>
                  <a:lnTo>
                    <a:pt x="17409" y="16740"/>
                  </a:lnTo>
                  <a:lnTo>
                    <a:pt x="17430" y="16719"/>
                  </a:lnTo>
                  <a:lnTo>
                    <a:pt x="17472" y="16719"/>
                  </a:lnTo>
                  <a:lnTo>
                    <a:pt x="17535" y="16761"/>
                  </a:lnTo>
                  <a:lnTo>
                    <a:pt x="17535" y="16823"/>
                  </a:lnTo>
                  <a:lnTo>
                    <a:pt x="17577" y="16865"/>
                  </a:lnTo>
                  <a:lnTo>
                    <a:pt x="17681" y="17074"/>
                  </a:lnTo>
                  <a:lnTo>
                    <a:pt x="17869" y="17284"/>
                  </a:lnTo>
                  <a:lnTo>
                    <a:pt x="17890" y="17326"/>
                  </a:lnTo>
                  <a:lnTo>
                    <a:pt x="17932" y="17263"/>
                  </a:lnTo>
                  <a:lnTo>
                    <a:pt x="17932" y="17179"/>
                  </a:lnTo>
                  <a:lnTo>
                    <a:pt x="17953" y="17012"/>
                  </a:lnTo>
                  <a:lnTo>
                    <a:pt x="17953" y="16907"/>
                  </a:lnTo>
                  <a:lnTo>
                    <a:pt x="17995" y="16844"/>
                  </a:lnTo>
                  <a:lnTo>
                    <a:pt x="18058" y="16844"/>
                  </a:lnTo>
                  <a:lnTo>
                    <a:pt x="18100" y="16865"/>
                  </a:lnTo>
                  <a:lnTo>
                    <a:pt x="18100" y="16949"/>
                  </a:lnTo>
                  <a:lnTo>
                    <a:pt x="18141" y="17012"/>
                  </a:lnTo>
                  <a:lnTo>
                    <a:pt x="18183" y="17012"/>
                  </a:lnTo>
                  <a:lnTo>
                    <a:pt x="18372" y="17074"/>
                  </a:lnTo>
                  <a:lnTo>
                    <a:pt x="18518" y="17179"/>
                  </a:lnTo>
                  <a:lnTo>
                    <a:pt x="18602" y="17221"/>
                  </a:lnTo>
                  <a:lnTo>
                    <a:pt x="18665" y="17179"/>
                  </a:lnTo>
                  <a:lnTo>
                    <a:pt x="18706" y="17179"/>
                  </a:lnTo>
                  <a:lnTo>
                    <a:pt x="18769" y="17221"/>
                  </a:lnTo>
                  <a:lnTo>
                    <a:pt x="18769" y="17263"/>
                  </a:lnTo>
                  <a:lnTo>
                    <a:pt x="18602" y="17284"/>
                  </a:lnTo>
                  <a:lnTo>
                    <a:pt x="18581" y="17326"/>
                  </a:lnTo>
                  <a:lnTo>
                    <a:pt x="18476" y="17221"/>
                  </a:lnTo>
                  <a:lnTo>
                    <a:pt x="18288" y="17116"/>
                  </a:lnTo>
                  <a:lnTo>
                    <a:pt x="18246" y="17074"/>
                  </a:lnTo>
                  <a:lnTo>
                    <a:pt x="18204" y="17054"/>
                  </a:lnTo>
                  <a:lnTo>
                    <a:pt x="18162" y="17054"/>
                  </a:lnTo>
                  <a:lnTo>
                    <a:pt x="18121" y="17074"/>
                  </a:lnTo>
                  <a:lnTo>
                    <a:pt x="18121" y="17137"/>
                  </a:lnTo>
                  <a:lnTo>
                    <a:pt x="18183" y="17221"/>
                  </a:lnTo>
                  <a:lnTo>
                    <a:pt x="18413" y="17430"/>
                  </a:lnTo>
                  <a:lnTo>
                    <a:pt x="18518" y="17535"/>
                  </a:lnTo>
                  <a:lnTo>
                    <a:pt x="18685" y="17598"/>
                  </a:lnTo>
                  <a:lnTo>
                    <a:pt x="18790" y="17681"/>
                  </a:lnTo>
                  <a:lnTo>
                    <a:pt x="18832" y="17702"/>
                  </a:lnTo>
                  <a:lnTo>
                    <a:pt x="18916" y="17681"/>
                  </a:lnTo>
                  <a:lnTo>
                    <a:pt x="18937" y="17639"/>
                  </a:lnTo>
                  <a:lnTo>
                    <a:pt x="18999" y="17556"/>
                  </a:lnTo>
                  <a:lnTo>
                    <a:pt x="19125" y="17556"/>
                  </a:lnTo>
                  <a:lnTo>
                    <a:pt x="19167" y="17493"/>
                  </a:lnTo>
                  <a:lnTo>
                    <a:pt x="19167" y="17430"/>
                  </a:lnTo>
                  <a:lnTo>
                    <a:pt x="19250" y="17367"/>
                  </a:lnTo>
                  <a:lnTo>
                    <a:pt x="19313" y="17367"/>
                  </a:lnTo>
                  <a:lnTo>
                    <a:pt x="19376" y="17388"/>
                  </a:lnTo>
                  <a:lnTo>
                    <a:pt x="19460" y="17430"/>
                  </a:lnTo>
                  <a:lnTo>
                    <a:pt x="19564" y="17388"/>
                  </a:lnTo>
                  <a:lnTo>
                    <a:pt x="19669" y="17388"/>
                  </a:lnTo>
                  <a:lnTo>
                    <a:pt x="19690" y="17346"/>
                  </a:lnTo>
                  <a:lnTo>
                    <a:pt x="19732" y="17221"/>
                  </a:lnTo>
                  <a:lnTo>
                    <a:pt x="19732" y="17116"/>
                  </a:lnTo>
                  <a:lnTo>
                    <a:pt x="19774" y="17033"/>
                  </a:lnTo>
                  <a:lnTo>
                    <a:pt x="19857" y="16907"/>
                  </a:lnTo>
                  <a:lnTo>
                    <a:pt x="19857" y="16823"/>
                  </a:lnTo>
                  <a:lnTo>
                    <a:pt x="19836" y="16761"/>
                  </a:lnTo>
                  <a:lnTo>
                    <a:pt x="19753" y="16740"/>
                  </a:lnTo>
                  <a:lnTo>
                    <a:pt x="19648" y="16761"/>
                  </a:lnTo>
                  <a:lnTo>
                    <a:pt x="19627" y="16802"/>
                  </a:lnTo>
                  <a:lnTo>
                    <a:pt x="19585" y="16761"/>
                  </a:lnTo>
                  <a:lnTo>
                    <a:pt x="19543" y="16761"/>
                  </a:lnTo>
                  <a:lnTo>
                    <a:pt x="19522" y="16802"/>
                  </a:lnTo>
                  <a:lnTo>
                    <a:pt x="19439" y="16740"/>
                  </a:lnTo>
                  <a:lnTo>
                    <a:pt x="19376" y="16656"/>
                  </a:lnTo>
                  <a:lnTo>
                    <a:pt x="19334" y="16614"/>
                  </a:lnTo>
                  <a:lnTo>
                    <a:pt x="19313" y="16530"/>
                  </a:lnTo>
                  <a:lnTo>
                    <a:pt x="19271" y="16530"/>
                  </a:lnTo>
                  <a:lnTo>
                    <a:pt x="19250" y="16614"/>
                  </a:lnTo>
                  <a:lnTo>
                    <a:pt x="19250" y="16719"/>
                  </a:lnTo>
                  <a:lnTo>
                    <a:pt x="19313" y="16740"/>
                  </a:lnTo>
                  <a:lnTo>
                    <a:pt x="19313" y="16823"/>
                  </a:lnTo>
                  <a:lnTo>
                    <a:pt x="19250" y="16907"/>
                  </a:lnTo>
                  <a:lnTo>
                    <a:pt x="19229" y="17012"/>
                  </a:lnTo>
                  <a:lnTo>
                    <a:pt x="19209" y="16949"/>
                  </a:lnTo>
                  <a:lnTo>
                    <a:pt x="19229" y="16823"/>
                  </a:lnTo>
                  <a:lnTo>
                    <a:pt x="19209" y="16719"/>
                  </a:lnTo>
                  <a:lnTo>
                    <a:pt x="19146" y="16698"/>
                  </a:lnTo>
                  <a:lnTo>
                    <a:pt x="19125" y="16551"/>
                  </a:lnTo>
                  <a:lnTo>
                    <a:pt x="19062" y="16530"/>
                  </a:lnTo>
                  <a:lnTo>
                    <a:pt x="19041" y="16489"/>
                  </a:lnTo>
                  <a:lnTo>
                    <a:pt x="19041" y="16447"/>
                  </a:lnTo>
                  <a:lnTo>
                    <a:pt x="19104" y="16426"/>
                  </a:lnTo>
                  <a:lnTo>
                    <a:pt x="19161" y="16311"/>
                  </a:lnTo>
                  <a:lnTo>
                    <a:pt x="19146" y="16279"/>
                  </a:lnTo>
                  <a:lnTo>
                    <a:pt x="19104" y="16238"/>
                  </a:lnTo>
                  <a:lnTo>
                    <a:pt x="19146" y="16217"/>
                  </a:lnTo>
                  <a:lnTo>
                    <a:pt x="19229" y="16217"/>
                  </a:lnTo>
                  <a:lnTo>
                    <a:pt x="19271" y="16175"/>
                  </a:lnTo>
                  <a:lnTo>
                    <a:pt x="19313" y="16091"/>
                  </a:lnTo>
                  <a:lnTo>
                    <a:pt x="19313" y="15966"/>
                  </a:lnTo>
                  <a:lnTo>
                    <a:pt x="19271" y="15903"/>
                  </a:lnTo>
                  <a:lnTo>
                    <a:pt x="19271" y="15861"/>
                  </a:lnTo>
                  <a:lnTo>
                    <a:pt x="19334" y="15861"/>
                  </a:lnTo>
                  <a:lnTo>
                    <a:pt x="19376" y="15903"/>
                  </a:lnTo>
                  <a:lnTo>
                    <a:pt x="19439" y="15986"/>
                  </a:lnTo>
                  <a:lnTo>
                    <a:pt x="19481" y="16007"/>
                  </a:lnTo>
                  <a:lnTo>
                    <a:pt x="19564" y="16007"/>
                  </a:lnTo>
                  <a:lnTo>
                    <a:pt x="19648" y="15966"/>
                  </a:lnTo>
                  <a:lnTo>
                    <a:pt x="19732" y="15986"/>
                  </a:lnTo>
                  <a:lnTo>
                    <a:pt x="19794" y="16028"/>
                  </a:lnTo>
                  <a:lnTo>
                    <a:pt x="19899" y="16070"/>
                  </a:lnTo>
                  <a:lnTo>
                    <a:pt x="20046" y="16175"/>
                  </a:lnTo>
                  <a:lnTo>
                    <a:pt x="20046" y="16238"/>
                  </a:lnTo>
                  <a:lnTo>
                    <a:pt x="20066" y="16321"/>
                  </a:lnTo>
                  <a:lnTo>
                    <a:pt x="20108" y="16384"/>
                  </a:lnTo>
                  <a:lnTo>
                    <a:pt x="20150" y="16447"/>
                  </a:lnTo>
                  <a:lnTo>
                    <a:pt x="20192" y="16489"/>
                  </a:lnTo>
                  <a:lnTo>
                    <a:pt x="20318" y="16405"/>
                  </a:lnTo>
                  <a:lnTo>
                    <a:pt x="20422" y="16238"/>
                  </a:lnTo>
                  <a:lnTo>
                    <a:pt x="20485" y="16133"/>
                  </a:lnTo>
                  <a:lnTo>
                    <a:pt x="20422" y="16091"/>
                  </a:lnTo>
                  <a:lnTo>
                    <a:pt x="20401" y="15986"/>
                  </a:lnTo>
                  <a:lnTo>
                    <a:pt x="20464" y="15924"/>
                  </a:lnTo>
                  <a:lnTo>
                    <a:pt x="20464" y="15882"/>
                  </a:lnTo>
                  <a:lnTo>
                    <a:pt x="20359" y="15861"/>
                  </a:lnTo>
                  <a:lnTo>
                    <a:pt x="20276" y="15903"/>
                  </a:lnTo>
                  <a:lnTo>
                    <a:pt x="20255" y="15966"/>
                  </a:lnTo>
                  <a:lnTo>
                    <a:pt x="20108" y="15882"/>
                  </a:lnTo>
                  <a:lnTo>
                    <a:pt x="20046" y="15777"/>
                  </a:lnTo>
                  <a:lnTo>
                    <a:pt x="19899" y="15756"/>
                  </a:lnTo>
                  <a:lnTo>
                    <a:pt x="19857" y="15777"/>
                  </a:lnTo>
                  <a:lnTo>
                    <a:pt x="19794" y="15714"/>
                  </a:lnTo>
                  <a:lnTo>
                    <a:pt x="19794" y="15673"/>
                  </a:lnTo>
                  <a:lnTo>
                    <a:pt x="19857" y="15673"/>
                  </a:lnTo>
                  <a:lnTo>
                    <a:pt x="19899" y="15589"/>
                  </a:lnTo>
                  <a:lnTo>
                    <a:pt x="19941" y="15401"/>
                  </a:lnTo>
                  <a:lnTo>
                    <a:pt x="19962" y="15380"/>
                  </a:lnTo>
                  <a:lnTo>
                    <a:pt x="19962" y="15296"/>
                  </a:lnTo>
                  <a:lnTo>
                    <a:pt x="19836" y="15254"/>
                  </a:lnTo>
                  <a:lnTo>
                    <a:pt x="19774" y="15254"/>
                  </a:lnTo>
                  <a:lnTo>
                    <a:pt x="19669" y="15359"/>
                  </a:lnTo>
                  <a:lnTo>
                    <a:pt x="19564" y="15380"/>
                  </a:lnTo>
                  <a:lnTo>
                    <a:pt x="19460" y="15359"/>
                  </a:lnTo>
                  <a:lnTo>
                    <a:pt x="19439" y="15296"/>
                  </a:lnTo>
                  <a:lnTo>
                    <a:pt x="19418" y="15191"/>
                  </a:lnTo>
                  <a:lnTo>
                    <a:pt x="19376" y="15149"/>
                  </a:lnTo>
                  <a:lnTo>
                    <a:pt x="19376" y="15066"/>
                  </a:lnTo>
                  <a:lnTo>
                    <a:pt x="19460" y="15129"/>
                  </a:lnTo>
                  <a:lnTo>
                    <a:pt x="19481" y="15170"/>
                  </a:lnTo>
                  <a:lnTo>
                    <a:pt x="19460" y="15233"/>
                  </a:lnTo>
                  <a:lnTo>
                    <a:pt x="19481" y="15296"/>
                  </a:lnTo>
                  <a:lnTo>
                    <a:pt x="19564" y="15359"/>
                  </a:lnTo>
                  <a:lnTo>
                    <a:pt x="19648" y="15359"/>
                  </a:lnTo>
                  <a:lnTo>
                    <a:pt x="19753" y="15254"/>
                  </a:lnTo>
                  <a:lnTo>
                    <a:pt x="19836" y="15233"/>
                  </a:lnTo>
                  <a:lnTo>
                    <a:pt x="19941" y="15233"/>
                  </a:lnTo>
                  <a:lnTo>
                    <a:pt x="19983" y="15275"/>
                  </a:lnTo>
                  <a:lnTo>
                    <a:pt x="20046" y="15275"/>
                  </a:lnTo>
                  <a:lnTo>
                    <a:pt x="20066" y="15233"/>
                  </a:lnTo>
                  <a:lnTo>
                    <a:pt x="20046" y="15170"/>
                  </a:lnTo>
                  <a:lnTo>
                    <a:pt x="19836" y="14961"/>
                  </a:lnTo>
                  <a:lnTo>
                    <a:pt x="19669" y="14836"/>
                  </a:lnTo>
                  <a:lnTo>
                    <a:pt x="19522" y="14836"/>
                  </a:lnTo>
                  <a:lnTo>
                    <a:pt x="19355" y="14752"/>
                  </a:lnTo>
                  <a:lnTo>
                    <a:pt x="19271" y="14647"/>
                  </a:lnTo>
                  <a:lnTo>
                    <a:pt x="19271" y="14564"/>
                  </a:lnTo>
                  <a:lnTo>
                    <a:pt x="19271" y="14522"/>
                  </a:lnTo>
                  <a:lnTo>
                    <a:pt x="19334" y="14564"/>
                  </a:lnTo>
                  <a:lnTo>
                    <a:pt x="19376" y="14668"/>
                  </a:lnTo>
                  <a:lnTo>
                    <a:pt x="19460" y="14731"/>
                  </a:lnTo>
                  <a:lnTo>
                    <a:pt x="19585" y="14731"/>
                  </a:lnTo>
                  <a:lnTo>
                    <a:pt x="19627" y="14668"/>
                  </a:lnTo>
                  <a:lnTo>
                    <a:pt x="19627" y="14626"/>
                  </a:lnTo>
                  <a:lnTo>
                    <a:pt x="19522" y="14522"/>
                  </a:lnTo>
                  <a:lnTo>
                    <a:pt x="19481" y="14459"/>
                  </a:lnTo>
                  <a:lnTo>
                    <a:pt x="19481" y="14438"/>
                  </a:lnTo>
                  <a:lnTo>
                    <a:pt x="19522" y="14438"/>
                  </a:lnTo>
                  <a:lnTo>
                    <a:pt x="19564" y="14459"/>
                  </a:lnTo>
                  <a:lnTo>
                    <a:pt x="19690" y="14626"/>
                  </a:lnTo>
                  <a:lnTo>
                    <a:pt x="19753" y="14731"/>
                  </a:lnTo>
                  <a:lnTo>
                    <a:pt x="19753" y="14773"/>
                  </a:lnTo>
                  <a:lnTo>
                    <a:pt x="19857" y="14857"/>
                  </a:lnTo>
                  <a:lnTo>
                    <a:pt x="19962" y="14940"/>
                  </a:lnTo>
                  <a:lnTo>
                    <a:pt x="20087" y="15087"/>
                  </a:lnTo>
                  <a:lnTo>
                    <a:pt x="20171" y="15129"/>
                  </a:lnTo>
                  <a:lnTo>
                    <a:pt x="20213" y="15087"/>
                  </a:lnTo>
                  <a:lnTo>
                    <a:pt x="20276" y="15129"/>
                  </a:lnTo>
                  <a:lnTo>
                    <a:pt x="20297" y="15170"/>
                  </a:lnTo>
                  <a:lnTo>
                    <a:pt x="20213" y="15233"/>
                  </a:lnTo>
                  <a:lnTo>
                    <a:pt x="20276" y="15296"/>
                  </a:lnTo>
                  <a:lnTo>
                    <a:pt x="20318" y="15359"/>
                  </a:lnTo>
                  <a:lnTo>
                    <a:pt x="20380" y="15359"/>
                  </a:lnTo>
                  <a:lnTo>
                    <a:pt x="20422" y="15275"/>
                  </a:lnTo>
                  <a:lnTo>
                    <a:pt x="20485" y="15087"/>
                  </a:lnTo>
                  <a:lnTo>
                    <a:pt x="20506" y="15045"/>
                  </a:lnTo>
                  <a:lnTo>
                    <a:pt x="20527" y="14982"/>
                  </a:lnTo>
                  <a:lnTo>
                    <a:pt x="20506" y="14877"/>
                  </a:lnTo>
                  <a:lnTo>
                    <a:pt x="20506" y="14836"/>
                  </a:lnTo>
                  <a:lnTo>
                    <a:pt x="20506" y="14710"/>
                  </a:lnTo>
                  <a:lnTo>
                    <a:pt x="20464" y="14626"/>
                  </a:lnTo>
                  <a:lnTo>
                    <a:pt x="20464" y="14564"/>
                  </a:lnTo>
                  <a:lnTo>
                    <a:pt x="20464" y="14543"/>
                  </a:lnTo>
                  <a:lnTo>
                    <a:pt x="20506" y="14564"/>
                  </a:lnTo>
                  <a:lnTo>
                    <a:pt x="20590" y="14605"/>
                  </a:lnTo>
                  <a:lnTo>
                    <a:pt x="20610" y="14605"/>
                  </a:lnTo>
                  <a:lnTo>
                    <a:pt x="20590" y="14543"/>
                  </a:lnTo>
                  <a:lnTo>
                    <a:pt x="20506" y="14459"/>
                  </a:lnTo>
                  <a:lnTo>
                    <a:pt x="20464" y="14354"/>
                  </a:lnTo>
                  <a:lnTo>
                    <a:pt x="20401" y="14313"/>
                  </a:lnTo>
                  <a:lnTo>
                    <a:pt x="20318" y="14292"/>
                  </a:lnTo>
                  <a:lnTo>
                    <a:pt x="19962" y="14292"/>
                  </a:lnTo>
                  <a:lnTo>
                    <a:pt x="19920" y="14208"/>
                  </a:lnTo>
                  <a:lnTo>
                    <a:pt x="19836" y="14145"/>
                  </a:lnTo>
                  <a:lnTo>
                    <a:pt x="19648" y="14145"/>
                  </a:lnTo>
                  <a:lnTo>
                    <a:pt x="19564" y="14187"/>
                  </a:lnTo>
                  <a:lnTo>
                    <a:pt x="19502" y="14187"/>
                  </a:lnTo>
                  <a:lnTo>
                    <a:pt x="19460" y="14124"/>
                  </a:lnTo>
                  <a:lnTo>
                    <a:pt x="19439" y="14103"/>
                  </a:lnTo>
                  <a:lnTo>
                    <a:pt x="19460" y="14041"/>
                  </a:lnTo>
                  <a:lnTo>
                    <a:pt x="19502" y="14103"/>
                  </a:lnTo>
                  <a:lnTo>
                    <a:pt x="19543" y="14124"/>
                  </a:lnTo>
                  <a:lnTo>
                    <a:pt x="19669" y="14103"/>
                  </a:lnTo>
                  <a:lnTo>
                    <a:pt x="19836" y="14082"/>
                  </a:lnTo>
                  <a:lnTo>
                    <a:pt x="19878" y="14124"/>
                  </a:lnTo>
                  <a:lnTo>
                    <a:pt x="19941" y="14103"/>
                  </a:lnTo>
                  <a:lnTo>
                    <a:pt x="20025" y="14082"/>
                  </a:lnTo>
                  <a:lnTo>
                    <a:pt x="20087" y="14103"/>
                  </a:lnTo>
                  <a:lnTo>
                    <a:pt x="20150" y="14124"/>
                  </a:lnTo>
                  <a:lnTo>
                    <a:pt x="20192" y="14103"/>
                  </a:lnTo>
                  <a:lnTo>
                    <a:pt x="20234" y="14082"/>
                  </a:lnTo>
                  <a:lnTo>
                    <a:pt x="20234" y="14020"/>
                  </a:lnTo>
                  <a:lnTo>
                    <a:pt x="20234" y="13915"/>
                  </a:lnTo>
                  <a:lnTo>
                    <a:pt x="20234" y="13873"/>
                  </a:lnTo>
                  <a:lnTo>
                    <a:pt x="20171" y="13831"/>
                  </a:lnTo>
                  <a:lnTo>
                    <a:pt x="20129" y="13873"/>
                  </a:lnTo>
                  <a:lnTo>
                    <a:pt x="20066" y="13894"/>
                  </a:lnTo>
                  <a:lnTo>
                    <a:pt x="19983" y="13873"/>
                  </a:lnTo>
                  <a:lnTo>
                    <a:pt x="19857" y="13873"/>
                  </a:lnTo>
                  <a:lnTo>
                    <a:pt x="19815" y="13810"/>
                  </a:lnTo>
                  <a:lnTo>
                    <a:pt x="19711" y="13706"/>
                  </a:lnTo>
                  <a:lnTo>
                    <a:pt x="19606" y="13727"/>
                  </a:lnTo>
                  <a:lnTo>
                    <a:pt x="19564" y="13789"/>
                  </a:lnTo>
                  <a:lnTo>
                    <a:pt x="19543" y="13789"/>
                  </a:lnTo>
                  <a:lnTo>
                    <a:pt x="19543" y="13685"/>
                  </a:lnTo>
                  <a:lnTo>
                    <a:pt x="19543" y="13601"/>
                  </a:lnTo>
                  <a:lnTo>
                    <a:pt x="19522" y="13538"/>
                  </a:lnTo>
                  <a:lnTo>
                    <a:pt x="19313" y="13538"/>
                  </a:lnTo>
                  <a:lnTo>
                    <a:pt x="19229" y="13497"/>
                  </a:lnTo>
                  <a:lnTo>
                    <a:pt x="19250" y="13455"/>
                  </a:lnTo>
                  <a:lnTo>
                    <a:pt x="19313" y="13455"/>
                  </a:lnTo>
                  <a:lnTo>
                    <a:pt x="19418" y="13476"/>
                  </a:lnTo>
                  <a:lnTo>
                    <a:pt x="19460" y="13455"/>
                  </a:lnTo>
                  <a:lnTo>
                    <a:pt x="19460" y="13392"/>
                  </a:lnTo>
                  <a:lnTo>
                    <a:pt x="19439" y="13371"/>
                  </a:lnTo>
                  <a:lnTo>
                    <a:pt x="19481" y="13308"/>
                  </a:lnTo>
                  <a:lnTo>
                    <a:pt x="19460" y="13266"/>
                  </a:lnTo>
                  <a:lnTo>
                    <a:pt x="19439" y="13204"/>
                  </a:lnTo>
                  <a:lnTo>
                    <a:pt x="19481" y="13162"/>
                  </a:lnTo>
                  <a:lnTo>
                    <a:pt x="19460" y="13078"/>
                  </a:lnTo>
                  <a:lnTo>
                    <a:pt x="19460" y="12994"/>
                  </a:lnTo>
                  <a:lnTo>
                    <a:pt x="19522" y="12973"/>
                  </a:lnTo>
                  <a:lnTo>
                    <a:pt x="19543" y="12994"/>
                  </a:lnTo>
                  <a:lnTo>
                    <a:pt x="19543" y="13078"/>
                  </a:lnTo>
                  <a:lnTo>
                    <a:pt x="19585" y="13141"/>
                  </a:lnTo>
                  <a:lnTo>
                    <a:pt x="19648" y="13162"/>
                  </a:lnTo>
                  <a:lnTo>
                    <a:pt x="19732" y="13078"/>
                  </a:lnTo>
                  <a:lnTo>
                    <a:pt x="19857" y="12953"/>
                  </a:lnTo>
                  <a:lnTo>
                    <a:pt x="19941" y="12932"/>
                  </a:lnTo>
                  <a:lnTo>
                    <a:pt x="19941" y="12890"/>
                  </a:lnTo>
                  <a:lnTo>
                    <a:pt x="19899" y="12869"/>
                  </a:lnTo>
                  <a:lnTo>
                    <a:pt x="19794" y="12848"/>
                  </a:lnTo>
                  <a:lnTo>
                    <a:pt x="19732" y="12848"/>
                  </a:lnTo>
                  <a:lnTo>
                    <a:pt x="19690" y="12827"/>
                  </a:lnTo>
                  <a:lnTo>
                    <a:pt x="19774" y="12785"/>
                  </a:lnTo>
                  <a:lnTo>
                    <a:pt x="19878" y="12785"/>
                  </a:lnTo>
                  <a:lnTo>
                    <a:pt x="19941" y="12827"/>
                  </a:lnTo>
                  <a:lnTo>
                    <a:pt x="19983" y="12827"/>
                  </a:lnTo>
                  <a:lnTo>
                    <a:pt x="19983" y="12764"/>
                  </a:lnTo>
                  <a:lnTo>
                    <a:pt x="19962" y="12743"/>
                  </a:lnTo>
                  <a:lnTo>
                    <a:pt x="20046" y="12722"/>
                  </a:lnTo>
                  <a:lnTo>
                    <a:pt x="20150" y="12722"/>
                  </a:lnTo>
                  <a:lnTo>
                    <a:pt x="20213" y="12785"/>
                  </a:lnTo>
                  <a:lnTo>
                    <a:pt x="20276" y="12827"/>
                  </a:lnTo>
                  <a:lnTo>
                    <a:pt x="20318" y="12785"/>
                  </a:lnTo>
                  <a:lnTo>
                    <a:pt x="20380" y="12827"/>
                  </a:lnTo>
                  <a:lnTo>
                    <a:pt x="20422" y="12890"/>
                  </a:lnTo>
                  <a:lnTo>
                    <a:pt x="20401" y="12973"/>
                  </a:lnTo>
                  <a:lnTo>
                    <a:pt x="20422" y="13036"/>
                  </a:lnTo>
                  <a:lnTo>
                    <a:pt x="20506" y="13057"/>
                  </a:lnTo>
                  <a:lnTo>
                    <a:pt x="20527" y="13036"/>
                  </a:lnTo>
                  <a:lnTo>
                    <a:pt x="20590" y="13057"/>
                  </a:lnTo>
                  <a:lnTo>
                    <a:pt x="20631" y="13141"/>
                  </a:lnTo>
                  <a:lnTo>
                    <a:pt x="20778" y="13183"/>
                  </a:lnTo>
                  <a:lnTo>
                    <a:pt x="20820" y="13266"/>
                  </a:lnTo>
                  <a:lnTo>
                    <a:pt x="20841" y="13287"/>
                  </a:lnTo>
                  <a:lnTo>
                    <a:pt x="20882" y="13245"/>
                  </a:lnTo>
                  <a:lnTo>
                    <a:pt x="20903" y="13141"/>
                  </a:lnTo>
                  <a:lnTo>
                    <a:pt x="20945" y="13057"/>
                  </a:lnTo>
                  <a:lnTo>
                    <a:pt x="21008" y="12890"/>
                  </a:lnTo>
                  <a:lnTo>
                    <a:pt x="21008" y="12848"/>
                  </a:lnTo>
                  <a:lnTo>
                    <a:pt x="21029" y="12722"/>
                  </a:lnTo>
                  <a:lnTo>
                    <a:pt x="21050" y="12555"/>
                  </a:lnTo>
                  <a:lnTo>
                    <a:pt x="21092" y="12513"/>
                  </a:lnTo>
                  <a:lnTo>
                    <a:pt x="21092" y="12429"/>
                  </a:lnTo>
                  <a:lnTo>
                    <a:pt x="21050" y="12346"/>
                  </a:lnTo>
                  <a:lnTo>
                    <a:pt x="20987" y="12304"/>
                  </a:lnTo>
                  <a:lnTo>
                    <a:pt x="20924" y="12241"/>
                  </a:lnTo>
                  <a:lnTo>
                    <a:pt x="20882" y="12241"/>
                  </a:lnTo>
                  <a:lnTo>
                    <a:pt x="20841" y="12199"/>
                  </a:lnTo>
                  <a:lnTo>
                    <a:pt x="20841" y="12136"/>
                  </a:lnTo>
                  <a:lnTo>
                    <a:pt x="20757" y="12136"/>
                  </a:lnTo>
                  <a:lnTo>
                    <a:pt x="20694" y="12220"/>
                  </a:lnTo>
                  <a:lnTo>
                    <a:pt x="20590" y="12325"/>
                  </a:lnTo>
                  <a:lnTo>
                    <a:pt x="20506" y="12346"/>
                  </a:lnTo>
                  <a:lnTo>
                    <a:pt x="20464" y="12304"/>
                  </a:lnTo>
                  <a:lnTo>
                    <a:pt x="20485" y="12241"/>
                  </a:lnTo>
                  <a:lnTo>
                    <a:pt x="20485" y="12157"/>
                  </a:lnTo>
                  <a:lnTo>
                    <a:pt x="20485" y="12136"/>
                  </a:lnTo>
                  <a:lnTo>
                    <a:pt x="20380" y="12116"/>
                  </a:lnTo>
                  <a:lnTo>
                    <a:pt x="20297" y="12116"/>
                  </a:lnTo>
                  <a:lnTo>
                    <a:pt x="20276" y="12053"/>
                  </a:lnTo>
                  <a:lnTo>
                    <a:pt x="20338" y="12032"/>
                  </a:lnTo>
                  <a:lnTo>
                    <a:pt x="20338" y="12011"/>
                  </a:lnTo>
                  <a:lnTo>
                    <a:pt x="20255" y="11948"/>
                  </a:lnTo>
                  <a:lnTo>
                    <a:pt x="20213" y="11906"/>
                  </a:lnTo>
                  <a:lnTo>
                    <a:pt x="20255" y="11885"/>
                  </a:lnTo>
                  <a:lnTo>
                    <a:pt x="20276" y="11906"/>
                  </a:lnTo>
                  <a:lnTo>
                    <a:pt x="20359" y="11927"/>
                  </a:lnTo>
                  <a:lnTo>
                    <a:pt x="20359" y="11885"/>
                  </a:lnTo>
                  <a:lnTo>
                    <a:pt x="20297" y="11802"/>
                  </a:lnTo>
                  <a:lnTo>
                    <a:pt x="20276" y="11718"/>
                  </a:lnTo>
                  <a:lnTo>
                    <a:pt x="20297" y="11676"/>
                  </a:lnTo>
                  <a:lnTo>
                    <a:pt x="20359" y="11634"/>
                  </a:lnTo>
                  <a:lnTo>
                    <a:pt x="20380" y="11676"/>
                  </a:lnTo>
                  <a:lnTo>
                    <a:pt x="20443" y="11697"/>
                  </a:lnTo>
                  <a:lnTo>
                    <a:pt x="20464" y="11739"/>
                  </a:lnTo>
                  <a:lnTo>
                    <a:pt x="20590" y="11885"/>
                  </a:lnTo>
                  <a:lnTo>
                    <a:pt x="20673" y="11927"/>
                  </a:lnTo>
                  <a:lnTo>
                    <a:pt x="20757" y="11906"/>
                  </a:lnTo>
                  <a:lnTo>
                    <a:pt x="20799" y="11844"/>
                  </a:lnTo>
                  <a:lnTo>
                    <a:pt x="20757" y="11718"/>
                  </a:lnTo>
                  <a:lnTo>
                    <a:pt x="20652" y="11613"/>
                  </a:lnTo>
                  <a:lnTo>
                    <a:pt x="20569" y="11572"/>
                  </a:lnTo>
                  <a:lnTo>
                    <a:pt x="20464" y="11530"/>
                  </a:lnTo>
                  <a:lnTo>
                    <a:pt x="20443" y="11404"/>
                  </a:lnTo>
                  <a:lnTo>
                    <a:pt x="20380" y="11320"/>
                  </a:lnTo>
                  <a:lnTo>
                    <a:pt x="20338" y="11258"/>
                  </a:lnTo>
                  <a:lnTo>
                    <a:pt x="20255" y="11216"/>
                  </a:lnTo>
                  <a:lnTo>
                    <a:pt x="20171" y="11174"/>
                  </a:lnTo>
                  <a:lnTo>
                    <a:pt x="20171" y="11111"/>
                  </a:lnTo>
                  <a:lnTo>
                    <a:pt x="20234" y="11069"/>
                  </a:lnTo>
                  <a:lnTo>
                    <a:pt x="20234" y="11007"/>
                  </a:lnTo>
                  <a:lnTo>
                    <a:pt x="20192" y="10986"/>
                  </a:lnTo>
                  <a:lnTo>
                    <a:pt x="20192" y="10944"/>
                  </a:lnTo>
                  <a:lnTo>
                    <a:pt x="20255" y="10881"/>
                  </a:lnTo>
                  <a:lnTo>
                    <a:pt x="20297" y="10881"/>
                  </a:lnTo>
                  <a:lnTo>
                    <a:pt x="20359" y="10860"/>
                  </a:lnTo>
                  <a:lnTo>
                    <a:pt x="20443" y="10881"/>
                  </a:lnTo>
                  <a:lnTo>
                    <a:pt x="20485" y="10944"/>
                  </a:lnTo>
                  <a:lnTo>
                    <a:pt x="20401" y="10986"/>
                  </a:lnTo>
                  <a:lnTo>
                    <a:pt x="20464" y="10986"/>
                  </a:lnTo>
                  <a:lnTo>
                    <a:pt x="20548" y="11048"/>
                  </a:lnTo>
                  <a:lnTo>
                    <a:pt x="20548" y="11090"/>
                  </a:lnTo>
                  <a:lnTo>
                    <a:pt x="20569" y="11174"/>
                  </a:lnTo>
                  <a:lnTo>
                    <a:pt x="20652" y="11195"/>
                  </a:lnTo>
                  <a:lnTo>
                    <a:pt x="20757" y="11111"/>
                  </a:lnTo>
                  <a:lnTo>
                    <a:pt x="20799" y="10986"/>
                  </a:lnTo>
                  <a:lnTo>
                    <a:pt x="20820" y="10860"/>
                  </a:lnTo>
                  <a:lnTo>
                    <a:pt x="20882" y="10776"/>
                  </a:lnTo>
                  <a:lnTo>
                    <a:pt x="20903" y="10735"/>
                  </a:lnTo>
                  <a:lnTo>
                    <a:pt x="20882" y="10588"/>
                  </a:lnTo>
                  <a:lnTo>
                    <a:pt x="20966" y="10525"/>
                  </a:lnTo>
                  <a:lnTo>
                    <a:pt x="21029" y="10463"/>
                  </a:lnTo>
                  <a:lnTo>
                    <a:pt x="21071" y="10316"/>
                  </a:lnTo>
                  <a:lnTo>
                    <a:pt x="21029" y="10212"/>
                  </a:lnTo>
                  <a:lnTo>
                    <a:pt x="20987" y="10128"/>
                  </a:lnTo>
                  <a:lnTo>
                    <a:pt x="21029" y="9919"/>
                  </a:lnTo>
                  <a:lnTo>
                    <a:pt x="21092" y="9751"/>
                  </a:lnTo>
                  <a:lnTo>
                    <a:pt x="21092" y="9605"/>
                  </a:lnTo>
                  <a:lnTo>
                    <a:pt x="21175" y="9521"/>
                  </a:lnTo>
                  <a:lnTo>
                    <a:pt x="21175" y="9437"/>
                  </a:lnTo>
                  <a:lnTo>
                    <a:pt x="21196" y="9312"/>
                  </a:lnTo>
                  <a:lnTo>
                    <a:pt x="21196" y="9165"/>
                  </a:lnTo>
                  <a:lnTo>
                    <a:pt x="21280" y="9082"/>
                  </a:lnTo>
                  <a:lnTo>
                    <a:pt x="21343" y="8956"/>
                  </a:lnTo>
                  <a:lnTo>
                    <a:pt x="21531" y="8684"/>
                  </a:lnTo>
                  <a:lnTo>
                    <a:pt x="21615" y="8538"/>
                  </a:lnTo>
                  <a:lnTo>
                    <a:pt x="21761" y="8391"/>
                  </a:lnTo>
                  <a:lnTo>
                    <a:pt x="21824" y="8287"/>
                  </a:lnTo>
                  <a:lnTo>
                    <a:pt x="21908" y="8224"/>
                  </a:lnTo>
                  <a:lnTo>
                    <a:pt x="21950" y="8077"/>
                  </a:lnTo>
                  <a:lnTo>
                    <a:pt x="22075" y="7973"/>
                  </a:lnTo>
                  <a:lnTo>
                    <a:pt x="22117" y="7952"/>
                  </a:lnTo>
                  <a:lnTo>
                    <a:pt x="22075" y="7910"/>
                  </a:lnTo>
                  <a:lnTo>
                    <a:pt x="22012" y="7847"/>
                  </a:lnTo>
                  <a:lnTo>
                    <a:pt x="21908" y="7826"/>
                  </a:lnTo>
                  <a:lnTo>
                    <a:pt x="21845" y="7763"/>
                  </a:lnTo>
                  <a:lnTo>
                    <a:pt x="21803" y="7722"/>
                  </a:lnTo>
                  <a:lnTo>
                    <a:pt x="21719" y="7743"/>
                  </a:lnTo>
                  <a:lnTo>
                    <a:pt x="21552" y="7805"/>
                  </a:lnTo>
                  <a:lnTo>
                    <a:pt x="21406" y="7847"/>
                  </a:lnTo>
                  <a:lnTo>
                    <a:pt x="21280" y="7910"/>
                  </a:lnTo>
                  <a:lnTo>
                    <a:pt x="21196" y="8015"/>
                  </a:lnTo>
                  <a:lnTo>
                    <a:pt x="21092" y="8056"/>
                  </a:lnTo>
                  <a:lnTo>
                    <a:pt x="21071" y="8119"/>
                  </a:lnTo>
                  <a:lnTo>
                    <a:pt x="21008" y="8140"/>
                  </a:lnTo>
                  <a:lnTo>
                    <a:pt x="20903" y="8077"/>
                  </a:lnTo>
                  <a:lnTo>
                    <a:pt x="20862" y="8035"/>
                  </a:lnTo>
                  <a:lnTo>
                    <a:pt x="20862" y="7973"/>
                  </a:lnTo>
                  <a:lnTo>
                    <a:pt x="20924" y="7973"/>
                  </a:lnTo>
                  <a:lnTo>
                    <a:pt x="20987" y="7952"/>
                  </a:lnTo>
                  <a:lnTo>
                    <a:pt x="20987" y="7847"/>
                  </a:lnTo>
                  <a:lnTo>
                    <a:pt x="20966" y="7805"/>
                  </a:lnTo>
                  <a:lnTo>
                    <a:pt x="20882" y="7805"/>
                  </a:lnTo>
                  <a:lnTo>
                    <a:pt x="20820" y="7763"/>
                  </a:lnTo>
                  <a:lnTo>
                    <a:pt x="20903" y="7743"/>
                  </a:lnTo>
                  <a:lnTo>
                    <a:pt x="20966" y="7701"/>
                  </a:lnTo>
                  <a:lnTo>
                    <a:pt x="21071" y="7617"/>
                  </a:lnTo>
                  <a:lnTo>
                    <a:pt x="21134" y="7491"/>
                  </a:lnTo>
                  <a:lnTo>
                    <a:pt x="21238" y="7408"/>
                  </a:lnTo>
                  <a:lnTo>
                    <a:pt x="21322" y="7408"/>
                  </a:lnTo>
                  <a:lnTo>
                    <a:pt x="21447" y="7429"/>
                  </a:lnTo>
                  <a:lnTo>
                    <a:pt x="21698" y="7617"/>
                  </a:lnTo>
                  <a:lnTo>
                    <a:pt x="21761" y="7659"/>
                  </a:lnTo>
                  <a:lnTo>
                    <a:pt x="21970" y="7659"/>
                  </a:lnTo>
                  <a:lnTo>
                    <a:pt x="22075" y="7638"/>
                  </a:lnTo>
                  <a:lnTo>
                    <a:pt x="22180" y="7659"/>
                  </a:lnTo>
                  <a:lnTo>
                    <a:pt x="22389" y="7617"/>
                  </a:lnTo>
                  <a:lnTo>
                    <a:pt x="22494" y="7554"/>
                  </a:lnTo>
                  <a:lnTo>
                    <a:pt x="22494" y="7491"/>
                  </a:lnTo>
                  <a:lnTo>
                    <a:pt x="22473" y="7429"/>
                  </a:lnTo>
                  <a:lnTo>
                    <a:pt x="22515" y="7429"/>
                  </a:lnTo>
                  <a:lnTo>
                    <a:pt x="22598" y="7408"/>
                  </a:lnTo>
                  <a:lnTo>
                    <a:pt x="22682" y="7324"/>
                  </a:lnTo>
                  <a:lnTo>
                    <a:pt x="22682" y="7240"/>
                  </a:lnTo>
                  <a:lnTo>
                    <a:pt x="22640" y="7178"/>
                  </a:lnTo>
                  <a:lnTo>
                    <a:pt x="22535" y="7136"/>
                  </a:lnTo>
                  <a:lnTo>
                    <a:pt x="22473" y="7094"/>
                  </a:lnTo>
                  <a:lnTo>
                    <a:pt x="22431" y="7073"/>
                  </a:lnTo>
                  <a:lnTo>
                    <a:pt x="22347" y="7073"/>
                  </a:lnTo>
                  <a:lnTo>
                    <a:pt x="22263" y="7136"/>
                  </a:lnTo>
                  <a:lnTo>
                    <a:pt x="22222" y="7136"/>
                  </a:lnTo>
                  <a:lnTo>
                    <a:pt x="22138" y="7073"/>
                  </a:lnTo>
                  <a:lnTo>
                    <a:pt x="21908" y="7073"/>
                  </a:lnTo>
                  <a:lnTo>
                    <a:pt x="21761" y="7031"/>
                  </a:lnTo>
                  <a:lnTo>
                    <a:pt x="21657" y="6989"/>
                  </a:lnTo>
                  <a:lnTo>
                    <a:pt x="21594" y="6989"/>
                  </a:lnTo>
                  <a:lnTo>
                    <a:pt x="21510" y="7010"/>
                  </a:lnTo>
                  <a:lnTo>
                    <a:pt x="21196" y="7010"/>
                  </a:lnTo>
                  <a:lnTo>
                    <a:pt x="21092" y="6968"/>
                  </a:lnTo>
                  <a:lnTo>
                    <a:pt x="21196" y="6968"/>
                  </a:lnTo>
                  <a:lnTo>
                    <a:pt x="21301" y="6989"/>
                  </a:lnTo>
                  <a:lnTo>
                    <a:pt x="21406" y="6927"/>
                  </a:lnTo>
                  <a:lnTo>
                    <a:pt x="21531" y="6906"/>
                  </a:lnTo>
                  <a:lnTo>
                    <a:pt x="21636" y="6927"/>
                  </a:lnTo>
                  <a:lnTo>
                    <a:pt x="21740" y="6968"/>
                  </a:lnTo>
                  <a:lnTo>
                    <a:pt x="21782" y="6927"/>
                  </a:lnTo>
                  <a:lnTo>
                    <a:pt x="21845" y="6885"/>
                  </a:lnTo>
                  <a:lnTo>
                    <a:pt x="21950" y="6885"/>
                  </a:lnTo>
                  <a:lnTo>
                    <a:pt x="21991" y="6822"/>
                  </a:lnTo>
                  <a:lnTo>
                    <a:pt x="22054" y="6801"/>
                  </a:lnTo>
                  <a:lnTo>
                    <a:pt x="22138" y="6822"/>
                  </a:lnTo>
                  <a:lnTo>
                    <a:pt x="22180" y="6822"/>
                  </a:lnTo>
                  <a:lnTo>
                    <a:pt x="22201" y="6780"/>
                  </a:lnTo>
                  <a:lnTo>
                    <a:pt x="22242" y="6759"/>
                  </a:lnTo>
                  <a:lnTo>
                    <a:pt x="22284" y="6759"/>
                  </a:lnTo>
                  <a:lnTo>
                    <a:pt x="22305" y="6780"/>
                  </a:lnTo>
                  <a:lnTo>
                    <a:pt x="22368" y="6801"/>
                  </a:lnTo>
                  <a:lnTo>
                    <a:pt x="22410" y="6822"/>
                  </a:lnTo>
                  <a:lnTo>
                    <a:pt x="22515" y="6822"/>
                  </a:lnTo>
                  <a:lnTo>
                    <a:pt x="22619" y="6864"/>
                  </a:lnTo>
                  <a:lnTo>
                    <a:pt x="22703" y="6906"/>
                  </a:lnTo>
                  <a:lnTo>
                    <a:pt x="22891" y="6906"/>
                  </a:lnTo>
                  <a:lnTo>
                    <a:pt x="22996" y="6822"/>
                  </a:lnTo>
                  <a:lnTo>
                    <a:pt x="23184" y="6759"/>
                  </a:lnTo>
                  <a:lnTo>
                    <a:pt x="23331" y="6759"/>
                  </a:lnTo>
                  <a:lnTo>
                    <a:pt x="23351" y="6675"/>
                  </a:lnTo>
                  <a:lnTo>
                    <a:pt x="23351" y="6592"/>
                  </a:lnTo>
                  <a:lnTo>
                    <a:pt x="23310" y="6571"/>
                  </a:lnTo>
                  <a:lnTo>
                    <a:pt x="23247" y="6487"/>
                  </a:lnTo>
                  <a:lnTo>
                    <a:pt x="23247" y="6445"/>
                  </a:lnTo>
                  <a:lnTo>
                    <a:pt x="23226" y="6403"/>
                  </a:lnTo>
                  <a:lnTo>
                    <a:pt x="23226" y="6362"/>
                  </a:lnTo>
                  <a:lnTo>
                    <a:pt x="23289" y="6257"/>
                  </a:lnTo>
                  <a:lnTo>
                    <a:pt x="23351" y="6194"/>
                  </a:lnTo>
                  <a:lnTo>
                    <a:pt x="23414" y="6194"/>
                  </a:lnTo>
                  <a:lnTo>
                    <a:pt x="23561" y="6299"/>
                  </a:lnTo>
                  <a:lnTo>
                    <a:pt x="23644" y="6341"/>
                  </a:lnTo>
                  <a:lnTo>
                    <a:pt x="23707" y="6299"/>
                  </a:lnTo>
                  <a:lnTo>
                    <a:pt x="23749" y="6236"/>
                  </a:lnTo>
                  <a:lnTo>
                    <a:pt x="23854" y="6069"/>
                  </a:lnTo>
                  <a:lnTo>
                    <a:pt x="23958" y="5985"/>
                  </a:lnTo>
                  <a:lnTo>
                    <a:pt x="24042" y="5964"/>
                  </a:lnTo>
                  <a:lnTo>
                    <a:pt x="24063" y="5922"/>
                  </a:lnTo>
                  <a:lnTo>
                    <a:pt x="24167" y="5838"/>
                  </a:lnTo>
                  <a:lnTo>
                    <a:pt x="24272" y="5776"/>
                  </a:lnTo>
                  <a:lnTo>
                    <a:pt x="24335" y="5713"/>
                  </a:lnTo>
                  <a:lnTo>
                    <a:pt x="24335" y="5566"/>
                  </a:lnTo>
                  <a:lnTo>
                    <a:pt x="24272" y="5420"/>
                  </a:lnTo>
                  <a:lnTo>
                    <a:pt x="24188" y="5336"/>
                  </a:lnTo>
                  <a:lnTo>
                    <a:pt x="24167" y="5253"/>
                  </a:lnTo>
                  <a:lnTo>
                    <a:pt x="24021" y="5127"/>
                  </a:lnTo>
                  <a:lnTo>
                    <a:pt x="24021" y="5085"/>
                  </a:lnTo>
                  <a:lnTo>
                    <a:pt x="23958" y="5002"/>
                  </a:lnTo>
                  <a:lnTo>
                    <a:pt x="23854" y="4939"/>
                  </a:lnTo>
                  <a:lnTo>
                    <a:pt x="23812" y="4939"/>
                  </a:lnTo>
                  <a:lnTo>
                    <a:pt x="23728" y="4876"/>
                  </a:lnTo>
                  <a:lnTo>
                    <a:pt x="23623" y="4813"/>
                  </a:lnTo>
                  <a:lnTo>
                    <a:pt x="23498" y="4813"/>
                  </a:lnTo>
                  <a:lnTo>
                    <a:pt x="23331" y="4771"/>
                  </a:lnTo>
                  <a:lnTo>
                    <a:pt x="23184" y="4688"/>
                  </a:lnTo>
                  <a:lnTo>
                    <a:pt x="23038" y="4667"/>
                  </a:lnTo>
                  <a:lnTo>
                    <a:pt x="22975" y="4688"/>
                  </a:lnTo>
                  <a:lnTo>
                    <a:pt x="22828" y="4688"/>
                  </a:lnTo>
                  <a:lnTo>
                    <a:pt x="22682" y="4730"/>
                  </a:lnTo>
                  <a:lnTo>
                    <a:pt x="22619" y="4792"/>
                  </a:lnTo>
                  <a:lnTo>
                    <a:pt x="22515" y="4834"/>
                  </a:lnTo>
                  <a:lnTo>
                    <a:pt x="22410" y="4792"/>
                  </a:lnTo>
                  <a:lnTo>
                    <a:pt x="22389" y="4730"/>
                  </a:lnTo>
                  <a:lnTo>
                    <a:pt x="22347" y="4771"/>
                  </a:lnTo>
                  <a:lnTo>
                    <a:pt x="22305" y="4834"/>
                  </a:lnTo>
                  <a:lnTo>
                    <a:pt x="22347" y="4918"/>
                  </a:lnTo>
                  <a:lnTo>
                    <a:pt x="22347" y="5022"/>
                  </a:lnTo>
                  <a:lnTo>
                    <a:pt x="22284" y="5106"/>
                  </a:lnTo>
                  <a:lnTo>
                    <a:pt x="22242" y="5106"/>
                  </a:lnTo>
                  <a:lnTo>
                    <a:pt x="22242" y="5148"/>
                  </a:lnTo>
                  <a:lnTo>
                    <a:pt x="22263" y="5211"/>
                  </a:lnTo>
                  <a:lnTo>
                    <a:pt x="22242" y="5294"/>
                  </a:lnTo>
                  <a:lnTo>
                    <a:pt x="22138" y="5336"/>
                  </a:lnTo>
                  <a:lnTo>
                    <a:pt x="22033" y="5336"/>
                  </a:lnTo>
                  <a:lnTo>
                    <a:pt x="21970" y="5253"/>
                  </a:lnTo>
                  <a:lnTo>
                    <a:pt x="21970" y="5190"/>
                  </a:lnTo>
                  <a:lnTo>
                    <a:pt x="21929" y="5148"/>
                  </a:lnTo>
                  <a:lnTo>
                    <a:pt x="21866" y="5211"/>
                  </a:lnTo>
                  <a:lnTo>
                    <a:pt x="21866" y="5315"/>
                  </a:lnTo>
                  <a:lnTo>
                    <a:pt x="21887" y="5336"/>
                  </a:lnTo>
                  <a:lnTo>
                    <a:pt x="21845" y="5420"/>
                  </a:lnTo>
                  <a:lnTo>
                    <a:pt x="21824" y="5525"/>
                  </a:lnTo>
                  <a:lnTo>
                    <a:pt x="21782" y="5566"/>
                  </a:lnTo>
                  <a:lnTo>
                    <a:pt x="21782" y="5504"/>
                  </a:lnTo>
                  <a:lnTo>
                    <a:pt x="21824" y="5441"/>
                  </a:lnTo>
                  <a:lnTo>
                    <a:pt x="21782" y="5315"/>
                  </a:lnTo>
                  <a:lnTo>
                    <a:pt x="21740" y="5232"/>
                  </a:lnTo>
                  <a:lnTo>
                    <a:pt x="21761" y="5148"/>
                  </a:lnTo>
                  <a:lnTo>
                    <a:pt x="21761" y="5064"/>
                  </a:lnTo>
                  <a:lnTo>
                    <a:pt x="21719" y="5002"/>
                  </a:lnTo>
                  <a:lnTo>
                    <a:pt x="21719" y="4918"/>
                  </a:lnTo>
                  <a:lnTo>
                    <a:pt x="21657" y="4939"/>
                  </a:lnTo>
                  <a:lnTo>
                    <a:pt x="21636" y="5002"/>
                  </a:lnTo>
                  <a:lnTo>
                    <a:pt x="21552" y="5064"/>
                  </a:lnTo>
                  <a:lnTo>
                    <a:pt x="21552" y="5148"/>
                  </a:lnTo>
                  <a:lnTo>
                    <a:pt x="21531" y="5253"/>
                  </a:lnTo>
                  <a:lnTo>
                    <a:pt x="21364" y="5420"/>
                  </a:lnTo>
                  <a:lnTo>
                    <a:pt x="21301" y="5483"/>
                  </a:lnTo>
                  <a:lnTo>
                    <a:pt x="21217" y="5483"/>
                  </a:lnTo>
                  <a:lnTo>
                    <a:pt x="21154" y="5546"/>
                  </a:lnTo>
                  <a:lnTo>
                    <a:pt x="21050" y="5629"/>
                  </a:lnTo>
                  <a:lnTo>
                    <a:pt x="20945" y="5629"/>
                  </a:lnTo>
                  <a:lnTo>
                    <a:pt x="20841" y="5734"/>
                  </a:lnTo>
                  <a:lnTo>
                    <a:pt x="20694" y="5818"/>
                  </a:lnTo>
                  <a:lnTo>
                    <a:pt x="20422" y="5818"/>
                  </a:lnTo>
                  <a:lnTo>
                    <a:pt x="20422" y="5859"/>
                  </a:lnTo>
                  <a:lnTo>
                    <a:pt x="20359" y="5901"/>
                  </a:lnTo>
                  <a:lnTo>
                    <a:pt x="20255" y="5901"/>
                  </a:lnTo>
                  <a:lnTo>
                    <a:pt x="20171" y="5880"/>
                  </a:lnTo>
                  <a:lnTo>
                    <a:pt x="20087" y="5943"/>
                  </a:lnTo>
                  <a:lnTo>
                    <a:pt x="19711" y="6131"/>
                  </a:lnTo>
                  <a:lnTo>
                    <a:pt x="19522" y="6278"/>
                  </a:lnTo>
                  <a:lnTo>
                    <a:pt x="19502" y="6382"/>
                  </a:lnTo>
                  <a:lnTo>
                    <a:pt x="19439" y="6403"/>
                  </a:lnTo>
                  <a:lnTo>
                    <a:pt x="19229" y="6571"/>
                  </a:lnTo>
                  <a:lnTo>
                    <a:pt x="19125" y="6675"/>
                  </a:lnTo>
                  <a:lnTo>
                    <a:pt x="19104" y="6613"/>
                  </a:lnTo>
                  <a:lnTo>
                    <a:pt x="19083" y="6613"/>
                  </a:lnTo>
                  <a:lnTo>
                    <a:pt x="18978" y="6696"/>
                  </a:lnTo>
                  <a:lnTo>
                    <a:pt x="18895" y="6822"/>
                  </a:lnTo>
                  <a:lnTo>
                    <a:pt x="18790" y="6968"/>
                  </a:lnTo>
                  <a:lnTo>
                    <a:pt x="18769" y="7031"/>
                  </a:lnTo>
                  <a:lnTo>
                    <a:pt x="18727" y="7094"/>
                  </a:lnTo>
                  <a:lnTo>
                    <a:pt x="18706" y="7031"/>
                  </a:lnTo>
                  <a:lnTo>
                    <a:pt x="18748" y="6906"/>
                  </a:lnTo>
                  <a:lnTo>
                    <a:pt x="18748" y="6801"/>
                  </a:lnTo>
                  <a:lnTo>
                    <a:pt x="18748" y="6696"/>
                  </a:lnTo>
                  <a:lnTo>
                    <a:pt x="18853" y="6696"/>
                  </a:lnTo>
                  <a:lnTo>
                    <a:pt x="18895" y="6654"/>
                  </a:lnTo>
                  <a:lnTo>
                    <a:pt x="19020" y="6550"/>
                  </a:lnTo>
                  <a:lnTo>
                    <a:pt x="19104" y="6508"/>
                  </a:lnTo>
                  <a:lnTo>
                    <a:pt x="19209" y="6403"/>
                  </a:lnTo>
                  <a:lnTo>
                    <a:pt x="19355" y="6278"/>
                  </a:lnTo>
                  <a:lnTo>
                    <a:pt x="19418" y="6194"/>
                  </a:lnTo>
                  <a:lnTo>
                    <a:pt x="19522" y="6152"/>
                  </a:lnTo>
                  <a:lnTo>
                    <a:pt x="19627" y="5985"/>
                  </a:lnTo>
                  <a:lnTo>
                    <a:pt x="19669" y="5922"/>
                  </a:lnTo>
                  <a:lnTo>
                    <a:pt x="19648" y="5838"/>
                  </a:lnTo>
                  <a:lnTo>
                    <a:pt x="19669" y="5776"/>
                  </a:lnTo>
                  <a:lnTo>
                    <a:pt x="19690" y="5818"/>
                  </a:lnTo>
                  <a:lnTo>
                    <a:pt x="19753" y="5838"/>
                  </a:lnTo>
                  <a:lnTo>
                    <a:pt x="19836" y="5755"/>
                  </a:lnTo>
                  <a:lnTo>
                    <a:pt x="19941" y="5713"/>
                  </a:lnTo>
                  <a:lnTo>
                    <a:pt x="19941" y="5629"/>
                  </a:lnTo>
                  <a:lnTo>
                    <a:pt x="20004" y="5504"/>
                  </a:lnTo>
                  <a:lnTo>
                    <a:pt x="20066" y="5462"/>
                  </a:lnTo>
                  <a:lnTo>
                    <a:pt x="20150" y="5504"/>
                  </a:lnTo>
                  <a:lnTo>
                    <a:pt x="20213" y="5420"/>
                  </a:lnTo>
                  <a:lnTo>
                    <a:pt x="20297" y="5399"/>
                  </a:lnTo>
                  <a:lnTo>
                    <a:pt x="20318" y="5420"/>
                  </a:lnTo>
                  <a:lnTo>
                    <a:pt x="20401" y="5420"/>
                  </a:lnTo>
                  <a:lnTo>
                    <a:pt x="20715" y="5127"/>
                  </a:lnTo>
                  <a:lnTo>
                    <a:pt x="20778" y="5022"/>
                  </a:lnTo>
                  <a:lnTo>
                    <a:pt x="20799" y="4897"/>
                  </a:lnTo>
                  <a:lnTo>
                    <a:pt x="20882" y="4709"/>
                  </a:lnTo>
                  <a:lnTo>
                    <a:pt x="20987" y="4583"/>
                  </a:lnTo>
                  <a:lnTo>
                    <a:pt x="20987" y="4458"/>
                  </a:lnTo>
                  <a:lnTo>
                    <a:pt x="20987" y="4269"/>
                  </a:lnTo>
                  <a:lnTo>
                    <a:pt x="20945" y="4165"/>
                  </a:lnTo>
                  <a:lnTo>
                    <a:pt x="20882" y="4144"/>
                  </a:lnTo>
                  <a:lnTo>
                    <a:pt x="20736" y="4165"/>
                  </a:lnTo>
                  <a:lnTo>
                    <a:pt x="20590" y="4165"/>
                  </a:lnTo>
                  <a:lnTo>
                    <a:pt x="20464" y="4102"/>
                  </a:lnTo>
                  <a:lnTo>
                    <a:pt x="20318" y="4102"/>
                  </a:lnTo>
                  <a:lnTo>
                    <a:pt x="20255" y="4165"/>
                  </a:lnTo>
                  <a:lnTo>
                    <a:pt x="20213" y="4248"/>
                  </a:lnTo>
                  <a:lnTo>
                    <a:pt x="20255" y="4290"/>
                  </a:lnTo>
                  <a:lnTo>
                    <a:pt x="20213" y="4353"/>
                  </a:lnTo>
                  <a:lnTo>
                    <a:pt x="20213" y="4499"/>
                  </a:lnTo>
                  <a:lnTo>
                    <a:pt x="20171" y="4646"/>
                  </a:lnTo>
                  <a:lnTo>
                    <a:pt x="20066" y="4792"/>
                  </a:lnTo>
                  <a:lnTo>
                    <a:pt x="20004" y="4730"/>
                  </a:lnTo>
                  <a:lnTo>
                    <a:pt x="19941" y="4709"/>
                  </a:lnTo>
                  <a:lnTo>
                    <a:pt x="19899" y="4709"/>
                  </a:lnTo>
                  <a:lnTo>
                    <a:pt x="19857" y="4771"/>
                  </a:lnTo>
                  <a:lnTo>
                    <a:pt x="19794" y="4792"/>
                  </a:lnTo>
                  <a:lnTo>
                    <a:pt x="19732" y="4730"/>
                  </a:lnTo>
                  <a:lnTo>
                    <a:pt x="19669" y="4730"/>
                  </a:lnTo>
                  <a:cubicBezTo>
                    <a:pt x="19669" y="4730"/>
                    <a:pt x="19481" y="4688"/>
                    <a:pt x="19481" y="4646"/>
                  </a:cubicBezTo>
                  <a:lnTo>
                    <a:pt x="19271" y="4646"/>
                  </a:lnTo>
                  <a:lnTo>
                    <a:pt x="19167" y="4709"/>
                  </a:lnTo>
                  <a:lnTo>
                    <a:pt x="19020" y="4730"/>
                  </a:lnTo>
                  <a:lnTo>
                    <a:pt x="18895" y="4792"/>
                  </a:lnTo>
                  <a:lnTo>
                    <a:pt x="18832" y="4750"/>
                  </a:lnTo>
                  <a:lnTo>
                    <a:pt x="18832" y="4709"/>
                  </a:lnTo>
                  <a:lnTo>
                    <a:pt x="18853" y="4625"/>
                  </a:lnTo>
                  <a:lnTo>
                    <a:pt x="18853" y="4541"/>
                  </a:lnTo>
                  <a:lnTo>
                    <a:pt x="18895" y="4478"/>
                  </a:lnTo>
                  <a:lnTo>
                    <a:pt x="18916" y="4478"/>
                  </a:lnTo>
                  <a:lnTo>
                    <a:pt x="18957" y="4499"/>
                  </a:lnTo>
                  <a:lnTo>
                    <a:pt x="19020" y="4499"/>
                  </a:lnTo>
                  <a:lnTo>
                    <a:pt x="19146" y="4437"/>
                  </a:lnTo>
                  <a:lnTo>
                    <a:pt x="19439" y="4416"/>
                  </a:lnTo>
                  <a:lnTo>
                    <a:pt x="19481" y="4395"/>
                  </a:lnTo>
                  <a:lnTo>
                    <a:pt x="19543" y="4290"/>
                  </a:lnTo>
                  <a:lnTo>
                    <a:pt x="19564" y="4206"/>
                  </a:lnTo>
                  <a:lnTo>
                    <a:pt x="19648" y="4165"/>
                  </a:lnTo>
                  <a:lnTo>
                    <a:pt x="19669" y="4102"/>
                  </a:lnTo>
                  <a:lnTo>
                    <a:pt x="19627" y="4060"/>
                  </a:lnTo>
                  <a:lnTo>
                    <a:pt x="19627" y="3997"/>
                  </a:lnTo>
                  <a:lnTo>
                    <a:pt x="19313" y="3997"/>
                  </a:lnTo>
                  <a:lnTo>
                    <a:pt x="19125" y="3955"/>
                  </a:lnTo>
                  <a:lnTo>
                    <a:pt x="19020" y="3893"/>
                  </a:lnTo>
                  <a:lnTo>
                    <a:pt x="18937" y="3872"/>
                  </a:lnTo>
                  <a:lnTo>
                    <a:pt x="18685" y="3893"/>
                  </a:lnTo>
                  <a:lnTo>
                    <a:pt x="18560" y="3872"/>
                  </a:lnTo>
                  <a:lnTo>
                    <a:pt x="18455" y="3830"/>
                  </a:lnTo>
                  <a:lnTo>
                    <a:pt x="18288" y="3830"/>
                  </a:lnTo>
                  <a:lnTo>
                    <a:pt x="18162" y="3851"/>
                  </a:lnTo>
                  <a:lnTo>
                    <a:pt x="18100" y="3830"/>
                  </a:lnTo>
                  <a:lnTo>
                    <a:pt x="17995" y="3788"/>
                  </a:lnTo>
                  <a:lnTo>
                    <a:pt x="17932" y="3788"/>
                  </a:lnTo>
                  <a:lnTo>
                    <a:pt x="17849" y="3893"/>
                  </a:lnTo>
                  <a:lnTo>
                    <a:pt x="17849" y="3976"/>
                  </a:lnTo>
                  <a:lnTo>
                    <a:pt x="17765" y="4039"/>
                  </a:lnTo>
                  <a:lnTo>
                    <a:pt x="17744" y="4039"/>
                  </a:lnTo>
                  <a:lnTo>
                    <a:pt x="17765" y="3955"/>
                  </a:lnTo>
                  <a:lnTo>
                    <a:pt x="17765" y="3934"/>
                  </a:lnTo>
                  <a:lnTo>
                    <a:pt x="17681" y="3934"/>
                  </a:lnTo>
                  <a:lnTo>
                    <a:pt x="17451" y="3997"/>
                  </a:lnTo>
                  <a:lnTo>
                    <a:pt x="17305" y="4060"/>
                  </a:lnTo>
                  <a:lnTo>
                    <a:pt x="17221" y="4144"/>
                  </a:lnTo>
                  <a:lnTo>
                    <a:pt x="17158" y="4186"/>
                  </a:lnTo>
                  <a:lnTo>
                    <a:pt x="17053" y="4186"/>
                  </a:lnTo>
                  <a:lnTo>
                    <a:pt x="16949" y="4206"/>
                  </a:lnTo>
                  <a:lnTo>
                    <a:pt x="16886" y="4269"/>
                  </a:lnTo>
                  <a:lnTo>
                    <a:pt x="16781" y="4290"/>
                  </a:lnTo>
                  <a:lnTo>
                    <a:pt x="16698" y="4374"/>
                  </a:lnTo>
                  <a:lnTo>
                    <a:pt x="16698" y="4458"/>
                  </a:lnTo>
                  <a:lnTo>
                    <a:pt x="16635" y="4520"/>
                  </a:lnTo>
                  <a:lnTo>
                    <a:pt x="16593" y="4520"/>
                  </a:lnTo>
                  <a:lnTo>
                    <a:pt x="16530" y="4458"/>
                  </a:lnTo>
                  <a:lnTo>
                    <a:pt x="16530" y="4374"/>
                  </a:lnTo>
                  <a:lnTo>
                    <a:pt x="16509" y="4290"/>
                  </a:lnTo>
                  <a:lnTo>
                    <a:pt x="16468" y="4248"/>
                  </a:lnTo>
                  <a:lnTo>
                    <a:pt x="16468" y="4165"/>
                  </a:lnTo>
                  <a:lnTo>
                    <a:pt x="16509" y="4081"/>
                  </a:lnTo>
                  <a:lnTo>
                    <a:pt x="16593" y="4081"/>
                  </a:lnTo>
                  <a:lnTo>
                    <a:pt x="16698" y="4039"/>
                  </a:lnTo>
                  <a:lnTo>
                    <a:pt x="16802" y="4039"/>
                  </a:lnTo>
                  <a:lnTo>
                    <a:pt x="16886" y="3997"/>
                  </a:lnTo>
                  <a:lnTo>
                    <a:pt x="16928" y="3955"/>
                  </a:lnTo>
                  <a:lnTo>
                    <a:pt x="17012" y="3934"/>
                  </a:lnTo>
                  <a:lnTo>
                    <a:pt x="17158" y="3893"/>
                  </a:lnTo>
                  <a:lnTo>
                    <a:pt x="17263" y="3851"/>
                  </a:lnTo>
                  <a:lnTo>
                    <a:pt x="17346" y="3788"/>
                  </a:lnTo>
                  <a:lnTo>
                    <a:pt x="17472" y="3788"/>
                  </a:lnTo>
                  <a:lnTo>
                    <a:pt x="17556" y="3746"/>
                  </a:lnTo>
                  <a:lnTo>
                    <a:pt x="17577" y="3662"/>
                  </a:lnTo>
                  <a:lnTo>
                    <a:pt x="17556" y="3621"/>
                  </a:lnTo>
                  <a:lnTo>
                    <a:pt x="17514" y="3558"/>
                  </a:lnTo>
                  <a:lnTo>
                    <a:pt x="17346" y="3558"/>
                  </a:lnTo>
                  <a:lnTo>
                    <a:pt x="17346" y="3516"/>
                  </a:lnTo>
                  <a:lnTo>
                    <a:pt x="17430" y="3516"/>
                  </a:lnTo>
                  <a:lnTo>
                    <a:pt x="17451" y="3537"/>
                  </a:lnTo>
                  <a:lnTo>
                    <a:pt x="17535" y="3537"/>
                  </a:lnTo>
                  <a:lnTo>
                    <a:pt x="17577" y="3558"/>
                  </a:lnTo>
                  <a:lnTo>
                    <a:pt x="17618" y="3662"/>
                  </a:lnTo>
                  <a:lnTo>
                    <a:pt x="17639" y="3662"/>
                  </a:lnTo>
                  <a:lnTo>
                    <a:pt x="17660" y="3641"/>
                  </a:lnTo>
                  <a:lnTo>
                    <a:pt x="17765" y="3579"/>
                  </a:lnTo>
                  <a:lnTo>
                    <a:pt x="17890" y="3621"/>
                  </a:lnTo>
                  <a:lnTo>
                    <a:pt x="17974" y="3579"/>
                  </a:lnTo>
                  <a:lnTo>
                    <a:pt x="18058" y="3537"/>
                  </a:lnTo>
                  <a:lnTo>
                    <a:pt x="18141" y="3516"/>
                  </a:lnTo>
                  <a:lnTo>
                    <a:pt x="18246" y="3537"/>
                  </a:lnTo>
                  <a:lnTo>
                    <a:pt x="18351" y="3537"/>
                  </a:lnTo>
                  <a:lnTo>
                    <a:pt x="18455" y="3516"/>
                  </a:lnTo>
                  <a:lnTo>
                    <a:pt x="18518" y="3537"/>
                  </a:lnTo>
                  <a:lnTo>
                    <a:pt x="18602" y="3579"/>
                  </a:lnTo>
                  <a:lnTo>
                    <a:pt x="18769" y="3579"/>
                  </a:lnTo>
                  <a:lnTo>
                    <a:pt x="18790" y="3621"/>
                  </a:lnTo>
                  <a:lnTo>
                    <a:pt x="18832" y="3621"/>
                  </a:lnTo>
                  <a:lnTo>
                    <a:pt x="18978" y="3725"/>
                  </a:lnTo>
                  <a:lnTo>
                    <a:pt x="19041" y="3746"/>
                  </a:lnTo>
                  <a:lnTo>
                    <a:pt x="19146" y="3725"/>
                  </a:lnTo>
                  <a:lnTo>
                    <a:pt x="19209" y="3662"/>
                  </a:lnTo>
                  <a:lnTo>
                    <a:pt x="19292" y="3662"/>
                  </a:lnTo>
                  <a:lnTo>
                    <a:pt x="19355" y="3683"/>
                  </a:lnTo>
                  <a:lnTo>
                    <a:pt x="19439" y="3683"/>
                  </a:lnTo>
                  <a:lnTo>
                    <a:pt x="19502" y="3725"/>
                  </a:lnTo>
                  <a:lnTo>
                    <a:pt x="19564" y="3725"/>
                  </a:lnTo>
                  <a:lnTo>
                    <a:pt x="19732" y="3662"/>
                  </a:lnTo>
                  <a:lnTo>
                    <a:pt x="19815" y="3621"/>
                  </a:lnTo>
                  <a:lnTo>
                    <a:pt x="19920" y="3621"/>
                  </a:lnTo>
                  <a:lnTo>
                    <a:pt x="19983" y="3662"/>
                  </a:lnTo>
                  <a:lnTo>
                    <a:pt x="20046" y="3662"/>
                  </a:lnTo>
                  <a:lnTo>
                    <a:pt x="20129" y="3621"/>
                  </a:lnTo>
                  <a:lnTo>
                    <a:pt x="20234" y="3641"/>
                  </a:lnTo>
                  <a:lnTo>
                    <a:pt x="20338" y="3641"/>
                  </a:lnTo>
                  <a:lnTo>
                    <a:pt x="20338" y="3579"/>
                  </a:lnTo>
                  <a:lnTo>
                    <a:pt x="20276" y="3558"/>
                  </a:lnTo>
                  <a:lnTo>
                    <a:pt x="20276" y="3516"/>
                  </a:lnTo>
                  <a:lnTo>
                    <a:pt x="20297" y="3474"/>
                  </a:lnTo>
                  <a:lnTo>
                    <a:pt x="20359" y="3537"/>
                  </a:lnTo>
                  <a:lnTo>
                    <a:pt x="20401" y="3579"/>
                  </a:lnTo>
                  <a:lnTo>
                    <a:pt x="20485" y="3579"/>
                  </a:lnTo>
                  <a:lnTo>
                    <a:pt x="20548" y="3558"/>
                  </a:lnTo>
                  <a:lnTo>
                    <a:pt x="20694" y="3558"/>
                  </a:lnTo>
                  <a:lnTo>
                    <a:pt x="20903" y="3474"/>
                  </a:lnTo>
                  <a:lnTo>
                    <a:pt x="21008" y="3432"/>
                  </a:lnTo>
                  <a:lnTo>
                    <a:pt x="21029" y="3369"/>
                  </a:lnTo>
                  <a:lnTo>
                    <a:pt x="21029" y="3328"/>
                  </a:lnTo>
                  <a:lnTo>
                    <a:pt x="21092" y="3307"/>
                  </a:lnTo>
                  <a:lnTo>
                    <a:pt x="21134" y="3328"/>
                  </a:lnTo>
                  <a:lnTo>
                    <a:pt x="21217" y="3307"/>
                  </a:lnTo>
                  <a:lnTo>
                    <a:pt x="21322" y="3223"/>
                  </a:lnTo>
                  <a:lnTo>
                    <a:pt x="21406" y="3202"/>
                  </a:lnTo>
                  <a:lnTo>
                    <a:pt x="21406" y="3118"/>
                  </a:lnTo>
                  <a:lnTo>
                    <a:pt x="21426" y="3056"/>
                  </a:lnTo>
                  <a:lnTo>
                    <a:pt x="21489" y="3035"/>
                  </a:lnTo>
                  <a:lnTo>
                    <a:pt x="21489" y="2930"/>
                  </a:lnTo>
                  <a:lnTo>
                    <a:pt x="21447" y="2888"/>
                  </a:lnTo>
                  <a:lnTo>
                    <a:pt x="21343" y="2805"/>
                  </a:lnTo>
                  <a:lnTo>
                    <a:pt x="21217" y="2742"/>
                  </a:lnTo>
                  <a:lnTo>
                    <a:pt x="21113" y="2637"/>
                  </a:lnTo>
                  <a:lnTo>
                    <a:pt x="21092" y="2574"/>
                  </a:lnTo>
                  <a:lnTo>
                    <a:pt x="21029" y="2512"/>
                  </a:lnTo>
                  <a:lnTo>
                    <a:pt x="20882" y="2491"/>
                  </a:lnTo>
                  <a:lnTo>
                    <a:pt x="20799" y="2407"/>
                  </a:lnTo>
                  <a:lnTo>
                    <a:pt x="20778" y="2323"/>
                  </a:lnTo>
                  <a:lnTo>
                    <a:pt x="20715" y="2302"/>
                  </a:lnTo>
                  <a:lnTo>
                    <a:pt x="20694" y="2323"/>
                  </a:lnTo>
                  <a:lnTo>
                    <a:pt x="20610" y="2365"/>
                  </a:lnTo>
                  <a:lnTo>
                    <a:pt x="20569" y="2323"/>
                  </a:lnTo>
                  <a:lnTo>
                    <a:pt x="20548" y="2261"/>
                  </a:lnTo>
                  <a:lnTo>
                    <a:pt x="20485" y="2198"/>
                  </a:lnTo>
                  <a:lnTo>
                    <a:pt x="20255" y="2198"/>
                  </a:lnTo>
                  <a:lnTo>
                    <a:pt x="20171" y="2219"/>
                  </a:lnTo>
                  <a:lnTo>
                    <a:pt x="20171" y="2302"/>
                  </a:lnTo>
                  <a:lnTo>
                    <a:pt x="20171" y="2365"/>
                  </a:lnTo>
                  <a:lnTo>
                    <a:pt x="20129" y="2302"/>
                  </a:lnTo>
                  <a:lnTo>
                    <a:pt x="20066" y="2302"/>
                  </a:lnTo>
                  <a:lnTo>
                    <a:pt x="19920" y="2386"/>
                  </a:lnTo>
                  <a:lnTo>
                    <a:pt x="19836" y="2407"/>
                  </a:lnTo>
                  <a:lnTo>
                    <a:pt x="19711" y="2365"/>
                  </a:lnTo>
                  <a:lnTo>
                    <a:pt x="19606" y="2365"/>
                  </a:lnTo>
                  <a:lnTo>
                    <a:pt x="19522" y="2323"/>
                  </a:lnTo>
                  <a:lnTo>
                    <a:pt x="19460" y="2261"/>
                  </a:lnTo>
                  <a:lnTo>
                    <a:pt x="19460" y="2177"/>
                  </a:lnTo>
                  <a:lnTo>
                    <a:pt x="19522" y="2177"/>
                  </a:lnTo>
                  <a:lnTo>
                    <a:pt x="19564" y="2219"/>
                  </a:lnTo>
                  <a:lnTo>
                    <a:pt x="19669" y="2261"/>
                  </a:lnTo>
                  <a:lnTo>
                    <a:pt x="19711" y="2219"/>
                  </a:lnTo>
                  <a:lnTo>
                    <a:pt x="19711" y="2177"/>
                  </a:lnTo>
                  <a:lnTo>
                    <a:pt x="19606" y="2093"/>
                  </a:lnTo>
                  <a:lnTo>
                    <a:pt x="19606" y="2009"/>
                  </a:lnTo>
                  <a:lnTo>
                    <a:pt x="19627" y="1989"/>
                  </a:lnTo>
                  <a:lnTo>
                    <a:pt x="19669" y="2072"/>
                  </a:lnTo>
                  <a:lnTo>
                    <a:pt x="19774" y="2114"/>
                  </a:lnTo>
                  <a:lnTo>
                    <a:pt x="19857" y="2156"/>
                  </a:lnTo>
                  <a:lnTo>
                    <a:pt x="20025" y="2093"/>
                  </a:lnTo>
                  <a:lnTo>
                    <a:pt x="20171" y="1968"/>
                  </a:lnTo>
                  <a:lnTo>
                    <a:pt x="20171" y="1884"/>
                  </a:lnTo>
                  <a:lnTo>
                    <a:pt x="20150" y="1842"/>
                  </a:lnTo>
                  <a:lnTo>
                    <a:pt x="20087" y="1800"/>
                  </a:lnTo>
                  <a:lnTo>
                    <a:pt x="20087" y="1758"/>
                  </a:lnTo>
                  <a:lnTo>
                    <a:pt x="20150" y="1696"/>
                  </a:lnTo>
                  <a:lnTo>
                    <a:pt x="20150" y="1675"/>
                  </a:lnTo>
                  <a:lnTo>
                    <a:pt x="20046" y="1591"/>
                  </a:lnTo>
                  <a:lnTo>
                    <a:pt x="19962" y="1486"/>
                  </a:lnTo>
                  <a:lnTo>
                    <a:pt x="19920" y="1465"/>
                  </a:lnTo>
                  <a:lnTo>
                    <a:pt x="19857" y="1486"/>
                  </a:lnTo>
                  <a:lnTo>
                    <a:pt x="19774" y="1570"/>
                  </a:lnTo>
                  <a:lnTo>
                    <a:pt x="19627" y="1654"/>
                  </a:lnTo>
                  <a:lnTo>
                    <a:pt x="19439" y="1654"/>
                  </a:lnTo>
                  <a:lnTo>
                    <a:pt x="19334" y="1737"/>
                  </a:lnTo>
                  <a:lnTo>
                    <a:pt x="19292" y="1737"/>
                  </a:lnTo>
                  <a:lnTo>
                    <a:pt x="19229" y="1675"/>
                  </a:lnTo>
                  <a:lnTo>
                    <a:pt x="19188" y="1654"/>
                  </a:lnTo>
                  <a:lnTo>
                    <a:pt x="19104" y="1675"/>
                  </a:lnTo>
                  <a:lnTo>
                    <a:pt x="19020" y="1696"/>
                  </a:lnTo>
                  <a:lnTo>
                    <a:pt x="18937" y="1675"/>
                  </a:lnTo>
                  <a:lnTo>
                    <a:pt x="18874" y="1633"/>
                  </a:lnTo>
                  <a:lnTo>
                    <a:pt x="18769" y="1591"/>
                  </a:lnTo>
                  <a:lnTo>
                    <a:pt x="18685" y="1549"/>
                  </a:lnTo>
                  <a:lnTo>
                    <a:pt x="18581" y="1528"/>
                  </a:lnTo>
                  <a:lnTo>
                    <a:pt x="18476" y="1445"/>
                  </a:lnTo>
                  <a:lnTo>
                    <a:pt x="18309" y="1424"/>
                  </a:lnTo>
                  <a:lnTo>
                    <a:pt x="18100" y="1445"/>
                  </a:lnTo>
                  <a:lnTo>
                    <a:pt x="17995" y="1465"/>
                  </a:lnTo>
                  <a:lnTo>
                    <a:pt x="17849" y="1528"/>
                  </a:lnTo>
                  <a:lnTo>
                    <a:pt x="17723" y="1549"/>
                  </a:lnTo>
                  <a:lnTo>
                    <a:pt x="17577" y="1570"/>
                  </a:lnTo>
                  <a:lnTo>
                    <a:pt x="17472" y="1549"/>
                  </a:lnTo>
                  <a:lnTo>
                    <a:pt x="17346" y="1570"/>
                  </a:lnTo>
                  <a:lnTo>
                    <a:pt x="17325" y="1591"/>
                  </a:lnTo>
                  <a:lnTo>
                    <a:pt x="17346" y="1737"/>
                  </a:lnTo>
                  <a:lnTo>
                    <a:pt x="17346" y="1800"/>
                  </a:lnTo>
                  <a:lnTo>
                    <a:pt x="17305" y="1800"/>
                  </a:lnTo>
                  <a:lnTo>
                    <a:pt x="17242" y="1779"/>
                  </a:lnTo>
                  <a:lnTo>
                    <a:pt x="17158" y="1654"/>
                  </a:lnTo>
                  <a:lnTo>
                    <a:pt x="17137" y="1570"/>
                  </a:lnTo>
                  <a:lnTo>
                    <a:pt x="17095" y="1549"/>
                  </a:lnTo>
                  <a:lnTo>
                    <a:pt x="17012" y="1570"/>
                  </a:lnTo>
                  <a:lnTo>
                    <a:pt x="16698" y="1570"/>
                  </a:lnTo>
                  <a:cubicBezTo>
                    <a:pt x="16698" y="1570"/>
                    <a:pt x="16593" y="1633"/>
                    <a:pt x="16572" y="1633"/>
                  </a:cubicBezTo>
                  <a:lnTo>
                    <a:pt x="16489" y="1737"/>
                  </a:lnTo>
                  <a:lnTo>
                    <a:pt x="16426" y="1884"/>
                  </a:lnTo>
                  <a:lnTo>
                    <a:pt x="16384" y="1968"/>
                  </a:lnTo>
                  <a:lnTo>
                    <a:pt x="16363" y="1968"/>
                  </a:lnTo>
                  <a:lnTo>
                    <a:pt x="16363" y="1905"/>
                  </a:lnTo>
                  <a:lnTo>
                    <a:pt x="16405" y="1800"/>
                  </a:lnTo>
                  <a:lnTo>
                    <a:pt x="16426" y="1737"/>
                  </a:lnTo>
                  <a:lnTo>
                    <a:pt x="16405" y="1696"/>
                  </a:lnTo>
                  <a:lnTo>
                    <a:pt x="16321" y="1737"/>
                  </a:lnTo>
                  <a:lnTo>
                    <a:pt x="16196" y="1737"/>
                  </a:lnTo>
                  <a:lnTo>
                    <a:pt x="16154" y="1779"/>
                  </a:lnTo>
                  <a:lnTo>
                    <a:pt x="16154" y="1842"/>
                  </a:lnTo>
                  <a:lnTo>
                    <a:pt x="16112" y="1884"/>
                  </a:lnTo>
                  <a:lnTo>
                    <a:pt x="16112" y="1989"/>
                  </a:lnTo>
                  <a:lnTo>
                    <a:pt x="16049" y="2009"/>
                  </a:lnTo>
                  <a:lnTo>
                    <a:pt x="16007" y="1968"/>
                  </a:lnTo>
                  <a:lnTo>
                    <a:pt x="16007" y="1905"/>
                  </a:lnTo>
                  <a:lnTo>
                    <a:pt x="16070" y="1842"/>
                  </a:lnTo>
                  <a:lnTo>
                    <a:pt x="16070" y="1675"/>
                  </a:lnTo>
                  <a:lnTo>
                    <a:pt x="16091" y="1591"/>
                  </a:lnTo>
                  <a:lnTo>
                    <a:pt x="16300" y="1465"/>
                  </a:lnTo>
                  <a:lnTo>
                    <a:pt x="16426" y="1382"/>
                  </a:lnTo>
                  <a:lnTo>
                    <a:pt x="16593" y="1382"/>
                  </a:lnTo>
                  <a:lnTo>
                    <a:pt x="16719" y="1424"/>
                  </a:lnTo>
                  <a:lnTo>
                    <a:pt x="16823" y="1424"/>
                  </a:lnTo>
                  <a:lnTo>
                    <a:pt x="16844" y="1382"/>
                  </a:lnTo>
                  <a:lnTo>
                    <a:pt x="17116" y="1382"/>
                  </a:lnTo>
                  <a:lnTo>
                    <a:pt x="17200" y="1340"/>
                  </a:lnTo>
                  <a:lnTo>
                    <a:pt x="17221" y="1256"/>
                  </a:lnTo>
                  <a:lnTo>
                    <a:pt x="17158" y="1256"/>
                  </a:lnTo>
                  <a:lnTo>
                    <a:pt x="17095" y="1173"/>
                  </a:lnTo>
                  <a:lnTo>
                    <a:pt x="17095" y="1068"/>
                  </a:lnTo>
                  <a:lnTo>
                    <a:pt x="17200" y="1005"/>
                  </a:lnTo>
                  <a:lnTo>
                    <a:pt x="17263" y="963"/>
                  </a:lnTo>
                  <a:lnTo>
                    <a:pt x="17346" y="963"/>
                  </a:lnTo>
                  <a:lnTo>
                    <a:pt x="17367" y="1026"/>
                  </a:lnTo>
                  <a:lnTo>
                    <a:pt x="17346" y="1068"/>
                  </a:lnTo>
                  <a:lnTo>
                    <a:pt x="17305" y="1068"/>
                  </a:lnTo>
                  <a:lnTo>
                    <a:pt x="17346" y="1152"/>
                  </a:lnTo>
                  <a:lnTo>
                    <a:pt x="17346" y="1256"/>
                  </a:lnTo>
                  <a:lnTo>
                    <a:pt x="17409" y="1340"/>
                  </a:lnTo>
                  <a:lnTo>
                    <a:pt x="17556" y="1340"/>
                  </a:lnTo>
                  <a:lnTo>
                    <a:pt x="17681" y="1277"/>
                  </a:lnTo>
                  <a:lnTo>
                    <a:pt x="17765" y="1277"/>
                  </a:lnTo>
                  <a:lnTo>
                    <a:pt x="17869" y="1319"/>
                  </a:lnTo>
                  <a:lnTo>
                    <a:pt x="17953" y="1277"/>
                  </a:lnTo>
                  <a:lnTo>
                    <a:pt x="18141" y="1214"/>
                  </a:lnTo>
                  <a:lnTo>
                    <a:pt x="18267" y="1214"/>
                  </a:lnTo>
                  <a:lnTo>
                    <a:pt x="18309" y="1256"/>
                  </a:lnTo>
                  <a:lnTo>
                    <a:pt x="18393" y="1256"/>
                  </a:lnTo>
                  <a:lnTo>
                    <a:pt x="18455" y="1214"/>
                  </a:lnTo>
                  <a:lnTo>
                    <a:pt x="18581" y="1214"/>
                  </a:lnTo>
                  <a:lnTo>
                    <a:pt x="18685" y="1256"/>
                  </a:lnTo>
                  <a:lnTo>
                    <a:pt x="18769" y="1256"/>
                  </a:lnTo>
                  <a:lnTo>
                    <a:pt x="18853" y="1277"/>
                  </a:lnTo>
                  <a:lnTo>
                    <a:pt x="19083" y="1382"/>
                  </a:lnTo>
                  <a:lnTo>
                    <a:pt x="19209" y="1382"/>
                  </a:lnTo>
                  <a:lnTo>
                    <a:pt x="19313" y="1361"/>
                  </a:lnTo>
                  <a:lnTo>
                    <a:pt x="19439" y="1361"/>
                  </a:lnTo>
                  <a:lnTo>
                    <a:pt x="19481" y="1277"/>
                  </a:lnTo>
                  <a:lnTo>
                    <a:pt x="19564" y="1235"/>
                  </a:lnTo>
                  <a:lnTo>
                    <a:pt x="19669" y="1256"/>
                  </a:lnTo>
                  <a:lnTo>
                    <a:pt x="19774" y="1256"/>
                  </a:lnTo>
                  <a:lnTo>
                    <a:pt x="19836" y="1173"/>
                  </a:lnTo>
                  <a:lnTo>
                    <a:pt x="19836" y="1131"/>
                  </a:lnTo>
                  <a:lnTo>
                    <a:pt x="19669" y="1026"/>
                  </a:lnTo>
                  <a:lnTo>
                    <a:pt x="19585" y="963"/>
                  </a:lnTo>
                  <a:lnTo>
                    <a:pt x="19543" y="859"/>
                  </a:lnTo>
                  <a:lnTo>
                    <a:pt x="19439" y="796"/>
                  </a:lnTo>
                  <a:lnTo>
                    <a:pt x="19250" y="733"/>
                  </a:lnTo>
                  <a:lnTo>
                    <a:pt x="19167" y="649"/>
                  </a:lnTo>
                  <a:lnTo>
                    <a:pt x="19062" y="628"/>
                  </a:lnTo>
                  <a:lnTo>
                    <a:pt x="18957" y="649"/>
                  </a:lnTo>
                  <a:lnTo>
                    <a:pt x="18916" y="608"/>
                  </a:lnTo>
                  <a:lnTo>
                    <a:pt x="18853" y="545"/>
                  </a:lnTo>
                  <a:lnTo>
                    <a:pt x="18727" y="587"/>
                  </a:lnTo>
                  <a:lnTo>
                    <a:pt x="18685" y="524"/>
                  </a:lnTo>
                  <a:lnTo>
                    <a:pt x="18455" y="503"/>
                  </a:lnTo>
                  <a:lnTo>
                    <a:pt x="18309" y="398"/>
                  </a:lnTo>
                  <a:lnTo>
                    <a:pt x="18246" y="398"/>
                  </a:lnTo>
                  <a:lnTo>
                    <a:pt x="18058" y="294"/>
                  </a:lnTo>
                  <a:lnTo>
                    <a:pt x="17995" y="294"/>
                  </a:lnTo>
                  <a:lnTo>
                    <a:pt x="17995" y="315"/>
                  </a:lnTo>
                  <a:lnTo>
                    <a:pt x="17932" y="336"/>
                  </a:lnTo>
                  <a:lnTo>
                    <a:pt x="17765" y="231"/>
                  </a:lnTo>
                  <a:lnTo>
                    <a:pt x="17744" y="168"/>
                  </a:lnTo>
                  <a:lnTo>
                    <a:pt x="17681" y="105"/>
                  </a:lnTo>
                  <a:lnTo>
                    <a:pt x="17597" y="126"/>
                  </a:lnTo>
                  <a:lnTo>
                    <a:pt x="17535" y="126"/>
                  </a:lnTo>
                  <a:lnTo>
                    <a:pt x="17472" y="84"/>
                  </a:lnTo>
                  <a:lnTo>
                    <a:pt x="17263" y="84"/>
                  </a:lnTo>
                  <a:lnTo>
                    <a:pt x="17158" y="22"/>
                  </a:lnTo>
                  <a:lnTo>
                    <a:pt x="17074" y="84"/>
                  </a:lnTo>
                  <a:lnTo>
                    <a:pt x="17033" y="84"/>
                  </a:lnTo>
                  <a:lnTo>
                    <a:pt x="17012" y="64"/>
                  </a:lnTo>
                  <a:lnTo>
                    <a:pt x="16928" y="1"/>
                  </a:lnTo>
                  <a:lnTo>
                    <a:pt x="16740" y="22"/>
                  </a:lnTo>
                  <a:lnTo>
                    <a:pt x="166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grpSp>
          <p:nvGrpSpPr>
            <p:cNvPr id="769" name="Google Shape;769;p34"/>
            <p:cNvGrpSpPr/>
            <p:nvPr/>
          </p:nvGrpSpPr>
          <p:grpSpPr>
            <a:xfrm>
              <a:off x="2905224" y="2311071"/>
              <a:ext cx="596721" cy="528992"/>
              <a:chOff x="1922950" y="1410350"/>
              <a:chExt cx="1252825" cy="1162875"/>
            </a:xfrm>
          </p:grpSpPr>
          <p:sp>
            <p:nvSpPr>
              <p:cNvPr id="770" name="Google Shape;770;p34"/>
              <p:cNvSpPr/>
              <p:nvPr/>
            </p:nvSpPr>
            <p:spPr>
              <a:xfrm>
                <a:off x="1988325" y="2333100"/>
                <a:ext cx="52325" cy="65925"/>
              </a:xfrm>
              <a:custGeom>
                <a:avLst/>
                <a:gdLst/>
                <a:ahLst/>
                <a:cxnLst/>
                <a:rect l="l" t="t" r="r" b="b"/>
                <a:pathLst>
                  <a:path w="2093" h="2637" extrusionOk="0">
                    <a:moveTo>
                      <a:pt x="210" y="0"/>
                    </a:moveTo>
                    <a:lnTo>
                      <a:pt x="189" y="63"/>
                    </a:lnTo>
                    <a:lnTo>
                      <a:pt x="1" y="21"/>
                    </a:lnTo>
                    <a:lnTo>
                      <a:pt x="63" y="188"/>
                    </a:lnTo>
                    <a:lnTo>
                      <a:pt x="105" y="209"/>
                    </a:lnTo>
                    <a:lnTo>
                      <a:pt x="168" y="335"/>
                    </a:lnTo>
                    <a:lnTo>
                      <a:pt x="440" y="377"/>
                    </a:lnTo>
                    <a:lnTo>
                      <a:pt x="314" y="439"/>
                    </a:lnTo>
                    <a:lnTo>
                      <a:pt x="189" y="439"/>
                    </a:lnTo>
                    <a:lnTo>
                      <a:pt x="105" y="544"/>
                    </a:lnTo>
                    <a:lnTo>
                      <a:pt x="168" y="607"/>
                    </a:lnTo>
                    <a:lnTo>
                      <a:pt x="105" y="732"/>
                    </a:lnTo>
                    <a:lnTo>
                      <a:pt x="126" y="774"/>
                    </a:lnTo>
                    <a:lnTo>
                      <a:pt x="273" y="732"/>
                    </a:lnTo>
                    <a:lnTo>
                      <a:pt x="293" y="837"/>
                    </a:lnTo>
                    <a:lnTo>
                      <a:pt x="419" y="837"/>
                    </a:lnTo>
                    <a:lnTo>
                      <a:pt x="419" y="942"/>
                    </a:lnTo>
                    <a:lnTo>
                      <a:pt x="524" y="1025"/>
                    </a:lnTo>
                    <a:lnTo>
                      <a:pt x="649" y="963"/>
                    </a:lnTo>
                    <a:lnTo>
                      <a:pt x="503" y="1130"/>
                    </a:lnTo>
                    <a:lnTo>
                      <a:pt x="545" y="1276"/>
                    </a:lnTo>
                    <a:lnTo>
                      <a:pt x="649" y="1255"/>
                    </a:lnTo>
                    <a:lnTo>
                      <a:pt x="649" y="1151"/>
                    </a:lnTo>
                    <a:lnTo>
                      <a:pt x="817" y="1109"/>
                    </a:lnTo>
                    <a:lnTo>
                      <a:pt x="817" y="1109"/>
                    </a:lnTo>
                    <a:lnTo>
                      <a:pt x="754" y="1235"/>
                    </a:lnTo>
                    <a:lnTo>
                      <a:pt x="691" y="1339"/>
                    </a:lnTo>
                    <a:lnTo>
                      <a:pt x="691" y="1423"/>
                    </a:lnTo>
                    <a:lnTo>
                      <a:pt x="733" y="1423"/>
                    </a:lnTo>
                    <a:lnTo>
                      <a:pt x="796" y="1548"/>
                    </a:lnTo>
                    <a:lnTo>
                      <a:pt x="963" y="1528"/>
                    </a:lnTo>
                    <a:lnTo>
                      <a:pt x="963" y="1632"/>
                    </a:lnTo>
                    <a:lnTo>
                      <a:pt x="1047" y="1632"/>
                    </a:lnTo>
                    <a:lnTo>
                      <a:pt x="1068" y="1737"/>
                    </a:lnTo>
                    <a:lnTo>
                      <a:pt x="1047" y="1820"/>
                    </a:lnTo>
                    <a:lnTo>
                      <a:pt x="1172" y="1967"/>
                    </a:lnTo>
                    <a:lnTo>
                      <a:pt x="1256" y="1883"/>
                    </a:lnTo>
                    <a:lnTo>
                      <a:pt x="1319" y="1946"/>
                    </a:lnTo>
                    <a:lnTo>
                      <a:pt x="1423" y="1946"/>
                    </a:lnTo>
                    <a:lnTo>
                      <a:pt x="1256" y="2113"/>
                    </a:lnTo>
                    <a:lnTo>
                      <a:pt x="1465" y="2323"/>
                    </a:lnTo>
                    <a:lnTo>
                      <a:pt x="1549" y="2364"/>
                    </a:lnTo>
                    <a:lnTo>
                      <a:pt x="1591" y="2427"/>
                    </a:lnTo>
                    <a:lnTo>
                      <a:pt x="1946" y="2636"/>
                    </a:lnTo>
                    <a:lnTo>
                      <a:pt x="1988" y="2595"/>
                    </a:lnTo>
                    <a:lnTo>
                      <a:pt x="2093" y="2616"/>
                    </a:lnTo>
                    <a:lnTo>
                      <a:pt x="2009" y="2302"/>
                    </a:lnTo>
                    <a:lnTo>
                      <a:pt x="2051" y="2176"/>
                    </a:lnTo>
                    <a:lnTo>
                      <a:pt x="2009" y="2072"/>
                    </a:lnTo>
                    <a:lnTo>
                      <a:pt x="2009" y="1820"/>
                    </a:lnTo>
                    <a:lnTo>
                      <a:pt x="1946" y="1695"/>
                    </a:lnTo>
                    <a:lnTo>
                      <a:pt x="1674" y="1548"/>
                    </a:lnTo>
                    <a:lnTo>
                      <a:pt x="1653" y="1214"/>
                    </a:lnTo>
                    <a:lnTo>
                      <a:pt x="1528" y="1004"/>
                    </a:lnTo>
                    <a:lnTo>
                      <a:pt x="1486" y="774"/>
                    </a:lnTo>
                    <a:lnTo>
                      <a:pt x="1444" y="732"/>
                    </a:lnTo>
                    <a:lnTo>
                      <a:pt x="1319" y="711"/>
                    </a:lnTo>
                    <a:lnTo>
                      <a:pt x="1130" y="607"/>
                    </a:lnTo>
                    <a:lnTo>
                      <a:pt x="1005" y="607"/>
                    </a:lnTo>
                    <a:lnTo>
                      <a:pt x="858" y="544"/>
                    </a:lnTo>
                    <a:lnTo>
                      <a:pt x="817" y="439"/>
                    </a:lnTo>
                    <a:lnTo>
                      <a:pt x="628" y="377"/>
                    </a:lnTo>
                    <a:lnTo>
                      <a:pt x="545" y="251"/>
                    </a:lnTo>
                    <a:lnTo>
                      <a:pt x="524" y="167"/>
                    </a:lnTo>
                    <a:lnTo>
                      <a:pt x="398" y="167"/>
                    </a:lnTo>
                    <a:lnTo>
                      <a:pt x="314" y="21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1" name="Google Shape;771;p34"/>
              <p:cNvSpPr/>
              <p:nvPr/>
            </p:nvSpPr>
            <p:spPr>
              <a:xfrm>
                <a:off x="1953800" y="2242075"/>
                <a:ext cx="23050" cy="54425"/>
              </a:xfrm>
              <a:custGeom>
                <a:avLst/>
                <a:gdLst/>
                <a:ahLst/>
                <a:cxnLst/>
                <a:rect l="l" t="t" r="r" b="b"/>
                <a:pathLst>
                  <a:path w="922" h="2177" extrusionOk="0">
                    <a:moveTo>
                      <a:pt x="210" y="0"/>
                    </a:moveTo>
                    <a:lnTo>
                      <a:pt x="21" y="314"/>
                    </a:lnTo>
                    <a:lnTo>
                      <a:pt x="42" y="523"/>
                    </a:lnTo>
                    <a:lnTo>
                      <a:pt x="1" y="628"/>
                    </a:lnTo>
                    <a:lnTo>
                      <a:pt x="1" y="733"/>
                    </a:lnTo>
                    <a:lnTo>
                      <a:pt x="105" y="754"/>
                    </a:lnTo>
                    <a:lnTo>
                      <a:pt x="189" y="837"/>
                    </a:lnTo>
                    <a:lnTo>
                      <a:pt x="189" y="942"/>
                    </a:lnTo>
                    <a:lnTo>
                      <a:pt x="126" y="921"/>
                    </a:lnTo>
                    <a:lnTo>
                      <a:pt x="21" y="900"/>
                    </a:lnTo>
                    <a:lnTo>
                      <a:pt x="21" y="984"/>
                    </a:lnTo>
                    <a:lnTo>
                      <a:pt x="105" y="1047"/>
                    </a:lnTo>
                    <a:lnTo>
                      <a:pt x="21" y="1193"/>
                    </a:lnTo>
                    <a:lnTo>
                      <a:pt x="105" y="1214"/>
                    </a:lnTo>
                    <a:lnTo>
                      <a:pt x="210" y="1339"/>
                    </a:lnTo>
                    <a:lnTo>
                      <a:pt x="84" y="1319"/>
                    </a:lnTo>
                    <a:lnTo>
                      <a:pt x="21" y="1402"/>
                    </a:lnTo>
                    <a:lnTo>
                      <a:pt x="42" y="1507"/>
                    </a:lnTo>
                    <a:lnTo>
                      <a:pt x="210" y="1528"/>
                    </a:lnTo>
                    <a:lnTo>
                      <a:pt x="147" y="1611"/>
                    </a:lnTo>
                    <a:lnTo>
                      <a:pt x="189" y="1758"/>
                    </a:lnTo>
                    <a:lnTo>
                      <a:pt x="356" y="2135"/>
                    </a:lnTo>
                    <a:lnTo>
                      <a:pt x="503" y="2176"/>
                    </a:lnTo>
                    <a:lnTo>
                      <a:pt x="565" y="2072"/>
                    </a:lnTo>
                    <a:lnTo>
                      <a:pt x="524" y="1988"/>
                    </a:lnTo>
                    <a:lnTo>
                      <a:pt x="440" y="1988"/>
                    </a:lnTo>
                    <a:lnTo>
                      <a:pt x="398" y="1863"/>
                    </a:lnTo>
                    <a:lnTo>
                      <a:pt x="335" y="1653"/>
                    </a:lnTo>
                    <a:lnTo>
                      <a:pt x="356" y="1507"/>
                    </a:lnTo>
                    <a:lnTo>
                      <a:pt x="314" y="1402"/>
                    </a:lnTo>
                    <a:lnTo>
                      <a:pt x="398" y="1235"/>
                    </a:lnTo>
                    <a:lnTo>
                      <a:pt x="545" y="1235"/>
                    </a:lnTo>
                    <a:lnTo>
                      <a:pt x="524" y="1109"/>
                    </a:lnTo>
                    <a:lnTo>
                      <a:pt x="419" y="1109"/>
                    </a:lnTo>
                    <a:lnTo>
                      <a:pt x="335" y="1130"/>
                    </a:lnTo>
                    <a:lnTo>
                      <a:pt x="231" y="1130"/>
                    </a:lnTo>
                    <a:lnTo>
                      <a:pt x="314" y="1026"/>
                    </a:lnTo>
                    <a:lnTo>
                      <a:pt x="419" y="1026"/>
                    </a:lnTo>
                    <a:lnTo>
                      <a:pt x="545" y="921"/>
                    </a:lnTo>
                    <a:lnTo>
                      <a:pt x="565" y="733"/>
                    </a:lnTo>
                    <a:lnTo>
                      <a:pt x="670" y="607"/>
                    </a:lnTo>
                    <a:lnTo>
                      <a:pt x="712" y="419"/>
                    </a:lnTo>
                    <a:lnTo>
                      <a:pt x="921" y="210"/>
                    </a:lnTo>
                    <a:lnTo>
                      <a:pt x="858" y="189"/>
                    </a:lnTo>
                    <a:lnTo>
                      <a:pt x="670" y="272"/>
                    </a:lnTo>
                    <a:lnTo>
                      <a:pt x="545" y="461"/>
                    </a:lnTo>
                    <a:lnTo>
                      <a:pt x="461" y="628"/>
                    </a:lnTo>
                    <a:lnTo>
                      <a:pt x="335" y="670"/>
                    </a:lnTo>
                    <a:lnTo>
                      <a:pt x="335" y="586"/>
                    </a:lnTo>
                    <a:lnTo>
                      <a:pt x="252" y="523"/>
                    </a:lnTo>
                    <a:lnTo>
                      <a:pt x="461" y="461"/>
                    </a:lnTo>
                    <a:lnTo>
                      <a:pt x="565" y="377"/>
                    </a:lnTo>
                    <a:lnTo>
                      <a:pt x="607" y="231"/>
                    </a:lnTo>
                    <a:lnTo>
                      <a:pt x="607" y="168"/>
                    </a:lnTo>
                    <a:lnTo>
                      <a:pt x="503" y="105"/>
                    </a:lnTo>
                    <a:lnTo>
                      <a:pt x="440" y="189"/>
                    </a:lnTo>
                    <a:lnTo>
                      <a:pt x="356" y="210"/>
                    </a:lnTo>
                    <a:lnTo>
                      <a:pt x="398" y="63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2" name="Google Shape;772;p34"/>
              <p:cNvSpPr/>
              <p:nvPr/>
            </p:nvSpPr>
            <p:spPr>
              <a:xfrm>
                <a:off x="2552225" y="1885325"/>
                <a:ext cx="48150" cy="486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947" extrusionOk="0">
                    <a:moveTo>
                      <a:pt x="1402" y="0"/>
                    </a:moveTo>
                    <a:lnTo>
                      <a:pt x="1256" y="21"/>
                    </a:lnTo>
                    <a:lnTo>
                      <a:pt x="1067" y="189"/>
                    </a:lnTo>
                    <a:lnTo>
                      <a:pt x="984" y="356"/>
                    </a:lnTo>
                    <a:lnTo>
                      <a:pt x="1046" y="544"/>
                    </a:lnTo>
                    <a:lnTo>
                      <a:pt x="942" y="524"/>
                    </a:lnTo>
                    <a:lnTo>
                      <a:pt x="900" y="356"/>
                    </a:lnTo>
                    <a:lnTo>
                      <a:pt x="858" y="356"/>
                    </a:lnTo>
                    <a:lnTo>
                      <a:pt x="837" y="503"/>
                    </a:lnTo>
                    <a:lnTo>
                      <a:pt x="753" y="503"/>
                    </a:lnTo>
                    <a:lnTo>
                      <a:pt x="795" y="607"/>
                    </a:lnTo>
                    <a:lnTo>
                      <a:pt x="753" y="712"/>
                    </a:lnTo>
                    <a:lnTo>
                      <a:pt x="649" y="712"/>
                    </a:lnTo>
                    <a:lnTo>
                      <a:pt x="586" y="816"/>
                    </a:lnTo>
                    <a:lnTo>
                      <a:pt x="419" y="775"/>
                    </a:lnTo>
                    <a:lnTo>
                      <a:pt x="335" y="837"/>
                    </a:lnTo>
                    <a:lnTo>
                      <a:pt x="251" y="816"/>
                    </a:lnTo>
                    <a:lnTo>
                      <a:pt x="0" y="963"/>
                    </a:lnTo>
                    <a:lnTo>
                      <a:pt x="21" y="1088"/>
                    </a:lnTo>
                    <a:lnTo>
                      <a:pt x="147" y="1235"/>
                    </a:lnTo>
                    <a:lnTo>
                      <a:pt x="230" y="1172"/>
                    </a:lnTo>
                    <a:lnTo>
                      <a:pt x="209" y="1088"/>
                    </a:lnTo>
                    <a:lnTo>
                      <a:pt x="251" y="1026"/>
                    </a:lnTo>
                    <a:lnTo>
                      <a:pt x="356" y="1130"/>
                    </a:lnTo>
                    <a:lnTo>
                      <a:pt x="314" y="1277"/>
                    </a:lnTo>
                    <a:lnTo>
                      <a:pt x="440" y="1381"/>
                    </a:lnTo>
                    <a:lnTo>
                      <a:pt x="523" y="1256"/>
                    </a:lnTo>
                    <a:lnTo>
                      <a:pt x="544" y="1340"/>
                    </a:lnTo>
                    <a:lnTo>
                      <a:pt x="523" y="1423"/>
                    </a:lnTo>
                    <a:lnTo>
                      <a:pt x="649" y="1591"/>
                    </a:lnTo>
                    <a:lnTo>
                      <a:pt x="753" y="1612"/>
                    </a:lnTo>
                    <a:lnTo>
                      <a:pt x="795" y="1779"/>
                    </a:lnTo>
                    <a:lnTo>
                      <a:pt x="879" y="1863"/>
                    </a:lnTo>
                    <a:lnTo>
                      <a:pt x="963" y="1716"/>
                    </a:lnTo>
                    <a:lnTo>
                      <a:pt x="984" y="1821"/>
                    </a:lnTo>
                    <a:lnTo>
                      <a:pt x="1109" y="1946"/>
                    </a:lnTo>
                    <a:lnTo>
                      <a:pt x="1214" y="1925"/>
                    </a:lnTo>
                    <a:lnTo>
                      <a:pt x="1318" y="1925"/>
                    </a:lnTo>
                    <a:lnTo>
                      <a:pt x="1423" y="1821"/>
                    </a:lnTo>
                    <a:lnTo>
                      <a:pt x="1507" y="1800"/>
                    </a:lnTo>
                    <a:lnTo>
                      <a:pt x="1632" y="1695"/>
                    </a:lnTo>
                    <a:lnTo>
                      <a:pt x="1695" y="1800"/>
                    </a:lnTo>
                    <a:lnTo>
                      <a:pt x="1737" y="1758"/>
                    </a:lnTo>
                    <a:lnTo>
                      <a:pt x="1925" y="1653"/>
                    </a:lnTo>
                    <a:lnTo>
                      <a:pt x="1925" y="1549"/>
                    </a:lnTo>
                    <a:lnTo>
                      <a:pt x="1800" y="1591"/>
                    </a:lnTo>
                    <a:lnTo>
                      <a:pt x="1716" y="1507"/>
                    </a:lnTo>
                    <a:lnTo>
                      <a:pt x="1841" y="1277"/>
                    </a:lnTo>
                    <a:lnTo>
                      <a:pt x="1883" y="1151"/>
                    </a:lnTo>
                    <a:lnTo>
                      <a:pt x="1737" y="1235"/>
                    </a:lnTo>
                    <a:lnTo>
                      <a:pt x="1674" y="1402"/>
                    </a:lnTo>
                    <a:lnTo>
                      <a:pt x="1674" y="1277"/>
                    </a:lnTo>
                    <a:lnTo>
                      <a:pt x="1737" y="1026"/>
                    </a:lnTo>
                    <a:lnTo>
                      <a:pt x="1695" y="649"/>
                    </a:lnTo>
                    <a:lnTo>
                      <a:pt x="1528" y="544"/>
                    </a:lnTo>
                    <a:lnTo>
                      <a:pt x="1528" y="419"/>
                    </a:lnTo>
                    <a:lnTo>
                      <a:pt x="1423" y="419"/>
                    </a:lnTo>
                    <a:lnTo>
                      <a:pt x="1360" y="524"/>
                    </a:lnTo>
                    <a:lnTo>
                      <a:pt x="1360" y="398"/>
                    </a:lnTo>
                    <a:lnTo>
                      <a:pt x="1423" y="314"/>
                    </a:lnTo>
                    <a:lnTo>
                      <a:pt x="1381" y="210"/>
                    </a:lnTo>
                    <a:lnTo>
                      <a:pt x="1402" y="105"/>
                    </a:lnTo>
                    <a:lnTo>
                      <a:pt x="140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3" name="Google Shape;773;p34"/>
              <p:cNvSpPr/>
              <p:nvPr/>
            </p:nvSpPr>
            <p:spPr>
              <a:xfrm>
                <a:off x="2722750" y="1634775"/>
                <a:ext cx="145950" cy="133925"/>
              </a:xfrm>
              <a:custGeom>
                <a:avLst/>
                <a:gdLst/>
                <a:ahLst/>
                <a:cxnLst/>
                <a:rect l="l" t="t" r="r" b="b"/>
                <a:pathLst>
                  <a:path w="5838" h="5357" extrusionOk="0">
                    <a:moveTo>
                      <a:pt x="502" y="0"/>
                    </a:moveTo>
                    <a:lnTo>
                      <a:pt x="440" y="84"/>
                    </a:lnTo>
                    <a:lnTo>
                      <a:pt x="230" y="105"/>
                    </a:lnTo>
                    <a:lnTo>
                      <a:pt x="210" y="126"/>
                    </a:lnTo>
                    <a:lnTo>
                      <a:pt x="147" y="126"/>
                    </a:lnTo>
                    <a:lnTo>
                      <a:pt x="105" y="230"/>
                    </a:lnTo>
                    <a:lnTo>
                      <a:pt x="189" y="335"/>
                    </a:lnTo>
                    <a:lnTo>
                      <a:pt x="230" y="439"/>
                    </a:lnTo>
                    <a:lnTo>
                      <a:pt x="147" y="439"/>
                    </a:lnTo>
                    <a:lnTo>
                      <a:pt x="21" y="272"/>
                    </a:lnTo>
                    <a:lnTo>
                      <a:pt x="0" y="398"/>
                    </a:lnTo>
                    <a:lnTo>
                      <a:pt x="21" y="502"/>
                    </a:lnTo>
                    <a:lnTo>
                      <a:pt x="147" y="544"/>
                    </a:lnTo>
                    <a:lnTo>
                      <a:pt x="251" y="732"/>
                    </a:lnTo>
                    <a:lnTo>
                      <a:pt x="356" y="732"/>
                    </a:lnTo>
                    <a:lnTo>
                      <a:pt x="293" y="816"/>
                    </a:lnTo>
                    <a:lnTo>
                      <a:pt x="210" y="816"/>
                    </a:lnTo>
                    <a:lnTo>
                      <a:pt x="189" y="921"/>
                    </a:lnTo>
                    <a:lnTo>
                      <a:pt x="314" y="1109"/>
                    </a:lnTo>
                    <a:lnTo>
                      <a:pt x="440" y="1151"/>
                    </a:lnTo>
                    <a:lnTo>
                      <a:pt x="419" y="1235"/>
                    </a:lnTo>
                    <a:lnTo>
                      <a:pt x="398" y="1172"/>
                    </a:lnTo>
                    <a:lnTo>
                      <a:pt x="210" y="1151"/>
                    </a:lnTo>
                    <a:lnTo>
                      <a:pt x="210" y="1235"/>
                    </a:lnTo>
                    <a:lnTo>
                      <a:pt x="147" y="1255"/>
                    </a:lnTo>
                    <a:lnTo>
                      <a:pt x="105" y="1360"/>
                    </a:lnTo>
                    <a:lnTo>
                      <a:pt x="251" y="1276"/>
                    </a:lnTo>
                    <a:lnTo>
                      <a:pt x="335" y="1360"/>
                    </a:lnTo>
                    <a:lnTo>
                      <a:pt x="523" y="1276"/>
                    </a:lnTo>
                    <a:lnTo>
                      <a:pt x="544" y="1360"/>
                    </a:lnTo>
                    <a:lnTo>
                      <a:pt x="649" y="1381"/>
                    </a:lnTo>
                    <a:lnTo>
                      <a:pt x="670" y="1465"/>
                    </a:lnTo>
                    <a:lnTo>
                      <a:pt x="837" y="1590"/>
                    </a:lnTo>
                    <a:lnTo>
                      <a:pt x="879" y="1590"/>
                    </a:lnTo>
                    <a:lnTo>
                      <a:pt x="879" y="1527"/>
                    </a:lnTo>
                    <a:lnTo>
                      <a:pt x="942" y="1548"/>
                    </a:lnTo>
                    <a:lnTo>
                      <a:pt x="1046" y="1486"/>
                    </a:lnTo>
                    <a:lnTo>
                      <a:pt x="1130" y="1527"/>
                    </a:lnTo>
                    <a:lnTo>
                      <a:pt x="1151" y="1590"/>
                    </a:lnTo>
                    <a:lnTo>
                      <a:pt x="1130" y="1674"/>
                    </a:lnTo>
                    <a:lnTo>
                      <a:pt x="1130" y="1883"/>
                    </a:lnTo>
                    <a:lnTo>
                      <a:pt x="1067" y="2051"/>
                    </a:lnTo>
                    <a:lnTo>
                      <a:pt x="1067" y="2113"/>
                    </a:lnTo>
                    <a:lnTo>
                      <a:pt x="1151" y="2260"/>
                    </a:lnTo>
                    <a:lnTo>
                      <a:pt x="1088" y="2385"/>
                    </a:lnTo>
                    <a:lnTo>
                      <a:pt x="1088" y="2469"/>
                    </a:lnTo>
                    <a:lnTo>
                      <a:pt x="1067" y="2595"/>
                    </a:lnTo>
                    <a:lnTo>
                      <a:pt x="879" y="2699"/>
                    </a:lnTo>
                    <a:lnTo>
                      <a:pt x="754" y="2741"/>
                    </a:lnTo>
                    <a:lnTo>
                      <a:pt x="733" y="2825"/>
                    </a:lnTo>
                    <a:lnTo>
                      <a:pt x="628" y="2992"/>
                    </a:lnTo>
                    <a:lnTo>
                      <a:pt x="628" y="3055"/>
                    </a:lnTo>
                    <a:lnTo>
                      <a:pt x="523" y="3118"/>
                    </a:lnTo>
                    <a:lnTo>
                      <a:pt x="461" y="3222"/>
                    </a:lnTo>
                    <a:lnTo>
                      <a:pt x="461" y="3348"/>
                    </a:lnTo>
                    <a:lnTo>
                      <a:pt x="544" y="3369"/>
                    </a:lnTo>
                    <a:lnTo>
                      <a:pt x="544" y="3452"/>
                    </a:lnTo>
                    <a:lnTo>
                      <a:pt x="440" y="3473"/>
                    </a:lnTo>
                    <a:lnTo>
                      <a:pt x="419" y="3578"/>
                    </a:lnTo>
                    <a:lnTo>
                      <a:pt x="461" y="3641"/>
                    </a:lnTo>
                    <a:lnTo>
                      <a:pt x="398" y="3745"/>
                    </a:lnTo>
                    <a:lnTo>
                      <a:pt x="356" y="3850"/>
                    </a:lnTo>
                    <a:lnTo>
                      <a:pt x="419" y="3955"/>
                    </a:lnTo>
                    <a:lnTo>
                      <a:pt x="502" y="3976"/>
                    </a:lnTo>
                    <a:lnTo>
                      <a:pt x="502" y="4059"/>
                    </a:lnTo>
                    <a:lnTo>
                      <a:pt x="565" y="4143"/>
                    </a:lnTo>
                    <a:lnTo>
                      <a:pt x="628" y="4143"/>
                    </a:lnTo>
                    <a:lnTo>
                      <a:pt x="649" y="4038"/>
                    </a:lnTo>
                    <a:lnTo>
                      <a:pt x="670" y="3955"/>
                    </a:lnTo>
                    <a:lnTo>
                      <a:pt x="733" y="3996"/>
                    </a:lnTo>
                    <a:lnTo>
                      <a:pt x="774" y="3996"/>
                    </a:lnTo>
                    <a:lnTo>
                      <a:pt x="879" y="3871"/>
                    </a:lnTo>
                    <a:lnTo>
                      <a:pt x="942" y="3892"/>
                    </a:lnTo>
                    <a:lnTo>
                      <a:pt x="879" y="4059"/>
                    </a:lnTo>
                    <a:lnTo>
                      <a:pt x="774" y="4080"/>
                    </a:lnTo>
                    <a:lnTo>
                      <a:pt x="754" y="4143"/>
                    </a:lnTo>
                    <a:lnTo>
                      <a:pt x="816" y="4185"/>
                    </a:lnTo>
                    <a:lnTo>
                      <a:pt x="816" y="4268"/>
                    </a:lnTo>
                    <a:lnTo>
                      <a:pt x="921" y="4394"/>
                    </a:lnTo>
                    <a:lnTo>
                      <a:pt x="1026" y="4352"/>
                    </a:lnTo>
                    <a:lnTo>
                      <a:pt x="1067" y="4394"/>
                    </a:lnTo>
                    <a:lnTo>
                      <a:pt x="1193" y="4415"/>
                    </a:lnTo>
                    <a:lnTo>
                      <a:pt x="1256" y="4352"/>
                    </a:lnTo>
                    <a:lnTo>
                      <a:pt x="1402" y="4310"/>
                    </a:lnTo>
                    <a:lnTo>
                      <a:pt x="1381" y="4164"/>
                    </a:lnTo>
                    <a:lnTo>
                      <a:pt x="1465" y="4164"/>
                    </a:lnTo>
                    <a:lnTo>
                      <a:pt x="1507" y="4101"/>
                    </a:lnTo>
                    <a:lnTo>
                      <a:pt x="1507" y="4185"/>
                    </a:lnTo>
                    <a:lnTo>
                      <a:pt x="1486" y="4206"/>
                    </a:lnTo>
                    <a:lnTo>
                      <a:pt x="1507" y="4310"/>
                    </a:lnTo>
                    <a:lnTo>
                      <a:pt x="1570" y="4289"/>
                    </a:lnTo>
                    <a:lnTo>
                      <a:pt x="1653" y="4143"/>
                    </a:lnTo>
                    <a:lnTo>
                      <a:pt x="1695" y="4080"/>
                    </a:lnTo>
                    <a:lnTo>
                      <a:pt x="1716" y="4143"/>
                    </a:lnTo>
                    <a:lnTo>
                      <a:pt x="1695" y="4268"/>
                    </a:lnTo>
                    <a:lnTo>
                      <a:pt x="1570" y="4478"/>
                    </a:lnTo>
                    <a:lnTo>
                      <a:pt x="1486" y="4520"/>
                    </a:lnTo>
                    <a:lnTo>
                      <a:pt x="1486" y="4624"/>
                    </a:lnTo>
                    <a:lnTo>
                      <a:pt x="1611" y="4666"/>
                    </a:lnTo>
                    <a:lnTo>
                      <a:pt x="1695" y="4729"/>
                    </a:lnTo>
                    <a:lnTo>
                      <a:pt x="1800" y="4729"/>
                    </a:lnTo>
                    <a:lnTo>
                      <a:pt x="1821" y="4771"/>
                    </a:lnTo>
                    <a:lnTo>
                      <a:pt x="1967" y="4792"/>
                    </a:lnTo>
                    <a:lnTo>
                      <a:pt x="1988" y="4708"/>
                    </a:lnTo>
                    <a:lnTo>
                      <a:pt x="2114" y="4708"/>
                    </a:lnTo>
                    <a:lnTo>
                      <a:pt x="2072" y="4771"/>
                    </a:lnTo>
                    <a:lnTo>
                      <a:pt x="2093" y="4833"/>
                    </a:lnTo>
                    <a:lnTo>
                      <a:pt x="2176" y="4833"/>
                    </a:lnTo>
                    <a:lnTo>
                      <a:pt x="2239" y="4917"/>
                    </a:lnTo>
                    <a:lnTo>
                      <a:pt x="2323" y="4875"/>
                    </a:lnTo>
                    <a:lnTo>
                      <a:pt x="2302" y="4792"/>
                    </a:lnTo>
                    <a:lnTo>
                      <a:pt x="2281" y="4708"/>
                    </a:lnTo>
                    <a:lnTo>
                      <a:pt x="2344" y="4603"/>
                    </a:lnTo>
                    <a:lnTo>
                      <a:pt x="2386" y="4687"/>
                    </a:lnTo>
                    <a:lnTo>
                      <a:pt x="2344" y="4792"/>
                    </a:lnTo>
                    <a:lnTo>
                      <a:pt x="2386" y="4917"/>
                    </a:lnTo>
                    <a:lnTo>
                      <a:pt x="2448" y="4917"/>
                    </a:lnTo>
                    <a:lnTo>
                      <a:pt x="2490" y="4792"/>
                    </a:lnTo>
                    <a:lnTo>
                      <a:pt x="2532" y="4729"/>
                    </a:lnTo>
                    <a:lnTo>
                      <a:pt x="2616" y="4708"/>
                    </a:lnTo>
                    <a:lnTo>
                      <a:pt x="2616" y="4792"/>
                    </a:lnTo>
                    <a:lnTo>
                      <a:pt x="2553" y="4833"/>
                    </a:lnTo>
                    <a:lnTo>
                      <a:pt x="2553" y="4917"/>
                    </a:lnTo>
                    <a:lnTo>
                      <a:pt x="2720" y="4917"/>
                    </a:lnTo>
                    <a:lnTo>
                      <a:pt x="2804" y="4875"/>
                    </a:lnTo>
                    <a:lnTo>
                      <a:pt x="2867" y="4687"/>
                    </a:lnTo>
                    <a:lnTo>
                      <a:pt x="2909" y="4792"/>
                    </a:lnTo>
                    <a:lnTo>
                      <a:pt x="2846" y="4833"/>
                    </a:lnTo>
                    <a:lnTo>
                      <a:pt x="2846" y="4938"/>
                    </a:lnTo>
                    <a:lnTo>
                      <a:pt x="2971" y="4917"/>
                    </a:lnTo>
                    <a:lnTo>
                      <a:pt x="3013" y="4771"/>
                    </a:lnTo>
                    <a:lnTo>
                      <a:pt x="3055" y="4687"/>
                    </a:lnTo>
                    <a:lnTo>
                      <a:pt x="3055" y="4687"/>
                    </a:lnTo>
                    <a:lnTo>
                      <a:pt x="3034" y="4917"/>
                    </a:lnTo>
                    <a:lnTo>
                      <a:pt x="3055" y="5001"/>
                    </a:lnTo>
                    <a:lnTo>
                      <a:pt x="3160" y="5001"/>
                    </a:lnTo>
                    <a:lnTo>
                      <a:pt x="3327" y="5105"/>
                    </a:lnTo>
                    <a:lnTo>
                      <a:pt x="3432" y="5043"/>
                    </a:lnTo>
                    <a:lnTo>
                      <a:pt x="3495" y="5022"/>
                    </a:lnTo>
                    <a:lnTo>
                      <a:pt x="3536" y="5105"/>
                    </a:lnTo>
                    <a:lnTo>
                      <a:pt x="3662" y="5084"/>
                    </a:lnTo>
                    <a:lnTo>
                      <a:pt x="3746" y="5022"/>
                    </a:lnTo>
                    <a:lnTo>
                      <a:pt x="3746" y="4896"/>
                    </a:lnTo>
                    <a:lnTo>
                      <a:pt x="3850" y="4792"/>
                    </a:lnTo>
                    <a:lnTo>
                      <a:pt x="3892" y="4729"/>
                    </a:lnTo>
                    <a:lnTo>
                      <a:pt x="3850" y="4603"/>
                    </a:lnTo>
                    <a:lnTo>
                      <a:pt x="3871" y="4520"/>
                    </a:lnTo>
                    <a:lnTo>
                      <a:pt x="3913" y="4520"/>
                    </a:lnTo>
                    <a:lnTo>
                      <a:pt x="3955" y="4666"/>
                    </a:lnTo>
                    <a:lnTo>
                      <a:pt x="3997" y="4687"/>
                    </a:lnTo>
                    <a:lnTo>
                      <a:pt x="3997" y="4729"/>
                    </a:lnTo>
                    <a:lnTo>
                      <a:pt x="3913" y="4812"/>
                    </a:lnTo>
                    <a:lnTo>
                      <a:pt x="3871" y="4980"/>
                    </a:lnTo>
                    <a:lnTo>
                      <a:pt x="3892" y="5210"/>
                    </a:lnTo>
                    <a:lnTo>
                      <a:pt x="3997" y="5252"/>
                    </a:lnTo>
                    <a:lnTo>
                      <a:pt x="4101" y="5210"/>
                    </a:lnTo>
                    <a:lnTo>
                      <a:pt x="4122" y="5315"/>
                    </a:lnTo>
                    <a:lnTo>
                      <a:pt x="4227" y="5315"/>
                    </a:lnTo>
                    <a:lnTo>
                      <a:pt x="4269" y="5357"/>
                    </a:lnTo>
                    <a:lnTo>
                      <a:pt x="4373" y="5357"/>
                    </a:lnTo>
                    <a:lnTo>
                      <a:pt x="4583" y="5231"/>
                    </a:lnTo>
                    <a:lnTo>
                      <a:pt x="4687" y="5210"/>
                    </a:lnTo>
                    <a:lnTo>
                      <a:pt x="4855" y="5315"/>
                    </a:lnTo>
                    <a:lnTo>
                      <a:pt x="4938" y="5294"/>
                    </a:lnTo>
                    <a:lnTo>
                      <a:pt x="5022" y="5336"/>
                    </a:lnTo>
                    <a:lnTo>
                      <a:pt x="5064" y="5252"/>
                    </a:lnTo>
                    <a:lnTo>
                      <a:pt x="5064" y="5210"/>
                    </a:lnTo>
                    <a:lnTo>
                      <a:pt x="5147" y="5084"/>
                    </a:lnTo>
                    <a:lnTo>
                      <a:pt x="5231" y="5043"/>
                    </a:lnTo>
                    <a:lnTo>
                      <a:pt x="5231" y="5001"/>
                    </a:lnTo>
                    <a:lnTo>
                      <a:pt x="5168" y="4875"/>
                    </a:lnTo>
                    <a:lnTo>
                      <a:pt x="5168" y="4729"/>
                    </a:lnTo>
                    <a:lnTo>
                      <a:pt x="5231" y="4812"/>
                    </a:lnTo>
                    <a:lnTo>
                      <a:pt x="5231" y="4896"/>
                    </a:lnTo>
                    <a:lnTo>
                      <a:pt x="5336" y="5022"/>
                    </a:lnTo>
                    <a:lnTo>
                      <a:pt x="5378" y="4938"/>
                    </a:lnTo>
                    <a:lnTo>
                      <a:pt x="5524" y="4938"/>
                    </a:lnTo>
                    <a:lnTo>
                      <a:pt x="5566" y="4980"/>
                    </a:lnTo>
                    <a:lnTo>
                      <a:pt x="5587" y="4896"/>
                    </a:lnTo>
                    <a:lnTo>
                      <a:pt x="5566" y="4792"/>
                    </a:lnTo>
                    <a:lnTo>
                      <a:pt x="5566" y="4708"/>
                    </a:lnTo>
                    <a:lnTo>
                      <a:pt x="5524" y="4666"/>
                    </a:lnTo>
                    <a:lnTo>
                      <a:pt x="5378" y="4687"/>
                    </a:lnTo>
                    <a:lnTo>
                      <a:pt x="5252" y="4708"/>
                    </a:lnTo>
                    <a:lnTo>
                      <a:pt x="5231" y="4603"/>
                    </a:lnTo>
                    <a:lnTo>
                      <a:pt x="5273" y="4582"/>
                    </a:lnTo>
                    <a:lnTo>
                      <a:pt x="5336" y="4603"/>
                    </a:lnTo>
                    <a:lnTo>
                      <a:pt x="5461" y="4561"/>
                    </a:lnTo>
                    <a:lnTo>
                      <a:pt x="5545" y="4457"/>
                    </a:lnTo>
                    <a:lnTo>
                      <a:pt x="5587" y="4520"/>
                    </a:lnTo>
                    <a:lnTo>
                      <a:pt x="5671" y="4499"/>
                    </a:lnTo>
                    <a:lnTo>
                      <a:pt x="5733" y="4394"/>
                    </a:lnTo>
                    <a:lnTo>
                      <a:pt x="5691" y="4310"/>
                    </a:lnTo>
                    <a:lnTo>
                      <a:pt x="5775" y="4206"/>
                    </a:lnTo>
                    <a:lnTo>
                      <a:pt x="5754" y="4143"/>
                    </a:lnTo>
                    <a:lnTo>
                      <a:pt x="5796" y="4143"/>
                    </a:lnTo>
                    <a:lnTo>
                      <a:pt x="5838" y="4080"/>
                    </a:lnTo>
                    <a:lnTo>
                      <a:pt x="5691" y="4038"/>
                    </a:lnTo>
                    <a:lnTo>
                      <a:pt x="5566" y="4059"/>
                    </a:lnTo>
                    <a:lnTo>
                      <a:pt x="5629" y="3976"/>
                    </a:lnTo>
                    <a:lnTo>
                      <a:pt x="5691" y="3955"/>
                    </a:lnTo>
                    <a:lnTo>
                      <a:pt x="5691" y="3850"/>
                    </a:lnTo>
                    <a:lnTo>
                      <a:pt x="5587" y="3766"/>
                    </a:lnTo>
                    <a:lnTo>
                      <a:pt x="5357" y="3766"/>
                    </a:lnTo>
                    <a:lnTo>
                      <a:pt x="5336" y="3724"/>
                    </a:lnTo>
                    <a:lnTo>
                      <a:pt x="5336" y="3641"/>
                    </a:lnTo>
                    <a:lnTo>
                      <a:pt x="5378" y="3620"/>
                    </a:lnTo>
                    <a:lnTo>
                      <a:pt x="5357" y="3515"/>
                    </a:lnTo>
                    <a:lnTo>
                      <a:pt x="5168" y="3348"/>
                    </a:lnTo>
                    <a:lnTo>
                      <a:pt x="5106" y="3348"/>
                    </a:lnTo>
                    <a:lnTo>
                      <a:pt x="5001" y="3432"/>
                    </a:lnTo>
                    <a:lnTo>
                      <a:pt x="4834" y="3432"/>
                    </a:lnTo>
                    <a:lnTo>
                      <a:pt x="4687" y="3452"/>
                    </a:lnTo>
                    <a:lnTo>
                      <a:pt x="4478" y="3327"/>
                    </a:lnTo>
                    <a:lnTo>
                      <a:pt x="4436" y="3243"/>
                    </a:lnTo>
                    <a:lnTo>
                      <a:pt x="4394" y="3222"/>
                    </a:lnTo>
                    <a:lnTo>
                      <a:pt x="4290" y="3264"/>
                    </a:lnTo>
                    <a:lnTo>
                      <a:pt x="4206" y="3264"/>
                    </a:lnTo>
                    <a:lnTo>
                      <a:pt x="4122" y="3306"/>
                    </a:lnTo>
                    <a:lnTo>
                      <a:pt x="4018" y="3306"/>
                    </a:lnTo>
                    <a:lnTo>
                      <a:pt x="3976" y="3411"/>
                    </a:lnTo>
                    <a:lnTo>
                      <a:pt x="3913" y="3348"/>
                    </a:lnTo>
                    <a:lnTo>
                      <a:pt x="3808" y="3264"/>
                    </a:lnTo>
                    <a:lnTo>
                      <a:pt x="3704" y="3327"/>
                    </a:lnTo>
                    <a:lnTo>
                      <a:pt x="3578" y="3348"/>
                    </a:lnTo>
                    <a:lnTo>
                      <a:pt x="3578" y="3411"/>
                    </a:lnTo>
                    <a:lnTo>
                      <a:pt x="3536" y="3452"/>
                    </a:lnTo>
                    <a:lnTo>
                      <a:pt x="3536" y="3369"/>
                    </a:lnTo>
                    <a:lnTo>
                      <a:pt x="3474" y="3327"/>
                    </a:lnTo>
                    <a:lnTo>
                      <a:pt x="3369" y="3348"/>
                    </a:lnTo>
                    <a:lnTo>
                      <a:pt x="3139" y="3327"/>
                    </a:lnTo>
                    <a:lnTo>
                      <a:pt x="3076" y="3348"/>
                    </a:lnTo>
                    <a:lnTo>
                      <a:pt x="3160" y="3432"/>
                    </a:lnTo>
                    <a:lnTo>
                      <a:pt x="3160" y="3536"/>
                    </a:lnTo>
                    <a:lnTo>
                      <a:pt x="3264" y="3620"/>
                    </a:lnTo>
                    <a:lnTo>
                      <a:pt x="3139" y="3578"/>
                    </a:lnTo>
                    <a:lnTo>
                      <a:pt x="3076" y="3515"/>
                    </a:lnTo>
                    <a:lnTo>
                      <a:pt x="3013" y="3473"/>
                    </a:lnTo>
                    <a:lnTo>
                      <a:pt x="2867" y="3536"/>
                    </a:lnTo>
                    <a:lnTo>
                      <a:pt x="2804" y="3473"/>
                    </a:lnTo>
                    <a:lnTo>
                      <a:pt x="2930" y="3432"/>
                    </a:lnTo>
                    <a:lnTo>
                      <a:pt x="2930" y="3348"/>
                    </a:lnTo>
                    <a:lnTo>
                      <a:pt x="2804" y="3222"/>
                    </a:lnTo>
                    <a:lnTo>
                      <a:pt x="2825" y="3139"/>
                    </a:lnTo>
                    <a:lnTo>
                      <a:pt x="2762" y="3097"/>
                    </a:lnTo>
                    <a:lnTo>
                      <a:pt x="2637" y="3160"/>
                    </a:lnTo>
                    <a:lnTo>
                      <a:pt x="2658" y="3243"/>
                    </a:lnTo>
                    <a:lnTo>
                      <a:pt x="2637" y="3306"/>
                    </a:lnTo>
                    <a:lnTo>
                      <a:pt x="2532" y="3264"/>
                    </a:lnTo>
                    <a:lnTo>
                      <a:pt x="2595" y="3201"/>
                    </a:lnTo>
                    <a:lnTo>
                      <a:pt x="2553" y="3139"/>
                    </a:lnTo>
                    <a:lnTo>
                      <a:pt x="2448" y="3097"/>
                    </a:lnTo>
                    <a:lnTo>
                      <a:pt x="2406" y="3139"/>
                    </a:lnTo>
                    <a:lnTo>
                      <a:pt x="2323" y="3139"/>
                    </a:lnTo>
                    <a:lnTo>
                      <a:pt x="2344" y="3034"/>
                    </a:lnTo>
                    <a:lnTo>
                      <a:pt x="2344" y="2992"/>
                    </a:lnTo>
                    <a:lnTo>
                      <a:pt x="2323" y="2888"/>
                    </a:lnTo>
                    <a:lnTo>
                      <a:pt x="2218" y="2908"/>
                    </a:lnTo>
                    <a:lnTo>
                      <a:pt x="2093" y="3034"/>
                    </a:lnTo>
                    <a:lnTo>
                      <a:pt x="2114" y="3160"/>
                    </a:lnTo>
                    <a:lnTo>
                      <a:pt x="2030" y="3160"/>
                    </a:lnTo>
                    <a:lnTo>
                      <a:pt x="1988" y="3055"/>
                    </a:lnTo>
                    <a:lnTo>
                      <a:pt x="2030" y="2992"/>
                    </a:lnTo>
                    <a:lnTo>
                      <a:pt x="2030" y="2908"/>
                    </a:lnTo>
                    <a:lnTo>
                      <a:pt x="2093" y="2720"/>
                    </a:lnTo>
                    <a:lnTo>
                      <a:pt x="2009" y="2636"/>
                    </a:lnTo>
                    <a:lnTo>
                      <a:pt x="1883" y="2699"/>
                    </a:lnTo>
                    <a:lnTo>
                      <a:pt x="1883" y="2636"/>
                    </a:lnTo>
                    <a:lnTo>
                      <a:pt x="1988" y="2616"/>
                    </a:lnTo>
                    <a:lnTo>
                      <a:pt x="2030" y="2490"/>
                    </a:lnTo>
                    <a:lnTo>
                      <a:pt x="2009" y="2385"/>
                    </a:lnTo>
                    <a:lnTo>
                      <a:pt x="1925" y="2427"/>
                    </a:lnTo>
                    <a:lnTo>
                      <a:pt x="1862" y="2385"/>
                    </a:lnTo>
                    <a:lnTo>
                      <a:pt x="1800" y="2427"/>
                    </a:lnTo>
                    <a:lnTo>
                      <a:pt x="1695" y="2427"/>
                    </a:lnTo>
                    <a:lnTo>
                      <a:pt x="1758" y="2385"/>
                    </a:lnTo>
                    <a:lnTo>
                      <a:pt x="1758" y="2323"/>
                    </a:lnTo>
                    <a:lnTo>
                      <a:pt x="1653" y="2323"/>
                    </a:lnTo>
                    <a:lnTo>
                      <a:pt x="1590" y="2406"/>
                    </a:lnTo>
                    <a:lnTo>
                      <a:pt x="1444" y="2427"/>
                    </a:lnTo>
                    <a:lnTo>
                      <a:pt x="1444" y="2364"/>
                    </a:lnTo>
                    <a:lnTo>
                      <a:pt x="1507" y="2323"/>
                    </a:lnTo>
                    <a:lnTo>
                      <a:pt x="1570" y="2218"/>
                    </a:lnTo>
                    <a:lnTo>
                      <a:pt x="1590" y="2155"/>
                    </a:lnTo>
                    <a:lnTo>
                      <a:pt x="1674" y="2155"/>
                    </a:lnTo>
                    <a:lnTo>
                      <a:pt x="1779" y="2260"/>
                    </a:lnTo>
                    <a:lnTo>
                      <a:pt x="1925" y="2260"/>
                    </a:lnTo>
                    <a:lnTo>
                      <a:pt x="1904" y="2197"/>
                    </a:lnTo>
                    <a:lnTo>
                      <a:pt x="1800" y="2071"/>
                    </a:lnTo>
                    <a:lnTo>
                      <a:pt x="1695" y="2071"/>
                    </a:lnTo>
                    <a:lnTo>
                      <a:pt x="1758" y="2009"/>
                    </a:lnTo>
                    <a:lnTo>
                      <a:pt x="1611" y="1883"/>
                    </a:lnTo>
                    <a:lnTo>
                      <a:pt x="1507" y="1841"/>
                    </a:lnTo>
                    <a:lnTo>
                      <a:pt x="1570" y="1799"/>
                    </a:lnTo>
                    <a:lnTo>
                      <a:pt x="1590" y="1737"/>
                    </a:lnTo>
                    <a:lnTo>
                      <a:pt x="1653" y="1737"/>
                    </a:lnTo>
                    <a:lnTo>
                      <a:pt x="1695" y="1841"/>
                    </a:lnTo>
                    <a:lnTo>
                      <a:pt x="1800" y="1967"/>
                    </a:lnTo>
                    <a:lnTo>
                      <a:pt x="1967" y="1988"/>
                    </a:lnTo>
                    <a:lnTo>
                      <a:pt x="2030" y="2092"/>
                    </a:lnTo>
                    <a:lnTo>
                      <a:pt x="2114" y="2009"/>
                    </a:lnTo>
                    <a:lnTo>
                      <a:pt x="2176" y="2092"/>
                    </a:lnTo>
                    <a:lnTo>
                      <a:pt x="2344" y="2155"/>
                    </a:lnTo>
                    <a:lnTo>
                      <a:pt x="2448" y="2155"/>
                    </a:lnTo>
                    <a:lnTo>
                      <a:pt x="2511" y="2051"/>
                    </a:lnTo>
                    <a:lnTo>
                      <a:pt x="2490" y="1904"/>
                    </a:lnTo>
                    <a:lnTo>
                      <a:pt x="2239" y="1758"/>
                    </a:lnTo>
                    <a:lnTo>
                      <a:pt x="2134" y="1653"/>
                    </a:lnTo>
                    <a:lnTo>
                      <a:pt x="2072" y="1653"/>
                    </a:lnTo>
                    <a:lnTo>
                      <a:pt x="2030" y="1548"/>
                    </a:lnTo>
                    <a:lnTo>
                      <a:pt x="1925" y="1444"/>
                    </a:lnTo>
                    <a:lnTo>
                      <a:pt x="1883" y="1444"/>
                    </a:lnTo>
                    <a:lnTo>
                      <a:pt x="1821" y="1381"/>
                    </a:lnTo>
                    <a:lnTo>
                      <a:pt x="1883" y="1318"/>
                    </a:lnTo>
                    <a:lnTo>
                      <a:pt x="1967" y="1339"/>
                    </a:lnTo>
                    <a:lnTo>
                      <a:pt x="2030" y="1444"/>
                    </a:lnTo>
                    <a:lnTo>
                      <a:pt x="2114" y="1444"/>
                    </a:lnTo>
                    <a:lnTo>
                      <a:pt x="2134" y="1548"/>
                    </a:lnTo>
                    <a:lnTo>
                      <a:pt x="2197" y="1548"/>
                    </a:lnTo>
                    <a:lnTo>
                      <a:pt x="2239" y="1465"/>
                    </a:lnTo>
                    <a:lnTo>
                      <a:pt x="2197" y="1276"/>
                    </a:lnTo>
                    <a:lnTo>
                      <a:pt x="2072" y="1130"/>
                    </a:lnTo>
                    <a:lnTo>
                      <a:pt x="1988" y="1130"/>
                    </a:lnTo>
                    <a:lnTo>
                      <a:pt x="1967" y="1109"/>
                    </a:lnTo>
                    <a:lnTo>
                      <a:pt x="1821" y="1109"/>
                    </a:lnTo>
                    <a:lnTo>
                      <a:pt x="1695" y="1172"/>
                    </a:lnTo>
                    <a:lnTo>
                      <a:pt x="1590" y="1172"/>
                    </a:lnTo>
                    <a:lnTo>
                      <a:pt x="1486" y="1109"/>
                    </a:lnTo>
                    <a:lnTo>
                      <a:pt x="1402" y="1130"/>
                    </a:lnTo>
                    <a:lnTo>
                      <a:pt x="1360" y="1025"/>
                    </a:lnTo>
                    <a:lnTo>
                      <a:pt x="1235" y="1214"/>
                    </a:lnTo>
                    <a:lnTo>
                      <a:pt x="1067" y="1276"/>
                    </a:lnTo>
                    <a:lnTo>
                      <a:pt x="1046" y="1381"/>
                    </a:lnTo>
                    <a:lnTo>
                      <a:pt x="963" y="1423"/>
                    </a:lnTo>
                    <a:lnTo>
                      <a:pt x="963" y="1339"/>
                    </a:lnTo>
                    <a:lnTo>
                      <a:pt x="1046" y="1235"/>
                    </a:lnTo>
                    <a:lnTo>
                      <a:pt x="1088" y="1235"/>
                    </a:lnTo>
                    <a:lnTo>
                      <a:pt x="1339" y="1004"/>
                    </a:lnTo>
                    <a:lnTo>
                      <a:pt x="1360" y="921"/>
                    </a:lnTo>
                    <a:lnTo>
                      <a:pt x="1298" y="816"/>
                    </a:lnTo>
                    <a:lnTo>
                      <a:pt x="1298" y="544"/>
                    </a:lnTo>
                    <a:lnTo>
                      <a:pt x="1339" y="523"/>
                    </a:lnTo>
                    <a:lnTo>
                      <a:pt x="1256" y="419"/>
                    </a:lnTo>
                    <a:lnTo>
                      <a:pt x="1193" y="481"/>
                    </a:lnTo>
                    <a:lnTo>
                      <a:pt x="1088" y="481"/>
                    </a:lnTo>
                    <a:lnTo>
                      <a:pt x="1026" y="419"/>
                    </a:lnTo>
                    <a:lnTo>
                      <a:pt x="1026" y="314"/>
                    </a:lnTo>
                    <a:lnTo>
                      <a:pt x="1026" y="230"/>
                    </a:lnTo>
                    <a:lnTo>
                      <a:pt x="816" y="188"/>
                    </a:lnTo>
                    <a:lnTo>
                      <a:pt x="733" y="84"/>
                    </a:lnTo>
                    <a:lnTo>
                      <a:pt x="628" y="84"/>
                    </a:lnTo>
                    <a:lnTo>
                      <a:pt x="50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4" name="Google Shape;774;p34"/>
              <p:cNvSpPr/>
              <p:nvPr/>
            </p:nvSpPr>
            <p:spPr>
              <a:xfrm>
                <a:off x="2687175" y="1694400"/>
                <a:ext cx="33500" cy="37675"/>
              </a:xfrm>
              <a:custGeom>
                <a:avLst/>
                <a:gdLst/>
                <a:ahLst/>
                <a:cxnLst/>
                <a:rect l="l" t="t" r="r" b="b"/>
                <a:pathLst>
                  <a:path w="1340" h="1507" extrusionOk="0">
                    <a:moveTo>
                      <a:pt x="796" y="0"/>
                    </a:moveTo>
                    <a:lnTo>
                      <a:pt x="670" y="21"/>
                    </a:lnTo>
                    <a:lnTo>
                      <a:pt x="607" y="84"/>
                    </a:lnTo>
                    <a:lnTo>
                      <a:pt x="691" y="147"/>
                    </a:lnTo>
                    <a:lnTo>
                      <a:pt x="691" y="231"/>
                    </a:lnTo>
                    <a:lnTo>
                      <a:pt x="628" y="210"/>
                    </a:lnTo>
                    <a:lnTo>
                      <a:pt x="565" y="147"/>
                    </a:lnTo>
                    <a:lnTo>
                      <a:pt x="461" y="126"/>
                    </a:lnTo>
                    <a:lnTo>
                      <a:pt x="419" y="210"/>
                    </a:lnTo>
                    <a:lnTo>
                      <a:pt x="524" y="210"/>
                    </a:lnTo>
                    <a:lnTo>
                      <a:pt x="565" y="251"/>
                    </a:lnTo>
                    <a:lnTo>
                      <a:pt x="524" y="293"/>
                    </a:lnTo>
                    <a:lnTo>
                      <a:pt x="398" y="314"/>
                    </a:lnTo>
                    <a:lnTo>
                      <a:pt x="356" y="335"/>
                    </a:lnTo>
                    <a:lnTo>
                      <a:pt x="398" y="440"/>
                    </a:lnTo>
                    <a:lnTo>
                      <a:pt x="419" y="461"/>
                    </a:lnTo>
                    <a:lnTo>
                      <a:pt x="419" y="523"/>
                    </a:lnTo>
                    <a:lnTo>
                      <a:pt x="293" y="461"/>
                    </a:lnTo>
                    <a:lnTo>
                      <a:pt x="168" y="503"/>
                    </a:lnTo>
                    <a:lnTo>
                      <a:pt x="84" y="565"/>
                    </a:lnTo>
                    <a:lnTo>
                      <a:pt x="42" y="712"/>
                    </a:lnTo>
                    <a:lnTo>
                      <a:pt x="0" y="733"/>
                    </a:lnTo>
                    <a:lnTo>
                      <a:pt x="0" y="754"/>
                    </a:lnTo>
                    <a:lnTo>
                      <a:pt x="63" y="754"/>
                    </a:lnTo>
                    <a:lnTo>
                      <a:pt x="42" y="837"/>
                    </a:lnTo>
                    <a:lnTo>
                      <a:pt x="42" y="879"/>
                    </a:lnTo>
                    <a:lnTo>
                      <a:pt x="63" y="921"/>
                    </a:lnTo>
                    <a:lnTo>
                      <a:pt x="147" y="816"/>
                    </a:lnTo>
                    <a:lnTo>
                      <a:pt x="168" y="837"/>
                    </a:lnTo>
                    <a:lnTo>
                      <a:pt x="105" y="963"/>
                    </a:lnTo>
                    <a:lnTo>
                      <a:pt x="147" y="1026"/>
                    </a:lnTo>
                    <a:lnTo>
                      <a:pt x="210" y="1067"/>
                    </a:lnTo>
                    <a:lnTo>
                      <a:pt x="272" y="1047"/>
                    </a:lnTo>
                    <a:lnTo>
                      <a:pt x="293" y="1067"/>
                    </a:lnTo>
                    <a:lnTo>
                      <a:pt x="314" y="1151"/>
                    </a:lnTo>
                    <a:lnTo>
                      <a:pt x="356" y="1151"/>
                    </a:lnTo>
                    <a:lnTo>
                      <a:pt x="398" y="1088"/>
                    </a:lnTo>
                    <a:lnTo>
                      <a:pt x="461" y="1130"/>
                    </a:lnTo>
                    <a:lnTo>
                      <a:pt x="461" y="1256"/>
                    </a:lnTo>
                    <a:lnTo>
                      <a:pt x="482" y="1298"/>
                    </a:lnTo>
                    <a:lnTo>
                      <a:pt x="586" y="1277"/>
                    </a:lnTo>
                    <a:lnTo>
                      <a:pt x="607" y="1402"/>
                    </a:lnTo>
                    <a:lnTo>
                      <a:pt x="712" y="1402"/>
                    </a:lnTo>
                    <a:lnTo>
                      <a:pt x="837" y="1486"/>
                    </a:lnTo>
                    <a:lnTo>
                      <a:pt x="942" y="1486"/>
                    </a:lnTo>
                    <a:lnTo>
                      <a:pt x="1005" y="1507"/>
                    </a:lnTo>
                    <a:lnTo>
                      <a:pt x="1026" y="1486"/>
                    </a:lnTo>
                    <a:lnTo>
                      <a:pt x="1005" y="1402"/>
                    </a:lnTo>
                    <a:lnTo>
                      <a:pt x="1088" y="1381"/>
                    </a:lnTo>
                    <a:lnTo>
                      <a:pt x="1151" y="1235"/>
                    </a:lnTo>
                    <a:lnTo>
                      <a:pt x="1130" y="1088"/>
                    </a:lnTo>
                    <a:lnTo>
                      <a:pt x="1214" y="942"/>
                    </a:lnTo>
                    <a:lnTo>
                      <a:pt x="1235" y="921"/>
                    </a:lnTo>
                    <a:lnTo>
                      <a:pt x="1319" y="712"/>
                    </a:lnTo>
                    <a:lnTo>
                      <a:pt x="1319" y="565"/>
                    </a:lnTo>
                    <a:lnTo>
                      <a:pt x="1340" y="523"/>
                    </a:lnTo>
                    <a:lnTo>
                      <a:pt x="1319" y="419"/>
                    </a:lnTo>
                    <a:lnTo>
                      <a:pt x="1235" y="335"/>
                    </a:lnTo>
                    <a:lnTo>
                      <a:pt x="1235" y="210"/>
                    </a:lnTo>
                    <a:lnTo>
                      <a:pt x="1193" y="147"/>
                    </a:lnTo>
                    <a:lnTo>
                      <a:pt x="1151" y="42"/>
                    </a:lnTo>
                    <a:lnTo>
                      <a:pt x="1005" y="0"/>
                    </a:lnTo>
                    <a:lnTo>
                      <a:pt x="900" y="42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5" name="Google Shape;775;p34"/>
              <p:cNvSpPr/>
              <p:nvPr/>
            </p:nvSpPr>
            <p:spPr>
              <a:xfrm>
                <a:off x="2605050" y="1520200"/>
                <a:ext cx="42400" cy="26175"/>
              </a:xfrm>
              <a:custGeom>
                <a:avLst/>
                <a:gdLst/>
                <a:ahLst/>
                <a:cxnLst/>
                <a:rect l="l" t="t" r="r" b="b"/>
                <a:pathLst>
                  <a:path w="1696" h="1047" extrusionOk="0">
                    <a:moveTo>
                      <a:pt x="1570" y="1"/>
                    </a:moveTo>
                    <a:lnTo>
                      <a:pt x="1486" y="64"/>
                    </a:lnTo>
                    <a:lnTo>
                      <a:pt x="1256" y="64"/>
                    </a:lnTo>
                    <a:lnTo>
                      <a:pt x="1130" y="168"/>
                    </a:lnTo>
                    <a:lnTo>
                      <a:pt x="963" y="168"/>
                    </a:lnTo>
                    <a:lnTo>
                      <a:pt x="921" y="189"/>
                    </a:lnTo>
                    <a:lnTo>
                      <a:pt x="816" y="105"/>
                    </a:lnTo>
                    <a:lnTo>
                      <a:pt x="712" y="84"/>
                    </a:lnTo>
                    <a:lnTo>
                      <a:pt x="356" y="189"/>
                    </a:lnTo>
                    <a:lnTo>
                      <a:pt x="126" y="189"/>
                    </a:lnTo>
                    <a:lnTo>
                      <a:pt x="105" y="273"/>
                    </a:lnTo>
                    <a:lnTo>
                      <a:pt x="0" y="377"/>
                    </a:lnTo>
                    <a:lnTo>
                      <a:pt x="0" y="482"/>
                    </a:lnTo>
                    <a:lnTo>
                      <a:pt x="105" y="461"/>
                    </a:lnTo>
                    <a:lnTo>
                      <a:pt x="231" y="461"/>
                    </a:lnTo>
                    <a:lnTo>
                      <a:pt x="314" y="419"/>
                    </a:lnTo>
                    <a:lnTo>
                      <a:pt x="398" y="461"/>
                    </a:lnTo>
                    <a:lnTo>
                      <a:pt x="503" y="461"/>
                    </a:lnTo>
                    <a:lnTo>
                      <a:pt x="565" y="503"/>
                    </a:lnTo>
                    <a:lnTo>
                      <a:pt x="503" y="587"/>
                    </a:lnTo>
                    <a:lnTo>
                      <a:pt x="544" y="712"/>
                    </a:lnTo>
                    <a:lnTo>
                      <a:pt x="628" y="817"/>
                    </a:lnTo>
                    <a:lnTo>
                      <a:pt x="712" y="712"/>
                    </a:lnTo>
                    <a:lnTo>
                      <a:pt x="712" y="628"/>
                    </a:lnTo>
                    <a:lnTo>
                      <a:pt x="754" y="587"/>
                    </a:lnTo>
                    <a:lnTo>
                      <a:pt x="858" y="712"/>
                    </a:lnTo>
                    <a:lnTo>
                      <a:pt x="837" y="838"/>
                    </a:lnTo>
                    <a:lnTo>
                      <a:pt x="984" y="1005"/>
                    </a:lnTo>
                    <a:lnTo>
                      <a:pt x="1088" y="984"/>
                    </a:lnTo>
                    <a:lnTo>
                      <a:pt x="1151" y="1047"/>
                    </a:lnTo>
                    <a:lnTo>
                      <a:pt x="1360" y="1047"/>
                    </a:lnTo>
                    <a:lnTo>
                      <a:pt x="1465" y="942"/>
                    </a:lnTo>
                    <a:lnTo>
                      <a:pt x="1591" y="900"/>
                    </a:lnTo>
                    <a:lnTo>
                      <a:pt x="1674" y="670"/>
                    </a:lnTo>
                    <a:lnTo>
                      <a:pt x="1591" y="503"/>
                    </a:lnTo>
                    <a:lnTo>
                      <a:pt x="1695" y="356"/>
                    </a:lnTo>
                    <a:lnTo>
                      <a:pt x="1695" y="273"/>
                    </a:lnTo>
                    <a:lnTo>
                      <a:pt x="1612" y="147"/>
                    </a:lnTo>
                    <a:lnTo>
                      <a:pt x="1653" y="64"/>
                    </a:lnTo>
                    <a:lnTo>
                      <a:pt x="157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6" name="Google Shape;776;p34"/>
              <p:cNvSpPr/>
              <p:nvPr/>
            </p:nvSpPr>
            <p:spPr>
              <a:xfrm>
                <a:off x="2443425" y="1547400"/>
                <a:ext cx="1098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4395" h="2428" extrusionOk="0">
                    <a:moveTo>
                      <a:pt x="4268" y="1"/>
                    </a:moveTo>
                    <a:lnTo>
                      <a:pt x="4185" y="43"/>
                    </a:lnTo>
                    <a:lnTo>
                      <a:pt x="4059" y="105"/>
                    </a:lnTo>
                    <a:lnTo>
                      <a:pt x="4059" y="252"/>
                    </a:lnTo>
                    <a:lnTo>
                      <a:pt x="4038" y="336"/>
                    </a:lnTo>
                    <a:lnTo>
                      <a:pt x="4059" y="377"/>
                    </a:lnTo>
                    <a:lnTo>
                      <a:pt x="3955" y="419"/>
                    </a:lnTo>
                    <a:lnTo>
                      <a:pt x="3934" y="315"/>
                    </a:lnTo>
                    <a:lnTo>
                      <a:pt x="3892" y="315"/>
                    </a:lnTo>
                    <a:lnTo>
                      <a:pt x="3871" y="377"/>
                    </a:lnTo>
                    <a:lnTo>
                      <a:pt x="3829" y="440"/>
                    </a:lnTo>
                    <a:lnTo>
                      <a:pt x="3766" y="357"/>
                    </a:lnTo>
                    <a:lnTo>
                      <a:pt x="3745" y="168"/>
                    </a:lnTo>
                    <a:lnTo>
                      <a:pt x="3641" y="64"/>
                    </a:lnTo>
                    <a:lnTo>
                      <a:pt x="3578" y="64"/>
                    </a:lnTo>
                    <a:lnTo>
                      <a:pt x="3557" y="126"/>
                    </a:lnTo>
                    <a:lnTo>
                      <a:pt x="3432" y="126"/>
                    </a:lnTo>
                    <a:lnTo>
                      <a:pt x="3306" y="64"/>
                    </a:lnTo>
                    <a:lnTo>
                      <a:pt x="3222" y="64"/>
                    </a:lnTo>
                    <a:lnTo>
                      <a:pt x="2992" y="43"/>
                    </a:lnTo>
                    <a:lnTo>
                      <a:pt x="2846" y="126"/>
                    </a:lnTo>
                    <a:lnTo>
                      <a:pt x="2804" y="231"/>
                    </a:lnTo>
                    <a:lnTo>
                      <a:pt x="2741" y="315"/>
                    </a:lnTo>
                    <a:lnTo>
                      <a:pt x="2699" y="273"/>
                    </a:lnTo>
                    <a:lnTo>
                      <a:pt x="2636" y="273"/>
                    </a:lnTo>
                    <a:lnTo>
                      <a:pt x="2364" y="482"/>
                    </a:lnTo>
                    <a:lnTo>
                      <a:pt x="2281" y="566"/>
                    </a:lnTo>
                    <a:lnTo>
                      <a:pt x="2197" y="566"/>
                    </a:lnTo>
                    <a:lnTo>
                      <a:pt x="2051" y="670"/>
                    </a:lnTo>
                    <a:lnTo>
                      <a:pt x="1946" y="691"/>
                    </a:lnTo>
                    <a:lnTo>
                      <a:pt x="1862" y="775"/>
                    </a:lnTo>
                    <a:lnTo>
                      <a:pt x="1841" y="859"/>
                    </a:lnTo>
                    <a:lnTo>
                      <a:pt x="1653" y="859"/>
                    </a:lnTo>
                    <a:lnTo>
                      <a:pt x="1590" y="880"/>
                    </a:lnTo>
                    <a:lnTo>
                      <a:pt x="1465" y="859"/>
                    </a:lnTo>
                    <a:lnTo>
                      <a:pt x="1423" y="901"/>
                    </a:lnTo>
                    <a:lnTo>
                      <a:pt x="1339" y="901"/>
                    </a:lnTo>
                    <a:lnTo>
                      <a:pt x="1151" y="1068"/>
                    </a:lnTo>
                    <a:lnTo>
                      <a:pt x="1025" y="1152"/>
                    </a:lnTo>
                    <a:lnTo>
                      <a:pt x="900" y="1089"/>
                    </a:lnTo>
                    <a:lnTo>
                      <a:pt x="795" y="1152"/>
                    </a:lnTo>
                    <a:lnTo>
                      <a:pt x="523" y="1193"/>
                    </a:lnTo>
                    <a:lnTo>
                      <a:pt x="398" y="1382"/>
                    </a:lnTo>
                    <a:lnTo>
                      <a:pt x="314" y="1382"/>
                    </a:lnTo>
                    <a:lnTo>
                      <a:pt x="167" y="1403"/>
                    </a:lnTo>
                    <a:lnTo>
                      <a:pt x="105" y="1528"/>
                    </a:lnTo>
                    <a:lnTo>
                      <a:pt x="209" y="1528"/>
                    </a:lnTo>
                    <a:lnTo>
                      <a:pt x="272" y="1591"/>
                    </a:lnTo>
                    <a:lnTo>
                      <a:pt x="167" y="1591"/>
                    </a:lnTo>
                    <a:lnTo>
                      <a:pt x="126" y="1633"/>
                    </a:lnTo>
                    <a:lnTo>
                      <a:pt x="209" y="1717"/>
                    </a:lnTo>
                    <a:lnTo>
                      <a:pt x="188" y="1779"/>
                    </a:lnTo>
                    <a:lnTo>
                      <a:pt x="0" y="1842"/>
                    </a:lnTo>
                    <a:lnTo>
                      <a:pt x="0" y="1905"/>
                    </a:lnTo>
                    <a:lnTo>
                      <a:pt x="126" y="1926"/>
                    </a:lnTo>
                    <a:lnTo>
                      <a:pt x="230" y="1905"/>
                    </a:lnTo>
                    <a:lnTo>
                      <a:pt x="293" y="1821"/>
                    </a:lnTo>
                    <a:lnTo>
                      <a:pt x="377" y="1800"/>
                    </a:lnTo>
                    <a:lnTo>
                      <a:pt x="481" y="1842"/>
                    </a:lnTo>
                    <a:lnTo>
                      <a:pt x="586" y="1989"/>
                    </a:lnTo>
                    <a:lnTo>
                      <a:pt x="586" y="2114"/>
                    </a:lnTo>
                    <a:lnTo>
                      <a:pt x="691" y="2156"/>
                    </a:lnTo>
                    <a:lnTo>
                      <a:pt x="732" y="2114"/>
                    </a:lnTo>
                    <a:lnTo>
                      <a:pt x="732" y="2009"/>
                    </a:lnTo>
                    <a:lnTo>
                      <a:pt x="753" y="1989"/>
                    </a:lnTo>
                    <a:lnTo>
                      <a:pt x="816" y="1821"/>
                    </a:lnTo>
                    <a:lnTo>
                      <a:pt x="858" y="1821"/>
                    </a:lnTo>
                    <a:lnTo>
                      <a:pt x="1004" y="1779"/>
                    </a:lnTo>
                    <a:lnTo>
                      <a:pt x="1067" y="1800"/>
                    </a:lnTo>
                    <a:lnTo>
                      <a:pt x="1046" y="1884"/>
                    </a:lnTo>
                    <a:lnTo>
                      <a:pt x="942" y="1926"/>
                    </a:lnTo>
                    <a:lnTo>
                      <a:pt x="900" y="2093"/>
                    </a:lnTo>
                    <a:lnTo>
                      <a:pt x="942" y="2156"/>
                    </a:lnTo>
                    <a:lnTo>
                      <a:pt x="858" y="2240"/>
                    </a:lnTo>
                    <a:lnTo>
                      <a:pt x="816" y="2323"/>
                    </a:lnTo>
                    <a:lnTo>
                      <a:pt x="858" y="2407"/>
                    </a:lnTo>
                    <a:lnTo>
                      <a:pt x="921" y="2323"/>
                    </a:lnTo>
                    <a:lnTo>
                      <a:pt x="1004" y="2344"/>
                    </a:lnTo>
                    <a:lnTo>
                      <a:pt x="1004" y="2428"/>
                    </a:lnTo>
                    <a:lnTo>
                      <a:pt x="1046" y="2428"/>
                    </a:lnTo>
                    <a:lnTo>
                      <a:pt x="1235" y="2323"/>
                    </a:lnTo>
                    <a:lnTo>
                      <a:pt x="1318" y="2219"/>
                    </a:lnTo>
                    <a:lnTo>
                      <a:pt x="1381" y="2240"/>
                    </a:lnTo>
                    <a:lnTo>
                      <a:pt x="1444" y="2135"/>
                    </a:lnTo>
                    <a:lnTo>
                      <a:pt x="1444" y="2009"/>
                    </a:lnTo>
                    <a:lnTo>
                      <a:pt x="1527" y="2009"/>
                    </a:lnTo>
                    <a:lnTo>
                      <a:pt x="1590" y="1905"/>
                    </a:lnTo>
                    <a:lnTo>
                      <a:pt x="1590" y="1779"/>
                    </a:lnTo>
                    <a:lnTo>
                      <a:pt x="1653" y="1717"/>
                    </a:lnTo>
                    <a:lnTo>
                      <a:pt x="1674" y="1779"/>
                    </a:lnTo>
                    <a:lnTo>
                      <a:pt x="1653" y="1842"/>
                    </a:lnTo>
                    <a:lnTo>
                      <a:pt x="1674" y="1926"/>
                    </a:lnTo>
                    <a:lnTo>
                      <a:pt x="1653" y="2051"/>
                    </a:lnTo>
                    <a:lnTo>
                      <a:pt x="1674" y="2198"/>
                    </a:lnTo>
                    <a:lnTo>
                      <a:pt x="1737" y="2198"/>
                    </a:lnTo>
                    <a:lnTo>
                      <a:pt x="1841" y="2051"/>
                    </a:lnTo>
                    <a:lnTo>
                      <a:pt x="1862" y="1926"/>
                    </a:lnTo>
                    <a:lnTo>
                      <a:pt x="1883" y="1884"/>
                    </a:lnTo>
                    <a:lnTo>
                      <a:pt x="1967" y="1842"/>
                    </a:lnTo>
                    <a:lnTo>
                      <a:pt x="2092" y="1696"/>
                    </a:lnTo>
                    <a:lnTo>
                      <a:pt x="2113" y="1570"/>
                    </a:lnTo>
                    <a:lnTo>
                      <a:pt x="2092" y="1465"/>
                    </a:lnTo>
                    <a:lnTo>
                      <a:pt x="2155" y="1361"/>
                    </a:lnTo>
                    <a:lnTo>
                      <a:pt x="2197" y="1486"/>
                    </a:lnTo>
                    <a:lnTo>
                      <a:pt x="2406" y="1361"/>
                    </a:lnTo>
                    <a:lnTo>
                      <a:pt x="2469" y="1193"/>
                    </a:lnTo>
                    <a:lnTo>
                      <a:pt x="2490" y="1089"/>
                    </a:lnTo>
                    <a:lnTo>
                      <a:pt x="2595" y="1068"/>
                    </a:lnTo>
                    <a:lnTo>
                      <a:pt x="2636" y="1047"/>
                    </a:lnTo>
                    <a:lnTo>
                      <a:pt x="2720" y="1089"/>
                    </a:lnTo>
                    <a:lnTo>
                      <a:pt x="2825" y="984"/>
                    </a:lnTo>
                    <a:lnTo>
                      <a:pt x="2888" y="1047"/>
                    </a:lnTo>
                    <a:lnTo>
                      <a:pt x="2825" y="1256"/>
                    </a:lnTo>
                    <a:lnTo>
                      <a:pt x="2678" y="1403"/>
                    </a:lnTo>
                    <a:lnTo>
                      <a:pt x="2636" y="1507"/>
                    </a:lnTo>
                    <a:lnTo>
                      <a:pt x="2574" y="1591"/>
                    </a:lnTo>
                    <a:lnTo>
                      <a:pt x="2574" y="1633"/>
                    </a:lnTo>
                    <a:lnTo>
                      <a:pt x="2469" y="1696"/>
                    </a:lnTo>
                    <a:lnTo>
                      <a:pt x="2323" y="1926"/>
                    </a:lnTo>
                    <a:lnTo>
                      <a:pt x="2323" y="1989"/>
                    </a:lnTo>
                    <a:lnTo>
                      <a:pt x="2385" y="2093"/>
                    </a:lnTo>
                    <a:lnTo>
                      <a:pt x="2364" y="2198"/>
                    </a:lnTo>
                    <a:lnTo>
                      <a:pt x="2427" y="2219"/>
                    </a:lnTo>
                    <a:lnTo>
                      <a:pt x="2532" y="2261"/>
                    </a:lnTo>
                    <a:lnTo>
                      <a:pt x="2616" y="2198"/>
                    </a:lnTo>
                    <a:lnTo>
                      <a:pt x="2720" y="2135"/>
                    </a:lnTo>
                    <a:lnTo>
                      <a:pt x="2741" y="2030"/>
                    </a:lnTo>
                    <a:lnTo>
                      <a:pt x="2741" y="1926"/>
                    </a:lnTo>
                    <a:lnTo>
                      <a:pt x="2825" y="1842"/>
                    </a:lnTo>
                    <a:lnTo>
                      <a:pt x="2888" y="1737"/>
                    </a:lnTo>
                    <a:lnTo>
                      <a:pt x="2950" y="1737"/>
                    </a:lnTo>
                    <a:lnTo>
                      <a:pt x="3013" y="1717"/>
                    </a:lnTo>
                    <a:lnTo>
                      <a:pt x="3097" y="1779"/>
                    </a:lnTo>
                    <a:lnTo>
                      <a:pt x="3201" y="1779"/>
                    </a:lnTo>
                    <a:lnTo>
                      <a:pt x="3243" y="1717"/>
                    </a:lnTo>
                    <a:lnTo>
                      <a:pt x="3432" y="1717"/>
                    </a:lnTo>
                    <a:lnTo>
                      <a:pt x="3515" y="1612"/>
                    </a:lnTo>
                    <a:lnTo>
                      <a:pt x="3557" y="1403"/>
                    </a:lnTo>
                    <a:lnTo>
                      <a:pt x="3662" y="1256"/>
                    </a:lnTo>
                    <a:lnTo>
                      <a:pt x="3662" y="1152"/>
                    </a:lnTo>
                    <a:lnTo>
                      <a:pt x="3683" y="1089"/>
                    </a:lnTo>
                    <a:lnTo>
                      <a:pt x="3766" y="1214"/>
                    </a:lnTo>
                    <a:lnTo>
                      <a:pt x="3871" y="1256"/>
                    </a:lnTo>
                    <a:lnTo>
                      <a:pt x="3892" y="1193"/>
                    </a:lnTo>
                    <a:lnTo>
                      <a:pt x="3892" y="1110"/>
                    </a:lnTo>
                    <a:lnTo>
                      <a:pt x="3787" y="963"/>
                    </a:lnTo>
                    <a:lnTo>
                      <a:pt x="3787" y="880"/>
                    </a:lnTo>
                    <a:lnTo>
                      <a:pt x="3934" y="775"/>
                    </a:lnTo>
                    <a:lnTo>
                      <a:pt x="4038" y="754"/>
                    </a:lnTo>
                    <a:lnTo>
                      <a:pt x="4143" y="691"/>
                    </a:lnTo>
                    <a:lnTo>
                      <a:pt x="4206" y="733"/>
                    </a:lnTo>
                    <a:lnTo>
                      <a:pt x="4289" y="733"/>
                    </a:lnTo>
                    <a:lnTo>
                      <a:pt x="4394" y="587"/>
                    </a:lnTo>
                    <a:lnTo>
                      <a:pt x="4373" y="524"/>
                    </a:lnTo>
                    <a:lnTo>
                      <a:pt x="4352" y="273"/>
                    </a:lnTo>
                    <a:lnTo>
                      <a:pt x="4373" y="231"/>
                    </a:lnTo>
                    <a:lnTo>
                      <a:pt x="4352" y="168"/>
                    </a:lnTo>
                    <a:lnTo>
                      <a:pt x="4352" y="22"/>
                    </a:lnTo>
                    <a:lnTo>
                      <a:pt x="426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7" name="Google Shape;777;p34"/>
              <p:cNvSpPr/>
              <p:nvPr/>
            </p:nvSpPr>
            <p:spPr>
              <a:xfrm>
                <a:off x="2580975" y="1547400"/>
                <a:ext cx="48150" cy="324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299" extrusionOk="0">
                    <a:moveTo>
                      <a:pt x="796" y="1"/>
                    </a:moveTo>
                    <a:lnTo>
                      <a:pt x="524" y="43"/>
                    </a:lnTo>
                    <a:lnTo>
                      <a:pt x="440" y="43"/>
                    </a:lnTo>
                    <a:lnTo>
                      <a:pt x="336" y="126"/>
                    </a:lnTo>
                    <a:lnTo>
                      <a:pt x="231" y="168"/>
                    </a:lnTo>
                    <a:lnTo>
                      <a:pt x="210" y="315"/>
                    </a:lnTo>
                    <a:lnTo>
                      <a:pt x="64" y="419"/>
                    </a:lnTo>
                    <a:lnTo>
                      <a:pt x="64" y="524"/>
                    </a:lnTo>
                    <a:lnTo>
                      <a:pt x="1" y="629"/>
                    </a:lnTo>
                    <a:lnTo>
                      <a:pt x="22" y="754"/>
                    </a:lnTo>
                    <a:lnTo>
                      <a:pt x="22" y="880"/>
                    </a:lnTo>
                    <a:lnTo>
                      <a:pt x="106" y="880"/>
                    </a:lnTo>
                    <a:lnTo>
                      <a:pt x="231" y="963"/>
                    </a:lnTo>
                    <a:lnTo>
                      <a:pt x="315" y="1110"/>
                    </a:lnTo>
                    <a:lnTo>
                      <a:pt x="231" y="1193"/>
                    </a:lnTo>
                    <a:lnTo>
                      <a:pt x="252" y="1214"/>
                    </a:lnTo>
                    <a:lnTo>
                      <a:pt x="378" y="1214"/>
                    </a:lnTo>
                    <a:lnTo>
                      <a:pt x="524" y="1256"/>
                    </a:lnTo>
                    <a:lnTo>
                      <a:pt x="566" y="1214"/>
                    </a:lnTo>
                    <a:lnTo>
                      <a:pt x="691" y="1298"/>
                    </a:lnTo>
                    <a:lnTo>
                      <a:pt x="838" y="1298"/>
                    </a:lnTo>
                    <a:lnTo>
                      <a:pt x="943" y="1256"/>
                    </a:lnTo>
                    <a:lnTo>
                      <a:pt x="1068" y="1256"/>
                    </a:lnTo>
                    <a:lnTo>
                      <a:pt x="1110" y="1152"/>
                    </a:lnTo>
                    <a:lnTo>
                      <a:pt x="1110" y="1089"/>
                    </a:lnTo>
                    <a:lnTo>
                      <a:pt x="1215" y="1068"/>
                    </a:lnTo>
                    <a:lnTo>
                      <a:pt x="1256" y="984"/>
                    </a:lnTo>
                    <a:lnTo>
                      <a:pt x="1403" y="796"/>
                    </a:lnTo>
                    <a:lnTo>
                      <a:pt x="1382" y="733"/>
                    </a:lnTo>
                    <a:lnTo>
                      <a:pt x="1319" y="754"/>
                    </a:lnTo>
                    <a:lnTo>
                      <a:pt x="1215" y="733"/>
                    </a:lnTo>
                    <a:lnTo>
                      <a:pt x="1215" y="670"/>
                    </a:lnTo>
                    <a:lnTo>
                      <a:pt x="1361" y="545"/>
                    </a:lnTo>
                    <a:lnTo>
                      <a:pt x="1466" y="545"/>
                    </a:lnTo>
                    <a:lnTo>
                      <a:pt x="1738" y="440"/>
                    </a:lnTo>
                    <a:lnTo>
                      <a:pt x="1821" y="461"/>
                    </a:lnTo>
                    <a:lnTo>
                      <a:pt x="1926" y="273"/>
                    </a:lnTo>
                    <a:lnTo>
                      <a:pt x="1905" y="231"/>
                    </a:lnTo>
                    <a:lnTo>
                      <a:pt x="1779" y="210"/>
                    </a:lnTo>
                    <a:lnTo>
                      <a:pt x="1717" y="147"/>
                    </a:lnTo>
                    <a:lnTo>
                      <a:pt x="1591" y="126"/>
                    </a:lnTo>
                    <a:lnTo>
                      <a:pt x="1424" y="126"/>
                    </a:lnTo>
                    <a:lnTo>
                      <a:pt x="1403" y="105"/>
                    </a:lnTo>
                    <a:lnTo>
                      <a:pt x="1256" y="43"/>
                    </a:lnTo>
                    <a:lnTo>
                      <a:pt x="1173" y="64"/>
                    </a:lnTo>
                    <a:lnTo>
                      <a:pt x="1047" y="64"/>
                    </a:lnTo>
                    <a:lnTo>
                      <a:pt x="963" y="43"/>
                    </a:lnTo>
                    <a:lnTo>
                      <a:pt x="859" y="43"/>
                    </a:lnTo>
                    <a:lnTo>
                      <a:pt x="79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8" name="Google Shape;778;p34"/>
              <p:cNvSpPr/>
              <p:nvPr/>
            </p:nvSpPr>
            <p:spPr>
              <a:xfrm>
                <a:off x="2474800" y="1600250"/>
                <a:ext cx="142825" cy="8842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3537" extrusionOk="0">
                    <a:moveTo>
                      <a:pt x="2177" y="0"/>
                    </a:moveTo>
                    <a:lnTo>
                      <a:pt x="1863" y="84"/>
                    </a:lnTo>
                    <a:lnTo>
                      <a:pt x="1800" y="126"/>
                    </a:lnTo>
                    <a:lnTo>
                      <a:pt x="1863" y="188"/>
                    </a:lnTo>
                    <a:lnTo>
                      <a:pt x="1863" y="293"/>
                    </a:lnTo>
                    <a:lnTo>
                      <a:pt x="1988" y="356"/>
                    </a:lnTo>
                    <a:lnTo>
                      <a:pt x="2051" y="460"/>
                    </a:lnTo>
                    <a:lnTo>
                      <a:pt x="1967" y="439"/>
                    </a:lnTo>
                    <a:lnTo>
                      <a:pt x="1842" y="335"/>
                    </a:lnTo>
                    <a:lnTo>
                      <a:pt x="1758" y="335"/>
                    </a:lnTo>
                    <a:lnTo>
                      <a:pt x="1695" y="293"/>
                    </a:lnTo>
                    <a:lnTo>
                      <a:pt x="1591" y="293"/>
                    </a:lnTo>
                    <a:lnTo>
                      <a:pt x="1465" y="335"/>
                    </a:lnTo>
                    <a:lnTo>
                      <a:pt x="1381" y="335"/>
                    </a:lnTo>
                    <a:lnTo>
                      <a:pt x="1319" y="398"/>
                    </a:lnTo>
                    <a:lnTo>
                      <a:pt x="1256" y="502"/>
                    </a:lnTo>
                    <a:lnTo>
                      <a:pt x="1130" y="607"/>
                    </a:lnTo>
                    <a:lnTo>
                      <a:pt x="1214" y="711"/>
                    </a:lnTo>
                    <a:lnTo>
                      <a:pt x="1444" y="753"/>
                    </a:lnTo>
                    <a:lnTo>
                      <a:pt x="1549" y="753"/>
                    </a:lnTo>
                    <a:lnTo>
                      <a:pt x="1653" y="837"/>
                    </a:lnTo>
                    <a:lnTo>
                      <a:pt x="1737" y="837"/>
                    </a:lnTo>
                    <a:lnTo>
                      <a:pt x="1758" y="879"/>
                    </a:lnTo>
                    <a:lnTo>
                      <a:pt x="1695" y="921"/>
                    </a:lnTo>
                    <a:lnTo>
                      <a:pt x="1570" y="879"/>
                    </a:lnTo>
                    <a:lnTo>
                      <a:pt x="1319" y="858"/>
                    </a:lnTo>
                    <a:lnTo>
                      <a:pt x="1109" y="879"/>
                    </a:lnTo>
                    <a:lnTo>
                      <a:pt x="1026" y="858"/>
                    </a:lnTo>
                    <a:lnTo>
                      <a:pt x="921" y="879"/>
                    </a:lnTo>
                    <a:lnTo>
                      <a:pt x="754" y="1046"/>
                    </a:lnTo>
                    <a:lnTo>
                      <a:pt x="607" y="1193"/>
                    </a:lnTo>
                    <a:lnTo>
                      <a:pt x="628" y="1256"/>
                    </a:lnTo>
                    <a:lnTo>
                      <a:pt x="754" y="1256"/>
                    </a:lnTo>
                    <a:lnTo>
                      <a:pt x="942" y="1297"/>
                    </a:lnTo>
                    <a:lnTo>
                      <a:pt x="1068" y="1276"/>
                    </a:lnTo>
                    <a:lnTo>
                      <a:pt x="1214" y="1276"/>
                    </a:lnTo>
                    <a:lnTo>
                      <a:pt x="1256" y="1339"/>
                    </a:lnTo>
                    <a:lnTo>
                      <a:pt x="1340" y="1381"/>
                    </a:lnTo>
                    <a:lnTo>
                      <a:pt x="1214" y="1486"/>
                    </a:lnTo>
                    <a:lnTo>
                      <a:pt x="1068" y="1486"/>
                    </a:lnTo>
                    <a:lnTo>
                      <a:pt x="963" y="1569"/>
                    </a:lnTo>
                    <a:lnTo>
                      <a:pt x="837" y="1548"/>
                    </a:lnTo>
                    <a:lnTo>
                      <a:pt x="712" y="1465"/>
                    </a:lnTo>
                    <a:lnTo>
                      <a:pt x="503" y="1465"/>
                    </a:lnTo>
                    <a:lnTo>
                      <a:pt x="419" y="1444"/>
                    </a:lnTo>
                    <a:lnTo>
                      <a:pt x="314" y="1465"/>
                    </a:lnTo>
                    <a:lnTo>
                      <a:pt x="84" y="1611"/>
                    </a:lnTo>
                    <a:lnTo>
                      <a:pt x="126" y="1674"/>
                    </a:lnTo>
                    <a:lnTo>
                      <a:pt x="126" y="1800"/>
                    </a:lnTo>
                    <a:lnTo>
                      <a:pt x="0" y="1800"/>
                    </a:lnTo>
                    <a:lnTo>
                      <a:pt x="0" y="1862"/>
                    </a:lnTo>
                    <a:lnTo>
                      <a:pt x="189" y="1988"/>
                    </a:lnTo>
                    <a:lnTo>
                      <a:pt x="314" y="2134"/>
                    </a:lnTo>
                    <a:lnTo>
                      <a:pt x="377" y="2134"/>
                    </a:lnTo>
                    <a:lnTo>
                      <a:pt x="398" y="2030"/>
                    </a:lnTo>
                    <a:lnTo>
                      <a:pt x="482" y="2072"/>
                    </a:lnTo>
                    <a:lnTo>
                      <a:pt x="419" y="2134"/>
                    </a:lnTo>
                    <a:lnTo>
                      <a:pt x="544" y="2239"/>
                    </a:lnTo>
                    <a:lnTo>
                      <a:pt x="544" y="2385"/>
                    </a:lnTo>
                    <a:lnTo>
                      <a:pt x="649" y="2427"/>
                    </a:lnTo>
                    <a:lnTo>
                      <a:pt x="733" y="2344"/>
                    </a:lnTo>
                    <a:lnTo>
                      <a:pt x="733" y="2218"/>
                    </a:lnTo>
                    <a:lnTo>
                      <a:pt x="796" y="2239"/>
                    </a:lnTo>
                    <a:lnTo>
                      <a:pt x="900" y="2239"/>
                    </a:lnTo>
                    <a:lnTo>
                      <a:pt x="837" y="2323"/>
                    </a:lnTo>
                    <a:lnTo>
                      <a:pt x="837" y="2427"/>
                    </a:lnTo>
                    <a:lnTo>
                      <a:pt x="963" y="2511"/>
                    </a:lnTo>
                    <a:lnTo>
                      <a:pt x="1068" y="2490"/>
                    </a:lnTo>
                    <a:lnTo>
                      <a:pt x="1109" y="2406"/>
                    </a:lnTo>
                    <a:lnTo>
                      <a:pt x="1277" y="2323"/>
                    </a:lnTo>
                    <a:lnTo>
                      <a:pt x="1319" y="2197"/>
                    </a:lnTo>
                    <a:lnTo>
                      <a:pt x="1340" y="2176"/>
                    </a:lnTo>
                    <a:lnTo>
                      <a:pt x="1423" y="2281"/>
                    </a:lnTo>
                    <a:lnTo>
                      <a:pt x="1465" y="2197"/>
                    </a:lnTo>
                    <a:lnTo>
                      <a:pt x="1591" y="2176"/>
                    </a:lnTo>
                    <a:lnTo>
                      <a:pt x="1674" y="2176"/>
                    </a:lnTo>
                    <a:lnTo>
                      <a:pt x="1549" y="2281"/>
                    </a:lnTo>
                    <a:lnTo>
                      <a:pt x="1423" y="2344"/>
                    </a:lnTo>
                    <a:lnTo>
                      <a:pt x="1423" y="2448"/>
                    </a:lnTo>
                    <a:lnTo>
                      <a:pt x="1570" y="2511"/>
                    </a:lnTo>
                    <a:lnTo>
                      <a:pt x="1674" y="2490"/>
                    </a:lnTo>
                    <a:lnTo>
                      <a:pt x="1737" y="2532"/>
                    </a:lnTo>
                    <a:lnTo>
                      <a:pt x="1842" y="2511"/>
                    </a:lnTo>
                    <a:lnTo>
                      <a:pt x="1946" y="2490"/>
                    </a:lnTo>
                    <a:lnTo>
                      <a:pt x="2009" y="2406"/>
                    </a:lnTo>
                    <a:lnTo>
                      <a:pt x="2093" y="2490"/>
                    </a:lnTo>
                    <a:lnTo>
                      <a:pt x="2093" y="2553"/>
                    </a:lnTo>
                    <a:lnTo>
                      <a:pt x="2260" y="2553"/>
                    </a:lnTo>
                    <a:lnTo>
                      <a:pt x="2407" y="2490"/>
                    </a:lnTo>
                    <a:lnTo>
                      <a:pt x="2407" y="2553"/>
                    </a:lnTo>
                    <a:lnTo>
                      <a:pt x="2574" y="2553"/>
                    </a:lnTo>
                    <a:lnTo>
                      <a:pt x="2637" y="2490"/>
                    </a:lnTo>
                    <a:lnTo>
                      <a:pt x="2700" y="2532"/>
                    </a:lnTo>
                    <a:lnTo>
                      <a:pt x="2616" y="2595"/>
                    </a:lnTo>
                    <a:lnTo>
                      <a:pt x="2595" y="2657"/>
                    </a:lnTo>
                    <a:lnTo>
                      <a:pt x="2323" y="2657"/>
                    </a:lnTo>
                    <a:lnTo>
                      <a:pt x="2218" y="2741"/>
                    </a:lnTo>
                    <a:lnTo>
                      <a:pt x="2156" y="2720"/>
                    </a:lnTo>
                    <a:lnTo>
                      <a:pt x="2009" y="2720"/>
                    </a:lnTo>
                    <a:lnTo>
                      <a:pt x="1842" y="2657"/>
                    </a:lnTo>
                    <a:lnTo>
                      <a:pt x="1653" y="2657"/>
                    </a:lnTo>
                    <a:lnTo>
                      <a:pt x="1486" y="2741"/>
                    </a:lnTo>
                    <a:lnTo>
                      <a:pt x="1381" y="2741"/>
                    </a:lnTo>
                    <a:lnTo>
                      <a:pt x="1256" y="2720"/>
                    </a:lnTo>
                    <a:lnTo>
                      <a:pt x="1172" y="2762"/>
                    </a:lnTo>
                    <a:lnTo>
                      <a:pt x="1005" y="2720"/>
                    </a:lnTo>
                    <a:lnTo>
                      <a:pt x="837" y="2762"/>
                    </a:lnTo>
                    <a:lnTo>
                      <a:pt x="816" y="2950"/>
                    </a:lnTo>
                    <a:lnTo>
                      <a:pt x="837" y="3034"/>
                    </a:lnTo>
                    <a:lnTo>
                      <a:pt x="796" y="3160"/>
                    </a:lnTo>
                    <a:lnTo>
                      <a:pt x="921" y="3285"/>
                    </a:lnTo>
                    <a:lnTo>
                      <a:pt x="963" y="3390"/>
                    </a:lnTo>
                    <a:lnTo>
                      <a:pt x="1130" y="3432"/>
                    </a:lnTo>
                    <a:lnTo>
                      <a:pt x="1319" y="3494"/>
                    </a:lnTo>
                    <a:lnTo>
                      <a:pt x="1465" y="3494"/>
                    </a:lnTo>
                    <a:lnTo>
                      <a:pt x="1633" y="3452"/>
                    </a:lnTo>
                    <a:lnTo>
                      <a:pt x="1779" y="3452"/>
                    </a:lnTo>
                    <a:lnTo>
                      <a:pt x="1800" y="3536"/>
                    </a:lnTo>
                    <a:lnTo>
                      <a:pt x="1946" y="3536"/>
                    </a:lnTo>
                    <a:lnTo>
                      <a:pt x="2072" y="3473"/>
                    </a:lnTo>
                    <a:lnTo>
                      <a:pt x="2093" y="3473"/>
                    </a:lnTo>
                    <a:lnTo>
                      <a:pt x="2218" y="3452"/>
                    </a:lnTo>
                    <a:lnTo>
                      <a:pt x="2260" y="3369"/>
                    </a:lnTo>
                    <a:lnTo>
                      <a:pt x="2386" y="3369"/>
                    </a:lnTo>
                    <a:lnTo>
                      <a:pt x="2428" y="3348"/>
                    </a:lnTo>
                    <a:lnTo>
                      <a:pt x="2469" y="3243"/>
                    </a:lnTo>
                    <a:lnTo>
                      <a:pt x="2532" y="3222"/>
                    </a:lnTo>
                    <a:lnTo>
                      <a:pt x="2616" y="3222"/>
                    </a:lnTo>
                    <a:lnTo>
                      <a:pt x="2679" y="3139"/>
                    </a:lnTo>
                    <a:lnTo>
                      <a:pt x="2741" y="3180"/>
                    </a:lnTo>
                    <a:lnTo>
                      <a:pt x="2909" y="3180"/>
                    </a:lnTo>
                    <a:lnTo>
                      <a:pt x="2930" y="3222"/>
                    </a:lnTo>
                    <a:lnTo>
                      <a:pt x="3055" y="3222"/>
                    </a:lnTo>
                    <a:lnTo>
                      <a:pt x="3118" y="3160"/>
                    </a:lnTo>
                    <a:lnTo>
                      <a:pt x="3306" y="3076"/>
                    </a:lnTo>
                    <a:lnTo>
                      <a:pt x="3369" y="3076"/>
                    </a:lnTo>
                    <a:lnTo>
                      <a:pt x="3453" y="3055"/>
                    </a:lnTo>
                    <a:lnTo>
                      <a:pt x="3453" y="2971"/>
                    </a:lnTo>
                    <a:lnTo>
                      <a:pt x="3537" y="3013"/>
                    </a:lnTo>
                    <a:lnTo>
                      <a:pt x="3557" y="3076"/>
                    </a:lnTo>
                    <a:lnTo>
                      <a:pt x="3516" y="3160"/>
                    </a:lnTo>
                    <a:lnTo>
                      <a:pt x="3516" y="3222"/>
                    </a:lnTo>
                    <a:lnTo>
                      <a:pt x="3662" y="3264"/>
                    </a:lnTo>
                    <a:lnTo>
                      <a:pt x="3746" y="3243"/>
                    </a:lnTo>
                    <a:lnTo>
                      <a:pt x="3767" y="3160"/>
                    </a:lnTo>
                    <a:lnTo>
                      <a:pt x="3892" y="3118"/>
                    </a:lnTo>
                    <a:lnTo>
                      <a:pt x="3934" y="3118"/>
                    </a:lnTo>
                    <a:lnTo>
                      <a:pt x="3955" y="3180"/>
                    </a:lnTo>
                    <a:lnTo>
                      <a:pt x="3871" y="3264"/>
                    </a:lnTo>
                    <a:lnTo>
                      <a:pt x="3892" y="3348"/>
                    </a:lnTo>
                    <a:lnTo>
                      <a:pt x="4039" y="3390"/>
                    </a:lnTo>
                    <a:lnTo>
                      <a:pt x="4206" y="3369"/>
                    </a:lnTo>
                    <a:lnTo>
                      <a:pt x="4394" y="3285"/>
                    </a:lnTo>
                    <a:lnTo>
                      <a:pt x="4478" y="3285"/>
                    </a:lnTo>
                    <a:lnTo>
                      <a:pt x="4583" y="3264"/>
                    </a:lnTo>
                    <a:lnTo>
                      <a:pt x="4666" y="3327"/>
                    </a:lnTo>
                    <a:lnTo>
                      <a:pt x="4708" y="3285"/>
                    </a:lnTo>
                    <a:lnTo>
                      <a:pt x="4708" y="3243"/>
                    </a:lnTo>
                    <a:lnTo>
                      <a:pt x="4771" y="3222"/>
                    </a:lnTo>
                    <a:lnTo>
                      <a:pt x="4834" y="3222"/>
                    </a:lnTo>
                    <a:lnTo>
                      <a:pt x="4876" y="3139"/>
                    </a:lnTo>
                    <a:lnTo>
                      <a:pt x="4876" y="3055"/>
                    </a:lnTo>
                    <a:lnTo>
                      <a:pt x="4980" y="2971"/>
                    </a:lnTo>
                    <a:lnTo>
                      <a:pt x="5085" y="2971"/>
                    </a:lnTo>
                    <a:lnTo>
                      <a:pt x="5190" y="2804"/>
                    </a:lnTo>
                    <a:lnTo>
                      <a:pt x="5190" y="2720"/>
                    </a:lnTo>
                    <a:lnTo>
                      <a:pt x="5210" y="2657"/>
                    </a:lnTo>
                    <a:lnTo>
                      <a:pt x="5294" y="2657"/>
                    </a:lnTo>
                    <a:lnTo>
                      <a:pt x="5399" y="2616"/>
                    </a:lnTo>
                    <a:lnTo>
                      <a:pt x="5524" y="2490"/>
                    </a:lnTo>
                    <a:lnTo>
                      <a:pt x="5650" y="2218"/>
                    </a:lnTo>
                    <a:lnTo>
                      <a:pt x="5713" y="2072"/>
                    </a:lnTo>
                    <a:lnTo>
                      <a:pt x="5650" y="1967"/>
                    </a:lnTo>
                    <a:lnTo>
                      <a:pt x="5566" y="1779"/>
                    </a:lnTo>
                    <a:lnTo>
                      <a:pt x="5441" y="1695"/>
                    </a:lnTo>
                    <a:lnTo>
                      <a:pt x="5357" y="1695"/>
                    </a:lnTo>
                    <a:lnTo>
                      <a:pt x="5190" y="1820"/>
                    </a:lnTo>
                    <a:lnTo>
                      <a:pt x="5190" y="1925"/>
                    </a:lnTo>
                    <a:lnTo>
                      <a:pt x="5106" y="2072"/>
                    </a:lnTo>
                    <a:lnTo>
                      <a:pt x="5127" y="2092"/>
                    </a:lnTo>
                    <a:lnTo>
                      <a:pt x="5106" y="2134"/>
                    </a:lnTo>
                    <a:lnTo>
                      <a:pt x="5022" y="2134"/>
                    </a:lnTo>
                    <a:lnTo>
                      <a:pt x="4918" y="2239"/>
                    </a:lnTo>
                    <a:lnTo>
                      <a:pt x="4897" y="2197"/>
                    </a:lnTo>
                    <a:lnTo>
                      <a:pt x="4980" y="2009"/>
                    </a:lnTo>
                    <a:lnTo>
                      <a:pt x="5001" y="1883"/>
                    </a:lnTo>
                    <a:lnTo>
                      <a:pt x="4834" y="1800"/>
                    </a:lnTo>
                    <a:lnTo>
                      <a:pt x="4771" y="1820"/>
                    </a:lnTo>
                    <a:lnTo>
                      <a:pt x="4687" y="1904"/>
                    </a:lnTo>
                    <a:lnTo>
                      <a:pt x="4499" y="2009"/>
                    </a:lnTo>
                    <a:lnTo>
                      <a:pt x="4457" y="2113"/>
                    </a:lnTo>
                    <a:lnTo>
                      <a:pt x="4394" y="2030"/>
                    </a:lnTo>
                    <a:lnTo>
                      <a:pt x="4415" y="1925"/>
                    </a:lnTo>
                    <a:lnTo>
                      <a:pt x="4583" y="1800"/>
                    </a:lnTo>
                    <a:lnTo>
                      <a:pt x="4771" y="1695"/>
                    </a:lnTo>
                    <a:lnTo>
                      <a:pt x="4834" y="1569"/>
                    </a:lnTo>
                    <a:lnTo>
                      <a:pt x="4813" y="1507"/>
                    </a:lnTo>
                    <a:lnTo>
                      <a:pt x="4666" y="1507"/>
                    </a:lnTo>
                    <a:lnTo>
                      <a:pt x="4562" y="1548"/>
                    </a:lnTo>
                    <a:lnTo>
                      <a:pt x="4499" y="1548"/>
                    </a:lnTo>
                    <a:lnTo>
                      <a:pt x="4499" y="1486"/>
                    </a:lnTo>
                    <a:lnTo>
                      <a:pt x="4583" y="1402"/>
                    </a:lnTo>
                    <a:lnTo>
                      <a:pt x="4771" y="1276"/>
                    </a:lnTo>
                    <a:lnTo>
                      <a:pt x="4813" y="1276"/>
                    </a:lnTo>
                    <a:lnTo>
                      <a:pt x="4876" y="1235"/>
                    </a:lnTo>
                    <a:lnTo>
                      <a:pt x="4876" y="942"/>
                    </a:lnTo>
                    <a:lnTo>
                      <a:pt x="4834" y="921"/>
                    </a:lnTo>
                    <a:lnTo>
                      <a:pt x="4834" y="753"/>
                    </a:lnTo>
                    <a:lnTo>
                      <a:pt x="4876" y="649"/>
                    </a:lnTo>
                    <a:lnTo>
                      <a:pt x="4876" y="565"/>
                    </a:lnTo>
                    <a:lnTo>
                      <a:pt x="4938" y="502"/>
                    </a:lnTo>
                    <a:lnTo>
                      <a:pt x="5022" y="502"/>
                    </a:lnTo>
                    <a:lnTo>
                      <a:pt x="5085" y="419"/>
                    </a:lnTo>
                    <a:lnTo>
                      <a:pt x="5022" y="335"/>
                    </a:lnTo>
                    <a:lnTo>
                      <a:pt x="5043" y="251"/>
                    </a:lnTo>
                    <a:lnTo>
                      <a:pt x="4897" y="188"/>
                    </a:lnTo>
                    <a:lnTo>
                      <a:pt x="4813" y="188"/>
                    </a:lnTo>
                    <a:lnTo>
                      <a:pt x="4562" y="419"/>
                    </a:lnTo>
                    <a:lnTo>
                      <a:pt x="4415" y="460"/>
                    </a:lnTo>
                    <a:lnTo>
                      <a:pt x="4374" y="565"/>
                    </a:lnTo>
                    <a:lnTo>
                      <a:pt x="4394" y="628"/>
                    </a:lnTo>
                    <a:lnTo>
                      <a:pt x="4290" y="628"/>
                    </a:lnTo>
                    <a:lnTo>
                      <a:pt x="4248" y="607"/>
                    </a:lnTo>
                    <a:lnTo>
                      <a:pt x="4143" y="649"/>
                    </a:lnTo>
                    <a:lnTo>
                      <a:pt x="4039" y="816"/>
                    </a:lnTo>
                    <a:lnTo>
                      <a:pt x="4081" y="942"/>
                    </a:lnTo>
                    <a:lnTo>
                      <a:pt x="4081" y="1067"/>
                    </a:lnTo>
                    <a:lnTo>
                      <a:pt x="4143" y="1130"/>
                    </a:lnTo>
                    <a:lnTo>
                      <a:pt x="4206" y="1297"/>
                    </a:lnTo>
                    <a:lnTo>
                      <a:pt x="4143" y="1465"/>
                    </a:lnTo>
                    <a:lnTo>
                      <a:pt x="4039" y="1465"/>
                    </a:lnTo>
                    <a:lnTo>
                      <a:pt x="3871" y="1507"/>
                    </a:lnTo>
                    <a:lnTo>
                      <a:pt x="3788" y="1507"/>
                    </a:lnTo>
                    <a:lnTo>
                      <a:pt x="3746" y="1569"/>
                    </a:lnTo>
                    <a:lnTo>
                      <a:pt x="3788" y="1674"/>
                    </a:lnTo>
                    <a:lnTo>
                      <a:pt x="3788" y="1758"/>
                    </a:lnTo>
                    <a:lnTo>
                      <a:pt x="3892" y="1883"/>
                    </a:lnTo>
                    <a:lnTo>
                      <a:pt x="3955" y="2072"/>
                    </a:lnTo>
                    <a:lnTo>
                      <a:pt x="3767" y="2134"/>
                    </a:lnTo>
                    <a:lnTo>
                      <a:pt x="3788" y="2197"/>
                    </a:lnTo>
                    <a:lnTo>
                      <a:pt x="3829" y="2239"/>
                    </a:lnTo>
                    <a:lnTo>
                      <a:pt x="3746" y="2281"/>
                    </a:lnTo>
                    <a:lnTo>
                      <a:pt x="3662" y="2134"/>
                    </a:lnTo>
                    <a:lnTo>
                      <a:pt x="3453" y="2092"/>
                    </a:lnTo>
                    <a:lnTo>
                      <a:pt x="3411" y="2113"/>
                    </a:lnTo>
                    <a:lnTo>
                      <a:pt x="3265" y="2092"/>
                    </a:lnTo>
                    <a:lnTo>
                      <a:pt x="3244" y="2009"/>
                    </a:lnTo>
                    <a:lnTo>
                      <a:pt x="3202" y="1967"/>
                    </a:lnTo>
                    <a:lnTo>
                      <a:pt x="3118" y="2030"/>
                    </a:lnTo>
                    <a:lnTo>
                      <a:pt x="2993" y="2092"/>
                    </a:lnTo>
                    <a:lnTo>
                      <a:pt x="2930" y="2030"/>
                    </a:lnTo>
                    <a:lnTo>
                      <a:pt x="2930" y="1820"/>
                    </a:lnTo>
                    <a:lnTo>
                      <a:pt x="3034" y="1758"/>
                    </a:lnTo>
                    <a:lnTo>
                      <a:pt x="3118" y="1507"/>
                    </a:lnTo>
                    <a:lnTo>
                      <a:pt x="3034" y="1507"/>
                    </a:lnTo>
                    <a:lnTo>
                      <a:pt x="2909" y="1465"/>
                    </a:lnTo>
                    <a:lnTo>
                      <a:pt x="2804" y="1486"/>
                    </a:lnTo>
                    <a:lnTo>
                      <a:pt x="2783" y="1402"/>
                    </a:lnTo>
                    <a:lnTo>
                      <a:pt x="2888" y="1381"/>
                    </a:lnTo>
                    <a:lnTo>
                      <a:pt x="2993" y="1402"/>
                    </a:lnTo>
                    <a:lnTo>
                      <a:pt x="3034" y="1339"/>
                    </a:lnTo>
                    <a:lnTo>
                      <a:pt x="3013" y="1088"/>
                    </a:lnTo>
                    <a:lnTo>
                      <a:pt x="2909" y="963"/>
                    </a:lnTo>
                    <a:lnTo>
                      <a:pt x="2951" y="879"/>
                    </a:lnTo>
                    <a:lnTo>
                      <a:pt x="3013" y="858"/>
                    </a:lnTo>
                    <a:lnTo>
                      <a:pt x="3034" y="774"/>
                    </a:lnTo>
                    <a:lnTo>
                      <a:pt x="2951" y="711"/>
                    </a:lnTo>
                    <a:lnTo>
                      <a:pt x="2951" y="649"/>
                    </a:lnTo>
                    <a:lnTo>
                      <a:pt x="2909" y="565"/>
                    </a:lnTo>
                    <a:lnTo>
                      <a:pt x="2825" y="565"/>
                    </a:lnTo>
                    <a:lnTo>
                      <a:pt x="2783" y="523"/>
                    </a:lnTo>
                    <a:lnTo>
                      <a:pt x="2700" y="565"/>
                    </a:lnTo>
                    <a:lnTo>
                      <a:pt x="2490" y="565"/>
                    </a:lnTo>
                    <a:lnTo>
                      <a:pt x="2428" y="502"/>
                    </a:lnTo>
                    <a:lnTo>
                      <a:pt x="2532" y="335"/>
                    </a:lnTo>
                    <a:lnTo>
                      <a:pt x="2616" y="293"/>
                    </a:lnTo>
                    <a:lnTo>
                      <a:pt x="2574" y="126"/>
                    </a:lnTo>
                    <a:lnTo>
                      <a:pt x="2469" y="21"/>
                    </a:lnTo>
                    <a:lnTo>
                      <a:pt x="2281" y="21"/>
                    </a:lnTo>
                    <a:lnTo>
                      <a:pt x="217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9" name="Google Shape;779;p34"/>
              <p:cNvSpPr/>
              <p:nvPr/>
            </p:nvSpPr>
            <p:spPr>
              <a:xfrm>
                <a:off x="2638000" y="1637900"/>
                <a:ext cx="69075" cy="67500"/>
              </a:xfrm>
              <a:custGeom>
                <a:avLst/>
                <a:gdLst/>
                <a:ahLst/>
                <a:cxnLst/>
                <a:rect l="l" t="t" r="r" b="b"/>
                <a:pathLst>
                  <a:path w="2763" h="2700" extrusionOk="0">
                    <a:moveTo>
                      <a:pt x="1884" y="1"/>
                    </a:moveTo>
                    <a:lnTo>
                      <a:pt x="1758" y="84"/>
                    </a:lnTo>
                    <a:lnTo>
                      <a:pt x="1654" y="84"/>
                    </a:lnTo>
                    <a:lnTo>
                      <a:pt x="1612" y="126"/>
                    </a:lnTo>
                    <a:lnTo>
                      <a:pt x="1507" y="126"/>
                    </a:lnTo>
                    <a:lnTo>
                      <a:pt x="1423" y="189"/>
                    </a:lnTo>
                    <a:lnTo>
                      <a:pt x="1423" y="335"/>
                    </a:lnTo>
                    <a:lnTo>
                      <a:pt x="1403" y="398"/>
                    </a:lnTo>
                    <a:lnTo>
                      <a:pt x="1423" y="545"/>
                    </a:lnTo>
                    <a:lnTo>
                      <a:pt x="1528" y="649"/>
                    </a:lnTo>
                    <a:lnTo>
                      <a:pt x="1549" y="733"/>
                    </a:lnTo>
                    <a:lnTo>
                      <a:pt x="1549" y="733"/>
                    </a:lnTo>
                    <a:lnTo>
                      <a:pt x="1444" y="691"/>
                    </a:lnTo>
                    <a:lnTo>
                      <a:pt x="1361" y="691"/>
                    </a:lnTo>
                    <a:lnTo>
                      <a:pt x="1340" y="733"/>
                    </a:lnTo>
                    <a:lnTo>
                      <a:pt x="1528" y="858"/>
                    </a:lnTo>
                    <a:lnTo>
                      <a:pt x="1528" y="963"/>
                    </a:lnTo>
                    <a:lnTo>
                      <a:pt x="1423" y="1005"/>
                    </a:lnTo>
                    <a:lnTo>
                      <a:pt x="1403" y="1151"/>
                    </a:lnTo>
                    <a:lnTo>
                      <a:pt x="1444" y="1235"/>
                    </a:lnTo>
                    <a:lnTo>
                      <a:pt x="1340" y="1319"/>
                    </a:lnTo>
                    <a:lnTo>
                      <a:pt x="1235" y="1256"/>
                    </a:lnTo>
                    <a:lnTo>
                      <a:pt x="1235" y="1214"/>
                    </a:lnTo>
                    <a:lnTo>
                      <a:pt x="1256" y="1110"/>
                    </a:lnTo>
                    <a:lnTo>
                      <a:pt x="1235" y="796"/>
                    </a:lnTo>
                    <a:lnTo>
                      <a:pt x="1151" y="712"/>
                    </a:lnTo>
                    <a:lnTo>
                      <a:pt x="1131" y="628"/>
                    </a:lnTo>
                    <a:lnTo>
                      <a:pt x="1151" y="586"/>
                    </a:lnTo>
                    <a:lnTo>
                      <a:pt x="1151" y="482"/>
                    </a:lnTo>
                    <a:lnTo>
                      <a:pt x="1110" y="419"/>
                    </a:lnTo>
                    <a:lnTo>
                      <a:pt x="1089" y="314"/>
                    </a:lnTo>
                    <a:lnTo>
                      <a:pt x="1026" y="273"/>
                    </a:lnTo>
                    <a:lnTo>
                      <a:pt x="900" y="314"/>
                    </a:lnTo>
                    <a:lnTo>
                      <a:pt x="879" y="377"/>
                    </a:lnTo>
                    <a:lnTo>
                      <a:pt x="775" y="461"/>
                    </a:lnTo>
                    <a:lnTo>
                      <a:pt x="733" y="524"/>
                    </a:lnTo>
                    <a:lnTo>
                      <a:pt x="796" y="566"/>
                    </a:lnTo>
                    <a:lnTo>
                      <a:pt x="838" y="566"/>
                    </a:lnTo>
                    <a:lnTo>
                      <a:pt x="900" y="628"/>
                    </a:lnTo>
                    <a:lnTo>
                      <a:pt x="796" y="670"/>
                    </a:lnTo>
                    <a:lnTo>
                      <a:pt x="775" y="733"/>
                    </a:lnTo>
                    <a:lnTo>
                      <a:pt x="670" y="796"/>
                    </a:lnTo>
                    <a:lnTo>
                      <a:pt x="628" y="942"/>
                    </a:lnTo>
                    <a:lnTo>
                      <a:pt x="733" y="984"/>
                    </a:lnTo>
                    <a:lnTo>
                      <a:pt x="733" y="1026"/>
                    </a:lnTo>
                    <a:lnTo>
                      <a:pt x="607" y="1068"/>
                    </a:lnTo>
                    <a:lnTo>
                      <a:pt x="587" y="1172"/>
                    </a:lnTo>
                    <a:lnTo>
                      <a:pt x="628" y="1256"/>
                    </a:lnTo>
                    <a:lnTo>
                      <a:pt x="670" y="1361"/>
                    </a:lnTo>
                    <a:lnTo>
                      <a:pt x="607" y="1423"/>
                    </a:lnTo>
                    <a:lnTo>
                      <a:pt x="566" y="1382"/>
                    </a:lnTo>
                    <a:lnTo>
                      <a:pt x="566" y="1235"/>
                    </a:lnTo>
                    <a:lnTo>
                      <a:pt x="503" y="1214"/>
                    </a:lnTo>
                    <a:lnTo>
                      <a:pt x="503" y="1110"/>
                    </a:lnTo>
                    <a:lnTo>
                      <a:pt x="461" y="1130"/>
                    </a:lnTo>
                    <a:lnTo>
                      <a:pt x="294" y="1130"/>
                    </a:lnTo>
                    <a:lnTo>
                      <a:pt x="273" y="1214"/>
                    </a:lnTo>
                    <a:lnTo>
                      <a:pt x="335" y="1256"/>
                    </a:lnTo>
                    <a:lnTo>
                      <a:pt x="252" y="1298"/>
                    </a:lnTo>
                    <a:lnTo>
                      <a:pt x="168" y="1235"/>
                    </a:lnTo>
                    <a:lnTo>
                      <a:pt x="84" y="1298"/>
                    </a:lnTo>
                    <a:lnTo>
                      <a:pt x="1" y="1256"/>
                    </a:lnTo>
                    <a:lnTo>
                      <a:pt x="1" y="1402"/>
                    </a:lnTo>
                    <a:lnTo>
                      <a:pt x="63" y="1444"/>
                    </a:lnTo>
                    <a:lnTo>
                      <a:pt x="147" y="1444"/>
                    </a:lnTo>
                    <a:lnTo>
                      <a:pt x="189" y="1465"/>
                    </a:lnTo>
                    <a:lnTo>
                      <a:pt x="252" y="1444"/>
                    </a:lnTo>
                    <a:lnTo>
                      <a:pt x="356" y="1444"/>
                    </a:lnTo>
                    <a:lnTo>
                      <a:pt x="419" y="1465"/>
                    </a:lnTo>
                    <a:lnTo>
                      <a:pt x="503" y="1444"/>
                    </a:lnTo>
                    <a:lnTo>
                      <a:pt x="628" y="1507"/>
                    </a:lnTo>
                    <a:lnTo>
                      <a:pt x="796" y="1465"/>
                    </a:lnTo>
                    <a:lnTo>
                      <a:pt x="879" y="1528"/>
                    </a:lnTo>
                    <a:lnTo>
                      <a:pt x="984" y="1528"/>
                    </a:lnTo>
                    <a:lnTo>
                      <a:pt x="1444" y="1612"/>
                    </a:lnTo>
                    <a:lnTo>
                      <a:pt x="1507" y="1654"/>
                    </a:lnTo>
                    <a:lnTo>
                      <a:pt x="1423" y="1695"/>
                    </a:lnTo>
                    <a:lnTo>
                      <a:pt x="1298" y="1674"/>
                    </a:lnTo>
                    <a:lnTo>
                      <a:pt x="1151" y="1674"/>
                    </a:lnTo>
                    <a:lnTo>
                      <a:pt x="1047" y="1737"/>
                    </a:lnTo>
                    <a:lnTo>
                      <a:pt x="879" y="1758"/>
                    </a:lnTo>
                    <a:lnTo>
                      <a:pt x="921" y="1758"/>
                    </a:lnTo>
                    <a:lnTo>
                      <a:pt x="984" y="1800"/>
                    </a:lnTo>
                    <a:lnTo>
                      <a:pt x="921" y="1842"/>
                    </a:lnTo>
                    <a:lnTo>
                      <a:pt x="754" y="1779"/>
                    </a:lnTo>
                    <a:lnTo>
                      <a:pt x="670" y="1758"/>
                    </a:lnTo>
                    <a:lnTo>
                      <a:pt x="587" y="1800"/>
                    </a:lnTo>
                    <a:lnTo>
                      <a:pt x="607" y="1863"/>
                    </a:lnTo>
                    <a:lnTo>
                      <a:pt x="587" y="1905"/>
                    </a:lnTo>
                    <a:lnTo>
                      <a:pt x="524" y="1863"/>
                    </a:lnTo>
                    <a:lnTo>
                      <a:pt x="482" y="1863"/>
                    </a:lnTo>
                    <a:lnTo>
                      <a:pt x="503" y="1905"/>
                    </a:lnTo>
                    <a:lnTo>
                      <a:pt x="503" y="1967"/>
                    </a:lnTo>
                    <a:lnTo>
                      <a:pt x="566" y="2009"/>
                    </a:lnTo>
                    <a:lnTo>
                      <a:pt x="649" y="2051"/>
                    </a:lnTo>
                    <a:lnTo>
                      <a:pt x="607" y="2114"/>
                    </a:lnTo>
                    <a:lnTo>
                      <a:pt x="670" y="2198"/>
                    </a:lnTo>
                    <a:lnTo>
                      <a:pt x="607" y="2198"/>
                    </a:lnTo>
                    <a:lnTo>
                      <a:pt x="566" y="2114"/>
                    </a:lnTo>
                    <a:lnTo>
                      <a:pt x="503" y="2114"/>
                    </a:lnTo>
                    <a:lnTo>
                      <a:pt x="461" y="2218"/>
                    </a:lnTo>
                    <a:lnTo>
                      <a:pt x="461" y="2281"/>
                    </a:lnTo>
                    <a:lnTo>
                      <a:pt x="440" y="2323"/>
                    </a:lnTo>
                    <a:lnTo>
                      <a:pt x="440" y="2428"/>
                    </a:lnTo>
                    <a:lnTo>
                      <a:pt x="503" y="2491"/>
                    </a:lnTo>
                    <a:lnTo>
                      <a:pt x="607" y="2491"/>
                    </a:lnTo>
                    <a:lnTo>
                      <a:pt x="670" y="2532"/>
                    </a:lnTo>
                    <a:lnTo>
                      <a:pt x="712" y="2532"/>
                    </a:lnTo>
                    <a:lnTo>
                      <a:pt x="775" y="2470"/>
                    </a:lnTo>
                    <a:lnTo>
                      <a:pt x="900" y="2407"/>
                    </a:lnTo>
                    <a:lnTo>
                      <a:pt x="817" y="2511"/>
                    </a:lnTo>
                    <a:lnTo>
                      <a:pt x="859" y="2595"/>
                    </a:lnTo>
                    <a:lnTo>
                      <a:pt x="921" y="2595"/>
                    </a:lnTo>
                    <a:lnTo>
                      <a:pt x="1005" y="2511"/>
                    </a:lnTo>
                    <a:lnTo>
                      <a:pt x="1026" y="2574"/>
                    </a:lnTo>
                    <a:lnTo>
                      <a:pt x="1068" y="2679"/>
                    </a:lnTo>
                    <a:lnTo>
                      <a:pt x="1382" y="2700"/>
                    </a:lnTo>
                    <a:lnTo>
                      <a:pt x="1444" y="2595"/>
                    </a:lnTo>
                    <a:lnTo>
                      <a:pt x="1423" y="2511"/>
                    </a:lnTo>
                    <a:lnTo>
                      <a:pt x="1444" y="2407"/>
                    </a:lnTo>
                    <a:lnTo>
                      <a:pt x="1507" y="2365"/>
                    </a:lnTo>
                    <a:lnTo>
                      <a:pt x="1528" y="2407"/>
                    </a:lnTo>
                    <a:lnTo>
                      <a:pt x="1528" y="2511"/>
                    </a:lnTo>
                    <a:lnTo>
                      <a:pt x="1570" y="2616"/>
                    </a:lnTo>
                    <a:lnTo>
                      <a:pt x="1612" y="2574"/>
                    </a:lnTo>
                    <a:lnTo>
                      <a:pt x="1612" y="2470"/>
                    </a:lnTo>
                    <a:lnTo>
                      <a:pt x="1612" y="2407"/>
                    </a:lnTo>
                    <a:lnTo>
                      <a:pt x="1654" y="2323"/>
                    </a:lnTo>
                    <a:lnTo>
                      <a:pt x="1675" y="2281"/>
                    </a:lnTo>
                    <a:lnTo>
                      <a:pt x="1570" y="2302"/>
                    </a:lnTo>
                    <a:lnTo>
                      <a:pt x="1486" y="2344"/>
                    </a:lnTo>
                    <a:lnTo>
                      <a:pt x="1528" y="2239"/>
                    </a:lnTo>
                    <a:lnTo>
                      <a:pt x="1633" y="2198"/>
                    </a:lnTo>
                    <a:lnTo>
                      <a:pt x="1695" y="2135"/>
                    </a:lnTo>
                    <a:lnTo>
                      <a:pt x="1758" y="2072"/>
                    </a:lnTo>
                    <a:lnTo>
                      <a:pt x="1758" y="1988"/>
                    </a:lnTo>
                    <a:lnTo>
                      <a:pt x="1821" y="1967"/>
                    </a:lnTo>
                    <a:lnTo>
                      <a:pt x="1905" y="1988"/>
                    </a:lnTo>
                    <a:lnTo>
                      <a:pt x="1905" y="2072"/>
                    </a:lnTo>
                    <a:lnTo>
                      <a:pt x="1905" y="2156"/>
                    </a:lnTo>
                    <a:lnTo>
                      <a:pt x="1947" y="2093"/>
                    </a:lnTo>
                    <a:lnTo>
                      <a:pt x="2072" y="1926"/>
                    </a:lnTo>
                    <a:lnTo>
                      <a:pt x="2072" y="1863"/>
                    </a:lnTo>
                    <a:lnTo>
                      <a:pt x="1947" y="1779"/>
                    </a:lnTo>
                    <a:lnTo>
                      <a:pt x="1947" y="1737"/>
                    </a:lnTo>
                    <a:lnTo>
                      <a:pt x="1988" y="1674"/>
                    </a:lnTo>
                    <a:lnTo>
                      <a:pt x="2051" y="1716"/>
                    </a:lnTo>
                    <a:lnTo>
                      <a:pt x="2135" y="1716"/>
                    </a:lnTo>
                    <a:lnTo>
                      <a:pt x="2156" y="1612"/>
                    </a:lnTo>
                    <a:lnTo>
                      <a:pt x="2156" y="1549"/>
                    </a:lnTo>
                    <a:lnTo>
                      <a:pt x="2260" y="1423"/>
                    </a:lnTo>
                    <a:lnTo>
                      <a:pt x="2281" y="1340"/>
                    </a:lnTo>
                    <a:lnTo>
                      <a:pt x="2407" y="1214"/>
                    </a:lnTo>
                    <a:lnTo>
                      <a:pt x="2511" y="1151"/>
                    </a:lnTo>
                    <a:lnTo>
                      <a:pt x="2553" y="1089"/>
                    </a:lnTo>
                    <a:lnTo>
                      <a:pt x="2511" y="942"/>
                    </a:lnTo>
                    <a:lnTo>
                      <a:pt x="2616" y="775"/>
                    </a:lnTo>
                    <a:lnTo>
                      <a:pt x="2742" y="691"/>
                    </a:lnTo>
                    <a:lnTo>
                      <a:pt x="2763" y="586"/>
                    </a:lnTo>
                    <a:lnTo>
                      <a:pt x="2700" y="482"/>
                    </a:lnTo>
                    <a:lnTo>
                      <a:pt x="2595" y="461"/>
                    </a:lnTo>
                    <a:lnTo>
                      <a:pt x="2553" y="356"/>
                    </a:lnTo>
                    <a:lnTo>
                      <a:pt x="2595" y="356"/>
                    </a:lnTo>
                    <a:lnTo>
                      <a:pt x="2616" y="294"/>
                    </a:lnTo>
                    <a:lnTo>
                      <a:pt x="2595" y="252"/>
                    </a:lnTo>
                    <a:lnTo>
                      <a:pt x="2616" y="168"/>
                    </a:lnTo>
                    <a:lnTo>
                      <a:pt x="2595" y="84"/>
                    </a:lnTo>
                    <a:lnTo>
                      <a:pt x="2511" y="84"/>
                    </a:lnTo>
                    <a:lnTo>
                      <a:pt x="2553" y="147"/>
                    </a:lnTo>
                    <a:lnTo>
                      <a:pt x="2553" y="252"/>
                    </a:lnTo>
                    <a:lnTo>
                      <a:pt x="2470" y="273"/>
                    </a:lnTo>
                    <a:lnTo>
                      <a:pt x="2386" y="189"/>
                    </a:lnTo>
                    <a:lnTo>
                      <a:pt x="2302" y="273"/>
                    </a:lnTo>
                    <a:lnTo>
                      <a:pt x="2302" y="461"/>
                    </a:lnTo>
                    <a:lnTo>
                      <a:pt x="2260" y="503"/>
                    </a:lnTo>
                    <a:lnTo>
                      <a:pt x="2198" y="503"/>
                    </a:lnTo>
                    <a:lnTo>
                      <a:pt x="2156" y="566"/>
                    </a:lnTo>
                    <a:lnTo>
                      <a:pt x="2093" y="566"/>
                    </a:lnTo>
                    <a:lnTo>
                      <a:pt x="2093" y="482"/>
                    </a:lnTo>
                    <a:lnTo>
                      <a:pt x="2177" y="398"/>
                    </a:lnTo>
                    <a:lnTo>
                      <a:pt x="2219" y="168"/>
                    </a:lnTo>
                    <a:lnTo>
                      <a:pt x="2156" y="105"/>
                    </a:lnTo>
                    <a:lnTo>
                      <a:pt x="2072" y="126"/>
                    </a:lnTo>
                    <a:lnTo>
                      <a:pt x="1988" y="84"/>
                    </a:lnTo>
                    <a:lnTo>
                      <a:pt x="196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0" name="Google Shape;780;p34"/>
              <p:cNvSpPr/>
              <p:nvPr/>
            </p:nvSpPr>
            <p:spPr>
              <a:xfrm>
                <a:off x="2686125" y="1510800"/>
                <a:ext cx="62275" cy="87900"/>
              </a:xfrm>
              <a:custGeom>
                <a:avLst/>
                <a:gdLst/>
                <a:ahLst/>
                <a:cxnLst/>
                <a:rect l="l" t="t" r="r" b="b"/>
                <a:pathLst>
                  <a:path w="2491" h="3516" extrusionOk="0">
                    <a:moveTo>
                      <a:pt x="1026" y="0"/>
                    </a:moveTo>
                    <a:lnTo>
                      <a:pt x="921" y="63"/>
                    </a:lnTo>
                    <a:lnTo>
                      <a:pt x="879" y="147"/>
                    </a:lnTo>
                    <a:lnTo>
                      <a:pt x="754" y="230"/>
                    </a:lnTo>
                    <a:lnTo>
                      <a:pt x="733" y="335"/>
                    </a:lnTo>
                    <a:lnTo>
                      <a:pt x="607" y="481"/>
                    </a:lnTo>
                    <a:lnTo>
                      <a:pt x="607" y="586"/>
                    </a:lnTo>
                    <a:lnTo>
                      <a:pt x="712" y="649"/>
                    </a:lnTo>
                    <a:lnTo>
                      <a:pt x="754" y="586"/>
                    </a:lnTo>
                    <a:lnTo>
                      <a:pt x="879" y="565"/>
                    </a:lnTo>
                    <a:lnTo>
                      <a:pt x="921" y="628"/>
                    </a:lnTo>
                    <a:lnTo>
                      <a:pt x="775" y="753"/>
                    </a:lnTo>
                    <a:lnTo>
                      <a:pt x="649" y="837"/>
                    </a:lnTo>
                    <a:lnTo>
                      <a:pt x="545" y="984"/>
                    </a:lnTo>
                    <a:lnTo>
                      <a:pt x="545" y="1046"/>
                    </a:lnTo>
                    <a:lnTo>
                      <a:pt x="712" y="963"/>
                    </a:lnTo>
                    <a:lnTo>
                      <a:pt x="858" y="837"/>
                    </a:lnTo>
                    <a:lnTo>
                      <a:pt x="942" y="837"/>
                    </a:lnTo>
                    <a:lnTo>
                      <a:pt x="1026" y="774"/>
                    </a:lnTo>
                    <a:lnTo>
                      <a:pt x="1068" y="858"/>
                    </a:lnTo>
                    <a:lnTo>
                      <a:pt x="1047" y="984"/>
                    </a:lnTo>
                    <a:lnTo>
                      <a:pt x="963" y="984"/>
                    </a:lnTo>
                    <a:lnTo>
                      <a:pt x="838" y="1109"/>
                    </a:lnTo>
                    <a:lnTo>
                      <a:pt x="775" y="1193"/>
                    </a:lnTo>
                    <a:lnTo>
                      <a:pt x="838" y="1276"/>
                    </a:lnTo>
                    <a:lnTo>
                      <a:pt x="984" y="1256"/>
                    </a:lnTo>
                    <a:lnTo>
                      <a:pt x="1089" y="1297"/>
                    </a:lnTo>
                    <a:lnTo>
                      <a:pt x="963" y="1381"/>
                    </a:lnTo>
                    <a:lnTo>
                      <a:pt x="817" y="1465"/>
                    </a:lnTo>
                    <a:lnTo>
                      <a:pt x="712" y="1402"/>
                    </a:lnTo>
                    <a:lnTo>
                      <a:pt x="712" y="1486"/>
                    </a:lnTo>
                    <a:lnTo>
                      <a:pt x="838" y="1528"/>
                    </a:lnTo>
                    <a:lnTo>
                      <a:pt x="838" y="1590"/>
                    </a:lnTo>
                    <a:lnTo>
                      <a:pt x="649" y="1779"/>
                    </a:lnTo>
                    <a:lnTo>
                      <a:pt x="607" y="1779"/>
                    </a:lnTo>
                    <a:lnTo>
                      <a:pt x="545" y="1611"/>
                    </a:lnTo>
                    <a:lnTo>
                      <a:pt x="440" y="1569"/>
                    </a:lnTo>
                    <a:lnTo>
                      <a:pt x="335" y="1423"/>
                    </a:lnTo>
                    <a:lnTo>
                      <a:pt x="126" y="1528"/>
                    </a:lnTo>
                    <a:lnTo>
                      <a:pt x="126" y="1590"/>
                    </a:lnTo>
                    <a:lnTo>
                      <a:pt x="1" y="1800"/>
                    </a:lnTo>
                    <a:lnTo>
                      <a:pt x="105" y="1925"/>
                    </a:lnTo>
                    <a:lnTo>
                      <a:pt x="105" y="2051"/>
                    </a:lnTo>
                    <a:lnTo>
                      <a:pt x="189" y="2093"/>
                    </a:lnTo>
                    <a:lnTo>
                      <a:pt x="294" y="2009"/>
                    </a:lnTo>
                    <a:lnTo>
                      <a:pt x="356" y="2009"/>
                    </a:lnTo>
                    <a:lnTo>
                      <a:pt x="545" y="2051"/>
                    </a:lnTo>
                    <a:lnTo>
                      <a:pt x="733" y="2051"/>
                    </a:lnTo>
                    <a:lnTo>
                      <a:pt x="754" y="2113"/>
                    </a:lnTo>
                    <a:lnTo>
                      <a:pt x="942" y="2051"/>
                    </a:lnTo>
                    <a:lnTo>
                      <a:pt x="942" y="2134"/>
                    </a:lnTo>
                    <a:lnTo>
                      <a:pt x="838" y="2155"/>
                    </a:lnTo>
                    <a:lnTo>
                      <a:pt x="775" y="2239"/>
                    </a:lnTo>
                    <a:lnTo>
                      <a:pt x="817" y="2344"/>
                    </a:lnTo>
                    <a:lnTo>
                      <a:pt x="963" y="2323"/>
                    </a:lnTo>
                    <a:lnTo>
                      <a:pt x="1089" y="2427"/>
                    </a:lnTo>
                    <a:lnTo>
                      <a:pt x="1172" y="2616"/>
                    </a:lnTo>
                    <a:lnTo>
                      <a:pt x="1256" y="2616"/>
                    </a:lnTo>
                    <a:lnTo>
                      <a:pt x="1298" y="2657"/>
                    </a:lnTo>
                    <a:lnTo>
                      <a:pt x="1256" y="2741"/>
                    </a:lnTo>
                    <a:lnTo>
                      <a:pt x="1256" y="2867"/>
                    </a:lnTo>
                    <a:lnTo>
                      <a:pt x="1068" y="3201"/>
                    </a:lnTo>
                    <a:lnTo>
                      <a:pt x="1130" y="3390"/>
                    </a:lnTo>
                    <a:lnTo>
                      <a:pt x="1172" y="3494"/>
                    </a:lnTo>
                    <a:lnTo>
                      <a:pt x="1256" y="3494"/>
                    </a:lnTo>
                    <a:lnTo>
                      <a:pt x="1361" y="3473"/>
                    </a:lnTo>
                    <a:lnTo>
                      <a:pt x="1403" y="3515"/>
                    </a:lnTo>
                    <a:lnTo>
                      <a:pt x="1486" y="3515"/>
                    </a:lnTo>
                    <a:lnTo>
                      <a:pt x="1654" y="3411"/>
                    </a:lnTo>
                    <a:lnTo>
                      <a:pt x="1654" y="3348"/>
                    </a:lnTo>
                    <a:lnTo>
                      <a:pt x="1758" y="3285"/>
                    </a:lnTo>
                    <a:lnTo>
                      <a:pt x="1821" y="3160"/>
                    </a:lnTo>
                    <a:lnTo>
                      <a:pt x="1863" y="3034"/>
                    </a:lnTo>
                    <a:lnTo>
                      <a:pt x="1884" y="2846"/>
                    </a:lnTo>
                    <a:lnTo>
                      <a:pt x="1988" y="2678"/>
                    </a:lnTo>
                    <a:lnTo>
                      <a:pt x="1905" y="2657"/>
                    </a:lnTo>
                    <a:lnTo>
                      <a:pt x="1905" y="2574"/>
                    </a:lnTo>
                    <a:lnTo>
                      <a:pt x="1988" y="2532"/>
                    </a:lnTo>
                    <a:lnTo>
                      <a:pt x="2072" y="2365"/>
                    </a:lnTo>
                    <a:lnTo>
                      <a:pt x="2135" y="2365"/>
                    </a:lnTo>
                    <a:lnTo>
                      <a:pt x="2219" y="2260"/>
                    </a:lnTo>
                    <a:lnTo>
                      <a:pt x="2344" y="2197"/>
                    </a:lnTo>
                    <a:lnTo>
                      <a:pt x="2386" y="2030"/>
                    </a:lnTo>
                    <a:lnTo>
                      <a:pt x="2386" y="1925"/>
                    </a:lnTo>
                    <a:lnTo>
                      <a:pt x="2491" y="1841"/>
                    </a:lnTo>
                    <a:lnTo>
                      <a:pt x="2491" y="1800"/>
                    </a:lnTo>
                    <a:lnTo>
                      <a:pt x="2428" y="1695"/>
                    </a:lnTo>
                    <a:lnTo>
                      <a:pt x="2407" y="1569"/>
                    </a:lnTo>
                    <a:lnTo>
                      <a:pt x="2344" y="1569"/>
                    </a:lnTo>
                    <a:lnTo>
                      <a:pt x="2239" y="1507"/>
                    </a:lnTo>
                    <a:lnTo>
                      <a:pt x="2114" y="1507"/>
                    </a:lnTo>
                    <a:lnTo>
                      <a:pt x="2093" y="1465"/>
                    </a:lnTo>
                    <a:lnTo>
                      <a:pt x="2135" y="1360"/>
                    </a:lnTo>
                    <a:lnTo>
                      <a:pt x="2302" y="1276"/>
                    </a:lnTo>
                    <a:lnTo>
                      <a:pt x="2302" y="1193"/>
                    </a:lnTo>
                    <a:lnTo>
                      <a:pt x="2239" y="1109"/>
                    </a:lnTo>
                    <a:lnTo>
                      <a:pt x="2239" y="984"/>
                    </a:lnTo>
                    <a:lnTo>
                      <a:pt x="2281" y="879"/>
                    </a:lnTo>
                    <a:lnTo>
                      <a:pt x="2177" y="774"/>
                    </a:lnTo>
                    <a:lnTo>
                      <a:pt x="2093" y="774"/>
                    </a:lnTo>
                    <a:lnTo>
                      <a:pt x="1967" y="858"/>
                    </a:lnTo>
                    <a:lnTo>
                      <a:pt x="1779" y="900"/>
                    </a:lnTo>
                    <a:lnTo>
                      <a:pt x="1758" y="984"/>
                    </a:lnTo>
                    <a:lnTo>
                      <a:pt x="1675" y="1088"/>
                    </a:lnTo>
                    <a:lnTo>
                      <a:pt x="1591" y="1067"/>
                    </a:lnTo>
                    <a:lnTo>
                      <a:pt x="1570" y="963"/>
                    </a:lnTo>
                    <a:lnTo>
                      <a:pt x="1695" y="900"/>
                    </a:lnTo>
                    <a:lnTo>
                      <a:pt x="1758" y="837"/>
                    </a:lnTo>
                    <a:lnTo>
                      <a:pt x="1758" y="670"/>
                    </a:lnTo>
                    <a:lnTo>
                      <a:pt x="1800" y="460"/>
                    </a:lnTo>
                    <a:lnTo>
                      <a:pt x="1758" y="356"/>
                    </a:lnTo>
                    <a:lnTo>
                      <a:pt x="1695" y="272"/>
                    </a:lnTo>
                    <a:lnTo>
                      <a:pt x="1654" y="168"/>
                    </a:lnTo>
                    <a:lnTo>
                      <a:pt x="1507" y="105"/>
                    </a:lnTo>
                    <a:lnTo>
                      <a:pt x="1403" y="147"/>
                    </a:lnTo>
                    <a:lnTo>
                      <a:pt x="1277" y="105"/>
                    </a:lnTo>
                    <a:lnTo>
                      <a:pt x="1130" y="230"/>
                    </a:lnTo>
                    <a:lnTo>
                      <a:pt x="1047" y="209"/>
                    </a:lnTo>
                    <a:lnTo>
                      <a:pt x="1047" y="21"/>
                    </a:lnTo>
                    <a:lnTo>
                      <a:pt x="102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1" name="Google Shape;781;p34"/>
              <p:cNvSpPr/>
              <p:nvPr/>
            </p:nvSpPr>
            <p:spPr>
              <a:xfrm>
                <a:off x="2799125" y="1455875"/>
                <a:ext cx="96775" cy="158525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6341" extrusionOk="0">
                    <a:moveTo>
                      <a:pt x="2385" y="0"/>
                    </a:moveTo>
                    <a:lnTo>
                      <a:pt x="2385" y="126"/>
                    </a:lnTo>
                    <a:lnTo>
                      <a:pt x="2302" y="272"/>
                    </a:lnTo>
                    <a:lnTo>
                      <a:pt x="2385" y="356"/>
                    </a:lnTo>
                    <a:lnTo>
                      <a:pt x="2490" y="356"/>
                    </a:lnTo>
                    <a:lnTo>
                      <a:pt x="2595" y="314"/>
                    </a:lnTo>
                    <a:lnTo>
                      <a:pt x="2741" y="377"/>
                    </a:lnTo>
                    <a:lnTo>
                      <a:pt x="2783" y="460"/>
                    </a:lnTo>
                    <a:lnTo>
                      <a:pt x="2888" y="481"/>
                    </a:lnTo>
                    <a:lnTo>
                      <a:pt x="2888" y="565"/>
                    </a:lnTo>
                    <a:lnTo>
                      <a:pt x="2699" y="733"/>
                    </a:lnTo>
                    <a:lnTo>
                      <a:pt x="2616" y="733"/>
                    </a:lnTo>
                    <a:lnTo>
                      <a:pt x="2490" y="649"/>
                    </a:lnTo>
                    <a:lnTo>
                      <a:pt x="2385" y="649"/>
                    </a:lnTo>
                    <a:lnTo>
                      <a:pt x="2281" y="628"/>
                    </a:lnTo>
                    <a:lnTo>
                      <a:pt x="2281" y="628"/>
                    </a:lnTo>
                    <a:lnTo>
                      <a:pt x="2323" y="733"/>
                    </a:lnTo>
                    <a:lnTo>
                      <a:pt x="2406" y="753"/>
                    </a:lnTo>
                    <a:lnTo>
                      <a:pt x="2323" y="837"/>
                    </a:lnTo>
                    <a:lnTo>
                      <a:pt x="2218" y="858"/>
                    </a:lnTo>
                    <a:lnTo>
                      <a:pt x="2072" y="691"/>
                    </a:lnTo>
                    <a:lnTo>
                      <a:pt x="1904" y="774"/>
                    </a:lnTo>
                    <a:lnTo>
                      <a:pt x="1862" y="942"/>
                    </a:lnTo>
                    <a:lnTo>
                      <a:pt x="1779" y="1005"/>
                    </a:lnTo>
                    <a:lnTo>
                      <a:pt x="1779" y="1088"/>
                    </a:lnTo>
                    <a:lnTo>
                      <a:pt x="1883" y="1109"/>
                    </a:lnTo>
                    <a:lnTo>
                      <a:pt x="1904" y="1256"/>
                    </a:lnTo>
                    <a:lnTo>
                      <a:pt x="2051" y="1318"/>
                    </a:lnTo>
                    <a:lnTo>
                      <a:pt x="2051" y="1381"/>
                    </a:lnTo>
                    <a:lnTo>
                      <a:pt x="1946" y="1381"/>
                    </a:lnTo>
                    <a:lnTo>
                      <a:pt x="1946" y="1465"/>
                    </a:lnTo>
                    <a:lnTo>
                      <a:pt x="1988" y="1528"/>
                    </a:lnTo>
                    <a:lnTo>
                      <a:pt x="1988" y="1611"/>
                    </a:lnTo>
                    <a:lnTo>
                      <a:pt x="1904" y="1590"/>
                    </a:lnTo>
                    <a:lnTo>
                      <a:pt x="1841" y="1528"/>
                    </a:lnTo>
                    <a:lnTo>
                      <a:pt x="1695" y="1507"/>
                    </a:lnTo>
                    <a:lnTo>
                      <a:pt x="1590" y="1423"/>
                    </a:lnTo>
                    <a:lnTo>
                      <a:pt x="1528" y="1402"/>
                    </a:lnTo>
                    <a:lnTo>
                      <a:pt x="1423" y="1486"/>
                    </a:lnTo>
                    <a:lnTo>
                      <a:pt x="1381" y="1569"/>
                    </a:lnTo>
                    <a:lnTo>
                      <a:pt x="1465" y="1674"/>
                    </a:lnTo>
                    <a:lnTo>
                      <a:pt x="1423" y="1779"/>
                    </a:lnTo>
                    <a:lnTo>
                      <a:pt x="1360" y="1737"/>
                    </a:lnTo>
                    <a:lnTo>
                      <a:pt x="1360" y="1674"/>
                    </a:lnTo>
                    <a:lnTo>
                      <a:pt x="1276" y="1611"/>
                    </a:lnTo>
                    <a:lnTo>
                      <a:pt x="1151" y="1569"/>
                    </a:lnTo>
                    <a:lnTo>
                      <a:pt x="1109" y="1569"/>
                    </a:lnTo>
                    <a:lnTo>
                      <a:pt x="1025" y="1486"/>
                    </a:lnTo>
                    <a:lnTo>
                      <a:pt x="942" y="1465"/>
                    </a:lnTo>
                    <a:lnTo>
                      <a:pt x="921" y="1528"/>
                    </a:lnTo>
                    <a:lnTo>
                      <a:pt x="963" y="1674"/>
                    </a:lnTo>
                    <a:lnTo>
                      <a:pt x="963" y="1800"/>
                    </a:lnTo>
                    <a:lnTo>
                      <a:pt x="1004" y="1946"/>
                    </a:lnTo>
                    <a:lnTo>
                      <a:pt x="1109" y="2009"/>
                    </a:lnTo>
                    <a:lnTo>
                      <a:pt x="1235" y="2030"/>
                    </a:lnTo>
                    <a:lnTo>
                      <a:pt x="1276" y="2093"/>
                    </a:lnTo>
                    <a:lnTo>
                      <a:pt x="1256" y="2113"/>
                    </a:lnTo>
                    <a:lnTo>
                      <a:pt x="1130" y="2113"/>
                    </a:lnTo>
                    <a:lnTo>
                      <a:pt x="1256" y="2197"/>
                    </a:lnTo>
                    <a:lnTo>
                      <a:pt x="1318" y="2260"/>
                    </a:lnTo>
                    <a:lnTo>
                      <a:pt x="1423" y="2344"/>
                    </a:lnTo>
                    <a:lnTo>
                      <a:pt x="1548" y="2344"/>
                    </a:lnTo>
                    <a:lnTo>
                      <a:pt x="1632" y="2260"/>
                    </a:lnTo>
                    <a:lnTo>
                      <a:pt x="1674" y="2260"/>
                    </a:lnTo>
                    <a:lnTo>
                      <a:pt x="1674" y="2344"/>
                    </a:lnTo>
                    <a:lnTo>
                      <a:pt x="1590" y="2427"/>
                    </a:lnTo>
                    <a:lnTo>
                      <a:pt x="1548" y="2616"/>
                    </a:lnTo>
                    <a:lnTo>
                      <a:pt x="1486" y="2616"/>
                    </a:lnTo>
                    <a:lnTo>
                      <a:pt x="1339" y="2469"/>
                    </a:lnTo>
                    <a:lnTo>
                      <a:pt x="1025" y="2427"/>
                    </a:lnTo>
                    <a:lnTo>
                      <a:pt x="921" y="2260"/>
                    </a:lnTo>
                    <a:lnTo>
                      <a:pt x="837" y="2239"/>
                    </a:lnTo>
                    <a:lnTo>
                      <a:pt x="795" y="2155"/>
                    </a:lnTo>
                    <a:lnTo>
                      <a:pt x="753" y="2155"/>
                    </a:lnTo>
                    <a:lnTo>
                      <a:pt x="712" y="2302"/>
                    </a:lnTo>
                    <a:lnTo>
                      <a:pt x="712" y="2344"/>
                    </a:lnTo>
                    <a:lnTo>
                      <a:pt x="649" y="2406"/>
                    </a:lnTo>
                    <a:lnTo>
                      <a:pt x="712" y="2574"/>
                    </a:lnTo>
                    <a:lnTo>
                      <a:pt x="628" y="2637"/>
                    </a:lnTo>
                    <a:lnTo>
                      <a:pt x="544" y="2616"/>
                    </a:lnTo>
                    <a:lnTo>
                      <a:pt x="544" y="2762"/>
                    </a:lnTo>
                    <a:lnTo>
                      <a:pt x="502" y="2783"/>
                    </a:lnTo>
                    <a:lnTo>
                      <a:pt x="502" y="3034"/>
                    </a:lnTo>
                    <a:lnTo>
                      <a:pt x="586" y="3097"/>
                    </a:lnTo>
                    <a:lnTo>
                      <a:pt x="732" y="3097"/>
                    </a:lnTo>
                    <a:lnTo>
                      <a:pt x="837" y="3160"/>
                    </a:lnTo>
                    <a:lnTo>
                      <a:pt x="942" y="3139"/>
                    </a:lnTo>
                    <a:lnTo>
                      <a:pt x="942" y="3181"/>
                    </a:lnTo>
                    <a:lnTo>
                      <a:pt x="858" y="3243"/>
                    </a:lnTo>
                    <a:lnTo>
                      <a:pt x="753" y="3181"/>
                    </a:lnTo>
                    <a:lnTo>
                      <a:pt x="586" y="3181"/>
                    </a:lnTo>
                    <a:lnTo>
                      <a:pt x="523" y="3160"/>
                    </a:lnTo>
                    <a:lnTo>
                      <a:pt x="419" y="3181"/>
                    </a:lnTo>
                    <a:lnTo>
                      <a:pt x="272" y="3369"/>
                    </a:lnTo>
                    <a:lnTo>
                      <a:pt x="230" y="3473"/>
                    </a:lnTo>
                    <a:lnTo>
                      <a:pt x="314" y="3557"/>
                    </a:lnTo>
                    <a:lnTo>
                      <a:pt x="293" y="3599"/>
                    </a:lnTo>
                    <a:lnTo>
                      <a:pt x="209" y="3620"/>
                    </a:lnTo>
                    <a:lnTo>
                      <a:pt x="209" y="3725"/>
                    </a:lnTo>
                    <a:lnTo>
                      <a:pt x="293" y="3787"/>
                    </a:lnTo>
                    <a:lnTo>
                      <a:pt x="335" y="3725"/>
                    </a:lnTo>
                    <a:lnTo>
                      <a:pt x="502" y="3725"/>
                    </a:lnTo>
                    <a:lnTo>
                      <a:pt x="586" y="3662"/>
                    </a:lnTo>
                    <a:lnTo>
                      <a:pt x="628" y="3704"/>
                    </a:lnTo>
                    <a:lnTo>
                      <a:pt x="628" y="3787"/>
                    </a:lnTo>
                    <a:lnTo>
                      <a:pt x="523" y="3808"/>
                    </a:lnTo>
                    <a:lnTo>
                      <a:pt x="440" y="3913"/>
                    </a:lnTo>
                    <a:lnTo>
                      <a:pt x="502" y="3976"/>
                    </a:lnTo>
                    <a:lnTo>
                      <a:pt x="586" y="3976"/>
                    </a:lnTo>
                    <a:lnTo>
                      <a:pt x="691" y="3892"/>
                    </a:lnTo>
                    <a:lnTo>
                      <a:pt x="753" y="3892"/>
                    </a:lnTo>
                    <a:lnTo>
                      <a:pt x="858" y="3808"/>
                    </a:lnTo>
                    <a:lnTo>
                      <a:pt x="858" y="3871"/>
                    </a:lnTo>
                    <a:lnTo>
                      <a:pt x="816" y="3934"/>
                    </a:lnTo>
                    <a:lnTo>
                      <a:pt x="858" y="3976"/>
                    </a:lnTo>
                    <a:lnTo>
                      <a:pt x="1046" y="3976"/>
                    </a:lnTo>
                    <a:lnTo>
                      <a:pt x="1067" y="4018"/>
                    </a:lnTo>
                    <a:lnTo>
                      <a:pt x="963" y="4038"/>
                    </a:lnTo>
                    <a:lnTo>
                      <a:pt x="963" y="4122"/>
                    </a:lnTo>
                    <a:lnTo>
                      <a:pt x="1067" y="4143"/>
                    </a:lnTo>
                    <a:lnTo>
                      <a:pt x="1172" y="4122"/>
                    </a:lnTo>
                    <a:lnTo>
                      <a:pt x="1318" y="4206"/>
                    </a:lnTo>
                    <a:lnTo>
                      <a:pt x="1590" y="4290"/>
                    </a:lnTo>
                    <a:lnTo>
                      <a:pt x="1632" y="4331"/>
                    </a:lnTo>
                    <a:lnTo>
                      <a:pt x="1381" y="4310"/>
                    </a:lnTo>
                    <a:lnTo>
                      <a:pt x="1276" y="4331"/>
                    </a:lnTo>
                    <a:lnTo>
                      <a:pt x="1130" y="4227"/>
                    </a:lnTo>
                    <a:lnTo>
                      <a:pt x="963" y="4290"/>
                    </a:lnTo>
                    <a:lnTo>
                      <a:pt x="963" y="4352"/>
                    </a:lnTo>
                    <a:lnTo>
                      <a:pt x="1130" y="4415"/>
                    </a:lnTo>
                    <a:lnTo>
                      <a:pt x="1339" y="4436"/>
                    </a:lnTo>
                    <a:lnTo>
                      <a:pt x="1569" y="4436"/>
                    </a:lnTo>
                    <a:lnTo>
                      <a:pt x="1653" y="4499"/>
                    </a:lnTo>
                    <a:lnTo>
                      <a:pt x="1423" y="4541"/>
                    </a:lnTo>
                    <a:lnTo>
                      <a:pt x="1339" y="4520"/>
                    </a:lnTo>
                    <a:lnTo>
                      <a:pt x="1109" y="4499"/>
                    </a:lnTo>
                    <a:lnTo>
                      <a:pt x="942" y="4457"/>
                    </a:lnTo>
                    <a:lnTo>
                      <a:pt x="900" y="4394"/>
                    </a:lnTo>
                    <a:lnTo>
                      <a:pt x="753" y="4352"/>
                    </a:lnTo>
                    <a:lnTo>
                      <a:pt x="607" y="4206"/>
                    </a:lnTo>
                    <a:lnTo>
                      <a:pt x="544" y="4248"/>
                    </a:lnTo>
                    <a:lnTo>
                      <a:pt x="481" y="4331"/>
                    </a:lnTo>
                    <a:lnTo>
                      <a:pt x="293" y="4352"/>
                    </a:lnTo>
                    <a:lnTo>
                      <a:pt x="209" y="4415"/>
                    </a:lnTo>
                    <a:lnTo>
                      <a:pt x="188" y="4624"/>
                    </a:lnTo>
                    <a:lnTo>
                      <a:pt x="314" y="4729"/>
                    </a:lnTo>
                    <a:lnTo>
                      <a:pt x="314" y="4854"/>
                    </a:lnTo>
                    <a:lnTo>
                      <a:pt x="272" y="4917"/>
                    </a:lnTo>
                    <a:lnTo>
                      <a:pt x="188" y="4729"/>
                    </a:lnTo>
                    <a:lnTo>
                      <a:pt x="126" y="4729"/>
                    </a:lnTo>
                    <a:lnTo>
                      <a:pt x="63" y="4980"/>
                    </a:lnTo>
                    <a:lnTo>
                      <a:pt x="84" y="5126"/>
                    </a:lnTo>
                    <a:lnTo>
                      <a:pt x="168" y="5147"/>
                    </a:lnTo>
                    <a:lnTo>
                      <a:pt x="188" y="5126"/>
                    </a:lnTo>
                    <a:lnTo>
                      <a:pt x="272" y="5126"/>
                    </a:lnTo>
                    <a:lnTo>
                      <a:pt x="335" y="5252"/>
                    </a:lnTo>
                    <a:lnTo>
                      <a:pt x="419" y="5273"/>
                    </a:lnTo>
                    <a:lnTo>
                      <a:pt x="335" y="5294"/>
                    </a:lnTo>
                    <a:lnTo>
                      <a:pt x="272" y="5336"/>
                    </a:lnTo>
                    <a:lnTo>
                      <a:pt x="188" y="5231"/>
                    </a:lnTo>
                    <a:lnTo>
                      <a:pt x="21" y="5252"/>
                    </a:lnTo>
                    <a:lnTo>
                      <a:pt x="0" y="5461"/>
                    </a:lnTo>
                    <a:lnTo>
                      <a:pt x="63" y="5503"/>
                    </a:lnTo>
                    <a:lnTo>
                      <a:pt x="126" y="5482"/>
                    </a:lnTo>
                    <a:lnTo>
                      <a:pt x="84" y="5566"/>
                    </a:lnTo>
                    <a:lnTo>
                      <a:pt x="84" y="5817"/>
                    </a:lnTo>
                    <a:lnTo>
                      <a:pt x="168" y="5754"/>
                    </a:lnTo>
                    <a:lnTo>
                      <a:pt x="230" y="5775"/>
                    </a:lnTo>
                    <a:lnTo>
                      <a:pt x="230" y="5963"/>
                    </a:lnTo>
                    <a:lnTo>
                      <a:pt x="398" y="6005"/>
                    </a:lnTo>
                    <a:lnTo>
                      <a:pt x="628" y="6173"/>
                    </a:lnTo>
                    <a:lnTo>
                      <a:pt x="732" y="6110"/>
                    </a:lnTo>
                    <a:lnTo>
                      <a:pt x="795" y="6005"/>
                    </a:lnTo>
                    <a:lnTo>
                      <a:pt x="753" y="5922"/>
                    </a:lnTo>
                    <a:lnTo>
                      <a:pt x="921" y="5922"/>
                    </a:lnTo>
                    <a:lnTo>
                      <a:pt x="942" y="6026"/>
                    </a:lnTo>
                    <a:lnTo>
                      <a:pt x="921" y="6131"/>
                    </a:lnTo>
                    <a:lnTo>
                      <a:pt x="942" y="6235"/>
                    </a:lnTo>
                    <a:lnTo>
                      <a:pt x="1004" y="6214"/>
                    </a:lnTo>
                    <a:lnTo>
                      <a:pt x="1067" y="5963"/>
                    </a:lnTo>
                    <a:lnTo>
                      <a:pt x="1067" y="5712"/>
                    </a:lnTo>
                    <a:lnTo>
                      <a:pt x="1130" y="5566"/>
                    </a:lnTo>
                    <a:lnTo>
                      <a:pt x="1256" y="5440"/>
                    </a:lnTo>
                    <a:lnTo>
                      <a:pt x="1318" y="5294"/>
                    </a:lnTo>
                    <a:lnTo>
                      <a:pt x="1318" y="5461"/>
                    </a:lnTo>
                    <a:lnTo>
                      <a:pt x="1172" y="5670"/>
                    </a:lnTo>
                    <a:lnTo>
                      <a:pt x="1151" y="5817"/>
                    </a:lnTo>
                    <a:lnTo>
                      <a:pt x="1172" y="5922"/>
                    </a:lnTo>
                    <a:lnTo>
                      <a:pt x="1130" y="6131"/>
                    </a:lnTo>
                    <a:lnTo>
                      <a:pt x="1172" y="6235"/>
                    </a:lnTo>
                    <a:lnTo>
                      <a:pt x="1151" y="6319"/>
                    </a:lnTo>
                    <a:lnTo>
                      <a:pt x="1214" y="6340"/>
                    </a:lnTo>
                    <a:lnTo>
                      <a:pt x="1256" y="6298"/>
                    </a:lnTo>
                    <a:lnTo>
                      <a:pt x="1339" y="6173"/>
                    </a:lnTo>
                    <a:lnTo>
                      <a:pt x="1528" y="5984"/>
                    </a:lnTo>
                    <a:lnTo>
                      <a:pt x="1590" y="5691"/>
                    </a:lnTo>
                    <a:lnTo>
                      <a:pt x="1674" y="5650"/>
                    </a:lnTo>
                    <a:lnTo>
                      <a:pt x="1674" y="5754"/>
                    </a:lnTo>
                    <a:lnTo>
                      <a:pt x="1632" y="5880"/>
                    </a:lnTo>
                    <a:lnTo>
                      <a:pt x="1632" y="5963"/>
                    </a:lnTo>
                    <a:lnTo>
                      <a:pt x="1737" y="5984"/>
                    </a:lnTo>
                    <a:lnTo>
                      <a:pt x="1862" y="5859"/>
                    </a:lnTo>
                    <a:lnTo>
                      <a:pt x="1946" y="5775"/>
                    </a:lnTo>
                    <a:lnTo>
                      <a:pt x="1946" y="5670"/>
                    </a:lnTo>
                    <a:lnTo>
                      <a:pt x="1841" y="5650"/>
                    </a:lnTo>
                    <a:lnTo>
                      <a:pt x="1841" y="5608"/>
                    </a:lnTo>
                    <a:lnTo>
                      <a:pt x="1946" y="5566"/>
                    </a:lnTo>
                    <a:lnTo>
                      <a:pt x="1946" y="5398"/>
                    </a:lnTo>
                    <a:lnTo>
                      <a:pt x="1904" y="5336"/>
                    </a:lnTo>
                    <a:lnTo>
                      <a:pt x="1904" y="5231"/>
                    </a:lnTo>
                    <a:lnTo>
                      <a:pt x="2072" y="5126"/>
                    </a:lnTo>
                    <a:lnTo>
                      <a:pt x="2113" y="4938"/>
                    </a:lnTo>
                    <a:lnTo>
                      <a:pt x="2218" y="4875"/>
                    </a:lnTo>
                    <a:lnTo>
                      <a:pt x="2281" y="4813"/>
                    </a:lnTo>
                    <a:lnTo>
                      <a:pt x="2281" y="4917"/>
                    </a:lnTo>
                    <a:lnTo>
                      <a:pt x="2281" y="4959"/>
                    </a:lnTo>
                    <a:lnTo>
                      <a:pt x="2197" y="4980"/>
                    </a:lnTo>
                    <a:lnTo>
                      <a:pt x="2113" y="5168"/>
                    </a:lnTo>
                    <a:lnTo>
                      <a:pt x="2051" y="5294"/>
                    </a:lnTo>
                    <a:lnTo>
                      <a:pt x="2009" y="5461"/>
                    </a:lnTo>
                    <a:lnTo>
                      <a:pt x="2072" y="5566"/>
                    </a:lnTo>
                    <a:lnTo>
                      <a:pt x="2092" y="5691"/>
                    </a:lnTo>
                    <a:lnTo>
                      <a:pt x="2155" y="5650"/>
                    </a:lnTo>
                    <a:lnTo>
                      <a:pt x="2260" y="5461"/>
                    </a:lnTo>
                    <a:lnTo>
                      <a:pt x="2469" y="5273"/>
                    </a:lnTo>
                    <a:lnTo>
                      <a:pt x="2532" y="5147"/>
                    </a:lnTo>
                    <a:lnTo>
                      <a:pt x="2532" y="4980"/>
                    </a:lnTo>
                    <a:lnTo>
                      <a:pt x="2616" y="4875"/>
                    </a:lnTo>
                    <a:lnTo>
                      <a:pt x="2699" y="4854"/>
                    </a:lnTo>
                    <a:lnTo>
                      <a:pt x="2699" y="4917"/>
                    </a:lnTo>
                    <a:lnTo>
                      <a:pt x="2678" y="4959"/>
                    </a:lnTo>
                    <a:lnTo>
                      <a:pt x="2678" y="5085"/>
                    </a:lnTo>
                    <a:lnTo>
                      <a:pt x="2741" y="5064"/>
                    </a:lnTo>
                    <a:lnTo>
                      <a:pt x="2888" y="4875"/>
                    </a:lnTo>
                    <a:lnTo>
                      <a:pt x="2971" y="4875"/>
                    </a:lnTo>
                    <a:lnTo>
                      <a:pt x="3139" y="4917"/>
                    </a:lnTo>
                    <a:lnTo>
                      <a:pt x="3327" y="4854"/>
                    </a:lnTo>
                    <a:lnTo>
                      <a:pt x="3432" y="4834"/>
                    </a:lnTo>
                    <a:lnTo>
                      <a:pt x="3494" y="4750"/>
                    </a:lnTo>
                    <a:lnTo>
                      <a:pt x="3620" y="4729"/>
                    </a:lnTo>
                    <a:lnTo>
                      <a:pt x="3662" y="4624"/>
                    </a:lnTo>
                    <a:lnTo>
                      <a:pt x="3662" y="4541"/>
                    </a:lnTo>
                    <a:lnTo>
                      <a:pt x="3683" y="4457"/>
                    </a:lnTo>
                    <a:lnTo>
                      <a:pt x="3620" y="4394"/>
                    </a:lnTo>
                    <a:lnTo>
                      <a:pt x="3662" y="4227"/>
                    </a:lnTo>
                    <a:lnTo>
                      <a:pt x="3662" y="3976"/>
                    </a:lnTo>
                    <a:lnTo>
                      <a:pt x="3620" y="3976"/>
                    </a:lnTo>
                    <a:lnTo>
                      <a:pt x="3536" y="4122"/>
                    </a:lnTo>
                    <a:lnTo>
                      <a:pt x="3411" y="4290"/>
                    </a:lnTo>
                    <a:lnTo>
                      <a:pt x="3348" y="4290"/>
                    </a:lnTo>
                    <a:lnTo>
                      <a:pt x="3348" y="4206"/>
                    </a:lnTo>
                    <a:lnTo>
                      <a:pt x="3432" y="4101"/>
                    </a:lnTo>
                    <a:lnTo>
                      <a:pt x="3536" y="4018"/>
                    </a:lnTo>
                    <a:lnTo>
                      <a:pt x="3557" y="3934"/>
                    </a:lnTo>
                    <a:lnTo>
                      <a:pt x="3432" y="3829"/>
                    </a:lnTo>
                    <a:lnTo>
                      <a:pt x="3411" y="3725"/>
                    </a:lnTo>
                    <a:lnTo>
                      <a:pt x="3348" y="3725"/>
                    </a:lnTo>
                    <a:lnTo>
                      <a:pt x="3306" y="3766"/>
                    </a:lnTo>
                    <a:lnTo>
                      <a:pt x="3264" y="3829"/>
                    </a:lnTo>
                    <a:lnTo>
                      <a:pt x="3201" y="3787"/>
                    </a:lnTo>
                    <a:lnTo>
                      <a:pt x="3097" y="3808"/>
                    </a:lnTo>
                    <a:lnTo>
                      <a:pt x="3013" y="3871"/>
                    </a:lnTo>
                    <a:lnTo>
                      <a:pt x="2909" y="3829"/>
                    </a:lnTo>
                    <a:lnTo>
                      <a:pt x="2950" y="3787"/>
                    </a:lnTo>
                    <a:lnTo>
                      <a:pt x="3222" y="3683"/>
                    </a:lnTo>
                    <a:lnTo>
                      <a:pt x="3327" y="3662"/>
                    </a:lnTo>
                    <a:lnTo>
                      <a:pt x="3536" y="3453"/>
                    </a:lnTo>
                    <a:lnTo>
                      <a:pt x="3578" y="3390"/>
                    </a:lnTo>
                    <a:lnTo>
                      <a:pt x="3725" y="3160"/>
                    </a:lnTo>
                    <a:lnTo>
                      <a:pt x="3766" y="2971"/>
                    </a:lnTo>
                    <a:lnTo>
                      <a:pt x="3725" y="2950"/>
                    </a:lnTo>
                    <a:lnTo>
                      <a:pt x="3641" y="2971"/>
                    </a:lnTo>
                    <a:lnTo>
                      <a:pt x="3578" y="3034"/>
                    </a:lnTo>
                    <a:lnTo>
                      <a:pt x="3536" y="2950"/>
                    </a:lnTo>
                    <a:lnTo>
                      <a:pt x="3578" y="2888"/>
                    </a:lnTo>
                    <a:lnTo>
                      <a:pt x="3641" y="2846"/>
                    </a:lnTo>
                    <a:lnTo>
                      <a:pt x="3725" y="2867"/>
                    </a:lnTo>
                    <a:lnTo>
                      <a:pt x="3766" y="2783"/>
                    </a:lnTo>
                    <a:lnTo>
                      <a:pt x="3766" y="2657"/>
                    </a:lnTo>
                    <a:lnTo>
                      <a:pt x="3871" y="2553"/>
                    </a:lnTo>
                    <a:lnTo>
                      <a:pt x="3871" y="2427"/>
                    </a:lnTo>
                    <a:lnTo>
                      <a:pt x="3850" y="2365"/>
                    </a:lnTo>
                    <a:lnTo>
                      <a:pt x="3850" y="2302"/>
                    </a:lnTo>
                    <a:lnTo>
                      <a:pt x="3745" y="2260"/>
                    </a:lnTo>
                    <a:lnTo>
                      <a:pt x="3641" y="2302"/>
                    </a:lnTo>
                    <a:lnTo>
                      <a:pt x="3494" y="2553"/>
                    </a:lnTo>
                    <a:lnTo>
                      <a:pt x="3494" y="2678"/>
                    </a:lnTo>
                    <a:lnTo>
                      <a:pt x="3557" y="2762"/>
                    </a:lnTo>
                    <a:lnTo>
                      <a:pt x="3473" y="2846"/>
                    </a:lnTo>
                    <a:lnTo>
                      <a:pt x="3432" y="2888"/>
                    </a:lnTo>
                    <a:lnTo>
                      <a:pt x="3369" y="2867"/>
                    </a:lnTo>
                    <a:lnTo>
                      <a:pt x="3411" y="2825"/>
                    </a:lnTo>
                    <a:lnTo>
                      <a:pt x="3348" y="2762"/>
                    </a:lnTo>
                    <a:lnTo>
                      <a:pt x="3348" y="2657"/>
                    </a:lnTo>
                    <a:lnTo>
                      <a:pt x="3453" y="2448"/>
                    </a:lnTo>
                    <a:lnTo>
                      <a:pt x="3432" y="2344"/>
                    </a:lnTo>
                    <a:lnTo>
                      <a:pt x="3453" y="2302"/>
                    </a:lnTo>
                    <a:lnTo>
                      <a:pt x="3473" y="2323"/>
                    </a:lnTo>
                    <a:lnTo>
                      <a:pt x="3557" y="2302"/>
                    </a:lnTo>
                    <a:lnTo>
                      <a:pt x="3536" y="2134"/>
                    </a:lnTo>
                    <a:lnTo>
                      <a:pt x="3453" y="2030"/>
                    </a:lnTo>
                    <a:lnTo>
                      <a:pt x="3348" y="2030"/>
                    </a:lnTo>
                    <a:lnTo>
                      <a:pt x="3222" y="2051"/>
                    </a:lnTo>
                    <a:lnTo>
                      <a:pt x="3160" y="2155"/>
                    </a:lnTo>
                    <a:lnTo>
                      <a:pt x="3139" y="2113"/>
                    </a:lnTo>
                    <a:lnTo>
                      <a:pt x="3118" y="2051"/>
                    </a:lnTo>
                    <a:lnTo>
                      <a:pt x="3139" y="1904"/>
                    </a:lnTo>
                    <a:lnTo>
                      <a:pt x="3055" y="1737"/>
                    </a:lnTo>
                    <a:lnTo>
                      <a:pt x="3097" y="1507"/>
                    </a:lnTo>
                    <a:lnTo>
                      <a:pt x="3097" y="1318"/>
                    </a:lnTo>
                    <a:lnTo>
                      <a:pt x="3139" y="1193"/>
                    </a:lnTo>
                    <a:lnTo>
                      <a:pt x="3160" y="1005"/>
                    </a:lnTo>
                    <a:lnTo>
                      <a:pt x="3139" y="858"/>
                    </a:lnTo>
                    <a:lnTo>
                      <a:pt x="3243" y="670"/>
                    </a:lnTo>
                    <a:lnTo>
                      <a:pt x="3243" y="523"/>
                    </a:lnTo>
                    <a:lnTo>
                      <a:pt x="3139" y="419"/>
                    </a:lnTo>
                    <a:lnTo>
                      <a:pt x="3118" y="272"/>
                    </a:lnTo>
                    <a:lnTo>
                      <a:pt x="2950" y="147"/>
                    </a:lnTo>
                    <a:lnTo>
                      <a:pt x="2909" y="63"/>
                    </a:lnTo>
                    <a:lnTo>
                      <a:pt x="2741" y="0"/>
                    </a:lnTo>
                    <a:lnTo>
                      <a:pt x="2699" y="21"/>
                    </a:lnTo>
                    <a:lnTo>
                      <a:pt x="2699" y="105"/>
                    </a:lnTo>
                    <a:lnTo>
                      <a:pt x="2678" y="126"/>
                    </a:lnTo>
                    <a:lnTo>
                      <a:pt x="2511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2" name="Google Shape;782;p34"/>
              <p:cNvSpPr/>
              <p:nvPr/>
            </p:nvSpPr>
            <p:spPr>
              <a:xfrm>
                <a:off x="2744725" y="1557875"/>
                <a:ext cx="36625" cy="48150"/>
              </a:xfrm>
              <a:custGeom>
                <a:avLst/>
                <a:gdLst/>
                <a:ahLst/>
                <a:cxnLst/>
                <a:rect l="l" t="t" r="r" b="b"/>
                <a:pathLst>
                  <a:path w="1465" h="1926" extrusionOk="0">
                    <a:moveTo>
                      <a:pt x="711" y="0"/>
                    </a:moveTo>
                    <a:lnTo>
                      <a:pt x="586" y="105"/>
                    </a:lnTo>
                    <a:lnTo>
                      <a:pt x="502" y="168"/>
                    </a:lnTo>
                    <a:lnTo>
                      <a:pt x="502" y="356"/>
                    </a:lnTo>
                    <a:lnTo>
                      <a:pt x="419" y="419"/>
                    </a:lnTo>
                    <a:lnTo>
                      <a:pt x="356" y="377"/>
                    </a:lnTo>
                    <a:lnTo>
                      <a:pt x="272" y="544"/>
                    </a:lnTo>
                    <a:lnTo>
                      <a:pt x="272" y="733"/>
                    </a:lnTo>
                    <a:lnTo>
                      <a:pt x="188" y="837"/>
                    </a:lnTo>
                    <a:lnTo>
                      <a:pt x="272" y="963"/>
                    </a:lnTo>
                    <a:lnTo>
                      <a:pt x="147" y="963"/>
                    </a:lnTo>
                    <a:lnTo>
                      <a:pt x="167" y="1005"/>
                    </a:lnTo>
                    <a:lnTo>
                      <a:pt x="272" y="1088"/>
                    </a:lnTo>
                    <a:lnTo>
                      <a:pt x="398" y="1256"/>
                    </a:lnTo>
                    <a:lnTo>
                      <a:pt x="377" y="1360"/>
                    </a:lnTo>
                    <a:lnTo>
                      <a:pt x="356" y="1360"/>
                    </a:lnTo>
                    <a:lnTo>
                      <a:pt x="209" y="1256"/>
                    </a:lnTo>
                    <a:lnTo>
                      <a:pt x="84" y="1256"/>
                    </a:lnTo>
                    <a:lnTo>
                      <a:pt x="63" y="1318"/>
                    </a:lnTo>
                    <a:lnTo>
                      <a:pt x="0" y="1402"/>
                    </a:lnTo>
                    <a:lnTo>
                      <a:pt x="105" y="1465"/>
                    </a:lnTo>
                    <a:lnTo>
                      <a:pt x="147" y="1590"/>
                    </a:lnTo>
                    <a:lnTo>
                      <a:pt x="188" y="1632"/>
                    </a:lnTo>
                    <a:lnTo>
                      <a:pt x="105" y="1737"/>
                    </a:lnTo>
                    <a:lnTo>
                      <a:pt x="105" y="1883"/>
                    </a:lnTo>
                    <a:lnTo>
                      <a:pt x="251" y="1821"/>
                    </a:lnTo>
                    <a:lnTo>
                      <a:pt x="272" y="1737"/>
                    </a:lnTo>
                    <a:lnTo>
                      <a:pt x="356" y="1737"/>
                    </a:lnTo>
                    <a:lnTo>
                      <a:pt x="377" y="1883"/>
                    </a:lnTo>
                    <a:lnTo>
                      <a:pt x="460" y="1883"/>
                    </a:lnTo>
                    <a:lnTo>
                      <a:pt x="607" y="1842"/>
                    </a:lnTo>
                    <a:lnTo>
                      <a:pt x="711" y="1883"/>
                    </a:lnTo>
                    <a:lnTo>
                      <a:pt x="837" y="1779"/>
                    </a:lnTo>
                    <a:lnTo>
                      <a:pt x="900" y="1821"/>
                    </a:lnTo>
                    <a:lnTo>
                      <a:pt x="900" y="1925"/>
                    </a:lnTo>
                    <a:lnTo>
                      <a:pt x="983" y="1925"/>
                    </a:lnTo>
                    <a:lnTo>
                      <a:pt x="1025" y="1883"/>
                    </a:lnTo>
                    <a:lnTo>
                      <a:pt x="1235" y="1737"/>
                    </a:lnTo>
                    <a:lnTo>
                      <a:pt x="1235" y="1632"/>
                    </a:lnTo>
                    <a:lnTo>
                      <a:pt x="1214" y="1465"/>
                    </a:lnTo>
                    <a:lnTo>
                      <a:pt x="1151" y="1465"/>
                    </a:lnTo>
                    <a:lnTo>
                      <a:pt x="1109" y="1402"/>
                    </a:lnTo>
                    <a:lnTo>
                      <a:pt x="1193" y="1360"/>
                    </a:lnTo>
                    <a:lnTo>
                      <a:pt x="1297" y="1381"/>
                    </a:lnTo>
                    <a:lnTo>
                      <a:pt x="1339" y="1298"/>
                    </a:lnTo>
                    <a:lnTo>
                      <a:pt x="1465" y="1214"/>
                    </a:lnTo>
                    <a:lnTo>
                      <a:pt x="1423" y="984"/>
                    </a:lnTo>
                    <a:lnTo>
                      <a:pt x="1360" y="900"/>
                    </a:lnTo>
                    <a:lnTo>
                      <a:pt x="1360" y="837"/>
                    </a:lnTo>
                    <a:lnTo>
                      <a:pt x="1235" y="837"/>
                    </a:lnTo>
                    <a:lnTo>
                      <a:pt x="1193" y="691"/>
                    </a:lnTo>
                    <a:lnTo>
                      <a:pt x="1193" y="649"/>
                    </a:lnTo>
                    <a:lnTo>
                      <a:pt x="1130" y="586"/>
                    </a:lnTo>
                    <a:lnTo>
                      <a:pt x="1109" y="482"/>
                    </a:lnTo>
                    <a:lnTo>
                      <a:pt x="1046" y="461"/>
                    </a:lnTo>
                    <a:lnTo>
                      <a:pt x="1004" y="377"/>
                    </a:lnTo>
                    <a:lnTo>
                      <a:pt x="1025" y="272"/>
                    </a:lnTo>
                    <a:lnTo>
                      <a:pt x="983" y="168"/>
                    </a:lnTo>
                    <a:lnTo>
                      <a:pt x="83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3" name="Google Shape;783;p34"/>
              <p:cNvSpPr/>
              <p:nvPr/>
            </p:nvSpPr>
            <p:spPr>
              <a:xfrm>
                <a:off x="2789175" y="1410350"/>
                <a:ext cx="386600" cy="302375"/>
              </a:xfrm>
              <a:custGeom>
                <a:avLst/>
                <a:gdLst/>
                <a:ahLst/>
                <a:cxnLst/>
                <a:rect l="l" t="t" r="r" b="b"/>
                <a:pathLst>
                  <a:path w="15464" h="12095" extrusionOk="0">
                    <a:moveTo>
                      <a:pt x="9625" y="1"/>
                    </a:moveTo>
                    <a:lnTo>
                      <a:pt x="9521" y="105"/>
                    </a:lnTo>
                    <a:lnTo>
                      <a:pt x="9416" y="105"/>
                    </a:lnTo>
                    <a:lnTo>
                      <a:pt x="9353" y="168"/>
                    </a:lnTo>
                    <a:lnTo>
                      <a:pt x="9416" y="252"/>
                    </a:lnTo>
                    <a:lnTo>
                      <a:pt x="9521" y="273"/>
                    </a:lnTo>
                    <a:lnTo>
                      <a:pt x="9584" y="315"/>
                    </a:lnTo>
                    <a:lnTo>
                      <a:pt x="9458" y="315"/>
                    </a:lnTo>
                    <a:lnTo>
                      <a:pt x="9395" y="377"/>
                    </a:lnTo>
                    <a:lnTo>
                      <a:pt x="9458" y="461"/>
                    </a:lnTo>
                    <a:lnTo>
                      <a:pt x="9584" y="566"/>
                    </a:lnTo>
                    <a:lnTo>
                      <a:pt x="9563" y="629"/>
                    </a:lnTo>
                    <a:lnTo>
                      <a:pt x="9521" y="691"/>
                    </a:lnTo>
                    <a:lnTo>
                      <a:pt x="9625" y="796"/>
                    </a:lnTo>
                    <a:lnTo>
                      <a:pt x="9709" y="817"/>
                    </a:lnTo>
                    <a:lnTo>
                      <a:pt x="9709" y="880"/>
                    </a:lnTo>
                    <a:lnTo>
                      <a:pt x="9605" y="901"/>
                    </a:lnTo>
                    <a:lnTo>
                      <a:pt x="9605" y="942"/>
                    </a:lnTo>
                    <a:lnTo>
                      <a:pt x="9395" y="712"/>
                    </a:lnTo>
                    <a:lnTo>
                      <a:pt x="9353" y="712"/>
                    </a:lnTo>
                    <a:lnTo>
                      <a:pt x="9312" y="796"/>
                    </a:lnTo>
                    <a:lnTo>
                      <a:pt x="9312" y="901"/>
                    </a:lnTo>
                    <a:lnTo>
                      <a:pt x="9270" y="880"/>
                    </a:lnTo>
                    <a:lnTo>
                      <a:pt x="9249" y="691"/>
                    </a:lnTo>
                    <a:lnTo>
                      <a:pt x="9270" y="566"/>
                    </a:lnTo>
                    <a:lnTo>
                      <a:pt x="9186" y="419"/>
                    </a:lnTo>
                    <a:lnTo>
                      <a:pt x="9186" y="273"/>
                    </a:lnTo>
                    <a:lnTo>
                      <a:pt x="9123" y="210"/>
                    </a:lnTo>
                    <a:lnTo>
                      <a:pt x="9081" y="252"/>
                    </a:lnTo>
                    <a:lnTo>
                      <a:pt x="8956" y="147"/>
                    </a:lnTo>
                    <a:lnTo>
                      <a:pt x="8872" y="105"/>
                    </a:lnTo>
                    <a:lnTo>
                      <a:pt x="8851" y="252"/>
                    </a:lnTo>
                    <a:lnTo>
                      <a:pt x="8872" y="461"/>
                    </a:lnTo>
                    <a:lnTo>
                      <a:pt x="8851" y="670"/>
                    </a:lnTo>
                    <a:lnTo>
                      <a:pt x="8893" y="817"/>
                    </a:lnTo>
                    <a:lnTo>
                      <a:pt x="8935" y="984"/>
                    </a:lnTo>
                    <a:lnTo>
                      <a:pt x="8935" y="1047"/>
                    </a:lnTo>
                    <a:lnTo>
                      <a:pt x="8935" y="1193"/>
                    </a:lnTo>
                    <a:lnTo>
                      <a:pt x="8872" y="1235"/>
                    </a:lnTo>
                    <a:lnTo>
                      <a:pt x="8830" y="1131"/>
                    </a:lnTo>
                    <a:lnTo>
                      <a:pt x="8788" y="984"/>
                    </a:lnTo>
                    <a:lnTo>
                      <a:pt x="8747" y="901"/>
                    </a:lnTo>
                    <a:lnTo>
                      <a:pt x="8747" y="775"/>
                    </a:lnTo>
                    <a:lnTo>
                      <a:pt x="8726" y="629"/>
                    </a:lnTo>
                    <a:lnTo>
                      <a:pt x="8684" y="482"/>
                    </a:lnTo>
                    <a:lnTo>
                      <a:pt x="8475" y="357"/>
                    </a:lnTo>
                    <a:lnTo>
                      <a:pt x="8412" y="357"/>
                    </a:lnTo>
                    <a:lnTo>
                      <a:pt x="8370" y="482"/>
                    </a:lnTo>
                    <a:lnTo>
                      <a:pt x="8349" y="524"/>
                    </a:lnTo>
                    <a:lnTo>
                      <a:pt x="8370" y="691"/>
                    </a:lnTo>
                    <a:lnTo>
                      <a:pt x="8558" y="817"/>
                    </a:lnTo>
                    <a:lnTo>
                      <a:pt x="8558" y="901"/>
                    </a:lnTo>
                    <a:lnTo>
                      <a:pt x="8370" y="880"/>
                    </a:lnTo>
                    <a:lnTo>
                      <a:pt x="8328" y="838"/>
                    </a:lnTo>
                    <a:lnTo>
                      <a:pt x="8244" y="838"/>
                    </a:lnTo>
                    <a:lnTo>
                      <a:pt x="8161" y="921"/>
                    </a:lnTo>
                    <a:lnTo>
                      <a:pt x="8244" y="1131"/>
                    </a:lnTo>
                    <a:lnTo>
                      <a:pt x="8224" y="1193"/>
                    </a:lnTo>
                    <a:lnTo>
                      <a:pt x="8077" y="1235"/>
                    </a:lnTo>
                    <a:lnTo>
                      <a:pt x="8035" y="1340"/>
                    </a:lnTo>
                    <a:lnTo>
                      <a:pt x="7952" y="1403"/>
                    </a:lnTo>
                    <a:lnTo>
                      <a:pt x="7910" y="1319"/>
                    </a:lnTo>
                    <a:lnTo>
                      <a:pt x="7910" y="1214"/>
                    </a:lnTo>
                    <a:lnTo>
                      <a:pt x="7847" y="1214"/>
                    </a:lnTo>
                    <a:lnTo>
                      <a:pt x="7784" y="1361"/>
                    </a:lnTo>
                    <a:lnTo>
                      <a:pt x="7700" y="1403"/>
                    </a:lnTo>
                    <a:lnTo>
                      <a:pt x="7680" y="1131"/>
                    </a:lnTo>
                    <a:lnTo>
                      <a:pt x="7700" y="984"/>
                    </a:lnTo>
                    <a:lnTo>
                      <a:pt x="7700" y="921"/>
                    </a:lnTo>
                    <a:lnTo>
                      <a:pt x="7491" y="838"/>
                    </a:lnTo>
                    <a:lnTo>
                      <a:pt x="7470" y="775"/>
                    </a:lnTo>
                    <a:lnTo>
                      <a:pt x="7533" y="691"/>
                    </a:lnTo>
                    <a:lnTo>
                      <a:pt x="7554" y="608"/>
                    </a:lnTo>
                    <a:lnTo>
                      <a:pt x="7470" y="566"/>
                    </a:lnTo>
                    <a:lnTo>
                      <a:pt x="7261" y="524"/>
                    </a:lnTo>
                    <a:lnTo>
                      <a:pt x="7219" y="482"/>
                    </a:lnTo>
                    <a:lnTo>
                      <a:pt x="7073" y="524"/>
                    </a:lnTo>
                    <a:lnTo>
                      <a:pt x="7031" y="629"/>
                    </a:lnTo>
                    <a:lnTo>
                      <a:pt x="7115" y="712"/>
                    </a:lnTo>
                    <a:lnTo>
                      <a:pt x="7115" y="921"/>
                    </a:lnTo>
                    <a:lnTo>
                      <a:pt x="7073" y="984"/>
                    </a:lnTo>
                    <a:lnTo>
                      <a:pt x="6968" y="942"/>
                    </a:lnTo>
                    <a:lnTo>
                      <a:pt x="6864" y="984"/>
                    </a:lnTo>
                    <a:lnTo>
                      <a:pt x="6780" y="901"/>
                    </a:lnTo>
                    <a:lnTo>
                      <a:pt x="6654" y="901"/>
                    </a:lnTo>
                    <a:lnTo>
                      <a:pt x="6633" y="1026"/>
                    </a:lnTo>
                    <a:lnTo>
                      <a:pt x="6675" y="1089"/>
                    </a:lnTo>
                    <a:lnTo>
                      <a:pt x="6738" y="1193"/>
                    </a:lnTo>
                    <a:lnTo>
                      <a:pt x="6801" y="1256"/>
                    </a:lnTo>
                    <a:lnTo>
                      <a:pt x="6801" y="1403"/>
                    </a:lnTo>
                    <a:lnTo>
                      <a:pt x="6864" y="1465"/>
                    </a:lnTo>
                    <a:lnTo>
                      <a:pt x="6905" y="1465"/>
                    </a:lnTo>
                    <a:lnTo>
                      <a:pt x="7010" y="1633"/>
                    </a:lnTo>
                    <a:lnTo>
                      <a:pt x="7010" y="1779"/>
                    </a:lnTo>
                    <a:lnTo>
                      <a:pt x="6968" y="1842"/>
                    </a:lnTo>
                    <a:lnTo>
                      <a:pt x="6989" y="1717"/>
                    </a:lnTo>
                    <a:lnTo>
                      <a:pt x="6947" y="1717"/>
                    </a:lnTo>
                    <a:lnTo>
                      <a:pt x="6843" y="1842"/>
                    </a:lnTo>
                    <a:lnTo>
                      <a:pt x="6780" y="1758"/>
                    </a:lnTo>
                    <a:lnTo>
                      <a:pt x="6780" y="1654"/>
                    </a:lnTo>
                    <a:lnTo>
                      <a:pt x="6801" y="1633"/>
                    </a:lnTo>
                    <a:lnTo>
                      <a:pt x="6780" y="1549"/>
                    </a:lnTo>
                    <a:lnTo>
                      <a:pt x="6738" y="1612"/>
                    </a:lnTo>
                    <a:lnTo>
                      <a:pt x="6654" y="1612"/>
                    </a:lnTo>
                    <a:lnTo>
                      <a:pt x="6654" y="1758"/>
                    </a:lnTo>
                    <a:lnTo>
                      <a:pt x="6592" y="1842"/>
                    </a:lnTo>
                    <a:lnTo>
                      <a:pt x="6571" y="1758"/>
                    </a:lnTo>
                    <a:lnTo>
                      <a:pt x="6508" y="1675"/>
                    </a:lnTo>
                    <a:lnTo>
                      <a:pt x="6550" y="1570"/>
                    </a:lnTo>
                    <a:lnTo>
                      <a:pt x="6550" y="1424"/>
                    </a:lnTo>
                    <a:lnTo>
                      <a:pt x="6445" y="1298"/>
                    </a:lnTo>
                    <a:lnTo>
                      <a:pt x="6382" y="1298"/>
                    </a:lnTo>
                    <a:lnTo>
                      <a:pt x="6257" y="1465"/>
                    </a:lnTo>
                    <a:lnTo>
                      <a:pt x="6215" y="1507"/>
                    </a:lnTo>
                    <a:lnTo>
                      <a:pt x="6215" y="1633"/>
                    </a:lnTo>
                    <a:lnTo>
                      <a:pt x="6257" y="1717"/>
                    </a:lnTo>
                    <a:lnTo>
                      <a:pt x="6215" y="1758"/>
                    </a:lnTo>
                    <a:lnTo>
                      <a:pt x="6131" y="1675"/>
                    </a:lnTo>
                    <a:lnTo>
                      <a:pt x="6152" y="1612"/>
                    </a:lnTo>
                    <a:lnTo>
                      <a:pt x="6110" y="1528"/>
                    </a:lnTo>
                    <a:lnTo>
                      <a:pt x="6131" y="1424"/>
                    </a:lnTo>
                    <a:lnTo>
                      <a:pt x="6110" y="1298"/>
                    </a:lnTo>
                    <a:lnTo>
                      <a:pt x="5985" y="1235"/>
                    </a:lnTo>
                    <a:lnTo>
                      <a:pt x="5985" y="1089"/>
                    </a:lnTo>
                    <a:lnTo>
                      <a:pt x="5985" y="984"/>
                    </a:lnTo>
                    <a:lnTo>
                      <a:pt x="5943" y="984"/>
                    </a:lnTo>
                    <a:lnTo>
                      <a:pt x="5796" y="1110"/>
                    </a:lnTo>
                    <a:lnTo>
                      <a:pt x="5713" y="1131"/>
                    </a:lnTo>
                    <a:lnTo>
                      <a:pt x="5692" y="1256"/>
                    </a:lnTo>
                    <a:lnTo>
                      <a:pt x="5713" y="1340"/>
                    </a:lnTo>
                    <a:lnTo>
                      <a:pt x="5692" y="1403"/>
                    </a:lnTo>
                    <a:lnTo>
                      <a:pt x="5692" y="1465"/>
                    </a:lnTo>
                    <a:lnTo>
                      <a:pt x="5608" y="1528"/>
                    </a:lnTo>
                    <a:lnTo>
                      <a:pt x="5608" y="1445"/>
                    </a:lnTo>
                    <a:lnTo>
                      <a:pt x="5629" y="1403"/>
                    </a:lnTo>
                    <a:lnTo>
                      <a:pt x="5608" y="1340"/>
                    </a:lnTo>
                    <a:lnTo>
                      <a:pt x="5524" y="1424"/>
                    </a:lnTo>
                    <a:lnTo>
                      <a:pt x="5462" y="1570"/>
                    </a:lnTo>
                    <a:lnTo>
                      <a:pt x="5399" y="1612"/>
                    </a:lnTo>
                    <a:lnTo>
                      <a:pt x="5399" y="1340"/>
                    </a:lnTo>
                    <a:lnTo>
                      <a:pt x="5420" y="1256"/>
                    </a:lnTo>
                    <a:lnTo>
                      <a:pt x="5420" y="1193"/>
                    </a:lnTo>
                    <a:lnTo>
                      <a:pt x="5336" y="1152"/>
                    </a:lnTo>
                    <a:lnTo>
                      <a:pt x="5273" y="1214"/>
                    </a:lnTo>
                    <a:lnTo>
                      <a:pt x="5022" y="1214"/>
                    </a:lnTo>
                    <a:lnTo>
                      <a:pt x="4876" y="1319"/>
                    </a:lnTo>
                    <a:lnTo>
                      <a:pt x="4771" y="1298"/>
                    </a:lnTo>
                    <a:lnTo>
                      <a:pt x="4646" y="1361"/>
                    </a:lnTo>
                    <a:lnTo>
                      <a:pt x="4583" y="1465"/>
                    </a:lnTo>
                    <a:lnTo>
                      <a:pt x="4457" y="1465"/>
                    </a:lnTo>
                    <a:lnTo>
                      <a:pt x="4353" y="1528"/>
                    </a:lnTo>
                    <a:lnTo>
                      <a:pt x="4332" y="1654"/>
                    </a:lnTo>
                    <a:lnTo>
                      <a:pt x="4248" y="1612"/>
                    </a:lnTo>
                    <a:lnTo>
                      <a:pt x="4227" y="1633"/>
                    </a:lnTo>
                    <a:lnTo>
                      <a:pt x="4248" y="1737"/>
                    </a:lnTo>
                    <a:lnTo>
                      <a:pt x="4290" y="1758"/>
                    </a:lnTo>
                    <a:lnTo>
                      <a:pt x="4269" y="1863"/>
                    </a:lnTo>
                    <a:lnTo>
                      <a:pt x="4290" y="1968"/>
                    </a:lnTo>
                    <a:lnTo>
                      <a:pt x="4415" y="1947"/>
                    </a:lnTo>
                    <a:lnTo>
                      <a:pt x="4478" y="1863"/>
                    </a:lnTo>
                    <a:lnTo>
                      <a:pt x="4478" y="1779"/>
                    </a:lnTo>
                    <a:lnTo>
                      <a:pt x="4604" y="1758"/>
                    </a:lnTo>
                    <a:lnTo>
                      <a:pt x="4667" y="1717"/>
                    </a:lnTo>
                    <a:lnTo>
                      <a:pt x="4708" y="1675"/>
                    </a:lnTo>
                    <a:lnTo>
                      <a:pt x="4750" y="1821"/>
                    </a:lnTo>
                    <a:lnTo>
                      <a:pt x="4813" y="1758"/>
                    </a:lnTo>
                    <a:lnTo>
                      <a:pt x="4855" y="1654"/>
                    </a:lnTo>
                    <a:lnTo>
                      <a:pt x="4897" y="1633"/>
                    </a:lnTo>
                    <a:lnTo>
                      <a:pt x="4876" y="1779"/>
                    </a:lnTo>
                    <a:lnTo>
                      <a:pt x="4918" y="1842"/>
                    </a:lnTo>
                    <a:lnTo>
                      <a:pt x="5064" y="1842"/>
                    </a:lnTo>
                    <a:lnTo>
                      <a:pt x="4939" y="1884"/>
                    </a:lnTo>
                    <a:lnTo>
                      <a:pt x="4771" y="1926"/>
                    </a:lnTo>
                    <a:lnTo>
                      <a:pt x="4604" y="2051"/>
                    </a:lnTo>
                    <a:lnTo>
                      <a:pt x="4478" y="2093"/>
                    </a:lnTo>
                    <a:lnTo>
                      <a:pt x="4499" y="2198"/>
                    </a:lnTo>
                    <a:lnTo>
                      <a:pt x="4499" y="2281"/>
                    </a:lnTo>
                    <a:lnTo>
                      <a:pt x="4583" y="2281"/>
                    </a:lnTo>
                    <a:lnTo>
                      <a:pt x="4667" y="2198"/>
                    </a:lnTo>
                    <a:lnTo>
                      <a:pt x="4771" y="2198"/>
                    </a:lnTo>
                    <a:lnTo>
                      <a:pt x="4918" y="2156"/>
                    </a:lnTo>
                    <a:lnTo>
                      <a:pt x="5127" y="2135"/>
                    </a:lnTo>
                    <a:lnTo>
                      <a:pt x="5378" y="2072"/>
                    </a:lnTo>
                    <a:lnTo>
                      <a:pt x="5420" y="2135"/>
                    </a:lnTo>
                    <a:lnTo>
                      <a:pt x="5420" y="2198"/>
                    </a:lnTo>
                    <a:lnTo>
                      <a:pt x="5336" y="2240"/>
                    </a:lnTo>
                    <a:lnTo>
                      <a:pt x="5273" y="2177"/>
                    </a:lnTo>
                    <a:lnTo>
                      <a:pt x="5169" y="2177"/>
                    </a:lnTo>
                    <a:lnTo>
                      <a:pt x="5064" y="2261"/>
                    </a:lnTo>
                    <a:lnTo>
                      <a:pt x="4876" y="2261"/>
                    </a:lnTo>
                    <a:lnTo>
                      <a:pt x="4708" y="2386"/>
                    </a:lnTo>
                    <a:lnTo>
                      <a:pt x="4562" y="2386"/>
                    </a:lnTo>
                    <a:lnTo>
                      <a:pt x="4541" y="2449"/>
                    </a:lnTo>
                    <a:lnTo>
                      <a:pt x="4604" y="2554"/>
                    </a:lnTo>
                    <a:lnTo>
                      <a:pt x="4708" y="2554"/>
                    </a:lnTo>
                    <a:lnTo>
                      <a:pt x="4813" y="2616"/>
                    </a:lnTo>
                    <a:lnTo>
                      <a:pt x="4750" y="2658"/>
                    </a:lnTo>
                    <a:lnTo>
                      <a:pt x="4562" y="2658"/>
                    </a:lnTo>
                    <a:lnTo>
                      <a:pt x="4478" y="2574"/>
                    </a:lnTo>
                    <a:lnTo>
                      <a:pt x="4415" y="2574"/>
                    </a:lnTo>
                    <a:lnTo>
                      <a:pt x="4353" y="2616"/>
                    </a:lnTo>
                    <a:lnTo>
                      <a:pt x="4353" y="2763"/>
                    </a:lnTo>
                    <a:lnTo>
                      <a:pt x="4290" y="2826"/>
                    </a:lnTo>
                    <a:lnTo>
                      <a:pt x="4332" y="2909"/>
                    </a:lnTo>
                    <a:lnTo>
                      <a:pt x="4415" y="2972"/>
                    </a:lnTo>
                    <a:lnTo>
                      <a:pt x="4562" y="2909"/>
                    </a:lnTo>
                    <a:lnTo>
                      <a:pt x="4750" y="3014"/>
                    </a:lnTo>
                    <a:lnTo>
                      <a:pt x="4897" y="2993"/>
                    </a:lnTo>
                    <a:lnTo>
                      <a:pt x="4918" y="3035"/>
                    </a:lnTo>
                    <a:lnTo>
                      <a:pt x="5022" y="3035"/>
                    </a:lnTo>
                    <a:lnTo>
                      <a:pt x="5169" y="3139"/>
                    </a:lnTo>
                    <a:lnTo>
                      <a:pt x="5231" y="3139"/>
                    </a:lnTo>
                    <a:lnTo>
                      <a:pt x="5315" y="3118"/>
                    </a:lnTo>
                    <a:lnTo>
                      <a:pt x="5462" y="3139"/>
                    </a:lnTo>
                    <a:lnTo>
                      <a:pt x="5545" y="3139"/>
                    </a:lnTo>
                    <a:lnTo>
                      <a:pt x="5713" y="3035"/>
                    </a:lnTo>
                    <a:lnTo>
                      <a:pt x="5943" y="3035"/>
                    </a:lnTo>
                    <a:lnTo>
                      <a:pt x="6110" y="3014"/>
                    </a:lnTo>
                    <a:lnTo>
                      <a:pt x="6173" y="2972"/>
                    </a:lnTo>
                    <a:lnTo>
                      <a:pt x="6236" y="2930"/>
                    </a:lnTo>
                    <a:lnTo>
                      <a:pt x="6320" y="2930"/>
                    </a:lnTo>
                    <a:lnTo>
                      <a:pt x="6320" y="2993"/>
                    </a:lnTo>
                    <a:lnTo>
                      <a:pt x="6278" y="3077"/>
                    </a:lnTo>
                    <a:lnTo>
                      <a:pt x="6068" y="3098"/>
                    </a:lnTo>
                    <a:lnTo>
                      <a:pt x="5838" y="3139"/>
                    </a:lnTo>
                    <a:lnTo>
                      <a:pt x="5755" y="3202"/>
                    </a:lnTo>
                    <a:lnTo>
                      <a:pt x="5650" y="3223"/>
                    </a:lnTo>
                    <a:lnTo>
                      <a:pt x="5629" y="3244"/>
                    </a:lnTo>
                    <a:lnTo>
                      <a:pt x="5462" y="3223"/>
                    </a:lnTo>
                    <a:lnTo>
                      <a:pt x="5336" y="3286"/>
                    </a:lnTo>
                    <a:lnTo>
                      <a:pt x="5231" y="3286"/>
                    </a:lnTo>
                    <a:lnTo>
                      <a:pt x="5190" y="3223"/>
                    </a:lnTo>
                    <a:lnTo>
                      <a:pt x="5085" y="3223"/>
                    </a:lnTo>
                    <a:lnTo>
                      <a:pt x="4897" y="3118"/>
                    </a:lnTo>
                    <a:lnTo>
                      <a:pt x="4562" y="3118"/>
                    </a:lnTo>
                    <a:lnTo>
                      <a:pt x="4499" y="3077"/>
                    </a:lnTo>
                    <a:lnTo>
                      <a:pt x="4374" y="3098"/>
                    </a:lnTo>
                    <a:lnTo>
                      <a:pt x="4269" y="3077"/>
                    </a:lnTo>
                    <a:lnTo>
                      <a:pt x="4227" y="3118"/>
                    </a:lnTo>
                    <a:lnTo>
                      <a:pt x="4248" y="3286"/>
                    </a:lnTo>
                    <a:lnTo>
                      <a:pt x="4290" y="3328"/>
                    </a:lnTo>
                    <a:lnTo>
                      <a:pt x="4290" y="3516"/>
                    </a:lnTo>
                    <a:lnTo>
                      <a:pt x="4353" y="3642"/>
                    </a:lnTo>
                    <a:lnTo>
                      <a:pt x="4395" y="3704"/>
                    </a:lnTo>
                    <a:lnTo>
                      <a:pt x="4478" y="3725"/>
                    </a:lnTo>
                    <a:lnTo>
                      <a:pt x="4646" y="3934"/>
                    </a:lnTo>
                    <a:lnTo>
                      <a:pt x="4708" y="3976"/>
                    </a:lnTo>
                    <a:lnTo>
                      <a:pt x="4771" y="3955"/>
                    </a:lnTo>
                    <a:lnTo>
                      <a:pt x="4897" y="3767"/>
                    </a:lnTo>
                    <a:lnTo>
                      <a:pt x="5106" y="3662"/>
                    </a:lnTo>
                    <a:lnTo>
                      <a:pt x="5315" y="3537"/>
                    </a:lnTo>
                    <a:lnTo>
                      <a:pt x="5441" y="3432"/>
                    </a:lnTo>
                    <a:lnTo>
                      <a:pt x="5503" y="3349"/>
                    </a:lnTo>
                    <a:lnTo>
                      <a:pt x="5545" y="3349"/>
                    </a:lnTo>
                    <a:lnTo>
                      <a:pt x="5817" y="3411"/>
                    </a:lnTo>
                    <a:lnTo>
                      <a:pt x="6027" y="3390"/>
                    </a:lnTo>
                    <a:lnTo>
                      <a:pt x="6173" y="3390"/>
                    </a:lnTo>
                    <a:lnTo>
                      <a:pt x="6320" y="3495"/>
                    </a:lnTo>
                    <a:lnTo>
                      <a:pt x="6571" y="3516"/>
                    </a:lnTo>
                    <a:lnTo>
                      <a:pt x="6780" y="3516"/>
                    </a:lnTo>
                    <a:lnTo>
                      <a:pt x="6864" y="3558"/>
                    </a:lnTo>
                    <a:lnTo>
                      <a:pt x="6843" y="3600"/>
                    </a:lnTo>
                    <a:lnTo>
                      <a:pt x="6654" y="3621"/>
                    </a:lnTo>
                    <a:lnTo>
                      <a:pt x="6550" y="3600"/>
                    </a:lnTo>
                    <a:lnTo>
                      <a:pt x="6361" y="3558"/>
                    </a:lnTo>
                    <a:lnTo>
                      <a:pt x="6152" y="3453"/>
                    </a:lnTo>
                    <a:lnTo>
                      <a:pt x="6047" y="3453"/>
                    </a:lnTo>
                    <a:lnTo>
                      <a:pt x="5964" y="3495"/>
                    </a:lnTo>
                    <a:lnTo>
                      <a:pt x="5734" y="3453"/>
                    </a:lnTo>
                    <a:lnTo>
                      <a:pt x="5608" y="3432"/>
                    </a:lnTo>
                    <a:lnTo>
                      <a:pt x="5545" y="3516"/>
                    </a:lnTo>
                    <a:lnTo>
                      <a:pt x="5399" y="3600"/>
                    </a:lnTo>
                    <a:lnTo>
                      <a:pt x="5294" y="3725"/>
                    </a:lnTo>
                    <a:lnTo>
                      <a:pt x="5106" y="3830"/>
                    </a:lnTo>
                    <a:lnTo>
                      <a:pt x="5022" y="3976"/>
                    </a:lnTo>
                    <a:lnTo>
                      <a:pt x="4939" y="4060"/>
                    </a:lnTo>
                    <a:lnTo>
                      <a:pt x="4918" y="4123"/>
                    </a:lnTo>
                    <a:lnTo>
                      <a:pt x="5064" y="4227"/>
                    </a:lnTo>
                    <a:lnTo>
                      <a:pt x="5190" y="4227"/>
                    </a:lnTo>
                    <a:lnTo>
                      <a:pt x="5190" y="4290"/>
                    </a:lnTo>
                    <a:lnTo>
                      <a:pt x="5294" y="4395"/>
                    </a:lnTo>
                    <a:lnTo>
                      <a:pt x="5503" y="4395"/>
                    </a:lnTo>
                    <a:lnTo>
                      <a:pt x="5755" y="4478"/>
                    </a:lnTo>
                    <a:lnTo>
                      <a:pt x="5943" y="4478"/>
                    </a:lnTo>
                    <a:lnTo>
                      <a:pt x="6110" y="4332"/>
                    </a:lnTo>
                    <a:lnTo>
                      <a:pt x="6131" y="4144"/>
                    </a:lnTo>
                    <a:lnTo>
                      <a:pt x="6278" y="4081"/>
                    </a:lnTo>
                    <a:lnTo>
                      <a:pt x="6382" y="4123"/>
                    </a:lnTo>
                    <a:lnTo>
                      <a:pt x="6257" y="4165"/>
                    </a:lnTo>
                    <a:lnTo>
                      <a:pt x="6257" y="4269"/>
                    </a:lnTo>
                    <a:lnTo>
                      <a:pt x="6361" y="4290"/>
                    </a:lnTo>
                    <a:lnTo>
                      <a:pt x="6508" y="4248"/>
                    </a:lnTo>
                    <a:lnTo>
                      <a:pt x="6654" y="4269"/>
                    </a:lnTo>
                    <a:lnTo>
                      <a:pt x="6780" y="4186"/>
                    </a:lnTo>
                    <a:lnTo>
                      <a:pt x="6884" y="4227"/>
                    </a:lnTo>
                    <a:lnTo>
                      <a:pt x="6780" y="4332"/>
                    </a:lnTo>
                    <a:lnTo>
                      <a:pt x="6571" y="4353"/>
                    </a:lnTo>
                    <a:lnTo>
                      <a:pt x="6466" y="4374"/>
                    </a:lnTo>
                    <a:lnTo>
                      <a:pt x="6320" y="4374"/>
                    </a:lnTo>
                    <a:lnTo>
                      <a:pt x="6152" y="4541"/>
                    </a:lnTo>
                    <a:lnTo>
                      <a:pt x="6173" y="4604"/>
                    </a:lnTo>
                    <a:lnTo>
                      <a:pt x="6257" y="4646"/>
                    </a:lnTo>
                    <a:lnTo>
                      <a:pt x="6445" y="4604"/>
                    </a:lnTo>
                    <a:lnTo>
                      <a:pt x="6571" y="4771"/>
                    </a:lnTo>
                    <a:lnTo>
                      <a:pt x="7010" y="4771"/>
                    </a:lnTo>
                    <a:lnTo>
                      <a:pt x="7156" y="4750"/>
                    </a:lnTo>
                    <a:lnTo>
                      <a:pt x="7554" y="4583"/>
                    </a:lnTo>
                    <a:lnTo>
                      <a:pt x="7680" y="4562"/>
                    </a:lnTo>
                    <a:lnTo>
                      <a:pt x="7889" y="4395"/>
                    </a:lnTo>
                    <a:lnTo>
                      <a:pt x="7847" y="4353"/>
                    </a:lnTo>
                    <a:lnTo>
                      <a:pt x="7805" y="4353"/>
                    </a:lnTo>
                    <a:lnTo>
                      <a:pt x="7952" y="4165"/>
                    </a:lnTo>
                    <a:lnTo>
                      <a:pt x="8056" y="4165"/>
                    </a:lnTo>
                    <a:lnTo>
                      <a:pt x="8140" y="4039"/>
                    </a:lnTo>
                    <a:lnTo>
                      <a:pt x="8161" y="4060"/>
                    </a:lnTo>
                    <a:lnTo>
                      <a:pt x="8224" y="4165"/>
                    </a:lnTo>
                    <a:lnTo>
                      <a:pt x="8265" y="4165"/>
                    </a:lnTo>
                    <a:lnTo>
                      <a:pt x="8265" y="4060"/>
                    </a:lnTo>
                    <a:lnTo>
                      <a:pt x="8579" y="3830"/>
                    </a:lnTo>
                    <a:lnTo>
                      <a:pt x="8788" y="3809"/>
                    </a:lnTo>
                    <a:lnTo>
                      <a:pt x="9123" y="3662"/>
                    </a:lnTo>
                    <a:lnTo>
                      <a:pt x="9123" y="3746"/>
                    </a:lnTo>
                    <a:lnTo>
                      <a:pt x="8851" y="3872"/>
                    </a:lnTo>
                    <a:lnTo>
                      <a:pt x="8684" y="3872"/>
                    </a:lnTo>
                    <a:lnTo>
                      <a:pt x="8370" y="4060"/>
                    </a:lnTo>
                    <a:lnTo>
                      <a:pt x="8328" y="4227"/>
                    </a:lnTo>
                    <a:lnTo>
                      <a:pt x="8203" y="4332"/>
                    </a:lnTo>
                    <a:lnTo>
                      <a:pt x="8056" y="4332"/>
                    </a:lnTo>
                    <a:lnTo>
                      <a:pt x="8014" y="4478"/>
                    </a:lnTo>
                    <a:lnTo>
                      <a:pt x="7952" y="4541"/>
                    </a:lnTo>
                    <a:lnTo>
                      <a:pt x="7952" y="4583"/>
                    </a:lnTo>
                    <a:lnTo>
                      <a:pt x="8244" y="4562"/>
                    </a:lnTo>
                    <a:lnTo>
                      <a:pt x="8328" y="4604"/>
                    </a:lnTo>
                    <a:lnTo>
                      <a:pt x="8454" y="4604"/>
                    </a:lnTo>
                    <a:lnTo>
                      <a:pt x="8579" y="4688"/>
                    </a:lnTo>
                    <a:lnTo>
                      <a:pt x="8558" y="4750"/>
                    </a:lnTo>
                    <a:lnTo>
                      <a:pt x="8663" y="4792"/>
                    </a:lnTo>
                    <a:lnTo>
                      <a:pt x="8747" y="4792"/>
                    </a:lnTo>
                    <a:lnTo>
                      <a:pt x="8788" y="4855"/>
                    </a:lnTo>
                    <a:lnTo>
                      <a:pt x="8663" y="4876"/>
                    </a:lnTo>
                    <a:lnTo>
                      <a:pt x="8558" y="4918"/>
                    </a:lnTo>
                    <a:lnTo>
                      <a:pt x="8433" y="4813"/>
                    </a:lnTo>
                    <a:lnTo>
                      <a:pt x="8224" y="4750"/>
                    </a:lnTo>
                    <a:lnTo>
                      <a:pt x="7952" y="4771"/>
                    </a:lnTo>
                    <a:lnTo>
                      <a:pt x="7554" y="4813"/>
                    </a:lnTo>
                    <a:lnTo>
                      <a:pt x="7408" y="4876"/>
                    </a:lnTo>
                    <a:lnTo>
                      <a:pt x="7303" y="4876"/>
                    </a:lnTo>
                    <a:lnTo>
                      <a:pt x="7303" y="4918"/>
                    </a:lnTo>
                    <a:lnTo>
                      <a:pt x="7324" y="4981"/>
                    </a:lnTo>
                    <a:lnTo>
                      <a:pt x="7512" y="5022"/>
                    </a:lnTo>
                    <a:lnTo>
                      <a:pt x="7680" y="5022"/>
                    </a:lnTo>
                    <a:lnTo>
                      <a:pt x="7784" y="5085"/>
                    </a:lnTo>
                    <a:lnTo>
                      <a:pt x="7784" y="5169"/>
                    </a:lnTo>
                    <a:lnTo>
                      <a:pt x="7638" y="5190"/>
                    </a:lnTo>
                    <a:lnTo>
                      <a:pt x="7533" y="5106"/>
                    </a:lnTo>
                    <a:lnTo>
                      <a:pt x="7324" y="5085"/>
                    </a:lnTo>
                    <a:lnTo>
                      <a:pt x="7219" y="5002"/>
                    </a:lnTo>
                    <a:lnTo>
                      <a:pt x="7115" y="4981"/>
                    </a:lnTo>
                    <a:lnTo>
                      <a:pt x="6947" y="5064"/>
                    </a:lnTo>
                    <a:lnTo>
                      <a:pt x="6696" y="5085"/>
                    </a:lnTo>
                    <a:lnTo>
                      <a:pt x="6508" y="5002"/>
                    </a:lnTo>
                    <a:lnTo>
                      <a:pt x="6361" y="5002"/>
                    </a:lnTo>
                    <a:lnTo>
                      <a:pt x="6215" y="4960"/>
                    </a:lnTo>
                    <a:lnTo>
                      <a:pt x="6131" y="4897"/>
                    </a:lnTo>
                    <a:lnTo>
                      <a:pt x="5922" y="4918"/>
                    </a:lnTo>
                    <a:lnTo>
                      <a:pt x="5859" y="5064"/>
                    </a:lnTo>
                    <a:lnTo>
                      <a:pt x="5922" y="5169"/>
                    </a:lnTo>
                    <a:lnTo>
                      <a:pt x="5922" y="5587"/>
                    </a:lnTo>
                    <a:lnTo>
                      <a:pt x="5943" y="5629"/>
                    </a:lnTo>
                    <a:lnTo>
                      <a:pt x="5838" y="5755"/>
                    </a:lnTo>
                    <a:lnTo>
                      <a:pt x="5838" y="5839"/>
                    </a:lnTo>
                    <a:lnTo>
                      <a:pt x="5922" y="5901"/>
                    </a:lnTo>
                    <a:lnTo>
                      <a:pt x="5985" y="6006"/>
                    </a:lnTo>
                    <a:lnTo>
                      <a:pt x="6131" y="6006"/>
                    </a:lnTo>
                    <a:lnTo>
                      <a:pt x="6236" y="6069"/>
                    </a:lnTo>
                    <a:lnTo>
                      <a:pt x="6110" y="6048"/>
                    </a:lnTo>
                    <a:lnTo>
                      <a:pt x="6027" y="6111"/>
                    </a:lnTo>
                    <a:lnTo>
                      <a:pt x="5985" y="6173"/>
                    </a:lnTo>
                    <a:lnTo>
                      <a:pt x="5964" y="6069"/>
                    </a:lnTo>
                    <a:lnTo>
                      <a:pt x="5859" y="5964"/>
                    </a:lnTo>
                    <a:lnTo>
                      <a:pt x="5817" y="5964"/>
                    </a:lnTo>
                    <a:lnTo>
                      <a:pt x="5796" y="6027"/>
                    </a:lnTo>
                    <a:lnTo>
                      <a:pt x="5713" y="5922"/>
                    </a:lnTo>
                    <a:lnTo>
                      <a:pt x="5692" y="5734"/>
                    </a:lnTo>
                    <a:lnTo>
                      <a:pt x="5692" y="5525"/>
                    </a:lnTo>
                    <a:lnTo>
                      <a:pt x="5629" y="5232"/>
                    </a:lnTo>
                    <a:lnTo>
                      <a:pt x="5503" y="5085"/>
                    </a:lnTo>
                    <a:lnTo>
                      <a:pt x="5503" y="4981"/>
                    </a:lnTo>
                    <a:lnTo>
                      <a:pt x="5231" y="4792"/>
                    </a:lnTo>
                    <a:lnTo>
                      <a:pt x="5169" y="4792"/>
                    </a:lnTo>
                    <a:lnTo>
                      <a:pt x="5001" y="4688"/>
                    </a:lnTo>
                    <a:lnTo>
                      <a:pt x="4980" y="4583"/>
                    </a:lnTo>
                    <a:lnTo>
                      <a:pt x="4876" y="4541"/>
                    </a:lnTo>
                    <a:lnTo>
                      <a:pt x="4708" y="4583"/>
                    </a:lnTo>
                    <a:lnTo>
                      <a:pt x="4353" y="4981"/>
                    </a:lnTo>
                    <a:lnTo>
                      <a:pt x="4290" y="5106"/>
                    </a:lnTo>
                    <a:lnTo>
                      <a:pt x="4290" y="5211"/>
                    </a:lnTo>
                    <a:lnTo>
                      <a:pt x="4374" y="5274"/>
                    </a:lnTo>
                    <a:lnTo>
                      <a:pt x="4499" y="5315"/>
                    </a:lnTo>
                    <a:lnTo>
                      <a:pt x="4562" y="5441"/>
                    </a:lnTo>
                    <a:lnTo>
                      <a:pt x="4562" y="5525"/>
                    </a:lnTo>
                    <a:lnTo>
                      <a:pt x="4541" y="5546"/>
                    </a:lnTo>
                    <a:lnTo>
                      <a:pt x="4457" y="5420"/>
                    </a:lnTo>
                    <a:lnTo>
                      <a:pt x="4374" y="5399"/>
                    </a:lnTo>
                    <a:lnTo>
                      <a:pt x="4290" y="5336"/>
                    </a:lnTo>
                    <a:lnTo>
                      <a:pt x="4248" y="5378"/>
                    </a:lnTo>
                    <a:lnTo>
                      <a:pt x="4164" y="5399"/>
                    </a:lnTo>
                    <a:lnTo>
                      <a:pt x="4143" y="5483"/>
                    </a:lnTo>
                    <a:lnTo>
                      <a:pt x="4185" y="5608"/>
                    </a:lnTo>
                    <a:lnTo>
                      <a:pt x="4269" y="5650"/>
                    </a:lnTo>
                    <a:lnTo>
                      <a:pt x="4332" y="5818"/>
                    </a:lnTo>
                    <a:lnTo>
                      <a:pt x="4353" y="6131"/>
                    </a:lnTo>
                    <a:lnTo>
                      <a:pt x="4269" y="6278"/>
                    </a:lnTo>
                    <a:lnTo>
                      <a:pt x="4269" y="6445"/>
                    </a:lnTo>
                    <a:lnTo>
                      <a:pt x="4185" y="6634"/>
                    </a:lnTo>
                    <a:lnTo>
                      <a:pt x="4185" y="6759"/>
                    </a:lnTo>
                    <a:lnTo>
                      <a:pt x="4227" y="6780"/>
                    </a:lnTo>
                    <a:lnTo>
                      <a:pt x="4290" y="6759"/>
                    </a:lnTo>
                    <a:lnTo>
                      <a:pt x="4290" y="6759"/>
                    </a:lnTo>
                    <a:lnTo>
                      <a:pt x="4269" y="6906"/>
                    </a:lnTo>
                    <a:lnTo>
                      <a:pt x="4185" y="7052"/>
                    </a:lnTo>
                    <a:lnTo>
                      <a:pt x="4143" y="6968"/>
                    </a:lnTo>
                    <a:lnTo>
                      <a:pt x="4123" y="6864"/>
                    </a:lnTo>
                    <a:lnTo>
                      <a:pt x="4018" y="6780"/>
                    </a:lnTo>
                    <a:lnTo>
                      <a:pt x="3934" y="6864"/>
                    </a:lnTo>
                    <a:lnTo>
                      <a:pt x="3934" y="7052"/>
                    </a:lnTo>
                    <a:lnTo>
                      <a:pt x="4081" y="7303"/>
                    </a:lnTo>
                    <a:lnTo>
                      <a:pt x="4248" y="7282"/>
                    </a:lnTo>
                    <a:lnTo>
                      <a:pt x="4353" y="7324"/>
                    </a:lnTo>
                    <a:lnTo>
                      <a:pt x="4395" y="7408"/>
                    </a:lnTo>
                    <a:lnTo>
                      <a:pt x="4583" y="7408"/>
                    </a:lnTo>
                    <a:lnTo>
                      <a:pt x="4792" y="7491"/>
                    </a:lnTo>
                    <a:lnTo>
                      <a:pt x="4876" y="7408"/>
                    </a:lnTo>
                    <a:lnTo>
                      <a:pt x="5001" y="7324"/>
                    </a:lnTo>
                    <a:lnTo>
                      <a:pt x="5001" y="7261"/>
                    </a:lnTo>
                    <a:lnTo>
                      <a:pt x="5085" y="7219"/>
                    </a:lnTo>
                    <a:lnTo>
                      <a:pt x="5085" y="7303"/>
                    </a:lnTo>
                    <a:lnTo>
                      <a:pt x="5022" y="7408"/>
                    </a:lnTo>
                    <a:lnTo>
                      <a:pt x="5022" y="7533"/>
                    </a:lnTo>
                    <a:lnTo>
                      <a:pt x="4980" y="7596"/>
                    </a:lnTo>
                    <a:lnTo>
                      <a:pt x="4876" y="7533"/>
                    </a:lnTo>
                    <a:lnTo>
                      <a:pt x="4646" y="7533"/>
                    </a:lnTo>
                    <a:lnTo>
                      <a:pt x="4541" y="7575"/>
                    </a:lnTo>
                    <a:lnTo>
                      <a:pt x="4541" y="7680"/>
                    </a:lnTo>
                    <a:lnTo>
                      <a:pt x="4583" y="7701"/>
                    </a:lnTo>
                    <a:lnTo>
                      <a:pt x="4708" y="7701"/>
                    </a:lnTo>
                    <a:lnTo>
                      <a:pt x="4750" y="7784"/>
                    </a:lnTo>
                    <a:lnTo>
                      <a:pt x="4646" y="7784"/>
                    </a:lnTo>
                    <a:lnTo>
                      <a:pt x="4646" y="7952"/>
                    </a:lnTo>
                    <a:lnTo>
                      <a:pt x="4478" y="7722"/>
                    </a:lnTo>
                    <a:lnTo>
                      <a:pt x="4395" y="7722"/>
                    </a:lnTo>
                    <a:lnTo>
                      <a:pt x="4353" y="7617"/>
                    </a:lnTo>
                    <a:lnTo>
                      <a:pt x="4290" y="7533"/>
                    </a:lnTo>
                    <a:lnTo>
                      <a:pt x="4039" y="7366"/>
                    </a:lnTo>
                    <a:lnTo>
                      <a:pt x="3976" y="7366"/>
                    </a:lnTo>
                    <a:lnTo>
                      <a:pt x="3830" y="7199"/>
                    </a:lnTo>
                    <a:lnTo>
                      <a:pt x="3830" y="7178"/>
                    </a:lnTo>
                    <a:lnTo>
                      <a:pt x="3725" y="7178"/>
                    </a:lnTo>
                    <a:lnTo>
                      <a:pt x="3620" y="7261"/>
                    </a:lnTo>
                    <a:lnTo>
                      <a:pt x="3516" y="7261"/>
                    </a:lnTo>
                    <a:lnTo>
                      <a:pt x="3432" y="7303"/>
                    </a:lnTo>
                    <a:lnTo>
                      <a:pt x="3286" y="7261"/>
                    </a:lnTo>
                    <a:lnTo>
                      <a:pt x="3034" y="7303"/>
                    </a:lnTo>
                    <a:lnTo>
                      <a:pt x="2972" y="7282"/>
                    </a:lnTo>
                    <a:lnTo>
                      <a:pt x="2783" y="7471"/>
                    </a:lnTo>
                    <a:lnTo>
                      <a:pt x="2700" y="7617"/>
                    </a:lnTo>
                    <a:lnTo>
                      <a:pt x="2700" y="7743"/>
                    </a:lnTo>
                    <a:lnTo>
                      <a:pt x="2595" y="7784"/>
                    </a:lnTo>
                    <a:lnTo>
                      <a:pt x="2490" y="7847"/>
                    </a:lnTo>
                    <a:lnTo>
                      <a:pt x="2365" y="7910"/>
                    </a:lnTo>
                    <a:lnTo>
                      <a:pt x="2344" y="7994"/>
                    </a:lnTo>
                    <a:lnTo>
                      <a:pt x="2198" y="8098"/>
                    </a:lnTo>
                    <a:lnTo>
                      <a:pt x="2177" y="8224"/>
                    </a:lnTo>
                    <a:lnTo>
                      <a:pt x="2260" y="8224"/>
                    </a:lnTo>
                    <a:lnTo>
                      <a:pt x="2281" y="8307"/>
                    </a:lnTo>
                    <a:lnTo>
                      <a:pt x="2177" y="8307"/>
                    </a:lnTo>
                    <a:lnTo>
                      <a:pt x="2093" y="8349"/>
                    </a:lnTo>
                    <a:lnTo>
                      <a:pt x="2260" y="8475"/>
                    </a:lnTo>
                    <a:lnTo>
                      <a:pt x="2407" y="8517"/>
                    </a:lnTo>
                    <a:lnTo>
                      <a:pt x="2511" y="8433"/>
                    </a:lnTo>
                    <a:lnTo>
                      <a:pt x="2490" y="8349"/>
                    </a:lnTo>
                    <a:lnTo>
                      <a:pt x="2658" y="8370"/>
                    </a:lnTo>
                    <a:lnTo>
                      <a:pt x="2825" y="8245"/>
                    </a:lnTo>
                    <a:lnTo>
                      <a:pt x="2825" y="8349"/>
                    </a:lnTo>
                    <a:lnTo>
                      <a:pt x="2700" y="8412"/>
                    </a:lnTo>
                    <a:lnTo>
                      <a:pt x="2616" y="8538"/>
                    </a:lnTo>
                    <a:lnTo>
                      <a:pt x="2616" y="8621"/>
                    </a:lnTo>
                    <a:lnTo>
                      <a:pt x="2783" y="8621"/>
                    </a:lnTo>
                    <a:lnTo>
                      <a:pt x="2888" y="8642"/>
                    </a:lnTo>
                    <a:lnTo>
                      <a:pt x="3014" y="8475"/>
                    </a:lnTo>
                    <a:lnTo>
                      <a:pt x="3202" y="8349"/>
                    </a:lnTo>
                    <a:lnTo>
                      <a:pt x="3307" y="8119"/>
                    </a:lnTo>
                    <a:lnTo>
                      <a:pt x="3453" y="7931"/>
                    </a:lnTo>
                    <a:lnTo>
                      <a:pt x="3558" y="7910"/>
                    </a:lnTo>
                    <a:lnTo>
                      <a:pt x="3558" y="7910"/>
                    </a:lnTo>
                    <a:lnTo>
                      <a:pt x="3537" y="7994"/>
                    </a:lnTo>
                    <a:lnTo>
                      <a:pt x="3453" y="8035"/>
                    </a:lnTo>
                    <a:lnTo>
                      <a:pt x="3307" y="8245"/>
                    </a:lnTo>
                    <a:lnTo>
                      <a:pt x="3348" y="8349"/>
                    </a:lnTo>
                    <a:lnTo>
                      <a:pt x="3244" y="8349"/>
                    </a:lnTo>
                    <a:lnTo>
                      <a:pt x="3181" y="8454"/>
                    </a:lnTo>
                    <a:lnTo>
                      <a:pt x="3202" y="8538"/>
                    </a:lnTo>
                    <a:lnTo>
                      <a:pt x="3286" y="8538"/>
                    </a:lnTo>
                    <a:lnTo>
                      <a:pt x="3223" y="8580"/>
                    </a:lnTo>
                    <a:lnTo>
                      <a:pt x="3139" y="8580"/>
                    </a:lnTo>
                    <a:lnTo>
                      <a:pt x="3034" y="8684"/>
                    </a:lnTo>
                    <a:lnTo>
                      <a:pt x="3076" y="8747"/>
                    </a:lnTo>
                    <a:lnTo>
                      <a:pt x="3202" y="8747"/>
                    </a:lnTo>
                    <a:lnTo>
                      <a:pt x="3118" y="8789"/>
                    </a:lnTo>
                    <a:lnTo>
                      <a:pt x="2993" y="8747"/>
                    </a:lnTo>
                    <a:lnTo>
                      <a:pt x="2888" y="8747"/>
                    </a:lnTo>
                    <a:lnTo>
                      <a:pt x="2804" y="8789"/>
                    </a:lnTo>
                    <a:lnTo>
                      <a:pt x="2721" y="8831"/>
                    </a:lnTo>
                    <a:lnTo>
                      <a:pt x="2679" y="8872"/>
                    </a:lnTo>
                    <a:lnTo>
                      <a:pt x="2721" y="8977"/>
                    </a:lnTo>
                    <a:lnTo>
                      <a:pt x="2804" y="8977"/>
                    </a:lnTo>
                    <a:lnTo>
                      <a:pt x="2867" y="8935"/>
                    </a:lnTo>
                    <a:lnTo>
                      <a:pt x="2909" y="8956"/>
                    </a:lnTo>
                    <a:lnTo>
                      <a:pt x="3014" y="8956"/>
                    </a:lnTo>
                    <a:lnTo>
                      <a:pt x="3014" y="9040"/>
                    </a:lnTo>
                    <a:lnTo>
                      <a:pt x="2930" y="9040"/>
                    </a:lnTo>
                    <a:lnTo>
                      <a:pt x="2825" y="8998"/>
                    </a:lnTo>
                    <a:lnTo>
                      <a:pt x="2783" y="9040"/>
                    </a:lnTo>
                    <a:lnTo>
                      <a:pt x="2783" y="9082"/>
                    </a:lnTo>
                    <a:lnTo>
                      <a:pt x="2888" y="9103"/>
                    </a:lnTo>
                    <a:lnTo>
                      <a:pt x="2867" y="9144"/>
                    </a:lnTo>
                    <a:lnTo>
                      <a:pt x="2783" y="9186"/>
                    </a:lnTo>
                    <a:lnTo>
                      <a:pt x="2700" y="9186"/>
                    </a:lnTo>
                    <a:lnTo>
                      <a:pt x="2700" y="9249"/>
                    </a:lnTo>
                    <a:lnTo>
                      <a:pt x="2783" y="9396"/>
                    </a:lnTo>
                    <a:lnTo>
                      <a:pt x="2867" y="9396"/>
                    </a:lnTo>
                    <a:lnTo>
                      <a:pt x="2909" y="9312"/>
                    </a:lnTo>
                    <a:lnTo>
                      <a:pt x="3034" y="9207"/>
                    </a:lnTo>
                    <a:lnTo>
                      <a:pt x="3014" y="9312"/>
                    </a:lnTo>
                    <a:lnTo>
                      <a:pt x="2909" y="9396"/>
                    </a:lnTo>
                    <a:lnTo>
                      <a:pt x="2825" y="9479"/>
                    </a:lnTo>
                    <a:lnTo>
                      <a:pt x="2804" y="9563"/>
                    </a:lnTo>
                    <a:lnTo>
                      <a:pt x="2972" y="9626"/>
                    </a:lnTo>
                    <a:lnTo>
                      <a:pt x="3097" y="9626"/>
                    </a:lnTo>
                    <a:lnTo>
                      <a:pt x="3118" y="9605"/>
                    </a:lnTo>
                    <a:lnTo>
                      <a:pt x="3181" y="9605"/>
                    </a:lnTo>
                    <a:lnTo>
                      <a:pt x="3244" y="9668"/>
                    </a:lnTo>
                    <a:lnTo>
                      <a:pt x="3432" y="9584"/>
                    </a:lnTo>
                    <a:lnTo>
                      <a:pt x="3620" y="9416"/>
                    </a:lnTo>
                    <a:lnTo>
                      <a:pt x="3620" y="9396"/>
                    </a:lnTo>
                    <a:lnTo>
                      <a:pt x="3725" y="9312"/>
                    </a:lnTo>
                    <a:lnTo>
                      <a:pt x="3934" y="9103"/>
                    </a:lnTo>
                    <a:lnTo>
                      <a:pt x="3934" y="9040"/>
                    </a:lnTo>
                    <a:lnTo>
                      <a:pt x="4018" y="8956"/>
                    </a:lnTo>
                    <a:lnTo>
                      <a:pt x="4081" y="8956"/>
                    </a:lnTo>
                    <a:lnTo>
                      <a:pt x="4018" y="9040"/>
                    </a:lnTo>
                    <a:lnTo>
                      <a:pt x="3976" y="9144"/>
                    </a:lnTo>
                    <a:lnTo>
                      <a:pt x="3809" y="9354"/>
                    </a:lnTo>
                    <a:lnTo>
                      <a:pt x="3599" y="9479"/>
                    </a:lnTo>
                    <a:lnTo>
                      <a:pt x="3453" y="9626"/>
                    </a:lnTo>
                    <a:lnTo>
                      <a:pt x="3307" y="9709"/>
                    </a:lnTo>
                    <a:lnTo>
                      <a:pt x="3223" y="9793"/>
                    </a:lnTo>
                    <a:lnTo>
                      <a:pt x="3286" y="9877"/>
                    </a:lnTo>
                    <a:lnTo>
                      <a:pt x="3223" y="9898"/>
                    </a:lnTo>
                    <a:lnTo>
                      <a:pt x="3076" y="9772"/>
                    </a:lnTo>
                    <a:lnTo>
                      <a:pt x="2825" y="9772"/>
                    </a:lnTo>
                    <a:lnTo>
                      <a:pt x="2825" y="9835"/>
                    </a:lnTo>
                    <a:lnTo>
                      <a:pt x="2783" y="9814"/>
                    </a:lnTo>
                    <a:lnTo>
                      <a:pt x="2700" y="9688"/>
                    </a:lnTo>
                    <a:lnTo>
                      <a:pt x="2490" y="9584"/>
                    </a:lnTo>
                    <a:lnTo>
                      <a:pt x="2407" y="9605"/>
                    </a:lnTo>
                    <a:lnTo>
                      <a:pt x="2365" y="9563"/>
                    </a:lnTo>
                    <a:lnTo>
                      <a:pt x="2407" y="9416"/>
                    </a:lnTo>
                    <a:lnTo>
                      <a:pt x="2407" y="9082"/>
                    </a:lnTo>
                    <a:lnTo>
                      <a:pt x="2365" y="8872"/>
                    </a:lnTo>
                    <a:lnTo>
                      <a:pt x="2239" y="8726"/>
                    </a:lnTo>
                    <a:lnTo>
                      <a:pt x="2156" y="8726"/>
                    </a:lnTo>
                    <a:lnTo>
                      <a:pt x="2030" y="8663"/>
                    </a:lnTo>
                    <a:lnTo>
                      <a:pt x="1946" y="8684"/>
                    </a:lnTo>
                    <a:lnTo>
                      <a:pt x="1821" y="8684"/>
                    </a:lnTo>
                    <a:lnTo>
                      <a:pt x="1737" y="8726"/>
                    </a:lnTo>
                    <a:lnTo>
                      <a:pt x="1633" y="8747"/>
                    </a:lnTo>
                    <a:lnTo>
                      <a:pt x="1633" y="8831"/>
                    </a:lnTo>
                    <a:lnTo>
                      <a:pt x="1654" y="8935"/>
                    </a:lnTo>
                    <a:lnTo>
                      <a:pt x="1633" y="8977"/>
                    </a:lnTo>
                    <a:lnTo>
                      <a:pt x="1612" y="9165"/>
                    </a:lnTo>
                    <a:lnTo>
                      <a:pt x="1654" y="9249"/>
                    </a:lnTo>
                    <a:lnTo>
                      <a:pt x="1716" y="9249"/>
                    </a:lnTo>
                    <a:lnTo>
                      <a:pt x="1716" y="9312"/>
                    </a:lnTo>
                    <a:lnTo>
                      <a:pt x="1612" y="9396"/>
                    </a:lnTo>
                    <a:lnTo>
                      <a:pt x="1570" y="9458"/>
                    </a:lnTo>
                    <a:lnTo>
                      <a:pt x="1654" y="9563"/>
                    </a:lnTo>
                    <a:lnTo>
                      <a:pt x="1737" y="9563"/>
                    </a:lnTo>
                    <a:lnTo>
                      <a:pt x="1758" y="9500"/>
                    </a:lnTo>
                    <a:lnTo>
                      <a:pt x="1884" y="9563"/>
                    </a:lnTo>
                    <a:lnTo>
                      <a:pt x="1863" y="9584"/>
                    </a:lnTo>
                    <a:lnTo>
                      <a:pt x="1737" y="9584"/>
                    </a:lnTo>
                    <a:lnTo>
                      <a:pt x="1737" y="9605"/>
                    </a:lnTo>
                    <a:lnTo>
                      <a:pt x="1821" y="9668"/>
                    </a:lnTo>
                    <a:lnTo>
                      <a:pt x="1821" y="9709"/>
                    </a:lnTo>
                    <a:lnTo>
                      <a:pt x="1737" y="9772"/>
                    </a:lnTo>
                    <a:lnTo>
                      <a:pt x="1716" y="9793"/>
                    </a:lnTo>
                    <a:lnTo>
                      <a:pt x="1779" y="9814"/>
                    </a:lnTo>
                    <a:lnTo>
                      <a:pt x="1842" y="9877"/>
                    </a:lnTo>
                    <a:lnTo>
                      <a:pt x="1946" y="9877"/>
                    </a:lnTo>
                    <a:lnTo>
                      <a:pt x="1967" y="9898"/>
                    </a:lnTo>
                    <a:lnTo>
                      <a:pt x="1926" y="9940"/>
                    </a:lnTo>
                    <a:lnTo>
                      <a:pt x="1821" y="9940"/>
                    </a:lnTo>
                    <a:lnTo>
                      <a:pt x="1779" y="9981"/>
                    </a:lnTo>
                    <a:lnTo>
                      <a:pt x="1654" y="9877"/>
                    </a:lnTo>
                    <a:lnTo>
                      <a:pt x="1612" y="9898"/>
                    </a:lnTo>
                    <a:lnTo>
                      <a:pt x="1570" y="9940"/>
                    </a:lnTo>
                    <a:lnTo>
                      <a:pt x="1507" y="9940"/>
                    </a:lnTo>
                    <a:lnTo>
                      <a:pt x="1444" y="9835"/>
                    </a:lnTo>
                    <a:lnTo>
                      <a:pt x="1361" y="9814"/>
                    </a:lnTo>
                    <a:lnTo>
                      <a:pt x="1298" y="9877"/>
                    </a:lnTo>
                    <a:lnTo>
                      <a:pt x="1110" y="9877"/>
                    </a:lnTo>
                    <a:lnTo>
                      <a:pt x="984" y="9793"/>
                    </a:lnTo>
                    <a:lnTo>
                      <a:pt x="879" y="9793"/>
                    </a:lnTo>
                    <a:lnTo>
                      <a:pt x="817" y="9835"/>
                    </a:lnTo>
                    <a:lnTo>
                      <a:pt x="817" y="9919"/>
                    </a:lnTo>
                    <a:lnTo>
                      <a:pt x="733" y="9940"/>
                    </a:lnTo>
                    <a:lnTo>
                      <a:pt x="628" y="9981"/>
                    </a:lnTo>
                    <a:lnTo>
                      <a:pt x="586" y="10044"/>
                    </a:lnTo>
                    <a:lnTo>
                      <a:pt x="419" y="10086"/>
                    </a:lnTo>
                    <a:lnTo>
                      <a:pt x="377" y="10107"/>
                    </a:lnTo>
                    <a:lnTo>
                      <a:pt x="273" y="10128"/>
                    </a:lnTo>
                    <a:lnTo>
                      <a:pt x="189" y="10212"/>
                    </a:lnTo>
                    <a:lnTo>
                      <a:pt x="168" y="10316"/>
                    </a:lnTo>
                    <a:lnTo>
                      <a:pt x="168" y="10358"/>
                    </a:lnTo>
                    <a:lnTo>
                      <a:pt x="147" y="10442"/>
                    </a:lnTo>
                    <a:lnTo>
                      <a:pt x="1" y="10525"/>
                    </a:lnTo>
                    <a:lnTo>
                      <a:pt x="1" y="10609"/>
                    </a:lnTo>
                    <a:lnTo>
                      <a:pt x="42" y="10651"/>
                    </a:lnTo>
                    <a:lnTo>
                      <a:pt x="42" y="10818"/>
                    </a:lnTo>
                    <a:lnTo>
                      <a:pt x="63" y="10860"/>
                    </a:lnTo>
                    <a:lnTo>
                      <a:pt x="189" y="10860"/>
                    </a:lnTo>
                    <a:lnTo>
                      <a:pt x="252" y="10735"/>
                    </a:lnTo>
                    <a:lnTo>
                      <a:pt x="294" y="10735"/>
                    </a:lnTo>
                    <a:lnTo>
                      <a:pt x="273" y="10756"/>
                    </a:lnTo>
                    <a:lnTo>
                      <a:pt x="210" y="10860"/>
                    </a:lnTo>
                    <a:lnTo>
                      <a:pt x="273" y="10881"/>
                    </a:lnTo>
                    <a:lnTo>
                      <a:pt x="356" y="10818"/>
                    </a:lnTo>
                    <a:lnTo>
                      <a:pt x="356" y="10651"/>
                    </a:lnTo>
                    <a:lnTo>
                      <a:pt x="398" y="10421"/>
                    </a:lnTo>
                    <a:lnTo>
                      <a:pt x="482" y="10400"/>
                    </a:lnTo>
                    <a:lnTo>
                      <a:pt x="566" y="10337"/>
                    </a:lnTo>
                    <a:lnTo>
                      <a:pt x="419" y="10567"/>
                    </a:lnTo>
                    <a:lnTo>
                      <a:pt x="419" y="10672"/>
                    </a:lnTo>
                    <a:lnTo>
                      <a:pt x="398" y="10714"/>
                    </a:lnTo>
                    <a:lnTo>
                      <a:pt x="377" y="10839"/>
                    </a:lnTo>
                    <a:lnTo>
                      <a:pt x="314" y="10944"/>
                    </a:lnTo>
                    <a:lnTo>
                      <a:pt x="377" y="10986"/>
                    </a:lnTo>
                    <a:lnTo>
                      <a:pt x="419" y="10986"/>
                    </a:lnTo>
                    <a:lnTo>
                      <a:pt x="503" y="11069"/>
                    </a:lnTo>
                    <a:lnTo>
                      <a:pt x="607" y="11069"/>
                    </a:lnTo>
                    <a:lnTo>
                      <a:pt x="628" y="10965"/>
                    </a:lnTo>
                    <a:lnTo>
                      <a:pt x="607" y="10944"/>
                    </a:lnTo>
                    <a:lnTo>
                      <a:pt x="670" y="10839"/>
                    </a:lnTo>
                    <a:lnTo>
                      <a:pt x="691" y="10735"/>
                    </a:lnTo>
                    <a:lnTo>
                      <a:pt x="733" y="10672"/>
                    </a:lnTo>
                    <a:lnTo>
                      <a:pt x="733" y="10756"/>
                    </a:lnTo>
                    <a:lnTo>
                      <a:pt x="775" y="10818"/>
                    </a:lnTo>
                    <a:lnTo>
                      <a:pt x="712" y="10944"/>
                    </a:lnTo>
                    <a:lnTo>
                      <a:pt x="712" y="11028"/>
                    </a:lnTo>
                    <a:lnTo>
                      <a:pt x="712" y="11090"/>
                    </a:lnTo>
                    <a:lnTo>
                      <a:pt x="796" y="11195"/>
                    </a:lnTo>
                    <a:lnTo>
                      <a:pt x="838" y="11237"/>
                    </a:lnTo>
                    <a:lnTo>
                      <a:pt x="921" y="11153"/>
                    </a:lnTo>
                    <a:lnTo>
                      <a:pt x="900" y="11069"/>
                    </a:lnTo>
                    <a:lnTo>
                      <a:pt x="900" y="11048"/>
                    </a:lnTo>
                    <a:lnTo>
                      <a:pt x="921" y="11028"/>
                    </a:lnTo>
                    <a:lnTo>
                      <a:pt x="1005" y="11028"/>
                    </a:lnTo>
                    <a:lnTo>
                      <a:pt x="1047" y="10965"/>
                    </a:lnTo>
                    <a:lnTo>
                      <a:pt x="1026" y="10860"/>
                    </a:lnTo>
                    <a:lnTo>
                      <a:pt x="984" y="10818"/>
                    </a:lnTo>
                    <a:lnTo>
                      <a:pt x="984" y="10735"/>
                    </a:lnTo>
                    <a:lnTo>
                      <a:pt x="1026" y="10756"/>
                    </a:lnTo>
                    <a:lnTo>
                      <a:pt x="1110" y="10923"/>
                    </a:lnTo>
                    <a:lnTo>
                      <a:pt x="1110" y="10986"/>
                    </a:lnTo>
                    <a:lnTo>
                      <a:pt x="1047" y="11090"/>
                    </a:lnTo>
                    <a:lnTo>
                      <a:pt x="1005" y="11090"/>
                    </a:lnTo>
                    <a:lnTo>
                      <a:pt x="942" y="11195"/>
                    </a:lnTo>
                    <a:lnTo>
                      <a:pt x="984" y="11258"/>
                    </a:lnTo>
                    <a:lnTo>
                      <a:pt x="1026" y="11258"/>
                    </a:lnTo>
                    <a:lnTo>
                      <a:pt x="1089" y="11279"/>
                    </a:lnTo>
                    <a:lnTo>
                      <a:pt x="1110" y="11341"/>
                    </a:lnTo>
                    <a:lnTo>
                      <a:pt x="1151" y="11341"/>
                    </a:lnTo>
                    <a:lnTo>
                      <a:pt x="1340" y="11446"/>
                    </a:lnTo>
                    <a:lnTo>
                      <a:pt x="1402" y="11446"/>
                    </a:lnTo>
                    <a:lnTo>
                      <a:pt x="1402" y="11551"/>
                    </a:lnTo>
                    <a:lnTo>
                      <a:pt x="1612" y="11551"/>
                    </a:lnTo>
                    <a:lnTo>
                      <a:pt x="1674" y="11593"/>
                    </a:lnTo>
                    <a:lnTo>
                      <a:pt x="1737" y="11572"/>
                    </a:lnTo>
                    <a:lnTo>
                      <a:pt x="1779" y="11488"/>
                    </a:lnTo>
                    <a:lnTo>
                      <a:pt x="1716" y="11362"/>
                    </a:lnTo>
                    <a:lnTo>
                      <a:pt x="1654" y="11174"/>
                    </a:lnTo>
                    <a:lnTo>
                      <a:pt x="1716" y="11048"/>
                    </a:lnTo>
                    <a:lnTo>
                      <a:pt x="1758" y="10986"/>
                    </a:lnTo>
                    <a:lnTo>
                      <a:pt x="1779" y="11048"/>
                    </a:lnTo>
                    <a:lnTo>
                      <a:pt x="1821" y="11174"/>
                    </a:lnTo>
                    <a:lnTo>
                      <a:pt x="1821" y="11279"/>
                    </a:lnTo>
                    <a:lnTo>
                      <a:pt x="1842" y="11341"/>
                    </a:lnTo>
                    <a:lnTo>
                      <a:pt x="1926" y="11341"/>
                    </a:lnTo>
                    <a:lnTo>
                      <a:pt x="1946" y="11279"/>
                    </a:lnTo>
                    <a:lnTo>
                      <a:pt x="2030" y="11279"/>
                    </a:lnTo>
                    <a:lnTo>
                      <a:pt x="2051" y="11237"/>
                    </a:lnTo>
                    <a:lnTo>
                      <a:pt x="2072" y="11153"/>
                    </a:lnTo>
                    <a:lnTo>
                      <a:pt x="2135" y="11090"/>
                    </a:lnTo>
                    <a:lnTo>
                      <a:pt x="2156" y="10965"/>
                    </a:lnTo>
                    <a:lnTo>
                      <a:pt x="2177" y="10923"/>
                    </a:lnTo>
                    <a:lnTo>
                      <a:pt x="2198" y="10923"/>
                    </a:lnTo>
                    <a:lnTo>
                      <a:pt x="2260" y="11048"/>
                    </a:lnTo>
                    <a:lnTo>
                      <a:pt x="2239" y="11090"/>
                    </a:lnTo>
                    <a:lnTo>
                      <a:pt x="2177" y="11195"/>
                    </a:lnTo>
                    <a:lnTo>
                      <a:pt x="2156" y="11279"/>
                    </a:lnTo>
                    <a:lnTo>
                      <a:pt x="2198" y="11341"/>
                    </a:lnTo>
                    <a:lnTo>
                      <a:pt x="2198" y="11404"/>
                    </a:lnTo>
                    <a:lnTo>
                      <a:pt x="2302" y="11488"/>
                    </a:lnTo>
                    <a:lnTo>
                      <a:pt x="2386" y="11446"/>
                    </a:lnTo>
                    <a:lnTo>
                      <a:pt x="2490" y="11279"/>
                    </a:lnTo>
                    <a:lnTo>
                      <a:pt x="2449" y="11174"/>
                    </a:lnTo>
                    <a:lnTo>
                      <a:pt x="2470" y="11028"/>
                    </a:lnTo>
                    <a:lnTo>
                      <a:pt x="2574" y="10944"/>
                    </a:lnTo>
                    <a:lnTo>
                      <a:pt x="2679" y="10923"/>
                    </a:lnTo>
                    <a:lnTo>
                      <a:pt x="2574" y="11028"/>
                    </a:lnTo>
                    <a:lnTo>
                      <a:pt x="2553" y="11132"/>
                    </a:lnTo>
                    <a:lnTo>
                      <a:pt x="2595" y="11237"/>
                    </a:lnTo>
                    <a:lnTo>
                      <a:pt x="2511" y="11446"/>
                    </a:lnTo>
                    <a:lnTo>
                      <a:pt x="2511" y="11509"/>
                    </a:lnTo>
                    <a:lnTo>
                      <a:pt x="2595" y="11593"/>
                    </a:lnTo>
                    <a:lnTo>
                      <a:pt x="2700" y="11572"/>
                    </a:lnTo>
                    <a:lnTo>
                      <a:pt x="2783" y="11593"/>
                    </a:lnTo>
                    <a:lnTo>
                      <a:pt x="2867" y="11572"/>
                    </a:lnTo>
                    <a:lnTo>
                      <a:pt x="2867" y="11446"/>
                    </a:lnTo>
                    <a:lnTo>
                      <a:pt x="2930" y="11362"/>
                    </a:lnTo>
                    <a:lnTo>
                      <a:pt x="2909" y="11279"/>
                    </a:lnTo>
                    <a:lnTo>
                      <a:pt x="2825" y="11132"/>
                    </a:lnTo>
                    <a:lnTo>
                      <a:pt x="2909" y="10944"/>
                    </a:lnTo>
                    <a:lnTo>
                      <a:pt x="2909" y="10818"/>
                    </a:lnTo>
                    <a:lnTo>
                      <a:pt x="2972" y="10923"/>
                    </a:lnTo>
                    <a:lnTo>
                      <a:pt x="2930" y="11028"/>
                    </a:lnTo>
                    <a:lnTo>
                      <a:pt x="2909" y="11090"/>
                    </a:lnTo>
                    <a:lnTo>
                      <a:pt x="2993" y="11258"/>
                    </a:lnTo>
                    <a:lnTo>
                      <a:pt x="3076" y="11279"/>
                    </a:lnTo>
                    <a:lnTo>
                      <a:pt x="3118" y="11300"/>
                    </a:lnTo>
                    <a:lnTo>
                      <a:pt x="3034" y="11341"/>
                    </a:lnTo>
                    <a:lnTo>
                      <a:pt x="2993" y="11488"/>
                    </a:lnTo>
                    <a:lnTo>
                      <a:pt x="3014" y="11551"/>
                    </a:lnTo>
                    <a:lnTo>
                      <a:pt x="3181" y="11593"/>
                    </a:lnTo>
                    <a:lnTo>
                      <a:pt x="3244" y="11551"/>
                    </a:lnTo>
                    <a:lnTo>
                      <a:pt x="3348" y="11697"/>
                    </a:lnTo>
                    <a:lnTo>
                      <a:pt x="3348" y="11802"/>
                    </a:lnTo>
                    <a:lnTo>
                      <a:pt x="3286" y="11906"/>
                    </a:lnTo>
                    <a:lnTo>
                      <a:pt x="3181" y="11990"/>
                    </a:lnTo>
                    <a:lnTo>
                      <a:pt x="3223" y="12011"/>
                    </a:lnTo>
                    <a:lnTo>
                      <a:pt x="3286" y="12095"/>
                    </a:lnTo>
                    <a:lnTo>
                      <a:pt x="3369" y="12095"/>
                    </a:lnTo>
                    <a:lnTo>
                      <a:pt x="3495" y="12074"/>
                    </a:lnTo>
                    <a:lnTo>
                      <a:pt x="3537" y="12095"/>
                    </a:lnTo>
                    <a:lnTo>
                      <a:pt x="3725" y="11927"/>
                    </a:lnTo>
                    <a:lnTo>
                      <a:pt x="3830" y="11969"/>
                    </a:lnTo>
                    <a:lnTo>
                      <a:pt x="3871" y="11990"/>
                    </a:lnTo>
                    <a:lnTo>
                      <a:pt x="4039" y="11823"/>
                    </a:lnTo>
                    <a:lnTo>
                      <a:pt x="4123" y="11802"/>
                    </a:lnTo>
                    <a:lnTo>
                      <a:pt x="4227" y="11655"/>
                    </a:lnTo>
                    <a:lnTo>
                      <a:pt x="4290" y="11593"/>
                    </a:lnTo>
                    <a:lnTo>
                      <a:pt x="4332" y="11613"/>
                    </a:lnTo>
                    <a:lnTo>
                      <a:pt x="4290" y="11781"/>
                    </a:lnTo>
                    <a:lnTo>
                      <a:pt x="4269" y="11906"/>
                    </a:lnTo>
                    <a:lnTo>
                      <a:pt x="4290" y="11927"/>
                    </a:lnTo>
                    <a:lnTo>
                      <a:pt x="4395" y="11865"/>
                    </a:lnTo>
                    <a:lnTo>
                      <a:pt x="4478" y="11718"/>
                    </a:lnTo>
                    <a:lnTo>
                      <a:pt x="4583" y="11655"/>
                    </a:lnTo>
                    <a:lnTo>
                      <a:pt x="4687" y="11655"/>
                    </a:lnTo>
                    <a:lnTo>
                      <a:pt x="4813" y="11446"/>
                    </a:lnTo>
                    <a:lnTo>
                      <a:pt x="4876" y="11237"/>
                    </a:lnTo>
                    <a:lnTo>
                      <a:pt x="4855" y="11153"/>
                    </a:lnTo>
                    <a:lnTo>
                      <a:pt x="4876" y="11048"/>
                    </a:lnTo>
                    <a:lnTo>
                      <a:pt x="4792" y="11028"/>
                    </a:lnTo>
                    <a:lnTo>
                      <a:pt x="4750" y="11048"/>
                    </a:lnTo>
                    <a:lnTo>
                      <a:pt x="4667" y="11048"/>
                    </a:lnTo>
                    <a:lnTo>
                      <a:pt x="4541" y="11132"/>
                    </a:lnTo>
                    <a:lnTo>
                      <a:pt x="4478" y="11195"/>
                    </a:lnTo>
                    <a:lnTo>
                      <a:pt x="4374" y="11195"/>
                    </a:lnTo>
                    <a:lnTo>
                      <a:pt x="4457" y="11090"/>
                    </a:lnTo>
                    <a:lnTo>
                      <a:pt x="4478" y="11028"/>
                    </a:lnTo>
                    <a:lnTo>
                      <a:pt x="4374" y="11048"/>
                    </a:lnTo>
                    <a:lnTo>
                      <a:pt x="4353" y="10986"/>
                    </a:lnTo>
                    <a:lnTo>
                      <a:pt x="4374" y="10923"/>
                    </a:lnTo>
                    <a:lnTo>
                      <a:pt x="4457" y="10923"/>
                    </a:lnTo>
                    <a:lnTo>
                      <a:pt x="4499" y="10735"/>
                    </a:lnTo>
                    <a:lnTo>
                      <a:pt x="4562" y="10651"/>
                    </a:lnTo>
                    <a:lnTo>
                      <a:pt x="4541" y="10546"/>
                    </a:lnTo>
                    <a:lnTo>
                      <a:pt x="4395" y="10463"/>
                    </a:lnTo>
                    <a:lnTo>
                      <a:pt x="4185" y="10525"/>
                    </a:lnTo>
                    <a:lnTo>
                      <a:pt x="4060" y="10630"/>
                    </a:lnTo>
                    <a:lnTo>
                      <a:pt x="4123" y="10504"/>
                    </a:lnTo>
                    <a:lnTo>
                      <a:pt x="4039" y="10358"/>
                    </a:lnTo>
                    <a:lnTo>
                      <a:pt x="3892" y="10295"/>
                    </a:lnTo>
                    <a:lnTo>
                      <a:pt x="3830" y="10316"/>
                    </a:lnTo>
                    <a:lnTo>
                      <a:pt x="3767" y="10358"/>
                    </a:lnTo>
                    <a:lnTo>
                      <a:pt x="3725" y="10358"/>
                    </a:lnTo>
                    <a:lnTo>
                      <a:pt x="3599" y="10525"/>
                    </a:lnTo>
                    <a:lnTo>
                      <a:pt x="3495" y="10525"/>
                    </a:lnTo>
                    <a:lnTo>
                      <a:pt x="3558" y="10337"/>
                    </a:lnTo>
                    <a:lnTo>
                      <a:pt x="3453" y="10232"/>
                    </a:lnTo>
                    <a:lnTo>
                      <a:pt x="3809" y="10232"/>
                    </a:lnTo>
                    <a:lnTo>
                      <a:pt x="3830" y="10191"/>
                    </a:lnTo>
                    <a:lnTo>
                      <a:pt x="3725" y="10044"/>
                    </a:lnTo>
                    <a:lnTo>
                      <a:pt x="3767" y="9981"/>
                    </a:lnTo>
                    <a:lnTo>
                      <a:pt x="3830" y="9793"/>
                    </a:lnTo>
                    <a:lnTo>
                      <a:pt x="3830" y="9709"/>
                    </a:lnTo>
                    <a:lnTo>
                      <a:pt x="3934" y="9605"/>
                    </a:lnTo>
                    <a:lnTo>
                      <a:pt x="3934" y="9668"/>
                    </a:lnTo>
                    <a:lnTo>
                      <a:pt x="3955" y="9730"/>
                    </a:lnTo>
                    <a:lnTo>
                      <a:pt x="3934" y="9835"/>
                    </a:lnTo>
                    <a:lnTo>
                      <a:pt x="3871" y="9898"/>
                    </a:lnTo>
                    <a:lnTo>
                      <a:pt x="3934" y="10128"/>
                    </a:lnTo>
                    <a:lnTo>
                      <a:pt x="4164" y="10421"/>
                    </a:lnTo>
                    <a:lnTo>
                      <a:pt x="4332" y="10442"/>
                    </a:lnTo>
                    <a:lnTo>
                      <a:pt x="4353" y="10421"/>
                    </a:lnTo>
                    <a:lnTo>
                      <a:pt x="4478" y="10421"/>
                    </a:lnTo>
                    <a:lnTo>
                      <a:pt x="4771" y="10546"/>
                    </a:lnTo>
                    <a:lnTo>
                      <a:pt x="4813" y="10525"/>
                    </a:lnTo>
                    <a:lnTo>
                      <a:pt x="4897" y="10358"/>
                    </a:lnTo>
                    <a:lnTo>
                      <a:pt x="4980" y="10295"/>
                    </a:lnTo>
                    <a:lnTo>
                      <a:pt x="5022" y="10295"/>
                    </a:lnTo>
                    <a:lnTo>
                      <a:pt x="4980" y="10358"/>
                    </a:lnTo>
                    <a:lnTo>
                      <a:pt x="5064" y="10400"/>
                    </a:lnTo>
                    <a:lnTo>
                      <a:pt x="5169" y="10337"/>
                    </a:lnTo>
                    <a:lnTo>
                      <a:pt x="5190" y="10253"/>
                    </a:lnTo>
                    <a:lnTo>
                      <a:pt x="5211" y="10212"/>
                    </a:lnTo>
                    <a:lnTo>
                      <a:pt x="5273" y="10253"/>
                    </a:lnTo>
                    <a:lnTo>
                      <a:pt x="5399" y="10212"/>
                    </a:lnTo>
                    <a:lnTo>
                      <a:pt x="5399" y="10086"/>
                    </a:lnTo>
                    <a:lnTo>
                      <a:pt x="5545" y="9981"/>
                    </a:lnTo>
                    <a:lnTo>
                      <a:pt x="5545" y="9877"/>
                    </a:lnTo>
                    <a:lnTo>
                      <a:pt x="5524" y="9835"/>
                    </a:lnTo>
                    <a:lnTo>
                      <a:pt x="5420" y="9835"/>
                    </a:lnTo>
                    <a:lnTo>
                      <a:pt x="5524" y="9730"/>
                    </a:lnTo>
                    <a:lnTo>
                      <a:pt x="5545" y="9521"/>
                    </a:lnTo>
                    <a:lnTo>
                      <a:pt x="5713" y="9500"/>
                    </a:lnTo>
                    <a:lnTo>
                      <a:pt x="5943" y="9563"/>
                    </a:lnTo>
                    <a:lnTo>
                      <a:pt x="6027" y="9626"/>
                    </a:lnTo>
                    <a:lnTo>
                      <a:pt x="6173" y="9626"/>
                    </a:lnTo>
                    <a:lnTo>
                      <a:pt x="6278" y="9563"/>
                    </a:lnTo>
                    <a:lnTo>
                      <a:pt x="6382" y="9563"/>
                    </a:lnTo>
                    <a:lnTo>
                      <a:pt x="6466" y="9668"/>
                    </a:lnTo>
                    <a:lnTo>
                      <a:pt x="6571" y="9626"/>
                    </a:lnTo>
                    <a:lnTo>
                      <a:pt x="6675" y="9521"/>
                    </a:lnTo>
                    <a:lnTo>
                      <a:pt x="6759" y="9479"/>
                    </a:lnTo>
                    <a:lnTo>
                      <a:pt x="6759" y="9396"/>
                    </a:lnTo>
                    <a:lnTo>
                      <a:pt x="6633" y="9396"/>
                    </a:lnTo>
                    <a:lnTo>
                      <a:pt x="6278" y="9207"/>
                    </a:lnTo>
                    <a:lnTo>
                      <a:pt x="6257" y="9144"/>
                    </a:lnTo>
                    <a:lnTo>
                      <a:pt x="6340" y="9082"/>
                    </a:lnTo>
                    <a:lnTo>
                      <a:pt x="6445" y="9103"/>
                    </a:lnTo>
                    <a:lnTo>
                      <a:pt x="6487" y="9165"/>
                    </a:lnTo>
                    <a:lnTo>
                      <a:pt x="6592" y="9144"/>
                    </a:lnTo>
                    <a:lnTo>
                      <a:pt x="6780" y="9291"/>
                    </a:lnTo>
                    <a:lnTo>
                      <a:pt x="6864" y="9270"/>
                    </a:lnTo>
                    <a:lnTo>
                      <a:pt x="6989" y="9165"/>
                    </a:lnTo>
                    <a:lnTo>
                      <a:pt x="7073" y="9144"/>
                    </a:lnTo>
                    <a:lnTo>
                      <a:pt x="7115" y="9061"/>
                    </a:lnTo>
                    <a:lnTo>
                      <a:pt x="7094" y="8935"/>
                    </a:lnTo>
                    <a:lnTo>
                      <a:pt x="6968" y="8831"/>
                    </a:lnTo>
                    <a:lnTo>
                      <a:pt x="6884" y="8831"/>
                    </a:lnTo>
                    <a:lnTo>
                      <a:pt x="6864" y="8747"/>
                    </a:lnTo>
                    <a:lnTo>
                      <a:pt x="6738" y="8684"/>
                    </a:lnTo>
                    <a:lnTo>
                      <a:pt x="6738" y="8642"/>
                    </a:lnTo>
                    <a:lnTo>
                      <a:pt x="6864" y="8663"/>
                    </a:lnTo>
                    <a:lnTo>
                      <a:pt x="6947" y="8684"/>
                    </a:lnTo>
                    <a:lnTo>
                      <a:pt x="6968" y="8768"/>
                    </a:lnTo>
                    <a:lnTo>
                      <a:pt x="7031" y="8789"/>
                    </a:lnTo>
                    <a:lnTo>
                      <a:pt x="7156" y="8789"/>
                    </a:lnTo>
                    <a:lnTo>
                      <a:pt x="7198" y="8852"/>
                    </a:lnTo>
                    <a:lnTo>
                      <a:pt x="7387" y="8726"/>
                    </a:lnTo>
                    <a:lnTo>
                      <a:pt x="7428" y="8726"/>
                    </a:lnTo>
                    <a:lnTo>
                      <a:pt x="7470" y="8538"/>
                    </a:lnTo>
                    <a:lnTo>
                      <a:pt x="7596" y="8328"/>
                    </a:lnTo>
                    <a:lnTo>
                      <a:pt x="7596" y="8224"/>
                    </a:lnTo>
                    <a:lnTo>
                      <a:pt x="7512" y="8161"/>
                    </a:lnTo>
                    <a:lnTo>
                      <a:pt x="7387" y="8056"/>
                    </a:lnTo>
                    <a:lnTo>
                      <a:pt x="7198" y="8056"/>
                    </a:lnTo>
                    <a:lnTo>
                      <a:pt x="7094" y="8119"/>
                    </a:lnTo>
                    <a:lnTo>
                      <a:pt x="7094" y="8035"/>
                    </a:lnTo>
                    <a:lnTo>
                      <a:pt x="7219" y="7994"/>
                    </a:lnTo>
                    <a:lnTo>
                      <a:pt x="7366" y="7994"/>
                    </a:lnTo>
                    <a:lnTo>
                      <a:pt x="7387" y="7931"/>
                    </a:lnTo>
                    <a:lnTo>
                      <a:pt x="7198" y="7784"/>
                    </a:lnTo>
                    <a:lnTo>
                      <a:pt x="7115" y="7743"/>
                    </a:lnTo>
                    <a:lnTo>
                      <a:pt x="7010" y="7743"/>
                    </a:lnTo>
                    <a:lnTo>
                      <a:pt x="6968" y="7722"/>
                    </a:lnTo>
                    <a:lnTo>
                      <a:pt x="6947" y="7743"/>
                    </a:lnTo>
                    <a:lnTo>
                      <a:pt x="6843" y="7784"/>
                    </a:lnTo>
                    <a:lnTo>
                      <a:pt x="6801" y="7743"/>
                    </a:lnTo>
                    <a:lnTo>
                      <a:pt x="6780" y="7784"/>
                    </a:lnTo>
                    <a:lnTo>
                      <a:pt x="6675" y="7784"/>
                    </a:lnTo>
                    <a:lnTo>
                      <a:pt x="6675" y="7701"/>
                    </a:lnTo>
                    <a:lnTo>
                      <a:pt x="6696" y="7638"/>
                    </a:lnTo>
                    <a:lnTo>
                      <a:pt x="6487" y="7533"/>
                    </a:lnTo>
                    <a:lnTo>
                      <a:pt x="6466" y="7491"/>
                    </a:lnTo>
                    <a:lnTo>
                      <a:pt x="6466" y="7491"/>
                    </a:lnTo>
                    <a:lnTo>
                      <a:pt x="6571" y="7533"/>
                    </a:lnTo>
                    <a:lnTo>
                      <a:pt x="6759" y="7575"/>
                    </a:lnTo>
                    <a:lnTo>
                      <a:pt x="6843" y="7617"/>
                    </a:lnTo>
                    <a:lnTo>
                      <a:pt x="6801" y="7701"/>
                    </a:lnTo>
                    <a:lnTo>
                      <a:pt x="6801" y="7701"/>
                    </a:lnTo>
                    <a:lnTo>
                      <a:pt x="6989" y="7638"/>
                    </a:lnTo>
                    <a:lnTo>
                      <a:pt x="7198" y="7638"/>
                    </a:lnTo>
                    <a:lnTo>
                      <a:pt x="7324" y="7743"/>
                    </a:lnTo>
                    <a:lnTo>
                      <a:pt x="7366" y="7722"/>
                    </a:lnTo>
                    <a:lnTo>
                      <a:pt x="7387" y="7596"/>
                    </a:lnTo>
                    <a:lnTo>
                      <a:pt x="7115" y="7512"/>
                    </a:lnTo>
                    <a:lnTo>
                      <a:pt x="6905" y="7491"/>
                    </a:lnTo>
                    <a:lnTo>
                      <a:pt x="6759" y="7429"/>
                    </a:lnTo>
                    <a:lnTo>
                      <a:pt x="6780" y="7387"/>
                    </a:lnTo>
                    <a:lnTo>
                      <a:pt x="6884" y="7366"/>
                    </a:lnTo>
                    <a:lnTo>
                      <a:pt x="6989" y="7429"/>
                    </a:lnTo>
                    <a:lnTo>
                      <a:pt x="7219" y="7491"/>
                    </a:lnTo>
                    <a:lnTo>
                      <a:pt x="7408" y="7491"/>
                    </a:lnTo>
                    <a:lnTo>
                      <a:pt x="7470" y="7596"/>
                    </a:lnTo>
                    <a:lnTo>
                      <a:pt x="7470" y="7722"/>
                    </a:lnTo>
                    <a:lnTo>
                      <a:pt x="7491" y="7805"/>
                    </a:lnTo>
                    <a:lnTo>
                      <a:pt x="7638" y="7910"/>
                    </a:lnTo>
                    <a:lnTo>
                      <a:pt x="7805" y="7952"/>
                    </a:lnTo>
                    <a:lnTo>
                      <a:pt x="7889" y="8035"/>
                    </a:lnTo>
                    <a:lnTo>
                      <a:pt x="7910" y="8035"/>
                    </a:lnTo>
                    <a:lnTo>
                      <a:pt x="7993" y="7994"/>
                    </a:lnTo>
                    <a:lnTo>
                      <a:pt x="7952" y="7847"/>
                    </a:lnTo>
                    <a:lnTo>
                      <a:pt x="7993" y="7743"/>
                    </a:lnTo>
                    <a:lnTo>
                      <a:pt x="7952" y="7701"/>
                    </a:lnTo>
                    <a:lnTo>
                      <a:pt x="8056" y="7617"/>
                    </a:lnTo>
                    <a:lnTo>
                      <a:pt x="7993" y="7575"/>
                    </a:lnTo>
                    <a:lnTo>
                      <a:pt x="7680" y="7491"/>
                    </a:lnTo>
                    <a:lnTo>
                      <a:pt x="7554" y="7512"/>
                    </a:lnTo>
                    <a:lnTo>
                      <a:pt x="7512" y="7512"/>
                    </a:lnTo>
                    <a:lnTo>
                      <a:pt x="7408" y="7408"/>
                    </a:lnTo>
                    <a:lnTo>
                      <a:pt x="7282" y="7387"/>
                    </a:lnTo>
                    <a:lnTo>
                      <a:pt x="7198" y="7282"/>
                    </a:lnTo>
                    <a:lnTo>
                      <a:pt x="7115" y="7282"/>
                    </a:lnTo>
                    <a:lnTo>
                      <a:pt x="7073" y="7324"/>
                    </a:lnTo>
                    <a:lnTo>
                      <a:pt x="6989" y="7324"/>
                    </a:lnTo>
                    <a:lnTo>
                      <a:pt x="7010" y="7219"/>
                    </a:lnTo>
                    <a:lnTo>
                      <a:pt x="6864" y="7178"/>
                    </a:lnTo>
                    <a:lnTo>
                      <a:pt x="6843" y="7094"/>
                    </a:lnTo>
                    <a:lnTo>
                      <a:pt x="6947" y="7073"/>
                    </a:lnTo>
                    <a:lnTo>
                      <a:pt x="6989" y="7115"/>
                    </a:lnTo>
                    <a:lnTo>
                      <a:pt x="7094" y="7157"/>
                    </a:lnTo>
                    <a:lnTo>
                      <a:pt x="7156" y="7073"/>
                    </a:lnTo>
                    <a:lnTo>
                      <a:pt x="7115" y="7010"/>
                    </a:lnTo>
                    <a:lnTo>
                      <a:pt x="7156" y="6968"/>
                    </a:lnTo>
                    <a:lnTo>
                      <a:pt x="7219" y="7052"/>
                    </a:lnTo>
                    <a:lnTo>
                      <a:pt x="7219" y="7178"/>
                    </a:lnTo>
                    <a:lnTo>
                      <a:pt x="7324" y="7219"/>
                    </a:lnTo>
                    <a:lnTo>
                      <a:pt x="7638" y="7303"/>
                    </a:lnTo>
                    <a:lnTo>
                      <a:pt x="7700" y="7261"/>
                    </a:lnTo>
                    <a:lnTo>
                      <a:pt x="7554" y="7052"/>
                    </a:lnTo>
                    <a:lnTo>
                      <a:pt x="7408" y="6989"/>
                    </a:lnTo>
                    <a:lnTo>
                      <a:pt x="7303" y="6947"/>
                    </a:lnTo>
                    <a:lnTo>
                      <a:pt x="7303" y="6864"/>
                    </a:lnTo>
                    <a:lnTo>
                      <a:pt x="7324" y="6801"/>
                    </a:lnTo>
                    <a:lnTo>
                      <a:pt x="7408" y="6906"/>
                    </a:lnTo>
                    <a:lnTo>
                      <a:pt x="7554" y="6906"/>
                    </a:lnTo>
                    <a:lnTo>
                      <a:pt x="7638" y="6968"/>
                    </a:lnTo>
                    <a:lnTo>
                      <a:pt x="7680" y="7073"/>
                    </a:lnTo>
                    <a:lnTo>
                      <a:pt x="7721" y="7052"/>
                    </a:lnTo>
                    <a:lnTo>
                      <a:pt x="7805" y="7157"/>
                    </a:lnTo>
                    <a:lnTo>
                      <a:pt x="7910" y="7199"/>
                    </a:lnTo>
                    <a:lnTo>
                      <a:pt x="7952" y="7261"/>
                    </a:lnTo>
                    <a:lnTo>
                      <a:pt x="8014" y="7282"/>
                    </a:lnTo>
                    <a:lnTo>
                      <a:pt x="8077" y="7178"/>
                    </a:lnTo>
                    <a:lnTo>
                      <a:pt x="8203" y="7178"/>
                    </a:lnTo>
                    <a:lnTo>
                      <a:pt x="8307" y="7282"/>
                    </a:lnTo>
                    <a:lnTo>
                      <a:pt x="8349" y="7261"/>
                    </a:lnTo>
                    <a:lnTo>
                      <a:pt x="8349" y="7157"/>
                    </a:lnTo>
                    <a:lnTo>
                      <a:pt x="8412" y="7157"/>
                    </a:lnTo>
                    <a:lnTo>
                      <a:pt x="8516" y="7261"/>
                    </a:lnTo>
                    <a:lnTo>
                      <a:pt x="8642" y="7261"/>
                    </a:lnTo>
                    <a:lnTo>
                      <a:pt x="8684" y="7199"/>
                    </a:lnTo>
                    <a:lnTo>
                      <a:pt x="8684" y="6885"/>
                    </a:lnTo>
                    <a:lnTo>
                      <a:pt x="8433" y="6634"/>
                    </a:lnTo>
                    <a:lnTo>
                      <a:pt x="8349" y="6634"/>
                    </a:lnTo>
                    <a:lnTo>
                      <a:pt x="8307" y="6655"/>
                    </a:lnTo>
                    <a:lnTo>
                      <a:pt x="8224" y="6634"/>
                    </a:lnTo>
                    <a:lnTo>
                      <a:pt x="8244" y="6571"/>
                    </a:lnTo>
                    <a:lnTo>
                      <a:pt x="8433" y="6550"/>
                    </a:lnTo>
                    <a:lnTo>
                      <a:pt x="8516" y="6571"/>
                    </a:lnTo>
                    <a:lnTo>
                      <a:pt x="8558" y="6550"/>
                    </a:lnTo>
                    <a:lnTo>
                      <a:pt x="8642" y="6592"/>
                    </a:lnTo>
                    <a:lnTo>
                      <a:pt x="8642" y="6696"/>
                    </a:lnTo>
                    <a:lnTo>
                      <a:pt x="8684" y="6759"/>
                    </a:lnTo>
                    <a:lnTo>
                      <a:pt x="8851" y="6780"/>
                    </a:lnTo>
                    <a:lnTo>
                      <a:pt x="8851" y="6968"/>
                    </a:lnTo>
                    <a:lnTo>
                      <a:pt x="8893" y="7052"/>
                    </a:lnTo>
                    <a:lnTo>
                      <a:pt x="8998" y="7052"/>
                    </a:lnTo>
                    <a:lnTo>
                      <a:pt x="9060" y="7094"/>
                    </a:lnTo>
                    <a:lnTo>
                      <a:pt x="9353" y="7115"/>
                    </a:lnTo>
                    <a:lnTo>
                      <a:pt x="9500" y="7115"/>
                    </a:lnTo>
                    <a:lnTo>
                      <a:pt x="9688" y="6947"/>
                    </a:lnTo>
                    <a:lnTo>
                      <a:pt x="9709" y="6864"/>
                    </a:lnTo>
                    <a:lnTo>
                      <a:pt x="9605" y="6801"/>
                    </a:lnTo>
                    <a:lnTo>
                      <a:pt x="9563" y="6843"/>
                    </a:lnTo>
                    <a:lnTo>
                      <a:pt x="9500" y="6780"/>
                    </a:lnTo>
                    <a:lnTo>
                      <a:pt x="9563" y="6759"/>
                    </a:lnTo>
                    <a:lnTo>
                      <a:pt x="9709" y="6696"/>
                    </a:lnTo>
                    <a:lnTo>
                      <a:pt x="9835" y="6738"/>
                    </a:lnTo>
                    <a:lnTo>
                      <a:pt x="9981" y="6675"/>
                    </a:lnTo>
                    <a:lnTo>
                      <a:pt x="10002" y="6571"/>
                    </a:lnTo>
                    <a:lnTo>
                      <a:pt x="9918" y="6466"/>
                    </a:lnTo>
                    <a:lnTo>
                      <a:pt x="9625" y="6466"/>
                    </a:lnTo>
                    <a:lnTo>
                      <a:pt x="9395" y="6424"/>
                    </a:lnTo>
                    <a:lnTo>
                      <a:pt x="9416" y="6362"/>
                    </a:lnTo>
                    <a:lnTo>
                      <a:pt x="9521" y="6362"/>
                    </a:lnTo>
                    <a:lnTo>
                      <a:pt x="9563" y="6257"/>
                    </a:lnTo>
                    <a:lnTo>
                      <a:pt x="9605" y="6278"/>
                    </a:lnTo>
                    <a:lnTo>
                      <a:pt x="9625" y="6383"/>
                    </a:lnTo>
                    <a:lnTo>
                      <a:pt x="9709" y="6383"/>
                    </a:lnTo>
                    <a:lnTo>
                      <a:pt x="9772" y="6341"/>
                    </a:lnTo>
                    <a:lnTo>
                      <a:pt x="9981" y="6424"/>
                    </a:lnTo>
                    <a:lnTo>
                      <a:pt x="10044" y="6362"/>
                    </a:lnTo>
                    <a:lnTo>
                      <a:pt x="10149" y="6445"/>
                    </a:lnTo>
                    <a:lnTo>
                      <a:pt x="10211" y="6445"/>
                    </a:lnTo>
                    <a:lnTo>
                      <a:pt x="10316" y="6320"/>
                    </a:lnTo>
                    <a:lnTo>
                      <a:pt x="10295" y="6236"/>
                    </a:lnTo>
                    <a:lnTo>
                      <a:pt x="10149" y="6152"/>
                    </a:lnTo>
                    <a:lnTo>
                      <a:pt x="10211" y="6048"/>
                    </a:lnTo>
                    <a:lnTo>
                      <a:pt x="10253" y="6006"/>
                    </a:lnTo>
                    <a:lnTo>
                      <a:pt x="10232" y="5839"/>
                    </a:lnTo>
                    <a:lnTo>
                      <a:pt x="10316" y="5901"/>
                    </a:lnTo>
                    <a:lnTo>
                      <a:pt x="10316" y="6006"/>
                    </a:lnTo>
                    <a:lnTo>
                      <a:pt x="10253" y="6069"/>
                    </a:lnTo>
                    <a:lnTo>
                      <a:pt x="10295" y="6152"/>
                    </a:lnTo>
                    <a:lnTo>
                      <a:pt x="10358" y="6173"/>
                    </a:lnTo>
                    <a:lnTo>
                      <a:pt x="10441" y="6111"/>
                    </a:lnTo>
                    <a:lnTo>
                      <a:pt x="10734" y="6111"/>
                    </a:lnTo>
                    <a:lnTo>
                      <a:pt x="10776" y="6027"/>
                    </a:lnTo>
                    <a:lnTo>
                      <a:pt x="10923" y="5922"/>
                    </a:lnTo>
                    <a:lnTo>
                      <a:pt x="10881" y="5797"/>
                    </a:lnTo>
                    <a:lnTo>
                      <a:pt x="10944" y="5755"/>
                    </a:lnTo>
                    <a:lnTo>
                      <a:pt x="11048" y="5755"/>
                    </a:lnTo>
                    <a:lnTo>
                      <a:pt x="11132" y="5650"/>
                    </a:lnTo>
                    <a:lnTo>
                      <a:pt x="11216" y="5692"/>
                    </a:lnTo>
                    <a:lnTo>
                      <a:pt x="11299" y="5629"/>
                    </a:lnTo>
                    <a:lnTo>
                      <a:pt x="11550" y="5608"/>
                    </a:lnTo>
                    <a:lnTo>
                      <a:pt x="11613" y="5483"/>
                    </a:lnTo>
                    <a:lnTo>
                      <a:pt x="11822" y="5420"/>
                    </a:lnTo>
                    <a:lnTo>
                      <a:pt x="11927" y="5336"/>
                    </a:lnTo>
                    <a:lnTo>
                      <a:pt x="12073" y="5336"/>
                    </a:lnTo>
                    <a:lnTo>
                      <a:pt x="12136" y="5315"/>
                    </a:lnTo>
                    <a:lnTo>
                      <a:pt x="12262" y="5315"/>
                    </a:lnTo>
                    <a:lnTo>
                      <a:pt x="12429" y="5232"/>
                    </a:lnTo>
                    <a:lnTo>
                      <a:pt x="12555" y="5106"/>
                    </a:lnTo>
                    <a:lnTo>
                      <a:pt x="12659" y="5085"/>
                    </a:lnTo>
                    <a:lnTo>
                      <a:pt x="12743" y="4960"/>
                    </a:lnTo>
                    <a:lnTo>
                      <a:pt x="12952" y="4918"/>
                    </a:lnTo>
                    <a:lnTo>
                      <a:pt x="13036" y="4876"/>
                    </a:lnTo>
                    <a:lnTo>
                      <a:pt x="13224" y="4771"/>
                    </a:lnTo>
                    <a:lnTo>
                      <a:pt x="13308" y="4604"/>
                    </a:lnTo>
                    <a:lnTo>
                      <a:pt x="13371" y="4458"/>
                    </a:lnTo>
                    <a:lnTo>
                      <a:pt x="13182" y="4458"/>
                    </a:lnTo>
                    <a:lnTo>
                      <a:pt x="13057" y="4478"/>
                    </a:lnTo>
                    <a:lnTo>
                      <a:pt x="12973" y="4437"/>
                    </a:lnTo>
                    <a:lnTo>
                      <a:pt x="12848" y="4458"/>
                    </a:lnTo>
                    <a:lnTo>
                      <a:pt x="12659" y="4646"/>
                    </a:lnTo>
                    <a:lnTo>
                      <a:pt x="12387" y="4667"/>
                    </a:lnTo>
                    <a:lnTo>
                      <a:pt x="11927" y="4709"/>
                    </a:lnTo>
                    <a:lnTo>
                      <a:pt x="11801" y="4688"/>
                    </a:lnTo>
                    <a:lnTo>
                      <a:pt x="11488" y="4688"/>
                    </a:lnTo>
                    <a:lnTo>
                      <a:pt x="11299" y="4771"/>
                    </a:lnTo>
                    <a:lnTo>
                      <a:pt x="11299" y="4667"/>
                    </a:lnTo>
                    <a:lnTo>
                      <a:pt x="11174" y="4667"/>
                    </a:lnTo>
                    <a:lnTo>
                      <a:pt x="11216" y="4562"/>
                    </a:lnTo>
                    <a:lnTo>
                      <a:pt x="11362" y="4562"/>
                    </a:lnTo>
                    <a:lnTo>
                      <a:pt x="11446" y="4583"/>
                    </a:lnTo>
                    <a:lnTo>
                      <a:pt x="11550" y="4541"/>
                    </a:lnTo>
                    <a:lnTo>
                      <a:pt x="11571" y="4604"/>
                    </a:lnTo>
                    <a:lnTo>
                      <a:pt x="11718" y="4604"/>
                    </a:lnTo>
                    <a:lnTo>
                      <a:pt x="11906" y="4583"/>
                    </a:lnTo>
                    <a:lnTo>
                      <a:pt x="12032" y="4583"/>
                    </a:lnTo>
                    <a:lnTo>
                      <a:pt x="12346" y="4541"/>
                    </a:lnTo>
                    <a:lnTo>
                      <a:pt x="12848" y="4332"/>
                    </a:lnTo>
                    <a:lnTo>
                      <a:pt x="12931" y="4269"/>
                    </a:lnTo>
                    <a:lnTo>
                      <a:pt x="12848" y="4186"/>
                    </a:lnTo>
                    <a:lnTo>
                      <a:pt x="12638" y="4144"/>
                    </a:lnTo>
                    <a:lnTo>
                      <a:pt x="12262" y="4081"/>
                    </a:lnTo>
                    <a:lnTo>
                      <a:pt x="12199" y="3976"/>
                    </a:lnTo>
                    <a:lnTo>
                      <a:pt x="12199" y="3976"/>
                    </a:lnTo>
                    <a:lnTo>
                      <a:pt x="12346" y="4060"/>
                    </a:lnTo>
                    <a:lnTo>
                      <a:pt x="12450" y="4039"/>
                    </a:lnTo>
                    <a:lnTo>
                      <a:pt x="12450" y="3976"/>
                    </a:lnTo>
                    <a:lnTo>
                      <a:pt x="12325" y="3851"/>
                    </a:lnTo>
                    <a:lnTo>
                      <a:pt x="12304" y="3725"/>
                    </a:lnTo>
                    <a:lnTo>
                      <a:pt x="12408" y="3851"/>
                    </a:lnTo>
                    <a:lnTo>
                      <a:pt x="12597" y="4060"/>
                    </a:lnTo>
                    <a:lnTo>
                      <a:pt x="12638" y="4060"/>
                    </a:lnTo>
                    <a:lnTo>
                      <a:pt x="12722" y="4018"/>
                    </a:lnTo>
                    <a:lnTo>
                      <a:pt x="12764" y="4081"/>
                    </a:lnTo>
                    <a:lnTo>
                      <a:pt x="12973" y="4081"/>
                    </a:lnTo>
                    <a:lnTo>
                      <a:pt x="13057" y="4144"/>
                    </a:lnTo>
                    <a:lnTo>
                      <a:pt x="13141" y="4144"/>
                    </a:lnTo>
                    <a:lnTo>
                      <a:pt x="13287" y="4165"/>
                    </a:lnTo>
                    <a:lnTo>
                      <a:pt x="13371" y="4123"/>
                    </a:lnTo>
                    <a:lnTo>
                      <a:pt x="13308" y="4081"/>
                    </a:lnTo>
                    <a:lnTo>
                      <a:pt x="13162" y="4060"/>
                    </a:lnTo>
                    <a:lnTo>
                      <a:pt x="13162" y="3976"/>
                    </a:lnTo>
                    <a:lnTo>
                      <a:pt x="13350" y="4018"/>
                    </a:lnTo>
                    <a:lnTo>
                      <a:pt x="13475" y="4060"/>
                    </a:lnTo>
                    <a:lnTo>
                      <a:pt x="13601" y="4165"/>
                    </a:lnTo>
                    <a:lnTo>
                      <a:pt x="13664" y="4144"/>
                    </a:lnTo>
                    <a:lnTo>
                      <a:pt x="13706" y="4018"/>
                    </a:lnTo>
                    <a:lnTo>
                      <a:pt x="13810" y="4081"/>
                    </a:lnTo>
                    <a:lnTo>
                      <a:pt x="13978" y="4081"/>
                    </a:lnTo>
                    <a:lnTo>
                      <a:pt x="14124" y="4039"/>
                    </a:lnTo>
                    <a:lnTo>
                      <a:pt x="14229" y="4018"/>
                    </a:lnTo>
                    <a:lnTo>
                      <a:pt x="14354" y="3914"/>
                    </a:lnTo>
                    <a:lnTo>
                      <a:pt x="14710" y="3746"/>
                    </a:lnTo>
                    <a:lnTo>
                      <a:pt x="14794" y="3662"/>
                    </a:lnTo>
                    <a:lnTo>
                      <a:pt x="14794" y="3621"/>
                    </a:lnTo>
                    <a:lnTo>
                      <a:pt x="14877" y="3600"/>
                    </a:lnTo>
                    <a:lnTo>
                      <a:pt x="15003" y="3621"/>
                    </a:lnTo>
                    <a:lnTo>
                      <a:pt x="15045" y="3558"/>
                    </a:lnTo>
                    <a:lnTo>
                      <a:pt x="15275" y="3432"/>
                    </a:lnTo>
                    <a:lnTo>
                      <a:pt x="15400" y="3181"/>
                    </a:lnTo>
                    <a:lnTo>
                      <a:pt x="15463" y="2909"/>
                    </a:lnTo>
                    <a:lnTo>
                      <a:pt x="15442" y="2721"/>
                    </a:lnTo>
                    <a:lnTo>
                      <a:pt x="15379" y="2595"/>
                    </a:lnTo>
                    <a:lnTo>
                      <a:pt x="15233" y="2512"/>
                    </a:lnTo>
                    <a:lnTo>
                      <a:pt x="15149" y="2512"/>
                    </a:lnTo>
                    <a:lnTo>
                      <a:pt x="15128" y="2554"/>
                    </a:lnTo>
                    <a:lnTo>
                      <a:pt x="15024" y="2554"/>
                    </a:lnTo>
                    <a:lnTo>
                      <a:pt x="14961" y="2658"/>
                    </a:lnTo>
                    <a:lnTo>
                      <a:pt x="14877" y="2700"/>
                    </a:lnTo>
                    <a:lnTo>
                      <a:pt x="14835" y="2658"/>
                    </a:lnTo>
                    <a:lnTo>
                      <a:pt x="14961" y="2470"/>
                    </a:lnTo>
                    <a:lnTo>
                      <a:pt x="15003" y="2386"/>
                    </a:lnTo>
                    <a:lnTo>
                      <a:pt x="15107" y="2302"/>
                    </a:lnTo>
                    <a:lnTo>
                      <a:pt x="15128" y="2156"/>
                    </a:lnTo>
                    <a:lnTo>
                      <a:pt x="15066" y="2051"/>
                    </a:lnTo>
                    <a:lnTo>
                      <a:pt x="15024" y="2030"/>
                    </a:lnTo>
                    <a:lnTo>
                      <a:pt x="15107" y="1968"/>
                    </a:lnTo>
                    <a:lnTo>
                      <a:pt x="15170" y="1737"/>
                    </a:lnTo>
                    <a:lnTo>
                      <a:pt x="15066" y="1717"/>
                    </a:lnTo>
                    <a:lnTo>
                      <a:pt x="14940" y="1737"/>
                    </a:lnTo>
                    <a:lnTo>
                      <a:pt x="14919" y="1842"/>
                    </a:lnTo>
                    <a:lnTo>
                      <a:pt x="14856" y="1884"/>
                    </a:lnTo>
                    <a:lnTo>
                      <a:pt x="14794" y="1926"/>
                    </a:lnTo>
                    <a:lnTo>
                      <a:pt x="14731" y="1863"/>
                    </a:lnTo>
                    <a:lnTo>
                      <a:pt x="14794" y="1779"/>
                    </a:lnTo>
                    <a:lnTo>
                      <a:pt x="14794" y="1717"/>
                    </a:lnTo>
                    <a:lnTo>
                      <a:pt x="14835" y="1633"/>
                    </a:lnTo>
                    <a:lnTo>
                      <a:pt x="14814" y="1570"/>
                    </a:lnTo>
                    <a:lnTo>
                      <a:pt x="14689" y="1654"/>
                    </a:lnTo>
                    <a:lnTo>
                      <a:pt x="14626" y="1779"/>
                    </a:lnTo>
                    <a:lnTo>
                      <a:pt x="14584" y="1821"/>
                    </a:lnTo>
                    <a:lnTo>
                      <a:pt x="14522" y="1758"/>
                    </a:lnTo>
                    <a:lnTo>
                      <a:pt x="14584" y="1633"/>
                    </a:lnTo>
                    <a:lnTo>
                      <a:pt x="14542" y="1549"/>
                    </a:lnTo>
                    <a:lnTo>
                      <a:pt x="14417" y="1549"/>
                    </a:lnTo>
                    <a:lnTo>
                      <a:pt x="14270" y="1633"/>
                    </a:lnTo>
                    <a:lnTo>
                      <a:pt x="14208" y="1737"/>
                    </a:lnTo>
                    <a:lnTo>
                      <a:pt x="14082" y="1737"/>
                    </a:lnTo>
                    <a:lnTo>
                      <a:pt x="14019" y="1779"/>
                    </a:lnTo>
                    <a:lnTo>
                      <a:pt x="13978" y="1884"/>
                    </a:lnTo>
                    <a:lnTo>
                      <a:pt x="13894" y="1884"/>
                    </a:lnTo>
                    <a:lnTo>
                      <a:pt x="13789" y="1842"/>
                    </a:lnTo>
                    <a:lnTo>
                      <a:pt x="13580" y="1821"/>
                    </a:lnTo>
                    <a:lnTo>
                      <a:pt x="13308" y="1821"/>
                    </a:lnTo>
                    <a:lnTo>
                      <a:pt x="13496" y="1758"/>
                    </a:lnTo>
                    <a:lnTo>
                      <a:pt x="13559" y="1717"/>
                    </a:lnTo>
                    <a:lnTo>
                      <a:pt x="13643" y="1737"/>
                    </a:lnTo>
                    <a:lnTo>
                      <a:pt x="13747" y="1737"/>
                    </a:lnTo>
                    <a:lnTo>
                      <a:pt x="13894" y="1654"/>
                    </a:lnTo>
                    <a:lnTo>
                      <a:pt x="14019" y="1633"/>
                    </a:lnTo>
                    <a:lnTo>
                      <a:pt x="14124" y="1507"/>
                    </a:lnTo>
                    <a:lnTo>
                      <a:pt x="14333" y="1403"/>
                    </a:lnTo>
                    <a:lnTo>
                      <a:pt x="14396" y="1340"/>
                    </a:lnTo>
                    <a:lnTo>
                      <a:pt x="14354" y="1298"/>
                    </a:lnTo>
                    <a:lnTo>
                      <a:pt x="14270" y="1298"/>
                    </a:lnTo>
                    <a:lnTo>
                      <a:pt x="14061" y="1152"/>
                    </a:lnTo>
                    <a:lnTo>
                      <a:pt x="14019" y="1089"/>
                    </a:lnTo>
                    <a:lnTo>
                      <a:pt x="13978" y="1089"/>
                    </a:lnTo>
                    <a:lnTo>
                      <a:pt x="13873" y="1131"/>
                    </a:lnTo>
                    <a:lnTo>
                      <a:pt x="13810" y="1193"/>
                    </a:lnTo>
                    <a:lnTo>
                      <a:pt x="13747" y="1152"/>
                    </a:lnTo>
                    <a:lnTo>
                      <a:pt x="13706" y="1089"/>
                    </a:lnTo>
                    <a:lnTo>
                      <a:pt x="13789" y="1005"/>
                    </a:lnTo>
                    <a:lnTo>
                      <a:pt x="13768" y="921"/>
                    </a:lnTo>
                    <a:lnTo>
                      <a:pt x="13601" y="942"/>
                    </a:lnTo>
                    <a:lnTo>
                      <a:pt x="13538" y="1047"/>
                    </a:lnTo>
                    <a:lnTo>
                      <a:pt x="13454" y="1026"/>
                    </a:lnTo>
                    <a:lnTo>
                      <a:pt x="13454" y="901"/>
                    </a:lnTo>
                    <a:lnTo>
                      <a:pt x="13308" y="942"/>
                    </a:lnTo>
                    <a:lnTo>
                      <a:pt x="13266" y="1005"/>
                    </a:lnTo>
                    <a:lnTo>
                      <a:pt x="13224" y="921"/>
                    </a:lnTo>
                    <a:lnTo>
                      <a:pt x="13287" y="838"/>
                    </a:lnTo>
                    <a:lnTo>
                      <a:pt x="13245" y="775"/>
                    </a:lnTo>
                    <a:lnTo>
                      <a:pt x="13308" y="775"/>
                    </a:lnTo>
                    <a:lnTo>
                      <a:pt x="13371" y="691"/>
                    </a:lnTo>
                    <a:lnTo>
                      <a:pt x="13287" y="608"/>
                    </a:lnTo>
                    <a:lnTo>
                      <a:pt x="13078" y="587"/>
                    </a:lnTo>
                    <a:lnTo>
                      <a:pt x="12910" y="503"/>
                    </a:lnTo>
                    <a:lnTo>
                      <a:pt x="12785" y="524"/>
                    </a:lnTo>
                    <a:lnTo>
                      <a:pt x="12659" y="629"/>
                    </a:lnTo>
                    <a:lnTo>
                      <a:pt x="12638" y="733"/>
                    </a:lnTo>
                    <a:lnTo>
                      <a:pt x="12597" y="775"/>
                    </a:lnTo>
                    <a:lnTo>
                      <a:pt x="12513" y="670"/>
                    </a:lnTo>
                    <a:lnTo>
                      <a:pt x="12638" y="524"/>
                    </a:lnTo>
                    <a:lnTo>
                      <a:pt x="12659" y="461"/>
                    </a:lnTo>
                    <a:lnTo>
                      <a:pt x="12513" y="461"/>
                    </a:lnTo>
                    <a:lnTo>
                      <a:pt x="12387" y="377"/>
                    </a:lnTo>
                    <a:lnTo>
                      <a:pt x="12262" y="377"/>
                    </a:lnTo>
                    <a:lnTo>
                      <a:pt x="12199" y="482"/>
                    </a:lnTo>
                    <a:lnTo>
                      <a:pt x="12011" y="608"/>
                    </a:lnTo>
                    <a:lnTo>
                      <a:pt x="11885" y="733"/>
                    </a:lnTo>
                    <a:lnTo>
                      <a:pt x="11801" y="775"/>
                    </a:lnTo>
                    <a:lnTo>
                      <a:pt x="11781" y="712"/>
                    </a:lnTo>
                    <a:lnTo>
                      <a:pt x="11822" y="587"/>
                    </a:lnTo>
                    <a:lnTo>
                      <a:pt x="11822" y="419"/>
                    </a:lnTo>
                    <a:lnTo>
                      <a:pt x="11781" y="377"/>
                    </a:lnTo>
                    <a:lnTo>
                      <a:pt x="11739" y="273"/>
                    </a:lnTo>
                    <a:lnTo>
                      <a:pt x="11592" y="189"/>
                    </a:lnTo>
                    <a:lnTo>
                      <a:pt x="11467" y="210"/>
                    </a:lnTo>
                    <a:lnTo>
                      <a:pt x="11341" y="189"/>
                    </a:lnTo>
                    <a:lnTo>
                      <a:pt x="11278" y="85"/>
                    </a:lnTo>
                    <a:lnTo>
                      <a:pt x="11153" y="64"/>
                    </a:lnTo>
                    <a:lnTo>
                      <a:pt x="10985" y="105"/>
                    </a:lnTo>
                    <a:lnTo>
                      <a:pt x="10881" y="85"/>
                    </a:lnTo>
                    <a:lnTo>
                      <a:pt x="10818" y="64"/>
                    </a:lnTo>
                    <a:lnTo>
                      <a:pt x="10734" y="1"/>
                    </a:lnTo>
                    <a:lnTo>
                      <a:pt x="10651" y="64"/>
                    </a:lnTo>
                    <a:lnTo>
                      <a:pt x="10630" y="210"/>
                    </a:lnTo>
                    <a:lnTo>
                      <a:pt x="10734" y="461"/>
                    </a:lnTo>
                    <a:lnTo>
                      <a:pt x="10651" y="670"/>
                    </a:lnTo>
                    <a:lnTo>
                      <a:pt x="10651" y="817"/>
                    </a:lnTo>
                    <a:lnTo>
                      <a:pt x="10609" y="880"/>
                    </a:lnTo>
                    <a:lnTo>
                      <a:pt x="10525" y="838"/>
                    </a:lnTo>
                    <a:lnTo>
                      <a:pt x="10400" y="880"/>
                    </a:lnTo>
                    <a:lnTo>
                      <a:pt x="10337" y="817"/>
                    </a:lnTo>
                    <a:lnTo>
                      <a:pt x="10421" y="733"/>
                    </a:lnTo>
                    <a:lnTo>
                      <a:pt x="10358" y="566"/>
                    </a:lnTo>
                    <a:lnTo>
                      <a:pt x="10421" y="461"/>
                    </a:lnTo>
                    <a:lnTo>
                      <a:pt x="10441" y="315"/>
                    </a:lnTo>
                    <a:lnTo>
                      <a:pt x="10400" y="273"/>
                    </a:lnTo>
                    <a:lnTo>
                      <a:pt x="10232" y="398"/>
                    </a:lnTo>
                    <a:lnTo>
                      <a:pt x="10232" y="461"/>
                    </a:lnTo>
                    <a:lnTo>
                      <a:pt x="10149" y="482"/>
                    </a:lnTo>
                    <a:lnTo>
                      <a:pt x="10107" y="419"/>
                    </a:lnTo>
                    <a:lnTo>
                      <a:pt x="10149" y="273"/>
                    </a:lnTo>
                    <a:lnTo>
                      <a:pt x="10107" y="210"/>
                    </a:lnTo>
                    <a:lnTo>
                      <a:pt x="10044" y="252"/>
                    </a:lnTo>
                    <a:lnTo>
                      <a:pt x="9981" y="398"/>
                    </a:lnTo>
                    <a:lnTo>
                      <a:pt x="9897" y="398"/>
                    </a:lnTo>
                    <a:lnTo>
                      <a:pt x="9877" y="357"/>
                    </a:lnTo>
                    <a:lnTo>
                      <a:pt x="9918" y="252"/>
                    </a:lnTo>
                    <a:lnTo>
                      <a:pt x="9918" y="105"/>
                    </a:lnTo>
                    <a:lnTo>
                      <a:pt x="9897" y="64"/>
                    </a:lnTo>
                    <a:lnTo>
                      <a:pt x="962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4" name="Google Shape;784;p34"/>
              <p:cNvSpPr/>
              <p:nvPr/>
            </p:nvSpPr>
            <p:spPr>
              <a:xfrm>
                <a:off x="2905300" y="2401625"/>
                <a:ext cx="91575" cy="98875"/>
              </a:xfrm>
              <a:custGeom>
                <a:avLst/>
                <a:gdLst/>
                <a:ahLst/>
                <a:cxnLst/>
                <a:rect l="l" t="t" r="r" b="b"/>
                <a:pathLst>
                  <a:path w="3663" h="3955" extrusionOk="0">
                    <a:moveTo>
                      <a:pt x="2909" y="2155"/>
                    </a:move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930" y="2155"/>
                    </a:lnTo>
                    <a:close/>
                    <a:moveTo>
                      <a:pt x="2323" y="0"/>
                    </a:moveTo>
                    <a:lnTo>
                      <a:pt x="2260" y="42"/>
                    </a:lnTo>
                    <a:lnTo>
                      <a:pt x="2219" y="84"/>
                    </a:lnTo>
                    <a:lnTo>
                      <a:pt x="2135" y="84"/>
                    </a:lnTo>
                    <a:lnTo>
                      <a:pt x="2072" y="147"/>
                    </a:lnTo>
                    <a:lnTo>
                      <a:pt x="2009" y="188"/>
                    </a:lnTo>
                    <a:lnTo>
                      <a:pt x="1905" y="188"/>
                    </a:lnTo>
                    <a:lnTo>
                      <a:pt x="1779" y="293"/>
                    </a:lnTo>
                    <a:lnTo>
                      <a:pt x="1675" y="377"/>
                    </a:lnTo>
                    <a:lnTo>
                      <a:pt x="1675" y="460"/>
                    </a:lnTo>
                    <a:lnTo>
                      <a:pt x="1612" y="460"/>
                    </a:lnTo>
                    <a:lnTo>
                      <a:pt x="1570" y="419"/>
                    </a:lnTo>
                    <a:lnTo>
                      <a:pt x="1570" y="460"/>
                    </a:lnTo>
                    <a:lnTo>
                      <a:pt x="1591" y="481"/>
                    </a:lnTo>
                    <a:lnTo>
                      <a:pt x="1591" y="523"/>
                    </a:lnTo>
                    <a:lnTo>
                      <a:pt x="1528" y="586"/>
                    </a:lnTo>
                    <a:lnTo>
                      <a:pt x="1423" y="670"/>
                    </a:lnTo>
                    <a:lnTo>
                      <a:pt x="1382" y="691"/>
                    </a:lnTo>
                    <a:lnTo>
                      <a:pt x="1402" y="711"/>
                    </a:lnTo>
                    <a:lnTo>
                      <a:pt x="1382" y="774"/>
                    </a:lnTo>
                    <a:lnTo>
                      <a:pt x="1319" y="774"/>
                    </a:lnTo>
                    <a:lnTo>
                      <a:pt x="1319" y="816"/>
                    </a:lnTo>
                    <a:lnTo>
                      <a:pt x="1382" y="837"/>
                    </a:lnTo>
                    <a:lnTo>
                      <a:pt x="1319" y="879"/>
                    </a:lnTo>
                    <a:lnTo>
                      <a:pt x="1256" y="879"/>
                    </a:lnTo>
                    <a:lnTo>
                      <a:pt x="1193" y="942"/>
                    </a:lnTo>
                    <a:lnTo>
                      <a:pt x="1193" y="1004"/>
                    </a:lnTo>
                    <a:lnTo>
                      <a:pt x="1214" y="1004"/>
                    </a:lnTo>
                    <a:lnTo>
                      <a:pt x="1256" y="1025"/>
                    </a:lnTo>
                    <a:lnTo>
                      <a:pt x="1193" y="1046"/>
                    </a:lnTo>
                    <a:lnTo>
                      <a:pt x="1151" y="1046"/>
                    </a:lnTo>
                    <a:lnTo>
                      <a:pt x="1089" y="1151"/>
                    </a:lnTo>
                    <a:lnTo>
                      <a:pt x="1068" y="1214"/>
                    </a:lnTo>
                    <a:lnTo>
                      <a:pt x="942" y="1402"/>
                    </a:lnTo>
                    <a:lnTo>
                      <a:pt x="942" y="1444"/>
                    </a:lnTo>
                    <a:lnTo>
                      <a:pt x="984" y="1507"/>
                    </a:lnTo>
                    <a:lnTo>
                      <a:pt x="984" y="1548"/>
                    </a:lnTo>
                    <a:lnTo>
                      <a:pt x="963" y="1548"/>
                    </a:lnTo>
                    <a:lnTo>
                      <a:pt x="942" y="1527"/>
                    </a:lnTo>
                    <a:lnTo>
                      <a:pt x="900" y="1527"/>
                    </a:lnTo>
                    <a:lnTo>
                      <a:pt x="796" y="1569"/>
                    </a:lnTo>
                    <a:lnTo>
                      <a:pt x="754" y="1653"/>
                    </a:lnTo>
                    <a:lnTo>
                      <a:pt x="754" y="1716"/>
                    </a:lnTo>
                    <a:lnTo>
                      <a:pt x="796" y="1716"/>
                    </a:lnTo>
                    <a:lnTo>
                      <a:pt x="858" y="1758"/>
                    </a:lnTo>
                    <a:lnTo>
                      <a:pt x="838" y="1779"/>
                    </a:lnTo>
                    <a:lnTo>
                      <a:pt x="838" y="1841"/>
                    </a:lnTo>
                    <a:lnTo>
                      <a:pt x="775" y="1883"/>
                    </a:lnTo>
                    <a:lnTo>
                      <a:pt x="649" y="1862"/>
                    </a:lnTo>
                    <a:lnTo>
                      <a:pt x="628" y="1883"/>
                    </a:lnTo>
                    <a:lnTo>
                      <a:pt x="628" y="1946"/>
                    </a:lnTo>
                    <a:lnTo>
                      <a:pt x="545" y="2030"/>
                    </a:lnTo>
                    <a:lnTo>
                      <a:pt x="482" y="2134"/>
                    </a:lnTo>
                    <a:lnTo>
                      <a:pt x="440" y="2197"/>
                    </a:lnTo>
                    <a:lnTo>
                      <a:pt x="419" y="2197"/>
                    </a:lnTo>
                    <a:lnTo>
                      <a:pt x="419" y="2134"/>
                    </a:lnTo>
                    <a:lnTo>
                      <a:pt x="377" y="2197"/>
                    </a:lnTo>
                    <a:lnTo>
                      <a:pt x="335" y="2134"/>
                    </a:lnTo>
                    <a:lnTo>
                      <a:pt x="356" y="2072"/>
                    </a:lnTo>
                    <a:lnTo>
                      <a:pt x="440" y="2030"/>
                    </a:lnTo>
                    <a:lnTo>
                      <a:pt x="461" y="1967"/>
                    </a:lnTo>
                    <a:lnTo>
                      <a:pt x="440" y="1988"/>
                    </a:lnTo>
                    <a:lnTo>
                      <a:pt x="356" y="2051"/>
                    </a:lnTo>
                    <a:lnTo>
                      <a:pt x="231" y="2134"/>
                    </a:lnTo>
                    <a:lnTo>
                      <a:pt x="168" y="2260"/>
                    </a:lnTo>
                    <a:lnTo>
                      <a:pt x="231" y="2260"/>
                    </a:lnTo>
                    <a:lnTo>
                      <a:pt x="314" y="2239"/>
                    </a:lnTo>
                    <a:lnTo>
                      <a:pt x="461" y="2197"/>
                    </a:lnTo>
                    <a:lnTo>
                      <a:pt x="586" y="2197"/>
                    </a:lnTo>
                    <a:lnTo>
                      <a:pt x="524" y="2281"/>
                    </a:lnTo>
                    <a:lnTo>
                      <a:pt x="419" y="2406"/>
                    </a:lnTo>
                    <a:lnTo>
                      <a:pt x="335" y="2511"/>
                    </a:lnTo>
                    <a:lnTo>
                      <a:pt x="210" y="2595"/>
                    </a:lnTo>
                    <a:lnTo>
                      <a:pt x="105" y="2699"/>
                    </a:lnTo>
                    <a:lnTo>
                      <a:pt x="22" y="2699"/>
                    </a:lnTo>
                    <a:lnTo>
                      <a:pt x="1" y="2762"/>
                    </a:lnTo>
                    <a:lnTo>
                      <a:pt x="22" y="2804"/>
                    </a:lnTo>
                    <a:lnTo>
                      <a:pt x="1" y="2888"/>
                    </a:lnTo>
                    <a:lnTo>
                      <a:pt x="22" y="2929"/>
                    </a:lnTo>
                    <a:lnTo>
                      <a:pt x="63" y="2929"/>
                    </a:lnTo>
                    <a:lnTo>
                      <a:pt x="168" y="2971"/>
                    </a:lnTo>
                    <a:lnTo>
                      <a:pt x="314" y="2929"/>
                    </a:lnTo>
                    <a:lnTo>
                      <a:pt x="377" y="2888"/>
                    </a:lnTo>
                    <a:lnTo>
                      <a:pt x="482" y="2888"/>
                    </a:lnTo>
                    <a:lnTo>
                      <a:pt x="566" y="2825"/>
                    </a:lnTo>
                    <a:lnTo>
                      <a:pt x="586" y="2783"/>
                    </a:lnTo>
                    <a:lnTo>
                      <a:pt x="586" y="2804"/>
                    </a:lnTo>
                    <a:lnTo>
                      <a:pt x="545" y="2888"/>
                    </a:lnTo>
                    <a:lnTo>
                      <a:pt x="670" y="2908"/>
                    </a:lnTo>
                    <a:lnTo>
                      <a:pt x="754" y="2888"/>
                    </a:lnTo>
                    <a:lnTo>
                      <a:pt x="796" y="2929"/>
                    </a:lnTo>
                    <a:lnTo>
                      <a:pt x="963" y="2929"/>
                    </a:lnTo>
                    <a:lnTo>
                      <a:pt x="1047" y="2908"/>
                    </a:lnTo>
                    <a:lnTo>
                      <a:pt x="1068" y="2971"/>
                    </a:lnTo>
                    <a:lnTo>
                      <a:pt x="1110" y="3013"/>
                    </a:lnTo>
                    <a:lnTo>
                      <a:pt x="1214" y="3013"/>
                    </a:lnTo>
                    <a:lnTo>
                      <a:pt x="1256" y="2992"/>
                    </a:lnTo>
                    <a:lnTo>
                      <a:pt x="1277" y="3013"/>
                    </a:lnTo>
                    <a:lnTo>
                      <a:pt x="1361" y="3013"/>
                    </a:lnTo>
                    <a:lnTo>
                      <a:pt x="1402" y="2992"/>
                    </a:lnTo>
                    <a:lnTo>
                      <a:pt x="1402" y="2950"/>
                    </a:lnTo>
                    <a:lnTo>
                      <a:pt x="1486" y="2950"/>
                    </a:lnTo>
                    <a:lnTo>
                      <a:pt x="1507" y="2992"/>
                    </a:lnTo>
                    <a:lnTo>
                      <a:pt x="1570" y="2992"/>
                    </a:lnTo>
                    <a:lnTo>
                      <a:pt x="1591" y="2929"/>
                    </a:lnTo>
                    <a:lnTo>
                      <a:pt x="1633" y="2929"/>
                    </a:lnTo>
                    <a:lnTo>
                      <a:pt x="1695" y="2971"/>
                    </a:lnTo>
                    <a:lnTo>
                      <a:pt x="1716" y="2908"/>
                    </a:lnTo>
                    <a:lnTo>
                      <a:pt x="1716" y="2867"/>
                    </a:lnTo>
                    <a:lnTo>
                      <a:pt x="1716" y="2783"/>
                    </a:lnTo>
                    <a:lnTo>
                      <a:pt x="1737" y="2804"/>
                    </a:lnTo>
                    <a:lnTo>
                      <a:pt x="1779" y="2762"/>
                    </a:lnTo>
                    <a:lnTo>
                      <a:pt x="1821" y="2762"/>
                    </a:lnTo>
                    <a:lnTo>
                      <a:pt x="1800" y="2783"/>
                    </a:lnTo>
                    <a:lnTo>
                      <a:pt x="1779" y="2888"/>
                    </a:lnTo>
                    <a:lnTo>
                      <a:pt x="1800" y="2908"/>
                    </a:lnTo>
                    <a:lnTo>
                      <a:pt x="1821" y="2867"/>
                    </a:lnTo>
                    <a:lnTo>
                      <a:pt x="1884" y="2783"/>
                    </a:lnTo>
                    <a:lnTo>
                      <a:pt x="1905" y="2783"/>
                    </a:lnTo>
                    <a:lnTo>
                      <a:pt x="1905" y="2867"/>
                    </a:lnTo>
                    <a:lnTo>
                      <a:pt x="1884" y="2908"/>
                    </a:lnTo>
                    <a:lnTo>
                      <a:pt x="1884" y="2971"/>
                    </a:lnTo>
                    <a:lnTo>
                      <a:pt x="1947" y="2929"/>
                    </a:lnTo>
                    <a:lnTo>
                      <a:pt x="1988" y="2929"/>
                    </a:lnTo>
                    <a:lnTo>
                      <a:pt x="1988" y="2971"/>
                    </a:lnTo>
                    <a:lnTo>
                      <a:pt x="1884" y="3034"/>
                    </a:lnTo>
                    <a:lnTo>
                      <a:pt x="1779" y="3097"/>
                    </a:lnTo>
                    <a:lnTo>
                      <a:pt x="1800" y="3118"/>
                    </a:lnTo>
                    <a:lnTo>
                      <a:pt x="1821" y="3097"/>
                    </a:lnTo>
                    <a:lnTo>
                      <a:pt x="1884" y="3097"/>
                    </a:lnTo>
                    <a:lnTo>
                      <a:pt x="1905" y="3118"/>
                    </a:lnTo>
                    <a:lnTo>
                      <a:pt x="1947" y="3118"/>
                    </a:lnTo>
                    <a:lnTo>
                      <a:pt x="1988" y="3139"/>
                    </a:lnTo>
                    <a:lnTo>
                      <a:pt x="2030" y="3118"/>
                    </a:lnTo>
                    <a:lnTo>
                      <a:pt x="2114" y="3097"/>
                    </a:lnTo>
                    <a:lnTo>
                      <a:pt x="2135" y="3013"/>
                    </a:lnTo>
                    <a:lnTo>
                      <a:pt x="2135" y="2971"/>
                    </a:lnTo>
                    <a:lnTo>
                      <a:pt x="2198" y="2992"/>
                    </a:lnTo>
                    <a:lnTo>
                      <a:pt x="2260" y="3013"/>
                    </a:lnTo>
                    <a:lnTo>
                      <a:pt x="2323" y="3076"/>
                    </a:lnTo>
                    <a:lnTo>
                      <a:pt x="2365" y="3034"/>
                    </a:lnTo>
                    <a:lnTo>
                      <a:pt x="2428" y="3013"/>
                    </a:lnTo>
                    <a:lnTo>
                      <a:pt x="2511" y="3013"/>
                    </a:lnTo>
                    <a:lnTo>
                      <a:pt x="2449" y="3076"/>
                    </a:lnTo>
                    <a:lnTo>
                      <a:pt x="2449" y="3097"/>
                    </a:lnTo>
                    <a:lnTo>
                      <a:pt x="2344" y="3139"/>
                    </a:lnTo>
                    <a:lnTo>
                      <a:pt x="2239" y="3139"/>
                    </a:lnTo>
                    <a:lnTo>
                      <a:pt x="2198" y="3201"/>
                    </a:lnTo>
                    <a:lnTo>
                      <a:pt x="2198" y="3243"/>
                    </a:lnTo>
                    <a:lnTo>
                      <a:pt x="2156" y="3285"/>
                    </a:lnTo>
                    <a:lnTo>
                      <a:pt x="2135" y="3327"/>
                    </a:lnTo>
                    <a:lnTo>
                      <a:pt x="2051" y="3327"/>
                    </a:lnTo>
                    <a:lnTo>
                      <a:pt x="2009" y="3348"/>
                    </a:lnTo>
                    <a:lnTo>
                      <a:pt x="1988" y="3411"/>
                    </a:lnTo>
                    <a:lnTo>
                      <a:pt x="1926" y="3432"/>
                    </a:lnTo>
                    <a:lnTo>
                      <a:pt x="1821" y="3452"/>
                    </a:lnTo>
                    <a:lnTo>
                      <a:pt x="1737" y="3515"/>
                    </a:lnTo>
                    <a:lnTo>
                      <a:pt x="1716" y="3557"/>
                    </a:lnTo>
                    <a:lnTo>
                      <a:pt x="1737" y="3599"/>
                    </a:lnTo>
                    <a:lnTo>
                      <a:pt x="1779" y="3620"/>
                    </a:lnTo>
                    <a:lnTo>
                      <a:pt x="1842" y="3620"/>
                    </a:lnTo>
                    <a:lnTo>
                      <a:pt x="1884" y="3557"/>
                    </a:lnTo>
                    <a:lnTo>
                      <a:pt x="1905" y="3536"/>
                    </a:lnTo>
                    <a:lnTo>
                      <a:pt x="1947" y="3536"/>
                    </a:lnTo>
                    <a:lnTo>
                      <a:pt x="1947" y="3599"/>
                    </a:lnTo>
                    <a:lnTo>
                      <a:pt x="1988" y="3620"/>
                    </a:lnTo>
                    <a:lnTo>
                      <a:pt x="2051" y="3599"/>
                    </a:lnTo>
                    <a:lnTo>
                      <a:pt x="2114" y="3536"/>
                    </a:lnTo>
                    <a:lnTo>
                      <a:pt x="2135" y="3494"/>
                    </a:lnTo>
                    <a:lnTo>
                      <a:pt x="2156" y="3494"/>
                    </a:lnTo>
                    <a:lnTo>
                      <a:pt x="2198" y="3432"/>
                    </a:lnTo>
                    <a:lnTo>
                      <a:pt x="2219" y="3348"/>
                    </a:lnTo>
                    <a:lnTo>
                      <a:pt x="2260" y="3327"/>
                    </a:lnTo>
                    <a:lnTo>
                      <a:pt x="2365" y="3222"/>
                    </a:lnTo>
                    <a:lnTo>
                      <a:pt x="2428" y="3201"/>
                    </a:lnTo>
                    <a:lnTo>
                      <a:pt x="2470" y="3222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553" y="3285"/>
                    </a:lnTo>
                    <a:lnTo>
                      <a:pt x="2616" y="3243"/>
                    </a:lnTo>
                    <a:lnTo>
                      <a:pt x="2658" y="3118"/>
                    </a:lnTo>
                    <a:lnTo>
                      <a:pt x="2721" y="3013"/>
                    </a:lnTo>
                    <a:lnTo>
                      <a:pt x="2721" y="2908"/>
                    </a:lnTo>
                    <a:lnTo>
                      <a:pt x="2742" y="2888"/>
                    </a:lnTo>
                    <a:lnTo>
                      <a:pt x="2763" y="2888"/>
                    </a:lnTo>
                    <a:lnTo>
                      <a:pt x="2825" y="2929"/>
                    </a:lnTo>
                    <a:lnTo>
                      <a:pt x="2846" y="2929"/>
                    </a:lnTo>
                    <a:lnTo>
                      <a:pt x="2888" y="2971"/>
                    </a:lnTo>
                    <a:lnTo>
                      <a:pt x="2888" y="3076"/>
                    </a:lnTo>
                    <a:lnTo>
                      <a:pt x="2867" y="3139"/>
                    </a:lnTo>
                    <a:lnTo>
                      <a:pt x="2846" y="3222"/>
                    </a:lnTo>
                    <a:lnTo>
                      <a:pt x="2867" y="3285"/>
                    </a:lnTo>
                    <a:lnTo>
                      <a:pt x="2846" y="3327"/>
                    </a:lnTo>
                    <a:lnTo>
                      <a:pt x="2763" y="3411"/>
                    </a:lnTo>
                    <a:lnTo>
                      <a:pt x="2721" y="3557"/>
                    </a:lnTo>
                    <a:lnTo>
                      <a:pt x="2721" y="3641"/>
                    </a:lnTo>
                    <a:lnTo>
                      <a:pt x="2679" y="3662"/>
                    </a:lnTo>
                    <a:lnTo>
                      <a:pt x="2679" y="3745"/>
                    </a:lnTo>
                    <a:lnTo>
                      <a:pt x="2742" y="3766"/>
                    </a:lnTo>
                    <a:lnTo>
                      <a:pt x="2825" y="3724"/>
                    </a:lnTo>
                    <a:lnTo>
                      <a:pt x="2888" y="3557"/>
                    </a:lnTo>
                    <a:lnTo>
                      <a:pt x="2951" y="3557"/>
                    </a:lnTo>
                    <a:lnTo>
                      <a:pt x="3035" y="3452"/>
                    </a:lnTo>
                    <a:lnTo>
                      <a:pt x="3076" y="3411"/>
                    </a:lnTo>
                    <a:lnTo>
                      <a:pt x="3097" y="3432"/>
                    </a:lnTo>
                    <a:lnTo>
                      <a:pt x="3202" y="3432"/>
                    </a:lnTo>
                    <a:lnTo>
                      <a:pt x="3202" y="3494"/>
                    </a:lnTo>
                    <a:lnTo>
                      <a:pt x="3139" y="3515"/>
                    </a:lnTo>
                    <a:lnTo>
                      <a:pt x="3035" y="3620"/>
                    </a:lnTo>
                    <a:lnTo>
                      <a:pt x="3035" y="3704"/>
                    </a:lnTo>
                    <a:lnTo>
                      <a:pt x="2993" y="3766"/>
                    </a:lnTo>
                    <a:lnTo>
                      <a:pt x="3035" y="3808"/>
                    </a:lnTo>
                    <a:lnTo>
                      <a:pt x="3035" y="3913"/>
                    </a:lnTo>
                    <a:lnTo>
                      <a:pt x="3076" y="3955"/>
                    </a:lnTo>
                    <a:lnTo>
                      <a:pt x="3097" y="3871"/>
                    </a:lnTo>
                    <a:lnTo>
                      <a:pt x="3160" y="3829"/>
                    </a:lnTo>
                    <a:lnTo>
                      <a:pt x="3202" y="3829"/>
                    </a:lnTo>
                    <a:lnTo>
                      <a:pt x="3265" y="3913"/>
                    </a:lnTo>
                    <a:lnTo>
                      <a:pt x="3307" y="3934"/>
                    </a:lnTo>
                    <a:lnTo>
                      <a:pt x="3390" y="3871"/>
                    </a:lnTo>
                    <a:lnTo>
                      <a:pt x="3390" y="3829"/>
                    </a:lnTo>
                    <a:lnTo>
                      <a:pt x="3411" y="3829"/>
                    </a:lnTo>
                    <a:lnTo>
                      <a:pt x="3453" y="3766"/>
                    </a:lnTo>
                    <a:lnTo>
                      <a:pt x="3453" y="3704"/>
                    </a:lnTo>
                    <a:lnTo>
                      <a:pt x="3474" y="3704"/>
                    </a:lnTo>
                    <a:lnTo>
                      <a:pt x="3495" y="3641"/>
                    </a:lnTo>
                    <a:lnTo>
                      <a:pt x="3474" y="3599"/>
                    </a:lnTo>
                    <a:lnTo>
                      <a:pt x="3495" y="3494"/>
                    </a:lnTo>
                    <a:lnTo>
                      <a:pt x="3599" y="3348"/>
                    </a:lnTo>
                    <a:lnTo>
                      <a:pt x="3662" y="3243"/>
                    </a:lnTo>
                    <a:lnTo>
                      <a:pt x="3662" y="3097"/>
                    </a:lnTo>
                    <a:lnTo>
                      <a:pt x="3662" y="3034"/>
                    </a:lnTo>
                    <a:lnTo>
                      <a:pt x="3620" y="3034"/>
                    </a:lnTo>
                    <a:lnTo>
                      <a:pt x="3620" y="3097"/>
                    </a:lnTo>
                    <a:lnTo>
                      <a:pt x="3579" y="3180"/>
                    </a:lnTo>
                    <a:lnTo>
                      <a:pt x="3495" y="3222"/>
                    </a:lnTo>
                    <a:lnTo>
                      <a:pt x="3411" y="3306"/>
                    </a:lnTo>
                    <a:lnTo>
                      <a:pt x="3369" y="3327"/>
                    </a:lnTo>
                    <a:lnTo>
                      <a:pt x="3348" y="3243"/>
                    </a:lnTo>
                    <a:lnTo>
                      <a:pt x="3369" y="3180"/>
                    </a:lnTo>
                    <a:lnTo>
                      <a:pt x="3369" y="3097"/>
                    </a:lnTo>
                    <a:lnTo>
                      <a:pt x="3474" y="3013"/>
                    </a:lnTo>
                    <a:lnTo>
                      <a:pt x="3495" y="2971"/>
                    </a:lnTo>
                    <a:lnTo>
                      <a:pt x="3579" y="2888"/>
                    </a:lnTo>
                    <a:lnTo>
                      <a:pt x="3599" y="2888"/>
                    </a:lnTo>
                    <a:lnTo>
                      <a:pt x="3662" y="2867"/>
                    </a:lnTo>
                    <a:lnTo>
                      <a:pt x="3620" y="2804"/>
                    </a:lnTo>
                    <a:lnTo>
                      <a:pt x="3579" y="2867"/>
                    </a:lnTo>
                    <a:lnTo>
                      <a:pt x="3516" y="2867"/>
                    </a:lnTo>
                    <a:lnTo>
                      <a:pt x="3453" y="2888"/>
                    </a:lnTo>
                    <a:lnTo>
                      <a:pt x="3390" y="2888"/>
                    </a:lnTo>
                    <a:lnTo>
                      <a:pt x="3307" y="2929"/>
                    </a:lnTo>
                    <a:lnTo>
                      <a:pt x="3286" y="2992"/>
                    </a:lnTo>
                    <a:lnTo>
                      <a:pt x="3181" y="3076"/>
                    </a:lnTo>
                    <a:lnTo>
                      <a:pt x="3181" y="3118"/>
                    </a:lnTo>
                    <a:lnTo>
                      <a:pt x="3139" y="3180"/>
                    </a:lnTo>
                    <a:lnTo>
                      <a:pt x="3055" y="3097"/>
                    </a:lnTo>
                    <a:lnTo>
                      <a:pt x="3055" y="3034"/>
                    </a:lnTo>
                    <a:lnTo>
                      <a:pt x="3035" y="2971"/>
                    </a:lnTo>
                    <a:lnTo>
                      <a:pt x="3035" y="2888"/>
                    </a:lnTo>
                    <a:lnTo>
                      <a:pt x="3076" y="2929"/>
                    </a:lnTo>
                    <a:lnTo>
                      <a:pt x="3097" y="2929"/>
                    </a:lnTo>
                    <a:lnTo>
                      <a:pt x="3181" y="2825"/>
                    </a:lnTo>
                    <a:lnTo>
                      <a:pt x="3139" y="2825"/>
                    </a:lnTo>
                    <a:lnTo>
                      <a:pt x="3055" y="2804"/>
                    </a:lnTo>
                    <a:lnTo>
                      <a:pt x="3181" y="2804"/>
                    </a:lnTo>
                    <a:lnTo>
                      <a:pt x="3076" y="2783"/>
                    </a:lnTo>
                    <a:lnTo>
                      <a:pt x="3035" y="2720"/>
                    </a:lnTo>
                    <a:lnTo>
                      <a:pt x="3035" y="2678"/>
                    </a:lnTo>
                    <a:lnTo>
                      <a:pt x="3055" y="2657"/>
                    </a:lnTo>
                    <a:lnTo>
                      <a:pt x="3160" y="2657"/>
                    </a:lnTo>
                    <a:lnTo>
                      <a:pt x="3181" y="2616"/>
                    </a:lnTo>
                    <a:lnTo>
                      <a:pt x="3265" y="2553"/>
                    </a:lnTo>
                    <a:lnTo>
                      <a:pt x="3286" y="2448"/>
                    </a:lnTo>
                    <a:lnTo>
                      <a:pt x="3369" y="2448"/>
                    </a:lnTo>
                    <a:lnTo>
                      <a:pt x="3390" y="2469"/>
                    </a:lnTo>
                    <a:lnTo>
                      <a:pt x="3495" y="2406"/>
                    </a:lnTo>
                    <a:lnTo>
                      <a:pt x="3516" y="2344"/>
                    </a:lnTo>
                    <a:lnTo>
                      <a:pt x="3516" y="2260"/>
                    </a:lnTo>
                    <a:lnTo>
                      <a:pt x="3495" y="2197"/>
                    </a:lnTo>
                    <a:lnTo>
                      <a:pt x="3411" y="2281"/>
                    </a:lnTo>
                    <a:lnTo>
                      <a:pt x="3369" y="2302"/>
                    </a:lnTo>
                    <a:lnTo>
                      <a:pt x="3348" y="2281"/>
                    </a:lnTo>
                    <a:lnTo>
                      <a:pt x="3286" y="2281"/>
                    </a:lnTo>
                    <a:lnTo>
                      <a:pt x="3286" y="2344"/>
                    </a:lnTo>
                    <a:lnTo>
                      <a:pt x="3286" y="2406"/>
                    </a:lnTo>
                    <a:lnTo>
                      <a:pt x="3244" y="2448"/>
                    </a:lnTo>
                    <a:lnTo>
                      <a:pt x="3181" y="2448"/>
                    </a:lnTo>
                    <a:lnTo>
                      <a:pt x="3097" y="2490"/>
                    </a:lnTo>
                    <a:lnTo>
                      <a:pt x="3055" y="2511"/>
                    </a:lnTo>
                    <a:lnTo>
                      <a:pt x="3055" y="2574"/>
                    </a:lnTo>
                    <a:lnTo>
                      <a:pt x="2993" y="2595"/>
                    </a:lnTo>
                    <a:lnTo>
                      <a:pt x="3035" y="2553"/>
                    </a:lnTo>
                    <a:lnTo>
                      <a:pt x="3035" y="2469"/>
                    </a:lnTo>
                    <a:lnTo>
                      <a:pt x="2993" y="2490"/>
                    </a:lnTo>
                    <a:lnTo>
                      <a:pt x="2951" y="2490"/>
                    </a:lnTo>
                    <a:lnTo>
                      <a:pt x="2993" y="2469"/>
                    </a:lnTo>
                    <a:lnTo>
                      <a:pt x="3055" y="2406"/>
                    </a:lnTo>
                    <a:lnTo>
                      <a:pt x="3076" y="2385"/>
                    </a:lnTo>
                    <a:lnTo>
                      <a:pt x="3035" y="2364"/>
                    </a:lnTo>
                    <a:lnTo>
                      <a:pt x="3076" y="2302"/>
                    </a:lnTo>
                    <a:lnTo>
                      <a:pt x="3097" y="2239"/>
                    </a:lnTo>
                    <a:lnTo>
                      <a:pt x="3055" y="2197"/>
                    </a:lnTo>
                    <a:lnTo>
                      <a:pt x="2993" y="2260"/>
                    </a:lnTo>
                    <a:lnTo>
                      <a:pt x="3035" y="2197"/>
                    </a:lnTo>
                    <a:lnTo>
                      <a:pt x="3035" y="2155"/>
                    </a:lnTo>
                    <a:lnTo>
                      <a:pt x="2993" y="2155"/>
                    </a:lnTo>
                    <a:lnTo>
                      <a:pt x="2930" y="2176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825" y="2176"/>
                    </a:ln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25" y="2155"/>
                    </a:lnTo>
                    <a:lnTo>
                      <a:pt x="2909" y="2155"/>
                    </a:lnTo>
                    <a:lnTo>
                      <a:pt x="2993" y="2113"/>
                    </a:lnTo>
                    <a:lnTo>
                      <a:pt x="3035" y="2072"/>
                    </a:lnTo>
                    <a:lnTo>
                      <a:pt x="3076" y="2072"/>
                    </a:lnTo>
                    <a:lnTo>
                      <a:pt x="3139" y="2051"/>
                    </a:lnTo>
                    <a:lnTo>
                      <a:pt x="3139" y="1967"/>
                    </a:lnTo>
                    <a:lnTo>
                      <a:pt x="3181" y="1904"/>
                    </a:lnTo>
                    <a:lnTo>
                      <a:pt x="3181" y="1862"/>
                    </a:lnTo>
                    <a:lnTo>
                      <a:pt x="3097" y="1800"/>
                    </a:lnTo>
                    <a:lnTo>
                      <a:pt x="2993" y="1716"/>
                    </a:lnTo>
                    <a:lnTo>
                      <a:pt x="2888" y="1716"/>
                    </a:lnTo>
                    <a:lnTo>
                      <a:pt x="2783" y="1737"/>
                    </a:lnTo>
                    <a:lnTo>
                      <a:pt x="2742" y="1737"/>
                    </a:lnTo>
                    <a:lnTo>
                      <a:pt x="2742" y="1779"/>
                    </a:lnTo>
                    <a:lnTo>
                      <a:pt x="2679" y="1862"/>
                    </a:lnTo>
                    <a:lnTo>
                      <a:pt x="2658" y="1946"/>
                    </a:lnTo>
                    <a:lnTo>
                      <a:pt x="2679" y="1841"/>
                    </a:lnTo>
                    <a:lnTo>
                      <a:pt x="2658" y="1820"/>
                    </a:lnTo>
                    <a:lnTo>
                      <a:pt x="2679" y="1758"/>
                    </a:lnTo>
                    <a:lnTo>
                      <a:pt x="2742" y="1674"/>
                    </a:lnTo>
                    <a:lnTo>
                      <a:pt x="2721" y="1674"/>
                    </a:lnTo>
                    <a:lnTo>
                      <a:pt x="2637" y="1737"/>
                    </a:lnTo>
                    <a:lnTo>
                      <a:pt x="2574" y="1779"/>
                    </a:lnTo>
                    <a:lnTo>
                      <a:pt x="2553" y="1862"/>
                    </a:lnTo>
                    <a:lnTo>
                      <a:pt x="2532" y="1841"/>
                    </a:lnTo>
                    <a:lnTo>
                      <a:pt x="2491" y="1862"/>
                    </a:lnTo>
                    <a:lnTo>
                      <a:pt x="2449" y="1883"/>
                    </a:lnTo>
                    <a:lnTo>
                      <a:pt x="2428" y="1862"/>
                    </a:lnTo>
                    <a:lnTo>
                      <a:pt x="2344" y="1925"/>
                    </a:lnTo>
                    <a:lnTo>
                      <a:pt x="2323" y="2030"/>
                    </a:lnTo>
                    <a:lnTo>
                      <a:pt x="2239" y="2072"/>
                    </a:lnTo>
                    <a:lnTo>
                      <a:pt x="2239" y="2072"/>
                    </a:lnTo>
                    <a:lnTo>
                      <a:pt x="2281" y="2030"/>
                    </a:lnTo>
                    <a:lnTo>
                      <a:pt x="2323" y="1883"/>
                    </a:lnTo>
                    <a:lnTo>
                      <a:pt x="2365" y="1779"/>
                    </a:lnTo>
                    <a:lnTo>
                      <a:pt x="2344" y="1758"/>
                    </a:lnTo>
                    <a:lnTo>
                      <a:pt x="2281" y="1779"/>
                    </a:lnTo>
                    <a:lnTo>
                      <a:pt x="2260" y="1841"/>
                    </a:lnTo>
                    <a:lnTo>
                      <a:pt x="2219" y="1883"/>
                    </a:lnTo>
                    <a:lnTo>
                      <a:pt x="2177" y="1841"/>
                    </a:lnTo>
                    <a:lnTo>
                      <a:pt x="2239" y="1779"/>
                    </a:lnTo>
                    <a:lnTo>
                      <a:pt x="2260" y="1737"/>
                    </a:lnTo>
                    <a:lnTo>
                      <a:pt x="2260" y="1716"/>
                    </a:lnTo>
                    <a:lnTo>
                      <a:pt x="2177" y="1737"/>
                    </a:lnTo>
                    <a:lnTo>
                      <a:pt x="2072" y="1820"/>
                    </a:lnTo>
                    <a:lnTo>
                      <a:pt x="2030" y="1820"/>
                    </a:lnTo>
                    <a:lnTo>
                      <a:pt x="2009" y="1737"/>
                    </a:lnTo>
                    <a:lnTo>
                      <a:pt x="1967" y="1737"/>
                    </a:lnTo>
                    <a:lnTo>
                      <a:pt x="1905" y="1820"/>
                    </a:lnTo>
                    <a:lnTo>
                      <a:pt x="1842" y="1820"/>
                    </a:lnTo>
                    <a:lnTo>
                      <a:pt x="1842" y="1779"/>
                    </a:lnTo>
                    <a:lnTo>
                      <a:pt x="1947" y="1737"/>
                    </a:lnTo>
                    <a:lnTo>
                      <a:pt x="2009" y="1632"/>
                    </a:lnTo>
                    <a:lnTo>
                      <a:pt x="2030" y="1548"/>
                    </a:lnTo>
                    <a:lnTo>
                      <a:pt x="1947" y="1548"/>
                    </a:lnTo>
                    <a:lnTo>
                      <a:pt x="1863" y="1611"/>
                    </a:lnTo>
                    <a:lnTo>
                      <a:pt x="1863" y="1611"/>
                    </a:lnTo>
                    <a:lnTo>
                      <a:pt x="1926" y="1527"/>
                    </a:lnTo>
                    <a:lnTo>
                      <a:pt x="2009" y="1444"/>
                    </a:lnTo>
                    <a:lnTo>
                      <a:pt x="2114" y="1444"/>
                    </a:lnTo>
                    <a:lnTo>
                      <a:pt x="2156" y="1423"/>
                    </a:lnTo>
                    <a:lnTo>
                      <a:pt x="2239" y="1381"/>
                    </a:lnTo>
                    <a:lnTo>
                      <a:pt x="2281" y="1339"/>
                    </a:lnTo>
                    <a:lnTo>
                      <a:pt x="2281" y="1276"/>
                    </a:lnTo>
                    <a:lnTo>
                      <a:pt x="2260" y="1318"/>
                    </a:lnTo>
                    <a:lnTo>
                      <a:pt x="2156" y="1339"/>
                    </a:lnTo>
                    <a:lnTo>
                      <a:pt x="2114" y="1318"/>
                    </a:lnTo>
                    <a:lnTo>
                      <a:pt x="2030" y="1235"/>
                    </a:lnTo>
                    <a:lnTo>
                      <a:pt x="1967" y="1235"/>
                    </a:lnTo>
                    <a:lnTo>
                      <a:pt x="1926" y="1255"/>
                    </a:lnTo>
                    <a:lnTo>
                      <a:pt x="1967" y="1151"/>
                    </a:lnTo>
                    <a:lnTo>
                      <a:pt x="2009" y="1130"/>
                    </a:lnTo>
                    <a:lnTo>
                      <a:pt x="2009" y="1109"/>
                    </a:lnTo>
                    <a:lnTo>
                      <a:pt x="1947" y="1130"/>
                    </a:lnTo>
                    <a:lnTo>
                      <a:pt x="1863" y="1193"/>
                    </a:lnTo>
                    <a:lnTo>
                      <a:pt x="1821" y="1255"/>
                    </a:lnTo>
                    <a:lnTo>
                      <a:pt x="1737" y="1339"/>
                    </a:lnTo>
                    <a:lnTo>
                      <a:pt x="1695" y="1360"/>
                    </a:lnTo>
                    <a:lnTo>
                      <a:pt x="1654" y="1423"/>
                    </a:lnTo>
                    <a:lnTo>
                      <a:pt x="1591" y="1465"/>
                    </a:lnTo>
                    <a:lnTo>
                      <a:pt x="1528" y="1548"/>
                    </a:lnTo>
                    <a:lnTo>
                      <a:pt x="1528" y="1444"/>
                    </a:lnTo>
                    <a:lnTo>
                      <a:pt x="1549" y="1360"/>
                    </a:lnTo>
                    <a:lnTo>
                      <a:pt x="1612" y="1297"/>
                    </a:lnTo>
                    <a:lnTo>
                      <a:pt x="1612" y="1235"/>
                    </a:lnTo>
                    <a:lnTo>
                      <a:pt x="1654" y="1130"/>
                    </a:lnTo>
                    <a:lnTo>
                      <a:pt x="1737" y="1046"/>
                    </a:lnTo>
                    <a:lnTo>
                      <a:pt x="1737" y="1004"/>
                    </a:lnTo>
                    <a:lnTo>
                      <a:pt x="1800" y="942"/>
                    </a:lnTo>
                    <a:lnTo>
                      <a:pt x="1821" y="921"/>
                    </a:lnTo>
                    <a:lnTo>
                      <a:pt x="1863" y="816"/>
                    </a:lnTo>
                    <a:lnTo>
                      <a:pt x="1947" y="774"/>
                    </a:lnTo>
                    <a:lnTo>
                      <a:pt x="2009" y="711"/>
                    </a:lnTo>
                    <a:lnTo>
                      <a:pt x="2051" y="691"/>
                    </a:lnTo>
                    <a:lnTo>
                      <a:pt x="2072" y="670"/>
                    </a:lnTo>
                    <a:lnTo>
                      <a:pt x="2072" y="607"/>
                    </a:lnTo>
                    <a:lnTo>
                      <a:pt x="2114" y="565"/>
                    </a:lnTo>
                    <a:lnTo>
                      <a:pt x="2135" y="481"/>
                    </a:lnTo>
                    <a:lnTo>
                      <a:pt x="2135" y="523"/>
                    </a:lnTo>
                    <a:lnTo>
                      <a:pt x="2114" y="586"/>
                    </a:lnTo>
                    <a:lnTo>
                      <a:pt x="2135" y="628"/>
                    </a:lnTo>
                    <a:lnTo>
                      <a:pt x="2219" y="523"/>
                    </a:lnTo>
                    <a:lnTo>
                      <a:pt x="2323" y="419"/>
                    </a:lnTo>
                    <a:lnTo>
                      <a:pt x="2344" y="377"/>
                    </a:lnTo>
                    <a:lnTo>
                      <a:pt x="2323" y="314"/>
                    </a:lnTo>
                    <a:lnTo>
                      <a:pt x="2260" y="314"/>
                    </a:lnTo>
                    <a:lnTo>
                      <a:pt x="2219" y="377"/>
                    </a:lnTo>
                    <a:lnTo>
                      <a:pt x="2177" y="293"/>
                    </a:lnTo>
                    <a:lnTo>
                      <a:pt x="2156" y="272"/>
                    </a:lnTo>
                    <a:lnTo>
                      <a:pt x="2177" y="209"/>
                    </a:lnTo>
                    <a:lnTo>
                      <a:pt x="2239" y="188"/>
                    </a:lnTo>
                    <a:lnTo>
                      <a:pt x="2323" y="209"/>
                    </a:lnTo>
                    <a:lnTo>
                      <a:pt x="2386" y="272"/>
                    </a:lnTo>
                    <a:lnTo>
                      <a:pt x="2449" y="251"/>
                    </a:lnTo>
                    <a:lnTo>
                      <a:pt x="2491" y="188"/>
                    </a:lnTo>
                    <a:lnTo>
                      <a:pt x="2491" y="42"/>
                    </a:lnTo>
                    <a:lnTo>
                      <a:pt x="2428" y="42"/>
                    </a:lnTo>
                    <a:lnTo>
                      <a:pt x="2365" y="63"/>
                    </a:lnTo>
                    <a:lnTo>
                      <a:pt x="2365" y="105"/>
                    </a:lnTo>
                    <a:lnTo>
                      <a:pt x="2323" y="105"/>
                    </a:lnTo>
                    <a:lnTo>
                      <a:pt x="2323" y="63"/>
                    </a:lnTo>
                    <a:lnTo>
                      <a:pt x="232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5" name="Google Shape;785;p34"/>
              <p:cNvSpPr/>
              <p:nvPr/>
            </p:nvSpPr>
            <p:spPr>
              <a:xfrm>
                <a:off x="1922950" y="1659350"/>
                <a:ext cx="1050900" cy="913875"/>
              </a:xfrm>
              <a:custGeom>
                <a:avLst/>
                <a:gdLst/>
                <a:ahLst/>
                <a:cxnLst/>
                <a:rect l="l" t="t" r="r" b="b"/>
                <a:pathLst>
                  <a:path w="42036" h="36555" extrusionOk="0">
                    <a:moveTo>
                      <a:pt x="4310" y="26929"/>
                    </a:moveTo>
                    <a:lnTo>
                      <a:pt x="4310" y="27055"/>
                    </a:lnTo>
                    <a:lnTo>
                      <a:pt x="4268" y="27159"/>
                    </a:lnTo>
                    <a:lnTo>
                      <a:pt x="4101" y="27264"/>
                    </a:lnTo>
                    <a:lnTo>
                      <a:pt x="4076" y="27268"/>
                    </a:lnTo>
                    <a:lnTo>
                      <a:pt x="4076" y="27268"/>
                    </a:lnTo>
                    <a:lnTo>
                      <a:pt x="4101" y="27243"/>
                    </a:lnTo>
                    <a:lnTo>
                      <a:pt x="4185" y="27117"/>
                    </a:lnTo>
                    <a:lnTo>
                      <a:pt x="4289" y="27034"/>
                    </a:lnTo>
                    <a:lnTo>
                      <a:pt x="4310" y="26929"/>
                    </a:lnTo>
                    <a:close/>
                    <a:moveTo>
                      <a:pt x="40508" y="27473"/>
                    </a:moveTo>
                    <a:lnTo>
                      <a:pt x="40299" y="27557"/>
                    </a:lnTo>
                    <a:lnTo>
                      <a:pt x="40090" y="27599"/>
                    </a:lnTo>
                    <a:lnTo>
                      <a:pt x="40132" y="27536"/>
                    </a:lnTo>
                    <a:lnTo>
                      <a:pt x="40404" y="27473"/>
                    </a:lnTo>
                    <a:close/>
                    <a:moveTo>
                      <a:pt x="19459" y="0"/>
                    </a:moveTo>
                    <a:lnTo>
                      <a:pt x="19187" y="105"/>
                    </a:lnTo>
                    <a:lnTo>
                      <a:pt x="18810" y="105"/>
                    </a:lnTo>
                    <a:lnTo>
                      <a:pt x="18727" y="63"/>
                    </a:lnTo>
                    <a:lnTo>
                      <a:pt x="18392" y="84"/>
                    </a:lnTo>
                    <a:lnTo>
                      <a:pt x="18308" y="63"/>
                    </a:lnTo>
                    <a:lnTo>
                      <a:pt x="18120" y="105"/>
                    </a:lnTo>
                    <a:lnTo>
                      <a:pt x="18078" y="210"/>
                    </a:lnTo>
                    <a:lnTo>
                      <a:pt x="18120" y="272"/>
                    </a:lnTo>
                    <a:lnTo>
                      <a:pt x="18078" y="377"/>
                    </a:lnTo>
                    <a:lnTo>
                      <a:pt x="18078" y="524"/>
                    </a:lnTo>
                    <a:lnTo>
                      <a:pt x="18036" y="775"/>
                    </a:lnTo>
                    <a:lnTo>
                      <a:pt x="18120" y="879"/>
                    </a:lnTo>
                    <a:lnTo>
                      <a:pt x="18036" y="942"/>
                    </a:lnTo>
                    <a:lnTo>
                      <a:pt x="17911" y="942"/>
                    </a:lnTo>
                    <a:lnTo>
                      <a:pt x="17764" y="1109"/>
                    </a:lnTo>
                    <a:lnTo>
                      <a:pt x="17701" y="1214"/>
                    </a:lnTo>
                    <a:lnTo>
                      <a:pt x="17471" y="1298"/>
                    </a:lnTo>
                    <a:lnTo>
                      <a:pt x="17367" y="1444"/>
                    </a:lnTo>
                    <a:lnTo>
                      <a:pt x="17095" y="1633"/>
                    </a:lnTo>
                    <a:lnTo>
                      <a:pt x="16990" y="1674"/>
                    </a:lnTo>
                    <a:lnTo>
                      <a:pt x="16990" y="1758"/>
                    </a:lnTo>
                    <a:lnTo>
                      <a:pt x="17074" y="1925"/>
                    </a:lnTo>
                    <a:lnTo>
                      <a:pt x="17074" y="2072"/>
                    </a:lnTo>
                    <a:lnTo>
                      <a:pt x="16760" y="2030"/>
                    </a:lnTo>
                    <a:lnTo>
                      <a:pt x="16739" y="1946"/>
                    </a:lnTo>
                    <a:lnTo>
                      <a:pt x="16718" y="2135"/>
                    </a:lnTo>
                    <a:lnTo>
                      <a:pt x="16613" y="2281"/>
                    </a:lnTo>
                    <a:lnTo>
                      <a:pt x="16530" y="2302"/>
                    </a:lnTo>
                    <a:lnTo>
                      <a:pt x="16509" y="2365"/>
                    </a:lnTo>
                    <a:lnTo>
                      <a:pt x="16300" y="2407"/>
                    </a:lnTo>
                    <a:lnTo>
                      <a:pt x="16237" y="2574"/>
                    </a:lnTo>
                    <a:lnTo>
                      <a:pt x="16132" y="2595"/>
                    </a:lnTo>
                    <a:lnTo>
                      <a:pt x="16028" y="2700"/>
                    </a:lnTo>
                    <a:lnTo>
                      <a:pt x="15944" y="2700"/>
                    </a:lnTo>
                    <a:lnTo>
                      <a:pt x="15923" y="2804"/>
                    </a:lnTo>
                    <a:lnTo>
                      <a:pt x="15776" y="2888"/>
                    </a:lnTo>
                    <a:lnTo>
                      <a:pt x="15672" y="2993"/>
                    </a:lnTo>
                    <a:lnTo>
                      <a:pt x="15588" y="2972"/>
                    </a:lnTo>
                    <a:lnTo>
                      <a:pt x="15588" y="3076"/>
                    </a:lnTo>
                    <a:lnTo>
                      <a:pt x="15776" y="3139"/>
                    </a:lnTo>
                    <a:lnTo>
                      <a:pt x="15986" y="3139"/>
                    </a:lnTo>
                    <a:lnTo>
                      <a:pt x="15986" y="3244"/>
                    </a:lnTo>
                    <a:lnTo>
                      <a:pt x="15839" y="3202"/>
                    </a:lnTo>
                    <a:lnTo>
                      <a:pt x="15944" y="3516"/>
                    </a:lnTo>
                    <a:lnTo>
                      <a:pt x="16028" y="3599"/>
                    </a:lnTo>
                    <a:lnTo>
                      <a:pt x="16007" y="3725"/>
                    </a:lnTo>
                    <a:lnTo>
                      <a:pt x="15944" y="3871"/>
                    </a:lnTo>
                    <a:lnTo>
                      <a:pt x="16007" y="4018"/>
                    </a:lnTo>
                    <a:lnTo>
                      <a:pt x="15902" y="4185"/>
                    </a:lnTo>
                    <a:lnTo>
                      <a:pt x="15902" y="4394"/>
                    </a:lnTo>
                    <a:lnTo>
                      <a:pt x="15902" y="4457"/>
                    </a:lnTo>
                    <a:lnTo>
                      <a:pt x="15986" y="4457"/>
                    </a:lnTo>
                    <a:lnTo>
                      <a:pt x="16028" y="4478"/>
                    </a:lnTo>
                    <a:lnTo>
                      <a:pt x="16111" y="4394"/>
                    </a:lnTo>
                    <a:lnTo>
                      <a:pt x="16237" y="4374"/>
                    </a:lnTo>
                    <a:lnTo>
                      <a:pt x="16341" y="4394"/>
                    </a:lnTo>
                    <a:lnTo>
                      <a:pt x="16509" y="4374"/>
                    </a:lnTo>
                    <a:lnTo>
                      <a:pt x="16676" y="4227"/>
                    </a:lnTo>
                    <a:lnTo>
                      <a:pt x="16760" y="4185"/>
                    </a:lnTo>
                    <a:lnTo>
                      <a:pt x="16760" y="4143"/>
                    </a:lnTo>
                    <a:lnTo>
                      <a:pt x="16864" y="4060"/>
                    </a:lnTo>
                    <a:lnTo>
                      <a:pt x="16927" y="4143"/>
                    </a:lnTo>
                    <a:lnTo>
                      <a:pt x="16927" y="4269"/>
                    </a:lnTo>
                    <a:lnTo>
                      <a:pt x="16844" y="4353"/>
                    </a:lnTo>
                    <a:lnTo>
                      <a:pt x="16927" y="4457"/>
                    </a:lnTo>
                    <a:lnTo>
                      <a:pt x="17032" y="4457"/>
                    </a:lnTo>
                    <a:lnTo>
                      <a:pt x="17178" y="4374"/>
                    </a:lnTo>
                    <a:lnTo>
                      <a:pt x="17346" y="4374"/>
                    </a:lnTo>
                    <a:lnTo>
                      <a:pt x="17450" y="4248"/>
                    </a:lnTo>
                    <a:lnTo>
                      <a:pt x="17597" y="4081"/>
                    </a:lnTo>
                    <a:lnTo>
                      <a:pt x="17576" y="4018"/>
                    </a:lnTo>
                    <a:lnTo>
                      <a:pt x="17701" y="3850"/>
                    </a:lnTo>
                    <a:lnTo>
                      <a:pt x="17722" y="3767"/>
                    </a:lnTo>
                    <a:lnTo>
                      <a:pt x="17890" y="3620"/>
                    </a:lnTo>
                    <a:lnTo>
                      <a:pt x="18015" y="3557"/>
                    </a:lnTo>
                    <a:lnTo>
                      <a:pt x="18036" y="3453"/>
                    </a:lnTo>
                    <a:lnTo>
                      <a:pt x="18099" y="3306"/>
                    </a:lnTo>
                    <a:lnTo>
                      <a:pt x="18204" y="3453"/>
                    </a:lnTo>
                    <a:lnTo>
                      <a:pt x="18350" y="3453"/>
                    </a:lnTo>
                    <a:lnTo>
                      <a:pt x="18497" y="3348"/>
                    </a:lnTo>
                    <a:lnTo>
                      <a:pt x="18643" y="3327"/>
                    </a:lnTo>
                    <a:lnTo>
                      <a:pt x="18706" y="3181"/>
                    </a:lnTo>
                    <a:lnTo>
                      <a:pt x="18769" y="3181"/>
                    </a:lnTo>
                    <a:lnTo>
                      <a:pt x="18873" y="3076"/>
                    </a:lnTo>
                    <a:lnTo>
                      <a:pt x="18936" y="2909"/>
                    </a:lnTo>
                    <a:lnTo>
                      <a:pt x="19124" y="2867"/>
                    </a:lnTo>
                    <a:lnTo>
                      <a:pt x="19187" y="2846"/>
                    </a:lnTo>
                    <a:lnTo>
                      <a:pt x="19250" y="2888"/>
                    </a:lnTo>
                    <a:lnTo>
                      <a:pt x="19333" y="2846"/>
                    </a:lnTo>
                    <a:lnTo>
                      <a:pt x="19543" y="2846"/>
                    </a:lnTo>
                    <a:lnTo>
                      <a:pt x="19668" y="2762"/>
                    </a:lnTo>
                    <a:lnTo>
                      <a:pt x="19773" y="2762"/>
                    </a:lnTo>
                    <a:lnTo>
                      <a:pt x="20024" y="2658"/>
                    </a:lnTo>
                    <a:lnTo>
                      <a:pt x="20233" y="2616"/>
                    </a:lnTo>
                    <a:lnTo>
                      <a:pt x="20296" y="2595"/>
                    </a:lnTo>
                    <a:cubicBezTo>
                      <a:pt x="20338" y="2679"/>
                      <a:pt x="20442" y="2741"/>
                      <a:pt x="20526" y="2762"/>
                    </a:cubicBezTo>
                    <a:lnTo>
                      <a:pt x="20401" y="2783"/>
                    </a:lnTo>
                    <a:lnTo>
                      <a:pt x="19877" y="2993"/>
                    </a:lnTo>
                    <a:lnTo>
                      <a:pt x="19752" y="3097"/>
                    </a:lnTo>
                    <a:lnTo>
                      <a:pt x="19438" y="3181"/>
                    </a:lnTo>
                    <a:lnTo>
                      <a:pt x="19020" y="3369"/>
                    </a:lnTo>
                    <a:lnTo>
                      <a:pt x="18852" y="3495"/>
                    </a:lnTo>
                    <a:lnTo>
                      <a:pt x="18852" y="3578"/>
                    </a:lnTo>
                    <a:lnTo>
                      <a:pt x="18957" y="3578"/>
                    </a:lnTo>
                    <a:lnTo>
                      <a:pt x="19020" y="3620"/>
                    </a:lnTo>
                    <a:lnTo>
                      <a:pt x="18915" y="3704"/>
                    </a:lnTo>
                    <a:lnTo>
                      <a:pt x="18831" y="3704"/>
                    </a:lnTo>
                    <a:lnTo>
                      <a:pt x="18643" y="3850"/>
                    </a:lnTo>
                    <a:lnTo>
                      <a:pt x="18497" y="3850"/>
                    </a:lnTo>
                    <a:lnTo>
                      <a:pt x="18413" y="3934"/>
                    </a:lnTo>
                    <a:lnTo>
                      <a:pt x="18392" y="4039"/>
                    </a:lnTo>
                    <a:lnTo>
                      <a:pt x="18225" y="4143"/>
                    </a:lnTo>
                    <a:lnTo>
                      <a:pt x="18162" y="4227"/>
                    </a:lnTo>
                    <a:lnTo>
                      <a:pt x="18162" y="4353"/>
                    </a:lnTo>
                    <a:lnTo>
                      <a:pt x="18225" y="4311"/>
                    </a:lnTo>
                    <a:lnTo>
                      <a:pt x="18308" y="4374"/>
                    </a:lnTo>
                    <a:lnTo>
                      <a:pt x="18266" y="4457"/>
                    </a:lnTo>
                    <a:lnTo>
                      <a:pt x="18287" y="4478"/>
                    </a:lnTo>
                    <a:lnTo>
                      <a:pt x="18371" y="4457"/>
                    </a:lnTo>
                    <a:lnTo>
                      <a:pt x="18476" y="4415"/>
                    </a:lnTo>
                    <a:lnTo>
                      <a:pt x="18580" y="4415"/>
                    </a:lnTo>
                    <a:lnTo>
                      <a:pt x="18643" y="4457"/>
                    </a:lnTo>
                    <a:lnTo>
                      <a:pt x="18622" y="4541"/>
                    </a:lnTo>
                    <a:lnTo>
                      <a:pt x="18497" y="4583"/>
                    </a:lnTo>
                    <a:lnTo>
                      <a:pt x="18371" y="4520"/>
                    </a:lnTo>
                    <a:lnTo>
                      <a:pt x="18287" y="4562"/>
                    </a:lnTo>
                    <a:lnTo>
                      <a:pt x="18308" y="4666"/>
                    </a:lnTo>
                    <a:lnTo>
                      <a:pt x="18517" y="4771"/>
                    </a:lnTo>
                    <a:lnTo>
                      <a:pt x="18601" y="4729"/>
                    </a:lnTo>
                    <a:lnTo>
                      <a:pt x="18622" y="4646"/>
                    </a:lnTo>
                    <a:lnTo>
                      <a:pt x="18685" y="4646"/>
                    </a:lnTo>
                    <a:lnTo>
                      <a:pt x="18727" y="4687"/>
                    </a:lnTo>
                    <a:lnTo>
                      <a:pt x="18685" y="4771"/>
                    </a:lnTo>
                    <a:lnTo>
                      <a:pt x="18789" y="4771"/>
                    </a:lnTo>
                    <a:lnTo>
                      <a:pt x="18957" y="4792"/>
                    </a:lnTo>
                    <a:lnTo>
                      <a:pt x="19145" y="4750"/>
                    </a:lnTo>
                    <a:lnTo>
                      <a:pt x="19250" y="4750"/>
                    </a:lnTo>
                    <a:lnTo>
                      <a:pt x="19417" y="4834"/>
                    </a:lnTo>
                    <a:lnTo>
                      <a:pt x="19543" y="4792"/>
                    </a:lnTo>
                    <a:lnTo>
                      <a:pt x="19647" y="4855"/>
                    </a:lnTo>
                    <a:lnTo>
                      <a:pt x="19689" y="4959"/>
                    </a:lnTo>
                    <a:lnTo>
                      <a:pt x="19773" y="4959"/>
                    </a:lnTo>
                    <a:lnTo>
                      <a:pt x="19752" y="5001"/>
                    </a:lnTo>
                    <a:lnTo>
                      <a:pt x="19668" y="5001"/>
                    </a:lnTo>
                    <a:lnTo>
                      <a:pt x="19522" y="4897"/>
                    </a:lnTo>
                    <a:lnTo>
                      <a:pt x="19313" y="4897"/>
                    </a:lnTo>
                    <a:lnTo>
                      <a:pt x="19250" y="4959"/>
                    </a:lnTo>
                    <a:lnTo>
                      <a:pt x="19375" y="5001"/>
                    </a:lnTo>
                    <a:lnTo>
                      <a:pt x="19417" y="5064"/>
                    </a:lnTo>
                    <a:lnTo>
                      <a:pt x="19229" y="5064"/>
                    </a:lnTo>
                    <a:lnTo>
                      <a:pt x="19145" y="4980"/>
                    </a:lnTo>
                    <a:lnTo>
                      <a:pt x="18894" y="5001"/>
                    </a:lnTo>
                    <a:lnTo>
                      <a:pt x="18810" y="5064"/>
                    </a:lnTo>
                    <a:lnTo>
                      <a:pt x="18727" y="5001"/>
                    </a:lnTo>
                    <a:lnTo>
                      <a:pt x="18643" y="5001"/>
                    </a:lnTo>
                    <a:lnTo>
                      <a:pt x="18580" y="5043"/>
                    </a:lnTo>
                    <a:lnTo>
                      <a:pt x="18497" y="5043"/>
                    </a:lnTo>
                    <a:lnTo>
                      <a:pt x="18225" y="5064"/>
                    </a:lnTo>
                    <a:lnTo>
                      <a:pt x="18183" y="5085"/>
                    </a:lnTo>
                    <a:lnTo>
                      <a:pt x="17973" y="5127"/>
                    </a:lnTo>
                    <a:lnTo>
                      <a:pt x="17953" y="5273"/>
                    </a:lnTo>
                    <a:lnTo>
                      <a:pt x="17973" y="5587"/>
                    </a:lnTo>
                    <a:lnTo>
                      <a:pt x="17994" y="5629"/>
                    </a:lnTo>
                    <a:lnTo>
                      <a:pt x="17994" y="5754"/>
                    </a:lnTo>
                    <a:lnTo>
                      <a:pt x="17953" y="5796"/>
                    </a:lnTo>
                    <a:lnTo>
                      <a:pt x="17953" y="5859"/>
                    </a:lnTo>
                    <a:lnTo>
                      <a:pt x="17994" y="5922"/>
                    </a:lnTo>
                    <a:lnTo>
                      <a:pt x="18099" y="5901"/>
                    </a:lnTo>
                    <a:lnTo>
                      <a:pt x="18141" y="5901"/>
                    </a:lnTo>
                    <a:lnTo>
                      <a:pt x="18225" y="5943"/>
                    </a:lnTo>
                    <a:lnTo>
                      <a:pt x="18329" y="5943"/>
                    </a:lnTo>
                    <a:lnTo>
                      <a:pt x="18371" y="5901"/>
                    </a:lnTo>
                    <a:lnTo>
                      <a:pt x="18392" y="5901"/>
                    </a:lnTo>
                    <a:lnTo>
                      <a:pt x="18476" y="5922"/>
                    </a:lnTo>
                    <a:lnTo>
                      <a:pt x="18517" y="5964"/>
                    </a:lnTo>
                    <a:lnTo>
                      <a:pt x="18559" y="5943"/>
                    </a:lnTo>
                    <a:lnTo>
                      <a:pt x="18622" y="6006"/>
                    </a:lnTo>
                    <a:lnTo>
                      <a:pt x="18622" y="6047"/>
                    </a:lnTo>
                    <a:lnTo>
                      <a:pt x="18706" y="6068"/>
                    </a:lnTo>
                    <a:lnTo>
                      <a:pt x="18789" y="6047"/>
                    </a:lnTo>
                    <a:lnTo>
                      <a:pt x="18852" y="6047"/>
                    </a:lnTo>
                    <a:lnTo>
                      <a:pt x="18915" y="6110"/>
                    </a:lnTo>
                    <a:lnTo>
                      <a:pt x="19041" y="6110"/>
                    </a:lnTo>
                    <a:lnTo>
                      <a:pt x="19124" y="6068"/>
                    </a:lnTo>
                    <a:lnTo>
                      <a:pt x="19229" y="6131"/>
                    </a:lnTo>
                    <a:lnTo>
                      <a:pt x="19333" y="6068"/>
                    </a:lnTo>
                    <a:lnTo>
                      <a:pt x="19417" y="6110"/>
                    </a:lnTo>
                    <a:lnTo>
                      <a:pt x="19543" y="6110"/>
                    </a:lnTo>
                    <a:lnTo>
                      <a:pt x="19647" y="6068"/>
                    </a:lnTo>
                    <a:lnTo>
                      <a:pt x="19752" y="6131"/>
                    </a:lnTo>
                    <a:lnTo>
                      <a:pt x="19773" y="6215"/>
                    </a:lnTo>
                    <a:lnTo>
                      <a:pt x="19857" y="6152"/>
                    </a:lnTo>
                    <a:lnTo>
                      <a:pt x="19877" y="6257"/>
                    </a:lnTo>
                    <a:lnTo>
                      <a:pt x="19982" y="6340"/>
                    </a:lnTo>
                    <a:lnTo>
                      <a:pt x="19982" y="6382"/>
                    </a:lnTo>
                    <a:lnTo>
                      <a:pt x="20003" y="6445"/>
                    </a:lnTo>
                    <a:lnTo>
                      <a:pt x="20108" y="6445"/>
                    </a:lnTo>
                    <a:lnTo>
                      <a:pt x="20191" y="6466"/>
                    </a:lnTo>
                    <a:lnTo>
                      <a:pt x="20212" y="6550"/>
                    </a:lnTo>
                    <a:lnTo>
                      <a:pt x="20275" y="6570"/>
                    </a:lnTo>
                    <a:lnTo>
                      <a:pt x="20359" y="6654"/>
                    </a:lnTo>
                    <a:lnTo>
                      <a:pt x="20317" y="6696"/>
                    </a:lnTo>
                    <a:lnTo>
                      <a:pt x="20317" y="6780"/>
                    </a:lnTo>
                    <a:lnTo>
                      <a:pt x="20422" y="6884"/>
                    </a:lnTo>
                    <a:lnTo>
                      <a:pt x="20589" y="6989"/>
                    </a:lnTo>
                    <a:lnTo>
                      <a:pt x="20589" y="7052"/>
                    </a:lnTo>
                    <a:lnTo>
                      <a:pt x="20568" y="7073"/>
                    </a:lnTo>
                    <a:lnTo>
                      <a:pt x="20589" y="7114"/>
                    </a:lnTo>
                    <a:lnTo>
                      <a:pt x="20526" y="7094"/>
                    </a:lnTo>
                    <a:lnTo>
                      <a:pt x="20317" y="7052"/>
                    </a:lnTo>
                    <a:lnTo>
                      <a:pt x="20170" y="6989"/>
                    </a:lnTo>
                    <a:lnTo>
                      <a:pt x="20087" y="7010"/>
                    </a:lnTo>
                    <a:lnTo>
                      <a:pt x="20003" y="6989"/>
                    </a:lnTo>
                    <a:lnTo>
                      <a:pt x="19982" y="7010"/>
                    </a:lnTo>
                    <a:lnTo>
                      <a:pt x="19898" y="7010"/>
                    </a:lnTo>
                    <a:lnTo>
                      <a:pt x="19836" y="6905"/>
                    </a:lnTo>
                    <a:lnTo>
                      <a:pt x="19752" y="6905"/>
                    </a:lnTo>
                    <a:lnTo>
                      <a:pt x="19689" y="6801"/>
                    </a:lnTo>
                    <a:lnTo>
                      <a:pt x="19647" y="6780"/>
                    </a:lnTo>
                    <a:lnTo>
                      <a:pt x="19522" y="6801"/>
                    </a:lnTo>
                    <a:lnTo>
                      <a:pt x="19438" y="6780"/>
                    </a:lnTo>
                    <a:lnTo>
                      <a:pt x="19375" y="6738"/>
                    </a:lnTo>
                    <a:lnTo>
                      <a:pt x="19250" y="6675"/>
                    </a:lnTo>
                    <a:lnTo>
                      <a:pt x="19229" y="6591"/>
                    </a:lnTo>
                    <a:lnTo>
                      <a:pt x="19166" y="6591"/>
                    </a:lnTo>
                    <a:lnTo>
                      <a:pt x="19124" y="6570"/>
                    </a:lnTo>
                    <a:lnTo>
                      <a:pt x="18999" y="6570"/>
                    </a:lnTo>
                    <a:lnTo>
                      <a:pt x="18936" y="6550"/>
                    </a:lnTo>
                    <a:lnTo>
                      <a:pt x="18685" y="6550"/>
                    </a:lnTo>
                    <a:lnTo>
                      <a:pt x="18517" y="6529"/>
                    </a:lnTo>
                    <a:lnTo>
                      <a:pt x="18413" y="6487"/>
                    </a:lnTo>
                    <a:lnTo>
                      <a:pt x="17973" y="6487"/>
                    </a:lnTo>
                    <a:lnTo>
                      <a:pt x="17890" y="6529"/>
                    </a:lnTo>
                    <a:lnTo>
                      <a:pt x="17764" y="6550"/>
                    </a:lnTo>
                    <a:lnTo>
                      <a:pt x="17701" y="6633"/>
                    </a:lnTo>
                    <a:lnTo>
                      <a:pt x="17701" y="6801"/>
                    </a:lnTo>
                    <a:lnTo>
                      <a:pt x="17597" y="6968"/>
                    </a:lnTo>
                    <a:lnTo>
                      <a:pt x="17639" y="7156"/>
                    </a:lnTo>
                    <a:lnTo>
                      <a:pt x="17597" y="7219"/>
                    </a:lnTo>
                    <a:lnTo>
                      <a:pt x="17639" y="7282"/>
                    </a:lnTo>
                    <a:lnTo>
                      <a:pt x="17701" y="7303"/>
                    </a:lnTo>
                    <a:lnTo>
                      <a:pt x="17681" y="7366"/>
                    </a:lnTo>
                    <a:lnTo>
                      <a:pt x="17639" y="7387"/>
                    </a:lnTo>
                    <a:lnTo>
                      <a:pt x="17701" y="7617"/>
                    </a:lnTo>
                    <a:lnTo>
                      <a:pt x="17785" y="7700"/>
                    </a:lnTo>
                    <a:lnTo>
                      <a:pt x="17806" y="7742"/>
                    </a:lnTo>
                    <a:lnTo>
                      <a:pt x="17973" y="7847"/>
                    </a:lnTo>
                    <a:lnTo>
                      <a:pt x="18015" y="7910"/>
                    </a:lnTo>
                    <a:lnTo>
                      <a:pt x="18120" y="7889"/>
                    </a:lnTo>
                    <a:lnTo>
                      <a:pt x="18183" y="7951"/>
                    </a:lnTo>
                    <a:lnTo>
                      <a:pt x="18266" y="7993"/>
                    </a:lnTo>
                    <a:lnTo>
                      <a:pt x="18392" y="7931"/>
                    </a:lnTo>
                    <a:lnTo>
                      <a:pt x="18476" y="7931"/>
                    </a:lnTo>
                    <a:lnTo>
                      <a:pt x="18538" y="8014"/>
                    </a:lnTo>
                    <a:lnTo>
                      <a:pt x="18685" y="8014"/>
                    </a:lnTo>
                    <a:lnTo>
                      <a:pt x="18748" y="8140"/>
                    </a:lnTo>
                    <a:lnTo>
                      <a:pt x="18831" y="8161"/>
                    </a:lnTo>
                    <a:lnTo>
                      <a:pt x="18852" y="8223"/>
                    </a:lnTo>
                    <a:lnTo>
                      <a:pt x="18727" y="8265"/>
                    </a:lnTo>
                    <a:lnTo>
                      <a:pt x="18727" y="8349"/>
                    </a:lnTo>
                    <a:lnTo>
                      <a:pt x="18685" y="8412"/>
                    </a:lnTo>
                    <a:lnTo>
                      <a:pt x="18685" y="8454"/>
                    </a:lnTo>
                    <a:lnTo>
                      <a:pt x="18622" y="8537"/>
                    </a:lnTo>
                    <a:lnTo>
                      <a:pt x="18497" y="8621"/>
                    </a:lnTo>
                    <a:lnTo>
                      <a:pt x="18497" y="8663"/>
                    </a:lnTo>
                    <a:lnTo>
                      <a:pt x="18434" y="8747"/>
                    </a:lnTo>
                    <a:lnTo>
                      <a:pt x="18517" y="8788"/>
                    </a:lnTo>
                    <a:lnTo>
                      <a:pt x="18517" y="8935"/>
                    </a:lnTo>
                    <a:lnTo>
                      <a:pt x="18580" y="9060"/>
                    </a:lnTo>
                    <a:lnTo>
                      <a:pt x="18580" y="9144"/>
                    </a:lnTo>
                    <a:lnTo>
                      <a:pt x="18434" y="9165"/>
                    </a:lnTo>
                    <a:lnTo>
                      <a:pt x="18497" y="9207"/>
                    </a:lnTo>
                    <a:lnTo>
                      <a:pt x="18685" y="9249"/>
                    </a:lnTo>
                    <a:lnTo>
                      <a:pt x="18748" y="9207"/>
                    </a:lnTo>
                    <a:lnTo>
                      <a:pt x="18810" y="9207"/>
                    </a:lnTo>
                    <a:lnTo>
                      <a:pt x="18831" y="9270"/>
                    </a:lnTo>
                    <a:lnTo>
                      <a:pt x="18894" y="9207"/>
                    </a:lnTo>
                    <a:lnTo>
                      <a:pt x="18936" y="9207"/>
                    </a:lnTo>
                    <a:lnTo>
                      <a:pt x="18999" y="9249"/>
                    </a:lnTo>
                    <a:lnTo>
                      <a:pt x="19145" y="9249"/>
                    </a:lnTo>
                    <a:lnTo>
                      <a:pt x="19333" y="9311"/>
                    </a:lnTo>
                    <a:lnTo>
                      <a:pt x="19417" y="9249"/>
                    </a:lnTo>
                    <a:lnTo>
                      <a:pt x="19564" y="9249"/>
                    </a:lnTo>
                    <a:lnTo>
                      <a:pt x="19585" y="9291"/>
                    </a:lnTo>
                    <a:lnTo>
                      <a:pt x="19626" y="9291"/>
                    </a:lnTo>
                    <a:lnTo>
                      <a:pt x="19668" y="9270"/>
                    </a:lnTo>
                    <a:lnTo>
                      <a:pt x="19752" y="9249"/>
                    </a:lnTo>
                    <a:lnTo>
                      <a:pt x="19794" y="9270"/>
                    </a:lnTo>
                    <a:lnTo>
                      <a:pt x="19836" y="9353"/>
                    </a:lnTo>
                    <a:lnTo>
                      <a:pt x="19877" y="9353"/>
                    </a:lnTo>
                    <a:lnTo>
                      <a:pt x="19940" y="9311"/>
                    </a:lnTo>
                    <a:lnTo>
                      <a:pt x="19982" y="9353"/>
                    </a:lnTo>
                    <a:lnTo>
                      <a:pt x="20003" y="9416"/>
                    </a:lnTo>
                    <a:lnTo>
                      <a:pt x="20066" y="9416"/>
                    </a:lnTo>
                    <a:lnTo>
                      <a:pt x="20108" y="9374"/>
                    </a:lnTo>
                    <a:lnTo>
                      <a:pt x="20254" y="9353"/>
                    </a:lnTo>
                    <a:lnTo>
                      <a:pt x="20296" y="9270"/>
                    </a:lnTo>
                    <a:lnTo>
                      <a:pt x="20401" y="9249"/>
                    </a:lnTo>
                    <a:lnTo>
                      <a:pt x="20484" y="9249"/>
                    </a:lnTo>
                    <a:lnTo>
                      <a:pt x="20589" y="9144"/>
                    </a:lnTo>
                    <a:lnTo>
                      <a:pt x="20714" y="9081"/>
                    </a:lnTo>
                    <a:lnTo>
                      <a:pt x="20819" y="9060"/>
                    </a:lnTo>
                    <a:lnTo>
                      <a:pt x="20840" y="8998"/>
                    </a:lnTo>
                    <a:lnTo>
                      <a:pt x="20924" y="8998"/>
                    </a:lnTo>
                    <a:lnTo>
                      <a:pt x="21028" y="9039"/>
                    </a:lnTo>
                    <a:lnTo>
                      <a:pt x="21112" y="9039"/>
                    </a:lnTo>
                    <a:lnTo>
                      <a:pt x="21196" y="9081"/>
                    </a:lnTo>
                    <a:lnTo>
                      <a:pt x="21405" y="9081"/>
                    </a:lnTo>
                    <a:lnTo>
                      <a:pt x="21635" y="8935"/>
                    </a:lnTo>
                    <a:lnTo>
                      <a:pt x="21656" y="8851"/>
                    </a:lnTo>
                    <a:lnTo>
                      <a:pt x="21719" y="8851"/>
                    </a:lnTo>
                    <a:lnTo>
                      <a:pt x="21740" y="8893"/>
                    </a:lnTo>
                    <a:lnTo>
                      <a:pt x="21761" y="8851"/>
                    </a:lnTo>
                    <a:lnTo>
                      <a:pt x="21844" y="8788"/>
                    </a:lnTo>
                    <a:lnTo>
                      <a:pt x="21844" y="8726"/>
                    </a:lnTo>
                    <a:lnTo>
                      <a:pt x="21865" y="8663"/>
                    </a:lnTo>
                    <a:lnTo>
                      <a:pt x="21928" y="8684"/>
                    </a:lnTo>
                    <a:lnTo>
                      <a:pt x="21991" y="8684"/>
                    </a:lnTo>
                    <a:lnTo>
                      <a:pt x="22054" y="8642"/>
                    </a:lnTo>
                    <a:lnTo>
                      <a:pt x="22054" y="8579"/>
                    </a:lnTo>
                    <a:lnTo>
                      <a:pt x="22095" y="8621"/>
                    </a:lnTo>
                    <a:lnTo>
                      <a:pt x="22158" y="8621"/>
                    </a:lnTo>
                    <a:lnTo>
                      <a:pt x="22179" y="8663"/>
                    </a:lnTo>
                    <a:lnTo>
                      <a:pt x="22179" y="8726"/>
                    </a:lnTo>
                    <a:lnTo>
                      <a:pt x="22242" y="8767"/>
                    </a:lnTo>
                    <a:lnTo>
                      <a:pt x="22158" y="8830"/>
                    </a:lnTo>
                    <a:lnTo>
                      <a:pt x="22158" y="8893"/>
                    </a:lnTo>
                    <a:lnTo>
                      <a:pt x="22095" y="8977"/>
                    </a:lnTo>
                    <a:lnTo>
                      <a:pt x="22054" y="8998"/>
                    </a:lnTo>
                    <a:lnTo>
                      <a:pt x="22054" y="9060"/>
                    </a:lnTo>
                    <a:lnTo>
                      <a:pt x="22137" y="9081"/>
                    </a:lnTo>
                    <a:lnTo>
                      <a:pt x="22200" y="9165"/>
                    </a:lnTo>
                    <a:lnTo>
                      <a:pt x="22242" y="9144"/>
                    </a:lnTo>
                    <a:lnTo>
                      <a:pt x="22305" y="9144"/>
                    </a:lnTo>
                    <a:lnTo>
                      <a:pt x="22409" y="9186"/>
                    </a:lnTo>
                    <a:lnTo>
                      <a:pt x="22409" y="9207"/>
                    </a:lnTo>
                    <a:cubicBezTo>
                      <a:pt x="22367" y="9207"/>
                      <a:pt x="22305" y="9249"/>
                      <a:pt x="22263" y="9270"/>
                    </a:cubicBezTo>
                    <a:lnTo>
                      <a:pt x="22242" y="9270"/>
                    </a:lnTo>
                    <a:cubicBezTo>
                      <a:pt x="22137" y="9291"/>
                      <a:pt x="22054" y="9353"/>
                      <a:pt x="21949" y="9374"/>
                    </a:cubicBezTo>
                    <a:cubicBezTo>
                      <a:pt x="21886" y="9374"/>
                      <a:pt x="21865" y="9395"/>
                      <a:pt x="21844" y="9458"/>
                    </a:cubicBezTo>
                    <a:lnTo>
                      <a:pt x="21551" y="9521"/>
                    </a:lnTo>
                    <a:lnTo>
                      <a:pt x="21133" y="9563"/>
                    </a:lnTo>
                    <a:lnTo>
                      <a:pt x="21007" y="9521"/>
                    </a:lnTo>
                    <a:lnTo>
                      <a:pt x="20903" y="9521"/>
                    </a:lnTo>
                    <a:lnTo>
                      <a:pt x="20735" y="9730"/>
                    </a:lnTo>
                    <a:lnTo>
                      <a:pt x="20631" y="9793"/>
                    </a:lnTo>
                    <a:lnTo>
                      <a:pt x="20589" y="9876"/>
                    </a:lnTo>
                    <a:lnTo>
                      <a:pt x="20673" y="9918"/>
                    </a:lnTo>
                    <a:lnTo>
                      <a:pt x="20735" y="9876"/>
                    </a:lnTo>
                    <a:lnTo>
                      <a:pt x="20798" y="9876"/>
                    </a:lnTo>
                    <a:lnTo>
                      <a:pt x="20777" y="9981"/>
                    </a:lnTo>
                    <a:lnTo>
                      <a:pt x="20694" y="10023"/>
                    </a:lnTo>
                    <a:lnTo>
                      <a:pt x="20714" y="10086"/>
                    </a:lnTo>
                    <a:lnTo>
                      <a:pt x="20882" y="10107"/>
                    </a:lnTo>
                    <a:lnTo>
                      <a:pt x="20903" y="10148"/>
                    </a:lnTo>
                    <a:lnTo>
                      <a:pt x="21028" y="10127"/>
                    </a:lnTo>
                    <a:lnTo>
                      <a:pt x="21028" y="10044"/>
                    </a:lnTo>
                    <a:lnTo>
                      <a:pt x="20945" y="9981"/>
                    </a:lnTo>
                    <a:lnTo>
                      <a:pt x="20945" y="9897"/>
                    </a:lnTo>
                    <a:lnTo>
                      <a:pt x="21028" y="9876"/>
                    </a:lnTo>
                    <a:lnTo>
                      <a:pt x="21049" y="9918"/>
                    </a:lnTo>
                    <a:lnTo>
                      <a:pt x="21133" y="9918"/>
                    </a:lnTo>
                    <a:lnTo>
                      <a:pt x="21238" y="10002"/>
                    </a:lnTo>
                    <a:lnTo>
                      <a:pt x="21321" y="9981"/>
                    </a:lnTo>
                    <a:lnTo>
                      <a:pt x="21342" y="9876"/>
                    </a:lnTo>
                    <a:lnTo>
                      <a:pt x="21426" y="9814"/>
                    </a:lnTo>
                    <a:lnTo>
                      <a:pt x="21426" y="9918"/>
                    </a:lnTo>
                    <a:lnTo>
                      <a:pt x="21530" y="10023"/>
                    </a:lnTo>
                    <a:lnTo>
                      <a:pt x="21551" y="9981"/>
                    </a:lnTo>
                    <a:lnTo>
                      <a:pt x="21551" y="9897"/>
                    </a:lnTo>
                    <a:lnTo>
                      <a:pt x="21656" y="9897"/>
                    </a:lnTo>
                    <a:lnTo>
                      <a:pt x="21677" y="9814"/>
                    </a:lnTo>
                    <a:lnTo>
                      <a:pt x="21761" y="9814"/>
                    </a:lnTo>
                    <a:lnTo>
                      <a:pt x="21886" y="9772"/>
                    </a:lnTo>
                    <a:cubicBezTo>
                      <a:pt x="21932" y="9802"/>
                      <a:pt x="21989" y="9822"/>
                      <a:pt x="22041" y="9822"/>
                    </a:cubicBezTo>
                    <a:cubicBezTo>
                      <a:pt x="22060" y="9822"/>
                      <a:pt x="22079" y="9819"/>
                      <a:pt x="22095" y="9814"/>
                    </a:cubicBezTo>
                    <a:cubicBezTo>
                      <a:pt x="22116" y="9814"/>
                      <a:pt x="22132" y="9808"/>
                      <a:pt x="22142" y="9803"/>
                    </a:cubicBezTo>
                    <a:lnTo>
                      <a:pt x="22142" y="9803"/>
                    </a:lnTo>
                    <a:lnTo>
                      <a:pt x="22095" y="9835"/>
                    </a:lnTo>
                    <a:lnTo>
                      <a:pt x="22158" y="9918"/>
                    </a:lnTo>
                    <a:lnTo>
                      <a:pt x="22033" y="10044"/>
                    </a:lnTo>
                    <a:lnTo>
                      <a:pt x="21949" y="10002"/>
                    </a:lnTo>
                    <a:lnTo>
                      <a:pt x="21886" y="10044"/>
                    </a:lnTo>
                    <a:lnTo>
                      <a:pt x="21782" y="10044"/>
                    </a:lnTo>
                    <a:lnTo>
                      <a:pt x="21740" y="10002"/>
                    </a:lnTo>
                    <a:lnTo>
                      <a:pt x="21656" y="10002"/>
                    </a:lnTo>
                    <a:lnTo>
                      <a:pt x="21551" y="10190"/>
                    </a:lnTo>
                    <a:lnTo>
                      <a:pt x="21572" y="10316"/>
                    </a:lnTo>
                    <a:lnTo>
                      <a:pt x="21572" y="10462"/>
                    </a:lnTo>
                    <a:lnTo>
                      <a:pt x="21551" y="10316"/>
                    </a:lnTo>
                    <a:lnTo>
                      <a:pt x="21510" y="10316"/>
                    </a:lnTo>
                    <a:lnTo>
                      <a:pt x="21468" y="10232"/>
                    </a:lnTo>
                    <a:lnTo>
                      <a:pt x="21405" y="10232"/>
                    </a:lnTo>
                    <a:lnTo>
                      <a:pt x="21342" y="10337"/>
                    </a:lnTo>
                    <a:lnTo>
                      <a:pt x="21196" y="10379"/>
                    </a:lnTo>
                    <a:lnTo>
                      <a:pt x="21133" y="10400"/>
                    </a:lnTo>
                    <a:lnTo>
                      <a:pt x="21133" y="10316"/>
                    </a:lnTo>
                    <a:lnTo>
                      <a:pt x="21091" y="10316"/>
                    </a:lnTo>
                    <a:lnTo>
                      <a:pt x="21007" y="10420"/>
                    </a:lnTo>
                    <a:lnTo>
                      <a:pt x="20924" y="10441"/>
                    </a:lnTo>
                    <a:lnTo>
                      <a:pt x="20882" y="10400"/>
                    </a:lnTo>
                    <a:lnTo>
                      <a:pt x="20798" y="10400"/>
                    </a:lnTo>
                    <a:lnTo>
                      <a:pt x="20735" y="10483"/>
                    </a:lnTo>
                    <a:lnTo>
                      <a:pt x="20735" y="10504"/>
                    </a:lnTo>
                    <a:lnTo>
                      <a:pt x="20589" y="10525"/>
                    </a:lnTo>
                    <a:lnTo>
                      <a:pt x="20505" y="10588"/>
                    </a:lnTo>
                    <a:lnTo>
                      <a:pt x="20505" y="10692"/>
                    </a:lnTo>
                    <a:lnTo>
                      <a:pt x="20526" y="10797"/>
                    </a:lnTo>
                    <a:lnTo>
                      <a:pt x="20422" y="11069"/>
                    </a:lnTo>
                    <a:lnTo>
                      <a:pt x="20380" y="11278"/>
                    </a:lnTo>
                    <a:lnTo>
                      <a:pt x="20380" y="11362"/>
                    </a:lnTo>
                    <a:lnTo>
                      <a:pt x="20484" y="11446"/>
                    </a:lnTo>
                    <a:lnTo>
                      <a:pt x="20463" y="11488"/>
                    </a:lnTo>
                    <a:lnTo>
                      <a:pt x="20359" y="11529"/>
                    </a:lnTo>
                    <a:lnTo>
                      <a:pt x="20359" y="11592"/>
                    </a:lnTo>
                    <a:lnTo>
                      <a:pt x="20422" y="11697"/>
                    </a:lnTo>
                    <a:lnTo>
                      <a:pt x="20422" y="11801"/>
                    </a:lnTo>
                    <a:lnTo>
                      <a:pt x="20380" y="11864"/>
                    </a:lnTo>
                    <a:lnTo>
                      <a:pt x="20359" y="11801"/>
                    </a:lnTo>
                    <a:lnTo>
                      <a:pt x="20275" y="11864"/>
                    </a:lnTo>
                    <a:lnTo>
                      <a:pt x="20212" y="11843"/>
                    </a:lnTo>
                    <a:lnTo>
                      <a:pt x="20254" y="11760"/>
                    </a:lnTo>
                    <a:lnTo>
                      <a:pt x="20296" y="11739"/>
                    </a:lnTo>
                    <a:lnTo>
                      <a:pt x="20296" y="11634"/>
                    </a:lnTo>
                    <a:lnTo>
                      <a:pt x="20212" y="11634"/>
                    </a:lnTo>
                    <a:lnTo>
                      <a:pt x="20087" y="11864"/>
                    </a:lnTo>
                    <a:lnTo>
                      <a:pt x="20066" y="12115"/>
                    </a:lnTo>
                    <a:lnTo>
                      <a:pt x="20108" y="12408"/>
                    </a:lnTo>
                    <a:lnTo>
                      <a:pt x="20108" y="12785"/>
                    </a:lnTo>
                    <a:lnTo>
                      <a:pt x="20087" y="12408"/>
                    </a:lnTo>
                    <a:lnTo>
                      <a:pt x="20045" y="12220"/>
                    </a:lnTo>
                    <a:lnTo>
                      <a:pt x="19982" y="12178"/>
                    </a:lnTo>
                    <a:lnTo>
                      <a:pt x="20045" y="12073"/>
                    </a:lnTo>
                    <a:lnTo>
                      <a:pt x="20045" y="11990"/>
                    </a:lnTo>
                    <a:lnTo>
                      <a:pt x="19898" y="11906"/>
                    </a:lnTo>
                    <a:lnTo>
                      <a:pt x="19961" y="11780"/>
                    </a:lnTo>
                    <a:lnTo>
                      <a:pt x="19961" y="11571"/>
                    </a:lnTo>
                    <a:lnTo>
                      <a:pt x="19877" y="11446"/>
                    </a:lnTo>
                    <a:lnTo>
                      <a:pt x="19877" y="11236"/>
                    </a:lnTo>
                    <a:lnTo>
                      <a:pt x="19961" y="11111"/>
                    </a:lnTo>
                    <a:lnTo>
                      <a:pt x="20045" y="10923"/>
                    </a:lnTo>
                    <a:lnTo>
                      <a:pt x="20045" y="10755"/>
                    </a:lnTo>
                    <a:lnTo>
                      <a:pt x="20003" y="10755"/>
                    </a:lnTo>
                    <a:lnTo>
                      <a:pt x="19961" y="10839"/>
                    </a:lnTo>
                    <a:lnTo>
                      <a:pt x="19940" y="10964"/>
                    </a:lnTo>
                    <a:lnTo>
                      <a:pt x="19857" y="11048"/>
                    </a:lnTo>
                    <a:lnTo>
                      <a:pt x="19836" y="11027"/>
                    </a:lnTo>
                    <a:lnTo>
                      <a:pt x="19794" y="10902"/>
                    </a:lnTo>
                    <a:lnTo>
                      <a:pt x="19877" y="10713"/>
                    </a:lnTo>
                    <a:lnTo>
                      <a:pt x="19898" y="10609"/>
                    </a:lnTo>
                    <a:lnTo>
                      <a:pt x="19836" y="10546"/>
                    </a:lnTo>
                    <a:lnTo>
                      <a:pt x="19752" y="10630"/>
                    </a:lnTo>
                    <a:lnTo>
                      <a:pt x="19731" y="10609"/>
                    </a:lnTo>
                    <a:lnTo>
                      <a:pt x="19689" y="10546"/>
                    </a:lnTo>
                    <a:lnTo>
                      <a:pt x="19731" y="10483"/>
                    </a:lnTo>
                    <a:lnTo>
                      <a:pt x="19731" y="10337"/>
                    </a:lnTo>
                    <a:lnTo>
                      <a:pt x="19668" y="10337"/>
                    </a:lnTo>
                    <a:lnTo>
                      <a:pt x="19668" y="10295"/>
                    </a:lnTo>
                    <a:lnTo>
                      <a:pt x="19689" y="10232"/>
                    </a:lnTo>
                    <a:lnTo>
                      <a:pt x="19689" y="10127"/>
                    </a:lnTo>
                    <a:lnTo>
                      <a:pt x="19585" y="10169"/>
                    </a:lnTo>
                    <a:lnTo>
                      <a:pt x="19271" y="10274"/>
                    </a:lnTo>
                    <a:lnTo>
                      <a:pt x="19103" y="10379"/>
                    </a:lnTo>
                    <a:lnTo>
                      <a:pt x="19041" y="10337"/>
                    </a:lnTo>
                    <a:lnTo>
                      <a:pt x="19041" y="10295"/>
                    </a:lnTo>
                    <a:lnTo>
                      <a:pt x="18999" y="10295"/>
                    </a:lnTo>
                    <a:lnTo>
                      <a:pt x="18915" y="10379"/>
                    </a:lnTo>
                    <a:lnTo>
                      <a:pt x="18831" y="10379"/>
                    </a:lnTo>
                    <a:lnTo>
                      <a:pt x="18789" y="10295"/>
                    </a:lnTo>
                    <a:lnTo>
                      <a:pt x="18622" y="10420"/>
                    </a:lnTo>
                    <a:lnTo>
                      <a:pt x="18622" y="10337"/>
                    </a:lnTo>
                    <a:lnTo>
                      <a:pt x="18517" y="10295"/>
                    </a:lnTo>
                    <a:lnTo>
                      <a:pt x="18476" y="10295"/>
                    </a:lnTo>
                    <a:lnTo>
                      <a:pt x="18476" y="10337"/>
                    </a:lnTo>
                    <a:lnTo>
                      <a:pt x="18308" y="10337"/>
                    </a:lnTo>
                    <a:lnTo>
                      <a:pt x="18078" y="10232"/>
                    </a:lnTo>
                    <a:lnTo>
                      <a:pt x="17890" y="10232"/>
                    </a:lnTo>
                    <a:lnTo>
                      <a:pt x="17701" y="10127"/>
                    </a:lnTo>
                    <a:lnTo>
                      <a:pt x="17555" y="10127"/>
                    </a:lnTo>
                    <a:lnTo>
                      <a:pt x="17555" y="10023"/>
                    </a:lnTo>
                    <a:lnTo>
                      <a:pt x="17429" y="9918"/>
                    </a:lnTo>
                    <a:lnTo>
                      <a:pt x="17346" y="9981"/>
                    </a:lnTo>
                    <a:lnTo>
                      <a:pt x="17241" y="9897"/>
                    </a:lnTo>
                    <a:lnTo>
                      <a:pt x="17220" y="9772"/>
                    </a:lnTo>
                    <a:lnTo>
                      <a:pt x="17116" y="9709"/>
                    </a:lnTo>
                    <a:lnTo>
                      <a:pt x="17053" y="9667"/>
                    </a:lnTo>
                    <a:lnTo>
                      <a:pt x="17157" y="9646"/>
                    </a:lnTo>
                    <a:lnTo>
                      <a:pt x="17283" y="9646"/>
                    </a:lnTo>
                    <a:lnTo>
                      <a:pt x="17283" y="9500"/>
                    </a:lnTo>
                    <a:lnTo>
                      <a:pt x="17388" y="9437"/>
                    </a:lnTo>
                    <a:lnTo>
                      <a:pt x="17367" y="9353"/>
                    </a:lnTo>
                    <a:lnTo>
                      <a:pt x="17471" y="9353"/>
                    </a:lnTo>
                    <a:lnTo>
                      <a:pt x="17639" y="9395"/>
                    </a:lnTo>
                    <a:lnTo>
                      <a:pt x="17681" y="9374"/>
                    </a:lnTo>
                    <a:lnTo>
                      <a:pt x="17681" y="9332"/>
                    </a:lnTo>
                    <a:lnTo>
                      <a:pt x="17806" y="9332"/>
                    </a:lnTo>
                    <a:lnTo>
                      <a:pt x="18078" y="9395"/>
                    </a:lnTo>
                    <a:lnTo>
                      <a:pt x="18183" y="9291"/>
                    </a:lnTo>
                    <a:lnTo>
                      <a:pt x="18183" y="9165"/>
                    </a:lnTo>
                    <a:lnTo>
                      <a:pt x="18225" y="9060"/>
                    </a:lnTo>
                    <a:lnTo>
                      <a:pt x="18183" y="8935"/>
                    </a:lnTo>
                    <a:lnTo>
                      <a:pt x="18183" y="8809"/>
                    </a:lnTo>
                    <a:lnTo>
                      <a:pt x="18120" y="8705"/>
                    </a:lnTo>
                    <a:lnTo>
                      <a:pt x="18078" y="8537"/>
                    </a:lnTo>
                    <a:lnTo>
                      <a:pt x="17994" y="8516"/>
                    </a:lnTo>
                    <a:lnTo>
                      <a:pt x="17973" y="8433"/>
                    </a:lnTo>
                    <a:lnTo>
                      <a:pt x="17806" y="8286"/>
                    </a:lnTo>
                    <a:lnTo>
                      <a:pt x="17764" y="8286"/>
                    </a:lnTo>
                    <a:lnTo>
                      <a:pt x="17743" y="8349"/>
                    </a:lnTo>
                    <a:lnTo>
                      <a:pt x="17681" y="8349"/>
                    </a:lnTo>
                    <a:lnTo>
                      <a:pt x="17660" y="8286"/>
                    </a:lnTo>
                    <a:lnTo>
                      <a:pt x="17492" y="8203"/>
                    </a:lnTo>
                    <a:lnTo>
                      <a:pt x="17492" y="8244"/>
                    </a:lnTo>
                    <a:lnTo>
                      <a:pt x="17597" y="8328"/>
                    </a:lnTo>
                    <a:lnTo>
                      <a:pt x="17576" y="8391"/>
                    </a:lnTo>
                    <a:lnTo>
                      <a:pt x="17639" y="8454"/>
                    </a:lnTo>
                    <a:lnTo>
                      <a:pt x="17576" y="8558"/>
                    </a:lnTo>
                    <a:lnTo>
                      <a:pt x="17492" y="8454"/>
                    </a:lnTo>
                    <a:lnTo>
                      <a:pt x="17492" y="8349"/>
                    </a:lnTo>
                    <a:lnTo>
                      <a:pt x="17388" y="8349"/>
                    </a:lnTo>
                    <a:lnTo>
                      <a:pt x="17220" y="8244"/>
                    </a:lnTo>
                    <a:lnTo>
                      <a:pt x="17178" y="8182"/>
                    </a:lnTo>
                    <a:lnTo>
                      <a:pt x="17137" y="8223"/>
                    </a:lnTo>
                    <a:lnTo>
                      <a:pt x="17053" y="8182"/>
                    </a:lnTo>
                    <a:lnTo>
                      <a:pt x="17011" y="8077"/>
                    </a:lnTo>
                    <a:lnTo>
                      <a:pt x="16906" y="7993"/>
                    </a:lnTo>
                    <a:lnTo>
                      <a:pt x="16739" y="7993"/>
                    </a:lnTo>
                    <a:lnTo>
                      <a:pt x="16551" y="7805"/>
                    </a:lnTo>
                    <a:lnTo>
                      <a:pt x="16404" y="7721"/>
                    </a:lnTo>
                    <a:lnTo>
                      <a:pt x="16383" y="7617"/>
                    </a:lnTo>
                    <a:lnTo>
                      <a:pt x="15902" y="7345"/>
                    </a:lnTo>
                    <a:lnTo>
                      <a:pt x="15776" y="7135"/>
                    </a:lnTo>
                    <a:lnTo>
                      <a:pt x="15776" y="6968"/>
                    </a:lnTo>
                    <a:lnTo>
                      <a:pt x="15672" y="6717"/>
                    </a:lnTo>
                    <a:lnTo>
                      <a:pt x="15672" y="6612"/>
                    </a:lnTo>
                    <a:lnTo>
                      <a:pt x="15567" y="6612"/>
                    </a:lnTo>
                    <a:lnTo>
                      <a:pt x="15442" y="6508"/>
                    </a:lnTo>
                    <a:lnTo>
                      <a:pt x="15337" y="6508"/>
                    </a:lnTo>
                    <a:lnTo>
                      <a:pt x="15253" y="6424"/>
                    </a:lnTo>
                    <a:lnTo>
                      <a:pt x="15149" y="6403"/>
                    </a:lnTo>
                    <a:lnTo>
                      <a:pt x="15065" y="6319"/>
                    </a:lnTo>
                    <a:lnTo>
                      <a:pt x="14940" y="6361"/>
                    </a:lnTo>
                    <a:lnTo>
                      <a:pt x="14793" y="6487"/>
                    </a:lnTo>
                    <a:lnTo>
                      <a:pt x="14688" y="6696"/>
                    </a:lnTo>
                    <a:lnTo>
                      <a:pt x="14584" y="6738"/>
                    </a:lnTo>
                    <a:lnTo>
                      <a:pt x="14479" y="6801"/>
                    </a:lnTo>
                    <a:lnTo>
                      <a:pt x="14375" y="6801"/>
                    </a:lnTo>
                    <a:lnTo>
                      <a:pt x="14312" y="6738"/>
                    </a:lnTo>
                    <a:lnTo>
                      <a:pt x="14144" y="6696"/>
                    </a:lnTo>
                    <a:lnTo>
                      <a:pt x="14061" y="6633"/>
                    </a:lnTo>
                    <a:lnTo>
                      <a:pt x="14144" y="6529"/>
                    </a:lnTo>
                    <a:lnTo>
                      <a:pt x="14207" y="6466"/>
                    </a:lnTo>
                    <a:lnTo>
                      <a:pt x="14270" y="6466"/>
                    </a:lnTo>
                    <a:lnTo>
                      <a:pt x="14375" y="6361"/>
                    </a:lnTo>
                    <a:lnTo>
                      <a:pt x="14458" y="6319"/>
                    </a:lnTo>
                    <a:lnTo>
                      <a:pt x="14479" y="6257"/>
                    </a:lnTo>
                    <a:lnTo>
                      <a:pt x="14458" y="6215"/>
                    </a:lnTo>
                    <a:lnTo>
                      <a:pt x="14375" y="6236"/>
                    </a:lnTo>
                    <a:lnTo>
                      <a:pt x="14333" y="6194"/>
                    </a:lnTo>
                    <a:lnTo>
                      <a:pt x="14354" y="6110"/>
                    </a:lnTo>
                    <a:lnTo>
                      <a:pt x="14458" y="6006"/>
                    </a:lnTo>
                    <a:lnTo>
                      <a:pt x="14437" y="5943"/>
                    </a:lnTo>
                    <a:lnTo>
                      <a:pt x="14542" y="5838"/>
                    </a:lnTo>
                    <a:lnTo>
                      <a:pt x="14542" y="5754"/>
                    </a:lnTo>
                    <a:lnTo>
                      <a:pt x="14521" y="5629"/>
                    </a:lnTo>
                    <a:lnTo>
                      <a:pt x="14375" y="5650"/>
                    </a:lnTo>
                    <a:lnTo>
                      <a:pt x="14375" y="5734"/>
                    </a:lnTo>
                    <a:lnTo>
                      <a:pt x="14165" y="5880"/>
                    </a:lnTo>
                    <a:lnTo>
                      <a:pt x="14061" y="5838"/>
                    </a:lnTo>
                    <a:lnTo>
                      <a:pt x="14165" y="6047"/>
                    </a:lnTo>
                    <a:lnTo>
                      <a:pt x="14103" y="6131"/>
                    </a:lnTo>
                    <a:lnTo>
                      <a:pt x="14061" y="6026"/>
                    </a:lnTo>
                    <a:lnTo>
                      <a:pt x="13914" y="6026"/>
                    </a:lnTo>
                    <a:lnTo>
                      <a:pt x="13810" y="6131"/>
                    </a:lnTo>
                    <a:lnTo>
                      <a:pt x="13893" y="6152"/>
                    </a:lnTo>
                    <a:lnTo>
                      <a:pt x="13851" y="6298"/>
                    </a:lnTo>
                    <a:lnTo>
                      <a:pt x="13747" y="6236"/>
                    </a:lnTo>
                    <a:lnTo>
                      <a:pt x="13642" y="6319"/>
                    </a:lnTo>
                    <a:lnTo>
                      <a:pt x="13684" y="6403"/>
                    </a:lnTo>
                    <a:lnTo>
                      <a:pt x="13789" y="6403"/>
                    </a:lnTo>
                    <a:lnTo>
                      <a:pt x="13831" y="6466"/>
                    </a:lnTo>
                    <a:lnTo>
                      <a:pt x="13642" y="6570"/>
                    </a:lnTo>
                    <a:lnTo>
                      <a:pt x="13579" y="6424"/>
                    </a:lnTo>
                    <a:lnTo>
                      <a:pt x="13433" y="6361"/>
                    </a:lnTo>
                    <a:lnTo>
                      <a:pt x="13391" y="6236"/>
                    </a:lnTo>
                    <a:lnTo>
                      <a:pt x="13391" y="5713"/>
                    </a:lnTo>
                    <a:lnTo>
                      <a:pt x="13496" y="5503"/>
                    </a:lnTo>
                    <a:lnTo>
                      <a:pt x="13475" y="5148"/>
                    </a:lnTo>
                    <a:lnTo>
                      <a:pt x="13538" y="5001"/>
                    </a:lnTo>
                    <a:lnTo>
                      <a:pt x="13517" y="4562"/>
                    </a:lnTo>
                    <a:lnTo>
                      <a:pt x="13517" y="4625"/>
                    </a:lnTo>
                    <a:lnTo>
                      <a:pt x="13370" y="4687"/>
                    </a:lnTo>
                    <a:lnTo>
                      <a:pt x="13266" y="4855"/>
                    </a:lnTo>
                    <a:lnTo>
                      <a:pt x="13349" y="4938"/>
                    </a:lnTo>
                    <a:lnTo>
                      <a:pt x="13287" y="5001"/>
                    </a:lnTo>
                    <a:lnTo>
                      <a:pt x="13349" y="5148"/>
                    </a:lnTo>
                    <a:lnTo>
                      <a:pt x="13307" y="5315"/>
                    </a:lnTo>
                    <a:lnTo>
                      <a:pt x="13245" y="5294"/>
                    </a:lnTo>
                    <a:lnTo>
                      <a:pt x="13161" y="5210"/>
                    </a:lnTo>
                    <a:lnTo>
                      <a:pt x="13119" y="5294"/>
                    </a:lnTo>
                    <a:lnTo>
                      <a:pt x="13119" y="5378"/>
                    </a:lnTo>
                    <a:lnTo>
                      <a:pt x="13056" y="5315"/>
                    </a:lnTo>
                    <a:lnTo>
                      <a:pt x="12952" y="5399"/>
                    </a:lnTo>
                    <a:lnTo>
                      <a:pt x="12952" y="5482"/>
                    </a:lnTo>
                    <a:lnTo>
                      <a:pt x="12889" y="5482"/>
                    </a:lnTo>
                    <a:lnTo>
                      <a:pt x="12638" y="5608"/>
                    </a:lnTo>
                    <a:lnTo>
                      <a:pt x="12491" y="5775"/>
                    </a:lnTo>
                    <a:lnTo>
                      <a:pt x="12429" y="5692"/>
                    </a:lnTo>
                    <a:lnTo>
                      <a:pt x="12429" y="5587"/>
                    </a:lnTo>
                    <a:lnTo>
                      <a:pt x="12575" y="5524"/>
                    </a:lnTo>
                    <a:lnTo>
                      <a:pt x="12596" y="5420"/>
                    </a:lnTo>
                    <a:lnTo>
                      <a:pt x="12491" y="5420"/>
                    </a:lnTo>
                    <a:lnTo>
                      <a:pt x="12387" y="5482"/>
                    </a:lnTo>
                    <a:lnTo>
                      <a:pt x="12178" y="5482"/>
                    </a:lnTo>
                    <a:lnTo>
                      <a:pt x="12052" y="5566"/>
                    </a:lnTo>
                    <a:lnTo>
                      <a:pt x="11780" y="5566"/>
                    </a:lnTo>
                    <a:lnTo>
                      <a:pt x="11424" y="5817"/>
                    </a:lnTo>
                    <a:lnTo>
                      <a:pt x="11257" y="5880"/>
                    </a:lnTo>
                    <a:lnTo>
                      <a:pt x="11111" y="6089"/>
                    </a:lnTo>
                    <a:lnTo>
                      <a:pt x="11090" y="5985"/>
                    </a:lnTo>
                    <a:lnTo>
                      <a:pt x="11215" y="5796"/>
                    </a:lnTo>
                    <a:lnTo>
                      <a:pt x="11173" y="5713"/>
                    </a:lnTo>
                    <a:lnTo>
                      <a:pt x="10985" y="5817"/>
                    </a:lnTo>
                    <a:lnTo>
                      <a:pt x="10964" y="5775"/>
                    </a:lnTo>
                    <a:lnTo>
                      <a:pt x="10880" y="5796"/>
                    </a:lnTo>
                    <a:lnTo>
                      <a:pt x="10797" y="5838"/>
                    </a:lnTo>
                    <a:lnTo>
                      <a:pt x="10734" y="5775"/>
                    </a:lnTo>
                    <a:lnTo>
                      <a:pt x="10629" y="5796"/>
                    </a:lnTo>
                    <a:lnTo>
                      <a:pt x="10587" y="5880"/>
                    </a:lnTo>
                    <a:lnTo>
                      <a:pt x="10315" y="6047"/>
                    </a:lnTo>
                    <a:lnTo>
                      <a:pt x="10211" y="6047"/>
                    </a:lnTo>
                    <a:lnTo>
                      <a:pt x="10022" y="6110"/>
                    </a:lnTo>
                    <a:lnTo>
                      <a:pt x="9897" y="6257"/>
                    </a:lnTo>
                    <a:lnTo>
                      <a:pt x="9939" y="6361"/>
                    </a:lnTo>
                    <a:lnTo>
                      <a:pt x="9834" y="6340"/>
                    </a:lnTo>
                    <a:lnTo>
                      <a:pt x="9792" y="6403"/>
                    </a:lnTo>
                    <a:lnTo>
                      <a:pt x="9688" y="6361"/>
                    </a:lnTo>
                    <a:lnTo>
                      <a:pt x="9657" y="6408"/>
                    </a:lnTo>
                    <a:lnTo>
                      <a:pt x="9657" y="6408"/>
                    </a:lnTo>
                    <a:lnTo>
                      <a:pt x="9583" y="6319"/>
                    </a:lnTo>
                    <a:lnTo>
                      <a:pt x="9625" y="6215"/>
                    </a:lnTo>
                    <a:lnTo>
                      <a:pt x="9709" y="6215"/>
                    </a:lnTo>
                    <a:lnTo>
                      <a:pt x="9792" y="6110"/>
                    </a:lnTo>
                    <a:lnTo>
                      <a:pt x="9897" y="6026"/>
                    </a:lnTo>
                    <a:lnTo>
                      <a:pt x="9939" y="6068"/>
                    </a:lnTo>
                    <a:lnTo>
                      <a:pt x="10022" y="6026"/>
                    </a:lnTo>
                    <a:lnTo>
                      <a:pt x="10043" y="5943"/>
                    </a:lnTo>
                    <a:lnTo>
                      <a:pt x="10169" y="5838"/>
                    </a:lnTo>
                    <a:lnTo>
                      <a:pt x="10211" y="5901"/>
                    </a:lnTo>
                    <a:lnTo>
                      <a:pt x="10462" y="5796"/>
                    </a:lnTo>
                    <a:lnTo>
                      <a:pt x="10546" y="5650"/>
                    </a:lnTo>
                    <a:lnTo>
                      <a:pt x="10671" y="5608"/>
                    </a:lnTo>
                    <a:lnTo>
                      <a:pt x="10880" y="5629"/>
                    </a:lnTo>
                    <a:lnTo>
                      <a:pt x="10901" y="5587"/>
                    </a:lnTo>
                    <a:lnTo>
                      <a:pt x="11090" y="5587"/>
                    </a:lnTo>
                    <a:lnTo>
                      <a:pt x="11278" y="5503"/>
                    </a:lnTo>
                    <a:lnTo>
                      <a:pt x="11320" y="5587"/>
                    </a:lnTo>
                    <a:lnTo>
                      <a:pt x="11383" y="5587"/>
                    </a:lnTo>
                    <a:lnTo>
                      <a:pt x="11445" y="5524"/>
                    </a:lnTo>
                    <a:lnTo>
                      <a:pt x="11529" y="5524"/>
                    </a:lnTo>
                    <a:lnTo>
                      <a:pt x="11675" y="5503"/>
                    </a:lnTo>
                    <a:lnTo>
                      <a:pt x="11738" y="5399"/>
                    </a:lnTo>
                    <a:lnTo>
                      <a:pt x="11989" y="5315"/>
                    </a:lnTo>
                    <a:lnTo>
                      <a:pt x="12240" y="5231"/>
                    </a:lnTo>
                    <a:lnTo>
                      <a:pt x="12261" y="5127"/>
                    </a:lnTo>
                    <a:lnTo>
                      <a:pt x="12324" y="5127"/>
                    </a:lnTo>
                    <a:lnTo>
                      <a:pt x="12366" y="5085"/>
                    </a:lnTo>
                    <a:lnTo>
                      <a:pt x="12324" y="5022"/>
                    </a:lnTo>
                    <a:lnTo>
                      <a:pt x="12324" y="4918"/>
                    </a:lnTo>
                    <a:lnTo>
                      <a:pt x="12240" y="4876"/>
                    </a:lnTo>
                    <a:lnTo>
                      <a:pt x="12219" y="4918"/>
                    </a:lnTo>
                    <a:lnTo>
                      <a:pt x="12219" y="5001"/>
                    </a:lnTo>
                    <a:lnTo>
                      <a:pt x="12115" y="5022"/>
                    </a:lnTo>
                    <a:lnTo>
                      <a:pt x="12073" y="4980"/>
                    </a:lnTo>
                    <a:lnTo>
                      <a:pt x="12031" y="4980"/>
                    </a:lnTo>
                    <a:lnTo>
                      <a:pt x="12010" y="4938"/>
                    </a:lnTo>
                    <a:lnTo>
                      <a:pt x="11885" y="4938"/>
                    </a:lnTo>
                    <a:lnTo>
                      <a:pt x="11696" y="5001"/>
                    </a:lnTo>
                    <a:lnTo>
                      <a:pt x="11634" y="5106"/>
                    </a:lnTo>
                    <a:lnTo>
                      <a:pt x="11571" y="5169"/>
                    </a:lnTo>
                    <a:lnTo>
                      <a:pt x="11508" y="5085"/>
                    </a:lnTo>
                    <a:lnTo>
                      <a:pt x="11466" y="5085"/>
                    </a:lnTo>
                    <a:lnTo>
                      <a:pt x="11362" y="5169"/>
                    </a:lnTo>
                    <a:lnTo>
                      <a:pt x="11090" y="5252"/>
                    </a:lnTo>
                    <a:lnTo>
                      <a:pt x="10755" y="5273"/>
                    </a:lnTo>
                    <a:lnTo>
                      <a:pt x="10692" y="5210"/>
                    </a:lnTo>
                    <a:lnTo>
                      <a:pt x="10629" y="5210"/>
                    </a:lnTo>
                    <a:lnTo>
                      <a:pt x="10650" y="5273"/>
                    </a:lnTo>
                    <a:lnTo>
                      <a:pt x="10587" y="5315"/>
                    </a:lnTo>
                    <a:lnTo>
                      <a:pt x="10483" y="5294"/>
                    </a:lnTo>
                    <a:lnTo>
                      <a:pt x="10420" y="5294"/>
                    </a:lnTo>
                    <a:lnTo>
                      <a:pt x="10357" y="5420"/>
                    </a:lnTo>
                    <a:lnTo>
                      <a:pt x="10211" y="5587"/>
                    </a:lnTo>
                    <a:lnTo>
                      <a:pt x="10148" y="5524"/>
                    </a:lnTo>
                    <a:lnTo>
                      <a:pt x="10043" y="5524"/>
                    </a:lnTo>
                    <a:lnTo>
                      <a:pt x="10022" y="5503"/>
                    </a:lnTo>
                    <a:lnTo>
                      <a:pt x="9897" y="5503"/>
                    </a:lnTo>
                    <a:lnTo>
                      <a:pt x="9813" y="5566"/>
                    </a:lnTo>
                    <a:lnTo>
                      <a:pt x="9730" y="5566"/>
                    </a:lnTo>
                    <a:lnTo>
                      <a:pt x="9688" y="5629"/>
                    </a:lnTo>
                    <a:lnTo>
                      <a:pt x="9583" y="5671"/>
                    </a:lnTo>
                    <a:lnTo>
                      <a:pt x="9478" y="5734"/>
                    </a:lnTo>
                    <a:lnTo>
                      <a:pt x="9311" y="5817"/>
                    </a:lnTo>
                    <a:lnTo>
                      <a:pt x="9123" y="5880"/>
                    </a:lnTo>
                    <a:lnTo>
                      <a:pt x="9081" y="5985"/>
                    </a:lnTo>
                    <a:lnTo>
                      <a:pt x="9081" y="6152"/>
                    </a:lnTo>
                    <a:lnTo>
                      <a:pt x="9102" y="6466"/>
                    </a:lnTo>
                    <a:lnTo>
                      <a:pt x="9081" y="6633"/>
                    </a:lnTo>
                    <a:lnTo>
                      <a:pt x="9018" y="6612"/>
                    </a:lnTo>
                    <a:lnTo>
                      <a:pt x="8955" y="6654"/>
                    </a:lnTo>
                    <a:lnTo>
                      <a:pt x="8704" y="6863"/>
                    </a:lnTo>
                    <a:lnTo>
                      <a:pt x="8788" y="6759"/>
                    </a:lnTo>
                    <a:lnTo>
                      <a:pt x="8893" y="6633"/>
                    </a:lnTo>
                    <a:lnTo>
                      <a:pt x="8914" y="6550"/>
                    </a:lnTo>
                    <a:lnTo>
                      <a:pt x="8872" y="6529"/>
                    </a:lnTo>
                    <a:lnTo>
                      <a:pt x="8872" y="6445"/>
                    </a:lnTo>
                    <a:lnTo>
                      <a:pt x="8746" y="6257"/>
                    </a:lnTo>
                    <a:lnTo>
                      <a:pt x="8662" y="6257"/>
                    </a:lnTo>
                    <a:lnTo>
                      <a:pt x="8600" y="6173"/>
                    </a:lnTo>
                    <a:lnTo>
                      <a:pt x="8537" y="6152"/>
                    </a:lnTo>
                    <a:lnTo>
                      <a:pt x="8537" y="6006"/>
                    </a:lnTo>
                    <a:lnTo>
                      <a:pt x="8390" y="5817"/>
                    </a:lnTo>
                    <a:lnTo>
                      <a:pt x="8370" y="5817"/>
                    </a:lnTo>
                    <a:lnTo>
                      <a:pt x="8286" y="5796"/>
                    </a:lnTo>
                    <a:lnTo>
                      <a:pt x="8265" y="5692"/>
                    </a:lnTo>
                    <a:lnTo>
                      <a:pt x="8181" y="5629"/>
                    </a:lnTo>
                    <a:lnTo>
                      <a:pt x="8139" y="5671"/>
                    </a:lnTo>
                    <a:lnTo>
                      <a:pt x="8035" y="5587"/>
                    </a:lnTo>
                    <a:lnTo>
                      <a:pt x="7846" y="5378"/>
                    </a:lnTo>
                    <a:lnTo>
                      <a:pt x="7805" y="5190"/>
                    </a:lnTo>
                    <a:lnTo>
                      <a:pt x="7805" y="5001"/>
                    </a:lnTo>
                    <a:lnTo>
                      <a:pt x="7763" y="4980"/>
                    </a:lnTo>
                    <a:lnTo>
                      <a:pt x="7721" y="5043"/>
                    </a:lnTo>
                    <a:lnTo>
                      <a:pt x="7658" y="5001"/>
                    </a:lnTo>
                    <a:lnTo>
                      <a:pt x="7616" y="4876"/>
                    </a:lnTo>
                    <a:lnTo>
                      <a:pt x="7658" y="4750"/>
                    </a:lnTo>
                    <a:lnTo>
                      <a:pt x="7637" y="4729"/>
                    </a:lnTo>
                    <a:lnTo>
                      <a:pt x="7658" y="4646"/>
                    </a:lnTo>
                    <a:lnTo>
                      <a:pt x="7533" y="4520"/>
                    </a:lnTo>
                    <a:lnTo>
                      <a:pt x="7533" y="4415"/>
                    </a:lnTo>
                    <a:lnTo>
                      <a:pt x="7428" y="4332"/>
                    </a:lnTo>
                    <a:lnTo>
                      <a:pt x="7386" y="4332"/>
                    </a:lnTo>
                    <a:lnTo>
                      <a:pt x="7323" y="4248"/>
                    </a:lnTo>
                    <a:lnTo>
                      <a:pt x="7219" y="4164"/>
                    </a:lnTo>
                    <a:lnTo>
                      <a:pt x="7114" y="4164"/>
                    </a:lnTo>
                    <a:lnTo>
                      <a:pt x="6800" y="3934"/>
                    </a:lnTo>
                    <a:lnTo>
                      <a:pt x="6717" y="3934"/>
                    </a:lnTo>
                    <a:lnTo>
                      <a:pt x="6696" y="3850"/>
                    </a:lnTo>
                    <a:lnTo>
                      <a:pt x="0" y="16091"/>
                    </a:lnTo>
                    <a:lnTo>
                      <a:pt x="377" y="16091"/>
                    </a:lnTo>
                    <a:lnTo>
                      <a:pt x="502" y="16153"/>
                    </a:lnTo>
                    <a:lnTo>
                      <a:pt x="711" y="16007"/>
                    </a:lnTo>
                    <a:lnTo>
                      <a:pt x="1004" y="16049"/>
                    </a:lnTo>
                    <a:lnTo>
                      <a:pt x="858" y="16300"/>
                    </a:lnTo>
                    <a:lnTo>
                      <a:pt x="921" y="16446"/>
                    </a:lnTo>
                    <a:lnTo>
                      <a:pt x="1025" y="16718"/>
                    </a:lnTo>
                    <a:lnTo>
                      <a:pt x="1172" y="17388"/>
                    </a:lnTo>
                    <a:lnTo>
                      <a:pt x="1235" y="17534"/>
                    </a:lnTo>
                    <a:lnTo>
                      <a:pt x="1130" y="17702"/>
                    </a:lnTo>
                    <a:lnTo>
                      <a:pt x="1130" y="17765"/>
                    </a:lnTo>
                    <a:lnTo>
                      <a:pt x="1172" y="17765"/>
                    </a:lnTo>
                    <a:lnTo>
                      <a:pt x="1381" y="17744"/>
                    </a:lnTo>
                    <a:lnTo>
                      <a:pt x="1569" y="17723"/>
                    </a:lnTo>
                    <a:lnTo>
                      <a:pt x="1695" y="17639"/>
                    </a:lnTo>
                    <a:lnTo>
                      <a:pt x="1862" y="17409"/>
                    </a:lnTo>
                    <a:lnTo>
                      <a:pt x="1988" y="17283"/>
                    </a:lnTo>
                    <a:lnTo>
                      <a:pt x="2197" y="17200"/>
                    </a:lnTo>
                    <a:lnTo>
                      <a:pt x="2260" y="17179"/>
                    </a:lnTo>
                    <a:lnTo>
                      <a:pt x="2469" y="17116"/>
                    </a:lnTo>
                    <a:lnTo>
                      <a:pt x="2636" y="17116"/>
                    </a:lnTo>
                    <a:lnTo>
                      <a:pt x="2783" y="17221"/>
                    </a:lnTo>
                    <a:lnTo>
                      <a:pt x="2783" y="17325"/>
                    </a:lnTo>
                    <a:lnTo>
                      <a:pt x="2804" y="17409"/>
                    </a:lnTo>
                    <a:lnTo>
                      <a:pt x="2720" y="17555"/>
                    </a:lnTo>
                    <a:lnTo>
                      <a:pt x="2699" y="17639"/>
                    </a:lnTo>
                    <a:lnTo>
                      <a:pt x="2825" y="17974"/>
                    </a:lnTo>
                    <a:lnTo>
                      <a:pt x="2804" y="18078"/>
                    </a:lnTo>
                    <a:lnTo>
                      <a:pt x="2846" y="18288"/>
                    </a:lnTo>
                    <a:lnTo>
                      <a:pt x="2992" y="18455"/>
                    </a:lnTo>
                    <a:lnTo>
                      <a:pt x="3013" y="18664"/>
                    </a:lnTo>
                    <a:lnTo>
                      <a:pt x="3055" y="18748"/>
                    </a:lnTo>
                    <a:lnTo>
                      <a:pt x="3097" y="18853"/>
                    </a:lnTo>
                    <a:lnTo>
                      <a:pt x="3034" y="18957"/>
                    </a:lnTo>
                    <a:lnTo>
                      <a:pt x="3034" y="19062"/>
                    </a:lnTo>
                    <a:lnTo>
                      <a:pt x="3055" y="19146"/>
                    </a:lnTo>
                    <a:lnTo>
                      <a:pt x="3013" y="19501"/>
                    </a:lnTo>
                    <a:lnTo>
                      <a:pt x="3013" y="19920"/>
                    </a:lnTo>
                    <a:lnTo>
                      <a:pt x="3034" y="20338"/>
                    </a:lnTo>
                    <a:lnTo>
                      <a:pt x="2929" y="20380"/>
                    </a:lnTo>
                    <a:lnTo>
                      <a:pt x="2929" y="20464"/>
                    </a:lnTo>
                    <a:lnTo>
                      <a:pt x="2971" y="20464"/>
                    </a:lnTo>
                    <a:lnTo>
                      <a:pt x="3055" y="20527"/>
                    </a:lnTo>
                    <a:lnTo>
                      <a:pt x="3076" y="20568"/>
                    </a:lnTo>
                    <a:lnTo>
                      <a:pt x="3034" y="20589"/>
                    </a:lnTo>
                    <a:lnTo>
                      <a:pt x="2971" y="20652"/>
                    </a:lnTo>
                    <a:lnTo>
                      <a:pt x="3013" y="20736"/>
                    </a:lnTo>
                    <a:lnTo>
                      <a:pt x="3055" y="20778"/>
                    </a:lnTo>
                    <a:lnTo>
                      <a:pt x="3076" y="20861"/>
                    </a:lnTo>
                    <a:lnTo>
                      <a:pt x="3055" y="20903"/>
                    </a:lnTo>
                    <a:lnTo>
                      <a:pt x="3055" y="20966"/>
                    </a:lnTo>
                    <a:lnTo>
                      <a:pt x="3160" y="20966"/>
                    </a:lnTo>
                    <a:lnTo>
                      <a:pt x="3243" y="20987"/>
                    </a:lnTo>
                    <a:lnTo>
                      <a:pt x="3348" y="21154"/>
                    </a:lnTo>
                    <a:lnTo>
                      <a:pt x="3369" y="21217"/>
                    </a:lnTo>
                    <a:lnTo>
                      <a:pt x="3452" y="21280"/>
                    </a:lnTo>
                    <a:lnTo>
                      <a:pt x="3578" y="21363"/>
                    </a:lnTo>
                    <a:lnTo>
                      <a:pt x="3641" y="21468"/>
                    </a:lnTo>
                    <a:lnTo>
                      <a:pt x="3641" y="21573"/>
                    </a:lnTo>
                    <a:lnTo>
                      <a:pt x="3683" y="21594"/>
                    </a:lnTo>
                    <a:lnTo>
                      <a:pt x="3704" y="21635"/>
                    </a:lnTo>
                    <a:lnTo>
                      <a:pt x="3683" y="21698"/>
                    </a:lnTo>
                    <a:lnTo>
                      <a:pt x="3683" y="21740"/>
                    </a:lnTo>
                    <a:lnTo>
                      <a:pt x="3641" y="21782"/>
                    </a:lnTo>
                    <a:lnTo>
                      <a:pt x="3641" y="21845"/>
                    </a:lnTo>
                    <a:lnTo>
                      <a:pt x="3641" y="21887"/>
                    </a:lnTo>
                    <a:lnTo>
                      <a:pt x="3662" y="21907"/>
                    </a:lnTo>
                    <a:lnTo>
                      <a:pt x="3599" y="22033"/>
                    </a:lnTo>
                    <a:lnTo>
                      <a:pt x="3452" y="22326"/>
                    </a:lnTo>
                    <a:lnTo>
                      <a:pt x="3432" y="22514"/>
                    </a:lnTo>
                    <a:lnTo>
                      <a:pt x="3285" y="22661"/>
                    </a:lnTo>
                    <a:lnTo>
                      <a:pt x="3285" y="22744"/>
                    </a:lnTo>
                    <a:lnTo>
                      <a:pt x="3327" y="22744"/>
                    </a:lnTo>
                    <a:lnTo>
                      <a:pt x="3494" y="22535"/>
                    </a:lnTo>
                    <a:lnTo>
                      <a:pt x="3536" y="22410"/>
                    </a:lnTo>
                    <a:lnTo>
                      <a:pt x="3662" y="22305"/>
                    </a:lnTo>
                    <a:lnTo>
                      <a:pt x="3683" y="22347"/>
                    </a:lnTo>
                    <a:lnTo>
                      <a:pt x="3766" y="22368"/>
                    </a:lnTo>
                    <a:lnTo>
                      <a:pt x="3766" y="22431"/>
                    </a:lnTo>
                    <a:lnTo>
                      <a:pt x="3599" y="22514"/>
                    </a:lnTo>
                    <a:lnTo>
                      <a:pt x="3557" y="22619"/>
                    </a:lnTo>
                    <a:lnTo>
                      <a:pt x="3390" y="22786"/>
                    </a:lnTo>
                    <a:lnTo>
                      <a:pt x="3390" y="22828"/>
                    </a:lnTo>
                    <a:lnTo>
                      <a:pt x="3473" y="22828"/>
                    </a:lnTo>
                    <a:lnTo>
                      <a:pt x="3432" y="22870"/>
                    </a:lnTo>
                    <a:lnTo>
                      <a:pt x="3285" y="22849"/>
                    </a:lnTo>
                    <a:lnTo>
                      <a:pt x="3222" y="22870"/>
                    </a:lnTo>
                    <a:lnTo>
                      <a:pt x="3160" y="23037"/>
                    </a:lnTo>
                    <a:lnTo>
                      <a:pt x="3055" y="23142"/>
                    </a:lnTo>
                    <a:lnTo>
                      <a:pt x="3076" y="23268"/>
                    </a:lnTo>
                    <a:lnTo>
                      <a:pt x="3034" y="23247"/>
                    </a:lnTo>
                    <a:lnTo>
                      <a:pt x="2971" y="23184"/>
                    </a:lnTo>
                    <a:lnTo>
                      <a:pt x="2908" y="23247"/>
                    </a:lnTo>
                    <a:lnTo>
                      <a:pt x="2908" y="23393"/>
                    </a:lnTo>
                    <a:lnTo>
                      <a:pt x="3013" y="23393"/>
                    </a:lnTo>
                    <a:lnTo>
                      <a:pt x="3034" y="23477"/>
                    </a:lnTo>
                    <a:lnTo>
                      <a:pt x="2971" y="23665"/>
                    </a:lnTo>
                    <a:lnTo>
                      <a:pt x="2950" y="23937"/>
                    </a:lnTo>
                    <a:lnTo>
                      <a:pt x="3013" y="24125"/>
                    </a:lnTo>
                    <a:lnTo>
                      <a:pt x="3076" y="24293"/>
                    </a:lnTo>
                    <a:lnTo>
                      <a:pt x="3160" y="24314"/>
                    </a:lnTo>
                    <a:lnTo>
                      <a:pt x="3180" y="24230"/>
                    </a:lnTo>
                    <a:lnTo>
                      <a:pt x="3264" y="24146"/>
                    </a:lnTo>
                    <a:lnTo>
                      <a:pt x="3452" y="24104"/>
                    </a:lnTo>
                    <a:lnTo>
                      <a:pt x="3557" y="24021"/>
                    </a:lnTo>
                    <a:lnTo>
                      <a:pt x="3662" y="23895"/>
                    </a:lnTo>
                    <a:lnTo>
                      <a:pt x="3704" y="23895"/>
                    </a:lnTo>
                    <a:lnTo>
                      <a:pt x="3704" y="24021"/>
                    </a:lnTo>
                    <a:lnTo>
                      <a:pt x="3662" y="24125"/>
                    </a:lnTo>
                    <a:lnTo>
                      <a:pt x="3599" y="24146"/>
                    </a:lnTo>
                    <a:lnTo>
                      <a:pt x="3536" y="24251"/>
                    </a:lnTo>
                    <a:lnTo>
                      <a:pt x="3536" y="24314"/>
                    </a:lnTo>
                    <a:lnTo>
                      <a:pt x="3641" y="24397"/>
                    </a:lnTo>
                    <a:lnTo>
                      <a:pt x="3704" y="24460"/>
                    </a:lnTo>
                    <a:lnTo>
                      <a:pt x="3808" y="24460"/>
                    </a:lnTo>
                    <a:lnTo>
                      <a:pt x="3892" y="24502"/>
                    </a:lnTo>
                    <a:lnTo>
                      <a:pt x="3955" y="24544"/>
                    </a:lnTo>
                    <a:lnTo>
                      <a:pt x="3808" y="24502"/>
                    </a:lnTo>
                    <a:lnTo>
                      <a:pt x="3683" y="24502"/>
                    </a:lnTo>
                    <a:lnTo>
                      <a:pt x="3578" y="24439"/>
                    </a:lnTo>
                    <a:lnTo>
                      <a:pt x="3432" y="24439"/>
                    </a:lnTo>
                    <a:lnTo>
                      <a:pt x="3369" y="24523"/>
                    </a:lnTo>
                    <a:lnTo>
                      <a:pt x="3369" y="24607"/>
                    </a:lnTo>
                    <a:lnTo>
                      <a:pt x="3432" y="24669"/>
                    </a:lnTo>
                    <a:lnTo>
                      <a:pt x="3452" y="24920"/>
                    </a:lnTo>
                    <a:lnTo>
                      <a:pt x="3494" y="24983"/>
                    </a:lnTo>
                    <a:lnTo>
                      <a:pt x="3557" y="24983"/>
                    </a:lnTo>
                    <a:lnTo>
                      <a:pt x="3641" y="24941"/>
                    </a:lnTo>
                    <a:lnTo>
                      <a:pt x="3683" y="24983"/>
                    </a:lnTo>
                    <a:lnTo>
                      <a:pt x="3641" y="25046"/>
                    </a:lnTo>
                    <a:lnTo>
                      <a:pt x="3599" y="25088"/>
                    </a:lnTo>
                    <a:lnTo>
                      <a:pt x="3683" y="25151"/>
                    </a:lnTo>
                    <a:lnTo>
                      <a:pt x="3683" y="25192"/>
                    </a:lnTo>
                    <a:lnTo>
                      <a:pt x="3662" y="25255"/>
                    </a:lnTo>
                    <a:lnTo>
                      <a:pt x="3557" y="25234"/>
                    </a:lnTo>
                    <a:lnTo>
                      <a:pt x="3411" y="25276"/>
                    </a:lnTo>
                    <a:lnTo>
                      <a:pt x="3264" y="25381"/>
                    </a:lnTo>
                    <a:lnTo>
                      <a:pt x="3243" y="25423"/>
                    </a:lnTo>
                    <a:lnTo>
                      <a:pt x="3306" y="25485"/>
                    </a:lnTo>
                    <a:lnTo>
                      <a:pt x="3452" y="25423"/>
                    </a:lnTo>
                    <a:lnTo>
                      <a:pt x="3536" y="25465"/>
                    </a:lnTo>
                    <a:lnTo>
                      <a:pt x="3452" y="25485"/>
                    </a:lnTo>
                    <a:lnTo>
                      <a:pt x="3432" y="25548"/>
                    </a:lnTo>
                    <a:lnTo>
                      <a:pt x="3515" y="25632"/>
                    </a:lnTo>
                    <a:lnTo>
                      <a:pt x="3662" y="25590"/>
                    </a:lnTo>
                    <a:lnTo>
                      <a:pt x="3829" y="25465"/>
                    </a:lnTo>
                    <a:lnTo>
                      <a:pt x="3934" y="25297"/>
                    </a:lnTo>
                    <a:lnTo>
                      <a:pt x="4038" y="25297"/>
                    </a:lnTo>
                    <a:lnTo>
                      <a:pt x="4143" y="25213"/>
                    </a:lnTo>
                    <a:lnTo>
                      <a:pt x="4164" y="25109"/>
                    </a:lnTo>
                    <a:lnTo>
                      <a:pt x="4185" y="25088"/>
                    </a:lnTo>
                    <a:lnTo>
                      <a:pt x="4206" y="25172"/>
                    </a:lnTo>
                    <a:lnTo>
                      <a:pt x="4143" y="25339"/>
                    </a:lnTo>
                    <a:lnTo>
                      <a:pt x="4038" y="25402"/>
                    </a:lnTo>
                    <a:lnTo>
                      <a:pt x="3913" y="25465"/>
                    </a:lnTo>
                    <a:lnTo>
                      <a:pt x="3892" y="25548"/>
                    </a:lnTo>
                    <a:lnTo>
                      <a:pt x="3955" y="25611"/>
                    </a:lnTo>
                    <a:lnTo>
                      <a:pt x="4038" y="25590"/>
                    </a:lnTo>
                    <a:lnTo>
                      <a:pt x="4164" y="25590"/>
                    </a:lnTo>
                    <a:lnTo>
                      <a:pt x="4268" y="25611"/>
                    </a:lnTo>
                    <a:lnTo>
                      <a:pt x="4122" y="25611"/>
                    </a:lnTo>
                    <a:lnTo>
                      <a:pt x="4017" y="25674"/>
                    </a:lnTo>
                    <a:lnTo>
                      <a:pt x="4017" y="25820"/>
                    </a:lnTo>
                    <a:lnTo>
                      <a:pt x="4059" y="25967"/>
                    </a:lnTo>
                    <a:lnTo>
                      <a:pt x="4017" y="25988"/>
                    </a:lnTo>
                    <a:lnTo>
                      <a:pt x="3976" y="25904"/>
                    </a:lnTo>
                    <a:lnTo>
                      <a:pt x="3976" y="25757"/>
                    </a:lnTo>
                    <a:lnTo>
                      <a:pt x="3913" y="25674"/>
                    </a:lnTo>
                    <a:lnTo>
                      <a:pt x="3850" y="25716"/>
                    </a:lnTo>
                    <a:lnTo>
                      <a:pt x="3578" y="25904"/>
                    </a:lnTo>
                    <a:lnTo>
                      <a:pt x="3536" y="25988"/>
                    </a:lnTo>
                    <a:lnTo>
                      <a:pt x="3369" y="26071"/>
                    </a:lnTo>
                    <a:lnTo>
                      <a:pt x="3327" y="26134"/>
                    </a:lnTo>
                    <a:lnTo>
                      <a:pt x="3348" y="26218"/>
                    </a:lnTo>
                    <a:lnTo>
                      <a:pt x="3348" y="26301"/>
                    </a:lnTo>
                    <a:lnTo>
                      <a:pt x="3369" y="26322"/>
                    </a:lnTo>
                    <a:lnTo>
                      <a:pt x="3452" y="26281"/>
                    </a:lnTo>
                    <a:lnTo>
                      <a:pt x="3557" y="26218"/>
                    </a:lnTo>
                    <a:lnTo>
                      <a:pt x="3599" y="26113"/>
                    </a:lnTo>
                    <a:lnTo>
                      <a:pt x="3662" y="26134"/>
                    </a:lnTo>
                    <a:lnTo>
                      <a:pt x="3704" y="26197"/>
                    </a:lnTo>
                    <a:lnTo>
                      <a:pt x="3892" y="26218"/>
                    </a:lnTo>
                    <a:lnTo>
                      <a:pt x="3871" y="26239"/>
                    </a:lnTo>
                    <a:lnTo>
                      <a:pt x="3766" y="26218"/>
                    </a:lnTo>
                    <a:lnTo>
                      <a:pt x="3599" y="26218"/>
                    </a:lnTo>
                    <a:lnTo>
                      <a:pt x="3536" y="26281"/>
                    </a:lnTo>
                    <a:lnTo>
                      <a:pt x="3536" y="26322"/>
                    </a:lnTo>
                    <a:lnTo>
                      <a:pt x="3557" y="26385"/>
                    </a:lnTo>
                    <a:lnTo>
                      <a:pt x="3473" y="26406"/>
                    </a:lnTo>
                    <a:lnTo>
                      <a:pt x="3432" y="26385"/>
                    </a:lnTo>
                    <a:lnTo>
                      <a:pt x="3264" y="26427"/>
                    </a:lnTo>
                    <a:lnTo>
                      <a:pt x="3264" y="26490"/>
                    </a:lnTo>
                    <a:lnTo>
                      <a:pt x="3390" y="26490"/>
                    </a:lnTo>
                    <a:lnTo>
                      <a:pt x="3473" y="26532"/>
                    </a:lnTo>
                    <a:lnTo>
                      <a:pt x="3578" y="26532"/>
                    </a:lnTo>
                    <a:lnTo>
                      <a:pt x="3515" y="26594"/>
                    </a:lnTo>
                    <a:lnTo>
                      <a:pt x="3390" y="26594"/>
                    </a:lnTo>
                    <a:lnTo>
                      <a:pt x="3327" y="26532"/>
                    </a:lnTo>
                    <a:lnTo>
                      <a:pt x="3222" y="26553"/>
                    </a:lnTo>
                    <a:lnTo>
                      <a:pt x="3180" y="26657"/>
                    </a:lnTo>
                    <a:lnTo>
                      <a:pt x="3243" y="26720"/>
                    </a:lnTo>
                    <a:lnTo>
                      <a:pt x="3327" y="26720"/>
                    </a:lnTo>
                    <a:lnTo>
                      <a:pt x="3452" y="26699"/>
                    </a:lnTo>
                    <a:lnTo>
                      <a:pt x="3536" y="26741"/>
                    </a:lnTo>
                    <a:lnTo>
                      <a:pt x="3683" y="26741"/>
                    </a:lnTo>
                    <a:lnTo>
                      <a:pt x="3662" y="26804"/>
                    </a:lnTo>
                    <a:lnTo>
                      <a:pt x="3557" y="26825"/>
                    </a:lnTo>
                    <a:lnTo>
                      <a:pt x="3452" y="26804"/>
                    </a:lnTo>
                    <a:lnTo>
                      <a:pt x="3432" y="26825"/>
                    </a:lnTo>
                    <a:lnTo>
                      <a:pt x="3452" y="26845"/>
                    </a:lnTo>
                    <a:lnTo>
                      <a:pt x="3662" y="26845"/>
                    </a:lnTo>
                    <a:lnTo>
                      <a:pt x="3662" y="26908"/>
                    </a:lnTo>
                    <a:lnTo>
                      <a:pt x="3536" y="26929"/>
                    </a:lnTo>
                    <a:lnTo>
                      <a:pt x="3390" y="26908"/>
                    </a:lnTo>
                    <a:lnTo>
                      <a:pt x="3327" y="26845"/>
                    </a:lnTo>
                    <a:lnTo>
                      <a:pt x="3264" y="26908"/>
                    </a:lnTo>
                    <a:lnTo>
                      <a:pt x="3327" y="27013"/>
                    </a:lnTo>
                    <a:lnTo>
                      <a:pt x="3452" y="27076"/>
                    </a:lnTo>
                    <a:lnTo>
                      <a:pt x="3473" y="27013"/>
                    </a:lnTo>
                    <a:lnTo>
                      <a:pt x="3557" y="27013"/>
                    </a:lnTo>
                    <a:lnTo>
                      <a:pt x="3641" y="27055"/>
                    </a:lnTo>
                    <a:lnTo>
                      <a:pt x="3787" y="27034"/>
                    </a:lnTo>
                    <a:lnTo>
                      <a:pt x="3850" y="27076"/>
                    </a:lnTo>
                    <a:lnTo>
                      <a:pt x="3766" y="27117"/>
                    </a:lnTo>
                    <a:lnTo>
                      <a:pt x="3766" y="27159"/>
                    </a:lnTo>
                    <a:lnTo>
                      <a:pt x="3871" y="27159"/>
                    </a:lnTo>
                    <a:lnTo>
                      <a:pt x="3892" y="27243"/>
                    </a:lnTo>
                    <a:lnTo>
                      <a:pt x="4026" y="27276"/>
                    </a:lnTo>
                    <a:lnTo>
                      <a:pt x="3976" y="27285"/>
                    </a:lnTo>
                    <a:lnTo>
                      <a:pt x="3871" y="27285"/>
                    </a:lnTo>
                    <a:lnTo>
                      <a:pt x="3787" y="27369"/>
                    </a:lnTo>
                    <a:lnTo>
                      <a:pt x="3787" y="27431"/>
                    </a:lnTo>
                    <a:lnTo>
                      <a:pt x="3871" y="27473"/>
                    </a:lnTo>
                    <a:lnTo>
                      <a:pt x="3913" y="27431"/>
                    </a:lnTo>
                    <a:lnTo>
                      <a:pt x="3976" y="27389"/>
                    </a:lnTo>
                    <a:lnTo>
                      <a:pt x="3996" y="27452"/>
                    </a:lnTo>
                    <a:lnTo>
                      <a:pt x="4017" y="27452"/>
                    </a:lnTo>
                    <a:lnTo>
                      <a:pt x="4080" y="27369"/>
                    </a:lnTo>
                    <a:lnTo>
                      <a:pt x="4185" y="27306"/>
                    </a:lnTo>
                    <a:lnTo>
                      <a:pt x="4185" y="27369"/>
                    </a:lnTo>
                    <a:lnTo>
                      <a:pt x="4164" y="27410"/>
                    </a:lnTo>
                    <a:lnTo>
                      <a:pt x="4164" y="27473"/>
                    </a:lnTo>
                    <a:lnTo>
                      <a:pt x="4206" y="27494"/>
                    </a:lnTo>
                    <a:lnTo>
                      <a:pt x="4289" y="27557"/>
                    </a:lnTo>
                    <a:lnTo>
                      <a:pt x="4373" y="27557"/>
                    </a:lnTo>
                    <a:lnTo>
                      <a:pt x="4499" y="27369"/>
                    </a:lnTo>
                    <a:lnTo>
                      <a:pt x="4520" y="27159"/>
                    </a:lnTo>
                    <a:lnTo>
                      <a:pt x="4582" y="27055"/>
                    </a:lnTo>
                    <a:lnTo>
                      <a:pt x="4645" y="27034"/>
                    </a:lnTo>
                    <a:lnTo>
                      <a:pt x="4645" y="27097"/>
                    </a:lnTo>
                    <a:lnTo>
                      <a:pt x="4603" y="27159"/>
                    </a:lnTo>
                    <a:lnTo>
                      <a:pt x="4603" y="27306"/>
                    </a:lnTo>
                    <a:lnTo>
                      <a:pt x="4499" y="27473"/>
                    </a:lnTo>
                    <a:lnTo>
                      <a:pt x="4415" y="27557"/>
                    </a:lnTo>
                    <a:lnTo>
                      <a:pt x="4436" y="27599"/>
                    </a:lnTo>
                    <a:lnTo>
                      <a:pt x="4582" y="27599"/>
                    </a:lnTo>
                    <a:lnTo>
                      <a:pt x="4687" y="27578"/>
                    </a:lnTo>
                    <a:lnTo>
                      <a:pt x="4708" y="27599"/>
                    </a:lnTo>
                    <a:lnTo>
                      <a:pt x="4624" y="27682"/>
                    </a:lnTo>
                    <a:lnTo>
                      <a:pt x="4582" y="27808"/>
                    </a:lnTo>
                    <a:lnTo>
                      <a:pt x="4415" y="27913"/>
                    </a:lnTo>
                    <a:lnTo>
                      <a:pt x="4415" y="27975"/>
                    </a:lnTo>
                    <a:lnTo>
                      <a:pt x="4499" y="28122"/>
                    </a:lnTo>
                    <a:lnTo>
                      <a:pt x="4624" y="28185"/>
                    </a:lnTo>
                    <a:lnTo>
                      <a:pt x="4708" y="28122"/>
                    </a:lnTo>
                    <a:lnTo>
                      <a:pt x="4792" y="28122"/>
                    </a:lnTo>
                    <a:lnTo>
                      <a:pt x="4812" y="28226"/>
                    </a:lnTo>
                    <a:lnTo>
                      <a:pt x="4875" y="28331"/>
                    </a:lnTo>
                    <a:lnTo>
                      <a:pt x="4875" y="28415"/>
                    </a:lnTo>
                    <a:lnTo>
                      <a:pt x="4812" y="28415"/>
                    </a:lnTo>
                    <a:lnTo>
                      <a:pt x="4771" y="28310"/>
                    </a:lnTo>
                    <a:lnTo>
                      <a:pt x="4708" y="28310"/>
                    </a:lnTo>
                    <a:lnTo>
                      <a:pt x="4708" y="28415"/>
                    </a:lnTo>
                    <a:lnTo>
                      <a:pt x="4812" y="28561"/>
                    </a:lnTo>
                    <a:lnTo>
                      <a:pt x="4938" y="28498"/>
                    </a:lnTo>
                    <a:lnTo>
                      <a:pt x="5085" y="28436"/>
                    </a:lnTo>
                    <a:lnTo>
                      <a:pt x="5147" y="28352"/>
                    </a:lnTo>
                    <a:lnTo>
                      <a:pt x="5147" y="28352"/>
                    </a:lnTo>
                    <a:lnTo>
                      <a:pt x="5126" y="28519"/>
                    </a:lnTo>
                    <a:lnTo>
                      <a:pt x="5022" y="28750"/>
                    </a:lnTo>
                    <a:lnTo>
                      <a:pt x="5043" y="28938"/>
                    </a:lnTo>
                    <a:lnTo>
                      <a:pt x="5126" y="28959"/>
                    </a:lnTo>
                    <a:lnTo>
                      <a:pt x="20087" y="30444"/>
                    </a:lnTo>
                    <a:lnTo>
                      <a:pt x="20212" y="30507"/>
                    </a:lnTo>
                    <a:lnTo>
                      <a:pt x="20359" y="30507"/>
                    </a:lnTo>
                    <a:lnTo>
                      <a:pt x="20484" y="30612"/>
                    </a:lnTo>
                    <a:lnTo>
                      <a:pt x="20484" y="30674"/>
                    </a:lnTo>
                    <a:lnTo>
                      <a:pt x="20568" y="30737"/>
                    </a:lnTo>
                    <a:lnTo>
                      <a:pt x="20589" y="30779"/>
                    </a:lnTo>
                    <a:lnTo>
                      <a:pt x="20694" y="30821"/>
                    </a:lnTo>
                    <a:lnTo>
                      <a:pt x="20714" y="30842"/>
                    </a:lnTo>
                    <a:lnTo>
                      <a:pt x="20840" y="30884"/>
                    </a:lnTo>
                    <a:lnTo>
                      <a:pt x="20903" y="30946"/>
                    </a:lnTo>
                    <a:lnTo>
                      <a:pt x="20945" y="30946"/>
                    </a:lnTo>
                    <a:lnTo>
                      <a:pt x="21049" y="30926"/>
                    </a:lnTo>
                    <a:lnTo>
                      <a:pt x="21133" y="30946"/>
                    </a:lnTo>
                    <a:lnTo>
                      <a:pt x="21238" y="30946"/>
                    </a:lnTo>
                    <a:lnTo>
                      <a:pt x="21363" y="31051"/>
                    </a:lnTo>
                    <a:lnTo>
                      <a:pt x="21447" y="31051"/>
                    </a:lnTo>
                    <a:lnTo>
                      <a:pt x="21510" y="31198"/>
                    </a:lnTo>
                    <a:lnTo>
                      <a:pt x="21719" y="31239"/>
                    </a:lnTo>
                    <a:lnTo>
                      <a:pt x="21823" y="31260"/>
                    </a:lnTo>
                    <a:lnTo>
                      <a:pt x="21886" y="31344"/>
                    </a:lnTo>
                    <a:lnTo>
                      <a:pt x="21970" y="31407"/>
                    </a:lnTo>
                    <a:lnTo>
                      <a:pt x="22158" y="31407"/>
                    </a:lnTo>
                    <a:lnTo>
                      <a:pt x="22263" y="31344"/>
                    </a:lnTo>
                    <a:lnTo>
                      <a:pt x="22305" y="31407"/>
                    </a:lnTo>
                    <a:lnTo>
                      <a:pt x="22367" y="31511"/>
                    </a:lnTo>
                    <a:lnTo>
                      <a:pt x="22618" y="31532"/>
                    </a:lnTo>
                    <a:lnTo>
                      <a:pt x="22681" y="31574"/>
                    </a:lnTo>
                    <a:lnTo>
                      <a:pt x="22807" y="31616"/>
                    </a:lnTo>
                    <a:lnTo>
                      <a:pt x="22890" y="31658"/>
                    </a:lnTo>
                    <a:lnTo>
                      <a:pt x="25192" y="32725"/>
                    </a:lnTo>
                    <a:lnTo>
                      <a:pt x="25339" y="32913"/>
                    </a:lnTo>
                    <a:lnTo>
                      <a:pt x="25694" y="33206"/>
                    </a:lnTo>
                    <a:lnTo>
                      <a:pt x="26050" y="34985"/>
                    </a:lnTo>
                    <a:lnTo>
                      <a:pt x="26008" y="35738"/>
                    </a:lnTo>
                    <a:lnTo>
                      <a:pt x="25945" y="35864"/>
                    </a:lnTo>
                    <a:lnTo>
                      <a:pt x="25903" y="36010"/>
                    </a:lnTo>
                    <a:lnTo>
                      <a:pt x="25820" y="36136"/>
                    </a:lnTo>
                    <a:lnTo>
                      <a:pt x="25611" y="36240"/>
                    </a:lnTo>
                    <a:lnTo>
                      <a:pt x="25506" y="36366"/>
                    </a:lnTo>
                    <a:lnTo>
                      <a:pt x="25611" y="36554"/>
                    </a:lnTo>
                    <a:lnTo>
                      <a:pt x="27598" y="36031"/>
                    </a:lnTo>
                    <a:lnTo>
                      <a:pt x="27849" y="35947"/>
                    </a:lnTo>
                    <a:lnTo>
                      <a:pt x="27912" y="35654"/>
                    </a:lnTo>
                    <a:lnTo>
                      <a:pt x="28979" y="35340"/>
                    </a:lnTo>
                    <a:lnTo>
                      <a:pt x="29461" y="34985"/>
                    </a:lnTo>
                    <a:lnTo>
                      <a:pt x="29565" y="34901"/>
                    </a:lnTo>
                    <a:lnTo>
                      <a:pt x="29712" y="34880"/>
                    </a:lnTo>
                    <a:lnTo>
                      <a:pt x="29984" y="34650"/>
                    </a:lnTo>
                    <a:lnTo>
                      <a:pt x="30088" y="34545"/>
                    </a:lnTo>
                    <a:lnTo>
                      <a:pt x="30214" y="34483"/>
                    </a:lnTo>
                    <a:lnTo>
                      <a:pt x="30318" y="34378"/>
                    </a:lnTo>
                    <a:lnTo>
                      <a:pt x="30528" y="34357"/>
                    </a:lnTo>
                    <a:lnTo>
                      <a:pt x="32202" y="34378"/>
                    </a:lnTo>
                    <a:lnTo>
                      <a:pt x="32327" y="34252"/>
                    </a:lnTo>
                    <a:lnTo>
                      <a:pt x="32390" y="34252"/>
                    </a:lnTo>
                    <a:lnTo>
                      <a:pt x="32432" y="34190"/>
                    </a:lnTo>
                    <a:lnTo>
                      <a:pt x="32515" y="34190"/>
                    </a:lnTo>
                    <a:lnTo>
                      <a:pt x="32620" y="34231"/>
                    </a:lnTo>
                    <a:lnTo>
                      <a:pt x="32704" y="34169"/>
                    </a:lnTo>
                    <a:lnTo>
                      <a:pt x="32725" y="34085"/>
                    </a:lnTo>
                    <a:lnTo>
                      <a:pt x="32913" y="33876"/>
                    </a:lnTo>
                    <a:lnTo>
                      <a:pt x="32976" y="33855"/>
                    </a:lnTo>
                    <a:lnTo>
                      <a:pt x="33143" y="33667"/>
                    </a:lnTo>
                    <a:lnTo>
                      <a:pt x="33185" y="33541"/>
                    </a:lnTo>
                    <a:lnTo>
                      <a:pt x="33227" y="33415"/>
                    </a:lnTo>
                    <a:lnTo>
                      <a:pt x="33373" y="33332"/>
                    </a:lnTo>
                    <a:lnTo>
                      <a:pt x="33373" y="33227"/>
                    </a:lnTo>
                    <a:lnTo>
                      <a:pt x="33478" y="33102"/>
                    </a:lnTo>
                    <a:lnTo>
                      <a:pt x="33687" y="32871"/>
                    </a:lnTo>
                    <a:lnTo>
                      <a:pt x="33750" y="32767"/>
                    </a:lnTo>
                    <a:lnTo>
                      <a:pt x="33854" y="32662"/>
                    </a:lnTo>
                    <a:lnTo>
                      <a:pt x="33875" y="32662"/>
                    </a:lnTo>
                    <a:lnTo>
                      <a:pt x="33959" y="32704"/>
                    </a:lnTo>
                    <a:lnTo>
                      <a:pt x="34022" y="32788"/>
                    </a:lnTo>
                    <a:lnTo>
                      <a:pt x="34168" y="32767"/>
                    </a:lnTo>
                    <a:lnTo>
                      <a:pt x="34315" y="32809"/>
                    </a:lnTo>
                    <a:lnTo>
                      <a:pt x="34378" y="32767"/>
                    </a:lnTo>
                    <a:lnTo>
                      <a:pt x="34608" y="32976"/>
                    </a:lnTo>
                    <a:lnTo>
                      <a:pt x="34608" y="33143"/>
                    </a:lnTo>
                    <a:lnTo>
                      <a:pt x="34482" y="33876"/>
                    </a:lnTo>
                    <a:lnTo>
                      <a:pt x="34440" y="33959"/>
                    </a:lnTo>
                    <a:lnTo>
                      <a:pt x="34503" y="33959"/>
                    </a:lnTo>
                    <a:lnTo>
                      <a:pt x="34524" y="34043"/>
                    </a:lnTo>
                    <a:lnTo>
                      <a:pt x="34587" y="34085"/>
                    </a:lnTo>
                    <a:lnTo>
                      <a:pt x="34587" y="34190"/>
                    </a:lnTo>
                    <a:lnTo>
                      <a:pt x="34587" y="34252"/>
                    </a:lnTo>
                    <a:lnTo>
                      <a:pt x="34587" y="34294"/>
                    </a:lnTo>
                    <a:lnTo>
                      <a:pt x="34545" y="34357"/>
                    </a:lnTo>
                    <a:lnTo>
                      <a:pt x="34587" y="34378"/>
                    </a:lnTo>
                    <a:lnTo>
                      <a:pt x="34733" y="34399"/>
                    </a:lnTo>
                    <a:lnTo>
                      <a:pt x="34859" y="34378"/>
                    </a:lnTo>
                    <a:lnTo>
                      <a:pt x="34901" y="34462"/>
                    </a:lnTo>
                    <a:lnTo>
                      <a:pt x="34963" y="34483"/>
                    </a:lnTo>
                    <a:lnTo>
                      <a:pt x="35026" y="34399"/>
                    </a:lnTo>
                    <a:lnTo>
                      <a:pt x="35110" y="34462"/>
                    </a:lnTo>
                    <a:lnTo>
                      <a:pt x="35235" y="34441"/>
                    </a:lnTo>
                    <a:lnTo>
                      <a:pt x="35277" y="34336"/>
                    </a:lnTo>
                    <a:lnTo>
                      <a:pt x="35382" y="34231"/>
                    </a:lnTo>
                    <a:lnTo>
                      <a:pt x="35382" y="34231"/>
                    </a:lnTo>
                    <a:lnTo>
                      <a:pt x="35319" y="34336"/>
                    </a:lnTo>
                    <a:lnTo>
                      <a:pt x="35340" y="34336"/>
                    </a:lnTo>
                    <a:lnTo>
                      <a:pt x="35319" y="34378"/>
                    </a:lnTo>
                    <a:lnTo>
                      <a:pt x="35361" y="34399"/>
                    </a:lnTo>
                    <a:lnTo>
                      <a:pt x="35633" y="34336"/>
                    </a:lnTo>
                    <a:lnTo>
                      <a:pt x="35675" y="34252"/>
                    </a:lnTo>
                    <a:lnTo>
                      <a:pt x="35842" y="34252"/>
                    </a:lnTo>
                    <a:lnTo>
                      <a:pt x="35968" y="34127"/>
                    </a:lnTo>
                    <a:lnTo>
                      <a:pt x="36072" y="34085"/>
                    </a:lnTo>
                    <a:lnTo>
                      <a:pt x="36198" y="33918"/>
                    </a:lnTo>
                    <a:lnTo>
                      <a:pt x="36198" y="33980"/>
                    </a:lnTo>
                    <a:lnTo>
                      <a:pt x="36282" y="33939"/>
                    </a:lnTo>
                    <a:lnTo>
                      <a:pt x="36282" y="33980"/>
                    </a:lnTo>
                    <a:lnTo>
                      <a:pt x="36156" y="34127"/>
                    </a:lnTo>
                    <a:lnTo>
                      <a:pt x="36051" y="34148"/>
                    </a:lnTo>
                    <a:lnTo>
                      <a:pt x="35947" y="34294"/>
                    </a:lnTo>
                    <a:lnTo>
                      <a:pt x="36072" y="34336"/>
                    </a:lnTo>
                    <a:lnTo>
                      <a:pt x="36156" y="34231"/>
                    </a:lnTo>
                    <a:lnTo>
                      <a:pt x="36261" y="34231"/>
                    </a:lnTo>
                    <a:lnTo>
                      <a:pt x="36323" y="34273"/>
                    </a:lnTo>
                    <a:lnTo>
                      <a:pt x="36575" y="34294"/>
                    </a:lnTo>
                    <a:lnTo>
                      <a:pt x="36742" y="34294"/>
                    </a:lnTo>
                    <a:lnTo>
                      <a:pt x="36616" y="34357"/>
                    </a:lnTo>
                    <a:lnTo>
                      <a:pt x="36470" y="34378"/>
                    </a:lnTo>
                    <a:lnTo>
                      <a:pt x="36365" y="34399"/>
                    </a:lnTo>
                    <a:lnTo>
                      <a:pt x="36323" y="34483"/>
                    </a:lnTo>
                    <a:lnTo>
                      <a:pt x="36323" y="34545"/>
                    </a:lnTo>
                    <a:lnTo>
                      <a:pt x="36261" y="34483"/>
                    </a:lnTo>
                    <a:lnTo>
                      <a:pt x="36219" y="34378"/>
                    </a:lnTo>
                    <a:lnTo>
                      <a:pt x="36156" y="34357"/>
                    </a:lnTo>
                    <a:lnTo>
                      <a:pt x="35968" y="34399"/>
                    </a:lnTo>
                    <a:lnTo>
                      <a:pt x="35779" y="34545"/>
                    </a:lnTo>
                    <a:lnTo>
                      <a:pt x="35549" y="34587"/>
                    </a:lnTo>
                    <a:lnTo>
                      <a:pt x="35340" y="34713"/>
                    </a:lnTo>
                    <a:lnTo>
                      <a:pt x="35319" y="34817"/>
                    </a:lnTo>
                    <a:lnTo>
                      <a:pt x="35173" y="34922"/>
                    </a:lnTo>
                    <a:lnTo>
                      <a:pt x="35110" y="35110"/>
                    </a:lnTo>
                    <a:lnTo>
                      <a:pt x="35110" y="35236"/>
                    </a:lnTo>
                    <a:lnTo>
                      <a:pt x="35131" y="35340"/>
                    </a:lnTo>
                    <a:lnTo>
                      <a:pt x="35152" y="35445"/>
                    </a:lnTo>
                    <a:lnTo>
                      <a:pt x="35215" y="35424"/>
                    </a:lnTo>
                    <a:lnTo>
                      <a:pt x="35256" y="35445"/>
                    </a:lnTo>
                    <a:lnTo>
                      <a:pt x="35256" y="35592"/>
                    </a:lnTo>
                    <a:lnTo>
                      <a:pt x="35361" y="35654"/>
                    </a:lnTo>
                    <a:lnTo>
                      <a:pt x="35403" y="35612"/>
                    </a:lnTo>
                    <a:lnTo>
                      <a:pt x="35466" y="35654"/>
                    </a:lnTo>
                    <a:lnTo>
                      <a:pt x="35507" y="35612"/>
                    </a:lnTo>
                    <a:lnTo>
                      <a:pt x="35507" y="35508"/>
                    </a:lnTo>
                    <a:lnTo>
                      <a:pt x="35570" y="35487"/>
                    </a:lnTo>
                    <a:lnTo>
                      <a:pt x="35654" y="35487"/>
                    </a:lnTo>
                    <a:lnTo>
                      <a:pt x="35779" y="35382"/>
                    </a:lnTo>
                    <a:lnTo>
                      <a:pt x="35884" y="35340"/>
                    </a:lnTo>
                    <a:lnTo>
                      <a:pt x="36031" y="35131"/>
                    </a:lnTo>
                    <a:lnTo>
                      <a:pt x="36219" y="35006"/>
                    </a:lnTo>
                    <a:lnTo>
                      <a:pt x="36177" y="34964"/>
                    </a:lnTo>
                    <a:lnTo>
                      <a:pt x="36240" y="34817"/>
                    </a:lnTo>
                    <a:lnTo>
                      <a:pt x="36323" y="34817"/>
                    </a:lnTo>
                    <a:lnTo>
                      <a:pt x="36386" y="34755"/>
                    </a:lnTo>
                    <a:lnTo>
                      <a:pt x="36428" y="34755"/>
                    </a:lnTo>
                    <a:lnTo>
                      <a:pt x="36491" y="34880"/>
                    </a:lnTo>
                    <a:lnTo>
                      <a:pt x="36637" y="34901"/>
                    </a:lnTo>
                    <a:lnTo>
                      <a:pt x="36637" y="34859"/>
                    </a:lnTo>
                    <a:lnTo>
                      <a:pt x="36721" y="34859"/>
                    </a:lnTo>
                    <a:lnTo>
                      <a:pt x="36909" y="34755"/>
                    </a:lnTo>
                    <a:lnTo>
                      <a:pt x="37077" y="34692"/>
                    </a:lnTo>
                    <a:lnTo>
                      <a:pt x="37286" y="34650"/>
                    </a:lnTo>
                    <a:lnTo>
                      <a:pt x="37391" y="34650"/>
                    </a:lnTo>
                    <a:lnTo>
                      <a:pt x="37663" y="34483"/>
                    </a:lnTo>
                    <a:lnTo>
                      <a:pt x="37809" y="34441"/>
                    </a:lnTo>
                    <a:lnTo>
                      <a:pt x="37914" y="34441"/>
                    </a:lnTo>
                    <a:lnTo>
                      <a:pt x="37997" y="34462"/>
                    </a:lnTo>
                    <a:lnTo>
                      <a:pt x="38081" y="34399"/>
                    </a:lnTo>
                    <a:lnTo>
                      <a:pt x="38018" y="34357"/>
                    </a:lnTo>
                    <a:lnTo>
                      <a:pt x="37935" y="34357"/>
                    </a:lnTo>
                    <a:lnTo>
                      <a:pt x="37830" y="34294"/>
                    </a:lnTo>
                    <a:lnTo>
                      <a:pt x="37872" y="34294"/>
                    </a:lnTo>
                    <a:lnTo>
                      <a:pt x="37956" y="34273"/>
                    </a:lnTo>
                    <a:lnTo>
                      <a:pt x="37956" y="34231"/>
                    </a:lnTo>
                    <a:lnTo>
                      <a:pt x="37663" y="34169"/>
                    </a:lnTo>
                    <a:lnTo>
                      <a:pt x="37537" y="34148"/>
                    </a:lnTo>
                    <a:lnTo>
                      <a:pt x="37558" y="34085"/>
                    </a:lnTo>
                    <a:lnTo>
                      <a:pt x="37537" y="33980"/>
                    </a:lnTo>
                    <a:lnTo>
                      <a:pt x="37370" y="34085"/>
                    </a:lnTo>
                    <a:lnTo>
                      <a:pt x="37349" y="34148"/>
                    </a:lnTo>
                    <a:lnTo>
                      <a:pt x="37160" y="34106"/>
                    </a:lnTo>
                    <a:lnTo>
                      <a:pt x="37139" y="34064"/>
                    </a:lnTo>
                    <a:lnTo>
                      <a:pt x="36993" y="34022"/>
                    </a:lnTo>
                    <a:lnTo>
                      <a:pt x="36930" y="34043"/>
                    </a:lnTo>
                    <a:lnTo>
                      <a:pt x="36826" y="33980"/>
                    </a:lnTo>
                    <a:lnTo>
                      <a:pt x="36637" y="33980"/>
                    </a:lnTo>
                    <a:lnTo>
                      <a:pt x="36491" y="33876"/>
                    </a:lnTo>
                    <a:lnTo>
                      <a:pt x="36616" y="33834"/>
                    </a:lnTo>
                    <a:lnTo>
                      <a:pt x="36637" y="33750"/>
                    </a:lnTo>
                    <a:lnTo>
                      <a:pt x="36491" y="33750"/>
                    </a:lnTo>
                    <a:lnTo>
                      <a:pt x="36428" y="33708"/>
                    </a:lnTo>
                    <a:lnTo>
                      <a:pt x="36323" y="33708"/>
                    </a:lnTo>
                    <a:lnTo>
                      <a:pt x="36282" y="33541"/>
                    </a:lnTo>
                    <a:lnTo>
                      <a:pt x="36219" y="33499"/>
                    </a:lnTo>
                    <a:lnTo>
                      <a:pt x="36219" y="33332"/>
                    </a:lnTo>
                    <a:lnTo>
                      <a:pt x="36261" y="33227"/>
                    </a:lnTo>
                    <a:lnTo>
                      <a:pt x="36177" y="33143"/>
                    </a:lnTo>
                    <a:lnTo>
                      <a:pt x="36261" y="33039"/>
                    </a:lnTo>
                    <a:lnTo>
                      <a:pt x="36261" y="32997"/>
                    </a:lnTo>
                    <a:lnTo>
                      <a:pt x="36051" y="32997"/>
                    </a:lnTo>
                    <a:lnTo>
                      <a:pt x="36114" y="32913"/>
                    </a:lnTo>
                    <a:lnTo>
                      <a:pt x="36198" y="32913"/>
                    </a:lnTo>
                    <a:lnTo>
                      <a:pt x="36365" y="32620"/>
                    </a:lnTo>
                    <a:lnTo>
                      <a:pt x="36470" y="32558"/>
                    </a:lnTo>
                    <a:lnTo>
                      <a:pt x="36428" y="32474"/>
                    </a:lnTo>
                    <a:lnTo>
                      <a:pt x="36365" y="32474"/>
                    </a:lnTo>
                    <a:lnTo>
                      <a:pt x="36323" y="32411"/>
                    </a:lnTo>
                    <a:lnTo>
                      <a:pt x="36219" y="32411"/>
                    </a:lnTo>
                    <a:lnTo>
                      <a:pt x="36114" y="32495"/>
                    </a:lnTo>
                    <a:lnTo>
                      <a:pt x="35989" y="32558"/>
                    </a:lnTo>
                    <a:lnTo>
                      <a:pt x="35947" y="32474"/>
                    </a:lnTo>
                    <a:lnTo>
                      <a:pt x="35905" y="32369"/>
                    </a:lnTo>
                    <a:lnTo>
                      <a:pt x="35675" y="32307"/>
                    </a:lnTo>
                    <a:lnTo>
                      <a:pt x="35528" y="32286"/>
                    </a:lnTo>
                    <a:lnTo>
                      <a:pt x="35361" y="32307"/>
                    </a:lnTo>
                    <a:lnTo>
                      <a:pt x="35528" y="32244"/>
                    </a:lnTo>
                    <a:lnTo>
                      <a:pt x="35654" y="32265"/>
                    </a:lnTo>
                    <a:lnTo>
                      <a:pt x="35779" y="32244"/>
                    </a:lnTo>
                    <a:lnTo>
                      <a:pt x="35863" y="32181"/>
                    </a:lnTo>
                    <a:lnTo>
                      <a:pt x="35989" y="32244"/>
                    </a:lnTo>
                    <a:lnTo>
                      <a:pt x="36093" y="32307"/>
                    </a:lnTo>
                    <a:lnTo>
                      <a:pt x="36219" y="32307"/>
                    </a:lnTo>
                    <a:lnTo>
                      <a:pt x="36386" y="32202"/>
                    </a:lnTo>
                    <a:lnTo>
                      <a:pt x="36470" y="32202"/>
                    </a:lnTo>
                    <a:lnTo>
                      <a:pt x="36575" y="32097"/>
                    </a:lnTo>
                    <a:lnTo>
                      <a:pt x="36700" y="32076"/>
                    </a:lnTo>
                    <a:lnTo>
                      <a:pt x="36784" y="31867"/>
                    </a:lnTo>
                    <a:lnTo>
                      <a:pt x="36721" y="31825"/>
                    </a:lnTo>
                    <a:lnTo>
                      <a:pt x="36805" y="31783"/>
                    </a:lnTo>
                    <a:lnTo>
                      <a:pt x="36742" y="31721"/>
                    </a:lnTo>
                    <a:lnTo>
                      <a:pt x="36616" y="31658"/>
                    </a:lnTo>
                    <a:lnTo>
                      <a:pt x="36533" y="31658"/>
                    </a:lnTo>
                    <a:lnTo>
                      <a:pt x="36575" y="31637"/>
                    </a:lnTo>
                    <a:lnTo>
                      <a:pt x="36575" y="31616"/>
                    </a:lnTo>
                    <a:lnTo>
                      <a:pt x="36742" y="31637"/>
                    </a:lnTo>
                    <a:lnTo>
                      <a:pt x="36742" y="31574"/>
                    </a:lnTo>
                    <a:lnTo>
                      <a:pt x="36512" y="31449"/>
                    </a:lnTo>
                    <a:lnTo>
                      <a:pt x="36303" y="31365"/>
                    </a:lnTo>
                    <a:lnTo>
                      <a:pt x="35905" y="31365"/>
                    </a:lnTo>
                    <a:lnTo>
                      <a:pt x="35800" y="31428"/>
                    </a:lnTo>
                    <a:lnTo>
                      <a:pt x="35675" y="31428"/>
                    </a:lnTo>
                    <a:lnTo>
                      <a:pt x="35319" y="31553"/>
                    </a:lnTo>
                    <a:lnTo>
                      <a:pt x="35026" y="31616"/>
                    </a:lnTo>
                    <a:lnTo>
                      <a:pt x="34859" y="31679"/>
                    </a:lnTo>
                    <a:lnTo>
                      <a:pt x="34712" y="31721"/>
                    </a:lnTo>
                    <a:lnTo>
                      <a:pt x="34440" y="31867"/>
                    </a:lnTo>
                    <a:lnTo>
                      <a:pt x="34064" y="32139"/>
                    </a:lnTo>
                    <a:lnTo>
                      <a:pt x="33771" y="32390"/>
                    </a:lnTo>
                    <a:lnTo>
                      <a:pt x="33666" y="32453"/>
                    </a:lnTo>
                    <a:lnTo>
                      <a:pt x="33541" y="32579"/>
                    </a:lnTo>
                    <a:lnTo>
                      <a:pt x="33373" y="32767"/>
                    </a:lnTo>
                    <a:lnTo>
                      <a:pt x="33185" y="32892"/>
                    </a:lnTo>
                    <a:lnTo>
                      <a:pt x="32934" y="33018"/>
                    </a:lnTo>
                    <a:lnTo>
                      <a:pt x="32641" y="33143"/>
                    </a:lnTo>
                    <a:lnTo>
                      <a:pt x="32515" y="33143"/>
                    </a:lnTo>
                    <a:lnTo>
                      <a:pt x="32704" y="33102"/>
                    </a:lnTo>
                    <a:lnTo>
                      <a:pt x="33018" y="32976"/>
                    </a:lnTo>
                    <a:lnTo>
                      <a:pt x="33038" y="32892"/>
                    </a:lnTo>
                    <a:lnTo>
                      <a:pt x="33290" y="32725"/>
                    </a:lnTo>
                    <a:lnTo>
                      <a:pt x="33373" y="32599"/>
                    </a:lnTo>
                    <a:lnTo>
                      <a:pt x="33436" y="32453"/>
                    </a:lnTo>
                    <a:lnTo>
                      <a:pt x="33541" y="32411"/>
                    </a:lnTo>
                    <a:lnTo>
                      <a:pt x="33666" y="32286"/>
                    </a:lnTo>
                    <a:lnTo>
                      <a:pt x="33813" y="32202"/>
                    </a:lnTo>
                    <a:lnTo>
                      <a:pt x="33875" y="31993"/>
                    </a:lnTo>
                    <a:lnTo>
                      <a:pt x="34106" y="31888"/>
                    </a:lnTo>
                    <a:lnTo>
                      <a:pt x="34231" y="31679"/>
                    </a:lnTo>
                    <a:lnTo>
                      <a:pt x="34294" y="31658"/>
                    </a:lnTo>
                    <a:lnTo>
                      <a:pt x="34315" y="31595"/>
                    </a:lnTo>
                    <a:lnTo>
                      <a:pt x="34440" y="31532"/>
                    </a:lnTo>
                    <a:lnTo>
                      <a:pt x="34545" y="31491"/>
                    </a:lnTo>
                    <a:lnTo>
                      <a:pt x="34608" y="31386"/>
                    </a:lnTo>
                    <a:lnTo>
                      <a:pt x="34712" y="31344"/>
                    </a:lnTo>
                    <a:lnTo>
                      <a:pt x="34754" y="31386"/>
                    </a:lnTo>
                    <a:lnTo>
                      <a:pt x="34838" y="31365"/>
                    </a:lnTo>
                    <a:lnTo>
                      <a:pt x="34922" y="31239"/>
                    </a:lnTo>
                    <a:lnTo>
                      <a:pt x="35131" y="31239"/>
                    </a:lnTo>
                    <a:lnTo>
                      <a:pt x="35235" y="31177"/>
                    </a:lnTo>
                    <a:lnTo>
                      <a:pt x="35424" y="31177"/>
                    </a:lnTo>
                    <a:lnTo>
                      <a:pt x="35487" y="31072"/>
                    </a:lnTo>
                    <a:lnTo>
                      <a:pt x="35528" y="30946"/>
                    </a:lnTo>
                    <a:lnTo>
                      <a:pt x="35570" y="30905"/>
                    </a:lnTo>
                    <a:lnTo>
                      <a:pt x="35570" y="30821"/>
                    </a:lnTo>
                    <a:lnTo>
                      <a:pt x="35696" y="30758"/>
                    </a:lnTo>
                    <a:lnTo>
                      <a:pt x="35905" y="30591"/>
                    </a:lnTo>
                    <a:lnTo>
                      <a:pt x="36010" y="30549"/>
                    </a:lnTo>
                    <a:lnTo>
                      <a:pt x="36072" y="30507"/>
                    </a:lnTo>
                    <a:lnTo>
                      <a:pt x="36010" y="30444"/>
                    </a:lnTo>
                    <a:lnTo>
                      <a:pt x="36072" y="30382"/>
                    </a:lnTo>
                    <a:lnTo>
                      <a:pt x="36156" y="30319"/>
                    </a:lnTo>
                    <a:lnTo>
                      <a:pt x="36261" y="30423"/>
                    </a:lnTo>
                    <a:lnTo>
                      <a:pt x="36386" y="30486"/>
                    </a:lnTo>
                    <a:lnTo>
                      <a:pt x="36616" y="30444"/>
                    </a:lnTo>
                    <a:lnTo>
                      <a:pt x="36805" y="30528"/>
                    </a:lnTo>
                    <a:lnTo>
                      <a:pt x="36888" y="30528"/>
                    </a:lnTo>
                    <a:lnTo>
                      <a:pt x="36951" y="30549"/>
                    </a:lnTo>
                    <a:lnTo>
                      <a:pt x="37098" y="30486"/>
                    </a:lnTo>
                    <a:lnTo>
                      <a:pt x="37160" y="30549"/>
                    </a:lnTo>
                    <a:lnTo>
                      <a:pt x="37265" y="30549"/>
                    </a:lnTo>
                    <a:lnTo>
                      <a:pt x="37349" y="30507"/>
                    </a:lnTo>
                    <a:lnTo>
                      <a:pt x="37474" y="30591"/>
                    </a:lnTo>
                    <a:lnTo>
                      <a:pt x="37663" y="30612"/>
                    </a:lnTo>
                    <a:lnTo>
                      <a:pt x="37746" y="30570"/>
                    </a:lnTo>
                    <a:lnTo>
                      <a:pt x="37788" y="30570"/>
                    </a:lnTo>
                    <a:lnTo>
                      <a:pt x="37893" y="30633"/>
                    </a:lnTo>
                    <a:lnTo>
                      <a:pt x="38039" y="30674"/>
                    </a:lnTo>
                    <a:lnTo>
                      <a:pt x="38081" y="30633"/>
                    </a:lnTo>
                    <a:lnTo>
                      <a:pt x="38248" y="30716"/>
                    </a:lnTo>
                    <a:lnTo>
                      <a:pt x="38311" y="30716"/>
                    </a:lnTo>
                    <a:lnTo>
                      <a:pt x="38416" y="30674"/>
                    </a:lnTo>
                    <a:lnTo>
                      <a:pt x="38500" y="30695"/>
                    </a:lnTo>
                    <a:lnTo>
                      <a:pt x="38479" y="30737"/>
                    </a:lnTo>
                    <a:lnTo>
                      <a:pt x="38583" y="30779"/>
                    </a:lnTo>
                    <a:lnTo>
                      <a:pt x="38834" y="30695"/>
                    </a:lnTo>
                    <a:lnTo>
                      <a:pt x="38897" y="30695"/>
                    </a:lnTo>
                    <a:lnTo>
                      <a:pt x="39023" y="30633"/>
                    </a:lnTo>
                    <a:lnTo>
                      <a:pt x="39085" y="30674"/>
                    </a:lnTo>
                    <a:lnTo>
                      <a:pt x="39253" y="30674"/>
                    </a:lnTo>
                    <a:lnTo>
                      <a:pt x="39336" y="30716"/>
                    </a:lnTo>
                    <a:lnTo>
                      <a:pt x="39441" y="30674"/>
                    </a:lnTo>
                    <a:lnTo>
                      <a:pt x="39462" y="30591"/>
                    </a:lnTo>
                    <a:lnTo>
                      <a:pt x="39608" y="30591"/>
                    </a:lnTo>
                    <a:lnTo>
                      <a:pt x="39671" y="30528"/>
                    </a:lnTo>
                    <a:lnTo>
                      <a:pt x="39734" y="30570"/>
                    </a:lnTo>
                    <a:lnTo>
                      <a:pt x="39818" y="30465"/>
                    </a:lnTo>
                    <a:lnTo>
                      <a:pt x="39922" y="30402"/>
                    </a:lnTo>
                    <a:lnTo>
                      <a:pt x="39943" y="30361"/>
                    </a:lnTo>
                    <a:lnTo>
                      <a:pt x="40048" y="30382"/>
                    </a:lnTo>
                    <a:lnTo>
                      <a:pt x="40132" y="30214"/>
                    </a:lnTo>
                    <a:lnTo>
                      <a:pt x="40132" y="30110"/>
                    </a:lnTo>
                    <a:lnTo>
                      <a:pt x="40194" y="30110"/>
                    </a:lnTo>
                    <a:lnTo>
                      <a:pt x="40278" y="30047"/>
                    </a:lnTo>
                    <a:lnTo>
                      <a:pt x="40299" y="29963"/>
                    </a:lnTo>
                    <a:lnTo>
                      <a:pt x="40257" y="29942"/>
                    </a:lnTo>
                    <a:lnTo>
                      <a:pt x="40278" y="29879"/>
                    </a:lnTo>
                    <a:lnTo>
                      <a:pt x="40383" y="29879"/>
                    </a:lnTo>
                    <a:lnTo>
                      <a:pt x="40487" y="29858"/>
                    </a:lnTo>
                    <a:lnTo>
                      <a:pt x="40487" y="29775"/>
                    </a:lnTo>
                    <a:lnTo>
                      <a:pt x="40508" y="29754"/>
                    </a:lnTo>
                    <a:lnTo>
                      <a:pt x="40571" y="29838"/>
                    </a:lnTo>
                    <a:lnTo>
                      <a:pt x="40696" y="29858"/>
                    </a:lnTo>
                    <a:lnTo>
                      <a:pt x="40801" y="29775"/>
                    </a:lnTo>
                    <a:lnTo>
                      <a:pt x="40822" y="29838"/>
                    </a:lnTo>
                    <a:lnTo>
                      <a:pt x="40906" y="29838"/>
                    </a:lnTo>
                    <a:lnTo>
                      <a:pt x="40989" y="29775"/>
                    </a:lnTo>
                    <a:lnTo>
                      <a:pt x="41031" y="29838"/>
                    </a:lnTo>
                    <a:lnTo>
                      <a:pt x="41136" y="29796"/>
                    </a:lnTo>
                    <a:lnTo>
                      <a:pt x="41178" y="29754"/>
                    </a:lnTo>
                    <a:lnTo>
                      <a:pt x="41241" y="29754"/>
                    </a:lnTo>
                    <a:lnTo>
                      <a:pt x="41324" y="29649"/>
                    </a:lnTo>
                    <a:lnTo>
                      <a:pt x="41387" y="29649"/>
                    </a:lnTo>
                    <a:lnTo>
                      <a:pt x="41492" y="29545"/>
                    </a:lnTo>
                    <a:lnTo>
                      <a:pt x="41617" y="29545"/>
                    </a:lnTo>
                    <a:lnTo>
                      <a:pt x="41764" y="29440"/>
                    </a:lnTo>
                    <a:lnTo>
                      <a:pt x="41826" y="29356"/>
                    </a:lnTo>
                    <a:lnTo>
                      <a:pt x="41910" y="29356"/>
                    </a:lnTo>
                    <a:lnTo>
                      <a:pt x="41931" y="29252"/>
                    </a:lnTo>
                    <a:lnTo>
                      <a:pt x="41973" y="29147"/>
                    </a:lnTo>
                    <a:lnTo>
                      <a:pt x="41910" y="29126"/>
                    </a:lnTo>
                    <a:lnTo>
                      <a:pt x="41805" y="29147"/>
                    </a:lnTo>
                    <a:lnTo>
                      <a:pt x="41722" y="29105"/>
                    </a:lnTo>
                    <a:lnTo>
                      <a:pt x="41764" y="29105"/>
                    </a:lnTo>
                    <a:lnTo>
                      <a:pt x="41868" y="29126"/>
                    </a:lnTo>
                    <a:lnTo>
                      <a:pt x="41952" y="29105"/>
                    </a:lnTo>
                    <a:lnTo>
                      <a:pt x="41868" y="29001"/>
                    </a:lnTo>
                    <a:lnTo>
                      <a:pt x="41764" y="29001"/>
                    </a:lnTo>
                    <a:lnTo>
                      <a:pt x="41617" y="28917"/>
                    </a:lnTo>
                    <a:lnTo>
                      <a:pt x="41554" y="28812"/>
                    </a:lnTo>
                    <a:lnTo>
                      <a:pt x="41554" y="28812"/>
                    </a:lnTo>
                    <a:lnTo>
                      <a:pt x="41701" y="28896"/>
                    </a:lnTo>
                    <a:lnTo>
                      <a:pt x="41805" y="28833"/>
                    </a:lnTo>
                    <a:lnTo>
                      <a:pt x="41826" y="28729"/>
                    </a:lnTo>
                    <a:lnTo>
                      <a:pt x="41910" y="28708"/>
                    </a:lnTo>
                    <a:lnTo>
                      <a:pt x="41952" y="28603"/>
                    </a:lnTo>
                    <a:lnTo>
                      <a:pt x="41764" y="28540"/>
                    </a:lnTo>
                    <a:lnTo>
                      <a:pt x="41847" y="28478"/>
                    </a:lnTo>
                    <a:lnTo>
                      <a:pt x="41931" y="28498"/>
                    </a:lnTo>
                    <a:lnTo>
                      <a:pt x="42015" y="28415"/>
                    </a:lnTo>
                    <a:lnTo>
                      <a:pt x="41973" y="28331"/>
                    </a:lnTo>
                    <a:lnTo>
                      <a:pt x="41826" y="28268"/>
                    </a:lnTo>
                    <a:lnTo>
                      <a:pt x="41805" y="28164"/>
                    </a:lnTo>
                    <a:lnTo>
                      <a:pt x="41847" y="28122"/>
                    </a:lnTo>
                    <a:lnTo>
                      <a:pt x="41952" y="28185"/>
                    </a:lnTo>
                    <a:lnTo>
                      <a:pt x="41931" y="28101"/>
                    </a:lnTo>
                    <a:lnTo>
                      <a:pt x="41764" y="28017"/>
                    </a:lnTo>
                    <a:lnTo>
                      <a:pt x="41617" y="28017"/>
                    </a:lnTo>
                    <a:lnTo>
                      <a:pt x="41638" y="27954"/>
                    </a:lnTo>
                    <a:lnTo>
                      <a:pt x="41701" y="27913"/>
                    </a:lnTo>
                    <a:lnTo>
                      <a:pt x="41659" y="27871"/>
                    </a:lnTo>
                    <a:lnTo>
                      <a:pt x="41533" y="27871"/>
                    </a:lnTo>
                    <a:lnTo>
                      <a:pt x="41387" y="27954"/>
                    </a:lnTo>
                    <a:lnTo>
                      <a:pt x="41345" y="28059"/>
                    </a:lnTo>
                    <a:lnTo>
                      <a:pt x="41303" y="28101"/>
                    </a:lnTo>
                    <a:lnTo>
                      <a:pt x="41241" y="27996"/>
                    </a:lnTo>
                    <a:lnTo>
                      <a:pt x="41094" y="27996"/>
                    </a:lnTo>
                    <a:lnTo>
                      <a:pt x="41157" y="27913"/>
                    </a:lnTo>
                    <a:lnTo>
                      <a:pt x="41220" y="27913"/>
                    </a:lnTo>
                    <a:lnTo>
                      <a:pt x="41345" y="27808"/>
                    </a:lnTo>
                    <a:lnTo>
                      <a:pt x="41387" y="27703"/>
                    </a:lnTo>
                    <a:lnTo>
                      <a:pt x="41303" y="27536"/>
                    </a:lnTo>
                    <a:lnTo>
                      <a:pt x="41115" y="27473"/>
                    </a:lnTo>
                    <a:lnTo>
                      <a:pt x="40885" y="27494"/>
                    </a:lnTo>
                    <a:lnTo>
                      <a:pt x="40801" y="27536"/>
                    </a:lnTo>
                    <a:lnTo>
                      <a:pt x="40822" y="27557"/>
                    </a:lnTo>
                    <a:lnTo>
                      <a:pt x="40969" y="27557"/>
                    </a:lnTo>
                    <a:lnTo>
                      <a:pt x="41010" y="27578"/>
                    </a:lnTo>
                    <a:lnTo>
                      <a:pt x="40885" y="27578"/>
                    </a:lnTo>
                    <a:lnTo>
                      <a:pt x="40717" y="27557"/>
                    </a:lnTo>
                    <a:lnTo>
                      <a:pt x="40550" y="27641"/>
                    </a:lnTo>
                    <a:lnTo>
                      <a:pt x="40404" y="27661"/>
                    </a:lnTo>
                    <a:lnTo>
                      <a:pt x="40299" y="27787"/>
                    </a:lnTo>
                    <a:lnTo>
                      <a:pt x="40257" y="27892"/>
                    </a:lnTo>
                    <a:lnTo>
                      <a:pt x="40173" y="27892"/>
                    </a:lnTo>
                    <a:lnTo>
                      <a:pt x="40048" y="27996"/>
                    </a:lnTo>
                    <a:lnTo>
                      <a:pt x="39860" y="27996"/>
                    </a:lnTo>
                    <a:lnTo>
                      <a:pt x="39755" y="28205"/>
                    </a:lnTo>
                    <a:lnTo>
                      <a:pt x="39671" y="28205"/>
                    </a:lnTo>
                    <a:lnTo>
                      <a:pt x="39629" y="28268"/>
                    </a:lnTo>
                    <a:lnTo>
                      <a:pt x="39567" y="28268"/>
                    </a:lnTo>
                    <a:lnTo>
                      <a:pt x="39525" y="28185"/>
                    </a:lnTo>
                    <a:lnTo>
                      <a:pt x="39608" y="28101"/>
                    </a:lnTo>
                    <a:lnTo>
                      <a:pt x="39671" y="28122"/>
                    </a:lnTo>
                    <a:lnTo>
                      <a:pt x="39713" y="28059"/>
                    </a:lnTo>
                    <a:lnTo>
                      <a:pt x="39462" y="27871"/>
                    </a:lnTo>
                    <a:lnTo>
                      <a:pt x="39441" y="27808"/>
                    </a:lnTo>
                    <a:lnTo>
                      <a:pt x="39357" y="27787"/>
                    </a:lnTo>
                    <a:lnTo>
                      <a:pt x="39399" y="27745"/>
                    </a:lnTo>
                    <a:lnTo>
                      <a:pt x="39399" y="27641"/>
                    </a:lnTo>
                    <a:lnTo>
                      <a:pt x="39525" y="27850"/>
                    </a:lnTo>
                    <a:lnTo>
                      <a:pt x="39734" y="27975"/>
                    </a:lnTo>
                    <a:lnTo>
                      <a:pt x="39776" y="27913"/>
                    </a:lnTo>
                    <a:lnTo>
                      <a:pt x="39818" y="27808"/>
                    </a:lnTo>
                    <a:lnTo>
                      <a:pt x="39943" y="27808"/>
                    </a:lnTo>
                    <a:lnTo>
                      <a:pt x="40027" y="27745"/>
                    </a:lnTo>
                    <a:lnTo>
                      <a:pt x="40194" y="27641"/>
                    </a:lnTo>
                    <a:lnTo>
                      <a:pt x="40404" y="27578"/>
                    </a:lnTo>
                    <a:lnTo>
                      <a:pt x="40613" y="27557"/>
                    </a:lnTo>
                    <a:lnTo>
                      <a:pt x="40592" y="27494"/>
                    </a:lnTo>
                    <a:lnTo>
                      <a:pt x="40508" y="27473"/>
                    </a:lnTo>
                    <a:lnTo>
                      <a:pt x="40613" y="27473"/>
                    </a:lnTo>
                    <a:lnTo>
                      <a:pt x="40717" y="27369"/>
                    </a:lnTo>
                    <a:lnTo>
                      <a:pt x="40906" y="27285"/>
                    </a:lnTo>
                    <a:lnTo>
                      <a:pt x="40969" y="27348"/>
                    </a:lnTo>
                    <a:lnTo>
                      <a:pt x="41199" y="27285"/>
                    </a:lnTo>
                    <a:lnTo>
                      <a:pt x="41199" y="27243"/>
                    </a:lnTo>
                    <a:lnTo>
                      <a:pt x="41387" y="27222"/>
                    </a:lnTo>
                    <a:lnTo>
                      <a:pt x="41282" y="27117"/>
                    </a:lnTo>
                    <a:lnTo>
                      <a:pt x="41010" y="27034"/>
                    </a:lnTo>
                    <a:lnTo>
                      <a:pt x="41073" y="26971"/>
                    </a:lnTo>
                    <a:lnTo>
                      <a:pt x="41136" y="26971"/>
                    </a:lnTo>
                    <a:lnTo>
                      <a:pt x="41199" y="26866"/>
                    </a:lnTo>
                    <a:lnTo>
                      <a:pt x="41115" y="26845"/>
                    </a:lnTo>
                    <a:lnTo>
                      <a:pt x="40969" y="26908"/>
                    </a:lnTo>
                    <a:lnTo>
                      <a:pt x="40885" y="27013"/>
                    </a:lnTo>
                    <a:lnTo>
                      <a:pt x="40759" y="26929"/>
                    </a:lnTo>
                    <a:lnTo>
                      <a:pt x="40613" y="26950"/>
                    </a:lnTo>
                    <a:lnTo>
                      <a:pt x="40592" y="26866"/>
                    </a:lnTo>
                    <a:lnTo>
                      <a:pt x="40676" y="26845"/>
                    </a:lnTo>
                    <a:lnTo>
                      <a:pt x="40676" y="26657"/>
                    </a:lnTo>
                    <a:lnTo>
                      <a:pt x="40696" y="26615"/>
                    </a:lnTo>
                    <a:lnTo>
                      <a:pt x="40550" y="26720"/>
                    </a:lnTo>
                    <a:lnTo>
                      <a:pt x="40550" y="26657"/>
                    </a:lnTo>
                    <a:lnTo>
                      <a:pt x="40592" y="26615"/>
                    </a:lnTo>
                    <a:lnTo>
                      <a:pt x="40550" y="26594"/>
                    </a:lnTo>
                    <a:lnTo>
                      <a:pt x="40341" y="26762"/>
                    </a:lnTo>
                    <a:lnTo>
                      <a:pt x="40257" y="26845"/>
                    </a:lnTo>
                    <a:lnTo>
                      <a:pt x="40194" y="26845"/>
                    </a:lnTo>
                    <a:lnTo>
                      <a:pt x="40278" y="26762"/>
                    </a:lnTo>
                    <a:lnTo>
                      <a:pt x="40445" y="26636"/>
                    </a:lnTo>
                    <a:lnTo>
                      <a:pt x="40383" y="26594"/>
                    </a:lnTo>
                    <a:lnTo>
                      <a:pt x="40236" y="26657"/>
                    </a:lnTo>
                    <a:lnTo>
                      <a:pt x="40194" y="26636"/>
                    </a:lnTo>
                    <a:lnTo>
                      <a:pt x="40257" y="26594"/>
                    </a:lnTo>
                    <a:lnTo>
                      <a:pt x="40341" y="26532"/>
                    </a:lnTo>
                    <a:lnTo>
                      <a:pt x="40341" y="26490"/>
                    </a:lnTo>
                    <a:lnTo>
                      <a:pt x="40194" y="26511"/>
                    </a:lnTo>
                    <a:lnTo>
                      <a:pt x="40090" y="26615"/>
                    </a:lnTo>
                    <a:lnTo>
                      <a:pt x="39985" y="26741"/>
                    </a:lnTo>
                    <a:lnTo>
                      <a:pt x="39943" y="26720"/>
                    </a:lnTo>
                    <a:lnTo>
                      <a:pt x="39985" y="26615"/>
                    </a:lnTo>
                    <a:lnTo>
                      <a:pt x="40090" y="26532"/>
                    </a:lnTo>
                    <a:lnTo>
                      <a:pt x="40090" y="26490"/>
                    </a:lnTo>
                    <a:lnTo>
                      <a:pt x="40027" y="26490"/>
                    </a:lnTo>
                    <a:lnTo>
                      <a:pt x="39818" y="26699"/>
                    </a:lnTo>
                    <a:lnTo>
                      <a:pt x="39713" y="26720"/>
                    </a:lnTo>
                    <a:lnTo>
                      <a:pt x="39608" y="26636"/>
                    </a:lnTo>
                    <a:lnTo>
                      <a:pt x="39734" y="26657"/>
                    </a:lnTo>
                    <a:lnTo>
                      <a:pt x="39839" y="26594"/>
                    </a:lnTo>
                    <a:lnTo>
                      <a:pt x="40027" y="26343"/>
                    </a:lnTo>
                    <a:lnTo>
                      <a:pt x="40152" y="26281"/>
                    </a:lnTo>
                    <a:lnTo>
                      <a:pt x="40069" y="26197"/>
                    </a:lnTo>
                    <a:lnTo>
                      <a:pt x="40090" y="26092"/>
                    </a:lnTo>
                    <a:lnTo>
                      <a:pt x="40069" y="26071"/>
                    </a:lnTo>
                    <a:lnTo>
                      <a:pt x="39964" y="26218"/>
                    </a:lnTo>
                    <a:lnTo>
                      <a:pt x="39922" y="26218"/>
                    </a:lnTo>
                    <a:lnTo>
                      <a:pt x="39922" y="26176"/>
                    </a:lnTo>
                    <a:lnTo>
                      <a:pt x="39964" y="26092"/>
                    </a:lnTo>
                    <a:lnTo>
                      <a:pt x="39964" y="25925"/>
                    </a:lnTo>
                    <a:lnTo>
                      <a:pt x="39880" y="25904"/>
                    </a:lnTo>
                    <a:lnTo>
                      <a:pt x="39860" y="25883"/>
                    </a:lnTo>
                    <a:lnTo>
                      <a:pt x="39755" y="25967"/>
                    </a:lnTo>
                    <a:lnTo>
                      <a:pt x="39734" y="25904"/>
                    </a:lnTo>
                    <a:lnTo>
                      <a:pt x="39755" y="25820"/>
                    </a:lnTo>
                    <a:lnTo>
                      <a:pt x="39734" y="25799"/>
                    </a:lnTo>
                    <a:lnTo>
                      <a:pt x="39650" y="25799"/>
                    </a:lnTo>
                    <a:lnTo>
                      <a:pt x="39713" y="25757"/>
                    </a:lnTo>
                    <a:lnTo>
                      <a:pt x="39650" y="25695"/>
                    </a:lnTo>
                    <a:lnTo>
                      <a:pt x="39650" y="25611"/>
                    </a:lnTo>
                    <a:lnTo>
                      <a:pt x="39608" y="25611"/>
                    </a:lnTo>
                    <a:lnTo>
                      <a:pt x="39441" y="25653"/>
                    </a:lnTo>
                    <a:lnTo>
                      <a:pt x="39441" y="25695"/>
                    </a:lnTo>
                    <a:lnTo>
                      <a:pt x="39357" y="25716"/>
                    </a:lnTo>
                    <a:lnTo>
                      <a:pt x="39148" y="25674"/>
                    </a:lnTo>
                    <a:lnTo>
                      <a:pt x="39316" y="25674"/>
                    </a:lnTo>
                    <a:lnTo>
                      <a:pt x="39357" y="25590"/>
                    </a:lnTo>
                    <a:lnTo>
                      <a:pt x="39504" y="25569"/>
                    </a:lnTo>
                    <a:lnTo>
                      <a:pt x="39525" y="25506"/>
                    </a:lnTo>
                    <a:lnTo>
                      <a:pt x="39462" y="25444"/>
                    </a:lnTo>
                    <a:lnTo>
                      <a:pt x="39357" y="25339"/>
                    </a:lnTo>
                    <a:lnTo>
                      <a:pt x="39357" y="25234"/>
                    </a:lnTo>
                    <a:lnTo>
                      <a:pt x="39211" y="25151"/>
                    </a:lnTo>
                    <a:lnTo>
                      <a:pt x="39357" y="25151"/>
                    </a:lnTo>
                    <a:lnTo>
                      <a:pt x="39525" y="25234"/>
                    </a:lnTo>
                    <a:lnTo>
                      <a:pt x="39650" y="25234"/>
                    </a:lnTo>
                    <a:lnTo>
                      <a:pt x="39650" y="25151"/>
                    </a:lnTo>
                    <a:lnTo>
                      <a:pt x="39546" y="25088"/>
                    </a:lnTo>
                    <a:lnTo>
                      <a:pt x="39567" y="25046"/>
                    </a:lnTo>
                    <a:lnTo>
                      <a:pt x="39650" y="25067"/>
                    </a:lnTo>
                    <a:lnTo>
                      <a:pt x="39776" y="24962"/>
                    </a:lnTo>
                    <a:lnTo>
                      <a:pt x="39860" y="24920"/>
                    </a:lnTo>
                    <a:lnTo>
                      <a:pt x="39880" y="24816"/>
                    </a:lnTo>
                    <a:lnTo>
                      <a:pt x="39776" y="24711"/>
                    </a:lnTo>
                    <a:lnTo>
                      <a:pt x="39713" y="24732"/>
                    </a:lnTo>
                    <a:lnTo>
                      <a:pt x="39608" y="24711"/>
                    </a:lnTo>
                    <a:lnTo>
                      <a:pt x="39671" y="24648"/>
                    </a:lnTo>
                    <a:lnTo>
                      <a:pt x="39713" y="24565"/>
                    </a:lnTo>
                    <a:lnTo>
                      <a:pt x="39650" y="24523"/>
                    </a:lnTo>
                    <a:lnTo>
                      <a:pt x="39525" y="24523"/>
                    </a:lnTo>
                    <a:lnTo>
                      <a:pt x="39462" y="24502"/>
                    </a:lnTo>
                    <a:lnTo>
                      <a:pt x="39399" y="24523"/>
                    </a:lnTo>
                    <a:lnTo>
                      <a:pt x="39316" y="24439"/>
                    </a:lnTo>
                    <a:lnTo>
                      <a:pt x="39420" y="24439"/>
                    </a:lnTo>
                    <a:lnTo>
                      <a:pt x="39462" y="24397"/>
                    </a:lnTo>
                    <a:lnTo>
                      <a:pt x="39546" y="24418"/>
                    </a:lnTo>
                    <a:lnTo>
                      <a:pt x="39650" y="24314"/>
                    </a:lnTo>
                    <a:lnTo>
                      <a:pt x="39608" y="24125"/>
                    </a:lnTo>
                    <a:lnTo>
                      <a:pt x="39504" y="24021"/>
                    </a:lnTo>
                    <a:lnTo>
                      <a:pt x="39441" y="24104"/>
                    </a:lnTo>
                    <a:lnTo>
                      <a:pt x="39336" y="24084"/>
                    </a:lnTo>
                    <a:lnTo>
                      <a:pt x="39253" y="24146"/>
                    </a:lnTo>
                    <a:lnTo>
                      <a:pt x="39295" y="24042"/>
                    </a:lnTo>
                    <a:lnTo>
                      <a:pt x="39420" y="23979"/>
                    </a:lnTo>
                    <a:lnTo>
                      <a:pt x="39504" y="23979"/>
                    </a:lnTo>
                    <a:lnTo>
                      <a:pt x="39504" y="23874"/>
                    </a:lnTo>
                    <a:lnTo>
                      <a:pt x="39399" y="23832"/>
                    </a:lnTo>
                    <a:lnTo>
                      <a:pt x="39316" y="23874"/>
                    </a:lnTo>
                    <a:lnTo>
                      <a:pt x="39190" y="23874"/>
                    </a:lnTo>
                    <a:lnTo>
                      <a:pt x="39002" y="23937"/>
                    </a:lnTo>
                    <a:lnTo>
                      <a:pt x="39002" y="23937"/>
                    </a:lnTo>
                    <a:lnTo>
                      <a:pt x="39148" y="23728"/>
                    </a:lnTo>
                    <a:lnTo>
                      <a:pt x="39253" y="23728"/>
                    </a:lnTo>
                    <a:lnTo>
                      <a:pt x="39357" y="23686"/>
                    </a:lnTo>
                    <a:lnTo>
                      <a:pt x="39357" y="23623"/>
                    </a:lnTo>
                    <a:lnTo>
                      <a:pt x="39441" y="23560"/>
                    </a:lnTo>
                    <a:lnTo>
                      <a:pt x="39420" y="23519"/>
                    </a:lnTo>
                    <a:lnTo>
                      <a:pt x="39295" y="23581"/>
                    </a:lnTo>
                    <a:lnTo>
                      <a:pt x="39106" y="23581"/>
                    </a:lnTo>
                    <a:lnTo>
                      <a:pt x="38939" y="23665"/>
                    </a:lnTo>
                    <a:lnTo>
                      <a:pt x="38939" y="23665"/>
                    </a:lnTo>
                    <a:lnTo>
                      <a:pt x="39002" y="23581"/>
                    </a:lnTo>
                    <a:lnTo>
                      <a:pt x="38981" y="23498"/>
                    </a:lnTo>
                    <a:lnTo>
                      <a:pt x="39023" y="23414"/>
                    </a:lnTo>
                    <a:lnTo>
                      <a:pt x="39106" y="23477"/>
                    </a:lnTo>
                    <a:lnTo>
                      <a:pt x="39295" y="23477"/>
                    </a:lnTo>
                    <a:lnTo>
                      <a:pt x="39399" y="23351"/>
                    </a:lnTo>
                    <a:lnTo>
                      <a:pt x="39399" y="23205"/>
                    </a:lnTo>
                    <a:lnTo>
                      <a:pt x="39295" y="23268"/>
                    </a:lnTo>
                    <a:lnTo>
                      <a:pt x="39211" y="23247"/>
                    </a:lnTo>
                    <a:lnTo>
                      <a:pt x="39316" y="23142"/>
                    </a:lnTo>
                    <a:lnTo>
                      <a:pt x="39336" y="23037"/>
                    </a:lnTo>
                    <a:lnTo>
                      <a:pt x="39253" y="22996"/>
                    </a:lnTo>
                    <a:lnTo>
                      <a:pt x="39002" y="23079"/>
                    </a:lnTo>
                    <a:lnTo>
                      <a:pt x="38918" y="23037"/>
                    </a:lnTo>
                    <a:lnTo>
                      <a:pt x="38981" y="22954"/>
                    </a:lnTo>
                    <a:lnTo>
                      <a:pt x="39106" y="22975"/>
                    </a:lnTo>
                    <a:lnTo>
                      <a:pt x="39211" y="22954"/>
                    </a:lnTo>
                    <a:lnTo>
                      <a:pt x="39295" y="22828"/>
                    </a:lnTo>
                    <a:lnTo>
                      <a:pt x="39211" y="22765"/>
                    </a:lnTo>
                    <a:lnTo>
                      <a:pt x="39211" y="22682"/>
                    </a:lnTo>
                    <a:lnTo>
                      <a:pt x="39127" y="22765"/>
                    </a:lnTo>
                    <a:lnTo>
                      <a:pt x="39085" y="22765"/>
                    </a:lnTo>
                    <a:lnTo>
                      <a:pt x="39044" y="22682"/>
                    </a:lnTo>
                    <a:lnTo>
                      <a:pt x="38981" y="22619"/>
                    </a:lnTo>
                    <a:lnTo>
                      <a:pt x="39044" y="22577"/>
                    </a:lnTo>
                    <a:lnTo>
                      <a:pt x="39106" y="22640"/>
                    </a:lnTo>
                    <a:lnTo>
                      <a:pt x="39148" y="22577"/>
                    </a:lnTo>
                    <a:lnTo>
                      <a:pt x="39148" y="22452"/>
                    </a:lnTo>
                    <a:lnTo>
                      <a:pt x="39044" y="22347"/>
                    </a:lnTo>
                    <a:lnTo>
                      <a:pt x="39023" y="22242"/>
                    </a:lnTo>
                    <a:lnTo>
                      <a:pt x="39106" y="22200"/>
                    </a:lnTo>
                    <a:lnTo>
                      <a:pt x="39106" y="22096"/>
                    </a:lnTo>
                    <a:lnTo>
                      <a:pt x="39023" y="22096"/>
                    </a:lnTo>
                    <a:lnTo>
                      <a:pt x="39044" y="22033"/>
                    </a:lnTo>
                    <a:lnTo>
                      <a:pt x="39085" y="21928"/>
                    </a:lnTo>
                    <a:lnTo>
                      <a:pt x="39002" y="21928"/>
                    </a:lnTo>
                    <a:lnTo>
                      <a:pt x="38918" y="21907"/>
                    </a:lnTo>
                    <a:lnTo>
                      <a:pt x="38918" y="21887"/>
                    </a:lnTo>
                    <a:lnTo>
                      <a:pt x="38981" y="21887"/>
                    </a:lnTo>
                    <a:lnTo>
                      <a:pt x="39044" y="21803"/>
                    </a:lnTo>
                    <a:lnTo>
                      <a:pt x="38981" y="21740"/>
                    </a:lnTo>
                    <a:lnTo>
                      <a:pt x="38981" y="21677"/>
                    </a:lnTo>
                    <a:lnTo>
                      <a:pt x="39044" y="21615"/>
                    </a:lnTo>
                    <a:lnTo>
                      <a:pt x="39023" y="21573"/>
                    </a:lnTo>
                    <a:lnTo>
                      <a:pt x="38918" y="21615"/>
                    </a:lnTo>
                    <a:lnTo>
                      <a:pt x="38918" y="21615"/>
                    </a:lnTo>
                    <a:lnTo>
                      <a:pt x="39023" y="21531"/>
                    </a:lnTo>
                    <a:lnTo>
                      <a:pt x="38981" y="21489"/>
                    </a:lnTo>
                    <a:lnTo>
                      <a:pt x="38876" y="21510"/>
                    </a:lnTo>
                    <a:lnTo>
                      <a:pt x="38772" y="21635"/>
                    </a:lnTo>
                    <a:lnTo>
                      <a:pt x="38792" y="21719"/>
                    </a:lnTo>
                    <a:lnTo>
                      <a:pt x="38730" y="21824"/>
                    </a:lnTo>
                    <a:lnTo>
                      <a:pt x="38604" y="21949"/>
                    </a:lnTo>
                    <a:lnTo>
                      <a:pt x="38604" y="22033"/>
                    </a:lnTo>
                    <a:lnTo>
                      <a:pt x="38520" y="22096"/>
                    </a:lnTo>
                    <a:lnTo>
                      <a:pt x="38520" y="22200"/>
                    </a:lnTo>
                    <a:lnTo>
                      <a:pt x="38458" y="22117"/>
                    </a:lnTo>
                    <a:lnTo>
                      <a:pt x="38395" y="22138"/>
                    </a:lnTo>
                    <a:lnTo>
                      <a:pt x="38311" y="22326"/>
                    </a:lnTo>
                    <a:lnTo>
                      <a:pt x="38311" y="22410"/>
                    </a:lnTo>
                    <a:lnTo>
                      <a:pt x="38416" y="22410"/>
                    </a:lnTo>
                    <a:lnTo>
                      <a:pt x="38479" y="22472"/>
                    </a:lnTo>
                    <a:lnTo>
                      <a:pt x="38479" y="22556"/>
                    </a:lnTo>
                    <a:lnTo>
                      <a:pt x="38374" y="22452"/>
                    </a:lnTo>
                    <a:lnTo>
                      <a:pt x="38311" y="22452"/>
                    </a:lnTo>
                    <a:lnTo>
                      <a:pt x="38290" y="22535"/>
                    </a:lnTo>
                    <a:lnTo>
                      <a:pt x="38207" y="22640"/>
                    </a:lnTo>
                    <a:lnTo>
                      <a:pt x="38144" y="22682"/>
                    </a:lnTo>
                    <a:lnTo>
                      <a:pt x="38102" y="22849"/>
                    </a:lnTo>
                    <a:lnTo>
                      <a:pt x="37997" y="22870"/>
                    </a:lnTo>
                    <a:lnTo>
                      <a:pt x="37935" y="22975"/>
                    </a:lnTo>
                    <a:lnTo>
                      <a:pt x="37935" y="23037"/>
                    </a:lnTo>
                    <a:lnTo>
                      <a:pt x="37872" y="23037"/>
                    </a:lnTo>
                    <a:lnTo>
                      <a:pt x="37872" y="23205"/>
                    </a:lnTo>
                    <a:lnTo>
                      <a:pt x="37788" y="23393"/>
                    </a:lnTo>
                    <a:lnTo>
                      <a:pt x="37788" y="23393"/>
                    </a:lnTo>
                    <a:lnTo>
                      <a:pt x="37830" y="23268"/>
                    </a:lnTo>
                    <a:lnTo>
                      <a:pt x="37788" y="23100"/>
                    </a:lnTo>
                    <a:lnTo>
                      <a:pt x="37725" y="23037"/>
                    </a:lnTo>
                    <a:lnTo>
                      <a:pt x="37558" y="23142"/>
                    </a:lnTo>
                    <a:lnTo>
                      <a:pt x="37474" y="23247"/>
                    </a:lnTo>
                    <a:lnTo>
                      <a:pt x="37453" y="23351"/>
                    </a:lnTo>
                    <a:lnTo>
                      <a:pt x="37349" y="23372"/>
                    </a:lnTo>
                    <a:lnTo>
                      <a:pt x="37307" y="23414"/>
                    </a:lnTo>
                    <a:lnTo>
                      <a:pt x="37265" y="23372"/>
                    </a:lnTo>
                    <a:lnTo>
                      <a:pt x="37202" y="23372"/>
                    </a:lnTo>
                    <a:lnTo>
                      <a:pt x="37098" y="23456"/>
                    </a:lnTo>
                    <a:lnTo>
                      <a:pt x="36993" y="23456"/>
                    </a:lnTo>
                    <a:lnTo>
                      <a:pt x="36847" y="23560"/>
                    </a:lnTo>
                    <a:lnTo>
                      <a:pt x="36826" y="23686"/>
                    </a:lnTo>
                    <a:lnTo>
                      <a:pt x="36700" y="23832"/>
                    </a:lnTo>
                    <a:lnTo>
                      <a:pt x="36742" y="23728"/>
                    </a:lnTo>
                    <a:lnTo>
                      <a:pt x="36742" y="23623"/>
                    </a:lnTo>
                    <a:lnTo>
                      <a:pt x="36784" y="23581"/>
                    </a:lnTo>
                    <a:lnTo>
                      <a:pt x="36784" y="23351"/>
                    </a:lnTo>
                    <a:lnTo>
                      <a:pt x="36805" y="23247"/>
                    </a:lnTo>
                    <a:lnTo>
                      <a:pt x="36784" y="23247"/>
                    </a:lnTo>
                    <a:lnTo>
                      <a:pt x="36365" y="23456"/>
                    </a:lnTo>
                    <a:lnTo>
                      <a:pt x="36198" y="23770"/>
                    </a:lnTo>
                    <a:lnTo>
                      <a:pt x="36072" y="23812"/>
                    </a:lnTo>
                    <a:lnTo>
                      <a:pt x="36156" y="23707"/>
                    </a:lnTo>
                    <a:lnTo>
                      <a:pt x="36177" y="23581"/>
                    </a:lnTo>
                    <a:lnTo>
                      <a:pt x="36303" y="23393"/>
                    </a:lnTo>
                    <a:lnTo>
                      <a:pt x="36303" y="23268"/>
                    </a:lnTo>
                    <a:lnTo>
                      <a:pt x="36323" y="23142"/>
                    </a:lnTo>
                    <a:lnTo>
                      <a:pt x="36282" y="23037"/>
                    </a:lnTo>
                    <a:lnTo>
                      <a:pt x="36177" y="22933"/>
                    </a:lnTo>
                    <a:lnTo>
                      <a:pt x="36072" y="22933"/>
                    </a:lnTo>
                    <a:lnTo>
                      <a:pt x="36093" y="23058"/>
                    </a:lnTo>
                    <a:lnTo>
                      <a:pt x="36072" y="23058"/>
                    </a:lnTo>
                    <a:lnTo>
                      <a:pt x="35968" y="22975"/>
                    </a:lnTo>
                    <a:lnTo>
                      <a:pt x="35842" y="22765"/>
                    </a:lnTo>
                    <a:lnTo>
                      <a:pt x="36051" y="22870"/>
                    </a:lnTo>
                    <a:lnTo>
                      <a:pt x="36093" y="22849"/>
                    </a:lnTo>
                    <a:lnTo>
                      <a:pt x="35989" y="22807"/>
                    </a:lnTo>
                    <a:lnTo>
                      <a:pt x="35863" y="22598"/>
                    </a:lnTo>
                    <a:lnTo>
                      <a:pt x="35842" y="22577"/>
                    </a:lnTo>
                    <a:lnTo>
                      <a:pt x="35968" y="22431"/>
                    </a:lnTo>
                    <a:lnTo>
                      <a:pt x="35989" y="22347"/>
                    </a:lnTo>
                    <a:lnTo>
                      <a:pt x="36093" y="22179"/>
                    </a:lnTo>
                    <a:lnTo>
                      <a:pt x="36093" y="21970"/>
                    </a:lnTo>
                    <a:lnTo>
                      <a:pt x="35947" y="21845"/>
                    </a:lnTo>
                    <a:lnTo>
                      <a:pt x="35738" y="21803"/>
                    </a:lnTo>
                    <a:lnTo>
                      <a:pt x="35466" y="21656"/>
                    </a:lnTo>
                    <a:lnTo>
                      <a:pt x="35466" y="21656"/>
                    </a:lnTo>
                    <a:lnTo>
                      <a:pt x="35759" y="21761"/>
                    </a:lnTo>
                    <a:lnTo>
                      <a:pt x="36010" y="21803"/>
                    </a:lnTo>
                    <a:lnTo>
                      <a:pt x="36051" y="21615"/>
                    </a:lnTo>
                    <a:lnTo>
                      <a:pt x="36093" y="21531"/>
                    </a:lnTo>
                    <a:lnTo>
                      <a:pt x="36114" y="21698"/>
                    </a:lnTo>
                    <a:lnTo>
                      <a:pt x="36177" y="21594"/>
                    </a:lnTo>
                    <a:lnTo>
                      <a:pt x="36093" y="21363"/>
                    </a:lnTo>
                    <a:lnTo>
                      <a:pt x="36198" y="21196"/>
                    </a:lnTo>
                    <a:lnTo>
                      <a:pt x="36365" y="21175"/>
                    </a:lnTo>
                    <a:lnTo>
                      <a:pt x="36386" y="20987"/>
                    </a:lnTo>
                    <a:lnTo>
                      <a:pt x="36386" y="20778"/>
                    </a:lnTo>
                    <a:lnTo>
                      <a:pt x="36303" y="20778"/>
                    </a:lnTo>
                    <a:lnTo>
                      <a:pt x="36282" y="20966"/>
                    </a:lnTo>
                    <a:lnTo>
                      <a:pt x="36156" y="21071"/>
                    </a:lnTo>
                    <a:lnTo>
                      <a:pt x="36093" y="20987"/>
                    </a:lnTo>
                    <a:lnTo>
                      <a:pt x="36114" y="20778"/>
                    </a:lnTo>
                    <a:lnTo>
                      <a:pt x="35968" y="20715"/>
                    </a:lnTo>
                    <a:lnTo>
                      <a:pt x="35842" y="20778"/>
                    </a:lnTo>
                    <a:lnTo>
                      <a:pt x="35779" y="20715"/>
                    </a:lnTo>
                    <a:lnTo>
                      <a:pt x="35696" y="20757"/>
                    </a:lnTo>
                    <a:lnTo>
                      <a:pt x="35528" y="20589"/>
                    </a:lnTo>
                    <a:lnTo>
                      <a:pt x="35424" y="20652"/>
                    </a:lnTo>
                    <a:lnTo>
                      <a:pt x="35424" y="20547"/>
                    </a:lnTo>
                    <a:lnTo>
                      <a:pt x="35319" y="20652"/>
                    </a:lnTo>
                    <a:lnTo>
                      <a:pt x="35319" y="20547"/>
                    </a:lnTo>
                    <a:lnTo>
                      <a:pt x="35173" y="20401"/>
                    </a:lnTo>
                    <a:lnTo>
                      <a:pt x="35277" y="20401"/>
                    </a:lnTo>
                    <a:lnTo>
                      <a:pt x="35340" y="20296"/>
                    </a:lnTo>
                    <a:lnTo>
                      <a:pt x="35445" y="20380"/>
                    </a:lnTo>
                    <a:lnTo>
                      <a:pt x="35466" y="20296"/>
                    </a:lnTo>
                    <a:lnTo>
                      <a:pt x="35361" y="20171"/>
                    </a:lnTo>
                    <a:lnTo>
                      <a:pt x="35277" y="20255"/>
                    </a:lnTo>
                    <a:lnTo>
                      <a:pt x="35173" y="20171"/>
                    </a:lnTo>
                    <a:lnTo>
                      <a:pt x="35277" y="20150"/>
                    </a:lnTo>
                    <a:lnTo>
                      <a:pt x="35235" y="20024"/>
                    </a:lnTo>
                    <a:lnTo>
                      <a:pt x="35110" y="19920"/>
                    </a:lnTo>
                    <a:lnTo>
                      <a:pt x="35026" y="19962"/>
                    </a:lnTo>
                    <a:lnTo>
                      <a:pt x="35026" y="19878"/>
                    </a:lnTo>
                    <a:lnTo>
                      <a:pt x="35110" y="19773"/>
                    </a:lnTo>
                    <a:lnTo>
                      <a:pt x="35110" y="19606"/>
                    </a:lnTo>
                    <a:lnTo>
                      <a:pt x="35005" y="19606"/>
                    </a:lnTo>
                    <a:lnTo>
                      <a:pt x="34859" y="19501"/>
                    </a:lnTo>
                    <a:lnTo>
                      <a:pt x="34859" y="19397"/>
                    </a:lnTo>
                    <a:lnTo>
                      <a:pt x="34650" y="19229"/>
                    </a:lnTo>
                    <a:lnTo>
                      <a:pt x="34503" y="19313"/>
                    </a:lnTo>
                    <a:lnTo>
                      <a:pt x="34398" y="19313"/>
                    </a:lnTo>
                    <a:lnTo>
                      <a:pt x="34336" y="19397"/>
                    </a:lnTo>
                    <a:lnTo>
                      <a:pt x="34210" y="19334"/>
                    </a:lnTo>
                    <a:lnTo>
                      <a:pt x="34210" y="19480"/>
                    </a:lnTo>
                    <a:lnTo>
                      <a:pt x="34126" y="19376"/>
                    </a:lnTo>
                    <a:lnTo>
                      <a:pt x="34043" y="19376"/>
                    </a:lnTo>
                    <a:lnTo>
                      <a:pt x="34001" y="19292"/>
                    </a:lnTo>
                    <a:lnTo>
                      <a:pt x="33896" y="19292"/>
                    </a:lnTo>
                    <a:lnTo>
                      <a:pt x="33729" y="19397"/>
                    </a:lnTo>
                    <a:lnTo>
                      <a:pt x="33562" y="19397"/>
                    </a:lnTo>
                    <a:lnTo>
                      <a:pt x="33708" y="19334"/>
                    </a:lnTo>
                    <a:lnTo>
                      <a:pt x="33729" y="19229"/>
                    </a:lnTo>
                    <a:lnTo>
                      <a:pt x="33603" y="19229"/>
                    </a:lnTo>
                    <a:lnTo>
                      <a:pt x="33352" y="19104"/>
                    </a:lnTo>
                    <a:lnTo>
                      <a:pt x="33164" y="18999"/>
                    </a:lnTo>
                    <a:lnTo>
                      <a:pt x="32976" y="18999"/>
                    </a:lnTo>
                    <a:lnTo>
                      <a:pt x="32913" y="18957"/>
                    </a:lnTo>
                    <a:lnTo>
                      <a:pt x="32829" y="18978"/>
                    </a:lnTo>
                    <a:lnTo>
                      <a:pt x="32746" y="18978"/>
                    </a:lnTo>
                    <a:lnTo>
                      <a:pt x="32662" y="19062"/>
                    </a:lnTo>
                    <a:lnTo>
                      <a:pt x="32662" y="19125"/>
                    </a:lnTo>
                    <a:lnTo>
                      <a:pt x="32578" y="19125"/>
                    </a:lnTo>
                    <a:lnTo>
                      <a:pt x="32536" y="19104"/>
                    </a:lnTo>
                    <a:lnTo>
                      <a:pt x="32453" y="19166"/>
                    </a:lnTo>
                    <a:lnTo>
                      <a:pt x="32453" y="19313"/>
                    </a:lnTo>
                    <a:lnTo>
                      <a:pt x="32369" y="19480"/>
                    </a:lnTo>
                    <a:lnTo>
                      <a:pt x="32369" y="19690"/>
                    </a:lnTo>
                    <a:lnTo>
                      <a:pt x="32453" y="19794"/>
                    </a:lnTo>
                    <a:lnTo>
                      <a:pt x="32515" y="19794"/>
                    </a:lnTo>
                    <a:lnTo>
                      <a:pt x="32515" y="19836"/>
                    </a:lnTo>
                    <a:lnTo>
                      <a:pt x="32557" y="19857"/>
                    </a:lnTo>
                    <a:lnTo>
                      <a:pt x="32557" y="20003"/>
                    </a:lnTo>
                    <a:lnTo>
                      <a:pt x="32515" y="20045"/>
                    </a:lnTo>
                    <a:lnTo>
                      <a:pt x="32432" y="20045"/>
                    </a:lnTo>
                    <a:lnTo>
                      <a:pt x="32411" y="20171"/>
                    </a:lnTo>
                    <a:lnTo>
                      <a:pt x="32243" y="20380"/>
                    </a:lnTo>
                    <a:lnTo>
                      <a:pt x="32013" y="20568"/>
                    </a:lnTo>
                    <a:lnTo>
                      <a:pt x="32013" y="20652"/>
                    </a:lnTo>
                    <a:lnTo>
                      <a:pt x="32055" y="20673"/>
                    </a:lnTo>
                    <a:lnTo>
                      <a:pt x="32243" y="20652"/>
                    </a:lnTo>
                    <a:lnTo>
                      <a:pt x="32327" y="20652"/>
                    </a:lnTo>
                    <a:lnTo>
                      <a:pt x="32243" y="20694"/>
                    </a:lnTo>
                    <a:lnTo>
                      <a:pt x="32202" y="20861"/>
                    </a:lnTo>
                    <a:lnTo>
                      <a:pt x="32202" y="20903"/>
                    </a:lnTo>
                    <a:lnTo>
                      <a:pt x="32327" y="20945"/>
                    </a:lnTo>
                    <a:lnTo>
                      <a:pt x="32222" y="20966"/>
                    </a:lnTo>
                    <a:lnTo>
                      <a:pt x="32139" y="21050"/>
                    </a:lnTo>
                    <a:lnTo>
                      <a:pt x="32160" y="21112"/>
                    </a:lnTo>
                    <a:lnTo>
                      <a:pt x="32222" y="21175"/>
                    </a:lnTo>
                    <a:lnTo>
                      <a:pt x="32118" y="21301"/>
                    </a:lnTo>
                    <a:lnTo>
                      <a:pt x="32118" y="21363"/>
                    </a:lnTo>
                    <a:lnTo>
                      <a:pt x="32264" y="21363"/>
                    </a:lnTo>
                    <a:lnTo>
                      <a:pt x="32306" y="21426"/>
                    </a:lnTo>
                    <a:lnTo>
                      <a:pt x="32160" y="21635"/>
                    </a:lnTo>
                    <a:lnTo>
                      <a:pt x="32034" y="21698"/>
                    </a:lnTo>
                    <a:lnTo>
                      <a:pt x="32034" y="21824"/>
                    </a:lnTo>
                    <a:lnTo>
                      <a:pt x="32097" y="21887"/>
                    </a:lnTo>
                    <a:lnTo>
                      <a:pt x="32013" y="21845"/>
                    </a:lnTo>
                    <a:lnTo>
                      <a:pt x="31930" y="21719"/>
                    </a:lnTo>
                    <a:lnTo>
                      <a:pt x="31888" y="21719"/>
                    </a:lnTo>
                    <a:lnTo>
                      <a:pt x="31741" y="21887"/>
                    </a:lnTo>
                    <a:lnTo>
                      <a:pt x="31741" y="21928"/>
                    </a:lnTo>
                    <a:lnTo>
                      <a:pt x="31804" y="21949"/>
                    </a:lnTo>
                    <a:lnTo>
                      <a:pt x="31804" y="22033"/>
                    </a:lnTo>
                    <a:lnTo>
                      <a:pt x="31720" y="22117"/>
                    </a:lnTo>
                    <a:lnTo>
                      <a:pt x="31616" y="22117"/>
                    </a:lnTo>
                    <a:lnTo>
                      <a:pt x="31302" y="22431"/>
                    </a:lnTo>
                    <a:lnTo>
                      <a:pt x="31197" y="22472"/>
                    </a:lnTo>
                    <a:lnTo>
                      <a:pt x="31113" y="22724"/>
                    </a:lnTo>
                    <a:lnTo>
                      <a:pt x="31155" y="22786"/>
                    </a:lnTo>
                    <a:lnTo>
                      <a:pt x="31260" y="22828"/>
                    </a:lnTo>
                    <a:lnTo>
                      <a:pt x="31281" y="22954"/>
                    </a:lnTo>
                    <a:lnTo>
                      <a:pt x="31406" y="23037"/>
                    </a:lnTo>
                    <a:lnTo>
                      <a:pt x="31595" y="23288"/>
                    </a:lnTo>
                    <a:lnTo>
                      <a:pt x="31616" y="23602"/>
                    </a:lnTo>
                    <a:lnTo>
                      <a:pt x="31595" y="23937"/>
                    </a:lnTo>
                    <a:lnTo>
                      <a:pt x="31678" y="24125"/>
                    </a:lnTo>
                    <a:lnTo>
                      <a:pt x="31637" y="24251"/>
                    </a:lnTo>
                    <a:lnTo>
                      <a:pt x="31637" y="24460"/>
                    </a:lnTo>
                    <a:lnTo>
                      <a:pt x="31595" y="24523"/>
                    </a:lnTo>
                    <a:lnTo>
                      <a:pt x="31490" y="24816"/>
                    </a:lnTo>
                    <a:lnTo>
                      <a:pt x="31427" y="24962"/>
                    </a:lnTo>
                    <a:lnTo>
                      <a:pt x="31490" y="24962"/>
                    </a:lnTo>
                    <a:lnTo>
                      <a:pt x="31511" y="24858"/>
                    </a:lnTo>
                    <a:lnTo>
                      <a:pt x="31595" y="24816"/>
                    </a:lnTo>
                    <a:lnTo>
                      <a:pt x="31595" y="24962"/>
                    </a:lnTo>
                    <a:lnTo>
                      <a:pt x="31699" y="25088"/>
                    </a:lnTo>
                    <a:lnTo>
                      <a:pt x="31616" y="25192"/>
                    </a:lnTo>
                    <a:lnTo>
                      <a:pt x="31511" y="25192"/>
                    </a:lnTo>
                    <a:lnTo>
                      <a:pt x="31469" y="25151"/>
                    </a:lnTo>
                    <a:lnTo>
                      <a:pt x="31385" y="25151"/>
                    </a:lnTo>
                    <a:lnTo>
                      <a:pt x="31218" y="25402"/>
                    </a:lnTo>
                    <a:lnTo>
                      <a:pt x="31093" y="25465"/>
                    </a:lnTo>
                    <a:lnTo>
                      <a:pt x="31072" y="25569"/>
                    </a:lnTo>
                    <a:lnTo>
                      <a:pt x="30800" y="25674"/>
                    </a:lnTo>
                    <a:lnTo>
                      <a:pt x="30737" y="25757"/>
                    </a:lnTo>
                    <a:lnTo>
                      <a:pt x="30737" y="25799"/>
                    </a:lnTo>
                    <a:lnTo>
                      <a:pt x="30360" y="25925"/>
                    </a:lnTo>
                    <a:lnTo>
                      <a:pt x="30130" y="26029"/>
                    </a:lnTo>
                    <a:lnTo>
                      <a:pt x="30067" y="26092"/>
                    </a:lnTo>
                    <a:lnTo>
                      <a:pt x="29942" y="26092"/>
                    </a:lnTo>
                    <a:lnTo>
                      <a:pt x="29837" y="26176"/>
                    </a:lnTo>
                    <a:lnTo>
                      <a:pt x="29607" y="26197"/>
                    </a:lnTo>
                    <a:lnTo>
                      <a:pt x="29440" y="26281"/>
                    </a:lnTo>
                    <a:lnTo>
                      <a:pt x="29481" y="26322"/>
                    </a:lnTo>
                    <a:lnTo>
                      <a:pt x="29481" y="26427"/>
                    </a:lnTo>
                    <a:lnTo>
                      <a:pt x="29523" y="26511"/>
                    </a:lnTo>
                    <a:lnTo>
                      <a:pt x="29523" y="26615"/>
                    </a:lnTo>
                    <a:lnTo>
                      <a:pt x="29586" y="26699"/>
                    </a:lnTo>
                    <a:lnTo>
                      <a:pt x="29523" y="26720"/>
                    </a:lnTo>
                    <a:lnTo>
                      <a:pt x="29544" y="26804"/>
                    </a:lnTo>
                    <a:lnTo>
                      <a:pt x="29607" y="26825"/>
                    </a:lnTo>
                    <a:lnTo>
                      <a:pt x="29523" y="26866"/>
                    </a:lnTo>
                    <a:lnTo>
                      <a:pt x="29586" y="26971"/>
                    </a:lnTo>
                    <a:lnTo>
                      <a:pt x="29523" y="27013"/>
                    </a:lnTo>
                    <a:lnTo>
                      <a:pt x="29544" y="27117"/>
                    </a:lnTo>
                    <a:lnTo>
                      <a:pt x="29502" y="27159"/>
                    </a:lnTo>
                    <a:lnTo>
                      <a:pt x="29481" y="27348"/>
                    </a:lnTo>
                    <a:lnTo>
                      <a:pt x="29502" y="27452"/>
                    </a:lnTo>
                    <a:lnTo>
                      <a:pt x="29419" y="27745"/>
                    </a:lnTo>
                    <a:lnTo>
                      <a:pt x="29440" y="27808"/>
                    </a:lnTo>
                    <a:lnTo>
                      <a:pt x="29502" y="27850"/>
                    </a:lnTo>
                    <a:lnTo>
                      <a:pt x="29502" y="27913"/>
                    </a:lnTo>
                    <a:lnTo>
                      <a:pt x="29544" y="27975"/>
                    </a:lnTo>
                    <a:lnTo>
                      <a:pt x="29440" y="28101"/>
                    </a:lnTo>
                    <a:lnTo>
                      <a:pt x="29440" y="28226"/>
                    </a:lnTo>
                    <a:lnTo>
                      <a:pt x="29523" y="28268"/>
                    </a:lnTo>
                    <a:lnTo>
                      <a:pt x="29544" y="28436"/>
                    </a:lnTo>
                    <a:lnTo>
                      <a:pt x="29607" y="28498"/>
                    </a:lnTo>
                    <a:lnTo>
                      <a:pt x="29481" y="28624"/>
                    </a:lnTo>
                    <a:lnTo>
                      <a:pt x="29419" y="28791"/>
                    </a:lnTo>
                    <a:lnTo>
                      <a:pt x="29377" y="28812"/>
                    </a:lnTo>
                    <a:lnTo>
                      <a:pt x="29314" y="28791"/>
                    </a:lnTo>
                    <a:lnTo>
                      <a:pt x="29314" y="28896"/>
                    </a:lnTo>
                    <a:lnTo>
                      <a:pt x="29377" y="28959"/>
                    </a:lnTo>
                    <a:lnTo>
                      <a:pt x="29314" y="29042"/>
                    </a:lnTo>
                    <a:lnTo>
                      <a:pt x="29293" y="29231"/>
                    </a:lnTo>
                    <a:lnTo>
                      <a:pt x="29314" y="29356"/>
                    </a:lnTo>
                    <a:lnTo>
                      <a:pt x="29419" y="29482"/>
                    </a:lnTo>
                    <a:lnTo>
                      <a:pt x="29523" y="29545"/>
                    </a:lnTo>
                    <a:lnTo>
                      <a:pt x="29335" y="29524"/>
                    </a:lnTo>
                    <a:lnTo>
                      <a:pt x="29209" y="29419"/>
                    </a:lnTo>
                    <a:lnTo>
                      <a:pt x="29230" y="29252"/>
                    </a:lnTo>
                    <a:lnTo>
                      <a:pt x="29189" y="29042"/>
                    </a:lnTo>
                    <a:lnTo>
                      <a:pt x="29105" y="29022"/>
                    </a:lnTo>
                    <a:lnTo>
                      <a:pt x="29084" y="28959"/>
                    </a:lnTo>
                    <a:lnTo>
                      <a:pt x="29105" y="28854"/>
                    </a:lnTo>
                    <a:lnTo>
                      <a:pt x="29063" y="28854"/>
                    </a:lnTo>
                    <a:lnTo>
                      <a:pt x="28875" y="29105"/>
                    </a:lnTo>
                    <a:lnTo>
                      <a:pt x="28875" y="29210"/>
                    </a:lnTo>
                    <a:lnTo>
                      <a:pt x="28854" y="29314"/>
                    </a:lnTo>
                    <a:lnTo>
                      <a:pt x="28749" y="29314"/>
                    </a:lnTo>
                    <a:lnTo>
                      <a:pt x="28644" y="29210"/>
                    </a:lnTo>
                    <a:lnTo>
                      <a:pt x="28477" y="29147"/>
                    </a:lnTo>
                    <a:lnTo>
                      <a:pt x="28352" y="29252"/>
                    </a:lnTo>
                    <a:lnTo>
                      <a:pt x="28184" y="29335"/>
                    </a:lnTo>
                    <a:lnTo>
                      <a:pt x="28184" y="29335"/>
                    </a:lnTo>
                    <a:lnTo>
                      <a:pt x="28393" y="29147"/>
                    </a:lnTo>
                    <a:lnTo>
                      <a:pt x="28456" y="29001"/>
                    </a:lnTo>
                    <a:lnTo>
                      <a:pt x="28435" y="28917"/>
                    </a:lnTo>
                    <a:lnTo>
                      <a:pt x="28393" y="28729"/>
                    </a:lnTo>
                    <a:lnTo>
                      <a:pt x="28331" y="28624"/>
                    </a:lnTo>
                    <a:lnTo>
                      <a:pt x="28289" y="28540"/>
                    </a:lnTo>
                    <a:lnTo>
                      <a:pt x="28268" y="28540"/>
                    </a:lnTo>
                    <a:lnTo>
                      <a:pt x="28142" y="28478"/>
                    </a:lnTo>
                    <a:lnTo>
                      <a:pt x="28038" y="28415"/>
                    </a:lnTo>
                    <a:lnTo>
                      <a:pt x="28038" y="28331"/>
                    </a:lnTo>
                    <a:lnTo>
                      <a:pt x="28017" y="28289"/>
                    </a:lnTo>
                    <a:lnTo>
                      <a:pt x="28038" y="28185"/>
                    </a:lnTo>
                    <a:lnTo>
                      <a:pt x="27954" y="28080"/>
                    </a:lnTo>
                    <a:lnTo>
                      <a:pt x="27870" y="28017"/>
                    </a:lnTo>
                    <a:lnTo>
                      <a:pt x="27870" y="27892"/>
                    </a:lnTo>
                    <a:lnTo>
                      <a:pt x="27766" y="27808"/>
                    </a:lnTo>
                    <a:lnTo>
                      <a:pt x="27724" y="27703"/>
                    </a:lnTo>
                    <a:lnTo>
                      <a:pt x="27766" y="27473"/>
                    </a:lnTo>
                    <a:lnTo>
                      <a:pt x="27870" y="27369"/>
                    </a:lnTo>
                    <a:lnTo>
                      <a:pt x="27933" y="27222"/>
                    </a:lnTo>
                    <a:lnTo>
                      <a:pt x="27933" y="27117"/>
                    </a:lnTo>
                    <a:lnTo>
                      <a:pt x="28080" y="26866"/>
                    </a:lnTo>
                    <a:lnTo>
                      <a:pt x="28080" y="26615"/>
                    </a:lnTo>
                    <a:lnTo>
                      <a:pt x="28059" y="26594"/>
                    </a:lnTo>
                    <a:lnTo>
                      <a:pt x="28038" y="26448"/>
                    </a:lnTo>
                    <a:lnTo>
                      <a:pt x="28121" y="26301"/>
                    </a:lnTo>
                    <a:lnTo>
                      <a:pt x="28184" y="26197"/>
                    </a:lnTo>
                    <a:lnTo>
                      <a:pt x="28184" y="26092"/>
                    </a:lnTo>
                    <a:lnTo>
                      <a:pt x="28352" y="25799"/>
                    </a:lnTo>
                    <a:lnTo>
                      <a:pt x="28331" y="25611"/>
                    </a:lnTo>
                    <a:lnTo>
                      <a:pt x="28268" y="25611"/>
                    </a:lnTo>
                    <a:lnTo>
                      <a:pt x="28247" y="25653"/>
                    </a:lnTo>
                    <a:lnTo>
                      <a:pt x="28247" y="25590"/>
                    </a:lnTo>
                    <a:lnTo>
                      <a:pt x="28163" y="25590"/>
                    </a:lnTo>
                    <a:lnTo>
                      <a:pt x="28038" y="25653"/>
                    </a:lnTo>
                    <a:lnTo>
                      <a:pt x="27849" y="25611"/>
                    </a:lnTo>
                    <a:lnTo>
                      <a:pt x="27661" y="25569"/>
                    </a:lnTo>
                    <a:lnTo>
                      <a:pt x="27619" y="25569"/>
                    </a:lnTo>
                    <a:lnTo>
                      <a:pt x="27556" y="25506"/>
                    </a:lnTo>
                    <a:lnTo>
                      <a:pt x="27326" y="25506"/>
                    </a:lnTo>
                    <a:lnTo>
                      <a:pt x="27201" y="25548"/>
                    </a:lnTo>
                    <a:lnTo>
                      <a:pt x="27138" y="25506"/>
                    </a:lnTo>
                    <a:lnTo>
                      <a:pt x="26971" y="25506"/>
                    </a:lnTo>
                    <a:lnTo>
                      <a:pt x="26929" y="25485"/>
                    </a:lnTo>
                    <a:lnTo>
                      <a:pt x="26971" y="25444"/>
                    </a:lnTo>
                    <a:lnTo>
                      <a:pt x="26803" y="25297"/>
                    </a:lnTo>
                    <a:lnTo>
                      <a:pt x="26782" y="25234"/>
                    </a:lnTo>
                    <a:lnTo>
                      <a:pt x="26594" y="25046"/>
                    </a:lnTo>
                    <a:lnTo>
                      <a:pt x="26510" y="25025"/>
                    </a:lnTo>
                    <a:lnTo>
                      <a:pt x="26343" y="24879"/>
                    </a:lnTo>
                    <a:lnTo>
                      <a:pt x="26259" y="24858"/>
                    </a:lnTo>
                    <a:lnTo>
                      <a:pt x="26029" y="24711"/>
                    </a:lnTo>
                    <a:lnTo>
                      <a:pt x="25966" y="24648"/>
                    </a:lnTo>
                    <a:lnTo>
                      <a:pt x="25903" y="24753"/>
                    </a:lnTo>
                    <a:lnTo>
                      <a:pt x="25903" y="24711"/>
                    </a:lnTo>
                    <a:lnTo>
                      <a:pt x="25820" y="24523"/>
                    </a:lnTo>
                    <a:lnTo>
                      <a:pt x="25736" y="24439"/>
                    </a:lnTo>
                    <a:lnTo>
                      <a:pt x="25736" y="24335"/>
                    </a:lnTo>
                    <a:lnTo>
                      <a:pt x="25631" y="24293"/>
                    </a:lnTo>
                    <a:lnTo>
                      <a:pt x="25527" y="24104"/>
                    </a:lnTo>
                    <a:lnTo>
                      <a:pt x="25443" y="24084"/>
                    </a:lnTo>
                    <a:lnTo>
                      <a:pt x="25255" y="23895"/>
                    </a:lnTo>
                    <a:lnTo>
                      <a:pt x="25150" y="23874"/>
                    </a:lnTo>
                    <a:lnTo>
                      <a:pt x="25087" y="23812"/>
                    </a:lnTo>
                    <a:lnTo>
                      <a:pt x="24815" y="23728"/>
                    </a:lnTo>
                    <a:lnTo>
                      <a:pt x="24627" y="23581"/>
                    </a:lnTo>
                    <a:lnTo>
                      <a:pt x="24376" y="23393"/>
                    </a:lnTo>
                    <a:lnTo>
                      <a:pt x="24167" y="23414"/>
                    </a:lnTo>
                    <a:lnTo>
                      <a:pt x="23748" y="23560"/>
                    </a:lnTo>
                    <a:lnTo>
                      <a:pt x="23330" y="23686"/>
                    </a:lnTo>
                    <a:lnTo>
                      <a:pt x="23142" y="23686"/>
                    </a:lnTo>
                    <a:lnTo>
                      <a:pt x="23016" y="23623"/>
                    </a:lnTo>
                    <a:lnTo>
                      <a:pt x="23016" y="23623"/>
                    </a:lnTo>
                    <a:lnTo>
                      <a:pt x="23142" y="23665"/>
                    </a:lnTo>
                    <a:lnTo>
                      <a:pt x="23330" y="23602"/>
                    </a:lnTo>
                    <a:lnTo>
                      <a:pt x="23665" y="23268"/>
                    </a:lnTo>
                    <a:lnTo>
                      <a:pt x="23727" y="23163"/>
                    </a:lnTo>
                    <a:lnTo>
                      <a:pt x="23665" y="22933"/>
                    </a:lnTo>
                    <a:lnTo>
                      <a:pt x="23581" y="22828"/>
                    </a:lnTo>
                    <a:lnTo>
                      <a:pt x="23665" y="22577"/>
                    </a:lnTo>
                    <a:lnTo>
                      <a:pt x="23665" y="22347"/>
                    </a:lnTo>
                    <a:lnTo>
                      <a:pt x="23581" y="22200"/>
                    </a:lnTo>
                    <a:lnTo>
                      <a:pt x="23581" y="22054"/>
                    </a:lnTo>
                    <a:lnTo>
                      <a:pt x="23644" y="21928"/>
                    </a:lnTo>
                    <a:lnTo>
                      <a:pt x="23644" y="21824"/>
                    </a:lnTo>
                    <a:lnTo>
                      <a:pt x="23539" y="21782"/>
                    </a:lnTo>
                    <a:lnTo>
                      <a:pt x="23204" y="21782"/>
                    </a:lnTo>
                    <a:lnTo>
                      <a:pt x="23037" y="22054"/>
                    </a:lnTo>
                    <a:lnTo>
                      <a:pt x="22828" y="22305"/>
                    </a:lnTo>
                    <a:lnTo>
                      <a:pt x="22577" y="22326"/>
                    </a:lnTo>
                    <a:lnTo>
                      <a:pt x="22409" y="22452"/>
                    </a:lnTo>
                    <a:lnTo>
                      <a:pt x="22472" y="22347"/>
                    </a:lnTo>
                    <a:lnTo>
                      <a:pt x="22786" y="22263"/>
                    </a:lnTo>
                    <a:lnTo>
                      <a:pt x="22932" y="22117"/>
                    </a:lnTo>
                    <a:lnTo>
                      <a:pt x="23037" y="21845"/>
                    </a:lnTo>
                    <a:lnTo>
                      <a:pt x="22995" y="21824"/>
                    </a:lnTo>
                    <a:lnTo>
                      <a:pt x="22995" y="21677"/>
                    </a:lnTo>
                    <a:lnTo>
                      <a:pt x="22932" y="21594"/>
                    </a:lnTo>
                    <a:lnTo>
                      <a:pt x="22953" y="21489"/>
                    </a:lnTo>
                    <a:lnTo>
                      <a:pt x="22932" y="21405"/>
                    </a:lnTo>
                    <a:lnTo>
                      <a:pt x="22807" y="21384"/>
                    </a:lnTo>
                    <a:lnTo>
                      <a:pt x="22849" y="21322"/>
                    </a:lnTo>
                    <a:lnTo>
                      <a:pt x="22953" y="21301"/>
                    </a:lnTo>
                    <a:lnTo>
                      <a:pt x="22995" y="21196"/>
                    </a:lnTo>
                    <a:lnTo>
                      <a:pt x="23100" y="21008"/>
                    </a:lnTo>
                    <a:lnTo>
                      <a:pt x="23100" y="20861"/>
                    </a:lnTo>
                    <a:lnTo>
                      <a:pt x="23037" y="20799"/>
                    </a:lnTo>
                    <a:lnTo>
                      <a:pt x="23121" y="20568"/>
                    </a:lnTo>
                    <a:lnTo>
                      <a:pt x="23204" y="20527"/>
                    </a:lnTo>
                    <a:lnTo>
                      <a:pt x="23246" y="20359"/>
                    </a:lnTo>
                    <a:lnTo>
                      <a:pt x="23330" y="20255"/>
                    </a:lnTo>
                    <a:lnTo>
                      <a:pt x="23372" y="20045"/>
                    </a:lnTo>
                    <a:lnTo>
                      <a:pt x="23476" y="19941"/>
                    </a:lnTo>
                    <a:lnTo>
                      <a:pt x="23435" y="19815"/>
                    </a:lnTo>
                    <a:lnTo>
                      <a:pt x="23435" y="19731"/>
                    </a:lnTo>
                    <a:lnTo>
                      <a:pt x="23560" y="19815"/>
                    </a:lnTo>
                    <a:lnTo>
                      <a:pt x="23665" y="19711"/>
                    </a:lnTo>
                    <a:lnTo>
                      <a:pt x="23665" y="19606"/>
                    </a:lnTo>
                    <a:lnTo>
                      <a:pt x="23790" y="19585"/>
                    </a:lnTo>
                    <a:lnTo>
                      <a:pt x="23958" y="19397"/>
                    </a:lnTo>
                    <a:lnTo>
                      <a:pt x="24062" y="19334"/>
                    </a:lnTo>
                    <a:lnTo>
                      <a:pt x="24041" y="19229"/>
                    </a:lnTo>
                    <a:lnTo>
                      <a:pt x="24125" y="19166"/>
                    </a:lnTo>
                    <a:lnTo>
                      <a:pt x="24188" y="19166"/>
                    </a:lnTo>
                    <a:lnTo>
                      <a:pt x="24230" y="19083"/>
                    </a:lnTo>
                    <a:lnTo>
                      <a:pt x="24167" y="18999"/>
                    </a:lnTo>
                    <a:lnTo>
                      <a:pt x="24292" y="18915"/>
                    </a:lnTo>
                    <a:lnTo>
                      <a:pt x="24376" y="18769"/>
                    </a:lnTo>
                    <a:lnTo>
                      <a:pt x="24481" y="18769"/>
                    </a:lnTo>
                    <a:lnTo>
                      <a:pt x="24481" y="18706"/>
                    </a:lnTo>
                    <a:lnTo>
                      <a:pt x="24543" y="18664"/>
                    </a:lnTo>
                    <a:lnTo>
                      <a:pt x="24397" y="18560"/>
                    </a:lnTo>
                    <a:lnTo>
                      <a:pt x="24460" y="18539"/>
                    </a:lnTo>
                    <a:lnTo>
                      <a:pt x="24460" y="18455"/>
                    </a:lnTo>
                    <a:lnTo>
                      <a:pt x="24543" y="18476"/>
                    </a:lnTo>
                    <a:lnTo>
                      <a:pt x="24669" y="18581"/>
                    </a:lnTo>
                    <a:lnTo>
                      <a:pt x="24690" y="18643"/>
                    </a:lnTo>
                    <a:lnTo>
                      <a:pt x="24753" y="18602"/>
                    </a:lnTo>
                    <a:lnTo>
                      <a:pt x="24711" y="18539"/>
                    </a:lnTo>
                    <a:lnTo>
                      <a:pt x="24606" y="18476"/>
                    </a:lnTo>
                    <a:lnTo>
                      <a:pt x="24795" y="18392"/>
                    </a:lnTo>
                    <a:lnTo>
                      <a:pt x="24836" y="18330"/>
                    </a:lnTo>
                    <a:lnTo>
                      <a:pt x="24983" y="18330"/>
                    </a:lnTo>
                    <a:lnTo>
                      <a:pt x="25004" y="18350"/>
                    </a:lnTo>
                    <a:lnTo>
                      <a:pt x="25025" y="18267"/>
                    </a:lnTo>
                    <a:lnTo>
                      <a:pt x="25004" y="18225"/>
                    </a:lnTo>
                    <a:lnTo>
                      <a:pt x="25087" y="18225"/>
                    </a:lnTo>
                    <a:lnTo>
                      <a:pt x="25108" y="18350"/>
                    </a:lnTo>
                    <a:lnTo>
                      <a:pt x="25192" y="18246"/>
                    </a:lnTo>
                    <a:lnTo>
                      <a:pt x="25192" y="18225"/>
                    </a:lnTo>
                    <a:lnTo>
                      <a:pt x="25108" y="18162"/>
                    </a:lnTo>
                    <a:lnTo>
                      <a:pt x="25108" y="18058"/>
                    </a:lnTo>
                    <a:lnTo>
                      <a:pt x="25150" y="18120"/>
                    </a:lnTo>
                    <a:lnTo>
                      <a:pt x="25359" y="18162"/>
                    </a:lnTo>
                    <a:lnTo>
                      <a:pt x="25339" y="18078"/>
                    </a:lnTo>
                    <a:lnTo>
                      <a:pt x="25234" y="18037"/>
                    </a:lnTo>
                    <a:lnTo>
                      <a:pt x="25213" y="17953"/>
                    </a:lnTo>
                    <a:lnTo>
                      <a:pt x="25255" y="17932"/>
                    </a:lnTo>
                    <a:lnTo>
                      <a:pt x="25297" y="17848"/>
                    </a:lnTo>
                    <a:lnTo>
                      <a:pt x="25318" y="18016"/>
                    </a:lnTo>
                    <a:lnTo>
                      <a:pt x="25422" y="17974"/>
                    </a:lnTo>
                    <a:lnTo>
                      <a:pt x="25506" y="18016"/>
                    </a:lnTo>
                    <a:lnTo>
                      <a:pt x="25590" y="17953"/>
                    </a:lnTo>
                    <a:lnTo>
                      <a:pt x="25464" y="17744"/>
                    </a:lnTo>
                    <a:lnTo>
                      <a:pt x="25401" y="17514"/>
                    </a:lnTo>
                    <a:lnTo>
                      <a:pt x="25297" y="17388"/>
                    </a:lnTo>
                    <a:lnTo>
                      <a:pt x="25297" y="17283"/>
                    </a:lnTo>
                    <a:lnTo>
                      <a:pt x="25255" y="17200"/>
                    </a:lnTo>
                    <a:lnTo>
                      <a:pt x="25297" y="17137"/>
                    </a:lnTo>
                    <a:lnTo>
                      <a:pt x="25359" y="17221"/>
                    </a:lnTo>
                    <a:lnTo>
                      <a:pt x="25422" y="17409"/>
                    </a:lnTo>
                    <a:lnTo>
                      <a:pt x="25569" y="17597"/>
                    </a:lnTo>
                    <a:lnTo>
                      <a:pt x="25841" y="17639"/>
                    </a:lnTo>
                    <a:lnTo>
                      <a:pt x="25945" y="17723"/>
                    </a:lnTo>
                    <a:lnTo>
                      <a:pt x="26071" y="17723"/>
                    </a:lnTo>
                    <a:lnTo>
                      <a:pt x="26155" y="17660"/>
                    </a:lnTo>
                    <a:lnTo>
                      <a:pt x="26259" y="17660"/>
                    </a:lnTo>
                    <a:lnTo>
                      <a:pt x="26406" y="17514"/>
                    </a:lnTo>
                    <a:lnTo>
                      <a:pt x="26448" y="17242"/>
                    </a:lnTo>
                    <a:lnTo>
                      <a:pt x="26238" y="16990"/>
                    </a:lnTo>
                    <a:lnTo>
                      <a:pt x="26196" y="16823"/>
                    </a:lnTo>
                    <a:lnTo>
                      <a:pt x="26134" y="16739"/>
                    </a:lnTo>
                    <a:lnTo>
                      <a:pt x="26071" y="16739"/>
                    </a:lnTo>
                    <a:lnTo>
                      <a:pt x="25945" y="16886"/>
                    </a:lnTo>
                    <a:lnTo>
                      <a:pt x="25715" y="16907"/>
                    </a:lnTo>
                    <a:lnTo>
                      <a:pt x="25652" y="16928"/>
                    </a:lnTo>
                    <a:lnTo>
                      <a:pt x="25652" y="16907"/>
                    </a:lnTo>
                    <a:lnTo>
                      <a:pt x="25631" y="16823"/>
                    </a:lnTo>
                    <a:lnTo>
                      <a:pt x="25715" y="16865"/>
                    </a:lnTo>
                    <a:lnTo>
                      <a:pt x="25841" y="16823"/>
                    </a:lnTo>
                    <a:lnTo>
                      <a:pt x="25966" y="16718"/>
                    </a:lnTo>
                    <a:lnTo>
                      <a:pt x="25945" y="16677"/>
                    </a:lnTo>
                    <a:lnTo>
                      <a:pt x="25736" y="16551"/>
                    </a:lnTo>
                    <a:lnTo>
                      <a:pt x="25506" y="16300"/>
                    </a:lnTo>
                    <a:lnTo>
                      <a:pt x="25443" y="16300"/>
                    </a:lnTo>
                    <a:lnTo>
                      <a:pt x="25422" y="16363"/>
                    </a:lnTo>
                    <a:lnTo>
                      <a:pt x="25464" y="16446"/>
                    </a:lnTo>
                    <a:lnTo>
                      <a:pt x="25443" y="16488"/>
                    </a:lnTo>
                    <a:lnTo>
                      <a:pt x="25339" y="16405"/>
                    </a:lnTo>
                    <a:lnTo>
                      <a:pt x="25297" y="16258"/>
                    </a:lnTo>
                    <a:lnTo>
                      <a:pt x="25401" y="16279"/>
                    </a:lnTo>
                    <a:lnTo>
                      <a:pt x="25401" y="16091"/>
                    </a:lnTo>
                    <a:lnTo>
                      <a:pt x="25443" y="16195"/>
                    </a:lnTo>
                    <a:lnTo>
                      <a:pt x="25611" y="16342"/>
                    </a:lnTo>
                    <a:lnTo>
                      <a:pt x="25694" y="16363"/>
                    </a:lnTo>
                    <a:lnTo>
                      <a:pt x="25757" y="16551"/>
                    </a:lnTo>
                    <a:lnTo>
                      <a:pt x="25966" y="16677"/>
                    </a:lnTo>
                    <a:lnTo>
                      <a:pt x="26217" y="16760"/>
                    </a:lnTo>
                    <a:lnTo>
                      <a:pt x="26322" y="16907"/>
                    </a:lnTo>
                    <a:lnTo>
                      <a:pt x="26427" y="16970"/>
                    </a:lnTo>
                    <a:lnTo>
                      <a:pt x="26448" y="17032"/>
                    </a:lnTo>
                    <a:lnTo>
                      <a:pt x="26573" y="17095"/>
                    </a:lnTo>
                    <a:lnTo>
                      <a:pt x="26636" y="17137"/>
                    </a:lnTo>
                    <a:lnTo>
                      <a:pt x="26636" y="17011"/>
                    </a:lnTo>
                    <a:lnTo>
                      <a:pt x="26740" y="16970"/>
                    </a:lnTo>
                    <a:lnTo>
                      <a:pt x="26657" y="16907"/>
                    </a:lnTo>
                    <a:lnTo>
                      <a:pt x="26678" y="16802"/>
                    </a:lnTo>
                    <a:lnTo>
                      <a:pt x="26761" y="16928"/>
                    </a:lnTo>
                    <a:lnTo>
                      <a:pt x="26782" y="17011"/>
                    </a:lnTo>
                    <a:lnTo>
                      <a:pt x="26866" y="17032"/>
                    </a:lnTo>
                    <a:lnTo>
                      <a:pt x="26992" y="16865"/>
                    </a:lnTo>
                    <a:lnTo>
                      <a:pt x="26992" y="16656"/>
                    </a:lnTo>
                    <a:lnTo>
                      <a:pt x="26950" y="16572"/>
                    </a:lnTo>
                    <a:lnTo>
                      <a:pt x="26992" y="16405"/>
                    </a:lnTo>
                    <a:lnTo>
                      <a:pt x="27054" y="16593"/>
                    </a:lnTo>
                    <a:lnTo>
                      <a:pt x="27054" y="16698"/>
                    </a:lnTo>
                    <a:lnTo>
                      <a:pt x="27117" y="16467"/>
                    </a:lnTo>
                    <a:lnTo>
                      <a:pt x="27222" y="16405"/>
                    </a:lnTo>
                    <a:lnTo>
                      <a:pt x="27264" y="16467"/>
                    </a:lnTo>
                    <a:lnTo>
                      <a:pt x="27284" y="16488"/>
                    </a:lnTo>
                    <a:lnTo>
                      <a:pt x="27201" y="16593"/>
                    </a:lnTo>
                    <a:lnTo>
                      <a:pt x="27264" y="16614"/>
                    </a:lnTo>
                    <a:lnTo>
                      <a:pt x="27284" y="16698"/>
                    </a:lnTo>
                    <a:lnTo>
                      <a:pt x="27368" y="16614"/>
                    </a:lnTo>
                    <a:lnTo>
                      <a:pt x="27431" y="16656"/>
                    </a:lnTo>
                    <a:lnTo>
                      <a:pt x="27577" y="16802"/>
                    </a:lnTo>
                    <a:lnTo>
                      <a:pt x="27598" y="16760"/>
                    </a:lnTo>
                    <a:lnTo>
                      <a:pt x="27682" y="16760"/>
                    </a:lnTo>
                    <a:lnTo>
                      <a:pt x="27724" y="16802"/>
                    </a:lnTo>
                    <a:lnTo>
                      <a:pt x="27828" y="16781"/>
                    </a:lnTo>
                    <a:lnTo>
                      <a:pt x="27933" y="16593"/>
                    </a:lnTo>
                    <a:lnTo>
                      <a:pt x="28100" y="16509"/>
                    </a:lnTo>
                    <a:lnTo>
                      <a:pt x="28456" y="16153"/>
                    </a:lnTo>
                    <a:lnTo>
                      <a:pt x="28477" y="16070"/>
                    </a:lnTo>
                    <a:lnTo>
                      <a:pt x="28540" y="16049"/>
                    </a:lnTo>
                    <a:lnTo>
                      <a:pt x="28561" y="16091"/>
                    </a:lnTo>
                    <a:lnTo>
                      <a:pt x="28728" y="15881"/>
                    </a:lnTo>
                    <a:lnTo>
                      <a:pt x="28833" y="15840"/>
                    </a:lnTo>
                    <a:lnTo>
                      <a:pt x="28958" y="15735"/>
                    </a:lnTo>
                    <a:lnTo>
                      <a:pt x="29000" y="15672"/>
                    </a:lnTo>
                    <a:lnTo>
                      <a:pt x="28979" y="15547"/>
                    </a:lnTo>
                    <a:lnTo>
                      <a:pt x="28561" y="15442"/>
                    </a:lnTo>
                    <a:lnTo>
                      <a:pt x="28331" y="15400"/>
                    </a:lnTo>
                    <a:lnTo>
                      <a:pt x="28121" y="15317"/>
                    </a:lnTo>
                    <a:lnTo>
                      <a:pt x="28038" y="15128"/>
                    </a:lnTo>
                    <a:lnTo>
                      <a:pt x="27912" y="14898"/>
                    </a:lnTo>
                    <a:lnTo>
                      <a:pt x="27849" y="14898"/>
                    </a:lnTo>
                    <a:lnTo>
                      <a:pt x="27828" y="14710"/>
                    </a:lnTo>
                    <a:lnTo>
                      <a:pt x="27808" y="14689"/>
                    </a:lnTo>
                    <a:lnTo>
                      <a:pt x="27828" y="14626"/>
                    </a:lnTo>
                    <a:lnTo>
                      <a:pt x="27870" y="14626"/>
                    </a:lnTo>
                    <a:lnTo>
                      <a:pt x="27912" y="14563"/>
                    </a:lnTo>
                    <a:lnTo>
                      <a:pt x="27828" y="14501"/>
                    </a:lnTo>
                    <a:lnTo>
                      <a:pt x="27598" y="14501"/>
                    </a:lnTo>
                    <a:lnTo>
                      <a:pt x="27326" y="14417"/>
                    </a:lnTo>
                    <a:lnTo>
                      <a:pt x="27243" y="14417"/>
                    </a:lnTo>
                    <a:lnTo>
                      <a:pt x="27201" y="14480"/>
                    </a:lnTo>
                    <a:lnTo>
                      <a:pt x="27117" y="14396"/>
                    </a:lnTo>
                    <a:lnTo>
                      <a:pt x="27117" y="14312"/>
                    </a:lnTo>
                    <a:lnTo>
                      <a:pt x="27222" y="14354"/>
                    </a:lnTo>
                    <a:lnTo>
                      <a:pt x="27494" y="14375"/>
                    </a:lnTo>
                    <a:lnTo>
                      <a:pt x="27640" y="14480"/>
                    </a:lnTo>
                    <a:lnTo>
                      <a:pt x="27870" y="14480"/>
                    </a:lnTo>
                    <a:lnTo>
                      <a:pt x="28017" y="14584"/>
                    </a:lnTo>
                    <a:lnTo>
                      <a:pt x="28142" y="14814"/>
                    </a:lnTo>
                    <a:lnTo>
                      <a:pt x="28247" y="14835"/>
                    </a:lnTo>
                    <a:lnTo>
                      <a:pt x="28289" y="14898"/>
                    </a:lnTo>
                    <a:lnTo>
                      <a:pt x="28247" y="14919"/>
                    </a:lnTo>
                    <a:lnTo>
                      <a:pt x="28184" y="14919"/>
                    </a:lnTo>
                    <a:lnTo>
                      <a:pt x="28184" y="14982"/>
                    </a:lnTo>
                    <a:lnTo>
                      <a:pt x="28372" y="15045"/>
                    </a:lnTo>
                    <a:lnTo>
                      <a:pt x="28435" y="15191"/>
                    </a:lnTo>
                    <a:lnTo>
                      <a:pt x="28498" y="15296"/>
                    </a:lnTo>
                    <a:lnTo>
                      <a:pt x="28875" y="15358"/>
                    </a:lnTo>
                    <a:lnTo>
                      <a:pt x="28979" y="15317"/>
                    </a:lnTo>
                    <a:lnTo>
                      <a:pt x="29021" y="15191"/>
                    </a:lnTo>
                    <a:lnTo>
                      <a:pt x="29105" y="15128"/>
                    </a:lnTo>
                    <a:lnTo>
                      <a:pt x="29189" y="15149"/>
                    </a:lnTo>
                    <a:lnTo>
                      <a:pt x="29314" y="15003"/>
                    </a:lnTo>
                    <a:lnTo>
                      <a:pt x="29335" y="14982"/>
                    </a:lnTo>
                    <a:lnTo>
                      <a:pt x="29502" y="15128"/>
                    </a:lnTo>
                    <a:lnTo>
                      <a:pt x="29481" y="15149"/>
                    </a:lnTo>
                    <a:lnTo>
                      <a:pt x="29377" y="15317"/>
                    </a:lnTo>
                    <a:lnTo>
                      <a:pt x="29377" y="15400"/>
                    </a:lnTo>
                    <a:lnTo>
                      <a:pt x="29293" y="15505"/>
                    </a:lnTo>
                    <a:lnTo>
                      <a:pt x="29293" y="15568"/>
                    </a:lnTo>
                    <a:lnTo>
                      <a:pt x="29189" y="15756"/>
                    </a:lnTo>
                    <a:lnTo>
                      <a:pt x="29230" y="15840"/>
                    </a:lnTo>
                    <a:lnTo>
                      <a:pt x="29189" y="15861"/>
                    </a:lnTo>
                    <a:lnTo>
                      <a:pt x="29168" y="15965"/>
                    </a:lnTo>
                    <a:lnTo>
                      <a:pt x="29168" y="16070"/>
                    </a:lnTo>
                    <a:lnTo>
                      <a:pt x="29000" y="16195"/>
                    </a:lnTo>
                    <a:lnTo>
                      <a:pt x="28958" y="16300"/>
                    </a:lnTo>
                    <a:lnTo>
                      <a:pt x="28958" y="16467"/>
                    </a:lnTo>
                    <a:lnTo>
                      <a:pt x="28916" y="16509"/>
                    </a:lnTo>
                    <a:lnTo>
                      <a:pt x="28916" y="16677"/>
                    </a:lnTo>
                    <a:lnTo>
                      <a:pt x="28854" y="16760"/>
                    </a:lnTo>
                    <a:lnTo>
                      <a:pt x="28707" y="16760"/>
                    </a:lnTo>
                    <a:lnTo>
                      <a:pt x="28540" y="16823"/>
                    </a:lnTo>
                    <a:lnTo>
                      <a:pt x="28540" y="16928"/>
                    </a:lnTo>
                    <a:lnTo>
                      <a:pt x="28477" y="17116"/>
                    </a:lnTo>
                    <a:lnTo>
                      <a:pt x="28498" y="17242"/>
                    </a:lnTo>
                    <a:lnTo>
                      <a:pt x="28561" y="17242"/>
                    </a:lnTo>
                    <a:lnTo>
                      <a:pt x="28582" y="17137"/>
                    </a:lnTo>
                    <a:lnTo>
                      <a:pt x="28644" y="17116"/>
                    </a:lnTo>
                    <a:lnTo>
                      <a:pt x="28686" y="17137"/>
                    </a:lnTo>
                    <a:lnTo>
                      <a:pt x="28770" y="17200"/>
                    </a:lnTo>
                    <a:lnTo>
                      <a:pt x="28854" y="17200"/>
                    </a:lnTo>
                    <a:lnTo>
                      <a:pt x="28896" y="17179"/>
                    </a:lnTo>
                    <a:lnTo>
                      <a:pt x="28958" y="17179"/>
                    </a:lnTo>
                    <a:lnTo>
                      <a:pt x="29000" y="17221"/>
                    </a:lnTo>
                    <a:lnTo>
                      <a:pt x="29021" y="17304"/>
                    </a:lnTo>
                    <a:lnTo>
                      <a:pt x="28958" y="17409"/>
                    </a:lnTo>
                    <a:lnTo>
                      <a:pt x="28979" y="17514"/>
                    </a:lnTo>
                    <a:lnTo>
                      <a:pt x="28896" y="17597"/>
                    </a:lnTo>
                    <a:lnTo>
                      <a:pt x="28896" y="17744"/>
                    </a:lnTo>
                    <a:lnTo>
                      <a:pt x="28916" y="17806"/>
                    </a:lnTo>
                    <a:lnTo>
                      <a:pt x="28979" y="17765"/>
                    </a:lnTo>
                    <a:lnTo>
                      <a:pt x="29021" y="17806"/>
                    </a:lnTo>
                    <a:lnTo>
                      <a:pt x="29105" y="17806"/>
                    </a:lnTo>
                    <a:lnTo>
                      <a:pt x="29168" y="17744"/>
                    </a:lnTo>
                    <a:lnTo>
                      <a:pt x="29272" y="17744"/>
                    </a:lnTo>
                    <a:lnTo>
                      <a:pt x="29293" y="17702"/>
                    </a:lnTo>
                    <a:lnTo>
                      <a:pt x="29377" y="17639"/>
                    </a:lnTo>
                    <a:lnTo>
                      <a:pt x="29440" y="17639"/>
                    </a:lnTo>
                    <a:lnTo>
                      <a:pt x="29544" y="17555"/>
                    </a:lnTo>
                    <a:lnTo>
                      <a:pt x="29586" y="17430"/>
                    </a:lnTo>
                    <a:lnTo>
                      <a:pt x="29649" y="17346"/>
                    </a:lnTo>
                    <a:lnTo>
                      <a:pt x="29712" y="17283"/>
                    </a:lnTo>
                    <a:lnTo>
                      <a:pt x="29753" y="17283"/>
                    </a:lnTo>
                    <a:lnTo>
                      <a:pt x="29816" y="17325"/>
                    </a:lnTo>
                    <a:lnTo>
                      <a:pt x="29900" y="17283"/>
                    </a:lnTo>
                    <a:lnTo>
                      <a:pt x="29942" y="17242"/>
                    </a:lnTo>
                    <a:lnTo>
                      <a:pt x="30025" y="17242"/>
                    </a:lnTo>
                    <a:lnTo>
                      <a:pt x="30067" y="17095"/>
                    </a:lnTo>
                    <a:lnTo>
                      <a:pt x="30067" y="16970"/>
                    </a:lnTo>
                    <a:lnTo>
                      <a:pt x="30172" y="16886"/>
                    </a:lnTo>
                    <a:lnTo>
                      <a:pt x="30214" y="16802"/>
                    </a:lnTo>
                    <a:lnTo>
                      <a:pt x="30277" y="16802"/>
                    </a:lnTo>
                    <a:lnTo>
                      <a:pt x="30339" y="16865"/>
                    </a:lnTo>
                    <a:lnTo>
                      <a:pt x="30381" y="16802"/>
                    </a:lnTo>
                    <a:lnTo>
                      <a:pt x="30444" y="16781"/>
                    </a:lnTo>
                    <a:lnTo>
                      <a:pt x="30486" y="16802"/>
                    </a:lnTo>
                    <a:lnTo>
                      <a:pt x="30528" y="16907"/>
                    </a:lnTo>
                    <a:lnTo>
                      <a:pt x="30444" y="16970"/>
                    </a:lnTo>
                    <a:lnTo>
                      <a:pt x="30381" y="17011"/>
                    </a:lnTo>
                    <a:lnTo>
                      <a:pt x="30465" y="17074"/>
                    </a:lnTo>
                    <a:lnTo>
                      <a:pt x="30632" y="17074"/>
                    </a:lnTo>
                    <a:lnTo>
                      <a:pt x="30695" y="17095"/>
                    </a:lnTo>
                    <a:lnTo>
                      <a:pt x="30737" y="17179"/>
                    </a:lnTo>
                    <a:lnTo>
                      <a:pt x="30653" y="17283"/>
                    </a:lnTo>
                    <a:lnTo>
                      <a:pt x="30569" y="17304"/>
                    </a:lnTo>
                    <a:lnTo>
                      <a:pt x="30569" y="17430"/>
                    </a:lnTo>
                    <a:lnTo>
                      <a:pt x="30653" y="17451"/>
                    </a:lnTo>
                    <a:lnTo>
                      <a:pt x="30695" y="17430"/>
                    </a:lnTo>
                    <a:lnTo>
                      <a:pt x="30779" y="17430"/>
                    </a:lnTo>
                    <a:lnTo>
                      <a:pt x="30800" y="17451"/>
                    </a:lnTo>
                    <a:lnTo>
                      <a:pt x="30883" y="17430"/>
                    </a:lnTo>
                    <a:lnTo>
                      <a:pt x="30904" y="17514"/>
                    </a:lnTo>
                    <a:lnTo>
                      <a:pt x="31009" y="17514"/>
                    </a:lnTo>
                    <a:lnTo>
                      <a:pt x="31072" y="17555"/>
                    </a:lnTo>
                    <a:lnTo>
                      <a:pt x="31113" y="17555"/>
                    </a:lnTo>
                    <a:lnTo>
                      <a:pt x="31260" y="17639"/>
                    </a:lnTo>
                    <a:lnTo>
                      <a:pt x="31302" y="17618"/>
                    </a:lnTo>
                    <a:lnTo>
                      <a:pt x="31365" y="17493"/>
                    </a:lnTo>
                    <a:lnTo>
                      <a:pt x="31406" y="17451"/>
                    </a:lnTo>
                    <a:lnTo>
                      <a:pt x="31490" y="17346"/>
                    </a:lnTo>
                    <a:lnTo>
                      <a:pt x="31595" y="17346"/>
                    </a:lnTo>
                    <a:lnTo>
                      <a:pt x="31616" y="17304"/>
                    </a:lnTo>
                    <a:lnTo>
                      <a:pt x="31532" y="17283"/>
                    </a:lnTo>
                    <a:lnTo>
                      <a:pt x="31490" y="17200"/>
                    </a:lnTo>
                    <a:lnTo>
                      <a:pt x="31574" y="17179"/>
                    </a:lnTo>
                    <a:lnTo>
                      <a:pt x="31595" y="17095"/>
                    </a:lnTo>
                    <a:lnTo>
                      <a:pt x="31511" y="17053"/>
                    </a:lnTo>
                    <a:lnTo>
                      <a:pt x="31469" y="16990"/>
                    </a:lnTo>
                    <a:lnTo>
                      <a:pt x="31406" y="17011"/>
                    </a:lnTo>
                    <a:lnTo>
                      <a:pt x="31406" y="17095"/>
                    </a:lnTo>
                    <a:lnTo>
                      <a:pt x="31365" y="17116"/>
                    </a:lnTo>
                    <a:lnTo>
                      <a:pt x="31302" y="17095"/>
                    </a:lnTo>
                    <a:lnTo>
                      <a:pt x="31197" y="17032"/>
                    </a:lnTo>
                    <a:lnTo>
                      <a:pt x="31197" y="16970"/>
                    </a:lnTo>
                    <a:lnTo>
                      <a:pt x="31155" y="16990"/>
                    </a:lnTo>
                    <a:lnTo>
                      <a:pt x="31072" y="17074"/>
                    </a:lnTo>
                    <a:lnTo>
                      <a:pt x="30883" y="17074"/>
                    </a:lnTo>
                    <a:lnTo>
                      <a:pt x="30800" y="17011"/>
                    </a:lnTo>
                    <a:lnTo>
                      <a:pt x="30904" y="16970"/>
                    </a:lnTo>
                    <a:lnTo>
                      <a:pt x="30988" y="16970"/>
                    </a:lnTo>
                    <a:lnTo>
                      <a:pt x="31072" y="16907"/>
                    </a:lnTo>
                    <a:lnTo>
                      <a:pt x="31072" y="16823"/>
                    </a:lnTo>
                    <a:lnTo>
                      <a:pt x="31051" y="16802"/>
                    </a:lnTo>
                    <a:lnTo>
                      <a:pt x="31051" y="16677"/>
                    </a:lnTo>
                    <a:lnTo>
                      <a:pt x="31072" y="16593"/>
                    </a:lnTo>
                    <a:lnTo>
                      <a:pt x="31072" y="16551"/>
                    </a:lnTo>
                    <a:lnTo>
                      <a:pt x="31009" y="16488"/>
                    </a:lnTo>
                    <a:lnTo>
                      <a:pt x="31009" y="16405"/>
                    </a:lnTo>
                    <a:lnTo>
                      <a:pt x="30862" y="16258"/>
                    </a:lnTo>
                    <a:lnTo>
                      <a:pt x="30737" y="16195"/>
                    </a:lnTo>
                    <a:lnTo>
                      <a:pt x="30737" y="16153"/>
                    </a:lnTo>
                    <a:lnTo>
                      <a:pt x="30695" y="16028"/>
                    </a:lnTo>
                    <a:lnTo>
                      <a:pt x="30632" y="16028"/>
                    </a:lnTo>
                    <a:lnTo>
                      <a:pt x="30590" y="15944"/>
                    </a:lnTo>
                    <a:lnTo>
                      <a:pt x="30632" y="15819"/>
                    </a:lnTo>
                    <a:lnTo>
                      <a:pt x="30590" y="15735"/>
                    </a:lnTo>
                    <a:lnTo>
                      <a:pt x="30465" y="15735"/>
                    </a:lnTo>
                    <a:lnTo>
                      <a:pt x="30277" y="15651"/>
                    </a:lnTo>
                    <a:lnTo>
                      <a:pt x="30235" y="15547"/>
                    </a:lnTo>
                    <a:lnTo>
                      <a:pt x="30277" y="15505"/>
                    </a:lnTo>
                    <a:lnTo>
                      <a:pt x="30277" y="15442"/>
                    </a:lnTo>
                    <a:lnTo>
                      <a:pt x="30214" y="15358"/>
                    </a:lnTo>
                    <a:lnTo>
                      <a:pt x="30172" y="15296"/>
                    </a:lnTo>
                    <a:lnTo>
                      <a:pt x="30151" y="15296"/>
                    </a:lnTo>
                    <a:lnTo>
                      <a:pt x="30046" y="15421"/>
                    </a:lnTo>
                    <a:lnTo>
                      <a:pt x="30025" y="15526"/>
                    </a:lnTo>
                    <a:lnTo>
                      <a:pt x="29963" y="15568"/>
                    </a:lnTo>
                    <a:lnTo>
                      <a:pt x="29921" y="15526"/>
                    </a:lnTo>
                    <a:lnTo>
                      <a:pt x="29921" y="15400"/>
                    </a:lnTo>
                    <a:lnTo>
                      <a:pt x="29858" y="15296"/>
                    </a:lnTo>
                    <a:lnTo>
                      <a:pt x="29900" y="15212"/>
                    </a:lnTo>
                    <a:lnTo>
                      <a:pt x="30025" y="15212"/>
                    </a:lnTo>
                    <a:lnTo>
                      <a:pt x="30005" y="15128"/>
                    </a:lnTo>
                    <a:lnTo>
                      <a:pt x="30025" y="15024"/>
                    </a:lnTo>
                    <a:lnTo>
                      <a:pt x="30005" y="14919"/>
                    </a:lnTo>
                    <a:lnTo>
                      <a:pt x="29900" y="14940"/>
                    </a:lnTo>
                    <a:lnTo>
                      <a:pt x="29900" y="14877"/>
                    </a:lnTo>
                    <a:lnTo>
                      <a:pt x="29963" y="14773"/>
                    </a:lnTo>
                    <a:lnTo>
                      <a:pt x="29921" y="14731"/>
                    </a:lnTo>
                    <a:lnTo>
                      <a:pt x="29712" y="14814"/>
                    </a:lnTo>
                    <a:cubicBezTo>
                      <a:pt x="29691" y="14773"/>
                      <a:pt x="29628" y="14731"/>
                      <a:pt x="29607" y="14689"/>
                    </a:cubicBezTo>
                    <a:lnTo>
                      <a:pt x="29712" y="14605"/>
                    </a:lnTo>
                    <a:lnTo>
                      <a:pt x="29795" y="14584"/>
                    </a:lnTo>
                    <a:lnTo>
                      <a:pt x="29858" y="14417"/>
                    </a:lnTo>
                    <a:lnTo>
                      <a:pt x="29816" y="14312"/>
                    </a:lnTo>
                    <a:lnTo>
                      <a:pt x="29691" y="14291"/>
                    </a:lnTo>
                    <a:lnTo>
                      <a:pt x="29628" y="14208"/>
                    </a:lnTo>
                    <a:lnTo>
                      <a:pt x="29628" y="14103"/>
                    </a:lnTo>
                    <a:lnTo>
                      <a:pt x="29691" y="14082"/>
                    </a:lnTo>
                    <a:lnTo>
                      <a:pt x="29649" y="13998"/>
                    </a:lnTo>
                    <a:lnTo>
                      <a:pt x="29691" y="13915"/>
                    </a:lnTo>
                    <a:lnTo>
                      <a:pt x="29816" y="13998"/>
                    </a:lnTo>
                    <a:lnTo>
                      <a:pt x="29921" y="13977"/>
                    </a:lnTo>
                    <a:lnTo>
                      <a:pt x="30025" y="14061"/>
                    </a:lnTo>
                    <a:lnTo>
                      <a:pt x="30151" y="14061"/>
                    </a:lnTo>
                    <a:lnTo>
                      <a:pt x="30318" y="13977"/>
                    </a:lnTo>
                    <a:lnTo>
                      <a:pt x="30318" y="14019"/>
                    </a:lnTo>
                    <a:lnTo>
                      <a:pt x="30360" y="14061"/>
                    </a:lnTo>
                    <a:lnTo>
                      <a:pt x="30339" y="14082"/>
                    </a:lnTo>
                    <a:lnTo>
                      <a:pt x="30277" y="14249"/>
                    </a:lnTo>
                    <a:lnTo>
                      <a:pt x="30277" y="14312"/>
                    </a:lnTo>
                    <a:lnTo>
                      <a:pt x="30360" y="14291"/>
                    </a:lnTo>
                    <a:lnTo>
                      <a:pt x="30381" y="14354"/>
                    </a:lnTo>
                    <a:lnTo>
                      <a:pt x="30465" y="14375"/>
                    </a:lnTo>
                    <a:lnTo>
                      <a:pt x="30590" y="14459"/>
                    </a:lnTo>
                    <a:lnTo>
                      <a:pt x="30632" y="14354"/>
                    </a:lnTo>
                    <a:lnTo>
                      <a:pt x="30528" y="14249"/>
                    </a:lnTo>
                    <a:lnTo>
                      <a:pt x="30590" y="14145"/>
                    </a:lnTo>
                    <a:lnTo>
                      <a:pt x="30632" y="14208"/>
                    </a:lnTo>
                    <a:lnTo>
                      <a:pt x="30695" y="14249"/>
                    </a:lnTo>
                    <a:lnTo>
                      <a:pt x="30737" y="14354"/>
                    </a:lnTo>
                    <a:lnTo>
                      <a:pt x="30904" y="14501"/>
                    </a:lnTo>
                    <a:lnTo>
                      <a:pt x="30967" y="14501"/>
                    </a:lnTo>
                    <a:lnTo>
                      <a:pt x="30967" y="14417"/>
                    </a:lnTo>
                    <a:lnTo>
                      <a:pt x="30946" y="14375"/>
                    </a:lnTo>
                    <a:lnTo>
                      <a:pt x="30988" y="14291"/>
                    </a:lnTo>
                    <a:lnTo>
                      <a:pt x="30967" y="14145"/>
                    </a:lnTo>
                    <a:lnTo>
                      <a:pt x="30904" y="14103"/>
                    </a:lnTo>
                    <a:lnTo>
                      <a:pt x="30946" y="13957"/>
                    </a:lnTo>
                    <a:lnTo>
                      <a:pt x="30862" y="13768"/>
                    </a:lnTo>
                    <a:lnTo>
                      <a:pt x="30758" y="13726"/>
                    </a:lnTo>
                    <a:lnTo>
                      <a:pt x="30758" y="13622"/>
                    </a:lnTo>
                    <a:lnTo>
                      <a:pt x="30695" y="13580"/>
                    </a:lnTo>
                    <a:lnTo>
                      <a:pt x="30549" y="13685"/>
                    </a:lnTo>
                    <a:lnTo>
                      <a:pt x="30486" y="13685"/>
                    </a:lnTo>
                    <a:lnTo>
                      <a:pt x="30590" y="13538"/>
                    </a:lnTo>
                    <a:lnTo>
                      <a:pt x="30695" y="13538"/>
                    </a:lnTo>
                    <a:lnTo>
                      <a:pt x="30737" y="13559"/>
                    </a:lnTo>
                    <a:lnTo>
                      <a:pt x="30841" y="13517"/>
                    </a:lnTo>
                    <a:lnTo>
                      <a:pt x="30925" y="13622"/>
                    </a:lnTo>
                    <a:lnTo>
                      <a:pt x="30967" y="13643"/>
                    </a:lnTo>
                    <a:lnTo>
                      <a:pt x="30967" y="13873"/>
                    </a:lnTo>
                    <a:lnTo>
                      <a:pt x="31009" y="13873"/>
                    </a:lnTo>
                    <a:lnTo>
                      <a:pt x="31155" y="13768"/>
                    </a:lnTo>
                    <a:lnTo>
                      <a:pt x="31051" y="13936"/>
                    </a:lnTo>
                    <a:lnTo>
                      <a:pt x="31051" y="13998"/>
                    </a:lnTo>
                    <a:lnTo>
                      <a:pt x="30967" y="14040"/>
                    </a:lnTo>
                    <a:lnTo>
                      <a:pt x="30967" y="14082"/>
                    </a:lnTo>
                    <a:lnTo>
                      <a:pt x="31051" y="14166"/>
                    </a:lnTo>
                    <a:lnTo>
                      <a:pt x="31072" y="14291"/>
                    </a:lnTo>
                    <a:lnTo>
                      <a:pt x="31009" y="14375"/>
                    </a:lnTo>
                    <a:lnTo>
                      <a:pt x="31072" y="14417"/>
                    </a:lnTo>
                    <a:lnTo>
                      <a:pt x="31365" y="14354"/>
                    </a:lnTo>
                    <a:lnTo>
                      <a:pt x="31406" y="14249"/>
                    </a:lnTo>
                    <a:lnTo>
                      <a:pt x="31511" y="14249"/>
                    </a:lnTo>
                    <a:lnTo>
                      <a:pt x="31574" y="14270"/>
                    </a:lnTo>
                    <a:lnTo>
                      <a:pt x="31720" y="14082"/>
                    </a:lnTo>
                    <a:lnTo>
                      <a:pt x="31804" y="14082"/>
                    </a:lnTo>
                    <a:lnTo>
                      <a:pt x="31846" y="13998"/>
                    </a:lnTo>
                    <a:lnTo>
                      <a:pt x="31950" y="13936"/>
                    </a:lnTo>
                    <a:lnTo>
                      <a:pt x="31992" y="13789"/>
                    </a:lnTo>
                    <a:lnTo>
                      <a:pt x="32055" y="13747"/>
                    </a:lnTo>
                    <a:lnTo>
                      <a:pt x="32243" y="13747"/>
                    </a:lnTo>
                    <a:lnTo>
                      <a:pt x="32348" y="13789"/>
                    </a:lnTo>
                    <a:lnTo>
                      <a:pt x="32411" y="13726"/>
                    </a:lnTo>
                    <a:lnTo>
                      <a:pt x="32369" y="13622"/>
                    </a:lnTo>
                    <a:lnTo>
                      <a:pt x="32536" y="13475"/>
                    </a:lnTo>
                    <a:lnTo>
                      <a:pt x="32557" y="13413"/>
                    </a:lnTo>
                    <a:lnTo>
                      <a:pt x="32620" y="13371"/>
                    </a:lnTo>
                    <a:lnTo>
                      <a:pt x="32641" y="13245"/>
                    </a:lnTo>
                    <a:lnTo>
                      <a:pt x="32515" y="13015"/>
                    </a:lnTo>
                    <a:lnTo>
                      <a:pt x="32536" y="12931"/>
                    </a:lnTo>
                    <a:lnTo>
                      <a:pt x="32411" y="12827"/>
                    </a:lnTo>
                    <a:lnTo>
                      <a:pt x="32369" y="12701"/>
                    </a:lnTo>
                    <a:lnTo>
                      <a:pt x="32432" y="12596"/>
                    </a:lnTo>
                    <a:lnTo>
                      <a:pt x="32557" y="12534"/>
                    </a:lnTo>
                    <a:lnTo>
                      <a:pt x="32578" y="12471"/>
                    </a:lnTo>
                    <a:lnTo>
                      <a:pt x="32557" y="12471"/>
                    </a:lnTo>
                    <a:lnTo>
                      <a:pt x="32474" y="12534"/>
                    </a:lnTo>
                    <a:lnTo>
                      <a:pt x="32453" y="12534"/>
                    </a:lnTo>
                    <a:lnTo>
                      <a:pt x="32453" y="12471"/>
                    </a:lnTo>
                    <a:lnTo>
                      <a:pt x="32536" y="12366"/>
                    </a:lnTo>
                    <a:lnTo>
                      <a:pt x="32432" y="12366"/>
                    </a:lnTo>
                    <a:lnTo>
                      <a:pt x="32515" y="12283"/>
                    </a:lnTo>
                    <a:lnTo>
                      <a:pt x="32536" y="12199"/>
                    </a:lnTo>
                    <a:lnTo>
                      <a:pt x="32453" y="12157"/>
                    </a:lnTo>
                    <a:lnTo>
                      <a:pt x="32348" y="12115"/>
                    </a:lnTo>
                    <a:lnTo>
                      <a:pt x="32411" y="12094"/>
                    </a:lnTo>
                    <a:lnTo>
                      <a:pt x="32411" y="11990"/>
                    </a:lnTo>
                    <a:lnTo>
                      <a:pt x="32474" y="11990"/>
                    </a:lnTo>
                    <a:lnTo>
                      <a:pt x="32515" y="12052"/>
                    </a:lnTo>
                    <a:lnTo>
                      <a:pt x="32620" y="12052"/>
                    </a:lnTo>
                    <a:lnTo>
                      <a:pt x="32683" y="12157"/>
                    </a:lnTo>
                    <a:lnTo>
                      <a:pt x="32766" y="12178"/>
                    </a:lnTo>
                    <a:lnTo>
                      <a:pt x="32829" y="12094"/>
                    </a:lnTo>
                    <a:lnTo>
                      <a:pt x="32892" y="12115"/>
                    </a:lnTo>
                    <a:lnTo>
                      <a:pt x="33059" y="12073"/>
                    </a:lnTo>
                    <a:lnTo>
                      <a:pt x="33185" y="11990"/>
                    </a:lnTo>
                    <a:lnTo>
                      <a:pt x="33143" y="11948"/>
                    </a:lnTo>
                    <a:lnTo>
                      <a:pt x="33206" y="11843"/>
                    </a:lnTo>
                    <a:lnTo>
                      <a:pt x="33185" y="11801"/>
                    </a:lnTo>
                    <a:lnTo>
                      <a:pt x="33143" y="11801"/>
                    </a:lnTo>
                    <a:lnTo>
                      <a:pt x="33143" y="11739"/>
                    </a:lnTo>
                    <a:lnTo>
                      <a:pt x="33080" y="11697"/>
                    </a:lnTo>
                    <a:lnTo>
                      <a:pt x="32934" y="11697"/>
                    </a:lnTo>
                    <a:lnTo>
                      <a:pt x="32997" y="11655"/>
                    </a:lnTo>
                    <a:lnTo>
                      <a:pt x="33101" y="11634"/>
                    </a:lnTo>
                    <a:lnTo>
                      <a:pt x="33290" y="11488"/>
                    </a:lnTo>
                    <a:lnTo>
                      <a:pt x="33373" y="11383"/>
                    </a:lnTo>
                    <a:lnTo>
                      <a:pt x="33352" y="11341"/>
                    </a:lnTo>
                    <a:lnTo>
                      <a:pt x="33290" y="11320"/>
                    </a:lnTo>
                    <a:lnTo>
                      <a:pt x="33269" y="11236"/>
                    </a:lnTo>
                    <a:lnTo>
                      <a:pt x="33080" y="11174"/>
                    </a:lnTo>
                    <a:lnTo>
                      <a:pt x="32976" y="11216"/>
                    </a:lnTo>
                    <a:lnTo>
                      <a:pt x="32934" y="11174"/>
                    </a:lnTo>
                    <a:lnTo>
                      <a:pt x="33038" y="11153"/>
                    </a:lnTo>
                    <a:lnTo>
                      <a:pt x="33038" y="11027"/>
                    </a:lnTo>
                    <a:lnTo>
                      <a:pt x="32808" y="10860"/>
                    </a:lnTo>
                    <a:lnTo>
                      <a:pt x="32808" y="10818"/>
                    </a:lnTo>
                    <a:lnTo>
                      <a:pt x="32871" y="10818"/>
                    </a:lnTo>
                    <a:lnTo>
                      <a:pt x="32955" y="10902"/>
                    </a:lnTo>
                    <a:lnTo>
                      <a:pt x="33038" y="10860"/>
                    </a:lnTo>
                    <a:lnTo>
                      <a:pt x="32955" y="10797"/>
                    </a:lnTo>
                    <a:lnTo>
                      <a:pt x="33018" y="10755"/>
                    </a:lnTo>
                    <a:lnTo>
                      <a:pt x="33018" y="10713"/>
                    </a:lnTo>
                    <a:lnTo>
                      <a:pt x="32871" y="10651"/>
                    </a:lnTo>
                    <a:lnTo>
                      <a:pt x="32766" y="10588"/>
                    </a:lnTo>
                    <a:lnTo>
                      <a:pt x="32662" y="10651"/>
                    </a:lnTo>
                    <a:lnTo>
                      <a:pt x="32515" y="10588"/>
                    </a:lnTo>
                    <a:cubicBezTo>
                      <a:pt x="32536" y="10546"/>
                      <a:pt x="32536" y="10525"/>
                      <a:pt x="32536" y="10504"/>
                    </a:cubicBezTo>
                    <a:lnTo>
                      <a:pt x="32599" y="10504"/>
                    </a:lnTo>
                    <a:lnTo>
                      <a:pt x="32620" y="10483"/>
                    </a:lnTo>
                    <a:lnTo>
                      <a:pt x="32599" y="10420"/>
                    </a:lnTo>
                    <a:lnTo>
                      <a:pt x="32536" y="10420"/>
                    </a:lnTo>
                    <a:cubicBezTo>
                      <a:pt x="32536" y="10400"/>
                      <a:pt x="32536" y="10339"/>
                      <a:pt x="32517" y="10317"/>
                    </a:cubicBezTo>
                    <a:lnTo>
                      <a:pt x="32517" y="10317"/>
                    </a:lnTo>
                    <a:cubicBezTo>
                      <a:pt x="32518" y="10308"/>
                      <a:pt x="32523" y="10287"/>
                      <a:pt x="32536" y="10274"/>
                    </a:cubicBezTo>
                    <a:cubicBezTo>
                      <a:pt x="32536" y="10274"/>
                      <a:pt x="32536" y="10232"/>
                      <a:pt x="32557" y="10232"/>
                    </a:cubicBezTo>
                    <a:lnTo>
                      <a:pt x="32641" y="10316"/>
                    </a:lnTo>
                    <a:lnTo>
                      <a:pt x="32746" y="10274"/>
                    </a:lnTo>
                    <a:lnTo>
                      <a:pt x="32934" y="10232"/>
                    </a:lnTo>
                    <a:lnTo>
                      <a:pt x="32976" y="10337"/>
                    </a:lnTo>
                    <a:lnTo>
                      <a:pt x="33080" y="10379"/>
                    </a:lnTo>
                    <a:lnTo>
                      <a:pt x="33143" y="10441"/>
                    </a:lnTo>
                    <a:lnTo>
                      <a:pt x="33185" y="10420"/>
                    </a:lnTo>
                    <a:lnTo>
                      <a:pt x="33352" y="10525"/>
                    </a:lnTo>
                    <a:lnTo>
                      <a:pt x="33394" y="10483"/>
                    </a:lnTo>
                    <a:lnTo>
                      <a:pt x="33457" y="10504"/>
                    </a:lnTo>
                    <a:lnTo>
                      <a:pt x="33499" y="10420"/>
                    </a:lnTo>
                    <a:lnTo>
                      <a:pt x="33478" y="10337"/>
                    </a:lnTo>
                    <a:lnTo>
                      <a:pt x="33394" y="10295"/>
                    </a:lnTo>
                    <a:lnTo>
                      <a:pt x="33310" y="10190"/>
                    </a:lnTo>
                    <a:lnTo>
                      <a:pt x="33269" y="10107"/>
                    </a:lnTo>
                    <a:lnTo>
                      <a:pt x="33059" y="9918"/>
                    </a:lnTo>
                    <a:lnTo>
                      <a:pt x="33038" y="9855"/>
                    </a:lnTo>
                    <a:lnTo>
                      <a:pt x="33038" y="9855"/>
                    </a:lnTo>
                    <a:lnTo>
                      <a:pt x="33101" y="9897"/>
                    </a:lnTo>
                    <a:lnTo>
                      <a:pt x="33143" y="9960"/>
                    </a:lnTo>
                    <a:lnTo>
                      <a:pt x="33206" y="9981"/>
                    </a:lnTo>
                    <a:lnTo>
                      <a:pt x="33310" y="10107"/>
                    </a:lnTo>
                    <a:lnTo>
                      <a:pt x="33394" y="10127"/>
                    </a:lnTo>
                    <a:lnTo>
                      <a:pt x="33415" y="10190"/>
                    </a:lnTo>
                    <a:lnTo>
                      <a:pt x="33499" y="10295"/>
                    </a:lnTo>
                    <a:lnTo>
                      <a:pt x="33603" y="10400"/>
                    </a:lnTo>
                    <a:lnTo>
                      <a:pt x="33624" y="10462"/>
                    </a:lnTo>
                    <a:lnTo>
                      <a:pt x="33687" y="10504"/>
                    </a:lnTo>
                    <a:lnTo>
                      <a:pt x="33792" y="10609"/>
                    </a:lnTo>
                    <a:lnTo>
                      <a:pt x="33834" y="10713"/>
                    </a:lnTo>
                    <a:lnTo>
                      <a:pt x="33938" y="10713"/>
                    </a:lnTo>
                    <a:lnTo>
                      <a:pt x="33980" y="10672"/>
                    </a:lnTo>
                    <a:lnTo>
                      <a:pt x="33917" y="10546"/>
                    </a:lnTo>
                    <a:lnTo>
                      <a:pt x="33834" y="10337"/>
                    </a:lnTo>
                    <a:lnTo>
                      <a:pt x="34001" y="10358"/>
                    </a:lnTo>
                    <a:lnTo>
                      <a:pt x="34189" y="10462"/>
                    </a:lnTo>
                    <a:lnTo>
                      <a:pt x="34357" y="10462"/>
                    </a:lnTo>
                    <a:lnTo>
                      <a:pt x="34357" y="10567"/>
                    </a:lnTo>
                    <a:lnTo>
                      <a:pt x="34336" y="10630"/>
                    </a:lnTo>
                    <a:lnTo>
                      <a:pt x="34440" y="10713"/>
                    </a:lnTo>
                    <a:lnTo>
                      <a:pt x="34545" y="10713"/>
                    </a:lnTo>
                    <a:lnTo>
                      <a:pt x="34566" y="10734"/>
                    </a:lnTo>
                    <a:lnTo>
                      <a:pt x="34838" y="10734"/>
                    </a:lnTo>
                    <a:lnTo>
                      <a:pt x="34922" y="10672"/>
                    </a:lnTo>
                    <a:lnTo>
                      <a:pt x="34984" y="10546"/>
                    </a:lnTo>
                    <a:lnTo>
                      <a:pt x="34984" y="10441"/>
                    </a:lnTo>
                    <a:lnTo>
                      <a:pt x="35026" y="10337"/>
                    </a:lnTo>
                    <a:lnTo>
                      <a:pt x="34963" y="10295"/>
                    </a:lnTo>
                    <a:lnTo>
                      <a:pt x="34880" y="10086"/>
                    </a:lnTo>
                    <a:lnTo>
                      <a:pt x="34838" y="10086"/>
                    </a:lnTo>
                    <a:lnTo>
                      <a:pt x="34754" y="9939"/>
                    </a:lnTo>
                    <a:lnTo>
                      <a:pt x="34775" y="9814"/>
                    </a:lnTo>
                    <a:lnTo>
                      <a:pt x="34838" y="9793"/>
                    </a:lnTo>
                    <a:lnTo>
                      <a:pt x="34838" y="9709"/>
                    </a:lnTo>
                    <a:lnTo>
                      <a:pt x="34859" y="9688"/>
                    </a:lnTo>
                    <a:lnTo>
                      <a:pt x="34922" y="9730"/>
                    </a:lnTo>
                    <a:lnTo>
                      <a:pt x="34943" y="9835"/>
                    </a:lnTo>
                    <a:lnTo>
                      <a:pt x="34984" y="9730"/>
                    </a:lnTo>
                    <a:lnTo>
                      <a:pt x="34984" y="9583"/>
                    </a:lnTo>
                    <a:lnTo>
                      <a:pt x="35047" y="9542"/>
                    </a:lnTo>
                    <a:lnTo>
                      <a:pt x="35089" y="9500"/>
                    </a:lnTo>
                    <a:lnTo>
                      <a:pt x="35089" y="9604"/>
                    </a:lnTo>
                    <a:lnTo>
                      <a:pt x="35131" y="9667"/>
                    </a:lnTo>
                    <a:lnTo>
                      <a:pt x="35089" y="9709"/>
                    </a:lnTo>
                    <a:lnTo>
                      <a:pt x="34984" y="9772"/>
                    </a:lnTo>
                    <a:lnTo>
                      <a:pt x="34963" y="9897"/>
                    </a:lnTo>
                    <a:lnTo>
                      <a:pt x="35026" y="9918"/>
                    </a:lnTo>
                    <a:lnTo>
                      <a:pt x="35068" y="10002"/>
                    </a:lnTo>
                    <a:lnTo>
                      <a:pt x="35068" y="10086"/>
                    </a:lnTo>
                    <a:lnTo>
                      <a:pt x="35194" y="10232"/>
                    </a:lnTo>
                    <a:lnTo>
                      <a:pt x="35256" y="10274"/>
                    </a:lnTo>
                    <a:lnTo>
                      <a:pt x="35256" y="10190"/>
                    </a:lnTo>
                    <a:lnTo>
                      <a:pt x="35298" y="10169"/>
                    </a:lnTo>
                    <a:lnTo>
                      <a:pt x="35361" y="10211"/>
                    </a:lnTo>
                    <a:lnTo>
                      <a:pt x="35466" y="10169"/>
                    </a:lnTo>
                    <a:lnTo>
                      <a:pt x="35487" y="10211"/>
                    </a:lnTo>
                    <a:lnTo>
                      <a:pt x="35466" y="10253"/>
                    </a:lnTo>
                    <a:lnTo>
                      <a:pt x="35466" y="10358"/>
                    </a:lnTo>
                    <a:lnTo>
                      <a:pt x="35403" y="10525"/>
                    </a:lnTo>
                    <a:lnTo>
                      <a:pt x="35403" y="10567"/>
                    </a:lnTo>
                    <a:lnTo>
                      <a:pt x="35298" y="10734"/>
                    </a:lnTo>
                    <a:lnTo>
                      <a:pt x="35235" y="10923"/>
                    </a:lnTo>
                    <a:lnTo>
                      <a:pt x="35235" y="10964"/>
                    </a:lnTo>
                    <a:lnTo>
                      <a:pt x="35256" y="10964"/>
                    </a:lnTo>
                    <a:lnTo>
                      <a:pt x="35298" y="10860"/>
                    </a:lnTo>
                    <a:lnTo>
                      <a:pt x="35403" y="10902"/>
                    </a:lnTo>
                    <a:lnTo>
                      <a:pt x="35403" y="10923"/>
                    </a:lnTo>
                    <a:lnTo>
                      <a:pt x="35487" y="10923"/>
                    </a:lnTo>
                    <a:lnTo>
                      <a:pt x="35549" y="11006"/>
                    </a:lnTo>
                    <a:lnTo>
                      <a:pt x="35696" y="11027"/>
                    </a:lnTo>
                    <a:lnTo>
                      <a:pt x="35591" y="11069"/>
                    </a:lnTo>
                    <a:lnTo>
                      <a:pt x="35570" y="11132"/>
                    </a:lnTo>
                    <a:lnTo>
                      <a:pt x="35507" y="11153"/>
                    </a:lnTo>
                    <a:lnTo>
                      <a:pt x="35466" y="11111"/>
                    </a:lnTo>
                    <a:lnTo>
                      <a:pt x="35382" y="11132"/>
                    </a:lnTo>
                    <a:lnTo>
                      <a:pt x="35403" y="11216"/>
                    </a:lnTo>
                    <a:lnTo>
                      <a:pt x="35466" y="11236"/>
                    </a:lnTo>
                    <a:lnTo>
                      <a:pt x="35487" y="11257"/>
                    </a:lnTo>
                    <a:lnTo>
                      <a:pt x="35591" y="11257"/>
                    </a:lnTo>
                    <a:lnTo>
                      <a:pt x="35591" y="11341"/>
                    </a:lnTo>
                    <a:lnTo>
                      <a:pt x="35612" y="11383"/>
                    </a:lnTo>
                    <a:lnTo>
                      <a:pt x="35612" y="11467"/>
                    </a:lnTo>
                    <a:lnTo>
                      <a:pt x="35675" y="11550"/>
                    </a:lnTo>
                    <a:lnTo>
                      <a:pt x="35779" y="11571"/>
                    </a:lnTo>
                    <a:lnTo>
                      <a:pt x="35821" y="11655"/>
                    </a:lnTo>
                    <a:lnTo>
                      <a:pt x="35863" y="11739"/>
                    </a:lnTo>
                    <a:lnTo>
                      <a:pt x="35821" y="11843"/>
                    </a:lnTo>
                    <a:lnTo>
                      <a:pt x="35759" y="11906"/>
                    </a:lnTo>
                    <a:lnTo>
                      <a:pt x="35675" y="11906"/>
                    </a:lnTo>
                    <a:lnTo>
                      <a:pt x="35612" y="11948"/>
                    </a:lnTo>
                    <a:lnTo>
                      <a:pt x="35570" y="11906"/>
                    </a:lnTo>
                    <a:lnTo>
                      <a:pt x="35487" y="11885"/>
                    </a:lnTo>
                    <a:lnTo>
                      <a:pt x="35445" y="11906"/>
                    </a:lnTo>
                    <a:lnTo>
                      <a:pt x="35361" y="12011"/>
                    </a:lnTo>
                    <a:lnTo>
                      <a:pt x="35403" y="12052"/>
                    </a:lnTo>
                    <a:lnTo>
                      <a:pt x="35403" y="12094"/>
                    </a:lnTo>
                    <a:lnTo>
                      <a:pt x="35361" y="12178"/>
                    </a:lnTo>
                    <a:lnTo>
                      <a:pt x="35382" y="12220"/>
                    </a:lnTo>
                    <a:lnTo>
                      <a:pt x="35445" y="12220"/>
                    </a:lnTo>
                    <a:lnTo>
                      <a:pt x="35466" y="12199"/>
                    </a:lnTo>
                    <a:lnTo>
                      <a:pt x="35549" y="12178"/>
                    </a:lnTo>
                    <a:lnTo>
                      <a:pt x="35654" y="12178"/>
                    </a:lnTo>
                    <a:lnTo>
                      <a:pt x="35717" y="12115"/>
                    </a:lnTo>
                    <a:lnTo>
                      <a:pt x="35800" y="12115"/>
                    </a:lnTo>
                    <a:lnTo>
                      <a:pt x="35863" y="12011"/>
                    </a:lnTo>
                    <a:lnTo>
                      <a:pt x="35905" y="11990"/>
                    </a:lnTo>
                    <a:lnTo>
                      <a:pt x="35926" y="12115"/>
                    </a:lnTo>
                    <a:lnTo>
                      <a:pt x="35989" y="12157"/>
                    </a:lnTo>
                    <a:lnTo>
                      <a:pt x="36072" y="12094"/>
                    </a:lnTo>
                    <a:lnTo>
                      <a:pt x="36135" y="11969"/>
                    </a:lnTo>
                    <a:lnTo>
                      <a:pt x="36240" y="11885"/>
                    </a:lnTo>
                    <a:lnTo>
                      <a:pt x="36303" y="11948"/>
                    </a:lnTo>
                    <a:lnTo>
                      <a:pt x="36303" y="11990"/>
                    </a:lnTo>
                    <a:lnTo>
                      <a:pt x="36219" y="12011"/>
                    </a:lnTo>
                    <a:lnTo>
                      <a:pt x="36177" y="12073"/>
                    </a:lnTo>
                    <a:lnTo>
                      <a:pt x="36219" y="12094"/>
                    </a:lnTo>
                    <a:lnTo>
                      <a:pt x="36219" y="12157"/>
                    </a:lnTo>
                    <a:lnTo>
                      <a:pt x="36093" y="12199"/>
                    </a:lnTo>
                    <a:lnTo>
                      <a:pt x="36072" y="12220"/>
                    </a:lnTo>
                    <a:lnTo>
                      <a:pt x="36219" y="12199"/>
                    </a:lnTo>
                    <a:lnTo>
                      <a:pt x="36240" y="12283"/>
                    </a:lnTo>
                    <a:lnTo>
                      <a:pt x="36135" y="12366"/>
                    </a:lnTo>
                    <a:lnTo>
                      <a:pt x="36177" y="12492"/>
                    </a:lnTo>
                    <a:lnTo>
                      <a:pt x="36219" y="12513"/>
                    </a:lnTo>
                    <a:lnTo>
                      <a:pt x="36282" y="12617"/>
                    </a:lnTo>
                    <a:lnTo>
                      <a:pt x="36407" y="12596"/>
                    </a:lnTo>
                    <a:lnTo>
                      <a:pt x="36428" y="12534"/>
                    </a:lnTo>
                    <a:lnTo>
                      <a:pt x="36407" y="12471"/>
                    </a:lnTo>
                    <a:lnTo>
                      <a:pt x="36407" y="12387"/>
                    </a:lnTo>
                    <a:lnTo>
                      <a:pt x="36449" y="12366"/>
                    </a:lnTo>
                    <a:lnTo>
                      <a:pt x="36595" y="12471"/>
                    </a:lnTo>
                    <a:lnTo>
                      <a:pt x="36595" y="12534"/>
                    </a:lnTo>
                    <a:lnTo>
                      <a:pt x="36533" y="12638"/>
                    </a:lnTo>
                    <a:lnTo>
                      <a:pt x="36616" y="12701"/>
                    </a:lnTo>
                    <a:lnTo>
                      <a:pt x="36637" y="12743"/>
                    </a:lnTo>
                    <a:lnTo>
                      <a:pt x="36491" y="12827"/>
                    </a:lnTo>
                    <a:lnTo>
                      <a:pt x="36449" y="12889"/>
                    </a:lnTo>
                    <a:lnTo>
                      <a:pt x="36533" y="12952"/>
                    </a:lnTo>
                    <a:lnTo>
                      <a:pt x="36763" y="12952"/>
                    </a:lnTo>
                    <a:lnTo>
                      <a:pt x="36826" y="12994"/>
                    </a:lnTo>
                    <a:lnTo>
                      <a:pt x="36826" y="13099"/>
                    </a:lnTo>
                    <a:lnTo>
                      <a:pt x="36826" y="13161"/>
                    </a:lnTo>
                    <a:lnTo>
                      <a:pt x="36867" y="13140"/>
                    </a:lnTo>
                    <a:lnTo>
                      <a:pt x="36867" y="13057"/>
                    </a:lnTo>
                    <a:lnTo>
                      <a:pt x="36930" y="12994"/>
                    </a:lnTo>
                    <a:lnTo>
                      <a:pt x="36972" y="12994"/>
                    </a:lnTo>
                    <a:lnTo>
                      <a:pt x="36972" y="13057"/>
                    </a:lnTo>
                    <a:lnTo>
                      <a:pt x="36930" y="13161"/>
                    </a:lnTo>
                    <a:lnTo>
                      <a:pt x="36930" y="13245"/>
                    </a:lnTo>
                    <a:lnTo>
                      <a:pt x="36847" y="13266"/>
                    </a:lnTo>
                    <a:lnTo>
                      <a:pt x="36805" y="13433"/>
                    </a:lnTo>
                    <a:lnTo>
                      <a:pt x="36805" y="13475"/>
                    </a:lnTo>
                    <a:lnTo>
                      <a:pt x="36867" y="13517"/>
                    </a:lnTo>
                    <a:lnTo>
                      <a:pt x="36867" y="13622"/>
                    </a:lnTo>
                    <a:lnTo>
                      <a:pt x="36826" y="13726"/>
                    </a:lnTo>
                    <a:lnTo>
                      <a:pt x="36826" y="13831"/>
                    </a:lnTo>
                    <a:lnTo>
                      <a:pt x="36847" y="13852"/>
                    </a:lnTo>
                    <a:lnTo>
                      <a:pt x="36847" y="13873"/>
                    </a:lnTo>
                    <a:lnTo>
                      <a:pt x="36826" y="14082"/>
                    </a:lnTo>
                    <a:lnTo>
                      <a:pt x="36763" y="14166"/>
                    </a:lnTo>
                    <a:lnTo>
                      <a:pt x="36826" y="14270"/>
                    </a:lnTo>
                    <a:lnTo>
                      <a:pt x="36805" y="14354"/>
                    </a:lnTo>
                    <a:lnTo>
                      <a:pt x="36637" y="14396"/>
                    </a:lnTo>
                    <a:lnTo>
                      <a:pt x="36491" y="14375"/>
                    </a:lnTo>
                    <a:lnTo>
                      <a:pt x="36428" y="14396"/>
                    </a:lnTo>
                    <a:lnTo>
                      <a:pt x="36407" y="14480"/>
                    </a:lnTo>
                    <a:lnTo>
                      <a:pt x="36198" y="14626"/>
                    </a:lnTo>
                    <a:lnTo>
                      <a:pt x="36198" y="14710"/>
                    </a:lnTo>
                    <a:lnTo>
                      <a:pt x="36344" y="14793"/>
                    </a:lnTo>
                    <a:lnTo>
                      <a:pt x="36303" y="14793"/>
                    </a:lnTo>
                    <a:lnTo>
                      <a:pt x="36219" y="14814"/>
                    </a:lnTo>
                    <a:lnTo>
                      <a:pt x="36303" y="14814"/>
                    </a:lnTo>
                    <a:lnTo>
                      <a:pt x="36177" y="14982"/>
                    </a:lnTo>
                    <a:lnTo>
                      <a:pt x="36093" y="15024"/>
                    </a:lnTo>
                    <a:lnTo>
                      <a:pt x="35884" y="15149"/>
                    </a:lnTo>
                    <a:lnTo>
                      <a:pt x="35738" y="15296"/>
                    </a:lnTo>
                    <a:lnTo>
                      <a:pt x="35675" y="15296"/>
                    </a:lnTo>
                    <a:lnTo>
                      <a:pt x="35633" y="15337"/>
                    </a:lnTo>
                    <a:lnTo>
                      <a:pt x="35591" y="15463"/>
                    </a:lnTo>
                    <a:lnTo>
                      <a:pt x="35675" y="15568"/>
                    </a:lnTo>
                    <a:lnTo>
                      <a:pt x="35696" y="15672"/>
                    </a:lnTo>
                    <a:lnTo>
                      <a:pt x="35800" y="15840"/>
                    </a:lnTo>
                    <a:lnTo>
                      <a:pt x="35842" y="16133"/>
                    </a:lnTo>
                    <a:lnTo>
                      <a:pt x="35779" y="16174"/>
                    </a:lnTo>
                    <a:lnTo>
                      <a:pt x="35738" y="16153"/>
                    </a:lnTo>
                    <a:lnTo>
                      <a:pt x="35675" y="16195"/>
                    </a:lnTo>
                    <a:lnTo>
                      <a:pt x="35654" y="16300"/>
                    </a:lnTo>
                    <a:lnTo>
                      <a:pt x="35633" y="16195"/>
                    </a:lnTo>
                    <a:lnTo>
                      <a:pt x="35633" y="16049"/>
                    </a:lnTo>
                    <a:lnTo>
                      <a:pt x="35570" y="15986"/>
                    </a:lnTo>
                    <a:lnTo>
                      <a:pt x="35466" y="16049"/>
                    </a:lnTo>
                    <a:lnTo>
                      <a:pt x="35424" y="16153"/>
                    </a:lnTo>
                    <a:lnTo>
                      <a:pt x="35319" y="16216"/>
                    </a:lnTo>
                    <a:lnTo>
                      <a:pt x="35235" y="16174"/>
                    </a:lnTo>
                    <a:lnTo>
                      <a:pt x="35256" y="16112"/>
                    </a:lnTo>
                    <a:lnTo>
                      <a:pt x="35256" y="16070"/>
                    </a:lnTo>
                    <a:lnTo>
                      <a:pt x="35047" y="16070"/>
                    </a:lnTo>
                    <a:lnTo>
                      <a:pt x="35005" y="16174"/>
                    </a:lnTo>
                    <a:lnTo>
                      <a:pt x="34922" y="16258"/>
                    </a:lnTo>
                    <a:lnTo>
                      <a:pt x="34796" y="16216"/>
                    </a:lnTo>
                    <a:lnTo>
                      <a:pt x="34712" y="16216"/>
                    </a:lnTo>
                    <a:lnTo>
                      <a:pt x="34650" y="16174"/>
                    </a:lnTo>
                    <a:lnTo>
                      <a:pt x="34587" y="16174"/>
                    </a:lnTo>
                    <a:lnTo>
                      <a:pt x="34503" y="16258"/>
                    </a:lnTo>
                    <a:lnTo>
                      <a:pt x="34357" y="16195"/>
                    </a:lnTo>
                    <a:lnTo>
                      <a:pt x="34315" y="16174"/>
                    </a:lnTo>
                    <a:lnTo>
                      <a:pt x="34231" y="16070"/>
                    </a:lnTo>
                    <a:lnTo>
                      <a:pt x="34106" y="15986"/>
                    </a:lnTo>
                    <a:lnTo>
                      <a:pt x="33980" y="15965"/>
                    </a:lnTo>
                    <a:lnTo>
                      <a:pt x="33834" y="15777"/>
                    </a:lnTo>
                    <a:lnTo>
                      <a:pt x="33813" y="15840"/>
                    </a:lnTo>
                    <a:lnTo>
                      <a:pt x="33813" y="15902"/>
                    </a:lnTo>
                    <a:lnTo>
                      <a:pt x="33792" y="15965"/>
                    </a:lnTo>
                    <a:lnTo>
                      <a:pt x="33750" y="15944"/>
                    </a:lnTo>
                    <a:lnTo>
                      <a:pt x="33708" y="15965"/>
                    </a:lnTo>
                    <a:lnTo>
                      <a:pt x="33708" y="16049"/>
                    </a:lnTo>
                    <a:lnTo>
                      <a:pt x="33771" y="16112"/>
                    </a:lnTo>
                    <a:lnTo>
                      <a:pt x="33750" y="16195"/>
                    </a:lnTo>
                    <a:lnTo>
                      <a:pt x="33687" y="16195"/>
                    </a:lnTo>
                    <a:lnTo>
                      <a:pt x="33582" y="16216"/>
                    </a:lnTo>
                    <a:lnTo>
                      <a:pt x="33499" y="16300"/>
                    </a:lnTo>
                    <a:lnTo>
                      <a:pt x="33373" y="16300"/>
                    </a:lnTo>
                    <a:lnTo>
                      <a:pt x="33290" y="16384"/>
                    </a:lnTo>
                    <a:lnTo>
                      <a:pt x="33290" y="16488"/>
                    </a:lnTo>
                    <a:lnTo>
                      <a:pt x="33206" y="16530"/>
                    </a:lnTo>
                    <a:lnTo>
                      <a:pt x="33164" y="16677"/>
                    </a:lnTo>
                    <a:lnTo>
                      <a:pt x="33248" y="16886"/>
                    </a:lnTo>
                    <a:lnTo>
                      <a:pt x="33352" y="16990"/>
                    </a:lnTo>
                    <a:lnTo>
                      <a:pt x="33394" y="16949"/>
                    </a:lnTo>
                    <a:lnTo>
                      <a:pt x="33499" y="17095"/>
                    </a:lnTo>
                    <a:lnTo>
                      <a:pt x="33478" y="17158"/>
                    </a:lnTo>
                    <a:lnTo>
                      <a:pt x="33666" y="17158"/>
                    </a:lnTo>
                    <a:lnTo>
                      <a:pt x="33771" y="17200"/>
                    </a:lnTo>
                    <a:lnTo>
                      <a:pt x="33813" y="17137"/>
                    </a:lnTo>
                    <a:lnTo>
                      <a:pt x="33917" y="17137"/>
                    </a:lnTo>
                    <a:lnTo>
                      <a:pt x="33980" y="17095"/>
                    </a:lnTo>
                    <a:lnTo>
                      <a:pt x="34106" y="17095"/>
                    </a:lnTo>
                    <a:lnTo>
                      <a:pt x="34189" y="17053"/>
                    </a:lnTo>
                    <a:lnTo>
                      <a:pt x="34273" y="17095"/>
                    </a:lnTo>
                    <a:lnTo>
                      <a:pt x="34315" y="17032"/>
                    </a:lnTo>
                    <a:lnTo>
                      <a:pt x="34315" y="16928"/>
                    </a:lnTo>
                    <a:lnTo>
                      <a:pt x="34336" y="16865"/>
                    </a:lnTo>
                    <a:lnTo>
                      <a:pt x="34398" y="16865"/>
                    </a:lnTo>
                    <a:lnTo>
                      <a:pt x="34503" y="17032"/>
                    </a:lnTo>
                    <a:lnTo>
                      <a:pt x="34587" y="17032"/>
                    </a:lnTo>
                    <a:lnTo>
                      <a:pt x="34650" y="17116"/>
                    </a:lnTo>
                    <a:lnTo>
                      <a:pt x="34796" y="17137"/>
                    </a:lnTo>
                    <a:lnTo>
                      <a:pt x="34817" y="17074"/>
                    </a:lnTo>
                    <a:lnTo>
                      <a:pt x="34901" y="16970"/>
                    </a:lnTo>
                    <a:lnTo>
                      <a:pt x="34943" y="16970"/>
                    </a:lnTo>
                    <a:lnTo>
                      <a:pt x="35026" y="16886"/>
                    </a:lnTo>
                    <a:lnTo>
                      <a:pt x="35131" y="16865"/>
                    </a:lnTo>
                    <a:lnTo>
                      <a:pt x="35110" y="16928"/>
                    </a:lnTo>
                    <a:lnTo>
                      <a:pt x="35110" y="17032"/>
                    </a:lnTo>
                    <a:lnTo>
                      <a:pt x="35026" y="17137"/>
                    </a:lnTo>
                    <a:lnTo>
                      <a:pt x="35026" y="17262"/>
                    </a:lnTo>
                    <a:lnTo>
                      <a:pt x="35131" y="17221"/>
                    </a:lnTo>
                    <a:lnTo>
                      <a:pt x="35173" y="17032"/>
                    </a:lnTo>
                    <a:lnTo>
                      <a:pt x="35215" y="17074"/>
                    </a:lnTo>
                    <a:lnTo>
                      <a:pt x="35256" y="17032"/>
                    </a:lnTo>
                    <a:lnTo>
                      <a:pt x="35340" y="17074"/>
                    </a:lnTo>
                    <a:lnTo>
                      <a:pt x="35256" y="17200"/>
                    </a:lnTo>
                    <a:lnTo>
                      <a:pt x="35277" y="17283"/>
                    </a:lnTo>
                    <a:lnTo>
                      <a:pt x="35277" y="17179"/>
                    </a:lnTo>
                    <a:lnTo>
                      <a:pt x="35466" y="17011"/>
                    </a:lnTo>
                    <a:lnTo>
                      <a:pt x="35487" y="17074"/>
                    </a:lnTo>
                    <a:lnTo>
                      <a:pt x="35361" y="17179"/>
                    </a:lnTo>
                    <a:lnTo>
                      <a:pt x="35361" y="17242"/>
                    </a:lnTo>
                    <a:lnTo>
                      <a:pt x="35445" y="17304"/>
                    </a:lnTo>
                    <a:lnTo>
                      <a:pt x="35487" y="17451"/>
                    </a:lnTo>
                    <a:lnTo>
                      <a:pt x="35487" y="17555"/>
                    </a:lnTo>
                    <a:lnTo>
                      <a:pt x="35507" y="17660"/>
                    </a:lnTo>
                    <a:lnTo>
                      <a:pt x="35612" y="17639"/>
                    </a:lnTo>
                    <a:lnTo>
                      <a:pt x="35612" y="17765"/>
                    </a:lnTo>
                    <a:lnTo>
                      <a:pt x="35675" y="17827"/>
                    </a:lnTo>
                    <a:lnTo>
                      <a:pt x="35759" y="17681"/>
                    </a:lnTo>
                    <a:lnTo>
                      <a:pt x="35717" y="17869"/>
                    </a:lnTo>
                    <a:lnTo>
                      <a:pt x="35654" y="17953"/>
                    </a:lnTo>
                    <a:lnTo>
                      <a:pt x="35759" y="18058"/>
                    </a:lnTo>
                    <a:lnTo>
                      <a:pt x="35759" y="17974"/>
                    </a:lnTo>
                    <a:lnTo>
                      <a:pt x="35800" y="17869"/>
                    </a:lnTo>
                    <a:lnTo>
                      <a:pt x="35863" y="17848"/>
                    </a:lnTo>
                    <a:lnTo>
                      <a:pt x="35863" y="17848"/>
                    </a:lnTo>
                    <a:lnTo>
                      <a:pt x="35821" y="17890"/>
                    </a:lnTo>
                    <a:lnTo>
                      <a:pt x="35863" y="18037"/>
                    </a:lnTo>
                    <a:lnTo>
                      <a:pt x="35926" y="18162"/>
                    </a:lnTo>
                    <a:lnTo>
                      <a:pt x="36093" y="18141"/>
                    </a:lnTo>
                    <a:lnTo>
                      <a:pt x="36031" y="18183"/>
                    </a:lnTo>
                    <a:lnTo>
                      <a:pt x="35821" y="18309"/>
                    </a:lnTo>
                    <a:lnTo>
                      <a:pt x="35675" y="18309"/>
                    </a:lnTo>
                    <a:lnTo>
                      <a:pt x="35654" y="18371"/>
                    </a:lnTo>
                    <a:lnTo>
                      <a:pt x="35759" y="18413"/>
                    </a:lnTo>
                    <a:lnTo>
                      <a:pt x="35759" y="18560"/>
                    </a:lnTo>
                    <a:lnTo>
                      <a:pt x="35821" y="18664"/>
                    </a:lnTo>
                    <a:lnTo>
                      <a:pt x="35905" y="18727"/>
                    </a:lnTo>
                    <a:lnTo>
                      <a:pt x="35989" y="18727"/>
                    </a:lnTo>
                    <a:lnTo>
                      <a:pt x="35989" y="18790"/>
                    </a:lnTo>
                    <a:lnTo>
                      <a:pt x="36093" y="18874"/>
                    </a:lnTo>
                    <a:lnTo>
                      <a:pt x="36156" y="18915"/>
                    </a:lnTo>
                    <a:lnTo>
                      <a:pt x="36219" y="18915"/>
                    </a:lnTo>
                    <a:lnTo>
                      <a:pt x="36407" y="19041"/>
                    </a:lnTo>
                    <a:lnTo>
                      <a:pt x="36512" y="19041"/>
                    </a:lnTo>
                    <a:lnTo>
                      <a:pt x="36512" y="19104"/>
                    </a:lnTo>
                    <a:lnTo>
                      <a:pt x="36575" y="19125"/>
                    </a:lnTo>
                    <a:lnTo>
                      <a:pt x="36595" y="19083"/>
                    </a:lnTo>
                    <a:lnTo>
                      <a:pt x="36616" y="19041"/>
                    </a:lnTo>
                    <a:lnTo>
                      <a:pt x="36721" y="19104"/>
                    </a:lnTo>
                    <a:lnTo>
                      <a:pt x="36679" y="19125"/>
                    </a:lnTo>
                    <a:lnTo>
                      <a:pt x="36616" y="19187"/>
                    </a:lnTo>
                    <a:lnTo>
                      <a:pt x="36679" y="19292"/>
                    </a:lnTo>
                    <a:lnTo>
                      <a:pt x="36742" y="19334"/>
                    </a:lnTo>
                    <a:lnTo>
                      <a:pt x="36805" y="19334"/>
                    </a:lnTo>
                    <a:lnTo>
                      <a:pt x="36805" y="19418"/>
                    </a:lnTo>
                    <a:lnTo>
                      <a:pt x="36930" y="19543"/>
                    </a:lnTo>
                    <a:lnTo>
                      <a:pt x="37014" y="19543"/>
                    </a:lnTo>
                    <a:lnTo>
                      <a:pt x="37056" y="19606"/>
                    </a:lnTo>
                    <a:lnTo>
                      <a:pt x="37098" y="19648"/>
                    </a:lnTo>
                    <a:lnTo>
                      <a:pt x="37265" y="19731"/>
                    </a:lnTo>
                    <a:lnTo>
                      <a:pt x="37328" y="19711"/>
                    </a:lnTo>
                    <a:lnTo>
                      <a:pt x="37370" y="19731"/>
                    </a:lnTo>
                    <a:lnTo>
                      <a:pt x="37453" y="19731"/>
                    </a:lnTo>
                    <a:lnTo>
                      <a:pt x="37537" y="19773"/>
                    </a:lnTo>
                    <a:lnTo>
                      <a:pt x="37558" y="19857"/>
                    </a:lnTo>
                    <a:lnTo>
                      <a:pt x="37725" y="19983"/>
                    </a:lnTo>
                    <a:lnTo>
                      <a:pt x="37788" y="19983"/>
                    </a:lnTo>
                    <a:lnTo>
                      <a:pt x="37872" y="20045"/>
                    </a:lnTo>
                    <a:lnTo>
                      <a:pt x="38060" y="20087"/>
                    </a:lnTo>
                    <a:lnTo>
                      <a:pt x="38165" y="20150"/>
                    </a:lnTo>
                    <a:lnTo>
                      <a:pt x="38269" y="20150"/>
                    </a:lnTo>
                    <a:lnTo>
                      <a:pt x="38290" y="20129"/>
                    </a:lnTo>
                    <a:lnTo>
                      <a:pt x="38290" y="20066"/>
                    </a:lnTo>
                    <a:lnTo>
                      <a:pt x="38207" y="19983"/>
                    </a:lnTo>
                    <a:lnTo>
                      <a:pt x="38165" y="19920"/>
                    </a:lnTo>
                    <a:lnTo>
                      <a:pt x="38207" y="19857"/>
                    </a:lnTo>
                    <a:lnTo>
                      <a:pt x="38290" y="19878"/>
                    </a:lnTo>
                    <a:lnTo>
                      <a:pt x="38311" y="19815"/>
                    </a:lnTo>
                    <a:lnTo>
                      <a:pt x="38290" y="19752"/>
                    </a:lnTo>
                    <a:lnTo>
                      <a:pt x="38248" y="19773"/>
                    </a:lnTo>
                    <a:lnTo>
                      <a:pt x="38207" y="19731"/>
                    </a:lnTo>
                    <a:lnTo>
                      <a:pt x="38248" y="19606"/>
                    </a:lnTo>
                    <a:lnTo>
                      <a:pt x="38207" y="19564"/>
                    </a:lnTo>
                    <a:lnTo>
                      <a:pt x="38102" y="19669"/>
                    </a:lnTo>
                    <a:lnTo>
                      <a:pt x="38102" y="19627"/>
                    </a:lnTo>
                    <a:lnTo>
                      <a:pt x="38081" y="19543"/>
                    </a:lnTo>
                    <a:lnTo>
                      <a:pt x="38018" y="19543"/>
                    </a:lnTo>
                    <a:lnTo>
                      <a:pt x="38123" y="19439"/>
                    </a:lnTo>
                    <a:lnTo>
                      <a:pt x="38102" y="19313"/>
                    </a:lnTo>
                    <a:lnTo>
                      <a:pt x="38060" y="19292"/>
                    </a:lnTo>
                    <a:lnTo>
                      <a:pt x="37956" y="19292"/>
                    </a:lnTo>
                    <a:lnTo>
                      <a:pt x="37976" y="19187"/>
                    </a:lnTo>
                    <a:lnTo>
                      <a:pt x="37935" y="19083"/>
                    </a:lnTo>
                    <a:lnTo>
                      <a:pt x="37893" y="18999"/>
                    </a:lnTo>
                    <a:lnTo>
                      <a:pt x="37788" y="18999"/>
                    </a:lnTo>
                    <a:lnTo>
                      <a:pt x="37851" y="18915"/>
                    </a:lnTo>
                    <a:lnTo>
                      <a:pt x="37767" y="18894"/>
                    </a:lnTo>
                    <a:lnTo>
                      <a:pt x="37725" y="18894"/>
                    </a:lnTo>
                    <a:lnTo>
                      <a:pt x="37746" y="18832"/>
                    </a:lnTo>
                    <a:lnTo>
                      <a:pt x="37663" y="18727"/>
                    </a:lnTo>
                    <a:lnTo>
                      <a:pt x="37663" y="18748"/>
                    </a:lnTo>
                    <a:lnTo>
                      <a:pt x="37621" y="18748"/>
                    </a:lnTo>
                    <a:lnTo>
                      <a:pt x="37621" y="18602"/>
                    </a:lnTo>
                    <a:lnTo>
                      <a:pt x="37621" y="18539"/>
                    </a:lnTo>
                    <a:lnTo>
                      <a:pt x="37621" y="18476"/>
                    </a:lnTo>
                    <a:lnTo>
                      <a:pt x="37453" y="18350"/>
                    </a:lnTo>
                    <a:lnTo>
                      <a:pt x="37432" y="18225"/>
                    </a:lnTo>
                    <a:lnTo>
                      <a:pt x="37432" y="18120"/>
                    </a:lnTo>
                    <a:lnTo>
                      <a:pt x="37516" y="18162"/>
                    </a:lnTo>
                    <a:lnTo>
                      <a:pt x="37558" y="18078"/>
                    </a:lnTo>
                    <a:lnTo>
                      <a:pt x="37663" y="18120"/>
                    </a:lnTo>
                    <a:lnTo>
                      <a:pt x="37663" y="18225"/>
                    </a:lnTo>
                    <a:lnTo>
                      <a:pt x="37746" y="18371"/>
                    </a:lnTo>
                    <a:lnTo>
                      <a:pt x="37872" y="18434"/>
                    </a:lnTo>
                    <a:lnTo>
                      <a:pt x="37935" y="18476"/>
                    </a:lnTo>
                    <a:lnTo>
                      <a:pt x="37935" y="18560"/>
                    </a:lnTo>
                    <a:lnTo>
                      <a:pt x="37976" y="18602"/>
                    </a:lnTo>
                    <a:lnTo>
                      <a:pt x="37976" y="18539"/>
                    </a:lnTo>
                    <a:lnTo>
                      <a:pt x="37935" y="18392"/>
                    </a:lnTo>
                    <a:lnTo>
                      <a:pt x="37935" y="18350"/>
                    </a:lnTo>
                    <a:lnTo>
                      <a:pt x="37976" y="18309"/>
                    </a:lnTo>
                    <a:lnTo>
                      <a:pt x="38018" y="18392"/>
                    </a:lnTo>
                    <a:lnTo>
                      <a:pt x="38018" y="18455"/>
                    </a:lnTo>
                    <a:lnTo>
                      <a:pt x="38081" y="18497"/>
                    </a:lnTo>
                    <a:lnTo>
                      <a:pt x="38123" y="18685"/>
                    </a:lnTo>
                    <a:lnTo>
                      <a:pt x="38207" y="18706"/>
                    </a:lnTo>
                    <a:lnTo>
                      <a:pt x="38207" y="18769"/>
                    </a:lnTo>
                    <a:lnTo>
                      <a:pt x="38290" y="18832"/>
                    </a:lnTo>
                    <a:lnTo>
                      <a:pt x="38374" y="19020"/>
                    </a:lnTo>
                    <a:lnTo>
                      <a:pt x="38416" y="18936"/>
                    </a:lnTo>
                    <a:lnTo>
                      <a:pt x="38395" y="18832"/>
                    </a:lnTo>
                    <a:lnTo>
                      <a:pt x="38395" y="18664"/>
                    </a:lnTo>
                    <a:lnTo>
                      <a:pt x="38416" y="18560"/>
                    </a:lnTo>
                    <a:lnTo>
                      <a:pt x="38416" y="18643"/>
                    </a:lnTo>
                    <a:lnTo>
                      <a:pt x="38479" y="18811"/>
                    </a:lnTo>
                    <a:lnTo>
                      <a:pt x="38479" y="18915"/>
                    </a:lnTo>
                    <a:lnTo>
                      <a:pt x="38479" y="18999"/>
                    </a:lnTo>
                    <a:lnTo>
                      <a:pt x="38520" y="19020"/>
                    </a:lnTo>
                    <a:lnTo>
                      <a:pt x="38604" y="19083"/>
                    </a:lnTo>
                    <a:lnTo>
                      <a:pt x="38625" y="18999"/>
                    </a:lnTo>
                    <a:lnTo>
                      <a:pt x="38583" y="18957"/>
                    </a:lnTo>
                    <a:lnTo>
                      <a:pt x="38583" y="18894"/>
                    </a:lnTo>
                    <a:lnTo>
                      <a:pt x="38667" y="18915"/>
                    </a:lnTo>
                    <a:lnTo>
                      <a:pt x="38688" y="19020"/>
                    </a:lnTo>
                    <a:lnTo>
                      <a:pt x="38688" y="19104"/>
                    </a:lnTo>
                    <a:lnTo>
                      <a:pt x="38709" y="19125"/>
                    </a:lnTo>
                    <a:lnTo>
                      <a:pt x="38709" y="19062"/>
                    </a:lnTo>
                    <a:lnTo>
                      <a:pt x="38772" y="19020"/>
                    </a:lnTo>
                    <a:lnTo>
                      <a:pt x="38772" y="19187"/>
                    </a:lnTo>
                    <a:lnTo>
                      <a:pt x="38813" y="19271"/>
                    </a:lnTo>
                    <a:lnTo>
                      <a:pt x="38897" y="19271"/>
                    </a:lnTo>
                    <a:lnTo>
                      <a:pt x="38939" y="19208"/>
                    </a:lnTo>
                    <a:lnTo>
                      <a:pt x="38939" y="19313"/>
                    </a:lnTo>
                    <a:lnTo>
                      <a:pt x="38918" y="19376"/>
                    </a:lnTo>
                    <a:lnTo>
                      <a:pt x="38981" y="19543"/>
                    </a:lnTo>
                    <a:lnTo>
                      <a:pt x="39023" y="19627"/>
                    </a:lnTo>
                    <a:lnTo>
                      <a:pt x="39127" y="19627"/>
                    </a:lnTo>
                    <a:lnTo>
                      <a:pt x="39127" y="19543"/>
                    </a:lnTo>
                    <a:lnTo>
                      <a:pt x="39106" y="19522"/>
                    </a:lnTo>
                    <a:lnTo>
                      <a:pt x="39106" y="19397"/>
                    </a:lnTo>
                    <a:lnTo>
                      <a:pt x="39044" y="19187"/>
                    </a:lnTo>
                    <a:lnTo>
                      <a:pt x="39127" y="19187"/>
                    </a:lnTo>
                    <a:lnTo>
                      <a:pt x="39169" y="19271"/>
                    </a:lnTo>
                    <a:lnTo>
                      <a:pt x="39274" y="19292"/>
                    </a:lnTo>
                    <a:lnTo>
                      <a:pt x="39316" y="19271"/>
                    </a:lnTo>
                    <a:lnTo>
                      <a:pt x="39253" y="19166"/>
                    </a:lnTo>
                    <a:lnTo>
                      <a:pt x="39295" y="19083"/>
                    </a:lnTo>
                    <a:lnTo>
                      <a:pt x="39295" y="18894"/>
                    </a:lnTo>
                    <a:lnTo>
                      <a:pt x="39211" y="18706"/>
                    </a:lnTo>
                    <a:lnTo>
                      <a:pt x="39232" y="18560"/>
                    </a:lnTo>
                    <a:lnTo>
                      <a:pt x="39232" y="18392"/>
                    </a:lnTo>
                    <a:lnTo>
                      <a:pt x="39253" y="18560"/>
                    </a:lnTo>
                    <a:lnTo>
                      <a:pt x="39232" y="18664"/>
                    </a:lnTo>
                    <a:lnTo>
                      <a:pt x="39253" y="18790"/>
                    </a:lnTo>
                    <a:lnTo>
                      <a:pt x="39420" y="18957"/>
                    </a:lnTo>
                    <a:lnTo>
                      <a:pt x="39441" y="18894"/>
                    </a:lnTo>
                    <a:lnTo>
                      <a:pt x="39420" y="18769"/>
                    </a:lnTo>
                    <a:lnTo>
                      <a:pt x="39462" y="18664"/>
                    </a:lnTo>
                    <a:lnTo>
                      <a:pt x="39462" y="18497"/>
                    </a:lnTo>
                    <a:lnTo>
                      <a:pt x="39546" y="18455"/>
                    </a:lnTo>
                    <a:lnTo>
                      <a:pt x="39525" y="18434"/>
                    </a:lnTo>
                    <a:lnTo>
                      <a:pt x="39399" y="18246"/>
                    </a:lnTo>
                    <a:lnTo>
                      <a:pt x="39357" y="18120"/>
                    </a:lnTo>
                    <a:lnTo>
                      <a:pt x="39316" y="18078"/>
                    </a:lnTo>
                    <a:lnTo>
                      <a:pt x="39336" y="18016"/>
                    </a:lnTo>
                    <a:lnTo>
                      <a:pt x="39253" y="17869"/>
                    </a:lnTo>
                    <a:lnTo>
                      <a:pt x="39190" y="17786"/>
                    </a:lnTo>
                    <a:lnTo>
                      <a:pt x="39316" y="17765"/>
                    </a:lnTo>
                    <a:lnTo>
                      <a:pt x="39336" y="17723"/>
                    </a:lnTo>
                    <a:lnTo>
                      <a:pt x="39420" y="17639"/>
                    </a:lnTo>
                    <a:lnTo>
                      <a:pt x="39357" y="17576"/>
                    </a:lnTo>
                    <a:lnTo>
                      <a:pt x="39295" y="17618"/>
                    </a:lnTo>
                    <a:lnTo>
                      <a:pt x="39148" y="17639"/>
                    </a:lnTo>
                    <a:lnTo>
                      <a:pt x="39106" y="17597"/>
                    </a:lnTo>
                    <a:lnTo>
                      <a:pt x="39127" y="17555"/>
                    </a:lnTo>
                    <a:lnTo>
                      <a:pt x="39148" y="17514"/>
                    </a:lnTo>
                    <a:lnTo>
                      <a:pt x="39232" y="17430"/>
                    </a:lnTo>
                    <a:lnTo>
                      <a:pt x="39253" y="17325"/>
                    </a:lnTo>
                    <a:lnTo>
                      <a:pt x="39211" y="17242"/>
                    </a:lnTo>
                    <a:lnTo>
                      <a:pt x="39148" y="17242"/>
                    </a:lnTo>
                    <a:lnTo>
                      <a:pt x="39148" y="17304"/>
                    </a:lnTo>
                    <a:lnTo>
                      <a:pt x="39106" y="17388"/>
                    </a:lnTo>
                    <a:lnTo>
                      <a:pt x="39106" y="17304"/>
                    </a:lnTo>
                    <a:lnTo>
                      <a:pt x="39085" y="17325"/>
                    </a:lnTo>
                    <a:lnTo>
                      <a:pt x="38939" y="17346"/>
                    </a:lnTo>
                    <a:lnTo>
                      <a:pt x="38918" y="17304"/>
                    </a:lnTo>
                    <a:lnTo>
                      <a:pt x="39002" y="17242"/>
                    </a:lnTo>
                    <a:lnTo>
                      <a:pt x="39023" y="17200"/>
                    </a:lnTo>
                    <a:lnTo>
                      <a:pt x="38981" y="17137"/>
                    </a:lnTo>
                    <a:lnTo>
                      <a:pt x="38939" y="17032"/>
                    </a:lnTo>
                    <a:lnTo>
                      <a:pt x="38876" y="16990"/>
                    </a:lnTo>
                    <a:lnTo>
                      <a:pt x="38813" y="17011"/>
                    </a:lnTo>
                    <a:lnTo>
                      <a:pt x="38813" y="17116"/>
                    </a:lnTo>
                    <a:lnTo>
                      <a:pt x="38792" y="17179"/>
                    </a:lnTo>
                    <a:lnTo>
                      <a:pt x="38772" y="17137"/>
                    </a:lnTo>
                    <a:lnTo>
                      <a:pt x="38772" y="17011"/>
                    </a:lnTo>
                    <a:lnTo>
                      <a:pt x="38730" y="16928"/>
                    </a:lnTo>
                    <a:lnTo>
                      <a:pt x="38688" y="16928"/>
                    </a:lnTo>
                    <a:lnTo>
                      <a:pt x="38709" y="16865"/>
                    </a:lnTo>
                    <a:lnTo>
                      <a:pt x="38667" y="16865"/>
                    </a:lnTo>
                    <a:lnTo>
                      <a:pt x="38667" y="16823"/>
                    </a:lnTo>
                    <a:lnTo>
                      <a:pt x="38688" y="16823"/>
                    </a:lnTo>
                    <a:lnTo>
                      <a:pt x="38667" y="16760"/>
                    </a:lnTo>
                    <a:lnTo>
                      <a:pt x="38604" y="16718"/>
                    </a:lnTo>
                    <a:lnTo>
                      <a:pt x="38625" y="16677"/>
                    </a:lnTo>
                    <a:lnTo>
                      <a:pt x="38730" y="16677"/>
                    </a:lnTo>
                    <a:lnTo>
                      <a:pt x="38792" y="16656"/>
                    </a:lnTo>
                    <a:lnTo>
                      <a:pt x="38730" y="16593"/>
                    </a:lnTo>
                    <a:lnTo>
                      <a:pt x="38625" y="16593"/>
                    </a:lnTo>
                    <a:lnTo>
                      <a:pt x="38583" y="16572"/>
                    </a:lnTo>
                    <a:lnTo>
                      <a:pt x="38625" y="16488"/>
                    </a:lnTo>
                    <a:lnTo>
                      <a:pt x="38730" y="16446"/>
                    </a:lnTo>
                    <a:lnTo>
                      <a:pt x="38730" y="16405"/>
                    </a:lnTo>
                    <a:lnTo>
                      <a:pt x="38688" y="16363"/>
                    </a:lnTo>
                    <a:lnTo>
                      <a:pt x="38520" y="16363"/>
                    </a:lnTo>
                    <a:lnTo>
                      <a:pt x="38500" y="16405"/>
                    </a:lnTo>
                    <a:lnTo>
                      <a:pt x="38458" y="16488"/>
                    </a:lnTo>
                    <a:lnTo>
                      <a:pt x="38248" y="16530"/>
                    </a:lnTo>
                    <a:lnTo>
                      <a:pt x="38353" y="16467"/>
                    </a:lnTo>
                    <a:lnTo>
                      <a:pt x="38500" y="16321"/>
                    </a:lnTo>
                    <a:lnTo>
                      <a:pt x="38562" y="16216"/>
                    </a:lnTo>
                    <a:lnTo>
                      <a:pt x="38562" y="16174"/>
                    </a:lnTo>
                    <a:lnTo>
                      <a:pt x="38458" y="16174"/>
                    </a:lnTo>
                    <a:lnTo>
                      <a:pt x="38395" y="16153"/>
                    </a:lnTo>
                    <a:lnTo>
                      <a:pt x="38458" y="16091"/>
                    </a:lnTo>
                    <a:lnTo>
                      <a:pt x="38416" y="16049"/>
                    </a:lnTo>
                    <a:lnTo>
                      <a:pt x="38374" y="16070"/>
                    </a:lnTo>
                    <a:lnTo>
                      <a:pt x="38374" y="15986"/>
                    </a:lnTo>
                    <a:lnTo>
                      <a:pt x="38416" y="15923"/>
                    </a:lnTo>
                    <a:lnTo>
                      <a:pt x="38416" y="15819"/>
                    </a:lnTo>
                    <a:lnTo>
                      <a:pt x="38290" y="15777"/>
                    </a:lnTo>
                    <a:lnTo>
                      <a:pt x="38207" y="15756"/>
                    </a:lnTo>
                    <a:lnTo>
                      <a:pt x="38081" y="15756"/>
                    </a:lnTo>
                    <a:lnTo>
                      <a:pt x="38039" y="15693"/>
                    </a:lnTo>
                    <a:lnTo>
                      <a:pt x="38165" y="15693"/>
                    </a:lnTo>
                    <a:lnTo>
                      <a:pt x="38269" y="15672"/>
                    </a:lnTo>
                    <a:lnTo>
                      <a:pt x="38311" y="15630"/>
                    </a:lnTo>
                    <a:lnTo>
                      <a:pt x="38374" y="15693"/>
                    </a:lnTo>
                    <a:lnTo>
                      <a:pt x="38395" y="15756"/>
                    </a:lnTo>
                    <a:lnTo>
                      <a:pt x="38500" y="15756"/>
                    </a:lnTo>
                    <a:lnTo>
                      <a:pt x="38604" y="15798"/>
                    </a:lnTo>
                    <a:lnTo>
                      <a:pt x="38625" y="15881"/>
                    </a:lnTo>
                    <a:lnTo>
                      <a:pt x="38604" y="15965"/>
                    </a:lnTo>
                    <a:lnTo>
                      <a:pt x="38625" y="16049"/>
                    </a:lnTo>
                    <a:lnTo>
                      <a:pt x="38730" y="16174"/>
                    </a:lnTo>
                    <a:lnTo>
                      <a:pt x="38772" y="16174"/>
                    </a:lnTo>
                    <a:lnTo>
                      <a:pt x="38792" y="16070"/>
                    </a:lnTo>
                    <a:lnTo>
                      <a:pt x="38834" y="16133"/>
                    </a:lnTo>
                    <a:lnTo>
                      <a:pt x="38981" y="16153"/>
                    </a:lnTo>
                    <a:lnTo>
                      <a:pt x="39023" y="16133"/>
                    </a:lnTo>
                    <a:lnTo>
                      <a:pt x="39023" y="16070"/>
                    </a:lnTo>
                    <a:lnTo>
                      <a:pt x="38981" y="16049"/>
                    </a:lnTo>
                    <a:lnTo>
                      <a:pt x="38981" y="15965"/>
                    </a:lnTo>
                    <a:lnTo>
                      <a:pt x="38939" y="15861"/>
                    </a:lnTo>
                    <a:lnTo>
                      <a:pt x="38876" y="15777"/>
                    </a:lnTo>
                    <a:lnTo>
                      <a:pt x="38792" y="15756"/>
                    </a:lnTo>
                    <a:lnTo>
                      <a:pt x="38813" y="15672"/>
                    </a:lnTo>
                    <a:lnTo>
                      <a:pt x="38813" y="15589"/>
                    </a:lnTo>
                    <a:lnTo>
                      <a:pt x="38772" y="15547"/>
                    </a:lnTo>
                    <a:lnTo>
                      <a:pt x="38792" y="15526"/>
                    </a:lnTo>
                    <a:lnTo>
                      <a:pt x="38834" y="15547"/>
                    </a:lnTo>
                    <a:lnTo>
                      <a:pt x="38876" y="15651"/>
                    </a:lnTo>
                    <a:lnTo>
                      <a:pt x="38918" y="15693"/>
                    </a:lnTo>
                    <a:lnTo>
                      <a:pt x="39002" y="15672"/>
                    </a:lnTo>
                    <a:lnTo>
                      <a:pt x="38981" y="15651"/>
                    </a:lnTo>
                    <a:lnTo>
                      <a:pt x="39002" y="15630"/>
                    </a:lnTo>
                    <a:lnTo>
                      <a:pt x="39085" y="15651"/>
                    </a:lnTo>
                    <a:lnTo>
                      <a:pt x="39044" y="15547"/>
                    </a:lnTo>
                    <a:lnTo>
                      <a:pt x="39002" y="15442"/>
                    </a:lnTo>
                    <a:lnTo>
                      <a:pt x="38897" y="15379"/>
                    </a:lnTo>
                    <a:lnTo>
                      <a:pt x="39002" y="15379"/>
                    </a:lnTo>
                    <a:lnTo>
                      <a:pt x="39044" y="15442"/>
                    </a:lnTo>
                    <a:lnTo>
                      <a:pt x="39106" y="15484"/>
                    </a:lnTo>
                    <a:lnTo>
                      <a:pt x="39190" y="15463"/>
                    </a:lnTo>
                    <a:lnTo>
                      <a:pt x="39148" y="15421"/>
                    </a:lnTo>
                    <a:lnTo>
                      <a:pt x="39148" y="15337"/>
                    </a:lnTo>
                    <a:lnTo>
                      <a:pt x="39190" y="15337"/>
                    </a:lnTo>
                    <a:lnTo>
                      <a:pt x="39232" y="15379"/>
                    </a:lnTo>
                    <a:lnTo>
                      <a:pt x="39295" y="15421"/>
                    </a:lnTo>
                    <a:lnTo>
                      <a:pt x="39295" y="15463"/>
                    </a:lnTo>
                    <a:lnTo>
                      <a:pt x="39232" y="15484"/>
                    </a:lnTo>
                    <a:lnTo>
                      <a:pt x="39232" y="15589"/>
                    </a:lnTo>
                    <a:lnTo>
                      <a:pt x="39232" y="15630"/>
                    </a:lnTo>
                    <a:lnTo>
                      <a:pt x="39295" y="15630"/>
                    </a:lnTo>
                    <a:lnTo>
                      <a:pt x="39336" y="15651"/>
                    </a:lnTo>
                    <a:lnTo>
                      <a:pt x="39336" y="15693"/>
                    </a:lnTo>
                    <a:lnTo>
                      <a:pt x="39295" y="15735"/>
                    </a:lnTo>
                    <a:lnTo>
                      <a:pt x="39253" y="15777"/>
                    </a:lnTo>
                    <a:lnTo>
                      <a:pt x="39316" y="15798"/>
                    </a:lnTo>
                    <a:lnTo>
                      <a:pt x="39357" y="15777"/>
                    </a:lnTo>
                    <a:lnTo>
                      <a:pt x="39399" y="15798"/>
                    </a:lnTo>
                    <a:lnTo>
                      <a:pt x="39357" y="15881"/>
                    </a:lnTo>
                    <a:lnTo>
                      <a:pt x="39399" y="15944"/>
                    </a:lnTo>
                    <a:lnTo>
                      <a:pt x="39441" y="15965"/>
                    </a:lnTo>
                    <a:lnTo>
                      <a:pt x="39525" y="15944"/>
                    </a:lnTo>
                    <a:lnTo>
                      <a:pt x="39734" y="15798"/>
                    </a:lnTo>
                    <a:lnTo>
                      <a:pt x="39818" y="15672"/>
                    </a:lnTo>
                    <a:lnTo>
                      <a:pt x="39818" y="15756"/>
                    </a:lnTo>
                    <a:lnTo>
                      <a:pt x="39755" y="15798"/>
                    </a:lnTo>
                    <a:lnTo>
                      <a:pt x="39734" y="15861"/>
                    </a:lnTo>
                    <a:lnTo>
                      <a:pt x="39629" y="15902"/>
                    </a:lnTo>
                    <a:lnTo>
                      <a:pt x="39462" y="16070"/>
                    </a:lnTo>
                    <a:lnTo>
                      <a:pt x="39462" y="16112"/>
                    </a:lnTo>
                    <a:lnTo>
                      <a:pt x="39546" y="16153"/>
                    </a:lnTo>
                    <a:lnTo>
                      <a:pt x="39650" y="16112"/>
                    </a:lnTo>
                    <a:lnTo>
                      <a:pt x="39818" y="16007"/>
                    </a:lnTo>
                    <a:lnTo>
                      <a:pt x="39880" y="16007"/>
                    </a:lnTo>
                    <a:lnTo>
                      <a:pt x="40027" y="15965"/>
                    </a:lnTo>
                    <a:lnTo>
                      <a:pt x="40069" y="15881"/>
                    </a:lnTo>
                    <a:lnTo>
                      <a:pt x="40132" y="15861"/>
                    </a:lnTo>
                    <a:lnTo>
                      <a:pt x="40236" y="15777"/>
                    </a:lnTo>
                    <a:lnTo>
                      <a:pt x="40278" y="15777"/>
                    </a:lnTo>
                    <a:lnTo>
                      <a:pt x="40278" y="15840"/>
                    </a:lnTo>
                    <a:lnTo>
                      <a:pt x="40236" y="15861"/>
                    </a:lnTo>
                    <a:lnTo>
                      <a:pt x="40152" y="15965"/>
                    </a:lnTo>
                    <a:lnTo>
                      <a:pt x="40090" y="16070"/>
                    </a:lnTo>
                    <a:lnTo>
                      <a:pt x="40027" y="16112"/>
                    </a:lnTo>
                    <a:lnTo>
                      <a:pt x="39943" y="16195"/>
                    </a:lnTo>
                    <a:lnTo>
                      <a:pt x="39839" y="16216"/>
                    </a:lnTo>
                    <a:lnTo>
                      <a:pt x="39776" y="16258"/>
                    </a:lnTo>
                    <a:lnTo>
                      <a:pt x="39713" y="16384"/>
                    </a:lnTo>
                    <a:lnTo>
                      <a:pt x="39713" y="16426"/>
                    </a:lnTo>
                    <a:lnTo>
                      <a:pt x="39734" y="16467"/>
                    </a:lnTo>
                    <a:lnTo>
                      <a:pt x="39776" y="16426"/>
                    </a:lnTo>
                    <a:lnTo>
                      <a:pt x="39860" y="16426"/>
                    </a:lnTo>
                    <a:lnTo>
                      <a:pt x="39943" y="16467"/>
                    </a:lnTo>
                    <a:lnTo>
                      <a:pt x="39860" y="16488"/>
                    </a:lnTo>
                    <a:lnTo>
                      <a:pt x="39776" y="16509"/>
                    </a:lnTo>
                    <a:lnTo>
                      <a:pt x="39734" y="16551"/>
                    </a:lnTo>
                    <a:lnTo>
                      <a:pt x="39734" y="16593"/>
                    </a:lnTo>
                    <a:lnTo>
                      <a:pt x="39776" y="16614"/>
                    </a:lnTo>
                    <a:lnTo>
                      <a:pt x="39860" y="16593"/>
                    </a:lnTo>
                    <a:lnTo>
                      <a:pt x="39922" y="16572"/>
                    </a:lnTo>
                    <a:lnTo>
                      <a:pt x="39839" y="16677"/>
                    </a:lnTo>
                    <a:lnTo>
                      <a:pt x="39755" y="16698"/>
                    </a:lnTo>
                    <a:lnTo>
                      <a:pt x="39734" y="16739"/>
                    </a:lnTo>
                    <a:lnTo>
                      <a:pt x="39755" y="16781"/>
                    </a:lnTo>
                    <a:lnTo>
                      <a:pt x="39839" y="16802"/>
                    </a:lnTo>
                    <a:lnTo>
                      <a:pt x="39922" y="16781"/>
                    </a:lnTo>
                    <a:lnTo>
                      <a:pt x="39985" y="16781"/>
                    </a:lnTo>
                    <a:lnTo>
                      <a:pt x="40027" y="16802"/>
                    </a:lnTo>
                    <a:lnTo>
                      <a:pt x="39964" y="16823"/>
                    </a:lnTo>
                    <a:lnTo>
                      <a:pt x="39964" y="16865"/>
                    </a:lnTo>
                    <a:lnTo>
                      <a:pt x="39860" y="16907"/>
                    </a:lnTo>
                    <a:lnTo>
                      <a:pt x="39839" y="16970"/>
                    </a:lnTo>
                    <a:lnTo>
                      <a:pt x="39860" y="17032"/>
                    </a:lnTo>
                    <a:lnTo>
                      <a:pt x="39922" y="17116"/>
                    </a:lnTo>
                    <a:lnTo>
                      <a:pt x="39922" y="17200"/>
                    </a:lnTo>
                    <a:lnTo>
                      <a:pt x="39943" y="17221"/>
                    </a:lnTo>
                    <a:lnTo>
                      <a:pt x="39985" y="17137"/>
                    </a:lnTo>
                    <a:lnTo>
                      <a:pt x="40048" y="17032"/>
                    </a:lnTo>
                    <a:lnTo>
                      <a:pt x="40090" y="16990"/>
                    </a:lnTo>
                    <a:lnTo>
                      <a:pt x="40132" y="16990"/>
                    </a:lnTo>
                    <a:lnTo>
                      <a:pt x="40090" y="17032"/>
                    </a:lnTo>
                    <a:lnTo>
                      <a:pt x="40090" y="17095"/>
                    </a:lnTo>
                    <a:lnTo>
                      <a:pt x="40048" y="17116"/>
                    </a:lnTo>
                    <a:lnTo>
                      <a:pt x="40048" y="17137"/>
                    </a:lnTo>
                    <a:lnTo>
                      <a:pt x="40090" y="17200"/>
                    </a:lnTo>
                    <a:lnTo>
                      <a:pt x="40069" y="17242"/>
                    </a:lnTo>
                    <a:lnTo>
                      <a:pt x="40132" y="17304"/>
                    </a:lnTo>
                    <a:lnTo>
                      <a:pt x="40152" y="17304"/>
                    </a:lnTo>
                    <a:lnTo>
                      <a:pt x="40173" y="17242"/>
                    </a:lnTo>
                    <a:lnTo>
                      <a:pt x="40257" y="17221"/>
                    </a:lnTo>
                    <a:lnTo>
                      <a:pt x="40278" y="17221"/>
                    </a:lnTo>
                    <a:lnTo>
                      <a:pt x="40278" y="17283"/>
                    </a:lnTo>
                    <a:lnTo>
                      <a:pt x="40236" y="17325"/>
                    </a:lnTo>
                    <a:lnTo>
                      <a:pt x="40236" y="17346"/>
                    </a:lnTo>
                    <a:lnTo>
                      <a:pt x="40278" y="17388"/>
                    </a:lnTo>
                    <a:lnTo>
                      <a:pt x="40278" y="17430"/>
                    </a:lnTo>
                    <a:lnTo>
                      <a:pt x="40299" y="17451"/>
                    </a:lnTo>
                    <a:lnTo>
                      <a:pt x="40299" y="17514"/>
                    </a:lnTo>
                    <a:lnTo>
                      <a:pt x="40362" y="17534"/>
                    </a:lnTo>
                    <a:lnTo>
                      <a:pt x="40383" y="17493"/>
                    </a:lnTo>
                    <a:lnTo>
                      <a:pt x="40487" y="17451"/>
                    </a:lnTo>
                    <a:lnTo>
                      <a:pt x="40508" y="17388"/>
                    </a:lnTo>
                    <a:lnTo>
                      <a:pt x="40508" y="17325"/>
                    </a:lnTo>
                    <a:lnTo>
                      <a:pt x="40445" y="17242"/>
                    </a:lnTo>
                    <a:lnTo>
                      <a:pt x="40466" y="17242"/>
                    </a:lnTo>
                    <a:lnTo>
                      <a:pt x="40508" y="17283"/>
                    </a:lnTo>
                    <a:lnTo>
                      <a:pt x="40550" y="17283"/>
                    </a:lnTo>
                    <a:lnTo>
                      <a:pt x="40550" y="17221"/>
                    </a:lnTo>
                    <a:lnTo>
                      <a:pt x="40508" y="17137"/>
                    </a:lnTo>
                    <a:lnTo>
                      <a:pt x="40508" y="17095"/>
                    </a:lnTo>
                    <a:lnTo>
                      <a:pt x="40571" y="17074"/>
                    </a:lnTo>
                    <a:lnTo>
                      <a:pt x="40571" y="16990"/>
                    </a:lnTo>
                    <a:lnTo>
                      <a:pt x="40571" y="16928"/>
                    </a:lnTo>
                    <a:lnTo>
                      <a:pt x="40508" y="16928"/>
                    </a:lnTo>
                    <a:lnTo>
                      <a:pt x="40466" y="16886"/>
                    </a:lnTo>
                    <a:lnTo>
                      <a:pt x="40466" y="16865"/>
                    </a:lnTo>
                    <a:lnTo>
                      <a:pt x="40487" y="16886"/>
                    </a:lnTo>
                    <a:lnTo>
                      <a:pt x="40571" y="16907"/>
                    </a:lnTo>
                    <a:lnTo>
                      <a:pt x="40613" y="16865"/>
                    </a:lnTo>
                    <a:lnTo>
                      <a:pt x="40592" y="16802"/>
                    </a:lnTo>
                    <a:lnTo>
                      <a:pt x="40550" y="16802"/>
                    </a:lnTo>
                    <a:lnTo>
                      <a:pt x="40508" y="16781"/>
                    </a:lnTo>
                    <a:lnTo>
                      <a:pt x="40592" y="16781"/>
                    </a:lnTo>
                    <a:lnTo>
                      <a:pt x="40655" y="16718"/>
                    </a:lnTo>
                    <a:lnTo>
                      <a:pt x="40655" y="16572"/>
                    </a:lnTo>
                    <a:lnTo>
                      <a:pt x="40676" y="16509"/>
                    </a:lnTo>
                    <a:lnTo>
                      <a:pt x="40696" y="16572"/>
                    </a:lnTo>
                    <a:lnTo>
                      <a:pt x="40696" y="16656"/>
                    </a:lnTo>
                    <a:lnTo>
                      <a:pt x="40717" y="16718"/>
                    </a:lnTo>
                    <a:lnTo>
                      <a:pt x="40696" y="16802"/>
                    </a:lnTo>
                    <a:lnTo>
                      <a:pt x="40759" y="16823"/>
                    </a:lnTo>
                    <a:lnTo>
                      <a:pt x="40822" y="16802"/>
                    </a:lnTo>
                    <a:lnTo>
                      <a:pt x="40864" y="16760"/>
                    </a:lnTo>
                    <a:lnTo>
                      <a:pt x="40906" y="16718"/>
                    </a:lnTo>
                    <a:lnTo>
                      <a:pt x="40906" y="16823"/>
                    </a:lnTo>
                    <a:lnTo>
                      <a:pt x="40927" y="16865"/>
                    </a:lnTo>
                    <a:lnTo>
                      <a:pt x="40989" y="16865"/>
                    </a:lnTo>
                    <a:lnTo>
                      <a:pt x="41010" y="16823"/>
                    </a:lnTo>
                    <a:lnTo>
                      <a:pt x="41010" y="16698"/>
                    </a:lnTo>
                    <a:lnTo>
                      <a:pt x="41010" y="16593"/>
                    </a:lnTo>
                    <a:lnTo>
                      <a:pt x="40969" y="16572"/>
                    </a:lnTo>
                    <a:lnTo>
                      <a:pt x="40927" y="16551"/>
                    </a:lnTo>
                    <a:lnTo>
                      <a:pt x="41010" y="16572"/>
                    </a:lnTo>
                    <a:lnTo>
                      <a:pt x="41094" y="16614"/>
                    </a:lnTo>
                    <a:lnTo>
                      <a:pt x="41115" y="16698"/>
                    </a:lnTo>
                    <a:lnTo>
                      <a:pt x="41178" y="16698"/>
                    </a:lnTo>
                    <a:lnTo>
                      <a:pt x="41199" y="16656"/>
                    </a:lnTo>
                    <a:lnTo>
                      <a:pt x="41199" y="16509"/>
                    </a:lnTo>
                    <a:lnTo>
                      <a:pt x="41136" y="16446"/>
                    </a:lnTo>
                    <a:lnTo>
                      <a:pt x="41031" y="16363"/>
                    </a:lnTo>
                    <a:lnTo>
                      <a:pt x="41010" y="16300"/>
                    </a:lnTo>
                    <a:lnTo>
                      <a:pt x="41031" y="16300"/>
                    </a:lnTo>
                    <a:lnTo>
                      <a:pt x="41094" y="16363"/>
                    </a:lnTo>
                    <a:lnTo>
                      <a:pt x="41199" y="16446"/>
                    </a:lnTo>
                    <a:lnTo>
                      <a:pt x="41220" y="16509"/>
                    </a:lnTo>
                    <a:lnTo>
                      <a:pt x="41387" y="16509"/>
                    </a:lnTo>
                    <a:lnTo>
                      <a:pt x="41408" y="16446"/>
                    </a:lnTo>
                    <a:lnTo>
                      <a:pt x="41387" y="16384"/>
                    </a:lnTo>
                    <a:lnTo>
                      <a:pt x="41324" y="16363"/>
                    </a:lnTo>
                    <a:lnTo>
                      <a:pt x="41282" y="16300"/>
                    </a:lnTo>
                    <a:lnTo>
                      <a:pt x="41178" y="16300"/>
                    </a:lnTo>
                    <a:lnTo>
                      <a:pt x="41115" y="16258"/>
                    </a:lnTo>
                    <a:lnTo>
                      <a:pt x="41136" y="16153"/>
                    </a:lnTo>
                    <a:lnTo>
                      <a:pt x="41178" y="16195"/>
                    </a:lnTo>
                    <a:lnTo>
                      <a:pt x="41241" y="16258"/>
                    </a:lnTo>
                    <a:lnTo>
                      <a:pt x="41324" y="16258"/>
                    </a:lnTo>
                    <a:lnTo>
                      <a:pt x="41345" y="16195"/>
                    </a:lnTo>
                    <a:lnTo>
                      <a:pt x="41324" y="16133"/>
                    </a:lnTo>
                    <a:lnTo>
                      <a:pt x="41282" y="16091"/>
                    </a:lnTo>
                    <a:lnTo>
                      <a:pt x="41282" y="16049"/>
                    </a:lnTo>
                    <a:lnTo>
                      <a:pt x="41324" y="16028"/>
                    </a:lnTo>
                    <a:lnTo>
                      <a:pt x="41345" y="16049"/>
                    </a:lnTo>
                    <a:lnTo>
                      <a:pt x="41429" y="16091"/>
                    </a:lnTo>
                    <a:lnTo>
                      <a:pt x="41429" y="16153"/>
                    </a:lnTo>
                    <a:lnTo>
                      <a:pt x="41408" y="16237"/>
                    </a:lnTo>
                    <a:lnTo>
                      <a:pt x="41513" y="16258"/>
                    </a:lnTo>
                    <a:lnTo>
                      <a:pt x="41617" y="16279"/>
                    </a:lnTo>
                    <a:lnTo>
                      <a:pt x="41701" y="16258"/>
                    </a:lnTo>
                    <a:lnTo>
                      <a:pt x="41764" y="16258"/>
                    </a:lnTo>
                    <a:lnTo>
                      <a:pt x="41826" y="16174"/>
                    </a:lnTo>
                    <a:lnTo>
                      <a:pt x="41826" y="16133"/>
                    </a:lnTo>
                    <a:lnTo>
                      <a:pt x="41638" y="16133"/>
                    </a:lnTo>
                    <a:lnTo>
                      <a:pt x="41617" y="16091"/>
                    </a:lnTo>
                    <a:lnTo>
                      <a:pt x="41659" y="16049"/>
                    </a:lnTo>
                    <a:lnTo>
                      <a:pt x="41743" y="16070"/>
                    </a:lnTo>
                    <a:lnTo>
                      <a:pt x="41805" y="16049"/>
                    </a:lnTo>
                    <a:lnTo>
                      <a:pt x="41764" y="15986"/>
                    </a:lnTo>
                    <a:lnTo>
                      <a:pt x="41722" y="15965"/>
                    </a:lnTo>
                    <a:lnTo>
                      <a:pt x="41743" y="15944"/>
                    </a:lnTo>
                    <a:lnTo>
                      <a:pt x="41722" y="15881"/>
                    </a:lnTo>
                    <a:lnTo>
                      <a:pt x="41659" y="15861"/>
                    </a:lnTo>
                    <a:lnTo>
                      <a:pt x="41596" y="15881"/>
                    </a:lnTo>
                    <a:lnTo>
                      <a:pt x="41638" y="15819"/>
                    </a:lnTo>
                    <a:lnTo>
                      <a:pt x="41701" y="15756"/>
                    </a:lnTo>
                    <a:lnTo>
                      <a:pt x="41722" y="15777"/>
                    </a:lnTo>
                    <a:lnTo>
                      <a:pt x="41764" y="15819"/>
                    </a:lnTo>
                    <a:lnTo>
                      <a:pt x="41826" y="15881"/>
                    </a:lnTo>
                    <a:lnTo>
                      <a:pt x="41826" y="15965"/>
                    </a:lnTo>
                    <a:lnTo>
                      <a:pt x="41952" y="15965"/>
                    </a:lnTo>
                    <a:lnTo>
                      <a:pt x="42015" y="15944"/>
                    </a:lnTo>
                    <a:lnTo>
                      <a:pt x="42036" y="15923"/>
                    </a:lnTo>
                    <a:lnTo>
                      <a:pt x="42015" y="15840"/>
                    </a:lnTo>
                    <a:lnTo>
                      <a:pt x="41931" y="15777"/>
                    </a:lnTo>
                    <a:lnTo>
                      <a:pt x="41931" y="15714"/>
                    </a:lnTo>
                    <a:lnTo>
                      <a:pt x="41910" y="15651"/>
                    </a:lnTo>
                    <a:lnTo>
                      <a:pt x="41805" y="15651"/>
                    </a:lnTo>
                    <a:lnTo>
                      <a:pt x="41847" y="15547"/>
                    </a:lnTo>
                    <a:lnTo>
                      <a:pt x="41805" y="15463"/>
                    </a:lnTo>
                    <a:lnTo>
                      <a:pt x="41701" y="15463"/>
                    </a:lnTo>
                    <a:lnTo>
                      <a:pt x="41743" y="15400"/>
                    </a:lnTo>
                    <a:lnTo>
                      <a:pt x="41722" y="15358"/>
                    </a:lnTo>
                    <a:lnTo>
                      <a:pt x="41596" y="15442"/>
                    </a:lnTo>
                    <a:lnTo>
                      <a:pt x="41533" y="15526"/>
                    </a:lnTo>
                    <a:lnTo>
                      <a:pt x="41554" y="15651"/>
                    </a:lnTo>
                    <a:lnTo>
                      <a:pt x="41533" y="15651"/>
                    </a:lnTo>
                    <a:lnTo>
                      <a:pt x="41492" y="15609"/>
                    </a:lnTo>
                    <a:lnTo>
                      <a:pt x="41492" y="15442"/>
                    </a:lnTo>
                    <a:lnTo>
                      <a:pt x="41450" y="15421"/>
                    </a:lnTo>
                    <a:lnTo>
                      <a:pt x="41408" y="15442"/>
                    </a:lnTo>
                    <a:lnTo>
                      <a:pt x="41408" y="15526"/>
                    </a:lnTo>
                    <a:lnTo>
                      <a:pt x="41324" y="15651"/>
                    </a:lnTo>
                    <a:lnTo>
                      <a:pt x="41282" y="15714"/>
                    </a:lnTo>
                    <a:lnTo>
                      <a:pt x="41282" y="15714"/>
                    </a:lnTo>
                    <a:lnTo>
                      <a:pt x="41303" y="15630"/>
                    </a:lnTo>
                    <a:lnTo>
                      <a:pt x="41303" y="15505"/>
                    </a:lnTo>
                    <a:lnTo>
                      <a:pt x="41387" y="15358"/>
                    </a:lnTo>
                    <a:lnTo>
                      <a:pt x="41387" y="15296"/>
                    </a:lnTo>
                    <a:lnTo>
                      <a:pt x="41282" y="15317"/>
                    </a:lnTo>
                    <a:lnTo>
                      <a:pt x="41178" y="15442"/>
                    </a:lnTo>
                    <a:lnTo>
                      <a:pt x="41178" y="15505"/>
                    </a:lnTo>
                    <a:lnTo>
                      <a:pt x="41094" y="15568"/>
                    </a:lnTo>
                    <a:lnTo>
                      <a:pt x="41010" y="15568"/>
                    </a:lnTo>
                    <a:lnTo>
                      <a:pt x="41010" y="15505"/>
                    </a:lnTo>
                    <a:lnTo>
                      <a:pt x="41073" y="15400"/>
                    </a:lnTo>
                    <a:lnTo>
                      <a:pt x="41199" y="15337"/>
                    </a:lnTo>
                    <a:lnTo>
                      <a:pt x="41241" y="15233"/>
                    </a:lnTo>
                    <a:lnTo>
                      <a:pt x="41303" y="15149"/>
                    </a:lnTo>
                    <a:lnTo>
                      <a:pt x="41345" y="15149"/>
                    </a:lnTo>
                    <a:lnTo>
                      <a:pt x="41429" y="15086"/>
                    </a:lnTo>
                    <a:lnTo>
                      <a:pt x="41450" y="15024"/>
                    </a:lnTo>
                    <a:lnTo>
                      <a:pt x="41387" y="15003"/>
                    </a:lnTo>
                    <a:lnTo>
                      <a:pt x="41282" y="15086"/>
                    </a:lnTo>
                    <a:lnTo>
                      <a:pt x="41199" y="15149"/>
                    </a:lnTo>
                    <a:lnTo>
                      <a:pt x="41115" y="15191"/>
                    </a:lnTo>
                    <a:lnTo>
                      <a:pt x="41010" y="15296"/>
                    </a:lnTo>
                    <a:lnTo>
                      <a:pt x="41073" y="15191"/>
                    </a:lnTo>
                    <a:lnTo>
                      <a:pt x="41136" y="15086"/>
                    </a:lnTo>
                    <a:lnTo>
                      <a:pt x="41115" y="15086"/>
                    </a:lnTo>
                    <a:lnTo>
                      <a:pt x="41010" y="15107"/>
                    </a:lnTo>
                    <a:lnTo>
                      <a:pt x="40969" y="15149"/>
                    </a:lnTo>
                    <a:lnTo>
                      <a:pt x="40801" y="15128"/>
                    </a:lnTo>
                    <a:lnTo>
                      <a:pt x="40696" y="15128"/>
                    </a:lnTo>
                    <a:lnTo>
                      <a:pt x="40655" y="15086"/>
                    </a:lnTo>
                    <a:lnTo>
                      <a:pt x="40759" y="15086"/>
                    </a:lnTo>
                    <a:lnTo>
                      <a:pt x="40969" y="15024"/>
                    </a:lnTo>
                    <a:lnTo>
                      <a:pt x="40864" y="14982"/>
                    </a:lnTo>
                    <a:lnTo>
                      <a:pt x="40780" y="14919"/>
                    </a:lnTo>
                    <a:lnTo>
                      <a:pt x="40864" y="14919"/>
                    </a:lnTo>
                    <a:lnTo>
                      <a:pt x="40927" y="14898"/>
                    </a:lnTo>
                    <a:lnTo>
                      <a:pt x="40885" y="14793"/>
                    </a:lnTo>
                    <a:lnTo>
                      <a:pt x="40801" y="14773"/>
                    </a:lnTo>
                    <a:lnTo>
                      <a:pt x="40801" y="14731"/>
                    </a:lnTo>
                    <a:lnTo>
                      <a:pt x="40885" y="14689"/>
                    </a:lnTo>
                    <a:lnTo>
                      <a:pt x="40885" y="14605"/>
                    </a:lnTo>
                    <a:lnTo>
                      <a:pt x="40864" y="14480"/>
                    </a:lnTo>
                    <a:lnTo>
                      <a:pt x="40822" y="14417"/>
                    </a:lnTo>
                    <a:lnTo>
                      <a:pt x="40696" y="14480"/>
                    </a:lnTo>
                    <a:lnTo>
                      <a:pt x="40655" y="14521"/>
                    </a:lnTo>
                    <a:lnTo>
                      <a:pt x="40592" y="14501"/>
                    </a:lnTo>
                    <a:lnTo>
                      <a:pt x="40571" y="14521"/>
                    </a:lnTo>
                    <a:lnTo>
                      <a:pt x="40550" y="14501"/>
                    </a:lnTo>
                    <a:lnTo>
                      <a:pt x="40592" y="14417"/>
                    </a:lnTo>
                    <a:lnTo>
                      <a:pt x="40613" y="14312"/>
                    </a:lnTo>
                    <a:lnTo>
                      <a:pt x="40759" y="14291"/>
                    </a:lnTo>
                    <a:lnTo>
                      <a:pt x="40801" y="14249"/>
                    </a:lnTo>
                    <a:lnTo>
                      <a:pt x="40801" y="14103"/>
                    </a:lnTo>
                    <a:lnTo>
                      <a:pt x="40780" y="14061"/>
                    </a:lnTo>
                    <a:lnTo>
                      <a:pt x="40696" y="14145"/>
                    </a:lnTo>
                    <a:lnTo>
                      <a:pt x="40571" y="14249"/>
                    </a:lnTo>
                    <a:lnTo>
                      <a:pt x="40508" y="14312"/>
                    </a:lnTo>
                    <a:lnTo>
                      <a:pt x="40445" y="14375"/>
                    </a:lnTo>
                    <a:lnTo>
                      <a:pt x="40445" y="14480"/>
                    </a:lnTo>
                    <a:lnTo>
                      <a:pt x="40445" y="14563"/>
                    </a:lnTo>
                    <a:lnTo>
                      <a:pt x="40278" y="14291"/>
                    </a:lnTo>
                    <a:lnTo>
                      <a:pt x="40278" y="14187"/>
                    </a:lnTo>
                    <a:lnTo>
                      <a:pt x="40278" y="14082"/>
                    </a:lnTo>
                    <a:lnTo>
                      <a:pt x="40341" y="13998"/>
                    </a:lnTo>
                    <a:lnTo>
                      <a:pt x="40424" y="13873"/>
                    </a:lnTo>
                    <a:lnTo>
                      <a:pt x="40466" y="13789"/>
                    </a:lnTo>
                    <a:lnTo>
                      <a:pt x="40424" y="13768"/>
                    </a:lnTo>
                    <a:lnTo>
                      <a:pt x="40362" y="13831"/>
                    </a:lnTo>
                    <a:lnTo>
                      <a:pt x="40299" y="13894"/>
                    </a:lnTo>
                    <a:lnTo>
                      <a:pt x="40299" y="13936"/>
                    </a:lnTo>
                    <a:lnTo>
                      <a:pt x="40194" y="13977"/>
                    </a:lnTo>
                    <a:lnTo>
                      <a:pt x="40152" y="14061"/>
                    </a:lnTo>
                    <a:lnTo>
                      <a:pt x="40152" y="14103"/>
                    </a:lnTo>
                    <a:lnTo>
                      <a:pt x="40069" y="14249"/>
                    </a:lnTo>
                    <a:lnTo>
                      <a:pt x="40027" y="14270"/>
                    </a:lnTo>
                    <a:lnTo>
                      <a:pt x="40027" y="14187"/>
                    </a:lnTo>
                    <a:lnTo>
                      <a:pt x="40069" y="14082"/>
                    </a:lnTo>
                    <a:lnTo>
                      <a:pt x="40173" y="13894"/>
                    </a:lnTo>
                    <a:lnTo>
                      <a:pt x="40215" y="13852"/>
                    </a:lnTo>
                    <a:lnTo>
                      <a:pt x="40194" y="13768"/>
                    </a:lnTo>
                    <a:lnTo>
                      <a:pt x="40111" y="13768"/>
                    </a:lnTo>
                    <a:lnTo>
                      <a:pt x="40048" y="13852"/>
                    </a:lnTo>
                    <a:lnTo>
                      <a:pt x="40048" y="13936"/>
                    </a:lnTo>
                    <a:lnTo>
                      <a:pt x="40006" y="13957"/>
                    </a:lnTo>
                    <a:lnTo>
                      <a:pt x="40006" y="13873"/>
                    </a:lnTo>
                    <a:lnTo>
                      <a:pt x="40069" y="13747"/>
                    </a:lnTo>
                    <a:lnTo>
                      <a:pt x="40090" y="13685"/>
                    </a:lnTo>
                    <a:lnTo>
                      <a:pt x="40048" y="13622"/>
                    </a:lnTo>
                    <a:lnTo>
                      <a:pt x="39943" y="13580"/>
                    </a:lnTo>
                    <a:lnTo>
                      <a:pt x="39964" y="13559"/>
                    </a:lnTo>
                    <a:lnTo>
                      <a:pt x="39901" y="13517"/>
                    </a:lnTo>
                    <a:lnTo>
                      <a:pt x="39776" y="13517"/>
                    </a:lnTo>
                    <a:lnTo>
                      <a:pt x="39692" y="13538"/>
                    </a:lnTo>
                    <a:lnTo>
                      <a:pt x="39734" y="13454"/>
                    </a:lnTo>
                    <a:lnTo>
                      <a:pt x="39818" y="13433"/>
                    </a:lnTo>
                    <a:lnTo>
                      <a:pt x="39713" y="13413"/>
                    </a:lnTo>
                    <a:lnTo>
                      <a:pt x="39567" y="13413"/>
                    </a:lnTo>
                    <a:lnTo>
                      <a:pt x="39504" y="13517"/>
                    </a:lnTo>
                    <a:lnTo>
                      <a:pt x="39504" y="13433"/>
                    </a:lnTo>
                    <a:lnTo>
                      <a:pt x="39671" y="13350"/>
                    </a:lnTo>
                    <a:lnTo>
                      <a:pt x="39818" y="13329"/>
                    </a:lnTo>
                    <a:lnTo>
                      <a:pt x="39860" y="13371"/>
                    </a:lnTo>
                    <a:lnTo>
                      <a:pt x="39964" y="13392"/>
                    </a:lnTo>
                    <a:lnTo>
                      <a:pt x="39985" y="13350"/>
                    </a:lnTo>
                    <a:lnTo>
                      <a:pt x="40027" y="13266"/>
                    </a:lnTo>
                    <a:lnTo>
                      <a:pt x="39943" y="13266"/>
                    </a:lnTo>
                    <a:lnTo>
                      <a:pt x="39839" y="13245"/>
                    </a:lnTo>
                    <a:lnTo>
                      <a:pt x="39734" y="13182"/>
                    </a:lnTo>
                    <a:lnTo>
                      <a:pt x="39650" y="13182"/>
                    </a:lnTo>
                    <a:lnTo>
                      <a:pt x="39650" y="13287"/>
                    </a:lnTo>
                    <a:lnTo>
                      <a:pt x="39608" y="13287"/>
                    </a:lnTo>
                    <a:lnTo>
                      <a:pt x="39608" y="13245"/>
                    </a:lnTo>
                    <a:lnTo>
                      <a:pt x="39629" y="13182"/>
                    </a:lnTo>
                    <a:lnTo>
                      <a:pt x="39629" y="13140"/>
                    </a:lnTo>
                    <a:lnTo>
                      <a:pt x="39525" y="13140"/>
                    </a:lnTo>
                    <a:lnTo>
                      <a:pt x="39525" y="13182"/>
                    </a:lnTo>
                    <a:lnTo>
                      <a:pt x="39462" y="13224"/>
                    </a:lnTo>
                    <a:lnTo>
                      <a:pt x="39441" y="13161"/>
                    </a:lnTo>
                    <a:lnTo>
                      <a:pt x="39441" y="13078"/>
                    </a:lnTo>
                    <a:lnTo>
                      <a:pt x="39399" y="13057"/>
                    </a:lnTo>
                    <a:lnTo>
                      <a:pt x="39357" y="13078"/>
                    </a:lnTo>
                    <a:lnTo>
                      <a:pt x="39316" y="13036"/>
                    </a:lnTo>
                    <a:lnTo>
                      <a:pt x="39232" y="12994"/>
                    </a:lnTo>
                    <a:lnTo>
                      <a:pt x="39148" y="12994"/>
                    </a:lnTo>
                    <a:lnTo>
                      <a:pt x="39232" y="12910"/>
                    </a:lnTo>
                    <a:lnTo>
                      <a:pt x="39295" y="12868"/>
                    </a:lnTo>
                    <a:lnTo>
                      <a:pt x="39441" y="12973"/>
                    </a:lnTo>
                    <a:lnTo>
                      <a:pt x="39504" y="12973"/>
                    </a:lnTo>
                    <a:lnTo>
                      <a:pt x="39462" y="12931"/>
                    </a:lnTo>
                    <a:lnTo>
                      <a:pt x="39169" y="12764"/>
                    </a:lnTo>
                    <a:lnTo>
                      <a:pt x="39044" y="12743"/>
                    </a:lnTo>
                    <a:lnTo>
                      <a:pt x="39023" y="12722"/>
                    </a:lnTo>
                    <a:lnTo>
                      <a:pt x="39106" y="12722"/>
                    </a:lnTo>
                    <a:lnTo>
                      <a:pt x="39316" y="12806"/>
                    </a:lnTo>
                    <a:lnTo>
                      <a:pt x="39441" y="12806"/>
                    </a:lnTo>
                    <a:lnTo>
                      <a:pt x="39650" y="12848"/>
                    </a:lnTo>
                    <a:lnTo>
                      <a:pt x="39692" y="12848"/>
                    </a:lnTo>
                    <a:lnTo>
                      <a:pt x="39671" y="12806"/>
                    </a:lnTo>
                    <a:lnTo>
                      <a:pt x="39671" y="12722"/>
                    </a:lnTo>
                    <a:lnTo>
                      <a:pt x="39629" y="12659"/>
                    </a:lnTo>
                    <a:lnTo>
                      <a:pt x="39546" y="12638"/>
                    </a:lnTo>
                    <a:lnTo>
                      <a:pt x="39462" y="12596"/>
                    </a:lnTo>
                    <a:lnTo>
                      <a:pt x="39483" y="12555"/>
                    </a:lnTo>
                    <a:lnTo>
                      <a:pt x="39546" y="12555"/>
                    </a:lnTo>
                    <a:lnTo>
                      <a:pt x="39567" y="12617"/>
                    </a:lnTo>
                    <a:lnTo>
                      <a:pt x="39629" y="12638"/>
                    </a:lnTo>
                    <a:lnTo>
                      <a:pt x="39671" y="12617"/>
                    </a:lnTo>
                    <a:lnTo>
                      <a:pt x="39776" y="12617"/>
                    </a:lnTo>
                    <a:lnTo>
                      <a:pt x="39797" y="12596"/>
                    </a:lnTo>
                    <a:lnTo>
                      <a:pt x="39797" y="12534"/>
                    </a:lnTo>
                    <a:lnTo>
                      <a:pt x="39734" y="12513"/>
                    </a:lnTo>
                    <a:lnTo>
                      <a:pt x="39734" y="12450"/>
                    </a:lnTo>
                    <a:lnTo>
                      <a:pt x="39671" y="12387"/>
                    </a:lnTo>
                    <a:lnTo>
                      <a:pt x="39588" y="12408"/>
                    </a:lnTo>
                    <a:lnTo>
                      <a:pt x="39525" y="12450"/>
                    </a:lnTo>
                    <a:lnTo>
                      <a:pt x="39378" y="12450"/>
                    </a:lnTo>
                    <a:lnTo>
                      <a:pt x="39357" y="12513"/>
                    </a:lnTo>
                    <a:lnTo>
                      <a:pt x="39316" y="12513"/>
                    </a:lnTo>
                    <a:lnTo>
                      <a:pt x="39274" y="12429"/>
                    </a:lnTo>
                    <a:lnTo>
                      <a:pt x="39378" y="12387"/>
                    </a:lnTo>
                    <a:lnTo>
                      <a:pt x="39525" y="12387"/>
                    </a:lnTo>
                    <a:lnTo>
                      <a:pt x="39567" y="12345"/>
                    </a:lnTo>
                    <a:lnTo>
                      <a:pt x="39692" y="12345"/>
                    </a:lnTo>
                    <a:lnTo>
                      <a:pt x="39734" y="12304"/>
                    </a:lnTo>
                    <a:lnTo>
                      <a:pt x="39650" y="12283"/>
                    </a:lnTo>
                    <a:lnTo>
                      <a:pt x="39546" y="12241"/>
                    </a:lnTo>
                    <a:lnTo>
                      <a:pt x="39525" y="12199"/>
                    </a:lnTo>
                    <a:lnTo>
                      <a:pt x="39588" y="12241"/>
                    </a:lnTo>
                    <a:lnTo>
                      <a:pt x="39776" y="12241"/>
                    </a:lnTo>
                    <a:lnTo>
                      <a:pt x="39839" y="12283"/>
                    </a:lnTo>
                    <a:lnTo>
                      <a:pt x="39964" y="12429"/>
                    </a:lnTo>
                    <a:lnTo>
                      <a:pt x="40048" y="12450"/>
                    </a:lnTo>
                    <a:lnTo>
                      <a:pt x="40090" y="12429"/>
                    </a:lnTo>
                    <a:lnTo>
                      <a:pt x="40111" y="12492"/>
                    </a:lnTo>
                    <a:lnTo>
                      <a:pt x="40173" y="12513"/>
                    </a:lnTo>
                    <a:lnTo>
                      <a:pt x="40215" y="12450"/>
                    </a:lnTo>
                    <a:lnTo>
                      <a:pt x="40278" y="12450"/>
                    </a:lnTo>
                    <a:lnTo>
                      <a:pt x="40320" y="12555"/>
                    </a:lnTo>
                    <a:lnTo>
                      <a:pt x="40404" y="12555"/>
                    </a:lnTo>
                    <a:lnTo>
                      <a:pt x="40466" y="12534"/>
                    </a:lnTo>
                    <a:lnTo>
                      <a:pt x="40466" y="12408"/>
                    </a:lnTo>
                    <a:lnTo>
                      <a:pt x="40404" y="12324"/>
                    </a:lnTo>
                    <a:lnTo>
                      <a:pt x="40383" y="12241"/>
                    </a:lnTo>
                    <a:lnTo>
                      <a:pt x="40278" y="12199"/>
                    </a:lnTo>
                    <a:lnTo>
                      <a:pt x="40194" y="12136"/>
                    </a:lnTo>
                    <a:lnTo>
                      <a:pt x="40152" y="12115"/>
                    </a:lnTo>
                    <a:lnTo>
                      <a:pt x="40090" y="12136"/>
                    </a:lnTo>
                    <a:lnTo>
                      <a:pt x="40048" y="12178"/>
                    </a:lnTo>
                    <a:lnTo>
                      <a:pt x="39964" y="12115"/>
                    </a:lnTo>
                    <a:lnTo>
                      <a:pt x="39797" y="11990"/>
                    </a:lnTo>
                    <a:lnTo>
                      <a:pt x="39692" y="11969"/>
                    </a:lnTo>
                    <a:lnTo>
                      <a:pt x="39483" y="11990"/>
                    </a:lnTo>
                    <a:lnTo>
                      <a:pt x="39420" y="11969"/>
                    </a:lnTo>
                    <a:lnTo>
                      <a:pt x="39588" y="11927"/>
                    </a:lnTo>
                    <a:lnTo>
                      <a:pt x="39671" y="11864"/>
                    </a:lnTo>
                    <a:lnTo>
                      <a:pt x="39755" y="11864"/>
                    </a:lnTo>
                    <a:lnTo>
                      <a:pt x="39776" y="11885"/>
                    </a:lnTo>
                    <a:lnTo>
                      <a:pt x="39860" y="11885"/>
                    </a:lnTo>
                    <a:lnTo>
                      <a:pt x="39943" y="11822"/>
                    </a:lnTo>
                    <a:lnTo>
                      <a:pt x="40006" y="11780"/>
                    </a:lnTo>
                    <a:lnTo>
                      <a:pt x="40173" y="11780"/>
                    </a:lnTo>
                    <a:lnTo>
                      <a:pt x="40257" y="11822"/>
                    </a:lnTo>
                    <a:lnTo>
                      <a:pt x="40383" y="11822"/>
                    </a:lnTo>
                    <a:lnTo>
                      <a:pt x="40424" y="11760"/>
                    </a:lnTo>
                    <a:lnTo>
                      <a:pt x="40466" y="11676"/>
                    </a:lnTo>
                    <a:lnTo>
                      <a:pt x="40404" y="11592"/>
                    </a:lnTo>
                    <a:lnTo>
                      <a:pt x="40383" y="11467"/>
                    </a:lnTo>
                    <a:lnTo>
                      <a:pt x="40278" y="11236"/>
                    </a:lnTo>
                    <a:lnTo>
                      <a:pt x="40257" y="11090"/>
                    </a:lnTo>
                    <a:lnTo>
                      <a:pt x="40194" y="11132"/>
                    </a:lnTo>
                    <a:lnTo>
                      <a:pt x="40173" y="11090"/>
                    </a:lnTo>
                    <a:lnTo>
                      <a:pt x="40090" y="11132"/>
                    </a:lnTo>
                    <a:lnTo>
                      <a:pt x="40090" y="11174"/>
                    </a:lnTo>
                    <a:lnTo>
                      <a:pt x="40048" y="11278"/>
                    </a:lnTo>
                    <a:lnTo>
                      <a:pt x="40069" y="11299"/>
                    </a:lnTo>
                    <a:lnTo>
                      <a:pt x="40069" y="11383"/>
                    </a:lnTo>
                    <a:lnTo>
                      <a:pt x="40006" y="11404"/>
                    </a:lnTo>
                    <a:lnTo>
                      <a:pt x="39901" y="11467"/>
                    </a:lnTo>
                    <a:lnTo>
                      <a:pt x="39839" y="11550"/>
                    </a:lnTo>
                    <a:lnTo>
                      <a:pt x="39734" y="11508"/>
                    </a:lnTo>
                    <a:lnTo>
                      <a:pt x="39650" y="11488"/>
                    </a:lnTo>
                    <a:lnTo>
                      <a:pt x="39546" y="11508"/>
                    </a:lnTo>
                    <a:lnTo>
                      <a:pt x="39462" y="11613"/>
                    </a:lnTo>
                    <a:lnTo>
                      <a:pt x="39357" y="11718"/>
                    </a:lnTo>
                    <a:lnTo>
                      <a:pt x="39316" y="11697"/>
                    </a:lnTo>
                    <a:lnTo>
                      <a:pt x="39232" y="11676"/>
                    </a:lnTo>
                    <a:lnTo>
                      <a:pt x="39127" y="11697"/>
                    </a:lnTo>
                    <a:lnTo>
                      <a:pt x="39085" y="11697"/>
                    </a:lnTo>
                    <a:lnTo>
                      <a:pt x="39190" y="11592"/>
                    </a:lnTo>
                    <a:lnTo>
                      <a:pt x="39232" y="11571"/>
                    </a:lnTo>
                    <a:lnTo>
                      <a:pt x="39316" y="11613"/>
                    </a:lnTo>
                    <a:lnTo>
                      <a:pt x="39420" y="11571"/>
                    </a:lnTo>
                    <a:lnTo>
                      <a:pt x="39462" y="11467"/>
                    </a:lnTo>
                    <a:lnTo>
                      <a:pt x="39546" y="11404"/>
                    </a:lnTo>
                    <a:lnTo>
                      <a:pt x="39588" y="11404"/>
                    </a:lnTo>
                    <a:lnTo>
                      <a:pt x="39692" y="11362"/>
                    </a:lnTo>
                    <a:lnTo>
                      <a:pt x="39776" y="11299"/>
                    </a:lnTo>
                    <a:lnTo>
                      <a:pt x="39776" y="11174"/>
                    </a:lnTo>
                    <a:lnTo>
                      <a:pt x="39776" y="11132"/>
                    </a:lnTo>
                    <a:lnTo>
                      <a:pt x="39692" y="11132"/>
                    </a:lnTo>
                    <a:lnTo>
                      <a:pt x="39629" y="11153"/>
                    </a:lnTo>
                    <a:lnTo>
                      <a:pt x="39546" y="11132"/>
                    </a:lnTo>
                    <a:lnTo>
                      <a:pt x="39420" y="11132"/>
                    </a:lnTo>
                    <a:lnTo>
                      <a:pt x="39253" y="11278"/>
                    </a:lnTo>
                    <a:lnTo>
                      <a:pt x="39148" y="11383"/>
                    </a:lnTo>
                    <a:lnTo>
                      <a:pt x="38960" y="11404"/>
                    </a:lnTo>
                    <a:lnTo>
                      <a:pt x="39023" y="11362"/>
                    </a:lnTo>
                    <a:lnTo>
                      <a:pt x="39148" y="11341"/>
                    </a:lnTo>
                    <a:lnTo>
                      <a:pt x="39169" y="11257"/>
                    </a:lnTo>
                    <a:lnTo>
                      <a:pt x="39127" y="11236"/>
                    </a:lnTo>
                    <a:lnTo>
                      <a:pt x="39023" y="11236"/>
                    </a:lnTo>
                    <a:lnTo>
                      <a:pt x="39190" y="11153"/>
                    </a:lnTo>
                    <a:lnTo>
                      <a:pt x="39295" y="11153"/>
                    </a:lnTo>
                    <a:lnTo>
                      <a:pt x="39441" y="11048"/>
                    </a:lnTo>
                    <a:lnTo>
                      <a:pt x="39567" y="11048"/>
                    </a:lnTo>
                    <a:lnTo>
                      <a:pt x="39650" y="11027"/>
                    </a:lnTo>
                    <a:lnTo>
                      <a:pt x="39839" y="11027"/>
                    </a:lnTo>
                    <a:lnTo>
                      <a:pt x="39922" y="10944"/>
                    </a:lnTo>
                    <a:lnTo>
                      <a:pt x="39964" y="10881"/>
                    </a:lnTo>
                    <a:lnTo>
                      <a:pt x="39985" y="10839"/>
                    </a:lnTo>
                    <a:lnTo>
                      <a:pt x="40069" y="10818"/>
                    </a:lnTo>
                    <a:lnTo>
                      <a:pt x="40069" y="10923"/>
                    </a:lnTo>
                    <a:lnTo>
                      <a:pt x="40132" y="10944"/>
                    </a:lnTo>
                    <a:lnTo>
                      <a:pt x="40236" y="10839"/>
                    </a:lnTo>
                    <a:lnTo>
                      <a:pt x="40257" y="10734"/>
                    </a:lnTo>
                    <a:lnTo>
                      <a:pt x="40236" y="10672"/>
                    </a:lnTo>
                    <a:lnTo>
                      <a:pt x="40152" y="10630"/>
                    </a:lnTo>
                    <a:lnTo>
                      <a:pt x="40090" y="10525"/>
                    </a:lnTo>
                    <a:lnTo>
                      <a:pt x="39964" y="10400"/>
                    </a:lnTo>
                    <a:lnTo>
                      <a:pt x="39922" y="10295"/>
                    </a:lnTo>
                    <a:lnTo>
                      <a:pt x="39839" y="10295"/>
                    </a:lnTo>
                    <a:lnTo>
                      <a:pt x="39755" y="10337"/>
                    </a:lnTo>
                    <a:lnTo>
                      <a:pt x="39713" y="10400"/>
                    </a:lnTo>
                    <a:lnTo>
                      <a:pt x="39629" y="10420"/>
                    </a:lnTo>
                    <a:lnTo>
                      <a:pt x="39525" y="10504"/>
                    </a:lnTo>
                    <a:lnTo>
                      <a:pt x="39420" y="10504"/>
                    </a:lnTo>
                    <a:lnTo>
                      <a:pt x="39336" y="10567"/>
                    </a:lnTo>
                    <a:lnTo>
                      <a:pt x="39316" y="10546"/>
                    </a:lnTo>
                    <a:lnTo>
                      <a:pt x="39336" y="10441"/>
                    </a:lnTo>
                    <a:lnTo>
                      <a:pt x="39420" y="10400"/>
                    </a:lnTo>
                    <a:lnTo>
                      <a:pt x="39525" y="10400"/>
                    </a:lnTo>
                    <a:lnTo>
                      <a:pt x="39650" y="10253"/>
                    </a:lnTo>
                    <a:lnTo>
                      <a:pt x="39713" y="10190"/>
                    </a:lnTo>
                    <a:lnTo>
                      <a:pt x="39713" y="10127"/>
                    </a:lnTo>
                    <a:lnTo>
                      <a:pt x="39629" y="10148"/>
                    </a:lnTo>
                    <a:lnTo>
                      <a:pt x="39462" y="10211"/>
                    </a:lnTo>
                    <a:lnTo>
                      <a:pt x="39316" y="10316"/>
                    </a:lnTo>
                    <a:lnTo>
                      <a:pt x="39253" y="10316"/>
                    </a:lnTo>
                    <a:lnTo>
                      <a:pt x="39211" y="10358"/>
                    </a:lnTo>
                    <a:lnTo>
                      <a:pt x="39169" y="10441"/>
                    </a:lnTo>
                    <a:lnTo>
                      <a:pt x="39106" y="10630"/>
                    </a:lnTo>
                    <a:lnTo>
                      <a:pt x="38918" y="10839"/>
                    </a:lnTo>
                    <a:lnTo>
                      <a:pt x="38730" y="10944"/>
                    </a:lnTo>
                    <a:lnTo>
                      <a:pt x="38730" y="10923"/>
                    </a:lnTo>
                    <a:lnTo>
                      <a:pt x="38813" y="10839"/>
                    </a:lnTo>
                    <a:lnTo>
                      <a:pt x="38939" y="10713"/>
                    </a:lnTo>
                    <a:lnTo>
                      <a:pt x="39023" y="10567"/>
                    </a:lnTo>
                    <a:lnTo>
                      <a:pt x="39064" y="10525"/>
                    </a:lnTo>
                    <a:lnTo>
                      <a:pt x="39064" y="10462"/>
                    </a:lnTo>
                    <a:lnTo>
                      <a:pt x="39023" y="10462"/>
                    </a:lnTo>
                    <a:lnTo>
                      <a:pt x="39002" y="10441"/>
                    </a:lnTo>
                    <a:lnTo>
                      <a:pt x="38939" y="10462"/>
                    </a:lnTo>
                    <a:lnTo>
                      <a:pt x="38855" y="10609"/>
                    </a:lnTo>
                    <a:lnTo>
                      <a:pt x="38730" y="10734"/>
                    </a:lnTo>
                    <a:lnTo>
                      <a:pt x="38688" y="10734"/>
                    </a:lnTo>
                    <a:lnTo>
                      <a:pt x="38709" y="10651"/>
                    </a:lnTo>
                    <a:lnTo>
                      <a:pt x="38730" y="10567"/>
                    </a:lnTo>
                    <a:lnTo>
                      <a:pt x="38834" y="10462"/>
                    </a:lnTo>
                    <a:lnTo>
                      <a:pt x="38876" y="10400"/>
                    </a:lnTo>
                    <a:lnTo>
                      <a:pt x="38918" y="10316"/>
                    </a:lnTo>
                    <a:lnTo>
                      <a:pt x="39002" y="10316"/>
                    </a:lnTo>
                    <a:lnTo>
                      <a:pt x="39044" y="10337"/>
                    </a:lnTo>
                    <a:lnTo>
                      <a:pt x="39148" y="10337"/>
                    </a:lnTo>
                    <a:lnTo>
                      <a:pt x="39190" y="10295"/>
                    </a:lnTo>
                    <a:lnTo>
                      <a:pt x="39253" y="10211"/>
                    </a:lnTo>
                    <a:lnTo>
                      <a:pt x="39357" y="10148"/>
                    </a:lnTo>
                    <a:lnTo>
                      <a:pt x="39462" y="10023"/>
                    </a:lnTo>
                    <a:lnTo>
                      <a:pt x="39525" y="9918"/>
                    </a:lnTo>
                    <a:lnTo>
                      <a:pt x="39483" y="9814"/>
                    </a:lnTo>
                    <a:lnTo>
                      <a:pt x="39525" y="9730"/>
                    </a:lnTo>
                    <a:lnTo>
                      <a:pt x="39483" y="9709"/>
                    </a:lnTo>
                    <a:lnTo>
                      <a:pt x="39336" y="9793"/>
                    </a:lnTo>
                    <a:lnTo>
                      <a:pt x="39274" y="9876"/>
                    </a:lnTo>
                    <a:lnTo>
                      <a:pt x="39274" y="9981"/>
                    </a:lnTo>
                    <a:lnTo>
                      <a:pt x="39253" y="10107"/>
                    </a:lnTo>
                    <a:lnTo>
                      <a:pt x="39211" y="10127"/>
                    </a:lnTo>
                    <a:lnTo>
                      <a:pt x="39232" y="10086"/>
                    </a:lnTo>
                    <a:lnTo>
                      <a:pt x="39232" y="10023"/>
                    </a:lnTo>
                    <a:lnTo>
                      <a:pt x="39148" y="9981"/>
                    </a:lnTo>
                    <a:lnTo>
                      <a:pt x="39044" y="9981"/>
                    </a:lnTo>
                    <a:lnTo>
                      <a:pt x="38939" y="10044"/>
                    </a:lnTo>
                    <a:lnTo>
                      <a:pt x="38855" y="10023"/>
                    </a:lnTo>
                    <a:lnTo>
                      <a:pt x="38730" y="10044"/>
                    </a:lnTo>
                    <a:lnTo>
                      <a:pt x="38625" y="10107"/>
                    </a:lnTo>
                    <a:lnTo>
                      <a:pt x="38500" y="10107"/>
                    </a:lnTo>
                    <a:lnTo>
                      <a:pt x="38583" y="10044"/>
                    </a:lnTo>
                    <a:lnTo>
                      <a:pt x="38688" y="10002"/>
                    </a:lnTo>
                    <a:lnTo>
                      <a:pt x="38772" y="9897"/>
                    </a:lnTo>
                    <a:lnTo>
                      <a:pt x="38730" y="9814"/>
                    </a:lnTo>
                    <a:lnTo>
                      <a:pt x="38688" y="9814"/>
                    </a:lnTo>
                    <a:lnTo>
                      <a:pt x="38541" y="9835"/>
                    </a:lnTo>
                    <a:lnTo>
                      <a:pt x="38604" y="9772"/>
                    </a:lnTo>
                    <a:lnTo>
                      <a:pt x="38688" y="9772"/>
                    </a:lnTo>
                    <a:lnTo>
                      <a:pt x="38772" y="9709"/>
                    </a:lnTo>
                    <a:lnTo>
                      <a:pt x="38813" y="9604"/>
                    </a:lnTo>
                    <a:lnTo>
                      <a:pt x="38897" y="9583"/>
                    </a:lnTo>
                    <a:lnTo>
                      <a:pt x="38939" y="9521"/>
                    </a:lnTo>
                    <a:lnTo>
                      <a:pt x="39002" y="9521"/>
                    </a:lnTo>
                    <a:lnTo>
                      <a:pt x="39106" y="9604"/>
                    </a:lnTo>
                    <a:lnTo>
                      <a:pt x="39169" y="9667"/>
                    </a:lnTo>
                    <a:lnTo>
                      <a:pt x="39253" y="9667"/>
                    </a:lnTo>
                    <a:lnTo>
                      <a:pt x="39357" y="9521"/>
                    </a:lnTo>
                    <a:lnTo>
                      <a:pt x="39441" y="9458"/>
                    </a:lnTo>
                    <a:lnTo>
                      <a:pt x="39441" y="9395"/>
                    </a:lnTo>
                    <a:lnTo>
                      <a:pt x="39336" y="9270"/>
                    </a:lnTo>
                    <a:lnTo>
                      <a:pt x="39316" y="9165"/>
                    </a:lnTo>
                    <a:lnTo>
                      <a:pt x="39274" y="9060"/>
                    </a:lnTo>
                    <a:lnTo>
                      <a:pt x="39169" y="8956"/>
                    </a:lnTo>
                    <a:lnTo>
                      <a:pt x="39106" y="8893"/>
                    </a:lnTo>
                    <a:lnTo>
                      <a:pt x="39023" y="8726"/>
                    </a:lnTo>
                    <a:lnTo>
                      <a:pt x="38960" y="8747"/>
                    </a:lnTo>
                    <a:lnTo>
                      <a:pt x="38960" y="8830"/>
                    </a:lnTo>
                    <a:lnTo>
                      <a:pt x="38918" y="8893"/>
                    </a:lnTo>
                    <a:lnTo>
                      <a:pt x="38855" y="8935"/>
                    </a:lnTo>
                    <a:lnTo>
                      <a:pt x="38834" y="8977"/>
                    </a:lnTo>
                    <a:lnTo>
                      <a:pt x="38834" y="9060"/>
                    </a:lnTo>
                    <a:lnTo>
                      <a:pt x="38751" y="9102"/>
                    </a:lnTo>
                    <a:lnTo>
                      <a:pt x="38709" y="9186"/>
                    </a:lnTo>
                    <a:lnTo>
                      <a:pt x="38709" y="9291"/>
                    </a:lnTo>
                    <a:lnTo>
                      <a:pt x="38583" y="9353"/>
                    </a:lnTo>
                    <a:lnTo>
                      <a:pt x="38500" y="9458"/>
                    </a:lnTo>
                    <a:lnTo>
                      <a:pt x="38479" y="9542"/>
                    </a:lnTo>
                    <a:lnTo>
                      <a:pt x="38416" y="9604"/>
                    </a:lnTo>
                    <a:lnTo>
                      <a:pt x="38374" y="9583"/>
                    </a:lnTo>
                    <a:lnTo>
                      <a:pt x="38395" y="9458"/>
                    </a:lnTo>
                    <a:lnTo>
                      <a:pt x="38500" y="9291"/>
                    </a:lnTo>
                    <a:lnTo>
                      <a:pt x="38583" y="9270"/>
                    </a:lnTo>
                    <a:lnTo>
                      <a:pt x="38583" y="9228"/>
                    </a:lnTo>
                    <a:lnTo>
                      <a:pt x="38541" y="9186"/>
                    </a:lnTo>
                    <a:lnTo>
                      <a:pt x="38500" y="9123"/>
                    </a:lnTo>
                    <a:lnTo>
                      <a:pt x="38186" y="9332"/>
                    </a:lnTo>
                    <a:lnTo>
                      <a:pt x="38060" y="9500"/>
                    </a:lnTo>
                    <a:lnTo>
                      <a:pt x="37997" y="9583"/>
                    </a:lnTo>
                    <a:lnTo>
                      <a:pt x="37893" y="9604"/>
                    </a:lnTo>
                    <a:lnTo>
                      <a:pt x="37893" y="9583"/>
                    </a:lnTo>
                    <a:lnTo>
                      <a:pt x="37956" y="9542"/>
                    </a:lnTo>
                    <a:lnTo>
                      <a:pt x="38039" y="9374"/>
                    </a:lnTo>
                    <a:lnTo>
                      <a:pt x="38060" y="9291"/>
                    </a:lnTo>
                    <a:lnTo>
                      <a:pt x="38186" y="9165"/>
                    </a:lnTo>
                    <a:lnTo>
                      <a:pt x="38248" y="9081"/>
                    </a:lnTo>
                    <a:lnTo>
                      <a:pt x="38207" y="9019"/>
                    </a:lnTo>
                    <a:lnTo>
                      <a:pt x="38207" y="8935"/>
                    </a:lnTo>
                    <a:lnTo>
                      <a:pt x="38081" y="9019"/>
                    </a:lnTo>
                    <a:lnTo>
                      <a:pt x="37935" y="9144"/>
                    </a:lnTo>
                    <a:lnTo>
                      <a:pt x="37893" y="9249"/>
                    </a:lnTo>
                    <a:lnTo>
                      <a:pt x="37809" y="9353"/>
                    </a:lnTo>
                    <a:lnTo>
                      <a:pt x="37788" y="9332"/>
                    </a:lnTo>
                    <a:lnTo>
                      <a:pt x="37809" y="9228"/>
                    </a:lnTo>
                    <a:lnTo>
                      <a:pt x="37872" y="9123"/>
                    </a:lnTo>
                    <a:lnTo>
                      <a:pt x="37809" y="9081"/>
                    </a:lnTo>
                    <a:lnTo>
                      <a:pt x="37809" y="9039"/>
                    </a:lnTo>
                    <a:lnTo>
                      <a:pt x="37893" y="9019"/>
                    </a:lnTo>
                    <a:lnTo>
                      <a:pt x="38081" y="8872"/>
                    </a:lnTo>
                    <a:lnTo>
                      <a:pt x="38269" y="8726"/>
                    </a:lnTo>
                    <a:lnTo>
                      <a:pt x="38269" y="8642"/>
                    </a:lnTo>
                    <a:lnTo>
                      <a:pt x="38186" y="8642"/>
                    </a:lnTo>
                    <a:lnTo>
                      <a:pt x="38060" y="8726"/>
                    </a:lnTo>
                    <a:lnTo>
                      <a:pt x="38018" y="8809"/>
                    </a:lnTo>
                    <a:lnTo>
                      <a:pt x="37914" y="8851"/>
                    </a:lnTo>
                    <a:lnTo>
                      <a:pt x="37914" y="8809"/>
                    </a:lnTo>
                    <a:lnTo>
                      <a:pt x="37893" y="8747"/>
                    </a:lnTo>
                    <a:lnTo>
                      <a:pt x="37704" y="8872"/>
                    </a:lnTo>
                    <a:lnTo>
                      <a:pt x="37642" y="8977"/>
                    </a:lnTo>
                    <a:lnTo>
                      <a:pt x="37558" y="9165"/>
                    </a:lnTo>
                    <a:lnTo>
                      <a:pt x="37432" y="9249"/>
                    </a:lnTo>
                    <a:lnTo>
                      <a:pt x="37349" y="9249"/>
                    </a:lnTo>
                    <a:lnTo>
                      <a:pt x="37432" y="9165"/>
                    </a:lnTo>
                    <a:lnTo>
                      <a:pt x="37558" y="9060"/>
                    </a:lnTo>
                    <a:lnTo>
                      <a:pt x="37600" y="8956"/>
                    </a:lnTo>
                    <a:lnTo>
                      <a:pt x="37579" y="8935"/>
                    </a:lnTo>
                    <a:lnTo>
                      <a:pt x="37495" y="8935"/>
                    </a:lnTo>
                    <a:lnTo>
                      <a:pt x="37600" y="8851"/>
                    </a:lnTo>
                    <a:lnTo>
                      <a:pt x="37746" y="8830"/>
                    </a:lnTo>
                    <a:lnTo>
                      <a:pt x="37788" y="8767"/>
                    </a:lnTo>
                    <a:lnTo>
                      <a:pt x="37767" y="8726"/>
                    </a:lnTo>
                    <a:lnTo>
                      <a:pt x="37683" y="8747"/>
                    </a:lnTo>
                    <a:lnTo>
                      <a:pt x="37558" y="8767"/>
                    </a:lnTo>
                    <a:lnTo>
                      <a:pt x="37474" y="8851"/>
                    </a:lnTo>
                    <a:lnTo>
                      <a:pt x="37391" y="8830"/>
                    </a:lnTo>
                    <a:lnTo>
                      <a:pt x="37600" y="8726"/>
                    </a:lnTo>
                    <a:lnTo>
                      <a:pt x="37579" y="8663"/>
                    </a:lnTo>
                    <a:lnTo>
                      <a:pt x="37474" y="8663"/>
                    </a:lnTo>
                    <a:lnTo>
                      <a:pt x="37537" y="8600"/>
                    </a:lnTo>
                    <a:lnTo>
                      <a:pt x="37642" y="8600"/>
                    </a:lnTo>
                    <a:lnTo>
                      <a:pt x="37683" y="8642"/>
                    </a:lnTo>
                    <a:lnTo>
                      <a:pt x="37809" y="8642"/>
                    </a:lnTo>
                    <a:lnTo>
                      <a:pt x="37872" y="8537"/>
                    </a:lnTo>
                    <a:lnTo>
                      <a:pt x="37997" y="8495"/>
                    </a:lnTo>
                    <a:lnTo>
                      <a:pt x="37997" y="8412"/>
                    </a:lnTo>
                    <a:lnTo>
                      <a:pt x="38060" y="8328"/>
                    </a:lnTo>
                    <a:lnTo>
                      <a:pt x="38060" y="8286"/>
                    </a:lnTo>
                    <a:lnTo>
                      <a:pt x="37976" y="8286"/>
                    </a:lnTo>
                    <a:lnTo>
                      <a:pt x="37914" y="8223"/>
                    </a:lnTo>
                    <a:lnTo>
                      <a:pt x="37809" y="8203"/>
                    </a:lnTo>
                    <a:lnTo>
                      <a:pt x="37683" y="8307"/>
                    </a:lnTo>
                    <a:lnTo>
                      <a:pt x="37537" y="8349"/>
                    </a:lnTo>
                    <a:lnTo>
                      <a:pt x="37453" y="8495"/>
                    </a:lnTo>
                    <a:lnTo>
                      <a:pt x="37244" y="8705"/>
                    </a:lnTo>
                    <a:lnTo>
                      <a:pt x="37181" y="8705"/>
                    </a:lnTo>
                    <a:lnTo>
                      <a:pt x="37223" y="8621"/>
                    </a:lnTo>
                    <a:lnTo>
                      <a:pt x="37265" y="8621"/>
                    </a:lnTo>
                    <a:lnTo>
                      <a:pt x="37370" y="8537"/>
                    </a:lnTo>
                    <a:lnTo>
                      <a:pt x="37495" y="8349"/>
                    </a:lnTo>
                    <a:lnTo>
                      <a:pt x="37642" y="8286"/>
                    </a:lnTo>
                    <a:lnTo>
                      <a:pt x="37704" y="8203"/>
                    </a:lnTo>
                    <a:lnTo>
                      <a:pt x="37683" y="8140"/>
                    </a:lnTo>
                    <a:lnTo>
                      <a:pt x="37495" y="8140"/>
                    </a:lnTo>
                    <a:lnTo>
                      <a:pt x="37328" y="8286"/>
                    </a:lnTo>
                    <a:lnTo>
                      <a:pt x="37495" y="8119"/>
                    </a:lnTo>
                    <a:lnTo>
                      <a:pt x="37663" y="8077"/>
                    </a:lnTo>
                    <a:lnTo>
                      <a:pt x="37767" y="8098"/>
                    </a:lnTo>
                    <a:lnTo>
                      <a:pt x="37851" y="8119"/>
                    </a:lnTo>
                    <a:lnTo>
                      <a:pt x="37956" y="8014"/>
                    </a:lnTo>
                    <a:lnTo>
                      <a:pt x="37956" y="7931"/>
                    </a:lnTo>
                    <a:lnTo>
                      <a:pt x="37914" y="7889"/>
                    </a:lnTo>
                    <a:lnTo>
                      <a:pt x="37914" y="7805"/>
                    </a:lnTo>
                    <a:lnTo>
                      <a:pt x="37914" y="7721"/>
                    </a:lnTo>
                    <a:lnTo>
                      <a:pt x="37788" y="7679"/>
                    </a:lnTo>
                    <a:lnTo>
                      <a:pt x="37746" y="7596"/>
                    </a:lnTo>
                    <a:lnTo>
                      <a:pt x="37642" y="7575"/>
                    </a:lnTo>
                    <a:lnTo>
                      <a:pt x="37600" y="7617"/>
                    </a:lnTo>
                    <a:lnTo>
                      <a:pt x="37558" y="7617"/>
                    </a:lnTo>
                    <a:lnTo>
                      <a:pt x="37558" y="7533"/>
                    </a:lnTo>
                    <a:lnTo>
                      <a:pt x="37474" y="7512"/>
                    </a:lnTo>
                    <a:lnTo>
                      <a:pt x="37391" y="7428"/>
                    </a:lnTo>
                    <a:lnTo>
                      <a:pt x="37391" y="7366"/>
                    </a:lnTo>
                    <a:lnTo>
                      <a:pt x="37244" y="7282"/>
                    </a:lnTo>
                    <a:lnTo>
                      <a:pt x="37181" y="7282"/>
                    </a:lnTo>
                    <a:lnTo>
                      <a:pt x="37139" y="7219"/>
                    </a:lnTo>
                    <a:lnTo>
                      <a:pt x="37014" y="7219"/>
                    </a:lnTo>
                    <a:lnTo>
                      <a:pt x="36826" y="7261"/>
                    </a:lnTo>
                    <a:lnTo>
                      <a:pt x="36721" y="7366"/>
                    </a:lnTo>
                    <a:lnTo>
                      <a:pt x="36595" y="7366"/>
                    </a:lnTo>
                    <a:lnTo>
                      <a:pt x="36491" y="7533"/>
                    </a:lnTo>
                    <a:lnTo>
                      <a:pt x="36512" y="7596"/>
                    </a:lnTo>
                    <a:lnTo>
                      <a:pt x="36595" y="7617"/>
                    </a:lnTo>
                    <a:lnTo>
                      <a:pt x="36805" y="7805"/>
                    </a:lnTo>
                    <a:lnTo>
                      <a:pt x="36826" y="7847"/>
                    </a:lnTo>
                    <a:lnTo>
                      <a:pt x="36909" y="7889"/>
                    </a:lnTo>
                    <a:lnTo>
                      <a:pt x="36951" y="7993"/>
                    </a:lnTo>
                    <a:lnTo>
                      <a:pt x="36909" y="7993"/>
                    </a:lnTo>
                    <a:lnTo>
                      <a:pt x="36826" y="7931"/>
                    </a:lnTo>
                    <a:lnTo>
                      <a:pt x="36700" y="7931"/>
                    </a:lnTo>
                    <a:lnTo>
                      <a:pt x="36700" y="7847"/>
                    </a:lnTo>
                    <a:lnTo>
                      <a:pt x="36512" y="7679"/>
                    </a:lnTo>
                    <a:lnTo>
                      <a:pt x="36428" y="7700"/>
                    </a:lnTo>
                    <a:lnTo>
                      <a:pt x="36386" y="7721"/>
                    </a:lnTo>
                    <a:lnTo>
                      <a:pt x="36386" y="7721"/>
                    </a:lnTo>
                    <a:lnTo>
                      <a:pt x="36407" y="7638"/>
                    </a:lnTo>
                    <a:lnTo>
                      <a:pt x="36428" y="7533"/>
                    </a:lnTo>
                    <a:lnTo>
                      <a:pt x="36303" y="7491"/>
                    </a:lnTo>
                    <a:lnTo>
                      <a:pt x="36240" y="7512"/>
                    </a:lnTo>
                    <a:lnTo>
                      <a:pt x="36240" y="7721"/>
                    </a:lnTo>
                    <a:lnTo>
                      <a:pt x="36303" y="7826"/>
                    </a:lnTo>
                    <a:lnTo>
                      <a:pt x="36323" y="7951"/>
                    </a:lnTo>
                    <a:lnTo>
                      <a:pt x="36303" y="8035"/>
                    </a:lnTo>
                    <a:lnTo>
                      <a:pt x="36303" y="7931"/>
                    </a:lnTo>
                    <a:lnTo>
                      <a:pt x="36219" y="7784"/>
                    </a:lnTo>
                    <a:lnTo>
                      <a:pt x="36135" y="7889"/>
                    </a:lnTo>
                    <a:lnTo>
                      <a:pt x="36093" y="7993"/>
                    </a:lnTo>
                    <a:lnTo>
                      <a:pt x="36135" y="8056"/>
                    </a:lnTo>
                    <a:lnTo>
                      <a:pt x="36072" y="8119"/>
                    </a:lnTo>
                    <a:lnTo>
                      <a:pt x="35968" y="8056"/>
                    </a:lnTo>
                    <a:lnTo>
                      <a:pt x="35863" y="8035"/>
                    </a:lnTo>
                    <a:lnTo>
                      <a:pt x="35905" y="7951"/>
                    </a:lnTo>
                    <a:lnTo>
                      <a:pt x="36010" y="7889"/>
                    </a:lnTo>
                    <a:lnTo>
                      <a:pt x="36135" y="7700"/>
                    </a:lnTo>
                    <a:lnTo>
                      <a:pt x="36177" y="7596"/>
                    </a:lnTo>
                    <a:lnTo>
                      <a:pt x="36093" y="7512"/>
                    </a:lnTo>
                    <a:lnTo>
                      <a:pt x="36072" y="7407"/>
                    </a:lnTo>
                    <a:lnTo>
                      <a:pt x="35926" y="7533"/>
                    </a:lnTo>
                    <a:lnTo>
                      <a:pt x="35884" y="7596"/>
                    </a:lnTo>
                    <a:lnTo>
                      <a:pt x="35863" y="7533"/>
                    </a:lnTo>
                    <a:lnTo>
                      <a:pt x="35884" y="7407"/>
                    </a:lnTo>
                    <a:lnTo>
                      <a:pt x="35779" y="7387"/>
                    </a:lnTo>
                    <a:lnTo>
                      <a:pt x="35717" y="7407"/>
                    </a:lnTo>
                    <a:lnTo>
                      <a:pt x="35696" y="7491"/>
                    </a:lnTo>
                    <a:lnTo>
                      <a:pt x="35717" y="7617"/>
                    </a:lnTo>
                    <a:lnTo>
                      <a:pt x="35717" y="7742"/>
                    </a:lnTo>
                    <a:lnTo>
                      <a:pt x="35675" y="7700"/>
                    </a:lnTo>
                    <a:lnTo>
                      <a:pt x="35675" y="7533"/>
                    </a:lnTo>
                    <a:lnTo>
                      <a:pt x="35654" y="7512"/>
                    </a:lnTo>
                    <a:lnTo>
                      <a:pt x="35591" y="7617"/>
                    </a:lnTo>
                    <a:lnTo>
                      <a:pt x="35487" y="7638"/>
                    </a:lnTo>
                    <a:lnTo>
                      <a:pt x="35487" y="7721"/>
                    </a:lnTo>
                    <a:lnTo>
                      <a:pt x="35403" y="7826"/>
                    </a:lnTo>
                    <a:lnTo>
                      <a:pt x="35340" y="7847"/>
                    </a:lnTo>
                    <a:lnTo>
                      <a:pt x="35277" y="7931"/>
                    </a:lnTo>
                    <a:lnTo>
                      <a:pt x="35173" y="7931"/>
                    </a:lnTo>
                    <a:lnTo>
                      <a:pt x="35256" y="7847"/>
                    </a:lnTo>
                    <a:lnTo>
                      <a:pt x="35256" y="7784"/>
                    </a:lnTo>
                    <a:lnTo>
                      <a:pt x="35194" y="7721"/>
                    </a:lnTo>
                    <a:lnTo>
                      <a:pt x="35152" y="7721"/>
                    </a:lnTo>
                    <a:lnTo>
                      <a:pt x="35152" y="7679"/>
                    </a:lnTo>
                    <a:lnTo>
                      <a:pt x="35235" y="7679"/>
                    </a:lnTo>
                    <a:lnTo>
                      <a:pt x="35277" y="7700"/>
                    </a:lnTo>
                    <a:lnTo>
                      <a:pt x="35298" y="7638"/>
                    </a:lnTo>
                    <a:lnTo>
                      <a:pt x="35298" y="7596"/>
                    </a:lnTo>
                    <a:lnTo>
                      <a:pt x="35298" y="7554"/>
                    </a:lnTo>
                    <a:lnTo>
                      <a:pt x="35403" y="7491"/>
                    </a:lnTo>
                    <a:lnTo>
                      <a:pt x="35570" y="7345"/>
                    </a:lnTo>
                    <a:lnTo>
                      <a:pt x="35591" y="7261"/>
                    </a:lnTo>
                    <a:lnTo>
                      <a:pt x="35675" y="7177"/>
                    </a:lnTo>
                    <a:lnTo>
                      <a:pt x="35570" y="7177"/>
                    </a:lnTo>
                    <a:lnTo>
                      <a:pt x="35403" y="7282"/>
                    </a:lnTo>
                    <a:lnTo>
                      <a:pt x="35277" y="7407"/>
                    </a:lnTo>
                    <a:lnTo>
                      <a:pt x="35194" y="7407"/>
                    </a:lnTo>
                    <a:lnTo>
                      <a:pt x="35277" y="7324"/>
                    </a:lnTo>
                    <a:lnTo>
                      <a:pt x="35361" y="7219"/>
                    </a:lnTo>
                    <a:lnTo>
                      <a:pt x="35445" y="7156"/>
                    </a:lnTo>
                    <a:lnTo>
                      <a:pt x="35549" y="7114"/>
                    </a:lnTo>
                    <a:lnTo>
                      <a:pt x="35612" y="7052"/>
                    </a:lnTo>
                    <a:lnTo>
                      <a:pt x="35696" y="7052"/>
                    </a:lnTo>
                    <a:lnTo>
                      <a:pt x="35779" y="6905"/>
                    </a:lnTo>
                    <a:lnTo>
                      <a:pt x="35779" y="6863"/>
                    </a:lnTo>
                    <a:lnTo>
                      <a:pt x="35696" y="6780"/>
                    </a:lnTo>
                    <a:lnTo>
                      <a:pt x="35696" y="6675"/>
                    </a:lnTo>
                    <a:lnTo>
                      <a:pt x="35717" y="6591"/>
                    </a:lnTo>
                    <a:lnTo>
                      <a:pt x="35884" y="6424"/>
                    </a:lnTo>
                    <a:lnTo>
                      <a:pt x="35905" y="6361"/>
                    </a:lnTo>
                    <a:lnTo>
                      <a:pt x="35863" y="6257"/>
                    </a:lnTo>
                    <a:lnTo>
                      <a:pt x="35842" y="6194"/>
                    </a:lnTo>
                    <a:lnTo>
                      <a:pt x="35800" y="6131"/>
                    </a:lnTo>
                    <a:lnTo>
                      <a:pt x="35884" y="6006"/>
                    </a:lnTo>
                    <a:lnTo>
                      <a:pt x="35968" y="5922"/>
                    </a:lnTo>
                    <a:lnTo>
                      <a:pt x="35989" y="5838"/>
                    </a:lnTo>
                    <a:lnTo>
                      <a:pt x="36010" y="5587"/>
                    </a:lnTo>
                    <a:lnTo>
                      <a:pt x="36051" y="5524"/>
                    </a:lnTo>
                    <a:lnTo>
                      <a:pt x="36010" y="5462"/>
                    </a:lnTo>
                    <a:lnTo>
                      <a:pt x="35842" y="5399"/>
                    </a:lnTo>
                    <a:lnTo>
                      <a:pt x="35654" y="5399"/>
                    </a:lnTo>
                    <a:lnTo>
                      <a:pt x="35487" y="5357"/>
                    </a:lnTo>
                    <a:lnTo>
                      <a:pt x="35361" y="5420"/>
                    </a:lnTo>
                    <a:lnTo>
                      <a:pt x="35235" y="5420"/>
                    </a:lnTo>
                    <a:lnTo>
                      <a:pt x="35068" y="5503"/>
                    </a:lnTo>
                    <a:lnTo>
                      <a:pt x="34796" y="5587"/>
                    </a:lnTo>
                    <a:lnTo>
                      <a:pt x="34754" y="5671"/>
                    </a:lnTo>
                    <a:lnTo>
                      <a:pt x="34859" y="5796"/>
                    </a:lnTo>
                    <a:lnTo>
                      <a:pt x="34859" y="5880"/>
                    </a:lnTo>
                    <a:lnTo>
                      <a:pt x="34817" y="5922"/>
                    </a:lnTo>
                    <a:lnTo>
                      <a:pt x="34754" y="5775"/>
                    </a:lnTo>
                    <a:lnTo>
                      <a:pt x="34712" y="5713"/>
                    </a:lnTo>
                    <a:lnTo>
                      <a:pt x="34650" y="5587"/>
                    </a:lnTo>
                    <a:lnTo>
                      <a:pt x="34524" y="5587"/>
                    </a:lnTo>
                    <a:lnTo>
                      <a:pt x="34440" y="5671"/>
                    </a:lnTo>
                    <a:lnTo>
                      <a:pt x="34440" y="5734"/>
                    </a:lnTo>
                    <a:lnTo>
                      <a:pt x="34398" y="5796"/>
                    </a:lnTo>
                    <a:lnTo>
                      <a:pt x="34378" y="5713"/>
                    </a:lnTo>
                    <a:lnTo>
                      <a:pt x="34398" y="5608"/>
                    </a:lnTo>
                    <a:lnTo>
                      <a:pt x="34336" y="5587"/>
                    </a:lnTo>
                    <a:lnTo>
                      <a:pt x="34189" y="5608"/>
                    </a:lnTo>
                    <a:lnTo>
                      <a:pt x="34126" y="5713"/>
                    </a:lnTo>
                    <a:lnTo>
                      <a:pt x="34126" y="5796"/>
                    </a:lnTo>
                    <a:lnTo>
                      <a:pt x="34273" y="5901"/>
                    </a:lnTo>
                    <a:lnTo>
                      <a:pt x="34378" y="6047"/>
                    </a:lnTo>
                    <a:lnTo>
                      <a:pt x="34503" y="6131"/>
                    </a:lnTo>
                    <a:lnTo>
                      <a:pt x="34440" y="6131"/>
                    </a:lnTo>
                    <a:lnTo>
                      <a:pt x="34294" y="6047"/>
                    </a:lnTo>
                    <a:lnTo>
                      <a:pt x="34106" y="5880"/>
                    </a:lnTo>
                    <a:lnTo>
                      <a:pt x="34064" y="5880"/>
                    </a:lnTo>
                    <a:lnTo>
                      <a:pt x="34022" y="5922"/>
                    </a:lnTo>
                    <a:lnTo>
                      <a:pt x="33854" y="5922"/>
                    </a:lnTo>
                    <a:lnTo>
                      <a:pt x="33813" y="5943"/>
                    </a:lnTo>
                    <a:lnTo>
                      <a:pt x="33875" y="6006"/>
                    </a:lnTo>
                    <a:lnTo>
                      <a:pt x="34001" y="6006"/>
                    </a:lnTo>
                    <a:lnTo>
                      <a:pt x="34022" y="6047"/>
                    </a:lnTo>
                    <a:lnTo>
                      <a:pt x="34064" y="6152"/>
                    </a:lnTo>
                    <a:lnTo>
                      <a:pt x="34210" y="6257"/>
                    </a:lnTo>
                    <a:lnTo>
                      <a:pt x="34231" y="6340"/>
                    </a:lnTo>
                    <a:lnTo>
                      <a:pt x="34315" y="6424"/>
                    </a:lnTo>
                    <a:lnTo>
                      <a:pt x="34210" y="6424"/>
                    </a:lnTo>
                    <a:lnTo>
                      <a:pt x="34126" y="6319"/>
                    </a:lnTo>
                    <a:lnTo>
                      <a:pt x="33980" y="6236"/>
                    </a:lnTo>
                    <a:lnTo>
                      <a:pt x="33980" y="6152"/>
                    </a:lnTo>
                    <a:lnTo>
                      <a:pt x="33875" y="6047"/>
                    </a:lnTo>
                    <a:lnTo>
                      <a:pt x="33750" y="6047"/>
                    </a:lnTo>
                    <a:lnTo>
                      <a:pt x="33666" y="6131"/>
                    </a:lnTo>
                    <a:lnTo>
                      <a:pt x="33666" y="6215"/>
                    </a:lnTo>
                    <a:lnTo>
                      <a:pt x="33582" y="6361"/>
                    </a:lnTo>
                    <a:lnTo>
                      <a:pt x="33541" y="6529"/>
                    </a:lnTo>
                    <a:lnTo>
                      <a:pt x="33603" y="6633"/>
                    </a:lnTo>
                    <a:lnTo>
                      <a:pt x="33478" y="6675"/>
                    </a:lnTo>
                    <a:lnTo>
                      <a:pt x="33478" y="6759"/>
                    </a:lnTo>
                    <a:lnTo>
                      <a:pt x="33541" y="6822"/>
                    </a:lnTo>
                    <a:lnTo>
                      <a:pt x="33562" y="6926"/>
                    </a:lnTo>
                    <a:lnTo>
                      <a:pt x="33645" y="6926"/>
                    </a:lnTo>
                    <a:lnTo>
                      <a:pt x="33813" y="6780"/>
                    </a:lnTo>
                    <a:lnTo>
                      <a:pt x="33896" y="6780"/>
                    </a:lnTo>
                    <a:lnTo>
                      <a:pt x="33917" y="6842"/>
                    </a:lnTo>
                    <a:lnTo>
                      <a:pt x="33813" y="6863"/>
                    </a:lnTo>
                    <a:lnTo>
                      <a:pt x="33771" y="6884"/>
                    </a:lnTo>
                    <a:lnTo>
                      <a:pt x="33771" y="6947"/>
                    </a:lnTo>
                    <a:lnTo>
                      <a:pt x="33687" y="6947"/>
                    </a:lnTo>
                    <a:lnTo>
                      <a:pt x="33603" y="7052"/>
                    </a:lnTo>
                    <a:lnTo>
                      <a:pt x="33603" y="7156"/>
                    </a:lnTo>
                    <a:lnTo>
                      <a:pt x="33541" y="7240"/>
                    </a:lnTo>
                    <a:lnTo>
                      <a:pt x="33478" y="7177"/>
                    </a:lnTo>
                    <a:lnTo>
                      <a:pt x="33499" y="7094"/>
                    </a:lnTo>
                    <a:lnTo>
                      <a:pt x="33436" y="6947"/>
                    </a:lnTo>
                    <a:lnTo>
                      <a:pt x="33352" y="6926"/>
                    </a:lnTo>
                    <a:lnTo>
                      <a:pt x="33290" y="7031"/>
                    </a:lnTo>
                    <a:lnTo>
                      <a:pt x="33331" y="7094"/>
                    </a:lnTo>
                    <a:lnTo>
                      <a:pt x="33269" y="7177"/>
                    </a:lnTo>
                    <a:lnTo>
                      <a:pt x="33164" y="7198"/>
                    </a:lnTo>
                    <a:lnTo>
                      <a:pt x="33122" y="7261"/>
                    </a:lnTo>
                    <a:lnTo>
                      <a:pt x="33080" y="7177"/>
                    </a:lnTo>
                    <a:lnTo>
                      <a:pt x="33038" y="7198"/>
                    </a:lnTo>
                    <a:lnTo>
                      <a:pt x="33059" y="7303"/>
                    </a:lnTo>
                    <a:lnTo>
                      <a:pt x="33122" y="7407"/>
                    </a:lnTo>
                    <a:lnTo>
                      <a:pt x="33122" y="7554"/>
                    </a:lnTo>
                    <a:lnTo>
                      <a:pt x="33143" y="7575"/>
                    </a:lnTo>
                    <a:lnTo>
                      <a:pt x="33143" y="7700"/>
                    </a:lnTo>
                    <a:lnTo>
                      <a:pt x="33227" y="7721"/>
                    </a:lnTo>
                    <a:lnTo>
                      <a:pt x="33290" y="7784"/>
                    </a:lnTo>
                    <a:lnTo>
                      <a:pt x="33269" y="7868"/>
                    </a:lnTo>
                    <a:lnTo>
                      <a:pt x="33290" y="7931"/>
                    </a:lnTo>
                    <a:lnTo>
                      <a:pt x="33290" y="8035"/>
                    </a:lnTo>
                    <a:lnTo>
                      <a:pt x="33185" y="8119"/>
                    </a:lnTo>
                    <a:lnTo>
                      <a:pt x="33143" y="8203"/>
                    </a:lnTo>
                    <a:lnTo>
                      <a:pt x="33122" y="8412"/>
                    </a:lnTo>
                    <a:lnTo>
                      <a:pt x="33059" y="8454"/>
                    </a:lnTo>
                    <a:lnTo>
                      <a:pt x="32934" y="8663"/>
                    </a:lnTo>
                    <a:lnTo>
                      <a:pt x="32934" y="8747"/>
                    </a:lnTo>
                    <a:lnTo>
                      <a:pt x="32808" y="8872"/>
                    </a:lnTo>
                    <a:lnTo>
                      <a:pt x="32829" y="8830"/>
                    </a:lnTo>
                    <a:lnTo>
                      <a:pt x="32829" y="8726"/>
                    </a:lnTo>
                    <a:lnTo>
                      <a:pt x="32871" y="8558"/>
                    </a:lnTo>
                    <a:lnTo>
                      <a:pt x="32955" y="8495"/>
                    </a:lnTo>
                    <a:lnTo>
                      <a:pt x="32934" y="8433"/>
                    </a:lnTo>
                    <a:lnTo>
                      <a:pt x="32913" y="8454"/>
                    </a:lnTo>
                    <a:lnTo>
                      <a:pt x="32829" y="8454"/>
                    </a:lnTo>
                    <a:lnTo>
                      <a:pt x="32746" y="8391"/>
                    </a:lnTo>
                    <a:lnTo>
                      <a:pt x="32704" y="8349"/>
                    </a:lnTo>
                    <a:lnTo>
                      <a:pt x="32746" y="8328"/>
                    </a:lnTo>
                    <a:lnTo>
                      <a:pt x="32829" y="8307"/>
                    </a:lnTo>
                    <a:lnTo>
                      <a:pt x="32913" y="8307"/>
                    </a:lnTo>
                    <a:lnTo>
                      <a:pt x="32913" y="8244"/>
                    </a:lnTo>
                    <a:lnTo>
                      <a:pt x="32955" y="8244"/>
                    </a:lnTo>
                    <a:lnTo>
                      <a:pt x="32976" y="8349"/>
                    </a:lnTo>
                    <a:lnTo>
                      <a:pt x="33038" y="8244"/>
                    </a:lnTo>
                    <a:lnTo>
                      <a:pt x="33038" y="8140"/>
                    </a:lnTo>
                    <a:lnTo>
                      <a:pt x="32934" y="8098"/>
                    </a:lnTo>
                    <a:lnTo>
                      <a:pt x="32913" y="8035"/>
                    </a:lnTo>
                    <a:lnTo>
                      <a:pt x="32808" y="7910"/>
                    </a:lnTo>
                    <a:lnTo>
                      <a:pt x="32808" y="7763"/>
                    </a:lnTo>
                    <a:lnTo>
                      <a:pt x="32746" y="7679"/>
                    </a:lnTo>
                    <a:lnTo>
                      <a:pt x="32725" y="7512"/>
                    </a:lnTo>
                    <a:lnTo>
                      <a:pt x="32704" y="7491"/>
                    </a:lnTo>
                    <a:lnTo>
                      <a:pt x="32704" y="7407"/>
                    </a:lnTo>
                    <a:lnTo>
                      <a:pt x="32746" y="7366"/>
                    </a:lnTo>
                    <a:lnTo>
                      <a:pt x="32829" y="7198"/>
                    </a:lnTo>
                    <a:lnTo>
                      <a:pt x="32829" y="7094"/>
                    </a:lnTo>
                    <a:lnTo>
                      <a:pt x="32934" y="6989"/>
                    </a:lnTo>
                    <a:lnTo>
                      <a:pt x="33018" y="6884"/>
                    </a:lnTo>
                    <a:lnTo>
                      <a:pt x="33122" y="6842"/>
                    </a:lnTo>
                    <a:lnTo>
                      <a:pt x="33122" y="6738"/>
                    </a:lnTo>
                    <a:lnTo>
                      <a:pt x="33059" y="6654"/>
                    </a:lnTo>
                    <a:lnTo>
                      <a:pt x="33018" y="6550"/>
                    </a:lnTo>
                    <a:lnTo>
                      <a:pt x="33038" y="6424"/>
                    </a:lnTo>
                    <a:lnTo>
                      <a:pt x="33143" y="6215"/>
                    </a:lnTo>
                    <a:lnTo>
                      <a:pt x="33227" y="6173"/>
                    </a:lnTo>
                    <a:lnTo>
                      <a:pt x="33394" y="6068"/>
                    </a:lnTo>
                    <a:lnTo>
                      <a:pt x="33603" y="5817"/>
                    </a:lnTo>
                    <a:lnTo>
                      <a:pt x="33813" y="5608"/>
                    </a:lnTo>
                    <a:lnTo>
                      <a:pt x="33959" y="5587"/>
                    </a:lnTo>
                    <a:lnTo>
                      <a:pt x="34064" y="5441"/>
                    </a:lnTo>
                    <a:lnTo>
                      <a:pt x="34106" y="5378"/>
                    </a:lnTo>
                    <a:lnTo>
                      <a:pt x="34210" y="5378"/>
                    </a:lnTo>
                    <a:lnTo>
                      <a:pt x="34398" y="5294"/>
                    </a:lnTo>
                    <a:lnTo>
                      <a:pt x="34545" y="5231"/>
                    </a:lnTo>
                    <a:lnTo>
                      <a:pt x="34587" y="5169"/>
                    </a:lnTo>
                    <a:lnTo>
                      <a:pt x="34545" y="5085"/>
                    </a:lnTo>
                    <a:lnTo>
                      <a:pt x="34315" y="4980"/>
                    </a:lnTo>
                    <a:lnTo>
                      <a:pt x="34189" y="4897"/>
                    </a:lnTo>
                    <a:lnTo>
                      <a:pt x="34001" y="4897"/>
                    </a:lnTo>
                    <a:lnTo>
                      <a:pt x="33959" y="4876"/>
                    </a:lnTo>
                    <a:lnTo>
                      <a:pt x="33875" y="4897"/>
                    </a:lnTo>
                    <a:lnTo>
                      <a:pt x="33708" y="4876"/>
                    </a:lnTo>
                    <a:lnTo>
                      <a:pt x="33645" y="4897"/>
                    </a:lnTo>
                    <a:lnTo>
                      <a:pt x="33436" y="4897"/>
                    </a:lnTo>
                    <a:lnTo>
                      <a:pt x="33122" y="5001"/>
                    </a:lnTo>
                    <a:lnTo>
                      <a:pt x="32934" y="5190"/>
                    </a:lnTo>
                    <a:lnTo>
                      <a:pt x="32725" y="5273"/>
                    </a:lnTo>
                    <a:lnTo>
                      <a:pt x="32704" y="5378"/>
                    </a:lnTo>
                    <a:lnTo>
                      <a:pt x="32725" y="5482"/>
                    </a:lnTo>
                    <a:lnTo>
                      <a:pt x="32641" y="5441"/>
                    </a:lnTo>
                    <a:lnTo>
                      <a:pt x="32557" y="5441"/>
                    </a:lnTo>
                    <a:lnTo>
                      <a:pt x="32494" y="5545"/>
                    </a:lnTo>
                    <a:lnTo>
                      <a:pt x="32348" y="5545"/>
                    </a:lnTo>
                    <a:lnTo>
                      <a:pt x="32243" y="5692"/>
                    </a:lnTo>
                    <a:lnTo>
                      <a:pt x="32243" y="5796"/>
                    </a:lnTo>
                    <a:lnTo>
                      <a:pt x="32181" y="5796"/>
                    </a:lnTo>
                    <a:lnTo>
                      <a:pt x="32034" y="6006"/>
                    </a:lnTo>
                    <a:lnTo>
                      <a:pt x="32097" y="6068"/>
                    </a:lnTo>
                    <a:lnTo>
                      <a:pt x="32034" y="6152"/>
                    </a:lnTo>
                    <a:lnTo>
                      <a:pt x="31992" y="6068"/>
                    </a:lnTo>
                    <a:lnTo>
                      <a:pt x="31930" y="6068"/>
                    </a:lnTo>
                    <a:lnTo>
                      <a:pt x="31888" y="6257"/>
                    </a:lnTo>
                    <a:lnTo>
                      <a:pt x="31762" y="6257"/>
                    </a:lnTo>
                    <a:lnTo>
                      <a:pt x="31678" y="6361"/>
                    </a:lnTo>
                    <a:lnTo>
                      <a:pt x="31616" y="6424"/>
                    </a:lnTo>
                    <a:lnTo>
                      <a:pt x="31553" y="6570"/>
                    </a:lnTo>
                    <a:lnTo>
                      <a:pt x="31448" y="6759"/>
                    </a:lnTo>
                    <a:lnTo>
                      <a:pt x="31448" y="6863"/>
                    </a:lnTo>
                    <a:lnTo>
                      <a:pt x="31490" y="6842"/>
                    </a:lnTo>
                    <a:lnTo>
                      <a:pt x="31511" y="6842"/>
                    </a:lnTo>
                    <a:lnTo>
                      <a:pt x="31490" y="6905"/>
                    </a:lnTo>
                    <a:lnTo>
                      <a:pt x="31406" y="6905"/>
                    </a:lnTo>
                    <a:lnTo>
                      <a:pt x="31260" y="6989"/>
                    </a:lnTo>
                    <a:lnTo>
                      <a:pt x="31239" y="7094"/>
                    </a:lnTo>
                    <a:lnTo>
                      <a:pt x="31155" y="7114"/>
                    </a:lnTo>
                    <a:lnTo>
                      <a:pt x="31134" y="7198"/>
                    </a:lnTo>
                    <a:lnTo>
                      <a:pt x="31134" y="7407"/>
                    </a:lnTo>
                    <a:lnTo>
                      <a:pt x="31072" y="7512"/>
                    </a:lnTo>
                    <a:lnTo>
                      <a:pt x="30988" y="7512"/>
                    </a:lnTo>
                    <a:lnTo>
                      <a:pt x="30967" y="7659"/>
                    </a:lnTo>
                    <a:lnTo>
                      <a:pt x="30967" y="7721"/>
                    </a:lnTo>
                    <a:lnTo>
                      <a:pt x="30862" y="7784"/>
                    </a:lnTo>
                    <a:lnTo>
                      <a:pt x="30821" y="7972"/>
                    </a:lnTo>
                    <a:lnTo>
                      <a:pt x="30862" y="8077"/>
                    </a:lnTo>
                    <a:lnTo>
                      <a:pt x="31072" y="8182"/>
                    </a:lnTo>
                    <a:lnTo>
                      <a:pt x="31176" y="8182"/>
                    </a:lnTo>
                    <a:lnTo>
                      <a:pt x="31302" y="8244"/>
                    </a:lnTo>
                    <a:lnTo>
                      <a:pt x="31385" y="8244"/>
                    </a:lnTo>
                    <a:lnTo>
                      <a:pt x="31511" y="8328"/>
                    </a:lnTo>
                    <a:lnTo>
                      <a:pt x="31678" y="8328"/>
                    </a:lnTo>
                    <a:lnTo>
                      <a:pt x="31699" y="8495"/>
                    </a:lnTo>
                    <a:lnTo>
                      <a:pt x="31867" y="8558"/>
                    </a:lnTo>
                    <a:lnTo>
                      <a:pt x="31888" y="8642"/>
                    </a:lnTo>
                    <a:lnTo>
                      <a:pt x="31971" y="8705"/>
                    </a:lnTo>
                    <a:lnTo>
                      <a:pt x="31804" y="8705"/>
                    </a:lnTo>
                    <a:lnTo>
                      <a:pt x="31762" y="8726"/>
                    </a:lnTo>
                    <a:lnTo>
                      <a:pt x="31574" y="8726"/>
                    </a:lnTo>
                    <a:lnTo>
                      <a:pt x="31365" y="8642"/>
                    </a:lnTo>
                    <a:lnTo>
                      <a:pt x="31344" y="8537"/>
                    </a:lnTo>
                    <a:lnTo>
                      <a:pt x="31239" y="8454"/>
                    </a:lnTo>
                    <a:lnTo>
                      <a:pt x="31051" y="8454"/>
                    </a:lnTo>
                    <a:lnTo>
                      <a:pt x="30988" y="8412"/>
                    </a:lnTo>
                    <a:lnTo>
                      <a:pt x="30883" y="8391"/>
                    </a:lnTo>
                    <a:lnTo>
                      <a:pt x="30862" y="8433"/>
                    </a:lnTo>
                    <a:lnTo>
                      <a:pt x="30925" y="8558"/>
                    </a:lnTo>
                    <a:lnTo>
                      <a:pt x="30925" y="8642"/>
                    </a:lnTo>
                    <a:lnTo>
                      <a:pt x="30841" y="8642"/>
                    </a:lnTo>
                    <a:lnTo>
                      <a:pt x="30821" y="8726"/>
                    </a:lnTo>
                    <a:lnTo>
                      <a:pt x="30862" y="8914"/>
                    </a:lnTo>
                    <a:lnTo>
                      <a:pt x="30883" y="9039"/>
                    </a:lnTo>
                    <a:lnTo>
                      <a:pt x="30862" y="9165"/>
                    </a:lnTo>
                    <a:lnTo>
                      <a:pt x="30883" y="9270"/>
                    </a:lnTo>
                    <a:lnTo>
                      <a:pt x="31030" y="9353"/>
                    </a:lnTo>
                    <a:lnTo>
                      <a:pt x="31134" y="9458"/>
                    </a:lnTo>
                    <a:lnTo>
                      <a:pt x="31134" y="9500"/>
                    </a:lnTo>
                    <a:lnTo>
                      <a:pt x="31072" y="9458"/>
                    </a:lnTo>
                    <a:lnTo>
                      <a:pt x="31051" y="9458"/>
                    </a:lnTo>
                    <a:lnTo>
                      <a:pt x="31072" y="9563"/>
                    </a:lnTo>
                    <a:lnTo>
                      <a:pt x="31155" y="9667"/>
                    </a:lnTo>
                    <a:lnTo>
                      <a:pt x="31197" y="9667"/>
                    </a:lnTo>
                    <a:lnTo>
                      <a:pt x="31197" y="9583"/>
                    </a:lnTo>
                    <a:lnTo>
                      <a:pt x="31281" y="9563"/>
                    </a:lnTo>
                    <a:lnTo>
                      <a:pt x="31385" y="9583"/>
                    </a:lnTo>
                    <a:lnTo>
                      <a:pt x="31469" y="9667"/>
                    </a:lnTo>
                    <a:lnTo>
                      <a:pt x="31553" y="9688"/>
                    </a:lnTo>
                    <a:lnTo>
                      <a:pt x="31574" y="9646"/>
                    </a:lnTo>
                    <a:lnTo>
                      <a:pt x="31553" y="9583"/>
                    </a:lnTo>
                    <a:lnTo>
                      <a:pt x="31574" y="9500"/>
                    </a:lnTo>
                    <a:lnTo>
                      <a:pt x="31616" y="9479"/>
                    </a:lnTo>
                    <a:lnTo>
                      <a:pt x="31678" y="9542"/>
                    </a:lnTo>
                    <a:lnTo>
                      <a:pt x="31657" y="9646"/>
                    </a:lnTo>
                    <a:lnTo>
                      <a:pt x="31678" y="9709"/>
                    </a:lnTo>
                    <a:lnTo>
                      <a:pt x="31720" y="9709"/>
                    </a:lnTo>
                    <a:lnTo>
                      <a:pt x="31783" y="9583"/>
                    </a:lnTo>
                    <a:lnTo>
                      <a:pt x="31909" y="9563"/>
                    </a:lnTo>
                    <a:lnTo>
                      <a:pt x="31992" y="9479"/>
                    </a:lnTo>
                    <a:lnTo>
                      <a:pt x="32013" y="9500"/>
                    </a:lnTo>
                    <a:lnTo>
                      <a:pt x="31971" y="9583"/>
                    </a:lnTo>
                    <a:lnTo>
                      <a:pt x="31783" y="9688"/>
                    </a:lnTo>
                    <a:lnTo>
                      <a:pt x="31762" y="9793"/>
                    </a:lnTo>
                    <a:lnTo>
                      <a:pt x="31867" y="9876"/>
                    </a:lnTo>
                    <a:lnTo>
                      <a:pt x="31888" y="10023"/>
                    </a:lnTo>
                    <a:lnTo>
                      <a:pt x="32013" y="10169"/>
                    </a:lnTo>
                    <a:lnTo>
                      <a:pt x="32181" y="10169"/>
                    </a:lnTo>
                    <a:lnTo>
                      <a:pt x="32222" y="10107"/>
                    </a:lnTo>
                    <a:lnTo>
                      <a:pt x="32118" y="10023"/>
                    </a:lnTo>
                    <a:lnTo>
                      <a:pt x="32181" y="10002"/>
                    </a:lnTo>
                    <a:lnTo>
                      <a:pt x="32285" y="10023"/>
                    </a:lnTo>
                    <a:lnTo>
                      <a:pt x="32348" y="10107"/>
                    </a:lnTo>
                    <a:lnTo>
                      <a:pt x="32411" y="10086"/>
                    </a:lnTo>
                    <a:lnTo>
                      <a:pt x="32494" y="10002"/>
                    </a:lnTo>
                    <a:lnTo>
                      <a:pt x="32599" y="9897"/>
                    </a:lnTo>
                    <a:lnTo>
                      <a:pt x="32662" y="9897"/>
                    </a:lnTo>
                    <a:lnTo>
                      <a:pt x="32662" y="9960"/>
                    </a:lnTo>
                    <a:lnTo>
                      <a:pt x="32599" y="9981"/>
                    </a:lnTo>
                    <a:lnTo>
                      <a:pt x="32432" y="10127"/>
                    </a:lnTo>
                    <a:lnTo>
                      <a:pt x="32432" y="10211"/>
                    </a:lnTo>
                    <a:lnTo>
                      <a:pt x="32453" y="10232"/>
                    </a:lnTo>
                    <a:cubicBezTo>
                      <a:pt x="32411" y="10295"/>
                      <a:pt x="32390" y="10379"/>
                      <a:pt x="32348" y="10441"/>
                    </a:cubicBezTo>
                    <a:lnTo>
                      <a:pt x="32306" y="10441"/>
                    </a:lnTo>
                    <a:lnTo>
                      <a:pt x="32222" y="10504"/>
                    </a:lnTo>
                    <a:lnTo>
                      <a:pt x="32139" y="10504"/>
                    </a:lnTo>
                    <a:lnTo>
                      <a:pt x="32097" y="10420"/>
                    </a:lnTo>
                    <a:lnTo>
                      <a:pt x="31992" y="10400"/>
                    </a:lnTo>
                    <a:lnTo>
                      <a:pt x="32013" y="10441"/>
                    </a:lnTo>
                    <a:lnTo>
                      <a:pt x="32097" y="10504"/>
                    </a:lnTo>
                    <a:lnTo>
                      <a:pt x="32076" y="10609"/>
                    </a:lnTo>
                    <a:lnTo>
                      <a:pt x="31971" y="10609"/>
                    </a:lnTo>
                    <a:lnTo>
                      <a:pt x="31971" y="10630"/>
                    </a:lnTo>
                    <a:lnTo>
                      <a:pt x="31992" y="10692"/>
                    </a:lnTo>
                    <a:lnTo>
                      <a:pt x="31909" y="10755"/>
                    </a:lnTo>
                    <a:lnTo>
                      <a:pt x="31909" y="10839"/>
                    </a:lnTo>
                    <a:lnTo>
                      <a:pt x="31971" y="10923"/>
                    </a:lnTo>
                    <a:lnTo>
                      <a:pt x="31888" y="10923"/>
                    </a:lnTo>
                    <a:lnTo>
                      <a:pt x="31888" y="11027"/>
                    </a:lnTo>
                    <a:lnTo>
                      <a:pt x="31804" y="11111"/>
                    </a:lnTo>
                    <a:lnTo>
                      <a:pt x="31804" y="11278"/>
                    </a:lnTo>
                    <a:lnTo>
                      <a:pt x="31867" y="11278"/>
                    </a:lnTo>
                    <a:lnTo>
                      <a:pt x="31909" y="11383"/>
                    </a:lnTo>
                    <a:lnTo>
                      <a:pt x="31950" y="11383"/>
                    </a:lnTo>
                    <a:lnTo>
                      <a:pt x="32013" y="11488"/>
                    </a:lnTo>
                    <a:lnTo>
                      <a:pt x="31950" y="11508"/>
                    </a:lnTo>
                    <a:lnTo>
                      <a:pt x="31888" y="11508"/>
                    </a:lnTo>
                    <a:lnTo>
                      <a:pt x="31825" y="11571"/>
                    </a:lnTo>
                    <a:lnTo>
                      <a:pt x="31783" y="11508"/>
                    </a:lnTo>
                    <a:lnTo>
                      <a:pt x="31637" y="11550"/>
                    </a:lnTo>
                    <a:lnTo>
                      <a:pt x="31595" y="11634"/>
                    </a:lnTo>
                    <a:lnTo>
                      <a:pt x="31699" y="11739"/>
                    </a:lnTo>
                    <a:lnTo>
                      <a:pt x="31741" y="11739"/>
                    </a:lnTo>
                    <a:lnTo>
                      <a:pt x="31741" y="11801"/>
                    </a:lnTo>
                    <a:lnTo>
                      <a:pt x="31637" y="11843"/>
                    </a:lnTo>
                    <a:lnTo>
                      <a:pt x="31595" y="11780"/>
                    </a:lnTo>
                    <a:lnTo>
                      <a:pt x="31511" y="11864"/>
                    </a:lnTo>
                    <a:lnTo>
                      <a:pt x="31427" y="11739"/>
                    </a:lnTo>
                    <a:lnTo>
                      <a:pt x="31323" y="11801"/>
                    </a:lnTo>
                    <a:lnTo>
                      <a:pt x="31218" y="12011"/>
                    </a:lnTo>
                    <a:lnTo>
                      <a:pt x="31113" y="12262"/>
                    </a:lnTo>
                    <a:lnTo>
                      <a:pt x="30988" y="12492"/>
                    </a:lnTo>
                    <a:lnTo>
                      <a:pt x="30779" y="12638"/>
                    </a:lnTo>
                    <a:lnTo>
                      <a:pt x="30737" y="12743"/>
                    </a:lnTo>
                    <a:lnTo>
                      <a:pt x="30674" y="12743"/>
                    </a:lnTo>
                    <a:lnTo>
                      <a:pt x="30569" y="12910"/>
                    </a:lnTo>
                    <a:lnTo>
                      <a:pt x="30465" y="12952"/>
                    </a:lnTo>
                    <a:lnTo>
                      <a:pt x="30444" y="13140"/>
                    </a:lnTo>
                    <a:lnTo>
                      <a:pt x="30360" y="13224"/>
                    </a:lnTo>
                    <a:lnTo>
                      <a:pt x="30339" y="13350"/>
                    </a:lnTo>
                    <a:lnTo>
                      <a:pt x="30277" y="13350"/>
                    </a:lnTo>
                    <a:lnTo>
                      <a:pt x="30235" y="13224"/>
                    </a:lnTo>
                    <a:lnTo>
                      <a:pt x="30151" y="13224"/>
                    </a:lnTo>
                    <a:lnTo>
                      <a:pt x="30067" y="13308"/>
                    </a:lnTo>
                    <a:lnTo>
                      <a:pt x="30109" y="13350"/>
                    </a:lnTo>
                    <a:lnTo>
                      <a:pt x="30130" y="13475"/>
                    </a:lnTo>
                    <a:lnTo>
                      <a:pt x="30046" y="13475"/>
                    </a:lnTo>
                    <a:lnTo>
                      <a:pt x="29963" y="13413"/>
                    </a:lnTo>
                    <a:lnTo>
                      <a:pt x="30005" y="13308"/>
                    </a:lnTo>
                    <a:lnTo>
                      <a:pt x="29921" y="13140"/>
                    </a:lnTo>
                    <a:lnTo>
                      <a:pt x="29837" y="12743"/>
                    </a:lnTo>
                    <a:lnTo>
                      <a:pt x="29837" y="12576"/>
                    </a:lnTo>
                    <a:lnTo>
                      <a:pt x="29816" y="12492"/>
                    </a:lnTo>
                    <a:lnTo>
                      <a:pt x="29858" y="12366"/>
                    </a:lnTo>
                    <a:lnTo>
                      <a:pt x="29942" y="12262"/>
                    </a:lnTo>
                    <a:lnTo>
                      <a:pt x="29921" y="12115"/>
                    </a:lnTo>
                    <a:lnTo>
                      <a:pt x="29963" y="12011"/>
                    </a:lnTo>
                    <a:lnTo>
                      <a:pt x="30046" y="11969"/>
                    </a:lnTo>
                    <a:lnTo>
                      <a:pt x="30130" y="12011"/>
                    </a:lnTo>
                    <a:lnTo>
                      <a:pt x="30214" y="11990"/>
                    </a:lnTo>
                    <a:lnTo>
                      <a:pt x="30277" y="11885"/>
                    </a:lnTo>
                    <a:lnTo>
                      <a:pt x="30256" y="11655"/>
                    </a:lnTo>
                    <a:lnTo>
                      <a:pt x="30318" y="11550"/>
                    </a:lnTo>
                    <a:lnTo>
                      <a:pt x="30318" y="11153"/>
                    </a:lnTo>
                    <a:lnTo>
                      <a:pt x="30214" y="11027"/>
                    </a:lnTo>
                    <a:lnTo>
                      <a:pt x="30172" y="10860"/>
                    </a:lnTo>
                    <a:lnTo>
                      <a:pt x="30109" y="10692"/>
                    </a:lnTo>
                    <a:lnTo>
                      <a:pt x="30067" y="10588"/>
                    </a:lnTo>
                    <a:lnTo>
                      <a:pt x="30025" y="10525"/>
                    </a:lnTo>
                    <a:lnTo>
                      <a:pt x="29963" y="10525"/>
                    </a:lnTo>
                    <a:lnTo>
                      <a:pt x="29921" y="10630"/>
                    </a:lnTo>
                    <a:lnTo>
                      <a:pt x="29795" y="10839"/>
                    </a:lnTo>
                    <a:lnTo>
                      <a:pt x="29628" y="10964"/>
                    </a:lnTo>
                    <a:lnTo>
                      <a:pt x="29607" y="11069"/>
                    </a:lnTo>
                    <a:lnTo>
                      <a:pt x="29607" y="11278"/>
                    </a:lnTo>
                    <a:lnTo>
                      <a:pt x="29544" y="11341"/>
                    </a:lnTo>
                    <a:lnTo>
                      <a:pt x="29481" y="11278"/>
                    </a:lnTo>
                    <a:lnTo>
                      <a:pt x="29398" y="11362"/>
                    </a:lnTo>
                    <a:lnTo>
                      <a:pt x="29419" y="11383"/>
                    </a:lnTo>
                    <a:lnTo>
                      <a:pt x="29398" y="11446"/>
                    </a:lnTo>
                    <a:lnTo>
                      <a:pt x="29230" y="11529"/>
                    </a:lnTo>
                    <a:lnTo>
                      <a:pt x="29189" y="11592"/>
                    </a:lnTo>
                    <a:lnTo>
                      <a:pt x="29084" y="11697"/>
                    </a:lnTo>
                    <a:lnTo>
                      <a:pt x="29000" y="11697"/>
                    </a:lnTo>
                    <a:lnTo>
                      <a:pt x="29000" y="11634"/>
                    </a:lnTo>
                    <a:lnTo>
                      <a:pt x="29084" y="11592"/>
                    </a:lnTo>
                    <a:lnTo>
                      <a:pt x="29084" y="11467"/>
                    </a:lnTo>
                    <a:lnTo>
                      <a:pt x="29042" y="11425"/>
                    </a:lnTo>
                    <a:lnTo>
                      <a:pt x="29147" y="11278"/>
                    </a:lnTo>
                    <a:lnTo>
                      <a:pt x="29168" y="11174"/>
                    </a:lnTo>
                    <a:lnTo>
                      <a:pt x="29168" y="11069"/>
                    </a:lnTo>
                    <a:lnTo>
                      <a:pt x="29251" y="11027"/>
                    </a:lnTo>
                    <a:lnTo>
                      <a:pt x="29251" y="10923"/>
                    </a:lnTo>
                    <a:lnTo>
                      <a:pt x="29209" y="10902"/>
                    </a:lnTo>
                    <a:lnTo>
                      <a:pt x="29251" y="10755"/>
                    </a:lnTo>
                    <a:lnTo>
                      <a:pt x="29147" y="10609"/>
                    </a:lnTo>
                    <a:lnTo>
                      <a:pt x="29147" y="10525"/>
                    </a:lnTo>
                    <a:lnTo>
                      <a:pt x="29084" y="10420"/>
                    </a:lnTo>
                    <a:lnTo>
                      <a:pt x="29084" y="10379"/>
                    </a:lnTo>
                    <a:lnTo>
                      <a:pt x="29147" y="10400"/>
                    </a:lnTo>
                    <a:lnTo>
                      <a:pt x="29189" y="10400"/>
                    </a:lnTo>
                    <a:lnTo>
                      <a:pt x="29209" y="10525"/>
                    </a:lnTo>
                    <a:lnTo>
                      <a:pt x="29272" y="10504"/>
                    </a:lnTo>
                    <a:lnTo>
                      <a:pt x="29377" y="10379"/>
                    </a:lnTo>
                    <a:lnTo>
                      <a:pt x="29481" y="10379"/>
                    </a:lnTo>
                    <a:lnTo>
                      <a:pt x="29565" y="10295"/>
                    </a:lnTo>
                    <a:lnTo>
                      <a:pt x="29481" y="10232"/>
                    </a:lnTo>
                    <a:lnTo>
                      <a:pt x="29377" y="10316"/>
                    </a:lnTo>
                    <a:lnTo>
                      <a:pt x="29293" y="10232"/>
                    </a:lnTo>
                    <a:lnTo>
                      <a:pt x="29189" y="10211"/>
                    </a:lnTo>
                    <a:lnTo>
                      <a:pt x="29189" y="10107"/>
                    </a:lnTo>
                    <a:lnTo>
                      <a:pt x="29230" y="10065"/>
                    </a:lnTo>
                    <a:lnTo>
                      <a:pt x="29209" y="10002"/>
                    </a:lnTo>
                    <a:lnTo>
                      <a:pt x="29126" y="10023"/>
                    </a:lnTo>
                    <a:lnTo>
                      <a:pt x="29105" y="10107"/>
                    </a:lnTo>
                    <a:lnTo>
                      <a:pt x="28958" y="10169"/>
                    </a:lnTo>
                    <a:lnTo>
                      <a:pt x="28854" y="10065"/>
                    </a:lnTo>
                    <a:lnTo>
                      <a:pt x="28854" y="9939"/>
                    </a:lnTo>
                    <a:lnTo>
                      <a:pt x="28770" y="9918"/>
                    </a:lnTo>
                    <a:lnTo>
                      <a:pt x="28665" y="9939"/>
                    </a:lnTo>
                    <a:lnTo>
                      <a:pt x="28603" y="9897"/>
                    </a:lnTo>
                    <a:lnTo>
                      <a:pt x="28644" y="9793"/>
                    </a:lnTo>
                    <a:lnTo>
                      <a:pt x="28707" y="9772"/>
                    </a:lnTo>
                    <a:lnTo>
                      <a:pt x="28749" y="9709"/>
                    </a:lnTo>
                    <a:lnTo>
                      <a:pt x="28812" y="9709"/>
                    </a:lnTo>
                    <a:lnTo>
                      <a:pt x="29126" y="9500"/>
                    </a:lnTo>
                    <a:lnTo>
                      <a:pt x="29168" y="9458"/>
                    </a:lnTo>
                    <a:lnTo>
                      <a:pt x="29042" y="9332"/>
                    </a:lnTo>
                    <a:lnTo>
                      <a:pt x="28875" y="9353"/>
                    </a:lnTo>
                    <a:lnTo>
                      <a:pt x="28875" y="9332"/>
                    </a:lnTo>
                    <a:lnTo>
                      <a:pt x="28979" y="9270"/>
                    </a:lnTo>
                    <a:lnTo>
                      <a:pt x="29042" y="9144"/>
                    </a:lnTo>
                    <a:lnTo>
                      <a:pt x="29168" y="9081"/>
                    </a:lnTo>
                    <a:lnTo>
                      <a:pt x="29147" y="9228"/>
                    </a:lnTo>
                    <a:lnTo>
                      <a:pt x="29189" y="9332"/>
                    </a:lnTo>
                    <a:lnTo>
                      <a:pt x="29293" y="9291"/>
                    </a:lnTo>
                    <a:lnTo>
                      <a:pt x="29377" y="9332"/>
                    </a:lnTo>
                    <a:lnTo>
                      <a:pt x="29461" y="9249"/>
                    </a:lnTo>
                    <a:lnTo>
                      <a:pt x="29461" y="9144"/>
                    </a:lnTo>
                    <a:lnTo>
                      <a:pt x="29377" y="9039"/>
                    </a:lnTo>
                    <a:lnTo>
                      <a:pt x="29293" y="9019"/>
                    </a:lnTo>
                    <a:lnTo>
                      <a:pt x="29293" y="8935"/>
                    </a:lnTo>
                    <a:lnTo>
                      <a:pt x="29314" y="8830"/>
                    </a:lnTo>
                    <a:lnTo>
                      <a:pt x="29293" y="8726"/>
                    </a:lnTo>
                    <a:lnTo>
                      <a:pt x="29314" y="8663"/>
                    </a:lnTo>
                    <a:lnTo>
                      <a:pt x="29314" y="8600"/>
                    </a:lnTo>
                    <a:lnTo>
                      <a:pt x="29209" y="8454"/>
                    </a:lnTo>
                    <a:lnTo>
                      <a:pt x="29272" y="8349"/>
                    </a:lnTo>
                    <a:lnTo>
                      <a:pt x="29209" y="8244"/>
                    </a:lnTo>
                    <a:lnTo>
                      <a:pt x="29272" y="8223"/>
                    </a:lnTo>
                    <a:lnTo>
                      <a:pt x="29272" y="8077"/>
                    </a:lnTo>
                    <a:lnTo>
                      <a:pt x="29356" y="7931"/>
                    </a:lnTo>
                    <a:lnTo>
                      <a:pt x="29356" y="7847"/>
                    </a:lnTo>
                    <a:lnTo>
                      <a:pt x="29419" y="7742"/>
                    </a:lnTo>
                    <a:lnTo>
                      <a:pt x="29419" y="7700"/>
                    </a:lnTo>
                    <a:lnTo>
                      <a:pt x="29356" y="7659"/>
                    </a:lnTo>
                    <a:lnTo>
                      <a:pt x="29377" y="7449"/>
                    </a:lnTo>
                    <a:lnTo>
                      <a:pt x="29356" y="7324"/>
                    </a:lnTo>
                    <a:lnTo>
                      <a:pt x="29251" y="7261"/>
                    </a:lnTo>
                    <a:lnTo>
                      <a:pt x="29272" y="7177"/>
                    </a:lnTo>
                    <a:lnTo>
                      <a:pt x="29251" y="7073"/>
                    </a:lnTo>
                    <a:lnTo>
                      <a:pt x="29293" y="7052"/>
                    </a:lnTo>
                    <a:lnTo>
                      <a:pt x="29335" y="6947"/>
                    </a:lnTo>
                    <a:lnTo>
                      <a:pt x="29272" y="6884"/>
                    </a:lnTo>
                    <a:lnTo>
                      <a:pt x="29230" y="6863"/>
                    </a:lnTo>
                    <a:cubicBezTo>
                      <a:pt x="29272" y="6842"/>
                      <a:pt x="29293" y="6801"/>
                      <a:pt x="29293" y="6759"/>
                    </a:cubicBezTo>
                    <a:cubicBezTo>
                      <a:pt x="29314" y="6696"/>
                      <a:pt x="29335" y="6654"/>
                      <a:pt x="29335" y="6591"/>
                    </a:cubicBezTo>
                    <a:lnTo>
                      <a:pt x="29377" y="6550"/>
                    </a:lnTo>
                    <a:lnTo>
                      <a:pt x="29377" y="6445"/>
                    </a:lnTo>
                    <a:lnTo>
                      <a:pt x="29440" y="6445"/>
                    </a:lnTo>
                    <a:lnTo>
                      <a:pt x="29523" y="6361"/>
                    </a:lnTo>
                    <a:lnTo>
                      <a:pt x="29586" y="6257"/>
                    </a:lnTo>
                    <a:lnTo>
                      <a:pt x="29649" y="6215"/>
                    </a:lnTo>
                    <a:lnTo>
                      <a:pt x="29753" y="6215"/>
                    </a:lnTo>
                    <a:lnTo>
                      <a:pt x="29816" y="6131"/>
                    </a:lnTo>
                    <a:lnTo>
                      <a:pt x="29900" y="6068"/>
                    </a:lnTo>
                    <a:lnTo>
                      <a:pt x="29942" y="5964"/>
                    </a:lnTo>
                    <a:lnTo>
                      <a:pt x="29942" y="5838"/>
                    </a:lnTo>
                    <a:lnTo>
                      <a:pt x="29900" y="5796"/>
                    </a:lnTo>
                    <a:lnTo>
                      <a:pt x="29963" y="5713"/>
                    </a:lnTo>
                    <a:lnTo>
                      <a:pt x="30005" y="5629"/>
                    </a:lnTo>
                    <a:lnTo>
                      <a:pt x="29795" y="5629"/>
                    </a:lnTo>
                    <a:lnTo>
                      <a:pt x="29733" y="5587"/>
                    </a:lnTo>
                    <a:lnTo>
                      <a:pt x="29753" y="5503"/>
                    </a:lnTo>
                    <a:lnTo>
                      <a:pt x="29837" y="5503"/>
                    </a:lnTo>
                    <a:lnTo>
                      <a:pt x="29921" y="5545"/>
                    </a:lnTo>
                    <a:lnTo>
                      <a:pt x="30025" y="5545"/>
                    </a:lnTo>
                    <a:lnTo>
                      <a:pt x="30130" y="5587"/>
                    </a:lnTo>
                    <a:lnTo>
                      <a:pt x="30214" y="5524"/>
                    </a:lnTo>
                    <a:lnTo>
                      <a:pt x="30297" y="5545"/>
                    </a:lnTo>
                    <a:lnTo>
                      <a:pt x="30318" y="5650"/>
                    </a:lnTo>
                    <a:lnTo>
                      <a:pt x="30465" y="5796"/>
                    </a:lnTo>
                    <a:lnTo>
                      <a:pt x="30549" y="5796"/>
                    </a:lnTo>
                    <a:lnTo>
                      <a:pt x="30569" y="5838"/>
                    </a:lnTo>
                    <a:lnTo>
                      <a:pt x="30653" y="5859"/>
                    </a:lnTo>
                    <a:lnTo>
                      <a:pt x="30779" y="5817"/>
                    </a:lnTo>
                    <a:lnTo>
                      <a:pt x="30988" y="5692"/>
                    </a:lnTo>
                    <a:lnTo>
                      <a:pt x="31134" y="5524"/>
                    </a:lnTo>
                    <a:lnTo>
                      <a:pt x="31302" y="5399"/>
                    </a:lnTo>
                    <a:lnTo>
                      <a:pt x="31365" y="5315"/>
                    </a:lnTo>
                    <a:lnTo>
                      <a:pt x="31302" y="5294"/>
                    </a:lnTo>
                    <a:lnTo>
                      <a:pt x="31344" y="5231"/>
                    </a:lnTo>
                    <a:lnTo>
                      <a:pt x="31469" y="5231"/>
                    </a:lnTo>
                    <a:lnTo>
                      <a:pt x="31595" y="5085"/>
                    </a:lnTo>
                    <a:lnTo>
                      <a:pt x="31825" y="4897"/>
                    </a:lnTo>
                    <a:lnTo>
                      <a:pt x="31825" y="4855"/>
                    </a:lnTo>
                    <a:lnTo>
                      <a:pt x="31930" y="4834"/>
                    </a:lnTo>
                    <a:lnTo>
                      <a:pt x="32013" y="4687"/>
                    </a:lnTo>
                    <a:lnTo>
                      <a:pt x="32181" y="4541"/>
                    </a:lnTo>
                    <a:lnTo>
                      <a:pt x="32222" y="4415"/>
                    </a:lnTo>
                    <a:lnTo>
                      <a:pt x="32285" y="4415"/>
                    </a:lnTo>
                    <a:lnTo>
                      <a:pt x="32327" y="4436"/>
                    </a:lnTo>
                    <a:lnTo>
                      <a:pt x="32327" y="4436"/>
                    </a:lnTo>
                    <a:lnTo>
                      <a:pt x="32306" y="4353"/>
                    </a:lnTo>
                    <a:lnTo>
                      <a:pt x="32222" y="4311"/>
                    </a:lnTo>
                    <a:lnTo>
                      <a:pt x="32222" y="4227"/>
                    </a:lnTo>
                    <a:lnTo>
                      <a:pt x="32076" y="4122"/>
                    </a:lnTo>
                    <a:lnTo>
                      <a:pt x="31804" y="4081"/>
                    </a:lnTo>
                    <a:lnTo>
                      <a:pt x="31657" y="4060"/>
                    </a:lnTo>
                    <a:lnTo>
                      <a:pt x="31574" y="4081"/>
                    </a:lnTo>
                    <a:lnTo>
                      <a:pt x="31511" y="4060"/>
                    </a:lnTo>
                    <a:lnTo>
                      <a:pt x="31511" y="3976"/>
                    </a:lnTo>
                    <a:lnTo>
                      <a:pt x="31469" y="3871"/>
                    </a:lnTo>
                    <a:lnTo>
                      <a:pt x="31406" y="3871"/>
                    </a:lnTo>
                    <a:lnTo>
                      <a:pt x="31385" y="3850"/>
                    </a:lnTo>
                    <a:lnTo>
                      <a:pt x="31281" y="3829"/>
                    </a:lnTo>
                    <a:lnTo>
                      <a:pt x="31197" y="3704"/>
                    </a:lnTo>
                    <a:lnTo>
                      <a:pt x="31051" y="3704"/>
                    </a:lnTo>
                    <a:lnTo>
                      <a:pt x="30967" y="3788"/>
                    </a:lnTo>
                    <a:lnTo>
                      <a:pt x="30946" y="3704"/>
                    </a:lnTo>
                    <a:lnTo>
                      <a:pt x="30841" y="3704"/>
                    </a:lnTo>
                    <a:lnTo>
                      <a:pt x="30779" y="3641"/>
                    </a:lnTo>
                    <a:lnTo>
                      <a:pt x="30674" y="3662"/>
                    </a:lnTo>
                    <a:lnTo>
                      <a:pt x="30507" y="3662"/>
                    </a:lnTo>
                    <a:lnTo>
                      <a:pt x="30235" y="3725"/>
                    </a:lnTo>
                    <a:lnTo>
                      <a:pt x="30130" y="3871"/>
                    </a:lnTo>
                    <a:lnTo>
                      <a:pt x="30214" y="3976"/>
                    </a:lnTo>
                    <a:lnTo>
                      <a:pt x="30130" y="4018"/>
                    </a:lnTo>
                    <a:lnTo>
                      <a:pt x="30109" y="4060"/>
                    </a:lnTo>
                    <a:lnTo>
                      <a:pt x="30193" y="4164"/>
                    </a:lnTo>
                    <a:lnTo>
                      <a:pt x="30214" y="4290"/>
                    </a:lnTo>
                    <a:lnTo>
                      <a:pt x="30088" y="4290"/>
                    </a:lnTo>
                    <a:lnTo>
                      <a:pt x="30046" y="4185"/>
                    </a:lnTo>
                    <a:lnTo>
                      <a:pt x="29984" y="4060"/>
                    </a:lnTo>
                    <a:lnTo>
                      <a:pt x="29900" y="4039"/>
                    </a:lnTo>
                    <a:lnTo>
                      <a:pt x="29816" y="4164"/>
                    </a:lnTo>
                    <a:lnTo>
                      <a:pt x="29837" y="4227"/>
                    </a:lnTo>
                    <a:lnTo>
                      <a:pt x="29837" y="4290"/>
                    </a:lnTo>
                    <a:lnTo>
                      <a:pt x="29733" y="4332"/>
                    </a:lnTo>
                    <a:lnTo>
                      <a:pt x="29712" y="4478"/>
                    </a:lnTo>
                    <a:lnTo>
                      <a:pt x="29565" y="4646"/>
                    </a:lnTo>
                    <a:lnTo>
                      <a:pt x="29523" y="4771"/>
                    </a:lnTo>
                    <a:lnTo>
                      <a:pt x="29502" y="4855"/>
                    </a:lnTo>
                    <a:lnTo>
                      <a:pt x="29565" y="4876"/>
                    </a:lnTo>
                    <a:lnTo>
                      <a:pt x="29461" y="4959"/>
                    </a:lnTo>
                    <a:lnTo>
                      <a:pt x="29461" y="5064"/>
                    </a:lnTo>
                    <a:lnTo>
                      <a:pt x="29377" y="5106"/>
                    </a:lnTo>
                    <a:lnTo>
                      <a:pt x="29272" y="5357"/>
                    </a:lnTo>
                    <a:lnTo>
                      <a:pt x="29272" y="5482"/>
                    </a:lnTo>
                    <a:lnTo>
                      <a:pt x="29209" y="5566"/>
                    </a:lnTo>
                    <a:lnTo>
                      <a:pt x="29293" y="5629"/>
                    </a:lnTo>
                    <a:lnTo>
                      <a:pt x="29293" y="5713"/>
                    </a:lnTo>
                    <a:lnTo>
                      <a:pt x="29251" y="5734"/>
                    </a:lnTo>
                    <a:lnTo>
                      <a:pt x="29251" y="5838"/>
                    </a:lnTo>
                    <a:lnTo>
                      <a:pt x="29189" y="6026"/>
                    </a:lnTo>
                    <a:lnTo>
                      <a:pt x="29063" y="6215"/>
                    </a:lnTo>
                    <a:lnTo>
                      <a:pt x="29084" y="6257"/>
                    </a:lnTo>
                    <a:lnTo>
                      <a:pt x="29189" y="6257"/>
                    </a:lnTo>
                    <a:lnTo>
                      <a:pt x="29209" y="6319"/>
                    </a:lnTo>
                    <a:cubicBezTo>
                      <a:pt x="29189" y="6319"/>
                      <a:pt x="29168" y="6340"/>
                      <a:pt x="29168" y="6340"/>
                    </a:cubicBezTo>
                    <a:lnTo>
                      <a:pt x="29105" y="6319"/>
                    </a:lnTo>
                    <a:lnTo>
                      <a:pt x="29042" y="6361"/>
                    </a:lnTo>
                    <a:lnTo>
                      <a:pt x="28958" y="6508"/>
                    </a:lnTo>
                    <a:lnTo>
                      <a:pt x="29042" y="6508"/>
                    </a:lnTo>
                    <a:cubicBezTo>
                      <a:pt x="29000" y="6529"/>
                      <a:pt x="28979" y="6550"/>
                      <a:pt x="28979" y="6612"/>
                    </a:cubicBezTo>
                    <a:lnTo>
                      <a:pt x="28875" y="6570"/>
                    </a:lnTo>
                    <a:lnTo>
                      <a:pt x="28791" y="6633"/>
                    </a:lnTo>
                    <a:lnTo>
                      <a:pt x="28791" y="6738"/>
                    </a:lnTo>
                    <a:lnTo>
                      <a:pt x="28644" y="6842"/>
                    </a:lnTo>
                    <a:lnTo>
                      <a:pt x="28582" y="6884"/>
                    </a:lnTo>
                    <a:cubicBezTo>
                      <a:pt x="28665" y="6612"/>
                      <a:pt x="28728" y="6257"/>
                      <a:pt x="28749" y="5943"/>
                    </a:cubicBezTo>
                    <a:lnTo>
                      <a:pt x="28937" y="5838"/>
                    </a:lnTo>
                    <a:lnTo>
                      <a:pt x="28937" y="5734"/>
                    </a:lnTo>
                    <a:lnTo>
                      <a:pt x="29000" y="5566"/>
                    </a:lnTo>
                    <a:lnTo>
                      <a:pt x="29000" y="5399"/>
                    </a:lnTo>
                    <a:lnTo>
                      <a:pt x="29063" y="5315"/>
                    </a:lnTo>
                    <a:lnTo>
                      <a:pt x="28979" y="5315"/>
                    </a:lnTo>
                    <a:lnTo>
                      <a:pt x="28937" y="5378"/>
                    </a:lnTo>
                    <a:lnTo>
                      <a:pt x="28791" y="5420"/>
                    </a:lnTo>
                    <a:lnTo>
                      <a:pt x="28728" y="5545"/>
                    </a:lnTo>
                    <a:lnTo>
                      <a:pt x="28686" y="5503"/>
                    </a:lnTo>
                    <a:lnTo>
                      <a:pt x="28686" y="5399"/>
                    </a:lnTo>
                    <a:lnTo>
                      <a:pt x="28770" y="5357"/>
                    </a:lnTo>
                    <a:lnTo>
                      <a:pt x="28770" y="5231"/>
                    </a:lnTo>
                    <a:lnTo>
                      <a:pt x="28749" y="5169"/>
                    </a:lnTo>
                    <a:lnTo>
                      <a:pt x="28665" y="5127"/>
                    </a:lnTo>
                    <a:lnTo>
                      <a:pt x="28749" y="5127"/>
                    </a:lnTo>
                    <a:lnTo>
                      <a:pt x="28791" y="5106"/>
                    </a:lnTo>
                    <a:lnTo>
                      <a:pt x="28770" y="4980"/>
                    </a:lnTo>
                    <a:lnTo>
                      <a:pt x="28582" y="4876"/>
                    </a:lnTo>
                    <a:lnTo>
                      <a:pt x="28540" y="4897"/>
                    </a:lnTo>
                    <a:lnTo>
                      <a:pt x="28352" y="4918"/>
                    </a:lnTo>
                    <a:lnTo>
                      <a:pt x="28331" y="4980"/>
                    </a:lnTo>
                    <a:lnTo>
                      <a:pt x="28247" y="4980"/>
                    </a:lnTo>
                    <a:lnTo>
                      <a:pt x="28247" y="4897"/>
                    </a:lnTo>
                    <a:lnTo>
                      <a:pt x="28331" y="4771"/>
                    </a:lnTo>
                    <a:lnTo>
                      <a:pt x="28414" y="4771"/>
                    </a:lnTo>
                    <a:lnTo>
                      <a:pt x="28540" y="4666"/>
                    </a:lnTo>
                    <a:lnTo>
                      <a:pt x="28749" y="4604"/>
                    </a:lnTo>
                    <a:lnTo>
                      <a:pt x="28791" y="4562"/>
                    </a:lnTo>
                    <a:lnTo>
                      <a:pt x="28937" y="4541"/>
                    </a:lnTo>
                    <a:lnTo>
                      <a:pt x="29000" y="4541"/>
                    </a:lnTo>
                    <a:lnTo>
                      <a:pt x="29063" y="4583"/>
                    </a:lnTo>
                    <a:lnTo>
                      <a:pt x="29105" y="4562"/>
                    </a:lnTo>
                    <a:lnTo>
                      <a:pt x="29147" y="4394"/>
                    </a:lnTo>
                    <a:lnTo>
                      <a:pt x="29189" y="4332"/>
                    </a:lnTo>
                    <a:lnTo>
                      <a:pt x="29063" y="4248"/>
                    </a:lnTo>
                    <a:lnTo>
                      <a:pt x="29042" y="4185"/>
                    </a:lnTo>
                    <a:lnTo>
                      <a:pt x="29105" y="4164"/>
                    </a:lnTo>
                    <a:lnTo>
                      <a:pt x="29168" y="4122"/>
                    </a:lnTo>
                    <a:lnTo>
                      <a:pt x="29189" y="4164"/>
                    </a:lnTo>
                    <a:lnTo>
                      <a:pt x="29272" y="4185"/>
                    </a:lnTo>
                    <a:lnTo>
                      <a:pt x="29419" y="4122"/>
                    </a:lnTo>
                    <a:lnTo>
                      <a:pt x="29481" y="4039"/>
                    </a:lnTo>
                    <a:lnTo>
                      <a:pt x="29461" y="3955"/>
                    </a:lnTo>
                    <a:lnTo>
                      <a:pt x="29481" y="3913"/>
                    </a:lnTo>
                    <a:lnTo>
                      <a:pt x="29461" y="3829"/>
                    </a:lnTo>
                    <a:lnTo>
                      <a:pt x="29377" y="3850"/>
                    </a:lnTo>
                    <a:lnTo>
                      <a:pt x="29293" y="3746"/>
                    </a:lnTo>
                    <a:lnTo>
                      <a:pt x="29042" y="3746"/>
                    </a:lnTo>
                    <a:lnTo>
                      <a:pt x="28958" y="3725"/>
                    </a:lnTo>
                    <a:lnTo>
                      <a:pt x="28896" y="3767"/>
                    </a:lnTo>
                    <a:lnTo>
                      <a:pt x="28770" y="3767"/>
                    </a:lnTo>
                    <a:lnTo>
                      <a:pt x="28665" y="3725"/>
                    </a:lnTo>
                    <a:lnTo>
                      <a:pt x="28582" y="3746"/>
                    </a:lnTo>
                    <a:lnTo>
                      <a:pt x="28519" y="3641"/>
                    </a:lnTo>
                    <a:lnTo>
                      <a:pt x="28435" y="3599"/>
                    </a:lnTo>
                    <a:lnTo>
                      <a:pt x="28435" y="3516"/>
                    </a:lnTo>
                    <a:lnTo>
                      <a:pt x="28477" y="3453"/>
                    </a:lnTo>
                    <a:lnTo>
                      <a:pt x="28456" y="3411"/>
                    </a:lnTo>
                    <a:lnTo>
                      <a:pt x="28310" y="3390"/>
                    </a:lnTo>
                    <a:lnTo>
                      <a:pt x="28226" y="3432"/>
                    </a:lnTo>
                    <a:lnTo>
                      <a:pt x="28163" y="3495"/>
                    </a:lnTo>
                    <a:lnTo>
                      <a:pt x="28226" y="3537"/>
                    </a:lnTo>
                    <a:lnTo>
                      <a:pt x="28331" y="3537"/>
                    </a:lnTo>
                    <a:lnTo>
                      <a:pt x="28268" y="3641"/>
                    </a:lnTo>
                    <a:lnTo>
                      <a:pt x="28142" y="3620"/>
                    </a:lnTo>
                    <a:lnTo>
                      <a:pt x="28059" y="3495"/>
                    </a:lnTo>
                    <a:lnTo>
                      <a:pt x="28017" y="3516"/>
                    </a:lnTo>
                    <a:lnTo>
                      <a:pt x="27954" y="3495"/>
                    </a:lnTo>
                    <a:lnTo>
                      <a:pt x="27849" y="3537"/>
                    </a:lnTo>
                    <a:lnTo>
                      <a:pt x="27828" y="3641"/>
                    </a:lnTo>
                    <a:lnTo>
                      <a:pt x="27787" y="3662"/>
                    </a:lnTo>
                    <a:lnTo>
                      <a:pt x="27808" y="3767"/>
                    </a:lnTo>
                    <a:lnTo>
                      <a:pt x="27808" y="3871"/>
                    </a:lnTo>
                    <a:lnTo>
                      <a:pt x="27891" y="3934"/>
                    </a:lnTo>
                    <a:lnTo>
                      <a:pt x="27891" y="4060"/>
                    </a:lnTo>
                    <a:lnTo>
                      <a:pt x="27828" y="4122"/>
                    </a:lnTo>
                    <a:lnTo>
                      <a:pt x="27808" y="4248"/>
                    </a:lnTo>
                    <a:lnTo>
                      <a:pt x="27787" y="4248"/>
                    </a:lnTo>
                    <a:lnTo>
                      <a:pt x="27745" y="4018"/>
                    </a:lnTo>
                    <a:lnTo>
                      <a:pt x="27703" y="3913"/>
                    </a:lnTo>
                    <a:lnTo>
                      <a:pt x="27619" y="3850"/>
                    </a:lnTo>
                    <a:lnTo>
                      <a:pt x="27598" y="3934"/>
                    </a:lnTo>
                    <a:lnTo>
                      <a:pt x="27515" y="3934"/>
                    </a:lnTo>
                    <a:lnTo>
                      <a:pt x="27431" y="4018"/>
                    </a:lnTo>
                    <a:lnTo>
                      <a:pt x="27431" y="4143"/>
                    </a:lnTo>
                    <a:lnTo>
                      <a:pt x="27515" y="4248"/>
                    </a:lnTo>
                    <a:lnTo>
                      <a:pt x="27515" y="4332"/>
                    </a:lnTo>
                    <a:lnTo>
                      <a:pt x="27619" y="4457"/>
                    </a:lnTo>
                    <a:lnTo>
                      <a:pt x="27745" y="4457"/>
                    </a:lnTo>
                    <a:lnTo>
                      <a:pt x="27808" y="4353"/>
                    </a:lnTo>
                    <a:lnTo>
                      <a:pt x="27828" y="4353"/>
                    </a:lnTo>
                    <a:lnTo>
                      <a:pt x="27849" y="4457"/>
                    </a:lnTo>
                    <a:lnTo>
                      <a:pt x="27933" y="4583"/>
                    </a:lnTo>
                    <a:lnTo>
                      <a:pt x="27933" y="4666"/>
                    </a:lnTo>
                    <a:lnTo>
                      <a:pt x="27849" y="4666"/>
                    </a:lnTo>
                    <a:lnTo>
                      <a:pt x="27808" y="4562"/>
                    </a:lnTo>
                    <a:lnTo>
                      <a:pt x="27724" y="4541"/>
                    </a:lnTo>
                    <a:lnTo>
                      <a:pt x="27619" y="4562"/>
                    </a:lnTo>
                    <a:lnTo>
                      <a:pt x="27577" y="4604"/>
                    </a:lnTo>
                    <a:lnTo>
                      <a:pt x="27619" y="4708"/>
                    </a:lnTo>
                    <a:lnTo>
                      <a:pt x="27598" y="4792"/>
                    </a:lnTo>
                    <a:lnTo>
                      <a:pt x="27515" y="4876"/>
                    </a:lnTo>
                    <a:lnTo>
                      <a:pt x="27536" y="4959"/>
                    </a:lnTo>
                    <a:lnTo>
                      <a:pt x="27473" y="5085"/>
                    </a:lnTo>
                    <a:lnTo>
                      <a:pt x="27410" y="5127"/>
                    </a:lnTo>
                    <a:lnTo>
                      <a:pt x="27431" y="5231"/>
                    </a:lnTo>
                    <a:lnTo>
                      <a:pt x="27389" y="5294"/>
                    </a:lnTo>
                    <a:lnTo>
                      <a:pt x="27284" y="5273"/>
                    </a:lnTo>
                    <a:lnTo>
                      <a:pt x="27201" y="5169"/>
                    </a:lnTo>
                    <a:lnTo>
                      <a:pt x="27201" y="5064"/>
                    </a:lnTo>
                    <a:lnTo>
                      <a:pt x="27075" y="4897"/>
                    </a:lnTo>
                    <a:lnTo>
                      <a:pt x="27075" y="4792"/>
                    </a:lnTo>
                    <a:lnTo>
                      <a:pt x="27054" y="4708"/>
                    </a:lnTo>
                    <a:lnTo>
                      <a:pt x="26950" y="4687"/>
                    </a:lnTo>
                    <a:lnTo>
                      <a:pt x="26950" y="4646"/>
                    </a:lnTo>
                    <a:lnTo>
                      <a:pt x="26992" y="4604"/>
                    </a:lnTo>
                    <a:lnTo>
                      <a:pt x="27033" y="4562"/>
                    </a:lnTo>
                    <a:lnTo>
                      <a:pt x="26992" y="4478"/>
                    </a:lnTo>
                    <a:lnTo>
                      <a:pt x="26887" y="4457"/>
                    </a:lnTo>
                    <a:lnTo>
                      <a:pt x="26740" y="4499"/>
                    </a:lnTo>
                    <a:lnTo>
                      <a:pt x="26699" y="4457"/>
                    </a:lnTo>
                    <a:lnTo>
                      <a:pt x="26657" y="4478"/>
                    </a:lnTo>
                    <a:lnTo>
                      <a:pt x="26594" y="4562"/>
                    </a:lnTo>
                    <a:lnTo>
                      <a:pt x="26489" y="4604"/>
                    </a:lnTo>
                    <a:lnTo>
                      <a:pt x="26364" y="4792"/>
                    </a:lnTo>
                    <a:lnTo>
                      <a:pt x="26427" y="4876"/>
                    </a:lnTo>
                    <a:lnTo>
                      <a:pt x="26427" y="5064"/>
                    </a:lnTo>
                    <a:lnTo>
                      <a:pt x="26385" y="5127"/>
                    </a:lnTo>
                    <a:lnTo>
                      <a:pt x="26448" y="5210"/>
                    </a:lnTo>
                    <a:lnTo>
                      <a:pt x="26427" y="5378"/>
                    </a:lnTo>
                    <a:lnTo>
                      <a:pt x="26322" y="5420"/>
                    </a:lnTo>
                    <a:lnTo>
                      <a:pt x="26322" y="5545"/>
                    </a:lnTo>
                    <a:lnTo>
                      <a:pt x="26364" y="5608"/>
                    </a:lnTo>
                    <a:lnTo>
                      <a:pt x="26448" y="5587"/>
                    </a:lnTo>
                    <a:lnTo>
                      <a:pt x="26489" y="5629"/>
                    </a:lnTo>
                    <a:lnTo>
                      <a:pt x="26573" y="5587"/>
                    </a:lnTo>
                    <a:lnTo>
                      <a:pt x="26636" y="5608"/>
                    </a:lnTo>
                    <a:lnTo>
                      <a:pt x="26636" y="5734"/>
                    </a:lnTo>
                    <a:lnTo>
                      <a:pt x="26657" y="5796"/>
                    </a:lnTo>
                    <a:lnTo>
                      <a:pt x="26699" y="5796"/>
                    </a:lnTo>
                    <a:lnTo>
                      <a:pt x="26782" y="5922"/>
                    </a:lnTo>
                    <a:lnTo>
                      <a:pt x="26782" y="6110"/>
                    </a:lnTo>
                    <a:lnTo>
                      <a:pt x="26887" y="6236"/>
                    </a:lnTo>
                    <a:lnTo>
                      <a:pt x="26887" y="6319"/>
                    </a:lnTo>
                    <a:lnTo>
                      <a:pt x="26929" y="6424"/>
                    </a:lnTo>
                    <a:lnTo>
                      <a:pt x="27012" y="6466"/>
                    </a:lnTo>
                    <a:lnTo>
                      <a:pt x="26992" y="6550"/>
                    </a:lnTo>
                    <a:lnTo>
                      <a:pt x="27012" y="6696"/>
                    </a:lnTo>
                    <a:lnTo>
                      <a:pt x="26929" y="6842"/>
                    </a:lnTo>
                    <a:lnTo>
                      <a:pt x="27012" y="6905"/>
                    </a:lnTo>
                    <a:lnTo>
                      <a:pt x="27033" y="7052"/>
                    </a:lnTo>
                    <a:lnTo>
                      <a:pt x="27012" y="7156"/>
                    </a:lnTo>
                    <a:lnTo>
                      <a:pt x="27033" y="7198"/>
                    </a:lnTo>
                    <a:lnTo>
                      <a:pt x="27117" y="7156"/>
                    </a:lnTo>
                    <a:lnTo>
                      <a:pt x="27180" y="7198"/>
                    </a:lnTo>
                    <a:lnTo>
                      <a:pt x="27180" y="7324"/>
                    </a:lnTo>
                    <a:lnTo>
                      <a:pt x="27264" y="7387"/>
                    </a:lnTo>
                    <a:lnTo>
                      <a:pt x="27410" y="7324"/>
                    </a:lnTo>
                    <a:lnTo>
                      <a:pt x="27452" y="7198"/>
                    </a:lnTo>
                    <a:lnTo>
                      <a:pt x="27598" y="7114"/>
                    </a:lnTo>
                    <a:lnTo>
                      <a:pt x="27619" y="7010"/>
                    </a:lnTo>
                    <a:lnTo>
                      <a:pt x="27556" y="6968"/>
                    </a:lnTo>
                    <a:lnTo>
                      <a:pt x="27494" y="6759"/>
                    </a:lnTo>
                    <a:lnTo>
                      <a:pt x="27515" y="6654"/>
                    </a:lnTo>
                    <a:lnTo>
                      <a:pt x="27703" y="6466"/>
                    </a:lnTo>
                    <a:lnTo>
                      <a:pt x="27703" y="6550"/>
                    </a:lnTo>
                    <a:lnTo>
                      <a:pt x="27598" y="6675"/>
                    </a:lnTo>
                    <a:lnTo>
                      <a:pt x="27640" y="6905"/>
                    </a:lnTo>
                    <a:lnTo>
                      <a:pt x="27724" y="6947"/>
                    </a:lnTo>
                    <a:lnTo>
                      <a:pt x="27828" y="6884"/>
                    </a:lnTo>
                    <a:lnTo>
                      <a:pt x="27954" y="6968"/>
                    </a:lnTo>
                    <a:lnTo>
                      <a:pt x="28121" y="6905"/>
                    </a:lnTo>
                    <a:lnTo>
                      <a:pt x="28121" y="6842"/>
                    </a:lnTo>
                    <a:lnTo>
                      <a:pt x="28247" y="6780"/>
                    </a:lnTo>
                    <a:lnTo>
                      <a:pt x="28352" y="6780"/>
                    </a:lnTo>
                    <a:lnTo>
                      <a:pt x="28435" y="6738"/>
                    </a:lnTo>
                    <a:lnTo>
                      <a:pt x="28477" y="6780"/>
                    </a:lnTo>
                    <a:lnTo>
                      <a:pt x="28498" y="6759"/>
                    </a:lnTo>
                    <a:lnTo>
                      <a:pt x="28498" y="6759"/>
                    </a:lnTo>
                    <a:cubicBezTo>
                      <a:pt x="28477" y="6863"/>
                      <a:pt x="28456" y="6989"/>
                      <a:pt x="28456" y="7094"/>
                    </a:cubicBezTo>
                    <a:lnTo>
                      <a:pt x="28435" y="7114"/>
                    </a:lnTo>
                    <a:lnTo>
                      <a:pt x="28456" y="7156"/>
                    </a:lnTo>
                    <a:lnTo>
                      <a:pt x="28456" y="7219"/>
                    </a:lnTo>
                    <a:cubicBezTo>
                      <a:pt x="28456" y="7283"/>
                      <a:pt x="28503" y="7308"/>
                      <a:pt x="28554" y="7308"/>
                    </a:cubicBezTo>
                    <a:cubicBezTo>
                      <a:pt x="28586" y="7308"/>
                      <a:pt x="28620" y="7298"/>
                      <a:pt x="28644" y="7282"/>
                    </a:cubicBezTo>
                    <a:lnTo>
                      <a:pt x="28707" y="7282"/>
                    </a:lnTo>
                    <a:lnTo>
                      <a:pt x="28707" y="7324"/>
                    </a:lnTo>
                    <a:lnTo>
                      <a:pt x="28582" y="7533"/>
                    </a:lnTo>
                    <a:lnTo>
                      <a:pt x="28561" y="7617"/>
                    </a:lnTo>
                    <a:lnTo>
                      <a:pt x="28456" y="7679"/>
                    </a:lnTo>
                    <a:lnTo>
                      <a:pt x="28477" y="7596"/>
                    </a:lnTo>
                    <a:lnTo>
                      <a:pt x="28435" y="7533"/>
                    </a:lnTo>
                    <a:lnTo>
                      <a:pt x="28477" y="7407"/>
                    </a:lnTo>
                    <a:lnTo>
                      <a:pt x="28393" y="7324"/>
                    </a:lnTo>
                    <a:lnTo>
                      <a:pt x="28268" y="7387"/>
                    </a:lnTo>
                    <a:lnTo>
                      <a:pt x="28184" y="7512"/>
                    </a:lnTo>
                    <a:lnTo>
                      <a:pt x="28121" y="7512"/>
                    </a:lnTo>
                    <a:lnTo>
                      <a:pt x="28038" y="7679"/>
                    </a:lnTo>
                    <a:lnTo>
                      <a:pt x="27954" y="7700"/>
                    </a:lnTo>
                    <a:lnTo>
                      <a:pt x="27870" y="7910"/>
                    </a:lnTo>
                    <a:lnTo>
                      <a:pt x="27724" y="8056"/>
                    </a:lnTo>
                    <a:lnTo>
                      <a:pt x="27703" y="8203"/>
                    </a:lnTo>
                    <a:lnTo>
                      <a:pt x="27745" y="8328"/>
                    </a:lnTo>
                    <a:lnTo>
                      <a:pt x="27745" y="8412"/>
                    </a:lnTo>
                    <a:lnTo>
                      <a:pt x="27808" y="8433"/>
                    </a:lnTo>
                    <a:lnTo>
                      <a:pt x="27870" y="8370"/>
                    </a:lnTo>
                    <a:lnTo>
                      <a:pt x="27933" y="8370"/>
                    </a:lnTo>
                    <a:lnTo>
                      <a:pt x="27933" y="8454"/>
                    </a:lnTo>
                    <a:lnTo>
                      <a:pt x="27828" y="8537"/>
                    </a:lnTo>
                    <a:lnTo>
                      <a:pt x="27828" y="8579"/>
                    </a:lnTo>
                    <a:lnTo>
                      <a:pt x="27724" y="8579"/>
                    </a:lnTo>
                    <a:lnTo>
                      <a:pt x="27619" y="8642"/>
                    </a:lnTo>
                    <a:lnTo>
                      <a:pt x="27431" y="8830"/>
                    </a:lnTo>
                    <a:lnTo>
                      <a:pt x="27347" y="8935"/>
                    </a:lnTo>
                    <a:lnTo>
                      <a:pt x="27326" y="9207"/>
                    </a:lnTo>
                    <a:lnTo>
                      <a:pt x="27389" y="9311"/>
                    </a:lnTo>
                    <a:lnTo>
                      <a:pt x="27389" y="9395"/>
                    </a:lnTo>
                    <a:lnTo>
                      <a:pt x="27326" y="9500"/>
                    </a:lnTo>
                    <a:lnTo>
                      <a:pt x="27347" y="9563"/>
                    </a:lnTo>
                    <a:lnTo>
                      <a:pt x="27389" y="9625"/>
                    </a:lnTo>
                    <a:lnTo>
                      <a:pt x="27452" y="9625"/>
                    </a:lnTo>
                    <a:lnTo>
                      <a:pt x="27515" y="9667"/>
                    </a:lnTo>
                    <a:lnTo>
                      <a:pt x="27536" y="9793"/>
                    </a:lnTo>
                    <a:lnTo>
                      <a:pt x="27640" y="9835"/>
                    </a:lnTo>
                    <a:lnTo>
                      <a:pt x="27703" y="9939"/>
                    </a:lnTo>
                    <a:lnTo>
                      <a:pt x="27745" y="9939"/>
                    </a:lnTo>
                    <a:lnTo>
                      <a:pt x="27828" y="9814"/>
                    </a:lnTo>
                    <a:lnTo>
                      <a:pt x="27808" y="9939"/>
                    </a:lnTo>
                    <a:lnTo>
                      <a:pt x="27849" y="10107"/>
                    </a:lnTo>
                    <a:lnTo>
                      <a:pt x="28017" y="10127"/>
                    </a:lnTo>
                    <a:lnTo>
                      <a:pt x="28080" y="10190"/>
                    </a:lnTo>
                    <a:lnTo>
                      <a:pt x="28184" y="10190"/>
                    </a:lnTo>
                    <a:lnTo>
                      <a:pt x="28331" y="10211"/>
                    </a:lnTo>
                    <a:lnTo>
                      <a:pt x="28331" y="10295"/>
                    </a:lnTo>
                    <a:lnTo>
                      <a:pt x="28226" y="10504"/>
                    </a:lnTo>
                    <a:lnTo>
                      <a:pt x="28121" y="10546"/>
                    </a:lnTo>
                    <a:lnTo>
                      <a:pt x="28080" y="10525"/>
                    </a:lnTo>
                    <a:lnTo>
                      <a:pt x="28121" y="10420"/>
                    </a:lnTo>
                    <a:lnTo>
                      <a:pt x="28226" y="10379"/>
                    </a:lnTo>
                    <a:lnTo>
                      <a:pt x="28080" y="10337"/>
                    </a:lnTo>
                    <a:lnTo>
                      <a:pt x="27954" y="10379"/>
                    </a:lnTo>
                    <a:lnTo>
                      <a:pt x="27849" y="10504"/>
                    </a:lnTo>
                    <a:lnTo>
                      <a:pt x="27912" y="10546"/>
                    </a:lnTo>
                    <a:lnTo>
                      <a:pt x="27912" y="10630"/>
                    </a:lnTo>
                    <a:lnTo>
                      <a:pt x="27745" y="10713"/>
                    </a:lnTo>
                    <a:lnTo>
                      <a:pt x="27661" y="10797"/>
                    </a:lnTo>
                    <a:lnTo>
                      <a:pt x="27598" y="10797"/>
                    </a:lnTo>
                    <a:lnTo>
                      <a:pt x="27515" y="10944"/>
                    </a:lnTo>
                    <a:lnTo>
                      <a:pt x="27536" y="11006"/>
                    </a:lnTo>
                    <a:lnTo>
                      <a:pt x="27619" y="11006"/>
                    </a:lnTo>
                    <a:lnTo>
                      <a:pt x="27661" y="11048"/>
                    </a:lnTo>
                    <a:lnTo>
                      <a:pt x="27766" y="11027"/>
                    </a:lnTo>
                    <a:lnTo>
                      <a:pt x="27828" y="10923"/>
                    </a:lnTo>
                    <a:lnTo>
                      <a:pt x="27808" y="10860"/>
                    </a:lnTo>
                    <a:lnTo>
                      <a:pt x="27870" y="10839"/>
                    </a:lnTo>
                    <a:lnTo>
                      <a:pt x="27954" y="10797"/>
                    </a:lnTo>
                    <a:lnTo>
                      <a:pt x="28017" y="10839"/>
                    </a:lnTo>
                    <a:lnTo>
                      <a:pt x="27975" y="10944"/>
                    </a:lnTo>
                    <a:lnTo>
                      <a:pt x="27912" y="11069"/>
                    </a:lnTo>
                    <a:lnTo>
                      <a:pt x="27870" y="11236"/>
                    </a:lnTo>
                    <a:lnTo>
                      <a:pt x="27870" y="11320"/>
                    </a:lnTo>
                    <a:lnTo>
                      <a:pt x="27808" y="11383"/>
                    </a:lnTo>
                    <a:lnTo>
                      <a:pt x="27640" y="11425"/>
                    </a:lnTo>
                    <a:lnTo>
                      <a:pt x="27536" y="11529"/>
                    </a:lnTo>
                    <a:lnTo>
                      <a:pt x="27452" y="11550"/>
                    </a:lnTo>
                    <a:lnTo>
                      <a:pt x="27452" y="11592"/>
                    </a:lnTo>
                    <a:lnTo>
                      <a:pt x="27410" y="11697"/>
                    </a:lnTo>
                    <a:lnTo>
                      <a:pt x="27138" y="11801"/>
                    </a:lnTo>
                    <a:lnTo>
                      <a:pt x="27075" y="11906"/>
                    </a:lnTo>
                    <a:lnTo>
                      <a:pt x="26971" y="11948"/>
                    </a:lnTo>
                    <a:lnTo>
                      <a:pt x="26929" y="11885"/>
                    </a:lnTo>
                    <a:lnTo>
                      <a:pt x="26887" y="11885"/>
                    </a:lnTo>
                    <a:lnTo>
                      <a:pt x="26866" y="11843"/>
                    </a:lnTo>
                    <a:lnTo>
                      <a:pt x="26803" y="11906"/>
                    </a:lnTo>
                    <a:lnTo>
                      <a:pt x="26720" y="11948"/>
                    </a:lnTo>
                    <a:lnTo>
                      <a:pt x="26720" y="11948"/>
                    </a:lnTo>
                    <a:lnTo>
                      <a:pt x="26761" y="11885"/>
                    </a:lnTo>
                    <a:lnTo>
                      <a:pt x="26720" y="11843"/>
                    </a:lnTo>
                    <a:lnTo>
                      <a:pt x="26615" y="11948"/>
                    </a:lnTo>
                    <a:lnTo>
                      <a:pt x="26573" y="12094"/>
                    </a:lnTo>
                    <a:lnTo>
                      <a:pt x="26468" y="12262"/>
                    </a:lnTo>
                    <a:lnTo>
                      <a:pt x="26448" y="12304"/>
                    </a:lnTo>
                    <a:lnTo>
                      <a:pt x="26489" y="12387"/>
                    </a:lnTo>
                    <a:lnTo>
                      <a:pt x="26489" y="12471"/>
                    </a:lnTo>
                    <a:lnTo>
                      <a:pt x="26406" y="12617"/>
                    </a:lnTo>
                    <a:lnTo>
                      <a:pt x="26406" y="12701"/>
                    </a:lnTo>
                    <a:lnTo>
                      <a:pt x="26468" y="12785"/>
                    </a:lnTo>
                    <a:lnTo>
                      <a:pt x="26385" y="12827"/>
                    </a:lnTo>
                    <a:lnTo>
                      <a:pt x="26343" y="12952"/>
                    </a:lnTo>
                    <a:lnTo>
                      <a:pt x="26364" y="12952"/>
                    </a:lnTo>
                    <a:lnTo>
                      <a:pt x="26448" y="12931"/>
                    </a:lnTo>
                    <a:lnTo>
                      <a:pt x="26489" y="12848"/>
                    </a:lnTo>
                    <a:lnTo>
                      <a:pt x="26594" y="12889"/>
                    </a:lnTo>
                    <a:lnTo>
                      <a:pt x="26699" y="12806"/>
                    </a:lnTo>
                    <a:lnTo>
                      <a:pt x="26615" y="12910"/>
                    </a:lnTo>
                    <a:lnTo>
                      <a:pt x="26510" y="12910"/>
                    </a:lnTo>
                    <a:lnTo>
                      <a:pt x="26406" y="13015"/>
                    </a:lnTo>
                    <a:lnTo>
                      <a:pt x="26259" y="13057"/>
                    </a:lnTo>
                    <a:lnTo>
                      <a:pt x="26259" y="13203"/>
                    </a:lnTo>
                    <a:lnTo>
                      <a:pt x="26176" y="13266"/>
                    </a:lnTo>
                    <a:lnTo>
                      <a:pt x="26071" y="13203"/>
                    </a:lnTo>
                    <a:lnTo>
                      <a:pt x="25945" y="13203"/>
                    </a:lnTo>
                    <a:lnTo>
                      <a:pt x="25862" y="13120"/>
                    </a:lnTo>
                    <a:lnTo>
                      <a:pt x="25778" y="13161"/>
                    </a:lnTo>
                    <a:lnTo>
                      <a:pt x="25820" y="13350"/>
                    </a:lnTo>
                    <a:lnTo>
                      <a:pt x="25631" y="13245"/>
                    </a:lnTo>
                    <a:lnTo>
                      <a:pt x="25694" y="12994"/>
                    </a:lnTo>
                    <a:lnTo>
                      <a:pt x="25631" y="12827"/>
                    </a:lnTo>
                    <a:lnTo>
                      <a:pt x="25548" y="12722"/>
                    </a:lnTo>
                    <a:lnTo>
                      <a:pt x="25590" y="12555"/>
                    </a:lnTo>
                    <a:lnTo>
                      <a:pt x="25631" y="12555"/>
                    </a:lnTo>
                    <a:lnTo>
                      <a:pt x="25673" y="12722"/>
                    </a:lnTo>
                    <a:lnTo>
                      <a:pt x="25820" y="12638"/>
                    </a:lnTo>
                    <a:lnTo>
                      <a:pt x="25862" y="12743"/>
                    </a:lnTo>
                    <a:lnTo>
                      <a:pt x="25987" y="12806"/>
                    </a:lnTo>
                    <a:lnTo>
                      <a:pt x="26071" y="12722"/>
                    </a:lnTo>
                    <a:lnTo>
                      <a:pt x="26071" y="12638"/>
                    </a:lnTo>
                    <a:lnTo>
                      <a:pt x="26134" y="12492"/>
                    </a:lnTo>
                    <a:lnTo>
                      <a:pt x="26029" y="12513"/>
                    </a:lnTo>
                    <a:lnTo>
                      <a:pt x="25945" y="12492"/>
                    </a:lnTo>
                    <a:lnTo>
                      <a:pt x="26029" y="12429"/>
                    </a:lnTo>
                    <a:lnTo>
                      <a:pt x="26092" y="12304"/>
                    </a:lnTo>
                    <a:lnTo>
                      <a:pt x="26029" y="12304"/>
                    </a:lnTo>
                    <a:lnTo>
                      <a:pt x="25945" y="12387"/>
                    </a:lnTo>
                    <a:lnTo>
                      <a:pt x="25778" y="12429"/>
                    </a:lnTo>
                    <a:lnTo>
                      <a:pt x="25778" y="12345"/>
                    </a:lnTo>
                    <a:lnTo>
                      <a:pt x="25924" y="12283"/>
                    </a:lnTo>
                    <a:lnTo>
                      <a:pt x="25924" y="12178"/>
                    </a:lnTo>
                    <a:lnTo>
                      <a:pt x="25841" y="12178"/>
                    </a:lnTo>
                    <a:lnTo>
                      <a:pt x="25736" y="12220"/>
                    </a:lnTo>
                    <a:lnTo>
                      <a:pt x="25736" y="12136"/>
                    </a:lnTo>
                    <a:lnTo>
                      <a:pt x="25778" y="11969"/>
                    </a:lnTo>
                    <a:lnTo>
                      <a:pt x="25862" y="11864"/>
                    </a:lnTo>
                    <a:lnTo>
                      <a:pt x="25883" y="11969"/>
                    </a:lnTo>
                    <a:lnTo>
                      <a:pt x="25945" y="11906"/>
                    </a:lnTo>
                    <a:lnTo>
                      <a:pt x="25945" y="11822"/>
                    </a:lnTo>
                    <a:lnTo>
                      <a:pt x="26092" y="11676"/>
                    </a:lnTo>
                    <a:lnTo>
                      <a:pt x="26092" y="11592"/>
                    </a:lnTo>
                    <a:lnTo>
                      <a:pt x="26280" y="11488"/>
                    </a:lnTo>
                    <a:lnTo>
                      <a:pt x="26280" y="11362"/>
                    </a:lnTo>
                    <a:lnTo>
                      <a:pt x="26364" y="11299"/>
                    </a:lnTo>
                    <a:lnTo>
                      <a:pt x="26448" y="11278"/>
                    </a:lnTo>
                    <a:lnTo>
                      <a:pt x="26448" y="11236"/>
                    </a:lnTo>
                    <a:lnTo>
                      <a:pt x="26343" y="11236"/>
                    </a:lnTo>
                    <a:lnTo>
                      <a:pt x="26196" y="11257"/>
                    </a:lnTo>
                    <a:lnTo>
                      <a:pt x="26155" y="11425"/>
                    </a:lnTo>
                    <a:lnTo>
                      <a:pt x="26029" y="11488"/>
                    </a:lnTo>
                    <a:lnTo>
                      <a:pt x="25945" y="11467"/>
                    </a:lnTo>
                    <a:lnTo>
                      <a:pt x="25966" y="11425"/>
                    </a:lnTo>
                    <a:lnTo>
                      <a:pt x="26113" y="11362"/>
                    </a:lnTo>
                    <a:lnTo>
                      <a:pt x="26134" y="11257"/>
                    </a:lnTo>
                    <a:lnTo>
                      <a:pt x="26050" y="11216"/>
                    </a:lnTo>
                    <a:lnTo>
                      <a:pt x="25966" y="11236"/>
                    </a:lnTo>
                    <a:lnTo>
                      <a:pt x="25883" y="11153"/>
                    </a:lnTo>
                    <a:lnTo>
                      <a:pt x="25924" y="11069"/>
                    </a:lnTo>
                    <a:lnTo>
                      <a:pt x="25945" y="10944"/>
                    </a:lnTo>
                    <a:lnTo>
                      <a:pt x="25862" y="10860"/>
                    </a:lnTo>
                    <a:lnTo>
                      <a:pt x="25820" y="10902"/>
                    </a:lnTo>
                    <a:lnTo>
                      <a:pt x="25778" y="10964"/>
                    </a:lnTo>
                    <a:lnTo>
                      <a:pt x="25778" y="10902"/>
                    </a:lnTo>
                    <a:lnTo>
                      <a:pt x="25820" y="10818"/>
                    </a:lnTo>
                    <a:lnTo>
                      <a:pt x="25757" y="10713"/>
                    </a:lnTo>
                    <a:lnTo>
                      <a:pt x="25652" y="10713"/>
                    </a:lnTo>
                    <a:lnTo>
                      <a:pt x="25631" y="10902"/>
                    </a:lnTo>
                    <a:lnTo>
                      <a:pt x="25527" y="10964"/>
                    </a:lnTo>
                    <a:lnTo>
                      <a:pt x="25506" y="11027"/>
                    </a:lnTo>
                    <a:lnTo>
                      <a:pt x="25443" y="10985"/>
                    </a:lnTo>
                    <a:lnTo>
                      <a:pt x="25443" y="10923"/>
                    </a:lnTo>
                    <a:lnTo>
                      <a:pt x="25401" y="10839"/>
                    </a:lnTo>
                    <a:lnTo>
                      <a:pt x="25318" y="10839"/>
                    </a:lnTo>
                    <a:lnTo>
                      <a:pt x="25297" y="10923"/>
                    </a:lnTo>
                    <a:lnTo>
                      <a:pt x="25318" y="10964"/>
                    </a:lnTo>
                    <a:lnTo>
                      <a:pt x="25297" y="11027"/>
                    </a:lnTo>
                    <a:lnTo>
                      <a:pt x="25339" y="11132"/>
                    </a:lnTo>
                    <a:lnTo>
                      <a:pt x="25339" y="11195"/>
                    </a:lnTo>
                    <a:lnTo>
                      <a:pt x="25297" y="11257"/>
                    </a:lnTo>
                    <a:lnTo>
                      <a:pt x="25234" y="11195"/>
                    </a:lnTo>
                    <a:lnTo>
                      <a:pt x="25234" y="11132"/>
                    </a:lnTo>
                    <a:lnTo>
                      <a:pt x="25192" y="11132"/>
                    </a:lnTo>
                    <a:lnTo>
                      <a:pt x="25171" y="11195"/>
                    </a:lnTo>
                    <a:lnTo>
                      <a:pt x="25213" y="11446"/>
                    </a:lnTo>
                    <a:lnTo>
                      <a:pt x="25234" y="11592"/>
                    </a:lnTo>
                    <a:lnTo>
                      <a:pt x="25401" y="11676"/>
                    </a:lnTo>
                    <a:lnTo>
                      <a:pt x="25443" y="11760"/>
                    </a:lnTo>
                    <a:lnTo>
                      <a:pt x="25443" y="11990"/>
                    </a:lnTo>
                    <a:lnTo>
                      <a:pt x="25422" y="11864"/>
                    </a:lnTo>
                    <a:lnTo>
                      <a:pt x="25339" y="11801"/>
                    </a:lnTo>
                    <a:lnTo>
                      <a:pt x="25192" y="11613"/>
                    </a:lnTo>
                    <a:lnTo>
                      <a:pt x="25171" y="11467"/>
                    </a:lnTo>
                    <a:lnTo>
                      <a:pt x="25108" y="11278"/>
                    </a:lnTo>
                    <a:lnTo>
                      <a:pt x="25025" y="11278"/>
                    </a:lnTo>
                    <a:lnTo>
                      <a:pt x="24983" y="11341"/>
                    </a:lnTo>
                    <a:lnTo>
                      <a:pt x="25004" y="11488"/>
                    </a:lnTo>
                    <a:lnTo>
                      <a:pt x="25087" y="11592"/>
                    </a:lnTo>
                    <a:lnTo>
                      <a:pt x="25108" y="11718"/>
                    </a:lnTo>
                    <a:lnTo>
                      <a:pt x="25067" y="11760"/>
                    </a:lnTo>
                    <a:lnTo>
                      <a:pt x="24983" y="11655"/>
                    </a:lnTo>
                    <a:lnTo>
                      <a:pt x="24774" y="11697"/>
                    </a:lnTo>
                    <a:lnTo>
                      <a:pt x="24711" y="11760"/>
                    </a:lnTo>
                    <a:lnTo>
                      <a:pt x="24648" y="11676"/>
                    </a:lnTo>
                    <a:lnTo>
                      <a:pt x="24564" y="11655"/>
                    </a:lnTo>
                    <a:lnTo>
                      <a:pt x="24376" y="11488"/>
                    </a:lnTo>
                    <a:lnTo>
                      <a:pt x="24146" y="11488"/>
                    </a:lnTo>
                    <a:lnTo>
                      <a:pt x="24125" y="11404"/>
                    </a:lnTo>
                    <a:lnTo>
                      <a:pt x="24083" y="11404"/>
                    </a:lnTo>
                    <a:lnTo>
                      <a:pt x="23937" y="11488"/>
                    </a:lnTo>
                    <a:lnTo>
                      <a:pt x="23874" y="11571"/>
                    </a:lnTo>
                    <a:lnTo>
                      <a:pt x="23707" y="11571"/>
                    </a:lnTo>
                    <a:lnTo>
                      <a:pt x="23560" y="11655"/>
                    </a:lnTo>
                    <a:lnTo>
                      <a:pt x="23435" y="11550"/>
                    </a:lnTo>
                    <a:lnTo>
                      <a:pt x="23414" y="11550"/>
                    </a:lnTo>
                    <a:lnTo>
                      <a:pt x="23393" y="11446"/>
                    </a:lnTo>
                    <a:lnTo>
                      <a:pt x="23330" y="11404"/>
                    </a:lnTo>
                    <a:lnTo>
                      <a:pt x="23204" y="11488"/>
                    </a:lnTo>
                    <a:lnTo>
                      <a:pt x="23204" y="11404"/>
                    </a:lnTo>
                    <a:lnTo>
                      <a:pt x="23037" y="11257"/>
                    </a:lnTo>
                    <a:lnTo>
                      <a:pt x="23016" y="11174"/>
                    </a:lnTo>
                    <a:lnTo>
                      <a:pt x="22974" y="11153"/>
                    </a:lnTo>
                    <a:lnTo>
                      <a:pt x="22974" y="11069"/>
                    </a:lnTo>
                    <a:lnTo>
                      <a:pt x="22995" y="11027"/>
                    </a:lnTo>
                    <a:lnTo>
                      <a:pt x="22932" y="10944"/>
                    </a:lnTo>
                    <a:lnTo>
                      <a:pt x="22890" y="10964"/>
                    </a:lnTo>
                    <a:lnTo>
                      <a:pt x="22870" y="10944"/>
                    </a:lnTo>
                    <a:lnTo>
                      <a:pt x="22870" y="10860"/>
                    </a:lnTo>
                    <a:lnTo>
                      <a:pt x="22807" y="10839"/>
                    </a:lnTo>
                    <a:lnTo>
                      <a:pt x="22702" y="10881"/>
                    </a:lnTo>
                    <a:lnTo>
                      <a:pt x="22577" y="10881"/>
                    </a:lnTo>
                    <a:lnTo>
                      <a:pt x="22493" y="10818"/>
                    </a:lnTo>
                    <a:lnTo>
                      <a:pt x="22451" y="10818"/>
                    </a:lnTo>
                    <a:lnTo>
                      <a:pt x="22409" y="10755"/>
                    </a:lnTo>
                    <a:lnTo>
                      <a:pt x="22305" y="10713"/>
                    </a:lnTo>
                    <a:lnTo>
                      <a:pt x="22200" y="10713"/>
                    </a:lnTo>
                    <a:lnTo>
                      <a:pt x="22263" y="10630"/>
                    </a:lnTo>
                    <a:lnTo>
                      <a:pt x="22263" y="10546"/>
                    </a:lnTo>
                    <a:lnTo>
                      <a:pt x="22346" y="10462"/>
                    </a:lnTo>
                    <a:lnTo>
                      <a:pt x="22346" y="10420"/>
                    </a:lnTo>
                    <a:lnTo>
                      <a:pt x="22263" y="10400"/>
                    </a:lnTo>
                    <a:lnTo>
                      <a:pt x="22179" y="10400"/>
                    </a:lnTo>
                    <a:lnTo>
                      <a:pt x="22158" y="10148"/>
                    </a:lnTo>
                    <a:lnTo>
                      <a:pt x="22095" y="10127"/>
                    </a:lnTo>
                    <a:lnTo>
                      <a:pt x="22095" y="10086"/>
                    </a:lnTo>
                    <a:lnTo>
                      <a:pt x="22179" y="10023"/>
                    </a:lnTo>
                    <a:lnTo>
                      <a:pt x="22200" y="9981"/>
                    </a:lnTo>
                    <a:lnTo>
                      <a:pt x="22158" y="9939"/>
                    </a:lnTo>
                    <a:lnTo>
                      <a:pt x="22179" y="9876"/>
                    </a:lnTo>
                    <a:lnTo>
                      <a:pt x="22179" y="9772"/>
                    </a:lnTo>
                    <a:cubicBezTo>
                      <a:pt x="22284" y="9709"/>
                      <a:pt x="22388" y="9688"/>
                      <a:pt x="22493" y="9604"/>
                    </a:cubicBezTo>
                    <a:lnTo>
                      <a:pt x="22514" y="9625"/>
                    </a:lnTo>
                    <a:lnTo>
                      <a:pt x="22598" y="9604"/>
                    </a:lnTo>
                    <a:lnTo>
                      <a:pt x="22681" y="9500"/>
                    </a:lnTo>
                    <a:lnTo>
                      <a:pt x="22702" y="9500"/>
                    </a:lnTo>
                    <a:lnTo>
                      <a:pt x="22702" y="9604"/>
                    </a:lnTo>
                    <a:lnTo>
                      <a:pt x="22765" y="9709"/>
                    </a:lnTo>
                    <a:lnTo>
                      <a:pt x="22828" y="9730"/>
                    </a:lnTo>
                    <a:lnTo>
                      <a:pt x="22911" y="9688"/>
                    </a:lnTo>
                    <a:lnTo>
                      <a:pt x="22995" y="9709"/>
                    </a:lnTo>
                    <a:lnTo>
                      <a:pt x="23037" y="9793"/>
                    </a:lnTo>
                    <a:lnTo>
                      <a:pt x="23121" y="9793"/>
                    </a:lnTo>
                    <a:lnTo>
                      <a:pt x="23183" y="9835"/>
                    </a:lnTo>
                    <a:lnTo>
                      <a:pt x="23225" y="9835"/>
                    </a:lnTo>
                    <a:lnTo>
                      <a:pt x="23225" y="9730"/>
                    </a:lnTo>
                    <a:lnTo>
                      <a:pt x="23288" y="9730"/>
                    </a:lnTo>
                    <a:lnTo>
                      <a:pt x="23351" y="9709"/>
                    </a:lnTo>
                    <a:lnTo>
                      <a:pt x="23414" y="9730"/>
                    </a:lnTo>
                    <a:lnTo>
                      <a:pt x="23414" y="9814"/>
                    </a:lnTo>
                    <a:lnTo>
                      <a:pt x="23455" y="9835"/>
                    </a:lnTo>
                    <a:lnTo>
                      <a:pt x="23539" y="9814"/>
                    </a:lnTo>
                    <a:lnTo>
                      <a:pt x="23602" y="9730"/>
                    </a:lnTo>
                    <a:lnTo>
                      <a:pt x="23644" y="9772"/>
                    </a:lnTo>
                    <a:lnTo>
                      <a:pt x="23665" y="9835"/>
                    </a:lnTo>
                    <a:lnTo>
                      <a:pt x="23727" y="9835"/>
                    </a:lnTo>
                    <a:lnTo>
                      <a:pt x="23748" y="9793"/>
                    </a:lnTo>
                    <a:lnTo>
                      <a:pt x="23769" y="9793"/>
                    </a:lnTo>
                    <a:lnTo>
                      <a:pt x="23832" y="9709"/>
                    </a:lnTo>
                    <a:lnTo>
                      <a:pt x="23916" y="9709"/>
                    </a:lnTo>
                    <a:lnTo>
                      <a:pt x="23937" y="9772"/>
                    </a:lnTo>
                    <a:lnTo>
                      <a:pt x="23979" y="9793"/>
                    </a:lnTo>
                    <a:lnTo>
                      <a:pt x="24041" y="9772"/>
                    </a:lnTo>
                    <a:lnTo>
                      <a:pt x="24041" y="9709"/>
                    </a:lnTo>
                    <a:lnTo>
                      <a:pt x="24020" y="9667"/>
                    </a:lnTo>
                    <a:lnTo>
                      <a:pt x="24083" y="9583"/>
                    </a:lnTo>
                    <a:lnTo>
                      <a:pt x="24083" y="9521"/>
                    </a:lnTo>
                    <a:lnTo>
                      <a:pt x="24146" y="9458"/>
                    </a:lnTo>
                    <a:lnTo>
                      <a:pt x="24146" y="9374"/>
                    </a:lnTo>
                    <a:lnTo>
                      <a:pt x="24062" y="9374"/>
                    </a:lnTo>
                    <a:lnTo>
                      <a:pt x="24041" y="9291"/>
                    </a:lnTo>
                    <a:lnTo>
                      <a:pt x="24062" y="9186"/>
                    </a:lnTo>
                    <a:lnTo>
                      <a:pt x="24146" y="9165"/>
                    </a:lnTo>
                    <a:lnTo>
                      <a:pt x="24146" y="9060"/>
                    </a:lnTo>
                    <a:lnTo>
                      <a:pt x="24041" y="8998"/>
                    </a:lnTo>
                    <a:lnTo>
                      <a:pt x="23958" y="9039"/>
                    </a:lnTo>
                    <a:lnTo>
                      <a:pt x="23958" y="9102"/>
                    </a:lnTo>
                    <a:lnTo>
                      <a:pt x="23916" y="9165"/>
                    </a:lnTo>
                    <a:lnTo>
                      <a:pt x="23832" y="9102"/>
                    </a:lnTo>
                    <a:lnTo>
                      <a:pt x="23707" y="9102"/>
                    </a:lnTo>
                    <a:lnTo>
                      <a:pt x="23560" y="9249"/>
                    </a:lnTo>
                    <a:lnTo>
                      <a:pt x="23455" y="9311"/>
                    </a:lnTo>
                    <a:lnTo>
                      <a:pt x="23455" y="9270"/>
                    </a:lnTo>
                    <a:lnTo>
                      <a:pt x="23602" y="9186"/>
                    </a:lnTo>
                    <a:lnTo>
                      <a:pt x="23644" y="9102"/>
                    </a:lnTo>
                    <a:lnTo>
                      <a:pt x="23644" y="8977"/>
                    </a:lnTo>
                    <a:lnTo>
                      <a:pt x="23602" y="9060"/>
                    </a:lnTo>
                    <a:lnTo>
                      <a:pt x="23539" y="9039"/>
                    </a:lnTo>
                    <a:lnTo>
                      <a:pt x="23539" y="8935"/>
                    </a:lnTo>
                    <a:lnTo>
                      <a:pt x="23644" y="8851"/>
                    </a:lnTo>
                    <a:lnTo>
                      <a:pt x="23560" y="8726"/>
                    </a:lnTo>
                    <a:lnTo>
                      <a:pt x="23644" y="8642"/>
                    </a:lnTo>
                    <a:lnTo>
                      <a:pt x="23727" y="8642"/>
                    </a:lnTo>
                    <a:lnTo>
                      <a:pt x="23707" y="8684"/>
                    </a:lnTo>
                    <a:lnTo>
                      <a:pt x="23748" y="8851"/>
                    </a:lnTo>
                    <a:lnTo>
                      <a:pt x="23832" y="8935"/>
                    </a:lnTo>
                    <a:lnTo>
                      <a:pt x="23874" y="8893"/>
                    </a:lnTo>
                    <a:lnTo>
                      <a:pt x="23979" y="8893"/>
                    </a:lnTo>
                    <a:lnTo>
                      <a:pt x="24041" y="8767"/>
                    </a:lnTo>
                    <a:lnTo>
                      <a:pt x="23979" y="8726"/>
                    </a:lnTo>
                    <a:lnTo>
                      <a:pt x="23979" y="8663"/>
                    </a:lnTo>
                    <a:lnTo>
                      <a:pt x="24062" y="8663"/>
                    </a:lnTo>
                    <a:lnTo>
                      <a:pt x="24083" y="8726"/>
                    </a:lnTo>
                    <a:lnTo>
                      <a:pt x="24146" y="8684"/>
                    </a:lnTo>
                    <a:lnTo>
                      <a:pt x="24251" y="8621"/>
                    </a:lnTo>
                    <a:lnTo>
                      <a:pt x="24271" y="8475"/>
                    </a:lnTo>
                    <a:lnTo>
                      <a:pt x="24292" y="8579"/>
                    </a:lnTo>
                    <a:lnTo>
                      <a:pt x="24355" y="8579"/>
                    </a:lnTo>
                    <a:lnTo>
                      <a:pt x="24460" y="8516"/>
                    </a:lnTo>
                    <a:lnTo>
                      <a:pt x="24376" y="8684"/>
                    </a:lnTo>
                    <a:lnTo>
                      <a:pt x="24376" y="8851"/>
                    </a:lnTo>
                    <a:lnTo>
                      <a:pt x="24439" y="8830"/>
                    </a:lnTo>
                    <a:lnTo>
                      <a:pt x="24481" y="8851"/>
                    </a:lnTo>
                    <a:lnTo>
                      <a:pt x="24439" y="8935"/>
                    </a:lnTo>
                    <a:lnTo>
                      <a:pt x="24502" y="8935"/>
                    </a:lnTo>
                    <a:lnTo>
                      <a:pt x="24564" y="8788"/>
                    </a:lnTo>
                    <a:lnTo>
                      <a:pt x="24606" y="8747"/>
                    </a:lnTo>
                    <a:lnTo>
                      <a:pt x="24690" y="8579"/>
                    </a:lnTo>
                    <a:lnTo>
                      <a:pt x="24774" y="8558"/>
                    </a:lnTo>
                    <a:lnTo>
                      <a:pt x="24753" y="8684"/>
                    </a:lnTo>
                    <a:lnTo>
                      <a:pt x="24648" y="8788"/>
                    </a:lnTo>
                    <a:lnTo>
                      <a:pt x="24669" y="8977"/>
                    </a:lnTo>
                    <a:lnTo>
                      <a:pt x="24753" y="8977"/>
                    </a:lnTo>
                    <a:lnTo>
                      <a:pt x="24815" y="9039"/>
                    </a:lnTo>
                    <a:lnTo>
                      <a:pt x="24878" y="8956"/>
                    </a:lnTo>
                    <a:lnTo>
                      <a:pt x="25004" y="8851"/>
                    </a:lnTo>
                    <a:lnTo>
                      <a:pt x="25067" y="8684"/>
                    </a:lnTo>
                    <a:lnTo>
                      <a:pt x="25108" y="8558"/>
                    </a:lnTo>
                    <a:lnTo>
                      <a:pt x="25087" y="8433"/>
                    </a:lnTo>
                    <a:lnTo>
                      <a:pt x="25129" y="8370"/>
                    </a:lnTo>
                    <a:lnTo>
                      <a:pt x="25108" y="8328"/>
                    </a:lnTo>
                    <a:lnTo>
                      <a:pt x="25025" y="8328"/>
                    </a:lnTo>
                    <a:lnTo>
                      <a:pt x="24983" y="8307"/>
                    </a:lnTo>
                    <a:lnTo>
                      <a:pt x="24899" y="8349"/>
                    </a:lnTo>
                    <a:lnTo>
                      <a:pt x="24899" y="8223"/>
                    </a:lnTo>
                    <a:lnTo>
                      <a:pt x="24941" y="8203"/>
                    </a:lnTo>
                    <a:lnTo>
                      <a:pt x="24920" y="8140"/>
                    </a:lnTo>
                    <a:lnTo>
                      <a:pt x="24815" y="8140"/>
                    </a:lnTo>
                    <a:lnTo>
                      <a:pt x="24795" y="8098"/>
                    </a:lnTo>
                    <a:lnTo>
                      <a:pt x="24690" y="8014"/>
                    </a:lnTo>
                    <a:lnTo>
                      <a:pt x="24690" y="7931"/>
                    </a:lnTo>
                    <a:lnTo>
                      <a:pt x="24606" y="7742"/>
                    </a:lnTo>
                    <a:lnTo>
                      <a:pt x="24585" y="7617"/>
                    </a:lnTo>
                    <a:lnTo>
                      <a:pt x="24627" y="7491"/>
                    </a:lnTo>
                    <a:lnTo>
                      <a:pt x="24585" y="7324"/>
                    </a:lnTo>
                    <a:lnTo>
                      <a:pt x="24502" y="7470"/>
                    </a:lnTo>
                    <a:lnTo>
                      <a:pt x="24502" y="7575"/>
                    </a:lnTo>
                    <a:lnTo>
                      <a:pt x="24418" y="7428"/>
                    </a:lnTo>
                    <a:lnTo>
                      <a:pt x="24292" y="7366"/>
                    </a:lnTo>
                    <a:lnTo>
                      <a:pt x="24271" y="7114"/>
                    </a:lnTo>
                    <a:lnTo>
                      <a:pt x="24188" y="7073"/>
                    </a:lnTo>
                    <a:lnTo>
                      <a:pt x="24167" y="6884"/>
                    </a:lnTo>
                    <a:lnTo>
                      <a:pt x="24083" y="6780"/>
                    </a:lnTo>
                    <a:lnTo>
                      <a:pt x="24083" y="6675"/>
                    </a:lnTo>
                    <a:lnTo>
                      <a:pt x="24041" y="6591"/>
                    </a:lnTo>
                    <a:lnTo>
                      <a:pt x="24041" y="6529"/>
                    </a:lnTo>
                    <a:lnTo>
                      <a:pt x="24146" y="6529"/>
                    </a:lnTo>
                    <a:lnTo>
                      <a:pt x="24167" y="6382"/>
                    </a:lnTo>
                    <a:lnTo>
                      <a:pt x="24251" y="6382"/>
                    </a:lnTo>
                    <a:lnTo>
                      <a:pt x="24271" y="6424"/>
                    </a:lnTo>
                    <a:lnTo>
                      <a:pt x="24355" y="6361"/>
                    </a:lnTo>
                    <a:lnTo>
                      <a:pt x="24355" y="6257"/>
                    </a:lnTo>
                    <a:lnTo>
                      <a:pt x="24460" y="6026"/>
                    </a:lnTo>
                    <a:lnTo>
                      <a:pt x="24460" y="5922"/>
                    </a:lnTo>
                    <a:lnTo>
                      <a:pt x="24481" y="5880"/>
                    </a:lnTo>
                    <a:lnTo>
                      <a:pt x="24397" y="5692"/>
                    </a:lnTo>
                    <a:lnTo>
                      <a:pt x="24460" y="5566"/>
                    </a:lnTo>
                    <a:lnTo>
                      <a:pt x="24523" y="5566"/>
                    </a:lnTo>
                    <a:lnTo>
                      <a:pt x="24523" y="5399"/>
                    </a:lnTo>
                    <a:lnTo>
                      <a:pt x="24627" y="5252"/>
                    </a:lnTo>
                    <a:lnTo>
                      <a:pt x="24627" y="5148"/>
                    </a:lnTo>
                    <a:lnTo>
                      <a:pt x="24690" y="5064"/>
                    </a:lnTo>
                    <a:lnTo>
                      <a:pt x="24690" y="4855"/>
                    </a:lnTo>
                    <a:lnTo>
                      <a:pt x="24774" y="4834"/>
                    </a:lnTo>
                    <a:lnTo>
                      <a:pt x="24774" y="4729"/>
                    </a:lnTo>
                    <a:lnTo>
                      <a:pt x="24899" y="4583"/>
                    </a:lnTo>
                    <a:lnTo>
                      <a:pt x="24899" y="4478"/>
                    </a:lnTo>
                    <a:cubicBezTo>
                      <a:pt x="24918" y="4516"/>
                      <a:pt x="24966" y="4536"/>
                      <a:pt x="25020" y="4536"/>
                    </a:cubicBezTo>
                    <a:cubicBezTo>
                      <a:pt x="25085" y="4536"/>
                      <a:pt x="25158" y="4505"/>
                      <a:pt x="25192" y="4436"/>
                    </a:cubicBezTo>
                    <a:lnTo>
                      <a:pt x="25255" y="4122"/>
                    </a:lnTo>
                    <a:lnTo>
                      <a:pt x="25359" y="4122"/>
                    </a:lnTo>
                    <a:lnTo>
                      <a:pt x="25506" y="3955"/>
                    </a:lnTo>
                    <a:lnTo>
                      <a:pt x="25652" y="3892"/>
                    </a:lnTo>
                    <a:lnTo>
                      <a:pt x="25820" y="3725"/>
                    </a:lnTo>
                    <a:lnTo>
                      <a:pt x="25862" y="3725"/>
                    </a:lnTo>
                    <a:lnTo>
                      <a:pt x="25987" y="3599"/>
                    </a:lnTo>
                    <a:lnTo>
                      <a:pt x="25987" y="3516"/>
                    </a:lnTo>
                    <a:lnTo>
                      <a:pt x="26050" y="3474"/>
                    </a:lnTo>
                    <a:lnTo>
                      <a:pt x="26050" y="3390"/>
                    </a:lnTo>
                    <a:lnTo>
                      <a:pt x="25966" y="3285"/>
                    </a:lnTo>
                    <a:lnTo>
                      <a:pt x="25987" y="3223"/>
                    </a:lnTo>
                    <a:lnTo>
                      <a:pt x="25987" y="3160"/>
                    </a:lnTo>
                    <a:lnTo>
                      <a:pt x="25883" y="2993"/>
                    </a:lnTo>
                    <a:lnTo>
                      <a:pt x="25820" y="2993"/>
                    </a:lnTo>
                    <a:lnTo>
                      <a:pt x="25736" y="3013"/>
                    </a:lnTo>
                    <a:lnTo>
                      <a:pt x="25631" y="2972"/>
                    </a:lnTo>
                    <a:lnTo>
                      <a:pt x="25548" y="2993"/>
                    </a:lnTo>
                    <a:lnTo>
                      <a:pt x="25443" y="2909"/>
                    </a:lnTo>
                    <a:lnTo>
                      <a:pt x="25359" y="2909"/>
                    </a:lnTo>
                    <a:lnTo>
                      <a:pt x="25297" y="2846"/>
                    </a:lnTo>
                    <a:lnTo>
                      <a:pt x="25129" y="2867"/>
                    </a:lnTo>
                    <a:lnTo>
                      <a:pt x="25025" y="2972"/>
                    </a:lnTo>
                    <a:lnTo>
                      <a:pt x="24941" y="2993"/>
                    </a:lnTo>
                    <a:lnTo>
                      <a:pt x="24774" y="3118"/>
                    </a:lnTo>
                    <a:lnTo>
                      <a:pt x="24774" y="3181"/>
                    </a:lnTo>
                    <a:lnTo>
                      <a:pt x="24878" y="3265"/>
                    </a:lnTo>
                    <a:lnTo>
                      <a:pt x="24941" y="3390"/>
                    </a:lnTo>
                    <a:lnTo>
                      <a:pt x="24941" y="3516"/>
                    </a:lnTo>
                    <a:lnTo>
                      <a:pt x="24983" y="3641"/>
                    </a:lnTo>
                    <a:lnTo>
                      <a:pt x="24941" y="3704"/>
                    </a:lnTo>
                    <a:lnTo>
                      <a:pt x="24941" y="3809"/>
                    </a:lnTo>
                    <a:lnTo>
                      <a:pt x="25025" y="3913"/>
                    </a:lnTo>
                    <a:lnTo>
                      <a:pt x="25025" y="3934"/>
                    </a:lnTo>
                    <a:lnTo>
                      <a:pt x="25004" y="3955"/>
                    </a:lnTo>
                    <a:cubicBezTo>
                      <a:pt x="24983" y="4018"/>
                      <a:pt x="24941" y="4081"/>
                      <a:pt x="24920" y="4143"/>
                    </a:cubicBezTo>
                    <a:lnTo>
                      <a:pt x="24899" y="4081"/>
                    </a:lnTo>
                    <a:lnTo>
                      <a:pt x="24920" y="4018"/>
                    </a:lnTo>
                    <a:lnTo>
                      <a:pt x="24920" y="3934"/>
                    </a:lnTo>
                    <a:lnTo>
                      <a:pt x="24815" y="3871"/>
                    </a:lnTo>
                    <a:lnTo>
                      <a:pt x="24774" y="3725"/>
                    </a:lnTo>
                    <a:lnTo>
                      <a:pt x="24795" y="3662"/>
                    </a:lnTo>
                    <a:lnTo>
                      <a:pt x="24711" y="3495"/>
                    </a:lnTo>
                    <a:lnTo>
                      <a:pt x="24606" y="3474"/>
                    </a:lnTo>
                    <a:lnTo>
                      <a:pt x="24564" y="3411"/>
                    </a:lnTo>
                    <a:lnTo>
                      <a:pt x="24502" y="3411"/>
                    </a:lnTo>
                    <a:lnTo>
                      <a:pt x="24481" y="3578"/>
                    </a:lnTo>
                    <a:lnTo>
                      <a:pt x="24418" y="3578"/>
                    </a:lnTo>
                    <a:lnTo>
                      <a:pt x="24292" y="3369"/>
                    </a:lnTo>
                    <a:lnTo>
                      <a:pt x="24209" y="3369"/>
                    </a:lnTo>
                    <a:lnTo>
                      <a:pt x="24146" y="3285"/>
                    </a:lnTo>
                    <a:lnTo>
                      <a:pt x="24062" y="3327"/>
                    </a:lnTo>
                    <a:lnTo>
                      <a:pt x="24083" y="3495"/>
                    </a:lnTo>
                    <a:lnTo>
                      <a:pt x="24041" y="3516"/>
                    </a:lnTo>
                    <a:lnTo>
                      <a:pt x="23958" y="3495"/>
                    </a:lnTo>
                    <a:lnTo>
                      <a:pt x="23895" y="3620"/>
                    </a:lnTo>
                    <a:lnTo>
                      <a:pt x="23895" y="3704"/>
                    </a:lnTo>
                    <a:lnTo>
                      <a:pt x="23832" y="3746"/>
                    </a:lnTo>
                    <a:lnTo>
                      <a:pt x="23748" y="4039"/>
                    </a:lnTo>
                    <a:lnTo>
                      <a:pt x="23748" y="4143"/>
                    </a:lnTo>
                    <a:lnTo>
                      <a:pt x="23686" y="4227"/>
                    </a:lnTo>
                    <a:lnTo>
                      <a:pt x="23686" y="4353"/>
                    </a:lnTo>
                    <a:lnTo>
                      <a:pt x="23665" y="4374"/>
                    </a:lnTo>
                    <a:lnTo>
                      <a:pt x="23665" y="4478"/>
                    </a:lnTo>
                    <a:lnTo>
                      <a:pt x="23581" y="4541"/>
                    </a:lnTo>
                    <a:lnTo>
                      <a:pt x="23581" y="4771"/>
                    </a:lnTo>
                    <a:lnTo>
                      <a:pt x="23518" y="4813"/>
                    </a:lnTo>
                    <a:lnTo>
                      <a:pt x="23455" y="4792"/>
                    </a:lnTo>
                    <a:lnTo>
                      <a:pt x="23372" y="4980"/>
                    </a:lnTo>
                    <a:lnTo>
                      <a:pt x="23414" y="5064"/>
                    </a:lnTo>
                    <a:lnTo>
                      <a:pt x="23372" y="5169"/>
                    </a:lnTo>
                    <a:lnTo>
                      <a:pt x="23372" y="5273"/>
                    </a:lnTo>
                    <a:lnTo>
                      <a:pt x="23309" y="5378"/>
                    </a:lnTo>
                    <a:lnTo>
                      <a:pt x="23351" y="5462"/>
                    </a:lnTo>
                    <a:lnTo>
                      <a:pt x="23330" y="5524"/>
                    </a:lnTo>
                    <a:lnTo>
                      <a:pt x="23204" y="5524"/>
                    </a:lnTo>
                    <a:lnTo>
                      <a:pt x="23246" y="5587"/>
                    </a:lnTo>
                    <a:lnTo>
                      <a:pt x="23351" y="5629"/>
                    </a:lnTo>
                    <a:lnTo>
                      <a:pt x="23351" y="5734"/>
                    </a:lnTo>
                    <a:lnTo>
                      <a:pt x="23267" y="5713"/>
                    </a:lnTo>
                    <a:lnTo>
                      <a:pt x="23204" y="5734"/>
                    </a:lnTo>
                    <a:lnTo>
                      <a:pt x="23121" y="5796"/>
                    </a:lnTo>
                    <a:lnTo>
                      <a:pt x="23037" y="5754"/>
                    </a:lnTo>
                    <a:lnTo>
                      <a:pt x="22995" y="5817"/>
                    </a:lnTo>
                    <a:lnTo>
                      <a:pt x="22995" y="5922"/>
                    </a:lnTo>
                    <a:lnTo>
                      <a:pt x="22932" y="5964"/>
                    </a:lnTo>
                    <a:lnTo>
                      <a:pt x="22849" y="5922"/>
                    </a:lnTo>
                    <a:lnTo>
                      <a:pt x="22849" y="5817"/>
                    </a:lnTo>
                    <a:lnTo>
                      <a:pt x="22890" y="5734"/>
                    </a:lnTo>
                    <a:lnTo>
                      <a:pt x="22828" y="5650"/>
                    </a:lnTo>
                    <a:lnTo>
                      <a:pt x="22828" y="5482"/>
                    </a:lnTo>
                    <a:lnTo>
                      <a:pt x="22911" y="5294"/>
                    </a:lnTo>
                    <a:lnTo>
                      <a:pt x="22932" y="5169"/>
                    </a:lnTo>
                    <a:lnTo>
                      <a:pt x="23016" y="5085"/>
                    </a:lnTo>
                    <a:lnTo>
                      <a:pt x="23016" y="4980"/>
                    </a:lnTo>
                    <a:lnTo>
                      <a:pt x="23037" y="4876"/>
                    </a:lnTo>
                    <a:lnTo>
                      <a:pt x="23100" y="4646"/>
                    </a:lnTo>
                    <a:lnTo>
                      <a:pt x="23225" y="4562"/>
                    </a:lnTo>
                    <a:lnTo>
                      <a:pt x="23225" y="4436"/>
                    </a:lnTo>
                    <a:lnTo>
                      <a:pt x="23100" y="4436"/>
                    </a:lnTo>
                    <a:lnTo>
                      <a:pt x="23100" y="4353"/>
                    </a:lnTo>
                    <a:lnTo>
                      <a:pt x="23163" y="4269"/>
                    </a:lnTo>
                    <a:lnTo>
                      <a:pt x="23163" y="4039"/>
                    </a:lnTo>
                    <a:lnTo>
                      <a:pt x="23121" y="3976"/>
                    </a:lnTo>
                    <a:lnTo>
                      <a:pt x="23058" y="3850"/>
                    </a:lnTo>
                    <a:lnTo>
                      <a:pt x="23100" y="3809"/>
                    </a:lnTo>
                    <a:lnTo>
                      <a:pt x="23100" y="3662"/>
                    </a:lnTo>
                    <a:lnTo>
                      <a:pt x="23016" y="3662"/>
                    </a:lnTo>
                    <a:lnTo>
                      <a:pt x="22911" y="3537"/>
                    </a:lnTo>
                    <a:lnTo>
                      <a:pt x="22744" y="3599"/>
                    </a:lnTo>
                    <a:lnTo>
                      <a:pt x="22723" y="3725"/>
                    </a:lnTo>
                    <a:lnTo>
                      <a:pt x="22828" y="3809"/>
                    </a:lnTo>
                    <a:lnTo>
                      <a:pt x="22828" y="3913"/>
                    </a:lnTo>
                    <a:lnTo>
                      <a:pt x="22890" y="3976"/>
                    </a:lnTo>
                    <a:lnTo>
                      <a:pt x="22890" y="4060"/>
                    </a:lnTo>
                    <a:lnTo>
                      <a:pt x="22807" y="4060"/>
                    </a:lnTo>
                    <a:lnTo>
                      <a:pt x="22786" y="3955"/>
                    </a:lnTo>
                    <a:lnTo>
                      <a:pt x="22702" y="3955"/>
                    </a:lnTo>
                    <a:lnTo>
                      <a:pt x="22639" y="4081"/>
                    </a:lnTo>
                    <a:lnTo>
                      <a:pt x="22702" y="4122"/>
                    </a:lnTo>
                    <a:lnTo>
                      <a:pt x="22723" y="4227"/>
                    </a:lnTo>
                    <a:lnTo>
                      <a:pt x="22786" y="4353"/>
                    </a:lnTo>
                    <a:lnTo>
                      <a:pt x="22723" y="4394"/>
                    </a:lnTo>
                    <a:lnTo>
                      <a:pt x="22702" y="4353"/>
                    </a:lnTo>
                    <a:lnTo>
                      <a:pt x="22639" y="4290"/>
                    </a:lnTo>
                    <a:lnTo>
                      <a:pt x="22618" y="4436"/>
                    </a:lnTo>
                    <a:lnTo>
                      <a:pt x="22514" y="4353"/>
                    </a:lnTo>
                    <a:lnTo>
                      <a:pt x="22514" y="4248"/>
                    </a:lnTo>
                    <a:lnTo>
                      <a:pt x="22430" y="4248"/>
                    </a:lnTo>
                    <a:lnTo>
                      <a:pt x="22388" y="4353"/>
                    </a:lnTo>
                    <a:lnTo>
                      <a:pt x="22326" y="4332"/>
                    </a:lnTo>
                    <a:lnTo>
                      <a:pt x="22326" y="4185"/>
                    </a:lnTo>
                    <a:lnTo>
                      <a:pt x="22409" y="4122"/>
                    </a:lnTo>
                    <a:lnTo>
                      <a:pt x="22388" y="4081"/>
                    </a:lnTo>
                    <a:lnTo>
                      <a:pt x="22221" y="4143"/>
                    </a:lnTo>
                    <a:lnTo>
                      <a:pt x="22095" y="4269"/>
                    </a:lnTo>
                    <a:lnTo>
                      <a:pt x="22012" y="4143"/>
                    </a:lnTo>
                    <a:lnTo>
                      <a:pt x="21949" y="4143"/>
                    </a:lnTo>
                    <a:lnTo>
                      <a:pt x="21865" y="4227"/>
                    </a:lnTo>
                    <a:lnTo>
                      <a:pt x="21740" y="4227"/>
                    </a:lnTo>
                    <a:lnTo>
                      <a:pt x="21698" y="4164"/>
                    </a:lnTo>
                    <a:lnTo>
                      <a:pt x="21572" y="4185"/>
                    </a:lnTo>
                    <a:lnTo>
                      <a:pt x="21530" y="4143"/>
                    </a:lnTo>
                    <a:lnTo>
                      <a:pt x="21635" y="4060"/>
                    </a:lnTo>
                    <a:lnTo>
                      <a:pt x="21782" y="4039"/>
                    </a:lnTo>
                    <a:lnTo>
                      <a:pt x="21865" y="4060"/>
                    </a:lnTo>
                    <a:lnTo>
                      <a:pt x="21991" y="4039"/>
                    </a:lnTo>
                    <a:lnTo>
                      <a:pt x="21991" y="3955"/>
                    </a:lnTo>
                    <a:lnTo>
                      <a:pt x="22074" y="3934"/>
                    </a:lnTo>
                    <a:lnTo>
                      <a:pt x="22158" y="3955"/>
                    </a:lnTo>
                    <a:lnTo>
                      <a:pt x="22263" y="3850"/>
                    </a:lnTo>
                    <a:lnTo>
                      <a:pt x="22263" y="3746"/>
                    </a:lnTo>
                    <a:lnTo>
                      <a:pt x="22284" y="3662"/>
                    </a:lnTo>
                    <a:lnTo>
                      <a:pt x="22200" y="3599"/>
                    </a:lnTo>
                    <a:lnTo>
                      <a:pt x="22095" y="3411"/>
                    </a:lnTo>
                    <a:lnTo>
                      <a:pt x="21970" y="3348"/>
                    </a:lnTo>
                    <a:lnTo>
                      <a:pt x="21949" y="3285"/>
                    </a:lnTo>
                    <a:lnTo>
                      <a:pt x="21761" y="3118"/>
                    </a:lnTo>
                    <a:lnTo>
                      <a:pt x="21740" y="3076"/>
                    </a:lnTo>
                    <a:lnTo>
                      <a:pt x="21635" y="3076"/>
                    </a:lnTo>
                    <a:lnTo>
                      <a:pt x="21489" y="3139"/>
                    </a:lnTo>
                    <a:lnTo>
                      <a:pt x="21426" y="3139"/>
                    </a:lnTo>
                    <a:lnTo>
                      <a:pt x="21238" y="3327"/>
                    </a:lnTo>
                    <a:lnTo>
                      <a:pt x="21279" y="3390"/>
                    </a:lnTo>
                    <a:lnTo>
                      <a:pt x="21279" y="3453"/>
                    </a:lnTo>
                    <a:lnTo>
                      <a:pt x="21217" y="3495"/>
                    </a:lnTo>
                    <a:lnTo>
                      <a:pt x="21133" y="3516"/>
                    </a:lnTo>
                    <a:lnTo>
                      <a:pt x="21133" y="3453"/>
                    </a:lnTo>
                    <a:lnTo>
                      <a:pt x="21049" y="3495"/>
                    </a:lnTo>
                    <a:lnTo>
                      <a:pt x="20966" y="3432"/>
                    </a:lnTo>
                    <a:lnTo>
                      <a:pt x="20861" y="3432"/>
                    </a:lnTo>
                    <a:lnTo>
                      <a:pt x="20819" y="3495"/>
                    </a:lnTo>
                    <a:lnTo>
                      <a:pt x="20714" y="3495"/>
                    </a:lnTo>
                    <a:lnTo>
                      <a:pt x="20652" y="3432"/>
                    </a:lnTo>
                    <a:lnTo>
                      <a:pt x="20714" y="3390"/>
                    </a:lnTo>
                    <a:lnTo>
                      <a:pt x="20861" y="3348"/>
                    </a:lnTo>
                    <a:lnTo>
                      <a:pt x="20924" y="3244"/>
                    </a:lnTo>
                    <a:lnTo>
                      <a:pt x="21028" y="3223"/>
                    </a:lnTo>
                    <a:lnTo>
                      <a:pt x="21112" y="3244"/>
                    </a:lnTo>
                    <a:lnTo>
                      <a:pt x="21175" y="3139"/>
                    </a:lnTo>
                    <a:lnTo>
                      <a:pt x="21175" y="3013"/>
                    </a:lnTo>
                    <a:lnTo>
                      <a:pt x="21238" y="2972"/>
                    </a:lnTo>
                    <a:lnTo>
                      <a:pt x="21321" y="2972"/>
                    </a:lnTo>
                    <a:lnTo>
                      <a:pt x="21384" y="2804"/>
                    </a:lnTo>
                    <a:lnTo>
                      <a:pt x="21384" y="2616"/>
                    </a:lnTo>
                    <a:lnTo>
                      <a:pt x="21426" y="2553"/>
                    </a:lnTo>
                    <a:lnTo>
                      <a:pt x="21384" y="2449"/>
                    </a:lnTo>
                    <a:lnTo>
                      <a:pt x="21279" y="2449"/>
                    </a:lnTo>
                    <a:lnTo>
                      <a:pt x="21112" y="2490"/>
                    </a:lnTo>
                    <a:lnTo>
                      <a:pt x="20903" y="2553"/>
                    </a:lnTo>
                    <a:lnTo>
                      <a:pt x="20694" y="2616"/>
                    </a:lnTo>
                    <a:lnTo>
                      <a:pt x="20547" y="2658"/>
                    </a:lnTo>
                    <a:cubicBezTo>
                      <a:pt x="20652" y="2616"/>
                      <a:pt x="20798" y="2574"/>
                      <a:pt x="20903" y="2511"/>
                    </a:cubicBezTo>
                    <a:cubicBezTo>
                      <a:pt x="20945" y="2511"/>
                      <a:pt x="21028" y="2490"/>
                      <a:pt x="21070" y="2490"/>
                    </a:cubicBezTo>
                    <a:cubicBezTo>
                      <a:pt x="21217" y="2469"/>
                      <a:pt x="21238" y="2344"/>
                      <a:pt x="21175" y="2239"/>
                    </a:cubicBezTo>
                    <a:lnTo>
                      <a:pt x="21238" y="2177"/>
                    </a:lnTo>
                    <a:lnTo>
                      <a:pt x="21217" y="2072"/>
                    </a:lnTo>
                    <a:lnTo>
                      <a:pt x="21217" y="1967"/>
                    </a:lnTo>
                    <a:lnTo>
                      <a:pt x="21154" y="1884"/>
                    </a:lnTo>
                    <a:lnTo>
                      <a:pt x="21217" y="1842"/>
                    </a:lnTo>
                    <a:lnTo>
                      <a:pt x="21217" y="1674"/>
                    </a:lnTo>
                    <a:lnTo>
                      <a:pt x="21133" y="1507"/>
                    </a:lnTo>
                    <a:lnTo>
                      <a:pt x="21175" y="1402"/>
                    </a:lnTo>
                    <a:lnTo>
                      <a:pt x="21154" y="1109"/>
                    </a:lnTo>
                    <a:lnTo>
                      <a:pt x="20945" y="879"/>
                    </a:lnTo>
                    <a:lnTo>
                      <a:pt x="20924" y="775"/>
                    </a:lnTo>
                    <a:lnTo>
                      <a:pt x="20840" y="733"/>
                    </a:lnTo>
                    <a:lnTo>
                      <a:pt x="20694" y="796"/>
                    </a:lnTo>
                    <a:lnTo>
                      <a:pt x="20526" y="775"/>
                    </a:lnTo>
                    <a:lnTo>
                      <a:pt x="20442" y="837"/>
                    </a:lnTo>
                    <a:lnTo>
                      <a:pt x="20442" y="984"/>
                    </a:lnTo>
                    <a:lnTo>
                      <a:pt x="20212" y="1109"/>
                    </a:lnTo>
                    <a:lnTo>
                      <a:pt x="20212" y="1047"/>
                    </a:lnTo>
                    <a:lnTo>
                      <a:pt x="20380" y="900"/>
                    </a:lnTo>
                    <a:lnTo>
                      <a:pt x="20422" y="754"/>
                    </a:lnTo>
                    <a:lnTo>
                      <a:pt x="20317" y="670"/>
                    </a:lnTo>
                    <a:lnTo>
                      <a:pt x="20212" y="712"/>
                    </a:lnTo>
                    <a:lnTo>
                      <a:pt x="20129" y="733"/>
                    </a:lnTo>
                    <a:lnTo>
                      <a:pt x="20212" y="670"/>
                    </a:lnTo>
                    <a:lnTo>
                      <a:pt x="20191" y="586"/>
                    </a:lnTo>
                    <a:lnTo>
                      <a:pt x="19898" y="419"/>
                    </a:lnTo>
                    <a:lnTo>
                      <a:pt x="19815" y="293"/>
                    </a:lnTo>
                    <a:lnTo>
                      <a:pt x="19752" y="252"/>
                    </a:lnTo>
                    <a:lnTo>
                      <a:pt x="19773" y="105"/>
                    </a:lnTo>
                    <a:lnTo>
                      <a:pt x="19459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</p:grpSp>
        <p:sp>
          <p:nvSpPr>
            <p:cNvPr id="786" name="Google Shape;786;p34"/>
            <p:cNvSpPr/>
            <p:nvPr/>
          </p:nvSpPr>
          <p:spPr>
            <a:xfrm>
              <a:off x="3216902" y="3020658"/>
              <a:ext cx="15456" cy="5959"/>
            </a:xfrm>
            <a:custGeom>
              <a:avLst/>
              <a:gdLst/>
              <a:ahLst/>
              <a:cxnLst/>
              <a:rect l="l" t="t" r="r" b="b"/>
              <a:pathLst>
                <a:path w="1298" h="524" extrusionOk="0">
                  <a:moveTo>
                    <a:pt x="503" y="0"/>
                  </a:moveTo>
                  <a:lnTo>
                    <a:pt x="293" y="42"/>
                  </a:lnTo>
                  <a:lnTo>
                    <a:pt x="168" y="21"/>
                  </a:lnTo>
                  <a:lnTo>
                    <a:pt x="63" y="42"/>
                  </a:lnTo>
                  <a:lnTo>
                    <a:pt x="1" y="147"/>
                  </a:lnTo>
                  <a:lnTo>
                    <a:pt x="105" y="230"/>
                  </a:lnTo>
                  <a:lnTo>
                    <a:pt x="189" y="209"/>
                  </a:lnTo>
                  <a:lnTo>
                    <a:pt x="252" y="230"/>
                  </a:lnTo>
                  <a:lnTo>
                    <a:pt x="314" y="377"/>
                  </a:lnTo>
                  <a:lnTo>
                    <a:pt x="398" y="439"/>
                  </a:lnTo>
                  <a:lnTo>
                    <a:pt x="524" y="439"/>
                  </a:lnTo>
                  <a:lnTo>
                    <a:pt x="607" y="523"/>
                  </a:lnTo>
                  <a:lnTo>
                    <a:pt x="775" y="523"/>
                  </a:lnTo>
                  <a:lnTo>
                    <a:pt x="775" y="377"/>
                  </a:lnTo>
                  <a:lnTo>
                    <a:pt x="879" y="377"/>
                  </a:lnTo>
                  <a:lnTo>
                    <a:pt x="900" y="439"/>
                  </a:lnTo>
                  <a:lnTo>
                    <a:pt x="984" y="439"/>
                  </a:lnTo>
                  <a:lnTo>
                    <a:pt x="1005" y="335"/>
                  </a:lnTo>
                  <a:lnTo>
                    <a:pt x="1089" y="377"/>
                  </a:lnTo>
                  <a:lnTo>
                    <a:pt x="1298" y="377"/>
                  </a:lnTo>
                  <a:lnTo>
                    <a:pt x="1298" y="335"/>
                  </a:lnTo>
                  <a:lnTo>
                    <a:pt x="1193" y="230"/>
                  </a:lnTo>
                  <a:lnTo>
                    <a:pt x="1047" y="209"/>
                  </a:lnTo>
                  <a:lnTo>
                    <a:pt x="942" y="21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7" name="Google Shape;787;p34"/>
            <p:cNvSpPr/>
            <p:nvPr/>
          </p:nvSpPr>
          <p:spPr>
            <a:xfrm>
              <a:off x="3243063" y="3010423"/>
              <a:ext cx="19695" cy="13340"/>
            </a:xfrm>
            <a:custGeom>
              <a:avLst/>
              <a:gdLst/>
              <a:ahLst/>
              <a:cxnLst/>
              <a:rect l="l" t="t" r="r" b="b"/>
              <a:pathLst>
                <a:path w="1654" h="1173" extrusionOk="0">
                  <a:moveTo>
                    <a:pt x="1089" y="0"/>
                  </a:moveTo>
                  <a:lnTo>
                    <a:pt x="1005" y="63"/>
                  </a:lnTo>
                  <a:lnTo>
                    <a:pt x="900" y="21"/>
                  </a:lnTo>
                  <a:lnTo>
                    <a:pt x="691" y="21"/>
                  </a:lnTo>
                  <a:lnTo>
                    <a:pt x="649" y="84"/>
                  </a:lnTo>
                  <a:lnTo>
                    <a:pt x="754" y="168"/>
                  </a:lnTo>
                  <a:lnTo>
                    <a:pt x="1068" y="272"/>
                  </a:lnTo>
                  <a:lnTo>
                    <a:pt x="1047" y="314"/>
                  </a:lnTo>
                  <a:lnTo>
                    <a:pt x="1109" y="398"/>
                  </a:lnTo>
                  <a:lnTo>
                    <a:pt x="1047" y="544"/>
                  </a:lnTo>
                  <a:lnTo>
                    <a:pt x="1109" y="649"/>
                  </a:lnTo>
                  <a:lnTo>
                    <a:pt x="1214" y="691"/>
                  </a:lnTo>
                  <a:lnTo>
                    <a:pt x="1340" y="795"/>
                  </a:lnTo>
                  <a:lnTo>
                    <a:pt x="1319" y="858"/>
                  </a:lnTo>
                  <a:lnTo>
                    <a:pt x="1068" y="858"/>
                  </a:lnTo>
                  <a:lnTo>
                    <a:pt x="1026" y="900"/>
                  </a:lnTo>
                  <a:lnTo>
                    <a:pt x="921" y="858"/>
                  </a:lnTo>
                  <a:lnTo>
                    <a:pt x="796" y="858"/>
                  </a:lnTo>
                  <a:lnTo>
                    <a:pt x="649" y="816"/>
                  </a:lnTo>
                  <a:lnTo>
                    <a:pt x="524" y="858"/>
                  </a:lnTo>
                  <a:lnTo>
                    <a:pt x="524" y="816"/>
                  </a:lnTo>
                  <a:lnTo>
                    <a:pt x="482" y="795"/>
                  </a:lnTo>
                  <a:lnTo>
                    <a:pt x="293" y="837"/>
                  </a:lnTo>
                  <a:lnTo>
                    <a:pt x="189" y="733"/>
                  </a:lnTo>
                  <a:lnTo>
                    <a:pt x="63" y="795"/>
                  </a:lnTo>
                  <a:lnTo>
                    <a:pt x="0" y="858"/>
                  </a:lnTo>
                  <a:lnTo>
                    <a:pt x="63" y="963"/>
                  </a:lnTo>
                  <a:lnTo>
                    <a:pt x="189" y="1005"/>
                  </a:lnTo>
                  <a:lnTo>
                    <a:pt x="314" y="1151"/>
                  </a:lnTo>
                  <a:lnTo>
                    <a:pt x="377" y="1172"/>
                  </a:lnTo>
                  <a:lnTo>
                    <a:pt x="377" y="1067"/>
                  </a:lnTo>
                  <a:lnTo>
                    <a:pt x="419" y="1026"/>
                  </a:lnTo>
                  <a:lnTo>
                    <a:pt x="691" y="1026"/>
                  </a:lnTo>
                  <a:lnTo>
                    <a:pt x="796" y="1067"/>
                  </a:lnTo>
                  <a:lnTo>
                    <a:pt x="1109" y="1067"/>
                  </a:lnTo>
                  <a:lnTo>
                    <a:pt x="1151" y="1047"/>
                  </a:lnTo>
                  <a:lnTo>
                    <a:pt x="1256" y="1109"/>
                  </a:lnTo>
                  <a:lnTo>
                    <a:pt x="1340" y="1109"/>
                  </a:lnTo>
                  <a:lnTo>
                    <a:pt x="1340" y="1047"/>
                  </a:lnTo>
                  <a:lnTo>
                    <a:pt x="1570" y="921"/>
                  </a:lnTo>
                  <a:lnTo>
                    <a:pt x="1570" y="837"/>
                  </a:lnTo>
                  <a:lnTo>
                    <a:pt x="1570" y="733"/>
                  </a:lnTo>
                  <a:lnTo>
                    <a:pt x="1528" y="607"/>
                  </a:lnTo>
                  <a:lnTo>
                    <a:pt x="1549" y="544"/>
                  </a:lnTo>
                  <a:lnTo>
                    <a:pt x="1633" y="502"/>
                  </a:lnTo>
                  <a:lnTo>
                    <a:pt x="1653" y="377"/>
                  </a:lnTo>
                  <a:lnTo>
                    <a:pt x="1612" y="293"/>
                  </a:lnTo>
                  <a:lnTo>
                    <a:pt x="1653" y="189"/>
                  </a:lnTo>
                  <a:lnTo>
                    <a:pt x="1633" y="126"/>
                  </a:lnTo>
                  <a:lnTo>
                    <a:pt x="1528" y="105"/>
                  </a:lnTo>
                  <a:lnTo>
                    <a:pt x="1423" y="126"/>
                  </a:lnTo>
                  <a:lnTo>
                    <a:pt x="1319" y="21"/>
                  </a:lnTo>
                  <a:lnTo>
                    <a:pt x="10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8" name="Google Shape;788;p34"/>
            <p:cNvSpPr/>
            <p:nvPr/>
          </p:nvSpPr>
          <p:spPr>
            <a:xfrm>
              <a:off x="3173297" y="2986859"/>
              <a:ext cx="73267" cy="24997"/>
            </a:xfrm>
            <a:custGeom>
              <a:avLst/>
              <a:gdLst/>
              <a:ahLst/>
              <a:cxnLst/>
              <a:rect l="l" t="t" r="r" b="b"/>
              <a:pathLst>
                <a:path w="6153" h="2198" extrusionOk="0">
                  <a:moveTo>
                    <a:pt x="1570" y="1"/>
                  </a:moveTo>
                  <a:lnTo>
                    <a:pt x="1445" y="106"/>
                  </a:lnTo>
                  <a:lnTo>
                    <a:pt x="1131" y="106"/>
                  </a:lnTo>
                  <a:lnTo>
                    <a:pt x="901" y="168"/>
                  </a:lnTo>
                  <a:lnTo>
                    <a:pt x="817" y="252"/>
                  </a:lnTo>
                  <a:lnTo>
                    <a:pt x="566" y="315"/>
                  </a:lnTo>
                  <a:lnTo>
                    <a:pt x="482" y="419"/>
                  </a:lnTo>
                  <a:lnTo>
                    <a:pt x="377" y="482"/>
                  </a:lnTo>
                  <a:lnTo>
                    <a:pt x="357" y="608"/>
                  </a:lnTo>
                  <a:lnTo>
                    <a:pt x="419" y="712"/>
                  </a:lnTo>
                  <a:lnTo>
                    <a:pt x="398" y="775"/>
                  </a:lnTo>
                  <a:lnTo>
                    <a:pt x="294" y="712"/>
                  </a:lnTo>
                  <a:lnTo>
                    <a:pt x="85" y="817"/>
                  </a:lnTo>
                  <a:lnTo>
                    <a:pt x="1" y="796"/>
                  </a:lnTo>
                  <a:lnTo>
                    <a:pt x="1" y="880"/>
                  </a:lnTo>
                  <a:lnTo>
                    <a:pt x="105" y="922"/>
                  </a:lnTo>
                  <a:lnTo>
                    <a:pt x="252" y="796"/>
                  </a:lnTo>
                  <a:lnTo>
                    <a:pt x="273" y="817"/>
                  </a:lnTo>
                  <a:lnTo>
                    <a:pt x="273" y="922"/>
                  </a:lnTo>
                  <a:lnTo>
                    <a:pt x="419" y="817"/>
                  </a:lnTo>
                  <a:lnTo>
                    <a:pt x="524" y="817"/>
                  </a:lnTo>
                  <a:lnTo>
                    <a:pt x="629" y="629"/>
                  </a:lnTo>
                  <a:lnTo>
                    <a:pt x="796" y="670"/>
                  </a:lnTo>
                  <a:lnTo>
                    <a:pt x="838" y="608"/>
                  </a:lnTo>
                  <a:lnTo>
                    <a:pt x="922" y="691"/>
                  </a:lnTo>
                  <a:lnTo>
                    <a:pt x="1026" y="670"/>
                  </a:lnTo>
                  <a:lnTo>
                    <a:pt x="1214" y="461"/>
                  </a:lnTo>
                  <a:lnTo>
                    <a:pt x="1319" y="419"/>
                  </a:lnTo>
                  <a:lnTo>
                    <a:pt x="1361" y="357"/>
                  </a:lnTo>
                  <a:lnTo>
                    <a:pt x="1528" y="378"/>
                  </a:lnTo>
                  <a:lnTo>
                    <a:pt x="1654" y="378"/>
                  </a:lnTo>
                  <a:lnTo>
                    <a:pt x="1884" y="398"/>
                  </a:lnTo>
                  <a:lnTo>
                    <a:pt x="1968" y="461"/>
                  </a:lnTo>
                  <a:lnTo>
                    <a:pt x="1884" y="503"/>
                  </a:lnTo>
                  <a:lnTo>
                    <a:pt x="1758" y="503"/>
                  </a:lnTo>
                  <a:lnTo>
                    <a:pt x="1675" y="566"/>
                  </a:lnTo>
                  <a:lnTo>
                    <a:pt x="1758" y="629"/>
                  </a:lnTo>
                  <a:lnTo>
                    <a:pt x="2093" y="691"/>
                  </a:lnTo>
                  <a:lnTo>
                    <a:pt x="2177" y="670"/>
                  </a:lnTo>
                  <a:lnTo>
                    <a:pt x="2282" y="670"/>
                  </a:lnTo>
                  <a:lnTo>
                    <a:pt x="2386" y="733"/>
                  </a:lnTo>
                  <a:lnTo>
                    <a:pt x="2554" y="775"/>
                  </a:lnTo>
                  <a:lnTo>
                    <a:pt x="2616" y="775"/>
                  </a:lnTo>
                  <a:lnTo>
                    <a:pt x="2658" y="691"/>
                  </a:lnTo>
                  <a:lnTo>
                    <a:pt x="2721" y="775"/>
                  </a:lnTo>
                  <a:lnTo>
                    <a:pt x="2763" y="817"/>
                  </a:lnTo>
                  <a:lnTo>
                    <a:pt x="2930" y="942"/>
                  </a:lnTo>
                  <a:lnTo>
                    <a:pt x="3077" y="984"/>
                  </a:lnTo>
                  <a:lnTo>
                    <a:pt x="3139" y="942"/>
                  </a:lnTo>
                  <a:lnTo>
                    <a:pt x="3244" y="1026"/>
                  </a:lnTo>
                  <a:lnTo>
                    <a:pt x="3349" y="1005"/>
                  </a:lnTo>
                  <a:lnTo>
                    <a:pt x="3432" y="1047"/>
                  </a:lnTo>
                  <a:lnTo>
                    <a:pt x="3600" y="1005"/>
                  </a:lnTo>
                  <a:lnTo>
                    <a:pt x="3663" y="1026"/>
                  </a:lnTo>
                  <a:lnTo>
                    <a:pt x="3746" y="1361"/>
                  </a:lnTo>
                  <a:lnTo>
                    <a:pt x="3955" y="1570"/>
                  </a:lnTo>
                  <a:lnTo>
                    <a:pt x="4039" y="1612"/>
                  </a:lnTo>
                  <a:lnTo>
                    <a:pt x="4081" y="1549"/>
                  </a:lnTo>
                  <a:lnTo>
                    <a:pt x="4227" y="1633"/>
                  </a:lnTo>
                  <a:lnTo>
                    <a:pt x="4437" y="1633"/>
                  </a:lnTo>
                  <a:lnTo>
                    <a:pt x="4458" y="1675"/>
                  </a:lnTo>
                  <a:lnTo>
                    <a:pt x="4541" y="1738"/>
                  </a:lnTo>
                  <a:lnTo>
                    <a:pt x="4541" y="1842"/>
                  </a:lnTo>
                  <a:lnTo>
                    <a:pt x="4374" y="1863"/>
                  </a:lnTo>
                  <a:lnTo>
                    <a:pt x="4186" y="2051"/>
                  </a:lnTo>
                  <a:lnTo>
                    <a:pt x="4186" y="2156"/>
                  </a:lnTo>
                  <a:lnTo>
                    <a:pt x="4374" y="2177"/>
                  </a:lnTo>
                  <a:lnTo>
                    <a:pt x="4541" y="2135"/>
                  </a:lnTo>
                  <a:lnTo>
                    <a:pt x="4604" y="2156"/>
                  </a:lnTo>
                  <a:lnTo>
                    <a:pt x="4897" y="2093"/>
                  </a:lnTo>
                  <a:lnTo>
                    <a:pt x="5064" y="2093"/>
                  </a:lnTo>
                  <a:lnTo>
                    <a:pt x="5274" y="2198"/>
                  </a:lnTo>
                  <a:lnTo>
                    <a:pt x="5546" y="2135"/>
                  </a:lnTo>
                  <a:lnTo>
                    <a:pt x="5587" y="2072"/>
                  </a:lnTo>
                  <a:lnTo>
                    <a:pt x="5650" y="2072"/>
                  </a:lnTo>
                  <a:lnTo>
                    <a:pt x="5734" y="2030"/>
                  </a:lnTo>
                  <a:lnTo>
                    <a:pt x="5943" y="2051"/>
                  </a:lnTo>
                  <a:lnTo>
                    <a:pt x="6069" y="1989"/>
                  </a:lnTo>
                  <a:lnTo>
                    <a:pt x="6152" y="1884"/>
                  </a:lnTo>
                  <a:lnTo>
                    <a:pt x="6111" y="1842"/>
                  </a:lnTo>
                  <a:lnTo>
                    <a:pt x="6006" y="1821"/>
                  </a:lnTo>
                  <a:lnTo>
                    <a:pt x="5922" y="1654"/>
                  </a:lnTo>
                  <a:lnTo>
                    <a:pt x="5692" y="1549"/>
                  </a:lnTo>
                  <a:lnTo>
                    <a:pt x="5378" y="1549"/>
                  </a:lnTo>
                  <a:lnTo>
                    <a:pt x="5295" y="1528"/>
                  </a:lnTo>
                  <a:lnTo>
                    <a:pt x="5336" y="1466"/>
                  </a:lnTo>
                  <a:lnTo>
                    <a:pt x="5399" y="1319"/>
                  </a:lnTo>
                  <a:lnTo>
                    <a:pt x="5315" y="1298"/>
                  </a:lnTo>
                  <a:lnTo>
                    <a:pt x="5232" y="1340"/>
                  </a:lnTo>
                  <a:lnTo>
                    <a:pt x="5127" y="1340"/>
                  </a:lnTo>
                  <a:lnTo>
                    <a:pt x="4918" y="1194"/>
                  </a:lnTo>
                  <a:lnTo>
                    <a:pt x="4855" y="1235"/>
                  </a:lnTo>
                  <a:lnTo>
                    <a:pt x="4771" y="1152"/>
                  </a:lnTo>
                  <a:lnTo>
                    <a:pt x="4604" y="1026"/>
                  </a:lnTo>
                  <a:lnTo>
                    <a:pt x="4541" y="1131"/>
                  </a:lnTo>
                  <a:lnTo>
                    <a:pt x="4479" y="1089"/>
                  </a:lnTo>
                  <a:lnTo>
                    <a:pt x="4499" y="1005"/>
                  </a:lnTo>
                  <a:lnTo>
                    <a:pt x="4437" y="984"/>
                  </a:lnTo>
                  <a:lnTo>
                    <a:pt x="4395" y="1047"/>
                  </a:lnTo>
                  <a:lnTo>
                    <a:pt x="4332" y="984"/>
                  </a:lnTo>
                  <a:lnTo>
                    <a:pt x="4123" y="922"/>
                  </a:lnTo>
                  <a:lnTo>
                    <a:pt x="3955" y="796"/>
                  </a:lnTo>
                  <a:lnTo>
                    <a:pt x="3830" y="712"/>
                  </a:lnTo>
                  <a:lnTo>
                    <a:pt x="3704" y="587"/>
                  </a:lnTo>
                  <a:lnTo>
                    <a:pt x="3349" y="587"/>
                  </a:lnTo>
                  <a:lnTo>
                    <a:pt x="3244" y="524"/>
                  </a:lnTo>
                  <a:lnTo>
                    <a:pt x="3202" y="398"/>
                  </a:lnTo>
                  <a:lnTo>
                    <a:pt x="3077" y="252"/>
                  </a:lnTo>
                  <a:lnTo>
                    <a:pt x="2972" y="273"/>
                  </a:lnTo>
                  <a:lnTo>
                    <a:pt x="2909" y="210"/>
                  </a:lnTo>
                  <a:lnTo>
                    <a:pt x="2491" y="147"/>
                  </a:lnTo>
                  <a:lnTo>
                    <a:pt x="2365" y="210"/>
                  </a:lnTo>
                  <a:lnTo>
                    <a:pt x="2177" y="168"/>
                  </a:lnTo>
                  <a:lnTo>
                    <a:pt x="2072" y="43"/>
                  </a:lnTo>
                  <a:lnTo>
                    <a:pt x="18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9" name="Google Shape;789;p34"/>
            <p:cNvSpPr/>
            <p:nvPr/>
          </p:nvSpPr>
          <p:spPr>
            <a:xfrm>
              <a:off x="3371128" y="3527019"/>
              <a:ext cx="18695" cy="10247"/>
            </a:xfrm>
            <a:custGeom>
              <a:avLst/>
              <a:gdLst/>
              <a:ahLst/>
              <a:cxnLst/>
              <a:rect l="l" t="t" r="r" b="b"/>
              <a:pathLst>
                <a:path w="1570" h="901" extrusionOk="0">
                  <a:moveTo>
                    <a:pt x="1025" y="0"/>
                  </a:moveTo>
                  <a:lnTo>
                    <a:pt x="984" y="84"/>
                  </a:lnTo>
                  <a:lnTo>
                    <a:pt x="921" y="105"/>
                  </a:lnTo>
                  <a:lnTo>
                    <a:pt x="942" y="189"/>
                  </a:lnTo>
                  <a:lnTo>
                    <a:pt x="921" y="252"/>
                  </a:lnTo>
                  <a:lnTo>
                    <a:pt x="691" y="314"/>
                  </a:lnTo>
                  <a:lnTo>
                    <a:pt x="733" y="273"/>
                  </a:lnTo>
                  <a:lnTo>
                    <a:pt x="774" y="126"/>
                  </a:lnTo>
                  <a:lnTo>
                    <a:pt x="733" y="63"/>
                  </a:lnTo>
                  <a:lnTo>
                    <a:pt x="649" y="84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461" y="84"/>
                  </a:lnTo>
                  <a:lnTo>
                    <a:pt x="377" y="84"/>
                  </a:lnTo>
                  <a:lnTo>
                    <a:pt x="377" y="252"/>
                  </a:lnTo>
                  <a:lnTo>
                    <a:pt x="272" y="210"/>
                  </a:lnTo>
                  <a:lnTo>
                    <a:pt x="168" y="105"/>
                  </a:lnTo>
                  <a:lnTo>
                    <a:pt x="105" y="168"/>
                  </a:lnTo>
                  <a:lnTo>
                    <a:pt x="230" y="356"/>
                  </a:lnTo>
                  <a:lnTo>
                    <a:pt x="377" y="377"/>
                  </a:lnTo>
                  <a:lnTo>
                    <a:pt x="377" y="419"/>
                  </a:lnTo>
                  <a:lnTo>
                    <a:pt x="230" y="419"/>
                  </a:lnTo>
                  <a:lnTo>
                    <a:pt x="168" y="482"/>
                  </a:lnTo>
                  <a:lnTo>
                    <a:pt x="189" y="565"/>
                  </a:lnTo>
                  <a:lnTo>
                    <a:pt x="84" y="670"/>
                  </a:lnTo>
                  <a:lnTo>
                    <a:pt x="0" y="670"/>
                  </a:lnTo>
                  <a:lnTo>
                    <a:pt x="0" y="712"/>
                  </a:lnTo>
                  <a:lnTo>
                    <a:pt x="126" y="796"/>
                  </a:lnTo>
                  <a:lnTo>
                    <a:pt x="189" y="712"/>
                  </a:lnTo>
                  <a:lnTo>
                    <a:pt x="293" y="796"/>
                  </a:lnTo>
                  <a:lnTo>
                    <a:pt x="377" y="691"/>
                  </a:lnTo>
                  <a:lnTo>
                    <a:pt x="230" y="628"/>
                  </a:lnTo>
                  <a:lnTo>
                    <a:pt x="335" y="586"/>
                  </a:lnTo>
                  <a:lnTo>
                    <a:pt x="523" y="607"/>
                  </a:lnTo>
                  <a:lnTo>
                    <a:pt x="649" y="565"/>
                  </a:lnTo>
                  <a:lnTo>
                    <a:pt x="649" y="461"/>
                  </a:lnTo>
                  <a:cubicBezTo>
                    <a:pt x="649" y="461"/>
                    <a:pt x="667" y="470"/>
                    <a:pt x="680" y="470"/>
                  </a:cubicBezTo>
                  <a:cubicBezTo>
                    <a:pt x="686" y="470"/>
                    <a:pt x="691" y="468"/>
                    <a:pt x="691" y="461"/>
                  </a:cubicBezTo>
                  <a:cubicBezTo>
                    <a:pt x="795" y="398"/>
                    <a:pt x="900" y="377"/>
                    <a:pt x="1005" y="314"/>
                  </a:cubicBezTo>
                  <a:lnTo>
                    <a:pt x="1046" y="398"/>
                  </a:lnTo>
                  <a:lnTo>
                    <a:pt x="1025" y="461"/>
                  </a:lnTo>
                  <a:lnTo>
                    <a:pt x="942" y="419"/>
                  </a:lnTo>
                  <a:lnTo>
                    <a:pt x="858" y="461"/>
                  </a:lnTo>
                  <a:lnTo>
                    <a:pt x="691" y="712"/>
                  </a:lnTo>
                  <a:lnTo>
                    <a:pt x="753" y="733"/>
                  </a:lnTo>
                  <a:lnTo>
                    <a:pt x="837" y="879"/>
                  </a:lnTo>
                  <a:lnTo>
                    <a:pt x="921" y="900"/>
                  </a:lnTo>
                  <a:lnTo>
                    <a:pt x="921" y="837"/>
                  </a:lnTo>
                  <a:lnTo>
                    <a:pt x="837" y="733"/>
                  </a:lnTo>
                  <a:lnTo>
                    <a:pt x="858" y="712"/>
                  </a:lnTo>
                  <a:lnTo>
                    <a:pt x="963" y="775"/>
                  </a:lnTo>
                  <a:lnTo>
                    <a:pt x="1025" y="733"/>
                  </a:lnTo>
                  <a:lnTo>
                    <a:pt x="963" y="691"/>
                  </a:lnTo>
                  <a:lnTo>
                    <a:pt x="963" y="607"/>
                  </a:lnTo>
                  <a:lnTo>
                    <a:pt x="1067" y="628"/>
                  </a:lnTo>
                  <a:lnTo>
                    <a:pt x="1172" y="607"/>
                  </a:lnTo>
                  <a:lnTo>
                    <a:pt x="1172" y="586"/>
                  </a:lnTo>
                  <a:lnTo>
                    <a:pt x="1088" y="586"/>
                  </a:lnTo>
                  <a:lnTo>
                    <a:pt x="1046" y="524"/>
                  </a:lnTo>
                  <a:lnTo>
                    <a:pt x="1088" y="503"/>
                  </a:lnTo>
                  <a:lnTo>
                    <a:pt x="1193" y="524"/>
                  </a:lnTo>
                  <a:lnTo>
                    <a:pt x="1339" y="503"/>
                  </a:lnTo>
                  <a:lnTo>
                    <a:pt x="1444" y="419"/>
                  </a:lnTo>
                  <a:lnTo>
                    <a:pt x="1549" y="398"/>
                  </a:lnTo>
                  <a:lnTo>
                    <a:pt x="1507" y="314"/>
                  </a:lnTo>
                  <a:lnTo>
                    <a:pt x="1465" y="293"/>
                  </a:lnTo>
                  <a:lnTo>
                    <a:pt x="1444" y="273"/>
                  </a:lnTo>
                  <a:lnTo>
                    <a:pt x="1486" y="210"/>
                  </a:lnTo>
                  <a:lnTo>
                    <a:pt x="1569" y="189"/>
                  </a:lnTo>
                  <a:lnTo>
                    <a:pt x="1528" y="126"/>
                  </a:lnTo>
                  <a:lnTo>
                    <a:pt x="1381" y="105"/>
                  </a:lnTo>
                  <a:lnTo>
                    <a:pt x="1318" y="126"/>
                  </a:lnTo>
                  <a:lnTo>
                    <a:pt x="1339" y="189"/>
                  </a:lnTo>
                  <a:lnTo>
                    <a:pt x="1256" y="210"/>
                  </a:lnTo>
                  <a:lnTo>
                    <a:pt x="1172" y="105"/>
                  </a:lnTo>
                  <a:lnTo>
                    <a:pt x="1172" y="42"/>
                  </a:lnTo>
                  <a:lnTo>
                    <a:pt x="102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0" name="Google Shape;790;p34"/>
            <p:cNvSpPr/>
            <p:nvPr/>
          </p:nvSpPr>
          <p:spPr>
            <a:xfrm>
              <a:off x="3183264" y="3080853"/>
              <a:ext cx="38140" cy="16672"/>
            </a:xfrm>
            <a:custGeom>
              <a:avLst/>
              <a:gdLst/>
              <a:ahLst/>
              <a:cxnLst/>
              <a:rect l="l" t="t" r="r" b="b"/>
              <a:pathLst>
                <a:path w="3203" h="1466" extrusionOk="0">
                  <a:moveTo>
                    <a:pt x="2072" y="1"/>
                  </a:moveTo>
                  <a:lnTo>
                    <a:pt x="2030" y="43"/>
                  </a:lnTo>
                  <a:lnTo>
                    <a:pt x="1863" y="147"/>
                  </a:lnTo>
                  <a:lnTo>
                    <a:pt x="1675" y="189"/>
                  </a:lnTo>
                  <a:lnTo>
                    <a:pt x="1319" y="377"/>
                  </a:lnTo>
                  <a:lnTo>
                    <a:pt x="1214" y="461"/>
                  </a:lnTo>
                  <a:lnTo>
                    <a:pt x="1131" y="482"/>
                  </a:lnTo>
                  <a:lnTo>
                    <a:pt x="921" y="482"/>
                  </a:lnTo>
                  <a:lnTo>
                    <a:pt x="733" y="315"/>
                  </a:lnTo>
                  <a:lnTo>
                    <a:pt x="608" y="273"/>
                  </a:lnTo>
                  <a:lnTo>
                    <a:pt x="566" y="294"/>
                  </a:lnTo>
                  <a:lnTo>
                    <a:pt x="629" y="356"/>
                  </a:lnTo>
                  <a:lnTo>
                    <a:pt x="629" y="398"/>
                  </a:lnTo>
                  <a:lnTo>
                    <a:pt x="566" y="419"/>
                  </a:lnTo>
                  <a:lnTo>
                    <a:pt x="461" y="377"/>
                  </a:lnTo>
                  <a:lnTo>
                    <a:pt x="419" y="315"/>
                  </a:lnTo>
                  <a:lnTo>
                    <a:pt x="461" y="294"/>
                  </a:lnTo>
                  <a:lnTo>
                    <a:pt x="482" y="294"/>
                  </a:lnTo>
                  <a:lnTo>
                    <a:pt x="461" y="252"/>
                  </a:lnTo>
                  <a:lnTo>
                    <a:pt x="398" y="252"/>
                  </a:lnTo>
                  <a:lnTo>
                    <a:pt x="315" y="210"/>
                  </a:lnTo>
                  <a:lnTo>
                    <a:pt x="273" y="168"/>
                  </a:lnTo>
                  <a:lnTo>
                    <a:pt x="252" y="84"/>
                  </a:lnTo>
                  <a:lnTo>
                    <a:pt x="147" y="84"/>
                  </a:lnTo>
                  <a:lnTo>
                    <a:pt x="85" y="147"/>
                  </a:lnTo>
                  <a:lnTo>
                    <a:pt x="85" y="252"/>
                  </a:lnTo>
                  <a:lnTo>
                    <a:pt x="43" y="315"/>
                  </a:lnTo>
                  <a:lnTo>
                    <a:pt x="1" y="398"/>
                  </a:lnTo>
                  <a:lnTo>
                    <a:pt x="85" y="419"/>
                  </a:lnTo>
                  <a:lnTo>
                    <a:pt x="147" y="524"/>
                  </a:lnTo>
                  <a:lnTo>
                    <a:pt x="64" y="587"/>
                  </a:lnTo>
                  <a:lnTo>
                    <a:pt x="43" y="691"/>
                  </a:lnTo>
                  <a:lnTo>
                    <a:pt x="43" y="733"/>
                  </a:lnTo>
                  <a:lnTo>
                    <a:pt x="64" y="796"/>
                  </a:lnTo>
                  <a:lnTo>
                    <a:pt x="168" y="796"/>
                  </a:lnTo>
                  <a:lnTo>
                    <a:pt x="252" y="817"/>
                  </a:lnTo>
                  <a:lnTo>
                    <a:pt x="357" y="796"/>
                  </a:lnTo>
                  <a:lnTo>
                    <a:pt x="398" y="733"/>
                  </a:lnTo>
                  <a:lnTo>
                    <a:pt x="461" y="796"/>
                  </a:lnTo>
                  <a:lnTo>
                    <a:pt x="461" y="838"/>
                  </a:lnTo>
                  <a:lnTo>
                    <a:pt x="524" y="880"/>
                  </a:lnTo>
                  <a:lnTo>
                    <a:pt x="733" y="900"/>
                  </a:lnTo>
                  <a:lnTo>
                    <a:pt x="775" y="1026"/>
                  </a:lnTo>
                  <a:lnTo>
                    <a:pt x="817" y="1193"/>
                  </a:lnTo>
                  <a:lnTo>
                    <a:pt x="921" y="1235"/>
                  </a:lnTo>
                  <a:lnTo>
                    <a:pt x="1026" y="1235"/>
                  </a:lnTo>
                  <a:lnTo>
                    <a:pt x="1047" y="1152"/>
                  </a:lnTo>
                  <a:lnTo>
                    <a:pt x="1005" y="1131"/>
                  </a:lnTo>
                  <a:lnTo>
                    <a:pt x="1047" y="1047"/>
                  </a:lnTo>
                  <a:lnTo>
                    <a:pt x="1131" y="1089"/>
                  </a:lnTo>
                  <a:lnTo>
                    <a:pt x="1152" y="1131"/>
                  </a:lnTo>
                  <a:lnTo>
                    <a:pt x="1131" y="1193"/>
                  </a:lnTo>
                  <a:lnTo>
                    <a:pt x="1152" y="1319"/>
                  </a:lnTo>
                  <a:lnTo>
                    <a:pt x="1152" y="1403"/>
                  </a:lnTo>
                  <a:lnTo>
                    <a:pt x="1193" y="1444"/>
                  </a:lnTo>
                  <a:lnTo>
                    <a:pt x="1340" y="1465"/>
                  </a:lnTo>
                  <a:lnTo>
                    <a:pt x="1424" y="1361"/>
                  </a:lnTo>
                  <a:lnTo>
                    <a:pt x="1507" y="1298"/>
                  </a:lnTo>
                  <a:lnTo>
                    <a:pt x="1612" y="1319"/>
                  </a:lnTo>
                  <a:lnTo>
                    <a:pt x="1654" y="1298"/>
                  </a:lnTo>
                  <a:lnTo>
                    <a:pt x="1654" y="1152"/>
                  </a:lnTo>
                  <a:lnTo>
                    <a:pt x="1570" y="1089"/>
                  </a:lnTo>
                  <a:lnTo>
                    <a:pt x="1465" y="1026"/>
                  </a:lnTo>
                  <a:lnTo>
                    <a:pt x="1445" y="921"/>
                  </a:lnTo>
                  <a:lnTo>
                    <a:pt x="1445" y="880"/>
                  </a:lnTo>
                  <a:lnTo>
                    <a:pt x="1549" y="817"/>
                  </a:lnTo>
                  <a:lnTo>
                    <a:pt x="1737" y="775"/>
                  </a:lnTo>
                  <a:lnTo>
                    <a:pt x="1884" y="628"/>
                  </a:lnTo>
                  <a:lnTo>
                    <a:pt x="1884" y="587"/>
                  </a:lnTo>
                  <a:lnTo>
                    <a:pt x="1863" y="566"/>
                  </a:lnTo>
                  <a:lnTo>
                    <a:pt x="1863" y="419"/>
                  </a:lnTo>
                  <a:lnTo>
                    <a:pt x="2051" y="356"/>
                  </a:lnTo>
                  <a:lnTo>
                    <a:pt x="2177" y="315"/>
                  </a:lnTo>
                  <a:lnTo>
                    <a:pt x="2261" y="377"/>
                  </a:lnTo>
                  <a:lnTo>
                    <a:pt x="2365" y="482"/>
                  </a:lnTo>
                  <a:lnTo>
                    <a:pt x="2449" y="482"/>
                  </a:lnTo>
                  <a:lnTo>
                    <a:pt x="2553" y="608"/>
                  </a:lnTo>
                  <a:lnTo>
                    <a:pt x="2574" y="712"/>
                  </a:lnTo>
                  <a:lnTo>
                    <a:pt x="2616" y="775"/>
                  </a:lnTo>
                  <a:lnTo>
                    <a:pt x="2679" y="733"/>
                  </a:lnTo>
                  <a:lnTo>
                    <a:pt x="2763" y="670"/>
                  </a:lnTo>
                  <a:lnTo>
                    <a:pt x="2805" y="670"/>
                  </a:lnTo>
                  <a:lnTo>
                    <a:pt x="2826" y="733"/>
                  </a:lnTo>
                  <a:lnTo>
                    <a:pt x="2784" y="796"/>
                  </a:lnTo>
                  <a:lnTo>
                    <a:pt x="2721" y="796"/>
                  </a:lnTo>
                  <a:lnTo>
                    <a:pt x="2616" y="942"/>
                  </a:lnTo>
                  <a:lnTo>
                    <a:pt x="2595" y="984"/>
                  </a:lnTo>
                  <a:lnTo>
                    <a:pt x="2616" y="1131"/>
                  </a:lnTo>
                  <a:lnTo>
                    <a:pt x="2763" y="1319"/>
                  </a:lnTo>
                  <a:lnTo>
                    <a:pt x="2888" y="1424"/>
                  </a:lnTo>
                  <a:lnTo>
                    <a:pt x="2972" y="1235"/>
                  </a:lnTo>
                  <a:lnTo>
                    <a:pt x="3014" y="1235"/>
                  </a:lnTo>
                  <a:lnTo>
                    <a:pt x="3098" y="1193"/>
                  </a:lnTo>
                  <a:lnTo>
                    <a:pt x="3118" y="1047"/>
                  </a:lnTo>
                  <a:lnTo>
                    <a:pt x="3202" y="900"/>
                  </a:lnTo>
                  <a:lnTo>
                    <a:pt x="3139" y="733"/>
                  </a:lnTo>
                  <a:lnTo>
                    <a:pt x="3139" y="691"/>
                  </a:lnTo>
                  <a:lnTo>
                    <a:pt x="3181" y="587"/>
                  </a:lnTo>
                  <a:lnTo>
                    <a:pt x="3118" y="524"/>
                  </a:lnTo>
                  <a:lnTo>
                    <a:pt x="3035" y="482"/>
                  </a:lnTo>
                  <a:lnTo>
                    <a:pt x="3014" y="419"/>
                  </a:lnTo>
                  <a:lnTo>
                    <a:pt x="2909" y="294"/>
                  </a:lnTo>
                  <a:lnTo>
                    <a:pt x="2679" y="168"/>
                  </a:lnTo>
                  <a:lnTo>
                    <a:pt x="2512" y="147"/>
                  </a:lnTo>
                  <a:lnTo>
                    <a:pt x="2281" y="147"/>
                  </a:lnTo>
                  <a:lnTo>
                    <a:pt x="2198" y="105"/>
                  </a:lnTo>
                  <a:lnTo>
                    <a:pt x="2156" y="63"/>
                  </a:lnTo>
                  <a:lnTo>
                    <a:pt x="207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1" name="Google Shape;791;p34"/>
            <p:cNvSpPr/>
            <p:nvPr/>
          </p:nvSpPr>
          <p:spPr>
            <a:xfrm>
              <a:off x="3163092" y="3070629"/>
              <a:ext cx="23172" cy="20709"/>
            </a:xfrm>
            <a:custGeom>
              <a:avLst/>
              <a:gdLst/>
              <a:ahLst/>
              <a:cxnLst/>
              <a:rect l="l" t="t" r="r" b="b"/>
              <a:pathLst>
                <a:path w="1946" h="1821" extrusionOk="0">
                  <a:moveTo>
                    <a:pt x="293" y="0"/>
                  </a:moveTo>
                  <a:lnTo>
                    <a:pt x="105" y="21"/>
                  </a:lnTo>
                  <a:lnTo>
                    <a:pt x="105" y="42"/>
                  </a:lnTo>
                  <a:lnTo>
                    <a:pt x="63" y="63"/>
                  </a:lnTo>
                  <a:lnTo>
                    <a:pt x="84" y="63"/>
                  </a:lnTo>
                  <a:lnTo>
                    <a:pt x="63" y="209"/>
                  </a:lnTo>
                  <a:lnTo>
                    <a:pt x="0" y="230"/>
                  </a:lnTo>
                  <a:lnTo>
                    <a:pt x="63" y="251"/>
                  </a:lnTo>
                  <a:lnTo>
                    <a:pt x="126" y="272"/>
                  </a:lnTo>
                  <a:lnTo>
                    <a:pt x="167" y="377"/>
                  </a:lnTo>
                  <a:lnTo>
                    <a:pt x="63" y="460"/>
                  </a:lnTo>
                  <a:lnTo>
                    <a:pt x="0" y="586"/>
                  </a:lnTo>
                  <a:lnTo>
                    <a:pt x="21" y="690"/>
                  </a:lnTo>
                  <a:lnTo>
                    <a:pt x="188" y="837"/>
                  </a:lnTo>
                  <a:lnTo>
                    <a:pt x="335" y="837"/>
                  </a:lnTo>
                  <a:lnTo>
                    <a:pt x="418" y="879"/>
                  </a:lnTo>
                  <a:lnTo>
                    <a:pt x="481" y="983"/>
                  </a:lnTo>
                  <a:lnTo>
                    <a:pt x="523" y="983"/>
                  </a:lnTo>
                  <a:lnTo>
                    <a:pt x="607" y="879"/>
                  </a:lnTo>
                  <a:lnTo>
                    <a:pt x="586" y="774"/>
                  </a:lnTo>
                  <a:lnTo>
                    <a:pt x="418" y="670"/>
                  </a:lnTo>
                  <a:lnTo>
                    <a:pt x="377" y="586"/>
                  </a:lnTo>
                  <a:lnTo>
                    <a:pt x="418" y="565"/>
                  </a:lnTo>
                  <a:lnTo>
                    <a:pt x="523" y="649"/>
                  </a:lnTo>
                  <a:lnTo>
                    <a:pt x="628" y="690"/>
                  </a:lnTo>
                  <a:lnTo>
                    <a:pt x="649" y="774"/>
                  </a:lnTo>
                  <a:lnTo>
                    <a:pt x="753" y="858"/>
                  </a:lnTo>
                  <a:lnTo>
                    <a:pt x="795" y="983"/>
                  </a:lnTo>
                  <a:lnTo>
                    <a:pt x="921" y="1067"/>
                  </a:lnTo>
                  <a:lnTo>
                    <a:pt x="1025" y="1151"/>
                  </a:lnTo>
                  <a:lnTo>
                    <a:pt x="1109" y="1193"/>
                  </a:lnTo>
                  <a:lnTo>
                    <a:pt x="1234" y="1318"/>
                  </a:lnTo>
                  <a:lnTo>
                    <a:pt x="1255" y="1402"/>
                  </a:lnTo>
                  <a:lnTo>
                    <a:pt x="1172" y="1486"/>
                  </a:lnTo>
                  <a:lnTo>
                    <a:pt x="1172" y="1569"/>
                  </a:lnTo>
                  <a:lnTo>
                    <a:pt x="1234" y="1632"/>
                  </a:lnTo>
                  <a:lnTo>
                    <a:pt x="1360" y="1695"/>
                  </a:lnTo>
                  <a:lnTo>
                    <a:pt x="1444" y="1737"/>
                  </a:lnTo>
                  <a:lnTo>
                    <a:pt x="1486" y="1716"/>
                  </a:lnTo>
                  <a:lnTo>
                    <a:pt x="1527" y="1632"/>
                  </a:lnTo>
                  <a:lnTo>
                    <a:pt x="1465" y="1569"/>
                  </a:lnTo>
                  <a:lnTo>
                    <a:pt x="1360" y="1507"/>
                  </a:lnTo>
                  <a:lnTo>
                    <a:pt x="1360" y="1486"/>
                  </a:lnTo>
                  <a:lnTo>
                    <a:pt x="1381" y="1465"/>
                  </a:lnTo>
                  <a:lnTo>
                    <a:pt x="1465" y="1507"/>
                  </a:lnTo>
                  <a:lnTo>
                    <a:pt x="1548" y="1632"/>
                  </a:lnTo>
                  <a:lnTo>
                    <a:pt x="1548" y="1737"/>
                  </a:lnTo>
                  <a:lnTo>
                    <a:pt x="1590" y="1737"/>
                  </a:lnTo>
                  <a:lnTo>
                    <a:pt x="1632" y="1779"/>
                  </a:lnTo>
                  <a:lnTo>
                    <a:pt x="1674" y="1820"/>
                  </a:lnTo>
                  <a:lnTo>
                    <a:pt x="1737" y="1820"/>
                  </a:lnTo>
                  <a:lnTo>
                    <a:pt x="1758" y="1779"/>
                  </a:lnTo>
                  <a:lnTo>
                    <a:pt x="1758" y="1695"/>
                  </a:lnTo>
                  <a:lnTo>
                    <a:pt x="1737" y="1632"/>
                  </a:lnTo>
                  <a:lnTo>
                    <a:pt x="1737" y="1590"/>
                  </a:lnTo>
                  <a:lnTo>
                    <a:pt x="1758" y="1486"/>
                  </a:lnTo>
                  <a:lnTo>
                    <a:pt x="1841" y="1423"/>
                  </a:lnTo>
                  <a:lnTo>
                    <a:pt x="1779" y="1318"/>
                  </a:lnTo>
                  <a:lnTo>
                    <a:pt x="1695" y="1297"/>
                  </a:lnTo>
                  <a:lnTo>
                    <a:pt x="1737" y="1214"/>
                  </a:lnTo>
                  <a:lnTo>
                    <a:pt x="1779" y="1151"/>
                  </a:lnTo>
                  <a:lnTo>
                    <a:pt x="1779" y="1046"/>
                  </a:lnTo>
                  <a:lnTo>
                    <a:pt x="1841" y="983"/>
                  </a:lnTo>
                  <a:lnTo>
                    <a:pt x="1946" y="983"/>
                  </a:lnTo>
                  <a:lnTo>
                    <a:pt x="1946" y="962"/>
                  </a:lnTo>
                  <a:lnTo>
                    <a:pt x="1862" y="900"/>
                  </a:lnTo>
                  <a:lnTo>
                    <a:pt x="1758" y="879"/>
                  </a:lnTo>
                  <a:lnTo>
                    <a:pt x="1695" y="795"/>
                  </a:lnTo>
                  <a:lnTo>
                    <a:pt x="1653" y="732"/>
                  </a:lnTo>
                  <a:lnTo>
                    <a:pt x="1548" y="586"/>
                  </a:lnTo>
                  <a:lnTo>
                    <a:pt x="1465" y="481"/>
                  </a:lnTo>
                  <a:lnTo>
                    <a:pt x="1465" y="356"/>
                  </a:lnTo>
                  <a:lnTo>
                    <a:pt x="1423" y="251"/>
                  </a:lnTo>
                  <a:lnTo>
                    <a:pt x="1360" y="272"/>
                  </a:lnTo>
                  <a:lnTo>
                    <a:pt x="1339" y="335"/>
                  </a:lnTo>
                  <a:lnTo>
                    <a:pt x="1234" y="335"/>
                  </a:lnTo>
                  <a:lnTo>
                    <a:pt x="1255" y="272"/>
                  </a:lnTo>
                  <a:lnTo>
                    <a:pt x="1172" y="272"/>
                  </a:lnTo>
                  <a:lnTo>
                    <a:pt x="1130" y="314"/>
                  </a:lnTo>
                  <a:lnTo>
                    <a:pt x="1025" y="209"/>
                  </a:lnTo>
                  <a:lnTo>
                    <a:pt x="1025" y="146"/>
                  </a:lnTo>
                  <a:lnTo>
                    <a:pt x="942" y="126"/>
                  </a:lnTo>
                  <a:lnTo>
                    <a:pt x="858" y="42"/>
                  </a:lnTo>
                  <a:lnTo>
                    <a:pt x="711" y="42"/>
                  </a:lnTo>
                  <a:lnTo>
                    <a:pt x="607" y="63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2" name="Google Shape;792;p34"/>
            <p:cNvSpPr/>
            <p:nvPr/>
          </p:nvSpPr>
          <p:spPr>
            <a:xfrm>
              <a:off x="3150875" y="3043494"/>
              <a:ext cx="32150" cy="30467"/>
            </a:xfrm>
            <a:custGeom>
              <a:avLst/>
              <a:gdLst/>
              <a:ahLst/>
              <a:cxnLst/>
              <a:rect l="l" t="t" r="r" b="b"/>
              <a:pathLst>
                <a:path w="2700" h="2679" extrusionOk="0">
                  <a:moveTo>
                    <a:pt x="2470" y="1"/>
                  </a:moveTo>
                  <a:lnTo>
                    <a:pt x="2407" y="22"/>
                  </a:lnTo>
                  <a:lnTo>
                    <a:pt x="2386" y="105"/>
                  </a:lnTo>
                  <a:lnTo>
                    <a:pt x="2302" y="126"/>
                  </a:lnTo>
                  <a:lnTo>
                    <a:pt x="2198" y="210"/>
                  </a:lnTo>
                  <a:lnTo>
                    <a:pt x="2093" y="210"/>
                  </a:lnTo>
                  <a:lnTo>
                    <a:pt x="2072" y="294"/>
                  </a:lnTo>
                  <a:lnTo>
                    <a:pt x="1988" y="252"/>
                  </a:lnTo>
                  <a:lnTo>
                    <a:pt x="1884" y="294"/>
                  </a:lnTo>
                  <a:lnTo>
                    <a:pt x="1863" y="231"/>
                  </a:lnTo>
                  <a:lnTo>
                    <a:pt x="1779" y="189"/>
                  </a:lnTo>
                  <a:lnTo>
                    <a:pt x="1737" y="189"/>
                  </a:lnTo>
                  <a:lnTo>
                    <a:pt x="1696" y="294"/>
                  </a:lnTo>
                  <a:lnTo>
                    <a:pt x="1591" y="294"/>
                  </a:lnTo>
                  <a:lnTo>
                    <a:pt x="1528" y="419"/>
                  </a:lnTo>
                  <a:lnTo>
                    <a:pt x="1528" y="461"/>
                  </a:lnTo>
                  <a:lnTo>
                    <a:pt x="1465" y="503"/>
                  </a:lnTo>
                  <a:lnTo>
                    <a:pt x="1361" y="587"/>
                  </a:lnTo>
                  <a:lnTo>
                    <a:pt x="1235" y="649"/>
                  </a:lnTo>
                  <a:lnTo>
                    <a:pt x="1214" y="691"/>
                  </a:lnTo>
                  <a:lnTo>
                    <a:pt x="1131" y="670"/>
                  </a:lnTo>
                  <a:lnTo>
                    <a:pt x="1068" y="691"/>
                  </a:lnTo>
                  <a:lnTo>
                    <a:pt x="1005" y="649"/>
                  </a:lnTo>
                  <a:lnTo>
                    <a:pt x="859" y="628"/>
                  </a:lnTo>
                  <a:lnTo>
                    <a:pt x="691" y="733"/>
                  </a:lnTo>
                  <a:lnTo>
                    <a:pt x="503" y="754"/>
                  </a:lnTo>
                  <a:lnTo>
                    <a:pt x="503" y="859"/>
                  </a:lnTo>
                  <a:lnTo>
                    <a:pt x="503" y="942"/>
                  </a:lnTo>
                  <a:lnTo>
                    <a:pt x="482" y="1089"/>
                  </a:lnTo>
                  <a:lnTo>
                    <a:pt x="419" y="1172"/>
                  </a:lnTo>
                  <a:lnTo>
                    <a:pt x="294" y="1172"/>
                  </a:lnTo>
                  <a:lnTo>
                    <a:pt x="189" y="1193"/>
                  </a:lnTo>
                  <a:lnTo>
                    <a:pt x="189" y="1256"/>
                  </a:lnTo>
                  <a:lnTo>
                    <a:pt x="126" y="1256"/>
                  </a:lnTo>
                  <a:lnTo>
                    <a:pt x="22" y="1214"/>
                  </a:lnTo>
                  <a:lnTo>
                    <a:pt x="1" y="1256"/>
                  </a:lnTo>
                  <a:lnTo>
                    <a:pt x="210" y="1507"/>
                  </a:lnTo>
                  <a:lnTo>
                    <a:pt x="315" y="1591"/>
                  </a:lnTo>
                  <a:lnTo>
                    <a:pt x="315" y="1675"/>
                  </a:lnTo>
                  <a:lnTo>
                    <a:pt x="482" y="1821"/>
                  </a:lnTo>
                  <a:lnTo>
                    <a:pt x="628" y="2030"/>
                  </a:lnTo>
                  <a:lnTo>
                    <a:pt x="900" y="2323"/>
                  </a:lnTo>
                  <a:lnTo>
                    <a:pt x="963" y="2323"/>
                  </a:lnTo>
                  <a:lnTo>
                    <a:pt x="1026" y="2344"/>
                  </a:lnTo>
                  <a:lnTo>
                    <a:pt x="1068" y="2323"/>
                  </a:lnTo>
                  <a:lnTo>
                    <a:pt x="1068" y="2407"/>
                  </a:lnTo>
                  <a:lnTo>
                    <a:pt x="1131" y="2407"/>
                  </a:lnTo>
                  <a:lnTo>
                    <a:pt x="1319" y="2386"/>
                  </a:lnTo>
                  <a:lnTo>
                    <a:pt x="1633" y="2449"/>
                  </a:lnTo>
                  <a:lnTo>
                    <a:pt x="1737" y="2428"/>
                  </a:lnTo>
                  <a:lnTo>
                    <a:pt x="1884" y="2428"/>
                  </a:lnTo>
                  <a:lnTo>
                    <a:pt x="1947" y="2512"/>
                  </a:lnTo>
                  <a:lnTo>
                    <a:pt x="2009" y="2532"/>
                  </a:lnTo>
                  <a:lnTo>
                    <a:pt x="2009" y="2595"/>
                  </a:lnTo>
                  <a:lnTo>
                    <a:pt x="2156" y="2679"/>
                  </a:lnTo>
                  <a:lnTo>
                    <a:pt x="2198" y="2658"/>
                  </a:lnTo>
                  <a:lnTo>
                    <a:pt x="2260" y="2658"/>
                  </a:lnTo>
                  <a:lnTo>
                    <a:pt x="2302" y="2637"/>
                  </a:lnTo>
                  <a:lnTo>
                    <a:pt x="2281" y="2553"/>
                  </a:lnTo>
                  <a:lnTo>
                    <a:pt x="2219" y="2470"/>
                  </a:lnTo>
                  <a:lnTo>
                    <a:pt x="2198" y="2344"/>
                  </a:lnTo>
                  <a:lnTo>
                    <a:pt x="2281" y="2219"/>
                  </a:lnTo>
                  <a:lnTo>
                    <a:pt x="2302" y="2135"/>
                  </a:lnTo>
                  <a:lnTo>
                    <a:pt x="2302" y="2009"/>
                  </a:lnTo>
                  <a:lnTo>
                    <a:pt x="2281" y="2093"/>
                  </a:lnTo>
                  <a:lnTo>
                    <a:pt x="2260" y="2135"/>
                  </a:lnTo>
                  <a:lnTo>
                    <a:pt x="2198" y="2156"/>
                  </a:lnTo>
                  <a:lnTo>
                    <a:pt x="2198" y="2093"/>
                  </a:lnTo>
                  <a:lnTo>
                    <a:pt x="2219" y="2009"/>
                  </a:lnTo>
                  <a:lnTo>
                    <a:pt x="2281" y="1884"/>
                  </a:lnTo>
                  <a:lnTo>
                    <a:pt x="2260" y="1800"/>
                  </a:lnTo>
                  <a:lnTo>
                    <a:pt x="2260" y="1716"/>
                  </a:lnTo>
                  <a:lnTo>
                    <a:pt x="2344" y="1528"/>
                  </a:lnTo>
                  <a:lnTo>
                    <a:pt x="2386" y="1528"/>
                  </a:lnTo>
                  <a:lnTo>
                    <a:pt x="2365" y="1591"/>
                  </a:lnTo>
                  <a:lnTo>
                    <a:pt x="2365" y="1675"/>
                  </a:lnTo>
                  <a:lnTo>
                    <a:pt x="2365" y="1800"/>
                  </a:lnTo>
                  <a:lnTo>
                    <a:pt x="2386" y="1800"/>
                  </a:lnTo>
                  <a:lnTo>
                    <a:pt x="2428" y="1716"/>
                  </a:lnTo>
                  <a:lnTo>
                    <a:pt x="2470" y="1486"/>
                  </a:lnTo>
                  <a:lnTo>
                    <a:pt x="2470" y="1214"/>
                  </a:lnTo>
                  <a:lnTo>
                    <a:pt x="2491" y="1172"/>
                  </a:lnTo>
                  <a:lnTo>
                    <a:pt x="2428" y="1089"/>
                  </a:lnTo>
                  <a:lnTo>
                    <a:pt x="2407" y="1068"/>
                  </a:lnTo>
                  <a:lnTo>
                    <a:pt x="2407" y="1005"/>
                  </a:lnTo>
                  <a:lnTo>
                    <a:pt x="2470" y="963"/>
                  </a:lnTo>
                  <a:lnTo>
                    <a:pt x="2491" y="963"/>
                  </a:lnTo>
                  <a:lnTo>
                    <a:pt x="2512" y="984"/>
                  </a:lnTo>
                  <a:lnTo>
                    <a:pt x="2533" y="838"/>
                  </a:lnTo>
                  <a:lnTo>
                    <a:pt x="2637" y="691"/>
                  </a:lnTo>
                  <a:lnTo>
                    <a:pt x="2700" y="628"/>
                  </a:lnTo>
                  <a:lnTo>
                    <a:pt x="2700" y="566"/>
                  </a:lnTo>
                  <a:lnTo>
                    <a:pt x="2637" y="524"/>
                  </a:lnTo>
                  <a:lnTo>
                    <a:pt x="2637" y="461"/>
                  </a:lnTo>
                  <a:lnTo>
                    <a:pt x="2679" y="377"/>
                  </a:lnTo>
                  <a:lnTo>
                    <a:pt x="2637" y="273"/>
                  </a:lnTo>
                  <a:lnTo>
                    <a:pt x="2637" y="126"/>
                  </a:lnTo>
                  <a:lnTo>
                    <a:pt x="2679" y="63"/>
                  </a:lnTo>
                  <a:lnTo>
                    <a:pt x="2700" y="43"/>
                  </a:lnTo>
                  <a:lnTo>
                    <a:pt x="2533" y="43"/>
                  </a:lnTo>
                  <a:lnTo>
                    <a:pt x="251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3" name="Google Shape;793;p34"/>
            <p:cNvSpPr/>
            <p:nvPr/>
          </p:nvSpPr>
          <p:spPr>
            <a:xfrm>
              <a:off x="3140409" y="3037308"/>
              <a:ext cx="43617" cy="20948"/>
            </a:xfrm>
            <a:custGeom>
              <a:avLst/>
              <a:gdLst/>
              <a:ahLst/>
              <a:cxnLst/>
              <a:rect l="l" t="t" r="r" b="b"/>
              <a:pathLst>
                <a:path w="3663" h="1842" extrusionOk="0">
                  <a:moveTo>
                    <a:pt x="1926" y="1"/>
                  </a:moveTo>
                  <a:lnTo>
                    <a:pt x="1905" y="43"/>
                  </a:lnTo>
                  <a:lnTo>
                    <a:pt x="1968" y="105"/>
                  </a:lnTo>
                  <a:lnTo>
                    <a:pt x="1863" y="126"/>
                  </a:lnTo>
                  <a:lnTo>
                    <a:pt x="1800" y="168"/>
                  </a:lnTo>
                  <a:lnTo>
                    <a:pt x="1696" y="147"/>
                  </a:lnTo>
                  <a:lnTo>
                    <a:pt x="1507" y="168"/>
                  </a:lnTo>
                  <a:lnTo>
                    <a:pt x="943" y="168"/>
                  </a:lnTo>
                  <a:lnTo>
                    <a:pt x="775" y="252"/>
                  </a:lnTo>
                  <a:lnTo>
                    <a:pt x="712" y="210"/>
                  </a:lnTo>
                  <a:lnTo>
                    <a:pt x="712" y="252"/>
                  </a:lnTo>
                  <a:lnTo>
                    <a:pt x="629" y="315"/>
                  </a:lnTo>
                  <a:lnTo>
                    <a:pt x="566" y="419"/>
                  </a:lnTo>
                  <a:lnTo>
                    <a:pt x="419" y="482"/>
                  </a:lnTo>
                  <a:lnTo>
                    <a:pt x="336" y="482"/>
                  </a:lnTo>
                  <a:lnTo>
                    <a:pt x="189" y="649"/>
                  </a:lnTo>
                  <a:lnTo>
                    <a:pt x="106" y="754"/>
                  </a:lnTo>
                  <a:lnTo>
                    <a:pt x="126" y="838"/>
                  </a:lnTo>
                  <a:lnTo>
                    <a:pt x="43" y="984"/>
                  </a:lnTo>
                  <a:lnTo>
                    <a:pt x="1" y="1047"/>
                  </a:lnTo>
                  <a:lnTo>
                    <a:pt x="43" y="1005"/>
                  </a:lnTo>
                  <a:lnTo>
                    <a:pt x="126" y="1047"/>
                  </a:lnTo>
                  <a:lnTo>
                    <a:pt x="147" y="1068"/>
                  </a:lnTo>
                  <a:lnTo>
                    <a:pt x="210" y="1089"/>
                  </a:lnTo>
                  <a:lnTo>
                    <a:pt x="252" y="1151"/>
                  </a:lnTo>
                  <a:lnTo>
                    <a:pt x="399" y="1110"/>
                  </a:lnTo>
                  <a:lnTo>
                    <a:pt x="503" y="1151"/>
                  </a:lnTo>
                  <a:lnTo>
                    <a:pt x="566" y="1256"/>
                  </a:lnTo>
                  <a:lnTo>
                    <a:pt x="608" y="1298"/>
                  </a:lnTo>
                  <a:lnTo>
                    <a:pt x="650" y="1361"/>
                  </a:lnTo>
                  <a:lnTo>
                    <a:pt x="671" y="1298"/>
                  </a:lnTo>
                  <a:lnTo>
                    <a:pt x="712" y="1256"/>
                  </a:lnTo>
                  <a:lnTo>
                    <a:pt x="817" y="1214"/>
                  </a:lnTo>
                  <a:lnTo>
                    <a:pt x="859" y="1256"/>
                  </a:lnTo>
                  <a:lnTo>
                    <a:pt x="943" y="1277"/>
                  </a:lnTo>
                  <a:lnTo>
                    <a:pt x="943" y="1382"/>
                  </a:lnTo>
                  <a:lnTo>
                    <a:pt x="922" y="1486"/>
                  </a:lnTo>
                  <a:lnTo>
                    <a:pt x="922" y="1507"/>
                  </a:lnTo>
                  <a:lnTo>
                    <a:pt x="880" y="1612"/>
                  </a:lnTo>
                  <a:lnTo>
                    <a:pt x="922" y="1675"/>
                  </a:lnTo>
                  <a:lnTo>
                    <a:pt x="963" y="1696"/>
                  </a:lnTo>
                  <a:lnTo>
                    <a:pt x="984" y="1716"/>
                  </a:lnTo>
                  <a:lnTo>
                    <a:pt x="1047" y="1716"/>
                  </a:lnTo>
                  <a:lnTo>
                    <a:pt x="1068" y="1696"/>
                  </a:lnTo>
                  <a:lnTo>
                    <a:pt x="1131" y="1716"/>
                  </a:lnTo>
                  <a:lnTo>
                    <a:pt x="1131" y="1800"/>
                  </a:lnTo>
                  <a:lnTo>
                    <a:pt x="1152" y="1842"/>
                  </a:lnTo>
                  <a:lnTo>
                    <a:pt x="1256" y="1821"/>
                  </a:lnTo>
                  <a:lnTo>
                    <a:pt x="1382" y="1821"/>
                  </a:lnTo>
                  <a:lnTo>
                    <a:pt x="1445" y="1737"/>
                  </a:lnTo>
                  <a:lnTo>
                    <a:pt x="1445" y="1591"/>
                  </a:lnTo>
                  <a:lnTo>
                    <a:pt x="1445" y="1507"/>
                  </a:lnTo>
                  <a:lnTo>
                    <a:pt x="1445" y="1403"/>
                  </a:lnTo>
                  <a:lnTo>
                    <a:pt x="1612" y="1382"/>
                  </a:lnTo>
                  <a:lnTo>
                    <a:pt x="1800" y="1277"/>
                  </a:lnTo>
                  <a:lnTo>
                    <a:pt x="1926" y="1298"/>
                  </a:lnTo>
                  <a:lnTo>
                    <a:pt x="2010" y="1361"/>
                  </a:lnTo>
                  <a:lnTo>
                    <a:pt x="2072" y="1361"/>
                  </a:lnTo>
                  <a:lnTo>
                    <a:pt x="2135" y="1382"/>
                  </a:lnTo>
                  <a:lnTo>
                    <a:pt x="2177" y="1298"/>
                  </a:lnTo>
                  <a:lnTo>
                    <a:pt x="2303" y="1277"/>
                  </a:lnTo>
                  <a:lnTo>
                    <a:pt x="2407" y="1151"/>
                  </a:lnTo>
                  <a:lnTo>
                    <a:pt x="2449" y="1110"/>
                  </a:lnTo>
                  <a:lnTo>
                    <a:pt x="2491" y="1068"/>
                  </a:lnTo>
                  <a:lnTo>
                    <a:pt x="2554" y="900"/>
                  </a:lnTo>
                  <a:lnTo>
                    <a:pt x="2658" y="900"/>
                  </a:lnTo>
                  <a:lnTo>
                    <a:pt x="2700" y="796"/>
                  </a:lnTo>
                  <a:lnTo>
                    <a:pt x="2742" y="796"/>
                  </a:lnTo>
                  <a:lnTo>
                    <a:pt x="2826" y="879"/>
                  </a:lnTo>
                  <a:lnTo>
                    <a:pt x="2847" y="900"/>
                  </a:lnTo>
                  <a:lnTo>
                    <a:pt x="2951" y="900"/>
                  </a:lnTo>
                  <a:lnTo>
                    <a:pt x="3035" y="942"/>
                  </a:lnTo>
                  <a:lnTo>
                    <a:pt x="3056" y="859"/>
                  </a:lnTo>
                  <a:lnTo>
                    <a:pt x="3139" y="859"/>
                  </a:lnTo>
                  <a:lnTo>
                    <a:pt x="3244" y="775"/>
                  </a:lnTo>
                  <a:lnTo>
                    <a:pt x="3328" y="754"/>
                  </a:lnTo>
                  <a:lnTo>
                    <a:pt x="3349" y="670"/>
                  </a:lnTo>
                  <a:lnTo>
                    <a:pt x="3391" y="649"/>
                  </a:lnTo>
                  <a:lnTo>
                    <a:pt x="3453" y="649"/>
                  </a:lnTo>
                  <a:lnTo>
                    <a:pt x="3474" y="670"/>
                  </a:lnTo>
                  <a:lnTo>
                    <a:pt x="3642" y="670"/>
                  </a:lnTo>
                  <a:lnTo>
                    <a:pt x="3663" y="628"/>
                  </a:lnTo>
                  <a:lnTo>
                    <a:pt x="3642" y="566"/>
                  </a:lnTo>
                  <a:lnTo>
                    <a:pt x="3495" y="461"/>
                  </a:lnTo>
                  <a:lnTo>
                    <a:pt x="3370" y="419"/>
                  </a:lnTo>
                  <a:lnTo>
                    <a:pt x="3370" y="419"/>
                  </a:lnTo>
                  <a:lnTo>
                    <a:pt x="3432" y="524"/>
                  </a:lnTo>
                  <a:lnTo>
                    <a:pt x="3286" y="524"/>
                  </a:lnTo>
                  <a:lnTo>
                    <a:pt x="3139" y="482"/>
                  </a:lnTo>
                  <a:lnTo>
                    <a:pt x="3077" y="461"/>
                  </a:lnTo>
                  <a:lnTo>
                    <a:pt x="2972" y="440"/>
                  </a:lnTo>
                  <a:lnTo>
                    <a:pt x="2867" y="440"/>
                  </a:lnTo>
                  <a:lnTo>
                    <a:pt x="2909" y="377"/>
                  </a:lnTo>
                  <a:lnTo>
                    <a:pt x="2972" y="377"/>
                  </a:lnTo>
                  <a:lnTo>
                    <a:pt x="2972" y="315"/>
                  </a:lnTo>
                  <a:lnTo>
                    <a:pt x="3035" y="315"/>
                  </a:lnTo>
                  <a:lnTo>
                    <a:pt x="3119" y="335"/>
                  </a:lnTo>
                  <a:lnTo>
                    <a:pt x="3265" y="377"/>
                  </a:lnTo>
                  <a:lnTo>
                    <a:pt x="3286" y="356"/>
                  </a:lnTo>
                  <a:lnTo>
                    <a:pt x="3181" y="273"/>
                  </a:lnTo>
                  <a:lnTo>
                    <a:pt x="3035" y="210"/>
                  </a:lnTo>
                  <a:lnTo>
                    <a:pt x="2951" y="168"/>
                  </a:lnTo>
                  <a:lnTo>
                    <a:pt x="2847" y="210"/>
                  </a:lnTo>
                  <a:lnTo>
                    <a:pt x="2805" y="168"/>
                  </a:lnTo>
                  <a:lnTo>
                    <a:pt x="2763" y="252"/>
                  </a:lnTo>
                  <a:lnTo>
                    <a:pt x="2700" y="210"/>
                  </a:lnTo>
                  <a:lnTo>
                    <a:pt x="2428" y="168"/>
                  </a:lnTo>
                  <a:lnTo>
                    <a:pt x="2198" y="147"/>
                  </a:lnTo>
                  <a:lnTo>
                    <a:pt x="2072" y="43"/>
                  </a:lnTo>
                  <a:lnTo>
                    <a:pt x="19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4" name="Google Shape;794;p34"/>
            <p:cNvSpPr/>
            <p:nvPr/>
          </p:nvSpPr>
          <p:spPr>
            <a:xfrm>
              <a:off x="3134431" y="3048737"/>
              <a:ext cx="17206" cy="9519"/>
            </a:xfrm>
            <a:custGeom>
              <a:avLst/>
              <a:gdLst/>
              <a:ahLst/>
              <a:cxnLst/>
              <a:rect l="l" t="t" r="r" b="b"/>
              <a:pathLst>
                <a:path w="1445" h="837" extrusionOk="0">
                  <a:moveTo>
                    <a:pt x="545" y="0"/>
                  </a:moveTo>
                  <a:lnTo>
                    <a:pt x="503" y="42"/>
                  </a:lnTo>
                  <a:lnTo>
                    <a:pt x="398" y="105"/>
                  </a:lnTo>
                  <a:lnTo>
                    <a:pt x="398" y="167"/>
                  </a:lnTo>
                  <a:lnTo>
                    <a:pt x="294" y="188"/>
                  </a:lnTo>
                  <a:lnTo>
                    <a:pt x="168" y="251"/>
                  </a:lnTo>
                  <a:lnTo>
                    <a:pt x="64" y="356"/>
                  </a:lnTo>
                  <a:lnTo>
                    <a:pt x="64" y="398"/>
                  </a:lnTo>
                  <a:lnTo>
                    <a:pt x="1" y="481"/>
                  </a:lnTo>
                  <a:lnTo>
                    <a:pt x="168" y="481"/>
                  </a:lnTo>
                  <a:lnTo>
                    <a:pt x="273" y="586"/>
                  </a:lnTo>
                  <a:lnTo>
                    <a:pt x="398" y="607"/>
                  </a:lnTo>
                  <a:lnTo>
                    <a:pt x="440" y="607"/>
                  </a:lnTo>
                  <a:lnTo>
                    <a:pt x="649" y="691"/>
                  </a:lnTo>
                  <a:lnTo>
                    <a:pt x="838" y="795"/>
                  </a:lnTo>
                  <a:lnTo>
                    <a:pt x="859" y="732"/>
                  </a:lnTo>
                  <a:lnTo>
                    <a:pt x="796" y="691"/>
                  </a:lnTo>
                  <a:lnTo>
                    <a:pt x="817" y="670"/>
                  </a:lnTo>
                  <a:lnTo>
                    <a:pt x="921" y="670"/>
                  </a:lnTo>
                  <a:lnTo>
                    <a:pt x="1005" y="795"/>
                  </a:lnTo>
                  <a:lnTo>
                    <a:pt x="1068" y="837"/>
                  </a:lnTo>
                  <a:lnTo>
                    <a:pt x="1340" y="837"/>
                  </a:lnTo>
                  <a:lnTo>
                    <a:pt x="1424" y="732"/>
                  </a:lnTo>
                  <a:lnTo>
                    <a:pt x="1382" y="691"/>
                  </a:lnTo>
                  <a:lnTo>
                    <a:pt x="1424" y="670"/>
                  </a:lnTo>
                  <a:lnTo>
                    <a:pt x="1382" y="607"/>
                  </a:lnTo>
                  <a:lnTo>
                    <a:pt x="1424" y="502"/>
                  </a:lnTo>
                  <a:lnTo>
                    <a:pt x="1424" y="481"/>
                  </a:lnTo>
                  <a:lnTo>
                    <a:pt x="1445" y="377"/>
                  </a:lnTo>
                  <a:lnTo>
                    <a:pt x="1445" y="272"/>
                  </a:lnTo>
                  <a:lnTo>
                    <a:pt x="1361" y="251"/>
                  </a:lnTo>
                  <a:lnTo>
                    <a:pt x="1319" y="209"/>
                  </a:lnTo>
                  <a:lnTo>
                    <a:pt x="1214" y="251"/>
                  </a:lnTo>
                  <a:lnTo>
                    <a:pt x="1173" y="293"/>
                  </a:lnTo>
                  <a:lnTo>
                    <a:pt x="1152" y="356"/>
                  </a:lnTo>
                  <a:lnTo>
                    <a:pt x="1110" y="293"/>
                  </a:lnTo>
                  <a:lnTo>
                    <a:pt x="1068" y="251"/>
                  </a:lnTo>
                  <a:lnTo>
                    <a:pt x="1005" y="146"/>
                  </a:lnTo>
                  <a:lnTo>
                    <a:pt x="901" y="105"/>
                  </a:lnTo>
                  <a:lnTo>
                    <a:pt x="754" y="146"/>
                  </a:lnTo>
                  <a:lnTo>
                    <a:pt x="712" y="84"/>
                  </a:lnTo>
                  <a:lnTo>
                    <a:pt x="649" y="63"/>
                  </a:lnTo>
                  <a:lnTo>
                    <a:pt x="628" y="42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5" name="Google Shape;795;p34"/>
            <p:cNvSpPr/>
            <p:nvPr/>
          </p:nvSpPr>
          <p:spPr>
            <a:xfrm>
              <a:off x="3142159" y="3021841"/>
              <a:ext cx="7978" cy="16672"/>
            </a:xfrm>
            <a:custGeom>
              <a:avLst/>
              <a:gdLst/>
              <a:ahLst/>
              <a:cxnLst/>
              <a:rect l="l" t="t" r="r" b="b"/>
              <a:pathLst>
                <a:path w="670" h="1466" extrusionOk="0">
                  <a:moveTo>
                    <a:pt x="398" y="1"/>
                  </a:moveTo>
                  <a:lnTo>
                    <a:pt x="377" y="43"/>
                  </a:lnTo>
                  <a:lnTo>
                    <a:pt x="356" y="147"/>
                  </a:lnTo>
                  <a:lnTo>
                    <a:pt x="272" y="231"/>
                  </a:lnTo>
                  <a:lnTo>
                    <a:pt x="272" y="252"/>
                  </a:lnTo>
                  <a:lnTo>
                    <a:pt x="210" y="273"/>
                  </a:lnTo>
                  <a:lnTo>
                    <a:pt x="189" y="315"/>
                  </a:lnTo>
                  <a:lnTo>
                    <a:pt x="168" y="273"/>
                  </a:lnTo>
                  <a:lnTo>
                    <a:pt x="168" y="231"/>
                  </a:lnTo>
                  <a:lnTo>
                    <a:pt x="84" y="231"/>
                  </a:lnTo>
                  <a:lnTo>
                    <a:pt x="42" y="273"/>
                  </a:lnTo>
                  <a:lnTo>
                    <a:pt x="0" y="356"/>
                  </a:lnTo>
                  <a:lnTo>
                    <a:pt x="0" y="1423"/>
                  </a:lnTo>
                  <a:lnTo>
                    <a:pt x="84" y="1423"/>
                  </a:lnTo>
                  <a:lnTo>
                    <a:pt x="105" y="1465"/>
                  </a:lnTo>
                  <a:lnTo>
                    <a:pt x="168" y="1465"/>
                  </a:lnTo>
                  <a:lnTo>
                    <a:pt x="210" y="1361"/>
                  </a:lnTo>
                  <a:lnTo>
                    <a:pt x="314" y="1256"/>
                  </a:lnTo>
                  <a:lnTo>
                    <a:pt x="398" y="1298"/>
                  </a:lnTo>
                  <a:lnTo>
                    <a:pt x="565" y="1068"/>
                  </a:lnTo>
                  <a:lnTo>
                    <a:pt x="607" y="900"/>
                  </a:lnTo>
                  <a:lnTo>
                    <a:pt x="607" y="733"/>
                  </a:lnTo>
                  <a:lnTo>
                    <a:pt x="565" y="670"/>
                  </a:lnTo>
                  <a:lnTo>
                    <a:pt x="586" y="482"/>
                  </a:lnTo>
                  <a:lnTo>
                    <a:pt x="628" y="377"/>
                  </a:lnTo>
                  <a:lnTo>
                    <a:pt x="670" y="105"/>
                  </a:lnTo>
                  <a:lnTo>
                    <a:pt x="670" y="43"/>
                  </a:lnTo>
                  <a:lnTo>
                    <a:pt x="670" y="1"/>
                  </a:lnTo>
                  <a:lnTo>
                    <a:pt x="586" y="1"/>
                  </a:lnTo>
                  <a:lnTo>
                    <a:pt x="524" y="43"/>
                  </a:lnTo>
                  <a:lnTo>
                    <a:pt x="5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6" name="Google Shape;796;p34"/>
            <p:cNvSpPr/>
            <p:nvPr/>
          </p:nvSpPr>
          <p:spPr>
            <a:xfrm>
              <a:off x="3120487" y="3025651"/>
              <a:ext cx="28411" cy="28568"/>
            </a:xfrm>
            <a:custGeom>
              <a:avLst/>
              <a:gdLst/>
              <a:ahLst/>
              <a:cxnLst/>
              <a:rect l="l" t="t" r="r" b="b"/>
              <a:pathLst>
                <a:path w="2386" h="2512" extrusionOk="0">
                  <a:moveTo>
                    <a:pt x="837" y="0"/>
                  </a:moveTo>
                  <a:lnTo>
                    <a:pt x="816" y="314"/>
                  </a:lnTo>
                  <a:lnTo>
                    <a:pt x="565" y="335"/>
                  </a:lnTo>
                  <a:lnTo>
                    <a:pt x="649" y="419"/>
                  </a:lnTo>
                  <a:lnTo>
                    <a:pt x="670" y="461"/>
                  </a:lnTo>
                  <a:lnTo>
                    <a:pt x="774" y="565"/>
                  </a:lnTo>
                  <a:lnTo>
                    <a:pt x="858" y="649"/>
                  </a:lnTo>
                  <a:lnTo>
                    <a:pt x="942" y="649"/>
                  </a:lnTo>
                  <a:lnTo>
                    <a:pt x="963" y="712"/>
                  </a:lnTo>
                  <a:lnTo>
                    <a:pt x="983" y="816"/>
                  </a:lnTo>
                  <a:lnTo>
                    <a:pt x="1025" y="837"/>
                  </a:lnTo>
                  <a:lnTo>
                    <a:pt x="1130" y="858"/>
                  </a:lnTo>
                  <a:lnTo>
                    <a:pt x="1193" y="879"/>
                  </a:lnTo>
                  <a:lnTo>
                    <a:pt x="1193" y="963"/>
                  </a:lnTo>
                  <a:lnTo>
                    <a:pt x="1130" y="1026"/>
                  </a:lnTo>
                  <a:lnTo>
                    <a:pt x="398" y="1026"/>
                  </a:lnTo>
                  <a:lnTo>
                    <a:pt x="42" y="1570"/>
                  </a:lnTo>
                  <a:lnTo>
                    <a:pt x="42" y="1674"/>
                  </a:lnTo>
                  <a:lnTo>
                    <a:pt x="84" y="1695"/>
                  </a:lnTo>
                  <a:lnTo>
                    <a:pt x="42" y="1758"/>
                  </a:lnTo>
                  <a:lnTo>
                    <a:pt x="84" y="1800"/>
                  </a:lnTo>
                  <a:lnTo>
                    <a:pt x="105" y="1821"/>
                  </a:lnTo>
                  <a:lnTo>
                    <a:pt x="105" y="1863"/>
                  </a:lnTo>
                  <a:lnTo>
                    <a:pt x="42" y="1904"/>
                  </a:lnTo>
                  <a:lnTo>
                    <a:pt x="21" y="1967"/>
                  </a:lnTo>
                  <a:lnTo>
                    <a:pt x="0" y="1988"/>
                  </a:lnTo>
                  <a:lnTo>
                    <a:pt x="105" y="2093"/>
                  </a:lnTo>
                  <a:lnTo>
                    <a:pt x="147" y="2218"/>
                  </a:lnTo>
                  <a:lnTo>
                    <a:pt x="251" y="2218"/>
                  </a:lnTo>
                  <a:lnTo>
                    <a:pt x="335" y="2323"/>
                  </a:lnTo>
                  <a:lnTo>
                    <a:pt x="628" y="2428"/>
                  </a:lnTo>
                  <a:lnTo>
                    <a:pt x="942" y="2428"/>
                  </a:lnTo>
                  <a:lnTo>
                    <a:pt x="1172" y="2511"/>
                  </a:lnTo>
                  <a:lnTo>
                    <a:pt x="1235" y="2428"/>
                  </a:lnTo>
                  <a:lnTo>
                    <a:pt x="1235" y="2386"/>
                  </a:lnTo>
                  <a:lnTo>
                    <a:pt x="1339" y="2281"/>
                  </a:lnTo>
                  <a:lnTo>
                    <a:pt x="1465" y="2218"/>
                  </a:lnTo>
                  <a:lnTo>
                    <a:pt x="1569" y="2197"/>
                  </a:lnTo>
                  <a:lnTo>
                    <a:pt x="1569" y="2135"/>
                  </a:lnTo>
                  <a:lnTo>
                    <a:pt x="1716" y="2009"/>
                  </a:lnTo>
                  <a:lnTo>
                    <a:pt x="1799" y="1863"/>
                  </a:lnTo>
                  <a:lnTo>
                    <a:pt x="1779" y="1779"/>
                  </a:lnTo>
                  <a:lnTo>
                    <a:pt x="1862" y="1674"/>
                  </a:lnTo>
                  <a:lnTo>
                    <a:pt x="2009" y="1507"/>
                  </a:lnTo>
                  <a:lnTo>
                    <a:pt x="2092" y="1507"/>
                  </a:lnTo>
                  <a:lnTo>
                    <a:pt x="2239" y="1444"/>
                  </a:lnTo>
                  <a:lnTo>
                    <a:pt x="2302" y="1340"/>
                  </a:lnTo>
                  <a:lnTo>
                    <a:pt x="2385" y="1277"/>
                  </a:lnTo>
                  <a:lnTo>
                    <a:pt x="2385" y="1235"/>
                  </a:lnTo>
                  <a:lnTo>
                    <a:pt x="2344" y="1172"/>
                  </a:lnTo>
                  <a:lnTo>
                    <a:pt x="2239" y="1172"/>
                  </a:lnTo>
                  <a:lnTo>
                    <a:pt x="2218" y="1256"/>
                  </a:lnTo>
                  <a:lnTo>
                    <a:pt x="2113" y="1172"/>
                  </a:lnTo>
                  <a:lnTo>
                    <a:pt x="2030" y="1172"/>
                  </a:lnTo>
                  <a:lnTo>
                    <a:pt x="1988" y="1130"/>
                  </a:lnTo>
                  <a:lnTo>
                    <a:pt x="1925" y="1130"/>
                  </a:lnTo>
                  <a:lnTo>
                    <a:pt x="1904" y="1088"/>
                  </a:lnTo>
                  <a:lnTo>
                    <a:pt x="1820" y="1088"/>
                  </a:lnTo>
                  <a:lnTo>
                    <a:pt x="1820" y="21"/>
                  </a:lnTo>
                  <a:lnTo>
                    <a:pt x="83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7" name="Google Shape;797;p34"/>
            <p:cNvSpPr/>
            <p:nvPr/>
          </p:nvSpPr>
          <p:spPr>
            <a:xfrm>
              <a:off x="2965761" y="2909287"/>
              <a:ext cx="196343" cy="138983"/>
            </a:xfrm>
            <a:custGeom>
              <a:avLst/>
              <a:gdLst/>
              <a:ahLst/>
              <a:cxnLst/>
              <a:rect l="l" t="t" r="r" b="b"/>
              <a:pathLst>
                <a:path w="16489" h="12221" extrusionOk="0">
                  <a:moveTo>
                    <a:pt x="1381" y="1"/>
                  </a:moveTo>
                  <a:lnTo>
                    <a:pt x="1" y="22"/>
                  </a:lnTo>
                  <a:lnTo>
                    <a:pt x="21" y="168"/>
                  </a:lnTo>
                  <a:lnTo>
                    <a:pt x="105" y="482"/>
                  </a:lnTo>
                  <a:lnTo>
                    <a:pt x="168" y="587"/>
                  </a:lnTo>
                  <a:lnTo>
                    <a:pt x="231" y="691"/>
                  </a:lnTo>
                  <a:lnTo>
                    <a:pt x="168" y="712"/>
                  </a:lnTo>
                  <a:lnTo>
                    <a:pt x="168" y="796"/>
                  </a:lnTo>
                  <a:lnTo>
                    <a:pt x="189" y="901"/>
                  </a:lnTo>
                  <a:lnTo>
                    <a:pt x="356" y="1110"/>
                  </a:lnTo>
                  <a:lnTo>
                    <a:pt x="356" y="1152"/>
                  </a:lnTo>
                  <a:lnTo>
                    <a:pt x="314" y="1173"/>
                  </a:lnTo>
                  <a:lnTo>
                    <a:pt x="335" y="1256"/>
                  </a:lnTo>
                  <a:lnTo>
                    <a:pt x="461" y="1361"/>
                  </a:lnTo>
                  <a:lnTo>
                    <a:pt x="482" y="1486"/>
                  </a:lnTo>
                  <a:lnTo>
                    <a:pt x="440" y="1549"/>
                  </a:lnTo>
                  <a:lnTo>
                    <a:pt x="440" y="1654"/>
                  </a:lnTo>
                  <a:lnTo>
                    <a:pt x="524" y="1696"/>
                  </a:lnTo>
                  <a:lnTo>
                    <a:pt x="545" y="1779"/>
                  </a:lnTo>
                  <a:lnTo>
                    <a:pt x="545" y="1968"/>
                  </a:lnTo>
                  <a:lnTo>
                    <a:pt x="586" y="2114"/>
                  </a:lnTo>
                  <a:lnTo>
                    <a:pt x="691" y="2219"/>
                  </a:lnTo>
                  <a:lnTo>
                    <a:pt x="754" y="2219"/>
                  </a:lnTo>
                  <a:lnTo>
                    <a:pt x="942" y="2386"/>
                  </a:lnTo>
                  <a:lnTo>
                    <a:pt x="1005" y="2512"/>
                  </a:lnTo>
                  <a:lnTo>
                    <a:pt x="1047" y="2595"/>
                  </a:lnTo>
                  <a:lnTo>
                    <a:pt x="1172" y="2721"/>
                  </a:lnTo>
                  <a:lnTo>
                    <a:pt x="1214" y="2909"/>
                  </a:lnTo>
                  <a:lnTo>
                    <a:pt x="1277" y="2930"/>
                  </a:lnTo>
                  <a:lnTo>
                    <a:pt x="1361" y="3056"/>
                  </a:lnTo>
                  <a:lnTo>
                    <a:pt x="1298" y="3139"/>
                  </a:lnTo>
                  <a:lnTo>
                    <a:pt x="1277" y="3202"/>
                  </a:lnTo>
                  <a:lnTo>
                    <a:pt x="1319" y="3265"/>
                  </a:lnTo>
                  <a:lnTo>
                    <a:pt x="1298" y="3349"/>
                  </a:lnTo>
                  <a:lnTo>
                    <a:pt x="1214" y="3328"/>
                  </a:lnTo>
                  <a:lnTo>
                    <a:pt x="1172" y="3411"/>
                  </a:lnTo>
                  <a:lnTo>
                    <a:pt x="1193" y="3432"/>
                  </a:lnTo>
                  <a:lnTo>
                    <a:pt x="1277" y="3432"/>
                  </a:lnTo>
                  <a:lnTo>
                    <a:pt x="1277" y="3516"/>
                  </a:lnTo>
                  <a:lnTo>
                    <a:pt x="1214" y="3558"/>
                  </a:lnTo>
                  <a:lnTo>
                    <a:pt x="1151" y="3516"/>
                  </a:lnTo>
                  <a:lnTo>
                    <a:pt x="1005" y="3516"/>
                  </a:lnTo>
                  <a:lnTo>
                    <a:pt x="900" y="3453"/>
                  </a:lnTo>
                  <a:lnTo>
                    <a:pt x="775" y="3474"/>
                  </a:lnTo>
                  <a:lnTo>
                    <a:pt x="712" y="3516"/>
                  </a:lnTo>
                  <a:lnTo>
                    <a:pt x="858" y="3662"/>
                  </a:lnTo>
                  <a:lnTo>
                    <a:pt x="963" y="3725"/>
                  </a:lnTo>
                  <a:lnTo>
                    <a:pt x="963" y="3830"/>
                  </a:lnTo>
                  <a:lnTo>
                    <a:pt x="1005" y="3934"/>
                  </a:lnTo>
                  <a:lnTo>
                    <a:pt x="1109" y="3955"/>
                  </a:lnTo>
                  <a:lnTo>
                    <a:pt x="1235" y="4039"/>
                  </a:lnTo>
                  <a:lnTo>
                    <a:pt x="1235" y="4081"/>
                  </a:lnTo>
                  <a:lnTo>
                    <a:pt x="1319" y="4081"/>
                  </a:lnTo>
                  <a:lnTo>
                    <a:pt x="1402" y="4102"/>
                  </a:lnTo>
                  <a:lnTo>
                    <a:pt x="1381" y="4144"/>
                  </a:lnTo>
                  <a:lnTo>
                    <a:pt x="1423" y="4206"/>
                  </a:lnTo>
                  <a:lnTo>
                    <a:pt x="1507" y="4186"/>
                  </a:lnTo>
                  <a:lnTo>
                    <a:pt x="1591" y="4186"/>
                  </a:lnTo>
                  <a:lnTo>
                    <a:pt x="1674" y="4081"/>
                  </a:lnTo>
                  <a:lnTo>
                    <a:pt x="1716" y="4081"/>
                  </a:lnTo>
                  <a:lnTo>
                    <a:pt x="1695" y="4186"/>
                  </a:lnTo>
                  <a:lnTo>
                    <a:pt x="1716" y="4374"/>
                  </a:lnTo>
                  <a:lnTo>
                    <a:pt x="1905" y="4562"/>
                  </a:lnTo>
                  <a:lnTo>
                    <a:pt x="2009" y="4583"/>
                  </a:lnTo>
                  <a:lnTo>
                    <a:pt x="2051" y="4583"/>
                  </a:lnTo>
                  <a:lnTo>
                    <a:pt x="2114" y="4667"/>
                  </a:lnTo>
                  <a:lnTo>
                    <a:pt x="2197" y="4897"/>
                  </a:lnTo>
                  <a:lnTo>
                    <a:pt x="2197" y="5127"/>
                  </a:lnTo>
                  <a:lnTo>
                    <a:pt x="2156" y="5315"/>
                  </a:lnTo>
                  <a:lnTo>
                    <a:pt x="2051" y="5462"/>
                  </a:lnTo>
                  <a:lnTo>
                    <a:pt x="2093" y="5546"/>
                  </a:lnTo>
                  <a:lnTo>
                    <a:pt x="2197" y="5650"/>
                  </a:lnTo>
                  <a:lnTo>
                    <a:pt x="2239" y="5629"/>
                  </a:lnTo>
                  <a:lnTo>
                    <a:pt x="2260" y="5713"/>
                  </a:lnTo>
                  <a:lnTo>
                    <a:pt x="2407" y="5734"/>
                  </a:lnTo>
                  <a:lnTo>
                    <a:pt x="2449" y="5859"/>
                  </a:lnTo>
                  <a:lnTo>
                    <a:pt x="2679" y="6131"/>
                  </a:lnTo>
                  <a:lnTo>
                    <a:pt x="2762" y="6152"/>
                  </a:lnTo>
                  <a:lnTo>
                    <a:pt x="2804" y="6236"/>
                  </a:lnTo>
                  <a:lnTo>
                    <a:pt x="2888" y="6341"/>
                  </a:lnTo>
                  <a:lnTo>
                    <a:pt x="3034" y="6362"/>
                  </a:lnTo>
                  <a:lnTo>
                    <a:pt x="3076" y="6445"/>
                  </a:lnTo>
                  <a:lnTo>
                    <a:pt x="3076" y="6571"/>
                  </a:lnTo>
                  <a:lnTo>
                    <a:pt x="3160" y="6655"/>
                  </a:lnTo>
                  <a:lnTo>
                    <a:pt x="3160" y="6717"/>
                  </a:lnTo>
                  <a:lnTo>
                    <a:pt x="3202" y="6822"/>
                  </a:lnTo>
                  <a:lnTo>
                    <a:pt x="3286" y="6864"/>
                  </a:lnTo>
                  <a:lnTo>
                    <a:pt x="3474" y="6780"/>
                  </a:lnTo>
                  <a:lnTo>
                    <a:pt x="3578" y="6613"/>
                  </a:lnTo>
                  <a:lnTo>
                    <a:pt x="3578" y="6487"/>
                  </a:lnTo>
                  <a:lnTo>
                    <a:pt x="3495" y="6445"/>
                  </a:lnTo>
                  <a:lnTo>
                    <a:pt x="3474" y="6341"/>
                  </a:lnTo>
                  <a:lnTo>
                    <a:pt x="3411" y="6278"/>
                  </a:lnTo>
                  <a:lnTo>
                    <a:pt x="3390" y="6173"/>
                  </a:lnTo>
                  <a:lnTo>
                    <a:pt x="3286" y="6131"/>
                  </a:lnTo>
                  <a:lnTo>
                    <a:pt x="3265" y="6048"/>
                  </a:lnTo>
                  <a:lnTo>
                    <a:pt x="3202" y="5964"/>
                  </a:lnTo>
                  <a:lnTo>
                    <a:pt x="3139" y="5943"/>
                  </a:lnTo>
                  <a:lnTo>
                    <a:pt x="3097" y="5964"/>
                  </a:lnTo>
                  <a:lnTo>
                    <a:pt x="3097" y="6048"/>
                  </a:lnTo>
                  <a:lnTo>
                    <a:pt x="3055" y="6069"/>
                  </a:lnTo>
                  <a:lnTo>
                    <a:pt x="3055" y="5985"/>
                  </a:lnTo>
                  <a:lnTo>
                    <a:pt x="2972" y="5943"/>
                  </a:lnTo>
                  <a:lnTo>
                    <a:pt x="2867" y="5818"/>
                  </a:lnTo>
                  <a:lnTo>
                    <a:pt x="2846" y="5734"/>
                  </a:lnTo>
                  <a:lnTo>
                    <a:pt x="2888" y="5629"/>
                  </a:lnTo>
                  <a:lnTo>
                    <a:pt x="2888" y="5504"/>
                  </a:lnTo>
                  <a:lnTo>
                    <a:pt x="2804" y="5399"/>
                  </a:lnTo>
                  <a:lnTo>
                    <a:pt x="2846" y="5294"/>
                  </a:lnTo>
                  <a:lnTo>
                    <a:pt x="2846" y="5232"/>
                  </a:lnTo>
                  <a:lnTo>
                    <a:pt x="2783" y="5148"/>
                  </a:lnTo>
                  <a:lnTo>
                    <a:pt x="2783" y="5085"/>
                  </a:lnTo>
                  <a:lnTo>
                    <a:pt x="2721" y="5002"/>
                  </a:lnTo>
                  <a:lnTo>
                    <a:pt x="2721" y="4897"/>
                  </a:lnTo>
                  <a:lnTo>
                    <a:pt x="2679" y="4834"/>
                  </a:lnTo>
                  <a:lnTo>
                    <a:pt x="2679" y="4688"/>
                  </a:lnTo>
                  <a:lnTo>
                    <a:pt x="2721" y="4604"/>
                  </a:lnTo>
                  <a:lnTo>
                    <a:pt x="2658" y="4395"/>
                  </a:lnTo>
                  <a:lnTo>
                    <a:pt x="2616" y="4290"/>
                  </a:lnTo>
                  <a:lnTo>
                    <a:pt x="2553" y="4206"/>
                  </a:lnTo>
                  <a:lnTo>
                    <a:pt x="2532" y="4186"/>
                  </a:lnTo>
                  <a:lnTo>
                    <a:pt x="2532" y="4248"/>
                  </a:lnTo>
                  <a:lnTo>
                    <a:pt x="2532" y="4290"/>
                  </a:lnTo>
                  <a:lnTo>
                    <a:pt x="2469" y="4353"/>
                  </a:lnTo>
                  <a:lnTo>
                    <a:pt x="2365" y="4186"/>
                  </a:lnTo>
                  <a:lnTo>
                    <a:pt x="2365" y="4102"/>
                  </a:lnTo>
                  <a:lnTo>
                    <a:pt x="2407" y="4039"/>
                  </a:lnTo>
                  <a:lnTo>
                    <a:pt x="2365" y="3976"/>
                  </a:lnTo>
                  <a:lnTo>
                    <a:pt x="2323" y="3955"/>
                  </a:lnTo>
                  <a:lnTo>
                    <a:pt x="2281" y="3746"/>
                  </a:lnTo>
                  <a:lnTo>
                    <a:pt x="2197" y="3579"/>
                  </a:lnTo>
                  <a:lnTo>
                    <a:pt x="2135" y="3558"/>
                  </a:lnTo>
                  <a:lnTo>
                    <a:pt x="2030" y="3453"/>
                  </a:lnTo>
                  <a:lnTo>
                    <a:pt x="2030" y="3328"/>
                  </a:lnTo>
                  <a:lnTo>
                    <a:pt x="2051" y="3202"/>
                  </a:lnTo>
                  <a:lnTo>
                    <a:pt x="1946" y="3056"/>
                  </a:lnTo>
                  <a:lnTo>
                    <a:pt x="1884" y="3035"/>
                  </a:lnTo>
                  <a:lnTo>
                    <a:pt x="1821" y="2993"/>
                  </a:lnTo>
                  <a:lnTo>
                    <a:pt x="1821" y="2846"/>
                  </a:lnTo>
                  <a:lnTo>
                    <a:pt x="1737" y="2784"/>
                  </a:lnTo>
                  <a:lnTo>
                    <a:pt x="1633" y="2742"/>
                  </a:lnTo>
                  <a:lnTo>
                    <a:pt x="1612" y="2637"/>
                  </a:lnTo>
                  <a:lnTo>
                    <a:pt x="1633" y="2574"/>
                  </a:lnTo>
                  <a:lnTo>
                    <a:pt x="1612" y="2407"/>
                  </a:lnTo>
                  <a:lnTo>
                    <a:pt x="1465" y="2302"/>
                  </a:lnTo>
                  <a:lnTo>
                    <a:pt x="1402" y="2219"/>
                  </a:lnTo>
                  <a:lnTo>
                    <a:pt x="1319" y="2198"/>
                  </a:lnTo>
                  <a:lnTo>
                    <a:pt x="1319" y="2093"/>
                  </a:lnTo>
                  <a:lnTo>
                    <a:pt x="1235" y="1947"/>
                  </a:lnTo>
                  <a:lnTo>
                    <a:pt x="1193" y="1863"/>
                  </a:lnTo>
                  <a:lnTo>
                    <a:pt x="1235" y="1779"/>
                  </a:lnTo>
                  <a:lnTo>
                    <a:pt x="1214" y="1361"/>
                  </a:lnTo>
                  <a:lnTo>
                    <a:pt x="1193" y="1131"/>
                  </a:lnTo>
                  <a:lnTo>
                    <a:pt x="1235" y="1005"/>
                  </a:lnTo>
                  <a:lnTo>
                    <a:pt x="1298" y="796"/>
                  </a:lnTo>
                  <a:lnTo>
                    <a:pt x="1277" y="691"/>
                  </a:lnTo>
                  <a:lnTo>
                    <a:pt x="1235" y="545"/>
                  </a:lnTo>
                  <a:lnTo>
                    <a:pt x="1319" y="691"/>
                  </a:lnTo>
                  <a:lnTo>
                    <a:pt x="1486" y="754"/>
                  </a:lnTo>
                  <a:lnTo>
                    <a:pt x="1570" y="921"/>
                  </a:lnTo>
                  <a:lnTo>
                    <a:pt x="1633" y="963"/>
                  </a:lnTo>
                  <a:lnTo>
                    <a:pt x="1737" y="963"/>
                  </a:lnTo>
                  <a:lnTo>
                    <a:pt x="1800" y="921"/>
                  </a:lnTo>
                  <a:lnTo>
                    <a:pt x="1884" y="1026"/>
                  </a:lnTo>
                  <a:lnTo>
                    <a:pt x="1925" y="1068"/>
                  </a:lnTo>
                  <a:lnTo>
                    <a:pt x="2030" y="1068"/>
                  </a:lnTo>
                  <a:lnTo>
                    <a:pt x="2156" y="1152"/>
                  </a:lnTo>
                  <a:lnTo>
                    <a:pt x="2156" y="1214"/>
                  </a:lnTo>
                  <a:lnTo>
                    <a:pt x="2093" y="1319"/>
                  </a:lnTo>
                  <a:lnTo>
                    <a:pt x="2093" y="1382"/>
                  </a:lnTo>
                  <a:lnTo>
                    <a:pt x="2135" y="1549"/>
                  </a:lnTo>
                  <a:lnTo>
                    <a:pt x="2156" y="1737"/>
                  </a:lnTo>
                  <a:lnTo>
                    <a:pt x="2218" y="1842"/>
                  </a:lnTo>
                  <a:lnTo>
                    <a:pt x="2239" y="1968"/>
                  </a:lnTo>
                  <a:lnTo>
                    <a:pt x="2218" y="2051"/>
                  </a:lnTo>
                  <a:lnTo>
                    <a:pt x="2239" y="2156"/>
                  </a:lnTo>
                  <a:lnTo>
                    <a:pt x="2407" y="2323"/>
                  </a:lnTo>
                  <a:lnTo>
                    <a:pt x="2365" y="2386"/>
                  </a:lnTo>
                  <a:lnTo>
                    <a:pt x="2344" y="2470"/>
                  </a:lnTo>
                  <a:lnTo>
                    <a:pt x="2407" y="2533"/>
                  </a:lnTo>
                  <a:lnTo>
                    <a:pt x="2428" y="2533"/>
                  </a:lnTo>
                  <a:lnTo>
                    <a:pt x="2469" y="2595"/>
                  </a:lnTo>
                  <a:lnTo>
                    <a:pt x="2532" y="2784"/>
                  </a:lnTo>
                  <a:lnTo>
                    <a:pt x="2616" y="2805"/>
                  </a:lnTo>
                  <a:lnTo>
                    <a:pt x="2658" y="2909"/>
                  </a:lnTo>
                  <a:lnTo>
                    <a:pt x="2658" y="3035"/>
                  </a:lnTo>
                  <a:lnTo>
                    <a:pt x="2721" y="3097"/>
                  </a:lnTo>
                  <a:lnTo>
                    <a:pt x="2783" y="3118"/>
                  </a:lnTo>
                  <a:lnTo>
                    <a:pt x="2846" y="3244"/>
                  </a:lnTo>
                  <a:lnTo>
                    <a:pt x="2867" y="3349"/>
                  </a:lnTo>
                  <a:lnTo>
                    <a:pt x="2951" y="3411"/>
                  </a:lnTo>
                  <a:lnTo>
                    <a:pt x="2972" y="3453"/>
                  </a:lnTo>
                  <a:lnTo>
                    <a:pt x="3055" y="3453"/>
                  </a:lnTo>
                  <a:lnTo>
                    <a:pt x="3097" y="3516"/>
                  </a:lnTo>
                  <a:lnTo>
                    <a:pt x="3181" y="3453"/>
                  </a:lnTo>
                  <a:lnTo>
                    <a:pt x="3244" y="3516"/>
                  </a:lnTo>
                  <a:lnTo>
                    <a:pt x="3244" y="3642"/>
                  </a:lnTo>
                  <a:lnTo>
                    <a:pt x="3181" y="3725"/>
                  </a:lnTo>
                  <a:lnTo>
                    <a:pt x="3202" y="3872"/>
                  </a:lnTo>
                  <a:lnTo>
                    <a:pt x="3390" y="4060"/>
                  </a:lnTo>
                  <a:lnTo>
                    <a:pt x="3474" y="4039"/>
                  </a:lnTo>
                  <a:lnTo>
                    <a:pt x="3558" y="4060"/>
                  </a:lnTo>
                  <a:lnTo>
                    <a:pt x="3516" y="4165"/>
                  </a:lnTo>
                  <a:lnTo>
                    <a:pt x="3578" y="4269"/>
                  </a:lnTo>
                  <a:lnTo>
                    <a:pt x="3683" y="4290"/>
                  </a:lnTo>
                  <a:lnTo>
                    <a:pt x="3767" y="4290"/>
                  </a:lnTo>
                  <a:lnTo>
                    <a:pt x="3850" y="4395"/>
                  </a:lnTo>
                  <a:lnTo>
                    <a:pt x="3892" y="4499"/>
                  </a:lnTo>
                  <a:lnTo>
                    <a:pt x="3976" y="4520"/>
                  </a:lnTo>
                  <a:lnTo>
                    <a:pt x="3997" y="4499"/>
                  </a:lnTo>
                  <a:lnTo>
                    <a:pt x="4018" y="4520"/>
                  </a:lnTo>
                  <a:lnTo>
                    <a:pt x="4039" y="4604"/>
                  </a:lnTo>
                  <a:lnTo>
                    <a:pt x="3997" y="4667"/>
                  </a:lnTo>
                  <a:lnTo>
                    <a:pt x="3934" y="4604"/>
                  </a:lnTo>
                  <a:lnTo>
                    <a:pt x="3850" y="4625"/>
                  </a:lnTo>
                  <a:lnTo>
                    <a:pt x="3767" y="4730"/>
                  </a:lnTo>
                  <a:lnTo>
                    <a:pt x="3704" y="4897"/>
                  </a:lnTo>
                  <a:lnTo>
                    <a:pt x="3725" y="5002"/>
                  </a:lnTo>
                  <a:lnTo>
                    <a:pt x="3809" y="5085"/>
                  </a:lnTo>
                  <a:lnTo>
                    <a:pt x="3913" y="5085"/>
                  </a:lnTo>
                  <a:lnTo>
                    <a:pt x="3997" y="5148"/>
                  </a:lnTo>
                  <a:lnTo>
                    <a:pt x="4206" y="5315"/>
                  </a:lnTo>
                  <a:lnTo>
                    <a:pt x="4353" y="5357"/>
                  </a:lnTo>
                  <a:lnTo>
                    <a:pt x="4415" y="5357"/>
                  </a:lnTo>
                  <a:lnTo>
                    <a:pt x="4436" y="5420"/>
                  </a:lnTo>
                  <a:lnTo>
                    <a:pt x="4499" y="5525"/>
                  </a:lnTo>
                  <a:lnTo>
                    <a:pt x="4541" y="5608"/>
                  </a:lnTo>
                  <a:lnTo>
                    <a:pt x="4499" y="5713"/>
                  </a:lnTo>
                  <a:lnTo>
                    <a:pt x="4415" y="5734"/>
                  </a:lnTo>
                  <a:lnTo>
                    <a:pt x="4436" y="5776"/>
                  </a:lnTo>
                  <a:lnTo>
                    <a:pt x="4520" y="5838"/>
                  </a:lnTo>
                  <a:lnTo>
                    <a:pt x="4708" y="5880"/>
                  </a:lnTo>
                  <a:lnTo>
                    <a:pt x="4708" y="5964"/>
                  </a:lnTo>
                  <a:lnTo>
                    <a:pt x="4750" y="5985"/>
                  </a:lnTo>
                  <a:lnTo>
                    <a:pt x="4897" y="6131"/>
                  </a:lnTo>
                  <a:lnTo>
                    <a:pt x="5085" y="6362"/>
                  </a:lnTo>
                  <a:lnTo>
                    <a:pt x="5231" y="6592"/>
                  </a:lnTo>
                  <a:lnTo>
                    <a:pt x="5399" y="6801"/>
                  </a:lnTo>
                  <a:lnTo>
                    <a:pt x="5399" y="6906"/>
                  </a:lnTo>
                  <a:lnTo>
                    <a:pt x="5608" y="7178"/>
                  </a:lnTo>
                  <a:lnTo>
                    <a:pt x="5650" y="7282"/>
                  </a:lnTo>
                  <a:lnTo>
                    <a:pt x="5587" y="7408"/>
                  </a:lnTo>
                  <a:lnTo>
                    <a:pt x="5650" y="7491"/>
                  </a:lnTo>
                  <a:lnTo>
                    <a:pt x="5692" y="7638"/>
                  </a:lnTo>
                  <a:lnTo>
                    <a:pt x="5817" y="7952"/>
                  </a:lnTo>
                  <a:lnTo>
                    <a:pt x="5817" y="8077"/>
                  </a:lnTo>
                  <a:lnTo>
                    <a:pt x="5775" y="8182"/>
                  </a:lnTo>
                  <a:lnTo>
                    <a:pt x="5650" y="8287"/>
                  </a:lnTo>
                  <a:lnTo>
                    <a:pt x="5608" y="8370"/>
                  </a:lnTo>
                  <a:lnTo>
                    <a:pt x="5671" y="8370"/>
                  </a:lnTo>
                  <a:lnTo>
                    <a:pt x="5754" y="8454"/>
                  </a:lnTo>
                  <a:lnTo>
                    <a:pt x="5692" y="8496"/>
                  </a:lnTo>
                  <a:lnTo>
                    <a:pt x="5566" y="8496"/>
                  </a:lnTo>
                  <a:lnTo>
                    <a:pt x="5482" y="8538"/>
                  </a:lnTo>
                  <a:lnTo>
                    <a:pt x="5482" y="8579"/>
                  </a:lnTo>
                  <a:lnTo>
                    <a:pt x="5566" y="8789"/>
                  </a:lnTo>
                  <a:lnTo>
                    <a:pt x="5650" y="8872"/>
                  </a:lnTo>
                  <a:lnTo>
                    <a:pt x="5650" y="8956"/>
                  </a:lnTo>
                  <a:lnTo>
                    <a:pt x="5754" y="9103"/>
                  </a:lnTo>
                  <a:lnTo>
                    <a:pt x="5796" y="9228"/>
                  </a:lnTo>
                  <a:lnTo>
                    <a:pt x="5859" y="9291"/>
                  </a:lnTo>
                  <a:lnTo>
                    <a:pt x="5922" y="9291"/>
                  </a:lnTo>
                  <a:lnTo>
                    <a:pt x="5943" y="9333"/>
                  </a:lnTo>
                  <a:lnTo>
                    <a:pt x="6131" y="9395"/>
                  </a:lnTo>
                  <a:lnTo>
                    <a:pt x="6278" y="9375"/>
                  </a:lnTo>
                  <a:lnTo>
                    <a:pt x="6340" y="9375"/>
                  </a:lnTo>
                  <a:lnTo>
                    <a:pt x="6299" y="9437"/>
                  </a:lnTo>
                  <a:lnTo>
                    <a:pt x="6299" y="9500"/>
                  </a:lnTo>
                  <a:lnTo>
                    <a:pt x="6424" y="9542"/>
                  </a:lnTo>
                  <a:lnTo>
                    <a:pt x="6591" y="9688"/>
                  </a:lnTo>
                  <a:lnTo>
                    <a:pt x="6696" y="9835"/>
                  </a:lnTo>
                  <a:lnTo>
                    <a:pt x="6759" y="9960"/>
                  </a:lnTo>
                  <a:lnTo>
                    <a:pt x="6863" y="10023"/>
                  </a:lnTo>
                  <a:lnTo>
                    <a:pt x="6926" y="10002"/>
                  </a:lnTo>
                  <a:lnTo>
                    <a:pt x="7031" y="10044"/>
                  </a:lnTo>
                  <a:lnTo>
                    <a:pt x="7115" y="10044"/>
                  </a:lnTo>
                  <a:lnTo>
                    <a:pt x="7345" y="10149"/>
                  </a:lnTo>
                  <a:lnTo>
                    <a:pt x="7428" y="10149"/>
                  </a:lnTo>
                  <a:lnTo>
                    <a:pt x="7449" y="10107"/>
                  </a:lnTo>
                  <a:lnTo>
                    <a:pt x="7512" y="10107"/>
                  </a:lnTo>
                  <a:lnTo>
                    <a:pt x="7575" y="10170"/>
                  </a:lnTo>
                  <a:lnTo>
                    <a:pt x="7847" y="10442"/>
                  </a:lnTo>
                  <a:lnTo>
                    <a:pt x="7910" y="10442"/>
                  </a:lnTo>
                  <a:lnTo>
                    <a:pt x="8098" y="10630"/>
                  </a:lnTo>
                  <a:lnTo>
                    <a:pt x="8328" y="10735"/>
                  </a:lnTo>
                  <a:lnTo>
                    <a:pt x="8621" y="10756"/>
                  </a:lnTo>
                  <a:lnTo>
                    <a:pt x="8747" y="10839"/>
                  </a:lnTo>
                  <a:lnTo>
                    <a:pt x="8830" y="10965"/>
                  </a:lnTo>
                  <a:lnTo>
                    <a:pt x="8998" y="10965"/>
                  </a:lnTo>
                  <a:lnTo>
                    <a:pt x="9144" y="11048"/>
                  </a:lnTo>
                  <a:lnTo>
                    <a:pt x="9228" y="10986"/>
                  </a:lnTo>
                  <a:lnTo>
                    <a:pt x="9249" y="11007"/>
                  </a:lnTo>
                  <a:lnTo>
                    <a:pt x="9332" y="11153"/>
                  </a:lnTo>
                  <a:lnTo>
                    <a:pt x="9479" y="11216"/>
                  </a:lnTo>
                  <a:lnTo>
                    <a:pt x="9625" y="11216"/>
                  </a:lnTo>
                  <a:lnTo>
                    <a:pt x="9730" y="11279"/>
                  </a:lnTo>
                  <a:lnTo>
                    <a:pt x="9960" y="11362"/>
                  </a:lnTo>
                  <a:lnTo>
                    <a:pt x="10148" y="11362"/>
                  </a:lnTo>
                  <a:lnTo>
                    <a:pt x="10295" y="11467"/>
                  </a:lnTo>
                  <a:lnTo>
                    <a:pt x="10588" y="11572"/>
                  </a:lnTo>
                  <a:lnTo>
                    <a:pt x="10692" y="11530"/>
                  </a:lnTo>
                  <a:lnTo>
                    <a:pt x="11006" y="11404"/>
                  </a:lnTo>
                  <a:lnTo>
                    <a:pt x="11111" y="11404"/>
                  </a:lnTo>
                  <a:lnTo>
                    <a:pt x="11299" y="11300"/>
                  </a:lnTo>
                  <a:lnTo>
                    <a:pt x="11404" y="11279"/>
                  </a:lnTo>
                  <a:lnTo>
                    <a:pt x="11613" y="11279"/>
                  </a:lnTo>
                  <a:lnTo>
                    <a:pt x="11613" y="11258"/>
                  </a:lnTo>
                  <a:lnTo>
                    <a:pt x="11467" y="11216"/>
                  </a:lnTo>
                  <a:lnTo>
                    <a:pt x="11404" y="11216"/>
                  </a:lnTo>
                  <a:lnTo>
                    <a:pt x="11404" y="11174"/>
                  </a:lnTo>
                  <a:lnTo>
                    <a:pt x="11529" y="11090"/>
                  </a:lnTo>
                  <a:lnTo>
                    <a:pt x="11550" y="11111"/>
                  </a:lnTo>
                  <a:lnTo>
                    <a:pt x="11550" y="11195"/>
                  </a:lnTo>
                  <a:lnTo>
                    <a:pt x="11634" y="11153"/>
                  </a:lnTo>
                  <a:lnTo>
                    <a:pt x="11718" y="11153"/>
                  </a:lnTo>
                  <a:lnTo>
                    <a:pt x="11718" y="11195"/>
                  </a:lnTo>
                  <a:lnTo>
                    <a:pt x="11655" y="11195"/>
                  </a:lnTo>
                  <a:lnTo>
                    <a:pt x="11634" y="11216"/>
                  </a:lnTo>
                  <a:lnTo>
                    <a:pt x="11655" y="11258"/>
                  </a:lnTo>
                  <a:lnTo>
                    <a:pt x="11760" y="11258"/>
                  </a:lnTo>
                  <a:lnTo>
                    <a:pt x="11864" y="11279"/>
                  </a:lnTo>
                  <a:lnTo>
                    <a:pt x="12032" y="11404"/>
                  </a:lnTo>
                  <a:lnTo>
                    <a:pt x="12094" y="11467"/>
                  </a:lnTo>
                  <a:lnTo>
                    <a:pt x="12094" y="11425"/>
                  </a:lnTo>
                  <a:lnTo>
                    <a:pt x="11969" y="11300"/>
                  </a:lnTo>
                  <a:lnTo>
                    <a:pt x="11780" y="11216"/>
                  </a:lnTo>
                  <a:lnTo>
                    <a:pt x="11780" y="11174"/>
                  </a:lnTo>
                  <a:lnTo>
                    <a:pt x="11822" y="11174"/>
                  </a:lnTo>
                  <a:lnTo>
                    <a:pt x="11843" y="11195"/>
                  </a:lnTo>
                  <a:lnTo>
                    <a:pt x="11948" y="11216"/>
                  </a:lnTo>
                  <a:lnTo>
                    <a:pt x="12053" y="11300"/>
                  </a:lnTo>
                  <a:lnTo>
                    <a:pt x="12157" y="11425"/>
                  </a:lnTo>
                  <a:lnTo>
                    <a:pt x="12157" y="11488"/>
                  </a:lnTo>
                  <a:lnTo>
                    <a:pt x="12199" y="11530"/>
                  </a:lnTo>
                  <a:lnTo>
                    <a:pt x="12597" y="11885"/>
                  </a:lnTo>
                  <a:lnTo>
                    <a:pt x="12722" y="11906"/>
                  </a:lnTo>
                  <a:lnTo>
                    <a:pt x="12764" y="11990"/>
                  </a:lnTo>
                  <a:lnTo>
                    <a:pt x="12910" y="12116"/>
                  </a:lnTo>
                  <a:lnTo>
                    <a:pt x="12994" y="12220"/>
                  </a:lnTo>
                  <a:lnTo>
                    <a:pt x="13015" y="12199"/>
                  </a:lnTo>
                  <a:lnTo>
                    <a:pt x="13036" y="12136"/>
                  </a:lnTo>
                  <a:lnTo>
                    <a:pt x="13099" y="12095"/>
                  </a:lnTo>
                  <a:lnTo>
                    <a:pt x="13099" y="12053"/>
                  </a:lnTo>
                  <a:lnTo>
                    <a:pt x="13078" y="12032"/>
                  </a:lnTo>
                  <a:lnTo>
                    <a:pt x="13036" y="11990"/>
                  </a:lnTo>
                  <a:lnTo>
                    <a:pt x="13078" y="11927"/>
                  </a:lnTo>
                  <a:lnTo>
                    <a:pt x="13036" y="11906"/>
                  </a:lnTo>
                  <a:lnTo>
                    <a:pt x="13036" y="11802"/>
                  </a:lnTo>
                  <a:lnTo>
                    <a:pt x="13392" y="11258"/>
                  </a:lnTo>
                  <a:lnTo>
                    <a:pt x="14124" y="11258"/>
                  </a:lnTo>
                  <a:lnTo>
                    <a:pt x="14187" y="11195"/>
                  </a:lnTo>
                  <a:lnTo>
                    <a:pt x="14187" y="11111"/>
                  </a:lnTo>
                  <a:lnTo>
                    <a:pt x="14124" y="11090"/>
                  </a:lnTo>
                  <a:lnTo>
                    <a:pt x="14019" y="11069"/>
                  </a:lnTo>
                  <a:lnTo>
                    <a:pt x="13977" y="11048"/>
                  </a:lnTo>
                  <a:lnTo>
                    <a:pt x="13957" y="10944"/>
                  </a:lnTo>
                  <a:lnTo>
                    <a:pt x="13936" y="10881"/>
                  </a:lnTo>
                  <a:lnTo>
                    <a:pt x="13852" y="10881"/>
                  </a:lnTo>
                  <a:lnTo>
                    <a:pt x="13768" y="10797"/>
                  </a:lnTo>
                  <a:lnTo>
                    <a:pt x="13664" y="10693"/>
                  </a:lnTo>
                  <a:lnTo>
                    <a:pt x="13643" y="10651"/>
                  </a:lnTo>
                  <a:lnTo>
                    <a:pt x="13559" y="10567"/>
                  </a:lnTo>
                  <a:lnTo>
                    <a:pt x="13810" y="10546"/>
                  </a:lnTo>
                  <a:lnTo>
                    <a:pt x="13831" y="10232"/>
                  </a:lnTo>
                  <a:lnTo>
                    <a:pt x="14814" y="10253"/>
                  </a:lnTo>
                  <a:lnTo>
                    <a:pt x="14856" y="10170"/>
                  </a:lnTo>
                  <a:lnTo>
                    <a:pt x="14898" y="10128"/>
                  </a:lnTo>
                  <a:lnTo>
                    <a:pt x="14982" y="10128"/>
                  </a:lnTo>
                  <a:lnTo>
                    <a:pt x="14982" y="10170"/>
                  </a:lnTo>
                  <a:lnTo>
                    <a:pt x="15003" y="10212"/>
                  </a:lnTo>
                  <a:lnTo>
                    <a:pt x="15024" y="10170"/>
                  </a:lnTo>
                  <a:lnTo>
                    <a:pt x="15086" y="10149"/>
                  </a:lnTo>
                  <a:lnTo>
                    <a:pt x="15086" y="10128"/>
                  </a:lnTo>
                  <a:lnTo>
                    <a:pt x="15170" y="10044"/>
                  </a:lnTo>
                  <a:lnTo>
                    <a:pt x="15191" y="9940"/>
                  </a:lnTo>
                  <a:lnTo>
                    <a:pt x="15212" y="9898"/>
                  </a:lnTo>
                  <a:lnTo>
                    <a:pt x="15317" y="9898"/>
                  </a:lnTo>
                  <a:lnTo>
                    <a:pt x="15421" y="9793"/>
                  </a:lnTo>
                  <a:lnTo>
                    <a:pt x="15526" y="9647"/>
                  </a:lnTo>
                  <a:lnTo>
                    <a:pt x="15610" y="9626"/>
                  </a:lnTo>
                  <a:lnTo>
                    <a:pt x="15610" y="9626"/>
                  </a:lnTo>
                  <a:lnTo>
                    <a:pt x="15589" y="9730"/>
                  </a:lnTo>
                  <a:lnTo>
                    <a:pt x="15526" y="9793"/>
                  </a:lnTo>
                  <a:lnTo>
                    <a:pt x="15547" y="9835"/>
                  </a:lnTo>
                  <a:lnTo>
                    <a:pt x="15651" y="9919"/>
                  </a:lnTo>
                  <a:lnTo>
                    <a:pt x="15714" y="10023"/>
                  </a:lnTo>
                  <a:lnTo>
                    <a:pt x="15735" y="10002"/>
                  </a:lnTo>
                  <a:lnTo>
                    <a:pt x="15840" y="9814"/>
                  </a:lnTo>
                  <a:lnTo>
                    <a:pt x="15944" y="9437"/>
                  </a:lnTo>
                  <a:lnTo>
                    <a:pt x="16007" y="9333"/>
                  </a:lnTo>
                  <a:lnTo>
                    <a:pt x="15944" y="9375"/>
                  </a:lnTo>
                  <a:lnTo>
                    <a:pt x="15902" y="9416"/>
                  </a:lnTo>
                  <a:lnTo>
                    <a:pt x="15840" y="9395"/>
                  </a:lnTo>
                  <a:lnTo>
                    <a:pt x="15840" y="9333"/>
                  </a:lnTo>
                  <a:lnTo>
                    <a:pt x="15965" y="9207"/>
                  </a:lnTo>
                  <a:lnTo>
                    <a:pt x="16007" y="9123"/>
                  </a:lnTo>
                  <a:lnTo>
                    <a:pt x="15902" y="9123"/>
                  </a:lnTo>
                  <a:lnTo>
                    <a:pt x="15819" y="9061"/>
                  </a:lnTo>
                  <a:lnTo>
                    <a:pt x="15840" y="9019"/>
                  </a:lnTo>
                  <a:lnTo>
                    <a:pt x="15965" y="8956"/>
                  </a:lnTo>
                  <a:lnTo>
                    <a:pt x="15965" y="8789"/>
                  </a:lnTo>
                  <a:lnTo>
                    <a:pt x="16028" y="8705"/>
                  </a:lnTo>
                  <a:lnTo>
                    <a:pt x="16279" y="8475"/>
                  </a:lnTo>
                  <a:lnTo>
                    <a:pt x="16426" y="8266"/>
                  </a:lnTo>
                  <a:lnTo>
                    <a:pt x="16488" y="8119"/>
                  </a:lnTo>
                  <a:lnTo>
                    <a:pt x="16488" y="8015"/>
                  </a:lnTo>
                  <a:lnTo>
                    <a:pt x="16321" y="7763"/>
                  </a:lnTo>
                  <a:lnTo>
                    <a:pt x="16216" y="7805"/>
                  </a:lnTo>
                  <a:lnTo>
                    <a:pt x="16237" y="7847"/>
                  </a:lnTo>
                  <a:lnTo>
                    <a:pt x="16174" y="7868"/>
                  </a:lnTo>
                  <a:lnTo>
                    <a:pt x="15923" y="7826"/>
                  </a:lnTo>
                  <a:lnTo>
                    <a:pt x="15693" y="7826"/>
                  </a:lnTo>
                  <a:lnTo>
                    <a:pt x="15693" y="7868"/>
                  </a:lnTo>
                  <a:lnTo>
                    <a:pt x="15547" y="7952"/>
                  </a:lnTo>
                  <a:lnTo>
                    <a:pt x="15505" y="7910"/>
                  </a:lnTo>
                  <a:lnTo>
                    <a:pt x="15379" y="7931"/>
                  </a:lnTo>
                  <a:lnTo>
                    <a:pt x="15275" y="8035"/>
                  </a:lnTo>
                  <a:lnTo>
                    <a:pt x="14793" y="8035"/>
                  </a:lnTo>
                  <a:lnTo>
                    <a:pt x="14396" y="8119"/>
                  </a:lnTo>
                  <a:lnTo>
                    <a:pt x="14396" y="8182"/>
                  </a:lnTo>
                  <a:lnTo>
                    <a:pt x="14501" y="8224"/>
                  </a:lnTo>
                  <a:lnTo>
                    <a:pt x="14291" y="8454"/>
                  </a:lnTo>
                  <a:lnTo>
                    <a:pt x="14270" y="8810"/>
                  </a:lnTo>
                  <a:lnTo>
                    <a:pt x="14291" y="8851"/>
                  </a:lnTo>
                  <a:lnTo>
                    <a:pt x="14082" y="9082"/>
                  </a:lnTo>
                  <a:lnTo>
                    <a:pt x="14082" y="9270"/>
                  </a:lnTo>
                  <a:lnTo>
                    <a:pt x="13957" y="9395"/>
                  </a:lnTo>
                  <a:lnTo>
                    <a:pt x="13873" y="9416"/>
                  </a:lnTo>
                  <a:lnTo>
                    <a:pt x="13622" y="9542"/>
                  </a:lnTo>
                  <a:lnTo>
                    <a:pt x="13643" y="9584"/>
                  </a:lnTo>
                  <a:lnTo>
                    <a:pt x="13747" y="9500"/>
                  </a:lnTo>
                  <a:lnTo>
                    <a:pt x="13726" y="9605"/>
                  </a:lnTo>
                  <a:lnTo>
                    <a:pt x="13726" y="9793"/>
                  </a:lnTo>
                  <a:lnTo>
                    <a:pt x="13622" y="9919"/>
                  </a:lnTo>
                  <a:lnTo>
                    <a:pt x="13538" y="9919"/>
                  </a:lnTo>
                  <a:lnTo>
                    <a:pt x="13517" y="9960"/>
                  </a:lnTo>
                  <a:lnTo>
                    <a:pt x="13454" y="9919"/>
                  </a:lnTo>
                  <a:lnTo>
                    <a:pt x="13329" y="9835"/>
                  </a:lnTo>
                  <a:lnTo>
                    <a:pt x="13350" y="9793"/>
                  </a:lnTo>
                  <a:lnTo>
                    <a:pt x="13454" y="9730"/>
                  </a:lnTo>
                  <a:lnTo>
                    <a:pt x="13308" y="9688"/>
                  </a:lnTo>
                  <a:lnTo>
                    <a:pt x="13245" y="9730"/>
                  </a:lnTo>
                  <a:lnTo>
                    <a:pt x="13120" y="9709"/>
                  </a:lnTo>
                  <a:lnTo>
                    <a:pt x="12973" y="9709"/>
                  </a:lnTo>
                  <a:lnTo>
                    <a:pt x="12869" y="9793"/>
                  </a:lnTo>
                  <a:lnTo>
                    <a:pt x="12722" y="9814"/>
                  </a:lnTo>
                  <a:lnTo>
                    <a:pt x="12513" y="9814"/>
                  </a:lnTo>
                  <a:lnTo>
                    <a:pt x="12492" y="9856"/>
                  </a:lnTo>
                  <a:lnTo>
                    <a:pt x="12262" y="10002"/>
                  </a:lnTo>
                  <a:lnTo>
                    <a:pt x="12178" y="10002"/>
                  </a:lnTo>
                  <a:lnTo>
                    <a:pt x="12157" y="9940"/>
                  </a:lnTo>
                  <a:lnTo>
                    <a:pt x="11948" y="10002"/>
                  </a:lnTo>
                  <a:lnTo>
                    <a:pt x="11822" y="10044"/>
                  </a:lnTo>
                  <a:lnTo>
                    <a:pt x="11760" y="9919"/>
                  </a:lnTo>
                  <a:lnTo>
                    <a:pt x="11634" y="9730"/>
                  </a:lnTo>
                  <a:lnTo>
                    <a:pt x="11467" y="9647"/>
                  </a:lnTo>
                  <a:lnTo>
                    <a:pt x="11425" y="9605"/>
                  </a:lnTo>
                  <a:lnTo>
                    <a:pt x="11257" y="9605"/>
                  </a:lnTo>
                  <a:lnTo>
                    <a:pt x="11216" y="9626"/>
                  </a:lnTo>
                  <a:lnTo>
                    <a:pt x="11132" y="9521"/>
                  </a:lnTo>
                  <a:lnTo>
                    <a:pt x="10902" y="9270"/>
                  </a:lnTo>
                  <a:lnTo>
                    <a:pt x="10881" y="9165"/>
                  </a:lnTo>
                  <a:lnTo>
                    <a:pt x="10881" y="9082"/>
                  </a:lnTo>
                  <a:lnTo>
                    <a:pt x="10776" y="8914"/>
                  </a:lnTo>
                  <a:lnTo>
                    <a:pt x="10713" y="8789"/>
                  </a:lnTo>
                  <a:lnTo>
                    <a:pt x="10400" y="8454"/>
                  </a:lnTo>
                  <a:lnTo>
                    <a:pt x="10379" y="8328"/>
                  </a:lnTo>
                  <a:lnTo>
                    <a:pt x="10316" y="8245"/>
                  </a:lnTo>
                  <a:lnTo>
                    <a:pt x="10358" y="8161"/>
                  </a:lnTo>
                  <a:lnTo>
                    <a:pt x="10316" y="8077"/>
                  </a:lnTo>
                  <a:lnTo>
                    <a:pt x="10253" y="7847"/>
                  </a:lnTo>
                  <a:lnTo>
                    <a:pt x="10169" y="7763"/>
                  </a:lnTo>
                  <a:lnTo>
                    <a:pt x="10190" y="7638"/>
                  </a:lnTo>
                  <a:lnTo>
                    <a:pt x="10316" y="7805"/>
                  </a:lnTo>
                  <a:lnTo>
                    <a:pt x="10316" y="8015"/>
                  </a:lnTo>
                  <a:lnTo>
                    <a:pt x="10379" y="7973"/>
                  </a:lnTo>
                  <a:lnTo>
                    <a:pt x="10379" y="7805"/>
                  </a:lnTo>
                  <a:lnTo>
                    <a:pt x="10211" y="7554"/>
                  </a:lnTo>
                  <a:lnTo>
                    <a:pt x="10253" y="7429"/>
                  </a:lnTo>
                  <a:lnTo>
                    <a:pt x="10190" y="7219"/>
                  </a:lnTo>
                  <a:lnTo>
                    <a:pt x="10169" y="7115"/>
                  </a:lnTo>
                  <a:lnTo>
                    <a:pt x="10253" y="7010"/>
                  </a:lnTo>
                  <a:lnTo>
                    <a:pt x="10295" y="6717"/>
                  </a:lnTo>
                  <a:lnTo>
                    <a:pt x="10253" y="6571"/>
                  </a:lnTo>
                  <a:lnTo>
                    <a:pt x="10316" y="6278"/>
                  </a:lnTo>
                  <a:lnTo>
                    <a:pt x="10316" y="6173"/>
                  </a:lnTo>
                  <a:lnTo>
                    <a:pt x="10358" y="6090"/>
                  </a:lnTo>
                  <a:lnTo>
                    <a:pt x="10316" y="6048"/>
                  </a:lnTo>
                  <a:lnTo>
                    <a:pt x="10316" y="5922"/>
                  </a:lnTo>
                  <a:lnTo>
                    <a:pt x="10379" y="5859"/>
                  </a:lnTo>
                  <a:lnTo>
                    <a:pt x="10400" y="5713"/>
                  </a:lnTo>
                  <a:lnTo>
                    <a:pt x="10420" y="5650"/>
                  </a:lnTo>
                  <a:lnTo>
                    <a:pt x="10358" y="5608"/>
                  </a:lnTo>
                  <a:lnTo>
                    <a:pt x="10420" y="5504"/>
                  </a:lnTo>
                  <a:lnTo>
                    <a:pt x="10420" y="5336"/>
                  </a:lnTo>
                  <a:lnTo>
                    <a:pt x="10525" y="5336"/>
                  </a:lnTo>
                  <a:lnTo>
                    <a:pt x="10504" y="5441"/>
                  </a:lnTo>
                  <a:lnTo>
                    <a:pt x="10504" y="5525"/>
                  </a:lnTo>
                  <a:lnTo>
                    <a:pt x="10567" y="5504"/>
                  </a:lnTo>
                  <a:lnTo>
                    <a:pt x="10588" y="5399"/>
                  </a:lnTo>
                  <a:lnTo>
                    <a:pt x="10672" y="5294"/>
                  </a:lnTo>
                  <a:lnTo>
                    <a:pt x="10692" y="5148"/>
                  </a:lnTo>
                  <a:lnTo>
                    <a:pt x="10734" y="5106"/>
                  </a:lnTo>
                  <a:lnTo>
                    <a:pt x="10776" y="4939"/>
                  </a:lnTo>
                  <a:lnTo>
                    <a:pt x="10776" y="4897"/>
                  </a:lnTo>
                  <a:lnTo>
                    <a:pt x="10692" y="4939"/>
                  </a:lnTo>
                  <a:lnTo>
                    <a:pt x="10672" y="5127"/>
                  </a:lnTo>
                  <a:lnTo>
                    <a:pt x="10567" y="5190"/>
                  </a:lnTo>
                  <a:lnTo>
                    <a:pt x="10588" y="5106"/>
                  </a:lnTo>
                  <a:lnTo>
                    <a:pt x="10525" y="5085"/>
                  </a:lnTo>
                  <a:lnTo>
                    <a:pt x="10504" y="5002"/>
                  </a:lnTo>
                  <a:lnTo>
                    <a:pt x="10400" y="5002"/>
                  </a:lnTo>
                  <a:lnTo>
                    <a:pt x="10295" y="4918"/>
                  </a:lnTo>
                  <a:lnTo>
                    <a:pt x="10107" y="4876"/>
                  </a:lnTo>
                  <a:lnTo>
                    <a:pt x="10002" y="4771"/>
                  </a:lnTo>
                  <a:lnTo>
                    <a:pt x="9939" y="4730"/>
                  </a:lnTo>
                  <a:lnTo>
                    <a:pt x="9856" y="4730"/>
                  </a:lnTo>
                  <a:lnTo>
                    <a:pt x="9793" y="4709"/>
                  </a:lnTo>
                  <a:lnTo>
                    <a:pt x="9772" y="4709"/>
                  </a:lnTo>
                  <a:lnTo>
                    <a:pt x="9730" y="4667"/>
                  </a:lnTo>
                  <a:lnTo>
                    <a:pt x="9751" y="4499"/>
                  </a:lnTo>
                  <a:lnTo>
                    <a:pt x="9625" y="4165"/>
                  </a:lnTo>
                  <a:lnTo>
                    <a:pt x="9625" y="4144"/>
                  </a:lnTo>
                  <a:lnTo>
                    <a:pt x="9625" y="4081"/>
                  </a:lnTo>
                  <a:lnTo>
                    <a:pt x="9625" y="3976"/>
                  </a:lnTo>
                  <a:lnTo>
                    <a:pt x="9646" y="3872"/>
                  </a:lnTo>
                  <a:lnTo>
                    <a:pt x="9542" y="3788"/>
                  </a:lnTo>
                  <a:lnTo>
                    <a:pt x="9479" y="3683"/>
                  </a:lnTo>
                  <a:lnTo>
                    <a:pt x="9458" y="3579"/>
                  </a:lnTo>
                  <a:lnTo>
                    <a:pt x="9374" y="3537"/>
                  </a:lnTo>
                  <a:lnTo>
                    <a:pt x="9353" y="3453"/>
                  </a:lnTo>
                  <a:lnTo>
                    <a:pt x="9312" y="3432"/>
                  </a:lnTo>
                  <a:lnTo>
                    <a:pt x="9228" y="3223"/>
                  </a:lnTo>
                  <a:lnTo>
                    <a:pt x="9207" y="3139"/>
                  </a:lnTo>
                  <a:lnTo>
                    <a:pt x="9123" y="3118"/>
                  </a:lnTo>
                  <a:lnTo>
                    <a:pt x="9123" y="2951"/>
                  </a:lnTo>
                  <a:lnTo>
                    <a:pt x="9123" y="2888"/>
                  </a:lnTo>
                  <a:lnTo>
                    <a:pt x="9060" y="2825"/>
                  </a:lnTo>
                  <a:lnTo>
                    <a:pt x="9040" y="2721"/>
                  </a:lnTo>
                  <a:lnTo>
                    <a:pt x="8935" y="2574"/>
                  </a:lnTo>
                  <a:lnTo>
                    <a:pt x="8830" y="2491"/>
                  </a:lnTo>
                  <a:lnTo>
                    <a:pt x="8788" y="2386"/>
                  </a:lnTo>
                  <a:lnTo>
                    <a:pt x="8705" y="2365"/>
                  </a:lnTo>
                  <a:lnTo>
                    <a:pt x="8621" y="2365"/>
                  </a:lnTo>
                  <a:lnTo>
                    <a:pt x="8600" y="2323"/>
                  </a:lnTo>
                  <a:lnTo>
                    <a:pt x="8579" y="2302"/>
                  </a:lnTo>
                  <a:lnTo>
                    <a:pt x="8475" y="2323"/>
                  </a:lnTo>
                  <a:lnTo>
                    <a:pt x="8370" y="2302"/>
                  </a:lnTo>
                  <a:lnTo>
                    <a:pt x="8265" y="2302"/>
                  </a:lnTo>
                  <a:lnTo>
                    <a:pt x="8223" y="2386"/>
                  </a:lnTo>
                  <a:lnTo>
                    <a:pt x="8182" y="2386"/>
                  </a:lnTo>
                  <a:lnTo>
                    <a:pt x="8161" y="2365"/>
                  </a:lnTo>
                  <a:lnTo>
                    <a:pt x="8119" y="2365"/>
                  </a:lnTo>
                  <a:lnTo>
                    <a:pt x="8035" y="2386"/>
                  </a:lnTo>
                  <a:lnTo>
                    <a:pt x="7993" y="2428"/>
                  </a:lnTo>
                  <a:lnTo>
                    <a:pt x="7910" y="2595"/>
                  </a:lnTo>
                  <a:lnTo>
                    <a:pt x="7868" y="2679"/>
                  </a:lnTo>
                  <a:lnTo>
                    <a:pt x="7868" y="2700"/>
                  </a:lnTo>
                  <a:lnTo>
                    <a:pt x="7868" y="2742"/>
                  </a:lnTo>
                  <a:lnTo>
                    <a:pt x="7805" y="2742"/>
                  </a:lnTo>
                  <a:lnTo>
                    <a:pt x="7700" y="2825"/>
                  </a:lnTo>
                  <a:lnTo>
                    <a:pt x="7700" y="2846"/>
                  </a:lnTo>
                  <a:lnTo>
                    <a:pt x="7659" y="2888"/>
                  </a:lnTo>
                  <a:lnTo>
                    <a:pt x="7596" y="2888"/>
                  </a:lnTo>
                  <a:lnTo>
                    <a:pt x="7575" y="2825"/>
                  </a:lnTo>
                  <a:lnTo>
                    <a:pt x="7449" y="2784"/>
                  </a:lnTo>
                  <a:lnTo>
                    <a:pt x="7366" y="2742"/>
                  </a:lnTo>
                  <a:lnTo>
                    <a:pt x="7345" y="2700"/>
                  </a:lnTo>
                  <a:lnTo>
                    <a:pt x="7219" y="2637"/>
                  </a:lnTo>
                  <a:lnTo>
                    <a:pt x="7156" y="2637"/>
                  </a:lnTo>
                  <a:lnTo>
                    <a:pt x="7115" y="2595"/>
                  </a:lnTo>
                  <a:lnTo>
                    <a:pt x="7115" y="2574"/>
                  </a:lnTo>
                  <a:lnTo>
                    <a:pt x="7073" y="2512"/>
                  </a:lnTo>
                  <a:lnTo>
                    <a:pt x="7031" y="2491"/>
                  </a:lnTo>
                  <a:lnTo>
                    <a:pt x="6989" y="2491"/>
                  </a:lnTo>
                  <a:lnTo>
                    <a:pt x="6947" y="2470"/>
                  </a:lnTo>
                  <a:lnTo>
                    <a:pt x="6926" y="2470"/>
                  </a:lnTo>
                  <a:lnTo>
                    <a:pt x="6926" y="2428"/>
                  </a:lnTo>
                  <a:lnTo>
                    <a:pt x="6905" y="2323"/>
                  </a:lnTo>
                  <a:lnTo>
                    <a:pt x="6822" y="2261"/>
                  </a:lnTo>
                  <a:lnTo>
                    <a:pt x="6717" y="2114"/>
                  </a:lnTo>
                  <a:lnTo>
                    <a:pt x="6717" y="2093"/>
                  </a:lnTo>
                  <a:lnTo>
                    <a:pt x="6801" y="2072"/>
                  </a:lnTo>
                  <a:lnTo>
                    <a:pt x="6822" y="2051"/>
                  </a:lnTo>
                  <a:lnTo>
                    <a:pt x="6822" y="1968"/>
                  </a:lnTo>
                  <a:lnTo>
                    <a:pt x="6738" y="1884"/>
                  </a:lnTo>
                  <a:lnTo>
                    <a:pt x="6717" y="1863"/>
                  </a:lnTo>
                  <a:lnTo>
                    <a:pt x="6696" y="1842"/>
                  </a:lnTo>
                  <a:lnTo>
                    <a:pt x="6654" y="1800"/>
                  </a:lnTo>
                  <a:lnTo>
                    <a:pt x="6633" y="1675"/>
                  </a:lnTo>
                  <a:lnTo>
                    <a:pt x="6591" y="1591"/>
                  </a:lnTo>
                  <a:lnTo>
                    <a:pt x="6508" y="1549"/>
                  </a:lnTo>
                  <a:lnTo>
                    <a:pt x="6424" y="1528"/>
                  </a:lnTo>
                  <a:lnTo>
                    <a:pt x="6466" y="1465"/>
                  </a:lnTo>
                  <a:lnTo>
                    <a:pt x="6466" y="1424"/>
                  </a:lnTo>
                  <a:lnTo>
                    <a:pt x="6403" y="1340"/>
                  </a:lnTo>
                  <a:lnTo>
                    <a:pt x="6299" y="1319"/>
                  </a:lnTo>
                  <a:lnTo>
                    <a:pt x="6319" y="1256"/>
                  </a:lnTo>
                  <a:lnTo>
                    <a:pt x="6278" y="1173"/>
                  </a:lnTo>
                  <a:lnTo>
                    <a:pt x="6215" y="1173"/>
                  </a:lnTo>
                  <a:lnTo>
                    <a:pt x="6194" y="1131"/>
                  </a:lnTo>
                  <a:lnTo>
                    <a:pt x="6131" y="1068"/>
                  </a:lnTo>
                  <a:lnTo>
                    <a:pt x="6068" y="942"/>
                  </a:lnTo>
                  <a:lnTo>
                    <a:pt x="5943" y="859"/>
                  </a:lnTo>
                  <a:lnTo>
                    <a:pt x="5022" y="838"/>
                  </a:lnTo>
                  <a:lnTo>
                    <a:pt x="4980" y="1047"/>
                  </a:lnTo>
                  <a:lnTo>
                    <a:pt x="3327" y="1005"/>
                  </a:lnTo>
                  <a:lnTo>
                    <a:pt x="1402" y="105"/>
                  </a:lnTo>
                  <a:lnTo>
                    <a:pt x="1402" y="64"/>
                  </a:lnTo>
                  <a:lnTo>
                    <a:pt x="138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8" name="Google Shape;798;p34"/>
            <p:cNvSpPr/>
            <p:nvPr/>
          </p:nvSpPr>
          <p:spPr>
            <a:xfrm>
              <a:off x="3378594" y="3107749"/>
              <a:ext cx="19445" cy="26657"/>
            </a:xfrm>
            <a:custGeom>
              <a:avLst/>
              <a:gdLst/>
              <a:ahLst/>
              <a:cxnLst/>
              <a:rect l="l" t="t" r="r" b="b"/>
              <a:pathLst>
                <a:path w="1633" h="2344" extrusionOk="0">
                  <a:moveTo>
                    <a:pt x="336" y="0"/>
                  </a:moveTo>
                  <a:lnTo>
                    <a:pt x="231" y="84"/>
                  </a:lnTo>
                  <a:lnTo>
                    <a:pt x="126" y="147"/>
                  </a:lnTo>
                  <a:lnTo>
                    <a:pt x="85" y="209"/>
                  </a:lnTo>
                  <a:lnTo>
                    <a:pt x="1" y="314"/>
                  </a:lnTo>
                  <a:lnTo>
                    <a:pt x="1" y="460"/>
                  </a:lnTo>
                  <a:lnTo>
                    <a:pt x="64" y="607"/>
                  </a:lnTo>
                  <a:lnTo>
                    <a:pt x="22" y="732"/>
                  </a:lnTo>
                  <a:lnTo>
                    <a:pt x="22" y="816"/>
                  </a:lnTo>
                  <a:lnTo>
                    <a:pt x="126" y="879"/>
                  </a:lnTo>
                  <a:lnTo>
                    <a:pt x="189" y="963"/>
                  </a:lnTo>
                  <a:lnTo>
                    <a:pt x="231" y="1067"/>
                  </a:lnTo>
                  <a:lnTo>
                    <a:pt x="273" y="1193"/>
                  </a:lnTo>
                  <a:lnTo>
                    <a:pt x="294" y="1256"/>
                  </a:lnTo>
                  <a:lnTo>
                    <a:pt x="273" y="1360"/>
                  </a:lnTo>
                  <a:lnTo>
                    <a:pt x="189" y="1444"/>
                  </a:lnTo>
                  <a:lnTo>
                    <a:pt x="189" y="1590"/>
                  </a:lnTo>
                  <a:lnTo>
                    <a:pt x="231" y="1653"/>
                  </a:lnTo>
                  <a:lnTo>
                    <a:pt x="189" y="1779"/>
                  </a:lnTo>
                  <a:lnTo>
                    <a:pt x="64" y="1883"/>
                  </a:lnTo>
                  <a:lnTo>
                    <a:pt x="1" y="1883"/>
                  </a:lnTo>
                  <a:lnTo>
                    <a:pt x="22" y="1925"/>
                  </a:lnTo>
                  <a:lnTo>
                    <a:pt x="85" y="2009"/>
                  </a:lnTo>
                  <a:lnTo>
                    <a:pt x="106" y="2030"/>
                  </a:lnTo>
                  <a:lnTo>
                    <a:pt x="106" y="2113"/>
                  </a:lnTo>
                  <a:lnTo>
                    <a:pt x="189" y="2197"/>
                  </a:lnTo>
                  <a:lnTo>
                    <a:pt x="294" y="2218"/>
                  </a:lnTo>
                  <a:lnTo>
                    <a:pt x="336" y="2134"/>
                  </a:lnTo>
                  <a:lnTo>
                    <a:pt x="419" y="2113"/>
                  </a:lnTo>
                  <a:lnTo>
                    <a:pt x="503" y="2113"/>
                  </a:lnTo>
                  <a:lnTo>
                    <a:pt x="503" y="2176"/>
                  </a:lnTo>
                  <a:lnTo>
                    <a:pt x="545" y="2197"/>
                  </a:lnTo>
                  <a:lnTo>
                    <a:pt x="545" y="2323"/>
                  </a:lnTo>
                  <a:lnTo>
                    <a:pt x="608" y="2344"/>
                  </a:lnTo>
                  <a:lnTo>
                    <a:pt x="712" y="2281"/>
                  </a:lnTo>
                  <a:lnTo>
                    <a:pt x="733" y="2197"/>
                  </a:lnTo>
                  <a:lnTo>
                    <a:pt x="817" y="2134"/>
                  </a:lnTo>
                  <a:lnTo>
                    <a:pt x="880" y="2113"/>
                  </a:lnTo>
                  <a:lnTo>
                    <a:pt x="963" y="1988"/>
                  </a:lnTo>
                  <a:lnTo>
                    <a:pt x="1068" y="1820"/>
                  </a:lnTo>
                  <a:lnTo>
                    <a:pt x="1173" y="1590"/>
                  </a:lnTo>
                  <a:lnTo>
                    <a:pt x="1173" y="1486"/>
                  </a:lnTo>
                  <a:lnTo>
                    <a:pt x="1340" y="1297"/>
                  </a:lnTo>
                  <a:lnTo>
                    <a:pt x="1466" y="1130"/>
                  </a:lnTo>
                  <a:lnTo>
                    <a:pt x="1528" y="1046"/>
                  </a:lnTo>
                  <a:lnTo>
                    <a:pt x="1633" y="921"/>
                  </a:lnTo>
                  <a:lnTo>
                    <a:pt x="1591" y="774"/>
                  </a:lnTo>
                  <a:lnTo>
                    <a:pt x="1487" y="649"/>
                  </a:lnTo>
                  <a:lnTo>
                    <a:pt x="1466" y="711"/>
                  </a:lnTo>
                  <a:lnTo>
                    <a:pt x="1382" y="649"/>
                  </a:lnTo>
                  <a:lnTo>
                    <a:pt x="1361" y="544"/>
                  </a:lnTo>
                  <a:lnTo>
                    <a:pt x="1173" y="335"/>
                  </a:lnTo>
                  <a:lnTo>
                    <a:pt x="1131" y="335"/>
                  </a:lnTo>
                  <a:lnTo>
                    <a:pt x="963" y="209"/>
                  </a:lnTo>
                  <a:lnTo>
                    <a:pt x="650" y="105"/>
                  </a:lnTo>
                  <a:lnTo>
                    <a:pt x="524" y="21"/>
                  </a:lnTo>
                  <a:lnTo>
                    <a:pt x="33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9" name="Google Shape;799;p34"/>
            <p:cNvSpPr/>
            <p:nvPr/>
          </p:nvSpPr>
          <p:spPr>
            <a:xfrm>
              <a:off x="3354434" y="3105122"/>
              <a:ext cx="27661" cy="28807"/>
            </a:xfrm>
            <a:custGeom>
              <a:avLst/>
              <a:gdLst/>
              <a:ahLst/>
              <a:cxnLst/>
              <a:rect l="l" t="t" r="r" b="b"/>
              <a:pathLst>
                <a:path w="2323" h="2533" extrusionOk="0">
                  <a:moveTo>
                    <a:pt x="1632" y="1"/>
                  </a:moveTo>
                  <a:lnTo>
                    <a:pt x="1528" y="43"/>
                  </a:lnTo>
                  <a:lnTo>
                    <a:pt x="1339" y="22"/>
                  </a:lnTo>
                  <a:lnTo>
                    <a:pt x="1151" y="64"/>
                  </a:lnTo>
                  <a:lnTo>
                    <a:pt x="963" y="22"/>
                  </a:lnTo>
                  <a:lnTo>
                    <a:pt x="691" y="22"/>
                  </a:lnTo>
                  <a:lnTo>
                    <a:pt x="544" y="64"/>
                  </a:lnTo>
                  <a:lnTo>
                    <a:pt x="544" y="210"/>
                  </a:lnTo>
                  <a:lnTo>
                    <a:pt x="482" y="336"/>
                  </a:lnTo>
                  <a:lnTo>
                    <a:pt x="523" y="419"/>
                  </a:lnTo>
                  <a:lnTo>
                    <a:pt x="440" y="524"/>
                  </a:lnTo>
                  <a:lnTo>
                    <a:pt x="335" y="566"/>
                  </a:lnTo>
                  <a:lnTo>
                    <a:pt x="168" y="566"/>
                  </a:lnTo>
                  <a:lnTo>
                    <a:pt x="105" y="691"/>
                  </a:lnTo>
                  <a:lnTo>
                    <a:pt x="105" y="838"/>
                  </a:lnTo>
                  <a:lnTo>
                    <a:pt x="0" y="1068"/>
                  </a:lnTo>
                  <a:lnTo>
                    <a:pt x="21" y="1152"/>
                  </a:lnTo>
                  <a:lnTo>
                    <a:pt x="126" y="1194"/>
                  </a:lnTo>
                  <a:lnTo>
                    <a:pt x="168" y="1277"/>
                  </a:lnTo>
                  <a:lnTo>
                    <a:pt x="210" y="1319"/>
                  </a:lnTo>
                  <a:lnTo>
                    <a:pt x="272" y="1424"/>
                  </a:lnTo>
                  <a:lnTo>
                    <a:pt x="272" y="1507"/>
                  </a:lnTo>
                  <a:lnTo>
                    <a:pt x="335" y="1570"/>
                  </a:lnTo>
                  <a:lnTo>
                    <a:pt x="419" y="1570"/>
                  </a:lnTo>
                  <a:lnTo>
                    <a:pt x="461" y="1591"/>
                  </a:lnTo>
                  <a:lnTo>
                    <a:pt x="482" y="1696"/>
                  </a:lnTo>
                  <a:lnTo>
                    <a:pt x="523" y="1842"/>
                  </a:lnTo>
                  <a:lnTo>
                    <a:pt x="523" y="1989"/>
                  </a:lnTo>
                  <a:lnTo>
                    <a:pt x="586" y="2010"/>
                  </a:lnTo>
                  <a:lnTo>
                    <a:pt x="670" y="2135"/>
                  </a:lnTo>
                  <a:lnTo>
                    <a:pt x="691" y="2219"/>
                  </a:lnTo>
                  <a:lnTo>
                    <a:pt x="795" y="2261"/>
                  </a:lnTo>
                  <a:lnTo>
                    <a:pt x="795" y="2323"/>
                  </a:lnTo>
                  <a:lnTo>
                    <a:pt x="858" y="2407"/>
                  </a:lnTo>
                  <a:lnTo>
                    <a:pt x="942" y="2449"/>
                  </a:lnTo>
                  <a:lnTo>
                    <a:pt x="984" y="2449"/>
                  </a:lnTo>
                  <a:lnTo>
                    <a:pt x="1005" y="2470"/>
                  </a:lnTo>
                  <a:lnTo>
                    <a:pt x="1172" y="2533"/>
                  </a:lnTo>
                  <a:lnTo>
                    <a:pt x="1256" y="2533"/>
                  </a:lnTo>
                  <a:lnTo>
                    <a:pt x="1277" y="2470"/>
                  </a:lnTo>
                  <a:lnTo>
                    <a:pt x="1214" y="2344"/>
                  </a:lnTo>
                  <a:lnTo>
                    <a:pt x="1193" y="2303"/>
                  </a:lnTo>
                  <a:lnTo>
                    <a:pt x="1088" y="2198"/>
                  </a:lnTo>
                  <a:lnTo>
                    <a:pt x="1109" y="2093"/>
                  </a:lnTo>
                  <a:lnTo>
                    <a:pt x="1214" y="2010"/>
                  </a:lnTo>
                  <a:lnTo>
                    <a:pt x="1339" y="2031"/>
                  </a:lnTo>
                  <a:lnTo>
                    <a:pt x="1591" y="2031"/>
                  </a:lnTo>
                  <a:lnTo>
                    <a:pt x="1695" y="1989"/>
                  </a:lnTo>
                  <a:lnTo>
                    <a:pt x="1842" y="1989"/>
                  </a:lnTo>
                  <a:lnTo>
                    <a:pt x="1946" y="2093"/>
                  </a:lnTo>
                  <a:lnTo>
                    <a:pt x="2030" y="2114"/>
                  </a:lnTo>
                  <a:lnTo>
                    <a:pt x="2093" y="2114"/>
                  </a:lnTo>
                  <a:lnTo>
                    <a:pt x="2218" y="2010"/>
                  </a:lnTo>
                  <a:lnTo>
                    <a:pt x="2260" y="1884"/>
                  </a:lnTo>
                  <a:lnTo>
                    <a:pt x="2218" y="1821"/>
                  </a:lnTo>
                  <a:lnTo>
                    <a:pt x="2218" y="1675"/>
                  </a:lnTo>
                  <a:lnTo>
                    <a:pt x="2302" y="1591"/>
                  </a:lnTo>
                  <a:lnTo>
                    <a:pt x="2323" y="1487"/>
                  </a:lnTo>
                  <a:lnTo>
                    <a:pt x="2302" y="1424"/>
                  </a:lnTo>
                  <a:lnTo>
                    <a:pt x="2260" y="1298"/>
                  </a:lnTo>
                  <a:lnTo>
                    <a:pt x="2218" y="1194"/>
                  </a:lnTo>
                  <a:lnTo>
                    <a:pt x="2155" y="1110"/>
                  </a:lnTo>
                  <a:lnTo>
                    <a:pt x="2051" y="1047"/>
                  </a:lnTo>
                  <a:lnTo>
                    <a:pt x="2051" y="963"/>
                  </a:lnTo>
                  <a:lnTo>
                    <a:pt x="2093" y="838"/>
                  </a:lnTo>
                  <a:lnTo>
                    <a:pt x="2030" y="691"/>
                  </a:lnTo>
                  <a:lnTo>
                    <a:pt x="2030" y="545"/>
                  </a:lnTo>
                  <a:lnTo>
                    <a:pt x="2114" y="440"/>
                  </a:lnTo>
                  <a:lnTo>
                    <a:pt x="2155" y="378"/>
                  </a:lnTo>
                  <a:lnTo>
                    <a:pt x="2260" y="231"/>
                  </a:lnTo>
                  <a:lnTo>
                    <a:pt x="2260" y="147"/>
                  </a:lnTo>
                  <a:lnTo>
                    <a:pt x="2135" y="106"/>
                  </a:lnTo>
                  <a:lnTo>
                    <a:pt x="1946" y="64"/>
                  </a:lnTo>
                  <a:lnTo>
                    <a:pt x="17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0" name="Google Shape;800;p34"/>
            <p:cNvSpPr/>
            <p:nvPr/>
          </p:nvSpPr>
          <p:spPr>
            <a:xfrm>
              <a:off x="3331012" y="3088711"/>
              <a:ext cx="34639" cy="49743"/>
            </a:xfrm>
            <a:custGeom>
              <a:avLst/>
              <a:gdLst/>
              <a:ahLst/>
              <a:cxnLst/>
              <a:rect l="l" t="t" r="r" b="b"/>
              <a:pathLst>
                <a:path w="2909" h="4374" extrusionOk="0">
                  <a:moveTo>
                    <a:pt x="879" y="0"/>
                  </a:moveTo>
                  <a:lnTo>
                    <a:pt x="858" y="84"/>
                  </a:lnTo>
                  <a:lnTo>
                    <a:pt x="712" y="251"/>
                  </a:lnTo>
                  <a:lnTo>
                    <a:pt x="565" y="356"/>
                  </a:lnTo>
                  <a:lnTo>
                    <a:pt x="503" y="335"/>
                  </a:lnTo>
                  <a:lnTo>
                    <a:pt x="335" y="544"/>
                  </a:lnTo>
                  <a:lnTo>
                    <a:pt x="356" y="628"/>
                  </a:lnTo>
                  <a:lnTo>
                    <a:pt x="419" y="733"/>
                  </a:lnTo>
                  <a:lnTo>
                    <a:pt x="565" y="753"/>
                  </a:lnTo>
                  <a:lnTo>
                    <a:pt x="649" y="837"/>
                  </a:lnTo>
                  <a:lnTo>
                    <a:pt x="649" y="963"/>
                  </a:lnTo>
                  <a:lnTo>
                    <a:pt x="461" y="1046"/>
                  </a:lnTo>
                  <a:lnTo>
                    <a:pt x="398" y="1025"/>
                  </a:lnTo>
                  <a:lnTo>
                    <a:pt x="293" y="1046"/>
                  </a:lnTo>
                  <a:lnTo>
                    <a:pt x="210" y="1025"/>
                  </a:lnTo>
                  <a:lnTo>
                    <a:pt x="126" y="1088"/>
                  </a:lnTo>
                  <a:lnTo>
                    <a:pt x="105" y="1277"/>
                  </a:lnTo>
                  <a:lnTo>
                    <a:pt x="1" y="1381"/>
                  </a:lnTo>
                  <a:lnTo>
                    <a:pt x="42" y="1507"/>
                  </a:lnTo>
                  <a:lnTo>
                    <a:pt x="189" y="1716"/>
                  </a:lnTo>
                  <a:lnTo>
                    <a:pt x="419" y="1904"/>
                  </a:lnTo>
                  <a:lnTo>
                    <a:pt x="419" y="1925"/>
                  </a:lnTo>
                  <a:lnTo>
                    <a:pt x="461" y="1925"/>
                  </a:lnTo>
                  <a:lnTo>
                    <a:pt x="524" y="1988"/>
                  </a:lnTo>
                  <a:lnTo>
                    <a:pt x="565" y="1925"/>
                  </a:lnTo>
                  <a:lnTo>
                    <a:pt x="712" y="1967"/>
                  </a:lnTo>
                  <a:lnTo>
                    <a:pt x="817" y="2072"/>
                  </a:lnTo>
                  <a:lnTo>
                    <a:pt x="817" y="2218"/>
                  </a:lnTo>
                  <a:lnTo>
                    <a:pt x="733" y="2344"/>
                  </a:lnTo>
                  <a:lnTo>
                    <a:pt x="670" y="2406"/>
                  </a:lnTo>
                  <a:lnTo>
                    <a:pt x="775" y="2448"/>
                  </a:lnTo>
                  <a:lnTo>
                    <a:pt x="879" y="2448"/>
                  </a:lnTo>
                  <a:lnTo>
                    <a:pt x="942" y="2532"/>
                  </a:lnTo>
                  <a:lnTo>
                    <a:pt x="984" y="2616"/>
                  </a:lnTo>
                  <a:lnTo>
                    <a:pt x="1089" y="2616"/>
                  </a:lnTo>
                  <a:lnTo>
                    <a:pt x="1089" y="2657"/>
                  </a:lnTo>
                  <a:lnTo>
                    <a:pt x="984" y="2804"/>
                  </a:lnTo>
                  <a:lnTo>
                    <a:pt x="963" y="2950"/>
                  </a:lnTo>
                  <a:lnTo>
                    <a:pt x="837" y="3160"/>
                  </a:lnTo>
                  <a:lnTo>
                    <a:pt x="858" y="3264"/>
                  </a:lnTo>
                  <a:lnTo>
                    <a:pt x="817" y="3369"/>
                  </a:lnTo>
                  <a:lnTo>
                    <a:pt x="817" y="3474"/>
                  </a:lnTo>
                  <a:lnTo>
                    <a:pt x="837" y="3536"/>
                  </a:lnTo>
                  <a:lnTo>
                    <a:pt x="817" y="3599"/>
                  </a:lnTo>
                  <a:lnTo>
                    <a:pt x="817" y="3704"/>
                  </a:lnTo>
                  <a:lnTo>
                    <a:pt x="921" y="3808"/>
                  </a:lnTo>
                  <a:lnTo>
                    <a:pt x="1047" y="3955"/>
                  </a:lnTo>
                  <a:lnTo>
                    <a:pt x="1047" y="4018"/>
                  </a:lnTo>
                  <a:lnTo>
                    <a:pt x="1130" y="4122"/>
                  </a:lnTo>
                  <a:lnTo>
                    <a:pt x="1361" y="4331"/>
                  </a:lnTo>
                  <a:lnTo>
                    <a:pt x="1444" y="4373"/>
                  </a:lnTo>
                  <a:lnTo>
                    <a:pt x="1507" y="4290"/>
                  </a:lnTo>
                  <a:lnTo>
                    <a:pt x="1591" y="4269"/>
                  </a:lnTo>
                  <a:lnTo>
                    <a:pt x="1612" y="4290"/>
                  </a:lnTo>
                  <a:lnTo>
                    <a:pt x="1758" y="4290"/>
                  </a:lnTo>
                  <a:lnTo>
                    <a:pt x="1821" y="4185"/>
                  </a:lnTo>
                  <a:lnTo>
                    <a:pt x="1863" y="4122"/>
                  </a:lnTo>
                  <a:lnTo>
                    <a:pt x="1967" y="4101"/>
                  </a:lnTo>
                  <a:lnTo>
                    <a:pt x="2198" y="4101"/>
                  </a:lnTo>
                  <a:lnTo>
                    <a:pt x="2260" y="3913"/>
                  </a:lnTo>
                  <a:lnTo>
                    <a:pt x="2386" y="3871"/>
                  </a:lnTo>
                  <a:lnTo>
                    <a:pt x="2553" y="3871"/>
                  </a:lnTo>
                  <a:lnTo>
                    <a:pt x="2616" y="3913"/>
                  </a:lnTo>
                  <a:lnTo>
                    <a:pt x="2721" y="3892"/>
                  </a:lnTo>
                  <a:lnTo>
                    <a:pt x="2909" y="3892"/>
                  </a:lnTo>
                  <a:lnTo>
                    <a:pt x="2825" y="3850"/>
                  </a:lnTo>
                  <a:lnTo>
                    <a:pt x="2762" y="3766"/>
                  </a:lnTo>
                  <a:lnTo>
                    <a:pt x="2762" y="3704"/>
                  </a:lnTo>
                  <a:lnTo>
                    <a:pt x="2658" y="3662"/>
                  </a:lnTo>
                  <a:lnTo>
                    <a:pt x="2637" y="3578"/>
                  </a:lnTo>
                  <a:lnTo>
                    <a:pt x="2553" y="3453"/>
                  </a:lnTo>
                  <a:lnTo>
                    <a:pt x="2490" y="3432"/>
                  </a:lnTo>
                  <a:lnTo>
                    <a:pt x="2490" y="3285"/>
                  </a:lnTo>
                  <a:lnTo>
                    <a:pt x="2449" y="3139"/>
                  </a:lnTo>
                  <a:lnTo>
                    <a:pt x="2428" y="3034"/>
                  </a:lnTo>
                  <a:lnTo>
                    <a:pt x="2386" y="3013"/>
                  </a:lnTo>
                  <a:lnTo>
                    <a:pt x="2302" y="3013"/>
                  </a:lnTo>
                  <a:lnTo>
                    <a:pt x="2239" y="2950"/>
                  </a:lnTo>
                  <a:lnTo>
                    <a:pt x="2239" y="2867"/>
                  </a:lnTo>
                  <a:lnTo>
                    <a:pt x="2177" y="2762"/>
                  </a:lnTo>
                  <a:lnTo>
                    <a:pt x="2135" y="2720"/>
                  </a:lnTo>
                  <a:lnTo>
                    <a:pt x="2093" y="2637"/>
                  </a:lnTo>
                  <a:lnTo>
                    <a:pt x="1988" y="2595"/>
                  </a:lnTo>
                  <a:lnTo>
                    <a:pt x="1967" y="2511"/>
                  </a:lnTo>
                  <a:lnTo>
                    <a:pt x="2072" y="2281"/>
                  </a:lnTo>
                  <a:lnTo>
                    <a:pt x="2072" y="2134"/>
                  </a:lnTo>
                  <a:lnTo>
                    <a:pt x="2135" y="2009"/>
                  </a:lnTo>
                  <a:lnTo>
                    <a:pt x="2302" y="2009"/>
                  </a:lnTo>
                  <a:lnTo>
                    <a:pt x="2407" y="1967"/>
                  </a:lnTo>
                  <a:lnTo>
                    <a:pt x="2490" y="1862"/>
                  </a:lnTo>
                  <a:lnTo>
                    <a:pt x="2449" y="1779"/>
                  </a:lnTo>
                  <a:lnTo>
                    <a:pt x="2511" y="1653"/>
                  </a:lnTo>
                  <a:lnTo>
                    <a:pt x="2449" y="1549"/>
                  </a:lnTo>
                  <a:lnTo>
                    <a:pt x="2449" y="1381"/>
                  </a:lnTo>
                  <a:lnTo>
                    <a:pt x="2428" y="1297"/>
                  </a:lnTo>
                  <a:lnTo>
                    <a:pt x="2218" y="1256"/>
                  </a:lnTo>
                  <a:lnTo>
                    <a:pt x="2009" y="1046"/>
                  </a:lnTo>
                  <a:lnTo>
                    <a:pt x="1905" y="963"/>
                  </a:lnTo>
                  <a:lnTo>
                    <a:pt x="1863" y="984"/>
                  </a:lnTo>
                  <a:lnTo>
                    <a:pt x="1716" y="1046"/>
                  </a:lnTo>
                  <a:lnTo>
                    <a:pt x="1653" y="1130"/>
                  </a:lnTo>
                  <a:lnTo>
                    <a:pt x="1612" y="1235"/>
                  </a:lnTo>
                  <a:lnTo>
                    <a:pt x="1591" y="1088"/>
                  </a:lnTo>
                  <a:lnTo>
                    <a:pt x="1612" y="921"/>
                  </a:lnTo>
                  <a:lnTo>
                    <a:pt x="1674" y="816"/>
                  </a:lnTo>
                  <a:lnTo>
                    <a:pt x="1612" y="628"/>
                  </a:lnTo>
                  <a:lnTo>
                    <a:pt x="1507" y="565"/>
                  </a:lnTo>
                  <a:lnTo>
                    <a:pt x="1298" y="419"/>
                  </a:lnTo>
                  <a:lnTo>
                    <a:pt x="1151" y="251"/>
                  </a:lnTo>
                  <a:lnTo>
                    <a:pt x="1130" y="147"/>
                  </a:lnTo>
                  <a:lnTo>
                    <a:pt x="1026" y="42"/>
                  </a:lnTo>
                  <a:lnTo>
                    <a:pt x="921" y="21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1" name="Google Shape;801;p34"/>
            <p:cNvSpPr/>
            <p:nvPr/>
          </p:nvSpPr>
          <p:spPr>
            <a:xfrm>
              <a:off x="3250041" y="3063487"/>
              <a:ext cx="91450" cy="78538"/>
            </a:xfrm>
            <a:custGeom>
              <a:avLst/>
              <a:gdLst/>
              <a:ahLst/>
              <a:cxnLst/>
              <a:rect l="l" t="t" r="r" b="b"/>
              <a:pathLst>
                <a:path w="7680" h="6906" extrusionOk="0">
                  <a:moveTo>
                    <a:pt x="1988" y="0"/>
                  </a:moveTo>
                  <a:lnTo>
                    <a:pt x="1821" y="63"/>
                  </a:lnTo>
                  <a:lnTo>
                    <a:pt x="1674" y="251"/>
                  </a:lnTo>
                  <a:lnTo>
                    <a:pt x="1695" y="377"/>
                  </a:lnTo>
                  <a:lnTo>
                    <a:pt x="1758" y="440"/>
                  </a:lnTo>
                  <a:lnTo>
                    <a:pt x="1863" y="356"/>
                  </a:lnTo>
                  <a:lnTo>
                    <a:pt x="1967" y="377"/>
                  </a:lnTo>
                  <a:lnTo>
                    <a:pt x="2072" y="461"/>
                  </a:lnTo>
                  <a:lnTo>
                    <a:pt x="2030" y="544"/>
                  </a:lnTo>
                  <a:lnTo>
                    <a:pt x="1925" y="565"/>
                  </a:lnTo>
                  <a:lnTo>
                    <a:pt x="1821" y="523"/>
                  </a:lnTo>
                  <a:lnTo>
                    <a:pt x="1779" y="482"/>
                  </a:lnTo>
                  <a:lnTo>
                    <a:pt x="1758" y="523"/>
                  </a:lnTo>
                  <a:lnTo>
                    <a:pt x="1758" y="565"/>
                  </a:lnTo>
                  <a:lnTo>
                    <a:pt x="1611" y="649"/>
                  </a:lnTo>
                  <a:lnTo>
                    <a:pt x="1360" y="670"/>
                  </a:lnTo>
                  <a:lnTo>
                    <a:pt x="1088" y="774"/>
                  </a:lnTo>
                  <a:lnTo>
                    <a:pt x="1026" y="879"/>
                  </a:lnTo>
                  <a:lnTo>
                    <a:pt x="1026" y="984"/>
                  </a:lnTo>
                  <a:lnTo>
                    <a:pt x="1088" y="1088"/>
                  </a:lnTo>
                  <a:lnTo>
                    <a:pt x="1088" y="1318"/>
                  </a:lnTo>
                  <a:lnTo>
                    <a:pt x="1130" y="1486"/>
                  </a:lnTo>
                  <a:lnTo>
                    <a:pt x="1151" y="1611"/>
                  </a:lnTo>
                  <a:lnTo>
                    <a:pt x="1067" y="1800"/>
                  </a:lnTo>
                  <a:lnTo>
                    <a:pt x="879" y="1925"/>
                  </a:lnTo>
                  <a:lnTo>
                    <a:pt x="775" y="1904"/>
                  </a:lnTo>
                  <a:lnTo>
                    <a:pt x="775" y="1737"/>
                  </a:lnTo>
                  <a:lnTo>
                    <a:pt x="649" y="1611"/>
                  </a:lnTo>
                  <a:lnTo>
                    <a:pt x="628" y="1486"/>
                  </a:lnTo>
                  <a:lnTo>
                    <a:pt x="733" y="1402"/>
                  </a:lnTo>
                  <a:lnTo>
                    <a:pt x="754" y="1318"/>
                  </a:lnTo>
                  <a:lnTo>
                    <a:pt x="963" y="1109"/>
                  </a:lnTo>
                  <a:lnTo>
                    <a:pt x="963" y="942"/>
                  </a:lnTo>
                  <a:lnTo>
                    <a:pt x="879" y="795"/>
                  </a:lnTo>
                  <a:lnTo>
                    <a:pt x="921" y="754"/>
                  </a:lnTo>
                  <a:lnTo>
                    <a:pt x="879" y="670"/>
                  </a:lnTo>
                  <a:lnTo>
                    <a:pt x="816" y="628"/>
                  </a:lnTo>
                  <a:lnTo>
                    <a:pt x="754" y="523"/>
                  </a:lnTo>
                  <a:lnTo>
                    <a:pt x="775" y="440"/>
                  </a:lnTo>
                  <a:lnTo>
                    <a:pt x="921" y="377"/>
                  </a:lnTo>
                  <a:lnTo>
                    <a:pt x="1067" y="356"/>
                  </a:lnTo>
                  <a:lnTo>
                    <a:pt x="1172" y="210"/>
                  </a:lnTo>
                  <a:lnTo>
                    <a:pt x="1130" y="210"/>
                  </a:lnTo>
                  <a:lnTo>
                    <a:pt x="1088" y="230"/>
                  </a:lnTo>
                  <a:lnTo>
                    <a:pt x="775" y="356"/>
                  </a:lnTo>
                  <a:lnTo>
                    <a:pt x="628" y="628"/>
                  </a:lnTo>
                  <a:lnTo>
                    <a:pt x="565" y="670"/>
                  </a:lnTo>
                  <a:lnTo>
                    <a:pt x="461" y="691"/>
                  </a:lnTo>
                  <a:lnTo>
                    <a:pt x="356" y="837"/>
                  </a:lnTo>
                  <a:lnTo>
                    <a:pt x="293" y="900"/>
                  </a:lnTo>
                  <a:lnTo>
                    <a:pt x="105" y="1172"/>
                  </a:lnTo>
                  <a:lnTo>
                    <a:pt x="84" y="1298"/>
                  </a:lnTo>
                  <a:lnTo>
                    <a:pt x="105" y="1402"/>
                  </a:lnTo>
                  <a:lnTo>
                    <a:pt x="84" y="1590"/>
                  </a:lnTo>
                  <a:lnTo>
                    <a:pt x="0" y="1779"/>
                  </a:lnTo>
                  <a:lnTo>
                    <a:pt x="0" y="1821"/>
                  </a:lnTo>
                  <a:lnTo>
                    <a:pt x="147" y="1821"/>
                  </a:lnTo>
                  <a:lnTo>
                    <a:pt x="398" y="2239"/>
                  </a:lnTo>
                  <a:lnTo>
                    <a:pt x="503" y="2407"/>
                  </a:lnTo>
                  <a:lnTo>
                    <a:pt x="523" y="2511"/>
                  </a:lnTo>
                  <a:lnTo>
                    <a:pt x="461" y="2637"/>
                  </a:lnTo>
                  <a:lnTo>
                    <a:pt x="461" y="2720"/>
                  </a:lnTo>
                  <a:lnTo>
                    <a:pt x="440" y="2762"/>
                  </a:lnTo>
                  <a:lnTo>
                    <a:pt x="440" y="2867"/>
                  </a:lnTo>
                  <a:lnTo>
                    <a:pt x="565" y="2971"/>
                  </a:lnTo>
                  <a:lnTo>
                    <a:pt x="733" y="3034"/>
                  </a:lnTo>
                  <a:lnTo>
                    <a:pt x="837" y="3055"/>
                  </a:lnTo>
                  <a:lnTo>
                    <a:pt x="963" y="3097"/>
                  </a:lnTo>
                  <a:lnTo>
                    <a:pt x="1047" y="3055"/>
                  </a:lnTo>
                  <a:lnTo>
                    <a:pt x="1193" y="3055"/>
                  </a:lnTo>
                  <a:lnTo>
                    <a:pt x="1339" y="3097"/>
                  </a:lnTo>
                  <a:lnTo>
                    <a:pt x="1381" y="3076"/>
                  </a:lnTo>
                  <a:lnTo>
                    <a:pt x="1549" y="3055"/>
                  </a:lnTo>
                  <a:lnTo>
                    <a:pt x="1716" y="3076"/>
                  </a:lnTo>
                  <a:lnTo>
                    <a:pt x="1821" y="3139"/>
                  </a:lnTo>
                  <a:lnTo>
                    <a:pt x="2281" y="3557"/>
                  </a:lnTo>
                  <a:lnTo>
                    <a:pt x="2427" y="3515"/>
                  </a:lnTo>
                  <a:lnTo>
                    <a:pt x="2448" y="3557"/>
                  </a:lnTo>
                  <a:lnTo>
                    <a:pt x="2511" y="3515"/>
                  </a:lnTo>
                  <a:lnTo>
                    <a:pt x="2637" y="3578"/>
                  </a:lnTo>
                  <a:lnTo>
                    <a:pt x="2699" y="3599"/>
                  </a:lnTo>
                  <a:lnTo>
                    <a:pt x="2825" y="3557"/>
                  </a:lnTo>
                  <a:lnTo>
                    <a:pt x="2930" y="3557"/>
                  </a:lnTo>
                  <a:lnTo>
                    <a:pt x="3076" y="3578"/>
                  </a:lnTo>
                  <a:lnTo>
                    <a:pt x="3118" y="3515"/>
                  </a:lnTo>
                  <a:lnTo>
                    <a:pt x="3223" y="3515"/>
                  </a:lnTo>
                  <a:lnTo>
                    <a:pt x="3285" y="3578"/>
                  </a:lnTo>
                  <a:lnTo>
                    <a:pt x="3348" y="3808"/>
                  </a:lnTo>
                  <a:lnTo>
                    <a:pt x="3285" y="3892"/>
                  </a:lnTo>
                  <a:lnTo>
                    <a:pt x="3285" y="3997"/>
                  </a:lnTo>
                  <a:lnTo>
                    <a:pt x="3264" y="4080"/>
                  </a:lnTo>
                  <a:lnTo>
                    <a:pt x="3118" y="4101"/>
                  </a:lnTo>
                  <a:lnTo>
                    <a:pt x="3055" y="4185"/>
                  </a:lnTo>
                  <a:lnTo>
                    <a:pt x="3076" y="4394"/>
                  </a:lnTo>
                  <a:lnTo>
                    <a:pt x="3118" y="4457"/>
                  </a:lnTo>
                  <a:lnTo>
                    <a:pt x="3055" y="4624"/>
                  </a:lnTo>
                  <a:lnTo>
                    <a:pt x="3055" y="4813"/>
                  </a:lnTo>
                  <a:lnTo>
                    <a:pt x="3139" y="4875"/>
                  </a:lnTo>
                  <a:lnTo>
                    <a:pt x="3139" y="4959"/>
                  </a:lnTo>
                  <a:lnTo>
                    <a:pt x="3244" y="5252"/>
                  </a:lnTo>
                  <a:lnTo>
                    <a:pt x="3055" y="5587"/>
                  </a:lnTo>
                  <a:lnTo>
                    <a:pt x="3076" y="5692"/>
                  </a:lnTo>
                  <a:lnTo>
                    <a:pt x="3139" y="5692"/>
                  </a:lnTo>
                  <a:lnTo>
                    <a:pt x="3223" y="5671"/>
                  </a:lnTo>
                  <a:lnTo>
                    <a:pt x="3223" y="5692"/>
                  </a:lnTo>
                  <a:lnTo>
                    <a:pt x="3244" y="5775"/>
                  </a:lnTo>
                  <a:lnTo>
                    <a:pt x="3327" y="5817"/>
                  </a:lnTo>
                  <a:lnTo>
                    <a:pt x="3369" y="5922"/>
                  </a:lnTo>
                  <a:lnTo>
                    <a:pt x="3348" y="5984"/>
                  </a:lnTo>
                  <a:lnTo>
                    <a:pt x="3390" y="6131"/>
                  </a:lnTo>
                  <a:lnTo>
                    <a:pt x="3536" y="6424"/>
                  </a:lnTo>
                  <a:lnTo>
                    <a:pt x="3536" y="6528"/>
                  </a:lnTo>
                  <a:lnTo>
                    <a:pt x="3746" y="6696"/>
                  </a:lnTo>
                  <a:lnTo>
                    <a:pt x="3976" y="6863"/>
                  </a:lnTo>
                  <a:lnTo>
                    <a:pt x="4101" y="6905"/>
                  </a:lnTo>
                  <a:lnTo>
                    <a:pt x="4332" y="6863"/>
                  </a:lnTo>
                  <a:lnTo>
                    <a:pt x="4478" y="6717"/>
                  </a:lnTo>
                  <a:lnTo>
                    <a:pt x="4687" y="6591"/>
                  </a:lnTo>
                  <a:lnTo>
                    <a:pt x="4750" y="6487"/>
                  </a:lnTo>
                  <a:lnTo>
                    <a:pt x="5064" y="6319"/>
                  </a:lnTo>
                  <a:lnTo>
                    <a:pt x="5127" y="6173"/>
                  </a:lnTo>
                  <a:lnTo>
                    <a:pt x="5168" y="6110"/>
                  </a:lnTo>
                  <a:lnTo>
                    <a:pt x="5210" y="6068"/>
                  </a:lnTo>
                  <a:lnTo>
                    <a:pt x="5482" y="6005"/>
                  </a:lnTo>
                  <a:lnTo>
                    <a:pt x="5629" y="5964"/>
                  </a:lnTo>
                  <a:lnTo>
                    <a:pt x="5587" y="5817"/>
                  </a:lnTo>
                  <a:lnTo>
                    <a:pt x="5440" y="5796"/>
                  </a:lnTo>
                  <a:lnTo>
                    <a:pt x="5252" y="5817"/>
                  </a:lnTo>
                  <a:lnTo>
                    <a:pt x="4959" y="5712"/>
                  </a:lnTo>
                  <a:lnTo>
                    <a:pt x="5022" y="5545"/>
                  </a:lnTo>
                  <a:lnTo>
                    <a:pt x="5001" y="5482"/>
                  </a:lnTo>
                  <a:lnTo>
                    <a:pt x="4938" y="5440"/>
                  </a:lnTo>
                  <a:lnTo>
                    <a:pt x="5127" y="5168"/>
                  </a:lnTo>
                  <a:lnTo>
                    <a:pt x="5064" y="5064"/>
                  </a:lnTo>
                  <a:lnTo>
                    <a:pt x="4938" y="4938"/>
                  </a:lnTo>
                  <a:lnTo>
                    <a:pt x="4834" y="4917"/>
                  </a:lnTo>
                  <a:lnTo>
                    <a:pt x="4750" y="4750"/>
                  </a:lnTo>
                  <a:lnTo>
                    <a:pt x="4917" y="4813"/>
                  </a:lnTo>
                  <a:lnTo>
                    <a:pt x="5106" y="4834"/>
                  </a:lnTo>
                  <a:lnTo>
                    <a:pt x="5273" y="4938"/>
                  </a:lnTo>
                  <a:lnTo>
                    <a:pt x="5461" y="4938"/>
                  </a:lnTo>
                  <a:lnTo>
                    <a:pt x="5733" y="4875"/>
                  </a:lnTo>
                  <a:lnTo>
                    <a:pt x="5796" y="4938"/>
                  </a:lnTo>
                  <a:lnTo>
                    <a:pt x="5985" y="4875"/>
                  </a:lnTo>
                  <a:lnTo>
                    <a:pt x="6173" y="4708"/>
                  </a:lnTo>
                  <a:lnTo>
                    <a:pt x="6319" y="4708"/>
                  </a:lnTo>
                  <a:lnTo>
                    <a:pt x="6424" y="4729"/>
                  </a:lnTo>
                  <a:lnTo>
                    <a:pt x="6675" y="4624"/>
                  </a:lnTo>
                  <a:lnTo>
                    <a:pt x="6884" y="4624"/>
                  </a:lnTo>
                  <a:lnTo>
                    <a:pt x="7156" y="4394"/>
                  </a:lnTo>
                  <a:lnTo>
                    <a:pt x="7219" y="4248"/>
                  </a:lnTo>
                  <a:lnTo>
                    <a:pt x="7219" y="4143"/>
                  </a:lnTo>
                  <a:lnTo>
                    <a:pt x="7219" y="4122"/>
                  </a:lnTo>
                  <a:lnTo>
                    <a:pt x="6989" y="3934"/>
                  </a:lnTo>
                  <a:lnTo>
                    <a:pt x="6842" y="3725"/>
                  </a:lnTo>
                  <a:lnTo>
                    <a:pt x="6801" y="3599"/>
                  </a:lnTo>
                  <a:lnTo>
                    <a:pt x="6905" y="3495"/>
                  </a:lnTo>
                  <a:lnTo>
                    <a:pt x="6926" y="3306"/>
                  </a:lnTo>
                  <a:lnTo>
                    <a:pt x="7010" y="3243"/>
                  </a:lnTo>
                  <a:lnTo>
                    <a:pt x="7093" y="3264"/>
                  </a:lnTo>
                  <a:lnTo>
                    <a:pt x="7198" y="3243"/>
                  </a:lnTo>
                  <a:lnTo>
                    <a:pt x="7261" y="3264"/>
                  </a:lnTo>
                  <a:lnTo>
                    <a:pt x="7449" y="3181"/>
                  </a:lnTo>
                  <a:lnTo>
                    <a:pt x="7449" y="3055"/>
                  </a:lnTo>
                  <a:lnTo>
                    <a:pt x="7365" y="2971"/>
                  </a:lnTo>
                  <a:lnTo>
                    <a:pt x="7219" y="2951"/>
                  </a:lnTo>
                  <a:lnTo>
                    <a:pt x="7156" y="2846"/>
                  </a:lnTo>
                  <a:lnTo>
                    <a:pt x="7135" y="2762"/>
                  </a:lnTo>
                  <a:lnTo>
                    <a:pt x="7303" y="2553"/>
                  </a:lnTo>
                  <a:lnTo>
                    <a:pt x="7365" y="2574"/>
                  </a:lnTo>
                  <a:lnTo>
                    <a:pt x="7512" y="2469"/>
                  </a:lnTo>
                  <a:lnTo>
                    <a:pt x="7658" y="2302"/>
                  </a:lnTo>
                  <a:lnTo>
                    <a:pt x="7679" y="2218"/>
                  </a:lnTo>
                  <a:lnTo>
                    <a:pt x="7658" y="2218"/>
                  </a:lnTo>
                  <a:lnTo>
                    <a:pt x="7428" y="2114"/>
                  </a:lnTo>
                  <a:lnTo>
                    <a:pt x="7345" y="2114"/>
                  </a:lnTo>
                  <a:lnTo>
                    <a:pt x="7261" y="2135"/>
                  </a:lnTo>
                  <a:lnTo>
                    <a:pt x="7156" y="2114"/>
                  </a:lnTo>
                  <a:lnTo>
                    <a:pt x="7093" y="2114"/>
                  </a:lnTo>
                  <a:lnTo>
                    <a:pt x="7010" y="2155"/>
                  </a:lnTo>
                  <a:lnTo>
                    <a:pt x="6821" y="2197"/>
                  </a:lnTo>
                  <a:lnTo>
                    <a:pt x="6675" y="2155"/>
                  </a:lnTo>
                  <a:lnTo>
                    <a:pt x="6612" y="2155"/>
                  </a:lnTo>
                  <a:lnTo>
                    <a:pt x="6717" y="2135"/>
                  </a:lnTo>
                  <a:lnTo>
                    <a:pt x="6801" y="2135"/>
                  </a:lnTo>
                  <a:lnTo>
                    <a:pt x="6884" y="2093"/>
                  </a:lnTo>
                  <a:lnTo>
                    <a:pt x="6926" y="2009"/>
                  </a:lnTo>
                  <a:lnTo>
                    <a:pt x="7052" y="1904"/>
                  </a:lnTo>
                  <a:lnTo>
                    <a:pt x="7093" y="1842"/>
                  </a:lnTo>
                  <a:lnTo>
                    <a:pt x="7010" y="1800"/>
                  </a:lnTo>
                  <a:lnTo>
                    <a:pt x="7010" y="1779"/>
                  </a:lnTo>
                  <a:lnTo>
                    <a:pt x="6989" y="1674"/>
                  </a:lnTo>
                  <a:lnTo>
                    <a:pt x="6821" y="1590"/>
                  </a:lnTo>
                  <a:lnTo>
                    <a:pt x="6612" y="1528"/>
                  </a:lnTo>
                  <a:lnTo>
                    <a:pt x="6570" y="1486"/>
                  </a:lnTo>
                  <a:lnTo>
                    <a:pt x="6487" y="1423"/>
                  </a:lnTo>
                  <a:lnTo>
                    <a:pt x="6382" y="1423"/>
                  </a:lnTo>
                  <a:lnTo>
                    <a:pt x="6361" y="1381"/>
                  </a:lnTo>
                  <a:lnTo>
                    <a:pt x="6215" y="1318"/>
                  </a:lnTo>
                  <a:lnTo>
                    <a:pt x="6173" y="1318"/>
                  </a:lnTo>
                  <a:lnTo>
                    <a:pt x="6173" y="1423"/>
                  </a:lnTo>
                  <a:lnTo>
                    <a:pt x="6089" y="1318"/>
                  </a:lnTo>
                  <a:lnTo>
                    <a:pt x="6047" y="1214"/>
                  </a:lnTo>
                  <a:lnTo>
                    <a:pt x="5943" y="1172"/>
                  </a:lnTo>
                  <a:lnTo>
                    <a:pt x="5901" y="1088"/>
                  </a:lnTo>
                  <a:lnTo>
                    <a:pt x="5964" y="1046"/>
                  </a:lnTo>
                  <a:lnTo>
                    <a:pt x="6215" y="1067"/>
                  </a:lnTo>
                  <a:lnTo>
                    <a:pt x="6319" y="984"/>
                  </a:lnTo>
                  <a:lnTo>
                    <a:pt x="6487" y="984"/>
                  </a:lnTo>
                  <a:lnTo>
                    <a:pt x="6487" y="879"/>
                  </a:lnTo>
                  <a:lnTo>
                    <a:pt x="6361" y="900"/>
                  </a:lnTo>
                  <a:lnTo>
                    <a:pt x="6089" y="858"/>
                  </a:lnTo>
                  <a:lnTo>
                    <a:pt x="5901" y="879"/>
                  </a:lnTo>
                  <a:lnTo>
                    <a:pt x="5775" y="879"/>
                  </a:lnTo>
                  <a:lnTo>
                    <a:pt x="5524" y="963"/>
                  </a:lnTo>
                  <a:lnTo>
                    <a:pt x="5440" y="942"/>
                  </a:lnTo>
                  <a:lnTo>
                    <a:pt x="5336" y="942"/>
                  </a:lnTo>
                  <a:lnTo>
                    <a:pt x="5127" y="1088"/>
                  </a:lnTo>
                  <a:lnTo>
                    <a:pt x="5022" y="1109"/>
                  </a:lnTo>
                  <a:lnTo>
                    <a:pt x="4896" y="1172"/>
                  </a:lnTo>
                  <a:lnTo>
                    <a:pt x="4834" y="1256"/>
                  </a:lnTo>
                  <a:lnTo>
                    <a:pt x="4645" y="1277"/>
                  </a:lnTo>
                  <a:lnTo>
                    <a:pt x="4604" y="1298"/>
                  </a:lnTo>
                  <a:lnTo>
                    <a:pt x="4520" y="1277"/>
                  </a:lnTo>
                  <a:lnTo>
                    <a:pt x="4269" y="1088"/>
                  </a:lnTo>
                  <a:lnTo>
                    <a:pt x="4206" y="984"/>
                  </a:lnTo>
                  <a:lnTo>
                    <a:pt x="3871" y="984"/>
                  </a:lnTo>
                  <a:lnTo>
                    <a:pt x="3327" y="1088"/>
                  </a:lnTo>
                  <a:lnTo>
                    <a:pt x="3055" y="1088"/>
                  </a:lnTo>
                  <a:lnTo>
                    <a:pt x="2951" y="1046"/>
                  </a:lnTo>
                  <a:lnTo>
                    <a:pt x="2909" y="963"/>
                  </a:lnTo>
                  <a:lnTo>
                    <a:pt x="2909" y="858"/>
                  </a:lnTo>
                  <a:lnTo>
                    <a:pt x="2972" y="858"/>
                  </a:lnTo>
                  <a:lnTo>
                    <a:pt x="2951" y="733"/>
                  </a:lnTo>
                  <a:lnTo>
                    <a:pt x="2846" y="565"/>
                  </a:lnTo>
                  <a:lnTo>
                    <a:pt x="2741" y="544"/>
                  </a:lnTo>
                  <a:lnTo>
                    <a:pt x="2448" y="565"/>
                  </a:lnTo>
                  <a:lnTo>
                    <a:pt x="2323" y="482"/>
                  </a:lnTo>
                  <a:lnTo>
                    <a:pt x="2239" y="482"/>
                  </a:lnTo>
                  <a:lnTo>
                    <a:pt x="2176" y="523"/>
                  </a:lnTo>
                  <a:lnTo>
                    <a:pt x="2072" y="356"/>
                  </a:lnTo>
                  <a:lnTo>
                    <a:pt x="2072" y="210"/>
                  </a:lnTo>
                  <a:lnTo>
                    <a:pt x="2030" y="21"/>
                  </a:lnTo>
                  <a:lnTo>
                    <a:pt x="198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2" name="Google Shape;802;p34"/>
            <p:cNvSpPr/>
            <p:nvPr/>
          </p:nvSpPr>
          <p:spPr>
            <a:xfrm>
              <a:off x="3209425" y="3061815"/>
              <a:ext cx="82733" cy="112565"/>
            </a:xfrm>
            <a:custGeom>
              <a:avLst/>
              <a:gdLst/>
              <a:ahLst/>
              <a:cxnLst/>
              <a:rect l="l" t="t" r="r" b="b"/>
              <a:pathLst>
                <a:path w="6948" h="9898" extrusionOk="0">
                  <a:moveTo>
                    <a:pt x="4353" y="1"/>
                  </a:moveTo>
                  <a:lnTo>
                    <a:pt x="4332" y="64"/>
                  </a:lnTo>
                  <a:lnTo>
                    <a:pt x="4290" y="105"/>
                  </a:lnTo>
                  <a:lnTo>
                    <a:pt x="4227" y="147"/>
                  </a:lnTo>
                  <a:lnTo>
                    <a:pt x="4165" y="168"/>
                  </a:lnTo>
                  <a:lnTo>
                    <a:pt x="4060" y="168"/>
                  </a:lnTo>
                  <a:lnTo>
                    <a:pt x="3976" y="189"/>
                  </a:lnTo>
                  <a:lnTo>
                    <a:pt x="3955" y="252"/>
                  </a:lnTo>
                  <a:lnTo>
                    <a:pt x="3976" y="294"/>
                  </a:lnTo>
                  <a:lnTo>
                    <a:pt x="3955" y="357"/>
                  </a:lnTo>
                  <a:lnTo>
                    <a:pt x="3809" y="419"/>
                  </a:lnTo>
                  <a:lnTo>
                    <a:pt x="3621" y="566"/>
                  </a:lnTo>
                  <a:lnTo>
                    <a:pt x="3495" y="670"/>
                  </a:lnTo>
                  <a:lnTo>
                    <a:pt x="3328" y="691"/>
                  </a:lnTo>
                  <a:lnTo>
                    <a:pt x="2972" y="691"/>
                  </a:lnTo>
                  <a:lnTo>
                    <a:pt x="2867" y="733"/>
                  </a:lnTo>
                  <a:lnTo>
                    <a:pt x="2867" y="817"/>
                  </a:lnTo>
                  <a:lnTo>
                    <a:pt x="2888" y="901"/>
                  </a:lnTo>
                  <a:lnTo>
                    <a:pt x="2888" y="1005"/>
                  </a:lnTo>
                  <a:lnTo>
                    <a:pt x="2805" y="1089"/>
                  </a:lnTo>
                  <a:lnTo>
                    <a:pt x="2721" y="1047"/>
                  </a:lnTo>
                  <a:lnTo>
                    <a:pt x="2763" y="942"/>
                  </a:lnTo>
                  <a:lnTo>
                    <a:pt x="2763" y="921"/>
                  </a:lnTo>
                  <a:lnTo>
                    <a:pt x="2825" y="901"/>
                  </a:lnTo>
                  <a:lnTo>
                    <a:pt x="2700" y="880"/>
                  </a:lnTo>
                  <a:lnTo>
                    <a:pt x="2574" y="817"/>
                  </a:lnTo>
                  <a:lnTo>
                    <a:pt x="2491" y="817"/>
                  </a:lnTo>
                  <a:lnTo>
                    <a:pt x="2302" y="942"/>
                  </a:lnTo>
                  <a:lnTo>
                    <a:pt x="2261" y="1026"/>
                  </a:lnTo>
                  <a:lnTo>
                    <a:pt x="2135" y="1152"/>
                  </a:lnTo>
                  <a:lnTo>
                    <a:pt x="1968" y="1465"/>
                  </a:lnTo>
                  <a:lnTo>
                    <a:pt x="1947" y="1549"/>
                  </a:lnTo>
                  <a:lnTo>
                    <a:pt x="1947" y="1549"/>
                  </a:lnTo>
                  <a:lnTo>
                    <a:pt x="1989" y="1528"/>
                  </a:lnTo>
                  <a:lnTo>
                    <a:pt x="2051" y="1570"/>
                  </a:lnTo>
                  <a:lnTo>
                    <a:pt x="2051" y="1654"/>
                  </a:lnTo>
                  <a:lnTo>
                    <a:pt x="2030" y="1758"/>
                  </a:lnTo>
                  <a:lnTo>
                    <a:pt x="1947" y="1821"/>
                  </a:lnTo>
                  <a:lnTo>
                    <a:pt x="1842" y="1821"/>
                  </a:lnTo>
                  <a:lnTo>
                    <a:pt x="1737" y="1863"/>
                  </a:lnTo>
                  <a:lnTo>
                    <a:pt x="1612" y="1989"/>
                  </a:lnTo>
                  <a:lnTo>
                    <a:pt x="1528" y="2051"/>
                  </a:lnTo>
                  <a:lnTo>
                    <a:pt x="1424" y="2198"/>
                  </a:lnTo>
                  <a:lnTo>
                    <a:pt x="1340" y="2198"/>
                  </a:lnTo>
                  <a:lnTo>
                    <a:pt x="1256" y="2240"/>
                  </a:lnTo>
                  <a:lnTo>
                    <a:pt x="1298" y="2344"/>
                  </a:lnTo>
                  <a:lnTo>
                    <a:pt x="1403" y="2449"/>
                  </a:lnTo>
                  <a:lnTo>
                    <a:pt x="1403" y="2574"/>
                  </a:lnTo>
                  <a:lnTo>
                    <a:pt x="1340" y="2700"/>
                  </a:lnTo>
                  <a:lnTo>
                    <a:pt x="1256" y="2700"/>
                  </a:lnTo>
                  <a:lnTo>
                    <a:pt x="1152" y="2616"/>
                  </a:lnTo>
                  <a:lnTo>
                    <a:pt x="1193" y="2574"/>
                  </a:lnTo>
                  <a:lnTo>
                    <a:pt x="1214" y="2512"/>
                  </a:lnTo>
                  <a:lnTo>
                    <a:pt x="1131" y="2470"/>
                  </a:lnTo>
                  <a:lnTo>
                    <a:pt x="1089" y="2365"/>
                  </a:lnTo>
                  <a:lnTo>
                    <a:pt x="984" y="2261"/>
                  </a:lnTo>
                  <a:lnTo>
                    <a:pt x="942" y="2365"/>
                  </a:lnTo>
                  <a:lnTo>
                    <a:pt x="942" y="2407"/>
                  </a:lnTo>
                  <a:lnTo>
                    <a:pt x="1005" y="2574"/>
                  </a:lnTo>
                  <a:lnTo>
                    <a:pt x="921" y="2721"/>
                  </a:lnTo>
                  <a:lnTo>
                    <a:pt x="901" y="2867"/>
                  </a:lnTo>
                  <a:lnTo>
                    <a:pt x="817" y="2909"/>
                  </a:lnTo>
                  <a:lnTo>
                    <a:pt x="775" y="2909"/>
                  </a:lnTo>
                  <a:lnTo>
                    <a:pt x="691" y="3098"/>
                  </a:lnTo>
                  <a:lnTo>
                    <a:pt x="712" y="3118"/>
                  </a:lnTo>
                  <a:lnTo>
                    <a:pt x="733" y="3244"/>
                  </a:lnTo>
                  <a:lnTo>
                    <a:pt x="733" y="3390"/>
                  </a:lnTo>
                  <a:lnTo>
                    <a:pt x="880" y="3516"/>
                  </a:lnTo>
                  <a:lnTo>
                    <a:pt x="901" y="3516"/>
                  </a:lnTo>
                  <a:lnTo>
                    <a:pt x="942" y="3495"/>
                  </a:lnTo>
                  <a:lnTo>
                    <a:pt x="1005" y="3537"/>
                  </a:lnTo>
                  <a:lnTo>
                    <a:pt x="1005" y="3662"/>
                  </a:lnTo>
                  <a:lnTo>
                    <a:pt x="921" y="3746"/>
                  </a:lnTo>
                  <a:lnTo>
                    <a:pt x="921" y="3809"/>
                  </a:lnTo>
                  <a:lnTo>
                    <a:pt x="1005" y="3872"/>
                  </a:lnTo>
                  <a:lnTo>
                    <a:pt x="1005" y="4039"/>
                  </a:lnTo>
                  <a:lnTo>
                    <a:pt x="921" y="4081"/>
                  </a:lnTo>
                  <a:lnTo>
                    <a:pt x="880" y="4165"/>
                  </a:lnTo>
                  <a:lnTo>
                    <a:pt x="921" y="4186"/>
                  </a:lnTo>
                  <a:lnTo>
                    <a:pt x="984" y="4290"/>
                  </a:lnTo>
                  <a:lnTo>
                    <a:pt x="942" y="4478"/>
                  </a:lnTo>
                  <a:lnTo>
                    <a:pt x="984" y="4771"/>
                  </a:lnTo>
                  <a:lnTo>
                    <a:pt x="901" y="4855"/>
                  </a:lnTo>
                  <a:lnTo>
                    <a:pt x="880" y="4918"/>
                  </a:lnTo>
                  <a:lnTo>
                    <a:pt x="942" y="5022"/>
                  </a:lnTo>
                  <a:lnTo>
                    <a:pt x="1047" y="4981"/>
                  </a:lnTo>
                  <a:lnTo>
                    <a:pt x="1047" y="4981"/>
                  </a:lnTo>
                  <a:lnTo>
                    <a:pt x="1026" y="5064"/>
                  </a:lnTo>
                  <a:lnTo>
                    <a:pt x="1089" y="5127"/>
                  </a:lnTo>
                  <a:lnTo>
                    <a:pt x="1152" y="5127"/>
                  </a:lnTo>
                  <a:lnTo>
                    <a:pt x="1152" y="5190"/>
                  </a:lnTo>
                  <a:lnTo>
                    <a:pt x="1110" y="5274"/>
                  </a:lnTo>
                  <a:lnTo>
                    <a:pt x="1047" y="5378"/>
                  </a:lnTo>
                  <a:lnTo>
                    <a:pt x="817" y="5608"/>
                  </a:lnTo>
                  <a:lnTo>
                    <a:pt x="775" y="5713"/>
                  </a:lnTo>
                  <a:lnTo>
                    <a:pt x="608" y="5859"/>
                  </a:lnTo>
                  <a:lnTo>
                    <a:pt x="398" y="5922"/>
                  </a:lnTo>
                  <a:lnTo>
                    <a:pt x="210" y="6048"/>
                  </a:lnTo>
                  <a:lnTo>
                    <a:pt x="64" y="6278"/>
                  </a:lnTo>
                  <a:lnTo>
                    <a:pt x="43" y="6466"/>
                  </a:lnTo>
                  <a:lnTo>
                    <a:pt x="1" y="6571"/>
                  </a:lnTo>
                  <a:lnTo>
                    <a:pt x="189" y="6655"/>
                  </a:lnTo>
                  <a:lnTo>
                    <a:pt x="377" y="6780"/>
                  </a:lnTo>
                  <a:lnTo>
                    <a:pt x="629" y="6947"/>
                  </a:lnTo>
                  <a:lnTo>
                    <a:pt x="733" y="6947"/>
                  </a:lnTo>
                  <a:lnTo>
                    <a:pt x="880" y="7094"/>
                  </a:lnTo>
                  <a:lnTo>
                    <a:pt x="838" y="7178"/>
                  </a:lnTo>
                  <a:lnTo>
                    <a:pt x="880" y="7261"/>
                  </a:lnTo>
                  <a:lnTo>
                    <a:pt x="1047" y="7282"/>
                  </a:lnTo>
                  <a:lnTo>
                    <a:pt x="1256" y="7366"/>
                  </a:lnTo>
                  <a:lnTo>
                    <a:pt x="1319" y="7408"/>
                  </a:lnTo>
                  <a:lnTo>
                    <a:pt x="1507" y="7471"/>
                  </a:lnTo>
                  <a:lnTo>
                    <a:pt x="1570" y="7387"/>
                  </a:lnTo>
                  <a:lnTo>
                    <a:pt x="1570" y="7282"/>
                  </a:lnTo>
                  <a:lnTo>
                    <a:pt x="1654" y="7199"/>
                  </a:lnTo>
                  <a:lnTo>
                    <a:pt x="1717" y="7199"/>
                  </a:lnTo>
                  <a:lnTo>
                    <a:pt x="1863" y="7282"/>
                  </a:lnTo>
                  <a:lnTo>
                    <a:pt x="1968" y="7303"/>
                  </a:lnTo>
                  <a:lnTo>
                    <a:pt x="1989" y="7387"/>
                  </a:lnTo>
                  <a:lnTo>
                    <a:pt x="2072" y="7429"/>
                  </a:lnTo>
                  <a:lnTo>
                    <a:pt x="2135" y="7429"/>
                  </a:lnTo>
                  <a:lnTo>
                    <a:pt x="2177" y="7512"/>
                  </a:lnTo>
                  <a:lnTo>
                    <a:pt x="2386" y="7575"/>
                  </a:lnTo>
                  <a:lnTo>
                    <a:pt x="2512" y="7596"/>
                  </a:lnTo>
                  <a:lnTo>
                    <a:pt x="2553" y="7638"/>
                  </a:lnTo>
                  <a:lnTo>
                    <a:pt x="2700" y="7805"/>
                  </a:lnTo>
                  <a:lnTo>
                    <a:pt x="2700" y="7910"/>
                  </a:lnTo>
                  <a:lnTo>
                    <a:pt x="2805" y="8098"/>
                  </a:lnTo>
                  <a:lnTo>
                    <a:pt x="2888" y="8098"/>
                  </a:lnTo>
                  <a:lnTo>
                    <a:pt x="3139" y="8203"/>
                  </a:lnTo>
                  <a:lnTo>
                    <a:pt x="3244" y="8349"/>
                  </a:lnTo>
                  <a:lnTo>
                    <a:pt x="3244" y="8517"/>
                  </a:lnTo>
                  <a:lnTo>
                    <a:pt x="3307" y="8517"/>
                  </a:lnTo>
                  <a:lnTo>
                    <a:pt x="3411" y="8559"/>
                  </a:lnTo>
                  <a:lnTo>
                    <a:pt x="3432" y="8684"/>
                  </a:lnTo>
                  <a:lnTo>
                    <a:pt x="3411" y="8768"/>
                  </a:lnTo>
                  <a:lnTo>
                    <a:pt x="3432" y="8852"/>
                  </a:lnTo>
                  <a:lnTo>
                    <a:pt x="3537" y="8872"/>
                  </a:lnTo>
                  <a:lnTo>
                    <a:pt x="3662" y="8852"/>
                  </a:lnTo>
                  <a:lnTo>
                    <a:pt x="3767" y="8872"/>
                  </a:lnTo>
                  <a:lnTo>
                    <a:pt x="3914" y="8872"/>
                  </a:lnTo>
                  <a:lnTo>
                    <a:pt x="3955" y="8831"/>
                  </a:lnTo>
                  <a:lnTo>
                    <a:pt x="4144" y="8747"/>
                  </a:lnTo>
                  <a:lnTo>
                    <a:pt x="4290" y="8768"/>
                  </a:lnTo>
                  <a:lnTo>
                    <a:pt x="4458" y="8852"/>
                  </a:lnTo>
                  <a:lnTo>
                    <a:pt x="4646" y="8747"/>
                  </a:lnTo>
                  <a:lnTo>
                    <a:pt x="4750" y="8747"/>
                  </a:lnTo>
                  <a:lnTo>
                    <a:pt x="4792" y="8831"/>
                  </a:lnTo>
                  <a:lnTo>
                    <a:pt x="4876" y="8831"/>
                  </a:lnTo>
                  <a:lnTo>
                    <a:pt x="4981" y="8872"/>
                  </a:lnTo>
                  <a:lnTo>
                    <a:pt x="5064" y="8956"/>
                  </a:lnTo>
                  <a:lnTo>
                    <a:pt x="5169" y="8935"/>
                  </a:lnTo>
                  <a:lnTo>
                    <a:pt x="5169" y="8998"/>
                  </a:lnTo>
                  <a:lnTo>
                    <a:pt x="4792" y="9626"/>
                  </a:lnTo>
                  <a:lnTo>
                    <a:pt x="4813" y="9709"/>
                  </a:lnTo>
                  <a:lnTo>
                    <a:pt x="4960" y="9688"/>
                  </a:lnTo>
                  <a:lnTo>
                    <a:pt x="5085" y="9688"/>
                  </a:lnTo>
                  <a:lnTo>
                    <a:pt x="5190" y="9772"/>
                  </a:lnTo>
                  <a:lnTo>
                    <a:pt x="5211" y="9898"/>
                  </a:lnTo>
                  <a:lnTo>
                    <a:pt x="5294" y="9584"/>
                  </a:lnTo>
                  <a:lnTo>
                    <a:pt x="5629" y="8370"/>
                  </a:lnTo>
                  <a:lnTo>
                    <a:pt x="5629" y="8308"/>
                  </a:lnTo>
                  <a:lnTo>
                    <a:pt x="5629" y="8098"/>
                  </a:lnTo>
                  <a:lnTo>
                    <a:pt x="5504" y="7847"/>
                  </a:lnTo>
                  <a:lnTo>
                    <a:pt x="5294" y="7680"/>
                  </a:lnTo>
                  <a:lnTo>
                    <a:pt x="5190" y="7533"/>
                  </a:lnTo>
                  <a:lnTo>
                    <a:pt x="5169" y="7219"/>
                  </a:lnTo>
                  <a:lnTo>
                    <a:pt x="5546" y="7094"/>
                  </a:lnTo>
                  <a:lnTo>
                    <a:pt x="5692" y="7199"/>
                  </a:lnTo>
                  <a:lnTo>
                    <a:pt x="5713" y="7094"/>
                  </a:lnTo>
                  <a:lnTo>
                    <a:pt x="5650" y="7010"/>
                  </a:lnTo>
                  <a:lnTo>
                    <a:pt x="5713" y="6968"/>
                  </a:lnTo>
                  <a:lnTo>
                    <a:pt x="5629" y="6801"/>
                  </a:lnTo>
                  <a:lnTo>
                    <a:pt x="5420" y="6738"/>
                  </a:lnTo>
                  <a:lnTo>
                    <a:pt x="5336" y="6592"/>
                  </a:lnTo>
                  <a:lnTo>
                    <a:pt x="5399" y="6424"/>
                  </a:lnTo>
                  <a:lnTo>
                    <a:pt x="6048" y="6424"/>
                  </a:lnTo>
                  <a:lnTo>
                    <a:pt x="6131" y="6341"/>
                  </a:lnTo>
                  <a:lnTo>
                    <a:pt x="6236" y="6341"/>
                  </a:lnTo>
                  <a:lnTo>
                    <a:pt x="6278" y="6383"/>
                  </a:lnTo>
                  <a:lnTo>
                    <a:pt x="6362" y="6383"/>
                  </a:lnTo>
                  <a:lnTo>
                    <a:pt x="6466" y="6257"/>
                  </a:lnTo>
                  <a:lnTo>
                    <a:pt x="6634" y="6215"/>
                  </a:lnTo>
                  <a:lnTo>
                    <a:pt x="6675" y="6320"/>
                  </a:lnTo>
                  <a:lnTo>
                    <a:pt x="6759" y="6424"/>
                  </a:lnTo>
                  <a:lnTo>
                    <a:pt x="6780" y="6550"/>
                  </a:lnTo>
                  <a:lnTo>
                    <a:pt x="6780" y="6696"/>
                  </a:lnTo>
                  <a:lnTo>
                    <a:pt x="6947" y="6675"/>
                  </a:lnTo>
                  <a:lnTo>
                    <a:pt x="6947" y="6571"/>
                  </a:lnTo>
                  <a:lnTo>
                    <a:pt x="6801" y="6278"/>
                  </a:lnTo>
                  <a:lnTo>
                    <a:pt x="6759" y="6131"/>
                  </a:lnTo>
                  <a:lnTo>
                    <a:pt x="6780" y="6069"/>
                  </a:lnTo>
                  <a:lnTo>
                    <a:pt x="6738" y="5964"/>
                  </a:lnTo>
                  <a:lnTo>
                    <a:pt x="6655" y="5922"/>
                  </a:lnTo>
                  <a:lnTo>
                    <a:pt x="6634" y="5839"/>
                  </a:lnTo>
                  <a:lnTo>
                    <a:pt x="6634" y="5818"/>
                  </a:lnTo>
                  <a:lnTo>
                    <a:pt x="6550" y="5839"/>
                  </a:lnTo>
                  <a:lnTo>
                    <a:pt x="6487" y="5839"/>
                  </a:lnTo>
                  <a:lnTo>
                    <a:pt x="6466" y="5734"/>
                  </a:lnTo>
                  <a:lnTo>
                    <a:pt x="6655" y="5399"/>
                  </a:lnTo>
                  <a:lnTo>
                    <a:pt x="6550" y="5106"/>
                  </a:lnTo>
                  <a:lnTo>
                    <a:pt x="6550" y="5022"/>
                  </a:lnTo>
                  <a:lnTo>
                    <a:pt x="6466" y="4960"/>
                  </a:lnTo>
                  <a:lnTo>
                    <a:pt x="6466" y="4771"/>
                  </a:lnTo>
                  <a:lnTo>
                    <a:pt x="6529" y="4604"/>
                  </a:lnTo>
                  <a:lnTo>
                    <a:pt x="6487" y="4541"/>
                  </a:lnTo>
                  <a:lnTo>
                    <a:pt x="6466" y="4332"/>
                  </a:lnTo>
                  <a:lnTo>
                    <a:pt x="6529" y="4248"/>
                  </a:lnTo>
                  <a:lnTo>
                    <a:pt x="6675" y="4227"/>
                  </a:lnTo>
                  <a:lnTo>
                    <a:pt x="6696" y="4144"/>
                  </a:lnTo>
                  <a:lnTo>
                    <a:pt x="6696" y="4039"/>
                  </a:lnTo>
                  <a:lnTo>
                    <a:pt x="6759" y="3955"/>
                  </a:lnTo>
                  <a:lnTo>
                    <a:pt x="6696" y="3725"/>
                  </a:lnTo>
                  <a:lnTo>
                    <a:pt x="6634" y="3662"/>
                  </a:lnTo>
                  <a:lnTo>
                    <a:pt x="6529" y="3662"/>
                  </a:lnTo>
                  <a:lnTo>
                    <a:pt x="6487" y="3725"/>
                  </a:lnTo>
                  <a:lnTo>
                    <a:pt x="6341" y="3704"/>
                  </a:lnTo>
                  <a:lnTo>
                    <a:pt x="6236" y="3704"/>
                  </a:lnTo>
                  <a:lnTo>
                    <a:pt x="6110" y="3746"/>
                  </a:lnTo>
                  <a:lnTo>
                    <a:pt x="6048" y="3725"/>
                  </a:lnTo>
                  <a:lnTo>
                    <a:pt x="5922" y="3662"/>
                  </a:lnTo>
                  <a:lnTo>
                    <a:pt x="5859" y="3704"/>
                  </a:lnTo>
                  <a:lnTo>
                    <a:pt x="5838" y="3662"/>
                  </a:lnTo>
                  <a:lnTo>
                    <a:pt x="5692" y="3704"/>
                  </a:lnTo>
                  <a:lnTo>
                    <a:pt x="5232" y="3286"/>
                  </a:lnTo>
                  <a:lnTo>
                    <a:pt x="5127" y="3223"/>
                  </a:lnTo>
                  <a:lnTo>
                    <a:pt x="4960" y="3202"/>
                  </a:lnTo>
                  <a:lnTo>
                    <a:pt x="4792" y="3223"/>
                  </a:lnTo>
                  <a:lnTo>
                    <a:pt x="4750" y="3244"/>
                  </a:lnTo>
                  <a:lnTo>
                    <a:pt x="4604" y="3202"/>
                  </a:lnTo>
                  <a:lnTo>
                    <a:pt x="4458" y="3202"/>
                  </a:lnTo>
                  <a:lnTo>
                    <a:pt x="4374" y="3244"/>
                  </a:lnTo>
                  <a:lnTo>
                    <a:pt x="4248" y="3202"/>
                  </a:lnTo>
                  <a:lnTo>
                    <a:pt x="4144" y="3181"/>
                  </a:lnTo>
                  <a:lnTo>
                    <a:pt x="3976" y="3118"/>
                  </a:lnTo>
                  <a:lnTo>
                    <a:pt x="3851" y="3014"/>
                  </a:lnTo>
                  <a:lnTo>
                    <a:pt x="3851" y="2909"/>
                  </a:lnTo>
                  <a:lnTo>
                    <a:pt x="3872" y="2867"/>
                  </a:lnTo>
                  <a:lnTo>
                    <a:pt x="3872" y="2784"/>
                  </a:lnTo>
                  <a:lnTo>
                    <a:pt x="3934" y="2658"/>
                  </a:lnTo>
                  <a:lnTo>
                    <a:pt x="3914" y="2554"/>
                  </a:lnTo>
                  <a:lnTo>
                    <a:pt x="3809" y="2386"/>
                  </a:lnTo>
                  <a:lnTo>
                    <a:pt x="3558" y="1968"/>
                  </a:lnTo>
                  <a:lnTo>
                    <a:pt x="3411" y="1968"/>
                  </a:lnTo>
                  <a:lnTo>
                    <a:pt x="3411" y="1926"/>
                  </a:lnTo>
                  <a:lnTo>
                    <a:pt x="3495" y="1737"/>
                  </a:lnTo>
                  <a:lnTo>
                    <a:pt x="3516" y="1549"/>
                  </a:lnTo>
                  <a:lnTo>
                    <a:pt x="3495" y="1445"/>
                  </a:lnTo>
                  <a:lnTo>
                    <a:pt x="3516" y="1319"/>
                  </a:lnTo>
                  <a:lnTo>
                    <a:pt x="3704" y="1047"/>
                  </a:lnTo>
                  <a:lnTo>
                    <a:pt x="3767" y="984"/>
                  </a:lnTo>
                  <a:lnTo>
                    <a:pt x="3872" y="838"/>
                  </a:lnTo>
                  <a:lnTo>
                    <a:pt x="3976" y="817"/>
                  </a:lnTo>
                  <a:lnTo>
                    <a:pt x="4039" y="775"/>
                  </a:lnTo>
                  <a:lnTo>
                    <a:pt x="4186" y="503"/>
                  </a:lnTo>
                  <a:lnTo>
                    <a:pt x="4499" y="377"/>
                  </a:lnTo>
                  <a:lnTo>
                    <a:pt x="4541" y="357"/>
                  </a:lnTo>
                  <a:lnTo>
                    <a:pt x="4604" y="357"/>
                  </a:lnTo>
                  <a:lnTo>
                    <a:pt x="4667" y="294"/>
                  </a:lnTo>
                  <a:lnTo>
                    <a:pt x="4688" y="210"/>
                  </a:lnTo>
                  <a:lnTo>
                    <a:pt x="4646" y="147"/>
                  </a:lnTo>
                  <a:lnTo>
                    <a:pt x="4437" y="43"/>
                  </a:lnTo>
                  <a:lnTo>
                    <a:pt x="43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3" name="Google Shape;803;p34"/>
            <p:cNvSpPr/>
            <p:nvPr/>
          </p:nvSpPr>
          <p:spPr>
            <a:xfrm>
              <a:off x="3195231" y="3136533"/>
              <a:ext cx="40867" cy="42852"/>
            </a:xfrm>
            <a:custGeom>
              <a:avLst/>
              <a:gdLst/>
              <a:ahLst/>
              <a:cxnLst/>
              <a:rect l="l" t="t" r="r" b="b"/>
              <a:pathLst>
                <a:path w="3432" h="3768" extrusionOk="0">
                  <a:moveTo>
                    <a:pt x="1193" y="1"/>
                  </a:moveTo>
                  <a:lnTo>
                    <a:pt x="1172" y="168"/>
                  </a:lnTo>
                  <a:lnTo>
                    <a:pt x="1025" y="168"/>
                  </a:lnTo>
                  <a:lnTo>
                    <a:pt x="732" y="336"/>
                  </a:lnTo>
                  <a:lnTo>
                    <a:pt x="607" y="377"/>
                  </a:lnTo>
                  <a:lnTo>
                    <a:pt x="440" y="440"/>
                  </a:lnTo>
                  <a:lnTo>
                    <a:pt x="523" y="587"/>
                  </a:lnTo>
                  <a:lnTo>
                    <a:pt x="523" y="649"/>
                  </a:lnTo>
                  <a:lnTo>
                    <a:pt x="565" y="733"/>
                  </a:lnTo>
                  <a:lnTo>
                    <a:pt x="544" y="901"/>
                  </a:lnTo>
                  <a:lnTo>
                    <a:pt x="335" y="1131"/>
                  </a:lnTo>
                  <a:lnTo>
                    <a:pt x="314" y="1235"/>
                  </a:lnTo>
                  <a:lnTo>
                    <a:pt x="356" y="1277"/>
                  </a:lnTo>
                  <a:lnTo>
                    <a:pt x="251" y="1445"/>
                  </a:lnTo>
                  <a:lnTo>
                    <a:pt x="126" y="1465"/>
                  </a:lnTo>
                  <a:lnTo>
                    <a:pt x="21" y="1591"/>
                  </a:lnTo>
                  <a:lnTo>
                    <a:pt x="84" y="1696"/>
                  </a:lnTo>
                  <a:lnTo>
                    <a:pt x="126" y="1800"/>
                  </a:lnTo>
                  <a:lnTo>
                    <a:pt x="105" y="1905"/>
                  </a:lnTo>
                  <a:lnTo>
                    <a:pt x="126" y="2072"/>
                  </a:lnTo>
                  <a:lnTo>
                    <a:pt x="84" y="2198"/>
                  </a:lnTo>
                  <a:lnTo>
                    <a:pt x="0" y="2261"/>
                  </a:lnTo>
                  <a:lnTo>
                    <a:pt x="84" y="2323"/>
                  </a:lnTo>
                  <a:lnTo>
                    <a:pt x="209" y="2386"/>
                  </a:lnTo>
                  <a:lnTo>
                    <a:pt x="314" y="2491"/>
                  </a:lnTo>
                  <a:lnTo>
                    <a:pt x="419" y="2574"/>
                  </a:lnTo>
                  <a:lnTo>
                    <a:pt x="440" y="2533"/>
                  </a:lnTo>
                  <a:lnTo>
                    <a:pt x="502" y="2386"/>
                  </a:lnTo>
                  <a:lnTo>
                    <a:pt x="544" y="2323"/>
                  </a:lnTo>
                  <a:lnTo>
                    <a:pt x="628" y="2219"/>
                  </a:lnTo>
                  <a:lnTo>
                    <a:pt x="628" y="2323"/>
                  </a:lnTo>
                  <a:lnTo>
                    <a:pt x="649" y="2428"/>
                  </a:lnTo>
                  <a:lnTo>
                    <a:pt x="649" y="2365"/>
                  </a:lnTo>
                  <a:lnTo>
                    <a:pt x="649" y="2282"/>
                  </a:lnTo>
                  <a:lnTo>
                    <a:pt x="712" y="2282"/>
                  </a:lnTo>
                  <a:lnTo>
                    <a:pt x="732" y="2428"/>
                  </a:lnTo>
                  <a:lnTo>
                    <a:pt x="712" y="2595"/>
                  </a:lnTo>
                  <a:lnTo>
                    <a:pt x="712" y="2700"/>
                  </a:lnTo>
                  <a:lnTo>
                    <a:pt x="649" y="2826"/>
                  </a:lnTo>
                  <a:lnTo>
                    <a:pt x="502" y="2951"/>
                  </a:lnTo>
                  <a:lnTo>
                    <a:pt x="544" y="2993"/>
                  </a:lnTo>
                  <a:lnTo>
                    <a:pt x="607" y="3139"/>
                  </a:lnTo>
                  <a:lnTo>
                    <a:pt x="502" y="3202"/>
                  </a:lnTo>
                  <a:lnTo>
                    <a:pt x="398" y="3328"/>
                  </a:lnTo>
                  <a:lnTo>
                    <a:pt x="419" y="3432"/>
                  </a:lnTo>
                  <a:lnTo>
                    <a:pt x="523" y="3432"/>
                  </a:lnTo>
                  <a:lnTo>
                    <a:pt x="649" y="3370"/>
                  </a:lnTo>
                  <a:lnTo>
                    <a:pt x="712" y="3453"/>
                  </a:lnTo>
                  <a:lnTo>
                    <a:pt x="879" y="3516"/>
                  </a:lnTo>
                  <a:lnTo>
                    <a:pt x="984" y="3537"/>
                  </a:lnTo>
                  <a:lnTo>
                    <a:pt x="1151" y="3767"/>
                  </a:lnTo>
                  <a:lnTo>
                    <a:pt x="1235" y="3767"/>
                  </a:lnTo>
                  <a:lnTo>
                    <a:pt x="1339" y="3662"/>
                  </a:lnTo>
                  <a:lnTo>
                    <a:pt x="1779" y="2721"/>
                  </a:lnTo>
                  <a:lnTo>
                    <a:pt x="1883" y="2637"/>
                  </a:lnTo>
                  <a:lnTo>
                    <a:pt x="2448" y="2470"/>
                  </a:lnTo>
                  <a:lnTo>
                    <a:pt x="2720" y="2282"/>
                  </a:lnTo>
                  <a:lnTo>
                    <a:pt x="3118" y="1905"/>
                  </a:lnTo>
                  <a:lnTo>
                    <a:pt x="3264" y="1549"/>
                  </a:lnTo>
                  <a:lnTo>
                    <a:pt x="3369" y="1549"/>
                  </a:lnTo>
                  <a:lnTo>
                    <a:pt x="3390" y="1486"/>
                  </a:lnTo>
                  <a:lnTo>
                    <a:pt x="3432" y="1361"/>
                  </a:lnTo>
                  <a:lnTo>
                    <a:pt x="3390" y="1235"/>
                  </a:lnTo>
                  <a:lnTo>
                    <a:pt x="3285" y="1026"/>
                  </a:lnTo>
                  <a:lnTo>
                    <a:pt x="3285" y="963"/>
                  </a:lnTo>
                  <a:lnTo>
                    <a:pt x="3264" y="859"/>
                  </a:lnTo>
                  <a:lnTo>
                    <a:pt x="3181" y="817"/>
                  </a:lnTo>
                  <a:lnTo>
                    <a:pt x="3160" y="733"/>
                  </a:lnTo>
                  <a:lnTo>
                    <a:pt x="3055" y="712"/>
                  </a:lnTo>
                  <a:lnTo>
                    <a:pt x="2909" y="629"/>
                  </a:lnTo>
                  <a:lnTo>
                    <a:pt x="2846" y="629"/>
                  </a:lnTo>
                  <a:lnTo>
                    <a:pt x="2762" y="712"/>
                  </a:lnTo>
                  <a:lnTo>
                    <a:pt x="2762" y="817"/>
                  </a:lnTo>
                  <a:lnTo>
                    <a:pt x="2699" y="901"/>
                  </a:lnTo>
                  <a:lnTo>
                    <a:pt x="2511" y="838"/>
                  </a:lnTo>
                  <a:lnTo>
                    <a:pt x="2448" y="796"/>
                  </a:lnTo>
                  <a:lnTo>
                    <a:pt x="2239" y="712"/>
                  </a:lnTo>
                  <a:lnTo>
                    <a:pt x="2072" y="691"/>
                  </a:lnTo>
                  <a:lnTo>
                    <a:pt x="2030" y="608"/>
                  </a:lnTo>
                  <a:lnTo>
                    <a:pt x="2072" y="524"/>
                  </a:lnTo>
                  <a:lnTo>
                    <a:pt x="1925" y="377"/>
                  </a:lnTo>
                  <a:lnTo>
                    <a:pt x="1821" y="377"/>
                  </a:lnTo>
                  <a:lnTo>
                    <a:pt x="1569" y="210"/>
                  </a:lnTo>
                  <a:lnTo>
                    <a:pt x="1381" y="85"/>
                  </a:lnTo>
                  <a:lnTo>
                    <a:pt x="11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4" name="Google Shape;804;p34"/>
            <p:cNvSpPr/>
            <p:nvPr/>
          </p:nvSpPr>
          <p:spPr>
            <a:xfrm>
              <a:off x="3192980" y="3146290"/>
              <a:ext cx="88711" cy="124938"/>
            </a:xfrm>
            <a:custGeom>
              <a:avLst/>
              <a:gdLst/>
              <a:ahLst/>
              <a:cxnLst/>
              <a:rect l="l" t="t" r="r" b="b"/>
              <a:pathLst>
                <a:path w="7450" h="10986" extrusionOk="0">
                  <a:moveTo>
                    <a:pt x="3453" y="1"/>
                  </a:moveTo>
                  <a:lnTo>
                    <a:pt x="3474" y="105"/>
                  </a:lnTo>
                  <a:lnTo>
                    <a:pt x="3474" y="168"/>
                  </a:lnTo>
                  <a:lnTo>
                    <a:pt x="3579" y="377"/>
                  </a:lnTo>
                  <a:lnTo>
                    <a:pt x="3621" y="503"/>
                  </a:lnTo>
                  <a:lnTo>
                    <a:pt x="3579" y="628"/>
                  </a:lnTo>
                  <a:lnTo>
                    <a:pt x="3558" y="691"/>
                  </a:lnTo>
                  <a:lnTo>
                    <a:pt x="3453" y="691"/>
                  </a:lnTo>
                  <a:lnTo>
                    <a:pt x="3307" y="1047"/>
                  </a:lnTo>
                  <a:lnTo>
                    <a:pt x="2909" y="1424"/>
                  </a:lnTo>
                  <a:lnTo>
                    <a:pt x="2637" y="1612"/>
                  </a:lnTo>
                  <a:lnTo>
                    <a:pt x="2072" y="1779"/>
                  </a:lnTo>
                  <a:lnTo>
                    <a:pt x="1968" y="1863"/>
                  </a:lnTo>
                  <a:lnTo>
                    <a:pt x="1528" y="2804"/>
                  </a:lnTo>
                  <a:lnTo>
                    <a:pt x="1424" y="2909"/>
                  </a:lnTo>
                  <a:lnTo>
                    <a:pt x="1340" y="2909"/>
                  </a:lnTo>
                  <a:lnTo>
                    <a:pt x="1173" y="2679"/>
                  </a:lnTo>
                  <a:lnTo>
                    <a:pt x="1068" y="2658"/>
                  </a:lnTo>
                  <a:lnTo>
                    <a:pt x="901" y="2595"/>
                  </a:lnTo>
                  <a:lnTo>
                    <a:pt x="838" y="2512"/>
                  </a:lnTo>
                  <a:lnTo>
                    <a:pt x="712" y="2574"/>
                  </a:lnTo>
                  <a:lnTo>
                    <a:pt x="608" y="2574"/>
                  </a:lnTo>
                  <a:lnTo>
                    <a:pt x="587" y="2470"/>
                  </a:lnTo>
                  <a:lnTo>
                    <a:pt x="691" y="2344"/>
                  </a:lnTo>
                  <a:lnTo>
                    <a:pt x="796" y="2281"/>
                  </a:lnTo>
                  <a:lnTo>
                    <a:pt x="733" y="2135"/>
                  </a:lnTo>
                  <a:lnTo>
                    <a:pt x="691" y="2093"/>
                  </a:lnTo>
                  <a:lnTo>
                    <a:pt x="398" y="2240"/>
                  </a:lnTo>
                  <a:lnTo>
                    <a:pt x="294" y="2344"/>
                  </a:lnTo>
                  <a:lnTo>
                    <a:pt x="105" y="2512"/>
                  </a:lnTo>
                  <a:lnTo>
                    <a:pt x="64" y="2679"/>
                  </a:lnTo>
                  <a:lnTo>
                    <a:pt x="1" y="2784"/>
                  </a:lnTo>
                  <a:lnTo>
                    <a:pt x="22" y="2825"/>
                  </a:lnTo>
                  <a:lnTo>
                    <a:pt x="105" y="2909"/>
                  </a:lnTo>
                  <a:lnTo>
                    <a:pt x="126" y="2993"/>
                  </a:lnTo>
                  <a:lnTo>
                    <a:pt x="64" y="3035"/>
                  </a:lnTo>
                  <a:lnTo>
                    <a:pt x="64" y="3097"/>
                  </a:lnTo>
                  <a:lnTo>
                    <a:pt x="189" y="3202"/>
                  </a:lnTo>
                  <a:lnTo>
                    <a:pt x="273" y="3348"/>
                  </a:lnTo>
                  <a:lnTo>
                    <a:pt x="231" y="3495"/>
                  </a:lnTo>
                  <a:lnTo>
                    <a:pt x="168" y="3495"/>
                  </a:lnTo>
                  <a:lnTo>
                    <a:pt x="85" y="3516"/>
                  </a:lnTo>
                  <a:lnTo>
                    <a:pt x="22" y="3621"/>
                  </a:lnTo>
                  <a:lnTo>
                    <a:pt x="126" y="3704"/>
                  </a:lnTo>
                  <a:lnTo>
                    <a:pt x="231" y="3746"/>
                  </a:lnTo>
                  <a:lnTo>
                    <a:pt x="419" y="3872"/>
                  </a:lnTo>
                  <a:lnTo>
                    <a:pt x="587" y="3913"/>
                  </a:lnTo>
                  <a:lnTo>
                    <a:pt x="817" y="4060"/>
                  </a:lnTo>
                  <a:lnTo>
                    <a:pt x="921" y="4081"/>
                  </a:lnTo>
                  <a:lnTo>
                    <a:pt x="963" y="4185"/>
                  </a:lnTo>
                  <a:lnTo>
                    <a:pt x="1068" y="4374"/>
                  </a:lnTo>
                  <a:lnTo>
                    <a:pt x="1110" y="4541"/>
                  </a:lnTo>
                  <a:lnTo>
                    <a:pt x="1173" y="4667"/>
                  </a:lnTo>
                  <a:lnTo>
                    <a:pt x="1424" y="4771"/>
                  </a:lnTo>
                  <a:lnTo>
                    <a:pt x="1486" y="4960"/>
                  </a:lnTo>
                  <a:lnTo>
                    <a:pt x="1549" y="5106"/>
                  </a:lnTo>
                  <a:lnTo>
                    <a:pt x="1591" y="5211"/>
                  </a:lnTo>
                  <a:lnTo>
                    <a:pt x="1633" y="5399"/>
                  </a:lnTo>
                  <a:lnTo>
                    <a:pt x="1696" y="5525"/>
                  </a:lnTo>
                  <a:lnTo>
                    <a:pt x="1800" y="5587"/>
                  </a:lnTo>
                  <a:lnTo>
                    <a:pt x="1905" y="5797"/>
                  </a:lnTo>
                  <a:lnTo>
                    <a:pt x="1905" y="5922"/>
                  </a:lnTo>
                  <a:lnTo>
                    <a:pt x="1884" y="5964"/>
                  </a:lnTo>
                  <a:lnTo>
                    <a:pt x="1989" y="6152"/>
                  </a:lnTo>
                  <a:lnTo>
                    <a:pt x="2177" y="6382"/>
                  </a:lnTo>
                  <a:lnTo>
                    <a:pt x="2219" y="6487"/>
                  </a:lnTo>
                  <a:lnTo>
                    <a:pt x="2198" y="6592"/>
                  </a:lnTo>
                  <a:lnTo>
                    <a:pt x="2219" y="6675"/>
                  </a:lnTo>
                  <a:lnTo>
                    <a:pt x="2302" y="6696"/>
                  </a:lnTo>
                  <a:lnTo>
                    <a:pt x="2491" y="6885"/>
                  </a:lnTo>
                  <a:lnTo>
                    <a:pt x="2533" y="6989"/>
                  </a:lnTo>
                  <a:lnTo>
                    <a:pt x="2574" y="7157"/>
                  </a:lnTo>
                  <a:lnTo>
                    <a:pt x="2616" y="7219"/>
                  </a:lnTo>
                  <a:lnTo>
                    <a:pt x="2784" y="7282"/>
                  </a:lnTo>
                  <a:lnTo>
                    <a:pt x="2805" y="7408"/>
                  </a:lnTo>
                  <a:lnTo>
                    <a:pt x="2951" y="7680"/>
                  </a:lnTo>
                  <a:lnTo>
                    <a:pt x="3014" y="7805"/>
                  </a:lnTo>
                  <a:lnTo>
                    <a:pt x="3202" y="8056"/>
                  </a:lnTo>
                  <a:lnTo>
                    <a:pt x="3202" y="8203"/>
                  </a:lnTo>
                  <a:lnTo>
                    <a:pt x="3139" y="8203"/>
                  </a:lnTo>
                  <a:lnTo>
                    <a:pt x="3098" y="8161"/>
                  </a:lnTo>
                  <a:lnTo>
                    <a:pt x="3098" y="8224"/>
                  </a:lnTo>
                  <a:lnTo>
                    <a:pt x="3118" y="8328"/>
                  </a:lnTo>
                  <a:lnTo>
                    <a:pt x="3118" y="8412"/>
                  </a:lnTo>
                  <a:lnTo>
                    <a:pt x="3160" y="8412"/>
                  </a:lnTo>
                  <a:lnTo>
                    <a:pt x="3244" y="8454"/>
                  </a:lnTo>
                  <a:lnTo>
                    <a:pt x="3265" y="8538"/>
                  </a:lnTo>
                  <a:lnTo>
                    <a:pt x="3244" y="8579"/>
                  </a:lnTo>
                  <a:lnTo>
                    <a:pt x="3432" y="8726"/>
                  </a:lnTo>
                  <a:lnTo>
                    <a:pt x="3621" y="8789"/>
                  </a:lnTo>
                  <a:lnTo>
                    <a:pt x="3642" y="8872"/>
                  </a:lnTo>
                  <a:lnTo>
                    <a:pt x="3725" y="8977"/>
                  </a:lnTo>
                  <a:lnTo>
                    <a:pt x="3830" y="8998"/>
                  </a:lnTo>
                  <a:lnTo>
                    <a:pt x="3872" y="9061"/>
                  </a:lnTo>
                  <a:lnTo>
                    <a:pt x="3893" y="9165"/>
                  </a:lnTo>
                  <a:lnTo>
                    <a:pt x="3976" y="9207"/>
                  </a:lnTo>
                  <a:lnTo>
                    <a:pt x="4165" y="9186"/>
                  </a:lnTo>
                  <a:lnTo>
                    <a:pt x="4206" y="9144"/>
                  </a:lnTo>
                  <a:lnTo>
                    <a:pt x="4186" y="9207"/>
                  </a:lnTo>
                  <a:lnTo>
                    <a:pt x="4269" y="9354"/>
                  </a:lnTo>
                  <a:lnTo>
                    <a:pt x="4458" y="9416"/>
                  </a:lnTo>
                  <a:lnTo>
                    <a:pt x="4562" y="9500"/>
                  </a:lnTo>
                  <a:lnTo>
                    <a:pt x="4562" y="9605"/>
                  </a:lnTo>
                  <a:lnTo>
                    <a:pt x="4667" y="9667"/>
                  </a:lnTo>
                  <a:lnTo>
                    <a:pt x="4792" y="9709"/>
                  </a:lnTo>
                  <a:lnTo>
                    <a:pt x="4834" y="9688"/>
                  </a:lnTo>
                  <a:lnTo>
                    <a:pt x="4939" y="9709"/>
                  </a:lnTo>
                  <a:lnTo>
                    <a:pt x="5148" y="9835"/>
                  </a:lnTo>
                  <a:lnTo>
                    <a:pt x="5315" y="9919"/>
                  </a:lnTo>
                  <a:lnTo>
                    <a:pt x="5420" y="9919"/>
                  </a:lnTo>
                  <a:lnTo>
                    <a:pt x="5462" y="9939"/>
                  </a:lnTo>
                  <a:lnTo>
                    <a:pt x="5504" y="10023"/>
                  </a:lnTo>
                  <a:lnTo>
                    <a:pt x="5650" y="10128"/>
                  </a:lnTo>
                  <a:lnTo>
                    <a:pt x="5755" y="10191"/>
                  </a:lnTo>
                  <a:lnTo>
                    <a:pt x="5859" y="10316"/>
                  </a:lnTo>
                  <a:lnTo>
                    <a:pt x="5943" y="10337"/>
                  </a:lnTo>
                  <a:lnTo>
                    <a:pt x="5985" y="10421"/>
                  </a:lnTo>
                  <a:lnTo>
                    <a:pt x="5964" y="10463"/>
                  </a:lnTo>
                  <a:lnTo>
                    <a:pt x="5964" y="10546"/>
                  </a:lnTo>
                  <a:lnTo>
                    <a:pt x="6090" y="10567"/>
                  </a:lnTo>
                  <a:lnTo>
                    <a:pt x="6236" y="10630"/>
                  </a:lnTo>
                  <a:lnTo>
                    <a:pt x="6403" y="10776"/>
                  </a:lnTo>
                  <a:lnTo>
                    <a:pt x="6550" y="10944"/>
                  </a:lnTo>
                  <a:lnTo>
                    <a:pt x="6655" y="10965"/>
                  </a:lnTo>
                  <a:lnTo>
                    <a:pt x="6675" y="10986"/>
                  </a:lnTo>
                  <a:lnTo>
                    <a:pt x="6801" y="10923"/>
                  </a:lnTo>
                  <a:lnTo>
                    <a:pt x="6927" y="10839"/>
                  </a:lnTo>
                  <a:lnTo>
                    <a:pt x="7010" y="10839"/>
                  </a:lnTo>
                  <a:lnTo>
                    <a:pt x="7115" y="10776"/>
                  </a:lnTo>
                  <a:lnTo>
                    <a:pt x="7178" y="10672"/>
                  </a:lnTo>
                  <a:lnTo>
                    <a:pt x="7073" y="10567"/>
                  </a:lnTo>
                  <a:lnTo>
                    <a:pt x="7094" y="10463"/>
                  </a:lnTo>
                  <a:lnTo>
                    <a:pt x="7136" y="10400"/>
                  </a:lnTo>
                  <a:lnTo>
                    <a:pt x="7240" y="10421"/>
                  </a:lnTo>
                  <a:lnTo>
                    <a:pt x="7219" y="10337"/>
                  </a:lnTo>
                  <a:lnTo>
                    <a:pt x="7136" y="10316"/>
                  </a:lnTo>
                  <a:lnTo>
                    <a:pt x="7094" y="10253"/>
                  </a:lnTo>
                  <a:lnTo>
                    <a:pt x="7199" y="10086"/>
                  </a:lnTo>
                  <a:lnTo>
                    <a:pt x="7324" y="10002"/>
                  </a:lnTo>
                  <a:lnTo>
                    <a:pt x="7429" y="9835"/>
                  </a:lnTo>
                  <a:lnTo>
                    <a:pt x="7450" y="9709"/>
                  </a:lnTo>
                  <a:lnTo>
                    <a:pt x="7282" y="9312"/>
                  </a:lnTo>
                  <a:lnTo>
                    <a:pt x="7324" y="9207"/>
                  </a:lnTo>
                  <a:lnTo>
                    <a:pt x="7324" y="9082"/>
                  </a:lnTo>
                  <a:lnTo>
                    <a:pt x="7303" y="8998"/>
                  </a:lnTo>
                  <a:lnTo>
                    <a:pt x="7282" y="8872"/>
                  </a:lnTo>
                  <a:lnTo>
                    <a:pt x="7324" y="8789"/>
                  </a:lnTo>
                  <a:lnTo>
                    <a:pt x="7387" y="8621"/>
                  </a:lnTo>
                  <a:lnTo>
                    <a:pt x="7345" y="8245"/>
                  </a:lnTo>
                  <a:lnTo>
                    <a:pt x="7303" y="8098"/>
                  </a:lnTo>
                  <a:lnTo>
                    <a:pt x="7387" y="7910"/>
                  </a:lnTo>
                  <a:lnTo>
                    <a:pt x="7387" y="7491"/>
                  </a:lnTo>
                  <a:lnTo>
                    <a:pt x="7450" y="7324"/>
                  </a:lnTo>
                  <a:lnTo>
                    <a:pt x="7450" y="7261"/>
                  </a:lnTo>
                  <a:lnTo>
                    <a:pt x="6927" y="6487"/>
                  </a:lnTo>
                  <a:lnTo>
                    <a:pt x="6906" y="6487"/>
                  </a:lnTo>
                  <a:lnTo>
                    <a:pt x="6864" y="6466"/>
                  </a:lnTo>
                  <a:lnTo>
                    <a:pt x="6675" y="6466"/>
                  </a:lnTo>
                  <a:lnTo>
                    <a:pt x="6571" y="6529"/>
                  </a:lnTo>
                  <a:lnTo>
                    <a:pt x="6445" y="6529"/>
                  </a:lnTo>
                  <a:lnTo>
                    <a:pt x="6383" y="6466"/>
                  </a:lnTo>
                  <a:lnTo>
                    <a:pt x="6362" y="6341"/>
                  </a:lnTo>
                  <a:lnTo>
                    <a:pt x="6341" y="6006"/>
                  </a:lnTo>
                  <a:lnTo>
                    <a:pt x="6341" y="5797"/>
                  </a:lnTo>
                  <a:lnTo>
                    <a:pt x="6383" y="5734"/>
                  </a:lnTo>
                  <a:lnTo>
                    <a:pt x="6403" y="5608"/>
                  </a:lnTo>
                  <a:lnTo>
                    <a:pt x="6362" y="5545"/>
                  </a:lnTo>
                  <a:lnTo>
                    <a:pt x="6152" y="5650"/>
                  </a:lnTo>
                  <a:lnTo>
                    <a:pt x="5922" y="5901"/>
                  </a:lnTo>
                  <a:lnTo>
                    <a:pt x="5608" y="5859"/>
                  </a:lnTo>
                  <a:lnTo>
                    <a:pt x="5357" y="5859"/>
                  </a:lnTo>
                  <a:lnTo>
                    <a:pt x="5315" y="5713"/>
                  </a:lnTo>
                  <a:lnTo>
                    <a:pt x="5211" y="5525"/>
                  </a:lnTo>
                  <a:lnTo>
                    <a:pt x="5023" y="5483"/>
                  </a:lnTo>
                  <a:lnTo>
                    <a:pt x="4688" y="5525"/>
                  </a:lnTo>
                  <a:lnTo>
                    <a:pt x="4813" y="5336"/>
                  </a:lnTo>
                  <a:lnTo>
                    <a:pt x="4520" y="4876"/>
                  </a:lnTo>
                  <a:lnTo>
                    <a:pt x="4374" y="4709"/>
                  </a:lnTo>
                  <a:lnTo>
                    <a:pt x="4395" y="4646"/>
                  </a:lnTo>
                  <a:lnTo>
                    <a:pt x="4374" y="4541"/>
                  </a:lnTo>
                  <a:lnTo>
                    <a:pt x="4416" y="4437"/>
                  </a:lnTo>
                  <a:lnTo>
                    <a:pt x="4416" y="4290"/>
                  </a:lnTo>
                  <a:lnTo>
                    <a:pt x="4395" y="4227"/>
                  </a:lnTo>
                  <a:lnTo>
                    <a:pt x="4458" y="4165"/>
                  </a:lnTo>
                  <a:lnTo>
                    <a:pt x="4458" y="4039"/>
                  </a:lnTo>
                  <a:lnTo>
                    <a:pt x="4625" y="3934"/>
                  </a:lnTo>
                  <a:lnTo>
                    <a:pt x="4709" y="3955"/>
                  </a:lnTo>
                  <a:lnTo>
                    <a:pt x="4792" y="3851"/>
                  </a:lnTo>
                  <a:lnTo>
                    <a:pt x="4730" y="3746"/>
                  </a:lnTo>
                  <a:lnTo>
                    <a:pt x="4688" y="3558"/>
                  </a:lnTo>
                  <a:lnTo>
                    <a:pt x="4834" y="3411"/>
                  </a:lnTo>
                  <a:lnTo>
                    <a:pt x="4813" y="3307"/>
                  </a:lnTo>
                  <a:lnTo>
                    <a:pt x="4897" y="3223"/>
                  </a:lnTo>
                  <a:lnTo>
                    <a:pt x="4876" y="3076"/>
                  </a:lnTo>
                  <a:lnTo>
                    <a:pt x="4981" y="3014"/>
                  </a:lnTo>
                  <a:lnTo>
                    <a:pt x="5106" y="2930"/>
                  </a:lnTo>
                  <a:lnTo>
                    <a:pt x="5232" y="2825"/>
                  </a:lnTo>
                  <a:lnTo>
                    <a:pt x="5295" y="2804"/>
                  </a:lnTo>
                  <a:lnTo>
                    <a:pt x="5357" y="2721"/>
                  </a:lnTo>
                  <a:lnTo>
                    <a:pt x="5650" y="2679"/>
                  </a:lnTo>
                  <a:lnTo>
                    <a:pt x="6069" y="2553"/>
                  </a:lnTo>
                  <a:lnTo>
                    <a:pt x="6090" y="2449"/>
                  </a:lnTo>
                  <a:lnTo>
                    <a:pt x="6152" y="2470"/>
                  </a:lnTo>
                  <a:lnTo>
                    <a:pt x="6299" y="2470"/>
                  </a:lnTo>
                  <a:lnTo>
                    <a:pt x="6445" y="2553"/>
                  </a:lnTo>
                  <a:lnTo>
                    <a:pt x="6445" y="2574"/>
                  </a:lnTo>
                  <a:lnTo>
                    <a:pt x="6550" y="2595"/>
                  </a:lnTo>
                  <a:lnTo>
                    <a:pt x="6592" y="2512"/>
                  </a:lnTo>
                  <a:lnTo>
                    <a:pt x="6592" y="2470"/>
                  </a:lnTo>
                  <a:lnTo>
                    <a:pt x="6571" y="2344"/>
                  </a:lnTo>
                  <a:lnTo>
                    <a:pt x="6466" y="2260"/>
                  </a:lnTo>
                  <a:lnTo>
                    <a:pt x="6341" y="2260"/>
                  </a:lnTo>
                  <a:lnTo>
                    <a:pt x="6194" y="2281"/>
                  </a:lnTo>
                  <a:lnTo>
                    <a:pt x="6173" y="2198"/>
                  </a:lnTo>
                  <a:lnTo>
                    <a:pt x="6550" y="1570"/>
                  </a:lnTo>
                  <a:lnTo>
                    <a:pt x="6550" y="1507"/>
                  </a:lnTo>
                  <a:lnTo>
                    <a:pt x="6445" y="1528"/>
                  </a:lnTo>
                  <a:lnTo>
                    <a:pt x="6362" y="1444"/>
                  </a:lnTo>
                  <a:lnTo>
                    <a:pt x="6257" y="1403"/>
                  </a:lnTo>
                  <a:lnTo>
                    <a:pt x="6173" y="1403"/>
                  </a:lnTo>
                  <a:lnTo>
                    <a:pt x="6131" y="1319"/>
                  </a:lnTo>
                  <a:lnTo>
                    <a:pt x="6027" y="1319"/>
                  </a:lnTo>
                  <a:lnTo>
                    <a:pt x="5839" y="1424"/>
                  </a:lnTo>
                  <a:lnTo>
                    <a:pt x="5671" y="1340"/>
                  </a:lnTo>
                  <a:lnTo>
                    <a:pt x="5525" y="1319"/>
                  </a:lnTo>
                  <a:lnTo>
                    <a:pt x="5336" y="1403"/>
                  </a:lnTo>
                  <a:lnTo>
                    <a:pt x="5295" y="1444"/>
                  </a:lnTo>
                  <a:lnTo>
                    <a:pt x="5148" y="1444"/>
                  </a:lnTo>
                  <a:lnTo>
                    <a:pt x="5043" y="1424"/>
                  </a:lnTo>
                  <a:lnTo>
                    <a:pt x="4918" y="1444"/>
                  </a:lnTo>
                  <a:lnTo>
                    <a:pt x="4813" y="1424"/>
                  </a:lnTo>
                  <a:lnTo>
                    <a:pt x="4792" y="1340"/>
                  </a:lnTo>
                  <a:lnTo>
                    <a:pt x="4813" y="1256"/>
                  </a:lnTo>
                  <a:lnTo>
                    <a:pt x="4792" y="1131"/>
                  </a:lnTo>
                  <a:lnTo>
                    <a:pt x="4688" y="1089"/>
                  </a:lnTo>
                  <a:lnTo>
                    <a:pt x="4625" y="1089"/>
                  </a:lnTo>
                  <a:lnTo>
                    <a:pt x="4625" y="921"/>
                  </a:lnTo>
                  <a:lnTo>
                    <a:pt x="4520" y="775"/>
                  </a:lnTo>
                  <a:lnTo>
                    <a:pt x="4269" y="670"/>
                  </a:lnTo>
                  <a:lnTo>
                    <a:pt x="4186" y="670"/>
                  </a:lnTo>
                  <a:lnTo>
                    <a:pt x="4081" y="482"/>
                  </a:lnTo>
                  <a:lnTo>
                    <a:pt x="4081" y="377"/>
                  </a:lnTo>
                  <a:lnTo>
                    <a:pt x="3934" y="210"/>
                  </a:lnTo>
                  <a:lnTo>
                    <a:pt x="3893" y="168"/>
                  </a:lnTo>
                  <a:lnTo>
                    <a:pt x="3767" y="147"/>
                  </a:lnTo>
                  <a:lnTo>
                    <a:pt x="3558" y="84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5" name="Google Shape;805;p34"/>
            <p:cNvSpPr/>
            <p:nvPr/>
          </p:nvSpPr>
          <p:spPr>
            <a:xfrm>
              <a:off x="3275452" y="3211250"/>
              <a:ext cx="85722" cy="91389"/>
            </a:xfrm>
            <a:custGeom>
              <a:avLst/>
              <a:gdLst/>
              <a:ahLst/>
              <a:cxnLst/>
              <a:rect l="l" t="t" r="r" b="b"/>
              <a:pathLst>
                <a:path w="7199" h="8036" extrusionOk="0">
                  <a:moveTo>
                    <a:pt x="1967" y="1"/>
                  </a:moveTo>
                  <a:lnTo>
                    <a:pt x="1779" y="85"/>
                  </a:lnTo>
                  <a:lnTo>
                    <a:pt x="1612" y="126"/>
                  </a:lnTo>
                  <a:lnTo>
                    <a:pt x="1319" y="294"/>
                  </a:lnTo>
                  <a:lnTo>
                    <a:pt x="1235" y="545"/>
                  </a:lnTo>
                  <a:lnTo>
                    <a:pt x="1047" y="608"/>
                  </a:lnTo>
                  <a:lnTo>
                    <a:pt x="921" y="608"/>
                  </a:lnTo>
                  <a:lnTo>
                    <a:pt x="796" y="712"/>
                  </a:lnTo>
                  <a:lnTo>
                    <a:pt x="712" y="712"/>
                  </a:lnTo>
                  <a:lnTo>
                    <a:pt x="524" y="775"/>
                  </a:lnTo>
                  <a:lnTo>
                    <a:pt x="1" y="775"/>
                  </a:lnTo>
                  <a:lnTo>
                    <a:pt x="524" y="1549"/>
                  </a:lnTo>
                  <a:lnTo>
                    <a:pt x="524" y="1612"/>
                  </a:lnTo>
                  <a:lnTo>
                    <a:pt x="461" y="1779"/>
                  </a:lnTo>
                  <a:lnTo>
                    <a:pt x="461" y="2198"/>
                  </a:lnTo>
                  <a:lnTo>
                    <a:pt x="377" y="2386"/>
                  </a:lnTo>
                  <a:lnTo>
                    <a:pt x="419" y="2533"/>
                  </a:lnTo>
                  <a:lnTo>
                    <a:pt x="461" y="2909"/>
                  </a:lnTo>
                  <a:lnTo>
                    <a:pt x="398" y="3077"/>
                  </a:lnTo>
                  <a:lnTo>
                    <a:pt x="356" y="3160"/>
                  </a:lnTo>
                  <a:lnTo>
                    <a:pt x="377" y="3286"/>
                  </a:lnTo>
                  <a:lnTo>
                    <a:pt x="398" y="3370"/>
                  </a:lnTo>
                  <a:lnTo>
                    <a:pt x="398" y="3495"/>
                  </a:lnTo>
                  <a:lnTo>
                    <a:pt x="356" y="3600"/>
                  </a:lnTo>
                  <a:lnTo>
                    <a:pt x="524" y="3997"/>
                  </a:lnTo>
                  <a:lnTo>
                    <a:pt x="503" y="4123"/>
                  </a:lnTo>
                  <a:lnTo>
                    <a:pt x="398" y="4290"/>
                  </a:lnTo>
                  <a:lnTo>
                    <a:pt x="273" y="4374"/>
                  </a:lnTo>
                  <a:lnTo>
                    <a:pt x="168" y="4541"/>
                  </a:lnTo>
                  <a:lnTo>
                    <a:pt x="210" y="4604"/>
                  </a:lnTo>
                  <a:lnTo>
                    <a:pt x="293" y="4625"/>
                  </a:lnTo>
                  <a:lnTo>
                    <a:pt x="314" y="4709"/>
                  </a:lnTo>
                  <a:lnTo>
                    <a:pt x="356" y="4709"/>
                  </a:lnTo>
                  <a:lnTo>
                    <a:pt x="356" y="4834"/>
                  </a:lnTo>
                  <a:lnTo>
                    <a:pt x="482" y="4939"/>
                  </a:lnTo>
                  <a:lnTo>
                    <a:pt x="524" y="5002"/>
                  </a:lnTo>
                  <a:lnTo>
                    <a:pt x="565" y="5127"/>
                  </a:lnTo>
                  <a:lnTo>
                    <a:pt x="524" y="5232"/>
                  </a:lnTo>
                  <a:lnTo>
                    <a:pt x="524" y="5274"/>
                  </a:lnTo>
                  <a:lnTo>
                    <a:pt x="586" y="5483"/>
                  </a:lnTo>
                  <a:lnTo>
                    <a:pt x="670" y="5629"/>
                  </a:lnTo>
                  <a:lnTo>
                    <a:pt x="921" y="5839"/>
                  </a:lnTo>
                  <a:lnTo>
                    <a:pt x="942" y="5901"/>
                  </a:lnTo>
                  <a:lnTo>
                    <a:pt x="879" y="6090"/>
                  </a:lnTo>
                  <a:lnTo>
                    <a:pt x="921" y="6194"/>
                  </a:lnTo>
                  <a:lnTo>
                    <a:pt x="775" y="6508"/>
                  </a:lnTo>
                  <a:lnTo>
                    <a:pt x="879" y="6613"/>
                  </a:lnTo>
                  <a:lnTo>
                    <a:pt x="1130" y="6885"/>
                  </a:lnTo>
                  <a:lnTo>
                    <a:pt x="1570" y="8036"/>
                  </a:lnTo>
                  <a:lnTo>
                    <a:pt x="1737" y="8036"/>
                  </a:lnTo>
                  <a:lnTo>
                    <a:pt x="1758" y="7952"/>
                  </a:lnTo>
                  <a:lnTo>
                    <a:pt x="1863" y="7931"/>
                  </a:lnTo>
                  <a:lnTo>
                    <a:pt x="1863" y="7952"/>
                  </a:lnTo>
                  <a:lnTo>
                    <a:pt x="1946" y="7847"/>
                  </a:lnTo>
                  <a:lnTo>
                    <a:pt x="2051" y="7638"/>
                  </a:lnTo>
                  <a:lnTo>
                    <a:pt x="2260" y="7408"/>
                  </a:lnTo>
                  <a:lnTo>
                    <a:pt x="2407" y="7345"/>
                  </a:lnTo>
                  <a:lnTo>
                    <a:pt x="2553" y="7471"/>
                  </a:lnTo>
                  <a:lnTo>
                    <a:pt x="2721" y="7450"/>
                  </a:lnTo>
                  <a:lnTo>
                    <a:pt x="2804" y="7429"/>
                  </a:lnTo>
                  <a:lnTo>
                    <a:pt x="2930" y="7471"/>
                  </a:lnTo>
                  <a:lnTo>
                    <a:pt x="3139" y="7429"/>
                  </a:lnTo>
                  <a:lnTo>
                    <a:pt x="3244" y="7450"/>
                  </a:lnTo>
                  <a:lnTo>
                    <a:pt x="3286" y="7575"/>
                  </a:lnTo>
                  <a:lnTo>
                    <a:pt x="3348" y="7847"/>
                  </a:lnTo>
                  <a:lnTo>
                    <a:pt x="3411" y="7889"/>
                  </a:lnTo>
                  <a:lnTo>
                    <a:pt x="3453" y="7847"/>
                  </a:lnTo>
                  <a:lnTo>
                    <a:pt x="3453" y="7743"/>
                  </a:lnTo>
                  <a:lnTo>
                    <a:pt x="3516" y="7617"/>
                  </a:lnTo>
                  <a:lnTo>
                    <a:pt x="3516" y="7512"/>
                  </a:lnTo>
                  <a:lnTo>
                    <a:pt x="3620" y="7366"/>
                  </a:lnTo>
                  <a:lnTo>
                    <a:pt x="4227" y="7366"/>
                  </a:lnTo>
                  <a:lnTo>
                    <a:pt x="4353" y="7471"/>
                  </a:lnTo>
                  <a:lnTo>
                    <a:pt x="4374" y="7303"/>
                  </a:lnTo>
                  <a:lnTo>
                    <a:pt x="4541" y="6989"/>
                  </a:lnTo>
                  <a:lnTo>
                    <a:pt x="4562" y="6822"/>
                  </a:lnTo>
                  <a:lnTo>
                    <a:pt x="4541" y="6675"/>
                  </a:lnTo>
                  <a:lnTo>
                    <a:pt x="4478" y="6592"/>
                  </a:lnTo>
                  <a:lnTo>
                    <a:pt x="4667" y="6299"/>
                  </a:lnTo>
                  <a:lnTo>
                    <a:pt x="4750" y="6090"/>
                  </a:lnTo>
                  <a:lnTo>
                    <a:pt x="4750" y="5985"/>
                  </a:lnTo>
                  <a:lnTo>
                    <a:pt x="4876" y="5901"/>
                  </a:lnTo>
                  <a:lnTo>
                    <a:pt x="5650" y="5692"/>
                  </a:lnTo>
                  <a:lnTo>
                    <a:pt x="6319" y="5692"/>
                  </a:lnTo>
                  <a:lnTo>
                    <a:pt x="6696" y="5985"/>
                  </a:lnTo>
                  <a:lnTo>
                    <a:pt x="6780" y="5985"/>
                  </a:lnTo>
                  <a:lnTo>
                    <a:pt x="6864" y="6069"/>
                  </a:lnTo>
                  <a:lnTo>
                    <a:pt x="6926" y="5964"/>
                  </a:lnTo>
                  <a:lnTo>
                    <a:pt x="6905" y="5880"/>
                  </a:lnTo>
                  <a:lnTo>
                    <a:pt x="7198" y="5315"/>
                  </a:lnTo>
                  <a:lnTo>
                    <a:pt x="7177" y="5043"/>
                  </a:lnTo>
                  <a:lnTo>
                    <a:pt x="6884" y="4499"/>
                  </a:lnTo>
                  <a:lnTo>
                    <a:pt x="6571" y="4437"/>
                  </a:lnTo>
                  <a:lnTo>
                    <a:pt x="6591" y="4207"/>
                  </a:lnTo>
                  <a:lnTo>
                    <a:pt x="6550" y="3851"/>
                  </a:lnTo>
                  <a:lnTo>
                    <a:pt x="5524" y="3809"/>
                  </a:lnTo>
                  <a:lnTo>
                    <a:pt x="5545" y="3558"/>
                  </a:lnTo>
                  <a:lnTo>
                    <a:pt x="5315" y="3181"/>
                  </a:lnTo>
                  <a:lnTo>
                    <a:pt x="5399" y="3056"/>
                  </a:lnTo>
                  <a:lnTo>
                    <a:pt x="5336" y="2846"/>
                  </a:lnTo>
                  <a:lnTo>
                    <a:pt x="5378" y="2554"/>
                  </a:lnTo>
                  <a:lnTo>
                    <a:pt x="5315" y="2491"/>
                  </a:lnTo>
                  <a:lnTo>
                    <a:pt x="5106" y="2323"/>
                  </a:lnTo>
                  <a:lnTo>
                    <a:pt x="4771" y="2386"/>
                  </a:lnTo>
                  <a:lnTo>
                    <a:pt x="4604" y="2302"/>
                  </a:lnTo>
                  <a:lnTo>
                    <a:pt x="4499" y="2240"/>
                  </a:lnTo>
                  <a:lnTo>
                    <a:pt x="4457" y="2093"/>
                  </a:lnTo>
                  <a:lnTo>
                    <a:pt x="4290" y="2030"/>
                  </a:lnTo>
                  <a:lnTo>
                    <a:pt x="4060" y="1968"/>
                  </a:lnTo>
                  <a:lnTo>
                    <a:pt x="3955" y="1968"/>
                  </a:lnTo>
                  <a:lnTo>
                    <a:pt x="3746" y="1717"/>
                  </a:lnTo>
                  <a:lnTo>
                    <a:pt x="3620" y="1779"/>
                  </a:lnTo>
                  <a:lnTo>
                    <a:pt x="3411" y="1570"/>
                  </a:lnTo>
                  <a:lnTo>
                    <a:pt x="3181" y="1612"/>
                  </a:lnTo>
                  <a:lnTo>
                    <a:pt x="3118" y="1696"/>
                  </a:lnTo>
                  <a:lnTo>
                    <a:pt x="2993" y="1570"/>
                  </a:lnTo>
                  <a:lnTo>
                    <a:pt x="2804" y="1466"/>
                  </a:lnTo>
                  <a:lnTo>
                    <a:pt x="2679" y="1382"/>
                  </a:lnTo>
                  <a:lnTo>
                    <a:pt x="2616" y="1235"/>
                  </a:lnTo>
                  <a:lnTo>
                    <a:pt x="2490" y="1152"/>
                  </a:lnTo>
                  <a:lnTo>
                    <a:pt x="2407" y="942"/>
                  </a:lnTo>
                  <a:lnTo>
                    <a:pt x="2449" y="838"/>
                  </a:lnTo>
                  <a:lnTo>
                    <a:pt x="2386" y="545"/>
                  </a:lnTo>
                  <a:lnTo>
                    <a:pt x="2470" y="398"/>
                  </a:lnTo>
                  <a:lnTo>
                    <a:pt x="2407" y="189"/>
                  </a:lnTo>
                  <a:lnTo>
                    <a:pt x="2407" y="43"/>
                  </a:lnTo>
                  <a:lnTo>
                    <a:pt x="2365" y="1"/>
                  </a:lnTo>
                  <a:lnTo>
                    <a:pt x="2239" y="85"/>
                  </a:lnTo>
                  <a:lnTo>
                    <a:pt x="20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806" name="Google Shape;806;p34"/>
            <p:cNvSpPr/>
            <p:nvPr/>
          </p:nvSpPr>
          <p:spPr>
            <a:xfrm>
              <a:off x="3327273" y="3275982"/>
              <a:ext cx="58811" cy="59262"/>
            </a:xfrm>
            <a:custGeom>
              <a:avLst/>
              <a:gdLst/>
              <a:ahLst/>
              <a:cxnLst/>
              <a:rect l="l" t="t" r="r" b="b"/>
              <a:pathLst>
                <a:path w="4939" h="5211" extrusionOk="0">
                  <a:moveTo>
                    <a:pt x="1298" y="0"/>
                  </a:moveTo>
                  <a:lnTo>
                    <a:pt x="524" y="209"/>
                  </a:lnTo>
                  <a:lnTo>
                    <a:pt x="398" y="293"/>
                  </a:lnTo>
                  <a:lnTo>
                    <a:pt x="398" y="398"/>
                  </a:lnTo>
                  <a:lnTo>
                    <a:pt x="315" y="607"/>
                  </a:lnTo>
                  <a:lnTo>
                    <a:pt x="126" y="900"/>
                  </a:lnTo>
                  <a:lnTo>
                    <a:pt x="189" y="983"/>
                  </a:lnTo>
                  <a:lnTo>
                    <a:pt x="210" y="1130"/>
                  </a:lnTo>
                  <a:lnTo>
                    <a:pt x="189" y="1297"/>
                  </a:lnTo>
                  <a:lnTo>
                    <a:pt x="22" y="1611"/>
                  </a:lnTo>
                  <a:lnTo>
                    <a:pt x="1" y="1779"/>
                  </a:lnTo>
                  <a:lnTo>
                    <a:pt x="1" y="1820"/>
                  </a:lnTo>
                  <a:lnTo>
                    <a:pt x="126" y="1946"/>
                  </a:lnTo>
                  <a:lnTo>
                    <a:pt x="231" y="1967"/>
                  </a:lnTo>
                  <a:lnTo>
                    <a:pt x="398" y="2239"/>
                  </a:lnTo>
                  <a:lnTo>
                    <a:pt x="754" y="2595"/>
                  </a:lnTo>
                  <a:lnTo>
                    <a:pt x="879" y="2595"/>
                  </a:lnTo>
                  <a:lnTo>
                    <a:pt x="1026" y="2720"/>
                  </a:lnTo>
                  <a:lnTo>
                    <a:pt x="1131" y="2888"/>
                  </a:lnTo>
                  <a:lnTo>
                    <a:pt x="1465" y="2971"/>
                  </a:lnTo>
                  <a:lnTo>
                    <a:pt x="1695" y="3097"/>
                  </a:lnTo>
                  <a:lnTo>
                    <a:pt x="1800" y="3097"/>
                  </a:lnTo>
                  <a:lnTo>
                    <a:pt x="2030" y="3327"/>
                  </a:lnTo>
                  <a:lnTo>
                    <a:pt x="2302" y="3452"/>
                  </a:lnTo>
                  <a:lnTo>
                    <a:pt x="2637" y="3515"/>
                  </a:lnTo>
                  <a:lnTo>
                    <a:pt x="2804" y="3641"/>
                  </a:lnTo>
                  <a:lnTo>
                    <a:pt x="2951" y="3808"/>
                  </a:lnTo>
                  <a:lnTo>
                    <a:pt x="3035" y="3934"/>
                  </a:lnTo>
                  <a:lnTo>
                    <a:pt x="2972" y="4059"/>
                  </a:lnTo>
                  <a:lnTo>
                    <a:pt x="2909" y="4185"/>
                  </a:lnTo>
                  <a:lnTo>
                    <a:pt x="2804" y="4269"/>
                  </a:lnTo>
                  <a:lnTo>
                    <a:pt x="2742" y="4373"/>
                  </a:lnTo>
                  <a:lnTo>
                    <a:pt x="2763" y="4478"/>
                  </a:lnTo>
                  <a:lnTo>
                    <a:pt x="2700" y="4708"/>
                  </a:lnTo>
                  <a:lnTo>
                    <a:pt x="2512" y="4896"/>
                  </a:lnTo>
                  <a:lnTo>
                    <a:pt x="2491" y="5022"/>
                  </a:lnTo>
                  <a:lnTo>
                    <a:pt x="2574" y="5022"/>
                  </a:lnTo>
                  <a:lnTo>
                    <a:pt x="2972" y="4959"/>
                  </a:lnTo>
                  <a:lnTo>
                    <a:pt x="3328" y="5064"/>
                  </a:lnTo>
                  <a:lnTo>
                    <a:pt x="3579" y="5210"/>
                  </a:lnTo>
                  <a:lnTo>
                    <a:pt x="3704" y="5168"/>
                  </a:lnTo>
                  <a:lnTo>
                    <a:pt x="3788" y="5168"/>
                  </a:lnTo>
                  <a:lnTo>
                    <a:pt x="3851" y="5210"/>
                  </a:lnTo>
                  <a:lnTo>
                    <a:pt x="3955" y="5064"/>
                  </a:lnTo>
                  <a:lnTo>
                    <a:pt x="3997" y="5022"/>
                  </a:lnTo>
                  <a:lnTo>
                    <a:pt x="4123" y="5085"/>
                  </a:lnTo>
                  <a:lnTo>
                    <a:pt x="4227" y="4959"/>
                  </a:lnTo>
                  <a:lnTo>
                    <a:pt x="4290" y="4792"/>
                  </a:lnTo>
                  <a:lnTo>
                    <a:pt x="4541" y="4603"/>
                  </a:lnTo>
                  <a:lnTo>
                    <a:pt x="4583" y="4478"/>
                  </a:lnTo>
                  <a:lnTo>
                    <a:pt x="4646" y="4352"/>
                  </a:lnTo>
                  <a:lnTo>
                    <a:pt x="4750" y="4248"/>
                  </a:lnTo>
                  <a:lnTo>
                    <a:pt x="4792" y="4038"/>
                  </a:lnTo>
                  <a:lnTo>
                    <a:pt x="4750" y="3976"/>
                  </a:lnTo>
                  <a:lnTo>
                    <a:pt x="4750" y="3829"/>
                  </a:lnTo>
                  <a:lnTo>
                    <a:pt x="4813" y="3808"/>
                  </a:lnTo>
                  <a:lnTo>
                    <a:pt x="4813" y="3724"/>
                  </a:lnTo>
                  <a:lnTo>
                    <a:pt x="4813" y="3662"/>
                  </a:lnTo>
                  <a:lnTo>
                    <a:pt x="4813" y="3599"/>
                  </a:lnTo>
                  <a:lnTo>
                    <a:pt x="4834" y="3599"/>
                  </a:lnTo>
                  <a:lnTo>
                    <a:pt x="4855" y="3515"/>
                  </a:lnTo>
                  <a:lnTo>
                    <a:pt x="4855" y="2971"/>
                  </a:lnTo>
                  <a:lnTo>
                    <a:pt x="4939" y="2888"/>
                  </a:lnTo>
                  <a:lnTo>
                    <a:pt x="4834" y="2867"/>
                  </a:lnTo>
                  <a:lnTo>
                    <a:pt x="4750" y="2783"/>
                  </a:lnTo>
                  <a:lnTo>
                    <a:pt x="4625" y="2720"/>
                  </a:lnTo>
                  <a:lnTo>
                    <a:pt x="4395" y="2867"/>
                  </a:lnTo>
                  <a:lnTo>
                    <a:pt x="4290" y="2825"/>
                  </a:lnTo>
                  <a:lnTo>
                    <a:pt x="4206" y="2616"/>
                  </a:lnTo>
                  <a:lnTo>
                    <a:pt x="4060" y="1988"/>
                  </a:lnTo>
                  <a:lnTo>
                    <a:pt x="4018" y="1862"/>
                  </a:lnTo>
                  <a:lnTo>
                    <a:pt x="3892" y="1820"/>
                  </a:lnTo>
                  <a:lnTo>
                    <a:pt x="3767" y="1716"/>
                  </a:lnTo>
                  <a:lnTo>
                    <a:pt x="3495" y="1841"/>
                  </a:lnTo>
                  <a:lnTo>
                    <a:pt x="3328" y="1758"/>
                  </a:lnTo>
                  <a:lnTo>
                    <a:pt x="3056" y="1779"/>
                  </a:lnTo>
                  <a:lnTo>
                    <a:pt x="2972" y="1737"/>
                  </a:lnTo>
                  <a:lnTo>
                    <a:pt x="2763" y="1758"/>
                  </a:lnTo>
                  <a:lnTo>
                    <a:pt x="2721" y="1632"/>
                  </a:lnTo>
                  <a:lnTo>
                    <a:pt x="2763" y="1528"/>
                  </a:lnTo>
                  <a:lnTo>
                    <a:pt x="2721" y="1360"/>
                  </a:lnTo>
                  <a:lnTo>
                    <a:pt x="2763" y="1025"/>
                  </a:lnTo>
                  <a:lnTo>
                    <a:pt x="2658" y="837"/>
                  </a:lnTo>
                  <a:lnTo>
                    <a:pt x="2658" y="670"/>
                  </a:lnTo>
                  <a:lnTo>
                    <a:pt x="2512" y="565"/>
                  </a:lnTo>
                  <a:lnTo>
                    <a:pt x="2553" y="419"/>
                  </a:lnTo>
                  <a:lnTo>
                    <a:pt x="2428" y="293"/>
                  </a:lnTo>
                  <a:lnTo>
                    <a:pt x="2344" y="293"/>
                  </a:lnTo>
                  <a:lnTo>
                    <a:pt x="196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807" name="Google Shape;807;p34"/>
            <p:cNvSpPr/>
            <p:nvPr/>
          </p:nvSpPr>
          <p:spPr>
            <a:xfrm>
              <a:off x="3363150" y="3352838"/>
              <a:ext cx="34889" cy="37848"/>
            </a:xfrm>
            <a:custGeom>
              <a:avLst/>
              <a:gdLst/>
              <a:ahLst/>
              <a:cxnLst/>
              <a:rect l="l" t="t" r="r" b="b"/>
              <a:pathLst>
                <a:path w="2930" h="3328" extrusionOk="0">
                  <a:moveTo>
                    <a:pt x="754" y="0"/>
                  </a:moveTo>
                  <a:lnTo>
                    <a:pt x="440" y="63"/>
                  </a:lnTo>
                  <a:lnTo>
                    <a:pt x="377" y="42"/>
                  </a:lnTo>
                  <a:lnTo>
                    <a:pt x="315" y="42"/>
                  </a:lnTo>
                  <a:lnTo>
                    <a:pt x="273" y="63"/>
                  </a:lnTo>
                  <a:lnTo>
                    <a:pt x="231" y="210"/>
                  </a:lnTo>
                  <a:lnTo>
                    <a:pt x="126" y="335"/>
                  </a:lnTo>
                  <a:lnTo>
                    <a:pt x="168" y="524"/>
                  </a:lnTo>
                  <a:lnTo>
                    <a:pt x="126" y="586"/>
                  </a:lnTo>
                  <a:lnTo>
                    <a:pt x="147" y="712"/>
                  </a:lnTo>
                  <a:lnTo>
                    <a:pt x="147" y="963"/>
                  </a:lnTo>
                  <a:lnTo>
                    <a:pt x="84" y="1047"/>
                  </a:lnTo>
                  <a:lnTo>
                    <a:pt x="84" y="1151"/>
                  </a:lnTo>
                  <a:lnTo>
                    <a:pt x="43" y="1277"/>
                  </a:lnTo>
                  <a:lnTo>
                    <a:pt x="84" y="1465"/>
                  </a:lnTo>
                  <a:lnTo>
                    <a:pt x="43" y="1507"/>
                  </a:lnTo>
                  <a:lnTo>
                    <a:pt x="63" y="1779"/>
                  </a:lnTo>
                  <a:lnTo>
                    <a:pt x="126" y="1967"/>
                  </a:lnTo>
                  <a:lnTo>
                    <a:pt x="84" y="2030"/>
                  </a:lnTo>
                  <a:lnTo>
                    <a:pt x="22" y="2114"/>
                  </a:lnTo>
                  <a:lnTo>
                    <a:pt x="1" y="2156"/>
                  </a:lnTo>
                  <a:lnTo>
                    <a:pt x="1" y="2428"/>
                  </a:lnTo>
                  <a:lnTo>
                    <a:pt x="63" y="2637"/>
                  </a:lnTo>
                  <a:lnTo>
                    <a:pt x="231" y="2867"/>
                  </a:lnTo>
                  <a:lnTo>
                    <a:pt x="315" y="2867"/>
                  </a:lnTo>
                  <a:lnTo>
                    <a:pt x="461" y="3034"/>
                  </a:lnTo>
                  <a:lnTo>
                    <a:pt x="545" y="3055"/>
                  </a:lnTo>
                  <a:lnTo>
                    <a:pt x="796" y="3034"/>
                  </a:lnTo>
                  <a:lnTo>
                    <a:pt x="963" y="3055"/>
                  </a:lnTo>
                  <a:lnTo>
                    <a:pt x="1089" y="3139"/>
                  </a:lnTo>
                  <a:lnTo>
                    <a:pt x="1172" y="3160"/>
                  </a:lnTo>
                  <a:lnTo>
                    <a:pt x="1277" y="3160"/>
                  </a:lnTo>
                  <a:lnTo>
                    <a:pt x="1298" y="3181"/>
                  </a:lnTo>
                  <a:lnTo>
                    <a:pt x="1277" y="3244"/>
                  </a:lnTo>
                  <a:lnTo>
                    <a:pt x="1277" y="3285"/>
                  </a:lnTo>
                  <a:lnTo>
                    <a:pt x="1382" y="3285"/>
                  </a:lnTo>
                  <a:lnTo>
                    <a:pt x="1507" y="3202"/>
                  </a:lnTo>
                  <a:lnTo>
                    <a:pt x="1654" y="3181"/>
                  </a:lnTo>
                  <a:lnTo>
                    <a:pt x="1800" y="3244"/>
                  </a:lnTo>
                  <a:lnTo>
                    <a:pt x="1842" y="3264"/>
                  </a:lnTo>
                  <a:lnTo>
                    <a:pt x="1926" y="3264"/>
                  </a:lnTo>
                  <a:lnTo>
                    <a:pt x="2009" y="3285"/>
                  </a:lnTo>
                  <a:lnTo>
                    <a:pt x="2093" y="3327"/>
                  </a:lnTo>
                  <a:lnTo>
                    <a:pt x="2135" y="3264"/>
                  </a:lnTo>
                  <a:lnTo>
                    <a:pt x="2156" y="3181"/>
                  </a:lnTo>
                  <a:lnTo>
                    <a:pt x="2177" y="3181"/>
                  </a:lnTo>
                  <a:lnTo>
                    <a:pt x="2239" y="3202"/>
                  </a:lnTo>
                  <a:lnTo>
                    <a:pt x="2449" y="3139"/>
                  </a:lnTo>
                  <a:lnTo>
                    <a:pt x="2574" y="2972"/>
                  </a:lnTo>
                  <a:lnTo>
                    <a:pt x="2637" y="2930"/>
                  </a:lnTo>
                  <a:lnTo>
                    <a:pt x="2616" y="2909"/>
                  </a:lnTo>
                  <a:lnTo>
                    <a:pt x="2658" y="2804"/>
                  </a:lnTo>
                  <a:lnTo>
                    <a:pt x="2784" y="2720"/>
                  </a:lnTo>
                  <a:lnTo>
                    <a:pt x="2784" y="2532"/>
                  </a:lnTo>
                  <a:lnTo>
                    <a:pt x="2867" y="2428"/>
                  </a:lnTo>
                  <a:lnTo>
                    <a:pt x="2930" y="2407"/>
                  </a:lnTo>
                  <a:lnTo>
                    <a:pt x="2888" y="2386"/>
                  </a:lnTo>
                  <a:lnTo>
                    <a:pt x="2825" y="2281"/>
                  </a:lnTo>
                  <a:lnTo>
                    <a:pt x="2784" y="2239"/>
                  </a:lnTo>
                  <a:lnTo>
                    <a:pt x="2784" y="2218"/>
                  </a:lnTo>
                  <a:lnTo>
                    <a:pt x="2742" y="2030"/>
                  </a:lnTo>
                  <a:lnTo>
                    <a:pt x="2846" y="1884"/>
                  </a:lnTo>
                  <a:lnTo>
                    <a:pt x="2867" y="1716"/>
                  </a:lnTo>
                  <a:lnTo>
                    <a:pt x="2742" y="1612"/>
                  </a:lnTo>
                  <a:lnTo>
                    <a:pt x="2574" y="1402"/>
                  </a:lnTo>
                  <a:lnTo>
                    <a:pt x="2449" y="1256"/>
                  </a:lnTo>
                  <a:lnTo>
                    <a:pt x="2239" y="1151"/>
                  </a:lnTo>
                  <a:lnTo>
                    <a:pt x="2114" y="1172"/>
                  </a:lnTo>
                  <a:lnTo>
                    <a:pt x="2114" y="1026"/>
                  </a:lnTo>
                  <a:lnTo>
                    <a:pt x="1988" y="879"/>
                  </a:lnTo>
                  <a:lnTo>
                    <a:pt x="1842" y="858"/>
                  </a:lnTo>
                  <a:lnTo>
                    <a:pt x="1695" y="775"/>
                  </a:lnTo>
                  <a:lnTo>
                    <a:pt x="1570" y="565"/>
                  </a:lnTo>
                  <a:lnTo>
                    <a:pt x="1486" y="565"/>
                  </a:lnTo>
                  <a:lnTo>
                    <a:pt x="1382" y="670"/>
                  </a:lnTo>
                  <a:lnTo>
                    <a:pt x="1319" y="670"/>
                  </a:lnTo>
                  <a:lnTo>
                    <a:pt x="1172" y="461"/>
                  </a:lnTo>
                  <a:lnTo>
                    <a:pt x="1110" y="314"/>
                  </a:lnTo>
                  <a:lnTo>
                    <a:pt x="984" y="251"/>
                  </a:lnTo>
                  <a:lnTo>
                    <a:pt x="859" y="63"/>
                  </a:lnTo>
                  <a:lnTo>
                    <a:pt x="75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08" name="Google Shape;808;p34"/>
            <p:cNvGrpSpPr/>
            <p:nvPr/>
          </p:nvGrpSpPr>
          <p:grpSpPr>
            <a:xfrm>
              <a:off x="3280929" y="3294542"/>
              <a:ext cx="109894" cy="272224"/>
              <a:chOff x="2711750" y="3572300"/>
              <a:chExt cx="230725" cy="598425"/>
            </a:xfrm>
          </p:grpSpPr>
          <p:sp>
            <p:nvSpPr>
              <p:cNvPr id="809" name="Google Shape;809;p34"/>
              <p:cNvSpPr/>
              <p:nvPr/>
            </p:nvSpPr>
            <p:spPr>
              <a:xfrm>
                <a:off x="2711750" y="3572300"/>
                <a:ext cx="230725" cy="538800"/>
              </a:xfrm>
              <a:custGeom>
                <a:avLst/>
                <a:gdLst/>
                <a:ahLst/>
                <a:cxnLst/>
                <a:rect l="l" t="t" r="r" b="b"/>
                <a:pathLst>
                  <a:path w="9229" h="21552" extrusionOk="0">
                    <a:moveTo>
                      <a:pt x="1947" y="0"/>
                    </a:moveTo>
                    <a:lnTo>
                      <a:pt x="1800" y="42"/>
                    </a:lnTo>
                    <a:lnTo>
                      <a:pt x="1570" y="293"/>
                    </a:lnTo>
                    <a:lnTo>
                      <a:pt x="1466" y="502"/>
                    </a:lnTo>
                    <a:lnTo>
                      <a:pt x="1382" y="607"/>
                    </a:lnTo>
                    <a:lnTo>
                      <a:pt x="1466" y="753"/>
                    </a:lnTo>
                    <a:lnTo>
                      <a:pt x="1298" y="1402"/>
                    </a:lnTo>
                    <a:lnTo>
                      <a:pt x="629" y="1779"/>
                    </a:lnTo>
                    <a:lnTo>
                      <a:pt x="566" y="1925"/>
                    </a:lnTo>
                    <a:lnTo>
                      <a:pt x="691" y="2030"/>
                    </a:lnTo>
                    <a:lnTo>
                      <a:pt x="733" y="2134"/>
                    </a:lnTo>
                    <a:lnTo>
                      <a:pt x="650" y="2281"/>
                    </a:lnTo>
                    <a:lnTo>
                      <a:pt x="670" y="2448"/>
                    </a:lnTo>
                    <a:lnTo>
                      <a:pt x="796" y="2616"/>
                    </a:lnTo>
                    <a:lnTo>
                      <a:pt x="796" y="2762"/>
                    </a:lnTo>
                    <a:lnTo>
                      <a:pt x="691" y="2846"/>
                    </a:lnTo>
                    <a:lnTo>
                      <a:pt x="670" y="2950"/>
                    </a:lnTo>
                    <a:lnTo>
                      <a:pt x="754" y="3013"/>
                    </a:lnTo>
                    <a:lnTo>
                      <a:pt x="796" y="3076"/>
                    </a:lnTo>
                    <a:lnTo>
                      <a:pt x="796" y="3243"/>
                    </a:lnTo>
                    <a:lnTo>
                      <a:pt x="859" y="3285"/>
                    </a:lnTo>
                    <a:lnTo>
                      <a:pt x="775" y="3390"/>
                    </a:lnTo>
                    <a:lnTo>
                      <a:pt x="670" y="3453"/>
                    </a:lnTo>
                    <a:lnTo>
                      <a:pt x="524" y="3599"/>
                    </a:lnTo>
                    <a:lnTo>
                      <a:pt x="357" y="3997"/>
                    </a:lnTo>
                    <a:lnTo>
                      <a:pt x="252" y="4164"/>
                    </a:lnTo>
                    <a:lnTo>
                      <a:pt x="210" y="4582"/>
                    </a:lnTo>
                    <a:lnTo>
                      <a:pt x="126" y="4645"/>
                    </a:lnTo>
                    <a:lnTo>
                      <a:pt x="147" y="5022"/>
                    </a:lnTo>
                    <a:lnTo>
                      <a:pt x="252" y="5210"/>
                    </a:lnTo>
                    <a:lnTo>
                      <a:pt x="252" y="5461"/>
                    </a:lnTo>
                    <a:lnTo>
                      <a:pt x="168" y="5566"/>
                    </a:lnTo>
                    <a:lnTo>
                      <a:pt x="168" y="5859"/>
                    </a:lnTo>
                    <a:lnTo>
                      <a:pt x="22" y="5942"/>
                    </a:lnTo>
                    <a:lnTo>
                      <a:pt x="1" y="6152"/>
                    </a:lnTo>
                    <a:lnTo>
                      <a:pt x="43" y="6424"/>
                    </a:lnTo>
                    <a:lnTo>
                      <a:pt x="147" y="6570"/>
                    </a:lnTo>
                    <a:lnTo>
                      <a:pt x="168" y="6675"/>
                    </a:lnTo>
                    <a:lnTo>
                      <a:pt x="315" y="6884"/>
                    </a:lnTo>
                    <a:lnTo>
                      <a:pt x="378" y="7051"/>
                    </a:lnTo>
                    <a:lnTo>
                      <a:pt x="461" y="7407"/>
                    </a:lnTo>
                    <a:lnTo>
                      <a:pt x="545" y="7470"/>
                    </a:lnTo>
                    <a:lnTo>
                      <a:pt x="587" y="7930"/>
                    </a:lnTo>
                    <a:lnTo>
                      <a:pt x="566" y="8181"/>
                    </a:lnTo>
                    <a:lnTo>
                      <a:pt x="461" y="8202"/>
                    </a:lnTo>
                    <a:lnTo>
                      <a:pt x="357" y="8453"/>
                    </a:lnTo>
                    <a:lnTo>
                      <a:pt x="378" y="8683"/>
                    </a:lnTo>
                    <a:lnTo>
                      <a:pt x="252" y="8872"/>
                    </a:lnTo>
                    <a:lnTo>
                      <a:pt x="336" y="8935"/>
                    </a:lnTo>
                    <a:lnTo>
                      <a:pt x="440" y="9123"/>
                    </a:lnTo>
                    <a:lnTo>
                      <a:pt x="461" y="9332"/>
                    </a:lnTo>
                    <a:lnTo>
                      <a:pt x="336" y="9458"/>
                    </a:lnTo>
                    <a:lnTo>
                      <a:pt x="210" y="9709"/>
                    </a:lnTo>
                    <a:lnTo>
                      <a:pt x="210" y="10085"/>
                    </a:lnTo>
                    <a:lnTo>
                      <a:pt x="210" y="10253"/>
                    </a:lnTo>
                    <a:lnTo>
                      <a:pt x="147" y="10483"/>
                    </a:lnTo>
                    <a:lnTo>
                      <a:pt x="482" y="11173"/>
                    </a:lnTo>
                    <a:lnTo>
                      <a:pt x="419" y="11278"/>
                    </a:lnTo>
                    <a:lnTo>
                      <a:pt x="252" y="11341"/>
                    </a:lnTo>
                    <a:lnTo>
                      <a:pt x="231" y="11655"/>
                    </a:lnTo>
                    <a:lnTo>
                      <a:pt x="22" y="11948"/>
                    </a:lnTo>
                    <a:lnTo>
                      <a:pt x="43" y="12157"/>
                    </a:lnTo>
                    <a:lnTo>
                      <a:pt x="147" y="12345"/>
                    </a:lnTo>
                    <a:lnTo>
                      <a:pt x="126" y="12764"/>
                    </a:lnTo>
                    <a:lnTo>
                      <a:pt x="147" y="13119"/>
                    </a:lnTo>
                    <a:lnTo>
                      <a:pt x="210" y="13391"/>
                    </a:lnTo>
                    <a:lnTo>
                      <a:pt x="315" y="13433"/>
                    </a:lnTo>
                    <a:lnTo>
                      <a:pt x="357" y="13538"/>
                    </a:lnTo>
                    <a:lnTo>
                      <a:pt x="336" y="13705"/>
                    </a:lnTo>
                    <a:lnTo>
                      <a:pt x="210" y="13789"/>
                    </a:lnTo>
                    <a:lnTo>
                      <a:pt x="231" y="14103"/>
                    </a:lnTo>
                    <a:cubicBezTo>
                      <a:pt x="252" y="14165"/>
                      <a:pt x="252" y="14270"/>
                      <a:pt x="273" y="14354"/>
                    </a:cubicBezTo>
                    <a:lnTo>
                      <a:pt x="273" y="14375"/>
                    </a:lnTo>
                    <a:lnTo>
                      <a:pt x="461" y="14437"/>
                    </a:lnTo>
                    <a:lnTo>
                      <a:pt x="461" y="14626"/>
                    </a:lnTo>
                    <a:lnTo>
                      <a:pt x="461" y="14772"/>
                    </a:lnTo>
                    <a:lnTo>
                      <a:pt x="566" y="15002"/>
                    </a:lnTo>
                    <a:lnTo>
                      <a:pt x="608" y="15274"/>
                    </a:lnTo>
                    <a:lnTo>
                      <a:pt x="712" y="15295"/>
                    </a:lnTo>
                    <a:lnTo>
                      <a:pt x="796" y="15253"/>
                    </a:lnTo>
                    <a:lnTo>
                      <a:pt x="880" y="15274"/>
                    </a:lnTo>
                    <a:lnTo>
                      <a:pt x="880" y="15400"/>
                    </a:lnTo>
                    <a:lnTo>
                      <a:pt x="754" y="15567"/>
                    </a:lnTo>
                    <a:lnTo>
                      <a:pt x="482" y="15567"/>
                    </a:lnTo>
                    <a:lnTo>
                      <a:pt x="440" y="15672"/>
                    </a:lnTo>
                    <a:lnTo>
                      <a:pt x="524" y="15735"/>
                    </a:lnTo>
                    <a:lnTo>
                      <a:pt x="545" y="15714"/>
                    </a:lnTo>
                    <a:lnTo>
                      <a:pt x="670" y="15714"/>
                    </a:lnTo>
                    <a:lnTo>
                      <a:pt x="859" y="15839"/>
                    </a:lnTo>
                    <a:lnTo>
                      <a:pt x="984" y="16049"/>
                    </a:lnTo>
                    <a:lnTo>
                      <a:pt x="984" y="16195"/>
                    </a:lnTo>
                    <a:lnTo>
                      <a:pt x="838" y="16321"/>
                    </a:lnTo>
                    <a:lnTo>
                      <a:pt x="838" y="16425"/>
                    </a:lnTo>
                    <a:lnTo>
                      <a:pt x="901" y="16572"/>
                    </a:lnTo>
                    <a:lnTo>
                      <a:pt x="963" y="16885"/>
                    </a:lnTo>
                    <a:lnTo>
                      <a:pt x="1047" y="17137"/>
                    </a:lnTo>
                    <a:lnTo>
                      <a:pt x="942" y="17241"/>
                    </a:lnTo>
                    <a:lnTo>
                      <a:pt x="901" y="17367"/>
                    </a:lnTo>
                    <a:lnTo>
                      <a:pt x="1005" y="17618"/>
                    </a:lnTo>
                    <a:lnTo>
                      <a:pt x="901" y="17764"/>
                    </a:lnTo>
                    <a:lnTo>
                      <a:pt x="859" y="18015"/>
                    </a:lnTo>
                    <a:lnTo>
                      <a:pt x="942" y="18246"/>
                    </a:lnTo>
                    <a:lnTo>
                      <a:pt x="984" y="18559"/>
                    </a:lnTo>
                    <a:lnTo>
                      <a:pt x="942" y="18852"/>
                    </a:lnTo>
                    <a:lnTo>
                      <a:pt x="733" y="19062"/>
                    </a:lnTo>
                    <a:lnTo>
                      <a:pt x="587" y="19250"/>
                    </a:lnTo>
                    <a:lnTo>
                      <a:pt x="524" y="19752"/>
                    </a:lnTo>
                    <a:cubicBezTo>
                      <a:pt x="545" y="19815"/>
                      <a:pt x="545" y="19898"/>
                      <a:pt x="566" y="19982"/>
                    </a:cubicBezTo>
                    <a:lnTo>
                      <a:pt x="796" y="20422"/>
                    </a:lnTo>
                    <a:lnTo>
                      <a:pt x="942" y="20422"/>
                    </a:lnTo>
                    <a:lnTo>
                      <a:pt x="1047" y="20317"/>
                    </a:lnTo>
                    <a:lnTo>
                      <a:pt x="1214" y="20233"/>
                    </a:lnTo>
                    <a:lnTo>
                      <a:pt x="1361" y="20233"/>
                    </a:lnTo>
                    <a:lnTo>
                      <a:pt x="1361" y="20401"/>
                    </a:lnTo>
                    <a:lnTo>
                      <a:pt x="1382" y="20735"/>
                    </a:lnTo>
                    <a:lnTo>
                      <a:pt x="1507" y="20840"/>
                    </a:lnTo>
                    <a:lnTo>
                      <a:pt x="1570" y="21049"/>
                    </a:lnTo>
                    <a:lnTo>
                      <a:pt x="1633" y="21279"/>
                    </a:lnTo>
                    <a:lnTo>
                      <a:pt x="1926" y="21321"/>
                    </a:lnTo>
                    <a:lnTo>
                      <a:pt x="2030" y="21363"/>
                    </a:lnTo>
                    <a:lnTo>
                      <a:pt x="2449" y="21279"/>
                    </a:lnTo>
                    <a:lnTo>
                      <a:pt x="3181" y="21279"/>
                    </a:lnTo>
                    <a:lnTo>
                      <a:pt x="3244" y="21342"/>
                    </a:lnTo>
                    <a:lnTo>
                      <a:pt x="3370" y="21363"/>
                    </a:lnTo>
                    <a:lnTo>
                      <a:pt x="3516" y="21489"/>
                    </a:lnTo>
                    <a:lnTo>
                      <a:pt x="3663" y="21551"/>
                    </a:lnTo>
                    <a:lnTo>
                      <a:pt x="3704" y="21551"/>
                    </a:lnTo>
                    <a:lnTo>
                      <a:pt x="3704" y="21447"/>
                    </a:lnTo>
                    <a:lnTo>
                      <a:pt x="3600" y="21363"/>
                    </a:lnTo>
                    <a:lnTo>
                      <a:pt x="3411" y="21238"/>
                    </a:lnTo>
                    <a:lnTo>
                      <a:pt x="3391" y="21133"/>
                    </a:lnTo>
                    <a:lnTo>
                      <a:pt x="3286" y="21028"/>
                    </a:lnTo>
                    <a:lnTo>
                      <a:pt x="3202" y="21049"/>
                    </a:lnTo>
                    <a:lnTo>
                      <a:pt x="3160" y="21007"/>
                    </a:lnTo>
                    <a:lnTo>
                      <a:pt x="3244" y="20945"/>
                    </a:lnTo>
                    <a:lnTo>
                      <a:pt x="3265" y="20861"/>
                    </a:lnTo>
                    <a:lnTo>
                      <a:pt x="3244" y="20840"/>
                    </a:lnTo>
                    <a:lnTo>
                      <a:pt x="3244" y="20756"/>
                    </a:lnTo>
                    <a:lnTo>
                      <a:pt x="3139" y="20505"/>
                    </a:lnTo>
                    <a:lnTo>
                      <a:pt x="3035" y="20317"/>
                    </a:lnTo>
                    <a:lnTo>
                      <a:pt x="2993" y="20129"/>
                    </a:lnTo>
                    <a:lnTo>
                      <a:pt x="3077" y="19961"/>
                    </a:lnTo>
                    <a:lnTo>
                      <a:pt x="3202" y="19857"/>
                    </a:lnTo>
                    <a:lnTo>
                      <a:pt x="3265" y="19752"/>
                    </a:lnTo>
                    <a:lnTo>
                      <a:pt x="3202" y="19689"/>
                    </a:lnTo>
                    <a:lnTo>
                      <a:pt x="3202" y="19585"/>
                    </a:lnTo>
                    <a:lnTo>
                      <a:pt x="3160" y="19501"/>
                    </a:lnTo>
                    <a:lnTo>
                      <a:pt x="3244" y="19564"/>
                    </a:lnTo>
                    <a:lnTo>
                      <a:pt x="3307" y="19647"/>
                    </a:lnTo>
                    <a:lnTo>
                      <a:pt x="3391" y="19668"/>
                    </a:lnTo>
                    <a:lnTo>
                      <a:pt x="3516" y="19564"/>
                    </a:lnTo>
                    <a:lnTo>
                      <a:pt x="3558" y="19480"/>
                    </a:lnTo>
                    <a:lnTo>
                      <a:pt x="3663" y="19354"/>
                    </a:lnTo>
                    <a:lnTo>
                      <a:pt x="3683" y="19250"/>
                    </a:lnTo>
                    <a:lnTo>
                      <a:pt x="3663" y="19062"/>
                    </a:lnTo>
                    <a:lnTo>
                      <a:pt x="3579" y="19041"/>
                    </a:lnTo>
                    <a:lnTo>
                      <a:pt x="3516" y="19082"/>
                    </a:lnTo>
                    <a:lnTo>
                      <a:pt x="3516" y="19082"/>
                    </a:lnTo>
                    <a:lnTo>
                      <a:pt x="3558" y="19020"/>
                    </a:lnTo>
                    <a:lnTo>
                      <a:pt x="3663" y="18915"/>
                    </a:lnTo>
                    <a:lnTo>
                      <a:pt x="3704" y="18769"/>
                    </a:lnTo>
                    <a:lnTo>
                      <a:pt x="3725" y="18643"/>
                    </a:lnTo>
                    <a:lnTo>
                      <a:pt x="3872" y="18518"/>
                    </a:lnTo>
                    <a:lnTo>
                      <a:pt x="3976" y="18518"/>
                    </a:lnTo>
                    <a:lnTo>
                      <a:pt x="4018" y="18392"/>
                    </a:lnTo>
                    <a:lnTo>
                      <a:pt x="4102" y="18287"/>
                    </a:lnTo>
                    <a:lnTo>
                      <a:pt x="4144" y="18246"/>
                    </a:lnTo>
                    <a:lnTo>
                      <a:pt x="4186" y="18141"/>
                    </a:lnTo>
                    <a:lnTo>
                      <a:pt x="4248" y="18099"/>
                    </a:lnTo>
                    <a:lnTo>
                      <a:pt x="4332" y="17994"/>
                    </a:lnTo>
                    <a:lnTo>
                      <a:pt x="4311" y="17932"/>
                    </a:lnTo>
                    <a:lnTo>
                      <a:pt x="4311" y="17869"/>
                    </a:lnTo>
                    <a:lnTo>
                      <a:pt x="4395" y="17806"/>
                    </a:lnTo>
                    <a:lnTo>
                      <a:pt x="4290" y="17702"/>
                    </a:lnTo>
                    <a:lnTo>
                      <a:pt x="4207" y="17702"/>
                    </a:lnTo>
                    <a:lnTo>
                      <a:pt x="4311" y="17597"/>
                    </a:lnTo>
                    <a:lnTo>
                      <a:pt x="4311" y="17492"/>
                    </a:lnTo>
                    <a:lnTo>
                      <a:pt x="4227" y="17367"/>
                    </a:lnTo>
                    <a:lnTo>
                      <a:pt x="4227" y="17423"/>
                    </a:lnTo>
                    <a:lnTo>
                      <a:pt x="4186" y="17409"/>
                    </a:lnTo>
                    <a:lnTo>
                      <a:pt x="4123" y="17429"/>
                    </a:lnTo>
                    <a:lnTo>
                      <a:pt x="4018" y="17429"/>
                    </a:lnTo>
                    <a:lnTo>
                      <a:pt x="3830" y="17471"/>
                    </a:lnTo>
                    <a:lnTo>
                      <a:pt x="3600" y="17262"/>
                    </a:lnTo>
                    <a:lnTo>
                      <a:pt x="3453" y="17137"/>
                    </a:lnTo>
                    <a:lnTo>
                      <a:pt x="3370" y="17095"/>
                    </a:lnTo>
                    <a:lnTo>
                      <a:pt x="3265" y="16990"/>
                    </a:lnTo>
                    <a:lnTo>
                      <a:pt x="3139" y="16781"/>
                    </a:lnTo>
                    <a:lnTo>
                      <a:pt x="3139" y="16655"/>
                    </a:lnTo>
                    <a:lnTo>
                      <a:pt x="3056" y="16551"/>
                    </a:lnTo>
                    <a:lnTo>
                      <a:pt x="3056" y="16467"/>
                    </a:lnTo>
                    <a:lnTo>
                      <a:pt x="3181" y="16362"/>
                    </a:lnTo>
                    <a:lnTo>
                      <a:pt x="3244" y="16258"/>
                    </a:lnTo>
                    <a:lnTo>
                      <a:pt x="3286" y="16132"/>
                    </a:lnTo>
                    <a:lnTo>
                      <a:pt x="3370" y="16111"/>
                    </a:lnTo>
                    <a:lnTo>
                      <a:pt x="3474" y="16007"/>
                    </a:lnTo>
                    <a:lnTo>
                      <a:pt x="3600" y="15986"/>
                    </a:lnTo>
                    <a:lnTo>
                      <a:pt x="3704" y="15881"/>
                    </a:lnTo>
                    <a:lnTo>
                      <a:pt x="3872" y="15839"/>
                    </a:lnTo>
                    <a:lnTo>
                      <a:pt x="3976" y="15881"/>
                    </a:lnTo>
                    <a:lnTo>
                      <a:pt x="4144" y="15839"/>
                    </a:lnTo>
                    <a:lnTo>
                      <a:pt x="4144" y="15797"/>
                    </a:lnTo>
                    <a:lnTo>
                      <a:pt x="4102" y="15735"/>
                    </a:lnTo>
                    <a:lnTo>
                      <a:pt x="3997" y="15693"/>
                    </a:lnTo>
                    <a:lnTo>
                      <a:pt x="4018" y="15630"/>
                    </a:lnTo>
                    <a:lnTo>
                      <a:pt x="4039" y="15567"/>
                    </a:lnTo>
                    <a:lnTo>
                      <a:pt x="4207" y="15463"/>
                    </a:lnTo>
                    <a:lnTo>
                      <a:pt x="4186" y="15421"/>
                    </a:lnTo>
                    <a:lnTo>
                      <a:pt x="4227" y="15358"/>
                    </a:lnTo>
                    <a:lnTo>
                      <a:pt x="4227" y="15295"/>
                    </a:lnTo>
                    <a:lnTo>
                      <a:pt x="4102" y="15128"/>
                    </a:lnTo>
                    <a:lnTo>
                      <a:pt x="4123" y="15065"/>
                    </a:lnTo>
                    <a:lnTo>
                      <a:pt x="4123" y="14981"/>
                    </a:lnTo>
                    <a:lnTo>
                      <a:pt x="4018" y="14940"/>
                    </a:lnTo>
                    <a:lnTo>
                      <a:pt x="3997" y="14772"/>
                    </a:lnTo>
                    <a:lnTo>
                      <a:pt x="4081" y="14668"/>
                    </a:lnTo>
                    <a:lnTo>
                      <a:pt x="4123" y="14563"/>
                    </a:lnTo>
                    <a:lnTo>
                      <a:pt x="4081" y="14521"/>
                    </a:lnTo>
                    <a:lnTo>
                      <a:pt x="4144" y="14437"/>
                    </a:lnTo>
                    <a:lnTo>
                      <a:pt x="4332" y="14354"/>
                    </a:lnTo>
                    <a:lnTo>
                      <a:pt x="4458" y="14249"/>
                    </a:lnTo>
                    <a:lnTo>
                      <a:pt x="4458" y="14207"/>
                    </a:lnTo>
                    <a:lnTo>
                      <a:pt x="4311" y="14144"/>
                    </a:lnTo>
                    <a:lnTo>
                      <a:pt x="4207" y="14144"/>
                    </a:lnTo>
                    <a:lnTo>
                      <a:pt x="4144" y="14061"/>
                    </a:lnTo>
                    <a:lnTo>
                      <a:pt x="4186" y="14019"/>
                    </a:lnTo>
                    <a:lnTo>
                      <a:pt x="4290" y="13935"/>
                    </a:lnTo>
                    <a:lnTo>
                      <a:pt x="4437" y="13893"/>
                    </a:lnTo>
                    <a:lnTo>
                      <a:pt x="4562" y="13956"/>
                    </a:lnTo>
                    <a:lnTo>
                      <a:pt x="4562" y="14040"/>
                    </a:lnTo>
                    <a:lnTo>
                      <a:pt x="4541" y="14082"/>
                    </a:lnTo>
                    <a:lnTo>
                      <a:pt x="4604" y="14186"/>
                    </a:lnTo>
                    <a:lnTo>
                      <a:pt x="4667" y="14228"/>
                    </a:lnTo>
                    <a:lnTo>
                      <a:pt x="4918" y="14082"/>
                    </a:lnTo>
                    <a:lnTo>
                      <a:pt x="4939" y="13998"/>
                    </a:lnTo>
                    <a:lnTo>
                      <a:pt x="4876" y="13852"/>
                    </a:lnTo>
                    <a:lnTo>
                      <a:pt x="4813" y="13747"/>
                    </a:lnTo>
                    <a:lnTo>
                      <a:pt x="4855" y="13726"/>
                    </a:lnTo>
                    <a:lnTo>
                      <a:pt x="4876" y="13621"/>
                    </a:lnTo>
                    <a:lnTo>
                      <a:pt x="4813" y="13496"/>
                    </a:lnTo>
                    <a:lnTo>
                      <a:pt x="4730" y="13496"/>
                    </a:lnTo>
                    <a:lnTo>
                      <a:pt x="4625" y="13559"/>
                    </a:lnTo>
                    <a:lnTo>
                      <a:pt x="4541" y="13559"/>
                    </a:lnTo>
                    <a:lnTo>
                      <a:pt x="4499" y="13621"/>
                    </a:lnTo>
                    <a:lnTo>
                      <a:pt x="4520" y="13642"/>
                    </a:lnTo>
                    <a:lnTo>
                      <a:pt x="4625" y="13684"/>
                    </a:lnTo>
                    <a:lnTo>
                      <a:pt x="4625" y="13726"/>
                    </a:lnTo>
                    <a:lnTo>
                      <a:pt x="4437" y="13789"/>
                    </a:lnTo>
                    <a:lnTo>
                      <a:pt x="4353" y="13747"/>
                    </a:lnTo>
                    <a:lnTo>
                      <a:pt x="4416" y="13705"/>
                    </a:lnTo>
                    <a:lnTo>
                      <a:pt x="4499" y="13684"/>
                    </a:lnTo>
                    <a:lnTo>
                      <a:pt x="4437" y="13642"/>
                    </a:lnTo>
                    <a:lnTo>
                      <a:pt x="4248" y="13642"/>
                    </a:lnTo>
                    <a:lnTo>
                      <a:pt x="4123" y="13580"/>
                    </a:lnTo>
                    <a:lnTo>
                      <a:pt x="4102" y="13475"/>
                    </a:lnTo>
                    <a:lnTo>
                      <a:pt x="4102" y="13203"/>
                    </a:lnTo>
                    <a:lnTo>
                      <a:pt x="4039" y="12994"/>
                    </a:lnTo>
                    <a:lnTo>
                      <a:pt x="3914" y="12889"/>
                    </a:lnTo>
                    <a:lnTo>
                      <a:pt x="3914" y="12680"/>
                    </a:lnTo>
                    <a:lnTo>
                      <a:pt x="4018" y="12575"/>
                    </a:lnTo>
                    <a:lnTo>
                      <a:pt x="4102" y="12575"/>
                    </a:lnTo>
                    <a:lnTo>
                      <a:pt x="4081" y="12659"/>
                    </a:lnTo>
                    <a:lnTo>
                      <a:pt x="4102" y="12680"/>
                    </a:lnTo>
                    <a:lnTo>
                      <a:pt x="4227" y="12680"/>
                    </a:lnTo>
                    <a:lnTo>
                      <a:pt x="4437" y="12764"/>
                    </a:lnTo>
                    <a:lnTo>
                      <a:pt x="4646" y="12910"/>
                    </a:lnTo>
                    <a:lnTo>
                      <a:pt x="4834" y="12973"/>
                    </a:lnTo>
                    <a:lnTo>
                      <a:pt x="5148" y="12973"/>
                    </a:lnTo>
                    <a:lnTo>
                      <a:pt x="5336" y="12847"/>
                    </a:lnTo>
                    <a:lnTo>
                      <a:pt x="5295" y="12805"/>
                    </a:lnTo>
                    <a:lnTo>
                      <a:pt x="5441" y="12701"/>
                    </a:lnTo>
                    <a:lnTo>
                      <a:pt x="5462" y="12596"/>
                    </a:lnTo>
                    <a:lnTo>
                      <a:pt x="5441" y="12533"/>
                    </a:lnTo>
                    <a:lnTo>
                      <a:pt x="5462" y="12471"/>
                    </a:lnTo>
                    <a:lnTo>
                      <a:pt x="5483" y="12366"/>
                    </a:lnTo>
                    <a:lnTo>
                      <a:pt x="5378" y="12345"/>
                    </a:lnTo>
                    <a:lnTo>
                      <a:pt x="5295" y="12220"/>
                    </a:lnTo>
                    <a:lnTo>
                      <a:pt x="5295" y="12115"/>
                    </a:lnTo>
                    <a:lnTo>
                      <a:pt x="5357" y="12031"/>
                    </a:lnTo>
                    <a:lnTo>
                      <a:pt x="5336" y="11968"/>
                    </a:lnTo>
                    <a:lnTo>
                      <a:pt x="5441" y="11864"/>
                    </a:lnTo>
                    <a:lnTo>
                      <a:pt x="5441" y="11843"/>
                    </a:lnTo>
                    <a:lnTo>
                      <a:pt x="5483" y="11843"/>
                    </a:lnTo>
                    <a:lnTo>
                      <a:pt x="5504" y="11759"/>
                    </a:lnTo>
                    <a:lnTo>
                      <a:pt x="5483" y="11655"/>
                    </a:lnTo>
                    <a:lnTo>
                      <a:pt x="5378" y="11655"/>
                    </a:lnTo>
                    <a:lnTo>
                      <a:pt x="5378" y="11613"/>
                    </a:lnTo>
                    <a:lnTo>
                      <a:pt x="5336" y="11529"/>
                    </a:lnTo>
                    <a:lnTo>
                      <a:pt x="5336" y="11320"/>
                    </a:lnTo>
                    <a:lnTo>
                      <a:pt x="5295" y="11236"/>
                    </a:lnTo>
                    <a:lnTo>
                      <a:pt x="5295" y="11131"/>
                    </a:lnTo>
                    <a:lnTo>
                      <a:pt x="5336" y="11111"/>
                    </a:lnTo>
                    <a:lnTo>
                      <a:pt x="5378" y="11194"/>
                    </a:lnTo>
                    <a:lnTo>
                      <a:pt x="5462" y="11194"/>
                    </a:lnTo>
                    <a:lnTo>
                      <a:pt x="5608" y="11236"/>
                    </a:lnTo>
                    <a:lnTo>
                      <a:pt x="5755" y="11320"/>
                    </a:lnTo>
                    <a:lnTo>
                      <a:pt x="5859" y="11320"/>
                    </a:lnTo>
                    <a:lnTo>
                      <a:pt x="6027" y="11299"/>
                    </a:lnTo>
                    <a:lnTo>
                      <a:pt x="6215" y="11320"/>
                    </a:lnTo>
                    <a:lnTo>
                      <a:pt x="6445" y="11320"/>
                    </a:lnTo>
                    <a:lnTo>
                      <a:pt x="6843" y="11215"/>
                    </a:lnTo>
                    <a:lnTo>
                      <a:pt x="7178" y="11069"/>
                    </a:lnTo>
                    <a:lnTo>
                      <a:pt x="7220" y="10985"/>
                    </a:lnTo>
                    <a:lnTo>
                      <a:pt x="7261" y="11027"/>
                    </a:lnTo>
                    <a:lnTo>
                      <a:pt x="7492" y="10964"/>
                    </a:lnTo>
                    <a:lnTo>
                      <a:pt x="7805" y="10776"/>
                    </a:lnTo>
                    <a:lnTo>
                      <a:pt x="7868" y="10671"/>
                    </a:lnTo>
                    <a:lnTo>
                      <a:pt x="7826" y="10546"/>
                    </a:lnTo>
                    <a:lnTo>
                      <a:pt x="7889" y="10357"/>
                    </a:lnTo>
                    <a:lnTo>
                      <a:pt x="7931" y="10336"/>
                    </a:lnTo>
                    <a:lnTo>
                      <a:pt x="7973" y="10378"/>
                    </a:lnTo>
                    <a:lnTo>
                      <a:pt x="8015" y="10336"/>
                    </a:lnTo>
                    <a:lnTo>
                      <a:pt x="8077" y="10148"/>
                    </a:lnTo>
                    <a:lnTo>
                      <a:pt x="8182" y="9960"/>
                    </a:lnTo>
                    <a:lnTo>
                      <a:pt x="8203" y="9855"/>
                    </a:lnTo>
                    <a:lnTo>
                      <a:pt x="8203" y="9625"/>
                    </a:lnTo>
                    <a:lnTo>
                      <a:pt x="8182" y="9520"/>
                    </a:lnTo>
                    <a:lnTo>
                      <a:pt x="8140" y="9520"/>
                    </a:lnTo>
                    <a:lnTo>
                      <a:pt x="8077" y="9604"/>
                    </a:lnTo>
                    <a:lnTo>
                      <a:pt x="7931" y="9604"/>
                    </a:lnTo>
                    <a:lnTo>
                      <a:pt x="7784" y="9499"/>
                    </a:lnTo>
                    <a:lnTo>
                      <a:pt x="7701" y="9332"/>
                    </a:lnTo>
                    <a:lnTo>
                      <a:pt x="7701" y="9248"/>
                    </a:lnTo>
                    <a:lnTo>
                      <a:pt x="7826" y="8976"/>
                    </a:lnTo>
                    <a:lnTo>
                      <a:pt x="7826" y="8872"/>
                    </a:lnTo>
                    <a:lnTo>
                      <a:pt x="7764" y="8788"/>
                    </a:lnTo>
                    <a:lnTo>
                      <a:pt x="7471" y="8558"/>
                    </a:lnTo>
                    <a:lnTo>
                      <a:pt x="7240" y="8453"/>
                    </a:lnTo>
                    <a:lnTo>
                      <a:pt x="6989" y="8265"/>
                    </a:lnTo>
                    <a:lnTo>
                      <a:pt x="6948" y="8160"/>
                    </a:lnTo>
                    <a:lnTo>
                      <a:pt x="6968" y="8139"/>
                    </a:lnTo>
                    <a:lnTo>
                      <a:pt x="6968" y="8035"/>
                    </a:lnTo>
                    <a:lnTo>
                      <a:pt x="6885" y="7951"/>
                    </a:lnTo>
                    <a:lnTo>
                      <a:pt x="6927" y="7888"/>
                    </a:lnTo>
                    <a:lnTo>
                      <a:pt x="6864" y="7679"/>
                    </a:lnTo>
                    <a:lnTo>
                      <a:pt x="6885" y="7449"/>
                    </a:lnTo>
                    <a:lnTo>
                      <a:pt x="6927" y="7240"/>
                    </a:lnTo>
                    <a:lnTo>
                      <a:pt x="7010" y="7156"/>
                    </a:lnTo>
                    <a:lnTo>
                      <a:pt x="7031" y="7093"/>
                    </a:lnTo>
                    <a:lnTo>
                      <a:pt x="6968" y="6905"/>
                    </a:lnTo>
                    <a:lnTo>
                      <a:pt x="6948" y="6633"/>
                    </a:lnTo>
                    <a:lnTo>
                      <a:pt x="7010" y="6591"/>
                    </a:lnTo>
                    <a:lnTo>
                      <a:pt x="6948" y="6403"/>
                    </a:lnTo>
                    <a:lnTo>
                      <a:pt x="7031" y="6277"/>
                    </a:lnTo>
                    <a:lnTo>
                      <a:pt x="7031" y="6173"/>
                    </a:lnTo>
                    <a:lnTo>
                      <a:pt x="7073" y="6089"/>
                    </a:lnTo>
                    <a:lnTo>
                      <a:pt x="7115" y="5838"/>
                    </a:lnTo>
                    <a:lnTo>
                      <a:pt x="7073" y="5733"/>
                    </a:lnTo>
                    <a:lnTo>
                      <a:pt x="7136" y="5650"/>
                    </a:lnTo>
                    <a:lnTo>
                      <a:pt x="7115" y="5461"/>
                    </a:lnTo>
                    <a:lnTo>
                      <a:pt x="7220" y="5336"/>
                    </a:lnTo>
                    <a:lnTo>
                      <a:pt x="7261" y="5210"/>
                    </a:lnTo>
                    <a:lnTo>
                      <a:pt x="7261" y="5168"/>
                    </a:lnTo>
                    <a:lnTo>
                      <a:pt x="7282" y="5126"/>
                    </a:lnTo>
                    <a:lnTo>
                      <a:pt x="7387" y="5043"/>
                    </a:lnTo>
                    <a:lnTo>
                      <a:pt x="7387" y="5001"/>
                    </a:lnTo>
                    <a:lnTo>
                      <a:pt x="7492" y="4833"/>
                    </a:lnTo>
                    <a:lnTo>
                      <a:pt x="7575" y="4750"/>
                    </a:lnTo>
                    <a:lnTo>
                      <a:pt x="7680" y="4541"/>
                    </a:lnTo>
                    <a:lnTo>
                      <a:pt x="7722" y="4478"/>
                    </a:lnTo>
                    <a:lnTo>
                      <a:pt x="7805" y="4436"/>
                    </a:lnTo>
                    <a:lnTo>
                      <a:pt x="7805" y="4310"/>
                    </a:lnTo>
                    <a:lnTo>
                      <a:pt x="7826" y="4227"/>
                    </a:lnTo>
                    <a:lnTo>
                      <a:pt x="8015" y="3997"/>
                    </a:lnTo>
                    <a:lnTo>
                      <a:pt x="8098" y="3997"/>
                    </a:lnTo>
                    <a:lnTo>
                      <a:pt x="8182" y="3976"/>
                    </a:lnTo>
                    <a:lnTo>
                      <a:pt x="8182" y="3850"/>
                    </a:lnTo>
                    <a:lnTo>
                      <a:pt x="8266" y="3808"/>
                    </a:lnTo>
                    <a:lnTo>
                      <a:pt x="8475" y="3641"/>
                    </a:lnTo>
                    <a:lnTo>
                      <a:pt x="8538" y="3599"/>
                    </a:lnTo>
                    <a:lnTo>
                      <a:pt x="8600" y="3536"/>
                    </a:lnTo>
                    <a:lnTo>
                      <a:pt x="8831" y="3369"/>
                    </a:lnTo>
                    <a:lnTo>
                      <a:pt x="8852" y="3390"/>
                    </a:lnTo>
                    <a:lnTo>
                      <a:pt x="8935" y="3327"/>
                    </a:lnTo>
                    <a:lnTo>
                      <a:pt x="8956" y="3264"/>
                    </a:lnTo>
                    <a:lnTo>
                      <a:pt x="9103" y="3181"/>
                    </a:lnTo>
                    <a:lnTo>
                      <a:pt x="9207" y="3181"/>
                    </a:lnTo>
                    <a:lnTo>
                      <a:pt x="9228" y="3118"/>
                    </a:lnTo>
                    <a:lnTo>
                      <a:pt x="9207" y="2909"/>
                    </a:lnTo>
                    <a:lnTo>
                      <a:pt x="9165" y="2657"/>
                    </a:lnTo>
                    <a:lnTo>
                      <a:pt x="9165" y="2490"/>
                    </a:lnTo>
                    <a:lnTo>
                      <a:pt x="9061" y="2239"/>
                    </a:lnTo>
                    <a:lnTo>
                      <a:pt x="9061" y="2134"/>
                    </a:lnTo>
                    <a:lnTo>
                      <a:pt x="8810" y="2113"/>
                    </a:lnTo>
                    <a:lnTo>
                      <a:pt x="8705" y="2197"/>
                    </a:lnTo>
                    <a:lnTo>
                      <a:pt x="8684" y="2218"/>
                    </a:lnTo>
                    <a:lnTo>
                      <a:pt x="8684" y="2385"/>
                    </a:lnTo>
                    <a:lnTo>
                      <a:pt x="8705" y="2427"/>
                    </a:lnTo>
                    <a:lnTo>
                      <a:pt x="8705" y="2637"/>
                    </a:lnTo>
                    <a:lnTo>
                      <a:pt x="8600" y="2720"/>
                    </a:lnTo>
                    <a:lnTo>
                      <a:pt x="8517" y="2846"/>
                    </a:lnTo>
                    <a:lnTo>
                      <a:pt x="8496" y="2971"/>
                    </a:lnTo>
                    <a:lnTo>
                      <a:pt x="8224" y="3160"/>
                    </a:lnTo>
                    <a:lnTo>
                      <a:pt x="8182" y="3327"/>
                    </a:lnTo>
                    <a:lnTo>
                      <a:pt x="8077" y="3453"/>
                    </a:lnTo>
                    <a:lnTo>
                      <a:pt x="7952" y="3432"/>
                    </a:lnTo>
                    <a:lnTo>
                      <a:pt x="7889" y="3453"/>
                    </a:lnTo>
                    <a:lnTo>
                      <a:pt x="7784" y="3599"/>
                    </a:lnTo>
                    <a:lnTo>
                      <a:pt x="7743" y="3557"/>
                    </a:lnTo>
                    <a:lnTo>
                      <a:pt x="7659" y="3557"/>
                    </a:lnTo>
                    <a:lnTo>
                      <a:pt x="7533" y="3599"/>
                    </a:lnTo>
                    <a:lnTo>
                      <a:pt x="7282" y="3453"/>
                    </a:lnTo>
                    <a:lnTo>
                      <a:pt x="6948" y="3348"/>
                    </a:lnTo>
                    <a:lnTo>
                      <a:pt x="6529" y="3390"/>
                    </a:lnTo>
                    <a:lnTo>
                      <a:pt x="6424" y="3390"/>
                    </a:lnTo>
                    <a:lnTo>
                      <a:pt x="6445" y="3264"/>
                    </a:lnTo>
                    <a:lnTo>
                      <a:pt x="6634" y="3076"/>
                    </a:lnTo>
                    <a:lnTo>
                      <a:pt x="6717" y="2846"/>
                    </a:lnTo>
                    <a:lnTo>
                      <a:pt x="6696" y="2720"/>
                    </a:lnTo>
                    <a:lnTo>
                      <a:pt x="6738" y="2616"/>
                    </a:lnTo>
                    <a:lnTo>
                      <a:pt x="6843" y="2532"/>
                    </a:lnTo>
                    <a:lnTo>
                      <a:pt x="6927" y="2406"/>
                    </a:lnTo>
                    <a:lnTo>
                      <a:pt x="6948" y="2281"/>
                    </a:lnTo>
                    <a:lnTo>
                      <a:pt x="6864" y="2134"/>
                    </a:lnTo>
                    <a:lnTo>
                      <a:pt x="6696" y="2009"/>
                    </a:lnTo>
                    <a:lnTo>
                      <a:pt x="6550" y="1862"/>
                    </a:lnTo>
                    <a:lnTo>
                      <a:pt x="6215" y="1800"/>
                    </a:lnTo>
                    <a:lnTo>
                      <a:pt x="5964" y="1674"/>
                    </a:lnTo>
                    <a:lnTo>
                      <a:pt x="5692" y="1465"/>
                    </a:lnTo>
                    <a:lnTo>
                      <a:pt x="5587" y="1444"/>
                    </a:lnTo>
                    <a:lnTo>
                      <a:pt x="5357" y="1339"/>
                    </a:lnTo>
                    <a:lnTo>
                      <a:pt x="5023" y="1256"/>
                    </a:lnTo>
                    <a:lnTo>
                      <a:pt x="4939" y="1088"/>
                    </a:lnTo>
                    <a:lnTo>
                      <a:pt x="4813" y="963"/>
                    </a:lnTo>
                    <a:lnTo>
                      <a:pt x="4667" y="942"/>
                    </a:lnTo>
                    <a:lnTo>
                      <a:pt x="4311" y="565"/>
                    </a:lnTo>
                    <a:lnTo>
                      <a:pt x="4186" y="314"/>
                    </a:lnTo>
                    <a:lnTo>
                      <a:pt x="4081" y="293"/>
                    </a:lnTo>
                    <a:lnTo>
                      <a:pt x="3935" y="147"/>
                    </a:lnTo>
                    <a:lnTo>
                      <a:pt x="3914" y="126"/>
                    </a:lnTo>
                    <a:lnTo>
                      <a:pt x="3809" y="21"/>
                    </a:lnTo>
                    <a:lnTo>
                      <a:pt x="3181" y="21"/>
                    </a:lnTo>
                    <a:lnTo>
                      <a:pt x="3077" y="147"/>
                    </a:lnTo>
                    <a:lnTo>
                      <a:pt x="3077" y="251"/>
                    </a:lnTo>
                    <a:lnTo>
                      <a:pt x="2993" y="356"/>
                    </a:lnTo>
                    <a:lnTo>
                      <a:pt x="2993" y="460"/>
                    </a:lnTo>
                    <a:lnTo>
                      <a:pt x="2951" y="544"/>
                    </a:lnTo>
                    <a:lnTo>
                      <a:pt x="2888" y="460"/>
                    </a:lnTo>
                    <a:lnTo>
                      <a:pt x="2826" y="230"/>
                    </a:lnTo>
                    <a:lnTo>
                      <a:pt x="2784" y="84"/>
                    </a:lnTo>
                    <a:lnTo>
                      <a:pt x="2679" y="42"/>
                    </a:lnTo>
                    <a:lnTo>
                      <a:pt x="2470" y="105"/>
                    </a:lnTo>
                    <a:lnTo>
                      <a:pt x="2344" y="84"/>
                    </a:lnTo>
                    <a:lnTo>
                      <a:pt x="2240" y="105"/>
                    </a:lnTo>
                    <a:lnTo>
                      <a:pt x="2093" y="126"/>
                    </a:lnTo>
                    <a:lnTo>
                      <a:pt x="194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0" name="Google Shape;810;p34"/>
              <p:cNvSpPr/>
              <p:nvPr/>
            </p:nvSpPr>
            <p:spPr>
              <a:xfrm>
                <a:off x="2804875" y="4134625"/>
                <a:ext cx="51800" cy="36100"/>
              </a:xfrm>
              <a:custGeom>
                <a:avLst/>
                <a:gdLst/>
                <a:ahLst/>
                <a:cxnLst/>
                <a:rect l="l" t="t" r="r" b="b"/>
                <a:pathLst>
                  <a:path w="2072" h="1444" extrusionOk="0">
                    <a:moveTo>
                      <a:pt x="0" y="0"/>
                    </a:moveTo>
                    <a:lnTo>
                      <a:pt x="272" y="1067"/>
                    </a:lnTo>
                    <a:lnTo>
                      <a:pt x="314" y="1067"/>
                    </a:lnTo>
                    <a:lnTo>
                      <a:pt x="502" y="1046"/>
                    </a:lnTo>
                    <a:lnTo>
                      <a:pt x="670" y="1046"/>
                    </a:lnTo>
                    <a:lnTo>
                      <a:pt x="816" y="1004"/>
                    </a:lnTo>
                    <a:lnTo>
                      <a:pt x="816" y="1046"/>
                    </a:lnTo>
                    <a:lnTo>
                      <a:pt x="712" y="1067"/>
                    </a:lnTo>
                    <a:lnTo>
                      <a:pt x="565" y="1130"/>
                    </a:lnTo>
                    <a:lnTo>
                      <a:pt x="293" y="1130"/>
                    </a:lnTo>
                    <a:lnTo>
                      <a:pt x="356" y="1360"/>
                    </a:lnTo>
                    <a:lnTo>
                      <a:pt x="398" y="1360"/>
                    </a:lnTo>
                    <a:lnTo>
                      <a:pt x="607" y="1276"/>
                    </a:lnTo>
                    <a:lnTo>
                      <a:pt x="837" y="1297"/>
                    </a:lnTo>
                    <a:lnTo>
                      <a:pt x="1005" y="1276"/>
                    </a:lnTo>
                    <a:lnTo>
                      <a:pt x="1235" y="1297"/>
                    </a:lnTo>
                    <a:lnTo>
                      <a:pt x="1360" y="1381"/>
                    </a:lnTo>
                    <a:lnTo>
                      <a:pt x="1507" y="1444"/>
                    </a:lnTo>
                    <a:lnTo>
                      <a:pt x="1632" y="1402"/>
                    </a:lnTo>
                    <a:lnTo>
                      <a:pt x="1737" y="1297"/>
                    </a:lnTo>
                    <a:lnTo>
                      <a:pt x="1758" y="1193"/>
                    </a:lnTo>
                    <a:lnTo>
                      <a:pt x="1883" y="1151"/>
                    </a:lnTo>
                    <a:lnTo>
                      <a:pt x="1946" y="1193"/>
                    </a:lnTo>
                    <a:lnTo>
                      <a:pt x="2072" y="1130"/>
                    </a:lnTo>
                    <a:lnTo>
                      <a:pt x="2072" y="1004"/>
                    </a:lnTo>
                    <a:lnTo>
                      <a:pt x="1967" y="983"/>
                    </a:lnTo>
                    <a:lnTo>
                      <a:pt x="1758" y="1046"/>
                    </a:lnTo>
                    <a:lnTo>
                      <a:pt x="1632" y="1004"/>
                    </a:lnTo>
                    <a:lnTo>
                      <a:pt x="1507" y="879"/>
                    </a:lnTo>
                    <a:lnTo>
                      <a:pt x="1318" y="837"/>
                    </a:lnTo>
                    <a:lnTo>
                      <a:pt x="1256" y="774"/>
                    </a:lnTo>
                    <a:lnTo>
                      <a:pt x="816" y="628"/>
                    </a:lnTo>
                    <a:lnTo>
                      <a:pt x="691" y="607"/>
                    </a:lnTo>
                    <a:lnTo>
                      <a:pt x="691" y="460"/>
                    </a:lnTo>
                    <a:lnTo>
                      <a:pt x="565" y="335"/>
                    </a:lnTo>
                    <a:lnTo>
                      <a:pt x="398" y="314"/>
                    </a:lnTo>
                    <a:lnTo>
                      <a:pt x="314" y="126"/>
                    </a:lnTo>
                    <a:lnTo>
                      <a:pt x="272" y="21"/>
                    </a:lnTo>
                    <a:lnTo>
                      <a:pt x="105" y="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11" name="Google Shape;811;p34"/>
            <p:cNvSpPr/>
            <p:nvPr/>
          </p:nvSpPr>
          <p:spPr>
            <a:xfrm>
              <a:off x="4563295" y="2964728"/>
              <a:ext cx="12467" cy="27863"/>
            </a:xfrm>
            <a:custGeom>
              <a:avLst/>
              <a:gdLst/>
              <a:ahLst/>
              <a:cxnLst/>
              <a:rect l="l" t="t" r="r" b="b"/>
              <a:pathLst>
                <a:path w="1047" h="2450" extrusionOk="0">
                  <a:moveTo>
                    <a:pt x="691" y="1"/>
                  </a:moveTo>
                  <a:lnTo>
                    <a:pt x="628" y="43"/>
                  </a:lnTo>
                  <a:lnTo>
                    <a:pt x="628" y="127"/>
                  </a:lnTo>
                  <a:lnTo>
                    <a:pt x="524" y="147"/>
                  </a:lnTo>
                  <a:lnTo>
                    <a:pt x="398" y="315"/>
                  </a:lnTo>
                  <a:lnTo>
                    <a:pt x="294" y="482"/>
                  </a:lnTo>
                  <a:lnTo>
                    <a:pt x="315" y="545"/>
                  </a:lnTo>
                  <a:lnTo>
                    <a:pt x="294" y="629"/>
                  </a:lnTo>
                  <a:lnTo>
                    <a:pt x="231" y="671"/>
                  </a:lnTo>
                  <a:lnTo>
                    <a:pt x="105" y="880"/>
                  </a:lnTo>
                  <a:lnTo>
                    <a:pt x="63" y="1110"/>
                  </a:lnTo>
                  <a:lnTo>
                    <a:pt x="1" y="1152"/>
                  </a:lnTo>
                  <a:lnTo>
                    <a:pt x="63" y="1194"/>
                  </a:lnTo>
                  <a:lnTo>
                    <a:pt x="63" y="1424"/>
                  </a:lnTo>
                  <a:lnTo>
                    <a:pt x="84" y="1675"/>
                  </a:lnTo>
                  <a:lnTo>
                    <a:pt x="126" y="1696"/>
                  </a:lnTo>
                  <a:lnTo>
                    <a:pt x="168" y="1780"/>
                  </a:lnTo>
                  <a:lnTo>
                    <a:pt x="126" y="1780"/>
                  </a:lnTo>
                  <a:lnTo>
                    <a:pt x="105" y="1842"/>
                  </a:lnTo>
                  <a:lnTo>
                    <a:pt x="189" y="1947"/>
                  </a:lnTo>
                  <a:lnTo>
                    <a:pt x="231" y="1947"/>
                  </a:lnTo>
                  <a:lnTo>
                    <a:pt x="273" y="2031"/>
                  </a:lnTo>
                  <a:lnTo>
                    <a:pt x="419" y="2093"/>
                  </a:lnTo>
                  <a:lnTo>
                    <a:pt x="503" y="2219"/>
                  </a:lnTo>
                  <a:lnTo>
                    <a:pt x="503" y="2344"/>
                  </a:lnTo>
                  <a:lnTo>
                    <a:pt x="503" y="2449"/>
                  </a:lnTo>
                  <a:lnTo>
                    <a:pt x="587" y="2407"/>
                  </a:lnTo>
                  <a:lnTo>
                    <a:pt x="691" y="2449"/>
                  </a:lnTo>
                  <a:lnTo>
                    <a:pt x="691" y="2449"/>
                  </a:lnTo>
                  <a:lnTo>
                    <a:pt x="649" y="2324"/>
                  </a:lnTo>
                  <a:lnTo>
                    <a:pt x="691" y="2198"/>
                  </a:lnTo>
                  <a:lnTo>
                    <a:pt x="628" y="2010"/>
                  </a:lnTo>
                  <a:lnTo>
                    <a:pt x="712" y="1884"/>
                  </a:lnTo>
                  <a:lnTo>
                    <a:pt x="859" y="1675"/>
                  </a:lnTo>
                  <a:lnTo>
                    <a:pt x="859" y="1528"/>
                  </a:lnTo>
                  <a:lnTo>
                    <a:pt x="880" y="1487"/>
                  </a:lnTo>
                  <a:lnTo>
                    <a:pt x="838" y="1466"/>
                  </a:lnTo>
                  <a:lnTo>
                    <a:pt x="880" y="1256"/>
                  </a:lnTo>
                  <a:lnTo>
                    <a:pt x="880" y="1089"/>
                  </a:lnTo>
                  <a:lnTo>
                    <a:pt x="859" y="943"/>
                  </a:lnTo>
                  <a:lnTo>
                    <a:pt x="942" y="796"/>
                  </a:lnTo>
                  <a:lnTo>
                    <a:pt x="963" y="524"/>
                  </a:lnTo>
                  <a:lnTo>
                    <a:pt x="1005" y="357"/>
                  </a:lnTo>
                  <a:lnTo>
                    <a:pt x="1047" y="336"/>
                  </a:lnTo>
                  <a:lnTo>
                    <a:pt x="1026" y="252"/>
                  </a:lnTo>
                  <a:lnTo>
                    <a:pt x="921" y="168"/>
                  </a:lnTo>
                  <a:lnTo>
                    <a:pt x="880" y="168"/>
                  </a:lnTo>
                  <a:lnTo>
                    <a:pt x="817" y="43"/>
                  </a:lnTo>
                  <a:lnTo>
                    <a:pt x="69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12" name="Google Shape;812;p34"/>
            <p:cNvGrpSpPr/>
            <p:nvPr/>
          </p:nvGrpSpPr>
          <p:grpSpPr>
            <a:xfrm>
              <a:off x="3790439" y="2408636"/>
              <a:ext cx="73017" cy="75684"/>
              <a:chOff x="3781475" y="1624825"/>
              <a:chExt cx="153300" cy="166375"/>
            </a:xfrm>
          </p:grpSpPr>
          <p:sp>
            <p:nvSpPr>
              <p:cNvPr id="813" name="Google Shape;813;p34"/>
              <p:cNvSpPr/>
              <p:nvPr/>
            </p:nvSpPr>
            <p:spPr>
              <a:xfrm>
                <a:off x="3845300" y="1624825"/>
                <a:ext cx="89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579" h="2428" extrusionOk="0">
                    <a:moveTo>
                      <a:pt x="1695" y="1"/>
                    </a:moveTo>
                    <a:lnTo>
                      <a:pt x="1674" y="84"/>
                    </a:lnTo>
                    <a:lnTo>
                      <a:pt x="1716" y="168"/>
                    </a:lnTo>
                    <a:lnTo>
                      <a:pt x="1758" y="252"/>
                    </a:lnTo>
                    <a:lnTo>
                      <a:pt x="1674" y="210"/>
                    </a:lnTo>
                    <a:lnTo>
                      <a:pt x="1611" y="168"/>
                    </a:lnTo>
                    <a:lnTo>
                      <a:pt x="1570" y="189"/>
                    </a:lnTo>
                    <a:lnTo>
                      <a:pt x="1570" y="293"/>
                    </a:lnTo>
                    <a:lnTo>
                      <a:pt x="1653" y="377"/>
                    </a:lnTo>
                    <a:lnTo>
                      <a:pt x="1653" y="482"/>
                    </a:lnTo>
                    <a:lnTo>
                      <a:pt x="1611" y="586"/>
                    </a:lnTo>
                    <a:lnTo>
                      <a:pt x="1611" y="712"/>
                    </a:lnTo>
                    <a:lnTo>
                      <a:pt x="1674" y="879"/>
                    </a:lnTo>
                    <a:lnTo>
                      <a:pt x="1653" y="984"/>
                    </a:lnTo>
                    <a:lnTo>
                      <a:pt x="1591" y="984"/>
                    </a:lnTo>
                    <a:lnTo>
                      <a:pt x="1570" y="879"/>
                    </a:lnTo>
                    <a:lnTo>
                      <a:pt x="1465" y="796"/>
                    </a:lnTo>
                    <a:lnTo>
                      <a:pt x="1360" y="733"/>
                    </a:lnTo>
                    <a:lnTo>
                      <a:pt x="1339" y="670"/>
                    </a:lnTo>
                    <a:lnTo>
                      <a:pt x="1381" y="586"/>
                    </a:lnTo>
                    <a:lnTo>
                      <a:pt x="1381" y="524"/>
                    </a:lnTo>
                    <a:lnTo>
                      <a:pt x="1298" y="503"/>
                    </a:lnTo>
                    <a:lnTo>
                      <a:pt x="1193" y="565"/>
                    </a:lnTo>
                    <a:lnTo>
                      <a:pt x="1151" y="565"/>
                    </a:lnTo>
                    <a:lnTo>
                      <a:pt x="1130" y="607"/>
                    </a:lnTo>
                    <a:lnTo>
                      <a:pt x="1026" y="670"/>
                    </a:lnTo>
                    <a:lnTo>
                      <a:pt x="942" y="628"/>
                    </a:lnTo>
                    <a:lnTo>
                      <a:pt x="942" y="586"/>
                    </a:lnTo>
                    <a:lnTo>
                      <a:pt x="942" y="524"/>
                    </a:lnTo>
                    <a:lnTo>
                      <a:pt x="879" y="524"/>
                    </a:lnTo>
                    <a:lnTo>
                      <a:pt x="816" y="461"/>
                    </a:lnTo>
                    <a:lnTo>
                      <a:pt x="775" y="356"/>
                    </a:lnTo>
                    <a:lnTo>
                      <a:pt x="712" y="314"/>
                    </a:lnTo>
                    <a:lnTo>
                      <a:pt x="649" y="356"/>
                    </a:lnTo>
                    <a:lnTo>
                      <a:pt x="565" y="273"/>
                    </a:lnTo>
                    <a:lnTo>
                      <a:pt x="607" y="189"/>
                    </a:lnTo>
                    <a:lnTo>
                      <a:pt x="565" y="84"/>
                    </a:lnTo>
                    <a:lnTo>
                      <a:pt x="523" y="63"/>
                    </a:lnTo>
                    <a:lnTo>
                      <a:pt x="461" y="147"/>
                    </a:lnTo>
                    <a:lnTo>
                      <a:pt x="440" y="293"/>
                    </a:lnTo>
                    <a:lnTo>
                      <a:pt x="461" y="419"/>
                    </a:lnTo>
                    <a:lnTo>
                      <a:pt x="544" y="565"/>
                    </a:lnTo>
                    <a:lnTo>
                      <a:pt x="565" y="712"/>
                    </a:lnTo>
                    <a:lnTo>
                      <a:pt x="523" y="733"/>
                    </a:lnTo>
                    <a:lnTo>
                      <a:pt x="440" y="649"/>
                    </a:lnTo>
                    <a:lnTo>
                      <a:pt x="419" y="545"/>
                    </a:lnTo>
                    <a:lnTo>
                      <a:pt x="398" y="524"/>
                    </a:lnTo>
                    <a:lnTo>
                      <a:pt x="398" y="628"/>
                    </a:lnTo>
                    <a:lnTo>
                      <a:pt x="419" y="754"/>
                    </a:lnTo>
                    <a:lnTo>
                      <a:pt x="461" y="837"/>
                    </a:lnTo>
                    <a:lnTo>
                      <a:pt x="461" y="921"/>
                    </a:lnTo>
                    <a:lnTo>
                      <a:pt x="440" y="1005"/>
                    </a:lnTo>
                    <a:lnTo>
                      <a:pt x="419" y="984"/>
                    </a:lnTo>
                    <a:lnTo>
                      <a:pt x="356" y="837"/>
                    </a:lnTo>
                    <a:lnTo>
                      <a:pt x="314" y="796"/>
                    </a:lnTo>
                    <a:lnTo>
                      <a:pt x="105" y="817"/>
                    </a:lnTo>
                    <a:lnTo>
                      <a:pt x="21" y="775"/>
                    </a:lnTo>
                    <a:lnTo>
                      <a:pt x="0" y="775"/>
                    </a:lnTo>
                    <a:lnTo>
                      <a:pt x="63" y="879"/>
                    </a:lnTo>
                    <a:lnTo>
                      <a:pt x="126" y="879"/>
                    </a:lnTo>
                    <a:lnTo>
                      <a:pt x="189" y="921"/>
                    </a:lnTo>
                    <a:lnTo>
                      <a:pt x="168" y="984"/>
                    </a:lnTo>
                    <a:lnTo>
                      <a:pt x="189" y="1026"/>
                    </a:lnTo>
                    <a:lnTo>
                      <a:pt x="293" y="1026"/>
                    </a:lnTo>
                    <a:lnTo>
                      <a:pt x="314" y="1068"/>
                    </a:lnTo>
                    <a:lnTo>
                      <a:pt x="168" y="1172"/>
                    </a:lnTo>
                    <a:lnTo>
                      <a:pt x="168" y="1235"/>
                    </a:lnTo>
                    <a:lnTo>
                      <a:pt x="293" y="1423"/>
                    </a:lnTo>
                    <a:lnTo>
                      <a:pt x="377" y="1444"/>
                    </a:lnTo>
                    <a:lnTo>
                      <a:pt x="461" y="1486"/>
                    </a:lnTo>
                    <a:lnTo>
                      <a:pt x="607" y="1486"/>
                    </a:lnTo>
                    <a:lnTo>
                      <a:pt x="691" y="1465"/>
                    </a:lnTo>
                    <a:lnTo>
                      <a:pt x="754" y="1528"/>
                    </a:lnTo>
                    <a:lnTo>
                      <a:pt x="816" y="1528"/>
                    </a:lnTo>
                    <a:lnTo>
                      <a:pt x="942" y="1444"/>
                    </a:lnTo>
                    <a:lnTo>
                      <a:pt x="1026" y="1423"/>
                    </a:lnTo>
                    <a:lnTo>
                      <a:pt x="1235" y="1381"/>
                    </a:lnTo>
                    <a:lnTo>
                      <a:pt x="1381" y="1381"/>
                    </a:lnTo>
                    <a:lnTo>
                      <a:pt x="1465" y="1340"/>
                    </a:lnTo>
                    <a:lnTo>
                      <a:pt x="1528" y="1340"/>
                    </a:lnTo>
                    <a:lnTo>
                      <a:pt x="1570" y="1361"/>
                    </a:lnTo>
                    <a:lnTo>
                      <a:pt x="1570" y="1423"/>
                    </a:lnTo>
                    <a:lnTo>
                      <a:pt x="1549" y="1465"/>
                    </a:lnTo>
                    <a:lnTo>
                      <a:pt x="1507" y="1549"/>
                    </a:lnTo>
                    <a:lnTo>
                      <a:pt x="1465" y="1570"/>
                    </a:lnTo>
                    <a:lnTo>
                      <a:pt x="1339" y="1549"/>
                    </a:lnTo>
                    <a:lnTo>
                      <a:pt x="1214" y="1549"/>
                    </a:lnTo>
                    <a:lnTo>
                      <a:pt x="1109" y="1528"/>
                    </a:lnTo>
                    <a:lnTo>
                      <a:pt x="1067" y="1570"/>
                    </a:lnTo>
                    <a:lnTo>
                      <a:pt x="1130" y="1591"/>
                    </a:lnTo>
                    <a:lnTo>
                      <a:pt x="1298" y="1653"/>
                    </a:lnTo>
                    <a:lnTo>
                      <a:pt x="1360" y="1695"/>
                    </a:lnTo>
                    <a:lnTo>
                      <a:pt x="1360" y="1758"/>
                    </a:lnTo>
                    <a:lnTo>
                      <a:pt x="1298" y="1758"/>
                    </a:lnTo>
                    <a:lnTo>
                      <a:pt x="1172" y="1695"/>
                    </a:lnTo>
                    <a:lnTo>
                      <a:pt x="1151" y="1758"/>
                    </a:lnTo>
                    <a:lnTo>
                      <a:pt x="1088" y="1758"/>
                    </a:lnTo>
                    <a:lnTo>
                      <a:pt x="984" y="1674"/>
                    </a:lnTo>
                    <a:lnTo>
                      <a:pt x="900" y="1653"/>
                    </a:lnTo>
                    <a:lnTo>
                      <a:pt x="754" y="1695"/>
                    </a:lnTo>
                    <a:lnTo>
                      <a:pt x="754" y="1758"/>
                    </a:lnTo>
                    <a:lnTo>
                      <a:pt x="837" y="1779"/>
                    </a:lnTo>
                    <a:lnTo>
                      <a:pt x="1047" y="1967"/>
                    </a:lnTo>
                    <a:lnTo>
                      <a:pt x="1130" y="1988"/>
                    </a:lnTo>
                    <a:lnTo>
                      <a:pt x="1235" y="1946"/>
                    </a:lnTo>
                    <a:lnTo>
                      <a:pt x="1277" y="1967"/>
                    </a:lnTo>
                    <a:lnTo>
                      <a:pt x="1339" y="2072"/>
                    </a:lnTo>
                    <a:lnTo>
                      <a:pt x="1339" y="2156"/>
                    </a:lnTo>
                    <a:lnTo>
                      <a:pt x="1423" y="2177"/>
                    </a:lnTo>
                    <a:lnTo>
                      <a:pt x="1507" y="2156"/>
                    </a:lnTo>
                    <a:lnTo>
                      <a:pt x="1674" y="2156"/>
                    </a:lnTo>
                    <a:lnTo>
                      <a:pt x="1842" y="2093"/>
                    </a:lnTo>
                    <a:lnTo>
                      <a:pt x="1946" y="2093"/>
                    </a:lnTo>
                    <a:lnTo>
                      <a:pt x="2093" y="2072"/>
                    </a:lnTo>
                    <a:lnTo>
                      <a:pt x="2093" y="2114"/>
                    </a:lnTo>
                    <a:lnTo>
                      <a:pt x="2072" y="2218"/>
                    </a:lnTo>
                    <a:lnTo>
                      <a:pt x="2093" y="2323"/>
                    </a:lnTo>
                    <a:lnTo>
                      <a:pt x="2218" y="2407"/>
                    </a:lnTo>
                    <a:lnTo>
                      <a:pt x="2365" y="2428"/>
                    </a:lnTo>
                    <a:lnTo>
                      <a:pt x="2532" y="2386"/>
                    </a:lnTo>
                    <a:lnTo>
                      <a:pt x="2574" y="2323"/>
                    </a:lnTo>
                    <a:lnTo>
                      <a:pt x="2532" y="2281"/>
                    </a:lnTo>
                    <a:lnTo>
                      <a:pt x="2532" y="2218"/>
                    </a:lnTo>
                    <a:lnTo>
                      <a:pt x="2595" y="2156"/>
                    </a:lnTo>
                    <a:lnTo>
                      <a:pt x="2699" y="2051"/>
                    </a:lnTo>
                    <a:lnTo>
                      <a:pt x="2783" y="2009"/>
                    </a:lnTo>
                    <a:lnTo>
                      <a:pt x="2846" y="2072"/>
                    </a:lnTo>
                    <a:lnTo>
                      <a:pt x="2930" y="2114"/>
                    </a:lnTo>
                    <a:lnTo>
                      <a:pt x="3034" y="2114"/>
                    </a:lnTo>
                    <a:lnTo>
                      <a:pt x="3160" y="2051"/>
                    </a:lnTo>
                    <a:lnTo>
                      <a:pt x="3202" y="1988"/>
                    </a:lnTo>
                    <a:lnTo>
                      <a:pt x="3160" y="1842"/>
                    </a:lnTo>
                    <a:lnTo>
                      <a:pt x="3139" y="1758"/>
                    </a:lnTo>
                    <a:lnTo>
                      <a:pt x="3181" y="1674"/>
                    </a:lnTo>
                    <a:lnTo>
                      <a:pt x="3264" y="1591"/>
                    </a:lnTo>
                    <a:lnTo>
                      <a:pt x="3348" y="1423"/>
                    </a:lnTo>
                    <a:lnTo>
                      <a:pt x="3432" y="1319"/>
                    </a:lnTo>
                    <a:lnTo>
                      <a:pt x="3557" y="1172"/>
                    </a:lnTo>
                    <a:lnTo>
                      <a:pt x="3578" y="1068"/>
                    </a:lnTo>
                    <a:lnTo>
                      <a:pt x="3578" y="1005"/>
                    </a:lnTo>
                    <a:lnTo>
                      <a:pt x="3557" y="900"/>
                    </a:lnTo>
                    <a:lnTo>
                      <a:pt x="3536" y="817"/>
                    </a:lnTo>
                    <a:lnTo>
                      <a:pt x="3557" y="754"/>
                    </a:lnTo>
                    <a:lnTo>
                      <a:pt x="3557" y="712"/>
                    </a:lnTo>
                    <a:lnTo>
                      <a:pt x="3516" y="691"/>
                    </a:lnTo>
                    <a:lnTo>
                      <a:pt x="3348" y="691"/>
                    </a:lnTo>
                    <a:lnTo>
                      <a:pt x="3264" y="607"/>
                    </a:lnTo>
                    <a:lnTo>
                      <a:pt x="3223" y="607"/>
                    </a:lnTo>
                    <a:lnTo>
                      <a:pt x="3034" y="628"/>
                    </a:lnTo>
                    <a:lnTo>
                      <a:pt x="2930" y="607"/>
                    </a:lnTo>
                    <a:lnTo>
                      <a:pt x="2846" y="545"/>
                    </a:lnTo>
                    <a:lnTo>
                      <a:pt x="2741" y="545"/>
                    </a:lnTo>
                    <a:lnTo>
                      <a:pt x="2679" y="503"/>
                    </a:lnTo>
                    <a:lnTo>
                      <a:pt x="2679" y="440"/>
                    </a:lnTo>
                    <a:lnTo>
                      <a:pt x="2637" y="419"/>
                    </a:lnTo>
                    <a:lnTo>
                      <a:pt x="2532" y="482"/>
                    </a:lnTo>
                    <a:lnTo>
                      <a:pt x="2532" y="419"/>
                    </a:lnTo>
                    <a:lnTo>
                      <a:pt x="2532" y="335"/>
                    </a:lnTo>
                    <a:lnTo>
                      <a:pt x="2532" y="293"/>
                    </a:lnTo>
                    <a:lnTo>
                      <a:pt x="2490" y="335"/>
                    </a:lnTo>
                    <a:lnTo>
                      <a:pt x="2469" y="440"/>
                    </a:lnTo>
                    <a:lnTo>
                      <a:pt x="2407" y="482"/>
                    </a:lnTo>
                    <a:lnTo>
                      <a:pt x="2386" y="335"/>
                    </a:lnTo>
                    <a:lnTo>
                      <a:pt x="2344" y="335"/>
                    </a:lnTo>
                    <a:lnTo>
                      <a:pt x="2302" y="398"/>
                    </a:lnTo>
                    <a:lnTo>
                      <a:pt x="2323" y="440"/>
                    </a:lnTo>
                    <a:lnTo>
                      <a:pt x="2302" y="503"/>
                    </a:lnTo>
                    <a:lnTo>
                      <a:pt x="2093" y="503"/>
                    </a:lnTo>
                    <a:lnTo>
                      <a:pt x="2093" y="607"/>
                    </a:lnTo>
                    <a:lnTo>
                      <a:pt x="2072" y="691"/>
                    </a:lnTo>
                    <a:lnTo>
                      <a:pt x="1988" y="670"/>
                    </a:lnTo>
                    <a:lnTo>
                      <a:pt x="1967" y="586"/>
                    </a:lnTo>
                    <a:lnTo>
                      <a:pt x="1925" y="586"/>
                    </a:lnTo>
                    <a:lnTo>
                      <a:pt x="1925" y="670"/>
                    </a:lnTo>
                    <a:lnTo>
                      <a:pt x="1904" y="733"/>
                    </a:lnTo>
                    <a:lnTo>
                      <a:pt x="1883" y="691"/>
                    </a:lnTo>
                    <a:lnTo>
                      <a:pt x="1883" y="607"/>
                    </a:lnTo>
                    <a:lnTo>
                      <a:pt x="1904" y="482"/>
                    </a:lnTo>
                    <a:lnTo>
                      <a:pt x="1904" y="252"/>
                    </a:lnTo>
                    <a:lnTo>
                      <a:pt x="1883" y="168"/>
                    </a:lnTo>
                    <a:lnTo>
                      <a:pt x="1779" y="84"/>
                    </a:lnTo>
                    <a:lnTo>
                      <a:pt x="171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4" name="Google Shape;814;p34"/>
              <p:cNvSpPr/>
              <p:nvPr/>
            </p:nvSpPr>
            <p:spPr>
              <a:xfrm>
                <a:off x="3875625" y="1704850"/>
                <a:ext cx="21475" cy="18350"/>
              </a:xfrm>
              <a:custGeom>
                <a:avLst/>
                <a:gdLst/>
                <a:ahLst/>
                <a:cxnLst/>
                <a:rect l="l" t="t" r="r" b="b"/>
                <a:pathLst>
                  <a:path w="859" h="734" extrusionOk="0">
                    <a:moveTo>
                      <a:pt x="650" y="1"/>
                    </a:moveTo>
                    <a:lnTo>
                      <a:pt x="587" y="43"/>
                    </a:lnTo>
                    <a:lnTo>
                      <a:pt x="419" y="126"/>
                    </a:lnTo>
                    <a:lnTo>
                      <a:pt x="419" y="43"/>
                    </a:lnTo>
                    <a:lnTo>
                      <a:pt x="357" y="43"/>
                    </a:lnTo>
                    <a:lnTo>
                      <a:pt x="273" y="105"/>
                    </a:lnTo>
                    <a:lnTo>
                      <a:pt x="252" y="147"/>
                    </a:lnTo>
                    <a:lnTo>
                      <a:pt x="231" y="210"/>
                    </a:lnTo>
                    <a:lnTo>
                      <a:pt x="126" y="189"/>
                    </a:lnTo>
                    <a:lnTo>
                      <a:pt x="64" y="252"/>
                    </a:lnTo>
                    <a:lnTo>
                      <a:pt x="1" y="315"/>
                    </a:lnTo>
                    <a:lnTo>
                      <a:pt x="64" y="357"/>
                    </a:lnTo>
                    <a:lnTo>
                      <a:pt x="210" y="357"/>
                    </a:lnTo>
                    <a:lnTo>
                      <a:pt x="252" y="461"/>
                    </a:lnTo>
                    <a:lnTo>
                      <a:pt x="273" y="524"/>
                    </a:lnTo>
                    <a:lnTo>
                      <a:pt x="273" y="608"/>
                    </a:lnTo>
                    <a:lnTo>
                      <a:pt x="336" y="629"/>
                    </a:lnTo>
                    <a:lnTo>
                      <a:pt x="273" y="712"/>
                    </a:lnTo>
                    <a:lnTo>
                      <a:pt x="357" y="712"/>
                    </a:lnTo>
                    <a:lnTo>
                      <a:pt x="419" y="733"/>
                    </a:lnTo>
                    <a:lnTo>
                      <a:pt x="440" y="670"/>
                    </a:lnTo>
                    <a:lnTo>
                      <a:pt x="587" y="608"/>
                    </a:lnTo>
                    <a:lnTo>
                      <a:pt x="670" y="608"/>
                    </a:lnTo>
                    <a:lnTo>
                      <a:pt x="754" y="524"/>
                    </a:lnTo>
                    <a:lnTo>
                      <a:pt x="733" y="461"/>
                    </a:lnTo>
                    <a:lnTo>
                      <a:pt x="754" y="315"/>
                    </a:lnTo>
                    <a:lnTo>
                      <a:pt x="796" y="294"/>
                    </a:lnTo>
                    <a:lnTo>
                      <a:pt x="859" y="189"/>
                    </a:lnTo>
                    <a:lnTo>
                      <a:pt x="796" y="105"/>
                    </a:lnTo>
                    <a:lnTo>
                      <a:pt x="733" y="85"/>
                    </a:lnTo>
                    <a:lnTo>
                      <a:pt x="670" y="22"/>
                    </a:lnTo>
                    <a:lnTo>
                      <a:pt x="65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5" name="Google Shape;815;p34"/>
              <p:cNvSpPr/>
              <p:nvPr/>
            </p:nvSpPr>
            <p:spPr>
              <a:xfrm>
                <a:off x="3883475" y="1716375"/>
                <a:ext cx="39275" cy="43425"/>
              </a:xfrm>
              <a:custGeom>
                <a:avLst/>
                <a:gdLst/>
                <a:ahLst/>
                <a:cxnLst/>
                <a:rect l="l" t="t" r="r" b="b"/>
                <a:pathLst>
                  <a:path w="1571" h="1737" extrusionOk="0">
                    <a:moveTo>
                      <a:pt x="796" y="0"/>
                    </a:moveTo>
                    <a:lnTo>
                      <a:pt x="649" y="105"/>
                    </a:lnTo>
                    <a:lnTo>
                      <a:pt x="482" y="251"/>
                    </a:lnTo>
                    <a:lnTo>
                      <a:pt x="377" y="251"/>
                    </a:lnTo>
                    <a:lnTo>
                      <a:pt x="147" y="293"/>
                    </a:lnTo>
                    <a:lnTo>
                      <a:pt x="43" y="398"/>
                    </a:lnTo>
                    <a:lnTo>
                      <a:pt x="1" y="502"/>
                    </a:lnTo>
                    <a:lnTo>
                      <a:pt x="105" y="565"/>
                    </a:lnTo>
                    <a:lnTo>
                      <a:pt x="168" y="670"/>
                    </a:lnTo>
                    <a:lnTo>
                      <a:pt x="273" y="670"/>
                    </a:lnTo>
                    <a:lnTo>
                      <a:pt x="315" y="712"/>
                    </a:lnTo>
                    <a:lnTo>
                      <a:pt x="273" y="795"/>
                    </a:lnTo>
                    <a:lnTo>
                      <a:pt x="273" y="900"/>
                    </a:lnTo>
                    <a:lnTo>
                      <a:pt x="168" y="1046"/>
                    </a:lnTo>
                    <a:lnTo>
                      <a:pt x="147" y="1235"/>
                    </a:lnTo>
                    <a:lnTo>
                      <a:pt x="64" y="1297"/>
                    </a:lnTo>
                    <a:lnTo>
                      <a:pt x="105" y="1402"/>
                    </a:lnTo>
                    <a:lnTo>
                      <a:pt x="43" y="1444"/>
                    </a:lnTo>
                    <a:lnTo>
                      <a:pt x="64" y="1548"/>
                    </a:lnTo>
                    <a:lnTo>
                      <a:pt x="126" y="1548"/>
                    </a:lnTo>
                    <a:lnTo>
                      <a:pt x="210" y="1507"/>
                    </a:lnTo>
                    <a:lnTo>
                      <a:pt x="315" y="1465"/>
                    </a:lnTo>
                    <a:lnTo>
                      <a:pt x="440" y="1402"/>
                    </a:lnTo>
                    <a:lnTo>
                      <a:pt x="524" y="1402"/>
                    </a:lnTo>
                    <a:lnTo>
                      <a:pt x="587" y="1318"/>
                    </a:lnTo>
                    <a:lnTo>
                      <a:pt x="649" y="1193"/>
                    </a:lnTo>
                    <a:lnTo>
                      <a:pt x="691" y="1151"/>
                    </a:lnTo>
                    <a:lnTo>
                      <a:pt x="796" y="1151"/>
                    </a:lnTo>
                    <a:lnTo>
                      <a:pt x="838" y="1130"/>
                    </a:lnTo>
                    <a:lnTo>
                      <a:pt x="838" y="1235"/>
                    </a:lnTo>
                    <a:lnTo>
                      <a:pt x="796" y="1423"/>
                    </a:lnTo>
                    <a:lnTo>
                      <a:pt x="796" y="1548"/>
                    </a:lnTo>
                    <a:lnTo>
                      <a:pt x="754" y="1632"/>
                    </a:lnTo>
                    <a:lnTo>
                      <a:pt x="775" y="1737"/>
                    </a:lnTo>
                    <a:lnTo>
                      <a:pt x="859" y="1737"/>
                    </a:lnTo>
                    <a:lnTo>
                      <a:pt x="942" y="1653"/>
                    </a:lnTo>
                    <a:lnTo>
                      <a:pt x="942" y="1569"/>
                    </a:lnTo>
                    <a:lnTo>
                      <a:pt x="984" y="1465"/>
                    </a:lnTo>
                    <a:lnTo>
                      <a:pt x="1089" y="1423"/>
                    </a:lnTo>
                    <a:lnTo>
                      <a:pt x="1193" y="1402"/>
                    </a:lnTo>
                    <a:lnTo>
                      <a:pt x="1277" y="1151"/>
                    </a:lnTo>
                    <a:lnTo>
                      <a:pt x="1277" y="1046"/>
                    </a:lnTo>
                    <a:lnTo>
                      <a:pt x="1382" y="900"/>
                    </a:lnTo>
                    <a:lnTo>
                      <a:pt x="1507" y="837"/>
                    </a:lnTo>
                    <a:lnTo>
                      <a:pt x="1570" y="795"/>
                    </a:lnTo>
                    <a:lnTo>
                      <a:pt x="1465" y="732"/>
                    </a:lnTo>
                    <a:lnTo>
                      <a:pt x="1403" y="691"/>
                    </a:lnTo>
                    <a:lnTo>
                      <a:pt x="1298" y="628"/>
                    </a:lnTo>
                    <a:lnTo>
                      <a:pt x="1172" y="712"/>
                    </a:lnTo>
                    <a:lnTo>
                      <a:pt x="1089" y="774"/>
                    </a:lnTo>
                    <a:lnTo>
                      <a:pt x="963" y="691"/>
                    </a:lnTo>
                    <a:lnTo>
                      <a:pt x="838" y="565"/>
                    </a:lnTo>
                    <a:lnTo>
                      <a:pt x="796" y="398"/>
                    </a:lnTo>
                    <a:lnTo>
                      <a:pt x="838" y="356"/>
                    </a:lnTo>
                    <a:lnTo>
                      <a:pt x="942" y="314"/>
                    </a:lnTo>
                    <a:lnTo>
                      <a:pt x="942" y="272"/>
                    </a:lnTo>
                    <a:lnTo>
                      <a:pt x="859" y="147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6" name="Google Shape;816;p34"/>
              <p:cNvSpPr/>
              <p:nvPr/>
            </p:nvSpPr>
            <p:spPr>
              <a:xfrm>
                <a:off x="3781475" y="1649925"/>
                <a:ext cx="102550" cy="141275"/>
              </a:xfrm>
              <a:custGeom>
                <a:avLst/>
                <a:gdLst/>
                <a:ahLst/>
                <a:cxnLst/>
                <a:rect l="l" t="t" r="r" b="b"/>
                <a:pathLst>
                  <a:path w="4102" h="5651" extrusionOk="0">
                    <a:moveTo>
                      <a:pt x="1988" y="1"/>
                    </a:moveTo>
                    <a:lnTo>
                      <a:pt x="1926" y="22"/>
                    </a:lnTo>
                    <a:lnTo>
                      <a:pt x="1842" y="126"/>
                    </a:lnTo>
                    <a:lnTo>
                      <a:pt x="1884" y="315"/>
                    </a:lnTo>
                    <a:lnTo>
                      <a:pt x="1821" y="419"/>
                    </a:lnTo>
                    <a:lnTo>
                      <a:pt x="1821" y="524"/>
                    </a:lnTo>
                    <a:lnTo>
                      <a:pt x="1800" y="629"/>
                    </a:lnTo>
                    <a:lnTo>
                      <a:pt x="1842" y="649"/>
                    </a:lnTo>
                    <a:lnTo>
                      <a:pt x="1884" y="733"/>
                    </a:lnTo>
                    <a:lnTo>
                      <a:pt x="1884" y="1068"/>
                    </a:lnTo>
                    <a:lnTo>
                      <a:pt x="1884" y="1235"/>
                    </a:lnTo>
                    <a:lnTo>
                      <a:pt x="1926" y="1361"/>
                    </a:lnTo>
                    <a:lnTo>
                      <a:pt x="2030" y="1507"/>
                    </a:lnTo>
                    <a:lnTo>
                      <a:pt x="2030" y="1654"/>
                    </a:lnTo>
                    <a:lnTo>
                      <a:pt x="2135" y="1779"/>
                    </a:lnTo>
                    <a:lnTo>
                      <a:pt x="2135" y="1863"/>
                    </a:lnTo>
                    <a:lnTo>
                      <a:pt x="2051" y="1863"/>
                    </a:lnTo>
                    <a:lnTo>
                      <a:pt x="2009" y="1800"/>
                    </a:lnTo>
                    <a:lnTo>
                      <a:pt x="1926" y="1612"/>
                    </a:lnTo>
                    <a:lnTo>
                      <a:pt x="1842" y="1507"/>
                    </a:lnTo>
                    <a:lnTo>
                      <a:pt x="1800" y="1507"/>
                    </a:lnTo>
                    <a:lnTo>
                      <a:pt x="1716" y="1570"/>
                    </a:lnTo>
                    <a:lnTo>
                      <a:pt x="1675" y="1549"/>
                    </a:lnTo>
                    <a:lnTo>
                      <a:pt x="1675" y="1486"/>
                    </a:lnTo>
                    <a:lnTo>
                      <a:pt x="1737" y="1403"/>
                    </a:lnTo>
                    <a:lnTo>
                      <a:pt x="1779" y="1361"/>
                    </a:lnTo>
                    <a:lnTo>
                      <a:pt x="1779" y="1256"/>
                    </a:lnTo>
                    <a:lnTo>
                      <a:pt x="1695" y="1026"/>
                    </a:lnTo>
                    <a:lnTo>
                      <a:pt x="1695" y="817"/>
                    </a:lnTo>
                    <a:lnTo>
                      <a:pt x="1675" y="733"/>
                    </a:lnTo>
                    <a:lnTo>
                      <a:pt x="1528" y="649"/>
                    </a:lnTo>
                    <a:lnTo>
                      <a:pt x="1465" y="524"/>
                    </a:lnTo>
                    <a:lnTo>
                      <a:pt x="1382" y="503"/>
                    </a:lnTo>
                    <a:lnTo>
                      <a:pt x="1319" y="545"/>
                    </a:lnTo>
                    <a:lnTo>
                      <a:pt x="1319" y="670"/>
                    </a:lnTo>
                    <a:lnTo>
                      <a:pt x="1193" y="838"/>
                    </a:lnTo>
                    <a:lnTo>
                      <a:pt x="1172" y="963"/>
                    </a:lnTo>
                    <a:lnTo>
                      <a:pt x="1193" y="1089"/>
                    </a:lnTo>
                    <a:lnTo>
                      <a:pt x="1256" y="1235"/>
                    </a:lnTo>
                    <a:lnTo>
                      <a:pt x="1277" y="1403"/>
                    </a:lnTo>
                    <a:lnTo>
                      <a:pt x="1214" y="1382"/>
                    </a:lnTo>
                    <a:lnTo>
                      <a:pt x="1172" y="1298"/>
                    </a:lnTo>
                    <a:lnTo>
                      <a:pt x="1151" y="1173"/>
                    </a:lnTo>
                    <a:lnTo>
                      <a:pt x="1172" y="1089"/>
                    </a:lnTo>
                    <a:lnTo>
                      <a:pt x="1110" y="1068"/>
                    </a:lnTo>
                    <a:lnTo>
                      <a:pt x="1068" y="984"/>
                    </a:lnTo>
                    <a:lnTo>
                      <a:pt x="1047" y="984"/>
                    </a:lnTo>
                    <a:lnTo>
                      <a:pt x="984" y="1047"/>
                    </a:lnTo>
                    <a:lnTo>
                      <a:pt x="942" y="1026"/>
                    </a:lnTo>
                    <a:lnTo>
                      <a:pt x="942" y="942"/>
                    </a:lnTo>
                    <a:lnTo>
                      <a:pt x="1047" y="859"/>
                    </a:lnTo>
                    <a:lnTo>
                      <a:pt x="1047" y="838"/>
                    </a:lnTo>
                    <a:lnTo>
                      <a:pt x="984" y="817"/>
                    </a:lnTo>
                    <a:lnTo>
                      <a:pt x="859" y="859"/>
                    </a:lnTo>
                    <a:lnTo>
                      <a:pt x="775" y="921"/>
                    </a:lnTo>
                    <a:lnTo>
                      <a:pt x="691" y="859"/>
                    </a:lnTo>
                    <a:lnTo>
                      <a:pt x="733" y="817"/>
                    </a:lnTo>
                    <a:lnTo>
                      <a:pt x="775" y="775"/>
                    </a:lnTo>
                    <a:lnTo>
                      <a:pt x="796" y="733"/>
                    </a:lnTo>
                    <a:lnTo>
                      <a:pt x="900" y="629"/>
                    </a:lnTo>
                    <a:lnTo>
                      <a:pt x="984" y="629"/>
                    </a:lnTo>
                    <a:lnTo>
                      <a:pt x="1005" y="649"/>
                    </a:lnTo>
                    <a:lnTo>
                      <a:pt x="1089" y="670"/>
                    </a:lnTo>
                    <a:lnTo>
                      <a:pt x="1151" y="608"/>
                    </a:lnTo>
                    <a:lnTo>
                      <a:pt x="1172" y="524"/>
                    </a:lnTo>
                    <a:lnTo>
                      <a:pt x="1089" y="398"/>
                    </a:lnTo>
                    <a:lnTo>
                      <a:pt x="1047" y="336"/>
                    </a:lnTo>
                    <a:lnTo>
                      <a:pt x="900" y="357"/>
                    </a:lnTo>
                    <a:lnTo>
                      <a:pt x="670" y="545"/>
                    </a:lnTo>
                    <a:lnTo>
                      <a:pt x="587" y="566"/>
                    </a:lnTo>
                    <a:lnTo>
                      <a:pt x="545" y="545"/>
                    </a:lnTo>
                    <a:lnTo>
                      <a:pt x="545" y="461"/>
                    </a:lnTo>
                    <a:lnTo>
                      <a:pt x="461" y="419"/>
                    </a:lnTo>
                    <a:lnTo>
                      <a:pt x="419" y="440"/>
                    </a:lnTo>
                    <a:lnTo>
                      <a:pt x="419" y="566"/>
                    </a:lnTo>
                    <a:lnTo>
                      <a:pt x="545" y="712"/>
                    </a:lnTo>
                    <a:lnTo>
                      <a:pt x="524" y="754"/>
                    </a:lnTo>
                    <a:lnTo>
                      <a:pt x="419" y="754"/>
                    </a:lnTo>
                    <a:lnTo>
                      <a:pt x="377" y="649"/>
                    </a:lnTo>
                    <a:lnTo>
                      <a:pt x="315" y="503"/>
                    </a:lnTo>
                    <a:lnTo>
                      <a:pt x="231" y="503"/>
                    </a:lnTo>
                    <a:lnTo>
                      <a:pt x="126" y="608"/>
                    </a:lnTo>
                    <a:lnTo>
                      <a:pt x="147" y="733"/>
                    </a:lnTo>
                    <a:lnTo>
                      <a:pt x="168" y="775"/>
                    </a:lnTo>
                    <a:lnTo>
                      <a:pt x="168" y="880"/>
                    </a:lnTo>
                    <a:lnTo>
                      <a:pt x="147" y="880"/>
                    </a:lnTo>
                    <a:lnTo>
                      <a:pt x="43" y="963"/>
                    </a:lnTo>
                    <a:lnTo>
                      <a:pt x="1" y="984"/>
                    </a:lnTo>
                    <a:lnTo>
                      <a:pt x="1" y="1089"/>
                    </a:lnTo>
                    <a:lnTo>
                      <a:pt x="22" y="1235"/>
                    </a:lnTo>
                    <a:lnTo>
                      <a:pt x="43" y="1361"/>
                    </a:lnTo>
                    <a:lnTo>
                      <a:pt x="147" y="1549"/>
                    </a:lnTo>
                    <a:lnTo>
                      <a:pt x="147" y="1612"/>
                    </a:lnTo>
                    <a:lnTo>
                      <a:pt x="231" y="1591"/>
                    </a:lnTo>
                    <a:lnTo>
                      <a:pt x="273" y="1507"/>
                    </a:lnTo>
                    <a:lnTo>
                      <a:pt x="273" y="1403"/>
                    </a:lnTo>
                    <a:lnTo>
                      <a:pt x="273" y="1298"/>
                    </a:lnTo>
                    <a:lnTo>
                      <a:pt x="335" y="1277"/>
                    </a:lnTo>
                    <a:lnTo>
                      <a:pt x="419" y="1361"/>
                    </a:lnTo>
                    <a:lnTo>
                      <a:pt x="461" y="1298"/>
                    </a:lnTo>
                    <a:lnTo>
                      <a:pt x="482" y="1340"/>
                    </a:lnTo>
                    <a:lnTo>
                      <a:pt x="440" y="1445"/>
                    </a:lnTo>
                    <a:lnTo>
                      <a:pt x="419" y="1591"/>
                    </a:lnTo>
                    <a:lnTo>
                      <a:pt x="377" y="1612"/>
                    </a:lnTo>
                    <a:lnTo>
                      <a:pt x="377" y="1675"/>
                    </a:lnTo>
                    <a:lnTo>
                      <a:pt x="482" y="1779"/>
                    </a:lnTo>
                    <a:lnTo>
                      <a:pt x="482" y="1800"/>
                    </a:lnTo>
                    <a:lnTo>
                      <a:pt x="545" y="1821"/>
                    </a:lnTo>
                    <a:lnTo>
                      <a:pt x="628" y="1821"/>
                    </a:lnTo>
                    <a:lnTo>
                      <a:pt x="649" y="1863"/>
                    </a:lnTo>
                    <a:lnTo>
                      <a:pt x="649" y="1926"/>
                    </a:lnTo>
                    <a:lnTo>
                      <a:pt x="545" y="2010"/>
                    </a:lnTo>
                    <a:lnTo>
                      <a:pt x="482" y="2010"/>
                    </a:lnTo>
                    <a:lnTo>
                      <a:pt x="482" y="1968"/>
                    </a:lnTo>
                    <a:lnTo>
                      <a:pt x="461" y="1905"/>
                    </a:lnTo>
                    <a:lnTo>
                      <a:pt x="315" y="1800"/>
                    </a:lnTo>
                    <a:lnTo>
                      <a:pt x="273" y="1821"/>
                    </a:lnTo>
                    <a:lnTo>
                      <a:pt x="273" y="1884"/>
                    </a:lnTo>
                    <a:lnTo>
                      <a:pt x="335" y="1989"/>
                    </a:lnTo>
                    <a:lnTo>
                      <a:pt x="419" y="2030"/>
                    </a:lnTo>
                    <a:lnTo>
                      <a:pt x="482" y="2093"/>
                    </a:lnTo>
                    <a:lnTo>
                      <a:pt x="482" y="2114"/>
                    </a:lnTo>
                    <a:lnTo>
                      <a:pt x="440" y="2177"/>
                    </a:lnTo>
                    <a:lnTo>
                      <a:pt x="482" y="2240"/>
                    </a:lnTo>
                    <a:lnTo>
                      <a:pt x="587" y="2302"/>
                    </a:lnTo>
                    <a:lnTo>
                      <a:pt x="670" y="2344"/>
                    </a:lnTo>
                    <a:lnTo>
                      <a:pt x="691" y="2428"/>
                    </a:lnTo>
                    <a:lnTo>
                      <a:pt x="775" y="2449"/>
                    </a:lnTo>
                    <a:lnTo>
                      <a:pt x="900" y="2449"/>
                    </a:lnTo>
                    <a:lnTo>
                      <a:pt x="942" y="2491"/>
                    </a:lnTo>
                    <a:lnTo>
                      <a:pt x="879" y="2533"/>
                    </a:lnTo>
                    <a:lnTo>
                      <a:pt x="754" y="2533"/>
                    </a:lnTo>
                    <a:lnTo>
                      <a:pt x="754" y="2637"/>
                    </a:lnTo>
                    <a:lnTo>
                      <a:pt x="796" y="2742"/>
                    </a:lnTo>
                    <a:lnTo>
                      <a:pt x="859" y="2742"/>
                    </a:lnTo>
                    <a:lnTo>
                      <a:pt x="942" y="2763"/>
                    </a:lnTo>
                    <a:lnTo>
                      <a:pt x="1068" y="2909"/>
                    </a:lnTo>
                    <a:lnTo>
                      <a:pt x="1110" y="2972"/>
                    </a:lnTo>
                    <a:lnTo>
                      <a:pt x="1068" y="3035"/>
                    </a:lnTo>
                    <a:lnTo>
                      <a:pt x="1068" y="3077"/>
                    </a:lnTo>
                    <a:lnTo>
                      <a:pt x="1382" y="3077"/>
                    </a:lnTo>
                    <a:lnTo>
                      <a:pt x="1465" y="3014"/>
                    </a:lnTo>
                    <a:lnTo>
                      <a:pt x="1465" y="2930"/>
                    </a:lnTo>
                    <a:lnTo>
                      <a:pt x="1507" y="2805"/>
                    </a:lnTo>
                    <a:lnTo>
                      <a:pt x="1591" y="2763"/>
                    </a:lnTo>
                    <a:lnTo>
                      <a:pt x="1675" y="2805"/>
                    </a:lnTo>
                    <a:lnTo>
                      <a:pt x="1675" y="2721"/>
                    </a:lnTo>
                    <a:lnTo>
                      <a:pt x="1612" y="2616"/>
                    </a:lnTo>
                    <a:lnTo>
                      <a:pt x="1570" y="2512"/>
                    </a:lnTo>
                    <a:lnTo>
                      <a:pt x="1570" y="2386"/>
                    </a:lnTo>
                    <a:lnTo>
                      <a:pt x="1528" y="2302"/>
                    </a:lnTo>
                    <a:lnTo>
                      <a:pt x="1528" y="2219"/>
                    </a:lnTo>
                    <a:lnTo>
                      <a:pt x="1591" y="2198"/>
                    </a:lnTo>
                    <a:lnTo>
                      <a:pt x="1633" y="2219"/>
                    </a:lnTo>
                    <a:lnTo>
                      <a:pt x="1695" y="2323"/>
                    </a:lnTo>
                    <a:lnTo>
                      <a:pt x="1675" y="2344"/>
                    </a:lnTo>
                    <a:lnTo>
                      <a:pt x="1695" y="2428"/>
                    </a:lnTo>
                    <a:lnTo>
                      <a:pt x="1779" y="2344"/>
                    </a:lnTo>
                    <a:lnTo>
                      <a:pt x="1779" y="2282"/>
                    </a:lnTo>
                    <a:lnTo>
                      <a:pt x="1737" y="2093"/>
                    </a:lnTo>
                    <a:lnTo>
                      <a:pt x="1800" y="2010"/>
                    </a:lnTo>
                    <a:lnTo>
                      <a:pt x="1821" y="2010"/>
                    </a:lnTo>
                    <a:lnTo>
                      <a:pt x="1884" y="2093"/>
                    </a:lnTo>
                    <a:lnTo>
                      <a:pt x="1884" y="2219"/>
                    </a:lnTo>
                    <a:lnTo>
                      <a:pt x="1926" y="2282"/>
                    </a:lnTo>
                    <a:lnTo>
                      <a:pt x="1926" y="2344"/>
                    </a:lnTo>
                    <a:lnTo>
                      <a:pt x="1842" y="2428"/>
                    </a:lnTo>
                    <a:lnTo>
                      <a:pt x="1842" y="2491"/>
                    </a:lnTo>
                    <a:lnTo>
                      <a:pt x="1884" y="2637"/>
                    </a:lnTo>
                    <a:lnTo>
                      <a:pt x="1926" y="2658"/>
                    </a:lnTo>
                    <a:lnTo>
                      <a:pt x="2009" y="2637"/>
                    </a:lnTo>
                    <a:lnTo>
                      <a:pt x="2156" y="2491"/>
                    </a:lnTo>
                    <a:lnTo>
                      <a:pt x="2219" y="2344"/>
                    </a:lnTo>
                    <a:lnTo>
                      <a:pt x="2219" y="2240"/>
                    </a:lnTo>
                    <a:lnTo>
                      <a:pt x="2239" y="2177"/>
                    </a:lnTo>
                    <a:lnTo>
                      <a:pt x="2302" y="2198"/>
                    </a:lnTo>
                    <a:lnTo>
                      <a:pt x="2344" y="2282"/>
                    </a:lnTo>
                    <a:lnTo>
                      <a:pt x="2323" y="2407"/>
                    </a:lnTo>
                    <a:lnTo>
                      <a:pt x="2260" y="2512"/>
                    </a:lnTo>
                    <a:lnTo>
                      <a:pt x="2260" y="2595"/>
                    </a:lnTo>
                    <a:lnTo>
                      <a:pt x="2344" y="2637"/>
                    </a:lnTo>
                    <a:lnTo>
                      <a:pt x="2449" y="2616"/>
                    </a:lnTo>
                    <a:lnTo>
                      <a:pt x="2532" y="2533"/>
                    </a:lnTo>
                    <a:lnTo>
                      <a:pt x="2574" y="2533"/>
                    </a:lnTo>
                    <a:lnTo>
                      <a:pt x="2574" y="2595"/>
                    </a:lnTo>
                    <a:lnTo>
                      <a:pt x="2532" y="2637"/>
                    </a:lnTo>
                    <a:lnTo>
                      <a:pt x="2428" y="2658"/>
                    </a:lnTo>
                    <a:lnTo>
                      <a:pt x="2344" y="2763"/>
                    </a:lnTo>
                    <a:lnTo>
                      <a:pt x="2156" y="2763"/>
                    </a:lnTo>
                    <a:lnTo>
                      <a:pt x="2009" y="2826"/>
                    </a:lnTo>
                    <a:lnTo>
                      <a:pt x="1988" y="2867"/>
                    </a:lnTo>
                    <a:lnTo>
                      <a:pt x="2009" y="2951"/>
                    </a:lnTo>
                    <a:lnTo>
                      <a:pt x="1884" y="3014"/>
                    </a:lnTo>
                    <a:lnTo>
                      <a:pt x="1800" y="3118"/>
                    </a:lnTo>
                    <a:lnTo>
                      <a:pt x="1716" y="3181"/>
                    </a:lnTo>
                    <a:lnTo>
                      <a:pt x="1675" y="3181"/>
                    </a:lnTo>
                    <a:lnTo>
                      <a:pt x="1570" y="3244"/>
                    </a:lnTo>
                    <a:lnTo>
                      <a:pt x="1570" y="3328"/>
                    </a:lnTo>
                    <a:lnTo>
                      <a:pt x="1507" y="3349"/>
                    </a:lnTo>
                    <a:lnTo>
                      <a:pt x="1486" y="3265"/>
                    </a:lnTo>
                    <a:lnTo>
                      <a:pt x="1465" y="3223"/>
                    </a:lnTo>
                    <a:lnTo>
                      <a:pt x="1382" y="3265"/>
                    </a:lnTo>
                    <a:lnTo>
                      <a:pt x="1298" y="3286"/>
                    </a:lnTo>
                    <a:lnTo>
                      <a:pt x="1298" y="3349"/>
                    </a:lnTo>
                    <a:lnTo>
                      <a:pt x="1277" y="3390"/>
                    </a:lnTo>
                    <a:lnTo>
                      <a:pt x="1319" y="3579"/>
                    </a:lnTo>
                    <a:lnTo>
                      <a:pt x="1319" y="3704"/>
                    </a:lnTo>
                    <a:lnTo>
                      <a:pt x="1361" y="3746"/>
                    </a:lnTo>
                    <a:lnTo>
                      <a:pt x="1465" y="3746"/>
                    </a:lnTo>
                    <a:lnTo>
                      <a:pt x="1528" y="3704"/>
                    </a:lnTo>
                    <a:lnTo>
                      <a:pt x="1633" y="3683"/>
                    </a:lnTo>
                    <a:lnTo>
                      <a:pt x="1695" y="3662"/>
                    </a:lnTo>
                    <a:lnTo>
                      <a:pt x="1779" y="3662"/>
                    </a:lnTo>
                    <a:lnTo>
                      <a:pt x="1842" y="3642"/>
                    </a:lnTo>
                    <a:lnTo>
                      <a:pt x="1926" y="3537"/>
                    </a:lnTo>
                    <a:lnTo>
                      <a:pt x="1988" y="3537"/>
                    </a:lnTo>
                    <a:lnTo>
                      <a:pt x="2009" y="3495"/>
                    </a:lnTo>
                    <a:lnTo>
                      <a:pt x="2114" y="3495"/>
                    </a:lnTo>
                    <a:lnTo>
                      <a:pt x="2135" y="3537"/>
                    </a:lnTo>
                    <a:lnTo>
                      <a:pt x="2428" y="3537"/>
                    </a:lnTo>
                    <a:lnTo>
                      <a:pt x="2470" y="3474"/>
                    </a:lnTo>
                    <a:lnTo>
                      <a:pt x="2553" y="3432"/>
                    </a:lnTo>
                    <a:lnTo>
                      <a:pt x="2616" y="3432"/>
                    </a:lnTo>
                    <a:lnTo>
                      <a:pt x="2616" y="3495"/>
                    </a:lnTo>
                    <a:lnTo>
                      <a:pt x="2553" y="3537"/>
                    </a:lnTo>
                    <a:lnTo>
                      <a:pt x="2532" y="3600"/>
                    </a:lnTo>
                    <a:lnTo>
                      <a:pt x="2449" y="3600"/>
                    </a:lnTo>
                    <a:lnTo>
                      <a:pt x="2407" y="3642"/>
                    </a:lnTo>
                    <a:lnTo>
                      <a:pt x="2239" y="3642"/>
                    </a:lnTo>
                    <a:lnTo>
                      <a:pt x="2135" y="3683"/>
                    </a:lnTo>
                    <a:lnTo>
                      <a:pt x="1947" y="3767"/>
                    </a:lnTo>
                    <a:lnTo>
                      <a:pt x="1884" y="3767"/>
                    </a:lnTo>
                    <a:lnTo>
                      <a:pt x="1800" y="3788"/>
                    </a:lnTo>
                    <a:lnTo>
                      <a:pt x="1800" y="3809"/>
                    </a:lnTo>
                    <a:lnTo>
                      <a:pt x="1905" y="3872"/>
                    </a:lnTo>
                    <a:lnTo>
                      <a:pt x="2051" y="3893"/>
                    </a:lnTo>
                    <a:lnTo>
                      <a:pt x="2135" y="3893"/>
                    </a:lnTo>
                    <a:lnTo>
                      <a:pt x="2239" y="3976"/>
                    </a:lnTo>
                    <a:lnTo>
                      <a:pt x="2239" y="4018"/>
                    </a:lnTo>
                    <a:lnTo>
                      <a:pt x="2030" y="4018"/>
                    </a:lnTo>
                    <a:lnTo>
                      <a:pt x="1947" y="4060"/>
                    </a:lnTo>
                    <a:lnTo>
                      <a:pt x="1905" y="4018"/>
                    </a:lnTo>
                    <a:lnTo>
                      <a:pt x="1800" y="3997"/>
                    </a:lnTo>
                    <a:lnTo>
                      <a:pt x="1779" y="4060"/>
                    </a:lnTo>
                    <a:lnTo>
                      <a:pt x="1737" y="4060"/>
                    </a:lnTo>
                    <a:lnTo>
                      <a:pt x="1695" y="3997"/>
                    </a:lnTo>
                    <a:lnTo>
                      <a:pt x="1633" y="3914"/>
                    </a:lnTo>
                    <a:lnTo>
                      <a:pt x="1570" y="3893"/>
                    </a:lnTo>
                    <a:lnTo>
                      <a:pt x="1423" y="3997"/>
                    </a:lnTo>
                    <a:lnTo>
                      <a:pt x="1423" y="4018"/>
                    </a:lnTo>
                    <a:lnTo>
                      <a:pt x="1486" y="4102"/>
                    </a:lnTo>
                    <a:lnTo>
                      <a:pt x="1507" y="4165"/>
                    </a:lnTo>
                    <a:lnTo>
                      <a:pt x="1486" y="4227"/>
                    </a:lnTo>
                    <a:lnTo>
                      <a:pt x="1507" y="4227"/>
                    </a:lnTo>
                    <a:lnTo>
                      <a:pt x="1486" y="4290"/>
                    </a:lnTo>
                    <a:lnTo>
                      <a:pt x="1507" y="4332"/>
                    </a:lnTo>
                    <a:lnTo>
                      <a:pt x="1591" y="4395"/>
                    </a:lnTo>
                    <a:lnTo>
                      <a:pt x="1591" y="4437"/>
                    </a:lnTo>
                    <a:lnTo>
                      <a:pt x="1612" y="4499"/>
                    </a:lnTo>
                    <a:lnTo>
                      <a:pt x="1633" y="4478"/>
                    </a:lnTo>
                    <a:lnTo>
                      <a:pt x="1716" y="4541"/>
                    </a:lnTo>
                    <a:lnTo>
                      <a:pt x="1716" y="4604"/>
                    </a:lnTo>
                    <a:lnTo>
                      <a:pt x="1779" y="4688"/>
                    </a:lnTo>
                    <a:lnTo>
                      <a:pt x="1800" y="4646"/>
                    </a:lnTo>
                    <a:lnTo>
                      <a:pt x="1884" y="4688"/>
                    </a:lnTo>
                    <a:lnTo>
                      <a:pt x="1926" y="4751"/>
                    </a:lnTo>
                    <a:lnTo>
                      <a:pt x="1988" y="4792"/>
                    </a:lnTo>
                    <a:lnTo>
                      <a:pt x="1988" y="4855"/>
                    </a:lnTo>
                    <a:lnTo>
                      <a:pt x="2114" y="4960"/>
                    </a:lnTo>
                    <a:lnTo>
                      <a:pt x="2239" y="4918"/>
                    </a:lnTo>
                    <a:lnTo>
                      <a:pt x="2260" y="4834"/>
                    </a:lnTo>
                    <a:lnTo>
                      <a:pt x="2323" y="4834"/>
                    </a:lnTo>
                    <a:lnTo>
                      <a:pt x="2344" y="4897"/>
                    </a:lnTo>
                    <a:lnTo>
                      <a:pt x="2428" y="4855"/>
                    </a:lnTo>
                    <a:lnTo>
                      <a:pt x="2449" y="4897"/>
                    </a:lnTo>
                    <a:lnTo>
                      <a:pt x="2449" y="4960"/>
                    </a:lnTo>
                    <a:lnTo>
                      <a:pt x="2407" y="5023"/>
                    </a:lnTo>
                    <a:lnTo>
                      <a:pt x="2344" y="5023"/>
                    </a:lnTo>
                    <a:lnTo>
                      <a:pt x="2239" y="5106"/>
                    </a:lnTo>
                    <a:lnTo>
                      <a:pt x="2239" y="5148"/>
                    </a:lnTo>
                    <a:lnTo>
                      <a:pt x="2428" y="5336"/>
                    </a:lnTo>
                    <a:lnTo>
                      <a:pt x="2470" y="5357"/>
                    </a:lnTo>
                    <a:lnTo>
                      <a:pt x="2532" y="5420"/>
                    </a:lnTo>
                    <a:lnTo>
                      <a:pt x="2512" y="5567"/>
                    </a:lnTo>
                    <a:lnTo>
                      <a:pt x="2532" y="5650"/>
                    </a:lnTo>
                    <a:lnTo>
                      <a:pt x="2574" y="5650"/>
                    </a:lnTo>
                    <a:lnTo>
                      <a:pt x="2616" y="5587"/>
                    </a:lnTo>
                    <a:lnTo>
                      <a:pt x="2658" y="5567"/>
                    </a:lnTo>
                    <a:lnTo>
                      <a:pt x="2721" y="5650"/>
                    </a:lnTo>
                    <a:lnTo>
                      <a:pt x="2784" y="5629"/>
                    </a:lnTo>
                    <a:lnTo>
                      <a:pt x="2867" y="5525"/>
                    </a:lnTo>
                    <a:lnTo>
                      <a:pt x="2888" y="5420"/>
                    </a:lnTo>
                    <a:lnTo>
                      <a:pt x="2930" y="5357"/>
                    </a:lnTo>
                    <a:lnTo>
                      <a:pt x="2930" y="5315"/>
                    </a:lnTo>
                    <a:lnTo>
                      <a:pt x="2867" y="5148"/>
                    </a:lnTo>
                    <a:lnTo>
                      <a:pt x="2846" y="5023"/>
                    </a:lnTo>
                    <a:lnTo>
                      <a:pt x="2888" y="4939"/>
                    </a:lnTo>
                    <a:lnTo>
                      <a:pt x="2951" y="4855"/>
                    </a:lnTo>
                    <a:lnTo>
                      <a:pt x="2951" y="4499"/>
                    </a:lnTo>
                    <a:lnTo>
                      <a:pt x="2972" y="4395"/>
                    </a:lnTo>
                    <a:lnTo>
                      <a:pt x="2972" y="4311"/>
                    </a:lnTo>
                    <a:lnTo>
                      <a:pt x="3056" y="4227"/>
                    </a:lnTo>
                    <a:lnTo>
                      <a:pt x="3056" y="4206"/>
                    </a:lnTo>
                    <a:lnTo>
                      <a:pt x="2972" y="4165"/>
                    </a:lnTo>
                    <a:lnTo>
                      <a:pt x="3056" y="4060"/>
                    </a:lnTo>
                    <a:lnTo>
                      <a:pt x="3181" y="4081"/>
                    </a:lnTo>
                    <a:lnTo>
                      <a:pt x="3202" y="4081"/>
                    </a:lnTo>
                    <a:lnTo>
                      <a:pt x="3244" y="3976"/>
                    </a:lnTo>
                    <a:lnTo>
                      <a:pt x="3244" y="3809"/>
                    </a:lnTo>
                    <a:lnTo>
                      <a:pt x="3265" y="3683"/>
                    </a:lnTo>
                    <a:lnTo>
                      <a:pt x="3265" y="3558"/>
                    </a:lnTo>
                    <a:lnTo>
                      <a:pt x="3181" y="3432"/>
                    </a:lnTo>
                    <a:lnTo>
                      <a:pt x="3181" y="3286"/>
                    </a:lnTo>
                    <a:lnTo>
                      <a:pt x="3244" y="3265"/>
                    </a:lnTo>
                    <a:lnTo>
                      <a:pt x="3348" y="3328"/>
                    </a:lnTo>
                    <a:lnTo>
                      <a:pt x="3390" y="3223"/>
                    </a:lnTo>
                    <a:lnTo>
                      <a:pt x="3369" y="3181"/>
                    </a:lnTo>
                    <a:lnTo>
                      <a:pt x="3369" y="3056"/>
                    </a:lnTo>
                    <a:lnTo>
                      <a:pt x="3390" y="2951"/>
                    </a:lnTo>
                    <a:lnTo>
                      <a:pt x="3369" y="2742"/>
                    </a:lnTo>
                    <a:lnTo>
                      <a:pt x="3348" y="2616"/>
                    </a:lnTo>
                    <a:lnTo>
                      <a:pt x="3369" y="2554"/>
                    </a:lnTo>
                    <a:lnTo>
                      <a:pt x="3495" y="2449"/>
                    </a:lnTo>
                    <a:lnTo>
                      <a:pt x="3495" y="2386"/>
                    </a:lnTo>
                    <a:lnTo>
                      <a:pt x="3474" y="2323"/>
                    </a:lnTo>
                    <a:lnTo>
                      <a:pt x="3474" y="2282"/>
                    </a:lnTo>
                    <a:lnTo>
                      <a:pt x="3579" y="2282"/>
                    </a:lnTo>
                    <a:lnTo>
                      <a:pt x="3725" y="2135"/>
                    </a:lnTo>
                    <a:lnTo>
                      <a:pt x="3830" y="2135"/>
                    </a:lnTo>
                    <a:lnTo>
                      <a:pt x="3934" y="2114"/>
                    </a:lnTo>
                    <a:lnTo>
                      <a:pt x="3997" y="2219"/>
                    </a:lnTo>
                    <a:lnTo>
                      <a:pt x="4039" y="2198"/>
                    </a:lnTo>
                    <a:lnTo>
                      <a:pt x="4081" y="2114"/>
                    </a:lnTo>
                    <a:lnTo>
                      <a:pt x="4102" y="2072"/>
                    </a:lnTo>
                    <a:lnTo>
                      <a:pt x="4102" y="1926"/>
                    </a:lnTo>
                    <a:lnTo>
                      <a:pt x="4018" y="1905"/>
                    </a:lnTo>
                    <a:lnTo>
                      <a:pt x="3767" y="1821"/>
                    </a:lnTo>
                    <a:lnTo>
                      <a:pt x="3662" y="1779"/>
                    </a:lnTo>
                    <a:lnTo>
                      <a:pt x="3495" y="1612"/>
                    </a:lnTo>
                    <a:lnTo>
                      <a:pt x="3411" y="1570"/>
                    </a:lnTo>
                    <a:lnTo>
                      <a:pt x="3286" y="1382"/>
                    </a:lnTo>
                    <a:lnTo>
                      <a:pt x="3244" y="1361"/>
                    </a:lnTo>
                    <a:lnTo>
                      <a:pt x="3097" y="1361"/>
                    </a:lnTo>
                    <a:lnTo>
                      <a:pt x="3056" y="1277"/>
                    </a:lnTo>
                    <a:lnTo>
                      <a:pt x="3056" y="1193"/>
                    </a:lnTo>
                    <a:lnTo>
                      <a:pt x="2972" y="942"/>
                    </a:lnTo>
                    <a:lnTo>
                      <a:pt x="2888" y="733"/>
                    </a:lnTo>
                    <a:lnTo>
                      <a:pt x="2742" y="608"/>
                    </a:lnTo>
                    <a:lnTo>
                      <a:pt x="2658" y="670"/>
                    </a:lnTo>
                    <a:lnTo>
                      <a:pt x="2637" y="775"/>
                    </a:lnTo>
                    <a:lnTo>
                      <a:pt x="2658" y="984"/>
                    </a:lnTo>
                    <a:lnTo>
                      <a:pt x="2658" y="1131"/>
                    </a:lnTo>
                    <a:lnTo>
                      <a:pt x="2574" y="1193"/>
                    </a:lnTo>
                    <a:lnTo>
                      <a:pt x="2553" y="1173"/>
                    </a:lnTo>
                    <a:lnTo>
                      <a:pt x="2553" y="1131"/>
                    </a:lnTo>
                    <a:lnTo>
                      <a:pt x="2553" y="963"/>
                    </a:lnTo>
                    <a:lnTo>
                      <a:pt x="2553" y="733"/>
                    </a:lnTo>
                    <a:lnTo>
                      <a:pt x="2616" y="670"/>
                    </a:lnTo>
                    <a:lnTo>
                      <a:pt x="2616" y="545"/>
                    </a:lnTo>
                    <a:lnTo>
                      <a:pt x="2553" y="419"/>
                    </a:lnTo>
                    <a:lnTo>
                      <a:pt x="2449" y="231"/>
                    </a:lnTo>
                    <a:lnTo>
                      <a:pt x="2344" y="189"/>
                    </a:lnTo>
                    <a:lnTo>
                      <a:pt x="2260" y="231"/>
                    </a:lnTo>
                    <a:lnTo>
                      <a:pt x="2219" y="315"/>
                    </a:lnTo>
                    <a:lnTo>
                      <a:pt x="2156" y="294"/>
                    </a:lnTo>
                    <a:lnTo>
                      <a:pt x="2135" y="147"/>
                    </a:lnTo>
                    <a:lnTo>
                      <a:pt x="203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17" name="Google Shape;817;p34"/>
            <p:cNvSpPr/>
            <p:nvPr/>
          </p:nvSpPr>
          <p:spPr>
            <a:xfrm>
              <a:off x="4614379" y="2777935"/>
              <a:ext cx="83472" cy="139700"/>
            </a:xfrm>
            <a:custGeom>
              <a:avLst/>
              <a:gdLst/>
              <a:ahLst/>
              <a:cxnLst/>
              <a:rect l="l" t="t" r="r" b="b"/>
              <a:pathLst>
                <a:path w="7010" h="12284" extrusionOk="0">
                  <a:moveTo>
                    <a:pt x="4122" y="1"/>
                  </a:moveTo>
                  <a:lnTo>
                    <a:pt x="4122" y="43"/>
                  </a:lnTo>
                  <a:lnTo>
                    <a:pt x="4080" y="126"/>
                  </a:lnTo>
                  <a:lnTo>
                    <a:pt x="4017" y="126"/>
                  </a:lnTo>
                  <a:lnTo>
                    <a:pt x="3996" y="147"/>
                  </a:lnTo>
                  <a:lnTo>
                    <a:pt x="4059" y="231"/>
                  </a:lnTo>
                  <a:lnTo>
                    <a:pt x="4080" y="357"/>
                  </a:lnTo>
                  <a:lnTo>
                    <a:pt x="4289" y="671"/>
                  </a:lnTo>
                  <a:lnTo>
                    <a:pt x="4331" y="796"/>
                  </a:lnTo>
                  <a:lnTo>
                    <a:pt x="4331" y="1005"/>
                  </a:lnTo>
                  <a:lnTo>
                    <a:pt x="4310" y="1089"/>
                  </a:lnTo>
                  <a:lnTo>
                    <a:pt x="4373" y="1277"/>
                  </a:lnTo>
                  <a:lnTo>
                    <a:pt x="4415" y="1382"/>
                  </a:lnTo>
                  <a:lnTo>
                    <a:pt x="4415" y="1424"/>
                  </a:lnTo>
                  <a:lnTo>
                    <a:pt x="4373" y="1424"/>
                  </a:lnTo>
                  <a:lnTo>
                    <a:pt x="4289" y="1528"/>
                  </a:lnTo>
                  <a:lnTo>
                    <a:pt x="4310" y="1633"/>
                  </a:lnTo>
                  <a:lnTo>
                    <a:pt x="4373" y="1738"/>
                  </a:lnTo>
                  <a:lnTo>
                    <a:pt x="4394" y="1800"/>
                  </a:lnTo>
                  <a:lnTo>
                    <a:pt x="4457" y="1821"/>
                  </a:lnTo>
                  <a:lnTo>
                    <a:pt x="4478" y="1905"/>
                  </a:lnTo>
                  <a:lnTo>
                    <a:pt x="4457" y="1926"/>
                  </a:lnTo>
                  <a:lnTo>
                    <a:pt x="4457" y="2010"/>
                  </a:lnTo>
                  <a:lnTo>
                    <a:pt x="4394" y="2051"/>
                  </a:lnTo>
                  <a:lnTo>
                    <a:pt x="4206" y="2031"/>
                  </a:lnTo>
                  <a:lnTo>
                    <a:pt x="4017" y="1926"/>
                  </a:lnTo>
                  <a:lnTo>
                    <a:pt x="3955" y="1947"/>
                  </a:lnTo>
                  <a:lnTo>
                    <a:pt x="3892" y="2031"/>
                  </a:lnTo>
                  <a:lnTo>
                    <a:pt x="3913" y="2093"/>
                  </a:lnTo>
                  <a:lnTo>
                    <a:pt x="3976" y="2093"/>
                  </a:lnTo>
                  <a:lnTo>
                    <a:pt x="4080" y="2156"/>
                  </a:lnTo>
                  <a:lnTo>
                    <a:pt x="4080" y="2219"/>
                  </a:lnTo>
                  <a:lnTo>
                    <a:pt x="4017" y="2261"/>
                  </a:lnTo>
                  <a:lnTo>
                    <a:pt x="3976" y="2365"/>
                  </a:lnTo>
                  <a:lnTo>
                    <a:pt x="3892" y="2407"/>
                  </a:lnTo>
                  <a:lnTo>
                    <a:pt x="3871" y="2449"/>
                  </a:lnTo>
                  <a:lnTo>
                    <a:pt x="3787" y="2470"/>
                  </a:lnTo>
                  <a:lnTo>
                    <a:pt x="3745" y="2575"/>
                  </a:lnTo>
                  <a:lnTo>
                    <a:pt x="3766" y="2679"/>
                  </a:lnTo>
                  <a:lnTo>
                    <a:pt x="3766" y="2847"/>
                  </a:lnTo>
                  <a:lnTo>
                    <a:pt x="3787" y="2930"/>
                  </a:lnTo>
                  <a:lnTo>
                    <a:pt x="3871" y="2930"/>
                  </a:lnTo>
                  <a:lnTo>
                    <a:pt x="3976" y="2993"/>
                  </a:lnTo>
                  <a:lnTo>
                    <a:pt x="4059" y="3077"/>
                  </a:lnTo>
                  <a:lnTo>
                    <a:pt x="4122" y="3286"/>
                  </a:lnTo>
                  <a:lnTo>
                    <a:pt x="4164" y="3495"/>
                  </a:lnTo>
                  <a:lnTo>
                    <a:pt x="4122" y="3516"/>
                  </a:lnTo>
                  <a:lnTo>
                    <a:pt x="4185" y="3621"/>
                  </a:lnTo>
                  <a:lnTo>
                    <a:pt x="4289" y="3684"/>
                  </a:lnTo>
                  <a:lnTo>
                    <a:pt x="4415" y="3516"/>
                  </a:lnTo>
                  <a:lnTo>
                    <a:pt x="4478" y="3412"/>
                  </a:lnTo>
                  <a:lnTo>
                    <a:pt x="4478" y="3349"/>
                  </a:lnTo>
                  <a:lnTo>
                    <a:pt x="4520" y="3286"/>
                  </a:lnTo>
                  <a:lnTo>
                    <a:pt x="4540" y="3286"/>
                  </a:lnTo>
                  <a:cubicBezTo>
                    <a:pt x="4624" y="3370"/>
                    <a:pt x="4708" y="3453"/>
                    <a:pt x="4729" y="3558"/>
                  </a:cubicBezTo>
                  <a:lnTo>
                    <a:pt x="4729" y="3579"/>
                  </a:lnTo>
                  <a:lnTo>
                    <a:pt x="4687" y="3704"/>
                  </a:lnTo>
                  <a:lnTo>
                    <a:pt x="4687" y="3809"/>
                  </a:lnTo>
                  <a:lnTo>
                    <a:pt x="4729" y="3872"/>
                  </a:lnTo>
                  <a:lnTo>
                    <a:pt x="4792" y="3830"/>
                  </a:lnTo>
                  <a:lnTo>
                    <a:pt x="4917" y="3725"/>
                  </a:lnTo>
                  <a:lnTo>
                    <a:pt x="4980" y="3872"/>
                  </a:lnTo>
                  <a:lnTo>
                    <a:pt x="4917" y="3976"/>
                  </a:lnTo>
                  <a:lnTo>
                    <a:pt x="4833" y="4018"/>
                  </a:lnTo>
                  <a:lnTo>
                    <a:pt x="4771" y="3976"/>
                  </a:lnTo>
                  <a:lnTo>
                    <a:pt x="4792" y="4102"/>
                  </a:lnTo>
                  <a:lnTo>
                    <a:pt x="4729" y="4144"/>
                  </a:lnTo>
                  <a:lnTo>
                    <a:pt x="4666" y="4123"/>
                  </a:lnTo>
                  <a:lnTo>
                    <a:pt x="4624" y="4018"/>
                  </a:lnTo>
                  <a:lnTo>
                    <a:pt x="4603" y="3914"/>
                  </a:lnTo>
                  <a:lnTo>
                    <a:pt x="4582" y="3872"/>
                  </a:lnTo>
                  <a:lnTo>
                    <a:pt x="4499" y="3893"/>
                  </a:lnTo>
                  <a:lnTo>
                    <a:pt x="4457" y="3872"/>
                  </a:lnTo>
                  <a:lnTo>
                    <a:pt x="4415" y="3976"/>
                  </a:lnTo>
                  <a:lnTo>
                    <a:pt x="4478" y="4123"/>
                  </a:lnTo>
                  <a:lnTo>
                    <a:pt x="4478" y="4228"/>
                  </a:lnTo>
                  <a:lnTo>
                    <a:pt x="4394" y="4248"/>
                  </a:lnTo>
                  <a:lnTo>
                    <a:pt x="4310" y="4353"/>
                  </a:lnTo>
                  <a:lnTo>
                    <a:pt x="4310" y="4416"/>
                  </a:lnTo>
                  <a:lnTo>
                    <a:pt x="4457" y="4562"/>
                  </a:lnTo>
                  <a:lnTo>
                    <a:pt x="4499" y="4646"/>
                  </a:lnTo>
                  <a:lnTo>
                    <a:pt x="4457" y="4813"/>
                  </a:lnTo>
                  <a:lnTo>
                    <a:pt x="4373" y="4855"/>
                  </a:lnTo>
                  <a:lnTo>
                    <a:pt x="4289" y="4834"/>
                  </a:lnTo>
                  <a:lnTo>
                    <a:pt x="4268" y="4876"/>
                  </a:lnTo>
                  <a:lnTo>
                    <a:pt x="4352" y="4981"/>
                  </a:lnTo>
                  <a:lnTo>
                    <a:pt x="4415" y="4960"/>
                  </a:lnTo>
                  <a:lnTo>
                    <a:pt x="4499" y="4876"/>
                  </a:lnTo>
                  <a:lnTo>
                    <a:pt x="4603" y="5148"/>
                  </a:lnTo>
                  <a:lnTo>
                    <a:pt x="4666" y="5441"/>
                  </a:lnTo>
                  <a:lnTo>
                    <a:pt x="4624" y="5588"/>
                  </a:lnTo>
                  <a:lnTo>
                    <a:pt x="4624" y="5860"/>
                  </a:lnTo>
                  <a:lnTo>
                    <a:pt x="4520" y="6236"/>
                  </a:lnTo>
                  <a:lnTo>
                    <a:pt x="4561" y="6404"/>
                  </a:lnTo>
                  <a:lnTo>
                    <a:pt x="4499" y="6592"/>
                  </a:lnTo>
                  <a:lnTo>
                    <a:pt x="4373" y="6655"/>
                  </a:lnTo>
                  <a:lnTo>
                    <a:pt x="4310" y="6843"/>
                  </a:lnTo>
                  <a:lnTo>
                    <a:pt x="4310" y="7031"/>
                  </a:lnTo>
                  <a:lnTo>
                    <a:pt x="4248" y="7136"/>
                  </a:lnTo>
                  <a:lnTo>
                    <a:pt x="4206" y="7241"/>
                  </a:lnTo>
                  <a:lnTo>
                    <a:pt x="4080" y="7366"/>
                  </a:lnTo>
                  <a:lnTo>
                    <a:pt x="3829" y="7533"/>
                  </a:lnTo>
                  <a:lnTo>
                    <a:pt x="3724" y="7554"/>
                  </a:lnTo>
                  <a:lnTo>
                    <a:pt x="3662" y="7659"/>
                  </a:lnTo>
                  <a:lnTo>
                    <a:pt x="3536" y="7575"/>
                  </a:lnTo>
                  <a:lnTo>
                    <a:pt x="3411" y="7429"/>
                  </a:lnTo>
                  <a:lnTo>
                    <a:pt x="3411" y="7345"/>
                  </a:lnTo>
                  <a:lnTo>
                    <a:pt x="3452" y="7324"/>
                  </a:lnTo>
                  <a:lnTo>
                    <a:pt x="3515" y="7220"/>
                  </a:lnTo>
                  <a:lnTo>
                    <a:pt x="3515" y="7157"/>
                  </a:lnTo>
                  <a:lnTo>
                    <a:pt x="3578" y="7073"/>
                  </a:lnTo>
                  <a:lnTo>
                    <a:pt x="3578" y="7052"/>
                  </a:lnTo>
                  <a:lnTo>
                    <a:pt x="3452" y="7073"/>
                  </a:lnTo>
                  <a:lnTo>
                    <a:pt x="3348" y="7178"/>
                  </a:lnTo>
                  <a:lnTo>
                    <a:pt x="3222" y="7241"/>
                  </a:lnTo>
                  <a:lnTo>
                    <a:pt x="3201" y="7345"/>
                  </a:lnTo>
                  <a:lnTo>
                    <a:pt x="3264" y="7471"/>
                  </a:lnTo>
                  <a:lnTo>
                    <a:pt x="3306" y="7722"/>
                  </a:lnTo>
                  <a:lnTo>
                    <a:pt x="3264" y="7868"/>
                  </a:lnTo>
                  <a:lnTo>
                    <a:pt x="3139" y="7994"/>
                  </a:lnTo>
                  <a:lnTo>
                    <a:pt x="3139" y="8077"/>
                  </a:lnTo>
                  <a:lnTo>
                    <a:pt x="3076" y="8119"/>
                  </a:lnTo>
                  <a:lnTo>
                    <a:pt x="3055" y="8329"/>
                  </a:lnTo>
                  <a:lnTo>
                    <a:pt x="3118" y="8391"/>
                  </a:lnTo>
                  <a:lnTo>
                    <a:pt x="3118" y="8475"/>
                  </a:lnTo>
                  <a:lnTo>
                    <a:pt x="3076" y="8496"/>
                  </a:lnTo>
                  <a:lnTo>
                    <a:pt x="3118" y="8517"/>
                  </a:lnTo>
                  <a:lnTo>
                    <a:pt x="3076" y="8601"/>
                  </a:lnTo>
                  <a:lnTo>
                    <a:pt x="3034" y="8601"/>
                  </a:lnTo>
                  <a:lnTo>
                    <a:pt x="3055" y="8642"/>
                  </a:lnTo>
                  <a:lnTo>
                    <a:pt x="2992" y="8684"/>
                  </a:lnTo>
                  <a:lnTo>
                    <a:pt x="2929" y="8621"/>
                  </a:lnTo>
                  <a:lnTo>
                    <a:pt x="2846" y="8684"/>
                  </a:lnTo>
                  <a:lnTo>
                    <a:pt x="2804" y="8642"/>
                  </a:lnTo>
                  <a:lnTo>
                    <a:pt x="2762" y="8517"/>
                  </a:lnTo>
                  <a:lnTo>
                    <a:pt x="2741" y="8496"/>
                  </a:lnTo>
                  <a:lnTo>
                    <a:pt x="2657" y="8538"/>
                  </a:lnTo>
                  <a:lnTo>
                    <a:pt x="2595" y="8538"/>
                  </a:lnTo>
                  <a:lnTo>
                    <a:pt x="2553" y="8517"/>
                  </a:lnTo>
                  <a:lnTo>
                    <a:pt x="2302" y="8601"/>
                  </a:lnTo>
                  <a:lnTo>
                    <a:pt x="2176" y="8642"/>
                  </a:lnTo>
                  <a:lnTo>
                    <a:pt x="2030" y="8705"/>
                  </a:lnTo>
                  <a:lnTo>
                    <a:pt x="1883" y="8705"/>
                  </a:lnTo>
                  <a:lnTo>
                    <a:pt x="1758" y="8747"/>
                  </a:lnTo>
                  <a:lnTo>
                    <a:pt x="1695" y="8726"/>
                  </a:lnTo>
                  <a:lnTo>
                    <a:pt x="1569" y="8747"/>
                  </a:lnTo>
                  <a:lnTo>
                    <a:pt x="1360" y="8914"/>
                  </a:lnTo>
                  <a:lnTo>
                    <a:pt x="1297" y="9040"/>
                  </a:lnTo>
                  <a:lnTo>
                    <a:pt x="1235" y="9082"/>
                  </a:lnTo>
                  <a:lnTo>
                    <a:pt x="1193" y="9165"/>
                  </a:lnTo>
                  <a:lnTo>
                    <a:pt x="1046" y="9354"/>
                  </a:lnTo>
                  <a:lnTo>
                    <a:pt x="942" y="9375"/>
                  </a:lnTo>
                  <a:lnTo>
                    <a:pt x="858" y="9479"/>
                  </a:lnTo>
                  <a:lnTo>
                    <a:pt x="837" y="9563"/>
                  </a:lnTo>
                  <a:lnTo>
                    <a:pt x="753" y="9647"/>
                  </a:lnTo>
                  <a:lnTo>
                    <a:pt x="607" y="9668"/>
                  </a:lnTo>
                  <a:lnTo>
                    <a:pt x="544" y="9751"/>
                  </a:lnTo>
                  <a:lnTo>
                    <a:pt x="565" y="9940"/>
                  </a:lnTo>
                  <a:lnTo>
                    <a:pt x="628" y="9961"/>
                  </a:lnTo>
                  <a:lnTo>
                    <a:pt x="649" y="10002"/>
                  </a:lnTo>
                  <a:lnTo>
                    <a:pt x="628" y="10065"/>
                  </a:lnTo>
                  <a:lnTo>
                    <a:pt x="607" y="10044"/>
                  </a:lnTo>
                  <a:lnTo>
                    <a:pt x="481" y="10149"/>
                  </a:lnTo>
                  <a:lnTo>
                    <a:pt x="439" y="10212"/>
                  </a:lnTo>
                  <a:lnTo>
                    <a:pt x="377" y="10274"/>
                  </a:lnTo>
                  <a:lnTo>
                    <a:pt x="272" y="10379"/>
                  </a:lnTo>
                  <a:lnTo>
                    <a:pt x="209" y="10463"/>
                  </a:lnTo>
                  <a:lnTo>
                    <a:pt x="105" y="10463"/>
                  </a:lnTo>
                  <a:lnTo>
                    <a:pt x="0" y="10505"/>
                  </a:lnTo>
                  <a:lnTo>
                    <a:pt x="105" y="10505"/>
                  </a:lnTo>
                  <a:lnTo>
                    <a:pt x="167" y="10609"/>
                  </a:lnTo>
                  <a:lnTo>
                    <a:pt x="209" y="10735"/>
                  </a:lnTo>
                  <a:lnTo>
                    <a:pt x="167" y="10777"/>
                  </a:lnTo>
                  <a:lnTo>
                    <a:pt x="126" y="10693"/>
                  </a:lnTo>
                  <a:lnTo>
                    <a:pt x="84" y="10609"/>
                  </a:lnTo>
                  <a:lnTo>
                    <a:pt x="63" y="10714"/>
                  </a:lnTo>
                  <a:lnTo>
                    <a:pt x="84" y="10818"/>
                  </a:lnTo>
                  <a:lnTo>
                    <a:pt x="167" y="10839"/>
                  </a:lnTo>
                  <a:lnTo>
                    <a:pt x="167" y="10923"/>
                  </a:lnTo>
                  <a:lnTo>
                    <a:pt x="126" y="11007"/>
                  </a:lnTo>
                  <a:lnTo>
                    <a:pt x="126" y="11007"/>
                  </a:lnTo>
                  <a:lnTo>
                    <a:pt x="188" y="10965"/>
                  </a:lnTo>
                  <a:lnTo>
                    <a:pt x="230" y="10902"/>
                  </a:lnTo>
                  <a:lnTo>
                    <a:pt x="314" y="10860"/>
                  </a:lnTo>
                  <a:lnTo>
                    <a:pt x="377" y="10902"/>
                  </a:lnTo>
                  <a:lnTo>
                    <a:pt x="314" y="10944"/>
                  </a:lnTo>
                  <a:lnTo>
                    <a:pt x="377" y="10965"/>
                  </a:lnTo>
                  <a:lnTo>
                    <a:pt x="439" y="10944"/>
                  </a:lnTo>
                  <a:lnTo>
                    <a:pt x="439" y="10839"/>
                  </a:lnTo>
                  <a:lnTo>
                    <a:pt x="398" y="10798"/>
                  </a:lnTo>
                  <a:lnTo>
                    <a:pt x="293" y="10818"/>
                  </a:lnTo>
                  <a:lnTo>
                    <a:pt x="293" y="10777"/>
                  </a:lnTo>
                  <a:lnTo>
                    <a:pt x="314" y="10714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439" y="10609"/>
                  </a:lnTo>
                  <a:lnTo>
                    <a:pt x="544" y="10798"/>
                  </a:lnTo>
                  <a:lnTo>
                    <a:pt x="586" y="10923"/>
                  </a:lnTo>
                  <a:lnTo>
                    <a:pt x="628" y="10986"/>
                  </a:lnTo>
                  <a:lnTo>
                    <a:pt x="628" y="11153"/>
                  </a:lnTo>
                  <a:lnTo>
                    <a:pt x="544" y="11342"/>
                  </a:lnTo>
                  <a:lnTo>
                    <a:pt x="439" y="11342"/>
                  </a:lnTo>
                  <a:lnTo>
                    <a:pt x="481" y="11383"/>
                  </a:lnTo>
                  <a:lnTo>
                    <a:pt x="544" y="11551"/>
                  </a:lnTo>
                  <a:lnTo>
                    <a:pt x="586" y="11760"/>
                  </a:lnTo>
                  <a:lnTo>
                    <a:pt x="691" y="11865"/>
                  </a:lnTo>
                  <a:lnTo>
                    <a:pt x="691" y="11969"/>
                  </a:lnTo>
                  <a:lnTo>
                    <a:pt x="628" y="12011"/>
                  </a:lnTo>
                  <a:lnTo>
                    <a:pt x="711" y="12095"/>
                  </a:lnTo>
                  <a:lnTo>
                    <a:pt x="795" y="12095"/>
                  </a:lnTo>
                  <a:lnTo>
                    <a:pt x="858" y="12158"/>
                  </a:lnTo>
                  <a:lnTo>
                    <a:pt x="900" y="12095"/>
                  </a:lnTo>
                  <a:lnTo>
                    <a:pt x="900" y="12053"/>
                  </a:lnTo>
                  <a:lnTo>
                    <a:pt x="816" y="11906"/>
                  </a:lnTo>
                  <a:lnTo>
                    <a:pt x="816" y="11739"/>
                  </a:lnTo>
                  <a:lnTo>
                    <a:pt x="858" y="11676"/>
                  </a:lnTo>
                  <a:lnTo>
                    <a:pt x="921" y="11739"/>
                  </a:lnTo>
                  <a:lnTo>
                    <a:pt x="900" y="11781"/>
                  </a:lnTo>
                  <a:lnTo>
                    <a:pt x="900" y="11844"/>
                  </a:lnTo>
                  <a:lnTo>
                    <a:pt x="963" y="11948"/>
                  </a:lnTo>
                  <a:lnTo>
                    <a:pt x="1004" y="12095"/>
                  </a:lnTo>
                  <a:lnTo>
                    <a:pt x="963" y="12199"/>
                  </a:lnTo>
                  <a:lnTo>
                    <a:pt x="1004" y="12283"/>
                  </a:lnTo>
                  <a:lnTo>
                    <a:pt x="1109" y="12220"/>
                  </a:lnTo>
                  <a:lnTo>
                    <a:pt x="1214" y="12074"/>
                  </a:lnTo>
                  <a:lnTo>
                    <a:pt x="1109" y="11969"/>
                  </a:lnTo>
                  <a:lnTo>
                    <a:pt x="1109" y="11906"/>
                  </a:lnTo>
                  <a:lnTo>
                    <a:pt x="1151" y="11886"/>
                  </a:lnTo>
                  <a:lnTo>
                    <a:pt x="1235" y="11906"/>
                  </a:lnTo>
                  <a:lnTo>
                    <a:pt x="1276" y="11948"/>
                  </a:lnTo>
                  <a:lnTo>
                    <a:pt x="1318" y="11844"/>
                  </a:lnTo>
                  <a:lnTo>
                    <a:pt x="1318" y="11655"/>
                  </a:lnTo>
                  <a:lnTo>
                    <a:pt x="1276" y="11572"/>
                  </a:lnTo>
                  <a:lnTo>
                    <a:pt x="1276" y="11237"/>
                  </a:lnTo>
                  <a:lnTo>
                    <a:pt x="1276" y="11049"/>
                  </a:lnTo>
                  <a:lnTo>
                    <a:pt x="1339" y="10944"/>
                  </a:lnTo>
                  <a:lnTo>
                    <a:pt x="1444" y="10839"/>
                  </a:lnTo>
                  <a:lnTo>
                    <a:pt x="1423" y="10777"/>
                  </a:lnTo>
                  <a:lnTo>
                    <a:pt x="1360" y="10735"/>
                  </a:lnTo>
                  <a:lnTo>
                    <a:pt x="1360" y="10630"/>
                  </a:lnTo>
                  <a:lnTo>
                    <a:pt x="1318" y="10630"/>
                  </a:lnTo>
                  <a:lnTo>
                    <a:pt x="1339" y="10567"/>
                  </a:lnTo>
                  <a:lnTo>
                    <a:pt x="1151" y="10567"/>
                  </a:lnTo>
                  <a:lnTo>
                    <a:pt x="1130" y="10505"/>
                  </a:lnTo>
                  <a:lnTo>
                    <a:pt x="1235" y="10463"/>
                  </a:lnTo>
                  <a:lnTo>
                    <a:pt x="1255" y="10379"/>
                  </a:lnTo>
                  <a:lnTo>
                    <a:pt x="1235" y="10212"/>
                  </a:lnTo>
                  <a:lnTo>
                    <a:pt x="1151" y="10170"/>
                  </a:lnTo>
                  <a:lnTo>
                    <a:pt x="1067" y="10191"/>
                  </a:lnTo>
                  <a:lnTo>
                    <a:pt x="1067" y="10212"/>
                  </a:lnTo>
                  <a:lnTo>
                    <a:pt x="1004" y="10274"/>
                  </a:lnTo>
                  <a:lnTo>
                    <a:pt x="921" y="10274"/>
                  </a:lnTo>
                  <a:lnTo>
                    <a:pt x="795" y="10149"/>
                  </a:lnTo>
                  <a:lnTo>
                    <a:pt x="816" y="10065"/>
                  </a:lnTo>
                  <a:lnTo>
                    <a:pt x="1004" y="9982"/>
                  </a:lnTo>
                  <a:lnTo>
                    <a:pt x="1151" y="9961"/>
                  </a:lnTo>
                  <a:lnTo>
                    <a:pt x="1339" y="10002"/>
                  </a:lnTo>
                  <a:lnTo>
                    <a:pt x="1423" y="10065"/>
                  </a:lnTo>
                  <a:lnTo>
                    <a:pt x="1444" y="10002"/>
                  </a:lnTo>
                  <a:lnTo>
                    <a:pt x="1444" y="9940"/>
                  </a:lnTo>
                  <a:lnTo>
                    <a:pt x="1444" y="9835"/>
                  </a:lnTo>
                  <a:lnTo>
                    <a:pt x="1423" y="9751"/>
                  </a:lnTo>
                  <a:lnTo>
                    <a:pt x="1444" y="9689"/>
                  </a:lnTo>
                  <a:lnTo>
                    <a:pt x="1527" y="9689"/>
                  </a:lnTo>
                  <a:lnTo>
                    <a:pt x="1569" y="9772"/>
                  </a:lnTo>
                  <a:lnTo>
                    <a:pt x="1653" y="9772"/>
                  </a:lnTo>
                  <a:lnTo>
                    <a:pt x="1758" y="9730"/>
                  </a:lnTo>
                  <a:lnTo>
                    <a:pt x="1946" y="9689"/>
                  </a:lnTo>
                  <a:lnTo>
                    <a:pt x="2113" y="9647"/>
                  </a:lnTo>
                  <a:lnTo>
                    <a:pt x="2218" y="9647"/>
                  </a:lnTo>
                  <a:lnTo>
                    <a:pt x="2281" y="9668"/>
                  </a:lnTo>
                  <a:lnTo>
                    <a:pt x="2323" y="9647"/>
                  </a:lnTo>
                  <a:cubicBezTo>
                    <a:pt x="2323" y="9668"/>
                    <a:pt x="2364" y="9730"/>
                    <a:pt x="2364" y="9751"/>
                  </a:cubicBezTo>
                  <a:lnTo>
                    <a:pt x="2218" y="9856"/>
                  </a:lnTo>
                  <a:lnTo>
                    <a:pt x="2218" y="9940"/>
                  </a:lnTo>
                  <a:lnTo>
                    <a:pt x="2155" y="9877"/>
                  </a:lnTo>
                  <a:lnTo>
                    <a:pt x="2051" y="9898"/>
                  </a:lnTo>
                  <a:lnTo>
                    <a:pt x="1967" y="9961"/>
                  </a:lnTo>
                  <a:lnTo>
                    <a:pt x="1904" y="9940"/>
                  </a:lnTo>
                  <a:lnTo>
                    <a:pt x="1841" y="9772"/>
                  </a:lnTo>
                  <a:lnTo>
                    <a:pt x="1779" y="9772"/>
                  </a:lnTo>
                  <a:lnTo>
                    <a:pt x="1632" y="9961"/>
                  </a:lnTo>
                  <a:lnTo>
                    <a:pt x="1632" y="10065"/>
                  </a:lnTo>
                  <a:lnTo>
                    <a:pt x="1527" y="10128"/>
                  </a:lnTo>
                  <a:lnTo>
                    <a:pt x="1486" y="10233"/>
                  </a:lnTo>
                  <a:lnTo>
                    <a:pt x="1653" y="10295"/>
                  </a:lnTo>
                  <a:lnTo>
                    <a:pt x="1674" y="10400"/>
                  </a:lnTo>
                  <a:lnTo>
                    <a:pt x="1653" y="10421"/>
                  </a:lnTo>
                  <a:lnTo>
                    <a:pt x="1653" y="10484"/>
                  </a:lnTo>
                  <a:lnTo>
                    <a:pt x="1737" y="10609"/>
                  </a:lnTo>
                  <a:lnTo>
                    <a:pt x="1862" y="10630"/>
                  </a:lnTo>
                  <a:lnTo>
                    <a:pt x="1862" y="10714"/>
                  </a:lnTo>
                  <a:lnTo>
                    <a:pt x="1904" y="10735"/>
                  </a:lnTo>
                  <a:lnTo>
                    <a:pt x="1946" y="10693"/>
                  </a:lnTo>
                  <a:lnTo>
                    <a:pt x="2009" y="10714"/>
                  </a:lnTo>
                  <a:lnTo>
                    <a:pt x="2072" y="10693"/>
                  </a:lnTo>
                  <a:lnTo>
                    <a:pt x="2072" y="10609"/>
                  </a:lnTo>
                  <a:lnTo>
                    <a:pt x="1967" y="10505"/>
                  </a:lnTo>
                  <a:lnTo>
                    <a:pt x="2009" y="10400"/>
                  </a:lnTo>
                  <a:lnTo>
                    <a:pt x="2072" y="10254"/>
                  </a:lnTo>
                  <a:lnTo>
                    <a:pt x="2197" y="10170"/>
                  </a:lnTo>
                  <a:lnTo>
                    <a:pt x="2218" y="10107"/>
                  </a:lnTo>
                  <a:lnTo>
                    <a:pt x="2364" y="10149"/>
                  </a:lnTo>
                  <a:lnTo>
                    <a:pt x="2511" y="10254"/>
                  </a:lnTo>
                  <a:lnTo>
                    <a:pt x="2574" y="10316"/>
                  </a:lnTo>
                  <a:lnTo>
                    <a:pt x="2636" y="10295"/>
                  </a:lnTo>
                  <a:lnTo>
                    <a:pt x="2699" y="10086"/>
                  </a:lnTo>
                  <a:lnTo>
                    <a:pt x="2825" y="9961"/>
                  </a:lnTo>
                  <a:lnTo>
                    <a:pt x="2825" y="9877"/>
                  </a:lnTo>
                  <a:lnTo>
                    <a:pt x="2783" y="9814"/>
                  </a:lnTo>
                  <a:lnTo>
                    <a:pt x="2741" y="9751"/>
                  </a:lnTo>
                  <a:lnTo>
                    <a:pt x="2616" y="9647"/>
                  </a:lnTo>
                  <a:lnTo>
                    <a:pt x="2532" y="9647"/>
                  </a:lnTo>
                  <a:lnTo>
                    <a:pt x="2469" y="9584"/>
                  </a:lnTo>
                  <a:lnTo>
                    <a:pt x="2302" y="9584"/>
                  </a:lnTo>
                  <a:cubicBezTo>
                    <a:pt x="2302" y="9563"/>
                    <a:pt x="2302" y="9521"/>
                    <a:pt x="2281" y="9479"/>
                  </a:cubicBezTo>
                  <a:lnTo>
                    <a:pt x="2281" y="9458"/>
                  </a:lnTo>
                  <a:lnTo>
                    <a:pt x="2406" y="9375"/>
                  </a:lnTo>
                  <a:lnTo>
                    <a:pt x="2427" y="9333"/>
                  </a:lnTo>
                  <a:lnTo>
                    <a:pt x="2574" y="9228"/>
                  </a:lnTo>
                  <a:lnTo>
                    <a:pt x="2699" y="9165"/>
                  </a:lnTo>
                  <a:lnTo>
                    <a:pt x="2888" y="9207"/>
                  </a:lnTo>
                  <a:lnTo>
                    <a:pt x="2992" y="9165"/>
                  </a:lnTo>
                  <a:lnTo>
                    <a:pt x="3034" y="9228"/>
                  </a:lnTo>
                  <a:lnTo>
                    <a:pt x="3034" y="9333"/>
                  </a:lnTo>
                  <a:lnTo>
                    <a:pt x="2950" y="9458"/>
                  </a:lnTo>
                  <a:lnTo>
                    <a:pt x="2929" y="9563"/>
                  </a:lnTo>
                  <a:lnTo>
                    <a:pt x="2992" y="9584"/>
                  </a:lnTo>
                  <a:lnTo>
                    <a:pt x="2992" y="9689"/>
                  </a:lnTo>
                  <a:lnTo>
                    <a:pt x="2992" y="9793"/>
                  </a:lnTo>
                  <a:lnTo>
                    <a:pt x="2950" y="9856"/>
                  </a:lnTo>
                  <a:lnTo>
                    <a:pt x="2992" y="9961"/>
                  </a:lnTo>
                  <a:lnTo>
                    <a:pt x="3097" y="10002"/>
                  </a:lnTo>
                  <a:lnTo>
                    <a:pt x="3243" y="10170"/>
                  </a:lnTo>
                  <a:lnTo>
                    <a:pt x="3348" y="10191"/>
                  </a:lnTo>
                  <a:lnTo>
                    <a:pt x="3432" y="10170"/>
                  </a:lnTo>
                  <a:lnTo>
                    <a:pt x="3536" y="10002"/>
                  </a:lnTo>
                  <a:lnTo>
                    <a:pt x="3536" y="9898"/>
                  </a:lnTo>
                  <a:lnTo>
                    <a:pt x="3578" y="9856"/>
                  </a:lnTo>
                  <a:lnTo>
                    <a:pt x="3620" y="9793"/>
                  </a:lnTo>
                  <a:lnTo>
                    <a:pt x="3578" y="9710"/>
                  </a:lnTo>
                  <a:lnTo>
                    <a:pt x="3662" y="9584"/>
                  </a:lnTo>
                  <a:lnTo>
                    <a:pt x="3766" y="9563"/>
                  </a:lnTo>
                  <a:lnTo>
                    <a:pt x="3850" y="9563"/>
                  </a:lnTo>
                  <a:lnTo>
                    <a:pt x="3871" y="9500"/>
                  </a:lnTo>
                  <a:lnTo>
                    <a:pt x="3850" y="9458"/>
                  </a:lnTo>
                  <a:lnTo>
                    <a:pt x="3829" y="9333"/>
                  </a:lnTo>
                  <a:lnTo>
                    <a:pt x="3620" y="9249"/>
                  </a:lnTo>
                  <a:lnTo>
                    <a:pt x="3578" y="9186"/>
                  </a:lnTo>
                  <a:lnTo>
                    <a:pt x="3641" y="9040"/>
                  </a:lnTo>
                  <a:lnTo>
                    <a:pt x="3724" y="8977"/>
                  </a:lnTo>
                  <a:lnTo>
                    <a:pt x="3766" y="8956"/>
                  </a:lnTo>
                  <a:lnTo>
                    <a:pt x="3745" y="9019"/>
                  </a:lnTo>
                  <a:lnTo>
                    <a:pt x="3745" y="9145"/>
                  </a:lnTo>
                  <a:lnTo>
                    <a:pt x="3787" y="9165"/>
                  </a:lnTo>
                  <a:lnTo>
                    <a:pt x="3850" y="9145"/>
                  </a:lnTo>
                  <a:lnTo>
                    <a:pt x="3871" y="9124"/>
                  </a:lnTo>
                  <a:lnTo>
                    <a:pt x="3955" y="9145"/>
                  </a:lnTo>
                  <a:lnTo>
                    <a:pt x="3996" y="9186"/>
                  </a:lnTo>
                  <a:lnTo>
                    <a:pt x="4059" y="9165"/>
                  </a:lnTo>
                  <a:lnTo>
                    <a:pt x="4101" y="9165"/>
                  </a:lnTo>
                  <a:lnTo>
                    <a:pt x="4080" y="9228"/>
                  </a:lnTo>
                  <a:lnTo>
                    <a:pt x="3976" y="9249"/>
                  </a:lnTo>
                  <a:lnTo>
                    <a:pt x="3976" y="9270"/>
                  </a:lnTo>
                  <a:lnTo>
                    <a:pt x="3996" y="9291"/>
                  </a:lnTo>
                  <a:lnTo>
                    <a:pt x="4080" y="9270"/>
                  </a:lnTo>
                  <a:lnTo>
                    <a:pt x="4206" y="9186"/>
                  </a:lnTo>
                  <a:lnTo>
                    <a:pt x="4499" y="9228"/>
                  </a:lnTo>
                  <a:lnTo>
                    <a:pt x="4666" y="9186"/>
                  </a:lnTo>
                  <a:lnTo>
                    <a:pt x="4603" y="9165"/>
                  </a:lnTo>
                  <a:lnTo>
                    <a:pt x="4582" y="9061"/>
                  </a:lnTo>
                  <a:lnTo>
                    <a:pt x="4603" y="8935"/>
                  </a:lnTo>
                  <a:lnTo>
                    <a:pt x="4729" y="8873"/>
                  </a:lnTo>
                  <a:lnTo>
                    <a:pt x="4833" y="8914"/>
                  </a:lnTo>
                  <a:lnTo>
                    <a:pt x="4875" y="9019"/>
                  </a:lnTo>
                  <a:lnTo>
                    <a:pt x="4833" y="9124"/>
                  </a:lnTo>
                  <a:lnTo>
                    <a:pt x="4896" y="9186"/>
                  </a:lnTo>
                  <a:lnTo>
                    <a:pt x="4980" y="9186"/>
                  </a:lnTo>
                  <a:lnTo>
                    <a:pt x="5043" y="9061"/>
                  </a:lnTo>
                  <a:lnTo>
                    <a:pt x="4980" y="8852"/>
                  </a:lnTo>
                  <a:lnTo>
                    <a:pt x="5001" y="8726"/>
                  </a:lnTo>
                  <a:lnTo>
                    <a:pt x="5126" y="8621"/>
                  </a:lnTo>
                  <a:lnTo>
                    <a:pt x="5210" y="8621"/>
                  </a:lnTo>
                  <a:lnTo>
                    <a:pt x="5231" y="8559"/>
                  </a:lnTo>
                  <a:lnTo>
                    <a:pt x="5189" y="8496"/>
                  </a:lnTo>
                  <a:lnTo>
                    <a:pt x="5210" y="8349"/>
                  </a:lnTo>
                  <a:lnTo>
                    <a:pt x="5294" y="8308"/>
                  </a:lnTo>
                  <a:lnTo>
                    <a:pt x="5398" y="8329"/>
                  </a:lnTo>
                  <a:lnTo>
                    <a:pt x="5419" y="8391"/>
                  </a:lnTo>
                  <a:lnTo>
                    <a:pt x="5357" y="8454"/>
                  </a:lnTo>
                  <a:lnTo>
                    <a:pt x="5336" y="8621"/>
                  </a:lnTo>
                  <a:lnTo>
                    <a:pt x="5357" y="8956"/>
                  </a:lnTo>
                  <a:lnTo>
                    <a:pt x="5419" y="8998"/>
                  </a:lnTo>
                  <a:lnTo>
                    <a:pt x="5503" y="8935"/>
                  </a:lnTo>
                  <a:lnTo>
                    <a:pt x="5545" y="8831"/>
                  </a:lnTo>
                  <a:lnTo>
                    <a:pt x="5649" y="8831"/>
                  </a:lnTo>
                  <a:lnTo>
                    <a:pt x="5754" y="8726"/>
                  </a:lnTo>
                  <a:lnTo>
                    <a:pt x="5817" y="8580"/>
                  </a:lnTo>
                  <a:lnTo>
                    <a:pt x="5775" y="8475"/>
                  </a:lnTo>
                  <a:lnTo>
                    <a:pt x="5921" y="8370"/>
                  </a:lnTo>
                  <a:lnTo>
                    <a:pt x="5880" y="8287"/>
                  </a:lnTo>
                  <a:lnTo>
                    <a:pt x="5838" y="8224"/>
                  </a:lnTo>
                  <a:lnTo>
                    <a:pt x="5712" y="8057"/>
                  </a:lnTo>
                  <a:lnTo>
                    <a:pt x="5649" y="7910"/>
                  </a:lnTo>
                  <a:lnTo>
                    <a:pt x="5629" y="7638"/>
                  </a:lnTo>
                  <a:lnTo>
                    <a:pt x="5670" y="7324"/>
                  </a:lnTo>
                  <a:lnTo>
                    <a:pt x="5670" y="7115"/>
                  </a:lnTo>
                  <a:lnTo>
                    <a:pt x="5566" y="6717"/>
                  </a:lnTo>
                  <a:lnTo>
                    <a:pt x="5440" y="6529"/>
                  </a:lnTo>
                  <a:lnTo>
                    <a:pt x="5440" y="6383"/>
                  </a:lnTo>
                  <a:lnTo>
                    <a:pt x="5461" y="6194"/>
                  </a:lnTo>
                  <a:lnTo>
                    <a:pt x="5649" y="6111"/>
                  </a:lnTo>
                  <a:lnTo>
                    <a:pt x="5733" y="6111"/>
                  </a:lnTo>
                  <a:lnTo>
                    <a:pt x="5775" y="6194"/>
                  </a:lnTo>
                  <a:lnTo>
                    <a:pt x="5817" y="6132"/>
                  </a:lnTo>
                  <a:lnTo>
                    <a:pt x="5775" y="6006"/>
                  </a:lnTo>
                  <a:lnTo>
                    <a:pt x="5754" y="5922"/>
                  </a:lnTo>
                  <a:lnTo>
                    <a:pt x="5733" y="5880"/>
                  </a:lnTo>
                  <a:lnTo>
                    <a:pt x="5712" y="5776"/>
                  </a:lnTo>
                  <a:lnTo>
                    <a:pt x="5712" y="5713"/>
                  </a:lnTo>
                  <a:lnTo>
                    <a:pt x="5712" y="5650"/>
                  </a:lnTo>
                  <a:lnTo>
                    <a:pt x="5754" y="5567"/>
                  </a:lnTo>
                  <a:lnTo>
                    <a:pt x="5754" y="5546"/>
                  </a:lnTo>
                  <a:lnTo>
                    <a:pt x="5754" y="5462"/>
                  </a:lnTo>
                  <a:lnTo>
                    <a:pt x="5733" y="5399"/>
                  </a:lnTo>
                  <a:lnTo>
                    <a:pt x="5733" y="5274"/>
                  </a:lnTo>
                  <a:lnTo>
                    <a:pt x="5754" y="5190"/>
                  </a:lnTo>
                  <a:lnTo>
                    <a:pt x="5712" y="5127"/>
                  </a:lnTo>
                  <a:lnTo>
                    <a:pt x="5670" y="4876"/>
                  </a:lnTo>
                  <a:lnTo>
                    <a:pt x="5566" y="4709"/>
                  </a:lnTo>
                  <a:lnTo>
                    <a:pt x="5545" y="4709"/>
                  </a:lnTo>
                  <a:lnTo>
                    <a:pt x="5503" y="4667"/>
                  </a:lnTo>
                  <a:lnTo>
                    <a:pt x="5503" y="4437"/>
                  </a:lnTo>
                  <a:lnTo>
                    <a:pt x="5398" y="4332"/>
                  </a:lnTo>
                  <a:lnTo>
                    <a:pt x="5147" y="4081"/>
                  </a:lnTo>
                  <a:lnTo>
                    <a:pt x="5105" y="3976"/>
                  </a:lnTo>
                  <a:lnTo>
                    <a:pt x="5043" y="3788"/>
                  </a:lnTo>
                  <a:lnTo>
                    <a:pt x="5043" y="3600"/>
                  </a:lnTo>
                  <a:lnTo>
                    <a:pt x="5043" y="3558"/>
                  </a:lnTo>
                  <a:lnTo>
                    <a:pt x="4980" y="3600"/>
                  </a:lnTo>
                  <a:lnTo>
                    <a:pt x="4917" y="3600"/>
                  </a:lnTo>
                  <a:lnTo>
                    <a:pt x="4896" y="3579"/>
                  </a:lnTo>
                  <a:lnTo>
                    <a:pt x="4896" y="3558"/>
                  </a:lnTo>
                  <a:cubicBezTo>
                    <a:pt x="4854" y="3474"/>
                    <a:pt x="4812" y="3412"/>
                    <a:pt x="4750" y="3349"/>
                  </a:cubicBezTo>
                  <a:lnTo>
                    <a:pt x="4792" y="3265"/>
                  </a:lnTo>
                  <a:lnTo>
                    <a:pt x="4854" y="3160"/>
                  </a:lnTo>
                  <a:lnTo>
                    <a:pt x="4812" y="3077"/>
                  </a:lnTo>
                  <a:lnTo>
                    <a:pt x="4687" y="3077"/>
                  </a:lnTo>
                  <a:lnTo>
                    <a:pt x="4540" y="3056"/>
                  </a:lnTo>
                  <a:lnTo>
                    <a:pt x="4394" y="2888"/>
                  </a:lnTo>
                  <a:lnTo>
                    <a:pt x="4268" y="2930"/>
                  </a:lnTo>
                  <a:lnTo>
                    <a:pt x="4122" y="2847"/>
                  </a:lnTo>
                  <a:lnTo>
                    <a:pt x="4101" y="2763"/>
                  </a:lnTo>
                  <a:lnTo>
                    <a:pt x="4101" y="2658"/>
                  </a:lnTo>
                  <a:lnTo>
                    <a:pt x="4185" y="2575"/>
                  </a:lnTo>
                  <a:lnTo>
                    <a:pt x="4268" y="2575"/>
                  </a:lnTo>
                  <a:lnTo>
                    <a:pt x="4415" y="2679"/>
                  </a:lnTo>
                  <a:lnTo>
                    <a:pt x="4478" y="2721"/>
                  </a:lnTo>
                  <a:lnTo>
                    <a:pt x="4603" y="2533"/>
                  </a:lnTo>
                  <a:lnTo>
                    <a:pt x="4729" y="2428"/>
                  </a:lnTo>
                  <a:lnTo>
                    <a:pt x="4833" y="2428"/>
                  </a:lnTo>
                  <a:lnTo>
                    <a:pt x="4896" y="2470"/>
                  </a:lnTo>
                  <a:lnTo>
                    <a:pt x="4959" y="2512"/>
                  </a:lnTo>
                  <a:lnTo>
                    <a:pt x="5064" y="2470"/>
                  </a:lnTo>
                  <a:lnTo>
                    <a:pt x="5168" y="2575"/>
                  </a:lnTo>
                  <a:lnTo>
                    <a:pt x="5336" y="2721"/>
                  </a:lnTo>
                  <a:lnTo>
                    <a:pt x="5524" y="2784"/>
                  </a:lnTo>
                  <a:lnTo>
                    <a:pt x="5691" y="2847"/>
                  </a:lnTo>
                  <a:lnTo>
                    <a:pt x="5754" y="2930"/>
                  </a:lnTo>
                  <a:lnTo>
                    <a:pt x="5859" y="2972"/>
                  </a:lnTo>
                  <a:lnTo>
                    <a:pt x="5859" y="2888"/>
                  </a:lnTo>
                  <a:lnTo>
                    <a:pt x="5880" y="2784"/>
                  </a:lnTo>
                  <a:lnTo>
                    <a:pt x="5859" y="2658"/>
                  </a:lnTo>
                  <a:lnTo>
                    <a:pt x="5880" y="2470"/>
                  </a:lnTo>
                  <a:lnTo>
                    <a:pt x="5942" y="2240"/>
                  </a:lnTo>
                  <a:lnTo>
                    <a:pt x="6089" y="2031"/>
                  </a:lnTo>
                  <a:lnTo>
                    <a:pt x="6193" y="2010"/>
                  </a:lnTo>
                  <a:lnTo>
                    <a:pt x="6298" y="2031"/>
                  </a:lnTo>
                  <a:lnTo>
                    <a:pt x="6465" y="2031"/>
                  </a:lnTo>
                  <a:lnTo>
                    <a:pt x="6465" y="1989"/>
                  </a:lnTo>
                  <a:lnTo>
                    <a:pt x="6528" y="1926"/>
                  </a:lnTo>
                  <a:lnTo>
                    <a:pt x="6591" y="1947"/>
                  </a:lnTo>
                  <a:lnTo>
                    <a:pt x="6675" y="1947"/>
                  </a:lnTo>
                  <a:lnTo>
                    <a:pt x="6717" y="1905"/>
                  </a:lnTo>
                  <a:lnTo>
                    <a:pt x="6737" y="1821"/>
                  </a:lnTo>
                  <a:lnTo>
                    <a:pt x="6842" y="1779"/>
                  </a:lnTo>
                  <a:lnTo>
                    <a:pt x="6926" y="1717"/>
                  </a:lnTo>
                  <a:lnTo>
                    <a:pt x="6926" y="1612"/>
                  </a:lnTo>
                  <a:lnTo>
                    <a:pt x="6989" y="1591"/>
                  </a:lnTo>
                  <a:lnTo>
                    <a:pt x="7009" y="1507"/>
                  </a:lnTo>
                  <a:lnTo>
                    <a:pt x="6926" y="1507"/>
                  </a:lnTo>
                  <a:lnTo>
                    <a:pt x="6863" y="1591"/>
                  </a:lnTo>
                  <a:lnTo>
                    <a:pt x="6800" y="1675"/>
                  </a:lnTo>
                  <a:lnTo>
                    <a:pt x="6717" y="1675"/>
                  </a:lnTo>
                  <a:lnTo>
                    <a:pt x="6717" y="1612"/>
                  </a:lnTo>
                  <a:lnTo>
                    <a:pt x="6717" y="1528"/>
                  </a:lnTo>
                  <a:lnTo>
                    <a:pt x="6612" y="1403"/>
                  </a:lnTo>
                  <a:lnTo>
                    <a:pt x="6486" y="1319"/>
                  </a:lnTo>
                  <a:lnTo>
                    <a:pt x="6445" y="1277"/>
                  </a:lnTo>
                  <a:lnTo>
                    <a:pt x="6445" y="1110"/>
                  </a:lnTo>
                  <a:lnTo>
                    <a:pt x="6486" y="943"/>
                  </a:lnTo>
                  <a:lnTo>
                    <a:pt x="6486" y="838"/>
                  </a:lnTo>
                  <a:lnTo>
                    <a:pt x="6465" y="775"/>
                  </a:lnTo>
                  <a:lnTo>
                    <a:pt x="6445" y="796"/>
                  </a:lnTo>
                  <a:lnTo>
                    <a:pt x="6403" y="901"/>
                  </a:lnTo>
                  <a:lnTo>
                    <a:pt x="6298" y="1047"/>
                  </a:lnTo>
                  <a:lnTo>
                    <a:pt x="6131" y="1173"/>
                  </a:lnTo>
                  <a:lnTo>
                    <a:pt x="5963" y="1194"/>
                  </a:lnTo>
                  <a:lnTo>
                    <a:pt x="5901" y="1173"/>
                  </a:lnTo>
                  <a:lnTo>
                    <a:pt x="5838" y="1194"/>
                  </a:lnTo>
                  <a:lnTo>
                    <a:pt x="5733" y="1089"/>
                  </a:lnTo>
                  <a:lnTo>
                    <a:pt x="5608" y="1068"/>
                  </a:lnTo>
                  <a:lnTo>
                    <a:pt x="5419" y="984"/>
                  </a:lnTo>
                  <a:lnTo>
                    <a:pt x="5315" y="880"/>
                  </a:lnTo>
                  <a:lnTo>
                    <a:pt x="5210" y="859"/>
                  </a:lnTo>
                  <a:lnTo>
                    <a:pt x="5147" y="775"/>
                  </a:lnTo>
                  <a:lnTo>
                    <a:pt x="5001" y="671"/>
                  </a:lnTo>
                  <a:lnTo>
                    <a:pt x="4729" y="419"/>
                  </a:lnTo>
                  <a:lnTo>
                    <a:pt x="4645" y="252"/>
                  </a:lnTo>
                  <a:lnTo>
                    <a:pt x="4499" y="231"/>
                  </a:lnTo>
                  <a:lnTo>
                    <a:pt x="4310" y="64"/>
                  </a:lnTo>
                  <a:lnTo>
                    <a:pt x="4268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8" name="Google Shape;818;p34"/>
            <p:cNvSpPr/>
            <p:nvPr/>
          </p:nvSpPr>
          <p:spPr>
            <a:xfrm>
              <a:off x="4580490" y="2850992"/>
              <a:ext cx="28661" cy="38087"/>
            </a:xfrm>
            <a:custGeom>
              <a:avLst/>
              <a:gdLst/>
              <a:ahLst/>
              <a:cxnLst/>
              <a:rect l="l" t="t" r="r" b="b"/>
              <a:pathLst>
                <a:path w="2407" h="3349" extrusionOk="0">
                  <a:moveTo>
                    <a:pt x="1256" y="1"/>
                  </a:moveTo>
                  <a:lnTo>
                    <a:pt x="1005" y="126"/>
                  </a:lnTo>
                  <a:lnTo>
                    <a:pt x="628" y="189"/>
                  </a:lnTo>
                  <a:lnTo>
                    <a:pt x="419" y="377"/>
                  </a:lnTo>
                  <a:lnTo>
                    <a:pt x="210" y="419"/>
                  </a:lnTo>
                  <a:lnTo>
                    <a:pt x="21" y="586"/>
                  </a:lnTo>
                  <a:lnTo>
                    <a:pt x="0" y="712"/>
                  </a:lnTo>
                  <a:lnTo>
                    <a:pt x="0" y="733"/>
                  </a:lnTo>
                  <a:lnTo>
                    <a:pt x="105" y="649"/>
                  </a:lnTo>
                  <a:lnTo>
                    <a:pt x="293" y="691"/>
                  </a:lnTo>
                  <a:lnTo>
                    <a:pt x="210" y="712"/>
                  </a:lnTo>
                  <a:lnTo>
                    <a:pt x="419" y="921"/>
                  </a:lnTo>
                  <a:lnTo>
                    <a:pt x="565" y="1130"/>
                  </a:lnTo>
                  <a:lnTo>
                    <a:pt x="649" y="1130"/>
                  </a:lnTo>
                  <a:lnTo>
                    <a:pt x="607" y="1214"/>
                  </a:lnTo>
                  <a:lnTo>
                    <a:pt x="712" y="1319"/>
                  </a:lnTo>
                  <a:lnTo>
                    <a:pt x="733" y="1423"/>
                  </a:lnTo>
                  <a:lnTo>
                    <a:pt x="544" y="1361"/>
                  </a:lnTo>
                  <a:lnTo>
                    <a:pt x="524" y="1277"/>
                  </a:lnTo>
                  <a:lnTo>
                    <a:pt x="461" y="1381"/>
                  </a:lnTo>
                  <a:lnTo>
                    <a:pt x="398" y="1361"/>
                  </a:lnTo>
                  <a:lnTo>
                    <a:pt x="252" y="1549"/>
                  </a:lnTo>
                  <a:lnTo>
                    <a:pt x="524" y="1653"/>
                  </a:lnTo>
                  <a:lnTo>
                    <a:pt x="607" y="1633"/>
                  </a:lnTo>
                  <a:lnTo>
                    <a:pt x="649" y="1758"/>
                  </a:lnTo>
                  <a:lnTo>
                    <a:pt x="649" y="1988"/>
                  </a:lnTo>
                  <a:lnTo>
                    <a:pt x="712" y="2051"/>
                  </a:lnTo>
                  <a:lnTo>
                    <a:pt x="754" y="2009"/>
                  </a:lnTo>
                  <a:lnTo>
                    <a:pt x="858" y="2197"/>
                  </a:lnTo>
                  <a:lnTo>
                    <a:pt x="670" y="2323"/>
                  </a:lnTo>
                  <a:lnTo>
                    <a:pt x="670" y="2386"/>
                  </a:lnTo>
                  <a:lnTo>
                    <a:pt x="754" y="2469"/>
                  </a:lnTo>
                  <a:lnTo>
                    <a:pt x="754" y="2574"/>
                  </a:lnTo>
                  <a:lnTo>
                    <a:pt x="670" y="2595"/>
                  </a:lnTo>
                  <a:lnTo>
                    <a:pt x="670" y="2700"/>
                  </a:lnTo>
                  <a:lnTo>
                    <a:pt x="733" y="2804"/>
                  </a:lnTo>
                  <a:lnTo>
                    <a:pt x="670" y="2804"/>
                  </a:lnTo>
                  <a:lnTo>
                    <a:pt x="816" y="3097"/>
                  </a:lnTo>
                  <a:lnTo>
                    <a:pt x="879" y="3097"/>
                  </a:lnTo>
                  <a:lnTo>
                    <a:pt x="921" y="3223"/>
                  </a:lnTo>
                  <a:lnTo>
                    <a:pt x="963" y="3244"/>
                  </a:lnTo>
                  <a:lnTo>
                    <a:pt x="963" y="3348"/>
                  </a:lnTo>
                  <a:lnTo>
                    <a:pt x="1047" y="3306"/>
                  </a:lnTo>
                  <a:lnTo>
                    <a:pt x="1047" y="3139"/>
                  </a:lnTo>
                  <a:lnTo>
                    <a:pt x="1088" y="3223"/>
                  </a:lnTo>
                  <a:lnTo>
                    <a:pt x="1172" y="3118"/>
                  </a:lnTo>
                  <a:lnTo>
                    <a:pt x="1444" y="2888"/>
                  </a:lnTo>
                  <a:lnTo>
                    <a:pt x="1549" y="2846"/>
                  </a:lnTo>
                  <a:lnTo>
                    <a:pt x="1570" y="2909"/>
                  </a:lnTo>
                  <a:lnTo>
                    <a:pt x="1653" y="2825"/>
                  </a:lnTo>
                  <a:lnTo>
                    <a:pt x="1695" y="2825"/>
                  </a:lnTo>
                  <a:lnTo>
                    <a:pt x="1758" y="2930"/>
                  </a:lnTo>
                  <a:lnTo>
                    <a:pt x="1863" y="2909"/>
                  </a:lnTo>
                  <a:lnTo>
                    <a:pt x="1905" y="2951"/>
                  </a:lnTo>
                  <a:lnTo>
                    <a:pt x="1967" y="2909"/>
                  </a:lnTo>
                  <a:lnTo>
                    <a:pt x="1925" y="2825"/>
                  </a:lnTo>
                  <a:lnTo>
                    <a:pt x="2072" y="2741"/>
                  </a:lnTo>
                  <a:lnTo>
                    <a:pt x="2197" y="2741"/>
                  </a:lnTo>
                  <a:lnTo>
                    <a:pt x="2344" y="2532"/>
                  </a:lnTo>
                  <a:lnTo>
                    <a:pt x="2323" y="2490"/>
                  </a:lnTo>
                  <a:lnTo>
                    <a:pt x="2407" y="2428"/>
                  </a:lnTo>
                  <a:lnTo>
                    <a:pt x="2344" y="1988"/>
                  </a:lnTo>
                  <a:lnTo>
                    <a:pt x="2323" y="1988"/>
                  </a:lnTo>
                  <a:lnTo>
                    <a:pt x="2281" y="2009"/>
                  </a:lnTo>
                  <a:lnTo>
                    <a:pt x="2281" y="1884"/>
                  </a:lnTo>
                  <a:lnTo>
                    <a:pt x="2197" y="1486"/>
                  </a:lnTo>
                  <a:lnTo>
                    <a:pt x="2114" y="1381"/>
                  </a:lnTo>
                  <a:lnTo>
                    <a:pt x="2114" y="1130"/>
                  </a:lnTo>
                  <a:lnTo>
                    <a:pt x="1779" y="712"/>
                  </a:lnTo>
                  <a:lnTo>
                    <a:pt x="1465" y="398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9" name="Google Shape;819;p34"/>
            <p:cNvSpPr/>
            <p:nvPr/>
          </p:nvSpPr>
          <p:spPr>
            <a:xfrm>
              <a:off x="4566534" y="2807208"/>
              <a:ext cx="32650" cy="53553"/>
            </a:xfrm>
            <a:custGeom>
              <a:avLst/>
              <a:gdLst/>
              <a:ahLst/>
              <a:cxnLst/>
              <a:rect l="l" t="t" r="r" b="b"/>
              <a:pathLst>
                <a:path w="2742" h="4709" extrusionOk="0">
                  <a:moveTo>
                    <a:pt x="2260" y="1"/>
                  </a:moveTo>
                  <a:lnTo>
                    <a:pt x="2177" y="42"/>
                  </a:lnTo>
                  <a:lnTo>
                    <a:pt x="2177" y="168"/>
                  </a:lnTo>
                  <a:lnTo>
                    <a:pt x="2177" y="273"/>
                  </a:lnTo>
                  <a:lnTo>
                    <a:pt x="2240" y="377"/>
                  </a:lnTo>
                  <a:lnTo>
                    <a:pt x="2177" y="482"/>
                  </a:lnTo>
                  <a:lnTo>
                    <a:pt x="2093" y="482"/>
                  </a:lnTo>
                  <a:lnTo>
                    <a:pt x="1988" y="607"/>
                  </a:lnTo>
                  <a:lnTo>
                    <a:pt x="1988" y="733"/>
                  </a:lnTo>
                  <a:lnTo>
                    <a:pt x="1737" y="921"/>
                  </a:lnTo>
                  <a:lnTo>
                    <a:pt x="1612" y="921"/>
                  </a:lnTo>
                  <a:lnTo>
                    <a:pt x="1528" y="1005"/>
                  </a:lnTo>
                  <a:lnTo>
                    <a:pt x="1633" y="1089"/>
                  </a:lnTo>
                  <a:lnTo>
                    <a:pt x="1779" y="1214"/>
                  </a:lnTo>
                  <a:lnTo>
                    <a:pt x="1779" y="1298"/>
                  </a:lnTo>
                  <a:lnTo>
                    <a:pt x="1716" y="1444"/>
                  </a:lnTo>
                  <a:lnTo>
                    <a:pt x="1570" y="1423"/>
                  </a:lnTo>
                  <a:lnTo>
                    <a:pt x="1319" y="1444"/>
                  </a:lnTo>
                  <a:lnTo>
                    <a:pt x="1193" y="1402"/>
                  </a:lnTo>
                  <a:lnTo>
                    <a:pt x="1089" y="1444"/>
                  </a:lnTo>
                  <a:lnTo>
                    <a:pt x="1005" y="1361"/>
                  </a:lnTo>
                  <a:lnTo>
                    <a:pt x="942" y="1319"/>
                  </a:lnTo>
                  <a:lnTo>
                    <a:pt x="838" y="1151"/>
                  </a:lnTo>
                  <a:lnTo>
                    <a:pt x="691" y="1298"/>
                  </a:lnTo>
                  <a:lnTo>
                    <a:pt x="691" y="1465"/>
                  </a:lnTo>
                  <a:lnTo>
                    <a:pt x="691" y="1528"/>
                  </a:lnTo>
                  <a:lnTo>
                    <a:pt x="649" y="1633"/>
                  </a:lnTo>
                  <a:lnTo>
                    <a:pt x="566" y="1926"/>
                  </a:lnTo>
                  <a:lnTo>
                    <a:pt x="461" y="1967"/>
                  </a:lnTo>
                  <a:lnTo>
                    <a:pt x="356" y="2156"/>
                  </a:lnTo>
                  <a:lnTo>
                    <a:pt x="210" y="2260"/>
                  </a:lnTo>
                  <a:lnTo>
                    <a:pt x="210" y="2365"/>
                  </a:lnTo>
                  <a:lnTo>
                    <a:pt x="147" y="2511"/>
                  </a:lnTo>
                  <a:lnTo>
                    <a:pt x="1" y="2616"/>
                  </a:lnTo>
                  <a:lnTo>
                    <a:pt x="1" y="2972"/>
                  </a:lnTo>
                  <a:lnTo>
                    <a:pt x="22" y="3014"/>
                  </a:lnTo>
                  <a:lnTo>
                    <a:pt x="43" y="2993"/>
                  </a:lnTo>
                  <a:lnTo>
                    <a:pt x="84" y="3202"/>
                  </a:lnTo>
                  <a:lnTo>
                    <a:pt x="168" y="3139"/>
                  </a:lnTo>
                  <a:lnTo>
                    <a:pt x="168" y="3034"/>
                  </a:lnTo>
                  <a:lnTo>
                    <a:pt x="315" y="3118"/>
                  </a:lnTo>
                  <a:lnTo>
                    <a:pt x="356" y="3202"/>
                  </a:lnTo>
                  <a:lnTo>
                    <a:pt x="545" y="3181"/>
                  </a:lnTo>
                  <a:lnTo>
                    <a:pt x="587" y="3097"/>
                  </a:lnTo>
                  <a:lnTo>
                    <a:pt x="670" y="3097"/>
                  </a:lnTo>
                  <a:lnTo>
                    <a:pt x="649" y="3181"/>
                  </a:lnTo>
                  <a:lnTo>
                    <a:pt x="566" y="3223"/>
                  </a:lnTo>
                  <a:lnTo>
                    <a:pt x="649" y="3348"/>
                  </a:lnTo>
                  <a:lnTo>
                    <a:pt x="524" y="3558"/>
                  </a:lnTo>
                  <a:lnTo>
                    <a:pt x="524" y="3851"/>
                  </a:lnTo>
                  <a:lnTo>
                    <a:pt x="545" y="3913"/>
                  </a:lnTo>
                  <a:lnTo>
                    <a:pt x="775" y="3913"/>
                  </a:lnTo>
                  <a:lnTo>
                    <a:pt x="880" y="3851"/>
                  </a:lnTo>
                  <a:lnTo>
                    <a:pt x="754" y="3955"/>
                  </a:lnTo>
                  <a:lnTo>
                    <a:pt x="608" y="3955"/>
                  </a:lnTo>
                  <a:lnTo>
                    <a:pt x="545" y="4143"/>
                  </a:lnTo>
                  <a:lnTo>
                    <a:pt x="524" y="4374"/>
                  </a:lnTo>
                  <a:lnTo>
                    <a:pt x="482" y="4478"/>
                  </a:lnTo>
                  <a:lnTo>
                    <a:pt x="545" y="4478"/>
                  </a:lnTo>
                  <a:lnTo>
                    <a:pt x="649" y="4436"/>
                  </a:lnTo>
                  <a:lnTo>
                    <a:pt x="775" y="4478"/>
                  </a:lnTo>
                  <a:lnTo>
                    <a:pt x="670" y="4646"/>
                  </a:lnTo>
                  <a:lnTo>
                    <a:pt x="691" y="4708"/>
                  </a:lnTo>
                  <a:lnTo>
                    <a:pt x="838" y="4604"/>
                  </a:lnTo>
                  <a:lnTo>
                    <a:pt x="900" y="4667"/>
                  </a:lnTo>
                  <a:lnTo>
                    <a:pt x="1005" y="4541"/>
                  </a:lnTo>
                  <a:lnTo>
                    <a:pt x="963" y="4478"/>
                  </a:lnTo>
                  <a:lnTo>
                    <a:pt x="1047" y="4436"/>
                  </a:lnTo>
                  <a:lnTo>
                    <a:pt x="1172" y="4562"/>
                  </a:lnTo>
                  <a:lnTo>
                    <a:pt x="1193" y="4436"/>
                  </a:lnTo>
                  <a:lnTo>
                    <a:pt x="1382" y="4269"/>
                  </a:lnTo>
                  <a:lnTo>
                    <a:pt x="1591" y="4227"/>
                  </a:lnTo>
                  <a:lnTo>
                    <a:pt x="1800" y="4039"/>
                  </a:lnTo>
                  <a:lnTo>
                    <a:pt x="2177" y="3976"/>
                  </a:lnTo>
                  <a:lnTo>
                    <a:pt x="2428" y="3851"/>
                  </a:lnTo>
                  <a:lnTo>
                    <a:pt x="2344" y="3725"/>
                  </a:lnTo>
                  <a:lnTo>
                    <a:pt x="1926" y="3495"/>
                  </a:lnTo>
                  <a:lnTo>
                    <a:pt x="1884" y="3390"/>
                  </a:lnTo>
                  <a:lnTo>
                    <a:pt x="1654" y="3348"/>
                  </a:lnTo>
                  <a:lnTo>
                    <a:pt x="1612" y="3202"/>
                  </a:lnTo>
                  <a:lnTo>
                    <a:pt x="1654" y="3118"/>
                  </a:lnTo>
                  <a:lnTo>
                    <a:pt x="1633" y="2993"/>
                  </a:lnTo>
                  <a:lnTo>
                    <a:pt x="1633" y="2867"/>
                  </a:lnTo>
                  <a:lnTo>
                    <a:pt x="1800" y="2762"/>
                  </a:lnTo>
                  <a:lnTo>
                    <a:pt x="1821" y="2616"/>
                  </a:lnTo>
                  <a:lnTo>
                    <a:pt x="1947" y="2574"/>
                  </a:lnTo>
                  <a:lnTo>
                    <a:pt x="2051" y="2574"/>
                  </a:lnTo>
                  <a:lnTo>
                    <a:pt x="2093" y="2490"/>
                  </a:lnTo>
                  <a:lnTo>
                    <a:pt x="2156" y="2449"/>
                  </a:lnTo>
                  <a:lnTo>
                    <a:pt x="2135" y="2344"/>
                  </a:lnTo>
                  <a:lnTo>
                    <a:pt x="2428" y="2051"/>
                  </a:lnTo>
                  <a:lnTo>
                    <a:pt x="2407" y="1988"/>
                  </a:lnTo>
                  <a:lnTo>
                    <a:pt x="2553" y="1863"/>
                  </a:lnTo>
                  <a:lnTo>
                    <a:pt x="2574" y="1737"/>
                  </a:lnTo>
                  <a:lnTo>
                    <a:pt x="2512" y="1654"/>
                  </a:lnTo>
                  <a:lnTo>
                    <a:pt x="2512" y="1361"/>
                  </a:lnTo>
                  <a:lnTo>
                    <a:pt x="2365" y="1256"/>
                  </a:lnTo>
                  <a:lnTo>
                    <a:pt x="2365" y="1110"/>
                  </a:lnTo>
                  <a:lnTo>
                    <a:pt x="2449" y="817"/>
                  </a:lnTo>
                  <a:lnTo>
                    <a:pt x="2449" y="691"/>
                  </a:lnTo>
                  <a:lnTo>
                    <a:pt x="2532" y="691"/>
                  </a:lnTo>
                  <a:lnTo>
                    <a:pt x="2721" y="482"/>
                  </a:lnTo>
                  <a:lnTo>
                    <a:pt x="2742" y="482"/>
                  </a:lnTo>
                  <a:lnTo>
                    <a:pt x="2637" y="356"/>
                  </a:lnTo>
                  <a:lnTo>
                    <a:pt x="2616" y="293"/>
                  </a:lnTo>
                  <a:lnTo>
                    <a:pt x="2428" y="273"/>
                  </a:lnTo>
                  <a:lnTo>
                    <a:pt x="2365" y="189"/>
                  </a:lnTo>
                  <a:lnTo>
                    <a:pt x="2365" y="84"/>
                  </a:lnTo>
                  <a:lnTo>
                    <a:pt x="226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0" name="Google Shape;820;p34"/>
            <p:cNvSpPr/>
            <p:nvPr/>
          </p:nvSpPr>
          <p:spPr>
            <a:xfrm>
              <a:off x="4301938" y="2737722"/>
              <a:ext cx="211787" cy="95438"/>
            </a:xfrm>
            <a:custGeom>
              <a:avLst/>
              <a:gdLst/>
              <a:ahLst/>
              <a:cxnLst/>
              <a:rect l="l" t="t" r="r" b="b"/>
              <a:pathLst>
                <a:path w="17786" h="8392" extrusionOk="0">
                  <a:moveTo>
                    <a:pt x="5232" y="1"/>
                  </a:moveTo>
                  <a:lnTo>
                    <a:pt x="5169" y="85"/>
                  </a:lnTo>
                  <a:lnTo>
                    <a:pt x="5169" y="147"/>
                  </a:lnTo>
                  <a:lnTo>
                    <a:pt x="5190" y="252"/>
                  </a:lnTo>
                  <a:lnTo>
                    <a:pt x="5169" y="336"/>
                  </a:lnTo>
                  <a:lnTo>
                    <a:pt x="5085" y="336"/>
                  </a:lnTo>
                  <a:lnTo>
                    <a:pt x="5002" y="357"/>
                  </a:lnTo>
                  <a:lnTo>
                    <a:pt x="4918" y="461"/>
                  </a:lnTo>
                  <a:lnTo>
                    <a:pt x="4918" y="545"/>
                  </a:lnTo>
                  <a:lnTo>
                    <a:pt x="4813" y="670"/>
                  </a:lnTo>
                  <a:lnTo>
                    <a:pt x="4813" y="963"/>
                  </a:lnTo>
                  <a:lnTo>
                    <a:pt x="4855" y="1089"/>
                  </a:lnTo>
                  <a:lnTo>
                    <a:pt x="5023" y="1152"/>
                  </a:lnTo>
                  <a:lnTo>
                    <a:pt x="5085" y="1214"/>
                  </a:lnTo>
                  <a:lnTo>
                    <a:pt x="5190" y="1256"/>
                  </a:lnTo>
                  <a:lnTo>
                    <a:pt x="5211" y="1340"/>
                  </a:lnTo>
                  <a:lnTo>
                    <a:pt x="5190" y="1507"/>
                  </a:lnTo>
                  <a:lnTo>
                    <a:pt x="5190" y="1696"/>
                  </a:lnTo>
                  <a:lnTo>
                    <a:pt x="5295" y="1779"/>
                  </a:lnTo>
                  <a:lnTo>
                    <a:pt x="5378" y="1863"/>
                  </a:lnTo>
                  <a:lnTo>
                    <a:pt x="5232" y="2010"/>
                  </a:lnTo>
                  <a:lnTo>
                    <a:pt x="5043" y="2030"/>
                  </a:lnTo>
                  <a:lnTo>
                    <a:pt x="4960" y="2010"/>
                  </a:lnTo>
                  <a:lnTo>
                    <a:pt x="4918" y="2072"/>
                  </a:lnTo>
                  <a:lnTo>
                    <a:pt x="4813" y="2072"/>
                  </a:lnTo>
                  <a:lnTo>
                    <a:pt x="4709" y="2010"/>
                  </a:lnTo>
                  <a:lnTo>
                    <a:pt x="4479" y="2010"/>
                  </a:lnTo>
                  <a:lnTo>
                    <a:pt x="4374" y="2030"/>
                  </a:lnTo>
                  <a:lnTo>
                    <a:pt x="4290" y="1989"/>
                  </a:lnTo>
                  <a:lnTo>
                    <a:pt x="4186" y="1968"/>
                  </a:lnTo>
                  <a:lnTo>
                    <a:pt x="4081" y="1968"/>
                  </a:lnTo>
                  <a:lnTo>
                    <a:pt x="3955" y="2072"/>
                  </a:lnTo>
                  <a:lnTo>
                    <a:pt x="3851" y="2093"/>
                  </a:lnTo>
                  <a:lnTo>
                    <a:pt x="3767" y="2135"/>
                  </a:lnTo>
                  <a:lnTo>
                    <a:pt x="3558" y="2030"/>
                  </a:lnTo>
                  <a:lnTo>
                    <a:pt x="3453" y="1968"/>
                  </a:lnTo>
                  <a:lnTo>
                    <a:pt x="3181" y="1800"/>
                  </a:lnTo>
                  <a:lnTo>
                    <a:pt x="3139" y="1717"/>
                  </a:lnTo>
                  <a:lnTo>
                    <a:pt x="3118" y="1612"/>
                  </a:lnTo>
                  <a:lnTo>
                    <a:pt x="3077" y="1549"/>
                  </a:lnTo>
                  <a:lnTo>
                    <a:pt x="2888" y="1549"/>
                  </a:lnTo>
                  <a:lnTo>
                    <a:pt x="2805" y="1591"/>
                  </a:lnTo>
                  <a:lnTo>
                    <a:pt x="2700" y="1591"/>
                  </a:lnTo>
                  <a:lnTo>
                    <a:pt x="2658" y="1612"/>
                  </a:lnTo>
                  <a:lnTo>
                    <a:pt x="2512" y="1612"/>
                  </a:lnTo>
                  <a:lnTo>
                    <a:pt x="2470" y="1549"/>
                  </a:lnTo>
                  <a:lnTo>
                    <a:pt x="2428" y="1486"/>
                  </a:lnTo>
                  <a:lnTo>
                    <a:pt x="2365" y="1382"/>
                  </a:lnTo>
                  <a:lnTo>
                    <a:pt x="2344" y="1382"/>
                  </a:lnTo>
                  <a:lnTo>
                    <a:pt x="2261" y="1445"/>
                  </a:lnTo>
                  <a:lnTo>
                    <a:pt x="2030" y="1445"/>
                  </a:lnTo>
                  <a:lnTo>
                    <a:pt x="1905" y="1466"/>
                  </a:lnTo>
                  <a:lnTo>
                    <a:pt x="1717" y="1486"/>
                  </a:lnTo>
                  <a:lnTo>
                    <a:pt x="1633" y="1549"/>
                  </a:lnTo>
                  <a:lnTo>
                    <a:pt x="1549" y="1675"/>
                  </a:lnTo>
                  <a:lnTo>
                    <a:pt x="1466" y="1717"/>
                  </a:lnTo>
                  <a:lnTo>
                    <a:pt x="1298" y="1675"/>
                  </a:lnTo>
                  <a:lnTo>
                    <a:pt x="1256" y="1717"/>
                  </a:lnTo>
                  <a:lnTo>
                    <a:pt x="1256" y="1800"/>
                  </a:lnTo>
                  <a:lnTo>
                    <a:pt x="1319" y="1863"/>
                  </a:lnTo>
                  <a:lnTo>
                    <a:pt x="1256" y="1884"/>
                  </a:lnTo>
                  <a:lnTo>
                    <a:pt x="1193" y="2010"/>
                  </a:lnTo>
                  <a:lnTo>
                    <a:pt x="1110" y="2030"/>
                  </a:lnTo>
                  <a:lnTo>
                    <a:pt x="1005" y="2114"/>
                  </a:lnTo>
                  <a:lnTo>
                    <a:pt x="1005" y="2198"/>
                  </a:lnTo>
                  <a:lnTo>
                    <a:pt x="838" y="2282"/>
                  </a:lnTo>
                  <a:lnTo>
                    <a:pt x="817" y="2386"/>
                  </a:lnTo>
                  <a:lnTo>
                    <a:pt x="796" y="2512"/>
                  </a:lnTo>
                  <a:lnTo>
                    <a:pt x="608" y="2554"/>
                  </a:lnTo>
                  <a:lnTo>
                    <a:pt x="503" y="2658"/>
                  </a:lnTo>
                  <a:lnTo>
                    <a:pt x="482" y="2742"/>
                  </a:lnTo>
                  <a:lnTo>
                    <a:pt x="210" y="2721"/>
                  </a:lnTo>
                  <a:lnTo>
                    <a:pt x="105" y="2763"/>
                  </a:lnTo>
                  <a:lnTo>
                    <a:pt x="1" y="2972"/>
                  </a:lnTo>
                  <a:lnTo>
                    <a:pt x="1" y="3014"/>
                  </a:lnTo>
                  <a:lnTo>
                    <a:pt x="43" y="3056"/>
                  </a:lnTo>
                  <a:lnTo>
                    <a:pt x="43" y="3181"/>
                  </a:lnTo>
                  <a:lnTo>
                    <a:pt x="64" y="3223"/>
                  </a:lnTo>
                  <a:lnTo>
                    <a:pt x="105" y="3286"/>
                  </a:lnTo>
                  <a:lnTo>
                    <a:pt x="147" y="3286"/>
                  </a:lnTo>
                  <a:lnTo>
                    <a:pt x="147" y="3244"/>
                  </a:lnTo>
                  <a:lnTo>
                    <a:pt x="168" y="3244"/>
                  </a:lnTo>
                  <a:lnTo>
                    <a:pt x="189" y="3286"/>
                  </a:lnTo>
                  <a:lnTo>
                    <a:pt x="189" y="3370"/>
                  </a:lnTo>
                  <a:lnTo>
                    <a:pt x="210" y="3453"/>
                  </a:lnTo>
                  <a:lnTo>
                    <a:pt x="294" y="3495"/>
                  </a:lnTo>
                  <a:lnTo>
                    <a:pt x="336" y="3537"/>
                  </a:lnTo>
                  <a:lnTo>
                    <a:pt x="461" y="3642"/>
                  </a:lnTo>
                  <a:lnTo>
                    <a:pt x="566" y="3704"/>
                  </a:lnTo>
                  <a:lnTo>
                    <a:pt x="629" y="3788"/>
                  </a:lnTo>
                  <a:lnTo>
                    <a:pt x="629" y="3851"/>
                  </a:lnTo>
                  <a:lnTo>
                    <a:pt x="670" y="3914"/>
                  </a:lnTo>
                  <a:lnTo>
                    <a:pt x="796" y="3997"/>
                  </a:lnTo>
                  <a:lnTo>
                    <a:pt x="838" y="3997"/>
                  </a:lnTo>
                  <a:lnTo>
                    <a:pt x="859" y="3914"/>
                  </a:lnTo>
                  <a:lnTo>
                    <a:pt x="901" y="3872"/>
                  </a:lnTo>
                  <a:lnTo>
                    <a:pt x="1026" y="3809"/>
                  </a:lnTo>
                  <a:lnTo>
                    <a:pt x="1131" y="3809"/>
                  </a:lnTo>
                  <a:lnTo>
                    <a:pt x="1152" y="3872"/>
                  </a:lnTo>
                  <a:lnTo>
                    <a:pt x="1235" y="3976"/>
                  </a:lnTo>
                  <a:lnTo>
                    <a:pt x="1319" y="3997"/>
                  </a:lnTo>
                  <a:lnTo>
                    <a:pt x="1361" y="3976"/>
                  </a:lnTo>
                  <a:lnTo>
                    <a:pt x="1424" y="3914"/>
                  </a:lnTo>
                  <a:lnTo>
                    <a:pt x="1528" y="3914"/>
                  </a:lnTo>
                  <a:lnTo>
                    <a:pt x="1612" y="3955"/>
                  </a:lnTo>
                  <a:lnTo>
                    <a:pt x="1654" y="4018"/>
                  </a:lnTo>
                  <a:lnTo>
                    <a:pt x="1738" y="4060"/>
                  </a:lnTo>
                  <a:lnTo>
                    <a:pt x="1842" y="4123"/>
                  </a:lnTo>
                  <a:lnTo>
                    <a:pt x="1884" y="4207"/>
                  </a:lnTo>
                  <a:lnTo>
                    <a:pt x="1905" y="4311"/>
                  </a:lnTo>
                  <a:lnTo>
                    <a:pt x="1947" y="4416"/>
                  </a:lnTo>
                  <a:lnTo>
                    <a:pt x="1989" y="4499"/>
                  </a:lnTo>
                  <a:lnTo>
                    <a:pt x="2051" y="4604"/>
                  </a:lnTo>
                  <a:lnTo>
                    <a:pt x="2135" y="4646"/>
                  </a:lnTo>
                  <a:lnTo>
                    <a:pt x="2198" y="4709"/>
                  </a:lnTo>
                  <a:lnTo>
                    <a:pt x="2282" y="4834"/>
                  </a:lnTo>
                  <a:lnTo>
                    <a:pt x="2344" y="4897"/>
                  </a:lnTo>
                  <a:lnTo>
                    <a:pt x="2344" y="5023"/>
                  </a:lnTo>
                  <a:lnTo>
                    <a:pt x="2302" y="5106"/>
                  </a:lnTo>
                  <a:lnTo>
                    <a:pt x="2344" y="5232"/>
                  </a:lnTo>
                  <a:lnTo>
                    <a:pt x="2407" y="5315"/>
                  </a:lnTo>
                  <a:lnTo>
                    <a:pt x="2365" y="5420"/>
                  </a:lnTo>
                  <a:lnTo>
                    <a:pt x="2282" y="5483"/>
                  </a:lnTo>
                  <a:lnTo>
                    <a:pt x="2261" y="5546"/>
                  </a:lnTo>
                  <a:lnTo>
                    <a:pt x="2261" y="5629"/>
                  </a:lnTo>
                  <a:lnTo>
                    <a:pt x="2282" y="5734"/>
                  </a:lnTo>
                  <a:lnTo>
                    <a:pt x="2407" y="5901"/>
                  </a:lnTo>
                  <a:lnTo>
                    <a:pt x="2512" y="5985"/>
                  </a:lnTo>
                  <a:lnTo>
                    <a:pt x="3098" y="6111"/>
                  </a:lnTo>
                  <a:lnTo>
                    <a:pt x="3349" y="6090"/>
                  </a:lnTo>
                  <a:lnTo>
                    <a:pt x="3516" y="6090"/>
                  </a:lnTo>
                  <a:lnTo>
                    <a:pt x="3558" y="6048"/>
                  </a:lnTo>
                  <a:lnTo>
                    <a:pt x="3600" y="6048"/>
                  </a:lnTo>
                  <a:lnTo>
                    <a:pt x="3976" y="6111"/>
                  </a:lnTo>
                  <a:lnTo>
                    <a:pt x="4165" y="6257"/>
                  </a:lnTo>
                  <a:lnTo>
                    <a:pt x="4227" y="6299"/>
                  </a:lnTo>
                  <a:lnTo>
                    <a:pt x="4332" y="6320"/>
                  </a:lnTo>
                  <a:lnTo>
                    <a:pt x="4437" y="6320"/>
                  </a:lnTo>
                  <a:lnTo>
                    <a:pt x="4646" y="6487"/>
                  </a:lnTo>
                  <a:lnTo>
                    <a:pt x="4792" y="6571"/>
                  </a:lnTo>
                  <a:lnTo>
                    <a:pt x="5023" y="6571"/>
                  </a:lnTo>
                  <a:lnTo>
                    <a:pt x="5043" y="6675"/>
                  </a:lnTo>
                  <a:lnTo>
                    <a:pt x="5085" y="6738"/>
                  </a:lnTo>
                  <a:lnTo>
                    <a:pt x="5127" y="6738"/>
                  </a:lnTo>
                  <a:lnTo>
                    <a:pt x="5211" y="6780"/>
                  </a:lnTo>
                  <a:lnTo>
                    <a:pt x="5315" y="6885"/>
                  </a:lnTo>
                  <a:lnTo>
                    <a:pt x="5315" y="6948"/>
                  </a:lnTo>
                  <a:lnTo>
                    <a:pt x="5378" y="7115"/>
                  </a:lnTo>
                  <a:lnTo>
                    <a:pt x="5483" y="7240"/>
                  </a:lnTo>
                  <a:lnTo>
                    <a:pt x="5608" y="7408"/>
                  </a:lnTo>
                  <a:lnTo>
                    <a:pt x="5650" y="7533"/>
                  </a:lnTo>
                  <a:lnTo>
                    <a:pt x="5797" y="7784"/>
                  </a:lnTo>
                  <a:lnTo>
                    <a:pt x="5901" y="7826"/>
                  </a:lnTo>
                  <a:lnTo>
                    <a:pt x="6006" y="7784"/>
                  </a:lnTo>
                  <a:lnTo>
                    <a:pt x="6236" y="7764"/>
                  </a:lnTo>
                  <a:lnTo>
                    <a:pt x="6487" y="7784"/>
                  </a:lnTo>
                  <a:lnTo>
                    <a:pt x="6843" y="7764"/>
                  </a:lnTo>
                  <a:lnTo>
                    <a:pt x="7324" y="7826"/>
                  </a:lnTo>
                  <a:lnTo>
                    <a:pt x="7596" y="7784"/>
                  </a:lnTo>
                  <a:lnTo>
                    <a:pt x="7784" y="7722"/>
                  </a:lnTo>
                  <a:lnTo>
                    <a:pt x="7826" y="7659"/>
                  </a:lnTo>
                  <a:lnTo>
                    <a:pt x="7889" y="7617"/>
                  </a:lnTo>
                  <a:lnTo>
                    <a:pt x="7952" y="7638"/>
                  </a:lnTo>
                  <a:lnTo>
                    <a:pt x="8328" y="7638"/>
                  </a:lnTo>
                  <a:lnTo>
                    <a:pt x="8747" y="7659"/>
                  </a:lnTo>
                  <a:lnTo>
                    <a:pt x="8872" y="7680"/>
                  </a:lnTo>
                  <a:lnTo>
                    <a:pt x="9082" y="7868"/>
                  </a:lnTo>
                  <a:lnTo>
                    <a:pt x="9458" y="8036"/>
                  </a:lnTo>
                  <a:lnTo>
                    <a:pt x="9814" y="8161"/>
                  </a:lnTo>
                  <a:lnTo>
                    <a:pt x="9981" y="8182"/>
                  </a:lnTo>
                  <a:lnTo>
                    <a:pt x="10191" y="8287"/>
                  </a:lnTo>
                  <a:lnTo>
                    <a:pt x="10358" y="8266"/>
                  </a:lnTo>
                  <a:lnTo>
                    <a:pt x="10630" y="8182"/>
                  </a:lnTo>
                  <a:lnTo>
                    <a:pt x="10651" y="8287"/>
                  </a:lnTo>
                  <a:lnTo>
                    <a:pt x="10651" y="8349"/>
                  </a:lnTo>
                  <a:lnTo>
                    <a:pt x="10797" y="8391"/>
                  </a:lnTo>
                  <a:lnTo>
                    <a:pt x="10944" y="8391"/>
                  </a:lnTo>
                  <a:lnTo>
                    <a:pt x="11049" y="8287"/>
                  </a:lnTo>
                  <a:lnTo>
                    <a:pt x="11300" y="8098"/>
                  </a:lnTo>
                  <a:lnTo>
                    <a:pt x="11467" y="7931"/>
                  </a:lnTo>
                  <a:lnTo>
                    <a:pt x="11781" y="7826"/>
                  </a:lnTo>
                  <a:lnTo>
                    <a:pt x="12199" y="7659"/>
                  </a:lnTo>
                  <a:lnTo>
                    <a:pt x="12367" y="7617"/>
                  </a:lnTo>
                  <a:lnTo>
                    <a:pt x="12555" y="7554"/>
                  </a:lnTo>
                  <a:lnTo>
                    <a:pt x="12806" y="7533"/>
                  </a:lnTo>
                  <a:lnTo>
                    <a:pt x="12953" y="7533"/>
                  </a:lnTo>
                  <a:lnTo>
                    <a:pt x="13120" y="7408"/>
                  </a:lnTo>
                  <a:lnTo>
                    <a:pt x="13266" y="7303"/>
                  </a:lnTo>
                  <a:lnTo>
                    <a:pt x="13392" y="7303"/>
                  </a:lnTo>
                  <a:lnTo>
                    <a:pt x="13580" y="7240"/>
                  </a:lnTo>
                  <a:lnTo>
                    <a:pt x="13685" y="7240"/>
                  </a:lnTo>
                  <a:lnTo>
                    <a:pt x="13769" y="7031"/>
                  </a:lnTo>
                  <a:lnTo>
                    <a:pt x="13894" y="6801"/>
                  </a:lnTo>
                  <a:lnTo>
                    <a:pt x="14166" y="6508"/>
                  </a:lnTo>
                  <a:lnTo>
                    <a:pt x="14229" y="6403"/>
                  </a:lnTo>
                  <a:lnTo>
                    <a:pt x="14292" y="6299"/>
                  </a:lnTo>
                  <a:lnTo>
                    <a:pt x="14292" y="6215"/>
                  </a:lnTo>
                  <a:lnTo>
                    <a:pt x="14062" y="6090"/>
                  </a:lnTo>
                  <a:lnTo>
                    <a:pt x="13790" y="5901"/>
                  </a:lnTo>
                  <a:lnTo>
                    <a:pt x="13810" y="5839"/>
                  </a:lnTo>
                  <a:lnTo>
                    <a:pt x="13790" y="5692"/>
                  </a:lnTo>
                  <a:lnTo>
                    <a:pt x="13790" y="5462"/>
                  </a:lnTo>
                  <a:lnTo>
                    <a:pt x="13894" y="5336"/>
                  </a:lnTo>
                  <a:lnTo>
                    <a:pt x="14020" y="5232"/>
                  </a:lnTo>
                  <a:lnTo>
                    <a:pt x="14229" y="5169"/>
                  </a:lnTo>
                  <a:lnTo>
                    <a:pt x="14396" y="5211"/>
                  </a:lnTo>
                  <a:lnTo>
                    <a:pt x="14522" y="5274"/>
                  </a:lnTo>
                  <a:lnTo>
                    <a:pt x="14710" y="5357"/>
                  </a:lnTo>
                  <a:lnTo>
                    <a:pt x="14836" y="5378"/>
                  </a:lnTo>
                  <a:lnTo>
                    <a:pt x="14961" y="5441"/>
                  </a:lnTo>
                  <a:lnTo>
                    <a:pt x="15024" y="5441"/>
                  </a:lnTo>
                  <a:lnTo>
                    <a:pt x="15045" y="5336"/>
                  </a:lnTo>
                  <a:lnTo>
                    <a:pt x="15129" y="5253"/>
                  </a:lnTo>
                  <a:lnTo>
                    <a:pt x="15254" y="5148"/>
                  </a:lnTo>
                  <a:lnTo>
                    <a:pt x="15359" y="5064"/>
                  </a:lnTo>
                  <a:lnTo>
                    <a:pt x="15463" y="4855"/>
                  </a:lnTo>
                  <a:lnTo>
                    <a:pt x="15547" y="4813"/>
                  </a:lnTo>
                  <a:lnTo>
                    <a:pt x="15673" y="4834"/>
                  </a:lnTo>
                  <a:lnTo>
                    <a:pt x="15840" y="4834"/>
                  </a:lnTo>
                  <a:lnTo>
                    <a:pt x="16070" y="4646"/>
                  </a:lnTo>
                  <a:lnTo>
                    <a:pt x="16196" y="4625"/>
                  </a:lnTo>
                  <a:lnTo>
                    <a:pt x="16259" y="4541"/>
                  </a:lnTo>
                  <a:lnTo>
                    <a:pt x="16259" y="4437"/>
                  </a:lnTo>
                  <a:lnTo>
                    <a:pt x="16279" y="4269"/>
                  </a:lnTo>
                  <a:lnTo>
                    <a:pt x="16384" y="4102"/>
                  </a:lnTo>
                  <a:lnTo>
                    <a:pt x="16426" y="4018"/>
                  </a:lnTo>
                  <a:lnTo>
                    <a:pt x="16489" y="4060"/>
                  </a:lnTo>
                  <a:lnTo>
                    <a:pt x="16551" y="4018"/>
                  </a:lnTo>
                  <a:lnTo>
                    <a:pt x="16614" y="3976"/>
                  </a:lnTo>
                  <a:lnTo>
                    <a:pt x="16614" y="3872"/>
                  </a:lnTo>
                  <a:lnTo>
                    <a:pt x="16677" y="3851"/>
                  </a:lnTo>
                  <a:lnTo>
                    <a:pt x="16782" y="3914"/>
                  </a:lnTo>
                  <a:lnTo>
                    <a:pt x="16844" y="3872"/>
                  </a:lnTo>
                  <a:lnTo>
                    <a:pt x="17012" y="3746"/>
                  </a:lnTo>
                  <a:lnTo>
                    <a:pt x="17116" y="3600"/>
                  </a:lnTo>
                  <a:lnTo>
                    <a:pt x="17221" y="3579"/>
                  </a:lnTo>
                  <a:lnTo>
                    <a:pt x="17367" y="3662"/>
                  </a:lnTo>
                  <a:lnTo>
                    <a:pt x="17451" y="3600"/>
                  </a:lnTo>
                  <a:lnTo>
                    <a:pt x="17556" y="3579"/>
                  </a:lnTo>
                  <a:lnTo>
                    <a:pt x="17598" y="3642"/>
                  </a:lnTo>
                  <a:lnTo>
                    <a:pt x="17723" y="3662"/>
                  </a:lnTo>
                  <a:lnTo>
                    <a:pt x="17744" y="3579"/>
                  </a:lnTo>
                  <a:lnTo>
                    <a:pt x="17744" y="3495"/>
                  </a:lnTo>
                  <a:lnTo>
                    <a:pt x="17786" y="3453"/>
                  </a:lnTo>
                  <a:lnTo>
                    <a:pt x="17786" y="3349"/>
                  </a:lnTo>
                  <a:lnTo>
                    <a:pt x="17765" y="3265"/>
                  </a:lnTo>
                  <a:lnTo>
                    <a:pt x="17744" y="3160"/>
                  </a:lnTo>
                  <a:lnTo>
                    <a:pt x="17535" y="3014"/>
                  </a:lnTo>
                  <a:lnTo>
                    <a:pt x="17367" y="2805"/>
                  </a:lnTo>
                  <a:lnTo>
                    <a:pt x="17158" y="2616"/>
                  </a:lnTo>
                  <a:lnTo>
                    <a:pt x="17012" y="2428"/>
                  </a:lnTo>
                  <a:lnTo>
                    <a:pt x="16740" y="2344"/>
                  </a:lnTo>
                  <a:lnTo>
                    <a:pt x="16698" y="2407"/>
                  </a:lnTo>
                  <a:lnTo>
                    <a:pt x="16531" y="2449"/>
                  </a:lnTo>
                  <a:lnTo>
                    <a:pt x="16531" y="2554"/>
                  </a:lnTo>
                  <a:lnTo>
                    <a:pt x="16531" y="2700"/>
                  </a:lnTo>
                  <a:lnTo>
                    <a:pt x="16405" y="2909"/>
                  </a:lnTo>
                  <a:lnTo>
                    <a:pt x="16300" y="2805"/>
                  </a:lnTo>
                  <a:lnTo>
                    <a:pt x="16028" y="2742"/>
                  </a:lnTo>
                  <a:lnTo>
                    <a:pt x="15798" y="2742"/>
                  </a:lnTo>
                  <a:lnTo>
                    <a:pt x="15631" y="2909"/>
                  </a:lnTo>
                  <a:lnTo>
                    <a:pt x="15359" y="2763"/>
                  </a:lnTo>
                  <a:lnTo>
                    <a:pt x="15254" y="2595"/>
                  </a:lnTo>
                  <a:lnTo>
                    <a:pt x="15338" y="2323"/>
                  </a:lnTo>
                  <a:lnTo>
                    <a:pt x="15317" y="2219"/>
                  </a:lnTo>
                  <a:lnTo>
                    <a:pt x="15359" y="2030"/>
                  </a:lnTo>
                  <a:lnTo>
                    <a:pt x="15338" y="1863"/>
                  </a:lnTo>
                  <a:lnTo>
                    <a:pt x="15463" y="963"/>
                  </a:lnTo>
                  <a:lnTo>
                    <a:pt x="15463" y="942"/>
                  </a:lnTo>
                  <a:lnTo>
                    <a:pt x="15422" y="880"/>
                  </a:lnTo>
                  <a:lnTo>
                    <a:pt x="15212" y="838"/>
                  </a:lnTo>
                  <a:lnTo>
                    <a:pt x="14982" y="859"/>
                  </a:lnTo>
                  <a:lnTo>
                    <a:pt x="14982" y="922"/>
                  </a:lnTo>
                  <a:lnTo>
                    <a:pt x="14857" y="984"/>
                  </a:lnTo>
                  <a:lnTo>
                    <a:pt x="14752" y="984"/>
                  </a:lnTo>
                  <a:lnTo>
                    <a:pt x="14710" y="942"/>
                  </a:lnTo>
                  <a:lnTo>
                    <a:pt x="14606" y="1026"/>
                  </a:lnTo>
                  <a:lnTo>
                    <a:pt x="14501" y="963"/>
                  </a:lnTo>
                  <a:lnTo>
                    <a:pt x="14438" y="880"/>
                  </a:lnTo>
                  <a:lnTo>
                    <a:pt x="14313" y="775"/>
                  </a:lnTo>
                  <a:lnTo>
                    <a:pt x="14208" y="775"/>
                  </a:lnTo>
                  <a:lnTo>
                    <a:pt x="14020" y="838"/>
                  </a:lnTo>
                  <a:lnTo>
                    <a:pt x="13999" y="775"/>
                  </a:lnTo>
                  <a:lnTo>
                    <a:pt x="13894" y="775"/>
                  </a:lnTo>
                  <a:lnTo>
                    <a:pt x="13790" y="859"/>
                  </a:lnTo>
                  <a:lnTo>
                    <a:pt x="13769" y="984"/>
                  </a:lnTo>
                  <a:lnTo>
                    <a:pt x="13685" y="1068"/>
                  </a:lnTo>
                  <a:lnTo>
                    <a:pt x="13559" y="1131"/>
                  </a:lnTo>
                  <a:lnTo>
                    <a:pt x="13476" y="1256"/>
                  </a:lnTo>
                  <a:lnTo>
                    <a:pt x="13476" y="1298"/>
                  </a:lnTo>
                  <a:lnTo>
                    <a:pt x="13455" y="1403"/>
                  </a:lnTo>
                  <a:lnTo>
                    <a:pt x="13350" y="1507"/>
                  </a:lnTo>
                  <a:lnTo>
                    <a:pt x="12973" y="1507"/>
                  </a:lnTo>
                  <a:lnTo>
                    <a:pt x="12869" y="1612"/>
                  </a:lnTo>
                  <a:lnTo>
                    <a:pt x="12743" y="1612"/>
                  </a:lnTo>
                  <a:lnTo>
                    <a:pt x="12534" y="1758"/>
                  </a:lnTo>
                  <a:lnTo>
                    <a:pt x="12429" y="1905"/>
                  </a:lnTo>
                  <a:lnTo>
                    <a:pt x="12367" y="1905"/>
                  </a:lnTo>
                  <a:lnTo>
                    <a:pt x="12283" y="1863"/>
                  </a:lnTo>
                  <a:lnTo>
                    <a:pt x="12137" y="1863"/>
                  </a:lnTo>
                  <a:lnTo>
                    <a:pt x="12095" y="1884"/>
                  </a:lnTo>
                  <a:lnTo>
                    <a:pt x="11927" y="1905"/>
                  </a:lnTo>
                  <a:lnTo>
                    <a:pt x="11593" y="1905"/>
                  </a:lnTo>
                  <a:lnTo>
                    <a:pt x="11362" y="1863"/>
                  </a:lnTo>
                  <a:lnTo>
                    <a:pt x="11090" y="1884"/>
                  </a:lnTo>
                  <a:lnTo>
                    <a:pt x="11028" y="1884"/>
                  </a:lnTo>
                  <a:lnTo>
                    <a:pt x="10923" y="1758"/>
                  </a:lnTo>
                  <a:lnTo>
                    <a:pt x="10839" y="1758"/>
                  </a:lnTo>
                  <a:lnTo>
                    <a:pt x="10756" y="1696"/>
                  </a:lnTo>
                  <a:lnTo>
                    <a:pt x="10651" y="1612"/>
                  </a:lnTo>
                  <a:lnTo>
                    <a:pt x="10609" y="1445"/>
                  </a:lnTo>
                  <a:lnTo>
                    <a:pt x="10525" y="1382"/>
                  </a:lnTo>
                  <a:lnTo>
                    <a:pt x="10421" y="1403"/>
                  </a:lnTo>
                  <a:lnTo>
                    <a:pt x="10232" y="1403"/>
                  </a:lnTo>
                  <a:lnTo>
                    <a:pt x="10044" y="1340"/>
                  </a:lnTo>
                  <a:lnTo>
                    <a:pt x="9919" y="1173"/>
                  </a:lnTo>
                  <a:lnTo>
                    <a:pt x="9521" y="1173"/>
                  </a:lnTo>
                  <a:lnTo>
                    <a:pt x="9396" y="1089"/>
                  </a:lnTo>
                  <a:lnTo>
                    <a:pt x="9270" y="1131"/>
                  </a:lnTo>
                  <a:lnTo>
                    <a:pt x="9103" y="1152"/>
                  </a:lnTo>
                  <a:lnTo>
                    <a:pt x="8977" y="1194"/>
                  </a:lnTo>
                  <a:lnTo>
                    <a:pt x="8768" y="1214"/>
                  </a:lnTo>
                  <a:lnTo>
                    <a:pt x="8580" y="1277"/>
                  </a:lnTo>
                  <a:lnTo>
                    <a:pt x="8517" y="1382"/>
                  </a:lnTo>
                  <a:lnTo>
                    <a:pt x="8433" y="1403"/>
                  </a:lnTo>
                  <a:lnTo>
                    <a:pt x="8349" y="1382"/>
                  </a:lnTo>
                  <a:lnTo>
                    <a:pt x="8266" y="1382"/>
                  </a:lnTo>
                  <a:lnTo>
                    <a:pt x="8182" y="1445"/>
                  </a:lnTo>
                  <a:lnTo>
                    <a:pt x="8015" y="1445"/>
                  </a:lnTo>
                  <a:lnTo>
                    <a:pt x="7952" y="1466"/>
                  </a:lnTo>
                  <a:lnTo>
                    <a:pt x="7889" y="1466"/>
                  </a:lnTo>
                  <a:lnTo>
                    <a:pt x="7722" y="1361"/>
                  </a:lnTo>
                  <a:lnTo>
                    <a:pt x="7533" y="1340"/>
                  </a:lnTo>
                  <a:lnTo>
                    <a:pt x="7512" y="1256"/>
                  </a:lnTo>
                  <a:lnTo>
                    <a:pt x="7387" y="1152"/>
                  </a:lnTo>
                  <a:lnTo>
                    <a:pt x="7324" y="1152"/>
                  </a:lnTo>
                  <a:lnTo>
                    <a:pt x="7261" y="1089"/>
                  </a:lnTo>
                  <a:lnTo>
                    <a:pt x="7261" y="984"/>
                  </a:lnTo>
                  <a:lnTo>
                    <a:pt x="7199" y="859"/>
                  </a:lnTo>
                  <a:lnTo>
                    <a:pt x="7136" y="817"/>
                  </a:lnTo>
                  <a:lnTo>
                    <a:pt x="7136" y="691"/>
                  </a:lnTo>
                  <a:lnTo>
                    <a:pt x="7094" y="629"/>
                  </a:lnTo>
                  <a:lnTo>
                    <a:pt x="7094" y="566"/>
                  </a:lnTo>
                  <a:lnTo>
                    <a:pt x="7052" y="461"/>
                  </a:lnTo>
                  <a:lnTo>
                    <a:pt x="6947" y="440"/>
                  </a:lnTo>
                  <a:lnTo>
                    <a:pt x="6696" y="440"/>
                  </a:lnTo>
                  <a:lnTo>
                    <a:pt x="6592" y="419"/>
                  </a:lnTo>
                  <a:lnTo>
                    <a:pt x="6529" y="398"/>
                  </a:lnTo>
                  <a:lnTo>
                    <a:pt x="6383" y="357"/>
                  </a:lnTo>
                  <a:lnTo>
                    <a:pt x="6341" y="315"/>
                  </a:lnTo>
                  <a:lnTo>
                    <a:pt x="6257" y="252"/>
                  </a:lnTo>
                  <a:lnTo>
                    <a:pt x="5901" y="252"/>
                  </a:lnTo>
                  <a:lnTo>
                    <a:pt x="5755" y="210"/>
                  </a:lnTo>
                  <a:lnTo>
                    <a:pt x="5734" y="168"/>
                  </a:lnTo>
                  <a:lnTo>
                    <a:pt x="5567" y="105"/>
                  </a:lnTo>
                  <a:lnTo>
                    <a:pt x="5441" y="43"/>
                  </a:lnTo>
                  <a:lnTo>
                    <a:pt x="537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1" name="Google Shape;821;p34"/>
            <p:cNvSpPr/>
            <p:nvPr/>
          </p:nvSpPr>
          <p:spPr>
            <a:xfrm>
              <a:off x="4718522" y="3165089"/>
              <a:ext cx="67277" cy="54986"/>
            </a:xfrm>
            <a:custGeom>
              <a:avLst/>
              <a:gdLst/>
              <a:ahLst/>
              <a:cxnLst/>
              <a:rect l="l" t="t" r="r" b="b"/>
              <a:pathLst>
                <a:path w="5650" h="4835" extrusionOk="0">
                  <a:moveTo>
                    <a:pt x="126" y="1"/>
                  </a:moveTo>
                  <a:lnTo>
                    <a:pt x="42" y="2156"/>
                  </a:lnTo>
                  <a:lnTo>
                    <a:pt x="21" y="2323"/>
                  </a:lnTo>
                  <a:lnTo>
                    <a:pt x="21" y="2407"/>
                  </a:lnTo>
                  <a:lnTo>
                    <a:pt x="21" y="2470"/>
                  </a:lnTo>
                  <a:lnTo>
                    <a:pt x="0" y="3872"/>
                  </a:lnTo>
                  <a:lnTo>
                    <a:pt x="168" y="3872"/>
                  </a:lnTo>
                  <a:lnTo>
                    <a:pt x="251" y="3892"/>
                  </a:lnTo>
                  <a:lnTo>
                    <a:pt x="356" y="3872"/>
                  </a:lnTo>
                  <a:lnTo>
                    <a:pt x="732" y="3872"/>
                  </a:lnTo>
                  <a:lnTo>
                    <a:pt x="753" y="3934"/>
                  </a:lnTo>
                  <a:lnTo>
                    <a:pt x="837" y="3997"/>
                  </a:lnTo>
                  <a:lnTo>
                    <a:pt x="942" y="4039"/>
                  </a:lnTo>
                  <a:lnTo>
                    <a:pt x="1046" y="3955"/>
                  </a:lnTo>
                  <a:lnTo>
                    <a:pt x="1256" y="3892"/>
                  </a:lnTo>
                  <a:lnTo>
                    <a:pt x="1276" y="3851"/>
                  </a:lnTo>
                  <a:lnTo>
                    <a:pt x="1318" y="3892"/>
                  </a:lnTo>
                  <a:lnTo>
                    <a:pt x="1381" y="3830"/>
                  </a:lnTo>
                  <a:lnTo>
                    <a:pt x="1360" y="3662"/>
                  </a:lnTo>
                  <a:lnTo>
                    <a:pt x="1214" y="3558"/>
                  </a:lnTo>
                  <a:lnTo>
                    <a:pt x="1046" y="3474"/>
                  </a:lnTo>
                  <a:lnTo>
                    <a:pt x="900" y="3453"/>
                  </a:lnTo>
                  <a:lnTo>
                    <a:pt x="858" y="3411"/>
                  </a:lnTo>
                  <a:lnTo>
                    <a:pt x="753" y="3369"/>
                  </a:lnTo>
                  <a:lnTo>
                    <a:pt x="732" y="3369"/>
                  </a:lnTo>
                  <a:lnTo>
                    <a:pt x="670" y="3328"/>
                  </a:lnTo>
                  <a:lnTo>
                    <a:pt x="649" y="3202"/>
                  </a:lnTo>
                  <a:lnTo>
                    <a:pt x="544" y="3056"/>
                  </a:lnTo>
                  <a:lnTo>
                    <a:pt x="440" y="3014"/>
                  </a:lnTo>
                  <a:lnTo>
                    <a:pt x="419" y="2930"/>
                  </a:lnTo>
                  <a:lnTo>
                    <a:pt x="335" y="2846"/>
                  </a:lnTo>
                  <a:lnTo>
                    <a:pt x="419" y="2909"/>
                  </a:lnTo>
                  <a:lnTo>
                    <a:pt x="440" y="3014"/>
                  </a:lnTo>
                  <a:lnTo>
                    <a:pt x="523" y="3014"/>
                  </a:lnTo>
                  <a:lnTo>
                    <a:pt x="649" y="3097"/>
                  </a:lnTo>
                  <a:lnTo>
                    <a:pt x="670" y="3202"/>
                  </a:lnTo>
                  <a:lnTo>
                    <a:pt x="670" y="3328"/>
                  </a:lnTo>
                  <a:lnTo>
                    <a:pt x="732" y="3328"/>
                  </a:lnTo>
                  <a:lnTo>
                    <a:pt x="879" y="3348"/>
                  </a:lnTo>
                  <a:lnTo>
                    <a:pt x="963" y="3432"/>
                  </a:lnTo>
                  <a:lnTo>
                    <a:pt x="1151" y="3432"/>
                  </a:lnTo>
                  <a:lnTo>
                    <a:pt x="1297" y="3369"/>
                  </a:lnTo>
                  <a:lnTo>
                    <a:pt x="1423" y="3411"/>
                  </a:lnTo>
                  <a:lnTo>
                    <a:pt x="1507" y="3348"/>
                  </a:lnTo>
                  <a:lnTo>
                    <a:pt x="1486" y="3328"/>
                  </a:lnTo>
                  <a:lnTo>
                    <a:pt x="1402" y="3244"/>
                  </a:lnTo>
                  <a:lnTo>
                    <a:pt x="1360" y="3160"/>
                  </a:lnTo>
                  <a:lnTo>
                    <a:pt x="1276" y="3202"/>
                  </a:lnTo>
                  <a:lnTo>
                    <a:pt x="1256" y="3118"/>
                  </a:lnTo>
                  <a:lnTo>
                    <a:pt x="1297" y="3160"/>
                  </a:lnTo>
                  <a:lnTo>
                    <a:pt x="1423" y="3139"/>
                  </a:lnTo>
                  <a:lnTo>
                    <a:pt x="1507" y="3244"/>
                  </a:lnTo>
                  <a:lnTo>
                    <a:pt x="1611" y="3244"/>
                  </a:lnTo>
                  <a:lnTo>
                    <a:pt x="1569" y="3202"/>
                  </a:lnTo>
                  <a:lnTo>
                    <a:pt x="1569" y="3118"/>
                  </a:lnTo>
                  <a:lnTo>
                    <a:pt x="1611" y="3056"/>
                  </a:lnTo>
                  <a:lnTo>
                    <a:pt x="1611" y="3014"/>
                  </a:lnTo>
                  <a:lnTo>
                    <a:pt x="1611" y="2930"/>
                  </a:lnTo>
                  <a:lnTo>
                    <a:pt x="1528" y="2825"/>
                  </a:lnTo>
                  <a:lnTo>
                    <a:pt x="1528" y="2804"/>
                  </a:lnTo>
                  <a:lnTo>
                    <a:pt x="1632" y="2846"/>
                  </a:lnTo>
                  <a:lnTo>
                    <a:pt x="1674" y="2909"/>
                  </a:lnTo>
                  <a:lnTo>
                    <a:pt x="1779" y="3014"/>
                  </a:lnTo>
                  <a:lnTo>
                    <a:pt x="1883" y="3035"/>
                  </a:lnTo>
                  <a:lnTo>
                    <a:pt x="1883" y="2993"/>
                  </a:lnTo>
                  <a:lnTo>
                    <a:pt x="1841" y="2909"/>
                  </a:lnTo>
                  <a:lnTo>
                    <a:pt x="1883" y="2930"/>
                  </a:lnTo>
                  <a:lnTo>
                    <a:pt x="1904" y="3035"/>
                  </a:lnTo>
                  <a:lnTo>
                    <a:pt x="1946" y="3035"/>
                  </a:lnTo>
                  <a:lnTo>
                    <a:pt x="1946" y="2951"/>
                  </a:lnTo>
                  <a:lnTo>
                    <a:pt x="1925" y="2888"/>
                  </a:lnTo>
                  <a:lnTo>
                    <a:pt x="1946" y="2784"/>
                  </a:lnTo>
                  <a:lnTo>
                    <a:pt x="2009" y="2825"/>
                  </a:lnTo>
                  <a:lnTo>
                    <a:pt x="2155" y="2888"/>
                  </a:lnTo>
                  <a:lnTo>
                    <a:pt x="2197" y="2951"/>
                  </a:lnTo>
                  <a:lnTo>
                    <a:pt x="2260" y="2993"/>
                  </a:lnTo>
                  <a:lnTo>
                    <a:pt x="2323" y="2951"/>
                  </a:lnTo>
                  <a:lnTo>
                    <a:pt x="2365" y="2993"/>
                  </a:lnTo>
                  <a:lnTo>
                    <a:pt x="2427" y="2930"/>
                  </a:lnTo>
                  <a:lnTo>
                    <a:pt x="2427" y="3014"/>
                  </a:lnTo>
                  <a:lnTo>
                    <a:pt x="2427" y="3097"/>
                  </a:lnTo>
                  <a:lnTo>
                    <a:pt x="2469" y="3097"/>
                  </a:lnTo>
                  <a:lnTo>
                    <a:pt x="2553" y="3160"/>
                  </a:lnTo>
                  <a:lnTo>
                    <a:pt x="2867" y="3244"/>
                  </a:lnTo>
                  <a:lnTo>
                    <a:pt x="2950" y="3307"/>
                  </a:lnTo>
                  <a:lnTo>
                    <a:pt x="3055" y="3411"/>
                  </a:lnTo>
                  <a:lnTo>
                    <a:pt x="3076" y="3558"/>
                  </a:lnTo>
                  <a:lnTo>
                    <a:pt x="3243" y="3746"/>
                  </a:lnTo>
                  <a:lnTo>
                    <a:pt x="3264" y="3830"/>
                  </a:lnTo>
                  <a:lnTo>
                    <a:pt x="3369" y="3872"/>
                  </a:lnTo>
                  <a:lnTo>
                    <a:pt x="3453" y="3955"/>
                  </a:lnTo>
                  <a:lnTo>
                    <a:pt x="3473" y="4039"/>
                  </a:lnTo>
                  <a:lnTo>
                    <a:pt x="3725" y="4290"/>
                  </a:lnTo>
                  <a:lnTo>
                    <a:pt x="3725" y="4374"/>
                  </a:lnTo>
                  <a:lnTo>
                    <a:pt x="3829" y="4457"/>
                  </a:lnTo>
                  <a:lnTo>
                    <a:pt x="3997" y="4499"/>
                  </a:lnTo>
                  <a:lnTo>
                    <a:pt x="4080" y="4478"/>
                  </a:lnTo>
                  <a:lnTo>
                    <a:pt x="4122" y="4478"/>
                  </a:lnTo>
                  <a:lnTo>
                    <a:pt x="4206" y="4520"/>
                  </a:lnTo>
                  <a:lnTo>
                    <a:pt x="4394" y="4499"/>
                  </a:lnTo>
                  <a:lnTo>
                    <a:pt x="4520" y="4562"/>
                  </a:lnTo>
                  <a:lnTo>
                    <a:pt x="4624" y="4520"/>
                  </a:lnTo>
                  <a:lnTo>
                    <a:pt x="4771" y="4562"/>
                  </a:lnTo>
                  <a:lnTo>
                    <a:pt x="4875" y="4604"/>
                  </a:lnTo>
                  <a:lnTo>
                    <a:pt x="5022" y="4583"/>
                  </a:lnTo>
                  <a:lnTo>
                    <a:pt x="5064" y="4667"/>
                  </a:lnTo>
                  <a:lnTo>
                    <a:pt x="5168" y="4667"/>
                  </a:lnTo>
                  <a:lnTo>
                    <a:pt x="5189" y="4688"/>
                  </a:lnTo>
                  <a:lnTo>
                    <a:pt x="5126" y="4729"/>
                  </a:lnTo>
                  <a:lnTo>
                    <a:pt x="5252" y="4771"/>
                  </a:lnTo>
                  <a:lnTo>
                    <a:pt x="5378" y="4834"/>
                  </a:lnTo>
                  <a:lnTo>
                    <a:pt x="5503" y="4813"/>
                  </a:lnTo>
                  <a:lnTo>
                    <a:pt x="5545" y="4729"/>
                  </a:lnTo>
                  <a:lnTo>
                    <a:pt x="5398" y="4667"/>
                  </a:lnTo>
                  <a:lnTo>
                    <a:pt x="5357" y="4667"/>
                  </a:lnTo>
                  <a:lnTo>
                    <a:pt x="5357" y="4604"/>
                  </a:lnTo>
                  <a:lnTo>
                    <a:pt x="5461" y="4583"/>
                  </a:lnTo>
                  <a:lnTo>
                    <a:pt x="5545" y="4604"/>
                  </a:lnTo>
                  <a:lnTo>
                    <a:pt x="5650" y="4562"/>
                  </a:lnTo>
                  <a:lnTo>
                    <a:pt x="5440" y="4499"/>
                  </a:lnTo>
                  <a:lnTo>
                    <a:pt x="5168" y="4478"/>
                  </a:lnTo>
                  <a:lnTo>
                    <a:pt x="5043" y="4395"/>
                  </a:lnTo>
                  <a:lnTo>
                    <a:pt x="4980" y="4311"/>
                  </a:lnTo>
                  <a:lnTo>
                    <a:pt x="5126" y="4269"/>
                  </a:lnTo>
                  <a:lnTo>
                    <a:pt x="5189" y="4269"/>
                  </a:lnTo>
                  <a:lnTo>
                    <a:pt x="5252" y="4248"/>
                  </a:lnTo>
                  <a:lnTo>
                    <a:pt x="5168" y="4185"/>
                  </a:lnTo>
                  <a:lnTo>
                    <a:pt x="4959" y="4185"/>
                  </a:lnTo>
                  <a:lnTo>
                    <a:pt x="4771" y="4164"/>
                  </a:lnTo>
                  <a:lnTo>
                    <a:pt x="4708" y="4081"/>
                  </a:lnTo>
                  <a:lnTo>
                    <a:pt x="4708" y="3997"/>
                  </a:lnTo>
                  <a:lnTo>
                    <a:pt x="4771" y="3934"/>
                  </a:lnTo>
                  <a:lnTo>
                    <a:pt x="4813" y="3851"/>
                  </a:lnTo>
                  <a:lnTo>
                    <a:pt x="4750" y="3788"/>
                  </a:lnTo>
                  <a:lnTo>
                    <a:pt x="4666" y="3788"/>
                  </a:lnTo>
                  <a:lnTo>
                    <a:pt x="4624" y="3830"/>
                  </a:lnTo>
                  <a:lnTo>
                    <a:pt x="4541" y="3788"/>
                  </a:lnTo>
                  <a:lnTo>
                    <a:pt x="4457" y="3830"/>
                  </a:lnTo>
                  <a:lnTo>
                    <a:pt x="4352" y="3683"/>
                  </a:lnTo>
                  <a:lnTo>
                    <a:pt x="4352" y="3537"/>
                  </a:lnTo>
                  <a:lnTo>
                    <a:pt x="4248" y="3516"/>
                  </a:lnTo>
                  <a:lnTo>
                    <a:pt x="4143" y="3244"/>
                  </a:lnTo>
                  <a:lnTo>
                    <a:pt x="4101" y="3223"/>
                  </a:lnTo>
                  <a:lnTo>
                    <a:pt x="4080" y="3139"/>
                  </a:lnTo>
                  <a:lnTo>
                    <a:pt x="3934" y="3139"/>
                  </a:lnTo>
                  <a:lnTo>
                    <a:pt x="3871" y="3097"/>
                  </a:lnTo>
                  <a:lnTo>
                    <a:pt x="3808" y="2951"/>
                  </a:lnTo>
                  <a:lnTo>
                    <a:pt x="3683" y="2825"/>
                  </a:lnTo>
                  <a:lnTo>
                    <a:pt x="3662" y="2700"/>
                  </a:lnTo>
                  <a:lnTo>
                    <a:pt x="3578" y="2616"/>
                  </a:lnTo>
                  <a:lnTo>
                    <a:pt x="3494" y="2512"/>
                  </a:lnTo>
                  <a:lnTo>
                    <a:pt x="3515" y="2470"/>
                  </a:lnTo>
                  <a:lnTo>
                    <a:pt x="3766" y="2491"/>
                  </a:lnTo>
                  <a:lnTo>
                    <a:pt x="3976" y="2386"/>
                  </a:lnTo>
                  <a:lnTo>
                    <a:pt x="4017" y="2281"/>
                  </a:lnTo>
                  <a:lnTo>
                    <a:pt x="3997" y="2156"/>
                  </a:lnTo>
                  <a:lnTo>
                    <a:pt x="3829" y="1988"/>
                  </a:lnTo>
                  <a:lnTo>
                    <a:pt x="3704" y="1968"/>
                  </a:lnTo>
                  <a:lnTo>
                    <a:pt x="3662" y="1988"/>
                  </a:lnTo>
                  <a:lnTo>
                    <a:pt x="3557" y="1947"/>
                  </a:lnTo>
                  <a:lnTo>
                    <a:pt x="3348" y="1842"/>
                  </a:lnTo>
                  <a:lnTo>
                    <a:pt x="3243" y="1737"/>
                  </a:lnTo>
                  <a:lnTo>
                    <a:pt x="3097" y="1758"/>
                  </a:lnTo>
                  <a:lnTo>
                    <a:pt x="2846" y="1654"/>
                  </a:lnTo>
                  <a:lnTo>
                    <a:pt x="2825" y="1570"/>
                  </a:lnTo>
                  <a:lnTo>
                    <a:pt x="2867" y="1444"/>
                  </a:lnTo>
                  <a:lnTo>
                    <a:pt x="2888" y="1340"/>
                  </a:lnTo>
                  <a:lnTo>
                    <a:pt x="2825" y="1235"/>
                  </a:lnTo>
                  <a:lnTo>
                    <a:pt x="2616" y="1026"/>
                  </a:lnTo>
                  <a:lnTo>
                    <a:pt x="2553" y="1026"/>
                  </a:lnTo>
                  <a:lnTo>
                    <a:pt x="2511" y="1047"/>
                  </a:lnTo>
                  <a:lnTo>
                    <a:pt x="2448" y="963"/>
                  </a:lnTo>
                  <a:lnTo>
                    <a:pt x="2344" y="900"/>
                  </a:lnTo>
                  <a:lnTo>
                    <a:pt x="2323" y="817"/>
                  </a:lnTo>
                  <a:lnTo>
                    <a:pt x="2197" y="796"/>
                  </a:lnTo>
                  <a:lnTo>
                    <a:pt x="2134" y="712"/>
                  </a:lnTo>
                  <a:lnTo>
                    <a:pt x="2092" y="712"/>
                  </a:lnTo>
                  <a:lnTo>
                    <a:pt x="1988" y="649"/>
                  </a:lnTo>
                  <a:lnTo>
                    <a:pt x="1841" y="649"/>
                  </a:lnTo>
                  <a:lnTo>
                    <a:pt x="1716" y="545"/>
                  </a:lnTo>
                  <a:lnTo>
                    <a:pt x="1590" y="524"/>
                  </a:lnTo>
                  <a:lnTo>
                    <a:pt x="1381" y="398"/>
                  </a:lnTo>
                  <a:lnTo>
                    <a:pt x="1067" y="377"/>
                  </a:lnTo>
                  <a:lnTo>
                    <a:pt x="963" y="315"/>
                  </a:lnTo>
                  <a:lnTo>
                    <a:pt x="879" y="231"/>
                  </a:lnTo>
                  <a:lnTo>
                    <a:pt x="837" y="231"/>
                  </a:lnTo>
                  <a:lnTo>
                    <a:pt x="795" y="273"/>
                  </a:lnTo>
                  <a:lnTo>
                    <a:pt x="565" y="189"/>
                  </a:lnTo>
                  <a:lnTo>
                    <a:pt x="523" y="126"/>
                  </a:lnTo>
                  <a:lnTo>
                    <a:pt x="419" y="84"/>
                  </a:lnTo>
                  <a:lnTo>
                    <a:pt x="23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2" name="Google Shape;822;p34"/>
            <p:cNvSpPr/>
            <p:nvPr/>
          </p:nvSpPr>
          <p:spPr>
            <a:xfrm>
              <a:off x="4567785" y="3016610"/>
              <a:ext cx="54822" cy="91389"/>
            </a:xfrm>
            <a:custGeom>
              <a:avLst/>
              <a:gdLst/>
              <a:ahLst/>
              <a:cxnLst/>
              <a:rect l="l" t="t" r="r" b="b"/>
              <a:pathLst>
                <a:path w="4604" h="8036" extrusionOk="0">
                  <a:moveTo>
                    <a:pt x="586" y="0"/>
                  </a:moveTo>
                  <a:lnTo>
                    <a:pt x="440" y="63"/>
                  </a:lnTo>
                  <a:lnTo>
                    <a:pt x="419" y="189"/>
                  </a:lnTo>
                  <a:lnTo>
                    <a:pt x="314" y="419"/>
                  </a:lnTo>
                  <a:lnTo>
                    <a:pt x="335" y="565"/>
                  </a:lnTo>
                  <a:lnTo>
                    <a:pt x="335" y="795"/>
                  </a:lnTo>
                  <a:lnTo>
                    <a:pt x="251" y="1088"/>
                  </a:lnTo>
                  <a:lnTo>
                    <a:pt x="210" y="1214"/>
                  </a:lnTo>
                  <a:lnTo>
                    <a:pt x="272" y="1402"/>
                  </a:lnTo>
                  <a:lnTo>
                    <a:pt x="272" y="1465"/>
                  </a:lnTo>
                  <a:lnTo>
                    <a:pt x="210" y="1528"/>
                  </a:lnTo>
                  <a:lnTo>
                    <a:pt x="105" y="1507"/>
                  </a:lnTo>
                  <a:lnTo>
                    <a:pt x="21" y="1402"/>
                  </a:lnTo>
                  <a:lnTo>
                    <a:pt x="0" y="1528"/>
                  </a:lnTo>
                  <a:lnTo>
                    <a:pt x="21" y="1653"/>
                  </a:lnTo>
                  <a:lnTo>
                    <a:pt x="105" y="1653"/>
                  </a:lnTo>
                  <a:lnTo>
                    <a:pt x="126" y="1716"/>
                  </a:lnTo>
                  <a:lnTo>
                    <a:pt x="63" y="1779"/>
                  </a:lnTo>
                  <a:lnTo>
                    <a:pt x="126" y="1946"/>
                  </a:lnTo>
                  <a:lnTo>
                    <a:pt x="210" y="2093"/>
                  </a:lnTo>
                  <a:lnTo>
                    <a:pt x="210" y="2302"/>
                  </a:lnTo>
                  <a:lnTo>
                    <a:pt x="251" y="2344"/>
                  </a:lnTo>
                  <a:lnTo>
                    <a:pt x="314" y="2302"/>
                  </a:lnTo>
                  <a:lnTo>
                    <a:pt x="356" y="2344"/>
                  </a:lnTo>
                  <a:lnTo>
                    <a:pt x="356" y="2448"/>
                  </a:lnTo>
                  <a:lnTo>
                    <a:pt x="461" y="2595"/>
                  </a:lnTo>
                  <a:lnTo>
                    <a:pt x="544" y="2595"/>
                  </a:lnTo>
                  <a:lnTo>
                    <a:pt x="628" y="2511"/>
                  </a:lnTo>
                  <a:lnTo>
                    <a:pt x="565" y="2448"/>
                  </a:lnTo>
                  <a:lnTo>
                    <a:pt x="565" y="2365"/>
                  </a:lnTo>
                  <a:lnTo>
                    <a:pt x="691" y="2365"/>
                  </a:lnTo>
                  <a:lnTo>
                    <a:pt x="795" y="2448"/>
                  </a:lnTo>
                  <a:lnTo>
                    <a:pt x="670" y="2595"/>
                  </a:lnTo>
                  <a:lnTo>
                    <a:pt x="628" y="2679"/>
                  </a:lnTo>
                  <a:lnTo>
                    <a:pt x="628" y="2762"/>
                  </a:lnTo>
                  <a:lnTo>
                    <a:pt x="628" y="2888"/>
                  </a:lnTo>
                  <a:lnTo>
                    <a:pt x="691" y="3013"/>
                  </a:lnTo>
                  <a:lnTo>
                    <a:pt x="733" y="2909"/>
                  </a:lnTo>
                  <a:lnTo>
                    <a:pt x="795" y="2888"/>
                  </a:lnTo>
                  <a:lnTo>
                    <a:pt x="858" y="2992"/>
                  </a:lnTo>
                  <a:lnTo>
                    <a:pt x="795" y="3097"/>
                  </a:lnTo>
                  <a:lnTo>
                    <a:pt x="795" y="3097"/>
                  </a:lnTo>
                  <a:lnTo>
                    <a:pt x="879" y="3076"/>
                  </a:lnTo>
                  <a:lnTo>
                    <a:pt x="963" y="3013"/>
                  </a:lnTo>
                  <a:cubicBezTo>
                    <a:pt x="963" y="3097"/>
                    <a:pt x="963" y="3181"/>
                    <a:pt x="984" y="3244"/>
                  </a:cubicBezTo>
                  <a:lnTo>
                    <a:pt x="900" y="3181"/>
                  </a:lnTo>
                  <a:lnTo>
                    <a:pt x="775" y="3202"/>
                  </a:lnTo>
                  <a:lnTo>
                    <a:pt x="649" y="3139"/>
                  </a:lnTo>
                  <a:lnTo>
                    <a:pt x="544" y="3202"/>
                  </a:lnTo>
                  <a:lnTo>
                    <a:pt x="565" y="3244"/>
                  </a:lnTo>
                  <a:lnTo>
                    <a:pt x="649" y="3244"/>
                  </a:lnTo>
                  <a:lnTo>
                    <a:pt x="670" y="3390"/>
                  </a:lnTo>
                  <a:lnTo>
                    <a:pt x="754" y="3411"/>
                  </a:lnTo>
                  <a:lnTo>
                    <a:pt x="816" y="3516"/>
                  </a:lnTo>
                  <a:lnTo>
                    <a:pt x="816" y="3704"/>
                  </a:lnTo>
                  <a:lnTo>
                    <a:pt x="900" y="3746"/>
                  </a:lnTo>
                  <a:lnTo>
                    <a:pt x="900" y="3850"/>
                  </a:lnTo>
                  <a:lnTo>
                    <a:pt x="1005" y="3976"/>
                  </a:lnTo>
                  <a:lnTo>
                    <a:pt x="1109" y="4018"/>
                  </a:lnTo>
                  <a:lnTo>
                    <a:pt x="1214" y="3934"/>
                  </a:lnTo>
                  <a:lnTo>
                    <a:pt x="1214" y="3850"/>
                  </a:lnTo>
                  <a:lnTo>
                    <a:pt x="1277" y="3829"/>
                  </a:lnTo>
                  <a:lnTo>
                    <a:pt x="1277" y="3725"/>
                  </a:lnTo>
                  <a:lnTo>
                    <a:pt x="1214" y="3641"/>
                  </a:lnTo>
                  <a:lnTo>
                    <a:pt x="1277" y="3557"/>
                  </a:lnTo>
                  <a:lnTo>
                    <a:pt x="1277" y="3453"/>
                  </a:lnTo>
                  <a:lnTo>
                    <a:pt x="1172" y="3411"/>
                  </a:lnTo>
                  <a:lnTo>
                    <a:pt x="1109" y="3348"/>
                  </a:lnTo>
                  <a:cubicBezTo>
                    <a:pt x="1130" y="3306"/>
                    <a:pt x="1130" y="3223"/>
                    <a:pt x="1130" y="3181"/>
                  </a:cubicBezTo>
                  <a:lnTo>
                    <a:pt x="1235" y="3097"/>
                  </a:lnTo>
                  <a:lnTo>
                    <a:pt x="1214" y="3013"/>
                  </a:lnTo>
                  <a:lnTo>
                    <a:pt x="1277" y="2930"/>
                  </a:lnTo>
                  <a:lnTo>
                    <a:pt x="1402" y="2930"/>
                  </a:lnTo>
                  <a:lnTo>
                    <a:pt x="1632" y="3034"/>
                  </a:lnTo>
                  <a:lnTo>
                    <a:pt x="1695" y="3118"/>
                  </a:lnTo>
                  <a:lnTo>
                    <a:pt x="1821" y="3202"/>
                  </a:lnTo>
                  <a:lnTo>
                    <a:pt x="1904" y="3327"/>
                  </a:lnTo>
                  <a:lnTo>
                    <a:pt x="1863" y="3306"/>
                  </a:lnTo>
                  <a:cubicBezTo>
                    <a:pt x="1800" y="3264"/>
                    <a:pt x="1716" y="3264"/>
                    <a:pt x="1632" y="3264"/>
                  </a:cubicBezTo>
                  <a:lnTo>
                    <a:pt x="1653" y="3244"/>
                  </a:lnTo>
                  <a:lnTo>
                    <a:pt x="1611" y="3139"/>
                  </a:lnTo>
                  <a:lnTo>
                    <a:pt x="1507" y="3097"/>
                  </a:lnTo>
                  <a:lnTo>
                    <a:pt x="1444" y="3181"/>
                  </a:lnTo>
                  <a:lnTo>
                    <a:pt x="1486" y="3244"/>
                  </a:lnTo>
                  <a:lnTo>
                    <a:pt x="1528" y="3285"/>
                  </a:lnTo>
                  <a:cubicBezTo>
                    <a:pt x="1507" y="3285"/>
                    <a:pt x="1486" y="3306"/>
                    <a:pt x="1444" y="3306"/>
                  </a:cubicBezTo>
                  <a:lnTo>
                    <a:pt x="1444" y="3327"/>
                  </a:lnTo>
                  <a:lnTo>
                    <a:pt x="1591" y="3327"/>
                  </a:lnTo>
                  <a:lnTo>
                    <a:pt x="1611" y="3348"/>
                  </a:lnTo>
                  <a:lnTo>
                    <a:pt x="1611" y="3327"/>
                  </a:lnTo>
                  <a:cubicBezTo>
                    <a:pt x="1695" y="3327"/>
                    <a:pt x="1758" y="3348"/>
                    <a:pt x="1842" y="3390"/>
                  </a:cubicBezTo>
                  <a:cubicBezTo>
                    <a:pt x="1850" y="3393"/>
                    <a:pt x="1858" y="3394"/>
                    <a:pt x="1866" y="3394"/>
                  </a:cubicBezTo>
                  <a:cubicBezTo>
                    <a:pt x="1915" y="3394"/>
                    <a:pt x="1946" y="3342"/>
                    <a:pt x="1946" y="3306"/>
                  </a:cubicBezTo>
                  <a:lnTo>
                    <a:pt x="1967" y="3327"/>
                  </a:lnTo>
                  <a:lnTo>
                    <a:pt x="2030" y="3327"/>
                  </a:lnTo>
                  <a:lnTo>
                    <a:pt x="2009" y="3139"/>
                  </a:lnTo>
                  <a:lnTo>
                    <a:pt x="1863" y="2930"/>
                  </a:lnTo>
                  <a:lnTo>
                    <a:pt x="1904" y="2888"/>
                  </a:lnTo>
                  <a:lnTo>
                    <a:pt x="1946" y="2888"/>
                  </a:lnTo>
                  <a:lnTo>
                    <a:pt x="2030" y="2971"/>
                  </a:lnTo>
                  <a:lnTo>
                    <a:pt x="2114" y="2992"/>
                  </a:lnTo>
                  <a:lnTo>
                    <a:pt x="2176" y="3118"/>
                  </a:lnTo>
                  <a:lnTo>
                    <a:pt x="2344" y="3181"/>
                  </a:lnTo>
                  <a:lnTo>
                    <a:pt x="2386" y="3285"/>
                  </a:lnTo>
                  <a:lnTo>
                    <a:pt x="2386" y="3411"/>
                  </a:lnTo>
                  <a:lnTo>
                    <a:pt x="2469" y="3432"/>
                  </a:lnTo>
                  <a:lnTo>
                    <a:pt x="2595" y="3599"/>
                  </a:lnTo>
                  <a:lnTo>
                    <a:pt x="2699" y="3557"/>
                  </a:lnTo>
                  <a:lnTo>
                    <a:pt x="2699" y="3516"/>
                  </a:lnTo>
                  <a:lnTo>
                    <a:pt x="2804" y="3536"/>
                  </a:lnTo>
                  <a:lnTo>
                    <a:pt x="2804" y="3599"/>
                  </a:lnTo>
                  <a:lnTo>
                    <a:pt x="2741" y="3641"/>
                  </a:lnTo>
                  <a:cubicBezTo>
                    <a:pt x="2741" y="3641"/>
                    <a:pt x="2699" y="3641"/>
                    <a:pt x="2699" y="3662"/>
                  </a:cubicBezTo>
                  <a:cubicBezTo>
                    <a:pt x="2783" y="3913"/>
                    <a:pt x="2992" y="4060"/>
                    <a:pt x="3223" y="4122"/>
                  </a:cubicBezTo>
                  <a:lnTo>
                    <a:pt x="3285" y="4122"/>
                  </a:lnTo>
                  <a:lnTo>
                    <a:pt x="3411" y="4269"/>
                  </a:lnTo>
                  <a:lnTo>
                    <a:pt x="3432" y="4290"/>
                  </a:lnTo>
                  <a:lnTo>
                    <a:pt x="3432" y="4332"/>
                  </a:lnTo>
                  <a:cubicBezTo>
                    <a:pt x="3432" y="4352"/>
                    <a:pt x="3411" y="4394"/>
                    <a:pt x="3411" y="4436"/>
                  </a:cubicBezTo>
                  <a:lnTo>
                    <a:pt x="3411" y="4436"/>
                  </a:lnTo>
                  <a:cubicBezTo>
                    <a:pt x="3411" y="4436"/>
                    <a:pt x="3411" y="4394"/>
                    <a:pt x="3453" y="4394"/>
                  </a:cubicBezTo>
                  <a:lnTo>
                    <a:pt x="3495" y="4436"/>
                  </a:lnTo>
                  <a:lnTo>
                    <a:pt x="3599" y="4478"/>
                  </a:lnTo>
                  <a:lnTo>
                    <a:pt x="3620" y="4562"/>
                  </a:lnTo>
                  <a:lnTo>
                    <a:pt x="3808" y="4562"/>
                  </a:lnTo>
                  <a:lnTo>
                    <a:pt x="3829" y="4583"/>
                  </a:lnTo>
                  <a:lnTo>
                    <a:pt x="3871" y="4562"/>
                  </a:lnTo>
                  <a:lnTo>
                    <a:pt x="3913" y="4583"/>
                  </a:lnTo>
                  <a:lnTo>
                    <a:pt x="3871" y="4499"/>
                  </a:lnTo>
                  <a:lnTo>
                    <a:pt x="3829" y="4394"/>
                  </a:lnTo>
                  <a:lnTo>
                    <a:pt x="3788" y="4352"/>
                  </a:lnTo>
                  <a:lnTo>
                    <a:pt x="3788" y="4185"/>
                  </a:lnTo>
                  <a:lnTo>
                    <a:pt x="3767" y="3976"/>
                  </a:lnTo>
                  <a:lnTo>
                    <a:pt x="3767" y="3934"/>
                  </a:lnTo>
                  <a:lnTo>
                    <a:pt x="3704" y="3913"/>
                  </a:lnTo>
                  <a:lnTo>
                    <a:pt x="3599" y="3767"/>
                  </a:lnTo>
                  <a:lnTo>
                    <a:pt x="3557" y="3662"/>
                  </a:lnTo>
                  <a:lnTo>
                    <a:pt x="3474" y="3662"/>
                  </a:lnTo>
                  <a:lnTo>
                    <a:pt x="3453" y="3704"/>
                  </a:lnTo>
                  <a:lnTo>
                    <a:pt x="3390" y="3662"/>
                  </a:lnTo>
                  <a:lnTo>
                    <a:pt x="3348" y="3662"/>
                  </a:lnTo>
                  <a:lnTo>
                    <a:pt x="3285" y="3725"/>
                  </a:lnTo>
                  <a:lnTo>
                    <a:pt x="3097" y="3725"/>
                  </a:lnTo>
                  <a:lnTo>
                    <a:pt x="3055" y="3704"/>
                  </a:lnTo>
                  <a:lnTo>
                    <a:pt x="3055" y="3767"/>
                  </a:lnTo>
                  <a:lnTo>
                    <a:pt x="3055" y="3808"/>
                  </a:lnTo>
                  <a:cubicBezTo>
                    <a:pt x="2992" y="3767"/>
                    <a:pt x="2972" y="3746"/>
                    <a:pt x="2930" y="3725"/>
                  </a:cubicBezTo>
                  <a:lnTo>
                    <a:pt x="2951" y="3620"/>
                  </a:lnTo>
                  <a:lnTo>
                    <a:pt x="2951" y="3536"/>
                  </a:lnTo>
                  <a:lnTo>
                    <a:pt x="2992" y="3495"/>
                  </a:lnTo>
                  <a:lnTo>
                    <a:pt x="2951" y="3432"/>
                  </a:lnTo>
                  <a:lnTo>
                    <a:pt x="2846" y="3432"/>
                  </a:lnTo>
                  <a:lnTo>
                    <a:pt x="2762" y="3390"/>
                  </a:lnTo>
                  <a:lnTo>
                    <a:pt x="2658" y="3390"/>
                  </a:lnTo>
                  <a:lnTo>
                    <a:pt x="2658" y="3306"/>
                  </a:lnTo>
                  <a:lnTo>
                    <a:pt x="2574" y="3097"/>
                  </a:lnTo>
                  <a:lnTo>
                    <a:pt x="2553" y="2992"/>
                  </a:lnTo>
                  <a:lnTo>
                    <a:pt x="2616" y="2971"/>
                  </a:lnTo>
                  <a:lnTo>
                    <a:pt x="2658" y="2992"/>
                  </a:lnTo>
                  <a:lnTo>
                    <a:pt x="2741" y="2992"/>
                  </a:lnTo>
                  <a:lnTo>
                    <a:pt x="2720" y="2971"/>
                  </a:lnTo>
                  <a:lnTo>
                    <a:pt x="2616" y="2888"/>
                  </a:lnTo>
                  <a:lnTo>
                    <a:pt x="2469" y="2888"/>
                  </a:lnTo>
                  <a:lnTo>
                    <a:pt x="2427" y="2783"/>
                  </a:lnTo>
                  <a:lnTo>
                    <a:pt x="2365" y="2825"/>
                  </a:lnTo>
                  <a:lnTo>
                    <a:pt x="2365" y="2930"/>
                  </a:lnTo>
                  <a:lnTo>
                    <a:pt x="2302" y="2992"/>
                  </a:lnTo>
                  <a:lnTo>
                    <a:pt x="2239" y="2930"/>
                  </a:lnTo>
                  <a:lnTo>
                    <a:pt x="2260" y="2804"/>
                  </a:lnTo>
                  <a:lnTo>
                    <a:pt x="2197" y="2679"/>
                  </a:lnTo>
                  <a:lnTo>
                    <a:pt x="2009" y="2574"/>
                  </a:lnTo>
                  <a:lnTo>
                    <a:pt x="1904" y="2574"/>
                  </a:lnTo>
                  <a:lnTo>
                    <a:pt x="1737" y="2699"/>
                  </a:lnTo>
                  <a:lnTo>
                    <a:pt x="1716" y="2783"/>
                  </a:lnTo>
                  <a:lnTo>
                    <a:pt x="1632" y="2804"/>
                  </a:lnTo>
                  <a:lnTo>
                    <a:pt x="1507" y="2762"/>
                  </a:lnTo>
                  <a:lnTo>
                    <a:pt x="1465" y="2658"/>
                  </a:lnTo>
                  <a:lnTo>
                    <a:pt x="1381" y="2574"/>
                  </a:lnTo>
                  <a:lnTo>
                    <a:pt x="1381" y="2448"/>
                  </a:lnTo>
                  <a:lnTo>
                    <a:pt x="1423" y="2365"/>
                  </a:lnTo>
                  <a:lnTo>
                    <a:pt x="1360" y="2281"/>
                  </a:lnTo>
                  <a:lnTo>
                    <a:pt x="1088" y="2239"/>
                  </a:lnTo>
                  <a:lnTo>
                    <a:pt x="1026" y="2176"/>
                  </a:lnTo>
                  <a:lnTo>
                    <a:pt x="1067" y="2051"/>
                  </a:lnTo>
                  <a:lnTo>
                    <a:pt x="1109" y="1967"/>
                  </a:lnTo>
                  <a:lnTo>
                    <a:pt x="1109" y="1842"/>
                  </a:lnTo>
                  <a:lnTo>
                    <a:pt x="1172" y="1737"/>
                  </a:lnTo>
                  <a:lnTo>
                    <a:pt x="1360" y="1549"/>
                  </a:lnTo>
                  <a:lnTo>
                    <a:pt x="1423" y="1507"/>
                  </a:lnTo>
                  <a:lnTo>
                    <a:pt x="1402" y="1570"/>
                  </a:lnTo>
                  <a:lnTo>
                    <a:pt x="1402" y="1632"/>
                  </a:lnTo>
                  <a:lnTo>
                    <a:pt x="1507" y="1465"/>
                  </a:lnTo>
                  <a:lnTo>
                    <a:pt x="1486" y="1339"/>
                  </a:lnTo>
                  <a:lnTo>
                    <a:pt x="1549" y="1193"/>
                  </a:lnTo>
                  <a:lnTo>
                    <a:pt x="1611" y="921"/>
                  </a:lnTo>
                  <a:lnTo>
                    <a:pt x="1549" y="837"/>
                  </a:lnTo>
                  <a:lnTo>
                    <a:pt x="1528" y="691"/>
                  </a:lnTo>
                  <a:lnTo>
                    <a:pt x="1465" y="649"/>
                  </a:lnTo>
                  <a:lnTo>
                    <a:pt x="1360" y="482"/>
                  </a:lnTo>
                  <a:lnTo>
                    <a:pt x="1381" y="251"/>
                  </a:lnTo>
                  <a:lnTo>
                    <a:pt x="1381" y="189"/>
                  </a:lnTo>
                  <a:lnTo>
                    <a:pt x="1381" y="105"/>
                  </a:lnTo>
                  <a:lnTo>
                    <a:pt x="1298" y="0"/>
                  </a:lnTo>
                  <a:lnTo>
                    <a:pt x="1256" y="42"/>
                  </a:lnTo>
                  <a:lnTo>
                    <a:pt x="1256" y="84"/>
                  </a:lnTo>
                  <a:lnTo>
                    <a:pt x="1172" y="168"/>
                  </a:lnTo>
                  <a:lnTo>
                    <a:pt x="1005" y="168"/>
                  </a:lnTo>
                  <a:lnTo>
                    <a:pt x="984" y="210"/>
                  </a:lnTo>
                  <a:lnTo>
                    <a:pt x="900" y="168"/>
                  </a:lnTo>
                  <a:lnTo>
                    <a:pt x="795" y="63"/>
                  </a:lnTo>
                  <a:lnTo>
                    <a:pt x="586" y="0"/>
                  </a:lnTo>
                  <a:close/>
                  <a:moveTo>
                    <a:pt x="1842" y="4060"/>
                  </a:moveTo>
                  <a:lnTo>
                    <a:pt x="1716" y="4080"/>
                  </a:lnTo>
                  <a:lnTo>
                    <a:pt x="1695" y="4164"/>
                  </a:lnTo>
                  <a:lnTo>
                    <a:pt x="1821" y="4227"/>
                  </a:lnTo>
                  <a:lnTo>
                    <a:pt x="1883" y="4248"/>
                  </a:lnTo>
                  <a:lnTo>
                    <a:pt x="1883" y="4352"/>
                  </a:lnTo>
                  <a:lnTo>
                    <a:pt x="1842" y="4457"/>
                  </a:lnTo>
                  <a:lnTo>
                    <a:pt x="1842" y="4666"/>
                  </a:lnTo>
                  <a:lnTo>
                    <a:pt x="1800" y="4792"/>
                  </a:lnTo>
                  <a:lnTo>
                    <a:pt x="1842" y="4980"/>
                  </a:lnTo>
                  <a:lnTo>
                    <a:pt x="1904" y="4959"/>
                  </a:lnTo>
                  <a:lnTo>
                    <a:pt x="1925" y="4896"/>
                  </a:lnTo>
                  <a:lnTo>
                    <a:pt x="2051" y="4813"/>
                  </a:lnTo>
                  <a:cubicBezTo>
                    <a:pt x="2093" y="4813"/>
                    <a:pt x="2114" y="4855"/>
                    <a:pt x="2135" y="4855"/>
                  </a:cubicBezTo>
                  <a:lnTo>
                    <a:pt x="2114" y="4959"/>
                  </a:lnTo>
                  <a:lnTo>
                    <a:pt x="2197" y="5001"/>
                  </a:lnTo>
                  <a:lnTo>
                    <a:pt x="2260" y="4917"/>
                  </a:lnTo>
                  <a:cubicBezTo>
                    <a:pt x="2323" y="4959"/>
                    <a:pt x="2344" y="5001"/>
                    <a:pt x="2407" y="5022"/>
                  </a:cubicBezTo>
                  <a:lnTo>
                    <a:pt x="2407" y="5106"/>
                  </a:lnTo>
                  <a:lnTo>
                    <a:pt x="2344" y="5231"/>
                  </a:lnTo>
                  <a:lnTo>
                    <a:pt x="2155" y="5294"/>
                  </a:lnTo>
                  <a:lnTo>
                    <a:pt x="2114" y="5378"/>
                  </a:lnTo>
                  <a:lnTo>
                    <a:pt x="2135" y="5545"/>
                  </a:lnTo>
                  <a:lnTo>
                    <a:pt x="2218" y="5545"/>
                  </a:lnTo>
                  <a:lnTo>
                    <a:pt x="2344" y="5629"/>
                  </a:lnTo>
                  <a:lnTo>
                    <a:pt x="2448" y="5629"/>
                  </a:lnTo>
                  <a:lnTo>
                    <a:pt x="2448" y="5754"/>
                  </a:lnTo>
                  <a:lnTo>
                    <a:pt x="2532" y="5817"/>
                  </a:lnTo>
                  <a:lnTo>
                    <a:pt x="2637" y="5754"/>
                  </a:lnTo>
                  <a:lnTo>
                    <a:pt x="2637" y="5650"/>
                  </a:lnTo>
                  <a:lnTo>
                    <a:pt x="2574" y="5587"/>
                  </a:lnTo>
                  <a:cubicBezTo>
                    <a:pt x="2616" y="5545"/>
                    <a:pt x="2637" y="5545"/>
                    <a:pt x="2658" y="5524"/>
                  </a:cubicBezTo>
                  <a:lnTo>
                    <a:pt x="2658" y="5503"/>
                  </a:lnTo>
                  <a:lnTo>
                    <a:pt x="2679" y="5587"/>
                  </a:lnTo>
                  <a:lnTo>
                    <a:pt x="2762" y="5482"/>
                  </a:lnTo>
                  <a:lnTo>
                    <a:pt x="2804" y="5231"/>
                  </a:lnTo>
                  <a:lnTo>
                    <a:pt x="2972" y="5064"/>
                  </a:lnTo>
                  <a:lnTo>
                    <a:pt x="2992" y="4959"/>
                  </a:lnTo>
                  <a:lnTo>
                    <a:pt x="2972" y="4855"/>
                  </a:lnTo>
                  <a:lnTo>
                    <a:pt x="3034" y="4771"/>
                  </a:lnTo>
                  <a:lnTo>
                    <a:pt x="3034" y="4750"/>
                  </a:lnTo>
                  <a:cubicBezTo>
                    <a:pt x="3087" y="4760"/>
                    <a:pt x="3128" y="4766"/>
                    <a:pt x="3170" y="4766"/>
                  </a:cubicBezTo>
                  <a:cubicBezTo>
                    <a:pt x="3212" y="4766"/>
                    <a:pt x="3254" y="4760"/>
                    <a:pt x="3306" y="4750"/>
                  </a:cubicBezTo>
                  <a:cubicBezTo>
                    <a:pt x="3348" y="4750"/>
                    <a:pt x="3369" y="4708"/>
                    <a:pt x="3369" y="4687"/>
                  </a:cubicBezTo>
                  <a:lnTo>
                    <a:pt x="3411" y="4750"/>
                  </a:lnTo>
                  <a:lnTo>
                    <a:pt x="3411" y="4896"/>
                  </a:lnTo>
                  <a:lnTo>
                    <a:pt x="3411" y="4917"/>
                  </a:lnTo>
                  <a:cubicBezTo>
                    <a:pt x="3390" y="4959"/>
                    <a:pt x="3390" y="4980"/>
                    <a:pt x="3411" y="4980"/>
                  </a:cubicBezTo>
                  <a:cubicBezTo>
                    <a:pt x="3453" y="5001"/>
                    <a:pt x="3453" y="5022"/>
                    <a:pt x="3474" y="5085"/>
                  </a:cubicBezTo>
                  <a:lnTo>
                    <a:pt x="3474" y="5189"/>
                  </a:lnTo>
                  <a:lnTo>
                    <a:pt x="3557" y="5231"/>
                  </a:lnTo>
                  <a:cubicBezTo>
                    <a:pt x="3599" y="5336"/>
                    <a:pt x="3683" y="5482"/>
                    <a:pt x="3704" y="5608"/>
                  </a:cubicBezTo>
                  <a:cubicBezTo>
                    <a:pt x="3716" y="5632"/>
                    <a:pt x="3750" y="5643"/>
                    <a:pt x="3780" y="5643"/>
                  </a:cubicBezTo>
                  <a:cubicBezTo>
                    <a:pt x="3801" y="5643"/>
                    <a:pt x="3821" y="5637"/>
                    <a:pt x="3829" y="5629"/>
                  </a:cubicBezTo>
                  <a:lnTo>
                    <a:pt x="3871" y="5754"/>
                  </a:lnTo>
                  <a:lnTo>
                    <a:pt x="3871" y="5838"/>
                  </a:lnTo>
                  <a:lnTo>
                    <a:pt x="3788" y="5733"/>
                  </a:lnTo>
                  <a:lnTo>
                    <a:pt x="3725" y="5733"/>
                  </a:lnTo>
                  <a:lnTo>
                    <a:pt x="3725" y="5901"/>
                  </a:lnTo>
                  <a:lnTo>
                    <a:pt x="3704" y="5943"/>
                  </a:lnTo>
                  <a:lnTo>
                    <a:pt x="3620" y="5901"/>
                  </a:lnTo>
                  <a:lnTo>
                    <a:pt x="3495" y="5838"/>
                  </a:lnTo>
                  <a:lnTo>
                    <a:pt x="3453" y="6068"/>
                  </a:lnTo>
                  <a:lnTo>
                    <a:pt x="3495" y="6110"/>
                  </a:lnTo>
                  <a:lnTo>
                    <a:pt x="3495" y="6173"/>
                  </a:lnTo>
                  <a:lnTo>
                    <a:pt x="3411" y="6215"/>
                  </a:lnTo>
                  <a:lnTo>
                    <a:pt x="3369" y="6068"/>
                  </a:lnTo>
                  <a:lnTo>
                    <a:pt x="3244" y="6131"/>
                  </a:lnTo>
                  <a:lnTo>
                    <a:pt x="3181" y="6340"/>
                  </a:lnTo>
                  <a:lnTo>
                    <a:pt x="3055" y="6424"/>
                  </a:lnTo>
                  <a:lnTo>
                    <a:pt x="2951" y="6445"/>
                  </a:lnTo>
                  <a:lnTo>
                    <a:pt x="2846" y="6549"/>
                  </a:lnTo>
                  <a:lnTo>
                    <a:pt x="2972" y="6361"/>
                  </a:lnTo>
                  <a:lnTo>
                    <a:pt x="2972" y="6173"/>
                  </a:lnTo>
                  <a:lnTo>
                    <a:pt x="2825" y="6047"/>
                  </a:lnTo>
                  <a:lnTo>
                    <a:pt x="2741" y="6047"/>
                  </a:lnTo>
                  <a:lnTo>
                    <a:pt x="2658" y="6152"/>
                  </a:lnTo>
                  <a:lnTo>
                    <a:pt x="2532" y="6215"/>
                  </a:lnTo>
                  <a:lnTo>
                    <a:pt x="2469" y="6319"/>
                  </a:lnTo>
                  <a:lnTo>
                    <a:pt x="2532" y="6424"/>
                  </a:lnTo>
                  <a:lnTo>
                    <a:pt x="2365" y="6445"/>
                  </a:lnTo>
                  <a:lnTo>
                    <a:pt x="2260" y="6424"/>
                  </a:lnTo>
                  <a:lnTo>
                    <a:pt x="2197" y="6487"/>
                  </a:lnTo>
                  <a:lnTo>
                    <a:pt x="2093" y="6529"/>
                  </a:lnTo>
                  <a:lnTo>
                    <a:pt x="1988" y="6654"/>
                  </a:lnTo>
                  <a:lnTo>
                    <a:pt x="2009" y="6738"/>
                  </a:lnTo>
                  <a:lnTo>
                    <a:pt x="1988" y="6884"/>
                  </a:lnTo>
                  <a:lnTo>
                    <a:pt x="1904" y="7052"/>
                  </a:lnTo>
                  <a:lnTo>
                    <a:pt x="2030" y="7177"/>
                  </a:lnTo>
                  <a:lnTo>
                    <a:pt x="2093" y="7093"/>
                  </a:lnTo>
                  <a:lnTo>
                    <a:pt x="2155" y="6863"/>
                  </a:lnTo>
                  <a:lnTo>
                    <a:pt x="2239" y="6801"/>
                  </a:lnTo>
                  <a:lnTo>
                    <a:pt x="2302" y="6675"/>
                  </a:lnTo>
                  <a:lnTo>
                    <a:pt x="2344" y="6654"/>
                  </a:lnTo>
                  <a:lnTo>
                    <a:pt x="2427" y="6738"/>
                  </a:lnTo>
                  <a:lnTo>
                    <a:pt x="2407" y="6863"/>
                  </a:lnTo>
                  <a:lnTo>
                    <a:pt x="2427" y="6884"/>
                  </a:lnTo>
                  <a:lnTo>
                    <a:pt x="2469" y="6863"/>
                  </a:lnTo>
                  <a:lnTo>
                    <a:pt x="2532" y="6884"/>
                  </a:lnTo>
                  <a:lnTo>
                    <a:pt x="2532" y="6780"/>
                  </a:lnTo>
                  <a:lnTo>
                    <a:pt x="2574" y="6759"/>
                  </a:lnTo>
                  <a:lnTo>
                    <a:pt x="2637" y="6780"/>
                  </a:lnTo>
                  <a:lnTo>
                    <a:pt x="2616" y="6863"/>
                  </a:lnTo>
                  <a:lnTo>
                    <a:pt x="2658" y="6863"/>
                  </a:lnTo>
                  <a:lnTo>
                    <a:pt x="2762" y="6947"/>
                  </a:lnTo>
                  <a:lnTo>
                    <a:pt x="2825" y="6947"/>
                  </a:lnTo>
                  <a:lnTo>
                    <a:pt x="2762" y="6863"/>
                  </a:lnTo>
                  <a:lnTo>
                    <a:pt x="2783" y="6801"/>
                  </a:lnTo>
                  <a:lnTo>
                    <a:pt x="2762" y="6759"/>
                  </a:lnTo>
                  <a:lnTo>
                    <a:pt x="2825" y="6696"/>
                  </a:lnTo>
                  <a:lnTo>
                    <a:pt x="2867" y="6696"/>
                  </a:lnTo>
                  <a:lnTo>
                    <a:pt x="2972" y="6801"/>
                  </a:lnTo>
                  <a:lnTo>
                    <a:pt x="3076" y="6842"/>
                  </a:lnTo>
                  <a:lnTo>
                    <a:pt x="3181" y="6905"/>
                  </a:lnTo>
                  <a:lnTo>
                    <a:pt x="3202" y="7010"/>
                  </a:lnTo>
                  <a:lnTo>
                    <a:pt x="3306" y="7093"/>
                  </a:lnTo>
                  <a:lnTo>
                    <a:pt x="3202" y="7073"/>
                  </a:lnTo>
                  <a:lnTo>
                    <a:pt x="3160" y="7093"/>
                  </a:lnTo>
                  <a:lnTo>
                    <a:pt x="3160" y="7156"/>
                  </a:lnTo>
                  <a:lnTo>
                    <a:pt x="3097" y="7219"/>
                  </a:lnTo>
                  <a:lnTo>
                    <a:pt x="3160" y="7282"/>
                  </a:lnTo>
                  <a:lnTo>
                    <a:pt x="3160" y="7365"/>
                  </a:lnTo>
                  <a:lnTo>
                    <a:pt x="3139" y="7428"/>
                  </a:lnTo>
                  <a:lnTo>
                    <a:pt x="3202" y="7533"/>
                  </a:lnTo>
                  <a:lnTo>
                    <a:pt x="3244" y="7637"/>
                  </a:lnTo>
                  <a:lnTo>
                    <a:pt x="3348" y="7784"/>
                  </a:lnTo>
                  <a:lnTo>
                    <a:pt x="3474" y="7784"/>
                  </a:lnTo>
                  <a:lnTo>
                    <a:pt x="3578" y="7847"/>
                  </a:lnTo>
                  <a:lnTo>
                    <a:pt x="3704" y="7909"/>
                  </a:lnTo>
                  <a:lnTo>
                    <a:pt x="3808" y="7847"/>
                  </a:lnTo>
                  <a:lnTo>
                    <a:pt x="3829" y="7805"/>
                  </a:lnTo>
                  <a:lnTo>
                    <a:pt x="3892" y="7742"/>
                  </a:lnTo>
                  <a:lnTo>
                    <a:pt x="3913" y="7805"/>
                  </a:lnTo>
                  <a:lnTo>
                    <a:pt x="3871" y="7889"/>
                  </a:lnTo>
                  <a:lnTo>
                    <a:pt x="3892" y="7993"/>
                  </a:lnTo>
                  <a:lnTo>
                    <a:pt x="3913" y="8035"/>
                  </a:lnTo>
                  <a:lnTo>
                    <a:pt x="3997" y="7993"/>
                  </a:lnTo>
                  <a:lnTo>
                    <a:pt x="4143" y="7784"/>
                  </a:lnTo>
                  <a:lnTo>
                    <a:pt x="4143" y="7637"/>
                  </a:lnTo>
                  <a:lnTo>
                    <a:pt x="4101" y="7575"/>
                  </a:lnTo>
                  <a:lnTo>
                    <a:pt x="4039" y="7407"/>
                  </a:lnTo>
                  <a:lnTo>
                    <a:pt x="3934" y="7324"/>
                  </a:lnTo>
                  <a:lnTo>
                    <a:pt x="3976" y="7219"/>
                  </a:lnTo>
                  <a:lnTo>
                    <a:pt x="4101" y="6989"/>
                  </a:lnTo>
                  <a:lnTo>
                    <a:pt x="4185" y="6947"/>
                  </a:lnTo>
                  <a:lnTo>
                    <a:pt x="4248" y="7052"/>
                  </a:lnTo>
                  <a:lnTo>
                    <a:pt x="4290" y="7156"/>
                  </a:lnTo>
                  <a:lnTo>
                    <a:pt x="4332" y="7219"/>
                  </a:lnTo>
                  <a:lnTo>
                    <a:pt x="4332" y="7324"/>
                  </a:lnTo>
                  <a:lnTo>
                    <a:pt x="4394" y="7512"/>
                  </a:lnTo>
                  <a:lnTo>
                    <a:pt x="4415" y="7596"/>
                  </a:lnTo>
                  <a:lnTo>
                    <a:pt x="4415" y="7512"/>
                  </a:lnTo>
                  <a:lnTo>
                    <a:pt x="4415" y="7386"/>
                  </a:lnTo>
                  <a:lnTo>
                    <a:pt x="4352" y="7219"/>
                  </a:lnTo>
                  <a:lnTo>
                    <a:pt x="4394" y="7156"/>
                  </a:lnTo>
                  <a:lnTo>
                    <a:pt x="4436" y="7156"/>
                  </a:lnTo>
                  <a:lnTo>
                    <a:pt x="4499" y="7219"/>
                  </a:lnTo>
                  <a:lnTo>
                    <a:pt x="4499" y="7156"/>
                  </a:lnTo>
                  <a:lnTo>
                    <a:pt x="4541" y="7156"/>
                  </a:lnTo>
                  <a:lnTo>
                    <a:pt x="4604" y="6989"/>
                  </a:lnTo>
                  <a:lnTo>
                    <a:pt x="4562" y="6801"/>
                  </a:lnTo>
                  <a:lnTo>
                    <a:pt x="4499" y="6696"/>
                  </a:lnTo>
                  <a:lnTo>
                    <a:pt x="4436" y="6591"/>
                  </a:lnTo>
                  <a:lnTo>
                    <a:pt x="4436" y="6466"/>
                  </a:lnTo>
                  <a:lnTo>
                    <a:pt x="4415" y="6340"/>
                  </a:lnTo>
                  <a:lnTo>
                    <a:pt x="4352" y="6424"/>
                  </a:lnTo>
                  <a:lnTo>
                    <a:pt x="4352" y="6277"/>
                  </a:lnTo>
                  <a:lnTo>
                    <a:pt x="4352" y="6215"/>
                  </a:lnTo>
                  <a:lnTo>
                    <a:pt x="4311" y="6215"/>
                  </a:lnTo>
                  <a:lnTo>
                    <a:pt x="4227" y="6131"/>
                  </a:lnTo>
                  <a:lnTo>
                    <a:pt x="4248" y="6068"/>
                  </a:lnTo>
                  <a:lnTo>
                    <a:pt x="4332" y="6068"/>
                  </a:lnTo>
                  <a:lnTo>
                    <a:pt x="4332" y="5922"/>
                  </a:lnTo>
                  <a:lnTo>
                    <a:pt x="4248" y="5796"/>
                  </a:lnTo>
                  <a:lnTo>
                    <a:pt x="4248" y="5712"/>
                  </a:lnTo>
                  <a:lnTo>
                    <a:pt x="4185" y="5796"/>
                  </a:lnTo>
                  <a:lnTo>
                    <a:pt x="4080" y="5692"/>
                  </a:lnTo>
                  <a:lnTo>
                    <a:pt x="3913" y="5545"/>
                  </a:lnTo>
                  <a:lnTo>
                    <a:pt x="3892" y="5440"/>
                  </a:lnTo>
                  <a:lnTo>
                    <a:pt x="3871" y="5440"/>
                  </a:lnTo>
                  <a:lnTo>
                    <a:pt x="3767" y="5420"/>
                  </a:lnTo>
                  <a:lnTo>
                    <a:pt x="3767" y="5503"/>
                  </a:lnTo>
                  <a:cubicBezTo>
                    <a:pt x="3725" y="5482"/>
                    <a:pt x="3725" y="5420"/>
                    <a:pt x="3704" y="5399"/>
                  </a:cubicBezTo>
                  <a:lnTo>
                    <a:pt x="3704" y="5315"/>
                  </a:lnTo>
                  <a:lnTo>
                    <a:pt x="3662" y="5210"/>
                  </a:lnTo>
                  <a:lnTo>
                    <a:pt x="3662" y="5273"/>
                  </a:lnTo>
                  <a:cubicBezTo>
                    <a:pt x="3620" y="5231"/>
                    <a:pt x="3620" y="5210"/>
                    <a:pt x="3599" y="5189"/>
                  </a:cubicBezTo>
                  <a:lnTo>
                    <a:pt x="3683" y="5168"/>
                  </a:lnTo>
                  <a:lnTo>
                    <a:pt x="3683" y="5085"/>
                  </a:lnTo>
                  <a:lnTo>
                    <a:pt x="3578" y="4896"/>
                  </a:lnTo>
                  <a:lnTo>
                    <a:pt x="3495" y="4855"/>
                  </a:lnTo>
                  <a:lnTo>
                    <a:pt x="3474" y="4666"/>
                  </a:lnTo>
                  <a:lnTo>
                    <a:pt x="3411" y="4562"/>
                  </a:lnTo>
                  <a:cubicBezTo>
                    <a:pt x="3411" y="4541"/>
                    <a:pt x="3411" y="4541"/>
                    <a:pt x="3453" y="4499"/>
                  </a:cubicBezTo>
                  <a:cubicBezTo>
                    <a:pt x="3474" y="4478"/>
                    <a:pt x="3453" y="4457"/>
                    <a:pt x="3411" y="4436"/>
                  </a:cubicBezTo>
                  <a:lnTo>
                    <a:pt x="3390" y="4457"/>
                  </a:lnTo>
                  <a:lnTo>
                    <a:pt x="3411" y="4457"/>
                  </a:lnTo>
                  <a:lnTo>
                    <a:pt x="3411" y="4478"/>
                  </a:lnTo>
                  <a:cubicBezTo>
                    <a:pt x="3411" y="4478"/>
                    <a:pt x="3390" y="4478"/>
                    <a:pt x="3390" y="4499"/>
                  </a:cubicBezTo>
                  <a:lnTo>
                    <a:pt x="3390" y="4541"/>
                  </a:lnTo>
                  <a:lnTo>
                    <a:pt x="3306" y="4562"/>
                  </a:lnTo>
                  <a:lnTo>
                    <a:pt x="3202" y="4499"/>
                  </a:lnTo>
                  <a:lnTo>
                    <a:pt x="3139" y="4499"/>
                  </a:lnTo>
                  <a:lnTo>
                    <a:pt x="3181" y="4604"/>
                  </a:lnTo>
                  <a:lnTo>
                    <a:pt x="3181" y="4666"/>
                  </a:lnTo>
                  <a:cubicBezTo>
                    <a:pt x="3097" y="4687"/>
                    <a:pt x="3055" y="4708"/>
                    <a:pt x="2972" y="4750"/>
                  </a:cubicBezTo>
                  <a:lnTo>
                    <a:pt x="2972" y="4583"/>
                  </a:lnTo>
                  <a:lnTo>
                    <a:pt x="2930" y="4604"/>
                  </a:lnTo>
                  <a:lnTo>
                    <a:pt x="2888" y="4750"/>
                  </a:lnTo>
                  <a:lnTo>
                    <a:pt x="2888" y="4792"/>
                  </a:lnTo>
                  <a:lnTo>
                    <a:pt x="2783" y="4980"/>
                  </a:lnTo>
                  <a:lnTo>
                    <a:pt x="2783" y="5106"/>
                  </a:lnTo>
                  <a:lnTo>
                    <a:pt x="2741" y="5273"/>
                  </a:lnTo>
                  <a:lnTo>
                    <a:pt x="2658" y="5378"/>
                  </a:lnTo>
                  <a:lnTo>
                    <a:pt x="2658" y="5482"/>
                  </a:lnTo>
                  <a:cubicBezTo>
                    <a:pt x="2646" y="5459"/>
                    <a:pt x="2622" y="5443"/>
                    <a:pt x="2599" y="5443"/>
                  </a:cubicBezTo>
                  <a:cubicBezTo>
                    <a:pt x="2580" y="5443"/>
                    <a:pt x="2562" y="5454"/>
                    <a:pt x="2553" y="5482"/>
                  </a:cubicBezTo>
                  <a:lnTo>
                    <a:pt x="2553" y="5315"/>
                  </a:lnTo>
                  <a:lnTo>
                    <a:pt x="2637" y="4980"/>
                  </a:lnTo>
                  <a:lnTo>
                    <a:pt x="2741" y="4876"/>
                  </a:lnTo>
                  <a:lnTo>
                    <a:pt x="2741" y="4771"/>
                  </a:lnTo>
                  <a:lnTo>
                    <a:pt x="2658" y="4687"/>
                  </a:lnTo>
                  <a:lnTo>
                    <a:pt x="2616" y="4708"/>
                  </a:lnTo>
                  <a:lnTo>
                    <a:pt x="2532" y="4687"/>
                  </a:lnTo>
                  <a:lnTo>
                    <a:pt x="2448" y="4750"/>
                  </a:lnTo>
                  <a:lnTo>
                    <a:pt x="2448" y="4855"/>
                  </a:lnTo>
                  <a:cubicBezTo>
                    <a:pt x="2427" y="4792"/>
                    <a:pt x="2365" y="4708"/>
                    <a:pt x="2323" y="4666"/>
                  </a:cubicBezTo>
                  <a:lnTo>
                    <a:pt x="2427" y="4583"/>
                  </a:lnTo>
                  <a:lnTo>
                    <a:pt x="2469" y="4457"/>
                  </a:lnTo>
                  <a:lnTo>
                    <a:pt x="2532" y="4394"/>
                  </a:lnTo>
                  <a:lnTo>
                    <a:pt x="2553" y="4290"/>
                  </a:lnTo>
                  <a:lnTo>
                    <a:pt x="2511" y="4227"/>
                  </a:lnTo>
                  <a:lnTo>
                    <a:pt x="2427" y="4269"/>
                  </a:lnTo>
                  <a:lnTo>
                    <a:pt x="2344" y="4373"/>
                  </a:lnTo>
                  <a:lnTo>
                    <a:pt x="2260" y="4269"/>
                  </a:lnTo>
                  <a:lnTo>
                    <a:pt x="2197" y="4248"/>
                  </a:lnTo>
                  <a:lnTo>
                    <a:pt x="2009" y="4248"/>
                  </a:lnTo>
                  <a:lnTo>
                    <a:pt x="2030" y="4185"/>
                  </a:lnTo>
                  <a:lnTo>
                    <a:pt x="1946" y="4164"/>
                  </a:lnTo>
                  <a:lnTo>
                    <a:pt x="1842" y="406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3" name="Google Shape;823;p34"/>
            <p:cNvSpPr/>
            <p:nvPr/>
          </p:nvSpPr>
          <p:spPr>
            <a:xfrm>
              <a:off x="4595934" y="3205063"/>
              <a:ext cx="26673" cy="13340"/>
            </a:xfrm>
            <a:custGeom>
              <a:avLst/>
              <a:gdLst/>
              <a:ahLst/>
              <a:cxnLst/>
              <a:rect l="l" t="t" r="r" b="b"/>
              <a:pathLst>
                <a:path w="2240" h="1173" extrusionOk="0">
                  <a:moveTo>
                    <a:pt x="2177" y="1"/>
                  </a:moveTo>
                  <a:lnTo>
                    <a:pt x="1968" y="43"/>
                  </a:lnTo>
                  <a:lnTo>
                    <a:pt x="1821" y="43"/>
                  </a:lnTo>
                  <a:lnTo>
                    <a:pt x="1675" y="64"/>
                  </a:lnTo>
                  <a:lnTo>
                    <a:pt x="1570" y="64"/>
                  </a:lnTo>
                  <a:lnTo>
                    <a:pt x="1424" y="105"/>
                  </a:lnTo>
                  <a:lnTo>
                    <a:pt x="1193" y="105"/>
                  </a:lnTo>
                  <a:lnTo>
                    <a:pt x="1005" y="252"/>
                  </a:lnTo>
                  <a:lnTo>
                    <a:pt x="880" y="315"/>
                  </a:lnTo>
                  <a:lnTo>
                    <a:pt x="817" y="336"/>
                  </a:lnTo>
                  <a:lnTo>
                    <a:pt x="712" y="357"/>
                  </a:lnTo>
                  <a:lnTo>
                    <a:pt x="628" y="377"/>
                  </a:lnTo>
                  <a:lnTo>
                    <a:pt x="482" y="419"/>
                  </a:lnTo>
                  <a:lnTo>
                    <a:pt x="398" y="482"/>
                  </a:lnTo>
                  <a:lnTo>
                    <a:pt x="377" y="524"/>
                  </a:lnTo>
                  <a:lnTo>
                    <a:pt x="252" y="587"/>
                  </a:lnTo>
                  <a:lnTo>
                    <a:pt x="210" y="733"/>
                  </a:lnTo>
                  <a:lnTo>
                    <a:pt x="105" y="880"/>
                  </a:lnTo>
                  <a:lnTo>
                    <a:pt x="84" y="942"/>
                  </a:lnTo>
                  <a:lnTo>
                    <a:pt x="147" y="984"/>
                  </a:lnTo>
                  <a:lnTo>
                    <a:pt x="147" y="1047"/>
                  </a:lnTo>
                  <a:lnTo>
                    <a:pt x="84" y="1047"/>
                  </a:lnTo>
                  <a:lnTo>
                    <a:pt x="43" y="1005"/>
                  </a:lnTo>
                  <a:lnTo>
                    <a:pt x="1" y="1110"/>
                  </a:lnTo>
                  <a:lnTo>
                    <a:pt x="63" y="1173"/>
                  </a:lnTo>
                  <a:lnTo>
                    <a:pt x="252" y="1152"/>
                  </a:lnTo>
                  <a:lnTo>
                    <a:pt x="419" y="1047"/>
                  </a:lnTo>
                  <a:lnTo>
                    <a:pt x="503" y="1005"/>
                  </a:lnTo>
                  <a:lnTo>
                    <a:pt x="608" y="1005"/>
                  </a:lnTo>
                  <a:lnTo>
                    <a:pt x="712" y="942"/>
                  </a:lnTo>
                  <a:lnTo>
                    <a:pt x="796" y="838"/>
                  </a:lnTo>
                  <a:lnTo>
                    <a:pt x="1005" y="670"/>
                  </a:lnTo>
                  <a:lnTo>
                    <a:pt x="1047" y="587"/>
                  </a:lnTo>
                  <a:lnTo>
                    <a:pt x="1110" y="566"/>
                  </a:lnTo>
                  <a:lnTo>
                    <a:pt x="1131" y="566"/>
                  </a:lnTo>
                  <a:lnTo>
                    <a:pt x="1235" y="461"/>
                  </a:lnTo>
                  <a:lnTo>
                    <a:pt x="1340" y="440"/>
                  </a:lnTo>
                  <a:lnTo>
                    <a:pt x="1444" y="440"/>
                  </a:lnTo>
                  <a:lnTo>
                    <a:pt x="1675" y="419"/>
                  </a:lnTo>
                  <a:lnTo>
                    <a:pt x="1842" y="315"/>
                  </a:lnTo>
                  <a:lnTo>
                    <a:pt x="2030" y="252"/>
                  </a:lnTo>
                  <a:lnTo>
                    <a:pt x="2051" y="168"/>
                  </a:lnTo>
                  <a:lnTo>
                    <a:pt x="2135" y="168"/>
                  </a:lnTo>
                  <a:lnTo>
                    <a:pt x="2240" y="105"/>
                  </a:lnTo>
                  <a:lnTo>
                    <a:pt x="2240" y="43"/>
                  </a:lnTo>
                  <a:lnTo>
                    <a:pt x="217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24" name="Google Shape;824;p34"/>
            <p:cNvGrpSpPr/>
            <p:nvPr/>
          </p:nvGrpSpPr>
          <p:grpSpPr>
            <a:xfrm>
              <a:off x="4403342" y="3107749"/>
              <a:ext cx="316680" cy="101374"/>
              <a:chOff x="5068275" y="3161675"/>
              <a:chExt cx="664875" cy="222850"/>
            </a:xfrm>
          </p:grpSpPr>
          <p:sp>
            <p:nvSpPr>
              <p:cNvPr id="825" name="Google Shape;825;p34"/>
              <p:cNvSpPr/>
              <p:nvPr/>
            </p:nvSpPr>
            <p:spPr>
              <a:xfrm>
                <a:off x="5408300" y="3224425"/>
                <a:ext cx="96775" cy="107800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4312" extrusionOk="0">
                    <a:moveTo>
                      <a:pt x="3620" y="1"/>
                    </a:moveTo>
                    <a:lnTo>
                      <a:pt x="3515" y="43"/>
                    </a:lnTo>
                    <a:lnTo>
                      <a:pt x="3494" y="147"/>
                    </a:lnTo>
                    <a:lnTo>
                      <a:pt x="3390" y="231"/>
                    </a:lnTo>
                    <a:lnTo>
                      <a:pt x="3390" y="294"/>
                    </a:lnTo>
                    <a:lnTo>
                      <a:pt x="3285" y="357"/>
                    </a:lnTo>
                    <a:lnTo>
                      <a:pt x="3181" y="398"/>
                    </a:lnTo>
                    <a:lnTo>
                      <a:pt x="3139" y="461"/>
                    </a:lnTo>
                    <a:lnTo>
                      <a:pt x="2992" y="503"/>
                    </a:lnTo>
                    <a:lnTo>
                      <a:pt x="2720" y="440"/>
                    </a:lnTo>
                    <a:lnTo>
                      <a:pt x="2469" y="419"/>
                    </a:lnTo>
                    <a:lnTo>
                      <a:pt x="2448" y="503"/>
                    </a:lnTo>
                    <a:lnTo>
                      <a:pt x="2406" y="503"/>
                    </a:lnTo>
                    <a:lnTo>
                      <a:pt x="2260" y="398"/>
                    </a:lnTo>
                    <a:lnTo>
                      <a:pt x="2092" y="398"/>
                    </a:lnTo>
                    <a:lnTo>
                      <a:pt x="1988" y="357"/>
                    </a:lnTo>
                    <a:lnTo>
                      <a:pt x="1820" y="336"/>
                    </a:lnTo>
                    <a:lnTo>
                      <a:pt x="1737" y="398"/>
                    </a:lnTo>
                    <a:lnTo>
                      <a:pt x="1674" y="336"/>
                    </a:lnTo>
                    <a:lnTo>
                      <a:pt x="1569" y="231"/>
                    </a:lnTo>
                    <a:lnTo>
                      <a:pt x="1381" y="210"/>
                    </a:lnTo>
                    <a:lnTo>
                      <a:pt x="1276" y="210"/>
                    </a:lnTo>
                    <a:lnTo>
                      <a:pt x="1276" y="336"/>
                    </a:lnTo>
                    <a:lnTo>
                      <a:pt x="1193" y="398"/>
                    </a:lnTo>
                    <a:lnTo>
                      <a:pt x="1151" y="503"/>
                    </a:lnTo>
                    <a:lnTo>
                      <a:pt x="1067" y="566"/>
                    </a:lnTo>
                    <a:lnTo>
                      <a:pt x="900" y="524"/>
                    </a:lnTo>
                    <a:lnTo>
                      <a:pt x="774" y="545"/>
                    </a:lnTo>
                    <a:lnTo>
                      <a:pt x="712" y="608"/>
                    </a:lnTo>
                    <a:lnTo>
                      <a:pt x="753" y="650"/>
                    </a:lnTo>
                    <a:lnTo>
                      <a:pt x="586" y="775"/>
                    </a:lnTo>
                    <a:lnTo>
                      <a:pt x="586" y="942"/>
                    </a:lnTo>
                    <a:lnTo>
                      <a:pt x="628" y="1047"/>
                    </a:lnTo>
                    <a:lnTo>
                      <a:pt x="628" y="1235"/>
                    </a:lnTo>
                    <a:lnTo>
                      <a:pt x="586" y="1298"/>
                    </a:lnTo>
                    <a:lnTo>
                      <a:pt x="649" y="1445"/>
                    </a:lnTo>
                    <a:lnTo>
                      <a:pt x="670" y="1549"/>
                    </a:lnTo>
                    <a:lnTo>
                      <a:pt x="628" y="1486"/>
                    </a:lnTo>
                    <a:lnTo>
                      <a:pt x="565" y="1403"/>
                    </a:lnTo>
                    <a:lnTo>
                      <a:pt x="523" y="1445"/>
                    </a:lnTo>
                    <a:lnTo>
                      <a:pt x="440" y="1507"/>
                    </a:lnTo>
                    <a:lnTo>
                      <a:pt x="335" y="1570"/>
                    </a:lnTo>
                    <a:lnTo>
                      <a:pt x="314" y="1675"/>
                    </a:lnTo>
                    <a:lnTo>
                      <a:pt x="335" y="1800"/>
                    </a:lnTo>
                    <a:lnTo>
                      <a:pt x="314" y="1905"/>
                    </a:lnTo>
                    <a:lnTo>
                      <a:pt x="335" y="2135"/>
                    </a:lnTo>
                    <a:lnTo>
                      <a:pt x="314" y="2198"/>
                    </a:lnTo>
                    <a:lnTo>
                      <a:pt x="272" y="2303"/>
                    </a:lnTo>
                    <a:lnTo>
                      <a:pt x="188" y="2323"/>
                    </a:lnTo>
                    <a:lnTo>
                      <a:pt x="188" y="2449"/>
                    </a:lnTo>
                    <a:lnTo>
                      <a:pt x="63" y="2554"/>
                    </a:lnTo>
                    <a:lnTo>
                      <a:pt x="42" y="2721"/>
                    </a:lnTo>
                    <a:lnTo>
                      <a:pt x="42" y="2763"/>
                    </a:lnTo>
                    <a:lnTo>
                      <a:pt x="0" y="2826"/>
                    </a:lnTo>
                    <a:lnTo>
                      <a:pt x="63" y="3035"/>
                    </a:lnTo>
                    <a:lnTo>
                      <a:pt x="126" y="3139"/>
                    </a:lnTo>
                    <a:lnTo>
                      <a:pt x="168" y="3119"/>
                    </a:lnTo>
                    <a:lnTo>
                      <a:pt x="251" y="3119"/>
                    </a:lnTo>
                    <a:lnTo>
                      <a:pt x="335" y="3056"/>
                    </a:lnTo>
                    <a:lnTo>
                      <a:pt x="377" y="3077"/>
                    </a:lnTo>
                    <a:lnTo>
                      <a:pt x="419" y="3223"/>
                    </a:lnTo>
                    <a:lnTo>
                      <a:pt x="523" y="3495"/>
                    </a:lnTo>
                    <a:lnTo>
                      <a:pt x="481" y="3558"/>
                    </a:lnTo>
                    <a:lnTo>
                      <a:pt x="440" y="3704"/>
                    </a:lnTo>
                    <a:lnTo>
                      <a:pt x="356" y="3851"/>
                    </a:lnTo>
                    <a:lnTo>
                      <a:pt x="356" y="4081"/>
                    </a:lnTo>
                    <a:lnTo>
                      <a:pt x="356" y="4269"/>
                    </a:lnTo>
                    <a:lnTo>
                      <a:pt x="440" y="4269"/>
                    </a:lnTo>
                    <a:lnTo>
                      <a:pt x="523" y="4311"/>
                    </a:lnTo>
                    <a:lnTo>
                      <a:pt x="628" y="4311"/>
                    </a:lnTo>
                    <a:lnTo>
                      <a:pt x="670" y="4269"/>
                    </a:lnTo>
                    <a:lnTo>
                      <a:pt x="774" y="4290"/>
                    </a:lnTo>
                    <a:lnTo>
                      <a:pt x="879" y="4269"/>
                    </a:lnTo>
                    <a:lnTo>
                      <a:pt x="963" y="4311"/>
                    </a:lnTo>
                    <a:lnTo>
                      <a:pt x="984" y="4227"/>
                    </a:lnTo>
                    <a:lnTo>
                      <a:pt x="963" y="4102"/>
                    </a:lnTo>
                    <a:lnTo>
                      <a:pt x="879" y="4060"/>
                    </a:lnTo>
                    <a:lnTo>
                      <a:pt x="858" y="3914"/>
                    </a:lnTo>
                    <a:lnTo>
                      <a:pt x="942" y="3809"/>
                    </a:lnTo>
                    <a:lnTo>
                      <a:pt x="963" y="3600"/>
                    </a:lnTo>
                    <a:lnTo>
                      <a:pt x="942" y="3432"/>
                    </a:lnTo>
                    <a:lnTo>
                      <a:pt x="879" y="3391"/>
                    </a:lnTo>
                    <a:lnTo>
                      <a:pt x="1004" y="3223"/>
                    </a:lnTo>
                    <a:lnTo>
                      <a:pt x="1046" y="3056"/>
                    </a:lnTo>
                    <a:lnTo>
                      <a:pt x="1004" y="2909"/>
                    </a:lnTo>
                    <a:lnTo>
                      <a:pt x="942" y="2826"/>
                    </a:lnTo>
                    <a:lnTo>
                      <a:pt x="942" y="2763"/>
                    </a:lnTo>
                    <a:lnTo>
                      <a:pt x="1067" y="2700"/>
                    </a:lnTo>
                    <a:lnTo>
                      <a:pt x="1088" y="2616"/>
                    </a:lnTo>
                    <a:lnTo>
                      <a:pt x="1214" y="2595"/>
                    </a:lnTo>
                    <a:lnTo>
                      <a:pt x="1318" y="2637"/>
                    </a:lnTo>
                    <a:lnTo>
                      <a:pt x="1318" y="2700"/>
                    </a:lnTo>
                    <a:lnTo>
                      <a:pt x="1381" y="2763"/>
                    </a:lnTo>
                    <a:lnTo>
                      <a:pt x="1381" y="2909"/>
                    </a:lnTo>
                    <a:lnTo>
                      <a:pt x="1276" y="3014"/>
                    </a:lnTo>
                    <a:lnTo>
                      <a:pt x="1276" y="3119"/>
                    </a:lnTo>
                    <a:lnTo>
                      <a:pt x="1318" y="3223"/>
                    </a:lnTo>
                    <a:lnTo>
                      <a:pt x="1402" y="3244"/>
                    </a:lnTo>
                    <a:lnTo>
                      <a:pt x="1486" y="3328"/>
                    </a:lnTo>
                    <a:lnTo>
                      <a:pt x="1611" y="3391"/>
                    </a:lnTo>
                    <a:lnTo>
                      <a:pt x="1632" y="3495"/>
                    </a:lnTo>
                    <a:lnTo>
                      <a:pt x="1590" y="3495"/>
                    </a:lnTo>
                    <a:lnTo>
                      <a:pt x="1569" y="3704"/>
                    </a:lnTo>
                    <a:lnTo>
                      <a:pt x="1590" y="3851"/>
                    </a:lnTo>
                    <a:lnTo>
                      <a:pt x="1674" y="3872"/>
                    </a:lnTo>
                    <a:lnTo>
                      <a:pt x="1737" y="3851"/>
                    </a:lnTo>
                    <a:lnTo>
                      <a:pt x="1883" y="3893"/>
                    </a:lnTo>
                    <a:lnTo>
                      <a:pt x="1946" y="3872"/>
                    </a:lnTo>
                    <a:lnTo>
                      <a:pt x="1946" y="3851"/>
                    </a:lnTo>
                    <a:lnTo>
                      <a:pt x="1925" y="3746"/>
                    </a:lnTo>
                    <a:lnTo>
                      <a:pt x="2030" y="3663"/>
                    </a:lnTo>
                    <a:lnTo>
                      <a:pt x="2113" y="3642"/>
                    </a:lnTo>
                    <a:lnTo>
                      <a:pt x="2260" y="3558"/>
                    </a:lnTo>
                    <a:lnTo>
                      <a:pt x="2427" y="3579"/>
                    </a:lnTo>
                    <a:lnTo>
                      <a:pt x="2511" y="3495"/>
                    </a:lnTo>
                    <a:lnTo>
                      <a:pt x="2532" y="3537"/>
                    </a:lnTo>
                    <a:lnTo>
                      <a:pt x="2616" y="3537"/>
                    </a:lnTo>
                    <a:lnTo>
                      <a:pt x="2657" y="3453"/>
                    </a:lnTo>
                    <a:lnTo>
                      <a:pt x="2657" y="3391"/>
                    </a:lnTo>
                    <a:lnTo>
                      <a:pt x="2511" y="3370"/>
                    </a:lnTo>
                    <a:lnTo>
                      <a:pt x="2448" y="3391"/>
                    </a:lnTo>
                    <a:lnTo>
                      <a:pt x="2281" y="3391"/>
                    </a:lnTo>
                    <a:lnTo>
                      <a:pt x="2281" y="3328"/>
                    </a:lnTo>
                    <a:lnTo>
                      <a:pt x="2239" y="3328"/>
                    </a:lnTo>
                    <a:lnTo>
                      <a:pt x="2239" y="3244"/>
                    </a:lnTo>
                    <a:lnTo>
                      <a:pt x="2197" y="3244"/>
                    </a:lnTo>
                    <a:lnTo>
                      <a:pt x="2134" y="3265"/>
                    </a:lnTo>
                    <a:lnTo>
                      <a:pt x="2134" y="3223"/>
                    </a:lnTo>
                    <a:lnTo>
                      <a:pt x="2030" y="3181"/>
                    </a:lnTo>
                    <a:lnTo>
                      <a:pt x="2009" y="3119"/>
                    </a:lnTo>
                    <a:lnTo>
                      <a:pt x="2051" y="3035"/>
                    </a:lnTo>
                    <a:lnTo>
                      <a:pt x="2092" y="2972"/>
                    </a:lnTo>
                    <a:lnTo>
                      <a:pt x="2134" y="3014"/>
                    </a:lnTo>
                    <a:lnTo>
                      <a:pt x="2134" y="3014"/>
                    </a:lnTo>
                    <a:lnTo>
                      <a:pt x="2113" y="2930"/>
                    </a:lnTo>
                    <a:lnTo>
                      <a:pt x="2155" y="2930"/>
                    </a:lnTo>
                    <a:lnTo>
                      <a:pt x="2197" y="2867"/>
                    </a:lnTo>
                    <a:lnTo>
                      <a:pt x="2134" y="2826"/>
                    </a:lnTo>
                    <a:lnTo>
                      <a:pt x="2051" y="2805"/>
                    </a:lnTo>
                    <a:lnTo>
                      <a:pt x="2092" y="2742"/>
                    </a:lnTo>
                    <a:lnTo>
                      <a:pt x="2051" y="2658"/>
                    </a:lnTo>
                    <a:lnTo>
                      <a:pt x="1988" y="2616"/>
                    </a:lnTo>
                    <a:lnTo>
                      <a:pt x="1904" y="2616"/>
                    </a:lnTo>
                    <a:lnTo>
                      <a:pt x="1883" y="2491"/>
                    </a:lnTo>
                    <a:lnTo>
                      <a:pt x="1716" y="2323"/>
                    </a:lnTo>
                    <a:lnTo>
                      <a:pt x="1611" y="2240"/>
                    </a:lnTo>
                    <a:lnTo>
                      <a:pt x="1569" y="2135"/>
                    </a:lnTo>
                    <a:lnTo>
                      <a:pt x="1569" y="2093"/>
                    </a:lnTo>
                    <a:lnTo>
                      <a:pt x="1611" y="2093"/>
                    </a:lnTo>
                    <a:lnTo>
                      <a:pt x="1632" y="2177"/>
                    </a:lnTo>
                    <a:lnTo>
                      <a:pt x="1737" y="2177"/>
                    </a:lnTo>
                    <a:lnTo>
                      <a:pt x="1841" y="2093"/>
                    </a:lnTo>
                    <a:lnTo>
                      <a:pt x="1883" y="2010"/>
                    </a:lnTo>
                    <a:lnTo>
                      <a:pt x="2092" y="1926"/>
                    </a:lnTo>
                    <a:lnTo>
                      <a:pt x="2260" y="1800"/>
                    </a:lnTo>
                    <a:lnTo>
                      <a:pt x="2344" y="1675"/>
                    </a:lnTo>
                    <a:lnTo>
                      <a:pt x="2448" y="1612"/>
                    </a:lnTo>
                    <a:lnTo>
                      <a:pt x="2448" y="1549"/>
                    </a:lnTo>
                    <a:lnTo>
                      <a:pt x="2574" y="1507"/>
                    </a:lnTo>
                    <a:lnTo>
                      <a:pt x="2678" y="1570"/>
                    </a:lnTo>
                    <a:lnTo>
                      <a:pt x="2762" y="1591"/>
                    </a:lnTo>
                    <a:lnTo>
                      <a:pt x="2867" y="1445"/>
                    </a:lnTo>
                    <a:lnTo>
                      <a:pt x="2867" y="1361"/>
                    </a:lnTo>
                    <a:lnTo>
                      <a:pt x="2741" y="1298"/>
                    </a:lnTo>
                    <a:lnTo>
                      <a:pt x="2469" y="1340"/>
                    </a:lnTo>
                    <a:lnTo>
                      <a:pt x="2364" y="1403"/>
                    </a:lnTo>
                    <a:lnTo>
                      <a:pt x="2197" y="1403"/>
                    </a:lnTo>
                    <a:lnTo>
                      <a:pt x="2113" y="1445"/>
                    </a:lnTo>
                    <a:lnTo>
                      <a:pt x="2009" y="1549"/>
                    </a:lnTo>
                    <a:lnTo>
                      <a:pt x="1820" y="1549"/>
                    </a:lnTo>
                    <a:lnTo>
                      <a:pt x="1716" y="1486"/>
                    </a:lnTo>
                    <a:lnTo>
                      <a:pt x="1611" y="1466"/>
                    </a:lnTo>
                    <a:lnTo>
                      <a:pt x="1507" y="1591"/>
                    </a:lnTo>
                    <a:lnTo>
                      <a:pt x="1423" y="1800"/>
                    </a:lnTo>
                    <a:lnTo>
                      <a:pt x="1297" y="1863"/>
                    </a:lnTo>
                    <a:lnTo>
                      <a:pt x="1193" y="1821"/>
                    </a:lnTo>
                    <a:lnTo>
                      <a:pt x="1172" y="1779"/>
                    </a:lnTo>
                    <a:lnTo>
                      <a:pt x="1004" y="1612"/>
                    </a:lnTo>
                    <a:lnTo>
                      <a:pt x="858" y="1486"/>
                    </a:lnTo>
                    <a:lnTo>
                      <a:pt x="774" y="1277"/>
                    </a:lnTo>
                    <a:lnTo>
                      <a:pt x="795" y="1047"/>
                    </a:lnTo>
                    <a:lnTo>
                      <a:pt x="879" y="838"/>
                    </a:lnTo>
                    <a:lnTo>
                      <a:pt x="984" y="733"/>
                    </a:lnTo>
                    <a:lnTo>
                      <a:pt x="1109" y="670"/>
                    </a:lnTo>
                    <a:lnTo>
                      <a:pt x="1276" y="754"/>
                    </a:lnTo>
                    <a:lnTo>
                      <a:pt x="1465" y="775"/>
                    </a:lnTo>
                    <a:lnTo>
                      <a:pt x="1674" y="670"/>
                    </a:lnTo>
                    <a:lnTo>
                      <a:pt x="1820" y="670"/>
                    </a:lnTo>
                    <a:lnTo>
                      <a:pt x="1883" y="754"/>
                    </a:lnTo>
                    <a:lnTo>
                      <a:pt x="1988" y="754"/>
                    </a:lnTo>
                    <a:lnTo>
                      <a:pt x="2051" y="712"/>
                    </a:lnTo>
                    <a:lnTo>
                      <a:pt x="2281" y="733"/>
                    </a:lnTo>
                    <a:lnTo>
                      <a:pt x="2427" y="733"/>
                    </a:lnTo>
                    <a:lnTo>
                      <a:pt x="2448" y="712"/>
                    </a:lnTo>
                    <a:lnTo>
                      <a:pt x="2574" y="712"/>
                    </a:lnTo>
                    <a:lnTo>
                      <a:pt x="2678" y="754"/>
                    </a:lnTo>
                    <a:lnTo>
                      <a:pt x="2720" y="817"/>
                    </a:lnTo>
                    <a:lnTo>
                      <a:pt x="2825" y="859"/>
                    </a:lnTo>
                    <a:lnTo>
                      <a:pt x="3264" y="754"/>
                    </a:lnTo>
                    <a:lnTo>
                      <a:pt x="3453" y="629"/>
                    </a:lnTo>
                    <a:lnTo>
                      <a:pt x="3494" y="524"/>
                    </a:lnTo>
                    <a:lnTo>
                      <a:pt x="3578" y="524"/>
                    </a:lnTo>
                    <a:lnTo>
                      <a:pt x="3620" y="440"/>
                    </a:lnTo>
                    <a:lnTo>
                      <a:pt x="3704" y="398"/>
                    </a:lnTo>
                    <a:lnTo>
                      <a:pt x="3766" y="294"/>
                    </a:lnTo>
                    <a:lnTo>
                      <a:pt x="3808" y="210"/>
                    </a:lnTo>
                    <a:lnTo>
                      <a:pt x="3871" y="147"/>
                    </a:lnTo>
                    <a:lnTo>
                      <a:pt x="3808" y="106"/>
                    </a:lnTo>
                    <a:lnTo>
                      <a:pt x="3787" y="43"/>
                    </a:lnTo>
                    <a:lnTo>
                      <a:pt x="362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6" name="Google Shape;826;p34"/>
              <p:cNvSpPr/>
              <p:nvPr/>
            </p:nvSpPr>
            <p:spPr>
              <a:xfrm>
                <a:off x="5587700" y="3253200"/>
                <a:ext cx="145450" cy="1313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253" extrusionOk="0">
                    <a:moveTo>
                      <a:pt x="922" y="1"/>
                    </a:moveTo>
                    <a:lnTo>
                      <a:pt x="775" y="22"/>
                    </a:lnTo>
                    <a:lnTo>
                      <a:pt x="712" y="84"/>
                    </a:lnTo>
                    <a:lnTo>
                      <a:pt x="566" y="189"/>
                    </a:lnTo>
                    <a:lnTo>
                      <a:pt x="482" y="210"/>
                    </a:lnTo>
                    <a:lnTo>
                      <a:pt x="398" y="294"/>
                    </a:lnTo>
                    <a:lnTo>
                      <a:pt x="252" y="294"/>
                    </a:lnTo>
                    <a:lnTo>
                      <a:pt x="147" y="356"/>
                    </a:lnTo>
                    <a:lnTo>
                      <a:pt x="189" y="440"/>
                    </a:lnTo>
                    <a:lnTo>
                      <a:pt x="168" y="524"/>
                    </a:lnTo>
                    <a:lnTo>
                      <a:pt x="43" y="608"/>
                    </a:lnTo>
                    <a:lnTo>
                      <a:pt x="1" y="670"/>
                    </a:lnTo>
                    <a:lnTo>
                      <a:pt x="147" y="712"/>
                    </a:lnTo>
                    <a:lnTo>
                      <a:pt x="252" y="649"/>
                    </a:lnTo>
                    <a:lnTo>
                      <a:pt x="273" y="608"/>
                    </a:lnTo>
                    <a:lnTo>
                      <a:pt x="315" y="670"/>
                    </a:lnTo>
                    <a:lnTo>
                      <a:pt x="503" y="754"/>
                    </a:lnTo>
                    <a:lnTo>
                      <a:pt x="566" y="859"/>
                    </a:lnTo>
                    <a:lnTo>
                      <a:pt x="524" y="921"/>
                    </a:lnTo>
                    <a:lnTo>
                      <a:pt x="566" y="1047"/>
                    </a:lnTo>
                    <a:lnTo>
                      <a:pt x="691" y="1131"/>
                    </a:lnTo>
                    <a:lnTo>
                      <a:pt x="796" y="1152"/>
                    </a:lnTo>
                    <a:lnTo>
                      <a:pt x="901" y="1131"/>
                    </a:lnTo>
                    <a:lnTo>
                      <a:pt x="984" y="1172"/>
                    </a:lnTo>
                    <a:lnTo>
                      <a:pt x="1026" y="1131"/>
                    </a:lnTo>
                    <a:lnTo>
                      <a:pt x="1110" y="1152"/>
                    </a:lnTo>
                    <a:lnTo>
                      <a:pt x="1298" y="1131"/>
                    </a:lnTo>
                    <a:lnTo>
                      <a:pt x="1340" y="1152"/>
                    </a:lnTo>
                    <a:lnTo>
                      <a:pt x="1424" y="1131"/>
                    </a:lnTo>
                    <a:lnTo>
                      <a:pt x="1361" y="1068"/>
                    </a:lnTo>
                    <a:lnTo>
                      <a:pt x="1654" y="1089"/>
                    </a:lnTo>
                    <a:lnTo>
                      <a:pt x="1717" y="1172"/>
                    </a:lnTo>
                    <a:lnTo>
                      <a:pt x="1675" y="1298"/>
                    </a:lnTo>
                    <a:lnTo>
                      <a:pt x="1633" y="1277"/>
                    </a:lnTo>
                    <a:lnTo>
                      <a:pt x="1549" y="1361"/>
                    </a:lnTo>
                    <a:lnTo>
                      <a:pt x="1507" y="1465"/>
                    </a:lnTo>
                    <a:lnTo>
                      <a:pt x="1445" y="1361"/>
                    </a:lnTo>
                    <a:lnTo>
                      <a:pt x="1256" y="1277"/>
                    </a:lnTo>
                    <a:lnTo>
                      <a:pt x="1194" y="1298"/>
                    </a:lnTo>
                    <a:lnTo>
                      <a:pt x="1131" y="1465"/>
                    </a:lnTo>
                    <a:lnTo>
                      <a:pt x="1026" y="1507"/>
                    </a:lnTo>
                    <a:lnTo>
                      <a:pt x="922" y="1465"/>
                    </a:lnTo>
                    <a:lnTo>
                      <a:pt x="817" y="1465"/>
                    </a:lnTo>
                    <a:lnTo>
                      <a:pt x="775" y="1403"/>
                    </a:lnTo>
                    <a:lnTo>
                      <a:pt x="629" y="1444"/>
                    </a:lnTo>
                    <a:lnTo>
                      <a:pt x="566" y="1507"/>
                    </a:lnTo>
                    <a:lnTo>
                      <a:pt x="608" y="1570"/>
                    </a:lnTo>
                    <a:lnTo>
                      <a:pt x="733" y="1591"/>
                    </a:lnTo>
                    <a:lnTo>
                      <a:pt x="838" y="1654"/>
                    </a:lnTo>
                    <a:lnTo>
                      <a:pt x="901" y="1779"/>
                    </a:lnTo>
                    <a:lnTo>
                      <a:pt x="942" y="1821"/>
                    </a:lnTo>
                    <a:lnTo>
                      <a:pt x="1005" y="1800"/>
                    </a:lnTo>
                    <a:lnTo>
                      <a:pt x="1026" y="1884"/>
                    </a:lnTo>
                    <a:lnTo>
                      <a:pt x="1026" y="1968"/>
                    </a:lnTo>
                    <a:lnTo>
                      <a:pt x="984" y="1988"/>
                    </a:lnTo>
                    <a:lnTo>
                      <a:pt x="942" y="2072"/>
                    </a:lnTo>
                    <a:lnTo>
                      <a:pt x="1047" y="2240"/>
                    </a:lnTo>
                    <a:lnTo>
                      <a:pt x="1152" y="2281"/>
                    </a:lnTo>
                    <a:lnTo>
                      <a:pt x="1256" y="2240"/>
                    </a:lnTo>
                    <a:lnTo>
                      <a:pt x="1403" y="2114"/>
                    </a:lnTo>
                    <a:lnTo>
                      <a:pt x="1361" y="2009"/>
                    </a:lnTo>
                    <a:lnTo>
                      <a:pt x="1466" y="1863"/>
                    </a:lnTo>
                    <a:lnTo>
                      <a:pt x="1507" y="1821"/>
                    </a:lnTo>
                    <a:lnTo>
                      <a:pt x="1528" y="1758"/>
                    </a:lnTo>
                    <a:lnTo>
                      <a:pt x="1570" y="1612"/>
                    </a:lnTo>
                    <a:lnTo>
                      <a:pt x="1633" y="1507"/>
                    </a:lnTo>
                    <a:lnTo>
                      <a:pt x="1633" y="1654"/>
                    </a:lnTo>
                    <a:lnTo>
                      <a:pt x="1549" y="1716"/>
                    </a:lnTo>
                    <a:lnTo>
                      <a:pt x="1612" y="1863"/>
                    </a:lnTo>
                    <a:lnTo>
                      <a:pt x="1654" y="1988"/>
                    </a:lnTo>
                    <a:lnTo>
                      <a:pt x="1717" y="2072"/>
                    </a:lnTo>
                    <a:lnTo>
                      <a:pt x="1738" y="2009"/>
                    </a:lnTo>
                    <a:lnTo>
                      <a:pt x="1779" y="2009"/>
                    </a:lnTo>
                    <a:lnTo>
                      <a:pt x="1842" y="2030"/>
                    </a:lnTo>
                    <a:lnTo>
                      <a:pt x="1842" y="2135"/>
                    </a:lnTo>
                    <a:lnTo>
                      <a:pt x="1884" y="2093"/>
                    </a:lnTo>
                    <a:lnTo>
                      <a:pt x="1947" y="2093"/>
                    </a:lnTo>
                    <a:lnTo>
                      <a:pt x="1968" y="2135"/>
                    </a:lnTo>
                    <a:lnTo>
                      <a:pt x="2051" y="2177"/>
                    </a:lnTo>
                    <a:lnTo>
                      <a:pt x="2156" y="2135"/>
                    </a:lnTo>
                    <a:lnTo>
                      <a:pt x="2240" y="2135"/>
                    </a:lnTo>
                    <a:lnTo>
                      <a:pt x="2240" y="2177"/>
                    </a:lnTo>
                    <a:lnTo>
                      <a:pt x="2093" y="2177"/>
                    </a:lnTo>
                    <a:lnTo>
                      <a:pt x="2093" y="2281"/>
                    </a:lnTo>
                    <a:lnTo>
                      <a:pt x="2240" y="2302"/>
                    </a:lnTo>
                    <a:lnTo>
                      <a:pt x="2240" y="2323"/>
                    </a:lnTo>
                    <a:lnTo>
                      <a:pt x="2261" y="2386"/>
                    </a:lnTo>
                    <a:lnTo>
                      <a:pt x="2407" y="2449"/>
                    </a:lnTo>
                    <a:lnTo>
                      <a:pt x="2575" y="2449"/>
                    </a:lnTo>
                    <a:lnTo>
                      <a:pt x="2930" y="2553"/>
                    </a:lnTo>
                    <a:lnTo>
                      <a:pt x="3286" y="2658"/>
                    </a:lnTo>
                    <a:lnTo>
                      <a:pt x="3391" y="2658"/>
                    </a:lnTo>
                    <a:lnTo>
                      <a:pt x="3537" y="2721"/>
                    </a:lnTo>
                    <a:lnTo>
                      <a:pt x="3558" y="2825"/>
                    </a:lnTo>
                    <a:lnTo>
                      <a:pt x="3725" y="2867"/>
                    </a:lnTo>
                    <a:lnTo>
                      <a:pt x="3830" y="2867"/>
                    </a:lnTo>
                    <a:lnTo>
                      <a:pt x="3914" y="2825"/>
                    </a:lnTo>
                    <a:lnTo>
                      <a:pt x="3914" y="2825"/>
                    </a:lnTo>
                    <a:lnTo>
                      <a:pt x="3830" y="2951"/>
                    </a:lnTo>
                    <a:lnTo>
                      <a:pt x="3851" y="2972"/>
                    </a:lnTo>
                    <a:lnTo>
                      <a:pt x="3935" y="2951"/>
                    </a:lnTo>
                    <a:lnTo>
                      <a:pt x="3955" y="3014"/>
                    </a:lnTo>
                    <a:lnTo>
                      <a:pt x="4081" y="2972"/>
                    </a:lnTo>
                    <a:lnTo>
                      <a:pt x="4018" y="3035"/>
                    </a:lnTo>
                    <a:lnTo>
                      <a:pt x="4060" y="3076"/>
                    </a:lnTo>
                    <a:lnTo>
                      <a:pt x="4039" y="3139"/>
                    </a:lnTo>
                    <a:lnTo>
                      <a:pt x="4081" y="3181"/>
                    </a:lnTo>
                    <a:lnTo>
                      <a:pt x="4186" y="3160"/>
                    </a:lnTo>
                    <a:lnTo>
                      <a:pt x="4081" y="3265"/>
                    </a:lnTo>
                    <a:lnTo>
                      <a:pt x="4081" y="3328"/>
                    </a:lnTo>
                    <a:lnTo>
                      <a:pt x="4227" y="3453"/>
                    </a:lnTo>
                    <a:lnTo>
                      <a:pt x="4186" y="3558"/>
                    </a:lnTo>
                    <a:lnTo>
                      <a:pt x="4227" y="3641"/>
                    </a:lnTo>
                    <a:lnTo>
                      <a:pt x="4332" y="3704"/>
                    </a:lnTo>
                    <a:lnTo>
                      <a:pt x="4479" y="3809"/>
                    </a:lnTo>
                    <a:lnTo>
                      <a:pt x="4499" y="3872"/>
                    </a:lnTo>
                    <a:lnTo>
                      <a:pt x="4374" y="3872"/>
                    </a:lnTo>
                    <a:lnTo>
                      <a:pt x="4353" y="3955"/>
                    </a:lnTo>
                    <a:lnTo>
                      <a:pt x="4437" y="4018"/>
                    </a:lnTo>
                    <a:lnTo>
                      <a:pt x="4541" y="4081"/>
                    </a:lnTo>
                    <a:lnTo>
                      <a:pt x="4667" y="4060"/>
                    </a:lnTo>
                    <a:lnTo>
                      <a:pt x="4751" y="4081"/>
                    </a:lnTo>
                    <a:lnTo>
                      <a:pt x="4688" y="4081"/>
                    </a:lnTo>
                    <a:lnTo>
                      <a:pt x="4562" y="4123"/>
                    </a:lnTo>
                    <a:lnTo>
                      <a:pt x="4499" y="4102"/>
                    </a:lnTo>
                    <a:lnTo>
                      <a:pt x="4458" y="4123"/>
                    </a:lnTo>
                    <a:lnTo>
                      <a:pt x="4499" y="4206"/>
                    </a:lnTo>
                    <a:lnTo>
                      <a:pt x="4583" y="4227"/>
                    </a:lnTo>
                    <a:lnTo>
                      <a:pt x="4562" y="4395"/>
                    </a:lnTo>
                    <a:lnTo>
                      <a:pt x="4541" y="4416"/>
                    </a:lnTo>
                    <a:lnTo>
                      <a:pt x="4541" y="4499"/>
                    </a:lnTo>
                    <a:lnTo>
                      <a:pt x="4499" y="4583"/>
                    </a:lnTo>
                    <a:lnTo>
                      <a:pt x="4458" y="4604"/>
                    </a:lnTo>
                    <a:lnTo>
                      <a:pt x="4541" y="4709"/>
                    </a:lnTo>
                    <a:lnTo>
                      <a:pt x="4667" y="4625"/>
                    </a:lnTo>
                    <a:lnTo>
                      <a:pt x="4709" y="4688"/>
                    </a:lnTo>
                    <a:lnTo>
                      <a:pt x="4792" y="4688"/>
                    </a:lnTo>
                    <a:lnTo>
                      <a:pt x="4897" y="4625"/>
                    </a:lnTo>
                    <a:lnTo>
                      <a:pt x="5064" y="4625"/>
                    </a:lnTo>
                    <a:lnTo>
                      <a:pt x="5127" y="4583"/>
                    </a:lnTo>
                    <a:lnTo>
                      <a:pt x="5169" y="4478"/>
                    </a:lnTo>
                    <a:lnTo>
                      <a:pt x="5169" y="4583"/>
                    </a:lnTo>
                    <a:lnTo>
                      <a:pt x="5106" y="4688"/>
                    </a:lnTo>
                    <a:lnTo>
                      <a:pt x="5127" y="4750"/>
                    </a:lnTo>
                    <a:lnTo>
                      <a:pt x="5190" y="4792"/>
                    </a:lnTo>
                    <a:lnTo>
                      <a:pt x="5316" y="4897"/>
                    </a:lnTo>
                    <a:lnTo>
                      <a:pt x="5295" y="4939"/>
                    </a:lnTo>
                    <a:lnTo>
                      <a:pt x="5336" y="5022"/>
                    </a:lnTo>
                    <a:lnTo>
                      <a:pt x="5504" y="5211"/>
                    </a:lnTo>
                    <a:lnTo>
                      <a:pt x="5629" y="5232"/>
                    </a:lnTo>
                    <a:lnTo>
                      <a:pt x="5692" y="5253"/>
                    </a:lnTo>
                    <a:lnTo>
                      <a:pt x="5713" y="3851"/>
                    </a:lnTo>
                    <a:lnTo>
                      <a:pt x="5713" y="3788"/>
                    </a:lnTo>
                    <a:lnTo>
                      <a:pt x="5713" y="3704"/>
                    </a:lnTo>
                    <a:lnTo>
                      <a:pt x="5734" y="3537"/>
                    </a:lnTo>
                    <a:lnTo>
                      <a:pt x="5818" y="1382"/>
                    </a:lnTo>
                    <a:lnTo>
                      <a:pt x="5713" y="1403"/>
                    </a:lnTo>
                    <a:lnTo>
                      <a:pt x="5629" y="1382"/>
                    </a:lnTo>
                    <a:lnTo>
                      <a:pt x="5629" y="1298"/>
                    </a:lnTo>
                    <a:lnTo>
                      <a:pt x="5650" y="1256"/>
                    </a:lnTo>
                    <a:lnTo>
                      <a:pt x="5546" y="1193"/>
                    </a:lnTo>
                    <a:lnTo>
                      <a:pt x="5441" y="1193"/>
                    </a:lnTo>
                    <a:lnTo>
                      <a:pt x="5316" y="1172"/>
                    </a:lnTo>
                    <a:lnTo>
                      <a:pt x="5232" y="1152"/>
                    </a:lnTo>
                    <a:lnTo>
                      <a:pt x="5169" y="1172"/>
                    </a:lnTo>
                    <a:lnTo>
                      <a:pt x="4813" y="1026"/>
                    </a:lnTo>
                    <a:lnTo>
                      <a:pt x="4667" y="984"/>
                    </a:lnTo>
                    <a:lnTo>
                      <a:pt x="4562" y="963"/>
                    </a:lnTo>
                    <a:lnTo>
                      <a:pt x="4458" y="880"/>
                    </a:lnTo>
                    <a:lnTo>
                      <a:pt x="4248" y="838"/>
                    </a:lnTo>
                    <a:lnTo>
                      <a:pt x="4060" y="754"/>
                    </a:lnTo>
                    <a:lnTo>
                      <a:pt x="3976" y="670"/>
                    </a:lnTo>
                    <a:lnTo>
                      <a:pt x="3830" y="649"/>
                    </a:lnTo>
                    <a:lnTo>
                      <a:pt x="3537" y="838"/>
                    </a:lnTo>
                    <a:lnTo>
                      <a:pt x="3537" y="880"/>
                    </a:lnTo>
                    <a:lnTo>
                      <a:pt x="3600" y="984"/>
                    </a:lnTo>
                    <a:lnTo>
                      <a:pt x="3558" y="1068"/>
                    </a:lnTo>
                    <a:lnTo>
                      <a:pt x="3391" y="1089"/>
                    </a:lnTo>
                    <a:lnTo>
                      <a:pt x="3286" y="1131"/>
                    </a:lnTo>
                    <a:lnTo>
                      <a:pt x="3223" y="1131"/>
                    </a:lnTo>
                    <a:lnTo>
                      <a:pt x="3181" y="1089"/>
                    </a:lnTo>
                    <a:lnTo>
                      <a:pt x="3119" y="1172"/>
                    </a:lnTo>
                    <a:lnTo>
                      <a:pt x="3119" y="1277"/>
                    </a:lnTo>
                    <a:lnTo>
                      <a:pt x="2993" y="1340"/>
                    </a:lnTo>
                    <a:lnTo>
                      <a:pt x="2888" y="1361"/>
                    </a:lnTo>
                    <a:lnTo>
                      <a:pt x="2805" y="1465"/>
                    </a:lnTo>
                    <a:lnTo>
                      <a:pt x="2805" y="1612"/>
                    </a:lnTo>
                    <a:lnTo>
                      <a:pt x="2763" y="1654"/>
                    </a:lnTo>
                    <a:lnTo>
                      <a:pt x="2700" y="1696"/>
                    </a:lnTo>
                    <a:lnTo>
                      <a:pt x="2658" y="1800"/>
                    </a:lnTo>
                    <a:lnTo>
                      <a:pt x="2554" y="1821"/>
                    </a:lnTo>
                    <a:lnTo>
                      <a:pt x="2449" y="1821"/>
                    </a:lnTo>
                    <a:lnTo>
                      <a:pt x="2386" y="1779"/>
                    </a:lnTo>
                    <a:lnTo>
                      <a:pt x="2261" y="1675"/>
                    </a:lnTo>
                    <a:lnTo>
                      <a:pt x="2240" y="1570"/>
                    </a:lnTo>
                    <a:lnTo>
                      <a:pt x="2177" y="1591"/>
                    </a:lnTo>
                    <a:lnTo>
                      <a:pt x="2156" y="1465"/>
                    </a:lnTo>
                    <a:lnTo>
                      <a:pt x="2156" y="1361"/>
                    </a:lnTo>
                    <a:lnTo>
                      <a:pt x="2072" y="1298"/>
                    </a:lnTo>
                    <a:lnTo>
                      <a:pt x="2031" y="1382"/>
                    </a:lnTo>
                    <a:lnTo>
                      <a:pt x="2051" y="1507"/>
                    </a:lnTo>
                    <a:lnTo>
                      <a:pt x="1989" y="1507"/>
                    </a:lnTo>
                    <a:lnTo>
                      <a:pt x="1926" y="1444"/>
                    </a:lnTo>
                    <a:lnTo>
                      <a:pt x="1863" y="1298"/>
                    </a:lnTo>
                    <a:lnTo>
                      <a:pt x="1842" y="1047"/>
                    </a:lnTo>
                    <a:lnTo>
                      <a:pt x="1821" y="880"/>
                    </a:lnTo>
                    <a:lnTo>
                      <a:pt x="1863" y="775"/>
                    </a:lnTo>
                    <a:lnTo>
                      <a:pt x="1947" y="670"/>
                    </a:lnTo>
                    <a:lnTo>
                      <a:pt x="1884" y="566"/>
                    </a:lnTo>
                    <a:lnTo>
                      <a:pt x="1821" y="503"/>
                    </a:lnTo>
                    <a:lnTo>
                      <a:pt x="1821" y="335"/>
                    </a:lnTo>
                    <a:lnTo>
                      <a:pt x="1842" y="294"/>
                    </a:lnTo>
                    <a:lnTo>
                      <a:pt x="1779" y="231"/>
                    </a:lnTo>
                    <a:lnTo>
                      <a:pt x="1612" y="210"/>
                    </a:lnTo>
                    <a:lnTo>
                      <a:pt x="1424" y="231"/>
                    </a:lnTo>
                    <a:lnTo>
                      <a:pt x="1235" y="105"/>
                    </a:lnTo>
                    <a:lnTo>
                      <a:pt x="92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7" name="Google Shape;827;p34"/>
              <p:cNvSpPr/>
              <p:nvPr/>
            </p:nvSpPr>
            <p:spPr>
              <a:xfrm>
                <a:off x="5268100" y="3181025"/>
                <a:ext cx="143350" cy="129750"/>
              </a:xfrm>
              <a:custGeom>
                <a:avLst/>
                <a:gdLst/>
                <a:ahLst/>
                <a:cxnLst/>
                <a:rect l="l" t="t" r="r" b="b"/>
                <a:pathLst>
                  <a:path w="5734" h="5190" extrusionOk="0">
                    <a:moveTo>
                      <a:pt x="4060" y="0"/>
                    </a:moveTo>
                    <a:lnTo>
                      <a:pt x="3955" y="147"/>
                    </a:lnTo>
                    <a:lnTo>
                      <a:pt x="3955" y="209"/>
                    </a:lnTo>
                    <a:lnTo>
                      <a:pt x="3892" y="314"/>
                    </a:lnTo>
                    <a:lnTo>
                      <a:pt x="3892" y="398"/>
                    </a:lnTo>
                    <a:lnTo>
                      <a:pt x="3767" y="837"/>
                    </a:lnTo>
                    <a:lnTo>
                      <a:pt x="3579" y="1109"/>
                    </a:lnTo>
                    <a:lnTo>
                      <a:pt x="3516" y="1360"/>
                    </a:lnTo>
                    <a:lnTo>
                      <a:pt x="3265" y="1716"/>
                    </a:lnTo>
                    <a:lnTo>
                      <a:pt x="3307" y="1779"/>
                    </a:lnTo>
                    <a:lnTo>
                      <a:pt x="3014" y="1842"/>
                    </a:lnTo>
                    <a:lnTo>
                      <a:pt x="2783" y="1967"/>
                    </a:lnTo>
                    <a:lnTo>
                      <a:pt x="2637" y="1967"/>
                    </a:lnTo>
                    <a:lnTo>
                      <a:pt x="2595" y="1883"/>
                    </a:lnTo>
                    <a:lnTo>
                      <a:pt x="2470" y="1842"/>
                    </a:lnTo>
                    <a:lnTo>
                      <a:pt x="2177" y="1842"/>
                    </a:lnTo>
                    <a:lnTo>
                      <a:pt x="2093" y="1925"/>
                    </a:lnTo>
                    <a:lnTo>
                      <a:pt x="1758" y="2051"/>
                    </a:lnTo>
                    <a:lnTo>
                      <a:pt x="1444" y="2030"/>
                    </a:lnTo>
                    <a:lnTo>
                      <a:pt x="1361" y="2072"/>
                    </a:lnTo>
                    <a:lnTo>
                      <a:pt x="1235" y="2051"/>
                    </a:lnTo>
                    <a:lnTo>
                      <a:pt x="1214" y="2134"/>
                    </a:lnTo>
                    <a:lnTo>
                      <a:pt x="1047" y="2176"/>
                    </a:lnTo>
                    <a:lnTo>
                      <a:pt x="942" y="2155"/>
                    </a:lnTo>
                    <a:lnTo>
                      <a:pt x="921" y="2051"/>
                    </a:lnTo>
                    <a:lnTo>
                      <a:pt x="796" y="1946"/>
                    </a:lnTo>
                    <a:lnTo>
                      <a:pt x="754" y="1883"/>
                    </a:lnTo>
                    <a:lnTo>
                      <a:pt x="566" y="1758"/>
                    </a:lnTo>
                    <a:lnTo>
                      <a:pt x="440" y="1549"/>
                    </a:lnTo>
                    <a:lnTo>
                      <a:pt x="377" y="1570"/>
                    </a:lnTo>
                    <a:lnTo>
                      <a:pt x="314" y="1653"/>
                    </a:lnTo>
                    <a:lnTo>
                      <a:pt x="168" y="1842"/>
                    </a:lnTo>
                    <a:lnTo>
                      <a:pt x="84" y="1988"/>
                    </a:lnTo>
                    <a:lnTo>
                      <a:pt x="84" y="2072"/>
                    </a:lnTo>
                    <a:lnTo>
                      <a:pt x="105" y="2155"/>
                    </a:lnTo>
                    <a:lnTo>
                      <a:pt x="84" y="2239"/>
                    </a:lnTo>
                    <a:lnTo>
                      <a:pt x="1" y="2281"/>
                    </a:lnTo>
                    <a:lnTo>
                      <a:pt x="22" y="2490"/>
                    </a:lnTo>
                    <a:lnTo>
                      <a:pt x="210" y="2699"/>
                    </a:lnTo>
                    <a:lnTo>
                      <a:pt x="231" y="2804"/>
                    </a:lnTo>
                    <a:lnTo>
                      <a:pt x="189" y="2762"/>
                    </a:lnTo>
                    <a:lnTo>
                      <a:pt x="168" y="2804"/>
                    </a:lnTo>
                    <a:lnTo>
                      <a:pt x="210" y="2930"/>
                    </a:lnTo>
                    <a:lnTo>
                      <a:pt x="335" y="2971"/>
                    </a:lnTo>
                    <a:lnTo>
                      <a:pt x="419" y="2971"/>
                    </a:lnTo>
                    <a:lnTo>
                      <a:pt x="607" y="2909"/>
                    </a:lnTo>
                    <a:lnTo>
                      <a:pt x="733" y="2825"/>
                    </a:lnTo>
                    <a:lnTo>
                      <a:pt x="838" y="2867"/>
                    </a:lnTo>
                    <a:lnTo>
                      <a:pt x="733" y="2867"/>
                    </a:lnTo>
                    <a:lnTo>
                      <a:pt x="607" y="2971"/>
                    </a:lnTo>
                    <a:lnTo>
                      <a:pt x="398" y="3013"/>
                    </a:lnTo>
                    <a:lnTo>
                      <a:pt x="314" y="3097"/>
                    </a:lnTo>
                    <a:lnTo>
                      <a:pt x="210" y="3097"/>
                    </a:lnTo>
                    <a:lnTo>
                      <a:pt x="210" y="3139"/>
                    </a:lnTo>
                    <a:lnTo>
                      <a:pt x="335" y="3181"/>
                    </a:lnTo>
                    <a:lnTo>
                      <a:pt x="503" y="3243"/>
                    </a:lnTo>
                    <a:lnTo>
                      <a:pt x="649" y="3411"/>
                    </a:lnTo>
                    <a:lnTo>
                      <a:pt x="712" y="3515"/>
                    </a:lnTo>
                    <a:lnTo>
                      <a:pt x="733" y="3620"/>
                    </a:lnTo>
                    <a:lnTo>
                      <a:pt x="649" y="3746"/>
                    </a:lnTo>
                    <a:lnTo>
                      <a:pt x="566" y="3829"/>
                    </a:lnTo>
                    <a:lnTo>
                      <a:pt x="607" y="3871"/>
                    </a:lnTo>
                    <a:lnTo>
                      <a:pt x="712" y="3955"/>
                    </a:lnTo>
                    <a:lnTo>
                      <a:pt x="733" y="4227"/>
                    </a:lnTo>
                    <a:lnTo>
                      <a:pt x="733" y="4352"/>
                    </a:lnTo>
                    <a:lnTo>
                      <a:pt x="817" y="4499"/>
                    </a:lnTo>
                    <a:lnTo>
                      <a:pt x="858" y="4499"/>
                    </a:lnTo>
                    <a:lnTo>
                      <a:pt x="963" y="4436"/>
                    </a:lnTo>
                    <a:lnTo>
                      <a:pt x="1005" y="4499"/>
                    </a:lnTo>
                    <a:lnTo>
                      <a:pt x="1130" y="4499"/>
                    </a:lnTo>
                    <a:lnTo>
                      <a:pt x="1214" y="4541"/>
                    </a:lnTo>
                    <a:lnTo>
                      <a:pt x="1361" y="4541"/>
                    </a:lnTo>
                    <a:lnTo>
                      <a:pt x="1444" y="4457"/>
                    </a:lnTo>
                    <a:lnTo>
                      <a:pt x="1528" y="4499"/>
                    </a:lnTo>
                    <a:lnTo>
                      <a:pt x="1591" y="4457"/>
                    </a:lnTo>
                    <a:lnTo>
                      <a:pt x="1654" y="4352"/>
                    </a:lnTo>
                    <a:lnTo>
                      <a:pt x="1654" y="4290"/>
                    </a:lnTo>
                    <a:lnTo>
                      <a:pt x="1674" y="4373"/>
                    </a:lnTo>
                    <a:lnTo>
                      <a:pt x="1654" y="4478"/>
                    </a:lnTo>
                    <a:lnTo>
                      <a:pt x="1695" y="4603"/>
                    </a:lnTo>
                    <a:lnTo>
                      <a:pt x="1737" y="4792"/>
                    </a:lnTo>
                    <a:lnTo>
                      <a:pt x="1695" y="4896"/>
                    </a:lnTo>
                    <a:lnTo>
                      <a:pt x="1779" y="4896"/>
                    </a:lnTo>
                    <a:lnTo>
                      <a:pt x="1905" y="4750"/>
                    </a:lnTo>
                    <a:lnTo>
                      <a:pt x="1988" y="4708"/>
                    </a:lnTo>
                    <a:lnTo>
                      <a:pt x="2051" y="4771"/>
                    </a:lnTo>
                    <a:lnTo>
                      <a:pt x="2114" y="4750"/>
                    </a:lnTo>
                    <a:lnTo>
                      <a:pt x="2135" y="4687"/>
                    </a:lnTo>
                    <a:lnTo>
                      <a:pt x="2302" y="4687"/>
                    </a:lnTo>
                    <a:lnTo>
                      <a:pt x="2386" y="4583"/>
                    </a:lnTo>
                    <a:lnTo>
                      <a:pt x="2428" y="4583"/>
                    </a:lnTo>
                    <a:lnTo>
                      <a:pt x="2532" y="4645"/>
                    </a:lnTo>
                    <a:lnTo>
                      <a:pt x="2616" y="4583"/>
                    </a:lnTo>
                    <a:lnTo>
                      <a:pt x="2658" y="4645"/>
                    </a:lnTo>
                    <a:lnTo>
                      <a:pt x="2658" y="4750"/>
                    </a:lnTo>
                    <a:lnTo>
                      <a:pt x="2721" y="4792"/>
                    </a:lnTo>
                    <a:lnTo>
                      <a:pt x="2825" y="4813"/>
                    </a:lnTo>
                    <a:lnTo>
                      <a:pt x="2804" y="4750"/>
                    </a:lnTo>
                    <a:lnTo>
                      <a:pt x="2825" y="4666"/>
                    </a:lnTo>
                    <a:lnTo>
                      <a:pt x="2888" y="4750"/>
                    </a:lnTo>
                    <a:lnTo>
                      <a:pt x="2993" y="4771"/>
                    </a:lnTo>
                    <a:lnTo>
                      <a:pt x="3035" y="4750"/>
                    </a:lnTo>
                    <a:lnTo>
                      <a:pt x="3097" y="4813"/>
                    </a:lnTo>
                    <a:lnTo>
                      <a:pt x="3139" y="4792"/>
                    </a:lnTo>
                    <a:lnTo>
                      <a:pt x="3160" y="4855"/>
                    </a:lnTo>
                    <a:lnTo>
                      <a:pt x="3223" y="4917"/>
                    </a:lnTo>
                    <a:lnTo>
                      <a:pt x="3181" y="5022"/>
                    </a:lnTo>
                    <a:lnTo>
                      <a:pt x="3244" y="5189"/>
                    </a:lnTo>
                    <a:lnTo>
                      <a:pt x="3348" y="5168"/>
                    </a:lnTo>
                    <a:lnTo>
                      <a:pt x="3579" y="5064"/>
                    </a:lnTo>
                    <a:lnTo>
                      <a:pt x="3746" y="5022"/>
                    </a:lnTo>
                    <a:lnTo>
                      <a:pt x="3955" y="4896"/>
                    </a:lnTo>
                    <a:lnTo>
                      <a:pt x="4060" y="4666"/>
                    </a:lnTo>
                    <a:lnTo>
                      <a:pt x="4060" y="4583"/>
                    </a:lnTo>
                    <a:lnTo>
                      <a:pt x="4102" y="4457"/>
                    </a:lnTo>
                    <a:lnTo>
                      <a:pt x="4143" y="4478"/>
                    </a:lnTo>
                    <a:lnTo>
                      <a:pt x="4185" y="4478"/>
                    </a:lnTo>
                    <a:lnTo>
                      <a:pt x="4269" y="4290"/>
                    </a:lnTo>
                    <a:lnTo>
                      <a:pt x="4227" y="4269"/>
                    </a:lnTo>
                    <a:lnTo>
                      <a:pt x="4185" y="4227"/>
                    </a:lnTo>
                    <a:lnTo>
                      <a:pt x="4185" y="4164"/>
                    </a:lnTo>
                    <a:lnTo>
                      <a:pt x="4206" y="4185"/>
                    </a:lnTo>
                    <a:lnTo>
                      <a:pt x="4290" y="4227"/>
                    </a:lnTo>
                    <a:lnTo>
                      <a:pt x="4353" y="4143"/>
                    </a:lnTo>
                    <a:lnTo>
                      <a:pt x="4311" y="4059"/>
                    </a:lnTo>
                    <a:lnTo>
                      <a:pt x="4269" y="4059"/>
                    </a:lnTo>
                    <a:lnTo>
                      <a:pt x="4206" y="4039"/>
                    </a:lnTo>
                    <a:lnTo>
                      <a:pt x="4290" y="3976"/>
                    </a:lnTo>
                    <a:lnTo>
                      <a:pt x="4290" y="3871"/>
                    </a:lnTo>
                    <a:lnTo>
                      <a:pt x="4143" y="3871"/>
                    </a:lnTo>
                    <a:lnTo>
                      <a:pt x="4185" y="3808"/>
                    </a:lnTo>
                    <a:lnTo>
                      <a:pt x="4164" y="3746"/>
                    </a:lnTo>
                    <a:lnTo>
                      <a:pt x="4164" y="3746"/>
                    </a:lnTo>
                    <a:lnTo>
                      <a:pt x="4227" y="3767"/>
                    </a:lnTo>
                    <a:lnTo>
                      <a:pt x="4353" y="3725"/>
                    </a:lnTo>
                    <a:lnTo>
                      <a:pt x="4374" y="3620"/>
                    </a:lnTo>
                    <a:lnTo>
                      <a:pt x="4457" y="3515"/>
                    </a:lnTo>
                    <a:lnTo>
                      <a:pt x="4478" y="3390"/>
                    </a:lnTo>
                    <a:lnTo>
                      <a:pt x="4457" y="3306"/>
                    </a:lnTo>
                    <a:lnTo>
                      <a:pt x="4499" y="3348"/>
                    </a:lnTo>
                    <a:lnTo>
                      <a:pt x="4562" y="3453"/>
                    </a:lnTo>
                    <a:lnTo>
                      <a:pt x="4625" y="3348"/>
                    </a:lnTo>
                    <a:lnTo>
                      <a:pt x="4708" y="3243"/>
                    </a:lnTo>
                    <a:lnTo>
                      <a:pt x="4667" y="3097"/>
                    </a:lnTo>
                    <a:lnTo>
                      <a:pt x="4813" y="2971"/>
                    </a:lnTo>
                    <a:lnTo>
                      <a:pt x="4834" y="2783"/>
                    </a:lnTo>
                    <a:lnTo>
                      <a:pt x="4897" y="2699"/>
                    </a:lnTo>
                    <a:lnTo>
                      <a:pt x="4918" y="2469"/>
                    </a:lnTo>
                    <a:lnTo>
                      <a:pt x="4980" y="2406"/>
                    </a:lnTo>
                    <a:lnTo>
                      <a:pt x="4980" y="2344"/>
                    </a:lnTo>
                    <a:lnTo>
                      <a:pt x="5106" y="2197"/>
                    </a:lnTo>
                    <a:lnTo>
                      <a:pt x="5148" y="2281"/>
                    </a:lnTo>
                    <a:lnTo>
                      <a:pt x="5190" y="2239"/>
                    </a:lnTo>
                    <a:lnTo>
                      <a:pt x="5148" y="2072"/>
                    </a:lnTo>
                    <a:lnTo>
                      <a:pt x="5148" y="2072"/>
                    </a:lnTo>
                    <a:lnTo>
                      <a:pt x="5336" y="2260"/>
                    </a:lnTo>
                    <a:lnTo>
                      <a:pt x="5462" y="2260"/>
                    </a:lnTo>
                    <a:lnTo>
                      <a:pt x="5545" y="2197"/>
                    </a:lnTo>
                    <a:lnTo>
                      <a:pt x="5629" y="2239"/>
                    </a:lnTo>
                    <a:lnTo>
                      <a:pt x="5713" y="2197"/>
                    </a:lnTo>
                    <a:lnTo>
                      <a:pt x="5734" y="2093"/>
                    </a:lnTo>
                    <a:lnTo>
                      <a:pt x="5629" y="2072"/>
                    </a:lnTo>
                    <a:lnTo>
                      <a:pt x="5608" y="2030"/>
                    </a:lnTo>
                    <a:lnTo>
                      <a:pt x="5503" y="1883"/>
                    </a:lnTo>
                    <a:lnTo>
                      <a:pt x="5420" y="1883"/>
                    </a:lnTo>
                    <a:lnTo>
                      <a:pt x="5190" y="1674"/>
                    </a:lnTo>
                    <a:lnTo>
                      <a:pt x="5106" y="1632"/>
                    </a:lnTo>
                    <a:lnTo>
                      <a:pt x="5085" y="1528"/>
                    </a:lnTo>
                    <a:lnTo>
                      <a:pt x="5022" y="1465"/>
                    </a:lnTo>
                    <a:lnTo>
                      <a:pt x="5043" y="1423"/>
                    </a:lnTo>
                    <a:lnTo>
                      <a:pt x="5190" y="1360"/>
                    </a:lnTo>
                    <a:lnTo>
                      <a:pt x="5231" y="1256"/>
                    </a:lnTo>
                    <a:lnTo>
                      <a:pt x="5148" y="1193"/>
                    </a:lnTo>
                    <a:lnTo>
                      <a:pt x="4980" y="1005"/>
                    </a:lnTo>
                    <a:lnTo>
                      <a:pt x="4918" y="879"/>
                    </a:lnTo>
                    <a:lnTo>
                      <a:pt x="4834" y="795"/>
                    </a:lnTo>
                    <a:lnTo>
                      <a:pt x="4876" y="712"/>
                    </a:lnTo>
                    <a:lnTo>
                      <a:pt x="4918" y="691"/>
                    </a:lnTo>
                    <a:lnTo>
                      <a:pt x="4918" y="628"/>
                    </a:lnTo>
                    <a:lnTo>
                      <a:pt x="4876" y="607"/>
                    </a:lnTo>
                    <a:lnTo>
                      <a:pt x="4750" y="482"/>
                    </a:lnTo>
                    <a:lnTo>
                      <a:pt x="4813" y="461"/>
                    </a:lnTo>
                    <a:lnTo>
                      <a:pt x="4939" y="482"/>
                    </a:lnTo>
                    <a:lnTo>
                      <a:pt x="5085" y="461"/>
                    </a:lnTo>
                    <a:lnTo>
                      <a:pt x="4980" y="314"/>
                    </a:lnTo>
                    <a:lnTo>
                      <a:pt x="4834" y="272"/>
                    </a:lnTo>
                    <a:lnTo>
                      <a:pt x="4897" y="209"/>
                    </a:lnTo>
                    <a:lnTo>
                      <a:pt x="4876" y="168"/>
                    </a:lnTo>
                    <a:lnTo>
                      <a:pt x="4939" y="147"/>
                    </a:lnTo>
                    <a:lnTo>
                      <a:pt x="4939" y="105"/>
                    </a:lnTo>
                    <a:lnTo>
                      <a:pt x="4813" y="84"/>
                    </a:lnTo>
                    <a:lnTo>
                      <a:pt x="4667" y="84"/>
                    </a:lnTo>
                    <a:lnTo>
                      <a:pt x="4604" y="42"/>
                    </a:lnTo>
                    <a:lnTo>
                      <a:pt x="4164" y="42"/>
                    </a:lnTo>
                    <a:lnTo>
                      <a:pt x="406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8" name="Google Shape;828;p34"/>
              <p:cNvSpPr/>
              <p:nvPr/>
            </p:nvSpPr>
            <p:spPr>
              <a:xfrm>
                <a:off x="5068275" y="3161675"/>
                <a:ext cx="431050" cy="221800"/>
              </a:xfrm>
              <a:custGeom>
                <a:avLst/>
                <a:gdLst/>
                <a:ahLst/>
                <a:cxnLst/>
                <a:rect l="l" t="t" r="r" b="b"/>
                <a:pathLst>
                  <a:path w="17242" h="8872" extrusionOk="0">
                    <a:moveTo>
                      <a:pt x="16991" y="8202"/>
                    </a:moveTo>
                    <a:lnTo>
                      <a:pt x="16886" y="8265"/>
                    </a:lnTo>
                    <a:lnTo>
                      <a:pt x="16928" y="8286"/>
                    </a:lnTo>
                    <a:lnTo>
                      <a:pt x="16907" y="8307"/>
                    </a:lnTo>
                    <a:cubicBezTo>
                      <a:pt x="16886" y="8307"/>
                      <a:pt x="16823" y="8349"/>
                      <a:pt x="16802" y="8349"/>
                    </a:cubicBezTo>
                    <a:lnTo>
                      <a:pt x="16802" y="8307"/>
                    </a:lnTo>
                    <a:lnTo>
                      <a:pt x="16782" y="8349"/>
                    </a:lnTo>
                    <a:cubicBezTo>
                      <a:pt x="16677" y="8370"/>
                      <a:pt x="16572" y="8370"/>
                      <a:pt x="16489" y="8390"/>
                    </a:cubicBezTo>
                    <a:lnTo>
                      <a:pt x="16593" y="8286"/>
                    </a:lnTo>
                    <a:lnTo>
                      <a:pt x="16551" y="8265"/>
                    </a:lnTo>
                    <a:lnTo>
                      <a:pt x="16468" y="8307"/>
                    </a:lnTo>
                    <a:lnTo>
                      <a:pt x="16384" y="8307"/>
                    </a:lnTo>
                    <a:lnTo>
                      <a:pt x="16342" y="8349"/>
                    </a:lnTo>
                    <a:lnTo>
                      <a:pt x="16363" y="8390"/>
                    </a:lnTo>
                    <a:lnTo>
                      <a:pt x="16300" y="8453"/>
                    </a:lnTo>
                    <a:lnTo>
                      <a:pt x="16196" y="8453"/>
                    </a:lnTo>
                    <a:lnTo>
                      <a:pt x="16258" y="8495"/>
                    </a:lnTo>
                    <a:lnTo>
                      <a:pt x="16384" y="8474"/>
                    </a:lnTo>
                    <a:lnTo>
                      <a:pt x="16447" y="8411"/>
                    </a:lnTo>
                    <a:cubicBezTo>
                      <a:pt x="16489" y="8411"/>
                      <a:pt x="16551" y="8411"/>
                      <a:pt x="16614" y="8390"/>
                    </a:cubicBezTo>
                    <a:lnTo>
                      <a:pt x="16614" y="8390"/>
                    </a:lnTo>
                    <a:lnTo>
                      <a:pt x="16593" y="8411"/>
                    </a:lnTo>
                    <a:lnTo>
                      <a:pt x="16677" y="8411"/>
                    </a:lnTo>
                    <a:lnTo>
                      <a:pt x="16719" y="8474"/>
                    </a:lnTo>
                    <a:lnTo>
                      <a:pt x="16802" y="8370"/>
                    </a:lnTo>
                    <a:cubicBezTo>
                      <a:pt x="16823" y="8370"/>
                      <a:pt x="16886" y="8349"/>
                      <a:pt x="16907" y="8349"/>
                    </a:cubicBezTo>
                    <a:lnTo>
                      <a:pt x="16907" y="8370"/>
                    </a:lnTo>
                    <a:lnTo>
                      <a:pt x="17012" y="8390"/>
                    </a:lnTo>
                    <a:lnTo>
                      <a:pt x="17200" y="8307"/>
                    </a:lnTo>
                    <a:lnTo>
                      <a:pt x="17242" y="8244"/>
                    </a:lnTo>
                    <a:lnTo>
                      <a:pt x="17200" y="8202"/>
                    </a:lnTo>
                    <a:lnTo>
                      <a:pt x="17033" y="8244"/>
                    </a:lnTo>
                    <a:lnTo>
                      <a:pt x="16991" y="8202"/>
                    </a:lnTo>
                    <a:close/>
                    <a:moveTo>
                      <a:pt x="16070" y="8411"/>
                    </a:move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26" y="8475"/>
                      <a:pt x="16037" y="8501"/>
                      <a:pt x="16036" y="8525"/>
                    </a:cubicBezTo>
                    <a:lnTo>
                      <a:pt x="16036" y="8525"/>
                    </a:lnTo>
                    <a:lnTo>
                      <a:pt x="16049" y="8474"/>
                    </a:lnTo>
                    <a:lnTo>
                      <a:pt x="16133" y="8453"/>
                    </a:lnTo>
                    <a:lnTo>
                      <a:pt x="16196" y="8453"/>
                    </a:lnTo>
                    <a:lnTo>
                      <a:pt x="16237" y="8411"/>
                    </a:lnTo>
                    <a:close/>
                    <a:moveTo>
                      <a:pt x="16036" y="8525"/>
                    </a:moveTo>
                    <a:lnTo>
                      <a:pt x="16028" y="8558"/>
                    </a:lnTo>
                    <a:cubicBezTo>
                      <a:pt x="16034" y="8547"/>
                      <a:pt x="16036" y="8536"/>
                      <a:pt x="16036" y="8525"/>
                    </a:cubicBezTo>
                    <a:close/>
                    <a:moveTo>
                      <a:pt x="105" y="0"/>
                    </a:moveTo>
                    <a:lnTo>
                      <a:pt x="22" y="42"/>
                    </a:lnTo>
                    <a:lnTo>
                      <a:pt x="1" y="105"/>
                    </a:lnTo>
                    <a:lnTo>
                      <a:pt x="22" y="251"/>
                    </a:lnTo>
                    <a:lnTo>
                      <a:pt x="168" y="565"/>
                    </a:lnTo>
                    <a:lnTo>
                      <a:pt x="252" y="628"/>
                    </a:lnTo>
                    <a:lnTo>
                      <a:pt x="524" y="879"/>
                    </a:lnTo>
                    <a:lnTo>
                      <a:pt x="587" y="879"/>
                    </a:lnTo>
                    <a:lnTo>
                      <a:pt x="754" y="1067"/>
                    </a:lnTo>
                    <a:lnTo>
                      <a:pt x="838" y="1088"/>
                    </a:lnTo>
                    <a:lnTo>
                      <a:pt x="900" y="1067"/>
                    </a:lnTo>
                    <a:lnTo>
                      <a:pt x="1089" y="1214"/>
                    </a:lnTo>
                    <a:lnTo>
                      <a:pt x="1298" y="1528"/>
                    </a:lnTo>
                    <a:lnTo>
                      <a:pt x="1507" y="1716"/>
                    </a:lnTo>
                    <a:lnTo>
                      <a:pt x="1570" y="1716"/>
                    </a:lnTo>
                    <a:lnTo>
                      <a:pt x="1570" y="1883"/>
                    </a:lnTo>
                    <a:lnTo>
                      <a:pt x="1612" y="1925"/>
                    </a:lnTo>
                    <a:lnTo>
                      <a:pt x="1633" y="2092"/>
                    </a:lnTo>
                    <a:lnTo>
                      <a:pt x="1716" y="2155"/>
                    </a:lnTo>
                    <a:lnTo>
                      <a:pt x="1842" y="2155"/>
                    </a:lnTo>
                    <a:lnTo>
                      <a:pt x="2009" y="2344"/>
                    </a:lnTo>
                    <a:lnTo>
                      <a:pt x="2093" y="2406"/>
                    </a:lnTo>
                    <a:lnTo>
                      <a:pt x="2156" y="2406"/>
                    </a:lnTo>
                    <a:lnTo>
                      <a:pt x="2198" y="2448"/>
                    </a:lnTo>
                    <a:lnTo>
                      <a:pt x="2135" y="2532"/>
                    </a:lnTo>
                    <a:lnTo>
                      <a:pt x="2219" y="2616"/>
                    </a:lnTo>
                    <a:lnTo>
                      <a:pt x="2261" y="2762"/>
                    </a:lnTo>
                    <a:lnTo>
                      <a:pt x="2261" y="2783"/>
                    </a:lnTo>
                    <a:lnTo>
                      <a:pt x="2365" y="3097"/>
                    </a:lnTo>
                    <a:lnTo>
                      <a:pt x="2428" y="3264"/>
                    </a:lnTo>
                    <a:lnTo>
                      <a:pt x="2574" y="3306"/>
                    </a:lnTo>
                    <a:lnTo>
                      <a:pt x="2763" y="3411"/>
                    </a:lnTo>
                    <a:lnTo>
                      <a:pt x="2763" y="3515"/>
                    </a:lnTo>
                    <a:lnTo>
                      <a:pt x="2888" y="3787"/>
                    </a:lnTo>
                    <a:lnTo>
                      <a:pt x="3035" y="3892"/>
                    </a:lnTo>
                    <a:lnTo>
                      <a:pt x="3056" y="4185"/>
                    </a:lnTo>
                    <a:lnTo>
                      <a:pt x="3265" y="4561"/>
                    </a:lnTo>
                    <a:lnTo>
                      <a:pt x="3265" y="4729"/>
                    </a:lnTo>
                    <a:lnTo>
                      <a:pt x="3307" y="4875"/>
                    </a:lnTo>
                    <a:lnTo>
                      <a:pt x="3516" y="5043"/>
                    </a:lnTo>
                    <a:lnTo>
                      <a:pt x="3725" y="5294"/>
                    </a:lnTo>
                    <a:lnTo>
                      <a:pt x="3788" y="5440"/>
                    </a:lnTo>
                    <a:lnTo>
                      <a:pt x="3934" y="5461"/>
                    </a:lnTo>
                    <a:lnTo>
                      <a:pt x="3997" y="5545"/>
                    </a:lnTo>
                    <a:lnTo>
                      <a:pt x="4123" y="5608"/>
                    </a:lnTo>
                    <a:lnTo>
                      <a:pt x="4144" y="5775"/>
                    </a:lnTo>
                    <a:lnTo>
                      <a:pt x="4290" y="5859"/>
                    </a:lnTo>
                    <a:lnTo>
                      <a:pt x="4437" y="6005"/>
                    </a:lnTo>
                    <a:lnTo>
                      <a:pt x="4709" y="6173"/>
                    </a:lnTo>
                    <a:lnTo>
                      <a:pt x="4750" y="6298"/>
                    </a:lnTo>
                    <a:lnTo>
                      <a:pt x="4918" y="6361"/>
                    </a:lnTo>
                    <a:lnTo>
                      <a:pt x="5253" y="6633"/>
                    </a:lnTo>
                    <a:lnTo>
                      <a:pt x="5274" y="6779"/>
                    </a:lnTo>
                    <a:lnTo>
                      <a:pt x="5357" y="6800"/>
                    </a:lnTo>
                    <a:lnTo>
                      <a:pt x="5441" y="6926"/>
                    </a:lnTo>
                    <a:lnTo>
                      <a:pt x="5483" y="6884"/>
                    </a:lnTo>
                    <a:lnTo>
                      <a:pt x="5483" y="6779"/>
                    </a:lnTo>
                    <a:lnTo>
                      <a:pt x="5462" y="6717"/>
                    </a:lnTo>
                    <a:lnTo>
                      <a:pt x="5462" y="6675"/>
                    </a:lnTo>
                    <a:lnTo>
                      <a:pt x="5566" y="6696"/>
                    </a:lnTo>
                    <a:lnTo>
                      <a:pt x="5797" y="6905"/>
                    </a:lnTo>
                    <a:lnTo>
                      <a:pt x="5859" y="6884"/>
                    </a:lnTo>
                    <a:lnTo>
                      <a:pt x="5859" y="6717"/>
                    </a:lnTo>
                    <a:lnTo>
                      <a:pt x="5901" y="6633"/>
                    </a:lnTo>
                    <a:lnTo>
                      <a:pt x="5985" y="6675"/>
                    </a:lnTo>
                    <a:cubicBezTo>
                      <a:pt x="5985" y="6696"/>
                      <a:pt x="6006" y="6696"/>
                      <a:pt x="6006" y="6717"/>
                    </a:cubicBezTo>
                    <a:lnTo>
                      <a:pt x="6090" y="6842"/>
                    </a:lnTo>
                    <a:lnTo>
                      <a:pt x="6110" y="6842"/>
                    </a:lnTo>
                    <a:cubicBezTo>
                      <a:pt x="6173" y="6905"/>
                      <a:pt x="6215" y="6989"/>
                      <a:pt x="6278" y="7030"/>
                    </a:cubicBezTo>
                    <a:lnTo>
                      <a:pt x="6236" y="7051"/>
                    </a:lnTo>
                    <a:lnTo>
                      <a:pt x="6236" y="7198"/>
                    </a:lnTo>
                    <a:lnTo>
                      <a:pt x="6194" y="7323"/>
                    </a:lnTo>
                    <a:lnTo>
                      <a:pt x="6069" y="7344"/>
                    </a:lnTo>
                    <a:lnTo>
                      <a:pt x="6069" y="7449"/>
                    </a:lnTo>
                    <a:lnTo>
                      <a:pt x="5985" y="7470"/>
                    </a:lnTo>
                    <a:lnTo>
                      <a:pt x="5922" y="7428"/>
                    </a:lnTo>
                    <a:lnTo>
                      <a:pt x="5880" y="7428"/>
                    </a:lnTo>
                    <a:lnTo>
                      <a:pt x="5880" y="7512"/>
                    </a:lnTo>
                    <a:lnTo>
                      <a:pt x="5964" y="7554"/>
                    </a:lnTo>
                    <a:lnTo>
                      <a:pt x="6194" y="7554"/>
                    </a:lnTo>
                    <a:lnTo>
                      <a:pt x="6320" y="7512"/>
                    </a:lnTo>
                    <a:lnTo>
                      <a:pt x="6382" y="7616"/>
                    </a:lnTo>
                    <a:lnTo>
                      <a:pt x="6445" y="7658"/>
                    </a:lnTo>
                    <a:lnTo>
                      <a:pt x="6529" y="7637"/>
                    </a:lnTo>
                    <a:lnTo>
                      <a:pt x="6613" y="7637"/>
                    </a:lnTo>
                    <a:lnTo>
                      <a:pt x="6550" y="7679"/>
                    </a:lnTo>
                    <a:lnTo>
                      <a:pt x="6466" y="7826"/>
                    </a:lnTo>
                    <a:lnTo>
                      <a:pt x="6529" y="7867"/>
                    </a:lnTo>
                    <a:lnTo>
                      <a:pt x="6696" y="7888"/>
                    </a:lnTo>
                    <a:lnTo>
                      <a:pt x="6822" y="7951"/>
                    </a:lnTo>
                    <a:lnTo>
                      <a:pt x="6926" y="7888"/>
                    </a:lnTo>
                    <a:lnTo>
                      <a:pt x="6989" y="7951"/>
                    </a:lnTo>
                    <a:lnTo>
                      <a:pt x="7178" y="7951"/>
                    </a:lnTo>
                    <a:lnTo>
                      <a:pt x="7366" y="8077"/>
                    </a:lnTo>
                    <a:lnTo>
                      <a:pt x="7638" y="8160"/>
                    </a:lnTo>
                    <a:lnTo>
                      <a:pt x="7743" y="8035"/>
                    </a:lnTo>
                    <a:lnTo>
                      <a:pt x="7805" y="8035"/>
                    </a:lnTo>
                    <a:lnTo>
                      <a:pt x="7889" y="8139"/>
                    </a:lnTo>
                    <a:lnTo>
                      <a:pt x="7994" y="8160"/>
                    </a:lnTo>
                    <a:lnTo>
                      <a:pt x="8077" y="8077"/>
                    </a:lnTo>
                    <a:lnTo>
                      <a:pt x="8140" y="8077"/>
                    </a:lnTo>
                    <a:lnTo>
                      <a:pt x="8287" y="8181"/>
                    </a:lnTo>
                    <a:lnTo>
                      <a:pt x="8454" y="8181"/>
                    </a:lnTo>
                    <a:lnTo>
                      <a:pt x="8747" y="8370"/>
                    </a:lnTo>
                    <a:lnTo>
                      <a:pt x="9061" y="8474"/>
                    </a:lnTo>
                    <a:lnTo>
                      <a:pt x="9186" y="8390"/>
                    </a:lnTo>
                    <a:lnTo>
                      <a:pt x="9395" y="8390"/>
                    </a:lnTo>
                    <a:lnTo>
                      <a:pt x="9521" y="8495"/>
                    </a:lnTo>
                    <a:lnTo>
                      <a:pt x="9647" y="8390"/>
                    </a:lnTo>
                    <a:lnTo>
                      <a:pt x="9793" y="8411"/>
                    </a:lnTo>
                    <a:lnTo>
                      <a:pt x="9960" y="8495"/>
                    </a:lnTo>
                    <a:lnTo>
                      <a:pt x="10149" y="8495"/>
                    </a:lnTo>
                    <a:lnTo>
                      <a:pt x="10295" y="8411"/>
                    </a:lnTo>
                    <a:lnTo>
                      <a:pt x="10379" y="8411"/>
                    </a:lnTo>
                    <a:lnTo>
                      <a:pt x="10483" y="8516"/>
                    </a:lnTo>
                    <a:lnTo>
                      <a:pt x="10609" y="8558"/>
                    </a:lnTo>
                    <a:lnTo>
                      <a:pt x="10776" y="8683"/>
                    </a:lnTo>
                    <a:lnTo>
                      <a:pt x="10902" y="8662"/>
                    </a:lnTo>
                    <a:lnTo>
                      <a:pt x="10986" y="8725"/>
                    </a:lnTo>
                    <a:lnTo>
                      <a:pt x="11048" y="8704"/>
                    </a:lnTo>
                    <a:lnTo>
                      <a:pt x="11028" y="8516"/>
                    </a:lnTo>
                    <a:lnTo>
                      <a:pt x="10965" y="8474"/>
                    </a:lnTo>
                    <a:lnTo>
                      <a:pt x="11007" y="8453"/>
                    </a:lnTo>
                    <a:cubicBezTo>
                      <a:pt x="11132" y="8453"/>
                      <a:pt x="11237" y="8474"/>
                      <a:pt x="11341" y="8495"/>
                    </a:cubicBezTo>
                    <a:lnTo>
                      <a:pt x="11467" y="8579"/>
                    </a:lnTo>
                    <a:lnTo>
                      <a:pt x="11488" y="8662"/>
                    </a:lnTo>
                    <a:lnTo>
                      <a:pt x="11551" y="8579"/>
                    </a:lnTo>
                    <a:lnTo>
                      <a:pt x="11634" y="8516"/>
                    </a:lnTo>
                    <a:cubicBezTo>
                      <a:pt x="11697" y="8579"/>
                      <a:pt x="11781" y="8600"/>
                      <a:pt x="11864" y="8621"/>
                    </a:cubicBezTo>
                    <a:lnTo>
                      <a:pt x="11844" y="8662"/>
                    </a:lnTo>
                    <a:lnTo>
                      <a:pt x="11864" y="8704"/>
                    </a:lnTo>
                    <a:lnTo>
                      <a:pt x="12053" y="8767"/>
                    </a:lnTo>
                    <a:lnTo>
                      <a:pt x="12157" y="8704"/>
                    </a:lnTo>
                    <a:lnTo>
                      <a:pt x="12220" y="8725"/>
                    </a:lnTo>
                    <a:lnTo>
                      <a:pt x="12220" y="8704"/>
                    </a:lnTo>
                    <a:cubicBezTo>
                      <a:pt x="12262" y="8725"/>
                      <a:pt x="12304" y="8725"/>
                      <a:pt x="12325" y="8767"/>
                    </a:cubicBezTo>
                    <a:lnTo>
                      <a:pt x="12388" y="8809"/>
                    </a:lnTo>
                    <a:lnTo>
                      <a:pt x="12492" y="8872"/>
                    </a:lnTo>
                    <a:lnTo>
                      <a:pt x="12597" y="8830"/>
                    </a:lnTo>
                    <a:lnTo>
                      <a:pt x="12680" y="8830"/>
                    </a:lnTo>
                    <a:lnTo>
                      <a:pt x="12722" y="8872"/>
                    </a:lnTo>
                    <a:lnTo>
                      <a:pt x="12848" y="8809"/>
                    </a:lnTo>
                    <a:lnTo>
                      <a:pt x="12911" y="8725"/>
                    </a:lnTo>
                    <a:lnTo>
                      <a:pt x="13015" y="8767"/>
                    </a:lnTo>
                    <a:lnTo>
                      <a:pt x="13141" y="8704"/>
                    </a:lnTo>
                    <a:lnTo>
                      <a:pt x="13245" y="8725"/>
                    </a:lnTo>
                    <a:lnTo>
                      <a:pt x="13371" y="8621"/>
                    </a:lnTo>
                    <a:lnTo>
                      <a:pt x="13413" y="8704"/>
                    </a:lnTo>
                    <a:lnTo>
                      <a:pt x="13517" y="8683"/>
                    </a:lnTo>
                    <a:lnTo>
                      <a:pt x="13664" y="8704"/>
                    </a:lnTo>
                    <a:lnTo>
                      <a:pt x="13580" y="8662"/>
                    </a:lnTo>
                    <a:lnTo>
                      <a:pt x="13894" y="8662"/>
                    </a:lnTo>
                    <a:lnTo>
                      <a:pt x="13936" y="8683"/>
                    </a:lnTo>
                    <a:lnTo>
                      <a:pt x="13936" y="8662"/>
                    </a:lnTo>
                    <a:lnTo>
                      <a:pt x="14166" y="8662"/>
                    </a:lnTo>
                    <a:lnTo>
                      <a:pt x="14250" y="8683"/>
                    </a:lnTo>
                    <a:lnTo>
                      <a:pt x="14313" y="8683"/>
                    </a:lnTo>
                    <a:lnTo>
                      <a:pt x="14396" y="8704"/>
                    </a:lnTo>
                    <a:lnTo>
                      <a:pt x="14480" y="8683"/>
                    </a:lnTo>
                    <a:lnTo>
                      <a:pt x="14564" y="8683"/>
                    </a:lnTo>
                    <a:lnTo>
                      <a:pt x="14626" y="8725"/>
                    </a:lnTo>
                    <a:lnTo>
                      <a:pt x="14731" y="8683"/>
                    </a:lnTo>
                    <a:lnTo>
                      <a:pt x="14794" y="8704"/>
                    </a:lnTo>
                    <a:lnTo>
                      <a:pt x="14877" y="8704"/>
                    </a:lnTo>
                    <a:lnTo>
                      <a:pt x="14898" y="8683"/>
                    </a:lnTo>
                    <a:lnTo>
                      <a:pt x="15024" y="8621"/>
                    </a:lnTo>
                    <a:lnTo>
                      <a:pt x="15212" y="8662"/>
                    </a:lnTo>
                    <a:lnTo>
                      <a:pt x="15359" y="8579"/>
                    </a:lnTo>
                    <a:lnTo>
                      <a:pt x="15547" y="8579"/>
                    </a:lnTo>
                    <a:lnTo>
                      <a:pt x="15631" y="8600"/>
                    </a:lnTo>
                    <a:lnTo>
                      <a:pt x="15652" y="8579"/>
                    </a:lnTo>
                    <a:cubicBezTo>
                      <a:pt x="15683" y="8589"/>
                      <a:pt x="15714" y="8594"/>
                      <a:pt x="15748" y="8594"/>
                    </a:cubicBezTo>
                    <a:cubicBezTo>
                      <a:pt x="15782" y="8594"/>
                      <a:pt x="15819" y="8589"/>
                      <a:pt x="15861" y="8579"/>
                    </a:cubicBezTo>
                    <a:cubicBezTo>
                      <a:pt x="15882" y="8579"/>
                      <a:pt x="15924" y="8558"/>
                      <a:pt x="15945" y="8516"/>
                    </a:cubicBezTo>
                    <a:lnTo>
                      <a:pt x="15986" y="8453"/>
                    </a:ln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01" y="8433"/>
                      <a:pt x="15994" y="8423"/>
                      <a:pt x="15986" y="8411"/>
                    </a:cubicBezTo>
                    <a:lnTo>
                      <a:pt x="16049" y="8390"/>
                    </a:lnTo>
                    <a:lnTo>
                      <a:pt x="16091" y="8286"/>
                    </a:lnTo>
                    <a:lnTo>
                      <a:pt x="16091" y="8181"/>
                    </a:lnTo>
                    <a:lnTo>
                      <a:pt x="15965" y="8139"/>
                    </a:lnTo>
                    <a:lnTo>
                      <a:pt x="15861" y="8202"/>
                    </a:lnTo>
                    <a:lnTo>
                      <a:pt x="15924" y="8244"/>
                    </a:lnTo>
                    <a:lnTo>
                      <a:pt x="15840" y="8349"/>
                    </a:lnTo>
                    <a:lnTo>
                      <a:pt x="15735" y="8370"/>
                    </a:lnTo>
                    <a:lnTo>
                      <a:pt x="15714" y="8390"/>
                    </a:lnTo>
                    <a:lnTo>
                      <a:pt x="15673" y="8390"/>
                    </a:lnTo>
                    <a:cubicBezTo>
                      <a:pt x="15652" y="8390"/>
                      <a:pt x="15631" y="8411"/>
                      <a:pt x="15610" y="8453"/>
                    </a:cubicBezTo>
                    <a:lnTo>
                      <a:pt x="15526" y="8453"/>
                    </a:lnTo>
                    <a:lnTo>
                      <a:pt x="15442" y="8390"/>
                    </a:lnTo>
                    <a:lnTo>
                      <a:pt x="15296" y="8390"/>
                    </a:lnTo>
                    <a:lnTo>
                      <a:pt x="15149" y="8453"/>
                    </a:lnTo>
                    <a:lnTo>
                      <a:pt x="15003" y="8349"/>
                    </a:lnTo>
                    <a:lnTo>
                      <a:pt x="14836" y="8307"/>
                    </a:lnTo>
                    <a:lnTo>
                      <a:pt x="14773" y="8349"/>
                    </a:lnTo>
                    <a:lnTo>
                      <a:pt x="14626" y="8265"/>
                    </a:lnTo>
                    <a:lnTo>
                      <a:pt x="14354" y="8307"/>
                    </a:lnTo>
                    <a:lnTo>
                      <a:pt x="14166" y="8411"/>
                    </a:lnTo>
                    <a:lnTo>
                      <a:pt x="14166" y="8453"/>
                    </a:lnTo>
                    <a:lnTo>
                      <a:pt x="13999" y="8453"/>
                    </a:lnTo>
                    <a:lnTo>
                      <a:pt x="13894" y="8411"/>
                    </a:lnTo>
                    <a:lnTo>
                      <a:pt x="13894" y="8474"/>
                    </a:lnTo>
                    <a:cubicBezTo>
                      <a:pt x="13852" y="8474"/>
                      <a:pt x="13769" y="8474"/>
                      <a:pt x="13727" y="8495"/>
                    </a:cubicBezTo>
                    <a:lnTo>
                      <a:pt x="13685" y="8453"/>
                    </a:lnTo>
                    <a:lnTo>
                      <a:pt x="13685" y="8370"/>
                    </a:lnTo>
                    <a:lnTo>
                      <a:pt x="13559" y="8349"/>
                    </a:lnTo>
                    <a:lnTo>
                      <a:pt x="13580" y="8453"/>
                    </a:lnTo>
                    <a:lnTo>
                      <a:pt x="13538" y="8474"/>
                    </a:lnTo>
                    <a:lnTo>
                      <a:pt x="13538" y="8370"/>
                    </a:lnTo>
                    <a:lnTo>
                      <a:pt x="13434" y="8286"/>
                    </a:lnTo>
                    <a:lnTo>
                      <a:pt x="13329" y="8349"/>
                    </a:lnTo>
                    <a:lnTo>
                      <a:pt x="13224" y="8265"/>
                    </a:lnTo>
                    <a:lnTo>
                      <a:pt x="13120" y="8202"/>
                    </a:lnTo>
                    <a:lnTo>
                      <a:pt x="12994" y="8286"/>
                    </a:lnTo>
                    <a:lnTo>
                      <a:pt x="12994" y="8349"/>
                    </a:lnTo>
                    <a:lnTo>
                      <a:pt x="13224" y="8411"/>
                    </a:lnTo>
                    <a:lnTo>
                      <a:pt x="13308" y="8495"/>
                    </a:lnTo>
                    <a:lnTo>
                      <a:pt x="13162" y="8495"/>
                    </a:lnTo>
                    <a:lnTo>
                      <a:pt x="13162" y="8516"/>
                    </a:lnTo>
                    <a:lnTo>
                      <a:pt x="13099" y="8579"/>
                    </a:lnTo>
                    <a:lnTo>
                      <a:pt x="13057" y="8579"/>
                    </a:lnTo>
                    <a:cubicBezTo>
                      <a:pt x="13094" y="8560"/>
                      <a:pt x="13098" y="8492"/>
                      <a:pt x="13055" y="8492"/>
                    </a:cubicBezTo>
                    <a:cubicBezTo>
                      <a:pt x="13049" y="8492"/>
                      <a:pt x="13043" y="8493"/>
                      <a:pt x="13036" y="8495"/>
                    </a:cubicBezTo>
                    <a:lnTo>
                      <a:pt x="12952" y="8495"/>
                    </a:lnTo>
                    <a:lnTo>
                      <a:pt x="12932" y="8390"/>
                    </a:lnTo>
                    <a:lnTo>
                      <a:pt x="12848" y="8370"/>
                    </a:lnTo>
                    <a:lnTo>
                      <a:pt x="12743" y="8390"/>
                    </a:lnTo>
                    <a:lnTo>
                      <a:pt x="12639" y="8370"/>
                    </a:lnTo>
                    <a:lnTo>
                      <a:pt x="12492" y="8411"/>
                    </a:lnTo>
                    <a:lnTo>
                      <a:pt x="12408" y="8516"/>
                    </a:lnTo>
                    <a:lnTo>
                      <a:pt x="12388" y="8600"/>
                    </a:lnTo>
                    <a:lnTo>
                      <a:pt x="12283" y="8600"/>
                    </a:lnTo>
                    <a:lnTo>
                      <a:pt x="12283" y="8579"/>
                    </a:lnTo>
                    <a:lnTo>
                      <a:pt x="12283" y="8558"/>
                    </a:lnTo>
                    <a:lnTo>
                      <a:pt x="12304" y="8558"/>
                    </a:lnTo>
                    <a:cubicBezTo>
                      <a:pt x="12325" y="8558"/>
                      <a:pt x="12304" y="8516"/>
                      <a:pt x="12304" y="8516"/>
                    </a:cubicBezTo>
                    <a:lnTo>
                      <a:pt x="12325" y="8495"/>
                    </a:lnTo>
                    <a:lnTo>
                      <a:pt x="12367" y="8370"/>
                    </a:lnTo>
                    <a:lnTo>
                      <a:pt x="12178" y="8307"/>
                    </a:lnTo>
                    <a:lnTo>
                      <a:pt x="12053" y="8390"/>
                    </a:lnTo>
                    <a:lnTo>
                      <a:pt x="12011" y="8516"/>
                    </a:lnTo>
                    <a:cubicBezTo>
                      <a:pt x="11885" y="8495"/>
                      <a:pt x="11781" y="8474"/>
                      <a:pt x="11676" y="8453"/>
                    </a:cubicBezTo>
                    <a:lnTo>
                      <a:pt x="11781" y="8411"/>
                    </a:lnTo>
                    <a:lnTo>
                      <a:pt x="11802" y="8349"/>
                    </a:lnTo>
                    <a:lnTo>
                      <a:pt x="11676" y="8181"/>
                    </a:lnTo>
                    <a:lnTo>
                      <a:pt x="11530" y="8160"/>
                    </a:lnTo>
                    <a:lnTo>
                      <a:pt x="11362" y="8202"/>
                    </a:lnTo>
                    <a:lnTo>
                      <a:pt x="11237" y="8181"/>
                    </a:lnTo>
                    <a:lnTo>
                      <a:pt x="11111" y="8202"/>
                    </a:lnTo>
                    <a:lnTo>
                      <a:pt x="11111" y="8244"/>
                    </a:lnTo>
                    <a:cubicBezTo>
                      <a:pt x="11069" y="8244"/>
                      <a:pt x="11069" y="8244"/>
                      <a:pt x="11048" y="8202"/>
                    </a:cubicBezTo>
                    <a:lnTo>
                      <a:pt x="11069" y="8056"/>
                    </a:lnTo>
                    <a:lnTo>
                      <a:pt x="11028" y="7972"/>
                    </a:lnTo>
                    <a:lnTo>
                      <a:pt x="10923" y="7951"/>
                    </a:lnTo>
                    <a:lnTo>
                      <a:pt x="10902" y="7930"/>
                    </a:lnTo>
                    <a:lnTo>
                      <a:pt x="10797" y="7930"/>
                    </a:lnTo>
                    <a:lnTo>
                      <a:pt x="10714" y="7972"/>
                    </a:lnTo>
                    <a:lnTo>
                      <a:pt x="10609" y="7972"/>
                    </a:lnTo>
                    <a:lnTo>
                      <a:pt x="10525" y="7930"/>
                    </a:lnTo>
                    <a:lnTo>
                      <a:pt x="10400" y="7972"/>
                    </a:lnTo>
                    <a:lnTo>
                      <a:pt x="10274" y="7930"/>
                    </a:lnTo>
                    <a:lnTo>
                      <a:pt x="10191" y="7846"/>
                    </a:lnTo>
                    <a:lnTo>
                      <a:pt x="10191" y="7763"/>
                    </a:lnTo>
                    <a:lnTo>
                      <a:pt x="10086" y="7595"/>
                    </a:lnTo>
                    <a:lnTo>
                      <a:pt x="10086" y="7449"/>
                    </a:lnTo>
                    <a:lnTo>
                      <a:pt x="9939" y="7449"/>
                    </a:lnTo>
                    <a:lnTo>
                      <a:pt x="9856" y="7470"/>
                    </a:lnTo>
                    <a:lnTo>
                      <a:pt x="9772" y="7386"/>
                    </a:lnTo>
                    <a:lnTo>
                      <a:pt x="9667" y="7386"/>
                    </a:lnTo>
                    <a:lnTo>
                      <a:pt x="9542" y="7282"/>
                    </a:lnTo>
                    <a:lnTo>
                      <a:pt x="9458" y="7240"/>
                    </a:lnTo>
                    <a:lnTo>
                      <a:pt x="9354" y="7261"/>
                    </a:lnTo>
                    <a:lnTo>
                      <a:pt x="9270" y="7261"/>
                    </a:lnTo>
                    <a:lnTo>
                      <a:pt x="9144" y="7114"/>
                    </a:lnTo>
                    <a:lnTo>
                      <a:pt x="9040" y="7114"/>
                    </a:lnTo>
                    <a:lnTo>
                      <a:pt x="9019" y="7344"/>
                    </a:lnTo>
                    <a:lnTo>
                      <a:pt x="8935" y="7449"/>
                    </a:lnTo>
                    <a:lnTo>
                      <a:pt x="8684" y="7491"/>
                    </a:lnTo>
                    <a:lnTo>
                      <a:pt x="8370" y="7449"/>
                    </a:lnTo>
                    <a:lnTo>
                      <a:pt x="8015" y="7449"/>
                    </a:lnTo>
                    <a:lnTo>
                      <a:pt x="7805" y="7365"/>
                    </a:lnTo>
                    <a:lnTo>
                      <a:pt x="7763" y="7323"/>
                    </a:lnTo>
                    <a:lnTo>
                      <a:pt x="7784" y="7219"/>
                    </a:lnTo>
                    <a:lnTo>
                      <a:pt x="7701" y="7072"/>
                    </a:lnTo>
                    <a:lnTo>
                      <a:pt x="7450" y="7051"/>
                    </a:lnTo>
                    <a:lnTo>
                      <a:pt x="7240" y="7010"/>
                    </a:lnTo>
                    <a:lnTo>
                      <a:pt x="7136" y="6926"/>
                    </a:lnTo>
                    <a:lnTo>
                      <a:pt x="6947" y="6926"/>
                    </a:lnTo>
                    <a:lnTo>
                      <a:pt x="6906" y="6968"/>
                    </a:lnTo>
                    <a:lnTo>
                      <a:pt x="6843" y="7030"/>
                    </a:lnTo>
                    <a:lnTo>
                      <a:pt x="6759" y="6947"/>
                    </a:lnTo>
                    <a:lnTo>
                      <a:pt x="6592" y="6926"/>
                    </a:lnTo>
                    <a:lnTo>
                      <a:pt x="6487" y="6926"/>
                    </a:lnTo>
                    <a:cubicBezTo>
                      <a:pt x="6403" y="6842"/>
                      <a:pt x="6320" y="6758"/>
                      <a:pt x="6278" y="6654"/>
                    </a:cubicBezTo>
                    <a:lnTo>
                      <a:pt x="6278" y="6486"/>
                    </a:lnTo>
                    <a:lnTo>
                      <a:pt x="6320" y="6173"/>
                    </a:lnTo>
                    <a:lnTo>
                      <a:pt x="6278" y="5963"/>
                    </a:lnTo>
                    <a:lnTo>
                      <a:pt x="6382" y="5712"/>
                    </a:lnTo>
                    <a:lnTo>
                      <a:pt x="6320" y="5649"/>
                    </a:lnTo>
                    <a:lnTo>
                      <a:pt x="6320" y="5461"/>
                    </a:lnTo>
                    <a:lnTo>
                      <a:pt x="6424" y="5398"/>
                    </a:lnTo>
                    <a:lnTo>
                      <a:pt x="6487" y="5336"/>
                    </a:lnTo>
                    <a:lnTo>
                      <a:pt x="6445" y="5231"/>
                    </a:lnTo>
                    <a:lnTo>
                      <a:pt x="6382" y="5168"/>
                    </a:lnTo>
                    <a:lnTo>
                      <a:pt x="6278" y="5085"/>
                    </a:lnTo>
                    <a:lnTo>
                      <a:pt x="6215" y="4959"/>
                    </a:lnTo>
                    <a:lnTo>
                      <a:pt x="6131" y="4938"/>
                    </a:lnTo>
                    <a:lnTo>
                      <a:pt x="6110" y="4854"/>
                    </a:lnTo>
                    <a:lnTo>
                      <a:pt x="6006" y="4813"/>
                    </a:lnTo>
                    <a:lnTo>
                      <a:pt x="5818" y="4833"/>
                    </a:lnTo>
                    <a:lnTo>
                      <a:pt x="5713" y="4813"/>
                    </a:lnTo>
                    <a:lnTo>
                      <a:pt x="5692" y="4624"/>
                    </a:lnTo>
                    <a:lnTo>
                      <a:pt x="5608" y="4520"/>
                    </a:lnTo>
                    <a:lnTo>
                      <a:pt x="5546" y="4561"/>
                    </a:lnTo>
                    <a:lnTo>
                      <a:pt x="5587" y="4457"/>
                    </a:lnTo>
                    <a:lnTo>
                      <a:pt x="5483" y="4415"/>
                    </a:lnTo>
                    <a:lnTo>
                      <a:pt x="5462" y="4122"/>
                    </a:lnTo>
                    <a:lnTo>
                      <a:pt x="5336" y="4185"/>
                    </a:lnTo>
                    <a:lnTo>
                      <a:pt x="5274" y="4122"/>
                    </a:lnTo>
                    <a:lnTo>
                      <a:pt x="5043" y="4122"/>
                    </a:lnTo>
                    <a:lnTo>
                      <a:pt x="4855" y="3996"/>
                    </a:lnTo>
                    <a:lnTo>
                      <a:pt x="4855" y="3892"/>
                    </a:lnTo>
                    <a:lnTo>
                      <a:pt x="4960" y="3850"/>
                    </a:lnTo>
                    <a:lnTo>
                      <a:pt x="5085" y="3766"/>
                    </a:lnTo>
                    <a:lnTo>
                      <a:pt x="5002" y="3704"/>
                    </a:lnTo>
                    <a:lnTo>
                      <a:pt x="4876" y="3745"/>
                    </a:lnTo>
                    <a:lnTo>
                      <a:pt x="4813" y="3704"/>
                    </a:lnTo>
                    <a:lnTo>
                      <a:pt x="4667" y="3766"/>
                    </a:lnTo>
                    <a:lnTo>
                      <a:pt x="4750" y="3683"/>
                    </a:lnTo>
                    <a:lnTo>
                      <a:pt x="4876" y="3578"/>
                    </a:lnTo>
                    <a:lnTo>
                      <a:pt x="5064" y="3557"/>
                    </a:lnTo>
                    <a:lnTo>
                      <a:pt x="5043" y="3432"/>
                    </a:lnTo>
                    <a:lnTo>
                      <a:pt x="4855" y="3222"/>
                    </a:lnTo>
                    <a:lnTo>
                      <a:pt x="4750" y="3222"/>
                    </a:lnTo>
                    <a:lnTo>
                      <a:pt x="4625" y="3285"/>
                    </a:lnTo>
                    <a:lnTo>
                      <a:pt x="4478" y="3369"/>
                    </a:lnTo>
                    <a:lnTo>
                      <a:pt x="4332" y="3369"/>
                    </a:lnTo>
                    <a:lnTo>
                      <a:pt x="4416" y="3348"/>
                    </a:lnTo>
                    <a:lnTo>
                      <a:pt x="4457" y="3285"/>
                    </a:lnTo>
                    <a:lnTo>
                      <a:pt x="4520" y="3264"/>
                    </a:lnTo>
                    <a:lnTo>
                      <a:pt x="4562" y="3180"/>
                    </a:lnTo>
                    <a:lnTo>
                      <a:pt x="4541" y="3097"/>
                    </a:lnTo>
                    <a:lnTo>
                      <a:pt x="4416" y="3055"/>
                    </a:lnTo>
                    <a:lnTo>
                      <a:pt x="4206" y="3055"/>
                    </a:lnTo>
                    <a:lnTo>
                      <a:pt x="4081" y="2929"/>
                    </a:lnTo>
                    <a:lnTo>
                      <a:pt x="4081" y="2846"/>
                    </a:lnTo>
                    <a:lnTo>
                      <a:pt x="4039" y="2678"/>
                    </a:lnTo>
                    <a:lnTo>
                      <a:pt x="3809" y="2448"/>
                    </a:lnTo>
                    <a:lnTo>
                      <a:pt x="3725" y="2427"/>
                    </a:lnTo>
                    <a:lnTo>
                      <a:pt x="3662" y="2448"/>
                    </a:lnTo>
                    <a:lnTo>
                      <a:pt x="3558" y="2364"/>
                    </a:lnTo>
                    <a:lnTo>
                      <a:pt x="3516" y="2155"/>
                    </a:lnTo>
                    <a:lnTo>
                      <a:pt x="3369" y="2009"/>
                    </a:lnTo>
                    <a:lnTo>
                      <a:pt x="3160" y="1883"/>
                    </a:lnTo>
                    <a:lnTo>
                      <a:pt x="3035" y="1883"/>
                    </a:lnTo>
                    <a:lnTo>
                      <a:pt x="2993" y="1925"/>
                    </a:lnTo>
                    <a:lnTo>
                      <a:pt x="2930" y="1883"/>
                    </a:lnTo>
                    <a:lnTo>
                      <a:pt x="2888" y="1716"/>
                    </a:lnTo>
                    <a:lnTo>
                      <a:pt x="2825" y="1800"/>
                    </a:lnTo>
                    <a:lnTo>
                      <a:pt x="2763" y="1716"/>
                    </a:lnTo>
                    <a:lnTo>
                      <a:pt x="2763" y="1528"/>
                    </a:lnTo>
                    <a:lnTo>
                      <a:pt x="2658" y="1402"/>
                    </a:lnTo>
                    <a:lnTo>
                      <a:pt x="2533" y="1381"/>
                    </a:lnTo>
                    <a:lnTo>
                      <a:pt x="2470" y="1297"/>
                    </a:lnTo>
                    <a:lnTo>
                      <a:pt x="2135" y="1088"/>
                    </a:lnTo>
                    <a:lnTo>
                      <a:pt x="2030" y="1088"/>
                    </a:lnTo>
                    <a:lnTo>
                      <a:pt x="1905" y="942"/>
                    </a:lnTo>
                    <a:lnTo>
                      <a:pt x="1779" y="900"/>
                    </a:lnTo>
                    <a:lnTo>
                      <a:pt x="1737" y="837"/>
                    </a:lnTo>
                    <a:lnTo>
                      <a:pt x="1716" y="649"/>
                    </a:lnTo>
                    <a:lnTo>
                      <a:pt x="1612" y="586"/>
                    </a:lnTo>
                    <a:lnTo>
                      <a:pt x="1528" y="460"/>
                    </a:lnTo>
                    <a:lnTo>
                      <a:pt x="1486" y="439"/>
                    </a:lnTo>
                    <a:lnTo>
                      <a:pt x="1403" y="272"/>
                    </a:lnTo>
                    <a:lnTo>
                      <a:pt x="1277" y="230"/>
                    </a:lnTo>
                    <a:lnTo>
                      <a:pt x="1152" y="230"/>
                    </a:lnTo>
                    <a:lnTo>
                      <a:pt x="1068" y="251"/>
                    </a:lnTo>
                    <a:lnTo>
                      <a:pt x="1005" y="209"/>
                    </a:lnTo>
                    <a:lnTo>
                      <a:pt x="859" y="209"/>
                    </a:lnTo>
                    <a:lnTo>
                      <a:pt x="670" y="251"/>
                    </a:lnTo>
                    <a:lnTo>
                      <a:pt x="587" y="209"/>
                    </a:lnTo>
                    <a:lnTo>
                      <a:pt x="336" y="21"/>
                    </a:lnTo>
                    <a:lnTo>
                      <a:pt x="105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29" name="Google Shape;829;p34"/>
            <p:cNvSpPr/>
            <p:nvPr/>
          </p:nvSpPr>
          <p:spPr>
            <a:xfrm>
              <a:off x="4437231" y="3100607"/>
              <a:ext cx="29912" cy="37370"/>
            </a:xfrm>
            <a:custGeom>
              <a:avLst/>
              <a:gdLst/>
              <a:ahLst/>
              <a:cxnLst/>
              <a:rect l="l" t="t" r="r" b="b"/>
              <a:pathLst>
                <a:path w="2512" h="3286" extrusionOk="0">
                  <a:moveTo>
                    <a:pt x="126" y="0"/>
                  </a:moveTo>
                  <a:lnTo>
                    <a:pt x="42" y="84"/>
                  </a:lnTo>
                  <a:lnTo>
                    <a:pt x="0" y="210"/>
                  </a:lnTo>
                  <a:lnTo>
                    <a:pt x="126" y="419"/>
                  </a:lnTo>
                  <a:lnTo>
                    <a:pt x="189" y="879"/>
                  </a:lnTo>
                  <a:lnTo>
                    <a:pt x="251" y="1047"/>
                  </a:lnTo>
                  <a:lnTo>
                    <a:pt x="314" y="1172"/>
                  </a:lnTo>
                  <a:lnTo>
                    <a:pt x="314" y="1360"/>
                  </a:lnTo>
                  <a:lnTo>
                    <a:pt x="251" y="1402"/>
                  </a:lnTo>
                  <a:lnTo>
                    <a:pt x="293" y="1507"/>
                  </a:lnTo>
                  <a:lnTo>
                    <a:pt x="356" y="1611"/>
                  </a:lnTo>
                  <a:lnTo>
                    <a:pt x="335" y="1674"/>
                  </a:lnTo>
                  <a:lnTo>
                    <a:pt x="419" y="1758"/>
                  </a:lnTo>
                  <a:lnTo>
                    <a:pt x="565" y="1863"/>
                  </a:lnTo>
                  <a:lnTo>
                    <a:pt x="649" y="2009"/>
                  </a:lnTo>
                  <a:lnTo>
                    <a:pt x="754" y="2072"/>
                  </a:lnTo>
                  <a:lnTo>
                    <a:pt x="837" y="2176"/>
                  </a:lnTo>
                  <a:lnTo>
                    <a:pt x="754" y="2281"/>
                  </a:lnTo>
                  <a:lnTo>
                    <a:pt x="733" y="2344"/>
                  </a:lnTo>
                  <a:lnTo>
                    <a:pt x="816" y="2407"/>
                  </a:lnTo>
                  <a:lnTo>
                    <a:pt x="1005" y="2490"/>
                  </a:lnTo>
                  <a:lnTo>
                    <a:pt x="1193" y="2616"/>
                  </a:lnTo>
                  <a:lnTo>
                    <a:pt x="1172" y="2720"/>
                  </a:lnTo>
                  <a:lnTo>
                    <a:pt x="1339" y="2867"/>
                  </a:lnTo>
                  <a:lnTo>
                    <a:pt x="1486" y="2867"/>
                  </a:lnTo>
                  <a:lnTo>
                    <a:pt x="1528" y="2909"/>
                  </a:lnTo>
                  <a:lnTo>
                    <a:pt x="1611" y="3013"/>
                  </a:lnTo>
                  <a:lnTo>
                    <a:pt x="1800" y="3118"/>
                  </a:lnTo>
                  <a:lnTo>
                    <a:pt x="1988" y="3139"/>
                  </a:lnTo>
                  <a:lnTo>
                    <a:pt x="2051" y="3223"/>
                  </a:lnTo>
                  <a:lnTo>
                    <a:pt x="2197" y="3264"/>
                  </a:lnTo>
                  <a:lnTo>
                    <a:pt x="2218" y="3244"/>
                  </a:lnTo>
                  <a:lnTo>
                    <a:pt x="2281" y="3285"/>
                  </a:lnTo>
                  <a:lnTo>
                    <a:pt x="2386" y="3223"/>
                  </a:lnTo>
                  <a:lnTo>
                    <a:pt x="2386" y="3181"/>
                  </a:lnTo>
                  <a:lnTo>
                    <a:pt x="2344" y="3181"/>
                  </a:lnTo>
                  <a:lnTo>
                    <a:pt x="2386" y="3118"/>
                  </a:lnTo>
                  <a:lnTo>
                    <a:pt x="2323" y="3076"/>
                  </a:lnTo>
                  <a:lnTo>
                    <a:pt x="2407" y="3118"/>
                  </a:lnTo>
                  <a:lnTo>
                    <a:pt x="2407" y="3181"/>
                  </a:lnTo>
                  <a:lnTo>
                    <a:pt x="2407" y="3223"/>
                  </a:lnTo>
                  <a:lnTo>
                    <a:pt x="2511" y="3244"/>
                  </a:lnTo>
                  <a:lnTo>
                    <a:pt x="2511" y="3118"/>
                  </a:lnTo>
                  <a:lnTo>
                    <a:pt x="2386" y="2846"/>
                  </a:lnTo>
                  <a:lnTo>
                    <a:pt x="2344" y="2846"/>
                  </a:lnTo>
                  <a:lnTo>
                    <a:pt x="2344" y="2804"/>
                  </a:lnTo>
                  <a:lnTo>
                    <a:pt x="2323" y="2762"/>
                  </a:lnTo>
                  <a:lnTo>
                    <a:pt x="2281" y="2741"/>
                  </a:lnTo>
                  <a:lnTo>
                    <a:pt x="2239" y="2553"/>
                  </a:lnTo>
                  <a:lnTo>
                    <a:pt x="2281" y="2511"/>
                  </a:lnTo>
                  <a:lnTo>
                    <a:pt x="2239" y="2448"/>
                  </a:lnTo>
                  <a:lnTo>
                    <a:pt x="2176" y="2448"/>
                  </a:lnTo>
                  <a:lnTo>
                    <a:pt x="2009" y="2344"/>
                  </a:lnTo>
                  <a:lnTo>
                    <a:pt x="1967" y="2197"/>
                  </a:lnTo>
                  <a:lnTo>
                    <a:pt x="1967" y="1904"/>
                  </a:lnTo>
                  <a:lnTo>
                    <a:pt x="1904" y="1821"/>
                  </a:lnTo>
                  <a:lnTo>
                    <a:pt x="1904" y="1716"/>
                  </a:lnTo>
                  <a:lnTo>
                    <a:pt x="1925" y="1674"/>
                  </a:lnTo>
                  <a:lnTo>
                    <a:pt x="1904" y="1381"/>
                  </a:lnTo>
                  <a:lnTo>
                    <a:pt x="1967" y="1339"/>
                  </a:lnTo>
                  <a:lnTo>
                    <a:pt x="1904" y="1088"/>
                  </a:lnTo>
                  <a:lnTo>
                    <a:pt x="1779" y="879"/>
                  </a:lnTo>
                  <a:lnTo>
                    <a:pt x="1360" y="461"/>
                  </a:lnTo>
                  <a:lnTo>
                    <a:pt x="1277" y="314"/>
                  </a:lnTo>
                  <a:lnTo>
                    <a:pt x="1235" y="335"/>
                  </a:lnTo>
                  <a:lnTo>
                    <a:pt x="1172" y="398"/>
                  </a:lnTo>
                  <a:lnTo>
                    <a:pt x="1088" y="398"/>
                  </a:lnTo>
                  <a:lnTo>
                    <a:pt x="1067" y="419"/>
                  </a:lnTo>
                  <a:lnTo>
                    <a:pt x="1067" y="523"/>
                  </a:lnTo>
                  <a:lnTo>
                    <a:pt x="984" y="565"/>
                  </a:lnTo>
                  <a:lnTo>
                    <a:pt x="921" y="523"/>
                  </a:lnTo>
                  <a:lnTo>
                    <a:pt x="816" y="523"/>
                  </a:lnTo>
                  <a:lnTo>
                    <a:pt x="670" y="628"/>
                  </a:lnTo>
                  <a:lnTo>
                    <a:pt x="523" y="607"/>
                  </a:lnTo>
                  <a:lnTo>
                    <a:pt x="523" y="523"/>
                  </a:lnTo>
                  <a:lnTo>
                    <a:pt x="607" y="440"/>
                  </a:lnTo>
                  <a:lnTo>
                    <a:pt x="607" y="251"/>
                  </a:lnTo>
                  <a:lnTo>
                    <a:pt x="544" y="189"/>
                  </a:lnTo>
                  <a:lnTo>
                    <a:pt x="419" y="189"/>
                  </a:lnTo>
                  <a:lnTo>
                    <a:pt x="398" y="126"/>
                  </a:lnTo>
                  <a:lnTo>
                    <a:pt x="231" y="84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0" name="Google Shape;830;p34"/>
            <p:cNvSpPr/>
            <p:nvPr/>
          </p:nvSpPr>
          <p:spPr>
            <a:xfrm>
              <a:off x="4503746" y="3099174"/>
              <a:ext cx="65289" cy="42135"/>
            </a:xfrm>
            <a:custGeom>
              <a:avLst/>
              <a:gdLst/>
              <a:ahLst/>
              <a:cxnLst/>
              <a:rect l="l" t="t" r="r" b="b"/>
              <a:pathLst>
                <a:path w="5483" h="3705" extrusionOk="0">
                  <a:moveTo>
                    <a:pt x="4186" y="1"/>
                  </a:moveTo>
                  <a:lnTo>
                    <a:pt x="4144" y="22"/>
                  </a:lnTo>
                  <a:lnTo>
                    <a:pt x="4165" y="126"/>
                  </a:lnTo>
                  <a:lnTo>
                    <a:pt x="4039" y="252"/>
                  </a:lnTo>
                  <a:lnTo>
                    <a:pt x="3976" y="231"/>
                  </a:lnTo>
                  <a:lnTo>
                    <a:pt x="4039" y="126"/>
                  </a:lnTo>
                  <a:lnTo>
                    <a:pt x="4018" y="43"/>
                  </a:lnTo>
                  <a:lnTo>
                    <a:pt x="3935" y="43"/>
                  </a:lnTo>
                  <a:lnTo>
                    <a:pt x="3851" y="273"/>
                  </a:lnTo>
                  <a:lnTo>
                    <a:pt x="3767" y="315"/>
                  </a:lnTo>
                  <a:lnTo>
                    <a:pt x="3642" y="587"/>
                  </a:lnTo>
                  <a:lnTo>
                    <a:pt x="3642" y="754"/>
                  </a:lnTo>
                  <a:lnTo>
                    <a:pt x="3432" y="963"/>
                  </a:lnTo>
                  <a:lnTo>
                    <a:pt x="3328" y="963"/>
                  </a:lnTo>
                  <a:lnTo>
                    <a:pt x="3140" y="1005"/>
                  </a:lnTo>
                  <a:lnTo>
                    <a:pt x="3098" y="1089"/>
                  </a:lnTo>
                  <a:lnTo>
                    <a:pt x="3181" y="1089"/>
                  </a:lnTo>
                  <a:lnTo>
                    <a:pt x="3119" y="1152"/>
                  </a:lnTo>
                  <a:lnTo>
                    <a:pt x="3181" y="1173"/>
                  </a:lnTo>
                  <a:lnTo>
                    <a:pt x="3307" y="1152"/>
                  </a:lnTo>
                  <a:lnTo>
                    <a:pt x="3244" y="1214"/>
                  </a:lnTo>
                  <a:lnTo>
                    <a:pt x="3181" y="1277"/>
                  </a:lnTo>
                  <a:lnTo>
                    <a:pt x="3140" y="1298"/>
                  </a:lnTo>
                  <a:lnTo>
                    <a:pt x="3140" y="1319"/>
                  </a:lnTo>
                  <a:lnTo>
                    <a:pt x="3223" y="1528"/>
                  </a:lnTo>
                  <a:lnTo>
                    <a:pt x="3181" y="1633"/>
                  </a:lnTo>
                  <a:lnTo>
                    <a:pt x="3098" y="1591"/>
                  </a:lnTo>
                  <a:lnTo>
                    <a:pt x="3098" y="1465"/>
                  </a:lnTo>
                  <a:lnTo>
                    <a:pt x="3077" y="1361"/>
                  </a:lnTo>
                  <a:lnTo>
                    <a:pt x="3035" y="1361"/>
                  </a:lnTo>
                  <a:lnTo>
                    <a:pt x="3035" y="1319"/>
                  </a:lnTo>
                  <a:lnTo>
                    <a:pt x="2993" y="1319"/>
                  </a:lnTo>
                  <a:lnTo>
                    <a:pt x="2930" y="1424"/>
                  </a:lnTo>
                  <a:lnTo>
                    <a:pt x="2972" y="1675"/>
                  </a:lnTo>
                  <a:lnTo>
                    <a:pt x="2909" y="1717"/>
                  </a:lnTo>
                  <a:lnTo>
                    <a:pt x="2805" y="1612"/>
                  </a:lnTo>
                  <a:lnTo>
                    <a:pt x="2700" y="1465"/>
                  </a:lnTo>
                  <a:lnTo>
                    <a:pt x="2658" y="1465"/>
                  </a:lnTo>
                  <a:lnTo>
                    <a:pt x="2554" y="1403"/>
                  </a:lnTo>
                  <a:lnTo>
                    <a:pt x="2470" y="1507"/>
                  </a:lnTo>
                  <a:lnTo>
                    <a:pt x="2470" y="1633"/>
                  </a:lnTo>
                  <a:lnTo>
                    <a:pt x="2344" y="1779"/>
                  </a:lnTo>
                  <a:lnTo>
                    <a:pt x="2261" y="1884"/>
                  </a:lnTo>
                  <a:lnTo>
                    <a:pt x="2093" y="2030"/>
                  </a:lnTo>
                  <a:lnTo>
                    <a:pt x="2072" y="2135"/>
                  </a:lnTo>
                  <a:lnTo>
                    <a:pt x="1926" y="2323"/>
                  </a:lnTo>
                  <a:lnTo>
                    <a:pt x="1779" y="2449"/>
                  </a:lnTo>
                  <a:lnTo>
                    <a:pt x="1319" y="2554"/>
                  </a:lnTo>
                  <a:lnTo>
                    <a:pt x="1256" y="2574"/>
                  </a:lnTo>
                  <a:lnTo>
                    <a:pt x="1298" y="2742"/>
                  </a:lnTo>
                  <a:lnTo>
                    <a:pt x="1340" y="2784"/>
                  </a:lnTo>
                  <a:lnTo>
                    <a:pt x="1256" y="2763"/>
                  </a:lnTo>
                  <a:lnTo>
                    <a:pt x="1173" y="2826"/>
                  </a:lnTo>
                  <a:lnTo>
                    <a:pt x="1047" y="2846"/>
                  </a:lnTo>
                  <a:lnTo>
                    <a:pt x="984" y="2888"/>
                  </a:lnTo>
                  <a:lnTo>
                    <a:pt x="943" y="3035"/>
                  </a:lnTo>
                  <a:lnTo>
                    <a:pt x="943" y="3181"/>
                  </a:lnTo>
                  <a:lnTo>
                    <a:pt x="838" y="3349"/>
                  </a:lnTo>
                  <a:lnTo>
                    <a:pt x="838" y="3370"/>
                  </a:lnTo>
                  <a:lnTo>
                    <a:pt x="629" y="3349"/>
                  </a:lnTo>
                  <a:lnTo>
                    <a:pt x="399" y="3265"/>
                  </a:lnTo>
                  <a:lnTo>
                    <a:pt x="210" y="3265"/>
                  </a:lnTo>
                  <a:lnTo>
                    <a:pt x="168" y="3181"/>
                  </a:lnTo>
                  <a:lnTo>
                    <a:pt x="64" y="3056"/>
                  </a:lnTo>
                  <a:lnTo>
                    <a:pt x="1" y="3077"/>
                  </a:lnTo>
                  <a:lnTo>
                    <a:pt x="127" y="3286"/>
                  </a:lnTo>
                  <a:lnTo>
                    <a:pt x="315" y="3411"/>
                  </a:lnTo>
                  <a:lnTo>
                    <a:pt x="357" y="3474"/>
                  </a:lnTo>
                  <a:lnTo>
                    <a:pt x="482" y="3579"/>
                  </a:lnTo>
                  <a:lnTo>
                    <a:pt x="503" y="3683"/>
                  </a:lnTo>
                  <a:lnTo>
                    <a:pt x="608" y="3704"/>
                  </a:lnTo>
                  <a:lnTo>
                    <a:pt x="775" y="3662"/>
                  </a:lnTo>
                  <a:lnTo>
                    <a:pt x="796" y="3579"/>
                  </a:lnTo>
                  <a:lnTo>
                    <a:pt x="922" y="3600"/>
                  </a:lnTo>
                  <a:lnTo>
                    <a:pt x="1005" y="3558"/>
                  </a:lnTo>
                  <a:lnTo>
                    <a:pt x="1319" y="3579"/>
                  </a:lnTo>
                  <a:lnTo>
                    <a:pt x="1654" y="3453"/>
                  </a:lnTo>
                  <a:lnTo>
                    <a:pt x="1738" y="3370"/>
                  </a:lnTo>
                  <a:lnTo>
                    <a:pt x="2031" y="3370"/>
                  </a:lnTo>
                  <a:lnTo>
                    <a:pt x="2156" y="3411"/>
                  </a:lnTo>
                  <a:lnTo>
                    <a:pt x="2198" y="3495"/>
                  </a:lnTo>
                  <a:lnTo>
                    <a:pt x="2344" y="3495"/>
                  </a:lnTo>
                  <a:lnTo>
                    <a:pt x="2575" y="3370"/>
                  </a:lnTo>
                  <a:lnTo>
                    <a:pt x="2868" y="3307"/>
                  </a:lnTo>
                  <a:lnTo>
                    <a:pt x="2826" y="3244"/>
                  </a:lnTo>
                  <a:lnTo>
                    <a:pt x="3077" y="2888"/>
                  </a:lnTo>
                  <a:lnTo>
                    <a:pt x="3140" y="2637"/>
                  </a:lnTo>
                  <a:lnTo>
                    <a:pt x="3328" y="2365"/>
                  </a:lnTo>
                  <a:lnTo>
                    <a:pt x="3453" y="1926"/>
                  </a:lnTo>
                  <a:lnTo>
                    <a:pt x="3453" y="1842"/>
                  </a:lnTo>
                  <a:lnTo>
                    <a:pt x="3516" y="1737"/>
                  </a:lnTo>
                  <a:lnTo>
                    <a:pt x="3516" y="1675"/>
                  </a:lnTo>
                  <a:lnTo>
                    <a:pt x="3621" y="1528"/>
                  </a:lnTo>
                  <a:lnTo>
                    <a:pt x="3725" y="1570"/>
                  </a:lnTo>
                  <a:lnTo>
                    <a:pt x="4165" y="1570"/>
                  </a:lnTo>
                  <a:lnTo>
                    <a:pt x="4228" y="1612"/>
                  </a:lnTo>
                  <a:lnTo>
                    <a:pt x="4374" y="1612"/>
                  </a:lnTo>
                  <a:lnTo>
                    <a:pt x="4500" y="1633"/>
                  </a:lnTo>
                  <a:lnTo>
                    <a:pt x="4500" y="1591"/>
                  </a:lnTo>
                  <a:lnTo>
                    <a:pt x="4667" y="1675"/>
                  </a:lnTo>
                  <a:lnTo>
                    <a:pt x="4751" y="1696"/>
                  </a:lnTo>
                  <a:lnTo>
                    <a:pt x="4876" y="1633"/>
                  </a:lnTo>
                  <a:lnTo>
                    <a:pt x="5023" y="1612"/>
                  </a:lnTo>
                  <a:lnTo>
                    <a:pt x="5023" y="1528"/>
                  </a:lnTo>
                  <a:lnTo>
                    <a:pt x="4876" y="1403"/>
                  </a:lnTo>
                  <a:lnTo>
                    <a:pt x="4876" y="1277"/>
                  </a:lnTo>
                  <a:lnTo>
                    <a:pt x="4918" y="1214"/>
                  </a:lnTo>
                  <a:lnTo>
                    <a:pt x="5169" y="1256"/>
                  </a:lnTo>
                  <a:lnTo>
                    <a:pt x="5357" y="1193"/>
                  </a:lnTo>
                  <a:lnTo>
                    <a:pt x="5483" y="1089"/>
                  </a:lnTo>
                  <a:lnTo>
                    <a:pt x="5441" y="1005"/>
                  </a:lnTo>
                  <a:lnTo>
                    <a:pt x="5357" y="1005"/>
                  </a:lnTo>
                  <a:lnTo>
                    <a:pt x="5232" y="984"/>
                  </a:lnTo>
                  <a:lnTo>
                    <a:pt x="5127" y="880"/>
                  </a:lnTo>
                  <a:lnTo>
                    <a:pt x="5023" y="901"/>
                  </a:lnTo>
                  <a:lnTo>
                    <a:pt x="4897" y="775"/>
                  </a:lnTo>
                  <a:lnTo>
                    <a:pt x="4813" y="775"/>
                  </a:lnTo>
                  <a:lnTo>
                    <a:pt x="4709" y="859"/>
                  </a:lnTo>
                  <a:lnTo>
                    <a:pt x="4667" y="796"/>
                  </a:lnTo>
                  <a:lnTo>
                    <a:pt x="4792" y="691"/>
                  </a:lnTo>
                  <a:lnTo>
                    <a:pt x="4709" y="629"/>
                  </a:lnTo>
                  <a:lnTo>
                    <a:pt x="4688" y="649"/>
                  </a:lnTo>
                  <a:lnTo>
                    <a:pt x="4604" y="754"/>
                  </a:lnTo>
                  <a:lnTo>
                    <a:pt x="4562" y="670"/>
                  </a:lnTo>
                  <a:lnTo>
                    <a:pt x="4500" y="670"/>
                  </a:lnTo>
                  <a:lnTo>
                    <a:pt x="4500" y="482"/>
                  </a:lnTo>
                  <a:lnTo>
                    <a:pt x="4604" y="461"/>
                  </a:lnTo>
                  <a:lnTo>
                    <a:pt x="4604" y="377"/>
                  </a:lnTo>
                  <a:lnTo>
                    <a:pt x="4458" y="273"/>
                  </a:lnTo>
                  <a:lnTo>
                    <a:pt x="4437" y="336"/>
                  </a:lnTo>
                  <a:lnTo>
                    <a:pt x="4290" y="231"/>
                  </a:lnTo>
                  <a:lnTo>
                    <a:pt x="4290" y="64"/>
                  </a:lnTo>
                  <a:lnTo>
                    <a:pt x="418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1" name="Google Shape;831;p34"/>
            <p:cNvSpPr/>
            <p:nvPr/>
          </p:nvSpPr>
          <p:spPr>
            <a:xfrm>
              <a:off x="4442708" y="2983061"/>
              <a:ext cx="56823" cy="104945"/>
            </a:xfrm>
            <a:custGeom>
              <a:avLst/>
              <a:gdLst/>
              <a:ahLst/>
              <a:cxnLst/>
              <a:rect l="l" t="t" r="r" b="b"/>
              <a:pathLst>
                <a:path w="4772" h="9228" extrusionOk="0">
                  <a:moveTo>
                    <a:pt x="1821" y="0"/>
                  </a:moveTo>
                  <a:lnTo>
                    <a:pt x="1737" y="84"/>
                  </a:lnTo>
                  <a:lnTo>
                    <a:pt x="1591" y="84"/>
                  </a:lnTo>
                  <a:lnTo>
                    <a:pt x="1465" y="126"/>
                  </a:lnTo>
                  <a:lnTo>
                    <a:pt x="1507" y="314"/>
                  </a:lnTo>
                  <a:lnTo>
                    <a:pt x="1298" y="398"/>
                  </a:lnTo>
                  <a:lnTo>
                    <a:pt x="1193" y="314"/>
                  </a:lnTo>
                  <a:lnTo>
                    <a:pt x="1026" y="377"/>
                  </a:lnTo>
                  <a:lnTo>
                    <a:pt x="1026" y="440"/>
                  </a:lnTo>
                  <a:lnTo>
                    <a:pt x="900" y="502"/>
                  </a:lnTo>
                  <a:lnTo>
                    <a:pt x="879" y="419"/>
                  </a:lnTo>
                  <a:lnTo>
                    <a:pt x="796" y="419"/>
                  </a:lnTo>
                  <a:lnTo>
                    <a:pt x="733" y="502"/>
                  </a:lnTo>
                  <a:lnTo>
                    <a:pt x="607" y="398"/>
                  </a:lnTo>
                  <a:lnTo>
                    <a:pt x="524" y="440"/>
                  </a:lnTo>
                  <a:lnTo>
                    <a:pt x="503" y="544"/>
                  </a:lnTo>
                  <a:lnTo>
                    <a:pt x="419" y="544"/>
                  </a:lnTo>
                  <a:lnTo>
                    <a:pt x="377" y="523"/>
                  </a:lnTo>
                  <a:lnTo>
                    <a:pt x="398" y="440"/>
                  </a:lnTo>
                  <a:lnTo>
                    <a:pt x="315" y="419"/>
                  </a:lnTo>
                  <a:lnTo>
                    <a:pt x="189" y="481"/>
                  </a:lnTo>
                  <a:lnTo>
                    <a:pt x="147" y="523"/>
                  </a:lnTo>
                  <a:lnTo>
                    <a:pt x="105" y="586"/>
                  </a:lnTo>
                  <a:lnTo>
                    <a:pt x="63" y="607"/>
                  </a:lnTo>
                  <a:lnTo>
                    <a:pt x="1" y="628"/>
                  </a:lnTo>
                  <a:lnTo>
                    <a:pt x="63" y="712"/>
                  </a:lnTo>
                  <a:lnTo>
                    <a:pt x="252" y="795"/>
                  </a:lnTo>
                  <a:lnTo>
                    <a:pt x="356" y="942"/>
                  </a:lnTo>
                  <a:lnTo>
                    <a:pt x="461" y="1025"/>
                  </a:lnTo>
                  <a:lnTo>
                    <a:pt x="482" y="1151"/>
                  </a:lnTo>
                  <a:lnTo>
                    <a:pt x="419" y="1235"/>
                  </a:lnTo>
                  <a:lnTo>
                    <a:pt x="628" y="1423"/>
                  </a:lnTo>
                  <a:lnTo>
                    <a:pt x="733" y="1632"/>
                  </a:lnTo>
                  <a:lnTo>
                    <a:pt x="984" y="1632"/>
                  </a:lnTo>
                  <a:lnTo>
                    <a:pt x="1131" y="1674"/>
                  </a:lnTo>
                  <a:lnTo>
                    <a:pt x="1256" y="1590"/>
                  </a:lnTo>
                  <a:lnTo>
                    <a:pt x="1423" y="1590"/>
                  </a:lnTo>
                  <a:lnTo>
                    <a:pt x="1507" y="1695"/>
                  </a:lnTo>
                  <a:lnTo>
                    <a:pt x="1654" y="1737"/>
                  </a:lnTo>
                  <a:lnTo>
                    <a:pt x="1675" y="1841"/>
                  </a:lnTo>
                  <a:lnTo>
                    <a:pt x="1654" y="1946"/>
                  </a:lnTo>
                  <a:lnTo>
                    <a:pt x="1842" y="1988"/>
                  </a:lnTo>
                  <a:lnTo>
                    <a:pt x="1842" y="2072"/>
                  </a:lnTo>
                  <a:lnTo>
                    <a:pt x="1758" y="2092"/>
                  </a:lnTo>
                  <a:lnTo>
                    <a:pt x="1675" y="2302"/>
                  </a:lnTo>
                  <a:lnTo>
                    <a:pt x="1633" y="2385"/>
                  </a:lnTo>
                  <a:lnTo>
                    <a:pt x="1507" y="2385"/>
                  </a:lnTo>
                  <a:lnTo>
                    <a:pt x="1340" y="2469"/>
                  </a:lnTo>
                  <a:lnTo>
                    <a:pt x="1256" y="2469"/>
                  </a:lnTo>
                  <a:lnTo>
                    <a:pt x="1256" y="2532"/>
                  </a:lnTo>
                  <a:lnTo>
                    <a:pt x="1403" y="2699"/>
                  </a:lnTo>
                  <a:lnTo>
                    <a:pt x="1319" y="2783"/>
                  </a:lnTo>
                  <a:lnTo>
                    <a:pt x="1340" y="2846"/>
                  </a:lnTo>
                  <a:lnTo>
                    <a:pt x="1423" y="2846"/>
                  </a:lnTo>
                  <a:lnTo>
                    <a:pt x="1507" y="3013"/>
                  </a:lnTo>
                  <a:lnTo>
                    <a:pt x="1675" y="3013"/>
                  </a:lnTo>
                  <a:lnTo>
                    <a:pt x="1863" y="3118"/>
                  </a:lnTo>
                  <a:lnTo>
                    <a:pt x="1968" y="3118"/>
                  </a:lnTo>
                  <a:lnTo>
                    <a:pt x="2114" y="3327"/>
                  </a:lnTo>
                  <a:lnTo>
                    <a:pt x="2281" y="3411"/>
                  </a:lnTo>
                  <a:lnTo>
                    <a:pt x="2407" y="3557"/>
                  </a:lnTo>
                  <a:lnTo>
                    <a:pt x="2386" y="3641"/>
                  </a:lnTo>
                  <a:lnTo>
                    <a:pt x="2574" y="3850"/>
                  </a:lnTo>
                  <a:lnTo>
                    <a:pt x="2616" y="3976"/>
                  </a:lnTo>
                  <a:lnTo>
                    <a:pt x="2700" y="4038"/>
                  </a:lnTo>
                  <a:lnTo>
                    <a:pt x="2825" y="4038"/>
                  </a:lnTo>
                  <a:lnTo>
                    <a:pt x="2909" y="4143"/>
                  </a:lnTo>
                  <a:lnTo>
                    <a:pt x="2909" y="4206"/>
                  </a:lnTo>
                  <a:lnTo>
                    <a:pt x="2993" y="4289"/>
                  </a:lnTo>
                  <a:lnTo>
                    <a:pt x="3035" y="4289"/>
                  </a:lnTo>
                  <a:lnTo>
                    <a:pt x="3118" y="4310"/>
                  </a:lnTo>
                  <a:lnTo>
                    <a:pt x="3097" y="4415"/>
                  </a:lnTo>
                  <a:lnTo>
                    <a:pt x="3139" y="4478"/>
                  </a:lnTo>
                  <a:lnTo>
                    <a:pt x="3286" y="4478"/>
                  </a:lnTo>
                  <a:lnTo>
                    <a:pt x="3348" y="4582"/>
                  </a:lnTo>
                  <a:lnTo>
                    <a:pt x="3411" y="4603"/>
                  </a:lnTo>
                  <a:lnTo>
                    <a:pt x="3516" y="4561"/>
                  </a:lnTo>
                  <a:lnTo>
                    <a:pt x="3558" y="4624"/>
                  </a:lnTo>
                  <a:lnTo>
                    <a:pt x="3495" y="4708"/>
                  </a:lnTo>
                  <a:lnTo>
                    <a:pt x="3453" y="4875"/>
                  </a:lnTo>
                  <a:lnTo>
                    <a:pt x="3516" y="4938"/>
                  </a:lnTo>
                  <a:lnTo>
                    <a:pt x="3600" y="4938"/>
                  </a:lnTo>
                  <a:lnTo>
                    <a:pt x="3600" y="5105"/>
                  </a:lnTo>
                  <a:lnTo>
                    <a:pt x="3432" y="5231"/>
                  </a:lnTo>
                  <a:lnTo>
                    <a:pt x="3453" y="5357"/>
                  </a:lnTo>
                  <a:lnTo>
                    <a:pt x="3495" y="5440"/>
                  </a:lnTo>
                  <a:lnTo>
                    <a:pt x="3516" y="5629"/>
                  </a:lnTo>
                  <a:lnTo>
                    <a:pt x="3411" y="5670"/>
                  </a:lnTo>
                  <a:lnTo>
                    <a:pt x="3390" y="5670"/>
                  </a:lnTo>
                  <a:lnTo>
                    <a:pt x="3453" y="5859"/>
                  </a:lnTo>
                  <a:lnTo>
                    <a:pt x="3558" y="5921"/>
                  </a:lnTo>
                  <a:lnTo>
                    <a:pt x="3662" y="6152"/>
                  </a:lnTo>
                  <a:lnTo>
                    <a:pt x="3641" y="6340"/>
                  </a:lnTo>
                  <a:lnTo>
                    <a:pt x="3662" y="6445"/>
                  </a:lnTo>
                  <a:lnTo>
                    <a:pt x="3641" y="6591"/>
                  </a:lnTo>
                  <a:lnTo>
                    <a:pt x="3662" y="6717"/>
                  </a:lnTo>
                  <a:lnTo>
                    <a:pt x="3558" y="6905"/>
                  </a:lnTo>
                  <a:lnTo>
                    <a:pt x="3495" y="6926"/>
                  </a:lnTo>
                  <a:lnTo>
                    <a:pt x="3453" y="7010"/>
                  </a:lnTo>
                  <a:lnTo>
                    <a:pt x="3307" y="7072"/>
                  </a:lnTo>
                  <a:lnTo>
                    <a:pt x="3139" y="7177"/>
                  </a:lnTo>
                  <a:lnTo>
                    <a:pt x="3076" y="7282"/>
                  </a:lnTo>
                  <a:lnTo>
                    <a:pt x="2867" y="7282"/>
                  </a:lnTo>
                  <a:lnTo>
                    <a:pt x="2763" y="7344"/>
                  </a:lnTo>
                  <a:lnTo>
                    <a:pt x="2784" y="7554"/>
                  </a:lnTo>
                  <a:lnTo>
                    <a:pt x="2909" y="7595"/>
                  </a:lnTo>
                  <a:lnTo>
                    <a:pt x="3014" y="7700"/>
                  </a:lnTo>
                  <a:lnTo>
                    <a:pt x="2993" y="7763"/>
                  </a:lnTo>
                  <a:lnTo>
                    <a:pt x="3035" y="7909"/>
                  </a:lnTo>
                  <a:lnTo>
                    <a:pt x="2867" y="7909"/>
                  </a:lnTo>
                  <a:lnTo>
                    <a:pt x="2825" y="7826"/>
                  </a:lnTo>
                  <a:lnTo>
                    <a:pt x="2721" y="7763"/>
                  </a:lnTo>
                  <a:lnTo>
                    <a:pt x="2449" y="7826"/>
                  </a:lnTo>
                  <a:lnTo>
                    <a:pt x="2386" y="7805"/>
                  </a:lnTo>
                  <a:lnTo>
                    <a:pt x="2260" y="7805"/>
                  </a:lnTo>
                  <a:lnTo>
                    <a:pt x="2198" y="7951"/>
                  </a:lnTo>
                  <a:lnTo>
                    <a:pt x="2072" y="7972"/>
                  </a:lnTo>
                  <a:lnTo>
                    <a:pt x="1968" y="8118"/>
                  </a:lnTo>
                  <a:lnTo>
                    <a:pt x="1988" y="8139"/>
                  </a:lnTo>
                  <a:lnTo>
                    <a:pt x="1988" y="8244"/>
                  </a:lnTo>
                  <a:lnTo>
                    <a:pt x="1988" y="8265"/>
                  </a:lnTo>
                  <a:lnTo>
                    <a:pt x="2093" y="8286"/>
                  </a:lnTo>
                  <a:lnTo>
                    <a:pt x="2156" y="8265"/>
                  </a:lnTo>
                  <a:lnTo>
                    <a:pt x="2198" y="8286"/>
                  </a:lnTo>
                  <a:lnTo>
                    <a:pt x="2281" y="8265"/>
                  </a:lnTo>
                  <a:lnTo>
                    <a:pt x="2407" y="8286"/>
                  </a:lnTo>
                  <a:lnTo>
                    <a:pt x="2491" y="8265"/>
                  </a:lnTo>
                  <a:lnTo>
                    <a:pt x="2449" y="8328"/>
                  </a:lnTo>
                  <a:lnTo>
                    <a:pt x="2281" y="8453"/>
                  </a:lnTo>
                  <a:lnTo>
                    <a:pt x="2198" y="8579"/>
                  </a:lnTo>
                  <a:lnTo>
                    <a:pt x="2198" y="8767"/>
                  </a:lnTo>
                  <a:lnTo>
                    <a:pt x="2177" y="8851"/>
                  </a:lnTo>
                  <a:lnTo>
                    <a:pt x="2240" y="8851"/>
                  </a:lnTo>
                  <a:lnTo>
                    <a:pt x="2198" y="8872"/>
                  </a:lnTo>
                  <a:lnTo>
                    <a:pt x="2198" y="9018"/>
                  </a:lnTo>
                  <a:lnTo>
                    <a:pt x="2281" y="9081"/>
                  </a:lnTo>
                  <a:lnTo>
                    <a:pt x="2344" y="9060"/>
                  </a:lnTo>
                  <a:lnTo>
                    <a:pt x="2344" y="9060"/>
                  </a:lnTo>
                  <a:lnTo>
                    <a:pt x="2281" y="9123"/>
                  </a:lnTo>
                  <a:lnTo>
                    <a:pt x="2177" y="9165"/>
                  </a:lnTo>
                  <a:lnTo>
                    <a:pt x="2072" y="9227"/>
                  </a:lnTo>
                  <a:lnTo>
                    <a:pt x="2240" y="9227"/>
                  </a:lnTo>
                  <a:lnTo>
                    <a:pt x="2470" y="9123"/>
                  </a:lnTo>
                  <a:lnTo>
                    <a:pt x="2470" y="9102"/>
                  </a:lnTo>
                  <a:lnTo>
                    <a:pt x="2491" y="9102"/>
                  </a:lnTo>
                  <a:lnTo>
                    <a:pt x="2574" y="9018"/>
                  </a:lnTo>
                  <a:lnTo>
                    <a:pt x="2595" y="8914"/>
                  </a:lnTo>
                  <a:lnTo>
                    <a:pt x="2616" y="8851"/>
                  </a:lnTo>
                  <a:lnTo>
                    <a:pt x="2700" y="8872"/>
                  </a:lnTo>
                  <a:lnTo>
                    <a:pt x="2721" y="8851"/>
                  </a:lnTo>
                  <a:lnTo>
                    <a:pt x="2867" y="8746"/>
                  </a:lnTo>
                  <a:lnTo>
                    <a:pt x="2909" y="8746"/>
                  </a:lnTo>
                  <a:lnTo>
                    <a:pt x="2930" y="8683"/>
                  </a:lnTo>
                  <a:lnTo>
                    <a:pt x="2993" y="8662"/>
                  </a:lnTo>
                  <a:lnTo>
                    <a:pt x="2972" y="8600"/>
                  </a:lnTo>
                  <a:lnTo>
                    <a:pt x="2972" y="8579"/>
                  </a:lnTo>
                  <a:lnTo>
                    <a:pt x="2930" y="8495"/>
                  </a:lnTo>
                  <a:lnTo>
                    <a:pt x="2993" y="8495"/>
                  </a:lnTo>
                  <a:lnTo>
                    <a:pt x="3035" y="8558"/>
                  </a:lnTo>
                  <a:lnTo>
                    <a:pt x="3097" y="8579"/>
                  </a:lnTo>
                  <a:lnTo>
                    <a:pt x="3139" y="8537"/>
                  </a:lnTo>
                  <a:lnTo>
                    <a:pt x="3139" y="8453"/>
                  </a:lnTo>
                  <a:lnTo>
                    <a:pt x="3035" y="8349"/>
                  </a:lnTo>
                  <a:lnTo>
                    <a:pt x="3160" y="8453"/>
                  </a:lnTo>
                  <a:lnTo>
                    <a:pt x="3244" y="8390"/>
                  </a:lnTo>
                  <a:lnTo>
                    <a:pt x="3223" y="8286"/>
                  </a:lnTo>
                  <a:lnTo>
                    <a:pt x="3244" y="8244"/>
                  </a:lnTo>
                  <a:lnTo>
                    <a:pt x="3097" y="8181"/>
                  </a:lnTo>
                  <a:lnTo>
                    <a:pt x="3160" y="8181"/>
                  </a:lnTo>
                  <a:lnTo>
                    <a:pt x="3223" y="8160"/>
                  </a:lnTo>
                  <a:lnTo>
                    <a:pt x="3223" y="8139"/>
                  </a:lnTo>
                  <a:lnTo>
                    <a:pt x="3139" y="8077"/>
                  </a:lnTo>
                  <a:lnTo>
                    <a:pt x="3244" y="8118"/>
                  </a:lnTo>
                  <a:lnTo>
                    <a:pt x="3286" y="8077"/>
                  </a:lnTo>
                  <a:lnTo>
                    <a:pt x="3307" y="8014"/>
                  </a:lnTo>
                  <a:lnTo>
                    <a:pt x="3307" y="8077"/>
                  </a:lnTo>
                  <a:lnTo>
                    <a:pt x="3286" y="8160"/>
                  </a:lnTo>
                  <a:lnTo>
                    <a:pt x="3307" y="8160"/>
                  </a:lnTo>
                  <a:lnTo>
                    <a:pt x="3411" y="8139"/>
                  </a:lnTo>
                  <a:lnTo>
                    <a:pt x="3495" y="8181"/>
                  </a:lnTo>
                  <a:lnTo>
                    <a:pt x="3620" y="8160"/>
                  </a:lnTo>
                  <a:lnTo>
                    <a:pt x="3872" y="8014"/>
                  </a:lnTo>
                  <a:lnTo>
                    <a:pt x="3955" y="7951"/>
                  </a:lnTo>
                  <a:lnTo>
                    <a:pt x="4060" y="7951"/>
                  </a:lnTo>
                  <a:lnTo>
                    <a:pt x="4060" y="7846"/>
                  </a:lnTo>
                  <a:lnTo>
                    <a:pt x="4164" y="7763"/>
                  </a:lnTo>
                  <a:lnTo>
                    <a:pt x="4269" y="7721"/>
                  </a:lnTo>
                  <a:lnTo>
                    <a:pt x="4395" y="7595"/>
                  </a:lnTo>
                  <a:lnTo>
                    <a:pt x="4457" y="7554"/>
                  </a:lnTo>
                  <a:lnTo>
                    <a:pt x="4478" y="7428"/>
                  </a:lnTo>
                  <a:lnTo>
                    <a:pt x="4541" y="7407"/>
                  </a:lnTo>
                  <a:lnTo>
                    <a:pt x="4604" y="7323"/>
                  </a:lnTo>
                  <a:lnTo>
                    <a:pt x="4583" y="7282"/>
                  </a:lnTo>
                  <a:lnTo>
                    <a:pt x="4604" y="7177"/>
                  </a:lnTo>
                  <a:lnTo>
                    <a:pt x="4541" y="7072"/>
                  </a:lnTo>
                  <a:lnTo>
                    <a:pt x="4646" y="6989"/>
                  </a:lnTo>
                  <a:lnTo>
                    <a:pt x="4646" y="6905"/>
                  </a:lnTo>
                  <a:lnTo>
                    <a:pt x="4688" y="6884"/>
                  </a:lnTo>
                  <a:lnTo>
                    <a:pt x="4688" y="6821"/>
                  </a:lnTo>
                  <a:lnTo>
                    <a:pt x="4646" y="6758"/>
                  </a:lnTo>
                  <a:lnTo>
                    <a:pt x="4646" y="6675"/>
                  </a:lnTo>
                  <a:lnTo>
                    <a:pt x="4688" y="6654"/>
                  </a:lnTo>
                  <a:lnTo>
                    <a:pt x="4709" y="6696"/>
                  </a:lnTo>
                  <a:lnTo>
                    <a:pt x="4709" y="6717"/>
                  </a:lnTo>
                  <a:lnTo>
                    <a:pt x="4729" y="6717"/>
                  </a:lnTo>
                  <a:lnTo>
                    <a:pt x="4771" y="6654"/>
                  </a:lnTo>
                  <a:lnTo>
                    <a:pt x="4688" y="6507"/>
                  </a:lnTo>
                  <a:lnTo>
                    <a:pt x="4667" y="6445"/>
                  </a:lnTo>
                  <a:lnTo>
                    <a:pt x="4604" y="6403"/>
                  </a:lnTo>
                  <a:lnTo>
                    <a:pt x="4604" y="6361"/>
                  </a:lnTo>
                  <a:lnTo>
                    <a:pt x="4583" y="6194"/>
                  </a:lnTo>
                  <a:lnTo>
                    <a:pt x="4604" y="6173"/>
                  </a:lnTo>
                  <a:lnTo>
                    <a:pt x="4562" y="6068"/>
                  </a:lnTo>
                  <a:lnTo>
                    <a:pt x="4583" y="6026"/>
                  </a:lnTo>
                  <a:lnTo>
                    <a:pt x="4583" y="5921"/>
                  </a:lnTo>
                  <a:lnTo>
                    <a:pt x="4541" y="5859"/>
                  </a:lnTo>
                  <a:lnTo>
                    <a:pt x="4499" y="5670"/>
                  </a:lnTo>
                  <a:lnTo>
                    <a:pt x="4457" y="5649"/>
                  </a:lnTo>
                  <a:lnTo>
                    <a:pt x="4437" y="5440"/>
                  </a:lnTo>
                  <a:lnTo>
                    <a:pt x="4332" y="5315"/>
                  </a:lnTo>
                  <a:lnTo>
                    <a:pt x="4353" y="5252"/>
                  </a:lnTo>
                  <a:lnTo>
                    <a:pt x="4332" y="5210"/>
                  </a:lnTo>
                  <a:lnTo>
                    <a:pt x="4332" y="5147"/>
                  </a:lnTo>
                  <a:lnTo>
                    <a:pt x="4185" y="5022"/>
                  </a:lnTo>
                  <a:lnTo>
                    <a:pt x="4185" y="4938"/>
                  </a:lnTo>
                  <a:lnTo>
                    <a:pt x="4164" y="4938"/>
                  </a:lnTo>
                  <a:lnTo>
                    <a:pt x="4144" y="4833"/>
                  </a:lnTo>
                  <a:lnTo>
                    <a:pt x="4060" y="4708"/>
                  </a:lnTo>
                  <a:lnTo>
                    <a:pt x="3809" y="4499"/>
                  </a:lnTo>
                  <a:lnTo>
                    <a:pt x="3746" y="4394"/>
                  </a:lnTo>
                  <a:lnTo>
                    <a:pt x="3453" y="4185"/>
                  </a:lnTo>
                  <a:lnTo>
                    <a:pt x="3139" y="4038"/>
                  </a:lnTo>
                  <a:lnTo>
                    <a:pt x="3139" y="3976"/>
                  </a:lnTo>
                  <a:lnTo>
                    <a:pt x="3014" y="3934"/>
                  </a:lnTo>
                  <a:lnTo>
                    <a:pt x="2784" y="3745"/>
                  </a:lnTo>
                  <a:lnTo>
                    <a:pt x="2763" y="3662"/>
                  </a:lnTo>
                  <a:lnTo>
                    <a:pt x="2721" y="3536"/>
                  </a:lnTo>
                  <a:lnTo>
                    <a:pt x="2721" y="3473"/>
                  </a:lnTo>
                  <a:lnTo>
                    <a:pt x="2721" y="3432"/>
                  </a:lnTo>
                  <a:lnTo>
                    <a:pt x="2679" y="3306"/>
                  </a:lnTo>
                  <a:lnTo>
                    <a:pt x="2595" y="3306"/>
                  </a:lnTo>
                  <a:lnTo>
                    <a:pt x="2470" y="3139"/>
                  </a:lnTo>
                  <a:lnTo>
                    <a:pt x="2281" y="3055"/>
                  </a:lnTo>
                  <a:lnTo>
                    <a:pt x="2177" y="3034"/>
                  </a:lnTo>
                  <a:lnTo>
                    <a:pt x="2281" y="2992"/>
                  </a:lnTo>
                  <a:lnTo>
                    <a:pt x="2281" y="2929"/>
                  </a:lnTo>
                  <a:lnTo>
                    <a:pt x="2177" y="2825"/>
                  </a:lnTo>
                  <a:lnTo>
                    <a:pt x="2240" y="2720"/>
                  </a:lnTo>
                  <a:lnTo>
                    <a:pt x="2281" y="2532"/>
                  </a:lnTo>
                  <a:lnTo>
                    <a:pt x="2260" y="2490"/>
                  </a:lnTo>
                  <a:lnTo>
                    <a:pt x="2198" y="2490"/>
                  </a:lnTo>
                  <a:lnTo>
                    <a:pt x="2198" y="2385"/>
                  </a:lnTo>
                  <a:lnTo>
                    <a:pt x="2260" y="2323"/>
                  </a:lnTo>
                  <a:lnTo>
                    <a:pt x="2281" y="2218"/>
                  </a:lnTo>
                  <a:lnTo>
                    <a:pt x="2344" y="2197"/>
                  </a:lnTo>
                  <a:lnTo>
                    <a:pt x="2365" y="2155"/>
                  </a:lnTo>
                  <a:lnTo>
                    <a:pt x="2386" y="2176"/>
                  </a:lnTo>
                  <a:lnTo>
                    <a:pt x="2449" y="2176"/>
                  </a:lnTo>
                  <a:lnTo>
                    <a:pt x="2553" y="2051"/>
                  </a:lnTo>
                  <a:lnTo>
                    <a:pt x="2574" y="2051"/>
                  </a:lnTo>
                  <a:lnTo>
                    <a:pt x="2616" y="1988"/>
                  </a:lnTo>
                  <a:lnTo>
                    <a:pt x="2574" y="1904"/>
                  </a:lnTo>
                  <a:lnTo>
                    <a:pt x="2595" y="1883"/>
                  </a:lnTo>
                  <a:lnTo>
                    <a:pt x="2595" y="1800"/>
                  </a:lnTo>
                  <a:lnTo>
                    <a:pt x="2595" y="1737"/>
                  </a:lnTo>
                  <a:lnTo>
                    <a:pt x="2574" y="1674"/>
                  </a:lnTo>
                  <a:lnTo>
                    <a:pt x="2616" y="1632"/>
                  </a:lnTo>
                  <a:lnTo>
                    <a:pt x="2616" y="1548"/>
                  </a:lnTo>
                  <a:lnTo>
                    <a:pt x="2679" y="1548"/>
                  </a:lnTo>
                  <a:lnTo>
                    <a:pt x="2700" y="1590"/>
                  </a:lnTo>
                  <a:lnTo>
                    <a:pt x="2721" y="1590"/>
                  </a:lnTo>
                  <a:lnTo>
                    <a:pt x="2804" y="1548"/>
                  </a:lnTo>
                  <a:lnTo>
                    <a:pt x="2888" y="1528"/>
                  </a:lnTo>
                  <a:lnTo>
                    <a:pt x="2930" y="1548"/>
                  </a:lnTo>
                  <a:lnTo>
                    <a:pt x="2972" y="1528"/>
                  </a:lnTo>
                  <a:lnTo>
                    <a:pt x="3014" y="1465"/>
                  </a:lnTo>
                  <a:lnTo>
                    <a:pt x="2993" y="1381"/>
                  </a:lnTo>
                  <a:lnTo>
                    <a:pt x="3014" y="1339"/>
                  </a:lnTo>
                  <a:lnTo>
                    <a:pt x="3118" y="1318"/>
                  </a:lnTo>
                  <a:lnTo>
                    <a:pt x="3223" y="1339"/>
                  </a:lnTo>
                  <a:lnTo>
                    <a:pt x="3328" y="1256"/>
                  </a:lnTo>
                  <a:lnTo>
                    <a:pt x="3390" y="1256"/>
                  </a:lnTo>
                  <a:lnTo>
                    <a:pt x="3432" y="1235"/>
                  </a:lnTo>
                  <a:lnTo>
                    <a:pt x="3495" y="1172"/>
                  </a:lnTo>
                  <a:lnTo>
                    <a:pt x="3453" y="1130"/>
                  </a:lnTo>
                  <a:lnTo>
                    <a:pt x="3348" y="1067"/>
                  </a:lnTo>
                  <a:lnTo>
                    <a:pt x="3286" y="1109"/>
                  </a:lnTo>
                  <a:lnTo>
                    <a:pt x="3223" y="1046"/>
                  </a:lnTo>
                  <a:lnTo>
                    <a:pt x="3118" y="1109"/>
                  </a:lnTo>
                  <a:lnTo>
                    <a:pt x="3014" y="1025"/>
                  </a:lnTo>
                  <a:lnTo>
                    <a:pt x="2888" y="1004"/>
                  </a:lnTo>
                  <a:lnTo>
                    <a:pt x="2867" y="900"/>
                  </a:lnTo>
                  <a:lnTo>
                    <a:pt x="2616" y="816"/>
                  </a:lnTo>
                  <a:lnTo>
                    <a:pt x="2595" y="712"/>
                  </a:lnTo>
                  <a:lnTo>
                    <a:pt x="2512" y="691"/>
                  </a:lnTo>
                  <a:lnTo>
                    <a:pt x="2574" y="481"/>
                  </a:lnTo>
                  <a:lnTo>
                    <a:pt x="2679" y="440"/>
                  </a:lnTo>
                  <a:lnTo>
                    <a:pt x="2679" y="335"/>
                  </a:lnTo>
                  <a:lnTo>
                    <a:pt x="2595" y="272"/>
                  </a:lnTo>
                  <a:lnTo>
                    <a:pt x="2449" y="314"/>
                  </a:lnTo>
                  <a:lnTo>
                    <a:pt x="2386" y="272"/>
                  </a:lnTo>
                  <a:lnTo>
                    <a:pt x="2114" y="272"/>
                  </a:lnTo>
                  <a:lnTo>
                    <a:pt x="2072" y="188"/>
                  </a:lnTo>
                  <a:lnTo>
                    <a:pt x="1947" y="168"/>
                  </a:lnTo>
                  <a:lnTo>
                    <a:pt x="1947" y="84"/>
                  </a:lnTo>
                  <a:lnTo>
                    <a:pt x="182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2" name="Google Shape;832;p34"/>
            <p:cNvSpPr/>
            <p:nvPr/>
          </p:nvSpPr>
          <p:spPr>
            <a:xfrm>
              <a:off x="4450186" y="3045644"/>
              <a:ext cx="36139" cy="29750"/>
            </a:xfrm>
            <a:custGeom>
              <a:avLst/>
              <a:gdLst/>
              <a:ahLst/>
              <a:cxnLst/>
              <a:rect l="l" t="t" r="r" b="b"/>
              <a:pathLst>
                <a:path w="3035" h="2616" extrusionOk="0">
                  <a:moveTo>
                    <a:pt x="2407" y="0"/>
                  </a:moveTo>
                  <a:lnTo>
                    <a:pt x="2239" y="42"/>
                  </a:lnTo>
                  <a:lnTo>
                    <a:pt x="2135" y="126"/>
                  </a:lnTo>
                  <a:lnTo>
                    <a:pt x="2260" y="251"/>
                  </a:lnTo>
                  <a:lnTo>
                    <a:pt x="2239" y="356"/>
                  </a:lnTo>
                  <a:lnTo>
                    <a:pt x="2260" y="460"/>
                  </a:lnTo>
                  <a:lnTo>
                    <a:pt x="2260" y="544"/>
                  </a:lnTo>
                  <a:lnTo>
                    <a:pt x="2072" y="481"/>
                  </a:lnTo>
                  <a:lnTo>
                    <a:pt x="1967" y="314"/>
                  </a:lnTo>
                  <a:lnTo>
                    <a:pt x="1821" y="314"/>
                  </a:lnTo>
                  <a:lnTo>
                    <a:pt x="1758" y="230"/>
                  </a:lnTo>
                  <a:lnTo>
                    <a:pt x="1632" y="126"/>
                  </a:lnTo>
                  <a:lnTo>
                    <a:pt x="1549" y="167"/>
                  </a:lnTo>
                  <a:lnTo>
                    <a:pt x="1444" y="105"/>
                  </a:lnTo>
                  <a:lnTo>
                    <a:pt x="1298" y="126"/>
                  </a:lnTo>
                  <a:lnTo>
                    <a:pt x="1151" y="63"/>
                  </a:lnTo>
                  <a:lnTo>
                    <a:pt x="1026" y="63"/>
                  </a:lnTo>
                  <a:lnTo>
                    <a:pt x="879" y="146"/>
                  </a:lnTo>
                  <a:lnTo>
                    <a:pt x="816" y="105"/>
                  </a:lnTo>
                  <a:lnTo>
                    <a:pt x="670" y="105"/>
                  </a:lnTo>
                  <a:lnTo>
                    <a:pt x="398" y="167"/>
                  </a:lnTo>
                  <a:lnTo>
                    <a:pt x="272" y="167"/>
                  </a:lnTo>
                  <a:lnTo>
                    <a:pt x="168" y="335"/>
                  </a:lnTo>
                  <a:lnTo>
                    <a:pt x="105" y="523"/>
                  </a:lnTo>
                  <a:lnTo>
                    <a:pt x="42" y="649"/>
                  </a:lnTo>
                  <a:lnTo>
                    <a:pt x="0" y="858"/>
                  </a:lnTo>
                  <a:lnTo>
                    <a:pt x="63" y="1088"/>
                  </a:lnTo>
                  <a:lnTo>
                    <a:pt x="168" y="1151"/>
                  </a:lnTo>
                  <a:lnTo>
                    <a:pt x="210" y="1255"/>
                  </a:lnTo>
                  <a:lnTo>
                    <a:pt x="189" y="1486"/>
                  </a:lnTo>
                  <a:lnTo>
                    <a:pt x="189" y="1569"/>
                  </a:lnTo>
                  <a:lnTo>
                    <a:pt x="272" y="1632"/>
                  </a:lnTo>
                  <a:lnTo>
                    <a:pt x="272" y="1779"/>
                  </a:lnTo>
                  <a:lnTo>
                    <a:pt x="356" y="1820"/>
                  </a:lnTo>
                  <a:lnTo>
                    <a:pt x="356" y="1925"/>
                  </a:lnTo>
                  <a:lnTo>
                    <a:pt x="419" y="2051"/>
                  </a:lnTo>
                  <a:lnTo>
                    <a:pt x="482" y="2030"/>
                  </a:lnTo>
                  <a:lnTo>
                    <a:pt x="523" y="2113"/>
                  </a:lnTo>
                  <a:lnTo>
                    <a:pt x="503" y="2218"/>
                  </a:lnTo>
                  <a:lnTo>
                    <a:pt x="565" y="2260"/>
                  </a:lnTo>
                  <a:lnTo>
                    <a:pt x="565" y="2364"/>
                  </a:lnTo>
                  <a:lnTo>
                    <a:pt x="733" y="2364"/>
                  </a:lnTo>
                  <a:lnTo>
                    <a:pt x="733" y="2260"/>
                  </a:lnTo>
                  <a:lnTo>
                    <a:pt x="795" y="2218"/>
                  </a:lnTo>
                  <a:lnTo>
                    <a:pt x="837" y="2155"/>
                  </a:lnTo>
                  <a:lnTo>
                    <a:pt x="837" y="2239"/>
                  </a:lnTo>
                  <a:lnTo>
                    <a:pt x="900" y="2323"/>
                  </a:lnTo>
                  <a:lnTo>
                    <a:pt x="879" y="2406"/>
                  </a:lnTo>
                  <a:lnTo>
                    <a:pt x="816" y="2469"/>
                  </a:lnTo>
                  <a:lnTo>
                    <a:pt x="837" y="2553"/>
                  </a:lnTo>
                  <a:lnTo>
                    <a:pt x="879" y="2574"/>
                  </a:lnTo>
                  <a:lnTo>
                    <a:pt x="921" y="2574"/>
                  </a:lnTo>
                  <a:lnTo>
                    <a:pt x="1026" y="2511"/>
                  </a:lnTo>
                  <a:lnTo>
                    <a:pt x="1026" y="2469"/>
                  </a:lnTo>
                  <a:lnTo>
                    <a:pt x="1088" y="2532"/>
                  </a:lnTo>
                  <a:lnTo>
                    <a:pt x="1214" y="2553"/>
                  </a:lnTo>
                  <a:lnTo>
                    <a:pt x="1235" y="2532"/>
                  </a:lnTo>
                  <a:lnTo>
                    <a:pt x="1340" y="2615"/>
                  </a:lnTo>
                  <a:lnTo>
                    <a:pt x="1444" y="2469"/>
                  </a:lnTo>
                  <a:lnTo>
                    <a:pt x="1570" y="2448"/>
                  </a:lnTo>
                  <a:lnTo>
                    <a:pt x="1632" y="2302"/>
                  </a:lnTo>
                  <a:lnTo>
                    <a:pt x="1758" y="2302"/>
                  </a:lnTo>
                  <a:lnTo>
                    <a:pt x="1821" y="2323"/>
                  </a:lnTo>
                  <a:lnTo>
                    <a:pt x="2093" y="2260"/>
                  </a:lnTo>
                  <a:lnTo>
                    <a:pt x="2197" y="2323"/>
                  </a:lnTo>
                  <a:lnTo>
                    <a:pt x="2239" y="2406"/>
                  </a:lnTo>
                  <a:lnTo>
                    <a:pt x="2407" y="2406"/>
                  </a:lnTo>
                  <a:lnTo>
                    <a:pt x="2365" y="2260"/>
                  </a:lnTo>
                  <a:lnTo>
                    <a:pt x="2386" y="2197"/>
                  </a:lnTo>
                  <a:lnTo>
                    <a:pt x="2281" y="2092"/>
                  </a:lnTo>
                  <a:lnTo>
                    <a:pt x="2156" y="2051"/>
                  </a:lnTo>
                  <a:lnTo>
                    <a:pt x="2135" y="1841"/>
                  </a:lnTo>
                  <a:lnTo>
                    <a:pt x="2239" y="1779"/>
                  </a:lnTo>
                  <a:lnTo>
                    <a:pt x="2448" y="1779"/>
                  </a:lnTo>
                  <a:lnTo>
                    <a:pt x="2511" y="1674"/>
                  </a:lnTo>
                  <a:lnTo>
                    <a:pt x="2679" y="1569"/>
                  </a:lnTo>
                  <a:lnTo>
                    <a:pt x="2825" y="1507"/>
                  </a:lnTo>
                  <a:lnTo>
                    <a:pt x="2867" y="1423"/>
                  </a:lnTo>
                  <a:lnTo>
                    <a:pt x="2930" y="1402"/>
                  </a:lnTo>
                  <a:lnTo>
                    <a:pt x="3034" y="1214"/>
                  </a:lnTo>
                  <a:lnTo>
                    <a:pt x="3013" y="1088"/>
                  </a:lnTo>
                  <a:lnTo>
                    <a:pt x="3034" y="942"/>
                  </a:lnTo>
                  <a:lnTo>
                    <a:pt x="3013" y="837"/>
                  </a:lnTo>
                  <a:lnTo>
                    <a:pt x="3034" y="649"/>
                  </a:lnTo>
                  <a:lnTo>
                    <a:pt x="2930" y="418"/>
                  </a:lnTo>
                  <a:lnTo>
                    <a:pt x="2825" y="356"/>
                  </a:lnTo>
                  <a:lnTo>
                    <a:pt x="2762" y="167"/>
                  </a:lnTo>
                  <a:lnTo>
                    <a:pt x="2679" y="167"/>
                  </a:lnTo>
                  <a:lnTo>
                    <a:pt x="2574" y="126"/>
                  </a:lnTo>
                  <a:lnTo>
                    <a:pt x="2469" y="105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3" name="Google Shape;833;p34"/>
            <p:cNvSpPr/>
            <p:nvPr/>
          </p:nvSpPr>
          <p:spPr>
            <a:xfrm>
              <a:off x="4429753" y="2990191"/>
              <a:ext cx="55822" cy="61650"/>
            </a:xfrm>
            <a:custGeom>
              <a:avLst/>
              <a:gdLst/>
              <a:ahLst/>
              <a:cxnLst/>
              <a:rect l="l" t="t" r="r" b="b"/>
              <a:pathLst>
                <a:path w="4688" h="5421" extrusionOk="0">
                  <a:moveTo>
                    <a:pt x="879" y="1"/>
                  </a:moveTo>
                  <a:lnTo>
                    <a:pt x="879" y="85"/>
                  </a:lnTo>
                  <a:lnTo>
                    <a:pt x="817" y="126"/>
                  </a:lnTo>
                  <a:lnTo>
                    <a:pt x="817" y="336"/>
                  </a:lnTo>
                  <a:lnTo>
                    <a:pt x="859" y="440"/>
                  </a:lnTo>
                  <a:lnTo>
                    <a:pt x="859" y="587"/>
                  </a:lnTo>
                  <a:lnTo>
                    <a:pt x="879" y="733"/>
                  </a:lnTo>
                  <a:lnTo>
                    <a:pt x="775" y="712"/>
                  </a:lnTo>
                  <a:lnTo>
                    <a:pt x="649" y="754"/>
                  </a:lnTo>
                  <a:lnTo>
                    <a:pt x="587" y="649"/>
                  </a:lnTo>
                  <a:lnTo>
                    <a:pt x="524" y="608"/>
                  </a:lnTo>
                  <a:lnTo>
                    <a:pt x="419" y="712"/>
                  </a:lnTo>
                  <a:lnTo>
                    <a:pt x="252" y="733"/>
                  </a:lnTo>
                  <a:lnTo>
                    <a:pt x="231" y="838"/>
                  </a:lnTo>
                  <a:lnTo>
                    <a:pt x="189" y="942"/>
                  </a:lnTo>
                  <a:lnTo>
                    <a:pt x="231" y="1026"/>
                  </a:lnTo>
                  <a:lnTo>
                    <a:pt x="105" y="1110"/>
                  </a:lnTo>
                  <a:lnTo>
                    <a:pt x="43" y="1110"/>
                  </a:lnTo>
                  <a:lnTo>
                    <a:pt x="1" y="1256"/>
                  </a:lnTo>
                  <a:lnTo>
                    <a:pt x="43" y="1382"/>
                  </a:lnTo>
                  <a:lnTo>
                    <a:pt x="210" y="1361"/>
                  </a:lnTo>
                  <a:lnTo>
                    <a:pt x="315" y="1486"/>
                  </a:lnTo>
                  <a:lnTo>
                    <a:pt x="335" y="1675"/>
                  </a:lnTo>
                  <a:lnTo>
                    <a:pt x="252" y="1758"/>
                  </a:lnTo>
                  <a:lnTo>
                    <a:pt x="335" y="1884"/>
                  </a:lnTo>
                  <a:lnTo>
                    <a:pt x="440" y="1947"/>
                  </a:lnTo>
                  <a:lnTo>
                    <a:pt x="524" y="1863"/>
                  </a:lnTo>
                  <a:lnTo>
                    <a:pt x="733" y="1863"/>
                  </a:lnTo>
                  <a:lnTo>
                    <a:pt x="754" y="1968"/>
                  </a:lnTo>
                  <a:lnTo>
                    <a:pt x="670" y="2093"/>
                  </a:lnTo>
                  <a:lnTo>
                    <a:pt x="754" y="2198"/>
                  </a:lnTo>
                  <a:lnTo>
                    <a:pt x="733" y="2281"/>
                  </a:lnTo>
                  <a:lnTo>
                    <a:pt x="670" y="2386"/>
                  </a:lnTo>
                  <a:lnTo>
                    <a:pt x="733" y="2512"/>
                  </a:lnTo>
                  <a:lnTo>
                    <a:pt x="733" y="2721"/>
                  </a:lnTo>
                  <a:lnTo>
                    <a:pt x="733" y="3014"/>
                  </a:lnTo>
                  <a:lnTo>
                    <a:pt x="879" y="2930"/>
                  </a:lnTo>
                  <a:lnTo>
                    <a:pt x="1047" y="2909"/>
                  </a:lnTo>
                  <a:lnTo>
                    <a:pt x="1047" y="2784"/>
                  </a:lnTo>
                  <a:lnTo>
                    <a:pt x="1235" y="2700"/>
                  </a:lnTo>
                  <a:lnTo>
                    <a:pt x="1444" y="2805"/>
                  </a:lnTo>
                  <a:lnTo>
                    <a:pt x="1549" y="2805"/>
                  </a:lnTo>
                  <a:lnTo>
                    <a:pt x="1633" y="2930"/>
                  </a:lnTo>
                  <a:lnTo>
                    <a:pt x="1884" y="2909"/>
                  </a:lnTo>
                  <a:lnTo>
                    <a:pt x="2009" y="2637"/>
                  </a:lnTo>
                  <a:lnTo>
                    <a:pt x="2198" y="2595"/>
                  </a:lnTo>
                  <a:lnTo>
                    <a:pt x="2449" y="2679"/>
                  </a:lnTo>
                  <a:lnTo>
                    <a:pt x="2532" y="2826"/>
                  </a:lnTo>
                  <a:lnTo>
                    <a:pt x="2804" y="3014"/>
                  </a:lnTo>
                  <a:lnTo>
                    <a:pt x="2930" y="3118"/>
                  </a:lnTo>
                  <a:lnTo>
                    <a:pt x="2972" y="3244"/>
                  </a:lnTo>
                  <a:lnTo>
                    <a:pt x="2972" y="3328"/>
                  </a:lnTo>
                  <a:lnTo>
                    <a:pt x="2930" y="3411"/>
                  </a:lnTo>
                  <a:lnTo>
                    <a:pt x="2972" y="3537"/>
                  </a:lnTo>
                  <a:lnTo>
                    <a:pt x="2972" y="3725"/>
                  </a:lnTo>
                  <a:lnTo>
                    <a:pt x="2951" y="3788"/>
                  </a:lnTo>
                  <a:lnTo>
                    <a:pt x="3056" y="3872"/>
                  </a:lnTo>
                  <a:lnTo>
                    <a:pt x="3160" y="3997"/>
                  </a:lnTo>
                  <a:lnTo>
                    <a:pt x="3286" y="3997"/>
                  </a:lnTo>
                  <a:lnTo>
                    <a:pt x="3369" y="4060"/>
                  </a:lnTo>
                  <a:lnTo>
                    <a:pt x="3348" y="4102"/>
                  </a:lnTo>
                  <a:lnTo>
                    <a:pt x="3495" y="4206"/>
                  </a:lnTo>
                  <a:lnTo>
                    <a:pt x="3495" y="4290"/>
                  </a:lnTo>
                  <a:lnTo>
                    <a:pt x="3474" y="4416"/>
                  </a:lnTo>
                  <a:lnTo>
                    <a:pt x="3474" y="4499"/>
                  </a:lnTo>
                  <a:lnTo>
                    <a:pt x="3453" y="4604"/>
                  </a:lnTo>
                  <a:lnTo>
                    <a:pt x="3474" y="4688"/>
                  </a:lnTo>
                  <a:lnTo>
                    <a:pt x="3474" y="4897"/>
                  </a:lnTo>
                  <a:lnTo>
                    <a:pt x="3390" y="4981"/>
                  </a:lnTo>
                  <a:lnTo>
                    <a:pt x="3348" y="5002"/>
                  </a:lnTo>
                  <a:lnTo>
                    <a:pt x="3474" y="5106"/>
                  </a:lnTo>
                  <a:lnTo>
                    <a:pt x="3537" y="5190"/>
                  </a:lnTo>
                  <a:lnTo>
                    <a:pt x="3683" y="5190"/>
                  </a:lnTo>
                  <a:lnTo>
                    <a:pt x="3788" y="5357"/>
                  </a:lnTo>
                  <a:lnTo>
                    <a:pt x="3976" y="5420"/>
                  </a:lnTo>
                  <a:lnTo>
                    <a:pt x="3976" y="5336"/>
                  </a:lnTo>
                  <a:lnTo>
                    <a:pt x="3955" y="5232"/>
                  </a:lnTo>
                  <a:lnTo>
                    <a:pt x="3976" y="5127"/>
                  </a:lnTo>
                  <a:lnTo>
                    <a:pt x="3851" y="5002"/>
                  </a:lnTo>
                  <a:lnTo>
                    <a:pt x="3955" y="4918"/>
                  </a:lnTo>
                  <a:lnTo>
                    <a:pt x="4123" y="4876"/>
                  </a:lnTo>
                  <a:lnTo>
                    <a:pt x="4185" y="4981"/>
                  </a:lnTo>
                  <a:lnTo>
                    <a:pt x="4290" y="5002"/>
                  </a:lnTo>
                  <a:lnTo>
                    <a:pt x="4395" y="5043"/>
                  </a:lnTo>
                  <a:lnTo>
                    <a:pt x="4499" y="5043"/>
                  </a:lnTo>
                  <a:lnTo>
                    <a:pt x="4604" y="5002"/>
                  </a:lnTo>
                  <a:lnTo>
                    <a:pt x="4583" y="4813"/>
                  </a:lnTo>
                  <a:lnTo>
                    <a:pt x="4541" y="4730"/>
                  </a:lnTo>
                  <a:lnTo>
                    <a:pt x="4520" y="4604"/>
                  </a:lnTo>
                  <a:lnTo>
                    <a:pt x="4688" y="4478"/>
                  </a:lnTo>
                  <a:lnTo>
                    <a:pt x="4688" y="4311"/>
                  </a:lnTo>
                  <a:lnTo>
                    <a:pt x="4604" y="4311"/>
                  </a:lnTo>
                  <a:lnTo>
                    <a:pt x="4541" y="4248"/>
                  </a:lnTo>
                  <a:lnTo>
                    <a:pt x="4583" y="4081"/>
                  </a:lnTo>
                  <a:lnTo>
                    <a:pt x="4646" y="3997"/>
                  </a:lnTo>
                  <a:lnTo>
                    <a:pt x="4604" y="3934"/>
                  </a:lnTo>
                  <a:lnTo>
                    <a:pt x="4499" y="3976"/>
                  </a:lnTo>
                  <a:lnTo>
                    <a:pt x="4436" y="3955"/>
                  </a:lnTo>
                  <a:lnTo>
                    <a:pt x="4374" y="3851"/>
                  </a:lnTo>
                  <a:lnTo>
                    <a:pt x="4227" y="3851"/>
                  </a:lnTo>
                  <a:lnTo>
                    <a:pt x="4185" y="3788"/>
                  </a:lnTo>
                  <a:lnTo>
                    <a:pt x="4206" y="3683"/>
                  </a:lnTo>
                  <a:lnTo>
                    <a:pt x="4123" y="3662"/>
                  </a:lnTo>
                  <a:lnTo>
                    <a:pt x="4081" y="3662"/>
                  </a:lnTo>
                  <a:lnTo>
                    <a:pt x="3997" y="3579"/>
                  </a:lnTo>
                  <a:lnTo>
                    <a:pt x="3997" y="3516"/>
                  </a:lnTo>
                  <a:lnTo>
                    <a:pt x="3913" y="3411"/>
                  </a:lnTo>
                  <a:lnTo>
                    <a:pt x="3788" y="3411"/>
                  </a:lnTo>
                  <a:lnTo>
                    <a:pt x="3704" y="3349"/>
                  </a:lnTo>
                  <a:lnTo>
                    <a:pt x="3662" y="3223"/>
                  </a:lnTo>
                  <a:lnTo>
                    <a:pt x="3474" y="3014"/>
                  </a:lnTo>
                  <a:lnTo>
                    <a:pt x="3495" y="2930"/>
                  </a:lnTo>
                  <a:lnTo>
                    <a:pt x="3369" y="2784"/>
                  </a:lnTo>
                  <a:lnTo>
                    <a:pt x="3202" y="2700"/>
                  </a:lnTo>
                  <a:lnTo>
                    <a:pt x="3056" y="2491"/>
                  </a:lnTo>
                  <a:lnTo>
                    <a:pt x="2951" y="2491"/>
                  </a:lnTo>
                  <a:lnTo>
                    <a:pt x="2763" y="2386"/>
                  </a:lnTo>
                  <a:lnTo>
                    <a:pt x="2595" y="2386"/>
                  </a:lnTo>
                  <a:lnTo>
                    <a:pt x="2511" y="2219"/>
                  </a:lnTo>
                  <a:lnTo>
                    <a:pt x="2428" y="2219"/>
                  </a:lnTo>
                  <a:lnTo>
                    <a:pt x="2407" y="2156"/>
                  </a:lnTo>
                  <a:lnTo>
                    <a:pt x="2491" y="2072"/>
                  </a:lnTo>
                  <a:lnTo>
                    <a:pt x="2344" y="1905"/>
                  </a:lnTo>
                  <a:lnTo>
                    <a:pt x="2344" y="1842"/>
                  </a:lnTo>
                  <a:lnTo>
                    <a:pt x="2428" y="1842"/>
                  </a:lnTo>
                  <a:lnTo>
                    <a:pt x="2595" y="1758"/>
                  </a:lnTo>
                  <a:lnTo>
                    <a:pt x="2721" y="1758"/>
                  </a:lnTo>
                  <a:lnTo>
                    <a:pt x="2763" y="1675"/>
                  </a:lnTo>
                  <a:lnTo>
                    <a:pt x="2846" y="1465"/>
                  </a:lnTo>
                  <a:lnTo>
                    <a:pt x="2930" y="1445"/>
                  </a:lnTo>
                  <a:lnTo>
                    <a:pt x="2930" y="1361"/>
                  </a:lnTo>
                  <a:lnTo>
                    <a:pt x="2742" y="1319"/>
                  </a:lnTo>
                  <a:lnTo>
                    <a:pt x="2763" y="1214"/>
                  </a:lnTo>
                  <a:lnTo>
                    <a:pt x="2742" y="1110"/>
                  </a:lnTo>
                  <a:lnTo>
                    <a:pt x="2595" y="1068"/>
                  </a:lnTo>
                  <a:lnTo>
                    <a:pt x="2511" y="963"/>
                  </a:lnTo>
                  <a:lnTo>
                    <a:pt x="2344" y="963"/>
                  </a:lnTo>
                  <a:lnTo>
                    <a:pt x="2219" y="1047"/>
                  </a:lnTo>
                  <a:lnTo>
                    <a:pt x="2072" y="1005"/>
                  </a:lnTo>
                  <a:lnTo>
                    <a:pt x="1821" y="1005"/>
                  </a:lnTo>
                  <a:lnTo>
                    <a:pt x="1716" y="796"/>
                  </a:lnTo>
                  <a:lnTo>
                    <a:pt x="1507" y="608"/>
                  </a:lnTo>
                  <a:lnTo>
                    <a:pt x="1570" y="524"/>
                  </a:lnTo>
                  <a:lnTo>
                    <a:pt x="1549" y="398"/>
                  </a:lnTo>
                  <a:lnTo>
                    <a:pt x="1444" y="315"/>
                  </a:lnTo>
                  <a:lnTo>
                    <a:pt x="1340" y="168"/>
                  </a:lnTo>
                  <a:lnTo>
                    <a:pt x="1151" y="85"/>
                  </a:lnTo>
                  <a:lnTo>
                    <a:pt x="108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4" name="Google Shape;834;p34"/>
            <p:cNvSpPr/>
            <p:nvPr/>
          </p:nvSpPr>
          <p:spPr>
            <a:xfrm>
              <a:off x="4413309" y="3004475"/>
              <a:ext cx="58061" cy="103285"/>
            </a:xfrm>
            <a:custGeom>
              <a:avLst/>
              <a:gdLst/>
              <a:ahLst/>
              <a:cxnLst/>
              <a:rect l="l" t="t" r="r" b="b"/>
              <a:pathLst>
                <a:path w="4876" h="9082" extrusionOk="0">
                  <a:moveTo>
                    <a:pt x="1361" y="0"/>
                  </a:moveTo>
                  <a:lnTo>
                    <a:pt x="1193" y="21"/>
                  </a:lnTo>
                  <a:lnTo>
                    <a:pt x="1068" y="63"/>
                  </a:lnTo>
                  <a:lnTo>
                    <a:pt x="1068" y="126"/>
                  </a:lnTo>
                  <a:lnTo>
                    <a:pt x="1110" y="209"/>
                  </a:lnTo>
                  <a:lnTo>
                    <a:pt x="1089" y="293"/>
                  </a:lnTo>
                  <a:lnTo>
                    <a:pt x="921" y="272"/>
                  </a:lnTo>
                  <a:lnTo>
                    <a:pt x="859" y="314"/>
                  </a:lnTo>
                  <a:lnTo>
                    <a:pt x="859" y="481"/>
                  </a:lnTo>
                  <a:lnTo>
                    <a:pt x="838" y="523"/>
                  </a:lnTo>
                  <a:lnTo>
                    <a:pt x="691" y="523"/>
                  </a:lnTo>
                  <a:lnTo>
                    <a:pt x="566" y="628"/>
                  </a:lnTo>
                  <a:lnTo>
                    <a:pt x="335" y="544"/>
                  </a:lnTo>
                  <a:lnTo>
                    <a:pt x="252" y="691"/>
                  </a:lnTo>
                  <a:lnTo>
                    <a:pt x="273" y="858"/>
                  </a:lnTo>
                  <a:lnTo>
                    <a:pt x="210" y="942"/>
                  </a:lnTo>
                  <a:lnTo>
                    <a:pt x="210" y="1130"/>
                  </a:lnTo>
                  <a:lnTo>
                    <a:pt x="231" y="1214"/>
                  </a:lnTo>
                  <a:lnTo>
                    <a:pt x="126" y="1277"/>
                  </a:lnTo>
                  <a:lnTo>
                    <a:pt x="1" y="1360"/>
                  </a:lnTo>
                  <a:lnTo>
                    <a:pt x="1" y="1444"/>
                  </a:lnTo>
                  <a:lnTo>
                    <a:pt x="63" y="1465"/>
                  </a:lnTo>
                  <a:lnTo>
                    <a:pt x="168" y="1653"/>
                  </a:lnTo>
                  <a:lnTo>
                    <a:pt x="252" y="1737"/>
                  </a:lnTo>
                  <a:lnTo>
                    <a:pt x="315" y="1800"/>
                  </a:lnTo>
                  <a:lnTo>
                    <a:pt x="440" y="1904"/>
                  </a:lnTo>
                  <a:lnTo>
                    <a:pt x="587" y="2197"/>
                  </a:lnTo>
                  <a:lnTo>
                    <a:pt x="670" y="2260"/>
                  </a:lnTo>
                  <a:lnTo>
                    <a:pt x="754" y="2386"/>
                  </a:lnTo>
                  <a:lnTo>
                    <a:pt x="754" y="2511"/>
                  </a:lnTo>
                  <a:lnTo>
                    <a:pt x="879" y="2574"/>
                  </a:lnTo>
                  <a:lnTo>
                    <a:pt x="879" y="2699"/>
                  </a:lnTo>
                  <a:lnTo>
                    <a:pt x="775" y="2741"/>
                  </a:lnTo>
                  <a:lnTo>
                    <a:pt x="754" y="2825"/>
                  </a:lnTo>
                  <a:lnTo>
                    <a:pt x="796" y="3118"/>
                  </a:lnTo>
                  <a:lnTo>
                    <a:pt x="775" y="3222"/>
                  </a:lnTo>
                  <a:lnTo>
                    <a:pt x="670" y="3264"/>
                  </a:lnTo>
                  <a:lnTo>
                    <a:pt x="754" y="3474"/>
                  </a:lnTo>
                  <a:lnTo>
                    <a:pt x="754" y="3578"/>
                  </a:lnTo>
                  <a:lnTo>
                    <a:pt x="900" y="3766"/>
                  </a:lnTo>
                  <a:lnTo>
                    <a:pt x="1089" y="3892"/>
                  </a:lnTo>
                  <a:lnTo>
                    <a:pt x="1256" y="4059"/>
                  </a:lnTo>
                  <a:lnTo>
                    <a:pt x="1298" y="4311"/>
                  </a:lnTo>
                  <a:lnTo>
                    <a:pt x="1277" y="4394"/>
                  </a:lnTo>
                  <a:lnTo>
                    <a:pt x="1298" y="4520"/>
                  </a:lnTo>
                  <a:lnTo>
                    <a:pt x="1277" y="4624"/>
                  </a:lnTo>
                  <a:lnTo>
                    <a:pt x="1361" y="4708"/>
                  </a:lnTo>
                  <a:lnTo>
                    <a:pt x="1382" y="4896"/>
                  </a:lnTo>
                  <a:lnTo>
                    <a:pt x="1424" y="5001"/>
                  </a:lnTo>
                  <a:lnTo>
                    <a:pt x="1403" y="5147"/>
                  </a:lnTo>
                  <a:lnTo>
                    <a:pt x="1486" y="5294"/>
                  </a:lnTo>
                  <a:lnTo>
                    <a:pt x="1486" y="5461"/>
                  </a:lnTo>
                  <a:lnTo>
                    <a:pt x="1403" y="5524"/>
                  </a:lnTo>
                  <a:lnTo>
                    <a:pt x="1277" y="5880"/>
                  </a:lnTo>
                  <a:lnTo>
                    <a:pt x="1152" y="5963"/>
                  </a:lnTo>
                  <a:lnTo>
                    <a:pt x="1152" y="6131"/>
                  </a:lnTo>
                  <a:lnTo>
                    <a:pt x="1089" y="6194"/>
                  </a:lnTo>
                  <a:lnTo>
                    <a:pt x="1068" y="6298"/>
                  </a:lnTo>
                  <a:lnTo>
                    <a:pt x="1047" y="6487"/>
                  </a:lnTo>
                  <a:lnTo>
                    <a:pt x="1089" y="6487"/>
                  </a:lnTo>
                  <a:lnTo>
                    <a:pt x="1005" y="6591"/>
                  </a:lnTo>
                  <a:lnTo>
                    <a:pt x="1047" y="6654"/>
                  </a:lnTo>
                  <a:lnTo>
                    <a:pt x="963" y="6779"/>
                  </a:lnTo>
                  <a:lnTo>
                    <a:pt x="1047" y="6779"/>
                  </a:lnTo>
                  <a:lnTo>
                    <a:pt x="984" y="6863"/>
                  </a:lnTo>
                  <a:lnTo>
                    <a:pt x="921" y="6863"/>
                  </a:lnTo>
                  <a:lnTo>
                    <a:pt x="921" y="7072"/>
                  </a:lnTo>
                  <a:lnTo>
                    <a:pt x="859" y="7114"/>
                  </a:lnTo>
                  <a:lnTo>
                    <a:pt x="879" y="7282"/>
                  </a:lnTo>
                  <a:lnTo>
                    <a:pt x="859" y="7324"/>
                  </a:lnTo>
                  <a:lnTo>
                    <a:pt x="879" y="7533"/>
                  </a:lnTo>
                  <a:lnTo>
                    <a:pt x="921" y="7616"/>
                  </a:lnTo>
                  <a:lnTo>
                    <a:pt x="1005" y="7616"/>
                  </a:lnTo>
                  <a:lnTo>
                    <a:pt x="984" y="7512"/>
                  </a:lnTo>
                  <a:lnTo>
                    <a:pt x="1110" y="7449"/>
                  </a:lnTo>
                  <a:lnTo>
                    <a:pt x="1089" y="7512"/>
                  </a:lnTo>
                  <a:lnTo>
                    <a:pt x="1172" y="7554"/>
                  </a:lnTo>
                  <a:lnTo>
                    <a:pt x="1172" y="7637"/>
                  </a:lnTo>
                  <a:lnTo>
                    <a:pt x="1277" y="7658"/>
                  </a:lnTo>
                  <a:lnTo>
                    <a:pt x="1319" y="7868"/>
                  </a:lnTo>
                  <a:lnTo>
                    <a:pt x="1424" y="7868"/>
                  </a:lnTo>
                  <a:lnTo>
                    <a:pt x="1570" y="8035"/>
                  </a:lnTo>
                  <a:lnTo>
                    <a:pt x="1570" y="8119"/>
                  </a:lnTo>
                  <a:lnTo>
                    <a:pt x="1675" y="8140"/>
                  </a:lnTo>
                  <a:lnTo>
                    <a:pt x="1696" y="8244"/>
                  </a:lnTo>
                  <a:lnTo>
                    <a:pt x="1779" y="8244"/>
                  </a:lnTo>
                  <a:lnTo>
                    <a:pt x="1779" y="8286"/>
                  </a:lnTo>
                  <a:lnTo>
                    <a:pt x="1716" y="8370"/>
                  </a:lnTo>
                  <a:lnTo>
                    <a:pt x="1716" y="8391"/>
                  </a:lnTo>
                  <a:lnTo>
                    <a:pt x="1968" y="8579"/>
                  </a:lnTo>
                  <a:lnTo>
                    <a:pt x="2009" y="8663"/>
                  </a:lnTo>
                  <a:lnTo>
                    <a:pt x="2051" y="8537"/>
                  </a:lnTo>
                  <a:lnTo>
                    <a:pt x="2135" y="8453"/>
                  </a:lnTo>
                  <a:lnTo>
                    <a:pt x="2240" y="8537"/>
                  </a:lnTo>
                  <a:lnTo>
                    <a:pt x="2407" y="8579"/>
                  </a:lnTo>
                  <a:lnTo>
                    <a:pt x="2428" y="8642"/>
                  </a:lnTo>
                  <a:lnTo>
                    <a:pt x="2553" y="8642"/>
                  </a:lnTo>
                  <a:lnTo>
                    <a:pt x="2616" y="8704"/>
                  </a:lnTo>
                  <a:lnTo>
                    <a:pt x="2616" y="8893"/>
                  </a:lnTo>
                  <a:lnTo>
                    <a:pt x="2532" y="8976"/>
                  </a:lnTo>
                  <a:lnTo>
                    <a:pt x="2532" y="9060"/>
                  </a:lnTo>
                  <a:lnTo>
                    <a:pt x="2679" y="9081"/>
                  </a:lnTo>
                  <a:lnTo>
                    <a:pt x="2825" y="8976"/>
                  </a:lnTo>
                  <a:lnTo>
                    <a:pt x="2930" y="8976"/>
                  </a:lnTo>
                  <a:lnTo>
                    <a:pt x="2993" y="9018"/>
                  </a:lnTo>
                  <a:lnTo>
                    <a:pt x="3076" y="8976"/>
                  </a:lnTo>
                  <a:lnTo>
                    <a:pt x="3076" y="8872"/>
                  </a:lnTo>
                  <a:lnTo>
                    <a:pt x="3097" y="8851"/>
                  </a:lnTo>
                  <a:lnTo>
                    <a:pt x="3076" y="8788"/>
                  </a:lnTo>
                  <a:lnTo>
                    <a:pt x="2972" y="8704"/>
                  </a:lnTo>
                  <a:lnTo>
                    <a:pt x="2930" y="8642"/>
                  </a:lnTo>
                  <a:lnTo>
                    <a:pt x="2846" y="8474"/>
                  </a:lnTo>
                  <a:lnTo>
                    <a:pt x="2742" y="8432"/>
                  </a:lnTo>
                  <a:lnTo>
                    <a:pt x="2637" y="8432"/>
                  </a:lnTo>
                  <a:lnTo>
                    <a:pt x="2574" y="8453"/>
                  </a:lnTo>
                  <a:lnTo>
                    <a:pt x="2491" y="8391"/>
                  </a:lnTo>
                  <a:lnTo>
                    <a:pt x="2344" y="8244"/>
                  </a:lnTo>
                  <a:lnTo>
                    <a:pt x="2260" y="8160"/>
                  </a:lnTo>
                  <a:lnTo>
                    <a:pt x="2260" y="8056"/>
                  </a:lnTo>
                  <a:lnTo>
                    <a:pt x="2219" y="8035"/>
                  </a:lnTo>
                  <a:lnTo>
                    <a:pt x="2198" y="8140"/>
                  </a:lnTo>
                  <a:lnTo>
                    <a:pt x="2030" y="8056"/>
                  </a:lnTo>
                  <a:lnTo>
                    <a:pt x="2051" y="7972"/>
                  </a:lnTo>
                  <a:lnTo>
                    <a:pt x="2135" y="7930"/>
                  </a:lnTo>
                  <a:lnTo>
                    <a:pt x="2156" y="7951"/>
                  </a:lnTo>
                  <a:lnTo>
                    <a:pt x="2198" y="7930"/>
                  </a:lnTo>
                  <a:lnTo>
                    <a:pt x="2219" y="7868"/>
                  </a:lnTo>
                  <a:lnTo>
                    <a:pt x="2156" y="7637"/>
                  </a:lnTo>
                  <a:lnTo>
                    <a:pt x="2114" y="7616"/>
                  </a:lnTo>
                  <a:lnTo>
                    <a:pt x="2114" y="7533"/>
                  </a:lnTo>
                  <a:lnTo>
                    <a:pt x="2030" y="7428"/>
                  </a:lnTo>
                  <a:lnTo>
                    <a:pt x="2009" y="7344"/>
                  </a:lnTo>
                  <a:lnTo>
                    <a:pt x="2009" y="7386"/>
                  </a:lnTo>
                  <a:lnTo>
                    <a:pt x="2009" y="7449"/>
                  </a:lnTo>
                  <a:lnTo>
                    <a:pt x="1947" y="7449"/>
                  </a:lnTo>
                  <a:lnTo>
                    <a:pt x="1884" y="7324"/>
                  </a:lnTo>
                  <a:lnTo>
                    <a:pt x="1821" y="7303"/>
                  </a:lnTo>
                  <a:lnTo>
                    <a:pt x="1842" y="7177"/>
                  </a:lnTo>
                  <a:lnTo>
                    <a:pt x="1800" y="7114"/>
                  </a:lnTo>
                  <a:lnTo>
                    <a:pt x="1779" y="6989"/>
                  </a:lnTo>
                  <a:lnTo>
                    <a:pt x="1716" y="6926"/>
                  </a:lnTo>
                  <a:lnTo>
                    <a:pt x="1633" y="6926"/>
                  </a:lnTo>
                  <a:lnTo>
                    <a:pt x="1612" y="6905"/>
                  </a:lnTo>
                  <a:lnTo>
                    <a:pt x="1570" y="6968"/>
                  </a:lnTo>
                  <a:lnTo>
                    <a:pt x="1528" y="7010"/>
                  </a:lnTo>
                  <a:lnTo>
                    <a:pt x="1486" y="7031"/>
                  </a:lnTo>
                  <a:lnTo>
                    <a:pt x="1424" y="6989"/>
                  </a:lnTo>
                  <a:lnTo>
                    <a:pt x="1486" y="6884"/>
                  </a:lnTo>
                  <a:lnTo>
                    <a:pt x="1382" y="6717"/>
                  </a:lnTo>
                  <a:lnTo>
                    <a:pt x="1382" y="6654"/>
                  </a:lnTo>
                  <a:lnTo>
                    <a:pt x="1361" y="6507"/>
                  </a:lnTo>
                  <a:lnTo>
                    <a:pt x="1361" y="6466"/>
                  </a:lnTo>
                  <a:lnTo>
                    <a:pt x="1403" y="6382"/>
                  </a:lnTo>
                  <a:lnTo>
                    <a:pt x="1382" y="6361"/>
                  </a:lnTo>
                  <a:lnTo>
                    <a:pt x="1319" y="6361"/>
                  </a:lnTo>
                  <a:lnTo>
                    <a:pt x="1382" y="6256"/>
                  </a:lnTo>
                  <a:lnTo>
                    <a:pt x="1382" y="6131"/>
                  </a:lnTo>
                  <a:lnTo>
                    <a:pt x="1507" y="5943"/>
                  </a:lnTo>
                  <a:lnTo>
                    <a:pt x="1528" y="5503"/>
                  </a:lnTo>
                  <a:lnTo>
                    <a:pt x="1612" y="5399"/>
                  </a:lnTo>
                  <a:lnTo>
                    <a:pt x="1633" y="5252"/>
                  </a:lnTo>
                  <a:lnTo>
                    <a:pt x="1716" y="5147"/>
                  </a:lnTo>
                  <a:lnTo>
                    <a:pt x="1737" y="5001"/>
                  </a:lnTo>
                  <a:lnTo>
                    <a:pt x="1696" y="4980"/>
                  </a:lnTo>
                  <a:lnTo>
                    <a:pt x="1716" y="4896"/>
                  </a:lnTo>
                  <a:lnTo>
                    <a:pt x="1716" y="4771"/>
                  </a:lnTo>
                  <a:lnTo>
                    <a:pt x="1779" y="4666"/>
                  </a:lnTo>
                  <a:lnTo>
                    <a:pt x="1779" y="4562"/>
                  </a:lnTo>
                  <a:lnTo>
                    <a:pt x="1675" y="4520"/>
                  </a:lnTo>
                  <a:lnTo>
                    <a:pt x="1696" y="4457"/>
                  </a:lnTo>
                  <a:lnTo>
                    <a:pt x="1696" y="4415"/>
                  </a:lnTo>
                  <a:lnTo>
                    <a:pt x="1800" y="4415"/>
                  </a:lnTo>
                  <a:lnTo>
                    <a:pt x="1821" y="4394"/>
                  </a:lnTo>
                  <a:lnTo>
                    <a:pt x="1884" y="4415"/>
                  </a:lnTo>
                  <a:lnTo>
                    <a:pt x="1926" y="4415"/>
                  </a:lnTo>
                  <a:lnTo>
                    <a:pt x="2030" y="4373"/>
                  </a:lnTo>
                  <a:lnTo>
                    <a:pt x="2051" y="4394"/>
                  </a:lnTo>
                  <a:lnTo>
                    <a:pt x="2135" y="4394"/>
                  </a:lnTo>
                  <a:lnTo>
                    <a:pt x="2219" y="4415"/>
                  </a:lnTo>
                  <a:lnTo>
                    <a:pt x="2260" y="4499"/>
                  </a:lnTo>
                  <a:lnTo>
                    <a:pt x="2219" y="4520"/>
                  </a:lnTo>
                  <a:lnTo>
                    <a:pt x="2219" y="4687"/>
                  </a:lnTo>
                  <a:lnTo>
                    <a:pt x="2260" y="4792"/>
                  </a:lnTo>
                  <a:lnTo>
                    <a:pt x="2240" y="4813"/>
                  </a:lnTo>
                  <a:lnTo>
                    <a:pt x="2198" y="4917"/>
                  </a:lnTo>
                  <a:lnTo>
                    <a:pt x="2302" y="4896"/>
                  </a:lnTo>
                  <a:lnTo>
                    <a:pt x="2365" y="4917"/>
                  </a:lnTo>
                  <a:lnTo>
                    <a:pt x="2470" y="4896"/>
                  </a:lnTo>
                  <a:lnTo>
                    <a:pt x="2616" y="4917"/>
                  </a:lnTo>
                  <a:lnTo>
                    <a:pt x="2658" y="4980"/>
                  </a:lnTo>
                  <a:lnTo>
                    <a:pt x="2658" y="4938"/>
                  </a:lnTo>
                  <a:lnTo>
                    <a:pt x="2658" y="4917"/>
                  </a:lnTo>
                  <a:lnTo>
                    <a:pt x="2721" y="4875"/>
                  </a:lnTo>
                  <a:lnTo>
                    <a:pt x="2784" y="4896"/>
                  </a:lnTo>
                  <a:lnTo>
                    <a:pt x="2951" y="5043"/>
                  </a:lnTo>
                  <a:lnTo>
                    <a:pt x="3014" y="5085"/>
                  </a:lnTo>
                  <a:lnTo>
                    <a:pt x="3014" y="5127"/>
                  </a:lnTo>
                  <a:lnTo>
                    <a:pt x="3076" y="5127"/>
                  </a:lnTo>
                  <a:lnTo>
                    <a:pt x="3181" y="5231"/>
                  </a:lnTo>
                  <a:lnTo>
                    <a:pt x="3202" y="5252"/>
                  </a:lnTo>
                  <a:lnTo>
                    <a:pt x="3244" y="5252"/>
                  </a:lnTo>
                  <a:lnTo>
                    <a:pt x="3244" y="5189"/>
                  </a:lnTo>
                  <a:lnTo>
                    <a:pt x="3286" y="5189"/>
                  </a:lnTo>
                  <a:lnTo>
                    <a:pt x="3286" y="5106"/>
                  </a:lnTo>
                  <a:lnTo>
                    <a:pt x="3307" y="4875"/>
                  </a:lnTo>
                  <a:lnTo>
                    <a:pt x="3265" y="4771"/>
                  </a:lnTo>
                  <a:lnTo>
                    <a:pt x="3160" y="4708"/>
                  </a:lnTo>
                  <a:lnTo>
                    <a:pt x="3097" y="4478"/>
                  </a:lnTo>
                  <a:lnTo>
                    <a:pt x="3139" y="4269"/>
                  </a:lnTo>
                  <a:lnTo>
                    <a:pt x="3202" y="4143"/>
                  </a:lnTo>
                  <a:lnTo>
                    <a:pt x="3265" y="3955"/>
                  </a:lnTo>
                  <a:lnTo>
                    <a:pt x="3369" y="3787"/>
                  </a:lnTo>
                  <a:lnTo>
                    <a:pt x="3495" y="3787"/>
                  </a:lnTo>
                  <a:lnTo>
                    <a:pt x="3767" y="3725"/>
                  </a:lnTo>
                  <a:lnTo>
                    <a:pt x="3913" y="3725"/>
                  </a:lnTo>
                  <a:lnTo>
                    <a:pt x="3976" y="3766"/>
                  </a:lnTo>
                  <a:lnTo>
                    <a:pt x="4123" y="3683"/>
                  </a:lnTo>
                  <a:lnTo>
                    <a:pt x="4248" y="3683"/>
                  </a:lnTo>
                  <a:lnTo>
                    <a:pt x="4395" y="3746"/>
                  </a:lnTo>
                  <a:lnTo>
                    <a:pt x="4541" y="3725"/>
                  </a:lnTo>
                  <a:lnTo>
                    <a:pt x="4646" y="3787"/>
                  </a:lnTo>
                  <a:lnTo>
                    <a:pt x="4771" y="3725"/>
                  </a:lnTo>
                  <a:lnTo>
                    <a:pt x="4855" y="3641"/>
                  </a:lnTo>
                  <a:lnTo>
                    <a:pt x="4855" y="3432"/>
                  </a:lnTo>
                  <a:lnTo>
                    <a:pt x="4834" y="3348"/>
                  </a:lnTo>
                  <a:lnTo>
                    <a:pt x="4855" y="3243"/>
                  </a:lnTo>
                  <a:lnTo>
                    <a:pt x="4855" y="3160"/>
                  </a:lnTo>
                  <a:lnTo>
                    <a:pt x="4876" y="3034"/>
                  </a:lnTo>
                  <a:lnTo>
                    <a:pt x="4876" y="2950"/>
                  </a:lnTo>
                  <a:lnTo>
                    <a:pt x="4729" y="2846"/>
                  </a:lnTo>
                  <a:lnTo>
                    <a:pt x="4750" y="2804"/>
                  </a:lnTo>
                  <a:lnTo>
                    <a:pt x="4667" y="2741"/>
                  </a:lnTo>
                  <a:lnTo>
                    <a:pt x="4541" y="2741"/>
                  </a:lnTo>
                  <a:lnTo>
                    <a:pt x="4437" y="2616"/>
                  </a:lnTo>
                  <a:lnTo>
                    <a:pt x="4332" y="2532"/>
                  </a:lnTo>
                  <a:lnTo>
                    <a:pt x="4353" y="2469"/>
                  </a:lnTo>
                  <a:lnTo>
                    <a:pt x="4353" y="2281"/>
                  </a:lnTo>
                  <a:lnTo>
                    <a:pt x="4311" y="2155"/>
                  </a:lnTo>
                  <a:lnTo>
                    <a:pt x="4353" y="2072"/>
                  </a:lnTo>
                  <a:lnTo>
                    <a:pt x="4353" y="1988"/>
                  </a:lnTo>
                  <a:lnTo>
                    <a:pt x="4311" y="1862"/>
                  </a:lnTo>
                  <a:lnTo>
                    <a:pt x="4185" y="1758"/>
                  </a:lnTo>
                  <a:lnTo>
                    <a:pt x="3913" y="1570"/>
                  </a:lnTo>
                  <a:lnTo>
                    <a:pt x="3830" y="1423"/>
                  </a:lnTo>
                  <a:lnTo>
                    <a:pt x="3579" y="1339"/>
                  </a:lnTo>
                  <a:lnTo>
                    <a:pt x="3390" y="1381"/>
                  </a:lnTo>
                  <a:lnTo>
                    <a:pt x="3265" y="1653"/>
                  </a:lnTo>
                  <a:lnTo>
                    <a:pt x="3014" y="1674"/>
                  </a:lnTo>
                  <a:lnTo>
                    <a:pt x="2930" y="1549"/>
                  </a:lnTo>
                  <a:lnTo>
                    <a:pt x="2825" y="1549"/>
                  </a:lnTo>
                  <a:lnTo>
                    <a:pt x="2616" y="1444"/>
                  </a:lnTo>
                  <a:lnTo>
                    <a:pt x="2428" y="1528"/>
                  </a:lnTo>
                  <a:lnTo>
                    <a:pt x="2428" y="1653"/>
                  </a:lnTo>
                  <a:lnTo>
                    <a:pt x="2260" y="1674"/>
                  </a:lnTo>
                  <a:lnTo>
                    <a:pt x="2114" y="1758"/>
                  </a:lnTo>
                  <a:lnTo>
                    <a:pt x="2114" y="1465"/>
                  </a:lnTo>
                  <a:lnTo>
                    <a:pt x="2114" y="1256"/>
                  </a:lnTo>
                  <a:lnTo>
                    <a:pt x="2051" y="1130"/>
                  </a:lnTo>
                  <a:lnTo>
                    <a:pt x="2114" y="1025"/>
                  </a:lnTo>
                  <a:lnTo>
                    <a:pt x="2135" y="942"/>
                  </a:lnTo>
                  <a:lnTo>
                    <a:pt x="2051" y="837"/>
                  </a:lnTo>
                  <a:lnTo>
                    <a:pt x="2135" y="712"/>
                  </a:lnTo>
                  <a:lnTo>
                    <a:pt x="2114" y="607"/>
                  </a:lnTo>
                  <a:lnTo>
                    <a:pt x="1905" y="607"/>
                  </a:lnTo>
                  <a:lnTo>
                    <a:pt x="1821" y="691"/>
                  </a:lnTo>
                  <a:lnTo>
                    <a:pt x="1716" y="628"/>
                  </a:lnTo>
                  <a:lnTo>
                    <a:pt x="1633" y="502"/>
                  </a:lnTo>
                  <a:lnTo>
                    <a:pt x="1716" y="419"/>
                  </a:lnTo>
                  <a:lnTo>
                    <a:pt x="1696" y="230"/>
                  </a:lnTo>
                  <a:lnTo>
                    <a:pt x="1591" y="105"/>
                  </a:lnTo>
                  <a:lnTo>
                    <a:pt x="1424" y="126"/>
                  </a:lnTo>
                  <a:lnTo>
                    <a:pt x="138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5" name="Google Shape;835;p34"/>
            <p:cNvSpPr/>
            <p:nvPr/>
          </p:nvSpPr>
          <p:spPr>
            <a:xfrm>
              <a:off x="4375443" y="2948079"/>
              <a:ext cx="61050" cy="131125"/>
            </a:xfrm>
            <a:custGeom>
              <a:avLst/>
              <a:gdLst/>
              <a:ahLst/>
              <a:cxnLst/>
              <a:rect l="l" t="t" r="r" b="b"/>
              <a:pathLst>
                <a:path w="5127" h="11530" extrusionOk="0">
                  <a:moveTo>
                    <a:pt x="2407" y="0"/>
                  </a:moveTo>
                  <a:lnTo>
                    <a:pt x="2302" y="42"/>
                  </a:lnTo>
                  <a:lnTo>
                    <a:pt x="2344" y="63"/>
                  </a:lnTo>
                  <a:lnTo>
                    <a:pt x="2365" y="147"/>
                  </a:lnTo>
                  <a:lnTo>
                    <a:pt x="2260" y="251"/>
                  </a:lnTo>
                  <a:lnTo>
                    <a:pt x="2260" y="419"/>
                  </a:lnTo>
                  <a:lnTo>
                    <a:pt x="2281" y="523"/>
                  </a:lnTo>
                  <a:lnTo>
                    <a:pt x="2155" y="461"/>
                  </a:lnTo>
                  <a:lnTo>
                    <a:pt x="2072" y="377"/>
                  </a:lnTo>
                  <a:lnTo>
                    <a:pt x="1925" y="482"/>
                  </a:lnTo>
                  <a:lnTo>
                    <a:pt x="1716" y="544"/>
                  </a:lnTo>
                  <a:lnTo>
                    <a:pt x="1653" y="691"/>
                  </a:lnTo>
                  <a:lnTo>
                    <a:pt x="1528" y="858"/>
                  </a:lnTo>
                  <a:lnTo>
                    <a:pt x="1402" y="900"/>
                  </a:lnTo>
                  <a:lnTo>
                    <a:pt x="1214" y="1193"/>
                  </a:lnTo>
                  <a:lnTo>
                    <a:pt x="1193" y="1360"/>
                  </a:lnTo>
                  <a:lnTo>
                    <a:pt x="1235" y="1402"/>
                  </a:lnTo>
                  <a:lnTo>
                    <a:pt x="1151" y="1632"/>
                  </a:lnTo>
                  <a:lnTo>
                    <a:pt x="1005" y="1904"/>
                  </a:lnTo>
                  <a:lnTo>
                    <a:pt x="1005" y="2009"/>
                  </a:lnTo>
                  <a:lnTo>
                    <a:pt x="1130" y="2051"/>
                  </a:lnTo>
                  <a:lnTo>
                    <a:pt x="1005" y="2365"/>
                  </a:lnTo>
                  <a:lnTo>
                    <a:pt x="942" y="2616"/>
                  </a:lnTo>
                  <a:lnTo>
                    <a:pt x="879" y="2825"/>
                  </a:lnTo>
                  <a:lnTo>
                    <a:pt x="712" y="2825"/>
                  </a:lnTo>
                  <a:lnTo>
                    <a:pt x="607" y="2783"/>
                  </a:lnTo>
                  <a:lnTo>
                    <a:pt x="502" y="2783"/>
                  </a:lnTo>
                  <a:lnTo>
                    <a:pt x="565" y="3076"/>
                  </a:lnTo>
                  <a:lnTo>
                    <a:pt x="565" y="3202"/>
                  </a:lnTo>
                  <a:lnTo>
                    <a:pt x="565" y="3411"/>
                  </a:lnTo>
                  <a:lnTo>
                    <a:pt x="419" y="3411"/>
                  </a:lnTo>
                  <a:lnTo>
                    <a:pt x="440" y="3578"/>
                  </a:lnTo>
                  <a:lnTo>
                    <a:pt x="419" y="3704"/>
                  </a:lnTo>
                  <a:lnTo>
                    <a:pt x="440" y="3808"/>
                  </a:lnTo>
                  <a:lnTo>
                    <a:pt x="398" y="4018"/>
                  </a:lnTo>
                  <a:lnTo>
                    <a:pt x="314" y="4039"/>
                  </a:lnTo>
                  <a:lnTo>
                    <a:pt x="272" y="4018"/>
                  </a:lnTo>
                  <a:lnTo>
                    <a:pt x="251" y="4122"/>
                  </a:lnTo>
                  <a:lnTo>
                    <a:pt x="251" y="4206"/>
                  </a:lnTo>
                  <a:lnTo>
                    <a:pt x="251" y="4332"/>
                  </a:lnTo>
                  <a:lnTo>
                    <a:pt x="189" y="4457"/>
                  </a:lnTo>
                  <a:lnTo>
                    <a:pt x="147" y="4436"/>
                  </a:lnTo>
                  <a:lnTo>
                    <a:pt x="42" y="4562"/>
                  </a:lnTo>
                  <a:lnTo>
                    <a:pt x="0" y="4666"/>
                  </a:lnTo>
                  <a:lnTo>
                    <a:pt x="0" y="4729"/>
                  </a:lnTo>
                  <a:lnTo>
                    <a:pt x="84" y="4834"/>
                  </a:lnTo>
                  <a:lnTo>
                    <a:pt x="105" y="4980"/>
                  </a:lnTo>
                  <a:lnTo>
                    <a:pt x="377" y="5231"/>
                  </a:lnTo>
                  <a:lnTo>
                    <a:pt x="377" y="5231"/>
                  </a:lnTo>
                  <a:lnTo>
                    <a:pt x="314" y="5127"/>
                  </a:lnTo>
                  <a:lnTo>
                    <a:pt x="314" y="5064"/>
                  </a:lnTo>
                  <a:lnTo>
                    <a:pt x="398" y="5148"/>
                  </a:lnTo>
                  <a:lnTo>
                    <a:pt x="523" y="5148"/>
                  </a:lnTo>
                  <a:lnTo>
                    <a:pt x="419" y="5231"/>
                  </a:lnTo>
                  <a:lnTo>
                    <a:pt x="440" y="5273"/>
                  </a:lnTo>
                  <a:lnTo>
                    <a:pt x="565" y="5273"/>
                  </a:lnTo>
                  <a:lnTo>
                    <a:pt x="565" y="5189"/>
                  </a:lnTo>
                  <a:lnTo>
                    <a:pt x="586" y="5273"/>
                  </a:lnTo>
                  <a:lnTo>
                    <a:pt x="691" y="5273"/>
                  </a:lnTo>
                  <a:lnTo>
                    <a:pt x="733" y="5357"/>
                  </a:lnTo>
                  <a:lnTo>
                    <a:pt x="921" y="5399"/>
                  </a:lnTo>
                  <a:lnTo>
                    <a:pt x="1026" y="5566"/>
                  </a:lnTo>
                  <a:lnTo>
                    <a:pt x="1026" y="5671"/>
                  </a:lnTo>
                  <a:lnTo>
                    <a:pt x="942" y="5692"/>
                  </a:lnTo>
                  <a:lnTo>
                    <a:pt x="900" y="5608"/>
                  </a:lnTo>
                  <a:lnTo>
                    <a:pt x="816" y="5671"/>
                  </a:lnTo>
                  <a:lnTo>
                    <a:pt x="900" y="5754"/>
                  </a:lnTo>
                  <a:lnTo>
                    <a:pt x="921" y="5775"/>
                  </a:lnTo>
                  <a:lnTo>
                    <a:pt x="900" y="5796"/>
                  </a:lnTo>
                  <a:lnTo>
                    <a:pt x="795" y="5775"/>
                  </a:lnTo>
                  <a:lnTo>
                    <a:pt x="774" y="5671"/>
                  </a:lnTo>
                  <a:lnTo>
                    <a:pt x="670" y="5671"/>
                  </a:lnTo>
                  <a:lnTo>
                    <a:pt x="670" y="5712"/>
                  </a:lnTo>
                  <a:lnTo>
                    <a:pt x="795" y="5817"/>
                  </a:lnTo>
                  <a:lnTo>
                    <a:pt x="795" y="5880"/>
                  </a:lnTo>
                  <a:lnTo>
                    <a:pt x="900" y="6005"/>
                  </a:lnTo>
                  <a:lnTo>
                    <a:pt x="1109" y="6068"/>
                  </a:lnTo>
                  <a:lnTo>
                    <a:pt x="1088" y="5880"/>
                  </a:lnTo>
                  <a:lnTo>
                    <a:pt x="1026" y="5775"/>
                  </a:lnTo>
                  <a:lnTo>
                    <a:pt x="1151" y="5859"/>
                  </a:lnTo>
                  <a:lnTo>
                    <a:pt x="1151" y="5964"/>
                  </a:lnTo>
                  <a:lnTo>
                    <a:pt x="1214" y="6068"/>
                  </a:lnTo>
                  <a:lnTo>
                    <a:pt x="1298" y="6131"/>
                  </a:lnTo>
                  <a:lnTo>
                    <a:pt x="1319" y="6298"/>
                  </a:lnTo>
                  <a:lnTo>
                    <a:pt x="1402" y="6382"/>
                  </a:lnTo>
                  <a:lnTo>
                    <a:pt x="1360" y="6403"/>
                  </a:lnTo>
                  <a:lnTo>
                    <a:pt x="1402" y="6445"/>
                  </a:lnTo>
                  <a:lnTo>
                    <a:pt x="1465" y="6487"/>
                  </a:lnTo>
                  <a:lnTo>
                    <a:pt x="1465" y="6717"/>
                  </a:lnTo>
                  <a:lnTo>
                    <a:pt x="1570" y="6947"/>
                  </a:lnTo>
                  <a:lnTo>
                    <a:pt x="1632" y="7010"/>
                  </a:lnTo>
                  <a:lnTo>
                    <a:pt x="1486" y="7114"/>
                  </a:lnTo>
                  <a:lnTo>
                    <a:pt x="1402" y="7658"/>
                  </a:lnTo>
                  <a:lnTo>
                    <a:pt x="1444" y="7784"/>
                  </a:lnTo>
                  <a:lnTo>
                    <a:pt x="1423" y="7847"/>
                  </a:lnTo>
                  <a:lnTo>
                    <a:pt x="1444" y="7889"/>
                  </a:lnTo>
                  <a:lnTo>
                    <a:pt x="1528" y="7742"/>
                  </a:lnTo>
                  <a:lnTo>
                    <a:pt x="1653" y="7637"/>
                  </a:lnTo>
                  <a:lnTo>
                    <a:pt x="1716" y="7470"/>
                  </a:lnTo>
                  <a:lnTo>
                    <a:pt x="1716" y="7658"/>
                  </a:lnTo>
                  <a:lnTo>
                    <a:pt x="1549" y="7805"/>
                  </a:lnTo>
                  <a:lnTo>
                    <a:pt x="1549" y="7972"/>
                  </a:lnTo>
                  <a:lnTo>
                    <a:pt x="1632" y="7951"/>
                  </a:lnTo>
                  <a:lnTo>
                    <a:pt x="1632" y="7868"/>
                  </a:lnTo>
                  <a:lnTo>
                    <a:pt x="1779" y="7784"/>
                  </a:lnTo>
                  <a:lnTo>
                    <a:pt x="1863" y="7868"/>
                  </a:lnTo>
                  <a:lnTo>
                    <a:pt x="1925" y="7868"/>
                  </a:lnTo>
                  <a:lnTo>
                    <a:pt x="1925" y="7805"/>
                  </a:lnTo>
                  <a:lnTo>
                    <a:pt x="1946" y="7847"/>
                  </a:lnTo>
                  <a:lnTo>
                    <a:pt x="1988" y="7847"/>
                  </a:lnTo>
                  <a:lnTo>
                    <a:pt x="2009" y="7805"/>
                  </a:lnTo>
                  <a:lnTo>
                    <a:pt x="2135" y="7805"/>
                  </a:lnTo>
                  <a:lnTo>
                    <a:pt x="2365" y="7658"/>
                  </a:lnTo>
                  <a:lnTo>
                    <a:pt x="2386" y="7575"/>
                  </a:lnTo>
                  <a:lnTo>
                    <a:pt x="2448" y="7596"/>
                  </a:lnTo>
                  <a:lnTo>
                    <a:pt x="2511" y="7596"/>
                  </a:lnTo>
                  <a:lnTo>
                    <a:pt x="2658" y="7533"/>
                  </a:lnTo>
                  <a:lnTo>
                    <a:pt x="2574" y="7491"/>
                  </a:lnTo>
                  <a:lnTo>
                    <a:pt x="2574" y="7470"/>
                  </a:lnTo>
                  <a:lnTo>
                    <a:pt x="2511" y="7365"/>
                  </a:lnTo>
                  <a:lnTo>
                    <a:pt x="2574" y="7365"/>
                  </a:lnTo>
                  <a:lnTo>
                    <a:pt x="2616" y="7449"/>
                  </a:lnTo>
                  <a:lnTo>
                    <a:pt x="2720" y="7470"/>
                  </a:lnTo>
                  <a:lnTo>
                    <a:pt x="2888" y="7345"/>
                  </a:lnTo>
                  <a:lnTo>
                    <a:pt x="2867" y="7282"/>
                  </a:lnTo>
                  <a:lnTo>
                    <a:pt x="2909" y="7240"/>
                  </a:lnTo>
                  <a:lnTo>
                    <a:pt x="2909" y="7114"/>
                  </a:lnTo>
                  <a:lnTo>
                    <a:pt x="2867" y="7052"/>
                  </a:lnTo>
                  <a:lnTo>
                    <a:pt x="2867" y="7010"/>
                  </a:lnTo>
                  <a:lnTo>
                    <a:pt x="2888" y="6947"/>
                  </a:lnTo>
                  <a:lnTo>
                    <a:pt x="2804" y="6863"/>
                  </a:lnTo>
                  <a:lnTo>
                    <a:pt x="2909" y="6947"/>
                  </a:lnTo>
                  <a:lnTo>
                    <a:pt x="2909" y="7010"/>
                  </a:lnTo>
                  <a:lnTo>
                    <a:pt x="2992" y="7010"/>
                  </a:lnTo>
                  <a:lnTo>
                    <a:pt x="2992" y="7073"/>
                  </a:lnTo>
                  <a:lnTo>
                    <a:pt x="3118" y="7282"/>
                  </a:lnTo>
                  <a:lnTo>
                    <a:pt x="3181" y="7365"/>
                  </a:lnTo>
                  <a:lnTo>
                    <a:pt x="3202" y="7491"/>
                  </a:lnTo>
                  <a:lnTo>
                    <a:pt x="3306" y="7491"/>
                  </a:lnTo>
                  <a:lnTo>
                    <a:pt x="3390" y="7470"/>
                  </a:lnTo>
                  <a:lnTo>
                    <a:pt x="3411" y="7386"/>
                  </a:lnTo>
                  <a:lnTo>
                    <a:pt x="3411" y="7470"/>
                  </a:lnTo>
                  <a:lnTo>
                    <a:pt x="3390" y="7533"/>
                  </a:lnTo>
                  <a:lnTo>
                    <a:pt x="3432" y="7658"/>
                  </a:lnTo>
                  <a:lnTo>
                    <a:pt x="3432" y="7700"/>
                  </a:lnTo>
                  <a:lnTo>
                    <a:pt x="3411" y="7742"/>
                  </a:lnTo>
                  <a:lnTo>
                    <a:pt x="3432" y="7847"/>
                  </a:lnTo>
                  <a:lnTo>
                    <a:pt x="3495" y="7889"/>
                  </a:lnTo>
                  <a:lnTo>
                    <a:pt x="3536" y="8307"/>
                  </a:lnTo>
                  <a:lnTo>
                    <a:pt x="3578" y="8328"/>
                  </a:lnTo>
                  <a:lnTo>
                    <a:pt x="3578" y="8516"/>
                  </a:lnTo>
                  <a:lnTo>
                    <a:pt x="3725" y="8600"/>
                  </a:lnTo>
                  <a:lnTo>
                    <a:pt x="3704" y="8642"/>
                  </a:lnTo>
                  <a:lnTo>
                    <a:pt x="3704" y="8788"/>
                  </a:lnTo>
                  <a:lnTo>
                    <a:pt x="3767" y="8851"/>
                  </a:lnTo>
                  <a:lnTo>
                    <a:pt x="3767" y="9123"/>
                  </a:lnTo>
                  <a:lnTo>
                    <a:pt x="3829" y="9228"/>
                  </a:lnTo>
                  <a:lnTo>
                    <a:pt x="3829" y="9332"/>
                  </a:lnTo>
                  <a:lnTo>
                    <a:pt x="3850" y="9311"/>
                  </a:lnTo>
                  <a:lnTo>
                    <a:pt x="3871" y="9123"/>
                  </a:lnTo>
                  <a:lnTo>
                    <a:pt x="3955" y="9249"/>
                  </a:lnTo>
                  <a:lnTo>
                    <a:pt x="3976" y="9374"/>
                  </a:lnTo>
                  <a:lnTo>
                    <a:pt x="4059" y="9458"/>
                  </a:lnTo>
                  <a:lnTo>
                    <a:pt x="4080" y="9793"/>
                  </a:lnTo>
                  <a:lnTo>
                    <a:pt x="4164" y="9855"/>
                  </a:lnTo>
                  <a:lnTo>
                    <a:pt x="4185" y="9960"/>
                  </a:lnTo>
                  <a:lnTo>
                    <a:pt x="4143" y="10002"/>
                  </a:lnTo>
                  <a:lnTo>
                    <a:pt x="4164" y="10169"/>
                  </a:lnTo>
                  <a:lnTo>
                    <a:pt x="4227" y="10253"/>
                  </a:lnTo>
                  <a:lnTo>
                    <a:pt x="4290" y="10316"/>
                  </a:lnTo>
                  <a:lnTo>
                    <a:pt x="4227" y="10399"/>
                  </a:lnTo>
                  <a:lnTo>
                    <a:pt x="4269" y="10567"/>
                  </a:lnTo>
                  <a:lnTo>
                    <a:pt x="4248" y="10609"/>
                  </a:lnTo>
                  <a:lnTo>
                    <a:pt x="4227" y="10630"/>
                  </a:lnTo>
                  <a:lnTo>
                    <a:pt x="4185" y="10797"/>
                  </a:lnTo>
                  <a:lnTo>
                    <a:pt x="4227" y="10818"/>
                  </a:lnTo>
                  <a:lnTo>
                    <a:pt x="4227" y="10922"/>
                  </a:lnTo>
                  <a:lnTo>
                    <a:pt x="4143" y="11027"/>
                  </a:lnTo>
                  <a:lnTo>
                    <a:pt x="4101" y="11048"/>
                  </a:lnTo>
                  <a:lnTo>
                    <a:pt x="4059" y="11048"/>
                  </a:lnTo>
                  <a:lnTo>
                    <a:pt x="4059" y="11111"/>
                  </a:lnTo>
                  <a:lnTo>
                    <a:pt x="4101" y="11194"/>
                  </a:lnTo>
                  <a:lnTo>
                    <a:pt x="4101" y="11341"/>
                  </a:lnTo>
                  <a:lnTo>
                    <a:pt x="4164" y="11529"/>
                  </a:lnTo>
                  <a:lnTo>
                    <a:pt x="4185" y="11341"/>
                  </a:lnTo>
                  <a:lnTo>
                    <a:pt x="4248" y="11236"/>
                  </a:lnTo>
                  <a:lnTo>
                    <a:pt x="4248" y="11257"/>
                  </a:lnTo>
                  <a:lnTo>
                    <a:pt x="4269" y="11153"/>
                  </a:lnTo>
                  <a:lnTo>
                    <a:pt x="4332" y="11090"/>
                  </a:lnTo>
                  <a:lnTo>
                    <a:pt x="4332" y="10922"/>
                  </a:lnTo>
                  <a:lnTo>
                    <a:pt x="4457" y="10839"/>
                  </a:lnTo>
                  <a:lnTo>
                    <a:pt x="4583" y="10483"/>
                  </a:lnTo>
                  <a:lnTo>
                    <a:pt x="4666" y="10420"/>
                  </a:lnTo>
                  <a:lnTo>
                    <a:pt x="4666" y="10253"/>
                  </a:lnTo>
                  <a:lnTo>
                    <a:pt x="4583" y="10106"/>
                  </a:lnTo>
                  <a:lnTo>
                    <a:pt x="4604" y="9960"/>
                  </a:lnTo>
                  <a:lnTo>
                    <a:pt x="4562" y="9855"/>
                  </a:lnTo>
                  <a:lnTo>
                    <a:pt x="4541" y="9667"/>
                  </a:lnTo>
                  <a:lnTo>
                    <a:pt x="4457" y="9583"/>
                  </a:lnTo>
                  <a:lnTo>
                    <a:pt x="4478" y="9479"/>
                  </a:lnTo>
                  <a:lnTo>
                    <a:pt x="4457" y="9353"/>
                  </a:lnTo>
                  <a:lnTo>
                    <a:pt x="4478" y="9270"/>
                  </a:lnTo>
                  <a:lnTo>
                    <a:pt x="4436" y="9018"/>
                  </a:lnTo>
                  <a:lnTo>
                    <a:pt x="4269" y="8851"/>
                  </a:lnTo>
                  <a:lnTo>
                    <a:pt x="4080" y="8725"/>
                  </a:lnTo>
                  <a:lnTo>
                    <a:pt x="3934" y="8537"/>
                  </a:lnTo>
                  <a:lnTo>
                    <a:pt x="3934" y="8433"/>
                  </a:lnTo>
                  <a:lnTo>
                    <a:pt x="3850" y="8223"/>
                  </a:lnTo>
                  <a:lnTo>
                    <a:pt x="3955" y="8181"/>
                  </a:lnTo>
                  <a:lnTo>
                    <a:pt x="3976" y="8077"/>
                  </a:lnTo>
                  <a:lnTo>
                    <a:pt x="3934" y="7784"/>
                  </a:lnTo>
                  <a:lnTo>
                    <a:pt x="3955" y="7700"/>
                  </a:lnTo>
                  <a:lnTo>
                    <a:pt x="4059" y="7658"/>
                  </a:lnTo>
                  <a:lnTo>
                    <a:pt x="4059" y="7533"/>
                  </a:lnTo>
                  <a:lnTo>
                    <a:pt x="3934" y="7470"/>
                  </a:lnTo>
                  <a:lnTo>
                    <a:pt x="3934" y="7345"/>
                  </a:lnTo>
                  <a:lnTo>
                    <a:pt x="3850" y="7219"/>
                  </a:lnTo>
                  <a:lnTo>
                    <a:pt x="3767" y="7156"/>
                  </a:lnTo>
                  <a:lnTo>
                    <a:pt x="3620" y="6863"/>
                  </a:lnTo>
                  <a:lnTo>
                    <a:pt x="3495" y="6759"/>
                  </a:lnTo>
                  <a:lnTo>
                    <a:pt x="3432" y="6696"/>
                  </a:lnTo>
                  <a:lnTo>
                    <a:pt x="3348" y="6612"/>
                  </a:lnTo>
                  <a:lnTo>
                    <a:pt x="3243" y="6424"/>
                  </a:lnTo>
                  <a:lnTo>
                    <a:pt x="3181" y="6403"/>
                  </a:lnTo>
                  <a:lnTo>
                    <a:pt x="3181" y="6319"/>
                  </a:lnTo>
                  <a:lnTo>
                    <a:pt x="3306" y="6236"/>
                  </a:lnTo>
                  <a:lnTo>
                    <a:pt x="3411" y="6173"/>
                  </a:lnTo>
                  <a:lnTo>
                    <a:pt x="3390" y="6089"/>
                  </a:lnTo>
                  <a:lnTo>
                    <a:pt x="3390" y="5901"/>
                  </a:lnTo>
                  <a:lnTo>
                    <a:pt x="3453" y="5817"/>
                  </a:lnTo>
                  <a:lnTo>
                    <a:pt x="3432" y="5650"/>
                  </a:lnTo>
                  <a:lnTo>
                    <a:pt x="3515" y="5503"/>
                  </a:lnTo>
                  <a:lnTo>
                    <a:pt x="3746" y="5587"/>
                  </a:lnTo>
                  <a:lnTo>
                    <a:pt x="3871" y="5482"/>
                  </a:lnTo>
                  <a:lnTo>
                    <a:pt x="4018" y="5482"/>
                  </a:lnTo>
                  <a:lnTo>
                    <a:pt x="4039" y="5440"/>
                  </a:lnTo>
                  <a:lnTo>
                    <a:pt x="4039" y="5273"/>
                  </a:lnTo>
                  <a:lnTo>
                    <a:pt x="4101" y="5231"/>
                  </a:lnTo>
                  <a:lnTo>
                    <a:pt x="4269" y="5252"/>
                  </a:lnTo>
                  <a:lnTo>
                    <a:pt x="4290" y="5168"/>
                  </a:lnTo>
                  <a:lnTo>
                    <a:pt x="4248" y="5085"/>
                  </a:lnTo>
                  <a:lnTo>
                    <a:pt x="4248" y="5022"/>
                  </a:lnTo>
                  <a:lnTo>
                    <a:pt x="4373" y="4980"/>
                  </a:lnTo>
                  <a:lnTo>
                    <a:pt x="4541" y="4959"/>
                  </a:lnTo>
                  <a:lnTo>
                    <a:pt x="4562" y="4959"/>
                  </a:lnTo>
                  <a:lnTo>
                    <a:pt x="4604" y="4813"/>
                  </a:lnTo>
                  <a:lnTo>
                    <a:pt x="4666" y="4813"/>
                  </a:lnTo>
                  <a:lnTo>
                    <a:pt x="4792" y="4729"/>
                  </a:lnTo>
                  <a:lnTo>
                    <a:pt x="4750" y="4645"/>
                  </a:lnTo>
                  <a:lnTo>
                    <a:pt x="4792" y="4541"/>
                  </a:lnTo>
                  <a:lnTo>
                    <a:pt x="4813" y="4436"/>
                  </a:lnTo>
                  <a:lnTo>
                    <a:pt x="4980" y="4415"/>
                  </a:lnTo>
                  <a:lnTo>
                    <a:pt x="5085" y="4311"/>
                  </a:lnTo>
                  <a:lnTo>
                    <a:pt x="5127" y="4290"/>
                  </a:lnTo>
                  <a:lnTo>
                    <a:pt x="5127" y="4143"/>
                  </a:lnTo>
                  <a:lnTo>
                    <a:pt x="5022" y="4122"/>
                  </a:lnTo>
                  <a:lnTo>
                    <a:pt x="4771" y="4227"/>
                  </a:lnTo>
                  <a:lnTo>
                    <a:pt x="4624" y="4227"/>
                  </a:lnTo>
                  <a:lnTo>
                    <a:pt x="4562" y="4311"/>
                  </a:lnTo>
                  <a:lnTo>
                    <a:pt x="4436" y="4248"/>
                  </a:lnTo>
                  <a:lnTo>
                    <a:pt x="4394" y="4122"/>
                  </a:lnTo>
                  <a:lnTo>
                    <a:pt x="4436" y="3997"/>
                  </a:lnTo>
                  <a:lnTo>
                    <a:pt x="4352" y="3892"/>
                  </a:lnTo>
                  <a:lnTo>
                    <a:pt x="4269" y="3976"/>
                  </a:lnTo>
                  <a:lnTo>
                    <a:pt x="4227" y="3913"/>
                  </a:lnTo>
                  <a:lnTo>
                    <a:pt x="4039" y="3913"/>
                  </a:lnTo>
                  <a:lnTo>
                    <a:pt x="3955" y="3934"/>
                  </a:lnTo>
                  <a:lnTo>
                    <a:pt x="3934" y="3871"/>
                  </a:lnTo>
                  <a:lnTo>
                    <a:pt x="4039" y="3767"/>
                  </a:lnTo>
                  <a:lnTo>
                    <a:pt x="4185" y="3578"/>
                  </a:lnTo>
                  <a:lnTo>
                    <a:pt x="4164" y="3495"/>
                  </a:lnTo>
                  <a:lnTo>
                    <a:pt x="4227" y="3390"/>
                  </a:lnTo>
                  <a:lnTo>
                    <a:pt x="4227" y="3306"/>
                  </a:lnTo>
                  <a:lnTo>
                    <a:pt x="4101" y="3244"/>
                  </a:lnTo>
                  <a:lnTo>
                    <a:pt x="3955" y="3244"/>
                  </a:lnTo>
                  <a:lnTo>
                    <a:pt x="3934" y="3285"/>
                  </a:lnTo>
                  <a:lnTo>
                    <a:pt x="3871" y="3202"/>
                  </a:lnTo>
                  <a:lnTo>
                    <a:pt x="3913" y="3160"/>
                  </a:lnTo>
                  <a:lnTo>
                    <a:pt x="3767" y="3139"/>
                  </a:lnTo>
                  <a:lnTo>
                    <a:pt x="3704" y="3055"/>
                  </a:lnTo>
                  <a:lnTo>
                    <a:pt x="3725" y="2951"/>
                  </a:lnTo>
                  <a:lnTo>
                    <a:pt x="3704" y="2846"/>
                  </a:lnTo>
                  <a:lnTo>
                    <a:pt x="3557" y="2867"/>
                  </a:lnTo>
                  <a:lnTo>
                    <a:pt x="3495" y="2825"/>
                  </a:lnTo>
                  <a:lnTo>
                    <a:pt x="3515" y="2741"/>
                  </a:lnTo>
                  <a:lnTo>
                    <a:pt x="3495" y="2658"/>
                  </a:lnTo>
                  <a:lnTo>
                    <a:pt x="3223" y="2720"/>
                  </a:lnTo>
                  <a:lnTo>
                    <a:pt x="3097" y="2825"/>
                  </a:lnTo>
                  <a:lnTo>
                    <a:pt x="3034" y="2679"/>
                  </a:lnTo>
                  <a:lnTo>
                    <a:pt x="3055" y="2532"/>
                  </a:lnTo>
                  <a:lnTo>
                    <a:pt x="2992" y="2469"/>
                  </a:lnTo>
                  <a:lnTo>
                    <a:pt x="2930" y="2407"/>
                  </a:lnTo>
                  <a:lnTo>
                    <a:pt x="2825" y="2344"/>
                  </a:lnTo>
                  <a:lnTo>
                    <a:pt x="2825" y="2239"/>
                  </a:lnTo>
                  <a:lnTo>
                    <a:pt x="2888" y="2155"/>
                  </a:lnTo>
                  <a:lnTo>
                    <a:pt x="2825" y="2093"/>
                  </a:lnTo>
                  <a:lnTo>
                    <a:pt x="2888" y="2009"/>
                  </a:lnTo>
                  <a:lnTo>
                    <a:pt x="2971" y="1904"/>
                  </a:lnTo>
                  <a:lnTo>
                    <a:pt x="3034" y="1925"/>
                  </a:lnTo>
                  <a:lnTo>
                    <a:pt x="3097" y="1883"/>
                  </a:lnTo>
                  <a:lnTo>
                    <a:pt x="3034" y="1779"/>
                  </a:lnTo>
                  <a:lnTo>
                    <a:pt x="3055" y="1695"/>
                  </a:lnTo>
                  <a:lnTo>
                    <a:pt x="3118" y="1674"/>
                  </a:lnTo>
                  <a:lnTo>
                    <a:pt x="3139" y="1570"/>
                  </a:lnTo>
                  <a:lnTo>
                    <a:pt x="3243" y="1507"/>
                  </a:lnTo>
                  <a:lnTo>
                    <a:pt x="3285" y="1423"/>
                  </a:lnTo>
                  <a:lnTo>
                    <a:pt x="3285" y="1319"/>
                  </a:lnTo>
                  <a:lnTo>
                    <a:pt x="3306" y="1067"/>
                  </a:lnTo>
                  <a:lnTo>
                    <a:pt x="3285" y="900"/>
                  </a:lnTo>
                  <a:lnTo>
                    <a:pt x="3202" y="691"/>
                  </a:lnTo>
                  <a:lnTo>
                    <a:pt x="3202" y="544"/>
                  </a:lnTo>
                  <a:lnTo>
                    <a:pt x="3097" y="419"/>
                  </a:lnTo>
                  <a:lnTo>
                    <a:pt x="2992" y="419"/>
                  </a:lnTo>
                  <a:lnTo>
                    <a:pt x="2971" y="251"/>
                  </a:lnTo>
                  <a:lnTo>
                    <a:pt x="2825" y="147"/>
                  </a:lnTo>
                  <a:lnTo>
                    <a:pt x="2783" y="0"/>
                  </a:lnTo>
                  <a:lnTo>
                    <a:pt x="2616" y="0"/>
                  </a:lnTo>
                  <a:lnTo>
                    <a:pt x="2532" y="42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6" name="Google Shape;836;p34"/>
            <p:cNvSpPr/>
            <p:nvPr/>
          </p:nvSpPr>
          <p:spPr>
            <a:xfrm>
              <a:off x="4343054" y="2959975"/>
              <a:ext cx="35389" cy="43557"/>
            </a:xfrm>
            <a:custGeom>
              <a:avLst/>
              <a:gdLst/>
              <a:ahLst/>
              <a:cxnLst/>
              <a:rect l="l" t="t" r="r" b="b"/>
              <a:pathLst>
                <a:path w="2972" h="3830" extrusionOk="0">
                  <a:moveTo>
                    <a:pt x="209" y="1"/>
                  </a:moveTo>
                  <a:lnTo>
                    <a:pt x="189" y="63"/>
                  </a:lnTo>
                  <a:lnTo>
                    <a:pt x="147" y="63"/>
                  </a:lnTo>
                  <a:lnTo>
                    <a:pt x="147" y="147"/>
                  </a:lnTo>
                  <a:lnTo>
                    <a:pt x="189" y="210"/>
                  </a:lnTo>
                  <a:lnTo>
                    <a:pt x="147" y="356"/>
                  </a:lnTo>
                  <a:lnTo>
                    <a:pt x="21" y="482"/>
                  </a:lnTo>
                  <a:lnTo>
                    <a:pt x="0" y="628"/>
                  </a:lnTo>
                  <a:lnTo>
                    <a:pt x="293" y="733"/>
                  </a:lnTo>
                  <a:lnTo>
                    <a:pt x="398" y="670"/>
                  </a:lnTo>
                  <a:lnTo>
                    <a:pt x="523" y="691"/>
                  </a:lnTo>
                  <a:lnTo>
                    <a:pt x="502" y="754"/>
                  </a:lnTo>
                  <a:lnTo>
                    <a:pt x="544" y="900"/>
                  </a:lnTo>
                  <a:lnTo>
                    <a:pt x="481" y="963"/>
                  </a:lnTo>
                  <a:lnTo>
                    <a:pt x="398" y="942"/>
                  </a:lnTo>
                  <a:lnTo>
                    <a:pt x="314" y="984"/>
                  </a:lnTo>
                  <a:lnTo>
                    <a:pt x="272" y="1151"/>
                  </a:lnTo>
                  <a:lnTo>
                    <a:pt x="168" y="1172"/>
                  </a:lnTo>
                  <a:lnTo>
                    <a:pt x="168" y="1402"/>
                  </a:lnTo>
                  <a:lnTo>
                    <a:pt x="293" y="1570"/>
                  </a:lnTo>
                  <a:lnTo>
                    <a:pt x="419" y="1612"/>
                  </a:lnTo>
                  <a:lnTo>
                    <a:pt x="586" y="1800"/>
                  </a:lnTo>
                  <a:lnTo>
                    <a:pt x="586" y="1988"/>
                  </a:lnTo>
                  <a:lnTo>
                    <a:pt x="628" y="2114"/>
                  </a:lnTo>
                  <a:lnTo>
                    <a:pt x="607" y="2218"/>
                  </a:lnTo>
                  <a:lnTo>
                    <a:pt x="628" y="2407"/>
                  </a:lnTo>
                  <a:lnTo>
                    <a:pt x="816" y="2637"/>
                  </a:lnTo>
                  <a:lnTo>
                    <a:pt x="816" y="2783"/>
                  </a:lnTo>
                  <a:lnTo>
                    <a:pt x="837" y="2888"/>
                  </a:lnTo>
                  <a:lnTo>
                    <a:pt x="879" y="3076"/>
                  </a:lnTo>
                  <a:lnTo>
                    <a:pt x="921" y="3055"/>
                  </a:lnTo>
                  <a:lnTo>
                    <a:pt x="984" y="3160"/>
                  </a:lnTo>
                  <a:lnTo>
                    <a:pt x="1005" y="3202"/>
                  </a:lnTo>
                  <a:lnTo>
                    <a:pt x="1046" y="3202"/>
                  </a:lnTo>
                  <a:lnTo>
                    <a:pt x="1067" y="3139"/>
                  </a:lnTo>
                  <a:lnTo>
                    <a:pt x="1130" y="3097"/>
                  </a:lnTo>
                  <a:lnTo>
                    <a:pt x="1214" y="3160"/>
                  </a:lnTo>
                  <a:lnTo>
                    <a:pt x="1214" y="3181"/>
                  </a:lnTo>
                  <a:lnTo>
                    <a:pt x="1256" y="3160"/>
                  </a:lnTo>
                  <a:lnTo>
                    <a:pt x="1298" y="3055"/>
                  </a:lnTo>
                  <a:lnTo>
                    <a:pt x="1214" y="2930"/>
                  </a:lnTo>
                  <a:lnTo>
                    <a:pt x="1256" y="2888"/>
                  </a:lnTo>
                  <a:lnTo>
                    <a:pt x="1256" y="2783"/>
                  </a:lnTo>
                  <a:lnTo>
                    <a:pt x="1318" y="2721"/>
                  </a:lnTo>
                  <a:lnTo>
                    <a:pt x="1318" y="2742"/>
                  </a:lnTo>
                  <a:lnTo>
                    <a:pt x="1256" y="2951"/>
                  </a:lnTo>
                  <a:lnTo>
                    <a:pt x="1339" y="3055"/>
                  </a:lnTo>
                  <a:lnTo>
                    <a:pt x="1423" y="2930"/>
                  </a:lnTo>
                  <a:lnTo>
                    <a:pt x="1507" y="2888"/>
                  </a:lnTo>
                  <a:lnTo>
                    <a:pt x="1507" y="2888"/>
                  </a:lnTo>
                  <a:lnTo>
                    <a:pt x="1465" y="2951"/>
                  </a:lnTo>
                  <a:lnTo>
                    <a:pt x="1423" y="2972"/>
                  </a:lnTo>
                  <a:lnTo>
                    <a:pt x="1360" y="3076"/>
                  </a:lnTo>
                  <a:lnTo>
                    <a:pt x="1465" y="3139"/>
                  </a:lnTo>
                  <a:lnTo>
                    <a:pt x="1549" y="2951"/>
                  </a:lnTo>
                  <a:lnTo>
                    <a:pt x="1653" y="2930"/>
                  </a:lnTo>
                  <a:lnTo>
                    <a:pt x="1674" y="2762"/>
                  </a:lnTo>
                  <a:lnTo>
                    <a:pt x="1590" y="2637"/>
                  </a:lnTo>
                  <a:lnTo>
                    <a:pt x="1528" y="2616"/>
                  </a:lnTo>
                  <a:lnTo>
                    <a:pt x="1632" y="2553"/>
                  </a:lnTo>
                  <a:lnTo>
                    <a:pt x="1653" y="2511"/>
                  </a:lnTo>
                  <a:lnTo>
                    <a:pt x="1570" y="2365"/>
                  </a:lnTo>
                  <a:lnTo>
                    <a:pt x="1549" y="2156"/>
                  </a:lnTo>
                  <a:lnTo>
                    <a:pt x="1590" y="2344"/>
                  </a:lnTo>
                  <a:lnTo>
                    <a:pt x="1716" y="2449"/>
                  </a:lnTo>
                  <a:lnTo>
                    <a:pt x="1779" y="2428"/>
                  </a:lnTo>
                  <a:lnTo>
                    <a:pt x="1779" y="2470"/>
                  </a:lnTo>
                  <a:lnTo>
                    <a:pt x="1988" y="2574"/>
                  </a:lnTo>
                  <a:lnTo>
                    <a:pt x="2093" y="2511"/>
                  </a:lnTo>
                  <a:lnTo>
                    <a:pt x="2155" y="2532"/>
                  </a:lnTo>
                  <a:lnTo>
                    <a:pt x="2155" y="2470"/>
                  </a:lnTo>
                  <a:lnTo>
                    <a:pt x="2197" y="2470"/>
                  </a:lnTo>
                  <a:lnTo>
                    <a:pt x="2365" y="2888"/>
                  </a:lnTo>
                  <a:lnTo>
                    <a:pt x="2448" y="2951"/>
                  </a:lnTo>
                  <a:lnTo>
                    <a:pt x="2448" y="3034"/>
                  </a:lnTo>
                  <a:lnTo>
                    <a:pt x="2406" y="3160"/>
                  </a:lnTo>
                  <a:lnTo>
                    <a:pt x="2469" y="3181"/>
                  </a:lnTo>
                  <a:lnTo>
                    <a:pt x="2406" y="3348"/>
                  </a:lnTo>
                  <a:lnTo>
                    <a:pt x="2448" y="3369"/>
                  </a:lnTo>
                  <a:lnTo>
                    <a:pt x="2511" y="3306"/>
                  </a:lnTo>
                  <a:lnTo>
                    <a:pt x="2553" y="3265"/>
                  </a:lnTo>
                  <a:lnTo>
                    <a:pt x="2553" y="3265"/>
                  </a:lnTo>
                  <a:lnTo>
                    <a:pt x="2511" y="3369"/>
                  </a:lnTo>
                  <a:lnTo>
                    <a:pt x="2490" y="3411"/>
                  </a:lnTo>
                  <a:lnTo>
                    <a:pt x="2553" y="3495"/>
                  </a:lnTo>
                  <a:lnTo>
                    <a:pt x="2637" y="3620"/>
                  </a:lnTo>
                  <a:lnTo>
                    <a:pt x="2720" y="3830"/>
                  </a:lnTo>
                  <a:lnTo>
                    <a:pt x="2762" y="3830"/>
                  </a:lnTo>
                  <a:lnTo>
                    <a:pt x="2720" y="3683"/>
                  </a:lnTo>
                  <a:lnTo>
                    <a:pt x="2720" y="3620"/>
                  </a:lnTo>
                  <a:lnTo>
                    <a:pt x="2762" y="3516"/>
                  </a:lnTo>
                  <a:lnTo>
                    <a:pt x="2867" y="3390"/>
                  </a:lnTo>
                  <a:lnTo>
                    <a:pt x="2909" y="3411"/>
                  </a:lnTo>
                  <a:lnTo>
                    <a:pt x="2971" y="3286"/>
                  </a:lnTo>
                  <a:lnTo>
                    <a:pt x="2971" y="3160"/>
                  </a:lnTo>
                  <a:lnTo>
                    <a:pt x="2930" y="3139"/>
                  </a:lnTo>
                  <a:lnTo>
                    <a:pt x="2909" y="3076"/>
                  </a:lnTo>
                  <a:lnTo>
                    <a:pt x="2909" y="3034"/>
                  </a:lnTo>
                  <a:lnTo>
                    <a:pt x="2888" y="2972"/>
                  </a:lnTo>
                  <a:lnTo>
                    <a:pt x="2867" y="2888"/>
                  </a:lnTo>
                  <a:lnTo>
                    <a:pt x="2804" y="2742"/>
                  </a:lnTo>
                  <a:lnTo>
                    <a:pt x="2783" y="2511"/>
                  </a:lnTo>
                  <a:lnTo>
                    <a:pt x="2720" y="2428"/>
                  </a:lnTo>
                  <a:lnTo>
                    <a:pt x="2720" y="2302"/>
                  </a:lnTo>
                  <a:lnTo>
                    <a:pt x="2699" y="2135"/>
                  </a:lnTo>
                  <a:lnTo>
                    <a:pt x="2637" y="2051"/>
                  </a:lnTo>
                  <a:lnTo>
                    <a:pt x="2595" y="2009"/>
                  </a:lnTo>
                  <a:lnTo>
                    <a:pt x="2511" y="2009"/>
                  </a:lnTo>
                  <a:lnTo>
                    <a:pt x="2448" y="1946"/>
                  </a:lnTo>
                  <a:lnTo>
                    <a:pt x="2386" y="2009"/>
                  </a:lnTo>
                  <a:lnTo>
                    <a:pt x="2406" y="2051"/>
                  </a:lnTo>
                  <a:lnTo>
                    <a:pt x="2386" y="2114"/>
                  </a:lnTo>
                  <a:lnTo>
                    <a:pt x="2386" y="2156"/>
                  </a:lnTo>
                  <a:lnTo>
                    <a:pt x="2344" y="2239"/>
                  </a:lnTo>
                  <a:lnTo>
                    <a:pt x="2365" y="2302"/>
                  </a:lnTo>
                  <a:lnTo>
                    <a:pt x="2365" y="2365"/>
                  </a:lnTo>
                  <a:lnTo>
                    <a:pt x="2281" y="2365"/>
                  </a:lnTo>
                  <a:lnTo>
                    <a:pt x="2197" y="2260"/>
                  </a:lnTo>
                  <a:lnTo>
                    <a:pt x="2093" y="2156"/>
                  </a:lnTo>
                  <a:lnTo>
                    <a:pt x="2093" y="2114"/>
                  </a:lnTo>
                  <a:lnTo>
                    <a:pt x="2030" y="2051"/>
                  </a:lnTo>
                  <a:lnTo>
                    <a:pt x="1967" y="1905"/>
                  </a:lnTo>
                  <a:lnTo>
                    <a:pt x="1967" y="1821"/>
                  </a:lnTo>
                  <a:lnTo>
                    <a:pt x="2030" y="1800"/>
                  </a:lnTo>
                  <a:lnTo>
                    <a:pt x="2051" y="1716"/>
                  </a:lnTo>
                  <a:lnTo>
                    <a:pt x="2155" y="1633"/>
                  </a:lnTo>
                  <a:lnTo>
                    <a:pt x="2176" y="1695"/>
                  </a:lnTo>
                  <a:lnTo>
                    <a:pt x="2260" y="1695"/>
                  </a:lnTo>
                  <a:lnTo>
                    <a:pt x="2302" y="1633"/>
                  </a:lnTo>
                  <a:lnTo>
                    <a:pt x="2302" y="1570"/>
                  </a:lnTo>
                  <a:lnTo>
                    <a:pt x="2365" y="1528"/>
                  </a:lnTo>
                  <a:lnTo>
                    <a:pt x="2448" y="1319"/>
                  </a:lnTo>
                  <a:lnTo>
                    <a:pt x="2469" y="1193"/>
                  </a:lnTo>
                  <a:lnTo>
                    <a:pt x="2511" y="1068"/>
                  </a:lnTo>
                  <a:lnTo>
                    <a:pt x="2469" y="1047"/>
                  </a:lnTo>
                  <a:lnTo>
                    <a:pt x="2365" y="942"/>
                  </a:lnTo>
                  <a:lnTo>
                    <a:pt x="2302" y="963"/>
                  </a:lnTo>
                  <a:lnTo>
                    <a:pt x="2260" y="942"/>
                  </a:lnTo>
                  <a:lnTo>
                    <a:pt x="2176" y="942"/>
                  </a:lnTo>
                  <a:lnTo>
                    <a:pt x="1967" y="963"/>
                  </a:lnTo>
                  <a:lnTo>
                    <a:pt x="1779" y="942"/>
                  </a:lnTo>
                  <a:lnTo>
                    <a:pt x="1423" y="942"/>
                  </a:lnTo>
                  <a:lnTo>
                    <a:pt x="1298" y="879"/>
                  </a:lnTo>
                  <a:lnTo>
                    <a:pt x="1193" y="900"/>
                  </a:lnTo>
                  <a:lnTo>
                    <a:pt x="1067" y="858"/>
                  </a:lnTo>
                  <a:lnTo>
                    <a:pt x="1067" y="775"/>
                  </a:lnTo>
                  <a:lnTo>
                    <a:pt x="1026" y="649"/>
                  </a:lnTo>
                  <a:lnTo>
                    <a:pt x="1026" y="565"/>
                  </a:lnTo>
                  <a:lnTo>
                    <a:pt x="1005" y="440"/>
                  </a:lnTo>
                  <a:lnTo>
                    <a:pt x="921" y="314"/>
                  </a:lnTo>
                  <a:lnTo>
                    <a:pt x="879" y="314"/>
                  </a:lnTo>
                  <a:lnTo>
                    <a:pt x="837" y="356"/>
                  </a:lnTo>
                  <a:lnTo>
                    <a:pt x="733" y="314"/>
                  </a:lnTo>
                  <a:lnTo>
                    <a:pt x="691" y="252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523" y="252"/>
                  </a:lnTo>
                  <a:lnTo>
                    <a:pt x="607" y="314"/>
                  </a:lnTo>
                  <a:lnTo>
                    <a:pt x="544" y="335"/>
                  </a:lnTo>
                  <a:lnTo>
                    <a:pt x="419" y="314"/>
                  </a:lnTo>
                  <a:lnTo>
                    <a:pt x="356" y="210"/>
                  </a:lnTo>
                  <a:lnTo>
                    <a:pt x="356" y="147"/>
                  </a:lnTo>
                  <a:lnTo>
                    <a:pt x="272" y="42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7" name="Google Shape;837;p34"/>
            <p:cNvSpPr/>
            <p:nvPr/>
          </p:nvSpPr>
          <p:spPr>
            <a:xfrm>
              <a:off x="3793178" y="2712975"/>
              <a:ext cx="26423" cy="30945"/>
            </a:xfrm>
            <a:custGeom>
              <a:avLst/>
              <a:gdLst/>
              <a:ahLst/>
              <a:cxnLst/>
              <a:rect l="l" t="t" r="r" b="b"/>
              <a:pathLst>
                <a:path w="2219" h="2721" extrusionOk="0">
                  <a:moveTo>
                    <a:pt x="1298" y="1"/>
                  </a:moveTo>
                  <a:lnTo>
                    <a:pt x="1152" y="168"/>
                  </a:lnTo>
                  <a:lnTo>
                    <a:pt x="984" y="231"/>
                  </a:lnTo>
                  <a:lnTo>
                    <a:pt x="880" y="231"/>
                  </a:lnTo>
                  <a:lnTo>
                    <a:pt x="817" y="336"/>
                  </a:lnTo>
                  <a:lnTo>
                    <a:pt x="754" y="482"/>
                  </a:lnTo>
                  <a:lnTo>
                    <a:pt x="649" y="545"/>
                  </a:lnTo>
                  <a:lnTo>
                    <a:pt x="524" y="545"/>
                  </a:lnTo>
                  <a:lnTo>
                    <a:pt x="357" y="649"/>
                  </a:lnTo>
                  <a:lnTo>
                    <a:pt x="315" y="629"/>
                  </a:lnTo>
                  <a:lnTo>
                    <a:pt x="231" y="629"/>
                  </a:lnTo>
                  <a:lnTo>
                    <a:pt x="210" y="754"/>
                  </a:lnTo>
                  <a:lnTo>
                    <a:pt x="126" y="838"/>
                  </a:lnTo>
                  <a:lnTo>
                    <a:pt x="189" y="901"/>
                  </a:lnTo>
                  <a:lnTo>
                    <a:pt x="231" y="859"/>
                  </a:lnTo>
                  <a:lnTo>
                    <a:pt x="357" y="1005"/>
                  </a:lnTo>
                  <a:lnTo>
                    <a:pt x="336" y="838"/>
                  </a:lnTo>
                  <a:lnTo>
                    <a:pt x="357" y="754"/>
                  </a:lnTo>
                  <a:lnTo>
                    <a:pt x="545" y="629"/>
                  </a:lnTo>
                  <a:lnTo>
                    <a:pt x="566" y="649"/>
                  </a:lnTo>
                  <a:lnTo>
                    <a:pt x="670" y="629"/>
                  </a:lnTo>
                  <a:lnTo>
                    <a:pt x="817" y="649"/>
                  </a:lnTo>
                  <a:lnTo>
                    <a:pt x="859" y="629"/>
                  </a:lnTo>
                  <a:lnTo>
                    <a:pt x="859" y="629"/>
                  </a:lnTo>
                  <a:cubicBezTo>
                    <a:pt x="859" y="649"/>
                    <a:pt x="838" y="649"/>
                    <a:pt x="838" y="691"/>
                  </a:cubicBezTo>
                  <a:lnTo>
                    <a:pt x="754" y="712"/>
                  </a:lnTo>
                  <a:lnTo>
                    <a:pt x="670" y="712"/>
                  </a:lnTo>
                  <a:lnTo>
                    <a:pt x="629" y="733"/>
                  </a:lnTo>
                  <a:lnTo>
                    <a:pt x="733" y="859"/>
                  </a:lnTo>
                  <a:lnTo>
                    <a:pt x="691" y="921"/>
                  </a:lnTo>
                  <a:lnTo>
                    <a:pt x="775" y="1026"/>
                  </a:lnTo>
                  <a:lnTo>
                    <a:pt x="775" y="1047"/>
                  </a:lnTo>
                  <a:lnTo>
                    <a:pt x="691" y="1026"/>
                  </a:lnTo>
                  <a:lnTo>
                    <a:pt x="587" y="1047"/>
                  </a:lnTo>
                  <a:lnTo>
                    <a:pt x="566" y="1005"/>
                  </a:lnTo>
                  <a:lnTo>
                    <a:pt x="629" y="942"/>
                  </a:lnTo>
                  <a:lnTo>
                    <a:pt x="566" y="838"/>
                  </a:lnTo>
                  <a:lnTo>
                    <a:pt x="545" y="838"/>
                  </a:lnTo>
                  <a:lnTo>
                    <a:pt x="461" y="963"/>
                  </a:lnTo>
                  <a:lnTo>
                    <a:pt x="524" y="1047"/>
                  </a:lnTo>
                  <a:lnTo>
                    <a:pt x="419" y="1131"/>
                  </a:lnTo>
                  <a:lnTo>
                    <a:pt x="336" y="1047"/>
                  </a:lnTo>
                  <a:lnTo>
                    <a:pt x="231" y="1047"/>
                  </a:lnTo>
                  <a:lnTo>
                    <a:pt x="147" y="1026"/>
                  </a:lnTo>
                  <a:lnTo>
                    <a:pt x="64" y="1110"/>
                  </a:lnTo>
                  <a:lnTo>
                    <a:pt x="210" y="1173"/>
                  </a:lnTo>
                  <a:lnTo>
                    <a:pt x="210" y="1277"/>
                  </a:lnTo>
                  <a:lnTo>
                    <a:pt x="126" y="1235"/>
                  </a:lnTo>
                  <a:lnTo>
                    <a:pt x="64" y="1256"/>
                  </a:lnTo>
                  <a:lnTo>
                    <a:pt x="105" y="1424"/>
                  </a:lnTo>
                  <a:lnTo>
                    <a:pt x="168" y="1465"/>
                  </a:lnTo>
                  <a:lnTo>
                    <a:pt x="168" y="1591"/>
                  </a:lnTo>
                  <a:lnTo>
                    <a:pt x="231" y="1675"/>
                  </a:lnTo>
                  <a:lnTo>
                    <a:pt x="64" y="1758"/>
                  </a:lnTo>
                  <a:lnTo>
                    <a:pt x="1" y="1905"/>
                  </a:lnTo>
                  <a:lnTo>
                    <a:pt x="64" y="1968"/>
                  </a:lnTo>
                  <a:lnTo>
                    <a:pt x="168" y="1905"/>
                  </a:lnTo>
                  <a:lnTo>
                    <a:pt x="315" y="2051"/>
                  </a:lnTo>
                  <a:lnTo>
                    <a:pt x="336" y="2219"/>
                  </a:lnTo>
                  <a:lnTo>
                    <a:pt x="273" y="2261"/>
                  </a:lnTo>
                  <a:lnTo>
                    <a:pt x="315" y="2323"/>
                  </a:lnTo>
                  <a:lnTo>
                    <a:pt x="461" y="2323"/>
                  </a:lnTo>
                  <a:lnTo>
                    <a:pt x="608" y="2533"/>
                  </a:lnTo>
                  <a:lnTo>
                    <a:pt x="649" y="2574"/>
                  </a:lnTo>
                  <a:lnTo>
                    <a:pt x="754" y="2533"/>
                  </a:lnTo>
                  <a:lnTo>
                    <a:pt x="775" y="2470"/>
                  </a:lnTo>
                  <a:lnTo>
                    <a:pt x="691" y="2386"/>
                  </a:lnTo>
                  <a:lnTo>
                    <a:pt x="649" y="2386"/>
                  </a:lnTo>
                  <a:lnTo>
                    <a:pt x="649" y="2302"/>
                  </a:lnTo>
                  <a:lnTo>
                    <a:pt x="733" y="2261"/>
                  </a:lnTo>
                  <a:lnTo>
                    <a:pt x="733" y="2177"/>
                  </a:lnTo>
                  <a:lnTo>
                    <a:pt x="670" y="2135"/>
                  </a:lnTo>
                  <a:lnTo>
                    <a:pt x="670" y="2072"/>
                  </a:lnTo>
                  <a:lnTo>
                    <a:pt x="754" y="2009"/>
                  </a:lnTo>
                  <a:cubicBezTo>
                    <a:pt x="775" y="2051"/>
                    <a:pt x="817" y="2093"/>
                    <a:pt x="838" y="2135"/>
                  </a:cubicBezTo>
                  <a:lnTo>
                    <a:pt x="838" y="2177"/>
                  </a:lnTo>
                  <a:lnTo>
                    <a:pt x="880" y="2302"/>
                  </a:lnTo>
                  <a:lnTo>
                    <a:pt x="984" y="2407"/>
                  </a:lnTo>
                  <a:lnTo>
                    <a:pt x="1089" y="2407"/>
                  </a:lnTo>
                  <a:lnTo>
                    <a:pt x="1152" y="2449"/>
                  </a:lnTo>
                  <a:lnTo>
                    <a:pt x="1256" y="2428"/>
                  </a:lnTo>
                  <a:cubicBezTo>
                    <a:pt x="1277" y="2428"/>
                    <a:pt x="1298" y="2428"/>
                    <a:pt x="1298" y="2407"/>
                  </a:cubicBezTo>
                  <a:cubicBezTo>
                    <a:pt x="1319" y="2407"/>
                    <a:pt x="1319" y="2428"/>
                    <a:pt x="1361" y="2428"/>
                  </a:cubicBezTo>
                  <a:lnTo>
                    <a:pt x="1361" y="2449"/>
                  </a:lnTo>
                  <a:lnTo>
                    <a:pt x="1298" y="2533"/>
                  </a:lnTo>
                  <a:lnTo>
                    <a:pt x="1319" y="2595"/>
                  </a:lnTo>
                  <a:lnTo>
                    <a:pt x="1382" y="2512"/>
                  </a:lnTo>
                  <a:lnTo>
                    <a:pt x="1403" y="2449"/>
                  </a:lnTo>
                  <a:cubicBezTo>
                    <a:pt x="1445" y="2491"/>
                    <a:pt x="1486" y="2512"/>
                    <a:pt x="1507" y="2553"/>
                  </a:cubicBezTo>
                  <a:lnTo>
                    <a:pt x="1507" y="2595"/>
                  </a:lnTo>
                  <a:lnTo>
                    <a:pt x="1465" y="2616"/>
                  </a:lnTo>
                  <a:lnTo>
                    <a:pt x="1507" y="2658"/>
                  </a:lnTo>
                  <a:lnTo>
                    <a:pt x="1675" y="2721"/>
                  </a:lnTo>
                  <a:lnTo>
                    <a:pt x="1821" y="2700"/>
                  </a:lnTo>
                  <a:lnTo>
                    <a:pt x="1884" y="2616"/>
                  </a:lnTo>
                  <a:lnTo>
                    <a:pt x="1905" y="2700"/>
                  </a:lnTo>
                  <a:lnTo>
                    <a:pt x="1926" y="2721"/>
                  </a:lnTo>
                  <a:lnTo>
                    <a:pt x="1926" y="2616"/>
                  </a:lnTo>
                  <a:lnTo>
                    <a:pt x="1968" y="2574"/>
                  </a:lnTo>
                  <a:cubicBezTo>
                    <a:pt x="2009" y="2533"/>
                    <a:pt x="2030" y="2512"/>
                    <a:pt x="2030" y="2470"/>
                  </a:cubicBezTo>
                  <a:lnTo>
                    <a:pt x="2093" y="2386"/>
                  </a:lnTo>
                  <a:lnTo>
                    <a:pt x="2177" y="2344"/>
                  </a:lnTo>
                  <a:lnTo>
                    <a:pt x="2135" y="2302"/>
                  </a:lnTo>
                  <a:lnTo>
                    <a:pt x="2072" y="2323"/>
                  </a:lnTo>
                  <a:lnTo>
                    <a:pt x="2009" y="2407"/>
                  </a:lnTo>
                  <a:lnTo>
                    <a:pt x="2009" y="2386"/>
                  </a:lnTo>
                  <a:cubicBezTo>
                    <a:pt x="1989" y="2344"/>
                    <a:pt x="1989" y="2344"/>
                    <a:pt x="1989" y="2323"/>
                  </a:cubicBezTo>
                  <a:lnTo>
                    <a:pt x="2009" y="2302"/>
                  </a:lnTo>
                  <a:lnTo>
                    <a:pt x="2009" y="2219"/>
                  </a:lnTo>
                  <a:lnTo>
                    <a:pt x="2135" y="2177"/>
                  </a:lnTo>
                  <a:lnTo>
                    <a:pt x="2198" y="2114"/>
                  </a:lnTo>
                  <a:lnTo>
                    <a:pt x="2177" y="2051"/>
                  </a:lnTo>
                  <a:lnTo>
                    <a:pt x="2072" y="1968"/>
                  </a:lnTo>
                  <a:lnTo>
                    <a:pt x="2072" y="1905"/>
                  </a:lnTo>
                  <a:lnTo>
                    <a:pt x="2198" y="1863"/>
                  </a:lnTo>
                  <a:lnTo>
                    <a:pt x="2219" y="1737"/>
                  </a:lnTo>
                  <a:lnTo>
                    <a:pt x="2219" y="1591"/>
                  </a:lnTo>
                  <a:lnTo>
                    <a:pt x="2198" y="1486"/>
                  </a:lnTo>
                  <a:lnTo>
                    <a:pt x="2072" y="1486"/>
                  </a:lnTo>
                  <a:lnTo>
                    <a:pt x="1905" y="1528"/>
                  </a:lnTo>
                  <a:lnTo>
                    <a:pt x="1863" y="1633"/>
                  </a:lnTo>
                  <a:lnTo>
                    <a:pt x="1905" y="1675"/>
                  </a:lnTo>
                  <a:lnTo>
                    <a:pt x="1989" y="1737"/>
                  </a:lnTo>
                  <a:lnTo>
                    <a:pt x="1989" y="1779"/>
                  </a:lnTo>
                  <a:lnTo>
                    <a:pt x="1926" y="1758"/>
                  </a:lnTo>
                  <a:lnTo>
                    <a:pt x="1905" y="1779"/>
                  </a:lnTo>
                  <a:lnTo>
                    <a:pt x="1800" y="1696"/>
                  </a:lnTo>
                  <a:lnTo>
                    <a:pt x="1800" y="1654"/>
                  </a:lnTo>
                  <a:lnTo>
                    <a:pt x="1758" y="1570"/>
                  </a:lnTo>
                  <a:lnTo>
                    <a:pt x="1696" y="1591"/>
                  </a:lnTo>
                  <a:lnTo>
                    <a:pt x="1654" y="1675"/>
                  </a:lnTo>
                  <a:lnTo>
                    <a:pt x="1570" y="1696"/>
                  </a:lnTo>
                  <a:lnTo>
                    <a:pt x="1591" y="1779"/>
                  </a:lnTo>
                  <a:lnTo>
                    <a:pt x="1654" y="1863"/>
                  </a:lnTo>
                  <a:lnTo>
                    <a:pt x="1654" y="1989"/>
                  </a:lnTo>
                  <a:lnTo>
                    <a:pt x="1717" y="2072"/>
                  </a:lnTo>
                  <a:lnTo>
                    <a:pt x="1800" y="2072"/>
                  </a:lnTo>
                  <a:lnTo>
                    <a:pt x="1926" y="2093"/>
                  </a:lnTo>
                  <a:lnTo>
                    <a:pt x="1968" y="2156"/>
                  </a:lnTo>
                  <a:lnTo>
                    <a:pt x="1905" y="2198"/>
                  </a:lnTo>
                  <a:lnTo>
                    <a:pt x="1968" y="2261"/>
                  </a:lnTo>
                  <a:cubicBezTo>
                    <a:pt x="1926" y="2281"/>
                    <a:pt x="1926" y="2323"/>
                    <a:pt x="1926" y="2365"/>
                  </a:cubicBezTo>
                  <a:lnTo>
                    <a:pt x="1905" y="2386"/>
                  </a:lnTo>
                  <a:lnTo>
                    <a:pt x="1863" y="2386"/>
                  </a:lnTo>
                  <a:lnTo>
                    <a:pt x="1779" y="2407"/>
                  </a:lnTo>
                  <a:lnTo>
                    <a:pt x="1675" y="2261"/>
                  </a:lnTo>
                  <a:lnTo>
                    <a:pt x="1612" y="2281"/>
                  </a:lnTo>
                  <a:cubicBezTo>
                    <a:pt x="1591" y="2261"/>
                    <a:pt x="1570" y="2261"/>
                    <a:pt x="1549" y="2219"/>
                  </a:cubicBezTo>
                  <a:lnTo>
                    <a:pt x="1549" y="2198"/>
                  </a:lnTo>
                  <a:lnTo>
                    <a:pt x="1465" y="2114"/>
                  </a:lnTo>
                  <a:lnTo>
                    <a:pt x="1465" y="2177"/>
                  </a:lnTo>
                  <a:cubicBezTo>
                    <a:pt x="1465" y="2177"/>
                    <a:pt x="1445" y="2177"/>
                    <a:pt x="1445" y="2156"/>
                  </a:cubicBezTo>
                  <a:cubicBezTo>
                    <a:pt x="1403" y="2156"/>
                    <a:pt x="1403" y="2156"/>
                    <a:pt x="1382" y="2177"/>
                  </a:cubicBezTo>
                  <a:lnTo>
                    <a:pt x="1403" y="2093"/>
                  </a:lnTo>
                  <a:lnTo>
                    <a:pt x="1382" y="2009"/>
                  </a:lnTo>
                  <a:lnTo>
                    <a:pt x="1298" y="1863"/>
                  </a:lnTo>
                  <a:lnTo>
                    <a:pt x="1235" y="1863"/>
                  </a:lnTo>
                  <a:lnTo>
                    <a:pt x="1089" y="1779"/>
                  </a:lnTo>
                  <a:lnTo>
                    <a:pt x="1026" y="1612"/>
                  </a:lnTo>
                  <a:lnTo>
                    <a:pt x="1047" y="1654"/>
                  </a:lnTo>
                  <a:lnTo>
                    <a:pt x="1173" y="1591"/>
                  </a:lnTo>
                  <a:lnTo>
                    <a:pt x="1173" y="1445"/>
                  </a:lnTo>
                  <a:lnTo>
                    <a:pt x="1131" y="1340"/>
                  </a:lnTo>
                  <a:lnTo>
                    <a:pt x="1193" y="1256"/>
                  </a:lnTo>
                  <a:lnTo>
                    <a:pt x="1298" y="1235"/>
                  </a:lnTo>
                  <a:lnTo>
                    <a:pt x="1382" y="1298"/>
                  </a:lnTo>
                  <a:lnTo>
                    <a:pt x="1445" y="1277"/>
                  </a:lnTo>
                  <a:lnTo>
                    <a:pt x="1486" y="1298"/>
                  </a:lnTo>
                  <a:lnTo>
                    <a:pt x="1507" y="1256"/>
                  </a:lnTo>
                  <a:lnTo>
                    <a:pt x="1549" y="1152"/>
                  </a:lnTo>
                  <a:lnTo>
                    <a:pt x="1445" y="1047"/>
                  </a:lnTo>
                  <a:lnTo>
                    <a:pt x="1382" y="1110"/>
                  </a:lnTo>
                  <a:lnTo>
                    <a:pt x="1256" y="1110"/>
                  </a:lnTo>
                  <a:lnTo>
                    <a:pt x="1193" y="1026"/>
                  </a:lnTo>
                  <a:lnTo>
                    <a:pt x="1152" y="921"/>
                  </a:lnTo>
                  <a:lnTo>
                    <a:pt x="1089" y="921"/>
                  </a:lnTo>
                  <a:lnTo>
                    <a:pt x="1152" y="859"/>
                  </a:lnTo>
                  <a:lnTo>
                    <a:pt x="1152" y="754"/>
                  </a:lnTo>
                  <a:lnTo>
                    <a:pt x="1131" y="754"/>
                  </a:lnTo>
                  <a:cubicBezTo>
                    <a:pt x="1131" y="733"/>
                    <a:pt x="1152" y="712"/>
                    <a:pt x="1152" y="691"/>
                  </a:cubicBezTo>
                  <a:lnTo>
                    <a:pt x="1173" y="691"/>
                  </a:lnTo>
                  <a:lnTo>
                    <a:pt x="1277" y="503"/>
                  </a:lnTo>
                  <a:lnTo>
                    <a:pt x="1256" y="377"/>
                  </a:lnTo>
                  <a:lnTo>
                    <a:pt x="1277" y="315"/>
                  </a:lnTo>
                  <a:lnTo>
                    <a:pt x="1256" y="210"/>
                  </a:lnTo>
                  <a:lnTo>
                    <a:pt x="1340" y="64"/>
                  </a:lnTo>
                  <a:lnTo>
                    <a:pt x="129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8" name="Google Shape;838;p34"/>
            <p:cNvSpPr/>
            <p:nvPr/>
          </p:nvSpPr>
          <p:spPr>
            <a:xfrm>
              <a:off x="3772256" y="2560208"/>
              <a:ext cx="138282" cy="153495"/>
            </a:xfrm>
            <a:custGeom>
              <a:avLst/>
              <a:gdLst/>
              <a:ahLst/>
              <a:cxnLst/>
              <a:rect l="l" t="t" r="r" b="b"/>
              <a:pathLst>
                <a:path w="11613" h="13497" extrusionOk="0">
                  <a:moveTo>
                    <a:pt x="9792" y="1"/>
                  </a:moveTo>
                  <a:lnTo>
                    <a:pt x="9709" y="64"/>
                  </a:lnTo>
                  <a:lnTo>
                    <a:pt x="9709" y="126"/>
                  </a:lnTo>
                  <a:lnTo>
                    <a:pt x="9792" y="231"/>
                  </a:lnTo>
                  <a:lnTo>
                    <a:pt x="9730" y="273"/>
                  </a:lnTo>
                  <a:lnTo>
                    <a:pt x="9688" y="273"/>
                  </a:lnTo>
                  <a:lnTo>
                    <a:pt x="9604" y="168"/>
                  </a:lnTo>
                  <a:lnTo>
                    <a:pt x="9541" y="231"/>
                  </a:lnTo>
                  <a:lnTo>
                    <a:pt x="9520" y="336"/>
                  </a:lnTo>
                  <a:lnTo>
                    <a:pt x="9541" y="357"/>
                  </a:lnTo>
                  <a:lnTo>
                    <a:pt x="9625" y="357"/>
                  </a:lnTo>
                  <a:lnTo>
                    <a:pt x="9688" y="419"/>
                  </a:lnTo>
                  <a:lnTo>
                    <a:pt x="9646" y="440"/>
                  </a:lnTo>
                  <a:lnTo>
                    <a:pt x="9604" y="482"/>
                  </a:lnTo>
                  <a:lnTo>
                    <a:pt x="9604" y="566"/>
                  </a:lnTo>
                  <a:lnTo>
                    <a:pt x="9520" y="587"/>
                  </a:lnTo>
                  <a:lnTo>
                    <a:pt x="9520" y="670"/>
                  </a:lnTo>
                  <a:lnTo>
                    <a:pt x="9541" y="691"/>
                  </a:lnTo>
                  <a:lnTo>
                    <a:pt x="9479" y="754"/>
                  </a:lnTo>
                  <a:lnTo>
                    <a:pt x="9520" y="859"/>
                  </a:lnTo>
                  <a:lnTo>
                    <a:pt x="9479" y="901"/>
                  </a:lnTo>
                  <a:lnTo>
                    <a:pt x="9416" y="859"/>
                  </a:lnTo>
                  <a:lnTo>
                    <a:pt x="9332" y="901"/>
                  </a:lnTo>
                  <a:lnTo>
                    <a:pt x="9332" y="942"/>
                  </a:lnTo>
                  <a:lnTo>
                    <a:pt x="9269" y="984"/>
                  </a:lnTo>
                  <a:lnTo>
                    <a:pt x="9228" y="880"/>
                  </a:lnTo>
                  <a:lnTo>
                    <a:pt x="9332" y="670"/>
                  </a:lnTo>
                  <a:lnTo>
                    <a:pt x="9269" y="649"/>
                  </a:lnTo>
                  <a:lnTo>
                    <a:pt x="9269" y="587"/>
                  </a:lnTo>
                  <a:lnTo>
                    <a:pt x="9311" y="545"/>
                  </a:lnTo>
                  <a:lnTo>
                    <a:pt x="9311" y="357"/>
                  </a:lnTo>
                  <a:lnTo>
                    <a:pt x="9290" y="315"/>
                  </a:lnTo>
                  <a:lnTo>
                    <a:pt x="9228" y="315"/>
                  </a:lnTo>
                  <a:lnTo>
                    <a:pt x="9102" y="545"/>
                  </a:lnTo>
                  <a:lnTo>
                    <a:pt x="9081" y="670"/>
                  </a:lnTo>
                  <a:lnTo>
                    <a:pt x="8956" y="880"/>
                  </a:lnTo>
                  <a:lnTo>
                    <a:pt x="8893" y="1005"/>
                  </a:lnTo>
                  <a:lnTo>
                    <a:pt x="8956" y="1068"/>
                  </a:lnTo>
                  <a:lnTo>
                    <a:pt x="8914" y="1193"/>
                  </a:lnTo>
                  <a:lnTo>
                    <a:pt x="8767" y="1361"/>
                  </a:lnTo>
                  <a:lnTo>
                    <a:pt x="8704" y="1382"/>
                  </a:lnTo>
                  <a:lnTo>
                    <a:pt x="8704" y="1298"/>
                  </a:lnTo>
                  <a:lnTo>
                    <a:pt x="8663" y="1214"/>
                  </a:lnTo>
                  <a:lnTo>
                    <a:pt x="8767" y="1068"/>
                  </a:lnTo>
                  <a:lnTo>
                    <a:pt x="8746" y="963"/>
                  </a:lnTo>
                  <a:lnTo>
                    <a:pt x="8788" y="880"/>
                  </a:lnTo>
                  <a:lnTo>
                    <a:pt x="8746" y="775"/>
                  </a:lnTo>
                  <a:lnTo>
                    <a:pt x="8893" y="587"/>
                  </a:lnTo>
                  <a:lnTo>
                    <a:pt x="8914" y="482"/>
                  </a:lnTo>
                  <a:lnTo>
                    <a:pt x="8956" y="461"/>
                  </a:lnTo>
                  <a:lnTo>
                    <a:pt x="8956" y="419"/>
                  </a:lnTo>
                  <a:lnTo>
                    <a:pt x="8851" y="419"/>
                  </a:lnTo>
                  <a:lnTo>
                    <a:pt x="8767" y="315"/>
                  </a:lnTo>
                  <a:lnTo>
                    <a:pt x="8704" y="336"/>
                  </a:lnTo>
                  <a:lnTo>
                    <a:pt x="8746" y="440"/>
                  </a:lnTo>
                  <a:lnTo>
                    <a:pt x="8663" y="482"/>
                  </a:lnTo>
                  <a:lnTo>
                    <a:pt x="8663" y="419"/>
                  </a:lnTo>
                  <a:lnTo>
                    <a:pt x="8579" y="336"/>
                  </a:lnTo>
                  <a:lnTo>
                    <a:pt x="8495" y="315"/>
                  </a:lnTo>
                  <a:lnTo>
                    <a:pt x="8432" y="336"/>
                  </a:lnTo>
                  <a:lnTo>
                    <a:pt x="8453" y="482"/>
                  </a:lnTo>
                  <a:lnTo>
                    <a:pt x="8391" y="545"/>
                  </a:lnTo>
                  <a:lnTo>
                    <a:pt x="8349" y="482"/>
                  </a:lnTo>
                  <a:lnTo>
                    <a:pt x="8286" y="461"/>
                  </a:lnTo>
                  <a:lnTo>
                    <a:pt x="8244" y="482"/>
                  </a:lnTo>
                  <a:lnTo>
                    <a:pt x="8265" y="545"/>
                  </a:lnTo>
                  <a:lnTo>
                    <a:pt x="8391" y="608"/>
                  </a:lnTo>
                  <a:lnTo>
                    <a:pt x="8432" y="733"/>
                  </a:lnTo>
                  <a:lnTo>
                    <a:pt x="8391" y="775"/>
                  </a:lnTo>
                  <a:lnTo>
                    <a:pt x="8349" y="691"/>
                  </a:lnTo>
                  <a:lnTo>
                    <a:pt x="8265" y="775"/>
                  </a:lnTo>
                  <a:lnTo>
                    <a:pt x="8265" y="838"/>
                  </a:lnTo>
                  <a:lnTo>
                    <a:pt x="8286" y="880"/>
                  </a:lnTo>
                  <a:lnTo>
                    <a:pt x="8265" y="901"/>
                  </a:lnTo>
                  <a:lnTo>
                    <a:pt x="8160" y="859"/>
                  </a:lnTo>
                  <a:lnTo>
                    <a:pt x="8119" y="859"/>
                  </a:lnTo>
                  <a:lnTo>
                    <a:pt x="8035" y="963"/>
                  </a:lnTo>
                  <a:lnTo>
                    <a:pt x="7951" y="1005"/>
                  </a:lnTo>
                  <a:lnTo>
                    <a:pt x="7951" y="1047"/>
                  </a:lnTo>
                  <a:lnTo>
                    <a:pt x="8014" y="1068"/>
                  </a:lnTo>
                  <a:lnTo>
                    <a:pt x="7909" y="1131"/>
                  </a:lnTo>
                  <a:lnTo>
                    <a:pt x="7868" y="1214"/>
                  </a:lnTo>
                  <a:lnTo>
                    <a:pt x="7972" y="1319"/>
                  </a:lnTo>
                  <a:lnTo>
                    <a:pt x="7909" y="1382"/>
                  </a:lnTo>
                  <a:lnTo>
                    <a:pt x="7972" y="1424"/>
                  </a:lnTo>
                  <a:lnTo>
                    <a:pt x="8035" y="1466"/>
                  </a:lnTo>
                  <a:lnTo>
                    <a:pt x="7972" y="1507"/>
                  </a:lnTo>
                  <a:lnTo>
                    <a:pt x="7847" y="1507"/>
                  </a:lnTo>
                  <a:lnTo>
                    <a:pt x="7805" y="1361"/>
                  </a:lnTo>
                  <a:lnTo>
                    <a:pt x="7742" y="1319"/>
                  </a:lnTo>
                  <a:lnTo>
                    <a:pt x="7805" y="1277"/>
                  </a:lnTo>
                  <a:lnTo>
                    <a:pt x="7721" y="1214"/>
                  </a:lnTo>
                  <a:lnTo>
                    <a:pt x="7491" y="1214"/>
                  </a:lnTo>
                  <a:lnTo>
                    <a:pt x="7303" y="1089"/>
                  </a:lnTo>
                  <a:lnTo>
                    <a:pt x="7240" y="1089"/>
                  </a:lnTo>
                  <a:lnTo>
                    <a:pt x="7198" y="1131"/>
                  </a:lnTo>
                  <a:lnTo>
                    <a:pt x="7177" y="1068"/>
                  </a:lnTo>
                  <a:lnTo>
                    <a:pt x="7072" y="1173"/>
                  </a:lnTo>
                  <a:lnTo>
                    <a:pt x="6968" y="1173"/>
                  </a:lnTo>
                  <a:lnTo>
                    <a:pt x="6968" y="1214"/>
                  </a:lnTo>
                  <a:lnTo>
                    <a:pt x="7093" y="1382"/>
                  </a:lnTo>
                  <a:lnTo>
                    <a:pt x="7177" y="1382"/>
                  </a:lnTo>
                  <a:lnTo>
                    <a:pt x="7219" y="1424"/>
                  </a:lnTo>
                  <a:lnTo>
                    <a:pt x="7344" y="1424"/>
                  </a:lnTo>
                  <a:lnTo>
                    <a:pt x="7303" y="1528"/>
                  </a:lnTo>
                  <a:lnTo>
                    <a:pt x="7303" y="1633"/>
                  </a:lnTo>
                  <a:lnTo>
                    <a:pt x="7407" y="1779"/>
                  </a:lnTo>
                  <a:lnTo>
                    <a:pt x="7386" y="1842"/>
                  </a:lnTo>
                  <a:lnTo>
                    <a:pt x="7303" y="1800"/>
                  </a:lnTo>
                  <a:lnTo>
                    <a:pt x="7219" y="1654"/>
                  </a:lnTo>
                  <a:lnTo>
                    <a:pt x="7114" y="1612"/>
                  </a:lnTo>
                  <a:lnTo>
                    <a:pt x="7072" y="1528"/>
                  </a:lnTo>
                  <a:lnTo>
                    <a:pt x="7031" y="1633"/>
                  </a:lnTo>
                  <a:lnTo>
                    <a:pt x="6968" y="1717"/>
                  </a:lnTo>
                  <a:lnTo>
                    <a:pt x="6926" y="1591"/>
                  </a:lnTo>
                  <a:lnTo>
                    <a:pt x="6863" y="1633"/>
                  </a:lnTo>
                  <a:lnTo>
                    <a:pt x="6863" y="1717"/>
                  </a:lnTo>
                  <a:lnTo>
                    <a:pt x="6759" y="1800"/>
                  </a:lnTo>
                  <a:lnTo>
                    <a:pt x="6759" y="1884"/>
                  </a:lnTo>
                  <a:lnTo>
                    <a:pt x="6884" y="1947"/>
                  </a:lnTo>
                  <a:lnTo>
                    <a:pt x="6926" y="2051"/>
                  </a:lnTo>
                  <a:lnTo>
                    <a:pt x="6821" y="2030"/>
                  </a:lnTo>
                  <a:lnTo>
                    <a:pt x="6779" y="1989"/>
                  </a:lnTo>
                  <a:lnTo>
                    <a:pt x="6696" y="2114"/>
                  </a:lnTo>
                  <a:lnTo>
                    <a:pt x="6675" y="2177"/>
                  </a:lnTo>
                  <a:lnTo>
                    <a:pt x="6549" y="2302"/>
                  </a:lnTo>
                  <a:lnTo>
                    <a:pt x="6549" y="2219"/>
                  </a:lnTo>
                  <a:lnTo>
                    <a:pt x="6654" y="2156"/>
                  </a:lnTo>
                  <a:lnTo>
                    <a:pt x="6591" y="2093"/>
                  </a:lnTo>
                  <a:lnTo>
                    <a:pt x="6696" y="1926"/>
                  </a:lnTo>
                  <a:lnTo>
                    <a:pt x="6612" y="1612"/>
                  </a:lnTo>
                  <a:lnTo>
                    <a:pt x="6549" y="1654"/>
                  </a:lnTo>
                  <a:lnTo>
                    <a:pt x="6403" y="1842"/>
                  </a:lnTo>
                  <a:lnTo>
                    <a:pt x="6403" y="2010"/>
                  </a:lnTo>
                  <a:lnTo>
                    <a:pt x="6445" y="2051"/>
                  </a:lnTo>
                  <a:lnTo>
                    <a:pt x="6340" y="2156"/>
                  </a:lnTo>
                  <a:lnTo>
                    <a:pt x="6340" y="2051"/>
                  </a:lnTo>
                  <a:lnTo>
                    <a:pt x="6382" y="1947"/>
                  </a:lnTo>
                  <a:lnTo>
                    <a:pt x="6340" y="1800"/>
                  </a:lnTo>
                  <a:lnTo>
                    <a:pt x="6277" y="1779"/>
                  </a:lnTo>
                  <a:lnTo>
                    <a:pt x="6173" y="1842"/>
                  </a:lnTo>
                  <a:lnTo>
                    <a:pt x="6089" y="1989"/>
                  </a:lnTo>
                  <a:lnTo>
                    <a:pt x="6152" y="2114"/>
                  </a:lnTo>
                  <a:lnTo>
                    <a:pt x="6152" y="2177"/>
                  </a:lnTo>
                  <a:lnTo>
                    <a:pt x="6298" y="2323"/>
                  </a:lnTo>
                  <a:lnTo>
                    <a:pt x="6340" y="2407"/>
                  </a:lnTo>
                  <a:lnTo>
                    <a:pt x="6277" y="2512"/>
                  </a:lnTo>
                  <a:lnTo>
                    <a:pt x="6235" y="2344"/>
                  </a:lnTo>
                  <a:lnTo>
                    <a:pt x="6131" y="2302"/>
                  </a:lnTo>
                  <a:lnTo>
                    <a:pt x="6047" y="2114"/>
                  </a:lnTo>
                  <a:lnTo>
                    <a:pt x="5984" y="2093"/>
                  </a:lnTo>
                  <a:lnTo>
                    <a:pt x="5859" y="2135"/>
                  </a:lnTo>
                  <a:lnTo>
                    <a:pt x="5838" y="2219"/>
                  </a:lnTo>
                  <a:lnTo>
                    <a:pt x="5984" y="2323"/>
                  </a:lnTo>
                  <a:lnTo>
                    <a:pt x="6047" y="2323"/>
                  </a:lnTo>
                  <a:lnTo>
                    <a:pt x="6089" y="2365"/>
                  </a:lnTo>
                  <a:lnTo>
                    <a:pt x="5984" y="2344"/>
                  </a:lnTo>
                  <a:lnTo>
                    <a:pt x="5880" y="2407"/>
                  </a:lnTo>
                  <a:lnTo>
                    <a:pt x="5963" y="2512"/>
                  </a:lnTo>
                  <a:lnTo>
                    <a:pt x="5838" y="2428"/>
                  </a:lnTo>
                  <a:lnTo>
                    <a:pt x="5838" y="2302"/>
                  </a:lnTo>
                  <a:lnTo>
                    <a:pt x="5775" y="2261"/>
                  </a:lnTo>
                  <a:lnTo>
                    <a:pt x="5754" y="2156"/>
                  </a:lnTo>
                  <a:lnTo>
                    <a:pt x="5712" y="2219"/>
                  </a:lnTo>
                  <a:lnTo>
                    <a:pt x="5671" y="2365"/>
                  </a:lnTo>
                  <a:lnTo>
                    <a:pt x="5733" y="2428"/>
                  </a:lnTo>
                  <a:lnTo>
                    <a:pt x="5712" y="2554"/>
                  </a:lnTo>
                  <a:lnTo>
                    <a:pt x="5629" y="2512"/>
                  </a:lnTo>
                  <a:lnTo>
                    <a:pt x="5545" y="2533"/>
                  </a:lnTo>
                  <a:lnTo>
                    <a:pt x="5419" y="2658"/>
                  </a:lnTo>
                  <a:lnTo>
                    <a:pt x="5440" y="2679"/>
                  </a:lnTo>
                  <a:lnTo>
                    <a:pt x="5524" y="2658"/>
                  </a:lnTo>
                  <a:lnTo>
                    <a:pt x="5608" y="2763"/>
                  </a:lnTo>
                  <a:lnTo>
                    <a:pt x="5503" y="2763"/>
                  </a:lnTo>
                  <a:lnTo>
                    <a:pt x="5440" y="2826"/>
                  </a:lnTo>
                  <a:lnTo>
                    <a:pt x="5503" y="2846"/>
                  </a:lnTo>
                  <a:lnTo>
                    <a:pt x="5461" y="2888"/>
                  </a:lnTo>
                  <a:lnTo>
                    <a:pt x="5357" y="2930"/>
                  </a:lnTo>
                  <a:lnTo>
                    <a:pt x="5357" y="2972"/>
                  </a:lnTo>
                  <a:lnTo>
                    <a:pt x="5399" y="2993"/>
                  </a:lnTo>
                  <a:lnTo>
                    <a:pt x="5336" y="2993"/>
                  </a:lnTo>
                  <a:lnTo>
                    <a:pt x="5294" y="2951"/>
                  </a:lnTo>
                  <a:lnTo>
                    <a:pt x="5210" y="2972"/>
                  </a:lnTo>
                  <a:lnTo>
                    <a:pt x="5127" y="3077"/>
                  </a:lnTo>
                  <a:lnTo>
                    <a:pt x="5147" y="3139"/>
                  </a:lnTo>
                  <a:lnTo>
                    <a:pt x="5127" y="3160"/>
                  </a:lnTo>
                  <a:lnTo>
                    <a:pt x="5022" y="3160"/>
                  </a:lnTo>
                  <a:lnTo>
                    <a:pt x="4938" y="3265"/>
                  </a:lnTo>
                  <a:lnTo>
                    <a:pt x="5043" y="3307"/>
                  </a:lnTo>
                  <a:lnTo>
                    <a:pt x="5315" y="3223"/>
                  </a:lnTo>
                  <a:lnTo>
                    <a:pt x="5357" y="3265"/>
                  </a:lnTo>
                  <a:lnTo>
                    <a:pt x="5461" y="3202"/>
                  </a:lnTo>
                  <a:lnTo>
                    <a:pt x="5524" y="3202"/>
                  </a:lnTo>
                  <a:lnTo>
                    <a:pt x="5524" y="3286"/>
                  </a:lnTo>
                  <a:lnTo>
                    <a:pt x="5461" y="3370"/>
                  </a:lnTo>
                  <a:lnTo>
                    <a:pt x="5440" y="3516"/>
                  </a:lnTo>
                  <a:lnTo>
                    <a:pt x="5419" y="3558"/>
                  </a:lnTo>
                  <a:lnTo>
                    <a:pt x="5357" y="3495"/>
                  </a:lnTo>
                  <a:lnTo>
                    <a:pt x="5336" y="3411"/>
                  </a:lnTo>
                  <a:lnTo>
                    <a:pt x="5252" y="3453"/>
                  </a:lnTo>
                  <a:lnTo>
                    <a:pt x="5210" y="3390"/>
                  </a:lnTo>
                  <a:lnTo>
                    <a:pt x="5106" y="3390"/>
                  </a:lnTo>
                  <a:lnTo>
                    <a:pt x="5127" y="3453"/>
                  </a:lnTo>
                  <a:lnTo>
                    <a:pt x="5106" y="3495"/>
                  </a:lnTo>
                  <a:lnTo>
                    <a:pt x="5022" y="3453"/>
                  </a:lnTo>
                  <a:lnTo>
                    <a:pt x="4938" y="3474"/>
                  </a:lnTo>
                  <a:lnTo>
                    <a:pt x="5043" y="3516"/>
                  </a:lnTo>
                  <a:lnTo>
                    <a:pt x="5085" y="3600"/>
                  </a:lnTo>
                  <a:lnTo>
                    <a:pt x="5022" y="3621"/>
                  </a:lnTo>
                  <a:lnTo>
                    <a:pt x="5001" y="3683"/>
                  </a:lnTo>
                  <a:lnTo>
                    <a:pt x="5001" y="3746"/>
                  </a:lnTo>
                  <a:lnTo>
                    <a:pt x="4980" y="3809"/>
                  </a:lnTo>
                  <a:lnTo>
                    <a:pt x="4938" y="3725"/>
                  </a:lnTo>
                  <a:lnTo>
                    <a:pt x="4938" y="3621"/>
                  </a:lnTo>
                  <a:lnTo>
                    <a:pt x="4875" y="3558"/>
                  </a:lnTo>
                  <a:lnTo>
                    <a:pt x="4792" y="3621"/>
                  </a:lnTo>
                  <a:lnTo>
                    <a:pt x="4708" y="3662"/>
                  </a:lnTo>
                  <a:lnTo>
                    <a:pt x="4666" y="3579"/>
                  </a:lnTo>
                  <a:lnTo>
                    <a:pt x="4687" y="3516"/>
                  </a:lnTo>
                  <a:lnTo>
                    <a:pt x="4624" y="3516"/>
                  </a:lnTo>
                  <a:lnTo>
                    <a:pt x="4520" y="3621"/>
                  </a:lnTo>
                  <a:lnTo>
                    <a:pt x="4603" y="3704"/>
                  </a:lnTo>
                  <a:lnTo>
                    <a:pt x="4729" y="3704"/>
                  </a:lnTo>
                  <a:lnTo>
                    <a:pt x="4834" y="3746"/>
                  </a:lnTo>
                  <a:lnTo>
                    <a:pt x="4792" y="3830"/>
                  </a:lnTo>
                  <a:lnTo>
                    <a:pt x="4583" y="3893"/>
                  </a:lnTo>
                  <a:lnTo>
                    <a:pt x="4520" y="3830"/>
                  </a:lnTo>
                  <a:lnTo>
                    <a:pt x="4457" y="3830"/>
                  </a:lnTo>
                  <a:lnTo>
                    <a:pt x="4394" y="3934"/>
                  </a:lnTo>
                  <a:lnTo>
                    <a:pt x="4478" y="4018"/>
                  </a:lnTo>
                  <a:lnTo>
                    <a:pt x="4394" y="4102"/>
                  </a:lnTo>
                  <a:lnTo>
                    <a:pt x="4478" y="4102"/>
                  </a:lnTo>
                  <a:lnTo>
                    <a:pt x="4583" y="3976"/>
                  </a:lnTo>
                  <a:lnTo>
                    <a:pt x="4687" y="3976"/>
                  </a:lnTo>
                  <a:lnTo>
                    <a:pt x="4729" y="4039"/>
                  </a:lnTo>
                  <a:lnTo>
                    <a:pt x="4583" y="4081"/>
                  </a:lnTo>
                  <a:lnTo>
                    <a:pt x="4562" y="4186"/>
                  </a:lnTo>
                  <a:lnTo>
                    <a:pt x="4603" y="4248"/>
                  </a:lnTo>
                  <a:lnTo>
                    <a:pt x="4729" y="4332"/>
                  </a:lnTo>
                  <a:lnTo>
                    <a:pt x="4729" y="4416"/>
                  </a:lnTo>
                  <a:lnTo>
                    <a:pt x="4666" y="4353"/>
                  </a:lnTo>
                  <a:lnTo>
                    <a:pt x="4583" y="4353"/>
                  </a:lnTo>
                  <a:lnTo>
                    <a:pt x="4499" y="4248"/>
                  </a:lnTo>
                  <a:lnTo>
                    <a:pt x="4457" y="4248"/>
                  </a:lnTo>
                  <a:lnTo>
                    <a:pt x="4373" y="4332"/>
                  </a:lnTo>
                  <a:lnTo>
                    <a:pt x="4457" y="4395"/>
                  </a:lnTo>
                  <a:lnTo>
                    <a:pt x="4352" y="4416"/>
                  </a:lnTo>
                  <a:lnTo>
                    <a:pt x="4248" y="4499"/>
                  </a:lnTo>
                  <a:lnTo>
                    <a:pt x="4248" y="4541"/>
                  </a:lnTo>
                  <a:lnTo>
                    <a:pt x="4352" y="4604"/>
                  </a:lnTo>
                  <a:lnTo>
                    <a:pt x="4457" y="4541"/>
                  </a:lnTo>
                  <a:lnTo>
                    <a:pt x="4499" y="4604"/>
                  </a:lnTo>
                  <a:lnTo>
                    <a:pt x="4603" y="4562"/>
                  </a:lnTo>
                  <a:lnTo>
                    <a:pt x="4624" y="4646"/>
                  </a:lnTo>
                  <a:lnTo>
                    <a:pt x="4708" y="4709"/>
                  </a:lnTo>
                  <a:lnTo>
                    <a:pt x="4708" y="4751"/>
                  </a:lnTo>
                  <a:lnTo>
                    <a:pt x="4562" y="4667"/>
                  </a:lnTo>
                  <a:lnTo>
                    <a:pt x="4415" y="4667"/>
                  </a:lnTo>
                  <a:lnTo>
                    <a:pt x="4373" y="4709"/>
                  </a:lnTo>
                  <a:lnTo>
                    <a:pt x="4206" y="4730"/>
                  </a:lnTo>
                  <a:lnTo>
                    <a:pt x="4206" y="4792"/>
                  </a:lnTo>
                  <a:lnTo>
                    <a:pt x="4143" y="4855"/>
                  </a:lnTo>
                  <a:lnTo>
                    <a:pt x="4080" y="4834"/>
                  </a:lnTo>
                  <a:lnTo>
                    <a:pt x="3955" y="4918"/>
                  </a:lnTo>
                  <a:lnTo>
                    <a:pt x="3871" y="4918"/>
                  </a:lnTo>
                  <a:lnTo>
                    <a:pt x="3850" y="4960"/>
                  </a:lnTo>
                  <a:lnTo>
                    <a:pt x="3955" y="4981"/>
                  </a:lnTo>
                  <a:lnTo>
                    <a:pt x="3997" y="5064"/>
                  </a:lnTo>
                  <a:lnTo>
                    <a:pt x="3934" y="5127"/>
                  </a:lnTo>
                  <a:lnTo>
                    <a:pt x="3871" y="5085"/>
                  </a:lnTo>
                  <a:lnTo>
                    <a:pt x="3850" y="5127"/>
                  </a:lnTo>
                  <a:lnTo>
                    <a:pt x="3934" y="5169"/>
                  </a:lnTo>
                  <a:lnTo>
                    <a:pt x="3892" y="5232"/>
                  </a:lnTo>
                  <a:lnTo>
                    <a:pt x="3787" y="5190"/>
                  </a:lnTo>
                  <a:lnTo>
                    <a:pt x="3766" y="5169"/>
                  </a:lnTo>
                  <a:lnTo>
                    <a:pt x="3746" y="5190"/>
                  </a:lnTo>
                  <a:lnTo>
                    <a:pt x="3829" y="5274"/>
                  </a:lnTo>
                  <a:lnTo>
                    <a:pt x="3766" y="5295"/>
                  </a:lnTo>
                  <a:lnTo>
                    <a:pt x="3787" y="5378"/>
                  </a:lnTo>
                  <a:lnTo>
                    <a:pt x="3850" y="5378"/>
                  </a:lnTo>
                  <a:lnTo>
                    <a:pt x="3787" y="5399"/>
                  </a:lnTo>
                  <a:lnTo>
                    <a:pt x="3725" y="5441"/>
                  </a:lnTo>
                  <a:lnTo>
                    <a:pt x="3662" y="5378"/>
                  </a:lnTo>
                  <a:lnTo>
                    <a:pt x="3662" y="5462"/>
                  </a:lnTo>
                  <a:lnTo>
                    <a:pt x="3641" y="5504"/>
                  </a:lnTo>
                  <a:lnTo>
                    <a:pt x="3683" y="5546"/>
                  </a:lnTo>
                  <a:lnTo>
                    <a:pt x="3850" y="5587"/>
                  </a:lnTo>
                  <a:lnTo>
                    <a:pt x="3871" y="5671"/>
                  </a:lnTo>
                  <a:lnTo>
                    <a:pt x="3934" y="5671"/>
                  </a:lnTo>
                  <a:lnTo>
                    <a:pt x="4039" y="5650"/>
                  </a:lnTo>
                  <a:lnTo>
                    <a:pt x="3955" y="5692"/>
                  </a:lnTo>
                  <a:lnTo>
                    <a:pt x="3955" y="5755"/>
                  </a:lnTo>
                  <a:lnTo>
                    <a:pt x="3850" y="5755"/>
                  </a:lnTo>
                  <a:lnTo>
                    <a:pt x="3829" y="5713"/>
                  </a:lnTo>
                  <a:lnTo>
                    <a:pt x="3662" y="5713"/>
                  </a:lnTo>
                  <a:lnTo>
                    <a:pt x="3557" y="5818"/>
                  </a:lnTo>
                  <a:lnTo>
                    <a:pt x="3578" y="5839"/>
                  </a:lnTo>
                  <a:lnTo>
                    <a:pt x="3683" y="5839"/>
                  </a:lnTo>
                  <a:lnTo>
                    <a:pt x="3725" y="5922"/>
                  </a:lnTo>
                  <a:lnTo>
                    <a:pt x="3766" y="5985"/>
                  </a:lnTo>
                  <a:lnTo>
                    <a:pt x="3766" y="6069"/>
                  </a:lnTo>
                  <a:lnTo>
                    <a:pt x="3683" y="6006"/>
                  </a:lnTo>
                  <a:lnTo>
                    <a:pt x="3641" y="6006"/>
                  </a:lnTo>
                  <a:lnTo>
                    <a:pt x="3578" y="6069"/>
                  </a:lnTo>
                  <a:lnTo>
                    <a:pt x="3578" y="6131"/>
                  </a:lnTo>
                  <a:lnTo>
                    <a:pt x="3557" y="6173"/>
                  </a:lnTo>
                  <a:lnTo>
                    <a:pt x="3620" y="6215"/>
                  </a:lnTo>
                  <a:lnTo>
                    <a:pt x="3641" y="6299"/>
                  </a:lnTo>
                  <a:lnTo>
                    <a:pt x="3578" y="6299"/>
                  </a:lnTo>
                  <a:lnTo>
                    <a:pt x="3515" y="6236"/>
                  </a:lnTo>
                  <a:lnTo>
                    <a:pt x="3474" y="6278"/>
                  </a:lnTo>
                  <a:lnTo>
                    <a:pt x="3474" y="6341"/>
                  </a:lnTo>
                  <a:lnTo>
                    <a:pt x="3578" y="6362"/>
                  </a:lnTo>
                  <a:lnTo>
                    <a:pt x="3578" y="6424"/>
                  </a:lnTo>
                  <a:lnTo>
                    <a:pt x="3578" y="6508"/>
                  </a:lnTo>
                  <a:lnTo>
                    <a:pt x="3453" y="6403"/>
                  </a:lnTo>
                  <a:lnTo>
                    <a:pt x="3411" y="6445"/>
                  </a:lnTo>
                  <a:lnTo>
                    <a:pt x="3411" y="6529"/>
                  </a:lnTo>
                  <a:lnTo>
                    <a:pt x="3432" y="6529"/>
                  </a:lnTo>
                  <a:lnTo>
                    <a:pt x="3432" y="6634"/>
                  </a:lnTo>
                  <a:lnTo>
                    <a:pt x="3474" y="6738"/>
                  </a:lnTo>
                  <a:lnTo>
                    <a:pt x="3536" y="6738"/>
                  </a:lnTo>
                  <a:lnTo>
                    <a:pt x="3578" y="6634"/>
                  </a:lnTo>
                  <a:lnTo>
                    <a:pt x="3641" y="6634"/>
                  </a:lnTo>
                  <a:lnTo>
                    <a:pt x="3578" y="6759"/>
                  </a:lnTo>
                  <a:lnTo>
                    <a:pt x="3536" y="6801"/>
                  </a:lnTo>
                  <a:lnTo>
                    <a:pt x="3432" y="6885"/>
                  </a:lnTo>
                  <a:lnTo>
                    <a:pt x="3348" y="6885"/>
                  </a:lnTo>
                  <a:lnTo>
                    <a:pt x="3264" y="6927"/>
                  </a:lnTo>
                  <a:lnTo>
                    <a:pt x="3264" y="6968"/>
                  </a:lnTo>
                  <a:lnTo>
                    <a:pt x="3202" y="7031"/>
                  </a:lnTo>
                  <a:lnTo>
                    <a:pt x="3118" y="7073"/>
                  </a:lnTo>
                  <a:lnTo>
                    <a:pt x="3202" y="7136"/>
                  </a:lnTo>
                  <a:lnTo>
                    <a:pt x="3160" y="7157"/>
                  </a:lnTo>
                  <a:lnTo>
                    <a:pt x="3013" y="7178"/>
                  </a:lnTo>
                  <a:lnTo>
                    <a:pt x="2950" y="7261"/>
                  </a:lnTo>
                  <a:lnTo>
                    <a:pt x="2950" y="7324"/>
                  </a:lnTo>
                  <a:lnTo>
                    <a:pt x="3055" y="7345"/>
                  </a:lnTo>
                  <a:lnTo>
                    <a:pt x="2992" y="7387"/>
                  </a:lnTo>
                  <a:lnTo>
                    <a:pt x="2930" y="7492"/>
                  </a:lnTo>
                  <a:lnTo>
                    <a:pt x="2846" y="7492"/>
                  </a:lnTo>
                  <a:lnTo>
                    <a:pt x="2825" y="7408"/>
                  </a:lnTo>
                  <a:lnTo>
                    <a:pt x="2783" y="7366"/>
                  </a:lnTo>
                  <a:lnTo>
                    <a:pt x="2741" y="7408"/>
                  </a:lnTo>
                  <a:lnTo>
                    <a:pt x="2678" y="7408"/>
                  </a:lnTo>
                  <a:lnTo>
                    <a:pt x="2699" y="7492"/>
                  </a:lnTo>
                  <a:lnTo>
                    <a:pt x="2637" y="7554"/>
                  </a:lnTo>
                  <a:lnTo>
                    <a:pt x="2637" y="7596"/>
                  </a:lnTo>
                  <a:lnTo>
                    <a:pt x="2678" y="7659"/>
                  </a:lnTo>
                  <a:lnTo>
                    <a:pt x="2532" y="7659"/>
                  </a:lnTo>
                  <a:lnTo>
                    <a:pt x="2490" y="7680"/>
                  </a:lnTo>
                  <a:lnTo>
                    <a:pt x="2490" y="7805"/>
                  </a:lnTo>
                  <a:lnTo>
                    <a:pt x="2386" y="7868"/>
                  </a:lnTo>
                  <a:lnTo>
                    <a:pt x="2406" y="7910"/>
                  </a:lnTo>
                  <a:lnTo>
                    <a:pt x="2386" y="8015"/>
                  </a:lnTo>
                  <a:lnTo>
                    <a:pt x="2302" y="8098"/>
                  </a:lnTo>
                  <a:lnTo>
                    <a:pt x="2197" y="8182"/>
                  </a:lnTo>
                  <a:lnTo>
                    <a:pt x="2218" y="8224"/>
                  </a:lnTo>
                  <a:lnTo>
                    <a:pt x="2365" y="8161"/>
                  </a:lnTo>
                  <a:lnTo>
                    <a:pt x="2406" y="8161"/>
                  </a:lnTo>
                  <a:lnTo>
                    <a:pt x="2406" y="8224"/>
                  </a:lnTo>
                  <a:lnTo>
                    <a:pt x="2323" y="8266"/>
                  </a:lnTo>
                  <a:lnTo>
                    <a:pt x="2323" y="8370"/>
                  </a:lnTo>
                  <a:lnTo>
                    <a:pt x="2386" y="8454"/>
                  </a:lnTo>
                  <a:lnTo>
                    <a:pt x="2511" y="8391"/>
                  </a:lnTo>
                  <a:lnTo>
                    <a:pt x="2637" y="8370"/>
                  </a:lnTo>
                  <a:lnTo>
                    <a:pt x="2804" y="8203"/>
                  </a:lnTo>
                  <a:lnTo>
                    <a:pt x="2804" y="8119"/>
                  </a:lnTo>
                  <a:lnTo>
                    <a:pt x="2720" y="8161"/>
                  </a:lnTo>
                  <a:lnTo>
                    <a:pt x="2804" y="8056"/>
                  </a:lnTo>
                  <a:lnTo>
                    <a:pt x="2825" y="7910"/>
                  </a:lnTo>
                  <a:lnTo>
                    <a:pt x="2846" y="7910"/>
                  </a:lnTo>
                  <a:lnTo>
                    <a:pt x="2909" y="7868"/>
                  </a:lnTo>
                  <a:lnTo>
                    <a:pt x="3013" y="7889"/>
                  </a:lnTo>
                  <a:lnTo>
                    <a:pt x="3055" y="7889"/>
                  </a:lnTo>
                  <a:lnTo>
                    <a:pt x="2909" y="7994"/>
                  </a:lnTo>
                  <a:lnTo>
                    <a:pt x="2909" y="8056"/>
                  </a:lnTo>
                  <a:lnTo>
                    <a:pt x="3055" y="8098"/>
                  </a:lnTo>
                  <a:lnTo>
                    <a:pt x="3013" y="8182"/>
                  </a:lnTo>
                  <a:lnTo>
                    <a:pt x="2930" y="8182"/>
                  </a:lnTo>
                  <a:lnTo>
                    <a:pt x="2783" y="8370"/>
                  </a:lnTo>
                  <a:lnTo>
                    <a:pt x="2888" y="8412"/>
                  </a:lnTo>
                  <a:lnTo>
                    <a:pt x="2804" y="8496"/>
                  </a:lnTo>
                  <a:lnTo>
                    <a:pt x="2825" y="8600"/>
                  </a:lnTo>
                  <a:lnTo>
                    <a:pt x="2720" y="8580"/>
                  </a:lnTo>
                  <a:lnTo>
                    <a:pt x="2637" y="8496"/>
                  </a:lnTo>
                  <a:lnTo>
                    <a:pt x="2511" y="8496"/>
                  </a:lnTo>
                  <a:lnTo>
                    <a:pt x="2427" y="8538"/>
                  </a:lnTo>
                  <a:lnTo>
                    <a:pt x="2427" y="8642"/>
                  </a:lnTo>
                  <a:lnTo>
                    <a:pt x="2365" y="8705"/>
                  </a:lnTo>
                  <a:lnTo>
                    <a:pt x="2260" y="8747"/>
                  </a:lnTo>
                  <a:lnTo>
                    <a:pt x="2260" y="8747"/>
                  </a:lnTo>
                  <a:lnTo>
                    <a:pt x="2323" y="8684"/>
                  </a:lnTo>
                  <a:lnTo>
                    <a:pt x="2386" y="8642"/>
                  </a:lnTo>
                  <a:lnTo>
                    <a:pt x="2302" y="8538"/>
                  </a:lnTo>
                  <a:lnTo>
                    <a:pt x="2302" y="8433"/>
                  </a:lnTo>
                  <a:lnTo>
                    <a:pt x="2218" y="8328"/>
                  </a:lnTo>
                  <a:lnTo>
                    <a:pt x="2155" y="8328"/>
                  </a:lnTo>
                  <a:lnTo>
                    <a:pt x="2093" y="8412"/>
                  </a:lnTo>
                  <a:lnTo>
                    <a:pt x="1988" y="8412"/>
                  </a:lnTo>
                  <a:lnTo>
                    <a:pt x="1988" y="8454"/>
                  </a:lnTo>
                  <a:lnTo>
                    <a:pt x="2155" y="8454"/>
                  </a:lnTo>
                  <a:lnTo>
                    <a:pt x="1988" y="8600"/>
                  </a:lnTo>
                  <a:lnTo>
                    <a:pt x="1883" y="8580"/>
                  </a:lnTo>
                  <a:lnTo>
                    <a:pt x="1800" y="8580"/>
                  </a:lnTo>
                  <a:lnTo>
                    <a:pt x="1695" y="8684"/>
                  </a:lnTo>
                  <a:lnTo>
                    <a:pt x="1758" y="8705"/>
                  </a:lnTo>
                  <a:lnTo>
                    <a:pt x="1842" y="8684"/>
                  </a:lnTo>
                  <a:lnTo>
                    <a:pt x="1862" y="8705"/>
                  </a:lnTo>
                  <a:lnTo>
                    <a:pt x="1737" y="8789"/>
                  </a:lnTo>
                  <a:lnTo>
                    <a:pt x="1674" y="8831"/>
                  </a:lnTo>
                  <a:lnTo>
                    <a:pt x="1632" y="8789"/>
                  </a:lnTo>
                  <a:lnTo>
                    <a:pt x="1549" y="8789"/>
                  </a:lnTo>
                  <a:lnTo>
                    <a:pt x="1549" y="8831"/>
                  </a:lnTo>
                  <a:lnTo>
                    <a:pt x="1674" y="8914"/>
                  </a:lnTo>
                  <a:lnTo>
                    <a:pt x="1800" y="8914"/>
                  </a:lnTo>
                  <a:lnTo>
                    <a:pt x="1779" y="8977"/>
                  </a:lnTo>
                  <a:lnTo>
                    <a:pt x="1862" y="9019"/>
                  </a:lnTo>
                  <a:lnTo>
                    <a:pt x="1842" y="9103"/>
                  </a:lnTo>
                  <a:lnTo>
                    <a:pt x="1695" y="9040"/>
                  </a:lnTo>
                  <a:lnTo>
                    <a:pt x="1695" y="8956"/>
                  </a:lnTo>
                  <a:lnTo>
                    <a:pt x="1590" y="8956"/>
                  </a:lnTo>
                  <a:lnTo>
                    <a:pt x="1486" y="8893"/>
                  </a:lnTo>
                  <a:lnTo>
                    <a:pt x="1465" y="8810"/>
                  </a:lnTo>
                  <a:lnTo>
                    <a:pt x="1444" y="8810"/>
                  </a:lnTo>
                  <a:lnTo>
                    <a:pt x="1423" y="8914"/>
                  </a:lnTo>
                  <a:lnTo>
                    <a:pt x="1528" y="9040"/>
                  </a:lnTo>
                  <a:lnTo>
                    <a:pt x="1632" y="9124"/>
                  </a:lnTo>
                  <a:lnTo>
                    <a:pt x="1695" y="9124"/>
                  </a:lnTo>
                  <a:lnTo>
                    <a:pt x="1758" y="9165"/>
                  </a:lnTo>
                  <a:lnTo>
                    <a:pt x="1653" y="9165"/>
                  </a:lnTo>
                  <a:lnTo>
                    <a:pt x="1486" y="9124"/>
                  </a:lnTo>
                  <a:lnTo>
                    <a:pt x="1360" y="8956"/>
                  </a:lnTo>
                  <a:lnTo>
                    <a:pt x="1277" y="8977"/>
                  </a:lnTo>
                  <a:lnTo>
                    <a:pt x="1214" y="8935"/>
                  </a:lnTo>
                  <a:lnTo>
                    <a:pt x="1067" y="8935"/>
                  </a:lnTo>
                  <a:lnTo>
                    <a:pt x="1026" y="8893"/>
                  </a:lnTo>
                  <a:lnTo>
                    <a:pt x="963" y="8935"/>
                  </a:lnTo>
                  <a:lnTo>
                    <a:pt x="1005" y="9019"/>
                  </a:lnTo>
                  <a:lnTo>
                    <a:pt x="942" y="9061"/>
                  </a:lnTo>
                  <a:lnTo>
                    <a:pt x="1026" y="9165"/>
                  </a:lnTo>
                  <a:lnTo>
                    <a:pt x="1214" y="9124"/>
                  </a:lnTo>
                  <a:lnTo>
                    <a:pt x="1235" y="9144"/>
                  </a:lnTo>
                  <a:lnTo>
                    <a:pt x="1151" y="9207"/>
                  </a:lnTo>
                  <a:lnTo>
                    <a:pt x="1214" y="9228"/>
                  </a:lnTo>
                  <a:lnTo>
                    <a:pt x="1339" y="9165"/>
                  </a:lnTo>
                  <a:lnTo>
                    <a:pt x="1423" y="9165"/>
                  </a:lnTo>
                  <a:lnTo>
                    <a:pt x="1381" y="9228"/>
                  </a:lnTo>
                  <a:lnTo>
                    <a:pt x="1214" y="9312"/>
                  </a:lnTo>
                  <a:lnTo>
                    <a:pt x="1151" y="9375"/>
                  </a:lnTo>
                  <a:lnTo>
                    <a:pt x="1026" y="9354"/>
                  </a:lnTo>
                  <a:lnTo>
                    <a:pt x="942" y="9228"/>
                  </a:lnTo>
                  <a:lnTo>
                    <a:pt x="900" y="9228"/>
                  </a:lnTo>
                  <a:lnTo>
                    <a:pt x="837" y="9270"/>
                  </a:lnTo>
                  <a:lnTo>
                    <a:pt x="753" y="9207"/>
                  </a:lnTo>
                  <a:lnTo>
                    <a:pt x="691" y="9249"/>
                  </a:lnTo>
                  <a:lnTo>
                    <a:pt x="628" y="9228"/>
                  </a:lnTo>
                  <a:lnTo>
                    <a:pt x="544" y="9270"/>
                  </a:lnTo>
                  <a:lnTo>
                    <a:pt x="586" y="9333"/>
                  </a:lnTo>
                  <a:lnTo>
                    <a:pt x="753" y="9354"/>
                  </a:lnTo>
                  <a:lnTo>
                    <a:pt x="858" y="9416"/>
                  </a:lnTo>
                  <a:lnTo>
                    <a:pt x="1005" y="9479"/>
                  </a:lnTo>
                  <a:lnTo>
                    <a:pt x="963" y="9584"/>
                  </a:lnTo>
                  <a:lnTo>
                    <a:pt x="1026" y="9668"/>
                  </a:lnTo>
                  <a:lnTo>
                    <a:pt x="921" y="9688"/>
                  </a:lnTo>
                  <a:lnTo>
                    <a:pt x="900" y="9668"/>
                  </a:lnTo>
                  <a:lnTo>
                    <a:pt x="900" y="9500"/>
                  </a:lnTo>
                  <a:lnTo>
                    <a:pt x="795" y="9479"/>
                  </a:lnTo>
                  <a:lnTo>
                    <a:pt x="691" y="9479"/>
                  </a:lnTo>
                  <a:lnTo>
                    <a:pt x="733" y="9563"/>
                  </a:lnTo>
                  <a:lnTo>
                    <a:pt x="712" y="9626"/>
                  </a:lnTo>
                  <a:lnTo>
                    <a:pt x="586" y="9542"/>
                  </a:lnTo>
                  <a:lnTo>
                    <a:pt x="481" y="9668"/>
                  </a:lnTo>
                  <a:lnTo>
                    <a:pt x="586" y="9730"/>
                  </a:lnTo>
                  <a:lnTo>
                    <a:pt x="502" y="9751"/>
                  </a:lnTo>
                  <a:lnTo>
                    <a:pt x="440" y="9772"/>
                  </a:lnTo>
                  <a:lnTo>
                    <a:pt x="398" y="9668"/>
                  </a:lnTo>
                  <a:lnTo>
                    <a:pt x="230" y="9647"/>
                  </a:lnTo>
                  <a:lnTo>
                    <a:pt x="293" y="9772"/>
                  </a:lnTo>
                  <a:lnTo>
                    <a:pt x="209" y="9793"/>
                  </a:lnTo>
                  <a:lnTo>
                    <a:pt x="189" y="9688"/>
                  </a:lnTo>
                  <a:lnTo>
                    <a:pt x="105" y="9626"/>
                  </a:lnTo>
                  <a:lnTo>
                    <a:pt x="63" y="9647"/>
                  </a:lnTo>
                  <a:lnTo>
                    <a:pt x="63" y="9688"/>
                  </a:lnTo>
                  <a:lnTo>
                    <a:pt x="168" y="9793"/>
                  </a:lnTo>
                  <a:lnTo>
                    <a:pt x="105" y="9856"/>
                  </a:lnTo>
                  <a:lnTo>
                    <a:pt x="168" y="9898"/>
                  </a:lnTo>
                  <a:lnTo>
                    <a:pt x="293" y="9877"/>
                  </a:lnTo>
                  <a:lnTo>
                    <a:pt x="481" y="9898"/>
                  </a:lnTo>
                  <a:lnTo>
                    <a:pt x="586" y="9981"/>
                  </a:lnTo>
                  <a:lnTo>
                    <a:pt x="733" y="9981"/>
                  </a:lnTo>
                  <a:lnTo>
                    <a:pt x="795" y="9940"/>
                  </a:lnTo>
                  <a:lnTo>
                    <a:pt x="858" y="9940"/>
                  </a:lnTo>
                  <a:lnTo>
                    <a:pt x="753" y="10023"/>
                  </a:lnTo>
                  <a:lnTo>
                    <a:pt x="607" y="10023"/>
                  </a:lnTo>
                  <a:lnTo>
                    <a:pt x="544" y="10065"/>
                  </a:lnTo>
                  <a:lnTo>
                    <a:pt x="377" y="9960"/>
                  </a:lnTo>
                  <a:lnTo>
                    <a:pt x="272" y="9981"/>
                  </a:lnTo>
                  <a:lnTo>
                    <a:pt x="209" y="9981"/>
                  </a:lnTo>
                  <a:lnTo>
                    <a:pt x="126" y="10023"/>
                  </a:lnTo>
                  <a:lnTo>
                    <a:pt x="0" y="10065"/>
                  </a:lnTo>
                  <a:lnTo>
                    <a:pt x="0" y="10107"/>
                  </a:lnTo>
                  <a:lnTo>
                    <a:pt x="189" y="10191"/>
                  </a:lnTo>
                  <a:lnTo>
                    <a:pt x="105" y="10274"/>
                  </a:lnTo>
                  <a:lnTo>
                    <a:pt x="209" y="10295"/>
                  </a:lnTo>
                  <a:lnTo>
                    <a:pt x="272" y="10253"/>
                  </a:lnTo>
                  <a:lnTo>
                    <a:pt x="419" y="10253"/>
                  </a:lnTo>
                  <a:lnTo>
                    <a:pt x="314" y="10316"/>
                  </a:lnTo>
                  <a:lnTo>
                    <a:pt x="126" y="10316"/>
                  </a:lnTo>
                  <a:lnTo>
                    <a:pt x="105" y="10358"/>
                  </a:lnTo>
                  <a:lnTo>
                    <a:pt x="63" y="10358"/>
                  </a:lnTo>
                  <a:lnTo>
                    <a:pt x="63" y="10379"/>
                  </a:lnTo>
                  <a:lnTo>
                    <a:pt x="126" y="10400"/>
                  </a:lnTo>
                  <a:lnTo>
                    <a:pt x="189" y="10400"/>
                  </a:lnTo>
                  <a:lnTo>
                    <a:pt x="105" y="10463"/>
                  </a:lnTo>
                  <a:lnTo>
                    <a:pt x="63" y="10484"/>
                  </a:lnTo>
                  <a:lnTo>
                    <a:pt x="63" y="10525"/>
                  </a:lnTo>
                  <a:lnTo>
                    <a:pt x="105" y="10546"/>
                  </a:lnTo>
                  <a:lnTo>
                    <a:pt x="168" y="10630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523" y="10546"/>
                  </a:lnTo>
                  <a:lnTo>
                    <a:pt x="649" y="10588"/>
                  </a:lnTo>
                  <a:lnTo>
                    <a:pt x="691" y="10609"/>
                  </a:lnTo>
                  <a:lnTo>
                    <a:pt x="753" y="10546"/>
                  </a:lnTo>
                  <a:lnTo>
                    <a:pt x="753" y="10484"/>
                  </a:lnTo>
                  <a:lnTo>
                    <a:pt x="837" y="10463"/>
                  </a:lnTo>
                  <a:lnTo>
                    <a:pt x="858" y="10525"/>
                  </a:lnTo>
                  <a:lnTo>
                    <a:pt x="963" y="10525"/>
                  </a:lnTo>
                  <a:lnTo>
                    <a:pt x="1067" y="10421"/>
                  </a:lnTo>
                  <a:lnTo>
                    <a:pt x="1130" y="10463"/>
                  </a:lnTo>
                  <a:lnTo>
                    <a:pt x="1130" y="10505"/>
                  </a:lnTo>
                  <a:lnTo>
                    <a:pt x="1046" y="10525"/>
                  </a:lnTo>
                  <a:lnTo>
                    <a:pt x="1151" y="10588"/>
                  </a:lnTo>
                  <a:lnTo>
                    <a:pt x="1214" y="10525"/>
                  </a:lnTo>
                  <a:lnTo>
                    <a:pt x="1214" y="10463"/>
                  </a:lnTo>
                  <a:lnTo>
                    <a:pt x="1277" y="10358"/>
                  </a:lnTo>
                  <a:lnTo>
                    <a:pt x="1256" y="10421"/>
                  </a:lnTo>
                  <a:lnTo>
                    <a:pt x="1339" y="10525"/>
                  </a:lnTo>
                  <a:lnTo>
                    <a:pt x="1277" y="10609"/>
                  </a:lnTo>
                  <a:lnTo>
                    <a:pt x="1130" y="10672"/>
                  </a:lnTo>
                  <a:lnTo>
                    <a:pt x="1046" y="10714"/>
                  </a:lnTo>
                  <a:lnTo>
                    <a:pt x="1109" y="10735"/>
                  </a:lnTo>
                  <a:lnTo>
                    <a:pt x="1046" y="10839"/>
                  </a:lnTo>
                  <a:lnTo>
                    <a:pt x="921" y="10839"/>
                  </a:lnTo>
                  <a:lnTo>
                    <a:pt x="921" y="10797"/>
                  </a:lnTo>
                  <a:lnTo>
                    <a:pt x="963" y="10735"/>
                  </a:lnTo>
                  <a:lnTo>
                    <a:pt x="942" y="10630"/>
                  </a:lnTo>
                  <a:lnTo>
                    <a:pt x="837" y="10609"/>
                  </a:lnTo>
                  <a:lnTo>
                    <a:pt x="733" y="10735"/>
                  </a:lnTo>
                  <a:lnTo>
                    <a:pt x="712" y="10797"/>
                  </a:lnTo>
                  <a:lnTo>
                    <a:pt x="628" y="10693"/>
                  </a:lnTo>
                  <a:lnTo>
                    <a:pt x="523" y="10672"/>
                  </a:lnTo>
                  <a:lnTo>
                    <a:pt x="419" y="10693"/>
                  </a:lnTo>
                  <a:lnTo>
                    <a:pt x="335" y="10672"/>
                  </a:lnTo>
                  <a:lnTo>
                    <a:pt x="209" y="10735"/>
                  </a:lnTo>
                  <a:lnTo>
                    <a:pt x="126" y="10735"/>
                  </a:lnTo>
                  <a:lnTo>
                    <a:pt x="63" y="10693"/>
                  </a:lnTo>
                  <a:lnTo>
                    <a:pt x="21" y="10693"/>
                  </a:lnTo>
                  <a:lnTo>
                    <a:pt x="63" y="10797"/>
                  </a:lnTo>
                  <a:lnTo>
                    <a:pt x="21" y="10839"/>
                  </a:lnTo>
                  <a:lnTo>
                    <a:pt x="84" y="10902"/>
                  </a:lnTo>
                  <a:lnTo>
                    <a:pt x="168" y="10881"/>
                  </a:lnTo>
                  <a:lnTo>
                    <a:pt x="209" y="10818"/>
                  </a:lnTo>
                  <a:lnTo>
                    <a:pt x="293" y="10818"/>
                  </a:lnTo>
                  <a:lnTo>
                    <a:pt x="209" y="10902"/>
                  </a:lnTo>
                  <a:lnTo>
                    <a:pt x="209" y="11007"/>
                  </a:lnTo>
                  <a:lnTo>
                    <a:pt x="168" y="11049"/>
                  </a:lnTo>
                  <a:lnTo>
                    <a:pt x="84" y="11007"/>
                  </a:lnTo>
                  <a:lnTo>
                    <a:pt x="126" y="11132"/>
                  </a:lnTo>
                  <a:lnTo>
                    <a:pt x="189" y="11195"/>
                  </a:lnTo>
                  <a:lnTo>
                    <a:pt x="335" y="11007"/>
                  </a:lnTo>
                  <a:lnTo>
                    <a:pt x="481" y="11049"/>
                  </a:lnTo>
                  <a:lnTo>
                    <a:pt x="419" y="11111"/>
                  </a:lnTo>
                  <a:lnTo>
                    <a:pt x="419" y="11195"/>
                  </a:lnTo>
                  <a:lnTo>
                    <a:pt x="293" y="11258"/>
                  </a:lnTo>
                  <a:lnTo>
                    <a:pt x="314" y="11300"/>
                  </a:lnTo>
                  <a:lnTo>
                    <a:pt x="398" y="11321"/>
                  </a:lnTo>
                  <a:lnTo>
                    <a:pt x="377" y="11404"/>
                  </a:lnTo>
                  <a:lnTo>
                    <a:pt x="419" y="11467"/>
                  </a:lnTo>
                  <a:lnTo>
                    <a:pt x="377" y="11572"/>
                  </a:lnTo>
                  <a:lnTo>
                    <a:pt x="419" y="11572"/>
                  </a:lnTo>
                  <a:lnTo>
                    <a:pt x="502" y="11446"/>
                  </a:lnTo>
                  <a:lnTo>
                    <a:pt x="586" y="11425"/>
                  </a:lnTo>
                  <a:lnTo>
                    <a:pt x="607" y="11300"/>
                  </a:lnTo>
                  <a:lnTo>
                    <a:pt x="816" y="11216"/>
                  </a:lnTo>
                  <a:lnTo>
                    <a:pt x="921" y="11216"/>
                  </a:lnTo>
                  <a:lnTo>
                    <a:pt x="1005" y="11195"/>
                  </a:lnTo>
                  <a:lnTo>
                    <a:pt x="942" y="11237"/>
                  </a:lnTo>
                  <a:lnTo>
                    <a:pt x="837" y="11321"/>
                  </a:lnTo>
                  <a:lnTo>
                    <a:pt x="837" y="11446"/>
                  </a:lnTo>
                  <a:lnTo>
                    <a:pt x="858" y="11530"/>
                  </a:lnTo>
                  <a:lnTo>
                    <a:pt x="795" y="11467"/>
                  </a:lnTo>
                  <a:lnTo>
                    <a:pt x="753" y="11341"/>
                  </a:lnTo>
                  <a:lnTo>
                    <a:pt x="712" y="11341"/>
                  </a:lnTo>
                  <a:lnTo>
                    <a:pt x="628" y="11467"/>
                  </a:lnTo>
                  <a:lnTo>
                    <a:pt x="586" y="11509"/>
                  </a:lnTo>
                  <a:lnTo>
                    <a:pt x="691" y="11530"/>
                  </a:lnTo>
                  <a:lnTo>
                    <a:pt x="586" y="11655"/>
                  </a:lnTo>
                  <a:lnTo>
                    <a:pt x="502" y="11655"/>
                  </a:lnTo>
                  <a:lnTo>
                    <a:pt x="481" y="11739"/>
                  </a:lnTo>
                  <a:lnTo>
                    <a:pt x="523" y="11760"/>
                  </a:lnTo>
                  <a:lnTo>
                    <a:pt x="691" y="11760"/>
                  </a:lnTo>
                  <a:lnTo>
                    <a:pt x="733" y="11823"/>
                  </a:lnTo>
                  <a:lnTo>
                    <a:pt x="607" y="11844"/>
                  </a:lnTo>
                  <a:lnTo>
                    <a:pt x="586" y="11885"/>
                  </a:lnTo>
                  <a:lnTo>
                    <a:pt x="544" y="11969"/>
                  </a:lnTo>
                  <a:lnTo>
                    <a:pt x="440" y="11885"/>
                  </a:lnTo>
                  <a:lnTo>
                    <a:pt x="398" y="11927"/>
                  </a:lnTo>
                  <a:lnTo>
                    <a:pt x="377" y="12032"/>
                  </a:lnTo>
                  <a:lnTo>
                    <a:pt x="335" y="11885"/>
                  </a:lnTo>
                  <a:lnTo>
                    <a:pt x="272" y="11948"/>
                  </a:lnTo>
                  <a:lnTo>
                    <a:pt x="168" y="12074"/>
                  </a:lnTo>
                  <a:lnTo>
                    <a:pt x="209" y="12178"/>
                  </a:lnTo>
                  <a:lnTo>
                    <a:pt x="335" y="12367"/>
                  </a:lnTo>
                  <a:lnTo>
                    <a:pt x="398" y="12262"/>
                  </a:lnTo>
                  <a:lnTo>
                    <a:pt x="419" y="12283"/>
                  </a:lnTo>
                  <a:lnTo>
                    <a:pt x="502" y="12262"/>
                  </a:lnTo>
                  <a:lnTo>
                    <a:pt x="481" y="12199"/>
                  </a:lnTo>
                  <a:lnTo>
                    <a:pt x="523" y="12095"/>
                  </a:lnTo>
                  <a:lnTo>
                    <a:pt x="649" y="12178"/>
                  </a:lnTo>
                  <a:lnTo>
                    <a:pt x="607" y="12241"/>
                  </a:lnTo>
                  <a:lnTo>
                    <a:pt x="649" y="12304"/>
                  </a:lnTo>
                  <a:lnTo>
                    <a:pt x="628" y="12388"/>
                  </a:lnTo>
                  <a:lnTo>
                    <a:pt x="586" y="12450"/>
                  </a:lnTo>
                  <a:lnTo>
                    <a:pt x="628" y="12597"/>
                  </a:lnTo>
                  <a:lnTo>
                    <a:pt x="691" y="12555"/>
                  </a:lnTo>
                  <a:lnTo>
                    <a:pt x="816" y="12513"/>
                  </a:lnTo>
                  <a:lnTo>
                    <a:pt x="900" y="12597"/>
                  </a:lnTo>
                  <a:lnTo>
                    <a:pt x="753" y="12597"/>
                  </a:lnTo>
                  <a:lnTo>
                    <a:pt x="712" y="12639"/>
                  </a:lnTo>
                  <a:lnTo>
                    <a:pt x="753" y="12722"/>
                  </a:lnTo>
                  <a:lnTo>
                    <a:pt x="753" y="12785"/>
                  </a:lnTo>
                  <a:lnTo>
                    <a:pt x="544" y="12618"/>
                  </a:lnTo>
                  <a:lnTo>
                    <a:pt x="481" y="12639"/>
                  </a:lnTo>
                  <a:lnTo>
                    <a:pt x="419" y="12597"/>
                  </a:lnTo>
                  <a:lnTo>
                    <a:pt x="314" y="12597"/>
                  </a:lnTo>
                  <a:lnTo>
                    <a:pt x="314" y="12701"/>
                  </a:lnTo>
                  <a:lnTo>
                    <a:pt x="272" y="12764"/>
                  </a:lnTo>
                  <a:lnTo>
                    <a:pt x="419" y="12994"/>
                  </a:lnTo>
                  <a:lnTo>
                    <a:pt x="523" y="13015"/>
                  </a:lnTo>
                  <a:lnTo>
                    <a:pt x="691" y="13141"/>
                  </a:lnTo>
                  <a:lnTo>
                    <a:pt x="900" y="13245"/>
                  </a:lnTo>
                  <a:lnTo>
                    <a:pt x="921" y="13308"/>
                  </a:lnTo>
                  <a:lnTo>
                    <a:pt x="858" y="13329"/>
                  </a:lnTo>
                  <a:lnTo>
                    <a:pt x="963" y="13413"/>
                  </a:lnTo>
                  <a:lnTo>
                    <a:pt x="1026" y="13392"/>
                  </a:lnTo>
                  <a:lnTo>
                    <a:pt x="1005" y="13287"/>
                  </a:lnTo>
                  <a:lnTo>
                    <a:pt x="1067" y="13287"/>
                  </a:lnTo>
                  <a:lnTo>
                    <a:pt x="1151" y="13329"/>
                  </a:lnTo>
                  <a:lnTo>
                    <a:pt x="1130" y="13350"/>
                  </a:lnTo>
                  <a:lnTo>
                    <a:pt x="1235" y="13497"/>
                  </a:lnTo>
                  <a:lnTo>
                    <a:pt x="1277" y="13434"/>
                  </a:lnTo>
                  <a:lnTo>
                    <a:pt x="1339" y="13455"/>
                  </a:lnTo>
                  <a:lnTo>
                    <a:pt x="1444" y="13413"/>
                  </a:lnTo>
                  <a:lnTo>
                    <a:pt x="1570" y="13308"/>
                  </a:lnTo>
                  <a:lnTo>
                    <a:pt x="1632" y="13287"/>
                  </a:lnTo>
                  <a:lnTo>
                    <a:pt x="1653" y="13225"/>
                  </a:lnTo>
                  <a:lnTo>
                    <a:pt x="1674" y="13245"/>
                  </a:lnTo>
                  <a:lnTo>
                    <a:pt x="1695" y="13329"/>
                  </a:lnTo>
                  <a:lnTo>
                    <a:pt x="1779" y="13329"/>
                  </a:lnTo>
                  <a:lnTo>
                    <a:pt x="1988" y="13120"/>
                  </a:lnTo>
                  <a:lnTo>
                    <a:pt x="1967" y="13078"/>
                  </a:lnTo>
                  <a:lnTo>
                    <a:pt x="1883" y="12932"/>
                  </a:lnTo>
                  <a:lnTo>
                    <a:pt x="2051" y="13036"/>
                  </a:lnTo>
                  <a:lnTo>
                    <a:pt x="2155" y="12911"/>
                  </a:lnTo>
                  <a:lnTo>
                    <a:pt x="2114" y="12890"/>
                  </a:lnTo>
                  <a:lnTo>
                    <a:pt x="2197" y="12827"/>
                  </a:lnTo>
                  <a:lnTo>
                    <a:pt x="2176" y="12764"/>
                  </a:lnTo>
                  <a:lnTo>
                    <a:pt x="2281" y="12701"/>
                  </a:lnTo>
                  <a:lnTo>
                    <a:pt x="2386" y="12681"/>
                  </a:lnTo>
                  <a:lnTo>
                    <a:pt x="2386" y="12597"/>
                  </a:lnTo>
                  <a:lnTo>
                    <a:pt x="2302" y="12492"/>
                  </a:lnTo>
                  <a:lnTo>
                    <a:pt x="2323" y="12409"/>
                  </a:lnTo>
                  <a:lnTo>
                    <a:pt x="2260" y="12304"/>
                  </a:lnTo>
                  <a:lnTo>
                    <a:pt x="2155" y="12241"/>
                  </a:lnTo>
                  <a:lnTo>
                    <a:pt x="2176" y="12157"/>
                  </a:lnTo>
                  <a:lnTo>
                    <a:pt x="2218" y="12178"/>
                  </a:lnTo>
                  <a:lnTo>
                    <a:pt x="2323" y="12304"/>
                  </a:lnTo>
                  <a:lnTo>
                    <a:pt x="2386" y="12471"/>
                  </a:lnTo>
                  <a:lnTo>
                    <a:pt x="2406" y="12492"/>
                  </a:lnTo>
                  <a:lnTo>
                    <a:pt x="2490" y="12513"/>
                  </a:lnTo>
                  <a:lnTo>
                    <a:pt x="2469" y="12576"/>
                  </a:lnTo>
                  <a:lnTo>
                    <a:pt x="2511" y="12639"/>
                  </a:lnTo>
                  <a:lnTo>
                    <a:pt x="2616" y="12597"/>
                  </a:lnTo>
                  <a:lnTo>
                    <a:pt x="2595" y="12513"/>
                  </a:lnTo>
                  <a:lnTo>
                    <a:pt x="2532" y="12492"/>
                  </a:lnTo>
                  <a:lnTo>
                    <a:pt x="2595" y="12409"/>
                  </a:lnTo>
                  <a:lnTo>
                    <a:pt x="2678" y="12492"/>
                  </a:lnTo>
                  <a:lnTo>
                    <a:pt x="2699" y="12555"/>
                  </a:lnTo>
                  <a:lnTo>
                    <a:pt x="2825" y="12409"/>
                  </a:lnTo>
                  <a:lnTo>
                    <a:pt x="2846" y="12283"/>
                  </a:lnTo>
                  <a:lnTo>
                    <a:pt x="2825" y="12178"/>
                  </a:lnTo>
                  <a:lnTo>
                    <a:pt x="2741" y="12157"/>
                  </a:lnTo>
                  <a:lnTo>
                    <a:pt x="2720" y="12074"/>
                  </a:lnTo>
                  <a:lnTo>
                    <a:pt x="2783" y="12053"/>
                  </a:lnTo>
                  <a:lnTo>
                    <a:pt x="2783" y="11990"/>
                  </a:lnTo>
                  <a:lnTo>
                    <a:pt x="2825" y="11990"/>
                  </a:lnTo>
                  <a:lnTo>
                    <a:pt x="2888" y="11948"/>
                  </a:lnTo>
                  <a:lnTo>
                    <a:pt x="2825" y="11865"/>
                  </a:lnTo>
                  <a:lnTo>
                    <a:pt x="2825" y="11760"/>
                  </a:lnTo>
                  <a:lnTo>
                    <a:pt x="2909" y="11718"/>
                  </a:lnTo>
                  <a:lnTo>
                    <a:pt x="2992" y="11781"/>
                  </a:lnTo>
                  <a:lnTo>
                    <a:pt x="2930" y="11885"/>
                  </a:lnTo>
                  <a:lnTo>
                    <a:pt x="2950" y="12032"/>
                  </a:lnTo>
                  <a:lnTo>
                    <a:pt x="2930" y="12095"/>
                  </a:lnTo>
                  <a:lnTo>
                    <a:pt x="2992" y="12199"/>
                  </a:lnTo>
                  <a:lnTo>
                    <a:pt x="3013" y="12283"/>
                  </a:lnTo>
                  <a:lnTo>
                    <a:pt x="3118" y="12409"/>
                  </a:lnTo>
                  <a:lnTo>
                    <a:pt x="3264" y="12409"/>
                  </a:lnTo>
                  <a:lnTo>
                    <a:pt x="3327" y="12450"/>
                  </a:lnTo>
                  <a:lnTo>
                    <a:pt x="3264" y="12492"/>
                  </a:lnTo>
                  <a:lnTo>
                    <a:pt x="3348" y="12555"/>
                  </a:lnTo>
                  <a:lnTo>
                    <a:pt x="3432" y="12639"/>
                  </a:lnTo>
                  <a:lnTo>
                    <a:pt x="3474" y="12555"/>
                  </a:lnTo>
                  <a:lnTo>
                    <a:pt x="3453" y="12178"/>
                  </a:lnTo>
                  <a:lnTo>
                    <a:pt x="3369" y="12032"/>
                  </a:lnTo>
                  <a:lnTo>
                    <a:pt x="3432" y="11948"/>
                  </a:lnTo>
                  <a:lnTo>
                    <a:pt x="3515" y="11885"/>
                  </a:lnTo>
                  <a:lnTo>
                    <a:pt x="3432" y="11781"/>
                  </a:lnTo>
                  <a:lnTo>
                    <a:pt x="3474" y="11718"/>
                  </a:lnTo>
                  <a:lnTo>
                    <a:pt x="3662" y="11676"/>
                  </a:lnTo>
                  <a:lnTo>
                    <a:pt x="3683" y="11593"/>
                  </a:lnTo>
                  <a:lnTo>
                    <a:pt x="3683" y="11467"/>
                  </a:lnTo>
                  <a:lnTo>
                    <a:pt x="3766" y="11321"/>
                  </a:lnTo>
                  <a:lnTo>
                    <a:pt x="3683" y="11195"/>
                  </a:lnTo>
                  <a:lnTo>
                    <a:pt x="3662" y="10923"/>
                  </a:lnTo>
                  <a:lnTo>
                    <a:pt x="3536" y="10714"/>
                  </a:lnTo>
                  <a:lnTo>
                    <a:pt x="3557" y="10609"/>
                  </a:lnTo>
                  <a:lnTo>
                    <a:pt x="3829" y="10525"/>
                  </a:lnTo>
                  <a:lnTo>
                    <a:pt x="3829" y="10358"/>
                  </a:lnTo>
                  <a:lnTo>
                    <a:pt x="3871" y="10212"/>
                  </a:lnTo>
                  <a:lnTo>
                    <a:pt x="3662" y="10002"/>
                  </a:lnTo>
                  <a:lnTo>
                    <a:pt x="3515" y="9898"/>
                  </a:lnTo>
                  <a:lnTo>
                    <a:pt x="3515" y="9688"/>
                  </a:lnTo>
                  <a:lnTo>
                    <a:pt x="3536" y="9479"/>
                  </a:lnTo>
                  <a:lnTo>
                    <a:pt x="3515" y="9249"/>
                  </a:lnTo>
                  <a:lnTo>
                    <a:pt x="3453" y="9103"/>
                  </a:lnTo>
                  <a:lnTo>
                    <a:pt x="3515" y="8914"/>
                  </a:lnTo>
                  <a:lnTo>
                    <a:pt x="3453" y="8621"/>
                  </a:lnTo>
                  <a:lnTo>
                    <a:pt x="3411" y="8308"/>
                  </a:lnTo>
                  <a:lnTo>
                    <a:pt x="3453" y="8077"/>
                  </a:lnTo>
                  <a:lnTo>
                    <a:pt x="3578" y="7847"/>
                  </a:lnTo>
                  <a:lnTo>
                    <a:pt x="3683" y="7764"/>
                  </a:lnTo>
                  <a:lnTo>
                    <a:pt x="3850" y="7784"/>
                  </a:lnTo>
                  <a:lnTo>
                    <a:pt x="4059" y="7805"/>
                  </a:lnTo>
                  <a:lnTo>
                    <a:pt x="4164" y="7680"/>
                  </a:lnTo>
                  <a:lnTo>
                    <a:pt x="4143" y="7450"/>
                  </a:lnTo>
                  <a:lnTo>
                    <a:pt x="4080" y="7366"/>
                  </a:lnTo>
                  <a:lnTo>
                    <a:pt x="4080" y="7240"/>
                  </a:lnTo>
                  <a:lnTo>
                    <a:pt x="4290" y="6738"/>
                  </a:lnTo>
                  <a:lnTo>
                    <a:pt x="4290" y="6487"/>
                  </a:lnTo>
                  <a:lnTo>
                    <a:pt x="4352" y="6215"/>
                  </a:lnTo>
                  <a:lnTo>
                    <a:pt x="4394" y="6069"/>
                  </a:lnTo>
                  <a:lnTo>
                    <a:pt x="4394" y="5901"/>
                  </a:lnTo>
                  <a:lnTo>
                    <a:pt x="4311" y="5818"/>
                  </a:lnTo>
                  <a:lnTo>
                    <a:pt x="4311" y="5692"/>
                  </a:lnTo>
                  <a:lnTo>
                    <a:pt x="4499" y="5587"/>
                  </a:lnTo>
                  <a:lnTo>
                    <a:pt x="4708" y="5567"/>
                  </a:lnTo>
                  <a:lnTo>
                    <a:pt x="4792" y="5483"/>
                  </a:lnTo>
                  <a:lnTo>
                    <a:pt x="4813" y="5357"/>
                  </a:lnTo>
                  <a:lnTo>
                    <a:pt x="4980" y="5064"/>
                  </a:lnTo>
                  <a:lnTo>
                    <a:pt x="5127" y="4855"/>
                  </a:lnTo>
                  <a:lnTo>
                    <a:pt x="5189" y="4730"/>
                  </a:lnTo>
                  <a:lnTo>
                    <a:pt x="5106" y="4541"/>
                  </a:lnTo>
                  <a:lnTo>
                    <a:pt x="5043" y="4458"/>
                  </a:lnTo>
                  <a:lnTo>
                    <a:pt x="5043" y="4206"/>
                  </a:lnTo>
                  <a:lnTo>
                    <a:pt x="5127" y="4186"/>
                  </a:lnTo>
                  <a:lnTo>
                    <a:pt x="5189" y="4081"/>
                  </a:lnTo>
                  <a:lnTo>
                    <a:pt x="5231" y="3934"/>
                  </a:lnTo>
                  <a:lnTo>
                    <a:pt x="5315" y="3893"/>
                  </a:lnTo>
                  <a:lnTo>
                    <a:pt x="5399" y="3704"/>
                  </a:lnTo>
                  <a:lnTo>
                    <a:pt x="5524" y="3600"/>
                  </a:lnTo>
                  <a:lnTo>
                    <a:pt x="5629" y="3683"/>
                  </a:lnTo>
                  <a:lnTo>
                    <a:pt x="5712" y="3725"/>
                  </a:lnTo>
                  <a:lnTo>
                    <a:pt x="5754" y="3725"/>
                  </a:lnTo>
                  <a:lnTo>
                    <a:pt x="5859" y="3621"/>
                  </a:lnTo>
                  <a:lnTo>
                    <a:pt x="5775" y="3516"/>
                  </a:lnTo>
                  <a:lnTo>
                    <a:pt x="5859" y="3474"/>
                  </a:lnTo>
                  <a:lnTo>
                    <a:pt x="5859" y="3390"/>
                  </a:lnTo>
                  <a:lnTo>
                    <a:pt x="5880" y="3349"/>
                  </a:lnTo>
                  <a:lnTo>
                    <a:pt x="5775" y="3181"/>
                  </a:lnTo>
                  <a:lnTo>
                    <a:pt x="5838" y="3160"/>
                  </a:lnTo>
                  <a:lnTo>
                    <a:pt x="6026" y="3160"/>
                  </a:lnTo>
                  <a:lnTo>
                    <a:pt x="6152" y="3077"/>
                  </a:lnTo>
                  <a:lnTo>
                    <a:pt x="6340" y="3139"/>
                  </a:lnTo>
                  <a:lnTo>
                    <a:pt x="6445" y="3202"/>
                  </a:lnTo>
                  <a:lnTo>
                    <a:pt x="6570" y="3223"/>
                  </a:lnTo>
                  <a:lnTo>
                    <a:pt x="6654" y="3286"/>
                  </a:lnTo>
                  <a:lnTo>
                    <a:pt x="6696" y="3265"/>
                  </a:lnTo>
                  <a:lnTo>
                    <a:pt x="6759" y="3307"/>
                  </a:lnTo>
                  <a:lnTo>
                    <a:pt x="6759" y="3160"/>
                  </a:lnTo>
                  <a:lnTo>
                    <a:pt x="6696" y="3077"/>
                  </a:lnTo>
                  <a:lnTo>
                    <a:pt x="6717" y="2888"/>
                  </a:lnTo>
                  <a:lnTo>
                    <a:pt x="6800" y="2846"/>
                  </a:lnTo>
                  <a:lnTo>
                    <a:pt x="6779" y="2700"/>
                  </a:lnTo>
                  <a:lnTo>
                    <a:pt x="6696" y="2658"/>
                  </a:lnTo>
                  <a:lnTo>
                    <a:pt x="6675" y="2554"/>
                  </a:lnTo>
                  <a:lnTo>
                    <a:pt x="6675" y="2554"/>
                  </a:lnTo>
                  <a:lnTo>
                    <a:pt x="6800" y="2616"/>
                  </a:lnTo>
                  <a:lnTo>
                    <a:pt x="6926" y="2574"/>
                  </a:lnTo>
                  <a:lnTo>
                    <a:pt x="6989" y="2554"/>
                  </a:lnTo>
                  <a:lnTo>
                    <a:pt x="7010" y="2533"/>
                  </a:lnTo>
                  <a:lnTo>
                    <a:pt x="7072" y="2533"/>
                  </a:lnTo>
                  <a:lnTo>
                    <a:pt x="7093" y="2512"/>
                  </a:lnTo>
                  <a:lnTo>
                    <a:pt x="7072" y="2428"/>
                  </a:lnTo>
                  <a:lnTo>
                    <a:pt x="7093" y="2323"/>
                  </a:lnTo>
                  <a:lnTo>
                    <a:pt x="7177" y="2261"/>
                  </a:lnTo>
                  <a:lnTo>
                    <a:pt x="7282" y="2261"/>
                  </a:lnTo>
                  <a:lnTo>
                    <a:pt x="7344" y="2407"/>
                  </a:lnTo>
                  <a:lnTo>
                    <a:pt x="7616" y="2616"/>
                  </a:lnTo>
                  <a:lnTo>
                    <a:pt x="7637" y="2742"/>
                  </a:lnTo>
                  <a:lnTo>
                    <a:pt x="7742" y="2846"/>
                  </a:lnTo>
                  <a:lnTo>
                    <a:pt x="7909" y="2930"/>
                  </a:lnTo>
                  <a:lnTo>
                    <a:pt x="8160" y="2930"/>
                  </a:lnTo>
                  <a:lnTo>
                    <a:pt x="8328" y="2784"/>
                  </a:lnTo>
                  <a:lnTo>
                    <a:pt x="8391" y="2700"/>
                  </a:lnTo>
                  <a:lnTo>
                    <a:pt x="8495" y="2700"/>
                  </a:lnTo>
                  <a:lnTo>
                    <a:pt x="8704" y="2846"/>
                  </a:lnTo>
                  <a:lnTo>
                    <a:pt x="8851" y="2867"/>
                  </a:lnTo>
                  <a:lnTo>
                    <a:pt x="8893" y="2742"/>
                  </a:lnTo>
                  <a:lnTo>
                    <a:pt x="8976" y="2679"/>
                  </a:lnTo>
                  <a:lnTo>
                    <a:pt x="9060" y="2616"/>
                  </a:lnTo>
                  <a:lnTo>
                    <a:pt x="9165" y="2616"/>
                  </a:lnTo>
                  <a:lnTo>
                    <a:pt x="9269" y="2554"/>
                  </a:lnTo>
                  <a:lnTo>
                    <a:pt x="9311" y="2470"/>
                  </a:lnTo>
                  <a:lnTo>
                    <a:pt x="9269" y="2365"/>
                  </a:lnTo>
                  <a:lnTo>
                    <a:pt x="9207" y="2219"/>
                  </a:lnTo>
                  <a:lnTo>
                    <a:pt x="9228" y="1905"/>
                  </a:lnTo>
                  <a:lnTo>
                    <a:pt x="9290" y="1821"/>
                  </a:lnTo>
                  <a:lnTo>
                    <a:pt x="9228" y="1717"/>
                  </a:lnTo>
                  <a:lnTo>
                    <a:pt x="9290" y="1696"/>
                  </a:lnTo>
                  <a:lnTo>
                    <a:pt x="9395" y="1570"/>
                  </a:lnTo>
                  <a:lnTo>
                    <a:pt x="9374" y="1507"/>
                  </a:lnTo>
                  <a:lnTo>
                    <a:pt x="9500" y="1424"/>
                  </a:lnTo>
                  <a:lnTo>
                    <a:pt x="9646" y="1486"/>
                  </a:lnTo>
                  <a:lnTo>
                    <a:pt x="9730" y="1466"/>
                  </a:lnTo>
                  <a:lnTo>
                    <a:pt x="9730" y="1403"/>
                  </a:lnTo>
                  <a:lnTo>
                    <a:pt x="9813" y="1298"/>
                  </a:lnTo>
                  <a:lnTo>
                    <a:pt x="10065" y="1298"/>
                  </a:lnTo>
                  <a:lnTo>
                    <a:pt x="10169" y="1382"/>
                  </a:lnTo>
                  <a:lnTo>
                    <a:pt x="10316" y="1528"/>
                  </a:lnTo>
                  <a:lnTo>
                    <a:pt x="10378" y="1633"/>
                  </a:lnTo>
                  <a:lnTo>
                    <a:pt x="10525" y="1654"/>
                  </a:lnTo>
                  <a:lnTo>
                    <a:pt x="10692" y="1696"/>
                  </a:lnTo>
                  <a:lnTo>
                    <a:pt x="10755" y="1800"/>
                  </a:lnTo>
                  <a:lnTo>
                    <a:pt x="10860" y="1905"/>
                  </a:lnTo>
                  <a:lnTo>
                    <a:pt x="10839" y="2030"/>
                  </a:lnTo>
                  <a:lnTo>
                    <a:pt x="10734" y="2177"/>
                  </a:lnTo>
                  <a:lnTo>
                    <a:pt x="10755" y="2428"/>
                  </a:lnTo>
                  <a:lnTo>
                    <a:pt x="10839" y="2428"/>
                  </a:lnTo>
                  <a:lnTo>
                    <a:pt x="10839" y="2219"/>
                  </a:lnTo>
                  <a:lnTo>
                    <a:pt x="10985" y="2051"/>
                  </a:lnTo>
                  <a:lnTo>
                    <a:pt x="11111" y="2030"/>
                  </a:lnTo>
                  <a:lnTo>
                    <a:pt x="11194" y="1926"/>
                  </a:lnTo>
                  <a:lnTo>
                    <a:pt x="11194" y="1779"/>
                  </a:lnTo>
                  <a:lnTo>
                    <a:pt x="11299" y="1738"/>
                  </a:lnTo>
                  <a:lnTo>
                    <a:pt x="11404" y="1800"/>
                  </a:lnTo>
                  <a:lnTo>
                    <a:pt x="11487" y="1717"/>
                  </a:lnTo>
                  <a:lnTo>
                    <a:pt x="11487" y="1591"/>
                  </a:lnTo>
                  <a:lnTo>
                    <a:pt x="11425" y="1591"/>
                  </a:lnTo>
                  <a:lnTo>
                    <a:pt x="11362" y="1507"/>
                  </a:lnTo>
                  <a:lnTo>
                    <a:pt x="11299" y="1507"/>
                  </a:lnTo>
                  <a:lnTo>
                    <a:pt x="11278" y="1528"/>
                  </a:lnTo>
                  <a:lnTo>
                    <a:pt x="11278" y="1612"/>
                  </a:lnTo>
                  <a:lnTo>
                    <a:pt x="11215" y="1570"/>
                  </a:lnTo>
                  <a:lnTo>
                    <a:pt x="11194" y="1507"/>
                  </a:lnTo>
                  <a:lnTo>
                    <a:pt x="11153" y="1507"/>
                  </a:lnTo>
                  <a:lnTo>
                    <a:pt x="11153" y="1570"/>
                  </a:lnTo>
                  <a:lnTo>
                    <a:pt x="11111" y="1696"/>
                  </a:lnTo>
                  <a:lnTo>
                    <a:pt x="11090" y="1654"/>
                  </a:lnTo>
                  <a:lnTo>
                    <a:pt x="11048" y="1591"/>
                  </a:lnTo>
                  <a:lnTo>
                    <a:pt x="10964" y="1633"/>
                  </a:lnTo>
                  <a:lnTo>
                    <a:pt x="10943" y="1696"/>
                  </a:lnTo>
                  <a:lnTo>
                    <a:pt x="10901" y="1612"/>
                  </a:lnTo>
                  <a:lnTo>
                    <a:pt x="10881" y="1486"/>
                  </a:lnTo>
                  <a:lnTo>
                    <a:pt x="10839" y="1486"/>
                  </a:lnTo>
                  <a:lnTo>
                    <a:pt x="10776" y="1361"/>
                  </a:lnTo>
                  <a:lnTo>
                    <a:pt x="10734" y="1319"/>
                  </a:lnTo>
                  <a:lnTo>
                    <a:pt x="10650" y="1319"/>
                  </a:lnTo>
                  <a:lnTo>
                    <a:pt x="10567" y="1298"/>
                  </a:lnTo>
                  <a:lnTo>
                    <a:pt x="10420" y="1277"/>
                  </a:lnTo>
                  <a:lnTo>
                    <a:pt x="10357" y="1193"/>
                  </a:lnTo>
                  <a:lnTo>
                    <a:pt x="10378" y="1173"/>
                  </a:lnTo>
                  <a:lnTo>
                    <a:pt x="10546" y="1214"/>
                  </a:lnTo>
                  <a:lnTo>
                    <a:pt x="10692" y="1193"/>
                  </a:lnTo>
                  <a:lnTo>
                    <a:pt x="10797" y="1214"/>
                  </a:lnTo>
                  <a:lnTo>
                    <a:pt x="11048" y="1256"/>
                  </a:lnTo>
                  <a:lnTo>
                    <a:pt x="11194" y="1193"/>
                  </a:lnTo>
                  <a:lnTo>
                    <a:pt x="11299" y="984"/>
                  </a:lnTo>
                  <a:lnTo>
                    <a:pt x="11508" y="942"/>
                  </a:lnTo>
                  <a:lnTo>
                    <a:pt x="11613" y="859"/>
                  </a:lnTo>
                  <a:lnTo>
                    <a:pt x="11613" y="838"/>
                  </a:lnTo>
                  <a:lnTo>
                    <a:pt x="11529" y="796"/>
                  </a:lnTo>
                  <a:lnTo>
                    <a:pt x="11508" y="754"/>
                  </a:lnTo>
                  <a:lnTo>
                    <a:pt x="11425" y="733"/>
                  </a:lnTo>
                  <a:lnTo>
                    <a:pt x="11320" y="754"/>
                  </a:lnTo>
                  <a:lnTo>
                    <a:pt x="11194" y="608"/>
                  </a:lnTo>
                  <a:lnTo>
                    <a:pt x="11111" y="608"/>
                  </a:lnTo>
                  <a:lnTo>
                    <a:pt x="11006" y="733"/>
                  </a:lnTo>
                  <a:lnTo>
                    <a:pt x="10964" y="733"/>
                  </a:lnTo>
                  <a:lnTo>
                    <a:pt x="10943" y="691"/>
                  </a:lnTo>
                  <a:lnTo>
                    <a:pt x="11048" y="649"/>
                  </a:lnTo>
                  <a:lnTo>
                    <a:pt x="11048" y="566"/>
                  </a:lnTo>
                  <a:lnTo>
                    <a:pt x="10943" y="524"/>
                  </a:lnTo>
                  <a:lnTo>
                    <a:pt x="10901" y="482"/>
                  </a:lnTo>
                  <a:lnTo>
                    <a:pt x="10839" y="482"/>
                  </a:lnTo>
                  <a:lnTo>
                    <a:pt x="10776" y="608"/>
                  </a:lnTo>
                  <a:lnTo>
                    <a:pt x="10734" y="608"/>
                  </a:lnTo>
                  <a:lnTo>
                    <a:pt x="10734" y="524"/>
                  </a:lnTo>
                  <a:lnTo>
                    <a:pt x="10671" y="545"/>
                  </a:lnTo>
                  <a:lnTo>
                    <a:pt x="10650" y="587"/>
                  </a:lnTo>
                  <a:lnTo>
                    <a:pt x="10588" y="587"/>
                  </a:lnTo>
                  <a:lnTo>
                    <a:pt x="10567" y="545"/>
                  </a:lnTo>
                  <a:lnTo>
                    <a:pt x="10650" y="482"/>
                  </a:lnTo>
                  <a:lnTo>
                    <a:pt x="10650" y="419"/>
                  </a:lnTo>
                  <a:lnTo>
                    <a:pt x="10546" y="357"/>
                  </a:lnTo>
                  <a:lnTo>
                    <a:pt x="10420" y="357"/>
                  </a:lnTo>
                  <a:lnTo>
                    <a:pt x="10357" y="377"/>
                  </a:lnTo>
                  <a:lnTo>
                    <a:pt x="10337" y="545"/>
                  </a:lnTo>
                  <a:lnTo>
                    <a:pt x="10253" y="587"/>
                  </a:lnTo>
                  <a:lnTo>
                    <a:pt x="10253" y="649"/>
                  </a:lnTo>
                  <a:lnTo>
                    <a:pt x="10316" y="796"/>
                  </a:lnTo>
                  <a:lnTo>
                    <a:pt x="10316" y="880"/>
                  </a:lnTo>
                  <a:lnTo>
                    <a:pt x="10253" y="942"/>
                  </a:lnTo>
                  <a:lnTo>
                    <a:pt x="10211" y="838"/>
                  </a:lnTo>
                  <a:lnTo>
                    <a:pt x="10127" y="838"/>
                  </a:lnTo>
                  <a:lnTo>
                    <a:pt x="10127" y="859"/>
                  </a:lnTo>
                  <a:lnTo>
                    <a:pt x="10023" y="838"/>
                  </a:lnTo>
                  <a:lnTo>
                    <a:pt x="9897" y="901"/>
                  </a:lnTo>
                  <a:lnTo>
                    <a:pt x="9897" y="901"/>
                  </a:lnTo>
                  <a:lnTo>
                    <a:pt x="10002" y="754"/>
                  </a:lnTo>
                  <a:lnTo>
                    <a:pt x="10065" y="733"/>
                  </a:lnTo>
                  <a:lnTo>
                    <a:pt x="10127" y="608"/>
                  </a:lnTo>
                  <a:lnTo>
                    <a:pt x="10127" y="566"/>
                  </a:lnTo>
                  <a:lnTo>
                    <a:pt x="10065" y="566"/>
                  </a:lnTo>
                  <a:lnTo>
                    <a:pt x="9960" y="649"/>
                  </a:lnTo>
                  <a:lnTo>
                    <a:pt x="9897" y="649"/>
                  </a:lnTo>
                  <a:lnTo>
                    <a:pt x="9918" y="587"/>
                  </a:lnTo>
                  <a:lnTo>
                    <a:pt x="10002" y="524"/>
                  </a:lnTo>
                  <a:lnTo>
                    <a:pt x="10002" y="482"/>
                  </a:lnTo>
                  <a:lnTo>
                    <a:pt x="9897" y="461"/>
                  </a:lnTo>
                  <a:lnTo>
                    <a:pt x="9855" y="419"/>
                  </a:lnTo>
                  <a:lnTo>
                    <a:pt x="9960" y="377"/>
                  </a:lnTo>
                  <a:lnTo>
                    <a:pt x="10002" y="419"/>
                  </a:lnTo>
                  <a:lnTo>
                    <a:pt x="10127" y="419"/>
                  </a:lnTo>
                  <a:lnTo>
                    <a:pt x="10169" y="231"/>
                  </a:lnTo>
                  <a:lnTo>
                    <a:pt x="10169" y="168"/>
                  </a:lnTo>
                  <a:lnTo>
                    <a:pt x="10044" y="210"/>
                  </a:lnTo>
                  <a:lnTo>
                    <a:pt x="10002" y="147"/>
                  </a:lnTo>
                  <a:lnTo>
                    <a:pt x="10023" y="64"/>
                  </a:lnTo>
                  <a:lnTo>
                    <a:pt x="10002" y="1"/>
                  </a:lnTo>
                  <a:lnTo>
                    <a:pt x="9918" y="64"/>
                  </a:lnTo>
                  <a:lnTo>
                    <a:pt x="9855" y="64"/>
                  </a:lnTo>
                  <a:lnTo>
                    <a:pt x="979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9" name="Google Shape;839;p34"/>
            <p:cNvSpPr/>
            <p:nvPr/>
          </p:nvSpPr>
          <p:spPr>
            <a:xfrm>
              <a:off x="3810372" y="2589242"/>
              <a:ext cx="68528" cy="147786"/>
            </a:xfrm>
            <a:custGeom>
              <a:avLst/>
              <a:gdLst/>
              <a:ahLst/>
              <a:cxnLst/>
              <a:rect l="l" t="t" r="r" b="b"/>
              <a:pathLst>
                <a:path w="5755" h="12995" extrusionOk="0">
                  <a:moveTo>
                    <a:pt x="3788" y="1"/>
                  </a:moveTo>
                  <a:lnTo>
                    <a:pt x="3725" y="21"/>
                  </a:lnTo>
                  <a:lnTo>
                    <a:pt x="3599" y="63"/>
                  </a:lnTo>
                  <a:lnTo>
                    <a:pt x="3474" y="1"/>
                  </a:lnTo>
                  <a:lnTo>
                    <a:pt x="3474" y="1"/>
                  </a:lnTo>
                  <a:lnTo>
                    <a:pt x="3495" y="105"/>
                  </a:lnTo>
                  <a:lnTo>
                    <a:pt x="3578" y="147"/>
                  </a:lnTo>
                  <a:lnTo>
                    <a:pt x="3599" y="293"/>
                  </a:lnTo>
                  <a:lnTo>
                    <a:pt x="3516" y="335"/>
                  </a:lnTo>
                  <a:lnTo>
                    <a:pt x="3495" y="524"/>
                  </a:lnTo>
                  <a:lnTo>
                    <a:pt x="3558" y="607"/>
                  </a:lnTo>
                  <a:lnTo>
                    <a:pt x="3558" y="754"/>
                  </a:lnTo>
                  <a:lnTo>
                    <a:pt x="3495" y="712"/>
                  </a:lnTo>
                  <a:lnTo>
                    <a:pt x="3453" y="733"/>
                  </a:lnTo>
                  <a:lnTo>
                    <a:pt x="3369" y="670"/>
                  </a:lnTo>
                  <a:lnTo>
                    <a:pt x="3244" y="649"/>
                  </a:lnTo>
                  <a:lnTo>
                    <a:pt x="3139" y="586"/>
                  </a:lnTo>
                  <a:lnTo>
                    <a:pt x="2951" y="524"/>
                  </a:lnTo>
                  <a:lnTo>
                    <a:pt x="2825" y="607"/>
                  </a:lnTo>
                  <a:lnTo>
                    <a:pt x="2637" y="607"/>
                  </a:lnTo>
                  <a:lnTo>
                    <a:pt x="2574" y="628"/>
                  </a:lnTo>
                  <a:lnTo>
                    <a:pt x="2679" y="796"/>
                  </a:lnTo>
                  <a:lnTo>
                    <a:pt x="2658" y="837"/>
                  </a:lnTo>
                  <a:lnTo>
                    <a:pt x="2658" y="921"/>
                  </a:lnTo>
                  <a:lnTo>
                    <a:pt x="2574" y="963"/>
                  </a:lnTo>
                  <a:lnTo>
                    <a:pt x="2658" y="1068"/>
                  </a:lnTo>
                  <a:lnTo>
                    <a:pt x="2553" y="1172"/>
                  </a:lnTo>
                  <a:lnTo>
                    <a:pt x="2511" y="1172"/>
                  </a:lnTo>
                  <a:lnTo>
                    <a:pt x="2428" y="1130"/>
                  </a:lnTo>
                  <a:lnTo>
                    <a:pt x="2323" y="1047"/>
                  </a:lnTo>
                  <a:lnTo>
                    <a:pt x="2198" y="1151"/>
                  </a:lnTo>
                  <a:lnTo>
                    <a:pt x="2114" y="1340"/>
                  </a:lnTo>
                  <a:lnTo>
                    <a:pt x="2030" y="1381"/>
                  </a:lnTo>
                  <a:lnTo>
                    <a:pt x="1988" y="1528"/>
                  </a:lnTo>
                  <a:lnTo>
                    <a:pt x="1926" y="1633"/>
                  </a:lnTo>
                  <a:lnTo>
                    <a:pt x="1842" y="1653"/>
                  </a:lnTo>
                  <a:lnTo>
                    <a:pt x="1842" y="1905"/>
                  </a:lnTo>
                  <a:lnTo>
                    <a:pt x="1905" y="1988"/>
                  </a:lnTo>
                  <a:lnTo>
                    <a:pt x="1988" y="2177"/>
                  </a:lnTo>
                  <a:lnTo>
                    <a:pt x="1926" y="2302"/>
                  </a:lnTo>
                  <a:lnTo>
                    <a:pt x="1779" y="2511"/>
                  </a:lnTo>
                  <a:lnTo>
                    <a:pt x="1612" y="2804"/>
                  </a:lnTo>
                  <a:lnTo>
                    <a:pt x="1591" y="2930"/>
                  </a:lnTo>
                  <a:lnTo>
                    <a:pt x="1507" y="3014"/>
                  </a:lnTo>
                  <a:lnTo>
                    <a:pt x="1298" y="3034"/>
                  </a:lnTo>
                  <a:lnTo>
                    <a:pt x="1110" y="3139"/>
                  </a:lnTo>
                  <a:lnTo>
                    <a:pt x="1110" y="3265"/>
                  </a:lnTo>
                  <a:lnTo>
                    <a:pt x="1193" y="3348"/>
                  </a:lnTo>
                  <a:lnTo>
                    <a:pt x="1193" y="3516"/>
                  </a:lnTo>
                  <a:lnTo>
                    <a:pt x="1151" y="3662"/>
                  </a:lnTo>
                  <a:lnTo>
                    <a:pt x="1089" y="3934"/>
                  </a:lnTo>
                  <a:lnTo>
                    <a:pt x="1089" y="4185"/>
                  </a:lnTo>
                  <a:lnTo>
                    <a:pt x="879" y="4687"/>
                  </a:lnTo>
                  <a:lnTo>
                    <a:pt x="879" y="4813"/>
                  </a:lnTo>
                  <a:lnTo>
                    <a:pt x="942" y="4897"/>
                  </a:lnTo>
                  <a:lnTo>
                    <a:pt x="963" y="5127"/>
                  </a:lnTo>
                  <a:lnTo>
                    <a:pt x="858" y="5252"/>
                  </a:lnTo>
                  <a:lnTo>
                    <a:pt x="649" y="5231"/>
                  </a:lnTo>
                  <a:lnTo>
                    <a:pt x="482" y="5211"/>
                  </a:lnTo>
                  <a:lnTo>
                    <a:pt x="377" y="5294"/>
                  </a:lnTo>
                  <a:lnTo>
                    <a:pt x="252" y="5524"/>
                  </a:lnTo>
                  <a:lnTo>
                    <a:pt x="210" y="5755"/>
                  </a:lnTo>
                  <a:lnTo>
                    <a:pt x="252" y="6068"/>
                  </a:lnTo>
                  <a:lnTo>
                    <a:pt x="314" y="6361"/>
                  </a:lnTo>
                  <a:lnTo>
                    <a:pt x="252" y="6550"/>
                  </a:lnTo>
                  <a:lnTo>
                    <a:pt x="314" y="6696"/>
                  </a:lnTo>
                  <a:lnTo>
                    <a:pt x="335" y="6926"/>
                  </a:lnTo>
                  <a:lnTo>
                    <a:pt x="314" y="7135"/>
                  </a:lnTo>
                  <a:lnTo>
                    <a:pt x="314" y="7345"/>
                  </a:lnTo>
                  <a:lnTo>
                    <a:pt x="461" y="7449"/>
                  </a:lnTo>
                  <a:lnTo>
                    <a:pt x="670" y="7659"/>
                  </a:lnTo>
                  <a:lnTo>
                    <a:pt x="628" y="7805"/>
                  </a:lnTo>
                  <a:lnTo>
                    <a:pt x="628" y="7972"/>
                  </a:lnTo>
                  <a:lnTo>
                    <a:pt x="356" y="8056"/>
                  </a:lnTo>
                  <a:lnTo>
                    <a:pt x="335" y="8161"/>
                  </a:lnTo>
                  <a:lnTo>
                    <a:pt x="461" y="8370"/>
                  </a:lnTo>
                  <a:lnTo>
                    <a:pt x="482" y="8642"/>
                  </a:lnTo>
                  <a:lnTo>
                    <a:pt x="565" y="8768"/>
                  </a:lnTo>
                  <a:lnTo>
                    <a:pt x="482" y="8914"/>
                  </a:lnTo>
                  <a:lnTo>
                    <a:pt x="482" y="9040"/>
                  </a:lnTo>
                  <a:lnTo>
                    <a:pt x="461" y="9123"/>
                  </a:lnTo>
                  <a:lnTo>
                    <a:pt x="273" y="9165"/>
                  </a:lnTo>
                  <a:lnTo>
                    <a:pt x="231" y="9228"/>
                  </a:lnTo>
                  <a:lnTo>
                    <a:pt x="314" y="9332"/>
                  </a:lnTo>
                  <a:lnTo>
                    <a:pt x="231" y="9395"/>
                  </a:lnTo>
                  <a:lnTo>
                    <a:pt x="168" y="9479"/>
                  </a:lnTo>
                  <a:lnTo>
                    <a:pt x="252" y="9625"/>
                  </a:lnTo>
                  <a:lnTo>
                    <a:pt x="273" y="10002"/>
                  </a:lnTo>
                  <a:lnTo>
                    <a:pt x="231" y="10086"/>
                  </a:lnTo>
                  <a:lnTo>
                    <a:pt x="147" y="10002"/>
                  </a:lnTo>
                  <a:lnTo>
                    <a:pt x="63" y="9939"/>
                  </a:lnTo>
                  <a:lnTo>
                    <a:pt x="63" y="9960"/>
                  </a:lnTo>
                  <a:lnTo>
                    <a:pt x="1" y="10023"/>
                  </a:lnTo>
                  <a:lnTo>
                    <a:pt x="21" y="10253"/>
                  </a:lnTo>
                  <a:lnTo>
                    <a:pt x="42" y="10337"/>
                  </a:lnTo>
                  <a:lnTo>
                    <a:pt x="63" y="10525"/>
                  </a:lnTo>
                  <a:lnTo>
                    <a:pt x="147" y="10546"/>
                  </a:lnTo>
                  <a:lnTo>
                    <a:pt x="168" y="10588"/>
                  </a:lnTo>
                  <a:lnTo>
                    <a:pt x="147" y="10734"/>
                  </a:lnTo>
                  <a:lnTo>
                    <a:pt x="273" y="10672"/>
                  </a:lnTo>
                  <a:lnTo>
                    <a:pt x="210" y="10567"/>
                  </a:lnTo>
                  <a:lnTo>
                    <a:pt x="231" y="10483"/>
                  </a:lnTo>
                  <a:lnTo>
                    <a:pt x="273" y="10483"/>
                  </a:lnTo>
                  <a:lnTo>
                    <a:pt x="252" y="10546"/>
                  </a:lnTo>
                  <a:lnTo>
                    <a:pt x="335" y="10588"/>
                  </a:lnTo>
                  <a:lnTo>
                    <a:pt x="377" y="10672"/>
                  </a:lnTo>
                  <a:lnTo>
                    <a:pt x="252" y="10755"/>
                  </a:lnTo>
                  <a:lnTo>
                    <a:pt x="231" y="10860"/>
                  </a:lnTo>
                  <a:lnTo>
                    <a:pt x="273" y="10944"/>
                  </a:lnTo>
                  <a:lnTo>
                    <a:pt x="252" y="11069"/>
                  </a:lnTo>
                  <a:lnTo>
                    <a:pt x="210" y="11111"/>
                  </a:lnTo>
                  <a:lnTo>
                    <a:pt x="273" y="11216"/>
                  </a:lnTo>
                  <a:lnTo>
                    <a:pt x="356" y="11257"/>
                  </a:lnTo>
                  <a:lnTo>
                    <a:pt x="440" y="11383"/>
                  </a:lnTo>
                  <a:lnTo>
                    <a:pt x="482" y="11425"/>
                  </a:lnTo>
                  <a:lnTo>
                    <a:pt x="586" y="11634"/>
                  </a:lnTo>
                  <a:lnTo>
                    <a:pt x="586" y="11801"/>
                  </a:lnTo>
                  <a:lnTo>
                    <a:pt x="733" y="11843"/>
                  </a:lnTo>
                  <a:lnTo>
                    <a:pt x="754" y="11948"/>
                  </a:lnTo>
                  <a:lnTo>
                    <a:pt x="858" y="12094"/>
                  </a:lnTo>
                  <a:lnTo>
                    <a:pt x="984" y="12011"/>
                  </a:lnTo>
                  <a:lnTo>
                    <a:pt x="1005" y="12136"/>
                  </a:lnTo>
                  <a:lnTo>
                    <a:pt x="942" y="12304"/>
                  </a:lnTo>
                  <a:lnTo>
                    <a:pt x="775" y="12325"/>
                  </a:lnTo>
                  <a:lnTo>
                    <a:pt x="754" y="12366"/>
                  </a:lnTo>
                  <a:lnTo>
                    <a:pt x="838" y="12429"/>
                  </a:lnTo>
                  <a:lnTo>
                    <a:pt x="858" y="12534"/>
                  </a:lnTo>
                  <a:lnTo>
                    <a:pt x="984" y="12555"/>
                  </a:lnTo>
                  <a:lnTo>
                    <a:pt x="1047" y="12848"/>
                  </a:lnTo>
                  <a:lnTo>
                    <a:pt x="963" y="12952"/>
                  </a:lnTo>
                  <a:lnTo>
                    <a:pt x="1005" y="12994"/>
                  </a:lnTo>
                  <a:lnTo>
                    <a:pt x="1151" y="12994"/>
                  </a:lnTo>
                  <a:lnTo>
                    <a:pt x="1423" y="12931"/>
                  </a:lnTo>
                  <a:lnTo>
                    <a:pt x="1570" y="12973"/>
                  </a:lnTo>
                  <a:lnTo>
                    <a:pt x="1695" y="12869"/>
                  </a:lnTo>
                  <a:lnTo>
                    <a:pt x="1674" y="12764"/>
                  </a:lnTo>
                  <a:lnTo>
                    <a:pt x="1612" y="12701"/>
                  </a:lnTo>
                  <a:lnTo>
                    <a:pt x="1695" y="12534"/>
                  </a:lnTo>
                  <a:lnTo>
                    <a:pt x="1884" y="12513"/>
                  </a:lnTo>
                  <a:lnTo>
                    <a:pt x="1905" y="12325"/>
                  </a:lnTo>
                  <a:lnTo>
                    <a:pt x="1926" y="12408"/>
                  </a:lnTo>
                  <a:lnTo>
                    <a:pt x="2135" y="12450"/>
                  </a:lnTo>
                  <a:lnTo>
                    <a:pt x="2260" y="12366"/>
                  </a:lnTo>
                  <a:lnTo>
                    <a:pt x="2365" y="12429"/>
                  </a:lnTo>
                  <a:lnTo>
                    <a:pt x="2449" y="12513"/>
                  </a:lnTo>
                  <a:lnTo>
                    <a:pt x="2553" y="12345"/>
                  </a:lnTo>
                  <a:lnTo>
                    <a:pt x="2616" y="12115"/>
                  </a:lnTo>
                  <a:lnTo>
                    <a:pt x="2679" y="12032"/>
                  </a:lnTo>
                  <a:lnTo>
                    <a:pt x="2721" y="11739"/>
                  </a:lnTo>
                  <a:lnTo>
                    <a:pt x="2762" y="11634"/>
                  </a:lnTo>
                  <a:lnTo>
                    <a:pt x="2658" y="11571"/>
                  </a:lnTo>
                  <a:lnTo>
                    <a:pt x="2679" y="11467"/>
                  </a:lnTo>
                  <a:lnTo>
                    <a:pt x="2783" y="11320"/>
                  </a:lnTo>
                  <a:lnTo>
                    <a:pt x="2679" y="11216"/>
                  </a:lnTo>
                  <a:lnTo>
                    <a:pt x="2783" y="11111"/>
                  </a:lnTo>
                  <a:lnTo>
                    <a:pt x="2658" y="11048"/>
                  </a:lnTo>
                  <a:lnTo>
                    <a:pt x="2721" y="10965"/>
                  </a:lnTo>
                  <a:lnTo>
                    <a:pt x="2658" y="10839"/>
                  </a:lnTo>
                  <a:lnTo>
                    <a:pt x="2762" y="10881"/>
                  </a:lnTo>
                  <a:lnTo>
                    <a:pt x="2930" y="10860"/>
                  </a:lnTo>
                  <a:lnTo>
                    <a:pt x="2783" y="10755"/>
                  </a:lnTo>
                  <a:lnTo>
                    <a:pt x="2846" y="10609"/>
                  </a:lnTo>
                  <a:lnTo>
                    <a:pt x="2846" y="10546"/>
                  </a:lnTo>
                  <a:lnTo>
                    <a:pt x="2658" y="10483"/>
                  </a:lnTo>
                  <a:lnTo>
                    <a:pt x="2888" y="10483"/>
                  </a:lnTo>
                  <a:lnTo>
                    <a:pt x="2762" y="10358"/>
                  </a:lnTo>
                  <a:lnTo>
                    <a:pt x="2679" y="10358"/>
                  </a:lnTo>
                  <a:lnTo>
                    <a:pt x="2742" y="10274"/>
                  </a:lnTo>
                  <a:lnTo>
                    <a:pt x="2783" y="10274"/>
                  </a:lnTo>
                  <a:lnTo>
                    <a:pt x="2825" y="10316"/>
                  </a:lnTo>
                  <a:lnTo>
                    <a:pt x="2888" y="10232"/>
                  </a:lnTo>
                  <a:lnTo>
                    <a:pt x="2867" y="10148"/>
                  </a:lnTo>
                  <a:lnTo>
                    <a:pt x="2972" y="10232"/>
                  </a:lnTo>
                  <a:lnTo>
                    <a:pt x="2993" y="10128"/>
                  </a:lnTo>
                  <a:lnTo>
                    <a:pt x="3076" y="10023"/>
                  </a:lnTo>
                  <a:lnTo>
                    <a:pt x="3160" y="10023"/>
                  </a:lnTo>
                  <a:lnTo>
                    <a:pt x="3139" y="9939"/>
                  </a:lnTo>
                  <a:lnTo>
                    <a:pt x="3181" y="9897"/>
                  </a:lnTo>
                  <a:lnTo>
                    <a:pt x="3202" y="9939"/>
                  </a:lnTo>
                  <a:lnTo>
                    <a:pt x="3181" y="10044"/>
                  </a:lnTo>
                  <a:lnTo>
                    <a:pt x="3265" y="10044"/>
                  </a:lnTo>
                  <a:lnTo>
                    <a:pt x="3369" y="9897"/>
                  </a:lnTo>
                  <a:lnTo>
                    <a:pt x="3453" y="9897"/>
                  </a:lnTo>
                  <a:lnTo>
                    <a:pt x="3516" y="9835"/>
                  </a:lnTo>
                  <a:lnTo>
                    <a:pt x="3495" y="9730"/>
                  </a:lnTo>
                  <a:lnTo>
                    <a:pt x="3411" y="9646"/>
                  </a:lnTo>
                  <a:lnTo>
                    <a:pt x="3286" y="9625"/>
                  </a:lnTo>
                  <a:lnTo>
                    <a:pt x="3181" y="9688"/>
                  </a:lnTo>
                  <a:lnTo>
                    <a:pt x="3139" y="9646"/>
                  </a:lnTo>
                  <a:lnTo>
                    <a:pt x="3055" y="9709"/>
                  </a:lnTo>
                  <a:lnTo>
                    <a:pt x="2972" y="9604"/>
                  </a:lnTo>
                  <a:lnTo>
                    <a:pt x="2846" y="9563"/>
                  </a:lnTo>
                  <a:lnTo>
                    <a:pt x="2762" y="9521"/>
                  </a:lnTo>
                  <a:lnTo>
                    <a:pt x="2616" y="9542"/>
                  </a:lnTo>
                  <a:lnTo>
                    <a:pt x="2616" y="9604"/>
                  </a:lnTo>
                  <a:lnTo>
                    <a:pt x="2553" y="9542"/>
                  </a:lnTo>
                  <a:lnTo>
                    <a:pt x="2407" y="9542"/>
                  </a:lnTo>
                  <a:lnTo>
                    <a:pt x="2365" y="9500"/>
                  </a:lnTo>
                  <a:lnTo>
                    <a:pt x="2470" y="9479"/>
                  </a:lnTo>
                  <a:lnTo>
                    <a:pt x="2553" y="9521"/>
                  </a:lnTo>
                  <a:lnTo>
                    <a:pt x="2637" y="9395"/>
                  </a:lnTo>
                  <a:lnTo>
                    <a:pt x="2679" y="9437"/>
                  </a:lnTo>
                  <a:lnTo>
                    <a:pt x="2783" y="9416"/>
                  </a:lnTo>
                  <a:lnTo>
                    <a:pt x="2825" y="9332"/>
                  </a:lnTo>
                  <a:lnTo>
                    <a:pt x="2930" y="9374"/>
                  </a:lnTo>
                  <a:lnTo>
                    <a:pt x="2972" y="9416"/>
                  </a:lnTo>
                  <a:lnTo>
                    <a:pt x="3034" y="9416"/>
                  </a:lnTo>
                  <a:lnTo>
                    <a:pt x="3055" y="9332"/>
                  </a:lnTo>
                  <a:lnTo>
                    <a:pt x="3097" y="9416"/>
                  </a:lnTo>
                  <a:lnTo>
                    <a:pt x="3244" y="9437"/>
                  </a:lnTo>
                  <a:lnTo>
                    <a:pt x="3202" y="9521"/>
                  </a:lnTo>
                  <a:lnTo>
                    <a:pt x="3306" y="9563"/>
                  </a:lnTo>
                  <a:lnTo>
                    <a:pt x="3474" y="9542"/>
                  </a:lnTo>
                  <a:lnTo>
                    <a:pt x="3495" y="9416"/>
                  </a:lnTo>
                  <a:lnTo>
                    <a:pt x="3662" y="9270"/>
                  </a:lnTo>
                  <a:lnTo>
                    <a:pt x="3725" y="9102"/>
                  </a:lnTo>
                  <a:lnTo>
                    <a:pt x="3599" y="8977"/>
                  </a:lnTo>
                  <a:lnTo>
                    <a:pt x="3599" y="8893"/>
                  </a:lnTo>
                  <a:lnTo>
                    <a:pt x="3453" y="8788"/>
                  </a:lnTo>
                  <a:lnTo>
                    <a:pt x="3474" y="8747"/>
                  </a:lnTo>
                  <a:lnTo>
                    <a:pt x="3265" y="8579"/>
                  </a:lnTo>
                  <a:lnTo>
                    <a:pt x="3244" y="8475"/>
                  </a:lnTo>
                  <a:lnTo>
                    <a:pt x="3160" y="8391"/>
                  </a:lnTo>
                  <a:lnTo>
                    <a:pt x="3055" y="8516"/>
                  </a:lnTo>
                  <a:lnTo>
                    <a:pt x="2993" y="8433"/>
                  </a:lnTo>
                  <a:lnTo>
                    <a:pt x="2951" y="8454"/>
                  </a:lnTo>
                  <a:lnTo>
                    <a:pt x="2951" y="8349"/>
                  </a:lnTo>
                  <a:lnTo>
                    <a:pt x="2867" y="8349"/>
                  </a:lnTo>
                  <a:lnTo>
                    <a:pt x="2825" y="8244"/>
                  </a:lnTo>
                  <a:lnTo>
                    <a:pt x="2742" y="8182"/>
                  </a:lnTo>
                  <a:lnTo>
                    <a:pt x="2825" y="8077"/>
                  </a:lnTo>
                  <a:lnTo>
                    <a:pt x="2762" y="7952"/>
                  </a:lnTo>
                  <a:lnTo>
                    <a:pt x="2825" y="7931"/>
                  </a:lnTo>
                  <a:lnTo>
                    <a:pt x="2825" y="7847"/>
                  </a:lnTo>
                  <a:lnTo>
                    <a:pt x="2742" y="7826"/>
                  </a:lnTo>
                  <a:lnTo>
                    <a:pt x="2825" y="7721"/>
                  </a:lnTo>
                  <a:lnTo>
                    <a:pt x="2783" y="7533"/>
                  </a:lnTo>
                  <a:lnTo>
                    <a:pt x="2825" y="7512"/>
                  </a:lnTo>
                  <a:lnTo>
                    <a:pt x="2867" y="7554"/>
                  </a:lnTo>
                  <a:lnTo>
                    <a:pt x="2888" y="7449"/>
                  </a:lnTo>
                  <a:lnTo>
                    <a:pt x="2825" y="7345"/>
                  </a:lnTo>
                  <a:lnTo>
                    <a:pt x="2846" y="7198"/>
                  </a:lnTo>
                  <a:lnTo>
                    <a:pt x="2825" y="7073"/>
                  </a:lnTo>
                  <a:lnTo>
                    <a:pt x="2846" y="7010"/>
                  </a:lnTo>
                  <a:lnTo>
                    <a:pt x="2825" y="6884"/>
                  </a:lnTo>
                  <a:lnTo>
                    <a:pt x="2679" y="6696"/>
                  </a:lnTo>
                  <a:lnTo>
                    <a:pt x="2679" y="6696"/>
                  </a:lnTo>
                  <a:lnTo>
                    <a:pt x="2783" y="6759"/>
                  </a:lnTo>
                  <a:lnTo>
                    <a:pt x="2951" y="6717"/>
                  </a:lnTo>
                  <a:lnTo>
                    <a:pt x="3055" y="6571"/>
                  </a:lnTo>
                  <a:lnTo>
                    <a:pt x="2993" y="6466"/>
                  </a:lnTo>
                  <a:lnTo>
                    <a:pt x="3034" y="6403"/>
                  </a:lnTo>
                  <a:lnTo>
                    <a:pt x="3139" y="6424"/>
                  </a:lnTo>
                  <a:lnTo>
                    <a:pt x="3286" y="6299"/>
                  </a:lnTo>
                  <a:lnTo>
                    <a:pt x="3286" y="6236"/>
                  </a:lnTo>
                  <a:lnTo>
                    <a:pt x="3202" y="6236"/>
                  </a:lnTo>
                  <a:lnTo>
                    <a:pt x="3265" y="6131"/>
                  </a:lnTo>
                  <a:lnTo>
                    <a:pt x="3348" y="6047"/>
                  </a:lnTo>
                  <a:lnTo>
                    <a:pt x="3390" y="6089"/>
                  </a:lnTo>
                  <a:lnTo>
                    <a:pt x="3453" y="6089"/>
                  </a:lnTo>
                  <a:lnTo>
                    <a:pt x="3474" y="5964"/>
                  </a:lnTo>
                  <a:lnTo>
                    <a:pt x="3516" y="5964"/>
                  </a:lnTo>
                  <a:lnTo>
                    <a:pt x="3558" y="6047"/>
                  </a:lnTo>
                  <a:lnTo>
                    <a:pt x="3620" y="5964"/>
                  </a:lnTo>
                  <a:lnTo>
                    <a:pt x="3620" y="5838"/>
                  </a:lnTo>
                  <a:lnTo>
                    <a:pt x="3683" y="5734"/>
                  </a:lnTo>
                  <a:lnTo>
                    <a:pt x="3788" y="5734"/>
                  </a:lnTo>
                  <a:lnTo>
                    <a:pt x="3788" y="5817"/>
                  </a:lnTo>
                  <a:lnTo>
                    <a:pt x="3871" y="5817"/>
                  </a:lnTo>
                  <a:lnTo>
                    <a:pt x="3913" y="5713"/>
                  </a:lnTo>
                  <a:lnTo>
                    <a:pt x="4039" y="5629"/>
                  </a:lnTo>
                  <a:lnTo>
                    <a:pt x="4018" y="5524"/>
                  </a:lnTo>
                  <a:lnTo>
                    <a:pt x="4018" y="5420"/>
                  </a:lnTo>
                  <a:lnTo>
                    <a:pt x="4102" y="5503"/>
                  </a:lnTo>
                  <a:lnTo>
                    <a:pt x="4206" y="5378"/>
                  </a:lnTo>
                  <a:lnTo>
                    <a:pt x="4290" y="5378"/>
                  </a:lnTo>
                  <a:lnTo>
                    <a:pt x="4395" y="5190"/>
                  </a:lnTo>
                  <a:lnTo>
                    <a:pt x="4395" y="5001"/>
                  </a:lnTo>
                  <a:lnTo>
                    <a:pt x="4457" y="4897"/>
                  </a:lnTo>
                  <a:lnTo>
                    <a:pt x="4541" y="4897"/>
                  </a:lnTo>
                  <a:lnTo>
                    <a:pt x="4646" y="4771"/>
                  </a:lnTo>
                  <a:lnTo>
                    <a:pt x="4562" y="4771"/>
                  </a:lnTo>
                  <a:lnTo>
                    <a:pt x="4499" y="4666"/>
                  </a:lnTo>
                  <a:lnTo>
                    <a:pt x="4562" y="4625"/>
                  </a:lnTo>
                  <a:lnTo>
                    <a:pt x="4541" y="4562"/>
                  </a:lnTo>
                  <a:lnTo>
                    <a:pt x="4436" y="4562"/>
                  </a:lnTo>
                  <a:lnTo>
                    <a:pt x="4332" y="4457"/>
                  </a:lnTo>
                  <a:lnTo>
                    <a:pt x="4457" y="4415"/>
                  </a:lnTo>
                  <a:lnTo>
                    <a:pt x="4436" y="4332"/>
                  </a:lnTo>
                  <a:lnTo>
                    <a:pt x="4520" y="4164"/>
                  </a:lnTo>
                  <a:lnTo>
                    <a:pt x="4541" y="4081"/>
                  </a:lnTo>
                  <a:lnTo>
                    <a:pt x="4499" y="3997"/>
                  </a:lnTo>
                  <a:lnTo>
                    <a:pt x="4415" y="3997"/>
                  </a:lnTo>
                  <a:lnTo>
                    <a:pt x="4395" y="3934"/>
                  </a:lnTo>
                  <a:lnTo>
                    <a:pt x="4415" y="3892"/>
                  </a:lnTo>
                  <a:lnTo>
                    <a:pt x="4499" y="3934"/>
                  </a:lnTo>
                  <a:lnTo>
                    <a:pt x="4520" y="3955"/>
                  </a:lnTo>
                  <a:lnTo>
                    <a:pt x="4541" y="3955"/>
                  </a:lnTo>
                  <a:lnTo>
                    <a:pt x="4541" y="3871"/>
                  </a:lnTo>
                  <a:lnTo>
                    <a:pt x="4436" y="3850"/>
                  </a:lnTo>
                  <a:lnTo>
                    <a:pt x="4541" y="3788"/>
                  </a:lnTo>
                  <a:lnTo>
                    <a:pt x="4625" y="3788"/>
                  </a:lnTo>
                  <a:lnTo>
                    <a:pt x="4729" y="3725"/>
                  </a:lnTo>
                  <a:lnTo>
                    <a:pt x="4646" y="3662"/>
                  </a:lnTo>
                  <a:lnTo>
                    <a:pt x="4562" y="3516"/>
                  </a:lnTo>
                  <a:lnTo>
                    <a:pt x="4646" y="3537"/>
                  </a:lnTo>
                  <a:lnTo>
                    <a:pt x="4708" y="3620"/>
                  </a:lnTo>
                  <a:lnTo>
                    <a:pt x="4813" y="3578"/>
                  </a:lnTo>
                  <a:lnTo>
                    <a:pt x="4834" y="3474"/>
                  </a:lnTo>
                  <a:lnTo>
                    <a:pt x="4855" y="3369"/>
                  </a:lnTo>
                  <a:lnTo>
                    <a:pt x="4918" y="3327"/>
                  </a:lnTo>
                  <a:lnTo>
                    <a:pt x="4980" y="3453"/>
                  </a:lnTo>
                  <a:lnTo>
                    <a:pt x="5064" y="3348"/>
                  </a:lnTo>
                  <a:lnTo>
                    <a:pt x="5127" y="3453"/>
                  </a:lnTo>
                  <a:lnTo>
                    <a:pt x="5190" y="3474"/>
                  </a:lnTo>
                  <a:lnTo>
                    <a:pt x="5252" y="3369"/>
                  </a:lnTo>
                  <a:lnTo>
                    <a:pt x="5357" y="3432"/>
                  </a:lnTo>
                  <a:lnTo>
                    <a:pt x="5483" y="3348"/>
                  </a:lnTo>
                  <a:lnTo>
                    <a:pt x="5545" y="3432"/>
                  </a:lnTo>
                  <a:lnTo>
                    <a:pt x="5671" y="3432"/>
                  </a:lnTo>
                  <a:lnTo>
                    <a:pt x="5713" y="3369"/>
                  </a:lnTo>
                  <a:lnTo>
                    <a:pt x="5755" y="3411"/>
                  </a:lnTo>
                  <a:lnTo>
                    <a:pt x="5755" y="3265"/>
                  </a:lnTo>
                  <a:lnTo>
                    <a:pt x="5671" y="3202"/>
                  </a:lnTo>
                  <a:lnTo>
                    <a:pt x="5587" y="2993"/>
                  </a:lnTo>
                  <a:lnTo>
                    <a:pt x="5462" y="2951"/>
                  </a:lnTo>
                  <a:lnTo>
                    <a:pt x="5399" y="2762"/>
                  </a:lnTo>
                  <a:lnTo>
                    <a:pt x="5462" y="2700"/>
                  </a:lnTo>
                  <a:lnTo>
                    <a:pt x="5462" y="2490"/>
                  </a:lnTo>
                  <a:lnTo>
                    <a:pt x="5441" y="2386"/>
                  </a:lnTo>
                  <a:lnTo>
                    <a:pt x="5462" y="2302"/>
                  </a:lnTo>
                  <a:lnTo>
                    <a:pt x="5399" y="2093"/>
                  </a:lnTo>
                  <a:lnTo>
                    <a:pt x="5357" y="1988"/>
                  </a:lnTo>
                  <a:lnTo>
                    <a:pt x="5336" y="1842"/>
                  </a:lnTo>
                  <a:lnTo>
                    <a:pt x="5378" y="1758"/>
                  </a:lnTo>
                  <a:lnTo>
                    <a:pt x="5357" y="1633"/>
                  </a:lnTo>
                  <a:lnTo>
                    <a:pt x="5190" y="1591"/>
                  </a:lnTo>
                  <a:lnTo>
                    <a:pt x="5190" y="1486"/>
                  </a:lnTo>
                  <a:lnTo>
                    <a:pt x="5252" y="1361"/>
                  </a:lnTo>
                  <a:lnTo>
                    <a:pt x="5190" y="1172"/>
                  </a:lnTo>
                  <a:lnTo>
                    <a:pt x="5252" y="1068"/>
                  </a:lnTo>
                  <a:lnTo>
                    <a:pt x="5190" y="1005"/>
                  </a:lnTo>
                  <a:lnTo>
                    <a:pt x="5127" y="1005"/>
                  </a:lnTo>
                  <a:lnTo>
                    <a:pt x="5022" y="858"/>
                  </a:lnTo>
                  <a:lnTo>
                    <a:pt x="4939" y="858"/>
                  </a:lnTo>
                  <a:lnTo>
                    <a:pt x="4876" y="754"/>
                  </a:lnTo>
                  <a:lnTo>
                    <a:pt x="4771" y="628"/>
                  </a:lnTo>
                  <a:lnTo>
                    <a:pt x="4708" y="607"/>
                  </a:lnTo>
                  <a:lnTo>
                    <a:pt x="4604" y="545"/>
                  </a:lnTo>
                  <a:lnTo>
                    <a:pt x="4395" y="524"/>
                  </a:lnTo>
                  <a:lnTo>
                    <a:pt x="4227" y="419"/>
                  </a:lnTo>
                  <a:lnTo>
                    <a:pt x="4018" y="189"/>
                  </a:lnTo>
                  <a:lnTo>
                    <a:pt x="3892" y="105"/>
                  </a:lnTo>
                  <a:lnTo>
                    <a:pt x="3788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0" name="Google Shape;840;p34"/>
            <p:cNvSpPr/>
            <p:nvPr/>
          </p:nvSpPr>
          <p:spPr>
            <a:xfrm>
              <a:off x="3883127" y="2693471"/>
              <a:ext cx="27411" cy="23803"/>
            </a:xfrm>
            <a:custGeom>
              <a:avLst/>
              <a:gdLst/>
              <a:ahLst/>
              <a:cxnLst/>
              <a:rect l="l" t="t" r="r" b="b"/>
              <a:pathLst>
                <a:path w="2302" h="2093" extrusionOk="0">
                  <a:moveTo>
                    <a:pt x="1026" y="0"/>
                  </a:moveTo>
                  <a:lnTo>
                    <a:pt x="1026" y="63"/>
                  </a:lnTo>
                  <a:lnTo>
                    <a:pt x="942" y="63"/>
                  </a:lnTo>
                  <a:lnTo>
                    <a:pt x="942" y="105"/>
                  </a:lnTo>
                  <a:lnTo>
                    <a:pt x="1005" y="167"/>
                  </a:lnTo>
                  <a:lnTo>
                    <a:pt x="900" y="230"/>
                  </a:lnTo>
                  <a:lnTo>
                    <a:pt x="837" y="209"/>
                  </a:lnTo>
                  <a:lnTo>
                    <a:pt x="628" y="209"/>
                  </a:lnTo>
                  <a:lnTo>
                    <a:pt x="607" y="147"/>
                  </a:lnTo>
                  <a:lnTo>
                    <a:pt x="586" y="251"/>
                  </a:lnTo>
                  <a:lnTo>
                    <a:pt x="481" y="230"/>
                  </a:lnTo>
                  <a:lnTo>
                    <a:pt x="335" y="272"/>
                  </a:lnTo>
                  <a:lnTo>
                    <a:pt x="335" y="356"/>
                  </a:lnTo>
                  <a:lnTo>
                    <a:pt x="272" y="356"/>
                  </a:lnTo>
                  <a:lnTo>
                    <a:pt x="84" y="439"/>
                  </a:lnTo>
                  <a:lnTo>
                    <a:pt x="0" y="544"/>
                  </a:lnTo>
                  <a:lnTo>
                    <a:pt x="21" y="900"/>
                  </a:lnTo>
                  <a:lnTo>
                    <a:pt x="84" y="900"/>
                  </a:lnTo>
                  <a:lnTo>
                    <a:pt x="126" y="879"/>
                  </a:lnTo>
                  <a:lnTo>
                    <a:pt x="230" y="900"/>
                  </a:lnTo>
                  <a:lnTo>
                    <a:pt x="189" y="983"/>
                  </a:lnTo>
                  <a:lnTo>
                    <a:pt x="105" y="983"/>
                  </a:lnTo>
                  <a:lnTo>
                    <a:pt x="105" y="1151"/>
                  </a:lnTo>
                  <a:lnTo>
                    <a:pt x="209" y="1276"/>
                  </a:lnTo>
                  <a:lnTo>
                    <a:pt x="377" y="1423"/>
                  </a:lnTo>
                  <a:lnTo>
                    <a:pt x="419" y="1423"/>
                  </a:lnTo>
                  <a:lnTo>
                    <a:pt x="419" y="1318"/>
                  </a:lnTo>
                  <a:lnTo>
                    <a:pt x="544" y="1214"/>
                  </a:lnTo>
                  <a:lnTo>
                    <a:pt x="586" y="1318"/>
                  </a:lnTo>
                  <a:lnTo>
                    <a:pt x="523" y="1611"/>
                  </a:lnTo>
                  <a:lnTo>
                    <a:pt x="523" y="1695"/>
                  </a:lnTo>
                  <a:lnTo>
                    <a:pt x="586" y="1674"/>
                  </a:lnTo>
                  <a:lnTo>
                    <a:pt x="754" y="1569"/>
                  </a:lnTo>
                  <a:lnTo>
                    <a:pt x="900" y="1507"/>
                  </a:lnTo>
                  <a:lnTo>
                    <a:pt x="1046" y="1632"/>
                  </a:lnTo>
                  <a:lnTo>
                    <a:pt x="1130" y="1611"/>
                  </a:lnTo>
                  <a:lnTo>
                    <a:pt x="1151" y="1507"/>
                  </a:lnTo>
                  <a:lnTo>
                    <a:pt x="1235" y="1590"/>
                  </a:lnTo>
                  <a:lnTo>
                    <a:pt x="1277" y="1674"/>
                  </a:lnTo>
                  <a:lnTo>
                    <a:pt x="1339" y="1674"/>
                  </a:lnTo>
                  <a:lnTo>
                    <a:pt x="1528" y="1779"/>
                  </a:lnTo>
                  <a:lnTo>
                    <a:pt x="1570" y="1925"/>
                  </a:lnTo>
                  <a:lnTo>
                    <a:pt x="1695" y="1967"/>
                  </a:lnTo>
                  <a:lnTo>
                    <a:pt x="1779" y="2092"/>
                  </a:lnTo>
                  <a:lnTo>
                    <a:pt x="1988" y="2009"/>
                  </a:lnTo>
                  <a:lnTo>
                    <a:pt x="2155" y="2030"/>
                  </a:lnTo>
                  <a:lnTo>
                    <a:pt x="2260" y="1904"/>
                  </a:lnTo>
                  <a:lnTo>
                    <a:pt x="2218" y="1800"/>
                  </a:lnTo>
                  <a:lnTo>
                    <a:pt x="2302" y="1716"/>
                  </a:lnTo>
                  <a:lnTo>
                    <a:pt x="2302" y="1611"/>
                  </a:lnTo>
                  <a:lnTo>
                    <a:pt x="2051" y="1109"/>
                  </a:lnTo>
                  <a:lnTo>
                    <a:pt x="2093" y="691"/>
                  </a:lnTo>
                  <a:lnTo>
                    <a:pt x="2155" y="649"/>
                  </a:lnTo>
                  <a:lnTo>
                    <a:pt x="2197" y="481"/>
                  </a:lnTo>
                  <a:lnTo>
                    <a:pt x="2281" y="356"/>
                  </a:lnTo>
                  <a:lnTo>
                    <a:pt x="2302" y="335"/>
                  </a:lnTo>
                  <a:lnTo>
                    <a:pt x="2302" y="314"/>
                  </a:lnTo>
                  <a:lnTo>
                    <a:pt x="2260" y="230"/>
                  </a:lnTo>
                  <a:lnTo>
                    <a:pt x="2218" y="272"/>
                  </a:lnTo>
                  <a:lnTo>
                    <a:pt x="1758" y="251"/>
                  </a:lnTo>
                  <a:lnTo>
                    <a:pt x="1570" y="126"/>
                  </a:lnTo>
                  <a:lnTo>
                    <a:pt x="1339" y="126"/>
                  </a:lnTo>
                  <a:lnTo>
                    <a:pt x="1235" y="63"/>
                  </a:lnTo>
                  <a:lnTo>
                    <a:pt x="1130" y="105"/>
                  </a:lnTo>
                  <a:lnTo>
                    <a:pt x="10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1" name="Google Shape;841;p34"/>
            <p:cNvSpPr/>
            <p:nvPr/>
          </p:nvSpPr>
          <p:spPr>
            <a:xfrm>
              <a:off x="3870422" y="2710598"/>
              <a:ext cx="43605" cy="22620"/>
            </a:xfrm>
            <a:custGeom>
              <a:avLst/>
              <a:gdLst/>
              <a:ahLst/>
              <a:cxnLst/>
              <a:rect l="l" t="t" r="r" b="b"/>
              <a:pathLst>
                <a:path w="3662" h="1989" extrusionOk="0">
                  <a:moveTo>
                    <a:pt x="1967" y="1"/>
                  </a:moveTo>
                  <a:lnTo>
                    <a:pt x="1821" y="63"/>
                  </a:lnTo>
                  <a:lnTo>
                    <a:pt x="1653" y="168"/>
                  </a:lnTo>
                  <a:lnTo>
                    <a:pt x="1590" y="189"/>
                  </a:lnTo>
                  <a:lnTo>
                    <a:pt x="1590" y="314"/>
                  </a:lnTo>
                  <a:lnTo>
                    <a:pt x="1653" y="586"/>
                  </a:lnTo>
                  <a:lnTo>
                    <a:pt x="1590" y="754"/>
                  </a:lnTo>
                  <a:lnTo>
                    <a:pt x="1402" y="963"/>
                  </a:lnTo>
                  <a:lnTo>
                    <a:pt x="1256" y="963"/>
                  </a:lnTo>
                  <a:lnTo>
                    <a:pt x="1130" y="838"/>
                  </a:lnTo>
                  <a:lnTo>
                    <a:pt x="1130" y="733"/>
                  </a:lnTo>
                  <a:lnTo>
                    <a:pt x="837" y="440"/>
                  </a:lnTo>
                  <a:lnTo>
                    <a:pt x="837" y="294"/>
                  </a:lnTo>
                  <a:lnTo>
                    <a:pt x="774" y="294"/>
                  </a:lnTo>
                  <a:lnTo>
                    <a:pt x="670" y="398"/>
                  </a:lnTo>
                  <a:lnTo>
                    <a:pt x="523" y="419"/>
                  </a:lnTo>
                  <a:lnTo>
                    <a:pt x="460" y="461"/>
                  </a:lnTo>
                  <a:lnTo>
                    <a:pt x="335" y="461"/>
                  </a:lnTo>
                  <a:lnTo>
                    <a:pt x="251" y="607"/>
                  </a:lnTo>
                  <a:lnTo>
                    <a:pt x="293" y="733"/>
                  </a:lnTo>
                  <a:lnTo>
                    <a:pt x="230" y="712"/>
                  </a:lnTo>
                  <a:lnTo>
                    <a:pt x="230" y="921"/>
                  </a:lnTo>
                  <a:lnTo>
                    <a:pt x="84" y="1110"/>
                  </a:lnTo>
                  <a:lnTo>
                    <a:pt x="84" y="1214"/>
                  </a:lnTo>
                  <a:lnTo>
                    <a:pt x="84" y="1319"/>
                  </a:lnTo>
                  <a:lnTo>
                    <a:pt x="0" y="1382"/>
                  </a:lnTo>
                  <a:lnTo>
                    <a:pt x="42" y="1674"/>
                  </a:lnTo>
                  <a:lnTo>
                    <a:pt x="126" y="1737"/>
                  </a:lnTo>
                  <a:lnTo>
                    <a:pt x="126" y="1758"/>
                  </a:lnTo>
                  <a:lnTo>
                    <a:pt x="230" y="1737"/>
                  </a:lnTo>
                  <a:lnTo>
                    <a:pt x="251" y="1591"/>
                  </a:lnTo>
                  <a:lnTo>
                    <a:pt x="440" y="1465"/>
                  </a:lnTo>
                  <a:lnTo>
                    <a:pt x="670" y="1382"/>
                  </a:lnTo>
                  <a:lnTo>
                    <a:pt x="879" y="1423"/>
                  </a:lnTo>
                  <a:lnTo>
                    <a:pt x="1025" y="1423"/>
                  </a:lnTo>
                  <a:lnTo>
                    <a:pt x="1088" y="1465"/>
                  </a:lnTo>
                  <a:lnTo>
                    <a:pt x="1235" y="1382"/>
                  </a:lnTo>
                  <a:lnTo>
                    <a:pt x="1339" y="1361"/>
                  </a:lnTo>
                  <a:lnTo>
                    <a:pt x="1360" y="1444"/>
                  </a:lnTo>
                  <a:lnTo>
                    <a:pt x="1465" y="1444"/>
                  </a:lnTo>
                  <a:lnTo>
                    <a:pt x="1548" y="1549"/>
                  </a:lnTo>
                  <a:lnTo>
                    <a:pt x="1716" y="1549"/>
                  </a:lnTo>
                  <a:lnTo>
                    <a:pt x="1779" y="1570"/>
                  </a:lnTo>
                  <a:lnTo>
                    <a:pt x="1967" y="1444"/>
                  </a:lnTo>
                  <a:lnTo>
                    <a:pt x="2176" y="1549"/>
                  </a:lnTo>
                  <a:lnTo>
                    <a:pt x="2344" y="1570"/>
                  </a:lnTo>
                  <a:lnTo>
                    <a:pt x="2511" y="1758"/>
                  </a:lnTo>
                  <a:lnTo>
                    <a:pt x="2637" y="1758"/>
                  </a:lnTo>
                  <a:lnTo>
                    <a:pt x="2762" y="1946"/>
                  </a:lnTo>
                  <a:lnTo>
                    <a:pt x="2929" y="1967"/>
                  </a:lnTo>
                  <a:lnTo>
                    <a:pt x="2971" y="1988"/>
                  </a:lnTo>
                  <a:lnTo>
                    <a:pt x="3160" y="1905"/>
                  </a:lnTo>
                  <a:lnTo>
                    <a:pt x="3390" y="1884"/>
                  </a:lnTo>
                  <a:lnTo>
                    <a:pt x="3432" y="1737"/>
                  </a:lnTo>
                  <a:lnTo>
                    <a:pt x="3536" y="1674"/>
                  </a:lnTo>
                  <a:lnTo>
                    <a:pt x="3578" y="1570"/>
                  </a:lnTo>
                  <a:lnTo>
                    <a:pt x="3662" y="1549"/>
                  </a:lnTo>
                  <a:lnTo>
                    <a:pt x="3662" y="1382"/>
                  </a:lnTo>
                  <a:lnTo>
                    <a:pt x="3578" y="1277"/>
                  </a:lnTo>
                  <a:lnTo>
                    <a:pt x="3494" y="1110"/>
                  </a:lnTo>
                  <a:lnTo>
                    <a:pt x="3473" y="1047"/>
                  </a:lnTo>
                  <a:lnTo>
                    <a:pt x="3390" y="921"/>
                  </a:lnTo>
                  <a:lnTo>
                    <a:pt x="3432" y="838"/>
                  </a:lnTo>
                  <a:lnTo>
                    <a:pt x="3369" y="733"/>
                  </a:lnTo>
                  <a:lnTo>
                    <a:pt x="3327" y="712"/>
                  </a:lnTo>
                  <a:lnTo>
                    <a:pt x="3348" y="649"/>
                  </a:lnTo>
                  <a:lnTo>
                    <a:pt x="3348" y="545"/>
                  </a:lnTo>
                  <a:lnTo>
                    <a:pt x="3055" y="503"/>
                  </a:lnTo>
                  <a:lnTo>
                    <a:pt x="2846" y="586"/>
                  </a:lnTo>
                  <a:lnTo>
                    <a:pt x="2762" y="461"/>
                  </a:lnTo>
                  <a:lnTo>
                    <a:pt x="2637" y="419"/>
                  </a:lnTo>
                  <a:lnTo>
                    <a:pt x="2595" y="273"/>
                  </a:lnTo>
                  <a:lnTo>
                    <a:pt x="2406" y="168"/>
                  </a:lnTo>
                  <a:lnTo>
                    <a:pt x="2344" y="168"/>
                  </a:lnTo>
                  <a:lnTo>
                    <a:pt x="2302" y="84"/>
                  </a:lnTo>
                  <a:lnTo>
                    <a:pt x="2218" y="1"/>
                  </a:lnTo>
                  <a:lnTo>
                    <a:pt x="2197" y="105"/>
                  </a:lnTo>
                  <a:lnTo>
                    <a:pt x="2113" y="126"/>
                  </a:lnTo>
                  <a:lnTo>
                    <a:pt x="196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2" name="Google Shape;842;p34"/>
            <p:cNvSpPr/>
            <p:nvPr/>
          </p:nvSpPr>
          <p:spPr>
            <a:xfrm>
              <a:off x="3871910" y="2726065"/>
              <a:ext cx="33901" cy="23803"/>
            </a:xfrm>
            <a:custGeom>
              <a:avLst/>
              <a:gdLst/>
              <a:ahLst/>
              <a:cxnLst/>
              <a:rect l="l" t="t" r="r" b="b"/>
              <a:pathLst>
                <a:path w="2847" h="2093" extrusionOk="0">
                  <a:moveTo>
                    <a:pt x="1214" y="1"/>
                  </a:moveTo>
                  <a:lnTo>
                    <a:pt x="1110" y="22"/>
                  </a:lnTo>
                  <a:lnTo>
                    <a:pt x="963" y="105"/>
                  </a:lnTo>
                  <a:lnTo>
                    <a:pt x="900" y="63"/>
                  </a:lnTo>
                  <a:lnTo>
                    <a:pt x="754" y="63"/>
                  </a:lnTo>
                  <a:lnTo>
                    <a:pt x="545" y="22"/>
                  </a:lnTo>
                  <a:lnTo>
                    <a:pt x="315" y="105"/>
                  </a:lnTo>
                  <a:lnTo>
                    <a:pt x="126" y="231"/>
                  </a:lnTo>
                  <a:lnTo>
                    <a:pt x="105" y="377"/>
                  </a:lnTo>
                  <a:lnTo>
                    <a:pt x="1" y="398"/>
                  </a:lnTo>
                  <a:lnTo>
                    <a:pt x="1" y="586"/>
                  </a:lnTo>
                  <a:lnTo>
                    <a:pt x="63" y="712"/>
                  </a:lnTo>
                  <a:lnTo>
                    <a:pt x="1" y="796"/>
                  </a:lnTo>
                  <a:lnTo>
                    <a:pt x="22" y="817"/>
                  </a:lnTo>
                  <a:lnTo>
                    <a:pt x="231" y="754"/>
                  </a:lnTo>
                  <a:lnTo>
                    <a:pt x="398" y="1005"/>
                  </a:lnTo>
                  <a:lnTo>
                    <a:pt x="524" y="1047"/>
                  </a:lnTo>
                  <a:lnTo>
                    <a:pt x="733" y="1005"/>
                  </a:lnTo>
                  <a:lnTo>
                    <a:pt x="817" y="1047"/>
                  </a:lnTo>
                  <a:lnTo>
                    <a:pt x="838" y="1151"/>
                  </a:lnTo>
                  <a:lnTo>
                    <a:pt x="921" y="1172"/>
                  </a:lnTo>
                  <a:lnTo>
                    <a:pt x="963" y="1235"/>
                  </a:lnTo>
                  <a:lnTo>
                    <a:pt x="921" y="1340"/>
                  </a:lnTo>
                  <a:lnTo>
                    <a:pt x="921" y="1549"/>
                  </a:lnTo>
                  <a:lnTo>
                    <a:pt x="1047" y="1528"/>
                  </a:lnTo>
                  <a:lnTo>
                    <a:pt x="1172" y="1633"/>
                  </a:lnTo>
                  <a:lnTo>
                    <a:pt x="1256" y="1633"/>
                  </a:lnTo>
                  <a:lnTo>
                    <a:pt x="1319" y="1863"/>
                  </a:lnTo>
                  <a:lnTo>
                    <a:pt x="1319" y="1988"/>
                  </a:lnTo>
                  <a:lnTo>
                    <a:pt x="1361" y="2093"/>
                  </a:lnTo>
                  <a:lnTo>
                    <a:pt x="1486" y="2009"/>
                  </a:lnTo>
                  <a:lnTo>
                    <a:pt x="1696" y="1947"/>
                  </a:lnTo>
                  <a:lnTo>
                    <a:pt x="1863" y="2009"/>
                  </a:lnTo>
                  <a:lnTo>
                    <a:pt x="2009" y="1947"/>
                  </a:lnTo>
                  <a:lnTo>
                    <a:pt x="2114" y="1947"/>
                  </a:lnTo>
                  <a:lnTo>
                    <a:pt x="2051" y="1779"/>
                  </a:lnTo>
                  <a:lnTo>
                    <a:pt x="2219" y="1758"/>
                  </a:lnTo>
                  <a:lnTo>
                    <a:pt x="2281" y="1633"/>
                  </a:lnTo>
                  <a:lnTo>
                    <a:pt x="2386" y="1570"/>
                  </a:lnTo>
                  <a:lnTo>
                    <a:pt x="2407" y="1654"/>
                  </a:lnTo>
                  <a:lnTo>
                    <a:pt x="2532" y="1654"/>
                  </a:lnTo>
                  <a:lnTo>
                    <a:pt x="2532" y="1528"/>
                  </a:lnTo>
                  <a:lnTo>
                    <a:pt x="2386" y="1444"/>
                  </a:lnTo>
                  <a:lnTo>
                    <a:pt x="2428" y="1277"/>
                  </a:lnTo>
                  <a:lnTo>
                    <a:pt x="2512" y="1256"/>
                  </a:lnTo>
                  <a:lnTo>
                    <a:pt x="2616" y="1068"/>
                  </a:lnTo>
                  <a:lnTo>
                    <a:pt x="2825" y="963"/>
                  </a:lnTo>
                  <a:lnTo>
                    <a:pt x="2825" y="858"/>
                  </a:lnTo>
                  <a:lnTo>
                    <a:pt x="2721" y="817"/>
                  </a:lnTo>
                  <a:lnTo>
                    <a:pt x="2846" y="628"/>
                  </a:lnTo>
                  <a:lnTo>
                    <a:pt x="2804" y="607"/>
                  </a:lnTo>
                  <a:lnTo>
                    <a:pt x="2637" y="586"/>
                  </a:lnTo>
                  <a:lnTo>
                    <a:pt x="2512" y="398"/>
                  </a:lnTo>
                  <a:lnTo>
                    <a:pt x="2386" y="398"/>
                  </a:lnTo>
                  <a:lnTo>
                    <a:pt x="2219" y="210"/>
                  </a:lnTo>
                  <a:lnTo>
                    <a:pt x="2051" y="189"/>
                  </a:lnTo>
                  <a:lnTo>
                    <a:pt x="1842" y="84"/>
                  </a:lnTo>
                  <a:lnTo>
                    <a:pt x="1654" y="210"/>
                  </a:lnTo>
                  <a:lnTo>
                    <a:pt x="1591" y="189"/>
                  </a:lnTo>
                  <a:lnTo>
                    <a:pt x="1423" y="189"/>
                  </a:lnTo>
                  <a:lnTo>
                    <a:pt x="1340" y="84"/>
                  </a:lnTo>
                  <a:lnTo>
                    <a:pt x="1235" y="84"/>
                  </a:lnTo>
                  <a:lnTo>
                    <a:pt x="12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3" name="Google Shape;843;p34"/>
            <p:cNvSpPr/>
            <p:nvPr/>
          </p:nvSpPr>
          <p:spPr>
            <a:xfrm>
              <a:off x="3888104" y="2727737"/>
              <a:ext cx="57573" cy="42601"/>
            </a:xfrm>
            <a:custGeom>
              <a:avLst/>
              <a:gdLst/>
              <a:ahLst/>
              <a:cxnLst/>
              <a:rect l="l" t="t" r="r" b="b"/>
              <a:pathLst>
                <a:path w="4835" h="3746" extrusionOk="0">
                  <a:moveTo>
                    <a:pt x="2470" y="0"/>
                  </a:moveTo>
                  <a:lnTo>
                    <a:pt x="2323" y="84"/>
                  </a:lnTo>
                  <a:lnTo>
                    <a:pt x="2219" y="42"/>
                  </a:lnTo>
                  <a:lnTo>
                    <a:pt x="2093" y="63"/>
                  </a:lnTo>
                  <a:lnTo>
                    <a:pt x="2051" y="167"/>
                  </a:lnTo>
                  <a:lnTo>
                    <a:pt x="1947" y="230"/>
                  </a:lnTo>
                  <a:lnTo>
                    <a:pt x="1905" y="377"/>
                  </a:lnTo>
                  <a:lnTo>
                    <a:pt x="1675" y="398"/>
                  </a:lnTo>
                  <a:lnTo>
                    <a:pt x="1486" y="481"/>
                  </a:lnTo>
                  <a:lnTo>
                    <a:pt x="1361" y="670"/>
                  </a:lnTo>
                  <a:lnTo>
                    <a:pt x="1465" y="711"/>
                  </a:lnTo>
                  <a:lnTo>
                    <a:pt x="1465" y="816"/>
                  </a:lnTo>
                  <a:lnTo>
                    <a:pt x="1256" y="921"/>
                  </a:lnTo>
                  <a:lnTo>
                    <a:pt x="1152" y="1109"/>
                  </a:lnTo>
                  <a:lnTo>
                    <a:pt x="1068" y="1130"/>
                  </a:lnTo>
                  <a:lnTo>
                    <a:pt x="1026" y="1297"/>
                  </a:lnTo>
                  <a:lnTo>
                    <a:pt x="1172" y="1381"/>
                  </a:lnTo>
                  <a:lnTo>
                    <a:pt x="1172" y="1507"/>
                  </a:lnTo>
                  <a:lnTo>
                    <a:pt x="1047" y="1507"/>
                  </a:lnTo>
                  <a:lnTo>
                    <a:pt x="1026" y="1423"/>
                  </a:lnTo>
                  <a:lnTo>
                    <a:pt x="921" y="1486"/>
                  </a:lnTo>
                  <a:lnTo>
                    <a:pt x="859" y="1611"/>
                  </a:lnTo>
                  <a:lnTo>
                    <a:pt x="691" y="1632"/>
                  </a:lnTo>
                  <a:lnTo>
                    <a:pt x="754" y="1800"/>
                  </a:lnTo>
                  <a:lnTo>
                    <a:pt x="649" y="1800"/>
                  </a:lnTo>
                  <a:lnTo>
                    <a:pt x="503" y="1862"/>
                  </a:lnTo>
                  <a:lnTo>
                    <a:pt x="336" y="1800"/>
                  </a:lnTo>
                  <a:lnTo>
                    <a:pt x="126" y="1862"/>
                  </a:lnTo>
                  <a:lnTo>
                    <a:pt x="1" y="1946"/>
                  </a:lnTo>
                  <a:lnTo>
                    <a:pt x="22" y="2009"/>
                  </a:lnTo>
                  <a:lnTo>
                    <a:pt x="126" y="2260"/>
                  </a:lnTo>
                  <a:lnTo>
                    <a:pt x="210" y="2385"/>
                  </a:lnTo>
                  <a:lnTo>
                    <a:pt x="231" y="2532"/>
                  </a:lnTo>
                  <a:lnTo>
                    <a:pt x="294" y="2574"/>
                  </a:lnTo>
                  <a:lnTo>
                    <a:pt x="294" y="2950"/>
                  </a:lnTo>
                  <a:lnTo>
                    <a:pt x="189" y="2992"/>
                  </a:lnTo>
                  <a:lnTo>
                    <a:pt x="105" y="3118"/>
                  </a:lnTo>
                  <a:lnTo>
                    <a:pt x="126" y="3306"/>
                  </a:lnTo>
                  <a:lnTo>
                    <a:pt x="273" y="3494"/>
                  </a:lnTo>
                  <a:lnTo>
                    <a:pt x="273" y="3536"/>
                  </a:lnTo>
                  <a:lnTo>
                    <a:pt x="336" y="3536"/>
                  </a:lnTo>
                  <a:lnTo>
                    <a:pt x="524" y="3620"/>
                  </a:lnTo>
                  <a:lnTo>
                    <a:pt x="628" y="3578"/>
                  </a:lnTo>
                  <a:lnTo>
                    <a:pt x="1047" y="3515"/>
                  </a:lnTo>
                  <a:lnTo>
                    <a:pt x="1235" y="3515"/>
                  </a:lnTo>
                  <a:lnTo>
                    <a:pt x="1340" y="3411"/>
                  </a:lnTo>
                  <a:lnTo>
                    <a:pt x="1424" y="3411"/>
                  </a:lnTo>
                  <a:lnTo>
                    <a:pt x="1549" y="3494"/>
                  </a:lnTo>
                  <a:lnTo>
                    <a:pt x="1884" y="3536"/>
                  </a:lnTo>
                  <a:lnTo>
                    <a:pt x="2009" y="3620"/>
                  </a:lnTo>
                  <a:lnTo>
                    <a:pt x="2051" y="3683"/>
                  </a:lnTo>
                  <a:lnTo>
                    <a:pt x="2260" y="3599"/>
                  </a:lnTo>
                  <a:lnTo>
                    <a:pt x="2365" y="3683"/>
                  </a:lnTo>
                  <a:lnTo>
                    <a:pt x="2428" y="3683"/>
                  </a:lnTo>
                  <a:lnTo>
                    <a:pt x="2470" y="3620"/>
                  </a:lnTo>
                  <a:lnTo>
                    <a:pt x="2637" y="3641"/>
                  </a:lnTo>
                  <a:lnTo>
                    <a:pt x="2721" y="3704"/>
                  </a:lnTo>
                  <a:lnTo>
                    <a:pt x="2909" y="3599"/>
                  </a:lnTo>
                  <a:lnTo>
                    <a:pt x="3056" y="3599"/>
                  </a:lnTo>
                  <a:lnTo>
                    <a:pt x="3097" y="3724"/>
                  </a:lnTo>
                  <a:lnTo>
                    <a:pt x="3202" y="3745"/>
                  </a:lnTo>
                  <a:lnTo>
                    <a:pt x="3307" y="3620"/>
                  </a:lnTo>
                  <a:lnTo>
                    <a:pt x="3411" y="3599"/>
                  </a:lnTo>
                  <a:lnTo>
                    <a:pt x="3516" y="3683"/>
                  </a:lnTo>
                  <a:lnTo>
                    <a:pt x="3662" y="3620"/>
                  </a:lnTo>
                  <a:lnTo>
                    <a:pt x="3767" y="3704"/>
                  </a:lnTo>
                  <a:lnTo>
                    <a:pt x="3893" y="3704"/>
                  </a:lnTo>
                  <a:lnTo>
                    <a:pt x="3893" y="3494"/>
                  </a:lnTo>
                  <a:lnTo>
                    <a:pt x="3997" y="3285"/>
                  </a:lnTo>
                  <a:lnTo>
                    <a:pt x="4165" y="3264"/>
                  </a:lnTo>
                  <a:lnTo>
                    <a:pt x="4395" y="3201"/>
                  </a:lnTo>
                  <a:lnTo>
                    <a:pt x="4416" y="3201"/>
                  </a:lnTo>
                  <a:lnTo>
                    <a:pt x="4416" y="3055"/>
                  </a:lnTo>
                  <a:lnTo>
                    <a:pt x="4290" y="2908"/>
                  </a:lnTo>
                  <a:lnTo>
                    <a:pt x="4311" y="2762"/>
                  </a:lnTo>
                  <a:lnTo>
                    <a:pt x="4185" y="2574"/>
                  </a:lnTo>
                  <a:lnTo>
                    <a:pt x="4185" y="2427"/>
                  </a:lnTo>
                  <a:lnTo>
                    <a:pt x="4248" y="2344"/>
                  </a:lnTo>
                  <a:lnTo>
                    <a:pt x="4374" y="2448"/>
                  </a:lnTo>
                  <a:lnTo>
                    <a:pt x="4667" y="2427"/>
                  </a:lnTo>
                  <a:lnTo>
                    <a:pt x="4771" y="2218"/>
                  </a:lnTo>
                  <a:lnTo>
                    <a:pt x="4834" y="2155"/>
                  </a:lnTo>
                  <a:lnTo>
                    <a:pt x="4688" y="2051"/>
                  </a:lnTo>
                  <a:lnTo>
                    <a:pt x="4688" y="1946"/>
                  </a:lnTo>
                  <a:lnTo>
                    <a:pt x="4457" y="1758"/>
                  </a:lnTo>
                  <a:lnTo>
                    <a:pt x="4269" y="1716"/>
                  </a:lnTo>
                  <a:lnTo>
                    <a:pt x="4206" y="1527"/>
                  </a:lnTo>
                  <a:lnTo>
                    <a:pt x="4102" y="1423"/>
                  </a:lnTo>
                  <a:lnTo>
                    <a:pt x="3955" y="1214"/>
                  </a:lnTo>
                  <a:lnTo>
                    <a:pt x="3872" y="1046"/>
                  </a:lnTo>
                  <a:lnTo>
                    <a:pt x="3746" y="921"/>
                  </a:lnTo>
                  <a:lnTo>
                    <a:pt x="3746" y="753"/>
                  </a:lnTo>
                  <a:lnTo>
                    <a:pt x="3662" y="649"/>
                  </a:lnTo>
                  <a:lnTo>
                    <a:pt x="3683" y="481"/>
                  </a:lnTo>
                  <a:lnTo>
                    <a:pt x="3662" y="356"/>
                  </a:lnTo>
                  <a:lnTo>
                    <a:pt x="3411" y="272"/>
                  </a:lnTo>
                  <a:lnTo>
                    <a:pt x="3328" y="272"/>
                  </a:lnTo>
                  <a:lnTo>
                    <a:pt x="3265" y="167"/>
                  </a:lnTo>
                  <a:lnTo>
                    <a:pt x="3097" y="230"/>
                  </a:lnTo>
                  <a:lnTo>
                    <a:pt x="2930" y="356"/>
                  </a:lnTo>
                  <a:lnTo>
                    <a:pt x="2825" y="147"/>
                  </a:lnTo>
                  <a:lnTo>
                    <a:pt x="2721" y="147"/>
                  </a:lnTo>
                  <a:lnTo>
                    <a:pt x="2574" y="188"/>
                  </a:lnTo>
                  <a:lnTo>
                    <a:pt x="247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4" name="Google Shape;844;p34"/>
            <p:cNvSpPr/>
            <p:nvPr/>
          </p:nvSpPr>
          <p:spPr>
            <a:xfrm>
              <a:off x="3848488" y="2796972"/>
              <a:ext cx="39628" cy="24519"/>
            </a:xfrm>
            <a:custGeom>
              <a:avLst/>
              <a:gdLst/>
              <a:ahLst/>
              <a:cxnLst/>
              <a:rect l="l" t="t" r="r" b="b"/>
              <a:pathLst>
                <a:path w="3328" h="2156" extrusionOk="0">
                  <a:moveTo>
                    <a:pt x="2993" y="1"/>
                  </a:moveTo>
                  <a:lnTo>
                    <a:pt x="2867" y="64"/>
                  </a:lnTo>
                  <a:lnTo>
                    <a:pt x="2679" y="43"/>
                  </a:lnTo>
                  <a:lnTo>
                    <a:pt x="2449" y="43"/>
                  </a:lnTo>
                  <a:lnTo>
                    <a:pt x="2302" y="22"/>
                  </a:lnTo>
                  <a:lnTo>
                    <a:pt x="2135" y="43"/>
                  </a:lnTo>
                  <a:lnTo>
                    <a:pt x="2030" y="210"/>
                  </a:lnTo>
                  <a:lnTo>
                    <a:pt x="1926" y="273"/>
                  </a:lnTo>
                  <a:lnTo>
                    <a:pt x="1926" y="377"/>
                  </a:lnTo>
                  <a:lnTo>
                    <a:pt x="1758" y="210"/>
                  </a:lnTo>
                  <a:lnTo>
                    <a:pt x="1549" y="357"/>
                  </a:lnTo>
                  <a:lnTo>
                    <a:pt x="1403" y="419"/>
                  </a:lnTo>
                  <a:lnTo>
                    <a:pt x="1403" y="545"/>
                  </a:lnTo>
                  <a:lnTo>
                    <a:pt x="1089" y="566"/>
                  </a:lnTo>
                  <a:lnTo>
                    <a:pt x="880" y="629"/>
                  </a:lnTo>
                  <a:lnTo>
                    <a:pt x="691" y="587"/>
                  </a:lnTo>
                  <a:lnTo>
                    <a:pt x="294" y="357"/>
                  </a:lnTo>
                  <a:lnTo>
                    <a:pt x="294" y="440"/>
                  </a:lnTo>
                  <a:lnTo>
                    <a:pt x="315" y="566"/>
                  </a:lnTo>
                  <a:lnTo>
                    <a:pt x="294" y="670"/>
                  </a:lnTo>
                  <a:lnTo>
                    <a:pt x="64" y="670"/>
                  </a:lnTo>
                  <a:lnTo>
                    <a:pt x="43" y="733"/>
                  </a:lnTo>
                  <a:lnTo>
                    <a:pt x="147" y="838"/>
                  </a:lnTo>
                  <a:lnTo>
                    <a:pt x="85" y="984"/>
                  </a:lnTo>
                  <a:lnTo>
                    <a:pt x="64" y="1089"/>
                  </a:lnTo>
                  <a:lnTo>
                    <a:pt x="147" y="1193"/>
                  </a:lnTo>
                  <a:lnTo>
                    <a:pt x="43" y="1298"/>
                  </a:lnTo>
                  <a:lnTo>
                    <a:pt x="1" y="1298"/>
                  </a:lnTo>
                  <a:lnTo>
                    <a:pt x="168" y="1486"/>
                  </a:lnTo>
                  <a:lnTo>
                    <a:pt x="189" y="1675"/>
                  </a:lnTo>
                  <a:lnTo>
                    <a:pt x="273" y="1696"/>
                  </a:lnTo>
                  <a:lnTo>
                    <a:pt x="524" y="1905"/>
                  </a:lnTo>
                  <a:lnTo>
                    <a:pt x="629" y="1947"/>
                  </a:lnTo>
                  <a:lnTo>
                    <a:pt x="733" y="2030"/>
                  </a:lnTo>
                  <a:lnTo>
                    <a:pt x="1026" y="2093"/>
                  </a:lnTo>
                  <a:lnTo>
                    <a:pt x="1235" y="2156"/>
                  </a:lnTo>
                  <a:lnTo>
                    <a:pt x="1340" y="2030"/>
                  </a:lnTo>
                  <a:lnTo>
                    <a:pt x="1403" y="2051"/>
                  </a:lnTo>
                  <a:lnTo>
                    <a:pt x="1466" y="1989"/>
                  </a:lnTo>
                  <a:lnTo>
                    <a:pt x="1612" y="1926"/>
                  </a:lnTo>
                  <a:lnTo>
                    <a:pt x="1717" y="1926"/>
                  </a:lnTo>
                  <a:lnTo>
                    <a:pt x="1738" y="1884"/>
                  </a:lnTo>
                  <a:lnTo>
                    <a:pt x="1863" y="1779"/>
                  </a:lnTo>
                  <a:lnTo>
                    <a:pt x="1968" y="1800"/>
                  </a:lnTo>
                  <a:lnTo>
                    <a:pt x="2072" y="1821"/>
                  </a:lnTo>
                  <a:lnTo>
                    <a:pt x="2156" y="1842"/>
                  </a:lnTo>
                  <a:lnTo>
                    <a:pt x="2282" y="1717"/>
                  </a:lnTo>
                  <a:lnTo>
                    <a:pt x="2386" y="1696"/>
                  </a:lnTo>
                  <a:lnTo>
                    <a:pt x="2449" y="1591"/>
                  </a:lnTo>
                  <a:lnTo>
                    <a:pt x="2595" y="1612"/>
                  </a:lnTo>
                  <a:lnTo>
                    <a:pt x="2700" y="1507"/>
                  </a:lnTo>
                  <a:lnTo>
                    <a:pt x="2679" y="1403"/>
                  </a:lnTo>
                  <a:lnTo>
                    <a:pt x="2888" y="1089"/>
                  </a:lnTo>
                  <a:lnTo>
                    <a:pt x="3014" y="754"/>
                  </a:lnTo>
                  <a:lnTo>
                    <a:pt x="3118" y="524"/>
                  </a:lnTo>
                  <a:lnTo>
                    <a:pt x="3286" y="482"/>
                  </a:lnTo>
                  <a:lnTo>
                    <a:pt x="3328" y="357"/>
                  </a:lnTo>
                  <a:lnTo>
                    <a:pt x="3307" y="336"/>
                  </a:lnTo>
                  <a:lnTo>
                    <a:pt x="3286" y="231"/>
                  </a:lnTo>
                  <a:lnTo>
                    <a:pt x="3118" y="126"/>
                  </a:lnTo>
                  <a:lnTo>
                    <a:pt x="29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5" name="Google Shape;845;p34"/>
            <p:cNvSpPr/>
            <p:nvPr/>
          </p:nvSpPr>
          <p:spPr>
            <a:xfrm>
              <a:off x="3851727" y="2789842"/>
              <a:ext cx="34151" cy="14284"/>
            </a:xfrm>
            <a:custGeom>
              <a:avLst/>
              <a:gdLst/>
              <a:ahLst/>
              <a:cxnLst/>
              <a:rect l="l" t="t" r="r" b="b"/>
              <a:pathLst>
                <a:path w="2868" h="1256" extrusionOk="0">
                  <a:moveTo>
                    <a:pt x="2240" y="0"/>
                  </a:moveTo>
                  <a:lnTo>
                    <a:pt x="2177" y="21"/>
                  </a:lnTo>
                  <a:lnTo>
                    <a:pt x="2093" y="105"/>
                  </a:lnTo>
                  <a:lnTo>
                    <a:pt x="2010" y="42"/>
                  </a:lnTo>
                  <a:lnTo>
                    <a:pt x="1884" y="42"/>
                  </a:lnTo>
                  <a:lnTo>
                    <a:pt x="1779" y="21"/>
                  </a:lnTo>
                  <a:lnTo>
                    <a:pt x="1696" y="42"/>
                  </a:lnTo>
                  <a:lnTo>
                    <a:pt x="1612" y="147"/>
                  </a:lnTo>
                  <a:lnTo>
                    <a:pt x="1507" y="168"/>
                  </a:lnTo>
                  <a:lnTo>
                    <a:pt x="1486" y="147"/>
                  </a:lnTo>
                  <a:lnTo>
                    <a:pt x="1235" y="126"/>
                  </a:lnTo>
                  <a:lnTo>
                    <a:pt x="1089" y="230"/>
                  </a:lnTo>
                  <a:lnTo>
                    <a:pt x="942" y="251"/>
                  </a:lnTo>
                  <a:lnTo>
                    <a:pt x="775" y="419"/>
                  </a:lnTo>
                  <a:lnTo>
                    <a:pt x="566" y="440"/>
                  </a:lnTo>
                  <a:lnTo>
                    <a:pt x="336" y="523"/>
                  </a:lnTo>
                  <a:lnTo>
                    <a:pt x="294" y="460"/>
                  </a:lnTo>
                  <a:lnTo>
                    <a:pt x="147" y="481"/>
                  </a:lnTo>
                  <a:lnTo>
                    <a:pt x="22" y="565"/>
                  </a:lnTo>
                  <a:lnTo>
                    <a:pt x="1" y="565"/>
                  </a:lnTo>
                  <a:lnTo>
                    <a:pt x="1" y="753"/>
                  </a:lnTo>
                  <a:lnTo>
                    <a:pt x="22" y="984"/>
                  </a:lnTo>
                  <a:lnTo>
                    <a:pt x="419" y="1214"/>
                  </a:lnTo>
                  <a:lnTo>
                    <a:pt x="608" y="1256"/>
                  </a:lnTo>
                  <a:lnTo>
                    <a:pt x="817" y="1193"/>
                  </a:lnTo>
                  <a:lnTo>
                    <a:pt x="1131" y="1172"/>
                  </a:lnTo>
                  <a:lnTo>
                    <a:pt x="1131" y="1046"/>
                  </a:lnTo>
                  <a:lnTo>
                    <a:pt x="1277" y="984"/>
                  </a:lnTo>
                  <a:lnTo>
                    <a:pt x="1486" y="837"/>
                  </a:lnTo>
                  <a:lnTo>
                    <a:pt x="1654" y="1004"/>
                  </a:lnTo>
                  <a:lnTo>
                    <a:pt x="1654" y="900"/>
                  </a:lnTo>
                  <a:lnTo>
                    <a:pt x="1758" y="837"/>
                  </a:lnTo>
                  <a:lnTo>
                    <a:pt x="1863" y="670"/>
                  </a:lnTo>
                  <a:lnTo>
                    <a:pt x="2030" y="649"/>
                  </a:lnTo>
                  <a:lnTo>
                    <a:pt x="2177" y="670"/>
                  </a:lnTo>
                  <a:lnTo>
                    <a:pt x="2407" y="670"/>
                  </a:lnTo>
                  <a:lnTo>
                    <a:pt x="2595" y="691"/>
                  </a:lnTo>
                  <a:lnTo>
                    <a:pt x="2742" y="628"/>
                  </a:lnTo>
                  <a:lnTo>
                    <a:pt x="2763" y="419"/>
                  </a:lnTo>
                  <a:lnTo>
                    <a:pt x="2867" y="147"/>
                  </a:lnTo>
                  <a:lnTo>
                    <a:pt x="2637" y="21"/>
                  </a:lnTo>
                  <a:lnTo>
                    <a:pt x="2407" y="21"/>
                  </a:lnTo>
                  <a:lnTo>
                    <a:pt x="2344" y="42"/>
                  </a:lnTo>
                  <a:lnTo>
                    <a:pt x="22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6" name="Google Shape;846;p34"/>
            <p:cNvSpPr/>
            <p:nvPr/>
          </p:nvSpPr>
          <p:spPr>
            <a:xfrm>
              <a:off x="3869672" y="2845760"/>
              <a:ext cx="12967" cy="23803"/>
            </a:xfrm>
            <a:custGeom>
              <a:avLst/>
              <a:gdLst/>
              <a:ahLst/>
              <a:cxnLst/>
              <a:rect l="l" t="t" r="r" b="b"/>
              <a:pathLst>
                <a:path w="1089" h="2093" extrusionOk="0">
                  <a:moveTo>
                    <a:pt x="419" y="0"/>
                  </a:moveTo>
                  <a:lnTo>
                    <a:pt x="314" y="126"/>
                  </a:lnTo>
                  <a:lnTo>
                    <a:pt x="272" y="21"/>
                  </a:lnTo>
                  <a:lnTo>
                    <a:pt x="210" y="21"/>
                  </a:lnTo>
                  <a:lnTo>
                    <a:pt x="84" y="147"/>
                  </a:lnTo>
                  <a:lnTo>
                    <a:pt x="0" y="314"/>
                  </a:lnTo>
                  <a:lnTo>
                    <a:pt x="0" y="544"/>
                  </a:lnTo>
                  <a:lnTo>
                    <a:pt x="189" y="628"/>
                  </a:lnTo>
                  <a:lnTo>
                    <a:pt x="168" y="691"/>
                  </a:lnTo>
                  <a:lnTo>
                    <a:pt x="105" y="733"/>
                  </a:lnTo>
                  <a:lnTo>
                    <a:pt x="63" y="984"/>
                  </a:lnTo>
                  <a:lnTo>
                    <a:pt x="105" y="1172"/>
                  </a:lnTo>
                  <a:lnTo>
                    <a:pt x="63" y="1277"/>
                  </a:lnTo>
                  <a:lnTo>
                    <a:pt x="63" y="1423"/>
                  </a:lnTo>
                  <a:lnTo>
                    <a:pt x="147" y="1528"/>
                  </a:lnTo>
                  <a:lnTo>
                    <a:pt x="84" y="1674"/>
                  </a:lnTo>
                  <a:lnTo>
                    <a:pt x="147" y="1716"/>
                  </a:lnTo>
                  <a:lnTo>
                    <a:pt x="377" y="1737"/>
                  </a:lnTo>
                  <a:lnTo>
                    <a:pt x="482" y="2009"/>
                  </a:lnTo>
                  <a:lnTo>
                    <a:pt x="565" y="2093"/>
                  </a:lnTo>
                  <a:lnTo>
                    <a:pt x="628" y="2030"/>
                  </a:lnTo>
                  <a:lnTo>
                    <a:pt x="712" y="1883"/>
                  </a:lnTo>
                  <a:lnTo>
                    <a:pt x="733" y="1737"/>
                  </a:lnTo>
                  <a:lnTo>
                    <a:pt x="942" y="1674"/>
                  </a:lnTo>
                  <a:lnTo>
                    <a:pt x="1047" y="1507"/>
                  </a:lnTo>
                  <a:lnTo>
                    <a:pt x="1088" y="1360"/>
                  </a:lnTo>
                  <a:lnTo>
                    <a:pt x="942" y="1256"/>
                  </a:lnTo>
                  <a:lnTo>
                    <a:pt x="900" y="1109"/>
                  </a:lnTo>
                  <a:lnTo>
                    <a:pt x="795" y="963"/>
                  </a:lnTo>
                  <a:lnTo>
                    <a:pt x="775" y="753"/>
                  </a:lnTo>
                  <a:lnTo>
                    <a:pt x="795" y="544"/>
                  </a:lnTo>
                  <a:lnTo>
                    <a:pt x="775" y="481"/>
                  </a:lnTo>
                  <a:lnTo>
                    <a:pt x="775" y="335"/>
                  </a:lnTo>
                  <a:lnTo>
                    <a:pt x="712" y="230"/>
                  </a:lnTo>
                  <a:lnTo>
                    <a:pt x="607" y="147"/>
                  </a:lnTo>
                  <a:lnTo>
                    <a:pt x="565" y="147"/>
                  </a:lnTo>
                  <a:lnTo>
                    <a:pt x="482" y="21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" name="Google Shape;847;p34"/>
            <p:cNvSpPr/>
            <p:nvPr/>
          </p:nvSpPr>
          <p:spPr>
            <a:xfrm>
              <a:off x="3863444" y="2836958"/>
              <a:ext cx="12467" cy="15000"/>
            </a:xfrm>
            <a:custGeom>
              <a:avLst/>
              <a:gdLst/>
              <a:ahLst/>
              <a:cxnLst/>
              <a:rect l="l" t="t" r="r" b="b"/>
              <a:pathLst>
                <a:path w="1047" h="1319" extrusionOk="0">
                  <a:moveTo>
                    <a:pt x="293" y="0"/>
                  </a:moveTo>
                  <a:lnTo>
                    <a:pt x="210" y="63"/>
                  </a:lnTo>
                  <a:lnTo>
                    <a:pt x="210" y="167"/>
                  </a:lnTo>
                  <a:lnTo>
                    <a:pt x="314" y="209"/>
                  </a:lnTo>
                  <a:lnTo>
                    <a:pt x="356" y="293"/>
                  </a:lnTo>
                  <a:lnTo>
                    <a:pt x="272" y="356"/>
                  </a:lnTo>
                  <a:lnTo>
                    <a:pt x="189" y="356"/>
                  </a:lnTo>
                  <a:lnTo>
                    <a:pt x="147" y="481"/>
                  </a:lnTo>
                  <a:lnTo>
                    <a:pt x="147" y="628"/>
                  </a:lnTo>
                  <a:lnTo>
                    <a:pt x="84" y="732"/>
                  </a:lnTo>
                  <a:lnTo>
                    <a:pt x="0" y="795"/>
                  </a:lnTo>
                  <a:lnTo>
                    <a:pt x="63" y="837"/>
                  </a:lnTo>
                  <a:lnTo>
                    <a:pt x="168" y="879"/>
                  </a:lnTo>
                  <a:lnTo>
                    <a:pt x="377" y="1151"/>
                  </a:lnTo>
                  <a:lnTo>
                    <a:pt x="398" y="1235"/>
                  </a:lnTo>
                  <a:lnTo>
                    <a:pt x="523" y="1318"/>
                  </a:lnTo>
                  <a:lnTo>
                    <a:pt x="523" y="1088"/>
                  </a:lnTo>
                  <a:lnTo>
                    <a:pt x="607" y="921"/>
                  </a:lnTo>
                  <a:lnTo>
                    <a:pt x="733" y="795"/>
                  </a:lnTo>
                  <a:lnTo>
                    <a:pt x="795" y="795"/>
                  </a:lnTo>
                  <a:lnTo>
                    <a:pt x="837" y="900"/>
                  </a:lnTo>
                  <a:lnTo>
                    <a:pt x="942" y="774"/>
                  </a:lnTo>
                  <a:lnTo>
                    <a:pt x="984" y="711"/>
                  </a:lnTo>
                  <a:lnTo>
                    <a:pt x="1046" y="628"/>
                  </a:lnTo>
                  <a:lnTo>
                    <a:pt x="1046" y="502"/>
                  </a:lnTo>
                  <a:lnTo>
                    <a:pt x="900" y="481"/>
                  </a:lnTo>
                  <a:lnTo>
                    <a:pt x="816" y="398"/>
                  </a:lnTo>
                  <a:lnTo>
                    <a:pt x="691" y="398"/>
                  </a:lnTo>
                  <a:lnTo>
                    <a:pt x="628" y="314"/>
                  </a:lnTo>
                  <a:lnTo>
                    <a:pt x="628" y="251"/>
                  </a:lnTo>
                  <a:lnTo>
                    <a:pt x="502" y="105"/>
                  </a:lnTo>
                  <a:lnTo>
                    <a:pt x="502" y="146"/>
                  </a:lnTo>
                  <a:lnTo>
                    <a:pt x="398" y="84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8" name="Google Shape;848;p34"/>
            <p:cNvSpPr/>
            <p:nvPr/>
          </p:nvSpPr>
          <p:spPr>
            <a:xfrm>
              <a:off x="3844761" y="2824346"/>
              <a:ext cx="25923" cy="21665"/>
            </a:xfrm>
            <a:custGeom>
              <a:avLst/>
              <a:gdLst/>
              <a:ahLst/>
              <a:cxnLst/>
              <a:rect l="l" t="t" r="r" b="b"/>
              <a:pathLst>
                <a:path w="2177" h="1905" extrusionOk="0">
                  <a:moveTo>
                    <a:pt x="105" y="0"/>
                  </a:moveTo>
                  <a:lnTo>
                    <a:pt x="63" y="42"/>
                  </a:lnTo>
                  <a:lnTo>
                    <a:pt x="63" y="167"/>
                  </a:lnTo>
                  <a:lnTo>
                    <a:pt x="0" y="230"/>
                  </a:lnTo>
                  <a:lnTo>
                    <a:pt x="42" y="314"/>
                  </a:lnTo>
                  <a:lnTo>
                    <a:pt x="84" y="314"/>
                  </a:lnTo>
                  <a:lnTo>
                    <a:pt x="209" y="439"/>
                  </a:lnTo>
                  <a:lnTo>
                    <a:pt x="251" y="544"/>
                  </a:lnTo>
                  <a:lnTo>
                    <a:pt x="314" y="649"/>
                  </a:lnTo>
                  <a:lnTo>
                    <a:pt x="272" y="670"/>
                  </a:lnTo>
                  <a:lnTo>
                    <a:pt x="293" y="753"/>
                  </a:lnTo>
                  <a:lnTo>
                    <a:pt x="774" y="1151"/>
                  </a:lnTo>
                  <a:lnTo>
                    <a:pt x="1151" y="1611"/>
                  </a:lnTo>
                  <a:lnTo>
                    <a:pt x="1109" y="1695"/>
                  </a:lnTo>
                  <a:lnTo>
                    <a:pt x="1193" y="1716"/>
                  </a:lnTo>
                  <a:lnTo>
                    <a:pt x="1402" y="1737"/>
                  </a:lnTo>
                  <a:lnTo>
                    <a:pt x="1465" y="1716"/>
                  </a:lnTo>
                  <a:lnTo>
                    <a:pt x="1569" y="1904"/>
                  </a:lnTo>
                  <a:lnTo>
                    <a:pt x="1653" y="1841"/>
                  </a:lnTo>
                  <a:lnTo>
                    <a:pt x="1716" y="1737"/>
                  </a:lnTo>
                  <a:lnTo>
                    <a:pt x="1716" y="1590"/>
                  </a:lnTo>
                  <a:lnTo>
                    <a:pt x="1758" y="1465"/>
                  </a:lnTo>
                  <a:lnTo>
                    <a:pt x="1841" y="1465"/>
                  </a:lnTo>
                  <a:lnTo>
                    <a:pt x="1925" y="1402"/>
                  </a:lnTo>
                  <a:lnTo>
                    <a:pt x="1883" y="1318"/>
                  </a:lnTo>
                  <a:lnTo>
                    <a:pt x="1779" y="1276"/>
                  </a:lnTo>
                  <a:lnTo>
                    <a:pt x="1779" y="1172"/>
                  </a:lnTo>
                  <a:lnTo>
                    <a:pt x="1862" y="1109"/>
                  </a:lnTo>
                  <a:lnTo>
                    <a:pt x="1967" y="1193"/>
                  </a:lnTo>
                  <a:lnTo>
                    <a:pt x="2071" y="1255"/>
                  </a:lnTo>
                  <a:lnTo>
                    <a:pt x="2134" y="1193"/>
                  </a:lnTo>
                  <a:lnTo>
                    <a:pt x="1988" y="1046"/>
                  </a:lnTo>
                  <a:lnTo>
                    <a:pt x="1988" y="900"/>
                  </a:lnTo>
                  <a:lnTo>
                    <a:pt x="2051" y="879"/>
                  </a:lnTo>
                  <a:lnTo>
                    <a:pt x="2155" y="942"/>
                  </a:lnTo>
                  <a:lnTo>
                    <a:pt x="2176" y="858"/>
                  </a:lnTo>
                  <a:lnTo>
                    <a:pt x="2134" y="795"/>
                  </a:lnTo>
                  <a:lnTo>
                    <a:pt x="2030" y="774"/>
                  </a:lnTo>
                  <a:lnTo>
                    <a:pt x="1862" y="649"/>
                  </a:lnTo>
                  <a:lnTo>
                    <a:pt x="1862" y="565"/>
                  </a:lnTo>
                  <a:lnTo>
                    <a:pt x="1967" y="419"/>
                  </a:lnTo>
                  <a:lnTo>
                    <a:pt x="1988" y="251"/>
                  </a:lnTo>
                  <a:lnTo>
                    <a:pt x="1925" y="251"/>
                  </a:lnTo>
                  <a:lnTo>
                    <a:pt x="1862" y="272"/>
                  </a:lnTo>
                  <a:lnTo>
                    <a:pt x="1820" y="230"/>
                  </a:lnTo>
                  <a:lnTo>
                    <a:pt x="1653" y="230"/>
                  </a:lnTo>
                  <a:lnTo>
                    <a:pt x="1548" y="126"/>
                  </a:lnTo>
                  <a:lnTo>
                    <a:pt x="1465" y="147"/>
                  </a:lnTo>
                  <a:lnTo>
                    <a:pt x="1339" y="105"/>
                  </a:lnTo>
                  <a:lnTo>
                    <a:pt x="1214" y="126"/>
                  </a:lnTo>
                  <a:lnTo>
                    <a:pt x="1193" y="63"/>
                  </a:lnTo>
                  <a:lnTo>
                    <a:pt x="1088" y="126"/>
                  </a:lnTo>
                  <a:lnTo>
                    <a:pt x="942" y="63"/>
                  </a:lnTo>
                  <a:lnTo>
                    <a:pt x="900" y="126"/>
                  </a:lnTo>
                  <a:lnTo>
                    <a:pt x="837" y="21"/>
                  </a:lnTo>
                  <a:lnTo>
                    <a:pt x="732" y="0"/>
                  </a:lnTo>
                  <a:lnTo>
                    <a:pt x="690" y="42"/>
                  </a:lnTo>
                  <a:lnTo>
                    <a:pt x="607" y="0"/>
                  </a:lnTo>
                  <a:lnTo>
                    <a:pt x="565" y="63"/>
                  </a:lnTo>
                  <a:lnTo>
                    <a:pt x="481" y="42"/>
                  </a:lnTo>
                  <a:lnTo>
                    <a:pt x="377" y="63"/>
                  </a:lnTo>
                  <a:lnTo>
                    <a:pt x="377" y="147"/>
                  </a:lnTo>
                  <a:lnTo>
                    <a:pt x="293" y="167"/>
                  </a:lnTo>
                  <a:lnTo>
                    <a:pt x="251" y="105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9" name="Google Shape;849;p34"/>
            <p:cNvSpPr/>
            <p:nvPr/>
          </p:nvSpPr>
          <p:spPr>
            <a:xfrm>
              <a:off x="3830555" y="2811734"/>
              <a:ext cx="20195" cy="12146"/>
            </a:xfrm>
            <a:custGeom>
              <a:avLst/>
              <a:gdLst/>
              <a:ahLst/>
              <a:cxnLst/>
              <a:rect l="l" t="t" r="r" b="b"/>
              <a:pathLst>
                <a:path w="1696" h="1068" extrusionOk="0">
                  <a:moveTo>
                    <a:pt x="1507" y="0"/>
                  </a:moveTo>
                  <a:lnTo>
                    <a:pt x="1381" y="63"/>
                  </a:lnTo>
                  <a:lnTo>
                    <a:pt x="1130" y="209"/>
                  </a:lnTo>
                  <a:lnTo>
                    <a:pt x="1067" y="188"/>
                  </a:lnTo>
                  <a:lnTo>
                    <a:pt x="984" y="209"/>
                  </a:lnTo>
                  <a:lnTo>
                    <a:pt x="858" y="272"/>
                  </a:lnTo>
                  <a:lnTo>
                    <a:pt x="733" y="272"/>
                  </a:lnTo>
                  <a:lnTo>
                    <a:pt x="607" y="314"/>
                  </a:lnTo>
                  <a:lnTo>
                    <a:pt x="523" y="230"/>
                  </a:lnTo>
                  <a:lnTo>
                    <a:pt x="251" y="230"/>
                  </a:lnTo>
                  <a:lnTo>
                    <a:pt x="147" y="209"/>
                  </a:lnTo>
                  <a:lnTo>
                    <a:pt x="21" y="419"/>
                  </a:lnTo>
                  <a:lnTo>
                    <a:pt x="84" y="502"/>
                  </a:lnTo>
                  <a:lnTo>
                    <a:pt x="0" y="628"/>
                  </a:lnTo>
                  <a:lnTo>
                    <a:pt x="21" y="816"/>
                  </a:lnTo>
                  <a:lnTo>
                    <a:pt x="42" y="816"/>
                  </a:lnTo>
                  <a:lnTo>
                    <a:pt x="147" y="858"/>
                  </a:lnTo>
                  <a:lnTo>
                    <a:pt x="147" y="942"/>
                  </a:lnTo>
                  <a:lnTo>
                    <a:pt x="42" y="963"/>
                  </a:lnTo>
                  <a:lnTo>
                    <a:pt x="42" y="1067"/>
                  </a:lnTo>
                  <a:lnTo>
                    <a:pt x="251" y="1067"/>
                  </a:lnTo>
                  <a:lnTo>
                    <a:pt x="398" y="963"/>
                  </a:lnTo>
                  <a:lnTo>
                    <a:pt x="523" y="921"/>
                  </a:lnTo>
                  <a:lnTo>
                    <a:pt x="733" y="1025"/>
                  </a:lnTo>
                  <a:lnTo>
                    <a:pt x="858" y="1025"/>
                  </a:lnTo>
                  <a:lnTo>
                    <a:pt x="879" y="816"/>
                  </a:lnTo>
                  <a:lnTo>
                    <a:pt x="1067" y="732"/>
                  </a:lnTo>
                  <a:lnTo>
                    <a:pt x="1088" y="586"/>
                  </a:lnTo>
                  <a:lnTo>
                    <a:pt x="1444" y="398"/>
                  </a:lnTo>
                  <a:lnTo>
                    <a:pt x="1695" y="398"/>
                  </a:lnTo>
                  <a:lnTo>
                    <a:pt x="1674" y="188"/>
                  </a:lnTo>
                  <a:lnTo>
                    <a:pt x="15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0" name="Google Shape;850;p34"/>
            <p:cNvSpPr/>
            <p:nvPr/>
          </p:nvSpPr>
          <p:spPr>
            <a:xfrm>
              <a:off x="3804645" y="2793401"/>
              <a:ext cx="47594" cy="21903"/>
            </a:xfrm>
            <a:custGeom>
              <a:avLst/>
              <a:gdLst/>
              <a:ahLst/>
              <a:cxnLst/>
              <a:rect l="l" t="t" r="r" b="b"/>
              <a:pathLst>
                <a:path w="3997" h="1926" extrusionOk="0">
                  <a:moveTo>
                    <a:pt x="2846" y="1"/>
                  </a:moveTo>
                  <a:lnTo>
                    <a:pt x="2804" y="106"/>
                  </a:lnTo>
                  <a:lnTo>
                    <a:pt x="2741" y="147"/>
                  </a:lnTo>
                  <a:lnTo>
                    <a:pt x="2720" y="252"/>
                  </a:lnTo>
                  <a:lnTo>
                    <a:pt x="2574" y="252"/>
                  </a:lnTo>
                  <a:lnTo>
                    <a:pt x="2511" y="315"/>
                  </a:lnTo>
                  <a:lnTo>
                    <a:pt x="2218" y="147"/>
                  </a:lnTo>
                  <a:lnTo>
                    <a:pt x="2155" y="147"/>
                  </a:lnTo>
                  <a:lnTo>
                    <a:pt x="2114" y="252"/>
                  </a:lnTo>
                  <a:lnTo>
                    <a:pt x="2114" y="357"/>
                  </a:lnTo>
                  <a:lnTo>
                    <a:pt x="2051" y="357"/>
                  </a:lnTo>
                  <a:lnTo>
                    <a:pt x="1967" y="461"/>
                  </a:lnTo>
                  <a:lnTo>
                    <a:pt x="1842" y="545"/>
                  </a:lnTo>
                  <a:lnTo>
                    <a:pt x="1674" y="733"/>
                  </a:lnTo>
                  <a:lnTo>
                    <a:pt x="1674" y="796"/>
                  </a:lnTo>
                  <a:lnTo>
                    <a:pt x="1842" y="880"/>
                  </a:lnTo>
                  <a:lnTo>
                    <a:pt x="1863" y="984"/>
                  </a:lnTo>
                  <a:lnTo>
                    <a:pt x="1779" y="1047"/>
                  </a:lnTo>
                  <a:lnTo>
                    <a:pt x="1653" y="963"/>
                  </a:lnTo>
                  <a:lnTo>
                    <a:pt x="1528" y="984"/>
                  </a:lnTo>
                  <a:lnTo>
                    <a:pt x="1381" y="963"/>
                  </a:lnTo>
                  <a:lnTo>
                    <a:pt x="1319" y="963"/>
                  </a:lnTo>
                  <a:lnTo>
                    <a:pt x="1130" y="1089"/>
                  </a:lnTo>
                  <a:lnTo>
                    <a:pt x="1026" y="1110"/>
                  </a:lnTo>
                  <a:lnTo>
                    <a:pt x="942" y="1089"/>
                  </a:lnTo>
                  <a:lnTo>
                    <a:pt x="837" y="1110"/>
                  </a:lnTo>
                  <a:lnTo>
                    <a:pt x="754" y="1047"/>
                  </a:lnTo>
                  <a:lnTo>
                    <a:pt x="440" y="1047"/>
                  </a:lnTo>
                  <a:lnTo>
                    <a:pt x="440" y="1110"/>
                  </a:lnTo>
                  <a:lnTo>
                    <a:pt x="419" y="1173"/>
                  </a:lnTo>
                  <a:lnTo>
                    <a:pt x="272" y="1152"/>
                  </a:lnTo>
                  <a:lnTo>
                    <a:pt x="189" y="1047"/>
                  </a:lnTo>
                  <a:lnTo>
                    <a:pt x="84" y="1089"/>
                  </a:lnTo>
                  <a:lnTo>
                    <a:pt x="21" y="1110"/>
                  </a:lnTo>
                  <a:lnTo>
                    <a:pt x="0" y="1110"/>
                  </a:lnTo>
                  <a:lnTo>
                    <a:pt x="63" y="1173"/>
                  </a:lnTo>
                  <a:lnTo>
                    <a:pt x="63" y="1256"/>
                  </a:lnTo>
                  <a:lnTo>
                    <a:pt x="105" y="1298"/>
                  </a:lnTo>
                  <a:lnTo>
                    <a:pt x="105" y="1403"/>
                  </a:lnTo>
                  <a:lnTo>
                    <a:pt x="210" y="1403"/>
                  </a:lnTo>
                  <a:lnTo>
                    <a:pt x="293" y="1382"/>
                  </a:lnTo>
                  <a:lnTo>
                    <a:pt x="398" y="1507"/>
                  </a:lnTo>
                  <a:lnTo>
                    <a:pt x="502" y="1403"/>
                  </a:lnTo>
                  <a:lnTo>
                    <a:pt x="586" y="1403"/>
                  </a:lnTo>
                  <a:lnTo>
                    <a:pt x="628" y="1507"/>
                  </a:lnTo>
                  <a:lnTo>
                    <a:pt x="837" y="1591"/>
                  </a:lnTo>
                  <a:lnTo>
                    <a:pt x="1130" y="1403"/>
                  </a:lnTo>
                  <a:lnTo>
                    <a:pt x="1256" y="1424"/>
                  </a:lnTo>
                  <a:lnTo>
                    <a:pt x="1444" y="1424"/>
                  </a:lnTo>
                  <a:lnTo>
                    <a:pt x="1444" y="1528"/>
                  </a:lnTo>
                  <a:lnTo>
                    <a:pt x="1737" y="1717"/>
                  </a:lnTo>
                  <a:lnTo>
                    <a:pt x="2072" y="1779"/>
                  </a:lnTo>
                  <a:lnTo>
                    <a:pt x="2260" y="1738"/>
                  </a:lnTo>
                  <a:lnTo>
                    <a:pt x="2323" y="1821"/>
                  </a:lnTo>
                  <a:lnTo>
                    <a:pt x="2427" y="1842"/>
                  </a:lnTo>
                  <a:lnTo>
                    <a:pt x="2699" y="1842"/>
                  </a:lnTo>
                  <a:lnTo>
                    <a:pt x="2783" y="1926"/>
                  </a:lnTo>
                  <a:lnTo>
                    <a:pt x="2909" y="1884"/>
                  </a:lnTo>
                  <a:lnTo>
                    <a:pt x="3034" y="1884"/>
                  </a:lnTo>
                  <a:lnTo>
                    <a:pt x="3160" y="1821"/>
                  </a:lnTo>
                  <a:lnTo>
                    <a:pt x="3243" y="1800"/>
                  </a:lnTo>
                  <a:lnTo>
                    <a:pt x="3306" y="1821"/>
                  </a:lnTo>
                  <a:lnTo>
                    <a:pt x="3557" y="1675"/>
                  </a:lnTo>
                  <a:lnTo>
                    <a:pt x="3683" y="1612"/>
                  </a:lnTo>
                  <a:lnTo>
                    <a:pt x="3725" y="1612"/>
                  </a:lnTo>
                  <a:lnTo>
                    <a:pt x="3829" y="1507"/>
                  </a:lnTo>
                  <a:lnTo>
                    <a:pt x="3746" y="1403"/>
                  </a:lnTo>
                  <a:lnTo>
                    <a:pt x="3767" y="1298"/>
                  </a:lnTo>
                  <a:lnTo>
                    <a:pt x="3829" y="1152"/>
                  </a:lnTo>
                  <a:lnTo>
                    <a:pt x="3725" y="1047"/>
                  </a:lnTo>
                  <a:lnTo>
                    <a:pt x="3746" y="984"/>
                  </a:lnTo>
                  <a:lnTo>
                    <a:pt x="3976" y="984"/>
                  </a:lnTo>
                  <a:lnTo>
                    <a:pt x="3997" y="880"/>
                  </a:lnTo>
                  <a:lnTo>
                    <a:pt x="3976" y="754"/>
                  </a:lnTo>
                  <a:lnTo>
                    <a:pt x="3976" y="671"/>
                  </a:lnTo>
                  <a:lnTo>
                    <a:pt x="3955" y="440"/>
                  </a:lnTo>
                  <a:lnTo>
                    <a:pt x="3955" y="252"/>
                  </a:lnTo>
                  <a:lnTo>
                    <a:pt x="3725" y="210"/>
                  </a:lnTo>
                  <a:lnTo>
                    <a:pt x="3641" y="127"/>
                  </a:lnTo>
                  <a:lnTo>
                    <a:pt x="3474" y="147"/>
                  </a:lnTo>
                  <a:lnTo>
                    <a:pt x="3327" y="147"/>
                  </a:lnTo>
                  <a:lnTo>
                    <a:pt x="3160" y="43"/>
                  </a:lnTo>
                  <a:lnTo>
                    <a:pt x="2951" y="43"/>
                  </a:lnTo>
                  <a:lnTo>
                    <a:pt x="284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1" name="Google Shape;851;p34"/>
            <p:cNvSpPr/>
            <p:nvPr/>
          </p:nvSpPr>
          <p:spPr>
            <a:xfrm>
              <a:off x="3831556" y="2741054"/>
              <a:ext cx="63038" cy="50699"/>
            </a:xfrm>
            <a:custGeom>
              <a:avLst/>
              <a:gdLst/>
              <a:ahLst/>
              <a:cxnLst/>
              <a:rect l="l" t="t" r="r" b="b"/>
              <a:pathLst>
                <a:path w="5294" h="4458" extrusionOk="0">
                  <a:moveTo>
                    <a:pt x="1883" y="1"/>
                  </a:moveTo>
                  <a:lnTo>
                    <a:pt x="1632" y="105"/>
                  </a:lnTo>
                  <a:lnTo>
                    <a:pt x="1486" y="105"/>
                  </a:lnTo>
                  <a:lnTo>
                    <a:pt x="1318" y="147"/>
                  </a:lnTo>
                  <a:lnTo>
                    <a:pt x="1214" y="315"/>
                  </a:lnTo>
                  <a:lnTo>
                    <a:pt x="1046" y="315"/>
                  </a:lnTo>
                  <a:lnTo>
                    <a:pt x="942" y="398"/>
                  </a:lnTo>
                  <a:lnTo>
                    <a:pt x="942" y="524"/>
                  </a:lnTo>
                  <a:lnTo>
                    <a:pt x="753" y="524"/>
                  </a:lnTo>
                  <a:lnTo>
                    <a:pt x="481" y="670"/>
                  </a:lnTo>
                  <a:lnTo>
                    <a:pt x="314" y="670"/>
                  </a:lnTo>
                  <a:lnTo>
                    <a:pt x="251" y="796"/>
                  </a:lnTo>
                  <a:lnTo>
                    <a:pt x="209" y="963"/>
                  </a:lnTo>
                  <a:lnTo>
                    <a:pt x="147" y="984"/>
                  </a:lnTo>
                  <a:lnTo>
                    <a:pt x="167" y="1047"/>
                  </a:lnTo>
                  <a:lnTo>
                    <a:pt x="126" y="1047"/>
                  </a:lnTo>
                  <a:lnTo>
                    <a:pt x="167" y="1298"/>
                  </a:lnTo>
                  <a:lnTo>
                    <a:pt x="147" y="1486"/>
                  </a:lnTo>
                  <a:lnTo>
                    <a:pt x="0" y="1570"/>
                  </a:lnTo>
                  <a:lnTo>
                    <a:pt x="0" y="1633"/>
                  </a:lnTo>
                  <a:lnTo>
                    <a:pt x="167" y="1842"/>
                  </a:lnTo>
                  <a:lnTo>
                    <a:pt x="147" y="1947"/>
                  </a:lnTo>
                  <a:lnTo>
                    <a:pt x="230" y="2051"/>
                  </a:lnTo>
                  <a:lnTo>
                    <a:pt x="230" y="2135"/>
                  </a:lnTo>
                  <a:lnTo>
                    <a:pt x="272" y="2261"/>
                  </a:lnTo>
                  <a:lnTo>
                    <a:pt x="230" y="2365"/>
                  </a:lnTo>
                  <a:lnTo>
                    <a:pt x="335" y="2616"/>
                  </a:lnTo>
                  <a:lnTo>
                    <a:pt x="419" y="2658"/>
                  </a:lnTo>
                  <a:lnTo>
                    <a:pt x="481" y="2742"/>
                  </a:lnTo>
                  <a:lnTo>
                    <a:pt x="481" y="3056"/>
                  </a:lnTo>
                  <a:lnTo>
                    <a:pt x="460" y="3097"/>
                  </a:lnTo>
                  <a:lnTo>
                    <a:pt x="523" y="3181"/>
                  </a:lnTo>
                  <a:lnTo>
                    <a:pt x="565" y="3139"/>
                  </a:lnTo>
                  <a:lnTo>
                    <a:pt x="649" y="3160"/>
                  </a:lnTo>
                  <a:lnTo>
                    <a:pt x="732" y="3097"/>
                  </a:lnTo>
                  <a:lnTo>
                    <a:pt x="963" y="3160"/>
                  </a:lnTo>
                  <a:lnTo>
                    <a:pt x="942" y="3202"/>
                  </a:lnTo>
                  <a:lnTo>
                    <a:pt x="1046" y="3307"/>
                  </a:lnTo>
                  <a:lnTo>
                    <a:pt x="1151" y="3307"/>
                  </a:lnTo>
                  <a:lnTo>
                    <a:pt x="1214" y="3390"/>
                  </a:lnTo>
                  <a:lnTo>
                    <a:pt x="1172" y="3495"/>
                  </a:lnTo>
                  <a:lnTo>
                    <a:pt x="1193" y="3579"/>
                  </a:lnTo>
                  <a:lnTo>
                    <a:pt x="1255" y="3600"/>
                  </a:lnTo>
                  <a:lnTo>
                    <a:pt x="1255" y="3704"/>
                  </a:lnTo>
                  <a:lnTo>
                    <a:pt x="1318" y="3725"/>
                  </a:lnTo>
                  <a:lnTo>
                    <a:pt x="1381" y="3683"/>
                  </a:lnTo>
                  <a:lnTo>
                    <a:pt x="1465" y="3683"/>
                  </a:lnTo>
                  <a:lnTo>
                    <a:pt x="1318" y="3516"/>
                  </a:lnTo>
                  <a:lnTo>
                    <a:pt x="1381" y="3474"/>
                  </a:lnTo>
                  <a:lnTo>
                    <a:pt x="1632" y="3621"/>
                  </a:lnTo>
                  <a:lnTo>
                    <a:pt x="1820" y="3600"/>
                  </a:lnTo>
                  <a:lnTo>
                    <a:pt x="1779" y="3704"/>
                  </a:lnTo>
                  <a:lnTo>
                    <a:pt x="1904" y="3809"/>
                  </a:lnTo>
                  <a:lnTo>
                    <a:pt x="2134" y="3767"/>
                  </a:lnTo>
                  <a:lnTo>
                    <a:pt x="2302" y="3809"/>
                  </a:lnTo>
                  <a:lnTo>
                    <a:pt x="2636" y="4081"/>
                  </a:lnTo>
                  <a:lnTo>
                    <a:pt x="2762" y="4248"/>
                  </a:lnTo>
                  <a:lnTo>
                    <a:pt x="2846" y="4248"/>
                  </a:lnTo>
                  <a:lnTo>
                    <a:pt x="2888" y="4206"/>
                  </a:lnTo>
                  <a:lnTo>
                    <a:pt x="3055" y="4206"/>
                  </a:lnTo>
                  <a:lnTo>
                    <a:pt x="3139" y="4290"/>
                  </a:lnTo>
                  <a:lnTo>
                    <a:pt x="3180" y="4437"/>
                  </a:lnTo>
                  <a:lnTo>
                    <a:pt x="3201" y="4458"/>
                  </a:lnTo>
                  <a:lnTo>
                    <a:pt x="3306" y="4437"/>
                  </a:lnTo>
                  <a:lnTo>
                    <a:pt x="3390" y="4332"/>
                  </a:lnTo>
                  <a:lnTo>
                    <a:pt x="3473" y="4311"/>
                  </a:lnTo>
                  <a:lnTo>
                    <a:pt x="3578" y="4332"/>
                  </a:lnTo>
                  <a:lnTo>
                    <a:pt x="3704" y="4332"/>
                  </a:lnTo>
                  <a:lnTo>
                    <a:pt x="3787" y="4395"/>
                  </a:lnTo>
                  <a:lnTo>
                    <a:pt x="3871" y="4311"/>
                  </a:lnTo>
                  <a:lnTo>
                    <a:pt x="3934" y="4290"/>
                  </a:lnTo>
                  <a:lnTo>
                    <a:pt x="4038" y="4332"/>
                  </a:lnTo>
                  <a:lnTo>
                    <a:pt x="4101" y="4311"/>
                  </a:lnTo>
                  <a:lnTo>
                    <a:pt x="4331" y="4311"/>
                  </a:lnTo>
                  <a:lnTo>
                    <a:pt x="4561" y="4437"/>
                  </a:lnTo>
                  <a:lnTo>
                    <a:pt x="4708" y="4458"/>
                  </a:lnTo>
                  <a:lnTo>
                    <a:pt x="4708" y="4290"/>
                  </a:lnTo>
                  <a:lnTo>
                    <a:pt x="4666" y="4123"/>
                  </a:lnTo>
                  <a:lnTo>
                    <a:pt x="5043" y="3725"/>
                  </a:lnTo>
                  <a:lnTo>
                    <a:pt x="5064" y="3558"/>
                  </a:lnTo>
                  <a:lnTo>
                    <a:pt x="5168" y="3474"/>
                  </a:lnTo>
                  <a:lnTo>
                    <a:pt x="5252" y="3474"/>
                  </a:lnTo>
                  <a:lnTo>
                    <a:pt x="5294" y="3286"/>
                  </a:lnTo>
                  <a:lnTo>
                    <a:pt x="5252" y="3202"/>
                  </a:lnTo>
                  <a:lnTo>
                    <a:pt x="5231" y="3139"/>
                  </a:lnTo>
                  <a:lnTo>
                    <a:pt x="5273" y="3056"/>
                  </a:lnTo>
                  <a:lnTo>
                    <a:pt x="5147" y="2972"/>
                  </a:lnTo>
                  <a:lnTo>
                    <a:pt x="5064" y="2825"/>
                  </a:lnTo>
                  <a:lnTo>
                    <a:pt x="5022" y="2742"/>
                  </a:lnTo>
                  <a:lnTo>
                    <a:pt x="4980" y="2470"/>
                  </a:lnTo>
                  <a:lnTo>
                    <a:pt x="5022" y="2365"/>
                  </a:lnTo>
                  <a:lnTo>
                    <a:pt x="5022" y="2323"/>
                  </a:lnTo>
                  <a:lnTo>
                    <a:pt x="4875" y="2135"/>
                  </a:lnTo>
                  <a:lnTo>
                    <a:pt x="4854" y="1947"/>
                  </a:lnTo>
                  <a:lnTo>
                    <a:pt x="4938" y="1821"/>
                  </a:lnTo>
                  <a:lnTo>
                    <a:pt x="5043" y="1779"/>
                  </a:lnTo>
                  <a:lnTo>
                    <a:pt x="5043" y="1403"/>
                  </a:lnTo>
                  <a:lnTo>
                    <a:pt x="4980" y="1361"/>
                  </a:lnTo>
                  <a:lnTo>
                    <a:pt x="4959" y="1214"/>
                  </a:lnTo>
                  <a:lnTo>
                    <a:pt x="4875" y="1089"/>
                  </a:lnTo>
                  <a:lnTo>
                    <a:pt x="4771" y="838"/>
                  </a:lnTo>
                  <a:lnTo>
                    <a:pt x="4750" y="775"/>
                  </a:lnTo>
                  <a:lnTo>
                    <a:pt x="4708" y="670"/>
                  </a:lnTo>
                  <a:lnTo>
                    <a:pt x="4708" y="545"/>
                  </a:lnTo>
                  <a:lnTo>
                    <a:pt x="4645" y="315"/>
                  </a:lnTo>
                  <a:lnTo>
                    <a:pt x="4561" y="315"/>
                  </a:lnTo>
                  <a:lnTo>
                    <a:pt x="4436" y="210"/>
                  </a:lnTo>
                  <a:lnTo>
                    <a:pt x="4310" y="231"/>
                  </a:lnTo>
                  <a:lnTo>
                    <a:pt x="3683" y="273"/>
                  </a:lnTo>
                  <a:lnTo>
                    <a:pt x="2950" y="231"/>
                  </a:lnTo>
                  <a:lnTo>
                    <a:pt x="2867" y="252"/>
                  </a:lnTo>
                  <a:lnTo>
                    <a:pt x="2678" y="440"/>
                  </a:lnTo>
                  <a:lnTo>
                    <a:pt x="2511" y="482"/>
                  </a:lnTo>
                  <a:lnTo>
                    <a:pt x="2469" y="440"/>
                  </a:lnTo>
                  <a:lnTo>
                    <a:pt x="2636" y="356"/>
                  </a:lnTo>
                  <a:lnTo>
                    <a:pt x="2783" y="210"/>
                  </a:lnTo>
                  <a:lnTo>
                    <a:pt x="2741" y="210"/>
                  </a:lnTo>
                  <a:lnTo>
                    <a:pt x="2616" y="315"/>
                  </a:lnTo>
                  <a:lnTo>
                    <a:pt x="2406" y="398"/>
                  </a:lnTo>
                  <a:lnTo>
                    <a:pt x="2134" y="356"/>
                  </a:lnTo>
                  <a:lnTo>
                    <a:pt x="2092" y="210"/>
                  </a:lnTo>
                  <a:lnTo>
                    <a:pt x="2134" y="126"/>
                  </a:lnTo>
                  <a:lnTo>
                    <a:pt x="2260" y="126"/>
                  </a:lnTo>
                  <a:lnTo>
                    <a:pt x="2323" y="168"/>
                  </a:lnTo>
                  <a:lnTo>
                    <a:pt x="2323" y="126"/>
                  </a:lnTo>
                  <a:lnTo>
                    <a:pt x="2155" y="43"/>
                  </a:lnTo>
                  <a:lnTo>
                    <a:pt x="188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" name="Google Shape;852;p34"/>
            <p:cNvSpPr/>
            <p:nvPr/>
          </p:nvSpPr>
          <p:spPr>
            <a:xfrm>
              <a:off x="3819089" y="2776036"/>
              <a:ext cx="50345" cy="20948"/>
            </a:xfrm>
            <a:custGeom>
              <a:avLst/>
              <a:gdLst/>
              <a:ahLst/>
              <a:cxnLst/>
              <a:rect l="l" t="t" r="r" b="b"/>
              <a:pathLst>
                <a:path w="4228" h="1842" extrusionOk="0">
                  <a:moveTo>
                    <a:pt x="1403" y="1"/>
                  </a:moveTo>
                  <a:lnTo>
                    <a:pt x="1319" y="63"/>
                  </a:lnTo>
                  <a:lnTo>
                    <a:pt x="1152" y="21"/>
                  </a:lnTo>
                  <a:lnTo>
                    <a:pt x="1152" y="126"/>
                  </a:lnTo>
                  <a:lnTo>
                    <a:pt x="1068" y="189"/>
                  </a:lnTo>
                  <a:lnTo>
                    <a:pt x="984" y="168"/>
                  </a:lnTo>
                  <a:lnTo>
                    <a:pt x="775" y="168"/>
                  </a:lnTo>
                  <a:lnTo>
                    <a:pt x="733" y="273"/>
                  </a:lnTo>
                  <a:lnTo>
                    <a:pt x="587" y="273"/>
                  </a:lnTo>
                  <a:lnTo>
                    <a:pt x="482" y="398"/>
                  </a:lnTo>
                  <a:lnTo>
                    <a:pt x="378" y="398"/>
                  </a:lnTo>
                  <a:lnTo>
                    <a:pt x="168" y="586"/>
                  </a:lnTo>
                  <a:lnTo>
                    <a:pt x="106" y="545"/>
                  </a:lnTo>
                  <a:lnTo>
                    <a:pt x="22" y="503"/>
                  </a:lnTo>
                  <a:lnTo>
                    <a:pt x="1" y="524"/>
                  </a:lnTo>
                  <a:lnTo>
                    <a:pt x="1" y="628"/>
                  </a:lnTo>
                  <a:lnTo>
                    <a:pt x="147" y="712"/>
                  </a:lnTo>
                  <a:lnTo>
                    <a:pt x="252" y="900"/>
                  </a:lnTo>
                  <a:lnTo>
                    <a:pt x="252" y="1047"/>
                  </a:lnTo>
                  <a:lnTo>
                    <a:pt x="273" y="1130"/>
                  </a:lnTo>
                  <a:lnTo>
                    <a:pt x="378" y="1172"/>
                  </a:lnTo>
                  <a:lnTo>
                    <a:pt x="587" y="1319"/>
                  </a:lnTo>
                  <a:lnTo>
                    <a:pt x="691" y="1382"/>
                  </a:lnTo>
                  <a:lnTo>
                    <a:pt x="942" y="1674"/>
                  </a:lnTo>
                  <a:lnTo>
                    <a:pt x="1005" y="1674"/>
                  </a:lnTo>
                  <a:lnTo>
                    <a:pt x="1298" y="1842"/>
                  </a:lnTo>
                  <a:lnTo>
                    <a:pt x="1361" y="1779"/>
                  </a:lnTo>
                  <a:lnTo>
                    <a:pt x="1507" y="1779"/>
                  </a:lnTo>
                  <a:lnTo>
                    <a:pt x="1528" y="1674"/>
                  </a:lnTo>
                  <a:lnTo>
                    <a:pt x="1591" y="1633"/>
                  </a:lnTo>
                  <a:lnTo>
                    <a:pt x="1633" y="1528"/>
                  </a:lnTo>
                  <a:lnTo>
                    <a:pt x="1738" y="1570"/>
                  </a:lnTo>
                  <a:lnTo>
                    <a:pt x="1947" y="1570"/>
                  </a:lnTo>
                  <a:lnTo>
                    <a:pt x="2114" y="1674"/>
                  </a:lnTo>
                  <a:lnTo>
                    <a:pt x="2261" y="1674"/>
                  </a:lnTo>
                  <a:lnTo>
                    <a:pt x="2428" y="1654"/>
                  </a:lnTo>
                  <a:lnTo>
                    <a:pt x="2512" y="1737"/>
                  </a:lnTo>
                  <a:lnTo>
                    <a:pt x="2742" y="1779"/>
                  </a:lnTo>
                  <a:lnTo>
                    <a:pt x="2763" y="1779"/>
                  </a:lnTo>
                  <a:lnTo>
                    <a:pt x="2888" y="1695"/>
                  </a:lnTo>
                  <a:lnTo>
                    <a:pt x="3035" y="1674"/>
                  </a:lnTo>
                  <a:lnTo>
                    <a:pt x="3077" y="1737"/>
                  </a:lnTo>
                  <a:lnTo>
                    <a:pt x="3307" y="1654"/>
                  </a:lnTo>
                  <a:lnTo>
                    <a:pt x="3516" y="1633"/>
                  </a:lnTo>
                  <a:lnTo>
                    <a:pt x="3683" y="1465"/>
                  </a:lnTo>
                  <a:lnTo>
                    <a:pt x="3830" y="1444"/>
                  </a:lnTo>
                  <a:lnTo>
                    <a:pt x="3976" y="1340"/>
                  </a:lnTo>
                  <a:lnTo>
                    <a:pt x="4227" y="1361"/>
                  </a:lnTo>
                  <a:lnTo>
                    <a:pt x="4186" y="1214"/>
                  </a:lnTo>
                  <a:lnTo>
                    <a:pt x="4102" y="1130"/>
                  </a:lnTo>
                  <a:lnTo>
                    <a:pt x="3935" y="1130"/>
                  </a:lnTo>
                  <a:lnTo>
                    <a:pt x="3893" y="1172"/>
                  </a:lnTo>
                  <a:lnTo>
                    <a:pt x="3809" y="1172"/>
                  </a:lnTo>
                  <a:lnTo>
                    <a:pt x="3683" y="1005"/>
                  </a:lnTo>
                  <a:lnTo>
                    <a:pt x="3349" y="733"/>
                  </a:lnTo>
                  <a:lnTo>
                    <a:pt x="3181" y="691"/>
                  </a:lnTo>
                  <a:lnTo>
                    <a:pt x="2951" y="733"/>
                  </a:lnTo>
                  <a:lnTo>
                    <a:pt x="2826" y="628"/>
                  </a:lnTo>
                  <a:lnTo>
                    <a:pt x="2867" y="524"/>
                  </a:lnTo>
                  <a:lnTo>
                    <a:pt x="2679" y="545"/>
                  </a:lnTo>
                  <a:lnTo>
                    <a:pt x="2428" y="398"/>
                  </a:lnTo>
                  <a:lnTo>
                    <a:pt x="2365" y="440"/>
                  </a:lnTo>
                  <a:lnTo>
                    <a:pt x="2512" y="607"/>
                  </a:lnTo>
                  <a:lnTo>
                    <a:pt x="2428" y="607"/>
                  </a:lnTo>
                  <a:lnTo>
                    <a:pt x="2365" y="649"/>
                  </a:lnTo>
                  <a:lnTo>
                    <a:pt x="2302" y="628"/>
                  </a:lnTo>
                  <a:lnTo>
                    <a:pt x="2302" y="524"/>
                  </a:lnTo>
                  <a:lnTo>
                    <a:pt x="2240" y="503"/>
                  </a:lnTo>
                  <a:lnTo>
                    <a:pt x="2219" y="419"/>
                  </a:lnTo>
                  <a:lnTo>
                    <a:pt x="2261" y="314"/>
                  </a:lnTo>
                  <a:lnTo>
                    <a:pt x="2198" y="231"/>
                  </a:lnTo>
                  <a:lnTo>
                    <a:pt x="2093" y="231"/>
                  </a:lnTo>
                  <a:lnTo>
                    <a:pt x="1989" y="126"/>
                  </a:lnTo>
                  <a:lnTo>
                    <a:pt x="2010" y="84"/>
                  </a:lnTo>
                  <a:lnTo>
                    <a:pt x="1779" y="21"/>
                  </a:lnTo>
                  <a:lnTo>
                    <a:pt x="1696" y="84"/>
                  </a:lnTo>
                  <a:lnTo>
                    <a:pt x="1612" y="63"/>
                  </a:lnTo>
                  <a:lnTo>
                    <a:pt x="1570" y="105"/>
                  </a:lnTo>
                  <a:lnTo>
                    <a:pt x="1507" y="21"/>
                  </a:lnTo>
                  <a:lnTo>
                    <a:pt x="1486" y="63"/>
                  </a:lnTo>
                  <a:lnTo>
                    <a:pt x="14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" name="Google Shape;853;p34"/>
            <p:cNvSpPr/>
            <p:nvPr/>
          </p:nvSpPr>
          <p:spPr>
            <a:xfrm>
              <a:off x="3779972" y="2741293"/>
              <a:ext cx="57323" cy="65449"/>
            </a:xfrm>
            <a:custGeom>
              <a:avLst/>
              <a:gdLst/>
              <a:ahLst/>
              <a:cxnLst/>
              <a:rect l="l" t="t" r="r" b="b"/>
              <a:pathLst>
                <a:path w="4814" h="5755" extrusionOk="0">
                  <a:moveTo>
                    <a:pt x="1340" y="1"/>
                  </a:moveTo>
                  <a:lnTo>
                    <a:pt x="1340" y="22"/>
                  </a:lnTo>
                  <a:lnTo>
                    <a:pt x="1340" y="126"/>
                  </a:lnTo>
                  <a:lnTo>
                    <a:pt x="1424" y="189"/>
                  </a:lnTo>
                  <a:lnTo>
                    <a:pt x="1466" y="189"/>
                  </a:lnTo>
                  <a:lnTo>
                    <a:pt x="1466" y="252"/>
                  </a:lnTo>
                  <a:lnTo>
                    <a:pt x="1612" y="377"/>
                  </a:lnTo>
                  <a:lnTo>
                    <a:pt x="1507" y="419"/>
                  </a:lnTo>
                  <a:lnTo>
                    <a:pt x="1403" y="419"/>
                  </a:lnTo>
                  <a:lnTo>
                    <a:pt x="1403" y="524"/>
                  </a:lnTo>
                  <a:lnTo>
                    <a:pt x="1507" y="461"/>
                  </a:lnTo>
                  <a:lnTo>
                    <a:pt x="1507" y="628"/>
                  </a:lnTo>
                  <a:lnTo>
                    <a:pt x="1612" y="670"/>
                  </a:lnTo>
                  <a:lnTo>
                    <a:pt x="1528" y="754"/>
                  </a:lnTo>
                  <a:lnTo>
                    <a:pt x="1528" y="838"/>
                  </a:lnTo>
                  <a:lnTo>
                    <a:pt x="1612" y="880"/>
                  </a:lnTo>
                  <a:lnTo>
                    <a:pt x="1738" y="880"/>
                  </a:lnTo>
                  <a:lnTo>
                    <a:pt x="1926" y="1068"/>
                  </a:lnTo>
                  <a:lnTo>
                    <a:pt x="2156" y="1172"/>
                  </a:lnTo>
                  <a:lnTo>
                    <a:pt x="1926" y="1131"/>
                  </a:lnTo>
                  <a:lnTo>
                    <a:pt x="1738" y="942"/>
                  </a:lnTo>
                  <a:lnTo>
                    <a:pt x="1612" y="963"/>
                  </a:lnTo>
                  <a:lnTo>
                    <a:pt x="1507" y="942"/>
                  </a:lnTo>
                  <a:lnTo>
                    <a:pt x="1424" y="942"/>
                  </a:lnTo>
                  <a:lnTo>
                    <a:pt x="1340" y="1068"/>
                  </a:lnTo>
                  <a:lnTo>
                    <a:pt x="1361" y="1152"/>
                  </a:lnTo>
                  <a:lnTo>
                    <a:pt x="1361" y="1340"/>
                  </a:lnTo>
                  <a:lnTo>
                    <a:pt x="1424" y="1444"/>
                  </a:lnTo>
                  <a:lnTo>
                    <a:pt x="1298" y="1277"/>
                  </a:lnTo>
                  <a:lnTo>
                    <a:pt x="1319" y="1152"/>
                  </a:lnTo>
                  <a:lnTo>
                    <a:pt x="1235" y="1068"/>
                  </a:lnTo>
                  <a:lnTo>
                    <a:pt x="1194" y="1089"/>
                  </a:lnTo>
                  <a:lnTo>
                    <a:pt x="1194" y="1172"/>
                  </a:lnTo>
                  <a:lnTo>
                    <a:pt x="1235" y="1277"/>
                  </a:lnTo>
                  <a:lnTo>
                    <a:pt x="1152" y="1361"/>
                  </a:lnTo>
                  <a:lnTo>
                    <a:pt x="1089" y="1235"/>
                  </a:lnTo>
                  <a:lnTo>
                    <a:pt x="1089" y="1089"/>
                  </a:lnTo>
                  <a:lnTo>
                    <a:pt x="942" y="1026"/>
                  </a:lnTo>
                  <a:lnTo>
                    <a:pt x="880" y="1047"/>
                  </a:lnTo>
                  <a:lnTo>
                    <a:pt x="608" y="1131"/>
                  </a:lnTo>
                  <a:lnTo>
                    <a:pt x="587" y="1235"/>
                  </a:lnTo>
                  <a:lnTo>
                    <a:pt x="629" y="1340"/>
                  </a:lnTo>
                  <a:lnTo>
                    <a:pt x="775" y="1361"/>
                  </a:lnTo>
                  <a:lnTo>
                    <a:pt x="796" y="1465"/>
                  </a:lnTo>
                  <a:lnTo>
                    <a:pt x="796" y="1486"/>
                  </a:lnTo>
                  <a:lnTo>
                    <a:pt x="733" y="1507"/>
                  </a:lnTo>
                  <a:lnTo>
                    <a:pt x="733" y="1591"/>
                  </a:lnTo>
                  <a:lnTo>
                    <a:pt x="691" y="1696"/>
                  </a:lnTo>
                  <a:lnTo>
                    <a:pt x="691" y="1800"/>
                  </a:lnTo>
                  <a:lnTo>
                    <a:pt x="608" y="1863"/>
                  </a:lnTo>
                  <a:lnTo>
                    <a:pt x="503" y="1800"/>
                  </a:lnTo>
                  <a:lnTo>
                    <a:pt x="461" y="1926"/>
                  </a:lnTo>
                  <a:lnTo>
                    <a:pt x="482" y="1988"/>
                  </a:lnTo>
                  <a:lnTo>
                    <a:pt x="608" y="1988"/>
                  </a:lnTo>
                  <a:lnTo>
                    <a:pt x="670" y="2030"/>
                  </a:lnTo>
                  <a:lnTo>
                    <a:pt x="629" y="2114"/>
                  </a:lnTo>
                  <a:lnTo>
                    <a:pt x="608" y="2240"/>
                  </a:lnTo>
                  <a:lnTo>
                    <a:pt x="524" y="2302"/>
                  </a:lnTo>
                  <a:lnTo>
                    <a:pt x="608" y="2407"/>
                  </a:lnTo>
                  <a:lnTo>
                    <a:pt x="524" y="2449"/>
                  </a:lnTo>
                  <a:lnTo>
                    <a:pt x="378" y="2407"/>
                  </a:lnTo>
                  <a:lnTo>
                    <a:pt x="210" y="2449"/>
                  </a:lnTo>
                  <a:lnTo>
                    <a:pt x="168" y="2553"/>
                  </a:lnTo>
                  <a:lnTo>
                    <a:pt x="85" y="2658"/>
                  </a:lnTo>
                  <a:lnTo>
                    <a:pt x="105" y="2825"/>
                  </a:lnTo>
                  <a:lnTo>
                    <a:pt x="85" y="3035"/>
                  </a:lnTo>
                  <a:lnTo>
                    <a:pt x="43" y="3139"/>
                  </a:lnTo>
                  <a:lnTo>
                    <a:pt x="43" y="3160"/>
                  </a:lnTo>
                  <a:lnTo>
                    <a:pt x="1" y="3244"/>
                  </a:lnTo>
                  <a:lnTo>
                    <a:pt x="85" y="3432"/>
                  </a:lnTo>
                  <a:lnTo>
                    <a:pt x="85" y="3474"/>
                  </a:lnTo>
                  <a:lnTo>
                    <a:pt x="168" y="3579"/>
                  </a:lnTo>
                  <a:lnTo>
                    <a:pt x="85" y="3746"/>
                  </a:lnTo>
                  <a:lnTo>
                    <a:pt x="147" y="3746"/>
                  </a:lnTo>
                  <a:lnTo>
                    <a:pt x="273" y="3913"/>
                  </a:lnTo>
                  <a:lnTo>
                    <a:pt x="294" y="4060"/>
                  </a:lnTo>
                  <a:lnTo>
                    <a:pt x="357" y="4102"/>
                  </a:lnTo>
                  <a:lnTo>
                    <a:pt x="357" y="4290"/>
                  </a:lnTo>
                  <a:lnTo>
                    <a:pt x="461" y="4374"/>
                  </a:lnTo>
                  <a:lnTo>
                    <a:pt x="461" y="4437"/>
                  </a:lnTo>
                  <a:lnTo>
                    <a:pt x="566" y="4520"/>
                  </a:lnTo>
                  <a:lnTo>
                    <a:pt x="629" y="4478"/>
                  </a:lnTo>
                  <a:lnTo>
                    <a:pt x="733" y="4478"/>
                  </a:lnTo>
                  <a:lnTo>
                    <a:pt x="817" y="4520"/>
                  </a:lnTo>
                  <a:lnTo>
                    <a:pt x="922" y="4478"/>
                  </a:lnTo>
                  <a:lnTo>
                    <a:pt x="1047" y="4541"/>
                  </a:lnTo>
                  <a:lnTo>
                    <a:pt x="1152" y="4541"/>
                  </a:lnTo>
                  <a:lnTo>
                    <a:pt x="1298" y="4625"/>
                  </a:lnTo>
                  <a:lnTo>
                    <a:pt x="1152" y="4750"/>
                  </a:lnTo>
                  <a:lnTo>
                    <a:pt x="1089" y="4918"/>
                  </a:lnTo>
                  <a:lnTo>
                    <a:pt x="1089" y="5022"/>
                  </a:lnTo>
                  <a:lnTo>
                    <a:pt x="1005" y="5106"/>
                  </a:lnTo>
                  <a:lnTo>
                    <a:pt x="942" y="5273"/>
                  </a:lnTo>
                  <a:lnTo>
                    <a:pt x="942" y="5441"/>
                  </a:lnTo>
                  <a:lnTo>
                    <a:pt x="1047" y="5525"/>
                  </a:lnTo>
                  <a:lnTo>
                    <a:pt x="1110" y="5629"/>
                  </a:lnTo>
                  <a:lnTo>
                    <a:pt x="1214" y="5650"/>
                  </a:lnTo>
                  <a:lnTo>
                    <a:pt x="1319" y="5587"/>
                  </a:lnTo>
                  <a:lnTo>
                    <a:pt x="1445" y="5650"/>
                  </a:lnTo>
                  <a:lnTo>
                    <a:pt x="1507" y="5566"/>
                  </a:lnTo>
                  <a:lnTo>
                    <a:pt x="1466" y="5525"/>
                  </a:lnTo>
                  <a:lnTo>
                    <a:pt x="1612" y="5462"/>
                  </a:lnTo>
                  <a:lnTo>
                    <a:pt x="1633" y="5566"/>
                  </a:lnTo>
                  <a:lnTo>
                    <a:pt x="1717" y="5587"/>
                  </a:lnTo>
                  <a:lnTo>
                    <a:pt x="1758" y="5545"/>
                  </a:lnTo>
                  <a:lnTo>
                    <a:pt x="1842" y="5545"/>
                  </a:lnTo>
                  <a:lnTo>
                    <a:pt x="1989" y="5671"/>
                  </a:lnTo>
                  <a:lnTo>
                    <a:pt x="2072" y="5692"/>
                  </a:lnTo>
                  <a:lnTo>
                    <a:pt x="2093" y="5692"/>
                  </a:lnTo>
                  <a:lnTo>
                    <a:pt x="2156" y="5671"/>
                  </a:lnTo>
                  <a:lnTo>
                    <a:pt x="2261" y="5629"/>
                  </a:lnTo>
                  <a:lnTo>
                    <a:pt x="2344" y="5734"/>
                  </a:lnTo>
                  <a:lnTo>
                    <a:pt x="2491" y="5755"/>
                  </a:lnTo>
                  <a:lnTo>
                    <a:pt x="2512" y="5692"/>
                  </a:lnTo>
                  <a:lnTo>
                    <a:pt x="2512" y="5629"/>
                  </a:lnTo>
                  <a:lnTo>
                    <a:pt x="2826" y="5629"/>
                  </a:lnTo>
                  <a:lnTo>
                    <a:pt x="2909" y="5692"/>
                  </a:lnTo>
                  <a:lnTo>
                    <a:pt x="3014" y="5671"/>
                  </a:lnTo>
                  <a:lnTo>
                    <a:pt x="3098" y="5692"/>
                  </a:lnTo>
                  <a:lnTo>
                    <a:pt x="3202" y="5671"/>
                  </a:lnTo>
                  <a:lnTo>
                    <a:pt x="3391" y="5545"/>
                  </a:lnTo>
                  <a:lnTo>
                    <a:pt x="3453" y="5545"/>
                  </a:lnTo>
                  <a:lnTo>
                    <a:pt x="3600" y="5566"/>
                  </a:lnTo>
                  <a:lnTo>
                    <a:pt x="3725" y="5545"/>
                  </a:lnTo>
                  <a:lnTo>
                    <a:pt x="3851" y="5629"/>
                  </a:lnTo>
                  <a:lnTo>
                    <a:pt x="3935" y="5566"/>
                  </a:lnTo>
                  <a:lnTo>
                    <a:pt x="3914" y="5462"/>
                  </a:lnTo>
                  <a:lnTo>
                    <a:pt x="3746" y="5378"/>
                  </a:lnTo>
                  <a:lnTo>
                    <a:pt x="3746" y="5315"/>
                  </a:lnTo>
                  <a:lnTo>
                    <a:pt x="3914" y="5127"/>
                  </a:lnTo>
                  <a:lnTo>
                    <a:pt x="4039" y="5043"/>
                  </a:lnTo>
                  <a:lnTo>
                    <a:pt x="4123" y="4939"/>
                  </a:lnTo>
                  <a:lnTo>
                    <a:pt x="4186" y="4939"/>
                  </a:lnTo>
                  <a:lnTo>
                    <a:pt x="4186" y="4834"/>
                  </a:lnTo>
                  <a:lnTo>
                    <a:pt x="4227" y="4729"/>
                  </a:lnTo>
                  <a:lnTo>
                    <a:pt x="3976" y="4437"/>
                  </a:lnTo>
                  <a:lnTo>
                    <a:pt x="3872" y="4374"/>
                  </a:lnTo>
                  <a:lnTo>
                    <a:pt x="3663" y="4227"/>
                  </a:lnTo>
                  <a:lnTo>
                    <a:pt x="3558" y="4185"/>
                  </a:lnTo>
                  <a:lnTo>
                    <a:pt x="3537" y="4102"/>
                  </a:lnTo>
                  <a:lnTo>
                    <a:pt x="3537" y="3955"/>
                  </a:lnTo>
                  <a:lnTo>
                    <a:pt x="3432" y="3767"/>
                  </a:lnTo>
                  <a:lnTo>
                    <a:pt x="3286" y="3683"/>
                  </a:lnTo>
                  <a:lnTo>
                    <a:pt x="3286" y="3579"/>
                  </a:lnTo>
                  <a:lnTo>
                    <a:pt x="3307" y="3558"/>
                  </a:lnTo>
                  <a:lnTo>
                    <a:pt x="3391" y="3600"/>
                  </a:lnTo>
                  <a:lnTo>
                    <a:pt x="3453" y="3641"/>
                  </a:lnTo>
                  <a:lnTo>
                    <a:pt x="3663" y="3453"/>
                  </a:lnTo>
                  <a:lnTo>
                    <a:pt x="3767" y="3453"/>
                  </a:lnTo>
                  <a:lnTo>
                    <a:pt x="3872" y="3328"/>
                  </a:lnTo>
                  <a:lnTo>
                    <a:pt x="4018" y="3328"/>
                  </a:lnTo>
                  <a:lnTo>
                    <a:pt x="4060" y="3223"/>
                  </a:lnTo>
                  <a:lnTo>
                    <a:pt x="4269" y="3223"/>
                  </a:lnTo>
                  <a:lnTo>
                    <a:pt x="4353" y="3244"/>
                  </a:lnTo>
                  <a:lnTo>
                    <a:pt x="4437" y="3181"/>
                  </a:lnTo>
                  <a:lnTo>
                    <a:pt x="4437" y="3076"/>
                  </a:lnTo>
                  <a:lnTo>
                    <a:pt x="4604" y="3118"/>
                  </a:lnTo>
                  <a:lnTo>
                    <a:pt x="4688" y="3056"/>
                  </a:lnTo>
                  <a:lnTo>
                    <a:pt x="4771" y="3118"/>
                  </a:lnTo>
                  <a:lnTo>
                    <a:pt x="4792" y="3076"/>
                  </a:lnTo>
                  <a:lnTo>
                    <a:pt x="4813" y="3035"/>
                  </a:lnTo>
                  <a:lnTo>
                    <a:pt x="4813" y="2721"/>
                  </a:lnTo>
                  <a:lnTo>
                    <a:pt x="4751" y="2637"/>
                  </a:lnTo>
                  <a:lnTo>
                    <a:pt x="4667" y="2595"/>
                  </a:lnTo>
                  <a:lnTo>
                    <a:pt x="4562" y="2344"/>
                  </a:lnTo>
                  <a:lnTo>
                    <a:pt x="4604" y="2240"/>
                  </a:lnTo>
                  <a:lnTo>
                    <a:pt x="4562" y="2114"/>
                  </a:lnTo>
                  <a:lnTo>
                    <a:pt x="4562" y="2030"/>
                  </a:lnTo>
                  <a:lnTo>
                    <a:pt x="4479" y="1926"/>
                  </a:lnTo>
                  <a:lnTo>
                    <a:pt x="4499" y="1821"/>
                  </a:lnTo>
                  <a:lnTo>
                    <a:pt x="4332" y="1612"/>
                  </a:lnTo>
                  <a:lnTo>
                    <a:pt x="4332" y="1549"/>
                  </a:lnTo>
                  <a:lnTo>
                    <a:pt x="4479" y="1465"/>
                  </a:lnTo>
                  <a:lnTo>
                    <a:pt x="4499" y="1277"/>
                  </a:lnTo>
                  <a:lnTo>
                    <a:pt x="4458" y="1026"/>
                  </a:lnTo>
                  <a:lnTo>
                    <a:pt x="4353" y="1026"/>
                  </a:lnTo>
                  <a:lnTo>
                    <a:pt x="4269" y="963"/>
                  </a:lnTo>
                  <a:lnTo>
                    <a:pt x="4165" y="963"/>
                  </a:lnTo>
                  <a:lnTo>
                    <a:pt x="4060" y="880"/>
                  </a:lnTo>
                  <a:lnTo>
                    <a:pt x="4081" y="775"/>
                  </a:lnTo>
                  <a:lnTo>
                    <a:pt x="4039" y="670"/>
                  </a:lnTo>
                  <a:lnTo>
                    <a:pt x="3914" y="712"/>
                  </a:lnTo>
                  <a:lnTo>
                    <a:pt x="3767" y="545"/>
                  </a:lnTo>
                  <a:lnTo>
                    <a:pt x="3663" y="545"/>
                  </a:lnTo>
                  <a:lnTo>
                    <a:pt x="3621" y="461"/>
                  </a:lnTo>
                  <a:lnTo>
                    <a:pt x="3558" y="503"/>
                  </a:lnTo>
                  <a:lnTo>
                    <a:pt x="3432" y="524"/>
                  </a:lnTo>
                  <a:lnTo>
                    <a:pt x="3328" y="608"/>
                  </a:lnTo>
                  <a:lnTo>
                    <a:pt x="3286" y="545"/>
                  </a:lnTo>
                  <a:lnTo>
                    <a:pt x="3349" y="503"/>
                  </a:lnTo>
                  <a:lnTo>
                    <a:pt x="3349" y="524"/>
                  </a:lnTo>
                  <a:lnTo>
                    <a:pt x="3411" y="461"/>
                  </a:lnTo>
                  <a:lnTo>
                    <a:pt x="3516" y="419"/>
                  </a:lnTo>
                  <a:lnTo>
                    <a:pt x="3391" y="419"/>
                  </a:lnTo>
                  <a:lnTo>
                    <a:pt x="3328" y="440"/>
                  </a:lnTo>
                  <a:lnTo>
                    <a:pt x="3307" y="503"/>
                  </a:lnTo>
                  <a:lnTo>
                    <a:pt x="3202" y="545"/>
                  </a:lnTo>
                  <a:lnTo>
                    <a:pt x="3202" y="608"/>
                  </a:lnTo>
                  <a:lnTo>
                    <a:pt x="2993" y="628"/>
                  </a:lnTo>
                  <a:lnTo>
                    <a:pt x="2909" y="733"/>
                  </a:lnTo>
                  <a:lnTo>
                    <a:pt x="2888" y="838"/>
                  </a:lnTo>
                  <a:lnTo>
                    <a:pt x="2763" y="838"/>
                  </a:lnTo>
                  <a:lnTo>
                    <a:pt x="2721" y="775"/>
                  </a:lnTo>
                  <a:lnTo>
                    <a:pt x="2616" y="754"/>
                  </a:lnTo>
                  <a:lnTo>
                    <a:pt x="2574" y="775"/>
                  </a:lnTo>
                  <a:lnTo>
                    <a:pt x="2407" y="733"/>
                  </a:lnTo>
                  <a:lnTo>
                    <a:pt x="2512" y="670"/>
                  </a:lnTo>
                  <a:lnTo>
                    <a:pt x="2595" y="670"/>
                  </a:lnTo>
                  <a:lnTo>
                    <a:pt x="2679" y="608"/>
                  </a:lnTo>
                  <a:lnTo>
                    <a:pt x="2679" y="503"/>
                  </a:lnTo>
                  <a:lnTo>
                    <a:pt x="2616" y="461"/>
                  </a:lnTo>
                  <a:lnTo>
                    <a:pt x="2512" y="545"/>
                  </a:lnTo>
                  <a:lnTo>
                    <a:pt x="2491" y="566"/>
                  </a:lnTo>
                  <a:lnTo>
                    <a:pt x="2365" y="461"/>
                  </a:lnTo>
                  <a:lnTo>
                    <a:pt x="2302" y="419"/>
                  </a:lnTo>
                  <a:lnTo>
                    <a:pt x="2261" y="440"/>
                  </a:lnTo>
                  <a:lnTo>
                    <a:pt x="2240" y="524"/>
                  </a:lnTo>
                  <a:lnTo>
                    <a:pt x="2135" y="566"/>
                  </a:lnTo>
                  <a:lnTo>
                    <a:pt x="2093" y="461"/>
                  </a:lnTo>
                  <a:lnTo>
                    <a:pt x="2030" y="440"/>
                  </a:lnTo>
                  <a:lnTo>
                    <a:pt x="1968" y="377"/>
                  </a:lnTo>
                  <a:lnTo>
                    <a:pt x="2051" y="335"/>
                  </a:lnTo>
                  <a:lnTo>
                    <a:pt x="2093" y="210"/>
                  </a:lnTo>
                  <a:lnTo>
                    <a:pt x="1989" y="189"/>
                  </a:lnTo>
                  <a:lnTo>
                    <a:pt x="1863" y="84"/>
                  </a:lnTo>
                  <a:lnTo>
                    <a:pt x="1758" y="84"/>
                  </a:lnTo>
                  <a:lnTo>
                    <a:pt x="1717" y="43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" name="Google Shape;854;p34"/>
            <p:cNvSpPr/>
            <p:nvPr/>
          </p:nvSpPr>
          <p:spPr>
            <a:xfrm>
              <a:off x="3764778" y="2755577"/>
              <a:ext cx="24672" cy="21426"/>
            </a:xfrm>
            <a:custGeom>
              <a:avLst/>
              <a:gdLst/>
              <a:ahLst/>
              <a:cxnLst/>
              <a:rect l="l" t="t" r="r" b="b"/>
              <a:pathLst>
                <a:path w="2072" h="1884" extrusionOk="0">
                  <a:moveTo>
                    <a:pt x="1695" y="0"/>
                  </a:moveTo>
                  <a:lnTo>
                    <a:pt x="1549" y="21"/>
                  </a:lnTo>
                  <a:lnTo>
                    <a:pt x="1444" y="126"/>
                  </a:lnTo>
                  <a:lnTo>
                    <a:pt x="1340" y="84"/>
                  </a:lnTo>
                  <a:lnTo>
                    <a:pt x="1277" y="126"/>
                  </a:lnTo>
                  <a:lnTo>
                    <a:pt x="1130" y="126"/>
                  </a:lnTo>
                  <a:lnTo>
                    <a:pt x="1005" y="251"/>
                  </a:lnTo>
                  <a:lnTo>
                    <a:pt x="796" y="398"/>
                  </a:lnTo>
                  <a:lnTo>
                    <a:pt x="754" y="335"/>
                  </a:lnTo>
                  <a:lnTo>
                    <a:pt x="628" y="398"/>
                  </a:lnTo>
                  <a:lnTo>
                    <a:pt x="628" y="544"/>
                  </a:lnTo>
                  <a:lnTo>
                    <a:pt x="524" y="628"/>
                  </a:lnTo>
                  <a:lnTo>
                    <a:pt x="545" y="753"/>
                  </a:lnTo>
                  <a:lnTo>
                    <a:pt x="524" y="879"/>
                  </a:lnTo>
                  <a:lnTo>
                    <a:pt x="482" y="984"/>
                  </a:lnTo>
                  <a:lnTo>
                    <a:pt x="440" y="1046"/>
                  </a:lnTo>
                  <a:lnTo>
                    <a:pt x="335" y="1130"/>
                  </a:lnTo>
                  <a:lnTo>
                    <a:pt x="335" y="1193"/>
                  </a:lnTo>
                  <a:lnTo>
                    <a:pt x="482" y="1339"/>
                  </a:lnTo>
                  <a:lnTo>
                    <a:pt x="607" y="1360"/>
                  </a:lnTo>
                  <a:lnTo>
                    <a:pt x="482" y="1360"/>
                  </a:lnTo>
                  <a:lnTo>
                    <a:pt x="419" y="1402"/>
                  </a:lnTo>
                  <a:lnTo>
                    <a:pt x="377" y="1444"/>
                  </a:lnTo>
                  <a:lnTo>
                    <a:pt x="419" y="1507"/>
                  </a:lnTo>
                  <a:lnTo>
                    <a:pt x="503" y="1507"/>
                  </a:lnTo>
                  <a:lnTo>
                    <a:pt x="503" y="1569"/>
                  </a:lnTo>
                  <a:lnTo>
                    <a:pt x="398" y="1569"/>
                  </a:lnTo>
                  <a:lnTo>
                    <a:pt x="293" y="1486"/>
                  </a:lnTo>
                  <a:lnTo>
                    <a:pt x="189" y="1444"/>
                  </a:lnTo>
                  <a:lnTo>
                    <a:pt x="105" y="1465"/>
                  </a:lnTo>
                  <a:lnTo>
                    <a:pt x="126" y="1507"/>
                  </a:lnTo>
                  <a:lnTo>
                    <a:pt x="210" y="1548"/>
                  </a:lnTo>
                  <a:lnTo>
                    <a:pt x="314" y="1611"/>
                  </a:lnTo>
                  <a:lnTo>
                    <a:pt x="335" y="1590"/>
                  </a:lnTo>
                  <a:lnTo>
                    <a:pt x="440" y="1674"/>
                  </a:lnTo>
                  <a:lnTo>
                    <a:pt x="335" y="1611"/>
                  </a:lnTo>
                  <a:lnTo>
                    <a:pt x="273" y="1653"/>
                  </a:lnTo>
                  <a:lnTo>
                    <a:pt x="105" y="1590"/>
                  </a:lnTo>
                  <a:lnTo>
                    <a:pt x="1" y="1590"/>
                  </a:lnTo>
                  <a:lnTo>
                    <a:pt x="84" y="1611"/>
                  </a:lnTo>
                  <a:lnTo>
                    <a:pt x="126" y="1695"/>
                  </a:lnTo>
                  <a:lnTo>
                    <a:pt x="210" y="1695"/>
                  </a:lnTo>
                  <a:lnTo>
                    <a:pt x="293" y="1758"/>
                  </a:lnTo>
                  <a:lnTo>
                    <a:pt x="335" y="1695"/>
                  </a:lnTo>
                  <a:lnTo>
                    <a:pt x="440" y="1674"/>
                  </a:lnTo>
                  <a:lnTo>
                    <a:pt x="482" y="1653"/>
                  </a:lnTo>
                  <a:lnTo>
                    <a:pt x="545" y="1653"/>
                  </a:lnTo>
                  <a:lnTo>
                    <a:pt x="586" y="1548"/>
                  </a:lnTo>
                  <a:lnTo>
                    <a:pt x="796" y="1548"/>
                  </a:lnTo>
                  <a:lnTo>
                    <a:pt x="837" y="1611"/>
                  </a:lnTo>
                  <a:lnTo>
                    <a:pt x="942" y="1611"/>
                  </a:lnTo>
                  <a:lnTo>
                    <a:pt x="1005" y="1695"/>
                  </a:lnTo>
                  <a:lnTo>
                    <a:pt x="1151" y="1695"/>
                  </a:lnTo>
                  <a:lnTo>
                    <a:pt x="1214" y="1779"/>
                  </a:lnTo>
                  <a:lnTo>
                    <a:pt x="1214" y="1862"/>
                  </a:lnTo>
                  <a:lnTo>
                    <a:pt x="1319" y="1883"/>
                  </a:lnTo>
                  <a:lnTo>
                    <a:pt x="1361" y="1779"/>
                  </a:lnTo>
                  <a:lnTo>
                    <a:pt x="1381" y="1569"/>
                  </a:lnTo>
                  <a:lnTo>
                    <a:pt x="1361" y="1402"/>
                  </a:lnTo>
                  <a:lnTo>
                    <a:pt x="1444" y="1297"/>
                  </a:lnTo>
                  <a:lnTo>
                    <a:pt x="1486" y="1193"/>
                  </a:lnTo>
                  <a:lnTo>
                    <a:pt x="1654" y="1151"/>
                  </a:lnTo>
                  <a:lnTo>
                    <a:pt x="1800" y="1193"/>
                  </a:lnTo>
                  <a:lnTo>
                    <a:pt x="1884" y="1151"/>
                  </a:lnTo>
                  <a:lnTo>
                    <a:pt x="1800" y="1046"/>
                  </a:lnTo>
                  <a:lnTo>
                    <a:pt x="1884" y="984"/>
                  </a:lnTo>
                  <a:lnTo>
                    <a:pt x="1905" y="858"/>
                  </a:lnTo>
                  <a:lnTo>
                    <a:pt x="1946" y="774"/>
                  </a:lnTo>
                  <a:lnTo>
                    <a:pt x="1884" y="732"/>
                  </a:lnTo>
                  <a:lnTo>
                    <a:pt x="1758" y="732"/>
                  </a:lnTo>
                  <a:lnTo>
                    <a:pt x="1737" y="670"/>
                  </a:lnTo>
                  <a:lnTo>
                    <a:pt x="1779" y="544"/>
                  </a:lnTo>
                  <a:lnTo>
                    <a:pt x="1884" y="607"/>
                  </a:lnTo>
                  <a:lnTo>
                    <a:pt x="1967" y="544"/>
                  </a:lnTo>
                  <a:lnTo>
                    <a:pt x="1967" y="440"/>
                  </a:lnTo>
                  <a:lnTo>
                    <a:pt x="2009" y="335"/>
                  </a:lnTo>
                  <a:lnTo>
                    <a:pt x="2009" y="251"/>
                  </a:lnTo>
                  <a:lnTo>
                    <a:pt x="2072" y="230"/>
                  </a:lnTo>
                  <a:lnTo>
                    <a:pt x="2072" y="209"/>
                  </a:lnTo>
                  <a:lnTo>
                    <a:pt x="1967" y="147"/>
                  </a:lnTo>
                  <a:lnTo>
                    <a:pt x="1863" y="84"/>
                  </a:lnTo>
                  <a:lnTo>
                    <a:pt x="169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" name="Google Shape;855;p34"/>
            <p:cNvSpPr/>
            <p:nvPr/>
          </p:nvSpPr>
          <p:spPr>
            <a:xfrm>
              <a:off x="3762540" y="2773181"/>
              <a:ext cx="19445" cy="15956"/>
            </a:xfrm>
            <a:custGeom>
              <a:avLst/>
              <a:gdLst/>
              <a:ahLst/>
              <a:cxnLst/>
              <a:rect l="l" t="t" r="r" b="b"/>
              <a:pathLst>
                <a:path w="1633" h="1403" extrusionOk="0">
                  <a:moveTo>
                    <a:pt x="774" y="0"/>
                  </a:moveTo>
                  <a:lnTo>
                    <a:pt x="733" y="105"/>
                  </a:lnTo>
                  <a:lnTo>
                    <a:pt x="670" y="105"/>
                  </a:lnTo>
                  <a:lnTo>
                    <a:pt x="628" y="126"/>
                  </a:lnTo>
                  <a:lnTo>
                    <a:pt x="523" y="147"/>
                  </a:lnTo>
                  <a:lnTo>
                    <a:pt x="481" y="210"/>
                  </a:lnTo>
                  <a:lnTo>
                    <a:pt x="398" y="147"/>
                  </a:lnTo>
                  <a:lnTo>
                    <a:pt x="314" y="147"/>
                  </a:lnTo>
                  <a:lnTo>
                    <a:pt x="272" y="63"/>
                  </a:lnTo>
                  <a:lnTo>
                    <a:pt x="189" y="42"/>
                  </a:lnTo>
                  <a:lnTo>
                    <a:pt x="84" y="126"/>
                  </a:lnTo>
                  <a:lnTo>
                    <a:pt x="0" y="272"/>
                  </a:lnTo>
                  <a:lnTo>
                    <a:pt x="63" y="335"/>
                  </a:lnTo>
                  <a:lnTo>
                    <a:pt x="84" y="524"/>
                  </a:lnTo>
                  <a:lnTo>
                    <a:pt x="209" y="565"/>
                  </a:lnTo>
                  <a:lnTo>
                    <a:pt x="251" y="670"/>
                  </a:lnTo>
                  <a:lnTo>
                    <a:pt x="398" y="796"/>
                  </a:lnTo>
                  <a:lnTo>
                    <a:pt x="481" y="796"/>
                  </a:lnTo>
                  <a:lnTo>
                    <a:pt x="565" y="858"/>
                  </a:lnTo>
                  <a:lnTo>
                    <a:pt x="628" y="879"/>
                  </a:lnTo>
                  <a:lnTo>
                    <a:pt x="628" y="1047"/>
                  </a:lnTo>
                  <a:lnTo>
                    <a:pt x="774" y="1109"/>
                  </a:lnTo>
                  <a:lnTo>
                    <a:pt x="816" y="1068"/>
                  </a:lnTo>
                  <a:lnTo>
                    <a:pt x="900" y="1068"/>
                  </a:lnTo>
                  <a:lnTo>
                    <a:pt x="942" y="1109"/>
                  </a:lnTo>
                  <a:lnTo>
                    <a:pt x="1025" y="1151"/>
                  </a:lnTo>
                  <a:lnTo>
                    <a:pt x="1151" y="1298"/>
                  </a:lnTo>
                  <a:lnTo>
                    <a:pt x="1256" y="1319"/>
                  </a:lnTo>
                  <a:lnTo>
                    <a:pt x="1360" y="1402"/>
                  </a:lnTo>
                  <a:lnTo>
                    <a:pt x="1423" y="1361"/>
                  </a:lnTo>
                  <a:lnTo>
                    <a:pt x="1507" y="1361"/>
                  </a:lnTo>
                  <a:lnTo>
                    <a:pt x="1507" y="1298"/>
                  </a:lnTo>
                  <a:lnTo>
                    <a:pt x="1444" y="1256"/>
                  </a:lnTo>
                  <a:lnTo>
                    <a:pt x="1444" y="1172"/>
                  </a:lnTo>
                  <a:lnTo>
                    <a:pt x="1423" y="1109"/>
                  </a:lnTo>
                  <a:lnTo>
                    <a:pt x="1465" y="1047"/>
                  </a:lnTo>
                  <a:lnTo>
                    <a:pt x="1528" y="942"/>
                  </a:lnTo>
                  <a:lnTo>
                    <a:pt x="1549" y="942"/>
                  </a:lnTo>
                  <a:lnTo>
                    <a:pt x="1632" y="775"/>
                  </a:lnTo>
                  <a:lnTo>
                    <a:pt x="1549" y="670"/>
                  </a:lnTo>
                  <a:lnTo>
                    <a:pt x="1549" y="628"/>
                  </a:lnTo>
                  <a:lnTo>
                    <a:pt x="1465" y="440"/>
                  </a:lnTo>
                  <a:lnTo>
                    <a:pt x="1507" y="356"/>
                  </a:lnTo>
                  <a:lnTo>
                    <a:pt x="1507" y="335"/>
                  </a:lnTo>
                  <a:lnTo>
                    <a:pt x="1402" y="314"/>
                  </a:lnTo>
                  <a:lnTo>
                    <a:pt x="1402" y="231"/>
                  </a:lnTo>
                  <a:lnTo>
                    <a:pt x="1339" y="147"/>
                  </a:lnTo>
                  <a:lnTo>
                    <a:pt x="1193" y="147"/>
                  </a:lnTo>
                  <a:lnTo>
                    <a:pt x="1130" y="63"/>
                  </a:lnTo>
                  <a:lnTo>
                    <a:pt x="1025" y="63"/>
                  </a:lnTo>
                  <a:lnTo>
                    <a:pt x="98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" name="Google Shape;856;p34"/>
            <p:cNvSpPr/>
            <p:nvPr/>
          </p:nvSpPr>
          <p:spPr>
            <a:xfrm>
              <a:off x="3779484" y="2783894"/>
              <a:ext cx="4739" cy="6425"/>
            </a:xfrm>
            <a:custGeom>
              <a:avLst/>
              <a:gdLst/>
              <a:ahLst/>
              <a:cxnLst/>
              <a:rect l="l" t="t" r="r" b="b"/>
              <a:pathLst>
                <a:path w="398" h="565" extrusionOk="0">
                  <a:moveTo>
                    <a:pt x="105" y="0"/>
                  </a:moveTo>
                  <a:lnTo>
                    <a:pt x="42" y="105"/>
                  </a:lnTo>
                  <a:lnTo>
                    <a:pt x="0" y="167"/>
                  </a:lnTo>
                  <a:lnTo>
                    <a:pt x="21" y="230"/>
                  </a:lnTo>
                  <a:lnTo>
                    <a:pt x="21" y="314"/>
                  </a:lnTo>
                  <a:lnTo>
                    <a:pt x="84" y="356"/>
                  </a:lnTo>
                  <a:lnTo>
                    <a:pt x="84" y="419"/>
                  </a:lnTo>
                  <a:lnTo>
                    <a:pt x="105" y="419"/>
                  </a:lnTo>
                  <a:lnTo>
                    <a:pt x="146" y="523"/>
                  </a:lnTo>
                  <a:lnTo>
                    <a:pt x="314" y="565"/>
                  </a:lnTo>
                  <a:lnTo>
                    <a:pt x="398" y="544"/>
                  </a:lnTo>
                  <a:lnTo>
                    <a:pt x="398" y="356"/>
                  </a:lnTo>
                  <a:lnTo>
                    <a:pt x="335" y="314"/>
                  </a:lnTo>
                  <a:lnTo>
                    <a:pt x="314" y="167"/>
                  </a:lnTo>
                  <a:lnTo>
                    <a:pt x="188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7" name="Google Shape;857;p34"/>
            <p:cNvSpPr/>
            <p:nvPr/>
          </p:nvSpPr>
          <p:spPr>
            <a:xfrm>
              <a:off x="3681319" y="2737017"/>
              <a:ext cx="27661" cy="34982"/>
            </a:xfrm>
            <a:custGeom>
              <a:avLst/>
              <a:gdLst/>
              <a:ahLst/>
              <a:cxnLst/>
              <a:rect l="l" t="t" r="r" b="b"/>
              <a:pathLst>
                <a:path w="2323" h="3076" extrusionOk="0">
                  <a:moveTo>
                    <a:pt x="1737" y="0"/>
                  </a:moveTo>
                  <a:lnTo>
                    <a:pt x="1779" y="84"/>
                  </a:lnTo>
                  <a:lnTo>
                    <a:pt x="1653" y="84"/>
                  </a:lnTo>
                  <a:lnTo>
                    <a:pt x="1674" y="209"/>
                  </a:lnTo>
                  <a:lnTo>
                    <a:pt x="1590" y="314"/>
                  </a:lnTo>
                  <a:lnTo>
                    <a:pt x="1590" y="230"/>
                  </a:lnTo>
                  <a:lnTo>
                    <a:pt x="1653" y="188"/>
                  </a:lnTo>
                  <a:lnTo>
                    <a:pt x="1590" y="84"/>
                  </a:lnTo>
                  <a:lnTo>
                    <a:pt x="1528" y="105"/>
                  </a:lnTo>
                  <a:lnTo>
                    <a:pt x="1569" y="167"/>
                  </a:lnTo>
                  <a:lnTo>
                    <a:pt x="1465" y="188"/>
                  </a:lnTo>
                  <a:lnTo>
                    <a:pt x="1423" y="147"/>
                  </a:lnTo>
                  <a:lnTo>
                    <a:pt x="1256" y="167"/>
                  </a:lnTo>
                  <a:lnTo>
                    <a:pt x="1256" y="230"/>
                  </a:lnTo>
                  <a:lnTo>
                    <a:pt x="1214" y="230"/>
                  </a:lnTo>
                  <a:lnTo>
                    <a:pt x="1172" y="356"/>
                  </a:lnTo>
                  <a:lnTo>
                    <a:pt x="1256" y="377"/>
                  </a:lnTo>
                  <a:lnTo>
                    <a:pt x="1235" y="419"/>
                  </a:lnTo>
                  <a:lnTo>
                    <a:pt x="1151" y="419"/>
                  </a:lnTo>
                  <a:lnTo>
                    <a:pt x="1151" y="481"/>
                  </a:lnTo>
                  <a:lnTo>
                    <a:pt x="1046" y="502"/>
                  </a:lnTo>
                  <a:lnTo>
                    <a:pt x="1067" y="586"/>
                  </a:lnTo>
                  <a:lnTo>
                    <a:pt x="1214" y="586"/>
                  </a:lnTo>
                  <a:lnTo>
                    <a:pt x="1172" y="607"/>
                  </a:lnTo>
                  <a:lnTo>
                    <a:pt x="1276" y="586"/>
                  </a:lnTo>
                  <a:lnTo>
                    <a:pt x="1360" y="586"/>
                  </a:lnTo>
                  <a:lnTo>
                    <a:pt x="1235" y="711"/>
                  </a:lnTo>
                  <a:lnTo>
                    <a:pt x="1046" y="795"/>
                  </a:lnTo>
                  <a:lnTo>
                    <a:pt x="1130" y="837"/>
                  </a:lnTo>
                  <a:lnTo>
                    <a:pt x="942" y="879"/>
                  </a:lnTo>
                  <a:lnTo>
                    <a:pt x="858" y="837"/>
                  </a:lnTo>
                  <a:lnTo>
                    <a:pt x="795" y="921"/>
                  </a:lnTo>
                  <a:lnTo>
                    <a:pt x="753" y="816"/>
                  </a:lnTo>
                  <a:lnTo>
                    <a:pt x="502" y="753"/>
                  </a:lnTo>
                  <a:lnTo>
                    <a:pt x="502" y="816"/>
                  </a:lnTo>
                  <a:lnTo>
                    <a:pt x="335" y="753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419" y="942"/>
                  </a:lnTo>
                  <a:lnTo>
                    <a:pt x="440" y="984"/>
                  </a:lnTo>
                  <a:lnTo>
                    <a:pt x="481" y="1088"/>
                  </a:lnTo>
                  <a:lnTo>
                    <a:pt x="419" y="1088"/>
                  </a:lnTo>
                  <a:lnTo>
                    <a:pt x="398" y="1025"/>
                  </a:lnTo>
                  <a:lnTo>
                    <a:pt x="272" y="1025"/>
                  </a:lnTo>
                  <a:lnTo>
                    <a:pt x="419" y="1130"/>
                  </a:lnTo>
                  <a:lnTo>
                    <a:pt x="544" y="1109"/>
                  </a:lnTo>
                  <a:lnTo>
                    <a:pt x="586" y="1214"/>
                  </a:lnTo>
                  <a:lnTo>
                    <a:pt x="440" y="1235"/>
                  </a:lnTo>
                  <a:lnTo>
                    <a:pt x="419" y="1276"/>
                  </a:lnTo>
                  <a:lnTo>
                    <a:pt x="440" y="1339"/>
                  </a:lnTo>
                  <a:lnTo>
                    <a:pt x="293" y="1360"/>
                  </a:lnTo>
                  <a:lnTo>
                    <a:pt x="335" y="1444"/>
                  </a:lnTo>
                  <a:lnTo>
                    <a:pt x="272" y="1465"/>
                  </a:lnTo>
                  <a:lnTo>
                    <a:pt x="377" y="1528"/>
                  </a:lnTo>
                  <a:lnTo>
                    <a:pt x="419" y="1507"/>
                  </a:lnTo>
                  <a:lnTo>
                    <a:pt x="398" y="1548"/>
                  </a:lnTo>
                  <a:lnTo>
                    <a:pt x="523" y="1528"/>
                  </a:lnTo>
                  <a:lnTo>
                    <a:pt x="544" y="1674"/>
                  </a:lnTo>
                  <a:lnTo>
                    <a:pt x="858" y="1674"/>
                  </a:lnTo>
                  <a:lnTo>
                    <a:pt x="753" y="1758"/>
                  </a:lnTo>
                  <a:lnTo>
                    <a:pt x="691" y="1737"/>
                  </a:lnTo>
                  <a:lnTo>
                    <a:pt x="586" y="1925"/>
                  </a:lnTo>
                  <a:lnTo>
                    <a:pt x="628" y="1925"/>
                  </a:lnTo>
                  <a:lnTo>
                    <a:pt x="523" y="2051"/>
                  </a:lnTo>
                  <a:lnTo>
                    <a:pt x="335" y="2176"/>
                  </a:lnTo>
                  <a:lnTo>
                    <a:pt x="419" y="2176"/>
                  </a:lnTo>
                  <a:lnTo>
                    <a:pt x="523" y="2134"/>
                  </a:lnTo>
                  <a:lnTo>
                    <a:pt x="586" y="2155"/>
                  </a:lnTo>
                  <a:lnTo>
                    <a:pt x="732" y="2155"/>
                  </a:lnTo>
                  <a:lnTo>
                    <a:pt x="816" y="2072"/>
                  </a:lnTo>
                  <a:lnTo>
                    <a:pt x="816" y="2092"/>
                  </a:lnTo>
                  <a:lnTo>
                    <a:pt x="942" y="2134"/>
                  </a:lnTo>
                  <a:lnTo>
                    <a:pt x="691" y="2176"/>
                  </a:lnTo>
                  <a:lnTo>
                    <a:pt x="502" y="2197"/>
                  </a:lnTo>
                  <a:lnTo>
                    <a:pt x="440" y="2281"/>
                  </a:lnTo>
                  <a:lnTo>
                    <a:pt x="314" y="2302"/>
                  </a:lnTo>
                  <a:lnTo>
                    <a:pt x="377" y="2364"/>
                  </a:lnTo>
                  <a:lnTo>
                    <a:pt x="335" y="2406"/>
                  </a:lnTo>
                  <a:lnTo>
                    <a:pt x="398" y="2448"/>
                  </a:lnTo>
                  <a:lnTo>
                    <a:pt x="293" y="2469"/>
                  </a:lnTo>
                  <a:lnTo>
                    <a:pt x="209" y="2385"/>
                  </a:lnTo>
                  <a:lnTo>
                    <a:pt x="188" y="2448"/>
                  </a:lnTo>
                  <a:lnTo>
                    <a:pt x="168" y="2406"/>
                  </a:lnTo>
                  <a:lnTo>
                    <a:pt x="0" y="2490"/>
                  </a:lnTo>
                  <a:lnTo>
                    <a:pt x="21" y="2511"/>
                  </a:lnTo>
                  <a:lnTo>
                    <a:pt x="398" y="2511"/>
                  </a:lnTo>
                  <a:lnTo>
                    <a:pt x="272" y="2595"/>
                  </a:lnTo>
                  <a:lnTo>
                    <a:pt x="105" y="2657"/>
                  </a:lnTo>
                  <a:lnTo>
                    <a:pt x="63" y="2762"/>
                  </a:lnTo>
                  <a:lnTo>
                    <a:pt x="168" y="2762"/>
                  </a:lnTo>
                  <a:lnTo>
                    <a:pt x="188" y="2825"/>
                  </a:lnTo>
                  <a:lnTo>
                    <a:pt x="440" y="2762"/>
                  </a:lnTo>
                  <a:lnTo>
                    <a:pt x="440" y="2762"/>
                  </a:lnTo>
                  <a:lnTo>
                    <a:pt x="230" y="2888"/>
                  </a:lnTo>
                  <a:lnTo>
                    <a:pt x="168" y="2929"/>
                  </a:lnTo>
                  <a:lnTo>
                    <a:pt x="314" y="2929"/>
                  </a:lnTo>
                  <a:lnTo>
                    <a:pt x="502" y="2825"/>
                  </a:lnTo>
                  <a:lnTo>
                    <a:pt x="481" y="2908"/>
                  </a:lnTo>
                  <a:lnTo>
                    <a:pt x="314" y="2992"/>
                  </a:lnTo>
                  <a:lnTo>
                    <a:pt x="419" y="2992"/>
                  </a:lnTo>
                  <a:lnTo>
                    <a:pt x="398" y="3034"/>
                  </a:lnTo>
                  <a:lnTo>
                    <a:pt x="398" y="3034"/>
                  </a:lnTo>
                  <a:lnTo>
                    <a:pt x="523" y="3013"/>
                  </a:lnTo>
                  <a:lnTo>
                    <a:pt x="607" y="3076"/>
                  </a:lnTo>
                  <a:lnTo>
                    <a:pt x="795" y="3034"/>
                  </a:lnTo>
                  <a:lnTo>
                    <a:pt x="963" y="2992"/>
                  </a:lnTo>
                  <a:lnTo>
                    <a:pt x="1130" y="2888"/>
                  </a:lnTo>
                  <a:lnTo>
                    <a:pt x="1067" y="2783"/>
                  </a:lnTo>
                  <a:lnTo>
                    <a:pt x="1172" y="2783"/>
                  </a:lnTo>
                  <a:lnTo>
                    <a:pt x="1151" y="2867"/>
                  </a:lnTo>
                  <a:lnTo>
                    <a:pt x="1256" y="2867"/>
                  </a:lnTo>
                  <a:lnTo>
                    <a:pt x="1360" y="2720"/>
                  </a:lnTo>
                  <a:lnTo>
                    <a:pt x="1444" y="2762"/>
                  </a:lnTo>
                  <a:lnTo>
                    <a:pt x="1465" y="2657"/>
                  </a:lnTo>
                  <a:lnTo>
                    <a:pt x="1800" y="2595"/>
                  </a:lnTo>
                  <a:lnTo>
                    <a:pt x="1841" y="2511"/>
                  </a:lnTo>
                  <a:lnTo>
                    <a:pt x="1862" y="2616"/>
                  </a:lnTo>
                  <a:lnTo>
                    <a:pt x="1946" y="2553"/>
                  </a:lnTo>
                  <a:lnTo>
                    <a:pt x="2009" y="2574"/>
                  </a:lnTo>
                  <a:lnTo>
                    <a:pt x="2176" y="2574"/>
                  </a:lnTo>
                  <a:lnTo>
                    <a:pt x="2072" y="2406"/>
                  </a:lnTo>
                  <a:lnTo>
                    <a:pt x="2155" y="2385"/>
                  </a:lnTo>
                  <a:lnTo>
                    <a:pt x="2218" y="2281"/>
                  </a:lnTo>
                  <a:lnTo>
                    <a:pt x="2218" y="2176"/>
                  </a:lnTo>
                  <a:lnTo>
                    <a:pt x="2302" y="2072"/>
                  </a:lnTo>
                  <a:lnTo>
                    <a:pt x="2323" y="1967"/>
                  </a:lnTo>
                  <a:lnTo>
                    <a:pt x="2302" y="1716"/>
                  </a:lnTo>
                  <a:lnTo>
                    <a:pt x="2218" y="1674"/>
                  </a:lnTo>
                  <a:lnTo>
                    <a:pt x="2302" y="1632"/>
                  </a:lnTo>
                  <a:lnTo>
                    <a:pt x="2302" y="1507"/>
                  </a:lnTo>
                  <a:lnTo>
                    <a:pt x="2218" y="1402"/>
                  </a:lnTo>
                  <a:lnTo>
                    <a:pt x="2260" y="1256"/>
                  </a:lnTo>
                  <a:lnTo>
                    <a:pt x="2176" y="1214"/>
                  </a:lnTo>
                  <a:lnTo>
                    <a:pt x="2197" y="1130"/>
                  </a:lnTo>
                  <a:lnTo>
                    <a:pt x="2281" y="1151"/>
                  </a:lnTo>
                  <a:lnTo>
                    <a:pt x="2281" y="1151"/>
                  </a:lnTo>
                  <a:lnTo>
                    <a:pt x="2155" y="1088"/>
                  </a:lnTo>
                  <a:lnTo>
                    <a:pt x="2072" y="1046"/>
                  </a:lnTo>
                  <a:lnTo>
                    <a:pt x="1967" y="837"/>
                  </a:lnTo>
                  <a:lnTo>
                    <a:pt x="1800" y="732"/>
                  </a:lnTo>
                  <a:lnTo>
                    <a:pt x="1737" y="795"/>
                  </a:lnTo>
                  <a:lnTo>
                    <a:pt x="1695" y="942"/>
                  </a:lnTo>
                  <a:lnTo>
                    <a:pt x="1632" y="984"/>
                  </a:lnTo>
                  <a:lnTo>
                    <a:pt x="1360" y="732"/>
                  </a:lnTo>
                  <a:lnTo>
                    <a:pt x="1486" y="502"/>
                  </a:lnTo>
                  <a:lnTo>
                    <a:pt x="1632" y="481"/>
                  </a:lnTo>
                  <a:lnTo>
                    <a:pt x="1653" y="377"/>
                  </a:lnTo>
                  <a:lnTo>
                    <a:pt x="1737" y="356"/>
                  </a:lnTo>
                  <a:lnTo>
                    <a:pt x="1779" y="272"/>
                  </a:lnTo>
                  <a:lnTo>
                    <a:pt x="1737" y="293"/>
                  </a:lnTo>
                  <a:lnTo>
                    <a:pt x="1737" y="293"/>
                  </a:lnTo>
                  <a:lnTo>
                    <a:pt x="1841" y="188"/>
                  </a:lnTo>
                  <a:lnTo>
                    <a:pt x="1946" y="147"/>
                  </a:lnTo>
                  <a:lnTo>
                    <a:pt x="1841" y="84"/>
                  </a:lnTo>
                  <a:lnTo>
                    <a:pt x="173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58" name="Google Shape;858;p34"/>
            <p:cNvGrpSpPr/>
            <p:nvPr/>
          </p:nvGrpSpPr>
          <p:grpSpPr>
            <a:xfrm>
              <a:off x="3697513" y="2707266"/>
              <a:ext cx="59549" cy="79733"/>
              <a:chOff x="3586375" y="2281300"/>
              <a:chExt cx="125025" cy="175275"/>
            </a:xfrm>
          </p:grpSpPr>
          <p:sp>
            <p:nvSpPr>
              <p:cNvPr id="859" name="Google Shape;859;p34"/>
              <p:cNvSpPr/>
              <p:nvPr/>
            </p:nvSpPr>
            <p:spPr>
              <a:xfrm>
                <a:off x="3609900" y="2281300"/>
                <a:ext cx="101500" cy="175275"/>
              </a:xfrm>
              <a:custGeom>
                <a:avLst/>
                <a:gdLst/>
                <a:ahLst/>
                <a:cxnLst/>
                <a:rect l="l" t="t" r="r" b="b"/>
                <a:pathLst>
                  <a:path w="4060" h="7011" extrusionOk="0">
                    <a:moveTo>
                      <a:pt x="1340" y="1"/>
                    </a:moveTo>
                    <a:lnTo>
                      <a:pt x="1277" y="63"/>
                    </a:lnTo>
                    <a:lnTo>
                      <a:pt x="1235" y="42"/>
                    </a:lnTo>
                    <a:lnTo>
                      <a:pt x="1110" y="84"/>
                    </a:lnTo>
                    <a:lnTo>
                      <a:pt x="1026" y="84"/>
                    </a:lnTo>
                    <a:lnTo>
                      <a:pt x="921" y="105"/>
                    </a:lnTo>
                    <a:lnTo>
                      <a:pt x="859" y="105"/>
                    </a:lnTo>
                    <a:lnTo>
                      <a:pt x="838" y="168"/>
                    </a:lnTo>
                    <a:lnTo>
                      <a:pt x="838" y="105"/>
                    </a:lnTo>
                    <a:lnTo>
                      <a:pt x="796" y="84"/>
                    </a:lnTo>
                    <a:lnTo>
                      <a:pt x="712" y="168"/>
                    </a:lnTo>
                    <a:lnTo>
                      <a:pt x="733" y="105"/>
                    </a:lnTo>
                    <a:lnTo>
                      <a:pt x="608" y="42"/>
                    </a:lnTo>
                    <a:lnTo>
                      <a:pt x="587" y="105"/>
                    </a:lnTo>
                    <a:lnTo>
                      <a:pt x="524" y="168"/>
                    </a:lnTo>
                    <a:lnTo>
                      <a:pt x="545" y="231"/>
                    </a:lnTo>
                    <a:lnTo>
                      <a:pt x="524" y="231"/>
                    </a:lnTo>
                    <a:lnTo>
                      <a:pt x="524" y="314"/>
                    </a:lnTo>
                    <a:lnTo>
                      <a:pt x="419" y="356"/>
                    </a:lnTo>
                    <a:lnTo>
                      <a:pt x="482" y="419"/>
                    </a:lnTo>
                    <a:lnTo>
                      <a:pt x="440" y="503"/>
                    </a:lnTo>
                    <a:lnTo>
                      <a:pt x="398" y="503"/>
                    </a:lnTo>
                    <a:lnTo>
                      <a:pt x="503" y="607"/>
                    </a:lnTo>
                    <a:lnTo>
                      <a:pt x="545" y="670"/>
                    </a:lnTo>
                    <a:lnTo>
                      <a:pt x="419" y="607"/>
                    </a:lnTo>
                    <a:lnTo>
                      <a:pt x="398" y="670"/>
                    </a:lnTo>
                    <a:lnTo>
                      <a:pt x="315" y="587"/>
                    </a:lnTo>
                    <a:lnTo>
                      <a:pt x="294" y="628"/>
                    </a:lnTo>
                    <a:lnTo>
                      <a:pt x="315" y="691"/>
                    </a:lnTo>
                    <a:lnTo>
                      <a:pt x="294" y="733"/>
                    </a:lnTo>
                    <a:lnTo>
                      <a:pt x="273" y="628"/>
                    </a:lnTo>
                    <a:lnTo>
                      <a:pt x="210" y="733"/>
                    </a:lnTo>
                    <a:lnTo>
                      <a:pt x="273" y="796"/>
                    </a:lnTo>
                    <a:lnTo>
                      <a:pt x="210" y="817"/>
                    </a:lnTo>
                    <a:lnTo>
                      <a:pt x="294" y="900"/>
                    </a:lnTo>
                    <a:lnTo>
                      <a:pt x="336" y="900"/>
                    </a:lnTo>
                    <a:lnTo>
                      <a:pt x="294" y="942"/>
                    </a:lnTo>
                    <a:lnTo>
                      <a:pt x="210" y="900"/>
                    </a:lnTo>
                    <a:lnTo>
                      <a:pt x="210" y="1026"/>
                    </a:lnTo>
                    <a:lnTo>
                      <a:pt x="210" y="1047"/>
                    </a:lnTo>
                    <a:lnTo>
                      <a:pt x="377" y="1026"/>
                    </a:lnTo>
                    <a:lnTo>
                      <a:pt x="273" y="1089"/>
                    </a:lnTo>
                    <a:lnTo>
                      <a:pt x="273" y="1110"/>
                    </a:lnTo>
                    <a:lnTo>
                      <a:pt x="294" y="1131"/>
                    </a:lnTo>
                    <a:lnTo>
                      <a:pt x="377" y="1110"/>
                    </a:lnTo>
                    <a:lnTo>
                      <a:pt x="336" y="1131"/>
                    </a:lnTo>
                    <a:lnTo>
                      <a:pt x="398" y="1151"/>
                    </a:lnTo>
                    <a:lnTo>
                      <a:pt x="398" y="1151"/>
                    </a:lnTo>
                    <a:lnTo>
                      <a:pt x="315" y="1131"/>
                    </a:lnTo>
                    <a:lnTo>
                      <a:pt x="294" y="1151"/>
                    </a:lnTo>
                    <a:lnTo>
                      <a:pt x="294" y="1214"/>
                    </a:lnTo>
                    <a:lnTo>
                      <a:pt x="315" y="1235"/>
                    </a:lnTo>
                    <a:lnTo>
                      <a:pt x="273" y="1256"/>
                    </a:lnTo>
                    <a:lnTo>
                      <a:pt x="231" y="1319"/>
                    </a:lnTo>
                    <a:lnTo>
                      <a:pt x="294" y="1319"/>
                    </a:lnTo>
                    <a:lnTo>
                      <a:pt x="294" y="1361"/>
                    </a:lnTo>
                    <a:lnTo>
                      <a:pt x="210" y="1340"/>
                    </a:lnTo>
                    <a:lnTo>
                      <a:pt x="189" y="1403"/>
                    </a:lnTo>
                    <a:lnTo>
                      <a:pt x="210" y="1444"/>
                    </a:lnTo>
                    <a:lnTo>
                      <a:pt x="189" y="1465"/>
                    </a:lnTo>
                    <a:lnTo>
                      <a:pt x="168" y="1528"/>
                    </a:lnTo>
                    <a:lnTo>
                      <a:pt x="63" y="1528"/>
                    </a:lnTo>
                    <a:lnTo>
                      <a:pt x="1" y="1549"/>
                    </a:lnTo>
                    <a:lnTo>
                      <a:pt x="63" y="1570"/>
                    </a:lnTo>
                    <a:lnTo>
                      <a:pt x="126" y="1570"/>
                    </a:lnTo>
                    <a:lnTo>
                      <a:pt x="189" y="1612"/>
                    </a:lnTo>
                    <a:lnTo>
                      <a:pt x="168" y="1633"/>
                    </a:lnTo>
                    <a:lnTo>
                      <a:pt x="105" y="1633"/>
                    </a:lnTo>
                    <a:lnTo>
                      <a:pt x="189" y="1716"/>
                    </a:lnTo>
                    <a:lnTo>
                      <a:pt x="210" y="1716"/>
                    </a:lnTo>
                    <a:lnTo>
                      <a:pt x="273" y="1737"/>
                    </a:lnTo>
                    <a:lnTo>
                      <a:pt x="503" y="1507"/>
                    </a:lnTo>
                    <a:lnTo>
                      <a:pt x="482" y="1570"/>
                    </a:lnTo>
                    <a:lnTo>
                      <a:pt x="503" y="1612"/>
                    </a:lnTo>
                    <a:lnTo>
                      <a:pt x="419" y="1633"/>
                    </a:lnTo>
                    <a:lnTo>
                      <a:pt x="377" y="1758"/>
                    </a:lnTo>
                    <a:lnTo>
                      <a:pt x="377" y="1779"/>
                    </a:lnTo>
                    <a:lnTo>
                      <a:pt x="315" y="1947"/>
                    </a:lnTo>
                    <a:lnTo>
                      <a:pt x="336" y="1947"/>
                    </a:lnTo>
                    <a:lnTo>
                      <a:pt x="294" y="2135"/>
                    </a:lnTo>
                    <a:lnTo>
                      <a:pt x="294" y="2239"/>
                    </a:lnTo>
                    <a:lnTo>
                      <a:pt x="231" y="2281"/>
                    </a:lnTo>
                    <a:lnTo>
                      <a:pt x="294" y="2323"/>
                    </a:lnTo>
                    <a:lnTo>
                      <a:pt x="315" y="2302"/>
                    </a:lnTo>
                    <a:lnTo>
                      <a:pt x="231" y="2449"/>
                    </a:lnTo>
                    <a:lnTo>
                      <a:pt x="231" y="2595"/>
                    </a:lnTo>
                    <a:lnTo>
                      <a:pt x="189" y="2658"/>
                    </a:lnTo>
                    <a:lnTo>
                      <a:pt x="189" y="2700"/>
                    </a:lnTo>
                    <a:lnTo>
                      <a:pt x="315" y="2700"/>
                    </a:lnTo>
                    <a:lnTo>
                      <a:pt x="294" y="2595"/>
                    </a:lnTo>
                    <a:lnTo>
                      <a:pt x="336" y="2491"/>
                    </a:lnTo>
                    <a:lnTo>
                      <a:pt x="336" y="2407"/>
                    </a:lnTo>
                    <a:lnTo>
                      <a:pt x="398" y="2323"/>
                    </a:lnTo>
                    <a:lnTo>
                      <a:pt x="336" y="2135"/>
                    </a:lnTo>
                    <a:lnTo>
                      <a:pt x="398" y="2135"/>
                    </a:lnTo>
                    <a:lnTo>
                      <a:pt x="545" y="1947"/>
                    </a:lnTo>
                    <a:lnTo>
                      <a:pt x="440" y="2135"/>
                    </a:lnTo>
                    <a:lnTo>
                      <a:pt x="419" y="2239"/>
                    </a:lnTo>
                    <a:lnTo>
                      <a:pt x="482" y="2260"/>
                    </a:lnTo>
                    <a:lnTo>
                      <a:pt x="482" y="2198"/>
                    </a:lnTo>
                    <a:lnTo>
                      <a:pt x="545" y="2135"/>
                    </a:lnTo>
                    <a:lnTo>
                      <a:pt x="587" y="2260"/>
                    </a:lnTo>
                    <a:lnTo>
                      <a:pt x="628" y="2135"/>
                    </a:lnTo>
                    <a:lnTo>
                      <a:pt x="628" y="2030"/>
                    </a:lnTo>
                    <a:lnTo>
                      <a:pt x="691" y="1988"/>
                    </a:lnTo>
                    <a:lnTo>
                      <a:pt x="649" y="2135"/>
                    </a:lnTo>
                    <a:lnTo>
                      <a:pt x="754" y="2198"/>
                    </a:lnTo>
                    <a:lnTo>
                      <a:pt x="649" y="2177"/>
                    </a:lnTo>
                    <a:lnTo>
                      <a:pt x="628" y="2323"/>
                    </a:lnTo>
                    <a:lnTo>
                      <a:pt x="649" y="2449"/>
                    </a:lnTo>
                    <a:lnTo>
                      <a:pt x="712" y="2470"/>
                    </a:lnTo>
                    <a:lnTo>
                      <a:pt x="754" y="2574"/>
                    </a:lnTo>
                    <a:lnTo>
                      <a:pt x="649" y="2658"/>
                    </a:lnTo>
                    <a:lnTo>
                      <a:pt x="587" y="2909"/>
                    </a:lnTo>
                    <a:lnTo>
                      <a:pt x="587" y="3014"/>
                    </a:lnTo>
                    <a:lnTo>
                      <a:pt x="503" y="2972"/>
                    </a:lnTo>
                    <a:lnTo>
                      <a:pt x="503" y="3097"/>
                    </a:lnTo>
                    <a:lnTo>
                      <a:pt x="628" y="3244"/>
                    </a:lnTo>
                    <a:lnTo>
                      <a:pt x="587" y="3097"/>
                    </a:lnTo>
                    <a:lnTo>
                      <a:pt x="649" y="3076"/>
                    </a:lnTo>
                    <a:lnTo>
                      <a:pt x="859" y="3223"/>
                    </a:lnTo>
                    <a:lnTo>
                      <a:pt x="859" y="3097"/>
                    </a:lnTo>
                    <a:lnTo>
                      <a:pt x="796" y="3035"/>
                    </a:lnTo>
                    <a:lnTo>
                      <a:pt x="838" y="3014"/>
                    </a:lnTo>
                    <a:lnTo>
                      <a:pt x="1005" y="3118"/>
                    </a:lnTo>
                    <a:lnTo>
                      <a:pt x="1131" y="3118"/>
                    </a:lnTo>
                    <a:lnTo>
                      <a:pt x="1131" y="3076"/>
                    </a:lnTo>
                    <a:lnTo>
                      <a:pt x="1235" y="3076"/>
                    </a:lnTo>
                    <a:lnTo>
                      <a:pt x="1256" y="2972"/>
                    </a:lnTo>
                    <a:lnTo>
                      <a:pt x="1549" y="2993"/>
                    </a:lnTo>
                    <a:lnTo>
                      <a:pt x="1361" y="3014"/>
                    </a:lnTo>
                    <a:lnTo>
                      <a:pt x="1235" y="3348"/>
                    </a:lnTo>
                    <a:lnTo>
                      <a:pt x="1382" y="3620"/>
                    </a:lnTo>
                    <a:lnTo>
                      <a:pt x="1444" y="3558"/>
                    </a:lnTo>
                    <a:lnTo>
                      <a:pt x="1444" y="3704"/>
                    </a:lnTo>
                    <a:lnTo>
                      <a:pt x="1549" y="3600"/>
                    </a:lnTo>
                    <a:lnTo>
                      <a:pt x="1654" y="3600"/>
                    </a:lnTo>
                    <a:lnTo>
                      <a:pt x="1633" y="3746"/>
                    </a:lnTo>
                    <a:lnTo>
                      <a:pt x="1654" y="3767"/>
                    </a:lnTo>
                    <a:lnTo>
                      <a:pt x="1549" y="3851"/>
                    </a:lnTo>
                    <a:lnTo>
                      <a:pt x="1570" y="4018"/>
                    </a:lnTo>
                    <a:lnTo>
                      <a:pt x="1528" y="4123"/>
                    </a:lnTo>
                    <a:lnTo>
                      <a:pt x="1570" y="4227"/>
                    </a:lnTo>
                    <a:lnTo>
                      <a:pt x="1654" y="4290"/>
                    </a:lnTo>
                    <a:lnTo>
                      <a:pt x="1737" y="4290"/>
                    </a:lnTo>
                    <a:lnTo>
                      <a:pt x="1675" y="4332"/>
                    </a:lnTo>
                    <a:lnTo>
                      <a:pt x="1591" y="4332"/>
                    </a:lnTo>
                    <a:lnTo>
                      <a:pt x="1549" y="4248"/>
                    </a:lnTo>
                    <a:lnTo>
                      <a:pt x="1465" y="4269"/>
                    </a:lnTo>
                    <a:lnTo>
                      <a:pt x="1528" y="4353"/>
                    </a:lnTo>
                    <a:lnTo>
                      <a:pt x="1591" y="4395"/>
                    </a:lnTo>
                    <a:lnTo>
                      <a:pt x="1486" y="4374"/>
                    </a:lnTo>
                    <a:lnTo>
                      <a:pt x="1424" y="4290"/>
                    </a:lnTo>
                    <a:lnTo>
                      <a:pt x="1235" y="4353"/>
                    </a:lnTo>
                    <a:lnTo>
                      <a:pt x="1152" y="4353"/>
                    </a:lnTo>
                    <a:lnTo>
                      <a:pt x="963" y="4436"/>
                    </a:lnTo>
                    <a:lnTo>
                      <a:pt x="859" y="4583"/>
                    </a:lnTo>
                    <a:lnTo>
                      <a:pt x="733" y="4667"/>
                    </a:lnTo>
                    <a:lnTo>
                      <a:pt x="691" y="4750"/>
                    </a:lnTo>
                    <a:lnTo>
                      <a:pt x="817" y="4750"/>
                    </a:lnTo>
                    <a:lnTo>
                      <a:pt x="817" y="4688"/>
                    </a:lnTo>
                    <a:lnTo>
                      <a:pt x="1026" y="4646"/>
                    </a:lnTo>
                    <a:lnTo>
                      <a:pt x="1005" y="4750"/>
                    </a:lnTo>
                    <a:lnTo>
                      <a:pt x="1068" y="4813"/>
                    </a:lnTo>
                    <a:lnTo>
                      <a:pt x="1005" y="4876"/>
                    </a:lnTo>
                    <a:lnTo>
                      <a:pt x="1026" y="4960"/>
                    </a:lnTo>
                    <a:lnTo>
                      <a:pt x="1068" y="4960"/>
                    </a:lnTo>
                    <a:lnTo>
                      <a:pt x="942" y="5190"/>
                    </a:lnTo>
                    <a:lnTo>
                      <a:pt x="859" y="5232"/>
                    </a:lnTo>
                    <a:lnTo>
                      <a:pt x="754" y="5294"/>
                    </a:lnTo>
                    <a:lnTo>
                      <a:pt x="733" y="5294"/>
                    </a:lnTo>
                    <a:lnTo>
                      <a:pt x="608" y="5378"/>
                    </a:lnTo>
                    <a:lnTo>
                      <a:pt x="524" y="5378"/>
                    </a:lnTo>
                    <a:lnTo>
                      <a:pt x="398" y="5483"/>
                    </a:lnTo>
                    <a:lnTo>
                      <a:pt x="503" y="5483"/>
                    </a:lnTo>
                    <a:lnTo>
                      <a:pt x="503" y="5545"/>
                    </a:lnTo>
                    <a:lnTo>
                      <a:pt x="419" y="5608"/>
                    </a:lnTo>
                    <a:lnTo>
                      <a:pt x="545" y="5629"/>
                    </a:lnTo>
                    <a:lnTo>
                      <a:pt x="524" y="5650"/>
                    </a:lnTo>
                    <a:lnTo>
                      <a:pt x="587" y="5692"/>
                    </a:lnTo>
                    <a:lnTo>
                      <a:pt x="649" y="5650"/>
                    </a:lnTo>
                    <a:lnTo>
                      <a:pt x="754" y="5608"/>
                    </a:lnTo>
                    <a:lnTo>
                      <a:pt x="900" y="5545"/>
                    </a:lnTo>
                    <a:lnTo>
                      <a:pt x="921" y="5629"/>
                    </a:lnTo>
                    <a:lnTo>
                      <a:pt x="1026" y="5650"/>
                    </a:lnTo>
                    <a:lnTo>
                      <a:pt x="942" y="5692"/>
                    </a:lnTo>
                    <a:lnTo>
                      <a:pt x="921" y="5734"/>
                    </a:lnTo>
                    <a:lnTo>
                      <a:pt x="1068" y="5734"/>
                    </a:lnTo>
                    <a:lnTo>
                      <a:pt x="1068" y="5713"/>
                    </a:lnTo>
                    <a:lnTo>
                      <a:pt x="1152" y="5692"/>
                    </a:lnTo>
                    <a:lnTo>
                      <a:pt x="1256" y="5796"/>
                    </a:lnTo>
                    <a:lnTo>
                      <a:pt x="1319" y="5859"/>
                    </a:lnTo>
                    <a:lnTo>
                      <a:pt x="1486" y="5859"/>
                    </a:lnTo>
                    <a:lnTo>
                      <a:pt x="1549" y="5796"/>
                    </a:lnTo>
                    <a:lnTo>
                      <a:pt x="1633" y="5755"/>
                    </a:lnTo>
                    <a:lnTo>
                      <a:pt x="1758" y="5713"/>
                    </a:lnTo>
                    <a:lnTo>
                      <a:pt x="1800" y="5650"/>
                    </a:lnTo>
                    <a:lnTo>
                      <a:pt x="1905" y="5608"/>
                    </a:lnTo>
                    <a:lnTo>
                      <a:pt x="1758" y="5755"/>
                    </a:lnTo>
                    <a:lnTo>
                      <a:pt x="1633" y="5901"/>
                    </a:lnTo>
                    <a:lnTo>
                      <a:pt x="1633" y="6048"/>
                    </a:lnTo>
                    <a:lnTo>
                      <a:pt x="1528" y="6048"/>
                    </a:lnTo>
                    <a:lnTo>
                      <a:pt x="1444" y="6068"/>
                    </a:lnTo>
                    <a:lnTo>
                      <a:pt x="1361" y="6027"/>
                    </a:lnTo>
                    <a:lnTo>
                      <a:pt x="1131" y="6006"/>
                    </a:lnTo>
                    <a:lnTo>
                      <a:pt x="963" y="6048"/>
                    </a:lnTo>
                    <a:lnTo>
                      <a:pt x="963" y="6131"/>
                    </a:lnTo>
                    <a:lnTo>
                      <a:pt x="900" y="6215"/>
                    </a:lnTo>
                    <a:lnTo>
                      <a:pt x="796" y="6215"/>
                    </a:lnTo>
                    <a:lnTo>
                      <a:pt x="796" y="6382"/>
                    </a:lnTo>
                    <a:lnTo>
                      <a:pt x="691" y="6487"/>
                    </a:lnTo>
                    <a:lnTo>
                      <a:pt x="649" y="6550"/>
                    </a:lnTo>
                    <a:lnTo>
                      <a:pt x="545" y="6550"/>
                    </a:lnTo>
                    <a:lnTo>
                      <a:pt x="524" y="6675"/>
                    </a:lnTo>
                    <a:lnTo>
                      <a:pt x="482" y="6675"/>
                    </a:lnTo>
                    <a:lnTo>
                      <a:pt x="440" y="6738"/>
                    </a:lnTo>
                    <a:lnTo>
                      <a:pt x="315" y="6843"/>
                    </a:lnTo>
                    <a:lnTo>
                      <a:pt x="231" y="6801"/>
                    </a:lnTo>
                    <a:lnTo>
                      <a:pt x="168" y="6864"/>
                    </a:lnTo>
                    <a:lnTo>
                      <a:pt x="168" y="6968"/>
                    </a:lnTo>
                    <a:lnTo>
                      <a:pt x="273" y="6968"/>
                    </a:lnTo>
                    <a:lnTo>
                      <a:pt x="273" y="6885"/>
                    </a:lnTo>
                    <a:lnTo>
                      <a:pt x="377" y="6905"/>
                    </a:lnTo>
                    <a:lnTo>
                      <a:pt x="419" y="7010"/>
                    </a:lnTo>
                    <a:lnTo>
                      <a:pt x="503" y="6968"/>
                    </a:lnTo>
                    <a:lnTo>
                      <a:pt x="482" y="6905"/>
                    </a:lnTo>
                    <a:lnTo>
                      <a:pt x="524" y="6843"/>
                    </a:lnTo>
                    <a:lnTo>
                      <a:pt x="545" y="6864"/>
                    </a:lnTo>
                    <a:lnTo>
                      <a:pt x="628" y="6801"/>
                    </a:lnTo>
                    <a:lnTo>
                      <a:pt x="649" y="6801"/>
                    </a:lnTo>
                    <a:lnTo>
                      <a:pt x="712" y="6696"/>
                    </a:lnTo>
                    <a:lnTo>
                      <a:pt x="817" y="6759"/>
                    </a:lnTo>
                    <a:lnTo>
                      <a:pt x="900" y="6696"/>
                    </a:lnTo>
                    <a:lnTo>
                      <a:pt x="963" y="6738"/>
                    </a:lnTo>
                    <a:lnTo>
                      <a:pt x="1005" y="6696"/>
                    </a:lnTo>
                    <a:lnTo>
                      <a:pt x="1047" y="6759"/>
                    </a:lnTo>
                    <a:lnTo>
                      <a:pt x="1110" y="6759"/>
                    </a:lnTo>
                    <a:lnTo>
                      <a:pt x="1172" y="6801"/>
                    </a:lnTo>
                    <a:lnTo>
                      <a:pt x="1277" y="6801"/>
                    </a:lnTo>
                    <a:lnTo>
                      <a:pt x="1256" y="6759"/>
                    </a:lnTo>
                    <a:lnTo>
                      <a:pt x="1340" y="6738"/>
                    </a:lnTo>
                    <a:lnTo>
                      <a:pt x="1361" y="6654"/>
                    </a:lnTo>
                    <a:lnTo>
                      <a:pt x="1340" y="6571"/>
                    </a:lnTo>
                    <a:lnTo>
                      <a:pt x="1382" y="6487"/>
                    </a:lnTo>
                    <a:lnTo>
                      <a:pt x="1444" y="6487"/>
                    </a:lnTo>
                    <a:lnTo>
                      <a:pt x="1465" y="6445"/>
                    </a:lnTo>
                    <a:lnTo>
                      <a:pt x="1675" y="6424"/>
                    </a:lnTo>
                    <a:lnTo>
                      <a:pt x="1779" y="6424"/>
                    </a:lnTo>
                    <a:lnTo>
                      <a:pt x="1905" y="6487"/>
                    </a:lnTo>
                    <a:lnTo>
                      <a:pt x="2093" y="6487"/>
                    </a:lnTo>
                    <a:lnTo>
                      <a:pt x="2177" y="6529"/>
                    </a:lnTo>
                    <a:lnTo>
                      <a:pt x="2198" y="6445"/>
                    </a:lnTo>
                    <a:lnTo>
                      <a:pt x="2323" y="6361"/>
                    </a:lnTo>
                    <a:lnTo>
                      <a:pt x="2407" y="6382"/>
                    </a:lnTo>
                    <a:lnTo>
                      <a:pt x="2512" y="6320"/>
                    </a:lnTo>
                    <a:lnTo>
                      <a:pt x="2616" y="6340"/>
                    </a:lnTo>
                    <a:lnTo>
                      <a:pt x="2637" y="6320"/>
                    </a:lnTo>
                    <a:lnTo>
                      <a:pt x="2721" y="6278"/>
                    </a:lnTo>
                    <a:lnTo>
                      <a:pt x="2721" y="6320"/>
                    </a:lnTo>
                    <a:lnTo>
                      <a:pt x="2804" y="6361"/>
                    </a:lnTo>
                    <a:lnTo>
                      <a:pt x="2888" y="6320"/>
                    </a:lnTo>
                    <a:lnTo>
                      <a:pt x="3056" y="6320"/>
                    </a:lnTo>
                    <a:lnTo>
                      <a:pt x="3202" y="6278"/>
                    </a:lnTo>
                    <a:lnTo>
                      <a:pt x="3307" y="6320"/>
                    </a:lnTo>
                    <a:lnTo>
                      <a:pt x="3349" y="6340"/>
                    </a:lnTo>
                    <a:lnTo>
                      <a:pt x="3453" y="6257"/>
                    </a:lnTo>
                    <a:lnTo>
                      <a:pt x="3537" y="6236"/>
                    </a:lnTo>
                    <a:lnTo>
                      <a:pt x="3621" y="6152"/>
                    </a:lnTo>
                    <a:lnTo>
                      <a:pt x="3683" y="6152"/>
                    </a:lnTo>
                    <a:lnTo>
                      <a:pt x="3746" y="6173"/>
                    </a:lnTo>
                    <a:lnTo>
                      <a:pt x="3725" y="6110"/>
                    </a:lnTo>
                    <a:lnTo>
                      <a:pt x="3851" y="6027"/>
                    </a:lnTo>
                    <a:lnTo>
                      <a:pt x="3955" y="6006"/>
                    </a:lnTo>
                    <a:lnTo>
                      <a:pt x="3955" y="5922"/>
                    </a:lnTo>
                    <a:lnTo>
                      <a:pt x="3934" y="5859"/>
                    </a:lnTo>
                    <a:lnTo>
                      <a:pt x="3955" y="5796"/>
                    </a:lnTo>
                    <a:lnTo>
                      <a:pt x="3788" y="5796"/>
                    </a:lnTo>
                    <a:lnTo>
                      <a:pt x="3683" y="5838"/>
                    </a:lnTo>
                    <a:lnTo>
                      <a:pt x="3641" y="5838"/>
                    </a:lnTo>
                    <a:lnTo>
                      <a:pt x="3537" y="5817"/>
                    </a:lnTo>
                    <a:lnTo>
                      <a:pt x="3474" y="5796"/>
                    </a:lnTo>
                    <a:lnTo>
                      <a:pt x="3537" y="5755"/>
                    </a:lnTo>
                    <a:lnTo>
                      <a:pt x="3558" y="5755"/>
                    </a:lnTo>
                    <a:lnTo>
                      <a:pt x="3558" y="5734"/>
                    </a:lnTo>
                    <a:lnTo>
                      <a:pt x="3474" y="5713"/>
                    </a:lnTo>
                    <a:lnTo>
                      <a:pt x="3411" y="5734"/>
                    </a:lnTo>
                    <a:lnTo>
                      <a:pt x="3516" y="5650"/>
                    </a:lnTo>
                    <a:lnTo>
                      <a:pt x="3579" y="5692"/>
                    </a:lnTo>
                    <a:lnTo>
                      <a:pt x="3662" y="5629"/>
                    </a:lnTo>
                    <a:lnTo>
                      <a:pt x="3641" y="5545"/>
                    </a:lnTo>
                    <a:lnTo>
                      <a:pt x="3558" y="5545"/>
                    </a:lnTo>
                    <a:lnTo>
                      <a:pt x="3621" y="5504"/>
                    </a:lnTo>
                    <a:lnTo>
                      <a:pt x="3662" y="5441"/>
                    </a:lnTo>
                    <a:lnTo>
                      <a:pt x="3725" y="5504"/>
                    </a:lnTo>
                    <a:lnTo>
                      <a:pt x="3788" y="5441"/>
                    </a:lnTo>
                    <a:lnTo>
                      <a:pt x="3851" y="5399"/>
                    </a:lnTo>
                    <a:lnTo>
                      <a:pt x="3788" y="5378"/>
                    </a:lnTo>
                    <a:lnTo>
                      <a:pt x="3830" y="5336"/>
                    </a:lnTo>
                    <a:lnTo>
                      <a:pt x="3725" y="5336"/>
                    </a:lnTo>
                    <a:lnTo>
                      <a:pt x="3767" y="5273"/>
                    </a:lnTo>
                    <a:lnTo>
                      <a:pt x="3830" y="5294"/>
                    </a:lnTo>
                    <a:lnTo>
                      <a:pt x="3851" y="5315"/>
                    </a:lnTo>
                    <a:lnTo>
                      <a:pt x="3893" y="5232"/>
                    </a:lnTo>
                    <a:lnTo>
                      <a:pt x="3976" y="5211"/>
                    </a:lnTo>
                    <a:lnTo>
                      <a:pt x="3976" y="5064"/>
                    </a:lnTo>
                    <a:lnTo>
                      <a:pt x="4060" y="4897"/>
                    </a:lnTo>
                    <a:lnTo>
                      <a:pt x="3997" y="4813"/>
                    </a:lnTo>
                    <a:lnTo>
                      <a:pt x="3976" y="4688"/>
                    </a:lnTo>
                    <a:lnTo>
                      <a:pt x="3767" y="4541"/>
                    </a:lnTo>
                    <a:lnTo>
                      <a:pt x="3349" y="4541"/>
                    </a:lnTo>
                    <a:lnTo>
                      <a:pt x="3328" y="4667"/>
                    </a:lnTo>
                    <a:lnTo>
                      <a:pt x="3307" y="4708"/>
                    </a:lnTo>
                    <a:lnTo>
                      <a:pt x="3202" y="4646"/>
                    </a:lnTo>
                    <a:lnTo>
                      <a:pt x="3097" y="4604"/>
                    </a:lnTo>
                    <a:lnTo>
                      <a:pt x="3265" y="4436"/>
                    </a:lnTo>
                    <a:lnTo>
                      <a:pt x="3265" y="4332"/>
                    </a:lnTo>
                    <a:lnTo>
                      <a:pt x="3139" y="4123"/>
                    </a:lnTo>
                    <a:lnTo>
                      <a:pt x="3097" y="4123"/>
                    </a:lnTo>
                    <a:lnTo>
                      <a:pt x="2951" y="4039"/>
                    </a:lnTo>
                    <a:lnTo>
                      <a:pt x="2909" y="3955"/>
                    </a:lnTo>
                    <a:lnTo>
                      <a:pt x="2846" y="3976"/>
                    </a:lnTo>
                    <a:lnTo>
                      <a:pt x="2825" y="3976"/>
                    </a:lnTo>
                    <a:lnTo>
                      <a:pt x="2742" y="3955"/>
                    </a:lnTo>
                    <a:lnTo>
                      <a:pt x="2825" y="3955"/>
                    </a:lnTo>
                    <a:lnTo>
                      <a:pt x="2930" y="3934"/>
                    </a:lnTo>
                    <a:lnTo>
                      <a:pt x="2993" y="3955"/>
                    </a:lnTo>
                    <a:lnTo>
                      <a:pt x="3014" y="4018"/>
                    </a:lnTo>
                    <a:lnTo>
                      <a:pt x="3139" y="4018"/>
                    </a:lnTo>
                    <a:lnTo>
                      <a:pt x="2993" y="3830"/>
                    </a:lnTo>
                    <a:lnTo>
                      <a:pt x="2909" y="3725"/>
                    </a:lnTo>
                    <a:lnTo>
                      <a:pt x="2951" y="3641"/>
                    </a:lnTo>
                    <a:lnTo>
                      <a:pt x="2993" y="3641"/>
                    </a:lnTo>
                    <a:lnTo>
                      <a:pt x="2909" y="3600"/>
                    </a:lnTo>
                    <a:lnTo>
                      <a:pt x="2888" y="3537"/>
                    </a:lnTo>
                    <a:lnTo>
                      <a:pt x="2846" y="3537"/>
                    </a:lnTo>
                    <a:lnTo>
                      <a:pt x="2784" y="3348"/>
                    </a:lnTo>
                    <a:lnTo>
                      <a:pt x="2616" y="3307"/>
                    </a:lnTo>
                    <a:lnTo>
                      <a:pt x="2428" y="3244"/>
                    </a:lnTo>
                    <a:lnTo>
                      <a:pt x="2428" y="3181"/>
                    </a:lnTo>
                    <a:lnTo>
                      <a:pt x="2386" y="3139"/>
                    </a:lnTo>
                    <a:lnTo>
                      <a:pt x="2323" y="2930"/>
                    </a:lnTo>
                    <a:lnTo>
                      <a:pt x="2260" y="2825"/>
                    </a:lnTo>
                    <a:lnTo>
                      <a:pt x="2198" y="2574"/>
                    </a:lnTo>
                    <a:lnTo>
                      <a:pt x="2156" y="2470"/>
                    </a:lnTo>
                    <a:lnTo>
                      <a:pt x="2093" y="2470"/>
                    </a:lnTo>
                    <a:lnTo>
                      <a:pt x="1947" y="2239"/>
                    </a:lnTo>
                    <a:lnTo>
                      <a:pt x="1842" y="2198"/>
                    </a:lnTo>
                    <a:lnTo>
                      <a:pt x="1758" y="2156"/>
                    </a:lnTo>
                    <a:lnTo>
                      <a:pt x="1654" y="2093"/>
                    </a:lnTo>
                    <a:lnTo>
                      <a:pt x="1591" y="2156"/>
                    </a:lnTo>
                    <a:lnTo>
                      <a:pt x="1486" y="2198"/>
                    </a:lnTo>
                    <a:lnTo>
                      <a:pt x="1361" y="2177"/>
                    </a:lnTo>
                    <a:lnTo>
                      <a:pt x="1277" y="2177"/>
                    </a:lnTo>
                    <a:lnTo>
                      <a:pt x="1172" y="2156"/>
                    </a:lnTo>
                    <a:lnTo>
                      <a:pt x="1152" y="2072"/>
                    </a:lnTo>
                    <a:lnTo>
                      <a:pt x="1152" y="2072"/>
                    </a:lnTo>
                    <a:lnTo>
                      <a:pt x="1214" y="2093"/>
                    </a:lnTo>
                    <a:lnTo>
                      <a:pt x="1340" y="2135"/>
                    </a:lnTo>
                    <a:lnTo>
                      <a:pt x="1465" y="2093"/>
                    </a:lnTo>
                    <a:lnTo>
                      <a:pt x="1486" y="1988"/>
                    </a:lnTo>
                    <a:lnTo>
                      <a:pt x="1591" y="1988"/>
                    </a:lnTo>
                    <a:lnTo>
                      <a:pt x="1696" y="1926"/>
                    </a:lnTo>
                    <a:lnTo>
                      <a:pt x="1591" y="1884"/>
                    </a:lnTo>
                    <a:lnTo>
                      <a:pt x="1591" y="1800"/>
                    </a:lnTo>
                    <a:lnTo>
                      <a:pt x="1549" y="1779"/>
                    </a:lnTo>
                    <a:lnTo>
                      <a:pt x="1424" y="1863"/>
                    </a:lnTo>
                    <a:lnTo>
                      <a:pt x="1382" y="1842"/>
                    </a:lnTo>
                    <a:lnTo>
                      <a:pt x="1486" y="1758"/>
                    </a:lnTo>
                    <a:lnTo>
                      <a:pt x="1633" y="1758"/>
                    </a:lnTo>
                    <a:lnTo>
                      <a:pt x="1696" y="1716"/>
                    </a:lnTo>
                    <a:lnTo>
                      <a:pt x="1696" y="1633"/>
                    </a:lnTo>
                    <a:lnTo>
                      <a:pt x="1758" y="1612"/>
                    </a:lnTo>
                    <a:lnTo>
                      <a:pt x="1842" y="1444"/>
                    </a:lnTo>
                    <a:lnTo>
                      <a:pt x="1884" y="1403"/>
                    </a:lnTo>
                    <a:lnTo>
                      <a:pt x="1884" y="1340"/>
                    </a:lnTo>
                    <a:lnTo>
                      <a:pt x="1947" y="1235"/>
                    </a:lnTo>
                    <a:lnTo>
                      <a:pt x="1905" y="1214"/>
                    </a:lnTo>
                    <a:lnTo>
                      <a:pt x="1968" y="1047"/>
                    </a:lnTo>
                    <a:lnTo>
                      <a:pt x="2072" y="984"/>
                    </a:lnTo>
                    <a:lnTo>
                      <a:pt x="2072" y="900"/>
                    </a:lnTo>
                    <a:lnTo>
                      <a:pt x="1905" y="754"/>
                    </a:lnTo>
                    <a:lnTo>
                      <a:pt x="1884" y="796"/>
                    </a:lnTo>
                    <a:lnTo>
                      <a:pt x="1675" y="796"/>
                    </a:lnTo>
                    <a:lnTo>
                      <a:pt x="1528" y="754"/>
                    </a:lnTo>
                    <a:lnTo>
                      <a:pt x="1486" y="817"/>
                    </a:lnTo>
                    <a:lnTo>
                      <a:pt x="1424" y="817"/>
                    </a:lnTo>
                    <a:lnTo>
                      <a:pt x="1340" y="754"/>
                    </a:lnTo>
                    <a:lnTo>
                      <a:pt x="1256" y="796"/>
                    </a:lnTo>
                    <a:lnTo>
                      <a:pt x="1256" y="817"/>
                    </a:lnTo>
                    <a:lnTo>
                      <a:pt x="1172" y="838"/>
                    </a:lnTo>
                    <a:lnTo>
                      <a:pt x="1068" y="900"/>
                    </a:lnTo>
                    <a:lnTo>
                      <a:pt x="1047" y="900"/>
                    </a:lnTo>
                    <a:lnTo>
                      <a:pt x="963" y="942"/>
                    </a:lnTo>
                    <a:lnTo>
                      <a:pt x="942" y="921"/>
                    </a:lnTo>
                    <a:lnTo>
                      <a:pt x="1047" y="817"/>
                    </a:lnTo>
                    <a:lnTo>
                      <a:pt x="1131" y="691"/>
                    </a:lnTo>
                    <a:lnTo>
                      <a:pt x="1131" y="691"/>
                    </a:lnTo>
                    <a:lnTo>
                      <a:pt x="1068" y="712"/>
                    </a:lnTo>
                    <a:lnTo>
                      <a:pt x="963" y="691"/>
                    </a:lnTo>
                    <a:lnTo>
                      <a:pt x="1026" y="670"/>
                    </a:lnTo>
                    <a:lnTo>
                      <a:pt x="1047" y="587"/>
                    </a:lnTo>
                    <a:lnTo>
                      <a:pt x="1277" y="419"/>
                    </a:lnTo>
                    <a:lnTo>
                      <a:pt x="1340" y="294"/>
                    </a:lnTo>
                    <a:lnTo>
                      <a:pt x="1424" y="273"/>
                    </a:lnTo>
                    <a:lnTo>
                      <a:pt x="1444" y="168"/>
                    </a:lnTo>
                    <a:lnTo>
                      <a:pt x="1424" y="147"/>
                    </a:lnTo>
                    <a:lnTo>
                      <a:pt x="1465" y="63"/>
                    </a:lnTo>
                    <a:lnTo>
                      <a:pt x="144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0" name="Google Shape;860;p34"/>
              <p:cNvSpPr/>
              <p:nvPr/>
            </p:nvSpPr>
            <p:spPr>
              <a:xfrm>
                <a:off x="3586375" y="2350350"/>
                <a:ext cx="31925" cy="25125"/>
              </a:xfrm>
              <a:custGeom>
                <a:avLst/>
                <a:gdLst/>
                <a:ahLst/>
                <a:cxnLst/>
                <a:rect l="l" t="t" r="r" b="b"/>
                <a:pathLst>
                  <a:path w="1277" h="1005" extrusionOk="0">
                    <a:moveTo>
                      <a:pt x="732" y="1"/>
                    </a:moveTo>
                    <a:lnTo>
                      <a:pt x="628" y="63"/>
                    </a:lnTo>
                    <a:lnTo>
                      <a:pt x="544" y="63"/>
                    </a:lnTo>
                    <a:lnTo>
                      <a:pt x="523" y="126"/>
                    </a:lnTo>
                    <a:lnTo>
                      <a:pt x="419" y="126"/>
                    </a:lnTo>
                    <a:lnTo>
                      <a:pt x="377" y="210"/>
                    </a:lnTo>
                    <a:lnTo>
                      <a:pt x="293" y="231"/>
                    </a:lnTo>
                    <a:lnTo>
                      <a:pt x="272" y="335"/>
                    </a:lnTo>
                    <a:lnTo>
                      <a:pt x="126" y="356"/>
                    </a:lnTo>
                    <a:lnTo>
                      <a:pt x="0" y="586"/>
                    </a:lnTo>
                    <a:lnTo>
                      <a:pt x="272" y="838"/>
                    </a:lnTo>
                    <a:lnTo>
                      <a:pt x="335" y="796"/>
                    </a:lnTo>
                    <a:lnTo>
                      <a:pt x="377" y="649"/>
                    </a:lnTo>
                    <a:lnTo>
                      <a:pt x="440" y="586"/>
                    </a:lnTo>
                    <a:lnTo>
                      <a:pt x="607" y="691"/>
                    </a:lnTo>
                    <a:lnTo>
                      <a:pt x="712" y="900"/>
                    </a:lnTo>
                    <a:lnTo>
                      <a:pt x="795" y="942"/>
                    </a:lnTo>
                    <a:lnTo>
                      <a:pt x="921" y="1005"/>
                    </a:lnTo>
                    <a:lnTo>
                      <a:pt x="942" y="1005"/>
                    </a:lnTo>
                    <a:lnTo>
                      <a:pt x="942" y="942"/>
                    </a:lnTo>
                    <a:lnTo>
                      <a:pt x="1004" y="942"/>
                    </a:lnTo>
                    <a:lnTo>
                      <a:pt x="1067" y="858"/>
                    </a:lnTo>
                    <a:lnTo>
                      <a:pt x="1067" y="775"/>
                    </a:lnTo>
                    <a:lnTo>
                      <a:pt x="1214" y="796"/>
                    </a:lnTo>
                    <a:lnTo>
                      <a:pt x="1235" y="691"/>
                    </a:lnTo>
                    <a:lnTo>
                      <a:pt x="1151" y="691"/>
                    </a:lnTo>
                    <a:lnTo>
                      <a:pt x="1172" y="586"/>
                    </a:lnTo>
                    <a:lnTo>
                      <a:pt x="1151" y="545"/>
                    </a:lnTo>
                    <a:lnTo>
                      <a:pt x="1214" y="524"/>
                    </a:lnTo>
                    <a:lnTo>
                      <a:pt x="1277" y="733"/>
                    </a:lnTo>
                    <a:lnTo>
                      <a:pt x="1235" y="461"/>
                    </a:lnTo>
                    <a:lnTo>
                      <a:pt x="1109" y="461"/>
                    </a:lnTo>
                    <a:lnTo>
                      <a:pt x="1172" y="419"/>
                    </a:lnTo>
                    <a:lnTo>
                      <a:pt x="1004" y="147"/>
                    </a:lnTo>
                    <a:lnTo>
                      <a:pt x="1004" y="42"/>
                    </a:lnTo>
                    <a:lnTo>
                      <a:pt x="921" y="21"/>
                    </a:lnTo>
                    <a:lnTo>
                      <a:pt x="73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1" name="Google Shape;861;p34"/>
            <p:cNvSpPr/>
            <p:nvPr/>
          </p:nvSpPr>
          <p:spPr>
            <a:xfrm>
              <a:off x="4037841" y="3224817"/>
              <a:ext cx="52333" cy="93527"/>
            </a:xfrm>
            <a:custGeom>
              <a:avLst/>
              <a:gdLst/>
              <a:ahLst/>
              <a:cxnLst/>
              <a:rect l="l" t="t" r="r" b="b"/>
              <a:pathLst>
                <a:path w="4395" h="8224" extrusionOk="0">
                  <a:moveTo>
                    <a:pt x="3914" y="1"/>
                  </a:moveTo>
                  <a:lnTo>
                    <a:pt x="3746" y="168"/>
                  </a:lnTo>
                  <a:lnTo>
                    <a:pt x="3809" y="252"/>
                  </a:lnTo>
                  <a:lnTo>
                    <a:pt x="3704" y="293"/>
                  </a:lnTo>
                  <a:lnTo>
                    <a:pt x="3600" y="252"/>
                  </a:lnTo>
                  <a:lnTo>
                    <a:pt x="3537" y="252"/>
                  </a:lnTo>
                  <a:lnTo>
                    <a:pt x="3621" y="377"/>
                  </a:lnTo>
                  <a:lnTo>
                    <a:pt x="3621" y="419"/>
                  </a:lnTo>
                  <a:lnTo>
                    <a:pt x="3704" y="503"/>
                  </a:lnTo>
                  <a:lnTo>
                    <a:pt x="3704" y="524"/>
                  </a:lnTo>
                  <a:lnTo>
                    <a:pt x="3600" y="670"/>
                  </a:lnTo>
                  <a:lnTo>
                    <a:pt x="3600" y="817"/>
                  </a:lnTo>
                  <a:lnTo>
                    <a:pt x="3516" y="921"/>
                  </a:lnTo>
                  <a:lnTo>
                    <a:pt x="3432" y="900"/>
                  </a:lnTo>
                  <a:lnTo>
                    <a:pt x="3328" y="1026"/>
                  </a:lnTo>
                  <a:lnTo>
                    <a:pt x="3328" y="1109"/>
                  </a:lnTo>
                  <a:lnTo>
                    <a:pt x="3244" y="1151"/>
                  </a:lnTo>
                  <a:lnTo>
                    <a:pt x="3181" y="1130"/>
                  </a:lnTo>
                  <a:lnTo>
                    <a:pt x="3181" y="1005"/>
                  </a:lnTo>
                  <a:lnTo>
                    <a:pt x="3118" y="984"/>
                  </a:lnTo>
                  <a:lnTo>
                    <a:pt x="3035" y="1047"/>
                  </a:lnTo>
                  <a:lnTo>
                    <a:pt x="3035" y="1193"/>
                  </a:lnTo>
                  <a:lnTo>
                    <a:pt x="3139" y="1298"/>
                  </a:lnTo>
                  <a:lnTo>
                    <a:pt x="3181" y="1340"/>
                  </a:lnTo>
                  <a:lnTo>
                    <a:pt x="3139" y="1402"/>
                  </a:lnTo>
                  <a:lnTo>
                    <a:pt x="3077" y="1361"/>
                  </a:lnTo>
                  <a:lnTo>
                    <a:pt x="2930" y="1402"/>
                  </a:lnTo>
                  <a:lnTo>
                    <a:pt x="2993" y="1507"/>
                  </a:lnTo>
                  <a:lnTo>
                    <a:pt x="3098" y="1549"/>
                  </a:lnTo>
                  <a:lnTo>
                    <a:pt x="3098" y="1612"/>
                  </a:lnTo>
                  <a:lnTo>
                    <a:pt x="3077" y="1674"/>
                  </a:lnTo>
                  <a:lnTo>
                    <a:pt x="2993" y="1612"/>
                  </a:lnTo>
                  <a:lnTo>
                    <a:pt x="2909" y="1633"/>
                  </a:lnTo>
                  <a:lnTo>
                    <a:pt x="2888" y="1716"/>
                  </a:lnTo>
                  <a:lnTo>
                    <a:pt x="2721" y="1842"/>
                  </a:lnTo>
                  <a:lnTo>
                    <a:pt x="2721" y="1716"/>
                  </a:lnTo>
                  <a:lnTo>
                    <a:pt x="2763" y="1674"/>
                  </a:lnTo>
                  <a:lnTo>
                    <a:pt x="2721" y="1612"/>
                  </a:lnTo>
                  <a:lnTo>
                    <a:pt x="2616" y="1716"/>
                  </a:lnTo>
                  <a:lnTo>
                    <a:pt x="2679" y="1758"/>
                  </a:lnTo>
                  <a:lnTo>
                    <a:pt x="2658" y="1821"/>
                  </a:lnTo>
                  <a:lnTo>
                    <a:pt x="2512" y="1884"/>
                  </a:lnTo>
                  <a:lnTo>
                    <a:pt x="2574" y="1988"/>
                  </a:lnTo>
                  <a:lnTo>
                    <a:pt x="2658" y="2030"/>
                  </a:lnTo>
                  <a:lnTo>
                    <a:pt x="2658" y="2072"/>
                  </a:lnTo>
                  <a:lnTo>
                    <a:pt x="2574" y="2093"/>
                  </a:lnTo>
                  <a:lnTo>
                    <a:pt x="2470" y="2156"/>
                  </a:lnTo>
                  <a:lnTo>
                    <a:pt x="2470" y="2072"/>
                  </a:lnTo>
                  <a:lnTo>
                    <a:pt x="2407" y="2072"/>
                  </a:lnTo>
                  <a:lnTo>
                    <a:pt x="2470" y="1967"/>
                  </a:lnTo>
                  <a:lnTo>
                    <a:pt x="2407" y="1946"/>
                  </a:lnTo>
                  <a:lnTo>
                    <a:pt x="2198" y="2135"/>
                  </a:lnTo>
                  <a:lnTo>
                    <a:pt x="2177" y="2281"/>
                  </a:lnTo>
                  <a:lnTo>
                    <a:pt x="2198" y="2365"/>
                  </a:lnTo>
                  <a:lnTo>
                    <a:pt x="2156" y="2407"/>
                  </a:lnTo>
                  <a:lnTo>
                    <a:pt x="2093" y="2386"/>
                  </a:lnTo>
                  <a:lnTo>
                    <a:pt x="2051" y="2365"/>
                  </a:lnTo>
                  <a:lnTo>
                    <a:pt x="2051" y="2197"/>
                  </a:lnTo>
                  <a:lnTo>
                    <a:pt x="1989" y="2197"/>
                  </a:lnTo>
                  <a:lnTo>
                    <a:pt x="1863" y="2344"/>
                  </a:lnTo>
                  <a:lnTo>
                    <a:pt x="1717" y="2239"/>
                  </a:lnTo>
                  <a:lnTo>
                    <a:pt x="1675" y="2281"/>
                  </a:lnTo>
                  <a:lnTo>
                    <a:pt x="1633" y="2281"/>
                  </a:lnTo>
                  <a:lnTo>
                    <a:pt x="1654" y="2449"/>
                  </a:lnTo>
                  <a:lnTo>
                    <a:pt x="1612" y="2449"/>
                  </a:lnTo>
                  <a:lnTo>
                    <a:pt x="1549" y="2469"/>
                  </a:lnTo>
                  <a:lnTo>
                    <a:pt x="1549" y="2365"/>
                  </a:lnTo>
                  <a:lnTo>
                    <a:pt x="1507" y="2344"/>
                  </a:lnTo>
                  <a:lnTo>
                    <a:pt x="1445" y="2449"/>
                  </a:lnTo>
                  <a:lnTo>
                    <a:pt x="1403" y="2344"/>
                  </a:lnTo>
                  <a:lnTo>
                    <a:pt x="1152" y="2553"/>
                  </a:lnTo>
                  <a:lnTo>
                    <a:pt x="1110" y="2553"/>
                  </a:lnTo>
                  <a:lnTo>
                    <a:pt x="1047" y="2511"/>
                  </a:lnTo>
                  <a:lnTo>
                    <a:pt x="921" y="2511"/>
                  </a:lnTo>
                  <a:lnTo>
                    <a:pt x="880" y="2595"/>
                  </a:lnTo>
                  <a:lnTo>
                    <a:pt x="901" y="2783"/>
                  </a:lnTo>
                  <a:lnTo>
                    <a:pt x="733" y="3034"/>
                  </a:lnTo>
                  <a:lnTo>
                    <a:pt x="733" y="3097"/>
                  </a:lnTo>
                  <a:lnTo>
                    <a:pt x="587" y="3244"/>
                  </a:lnTo>
                  <a:lnTo>
                    <a:pt x="587" y="3327"/>
                  </a:lnTo>
                  <a:lnTo>
                    <a:pt x="670" y="3411"/>
                  </a:lnTo>
                  <a:lnTo>
                    <a:pt x="587" y="3516"/>
                  </a:lnTo>
                  <a:lnTo>
                    <a:pt x="629" y="3704"/>
                  </a:lnTo>
                  <a:lnTo>
                    <a:pt x="629" y="3830"/>
                  </a:lnTo>
                  <a:lnTo>
                    <a:pt x="796" y="4143"/>
                  </a:lnTo>
                  <a:lnTo>
                    <a:pt x="796" y="4227"/>
                  </a:lnTo>
                  <a:lnTo>
                    <a:pt x="880" y="4332"/>
                  </a:lnTo>
                  <a:lnTo>
                    <a:pt x="880" y="4374"/>
                  </a:lnTo>
                  <a:lnTo>
                    <a:pt x="796" y="4457"/>
                  </a:lnTo>
                  <a:lnTo>
                    <a:pt x="817" y="4541"/>
                  </a:lnTo>
                  <a:lnTo>
                    <a:pt x="775" y="4792"/>
                  </a:lnTo>
                  <a:lnTo>
                    <a:pt x="670" y="4876"/>
                  </a:lnTo>
                  <a:lnTo>
                    <a:pt x="629" y="5022"/>
                  </a:lnTo>
                  <a:lnTo>
                    <a:pt x="566" y="5064"/>
                  </a:lnTo>
                  <a:lnTo>
                    <a:pt x="524" y="5127"/>
                  </a:lnTo>
                  <a:lnTo>
                    <a:pt x="419" y="5231"/>
                  </a:lnTo>
                  <a:lnTo>
                    <a:pt x="419" y="5441"/>
                  </a:lnTo>
                  <a:lnTo>
                    <a:pt x="357" y="5524"/>
                  </a:lnTo>
                  <a:lnTo>
                    <a:pt x="168" y="5545"/>
                  </a:lnTo>
                  <a:lnTo>
                    <a:pt x="147" y="5608"/>
                  </a:lnTo>
                  <a:lnTo>
                    <a:pt x="147" y="5796"/>
                  </a:lnTo>
                  <a:lnTo>
                    <a:pt x="43" y="5943"/>
                  </a:lnTo>
                  <a:lnTo>
                    <a:pt x="43" y="6068"/>
                  </a:lnTo>
                  <a:lnTo>
                    <a:pt x="1" y="6173"/>
                  </a:lnTo>
                  <a:lnTo>
                    <a:pt x="43" y="6236"/>
                  </a:lnTo>
                  <a:lnTo>
                    <a:pt x="43" y="6424"/>
                  </a:lnTo>
                  <a:lnTo>
                    <a:pt x="189" y="6591"/>
                  </a:lnTo>
                  <a:lnTo>
                    <a:pt x="168" y="6738"/>
                  </a:lnTo>
                  <a:lnTo>
                    <a:pt x="189" y="6843"/>
                  </a:lnTo>
                  <a:lnTo>
                    <a:pt x="273" y="6863"/>
                  </a:lnTo>
                  <a:lnTo>
                    <a:pt x="294" y="6863"/>
                  </a:lnTo>
                  <a:lnTo>
                    <a:pt x="273" y="6884"/>
                  </a:lnTo>
                  <a:lnTo>
                    <a:pt x="147" y="6905"/>
                  </a:lnTo>
                  <a:lnTo>
                    <a:pt x="147" y="7052"/>
                  </a:lnTo>
                  <a:lnTo>
                    <a:pt x="168" y="7219"/>
                  </a:lnTo>
                  <a:lnTo>
                    <a:pt x="147" y="7470"/>
                  </a:lnTo>
                  <a:lnTo>
                    <a:pt x="189" y="7512"/>
                  </a:lnTo>
                  <a:lnTo>
                    <a:pt x="189" y="7596"/>
                  </a:lnTo>
                  <a:lnTo>
                    <a:pt x="273" y="7638"/>
                  </a:lnTo>
                  <a:lnTo>
                    <a:pt x="357" y="7742"/>
                  </a:lnTo>
                  <a:lnTo>
                    <a:pt x="398" y="7784"/>
                  </a:lnTo>
                  <a:lnTo>
                    <a:pt x="461" y="7847"/>
                  </a:lnTo>
                  <a:lnTo>
                    <a:pt x="524" y="7951"/>
                  </a:lnTo>
                  <a:lnTo>
                    <a:pt x="608" y="7931"/>
                  </a:lnTo>
                  <a:lnTo>
                    <a:pt x="629" y="7951"/>
                  </a:lnTo>
                  <a:lnTo>
                    <a:pt x="733" y="7993"/>
                  </a:lnTo>
                  <a:lnTo>
                    <a:pt x="817" y="8119"/>
                  </a:lnTo>
                  <a:lnTo>
                    <a:pt x="901" y="8140"/>
                  </a:lnTo>
                  <a:lnTo>
                    <a:pt x="901" y="8161"/>
                  </a:lnTo>
                  <a:lnTo>
                    <a:pt x="921" y="8223"/>
                  </a:lnTo>
                  <a:lnTo>
                    <a:pt x="1005" y="8161"/>
                  </a:lnTo>
                  <a:lnTo>
                    <a:pt x="1131" y="8161"/>
                  </a:lnTo>
                  <a:lnTo>
                    <a:pt x="1256" y="8098"/>
                  </a:lnTo>
                  <a:lnTo>
                    <a:pt x="1361" y="7951"/>
                  </a:lnTo>
                  <a:lnTo>
                    <a:pt x="1737" y="7931"/>
                  </a:lnTo>
                  <a:lnTo>
                    <a:pt x="1842" y="7951"/>
                  </a:lnTo>
                  <a:lnTo>
                    <a:pt x="2030" y="7889"/>
                  </a:lnTo>
                  <a:lnTo>
                    <a:pt x="2093" y="7784"/>
                  </a:lnTo>
                  <a:lnTo>
                    <a:pt x="2177" y="7742"/>
                  </a:lnTo>
                  <a:lnTo>
                    <a:pt x="2240" y="7596"/>
                  </a:lnTo>
                  <a:lnTo>
                    <a:pt x="2344" y="7428"/>
                  </a:lnTo>
                  <a:lnTo>
                    <a:pt x="2344" y="7324"/>
                  </a:lnTo>
                  <a:lnTo>
                    <a:pt x="2449" y="7261"/>
                  </a:lnTo>
                  <a:lnTo>
                    <a:pt x="2449" y="7094"/>
                  </a:lnTo>
                  <a:lnTo>
                    <a:pt x="2407" y="7073"/>
                  </a:lnTo>
                  <a:lnTo>
                    <a:pt x="2491" y="6989"/>
                  </a:lnTo>
                  <a:lnTo>
                    <a:pt x="2554" y="6801"/>
                  </a:lnTo>
                  <a:lnTo>
                    <a:pt x="2512" y="6780"/>
                  </a:lnTo>
                  <a:lnTo>
                    <a:pt x="2574" y="6780"/>
                  </a:lnTo>
                  <a:lnTo>
                    <a:pt x="2679" y="6591"/>
                  </a:lnTo>
                  <a:lnTo>
                    <a:pt x="2763" y="6236"/>
                  </a:lnTo>
                  <a:lnTo>
                    <a:pt x="2805" y="6027"/>
                  </a:lnTo>
                  <a:lnTo>
                    <a:pt x="2909" y="5922"/>
                  </a:lnTo>
                  <a:lnTo>
                    <a:pt x="2972" y="5692"/>
                  </a:lnTo>
                  <a:lnTo>
                    <a:pt x="3118" y="5420"/>
                  </a:lnTo>
                  <a:lnTo>
                    <a:pt x="3286" y="4959"/>
                  </a:lnTo>
                  <a:lnTo>
                    <a:pt x="3390" y="4792"/>
                  </a:lnTo>
                  <a:lnTo>
                    <a:pt x="3390" y="4583"/>
                  </a:lnTo>
                  <a:lnTo>
                    <a:pt x="3495" y="4374"/>
                  </a:lnTo>
                  <a:lnTo>
                    <a:pt x="3516" y="4269"/>
                  </a:lnTo>
                  <a:lnTo>
                    <a:pt x="3642" y="4060"/>
                  </a:lnTo>
                  <a:lnTo>
                    <a:pt x="3704" y="3746"/>
                  </a:lnTo>
                  <a:lnTo>
                    <a:pt x="3746" y="3516"/>
                  </a:lnTo>
                  <a:lnTo>
                    <a:pt x="3809" y="3453"/>
                  </a:lnTo>
                  <a:lnTo>
                    <a:pt x="3830" y="3286"/>
                  </a:lnTo>
                  <a:lnTo>
                    <a:pt x="3809" y="3202"/>
                  </a:lnTo>
                  <a:lnTo>
                    <a:pt x="3830" y="3076"/>
                  </a:lnTo>
                  <a:lnTo>
                    <a:pt x="3934" y="2888"/>
                  </a:lnTo>
                  <a:lnTo>
                    <a:pt x="3934" y="2804"/>
                  </a:lnTo>
                  <a:lnTo>
                    <a:pt x="4018" y="2700"/>
                  </a:lnTo>
                  <a:lnTo>
                    <a:pt x="3976" y="2574"/>
                  </a:lnTo>
                  <a:lnTo>
                    <a:pt x="3934" y="2511"/>
                  </a:lnTo>
                  <a:lnTo>
                    <a:pt x="3976" y="2449"/>
                  </a:lnTo>
                  <a:lnTo>
                    <a:pt x="3976" y="2281"/>
                  </a:lnTo>
                  <a:lnTo>
                    <a:pt x="3934" y="2260"/>
                  </a:lnTo>
                  <a:lnTo>
                    <a:pt x="3934" y="2135"/>
                  </a:lnTo>
                  <a:lnTo>
                    <a:pt x="4018" y="2072"/>
                  </a:lnTo>
                  <a:lnTo>
                    <a:pt x="4060" y="2135"/>
                  </a:lnTo>
                  <a:lnTo>
                    <a:pt x="4081" y="2260"/>
                  </a:lnTo>
                  <a:lnTo>
                    <a:pt x="4186" y="2386"/>
                  </a:lnTo>
                  <a:lnTo>
                    <a:pt x="4269" y="2386"/>
                  </a:lnTo>
                  <a:lnTo>
                    <a:pt x="4290" y="2302"/>
                  </a:lnTo>
                  <a:lnTo>
                    <a:pt x="4332" y="2239"/>
                  </a:lnTo>
                  <a:lnTo>
                    <a:pt x="4353" y="2177"/>
                  </a:lnTo>
                  <a:lnTo>
                    <a:pt x="4353" y="2072"/>
                  </a:lnTo>
                  <a:lnTo>
                    <a:pt x="4395" y="2051"/>
                  </a:lnTo>
                  <a:lnTo>
                    <a:pt x="4374" y="1925"/>
                  </a:lnTo>
                  <a:lnTo>
                    <a:pt x="4269" y="1779"/>
                  </a:lnTo>
                  <a:lnTo>
                    <a:pt x="4248" y="1674"/>
                  </a:lnTo>
                  <a:lnTo>
                    <a:pt x="4269" y="1633"/>
                  </a:lnTo>
                  <a:lnTo>
                    <a:pt x="4269" y="1507"/>
                  </a:lnTo>
                  <a:lnTo>
                    <a:pt x="4248" y="1340"/>
                  </a:lnTo>
                  <a:lnTo>
                    <a:pt x="4269" y="1256"/>
                  </a:lnTo>
                  <a:lnTo>
                    <a:pt x="4269" y="984"/>
                  </a:lnTo>
                  <a:lnTo>
                    <a:pt x="4186" y="879"/>
                  </a:lnTo>
                  <a:lnTo>
                    <a:pt x="4186" y="607"/>
                  </a:lnTo>
                  <a:lnTo>
                    <a:pt x="4144" y="524"/>
                  </a:lnTo>
                  <a:lnTo>
                    <a:pt x="4081" y="524"/>
                  </a:lnTo>
                  <a:lnTo>
                    <a:pt x="3976" y="398"/>
                  </a:lnTo>
                  <a:lnTo>
                    <a:pt x="3976" y="293"/>
                  </a:lnTo>
                  <a:lnTo>
                    <a:pt x="3872" y="252"/>
                  </a:lnTo>
                  <a:lnTo>
                    <a:pt x="3934" y="147"/>
                  </a:lnTo>
                  <a:lnTo>
                    <a:pt x="39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62" name="Google Shape;862;p34"/>
            <p:cNvGrpSpPr/>
            <p:nvPr/>
          </p:nvGrpSpPr>
          <p:grpSpPr>
            <a:xfrm>
              <a:off x="4513224" y="3221724"/>
              <a:ext cx="274563" cy="280321"/>
              <a:chOff x="5298975" y="3412225"/>
              <a:chExt cx="576450" cy="616225"/>
            </a:xfrm>
          </p:grpSpPr>
          <p:sp>
            <p:nvSpPr>
              <p:cNvPr id="863" name="Google Shape;863;p34"/>
              <p:cNvSpPr/>
              <p:nvPr/>
            </p:nvSpPr>
            <p:spPr>
              <a:xfrm>
                <a:off x="5298975" y="3412225"/>
                <a:ext cx="576450" cy="515275"/>
              </a:xfrm>
              <a:custGeom>
                <a:avLst/>
                <a:gdLst/>
                <a:ahLst/>
                <a:cxnLst/>
                <a:rect l="l" t="t" r="r" b="b"/>
                <a:pathLst>
                  <a:path w="23058" h="20611" extrusionOk="0">
                    <a:moveTo>
                      <a:pt x="18015" y="1"/>
                    </a:moveTo>
                    <a:lnTo>
                      <a:pt x="17890" y="42"/>
                    </a:lnTo>
                    <a:lnTo>
                      <a:pt x="17806" y="147"/>
                    </a:lnTo>
                    <a:lnTo>
                      <a:pt x="17806" y="335"/>
                    </a:lnTo>
                    <a:lnTo>
                      <a:pt x="17764" y="524"/>
                    </a:lnTo>
                    <a:lnTo>
                      <a:pt x="17764" y="565"/>
                    </a:lnTo>
                    <a:lnTo>
                      <a:pt x="17722" y="670"/>
                    </a:lnTo>
                    <a:lnTo>
                      <a:pt x="17660" y="670"/>
                    </a:lnTo>
                    <a:lnTo>
                      <a:pt x="17597" y="858"/>
                    </a:lnTo>
                    <a:lnTo>
                      <a:pt x="17492" y="1005"/>
                    </a:lnTo>
                    <a:lnTo>
                      <a:pt x="17576" y="1089"/>
                    </a:lnTo>
                    <a:lnTo>
                      <a:pt x="17681" y="1172"/>
                    </a:lnTo>
                    <a:lnTo>
                      <a:pt x="17618" y="1214"/>
                    </a:lnTo>
                    <a:lnTo>
                      <a:pt x="17555" y="1193"/>
                    </a:lnTo>
                    <a:lnTo>
                      <a:pt x="17492" y="1319"/>
                    </a:lnTo>
                    <a:lnTo>
                      <a:pt x="17450" y="1423"/>
                    </a:lnTo>
                    <a:lnTo>
                      <a:pt x="17513" y="1570"/>
                    </a:lnTo>
                    <a:lnTo>
                      <a:pt x="17513" y="1674"/>
                    </a:lnTo>
                    <a:lnTo>
                      <a:pt x="17450" y="1633"/>
                    </a:lnTo>
                    <a:lnTo>
                      <a:pt x="17367" y="1674"/>
                    </a:lnTo>
                    <a:lnTo>
                      <a:pt x="17304" y="1946"/>
                    </a:lnTo>
                    <a:lnTo>
                      <a:pt x="17367" y="2156"/>
                    </a:lnTo>
                    <a:lnTo>
                      <a:pt x="17346" y="2365"/>
                    </a:lnTo>
                    <a:lnTo>
                      <a:pt x="17388" y="2511"/>
                    </a:lnTo>
                    <a:lnTo>
                      <a:pt x="17388" y="2679"/>
                    </a:lnTo>
                    <a:lnTo>
                      <a:pt x="17262" y="2783"/>
                    </a:lnTo>
                    <a:lnTo>
                      <a:pt x="17262" y="2867"/>
                    </a:lnTo>
                    <a:lnTo>
                      <a:pt x="17157" y="3097"/>
                    </a:lnTo>
                    <a:lnTo>
                      <a:pt x="17137" y="3411"/>
                    </a:lnTo>
                    <a:lnTo>
                      <a:pt x="17032" y="3558"/>
                    </a:lnTo>
                    <a:lnTo>
                      <a:pt x="17074" y="3662"/>
                    </a:lnTo>
                    <a:lnTo>
                      <a:pt x="16990" y="3830"/>
                    </a:lnTo>
                    <a:lnTo>
                      <a:pt x="16885" y="3934"/>
                    </a:lnTo>
                    <a:lnTo>
                      <a:pt x="16885" y="4143"/>
                    </a:lnTo>
                    <a:lnTo>
                      <a:pt x="16718" y="4290"/>
                    </a:lnTo>
                    <a:lnTo>
                      <a:pt x="16341" y="4436"/>
                    </a:lnTo>
                    <a:lnTo>
                      <a:pt x="16195" y="4332"/>
                    </a:lnTo>
                    <a:lnTo>
                      <a:pt x="16028" y="4311"/>
                    </a:lnTo>
                    <a:lnTo>
                      <a:pt x="15944" y="4227"/>
                    </a:lnTo>
                    <a:lnTo>
                      <a:pt x="15818" y="4102"/>
                    </a:lnTo>
                    <a:lnTo>
                      <a:pt x="15818" y="4039"/>
                    </a:lnTo>
                    <a:lnTo>
                      <a:pt x="15776" y="3997"/>
                    </a:lnTo>
                    <a:lnTo>
                      <a:pt x="15735" y="3871"/>
                    </a:lnTo>
                    <a:lnTo>
                      <a:pt x="15609" y="3830"/>
                    </a:lnTo>
                    <a:lnTo>
                      <a:pt x="15484" y="3788"/>
                    </a:lnTo>
                    <a:lnTo>
                      <a:pt x="15316" y="3788"/>
                    </a:lnTo>
                    <a:lnTo>
                      <a:pt x="15149" y="3683"/>
                    </a:lnTo>
                    <a:lnTo>
                      <a:pt x="15107" y="3578"/>
                    </a:lnTo>
                    <a:lnTo>
                      <a:pt x="14981" y="3411"/>
                    </a:lnTo>
                    <a:lnTo>
                      <a:pt x="14835" y="3390"/>
                    </a:lnTo>
                    <a:lnTo>
                      <a:pt x="14688" y="3306"/>
                    </a:lnTo>
                    <a:lnTo>
                      <a:pt x="14688" y="3244"/>
                    </a:lnTo>
                    <a:lnTo>
                      <a:pt x="14626" y="3244"/>
                    </a:lnTo>
                    <a:lnTo>
                      <a:pt x="14563" y="3181"/>
                    </a:lnTo>
                    <a:lnTo>
                      <a:pt x="14437" y="3181"/>
                    </a:lnTo>
                    <a:lnTo>
                      <a:pt x="14333" y="3160"/>
                    </a:lnTo>
                    <a:lnTo>
                      <a:pt x="14354" y="3097"/>
                    </a:lnTo>
                    <a:lnTo>
                      <a:pt x="14207" y="2993"/>
                    </a:lnTo>
                    <a:lnTo>
                      <a:pt x="14165" y="2867"/>
                    </a:lnTo>
                    <a:lnTo>
                      <a:pt x="14040" y="2721"/>
                    </a:lnTo>
                    <a:lnTo>
                      <a:pt x="13935" y="2721"/>
                    </a:lnTo>
                    <a:lnTo>
                      <a:pt x="13810" y="2553"/>
                    </a:lnTo>
                    <a:lnTo>
                      <a:pt x="13810" y="2428"/>
                    </a:lnTo>
                    <a:lnTo>
                      <a:pt x="13914" y="2239"/>
                    </a:lnTo>
                    <a:lnTo>
                      <a:pt x="13935" y="2114"/>
                    </a:lnTo>
                    <a:lnTo>
                      <a:pt x="14061" y="2030"/>
                    </a:lnTo>
                    <a:lnTo>
                      <a:pt x="14103" y="1884"/>
                    </a:lnTo>
                    <a:lnTo>
                      <a:pt x="14144" y="1779"/>
                    </a:lnTo>
                    <a:lnTo>
                      <a:pt x="14040" y="1821"/>
                    </a:lnTo>
                    <a:lnTo>
                      <a:pt x="13956" y="1674"/>
                    </a:lnTo>
                    <a:lnTo>
                      <a:pt x="14061" y="1591"/>
                    </a:lnTo>
                    <a:lnTo>
                      <a:pt x="14040" y="1486"/>
                    </a:lnTo>
                    <a:lnTo>
                      <a:pt x="14124" y="1486"/>
                    </a:lnTo>
                    <a:lnTo>
                      <a:pt x="14165" y="1465"/>
                    </a:lnTo>
                    <a:lnTo>
                      <a:pt x="14228" y="1486"/>
                    </a:lnTo>
                    <a:lnTo>
                      <a:pt x="14333" y="1507"/>
                    </a:lnTo>
                    <a:lnTo>
                      <a:pt x="14458" y="1465"/>
                    </a:lnTo>
                    <a:lnTo>
                      <a:pt x="14521" y="1319"/>
                    </a:lnTo>
                    <a:lnTo>
                      <a:pt x="14416" y="1256"/>
                    </a:lnTo>
                    <a:lnTo>
                      <a:pt x="14479" y="1172"/>
                    </a:lnTo>
                    <a:lnTo>
                      <a:pt x="14563" y="1193"/>
                    </a:lnTo>
                    <a:lnTo>
                      <a:pt x="14626" y="1005"/>
                    </a:lnTo>
                    <a:lnTo>
                      <a:pt x="14688" y="963"/>
                    </a:lnTo>
                    <a:lnTo>
                      <a:pt x="14772" y="858"/>
                    </a:lnTo>
                    <a:lnTo>
                      <a:pt x="14772" y="796"/>
                    </a:lnTo>
                    <a:lnTo>
                      <a:pt x="14668" y="754"/>
                    </a:lnTo>
                    <a:lnTo>
                      <a:pt x="14584" y="837"/>
                    </a:lnTo>
                    <a:lnTo>
                      <a:pt x="14521" y="796"/>
                    </a:lnTo>
                    <a:lnTo>
                      <a:pt x="14521" y="586"/>
                    </a:lnTo>
                    <a:lnTo>
                      <a:pt x="14416" y="649"/>
                    </a:lnTo>
                    <a:lnTo>
                      <a:pt x="14270" y="796"/>
                    </a:lnTo>
                    <a:lnTo>
                      <a:pt x="14333" y="837"/>
                    </a:lnTo>
                    <a:lnTo>
                      <a:pt x="14333" y="900"/>
                    </a:lnTo>
                    <a:lnTo>
                      <a:pt x="14249" y="963"/>
                    </a:lnTo>
                    <a:lnTo>
                      <a:pt x="14144" y="900"/>
                    </a:lnTo>
                    <a:lnTo>
                      <a:pt x="14124" y="837"/>
                    </a:lnTo>
                    <a:lnTo>
                      <a:pt x="14103" y="775"/>
                    </a:lnTo>
                    <a:lnTo>
                      <a:pt x="14040" y="858"/>
                    </a:lnTo>
                    <a:lnTo>
                      <a:pt x="13956" y="879"/>
                    </a:lnTo>
                    <a:lnTo>
                      <a:pt x="13956" y="796"/>
                    </a:lnTo>
                    <a:lnTo>
                      <a:pt x="14040" y="733"/>
                    </a:lnTo>
                    <a:lnTo>
                      <a:pt x="14061" y="670"/>
                    </a:lnTo>
                    <a:lnTo>
                      <a:pt x="13998" y="691"/>
                    </a:lnTo>
                    <a:lnTo>
                      <a:pt x="13914" y="775"/>
                    </a:lnTo>
                    <a:lnTo>
                      <a:pt x="13789" y="837"/>
                    </a:lnTo>
                    <a:lnTo>
                      <a:pt x="13789" y="858"/>
                    </a:lnTo>
                    <a:lnTo>
                      <a:pt x="13705" y="879"/>
                    </a:lnTo>
                    <a:lnTo>
                      <a:pt x="13684" y="837"/>
                    </a:lnTo>
                    <a:lnTo>
                      <a:pt x="13538" y="837"/>
                    </a:lnTo>
                    <a:lnTo>
                      <a:pt x="13538" y="775"/>
                    </a:lnTo>
                    <a:lnTo>
                      <a:pt x="13475" y="649"/>
                    </a:lnTo>
                    <a:lnTo>
                      <a:pt x="13412" y="649"/>
                    </a:lnTo>
                    <a:lnTo>
                      <a:pt x="13287" y="691"/>
                    </a:lnTo>
                    <a:lnTo>
                      <a:pt x="13182" y="670"/>
                    </a:lnTo>
                    <a:lnTo>
                      <a:pt x="13119" y="691"/>
                    </a:lnTo>
                    <a:lnTo>
                      <a:pt x="13077" y="628"/>
                    </a:lnTo>
                    <a:lnTo>
                      <a:pt x="13015" y="628"/>
                    </a:lnTo>
                    <a:lnTo>
                      <a:pt x="12973" y="482"/>
                    </a:lnTo>
                    <a:lnTo>
                      <a:pt x="12847" y="545"/>
                    </a:lnTo>
                    <a:lnTo>
                      <a:pt x="12701" y="524"/>
                    </a:lnTo>
                    <a:lnTo>
                      <a:pt x="12575" y="461"/>
                    </a:lnTo>
                    <a:lnTo>
                      <a:pt x="12575" y="377"/>
                    </a:lnTo>
                    <a:lnTo>
                      <a:pt x="12491" y="273"/>
                    </a:lnTo>
                    <a:lnTo>
                      <a:pt x="12450" y="273"/>
                    </a:lnTo>
                    <a:lnTo>
                      <a:pt x="12450" y="335"/>
                    </a:lnTo>
                    <a:lnTo>
                      <a:pt x="12282" y="377"/>
                    </a:lnTo>
                    <a:lnTo>
                      <a:pt x="12240" y="273"/>
                    </a:lnTo>
                    <a:lnTo>
                      <a:pt x="12136" y="252"/>
                    </a:lnTo>
                    <a:lnTo>
                      <a:pt x="11968" y="168"/>
                    </a:lnTo>
                    <a:lnTo>
                      <a:pt x="11968" y="210"/>
                    </a:lnTo>
                    <a:lnTo>
                      <a:pt x="11906" y="147"/>
                    </a:lnTo>
                    <a:lnTo>
                      <a:pt x="11801" y="231"/>
                    </a:lnTo>
                    <a:lnTo>
                      <a:pt x="11906" y="314"/>
                    </a:lnTo>
                    <a:lnTo>
                      <a:pt x="11864" y="335"/>
                    </a:lnTo>
                    <a:lnTo>
                      <a:pt x="11968" y="356"/>
                    </a:lnTo>
                    <a:lnTo>
                      <a:pt x="12073" y="335"/>
                    </a:lnTo>
                    <a:lnTo>
                      <a:pt x="12240" y="461"/>
                    </a:lnTo>
                    <a:lnTo>
                      <a:pt x="12240" y="545"/>
                    </a:lnTo>
                    <a:lnTo>
                      <a:pt x="12261" y="733"/>
                    </a:lnTo>
                    <a:lnTo>
                      <a:pt x="12136" y="733"/>
                    </a:lnTo>
                    <a:lnTo>
                      <a:pt x="12115" y="858"/>
                    </a:lnTo>
                    <a:lnTo>
                      <a:pt x="12052" y="775"/>
                    </a:lnTo>
                    <a:lnTo>
                      <a:pt x="11968" y="754"/>
                    </a:lnTo>
                    <a:lnTo>
                      <a:pt x="11864" y="837"/>
                    </a:lnTo>
                    <a:lnTo>
                      <a:pt x="11550" y="837"/>
                    </a:lnTo>
                    <a:lnTo>
                      <a:pt x="11424" y="733"/>
                    </a:lnTo>
                    <a:lnTo>
                      <a:pt x="11403" y="775"/>
                    </a:lnTo>
                    <a:lnTo>
                      <a:pt x="11278" y="837"/>
                    </a:lnTo>
                    <a:lnTo>
                      <a:pt x="11299" y="942"/>
                    </a:lnTo>
                    <a:lnTo>
                      <a:pt x="11194" y="900"/>
                    </a:lnTo>
                    <a:lnTo>
                      <a:pt x="11215" y="1068"/>
                    </a:lnTo>
                    <a:lnTo>
                      <a:pt x="11173" y="1005"/>
                    </a:lnTo>
                    <a:lnTo>
                      <a:pt x="11027" y="963"/>
                    </a:lnTo>
                    <a:lnTo>
                      <a:pt x="10985" y="1047"/>
                    </a:lnTo>
                    <a:lnTo>
                      <a:pt x="11027" y="1109"/>
                    </a:lnTo>
                    <a:lnTo>
                      <a:pt x="11027" y="1172"/>
                    </a:lnTo>
                    <a:lnTo>
                      <a:pt x="10880" y="1109"/>
                    </a:lnTo>
                    <a:lnTo>
                      <a:pt x="10818" y="1193"/>
                    </a:lnTo>
                    <a:lnTo>
                      <a:pt x="10880" y="1256"/>
                    </a:lnTo>
                    <a:lnTo>
                      <a:pt x="10797" y="1298"/>
                    </a:lnTo>
                    <a:lnTo>
                      <a:pt x="10713" y="1361"/>
                    </a:lnTo>
                    <a:lnTo>
                      <a:pt x="10713" y="1402"/>
                    </a:lnTo>
                    <a:lnTo>
                      <a:pt x="10797" y="1507"/>
                    </a:lnTo>
                    <a:lnTo>
                      <a:pt x="10818" y="1570"/>
                    </a:lnTo>
                    <a:lnTo>
                      <a:pt x="10818" y="1570"/>
                    </a:lnTo>
                    <a:lnTo>
                      <a:pt x="10713" y="1507"/>
                    </a:lnTo>
                    <a:lnTo>
                      <a:pt x="10650" y="1591"/>
                    </a:lnTo>
                    <a:lnTo>
                      <a:pt x="10546" y="1591"/>
                    </a:lnTo>
                    <a:lnTo>
                      <a:pt x="10462" y="1737"/>
                    </a:lnTo>
                    <a:lnTo>
                      <a:pt x="10357" y="1925"/>
                    </a:lnTo>
                    <a:lnTo>
                      <a:pt x="10274" y="1946"/>
                    </a:lnTo>
                    <a:lnTo>
                      <a:pt x="10253" y="2114"/>
                    </a:lnTo>
                    <a:lnTo>
                      <a:pt x="10148" y="2156"/>
                    </a:lnTo>
                    <a:lnTo>
                      <a:pt x="10232" y="2239"/>
                    </a:lnTo>
                    <a:lnTo>
                      <a:pt x="10441" y="2260"/>
                    </a:lnTo>
                    <a:lnTo>
                      <a:pt x="10357" y="2302"/>
                    </a:lnTo>
                    <a:lnTo>
                      <a:pt x="10294" y="2365"/>
                    </a:lnTo>
                    <a:lnTo>
                      <a:pt x="10546" y="2449"/>
                    </a:lnTo>
                    <a:lnTo>
                      <a:pt x="10462" y="2511"/>
                    </a:lnTo>
                    <a:lnTo>
                      <a:pt x="10294" y="2469"/>
                    </a:lnTo>
                    <a:lnTo>
                      <a:pt x="10253" y="2407"/>
                    </a:lnTo>
                    <a:lnTo>
                      <a:pt x="10253" y="2407"/>
                    </a:lnTo>
                    <a:lnTo>
                      <a:pt x="10274" y="2469"/>
                    </a:lnTo>
                    <a:lnTo>
                      <a:pt x="10357" y="2553"/>
                    </a:lnTo>
                    <a:lnTo>
                      <a:pt x="10357" y="2679"/>
                    </a:lnTo>
                    <a:lnTo>
                      <a:pt x="10462" y="2825"/>
                    </a:lnTo>
                    <a:lnTo>
                      <a:pt x="10294" y="2679"/>
                    </a:lnTo>
                    <a:lnTo>
                      <a:pt x="10232" y="2532"/>
                    </a:lnTo>
                    <a:lnTo>
                      <a:pt x="10127" y="2511"/>
                    </a:lnTo>
                    <a:lnTo>
                      <a:pt x="10085" y="2574"/>
                    </a:lnTo>
                    <a:lnTo>
                      <a:pt x="10064" y="2658"/>
                    </a:lnTo>
                    <a:lnTo>
                      <a:pt x="10043" y="2574"/>
                    </a:lnTo>
                    <a:lnTo>
                      <a:pt x="9813" y="2428"/>
                    </a:lnTo>
                    <a:lnTo>
                      <a:pt x="9625" y="2449"/>
                    </a:lnTo>
                    <a:lnTo>
                      <a:pt x="9667" y="2511"/>
                    </a:lnTo>
                    <a:lnTo>
                      <a:pt x="9625" y="2574"/>
                    </a:lnTo>
                    <a:lnTo>
                      <a:pt x="9562" y="2532"/>
                    </a:lnTo>
                    <a:lnTo>
                      <a:pt x="9520" y="2532"/>
                    </a:lnTo>
                    <a:lnTo>
                      <a:pt x="9458" y="2574"/>
                    </a:lnTo>
                    <a:lnTo>
                      <a:pt x="9541" y="2721"/>
                    </a:lnTo>
                    <a:lnTo>
                      <a:pt x="9520" y="2762"/>
                    </a:lnTo>
                    <a:lnTo>
                      <a:pt x="9499" y="2721"/>
                    </a:lnTo>
                    <a:lnTo>
                      <a:pt x="9437" y="2741"/>
                    </a:lnTo>
                    <a:lnTo>
                      <a:pt x="9437" y="2783"/>
                    </a:lnTo>
                    <a:lnTo>
                      <a:pt x="9332" y="2846"/>
                    </a:lnTo>
                    <a:lnTo>
                      <a:pt x="9186" y="2888"/>
                    </a:lnTo>
                    <a:lnTo>
                      <a:pt x="9311" y="2825"/>
                    </a:lnTo>
                    <a:lnTo>
                      <a:pt x="9395" y="2721"/>
                    </a:lnTo>
                    <a:lnTo>
                      <a:pt x="9395" y="2532"/>
                    </a:lnTo>
                    <a:lnTo>
                      <a:pt x="9458" y="2428"/>
                    </a:lnTo>
                    <a:lnTo>
                      <a:pt x="9416" y="2344"/>
                    </a:lnTo>
                    <a:lnTo>
                      <a:pt x="9311" y="2323"/>
                    </a:lnTo>
                    <a:lnTo>
                      <a:pt x="9144" y="2030"/>
                    </a:lnTo>
                    <a:lnTo>
                      <a:pt x="9081" y="1905"/>
                    </a:lnTo>
                    <a:lnTo>
                      <a:pt x="8893" y="1842"/>
                    </a:lnTo>
                    <a:lnTo>
                      <a:pt x="8788" y="1800"/>
                    </a:lnTo>
                    <a:lnTo>
                      <a:pt x="8725" y="1821"/>
                    </a:lnTo>
                    <a:lnTo>
                      <a:pt x="8788" y="1884"/>
                    </a:lnTo>
                    <a:lnTo>
                      <a:pt x="8704" y="1905"/>
                    </a:lnTo>
                    <a:lnTo>
                      <a:pt x="8621" y="2030"/>
                    </a:lnTo>
                    <a:lnTo>
                      <a:pt x="8558" y="2009"/>
                    </a:lnTo>
                    <a:lnTo>
                      <a:pt x="8579" y="1946"/>
                    </a:lnTo>
                    <a:lnTo>
                      <a:pt x="8474" y="1988"/>
                    </a:lnTo>
                    <a:lnTo>
                      <a:pt x="8453" y="2051"/>
                    </a:lnTo>
                    <a:lnTo>
                      <a:pt x="8370" y="1884"/>
                    </a:lnTo>
                    <a:lnTo>
                      <a:pt x="8307" y="1884"/>
                    </a:lnTo>
                    <a:lnTo>
                      <a:pt x="8286" y="1946"/>
                    </a:lnTo>
                    <a:lnTo>
                      <a:pt x="8370" y="2009"/>
                    </a:lnTo>
                    <a:lnTo>
                      <a:pt x="8265" y="2093"/>
                    </a:lnTo>
                    <a:lnTo>
                      <a:pt x="8202" y="2218"/>
                    </a:lnTo>
                    <a:lnTo>
                      <a:pt x="8265" y="2260"/>
                    </a:lnTo>
                    <a:lnTo>
                      <a:pt x="8139" y="2344"/>
                    </a:lnTo>
                    <a:lnTo>
                      <a:pt x="8077" y="2260"/>
                    </a:lnTo>
                    <a:lnTo>
                      <a:pt x="8035" y="2260"/>
                    </a:lnTo>
                    <a:lnTo>
                      <a:pt x="7993" y="2197"/>
                    </a:lnTo>
                    <a:lnTo>
                      <a:pt x="8077" y="2114"/>
                    </a:lnTo>
                    <a:lnTo>
                      <a:pt x="7993" y="2114"/>
                    </a:lnTo>
                    <a:lnTo>
                      <a:pt x="7951" y="2239"/>
                    </a:lnTo>
                    <a:lnTo>
                      <a:pt x="7846" y="2260"/>
                    </a:lnTo>
                    <a:lnTo>
                      <a:pt x="7784" y="2323"/>
                    </a:lnTo>
                    <a:lnTo>
                      <a:pt x="7763" y="2449"/>
                    </a:lnTo>
                    <a:lnTo>
                      <a:pt x="7951" y="2511"/>
                    </a:lnTo>
                    <a:lnTo>
                      <a:pt x="7784" y="2637"/>
                    </a:lnTo>
                    <a:lnTo>
                      <a:pt x="7679" y="2574"/>
                    </a:lnTo>
                    <a:lnTo>
                      <a:pt x="7533" y="2658"/>
                    </a:lnTo>
                    <a:lnTo>
                      <a:pt x="7554" y="2741"/>
                    </a:lnTo>
                    <a:lnTo>
                      <a:pt x="7742" y="2762"/>
                    </a:lnTo>
                    <a:lnTo>
                      <a:pt x="7658" y="2846"/>
                    </a:lnTo>
                    <a:lnTo>
                      <a:pt x="7574" y="2867"/>
                    </a:lnTo>
                    <a:lnTo>
                      <a:pt x="7470" y="2741"/>
                    </a:lnTo>
                    <a:lnTo>
                      <a:pt x="7365" y="2846"/>
                    </a:lnTo>
                    <a:lnTo>
                      <a:pt x="7261" y="2867"/>
                    </a:lnTo>
                    <a:lnTo>
                      <a:pt x="7302" y="2951"/>
                    </a:lnTo>
                    <a:lnTo>
                      <a:pt x="7323" y="3034"/>
                    </a:lnTo>
                    <a:lnTo>
                      <a:pt x="7323" y="3097"/>
                    </a:lnTo>
                    <a:lnTo>
                      <a:pt x="7407" y="3076"/>
                    </a:lnTo>
                    <a:lnTo>
                      <a:pt x="7323" y="3181"/>
                    </a:lnTo>
                    <a:lnTo>
                      <a:pt x="7365" y="3286"/>
                    </a:lnTo>
                    <a:lnTo>
                      <a:pt x="7261" y="3306"/>
                    </a:lnTo>
                    <a:lnTo>
                      <a:pt x="7219" y="3390"/>
                    </a:lnTo>
                    <a:lnTo>
                      <a:pt x="7407" y="3453"/>
                    </a:lnTo>
                    <a:lnTo>
                      <a:pt x="7302" y="3495"/>
                    </a:lnTo>
                    <a:lnTo>
                      <a:pt x="7261" y="3558"/>
                    </a:lnTo>
                    <a:lnTo>
                      <a:pt x="7135" y="3516"/>
                    </a:lnTo>
                    <a:lnTo>
                      <a:pt x="7093" y="3453"/>
                    </a:lnTo>
                    <a:lnTo>
                      <a:pt x="7009" y="3390"/>
                    </a:lnTo>
                    <a:lnTo>
                      <a:pt x="6905" y="3474"/>
                    </a:lnTo>
                    <a:lnTo>
                      <a:pt x="6884" y="3369"/>
                    </a:lnTo>
                    <a:lnTo>
                      <a:pt x="6779" y="3306"/>
                    </a:lnTo>
                    <a:lnTo>
                      <a:pt x="6696" y="3369"/>
                    </a:lnTo>
                    <a:lnTo>
                      <a:pt x="6821" y="3474"/>
                    </a:lnTo>
                    <a:lnTo>
                      <a:pt x="6779" y="3495"/>
                    </a:lnTo>
                    <a:lnTo>
                      <a:pt x="6717" y="3599"/>
                    </a:lnTo>
                    <a:lnTo>
                      <a:pt x="6821" y="3704"/>
                    </a:lnTo>
                    <a:lnTo>
                      <a:pt x="6947" y="3704"/>
                    </a:lnTo>
                    <a:lnTo>
                      <a:pt x="6905" y="3809"/>
                    </a:lnTo>
                    <a:lnTo>
                      <a:pt x="6905" y="3913"/>
                    </a:lnTo>
                    <a:lnTo>
                      <a:pt x="6842" y="3871"/>
                    </a:lnTo>
                    <a:lnTo>
                      <a:pt x="6779" y="3871"/>
                    </a:lnTo>
                    <a:lnTo>
                      <a:pt x="6800" y="3997"/>
                    </a:lnTo>
                    <a:lnTo>
                      <a:pt x="6737" y="4122"/>
                    </a:lnTo>
                    <a:lnTo>
                      <a:pt x="6737" y="4248"/>
                    </a:lnTo>
                    <a:lnTo>
                      <a:pt x="6570" y="3871"/>
                    </a:lnTo>
                    <a:lnTo>
                      <a:pt x="6424" y="3620"/>
                    </a:lnTo>
                    <a:lnTo>
                      <a:pt x="6382" y="3558"/>
                    </a:lnTo>
                    <a:lnTo>
                      <a:pt x="6403" y="3390"/>
                    </a:lnTo>
                    <a:lnTo>
                      <a:pt x="6361" y="3474"/>
                    </a:lnTo>
                    <a:lnTo>
                      <a:pt x="6214" y="3558"/>
                    </a:lnTo>
                    <a:lnTo>
                      <a:pt x="6193" y="3704"/>
                    </a:lnTo>
                    <a:lnTo>
                      <a:pt x="6110" y="3725"/>
                    </a:lnTo>
                    <a:lnTo>
                      <a:pt x="6089" y="3809"/>
                    </a:lnTo>
                    <a:lnTo>
                      <a:pt x="5984" y="3788"/>
                    </a:lnTo>
                    <a:lnTo>
                      <a:pt x="5901" y="3892"/>
                    </a:lnTo>
                    <a:lnTo>
                      <a:pt x="5838" y="3976"/>
                    </a:lnTo>
                    <a:lnTo>
                      <a:pt x="5859" y="4102"/>
                    </a:lnTo>
                    <a:lnTo>
                      <a:pt x="5859" y="4415"/>
                    </a:lnTo>
                    <a:lnTo>
                      <a:pt x="5901" y="4436"/>
                    </a:lnTo>
                    <a:lnTo>
                      <a:pt x="5901" y="4541"/>
                    </a:lnTo>
                    <a:lnTo>
                      <a:pt x="5796" y="4604"/>
                    </a:lnTo>
                    <a:lnTo>
                      <a:pt x="5733" y="4708"/>
                    </a:lnTo>
                    <a:lnTo>
                      <a:pt x="5566" y="4750"/>
                    </a:lnTo>
                    <a:lnTo>
                      <a:pt x="5587" y="4834"/>
                    </a:lnTo>
                    <a:lnTo>
                      <a:pt x="5461" y="4918"/>
                    </a:lnTo>
                    <a:lnTo>
                      <a:pt x="5461" y="5064"/>
                    </a:lnTo>
                    <a:lnTo>
                      <a:pt x="5377" y="5127"/>
                    </a:lnTo>
                    <a:lnTo>
                      <a:pt x="5210" y="5378"/>
                    </a:lnTo>
                    <a:lnTo>
                      <a:pt x="4854" y="5587"/>
                    </a:lnTo>
                    <a:lnTo>
                      <a:pt x="4561" y="5608"/>
                    </a:lnTo>
                    <a:lnTo>
                      <a:pt x="4436" y="5650"/>
                    </a:lnTo>
                    <a:lnTo>
                      <a:pt x="4268" y="5671"/>
                    </a:lnTo>
                    <a:lnTo>
                      <a:pt x="4122" y="5692"/>
                    </a:lnTo>
                    <a:lnTo>
                      <a:pt x="3996" y="5671"/>
                    </a:lnTo>
                    <a:lnTo>
                      <a:pt x="3808" y="5754"/>
                    </a:lnTo>
                    <a:lnTo>
                      <a:pt x="3787" y="5859"/>
                    </a:lnTo>
                    <a:lnTo>
                      <a:pt x="3683" y="5901"/>
                    </a:lnTo>
                    <a:lnTo>
                      <a:pt x="3285" y="5880"/>
                    </a:lnTo>
                    <a:lnTo>
                      <a:pt x="3222" y="5922"/>
                    </a:lnTo>
                    <a:lnTo>
                      <a:pt x="3160" y="6027"/>
                    </a:lnTo>
                    <a:lnTo>
                      <a:pt x="2929" y="6131"/>
                    </a:lnTo>
                    <a:lnTo>
                      <a:pt x="2762" y="6131"/>
                    </a:lnTo>
                    <a:lnTo>
                      <a:pt x="2657" y="6089"/>
                    </a:lnTo>
                    <a:lnTo>
                      <a:pt x="2553" y="6110"/>
                    </a:lnTo>
                    <a:lnTo>
                      <a:pt x="2532" y="6027"/>
                    </a:lnTo>
                    <a:lnTo>
                      <a:pt x="2427" y="6089"/>
                    </a:lnTo>
                    <a:lnTo>
                      <a:pt x="2344" y="6215"/>
                    </a:lnTo>
                    <a:lnTo>
                      <a:pt x="2113" y="6278"/>
                    </a:lnTo>
                    <a:lnTo>
                      <a:pt x="2092" y="6319"/>
                    </a:lnTo>
                    <a:lnTo>
                      <a:pt x="2009" y="6319"/>
                    </a:lnTo>
                    <a:lnTo>
                      <a:pt x="1820" y="6487"/>
                    </a:lnTo>
                    <a:lnTo>
                      <a:pt x="1569" y="6612"/>
                    </a:lnTo>
                    <a:lnTo>
                      <a:pt x="1255" y="6717"/>
                    </a:lnTo>
                    <a:lnTo>
                      <a:pt x="1088" y="6905"/>
                    </a:lnTo>
                    <a:lnTo>
                      <a:pt x="1088" y="7115"/>
                    </a:lnTo>
                    <a:lnTo>
                      <a:pt x="963" y="7219"/>
                    </a:lnTo>
                    <a:lnTo>
                      <a:pt x="879" y="7156"/>
                    </a:lnTo>
                    <a:lnTo>
                      <a:pt x="900" y="7073"/>
                    </a:lnTo>
                    <a:lnTo>
                      <a:pt x="900" y="7010"/>
                    </a:lnTo>
                    <a:lnTo>
                      <a:pt x="963" y="6843"/>
                    </a:lnTo>
                    <a:lnTo>
                      <a:pt x="963" y="6738"/>
                    </a:lnTo>
                    <a:lnTo>
                      <a:pt x="774" y="6863"/>
                    </a:lnTo>
                    <a:lnTo>
                      <a:pt x="732" y="7052"/>
                    </a:lnTo>
                    <a:lnTo>
                      <a:pt x="607" y="7282"/>
                    </a:lnTo>
                    <a:lnTo>
                      <a:pt x="711" y="7470"/>
                    </a:lnTo>
                    <a:lnTo>
                      <a:pt x="628" y="7638"/>
                    </a:lnTo>
                    <a:lnTo>
                      <a:pt x="649" y="7889"/>
                    </a:lnTo>
                    <a:lnTo>
                      <a:pt x="419" y="8161"/>
                    </a:lnTo>
                    <a:lnTo>
                      <a:pt x="335" y="8537"/>
                    </a:lnTo>
                    <a:lnTo>
                      <a:pt x="377" y="8726"/>
                    </a:lnTo>
                    <a:lnTo>
                      <a:pt x="356" y="9019"/>
                    </a:lnTo>
                    <a:lnTo>
                      <a:pt x="565" y="9353"/>
                    </a:lnTo>
                    <a:lnTo>
                      <a:pt x="565" y="9479"/>
                    </a:lnTo>
                    <a:lnTo>
                      <a:pt x="649" y="9584"/>
                    </a:lnTo>
                    <a:lnTo>
                      <a:pt x="565" y="9751"/>
                    </a:lnTo>
                    <a:lnTo>
                      <a:pt x="628" y="9897"/>
                    </a:lnTo>
                    <a:lnTo>
                      <a:pt x="502" y="9960"/>
                    </a:lnTo>
                    <a:lnTo>
                      <a:pt x="439" y="9856"/>
                    </a:lnTo>
                    <a:lnTo>
                      <a:pt x="439" y="9667"/>
                    </a:lnTo>
                    <a:lnTo>
                      <a:pt x="356" y="9772"/>
                    </a:lnTo>
                    <a:lnTo>
                      <a:pt x="335" y="9730"/>
                    </a:lnTo>
                    <a:lnTo>
                      <a:pt x="335" y="9542"/>
                    </a:lnTo>
                    <a:lnTo>
                      <a:pt x="230" y="9312"/>
                    </a:lnTo>
                    <a:lnTo>
                      <a:pt x="147" y="9416"/>
                    </a:lnTo>
                    <a:lnTo>
                      <a:pt x="188" y="9667"/>
                    </a:lnTo>
                    <a:lnTo>
                      <a:pt x="335" y="9835"/>
                    </a:lnTo>
                    <a:lnTo>
                      <a:pt x="439" y="10023"/>
                    </a:lnTo>
                    <a:lnTo>
                      <a:pt x="293" y="10065"/>
                    </a:lnTo>
                    <a:lnTo>
                      <a:pt x="147" y="9897"/>
                    </a:lnTo>
                    <a:lnTo>
                      <a:pt x="126" y="9688"/>
                    </a:lnTo>
                    <a:lnTo>
                      <a:pt x="84" y="9772"/>
                    </a:lnTo>
                    <a:lnTo>
                      <a:pt x="0" y="9835"/>
                    </a:lnTo>
                    <a:lnTo>
                      <a:pt x="105" y="10002"/>
                    </a:lnTo>
                    <a:lnTo>
                      <a:pt x="314" y="10253"/>
                    </a:lnTo>
                    <a:lnTo>
                      <a:pt x="419" y="10588"/>
                    </a:lnTo>
                    <a:lnTo>
                      <a:pt x="377" y="11153"/>
                    </a:lnTo>
                    <a:lnTo>
                      <a:pt x="460" y="11257"/>
                    </a:lnTo>
                    <a:lnTo>
                      <a:pt x="544" y="11592"/>
                    </a:lnTo>
                    <a:lnTo>
                      <a:pt x="711" y="12032"/>
                    </a:lnTo>
                    <a:lnTo>
                      <a:pt x="649" y="12178"/>
                    </a:lnTo>
                    <a:lnTo>
                      <a:pt x="670" y="12827"/>
                    </a:lnTo>
                    <a:lnTo>
                      <a:pt x="649" y="12910"/>
                    </a:lnTo>
                    <a:lnTo>
                      <a:pt x="711" y="13099"/>
                    </a:lnTo>
                    <a:lnTo>
                      <a:pt x="711" y="13308"/>
                    </a:lnTo>
                    <a:lnTo>
                      <a:pt x="837" y="13559"/>
                    </a:lnTo>
                    <a:lnTo>
                      <a:pt x="837" y="13726"/>
                    </a:lnTo>
                    <a:lnTo>
                      <a:pt x="732" y="13810"/>
                    </a:lnTo>
                    <a:lnTo>
                      <a:pt x="774" y="13852"/>
                    </a:lnTo>
                    <a:lnTo>
                      <a:pt x="732" y="14019"/>
                    </a:lnTo>
                    <a:lnTo>
                      <a:pt x="711" y="14270"/>
                    </a:lnTo>
                    <a:lnTo>
                      <a:pt x="628" y="14354"/>
                    </a:lnTo>
                    <a:lnTo>
                      <a:pt x="649" y="14438"/>
                    </a:lnTo>
                    <a:lnTo>
                      <a:pt x="628" y="14584"/>
                    </a:lnTo>
                    <a:lnTo>
                      <a:pt x="523" y="14668"/>
                    </a:lnTo>
                    <a:lnTo>
                      <a:pt x="544" y="14793"/>
                    </a:lnTo>
                    <a:lnTo>
                      <a:pt x="335" y="14961"/>
                    </a:lnTo>
                    <a:lnTo>
                      <a:pt x="251" y="14877"/>
                    </a:lnTo>
                    <a:lnTo>
                      <a:pt x="126" y="15086"/>
                    </a:lnTo>
                    <a:lnTo>
                      <a:pt x="126" y="15442"/>
                    </a:lnTo>
                    <a:lnTo>
                      <a:pt x="209" y="15526"/>
                    </a:lnTo>
                    <a:lnTo>
                      <a:pt x="293" y="15526"/>
                    </a:lnTo>
                    <a:lnTo>
                      <a:pt x="544" y="15756"/>
                    </a:lnTo>
                    <a:lnTo>
                      <a:pt x="544" y="15861"/>
                    </a:lnTo>
                    <a:lnTo>
                      <a:pt x="565" y="15923"/>
                    </a:lnTo>
                    <a:lnTo>
                      <a:pt x="711" y="15944"/>
                    </a:lnTo>
                    <a:lnTo>
                      <a:pt x="753" y="16007"/>
                    </a:lnTo>
                    <a:lnTo>
                      <a:pt x="942" y="16028"/>
                    </a:lnTo>
                    <a:lnTo>
                      <a:pt x="983" y="16028"/>
                    </a:lnTo>
                    <a:lnTo>
                      <a:pt x="1025" y="16070"/>
                    </a:lnTo>
                    <a:lnTo>
                      <a:pt x="1151" y="16070"/>
                    </a:lnTo>
                    <a:lnTo>
                      <a:pt x="1297" y="16049"/>
                    </a:lnTo>
                    <a:lnTo>
                      <a:pt x="1339" y="16133"/>
                    </a:lnTo>
                    <a:lnTo>
                      <a:pt x="1402" y="16070"/>
                    </a:lnTo>
                    <a:lnTo>
                      <a:pt x="1423" y="16112"/>
                    </a:lnTo>
                    <a:lnTo>
                      <a:pt x="1611" y="16070"/>
                    </a:lnTo>
                    <a:lnTo>
                      <a:pt x="1758" y="16070"/>
                    </a:lnTo>
                    <a:lnTo>
                      <a:pt x="1779" y="16007"/>
                    </a:lnTo>
                    <a:lnTo>
                      <a:pt x="1862" y="15965"/>
                    </a:lnTo>
                    <a:lnTo>
                      <a:pt x="1946" y="15840"/>
                    </a:lnTo>
                    <a:lnTo>
                      <a:pt x="2113" y="15861"/>
                    </a:lnTo>
                    <a:lnTo>
                      <a:pt x="2113" y="15756"/>
                    </a:lnTo>
                    <a:lnTo>
                      <a:pt x="2218" y="15693"/>
                    </a:lnTo>
                    <a:lnTo>
                      <a:pt x="2323" y="15693"/>
                    </a:lnTo>
                    <a:lnTo>
                      <a:pt x="2406" y="15777"/>
                    </a:lnTo>
                    <a:lnTo>
                      <a:pt x="2511" y="15651"/>
                    </a:lnTo>
                    <a:lnTo>
                      <a:pt x="2532" y="15693"/>
                    </a:lnTo>
                    <a:lnTo>
                      <a:pt x="2616" y="15651"/>
                    </a:lnTo>
                    <a:lnTo>
                      <a:pt x="2636" y="15526"/>
                    </a:lnTo>
                    <a:lnTo>
                      <a:pt x="2950" y="15317"/>
                    </a:lnTo>
                    <a:lnTo>
                      <a:pt x="3076" y="15338"/>
                    </a:lnTo>
                    <a:lnTo>
                      <a:pt x="3160" y="15379"/>
                    </a:lnTo>
                    <a:lnTo>
                      <a:pt x="3264" y="15317"/>
                    </a:lnTo>
                    <a:lnTo>
                      <a:pt x="3557" y="15233"/>
                    </a:lnTo>
                    <a:lnTo>
                      <a:pt x="3599" y="15317"/>
                    </a:lnTo>
                    <a:lnTo>
                      <a:pt x="3787" y="15254"/>
                    </a:lnTo>
                    <a:lnTo>
                      <a:pt x="3850" y="15296"/>
                    </a:lnTo>
                    <a:lnTo>
                      <a:pt x="3955" y="15317"/>
                    </a:lnTo>
                    <a:lnTo>
                      <a:pt x="4038" y="15254"/>
                    </a:lnTo>
                    <a:lnTo>
                      <a:pt x="4101" y="15400"/>
                    </a:lnTo>
                    <a:lnTo>
                      <a:pt x="4185" y="15400"/>
                    </a:lnTo>
                    <a:lnTo>
                      <a:pt x="4268" y="15338"/>
                    </a:lnTo>
                    <a:lnTo>
                      <a:pt x="4310" y="15400"/>
                    </a:lnTo>
                    <a:lnTo>
                      <a:pt x="4415" y="15338"/>
                    </a:lnTo>
                    <a:lnTo>
                      <a:pt x="4624" y="15338"/>
                    </a:lnTo>
                    <a:lnTo>
                      <a:pt x="4624" y="15442"/>
                    </a:lnTo>
                    <a:lnTo>
                      <a:pt x="4645" y="15442"/>
                    </a:lnTo>
                    <a:lnTo>
                      <a:pt x="4792" y="15338"/>
                    </a:lnTo>
                    <a:lnTo>
                      <a:pt x="4917" y="15379"/>
                    </a:lnTo>
                    <a:lnTo>
                      <a:pt x="5064" y="15254"/>
                    </a:lnTo>
                    <a:lnTo>
                      <a:pt x="5126" y="15128"/>
                    </a:lnTo>
                    <a:lnTo>
                      <a:pt x="5168" y="15107"/>
                    </a:lnTo>
                    <a:lnTo>
                      <a:pt x="5315" y="14982"/>
                    </a:lnTo>
                    <a:lnTo>
                      <a:pt x="5377" y="14773"/>
                    </a:lnTo>
                    <a:lnTo>
                      <a:pt x="5524" y="14668"/>
                    </a:lnTo>
                    <a:lnTo>
                      <a:pt x="5670" y="14647"/>
                    </a:lnTo>
                    <a:lnTo>
                      <a:pt x="5754" y="14668"/>
                    </a:lnTo>
                    <a:lnTo>
                      <a:pt x="5984" y="14584"/>
                    </a:lnTo>
                    <a:lnTo>
                      <a:pt x="6277" y="14396"/>
                    </a:lnTo>
                    <a:lnTo>
                      <a:pt x="6486" y="14208"/>
                    </a:lnTo>
                    <a:lnTo>
                      <a:pt x="6570" y="14187"/>
                    </a:lnTo>
                    <a:lnTo>
                      <a:pt x="6737" y="14187"/>
                    </a:lnTo>
                    <a:lnTo>
                      <a:pt x="6905" y="14249"/>
                    </a:lnTo>
                    <a:lnTo>
                      <a:pt x="7051" y="14270"/>
                    </a:lnTo>
                    <a:lnTo>
                      <a:pt x="7198" y="14208"/>
                    </a:lnTo>
                    <a:lnTo>
                      <a:pt x="7407" y="14249"/>
                    </a:lnTo>
                    <a:lnTo>
                      <a:pt x="7742" y="14145"/>
                    </a:lnTo>
                    <a:lnTo>
                      <a:pt x="7930" y="14082"/>
                    </a:lnTo>
                    <a:lnTo>
                      <a:pt x="8056" y="13977"/>
                    </a:lnTo>
                    <a:lnTo>
                      <a:pt x="8139" y="13977"/>
                    </a:lnTo>
                    <a:lnTo>
                      <a:pt x="8307" y="13852"/>
                    </a:lnTo>
                    <a:lnTo>
                      <a:pt x="8558" y="13852"/>
                    </a:lnTo>
                    <a:lnTo>
                      <a:pt x="9186" y="13810"/>
                    </a:lnTo>
                    <a:lnTo>
                      <a:pt x="9395" y="13852"/>
                    </a:lnTo>
                    <a:lnTo>
                      <a:pt x="9520" y="13852"/>
                    </a:lnTo>
                    <a:lnTo>
                      <a:pt x="9709" y="13810"/>
                    </a:lnTo>
                    <a:lnTo>
                      <a:pt x="9834" y="13831"/>
                    </a:lnTo>
                    <a:lnTo>
                      <a:pt x="10022" y="13977"/>
                    </a:lnTo>
                    <a:lnTo>
                      <a:pt x="10148" y="14208"/>
                    </a:lnTo>
                    <a:lnTo>
                      <a:pt x="10253" y="14249"/>
                    </a:lnTo>
                    <a:lnTo>
                      <a:pt x="10336" y="14187"/>
                    </a:lnTo>
                    <a:lnTo>
                      <a:pt x="10378" y="14166"/>
                    </a:lnTo>
                    <a:lnTo>
                      <a:pt x="10441" y="14208"/>
                    </a:lnTo>
                    <a:lnTo>
                      <a:pt x="10504" y="14187"/>
                    </a:lnTo>
                    <a:lnTo>
                      <a:pt x="10650" y="14208"/>
                    </a:lnTo>
                    <a:lnTo>
                      <a:pt x="10755" y="14354"/>
                    </a:lnTo>
                    <a:lnTo>
                      <a:pt x="10880" y="14375"/>
                    </a:lnTo>
                    <a:lnTo>
                      <a:pt x="10964" y="14354"/>
                    </a:lnTo>
                    <a:lnTo>
                      <a:pt x="11194" y="14542"/>
                    </a:lnTo>
                    <a:lnTo>
                      <a:pt x="11194" y="14647"/>
                    </a:lnTo>
                    <a:lnTo>
                      <a:pt x="11278" y="14647"/>
                    </a:lnTo>
                    <a:lnTo>
                      <a:pt x="11341" y="14731"/>
                    </a:lnTo>
                    <a:lnTo>
                      <a:pt x="11320" y="14814"/>
                    </a:lnTo>
                    <a:lnTo>
                      <a:pt x="11215" y="14814"/>
                    </a:lnTo>
                    <a:lnTo>
                      <a:pt x="11194" y="14898"/>
                    </a:lnTo>
                    <a:lnTo>
                      <a:pt x="11299" y="15107"/>
                    </a:lnTo>
                    <a:lnTo>
                      <a:pt x="11403" y="15128"/>
                    </a:lnTo>
                    <a:lnTo>
                      <a:pt x="11508" y="15254"/>
                    </a:lnTo>
                    <a:lnTo>
                      <a:pt x="11550" y="15421"/>
                    </a:lnTo>
                    <a:lnTo>
                      <a:pt x="11529" y="15526"/>
                    </a:lnTo>
                    <a:lnTo>
                      <a:pt x="11655" y="15819"/>
                    </a:lnTo>
                    <a:lnTo>
                      <a:pt x="11613" y="15944"/>
                    </a:lnTo>
                    <a:lnTo>
                      <a:pt x="11655" y="16007"/>
                    </a:lnTo>
                    <a:lnTo>
                      <a:pt x="11634" y="16154"/>
                    </a:lnTo>
                    <a:lnTo>
                      <a:pt x="11613" y="16237"/>
                    </a:lnTo>
                    <a:lnTo>
                      <a:pt x="11529" y="16216"/>
                    </a:lnTo>
                    <a:lnTo>
                      <a:pt x="11508" y="16237"/>
                    </a:lnTo>
                    <a:lnTo>
                      <a:pt x="11592" y="16363"/>
                    </a:lnTo>
                    <a:lnTo>
                      <a:pt x="11655" y="16384"/>
                    </a:lnTo>
                    <a:lnTo>
                      <a:pt x="11717" y="16530"/>
                    </a:lnTo>
                    <a:lnTo>
                      <a:pt x="11822" y="16488"/>
                    </a:lnTo>
                    <a:lnTo>
                      <a:pt x="11927" y="16572"/>
                    </a:lnTo>
                    <a:lnTo>
                      <a:pt x="11927" y="16467"/>
                    </a:lnTo>
                    <a:lnTo>
                      <a:pt x="11864" y="16363"/>
                    </a:lnTo>
                    <a:lnTo>
                      <a:pt x="11927" y="16300"/>
                    </a:lnTo>
                    <a:lnTo>
                      <a:pt x="11968" y="16174"/>
                    </a:lnTo>
                    <a:lnTo>
                      <a:pt x="12073" y="16174"/>
                    </a:lnTo>
                    <a:lnTo>
                      <a:pt x="12136" y="16070"/>
                    </a:lnTo>
                    <a:lnTo>
                      <a:pt x="12240" y="16028"/>
                    </a:lnTo>
                    <a:lnTo>
                      <a:pt x="12261" y="15923"/>
                    </a:lnTo>
                    <a:lnTo>
                      <a:pt x="12366" y="15777"/>
                    </a:lnTo>
                    <a:lnTo>
                      <a:pt x="12596" y="15693"/>
                    </a:lnTo>
                    <a:lnTo>
                      <a:pt x="12638" y="15610"/>
                    </a:lnTo>
                    <a:lnTo>
                      <a:pt x="12680" y="15610"/>
                    </a:lnTo>
                    <a:lnTo>
                      <a:pt x="12868" y="15505"/>
                    </a:lnTo>
                    <a:lnTo>
                      <a:pt x="12910" y="15338"/>
                    </a:lnTo>
                    <a:lnTo>
                      <a:pt x="13077" y="15107"/>
                    </a:lnTo>
                    <a:lnTo>
                      <a:pt x="13224" y="15086"/>
                    </a:lnTo>
                    <a:lnTo>
                      <a:pt x="13307" y="14982"/>
                    </a:lnTo>
                    <a:lnTo>
                      <a:pt x="13266" y="14856"/>
                    </a:lnTo>
                    <a:lnTo>
                      <a:pt x="13287" y="14710"/>
                    </a:lnTo>
                    <a:lnTo>
                      <a:pt x="13370" y="14877"/>
                    </a:lnTo>
                    <a:lnTo>
                      <a:pt x="13370" y="15024"/>
                    </a:lnTo>
                    <a:lnTo>
                      <a:pt x="13370" y="15191"/>
                    </a:lnTo>
                    <a:lnTo>
                      <a:pt x="13287" y="15254"/>
                    </a:lnTo>
                    <a:lnTo>
                      <a:pt x="13266" y="15547"/>
                    </a:lnTo>
                    <a:lnTo>
                      <a:pt x="13015" y="15714"/>
                    </a:lnTo>
                    <a:lnTo>
                      <a:pt x="12973" y="15840"/>
                    </a:lnTo>
                    <a:lnTo>
                      <a:pt x="12910" y="15923"/>
                    </a:lnTo>
                    <a:lnTo>
                      <a:pt x="12910" y="16070"/>
                    </a:lnTo>
                    <a:lnTo>
                      <a:pt x="12784" y="16258"/>
                    </a:lnTo>
                    <a:lnTo>
                      <a:pt x="12805" y="16300"/>
                    </a:lnTo>
                    <a:lnTo>
                      <a:pt x="12743" y="16593"/>
                    </a:lnTo>
                    <a:lnTo>
                      <a:pt x="12450" y="16572"/>
                    </a:lnTo>
                    <a:lnTo>
                      <a:pt x="12387" y="16739"/>
                    </a:lnTo>
                    <a:lnTo>
                      <a:pt x="12324" y="16823"/>
                    </a:lnTo>
                    <a:lnTo>
                      <a:pt x="12324" y="16886"/>
                    </a:lnTo>
                    <a:lnTo>
                      <a:pt x="12491" y="16823"/>
                    </a:lnTo>
                    <a:lnTo>
                      <a:pt x="12659" y="16760"/>
                    </a:lnTo>
                    <a:lnTo>
                      <a:pt x="12868" y="16823"/>
                    </a:lnTo>
                    <a:lnTo>
                      <a:pt x="13056" y="16530"/>
                    </a:lnTo>
                    <a:lnTo>
                      <a:pt x="13098" y="16216"/>
                    </a:lnTo>
                    <a:lnTo>
                      <a:pt x="13266" y="16049"/>
                    </a:lnTo>
                    <a:lnTo>
                      <a:pt x="13307" y="16112"/>
                    </a:lnTo>
                    <a:lnTo>
                      <a:pt x="13307" y="16384"/>
                    </a:lnTo>
                    <a:lnTo>
                      <a:pt x="13370" y="16551"/>
                    </a:lnTo>
                    <a:lnTo>
                      <a:pt x="13307" y="16551"/>
                    </a:lnTo>
                    <a:lnTo>
                      <a:pt x="13328" y="16823"/>
                    </a:lnTo>
                    <a:lnTo>
                      <a:pt x="13203" y="17074"/>
                    </a:lnTo>
                    <a:lnTo>
                      <a:pt x="12994" y="17158"/>
                    </a:lnTo>
                    <a:lnTo>
                      <a:pt x="13015" y="17221"/>
                    </a:lnTo>
                    <a:lnTo>
                      <a:pt x="13161" y="17200"/>
                    </a:lnTo>
                    <a:lnTo>
                      <a:pt x="13307" y="17221"/>
                    </a:lnTo>
                    <a:lnTo>
                      <a:pt x="13391" y="17158"/>
                    </a:lnTo>
                    <a:lnTo>
                      <a:pt x="13496" y="17116"/>
                    </a:lnTo>
                    <a:lnTo>
                      <a:pt x="13600" y="17011"/>
                    </a:lnTo>
                    <a:lnTo>
                      <a:pt x="13705" y="17053"/>
                    </a:lnTo>
                    <a:lnTo>
                      <a:pt x="13789" y="17053"/>
                    </a:lnTo>
                    <a:lnTo>
                      <a:pt x="13705" y="17158"/>
                    </a:lnTo>
                    <a:lnTo>
                      <a:pt x="13642" y="17221"/>
                    </a:lnTo>
                    <a:lnTo>
                      <a:pt x="13538" y="17221"/>
                    </a:lnTo>
                    <a:lnTo>
                      <a:pt x="13517" y="17283"/>
                    </a:lnTo>
                    <a:lnTo>
                      <a:pt x="13621" y="17430"/>
                    </a:lnTo>
                    <a:lnTo>
                      <a:pt x="13684" y="17576"/>
                    </a:lnTo>
                    <a:lnTo>
                      <a:pt x="13747" y="17744"/>
                    </a:lnTo>
                    <a:lnTo>
                      <a:pt x="13747" y="17953"/>
                    </a:lnTo>
                    <a:lnTo>
                      <a:pt x="13726" y="18225"/>
                    </a:lnTo>
                    <a:lnTo>
                      <a:pt x="13600" y="18371"/>
                    </a:lnTo>
                    <a:lnTo>
                      <a:pt x="13621" y="18455"/>
                    </a:lnTo>
                    <a:lnTo>
                      <a:pt x="13600" y="18664"/>
                    </a:lnTo>
                    <a:lnTo>
                      <a:pt x="13705" y="18748"/>
                    </a:lnTo>
                    <a:lnTo>
                      <a:pt x="13789" y="18895"/>
                    </a:lnTo>
                    <a:lnTo>
                      <a:pt x="13810" y="19083"/>
                    </a:lnTo>
                    <a:lnTo>
                      <a:pt x="14019" y="19355"/>
                    </a:lnTo>
                    <a:lnTo>
                      <a:pt x="14165" y="19397"/>
                    </a:lnTo>
                    <a:lnTo>
                      <a:pt x="14270" y="19480"/>
                    </a:lnTo>
                    <a:lnTo>
                      <a:pt x="14333" y="19606"/>
                    </a:lnTo>
                    <a:lnTo>
                      <a:pt x="14437" y="19627"/>
                    </a:lnTo>
                    <a:lnTo>
                      <a:pt x="14458" y="19585"/>
                    </a:lnTo>
                    <a:lnTo>
                      <a:pt x="14542" y="19564"/>
                    </a:lnTo>
                    <a:lnTo>
                      <a:pt x="14688" y="19585"/>
                    </a:lnTo>
                    <a:lnTo>
                      <a:pt x="14835" y="19731"/>
                    </a:lnTo>
                    <a:lnTo>
                      <a:pt x="14960" y="19773"/>
                    </a:lnTo>
                    <a:lnTo>
                      <a:pt x="15086" y="19899"/>
                    </a:lnTo>
                    <a:lnTo>
                      <a:pt x="15107" y="20003"/>
                    </a:lnTo>
                    <a:lnTo>
                      <a:pt x="15212" y="20045"/>
                    </a:lnTo>
                    <a:lnTo>
                      <a:pt x="15358" y="20192"/>
                    </a:lnTo>
                    <a:lnTo>
                      <a:pt x="15421" y="20192"/>
                    </a:lnTo>
                    <a:lnTo>
                      <a:pt x="15463" y="20108"/>
                    </a:lnTo>
                    <a:lnTo>
                      <a:pt x="15693" y="20003"/>
                    </a:lnTo>
                    <a:lnTo>
                      <a:pt x="15776" y="19899"/>
                    </a:lnTo>
                    <a:lnTo>
                      <a:pt x="15902" y="19899"/>
                    </a:lnTo>
                    <a:lnTo>
                      <a:pt x="16048" y="19773"/>
                    </a:lnTo>
                    <a:lnTo>
                      <a:pt x="16153" y="19773"/>
                    </a:lnTo>
                    <a:lnTo>
                      <a:pt x="16195" y="19711"/>
                    </a:lnTo>
                    <a:lnTo>
                      <a:pt x="16153" y="19669"/>
                    </a:lnTo>
                    <a:lnTo>
                      <a:pt x="16048" y="19627"/>
                    </a:lnTo>
                    <a:lnTo>
                      <a:pt x="16090" y="19564"/>
                    </a:lnTo>
                    <a:lnTo>
                      <a:pt x="16320" y="19397"/>
                    </a:lnTo>
                    <a:lnTo>
                      <a:pt x="16509" y="19522"/>
                    </a:lnTo>
                    <a:lnTo>
                      <a:pt x="16509" y="19669"/>
                    </a:lnTo>
                    <a:lnTo>
                      <a:pt x="16258" y="19794"/>
                    </a:lnTo>
                    <a:lnTo>
                      <a:pt x="16320" y="19899"/>
                    </a:lnTo>
                    <a:lnTo>
                      <a:pt x="16404" y="19920"/>
                    </a:lnTo>
                    <a:lnTo>
                      <a:pt x="16467" y="19815"/>
                    </a:lnTo>
                    <a:lnTo>
                      <a:pt x="16572" y="19731"/>
                    </a:lnTo>
                    <a:lnTo>
                      <a:pt x="16676" y="19815"/>
                    </a:lnTo>
                    <a:lnTo>
                      <a:pt x="16676" y="19920"/>
                    </a:lnTo>
                    <a:lnTo>
                      <a:pt x="16613" y="19920"/>
                    </a:lnTo>
                    <a:lnTo>
                      <a:pt x="16509" y="20003"/>
                    </a:lnTo>
                    <a:lnTo>
                      <a:pt x="16655" y="20192"/>
                    </a:lnTo>
                    <a:lnTo>
                      <a:pt x="16676" y="20401"/>
                    </a:lnTo>
                    <a:lnTo>
                      <a:pt x="16760" y="20338"/>
                    </a:lnTo>
                    <a:lnTo>
                      <a:pt x="16844" y="20359"/>
                    </a:lnTo>
                    <a:lnTo>
                      <a:pt x="16844" y="20464"/>
                    </a:lnTo>
                    <a:lnTo>
                      <a:pt x="16927" y="20610"/>
                    </a:lnTo>
                    <a:lnTo>
                      <a:pt x="16990" y="20443"/>
                    </a:lnTo>
                    <a:lnTo>
                      <a:pt x="16990" y="20296"/>
                    </a:lnTo>
                    <a:lnTo>
                      <a:pt x="16885" y="20359"/>
                    </a:lnTo>
                    <a:lnTo>
                      <a:pt x="16885" y="20317"/>
                    </a:lnTo>
                    <a:lnTo>
                      <a:pt x="16948" y="20234"/>
                    </a:lnTo>
                    <a:lnTo>
                      <a:pt x="17241" y="20234"/>
                    </a:lnTo>
                    <a:lnTo>
                      <a:pt x="17262" y="20296"/>
                    </a:lnTo>
                    <a:lnTo>
                      <a:pt x="17304" y="20234"/>
                    </a:lnTo>
                    <a:lnTo>
                      <a:pt x="17450" y="20024"/>
                    </a:lnTo>
                    <a:lnTo>
                      <a:pt x="17764" y="19836"/>
                    </a:lnTo>
                    <a:lnTo>
                      <a:pt x="17911" y="19711"/>
                    </a:lnTo>
                    <a:lnTo>
                      <a:pt x="17827" y="19711"/>
                    </a:lnTo>
                    <a:lnTo>
                      <a:pt x="17764" y="19731"/>
                    </a:lnTo>
                    <a:lnTo>
                      <a:pt x="17785" y="19711"/>
                    </a:lnTo>
                    <a:lnTo>
                      <a:pt x="17681" y="19669"/>
                    </a:lnTo>
                    <a:lnTo>
                      <a:pt x="17932" y="19669"/>
                    </a:lnTo>
                    <a:lnTo>
                      <a:pt x="18183" y="19606"/>
                    </a:lnTo>
                    <a:lnTo>
                      <a:pt x="18622" y="19501"/>
                    </a:lnTo>
                    <a:lnTo>
                      <a:pt x="18957" y="19585"/>
                    </a:lnTo>
                    <a:lnTo>
                      <a:pt x="19124" y="19501"/>
                    </a:lnTo>
                    <a:lnTo>
                      <a:pt x="19124" y="19397"/>
                    </a:lnTo>
                    <a:lnTo>
                      <a:pt x="19229" y="19397"/>
                    </a:lnTo>
                    <a:lnTo>
                      <a:pt x="19333" y="19313"/>
                    </a:lnTo>
                    <a:lnTo>
                      <a:pt x="19438" y="19104"/>
                    </a:lnTo>
                    <a:lnTo>
                      <a:pt x="19375" y="18895"/>
                    </a:lnTo>
                    <a:lnTo>
                      <a:pt x="19375" y="18769"/>
                    </a:lnTo>
                    <a:lnTo>
                      <a:pt x="19585" y="18560"/>
                    </a:lnTo>
                    <a:lnTo>
                      <a:pt x="19585" y="18225"/>
                    </a:lnTo>
                    <a:lnTo>
                      <a:pt x="19668" y="18099"/>
                    </a:lnTo>
                    <a:lnTo>
                      <a:pt x="19710" y="17869"/>
                    </a:lnTo>
                    <a:lnTo>
                      <a:pt x="19815" y="17827"/>
                    </a:lnTo>
                    <a:lnTo>
                      <a:pt x="19815" y="17702"/>
                    </a:lnTo>
                    <a:lnTo>
                      <a:pt x="20170" y="17283"/>
                    </a:lnTo>
                    <a:lnTo>
                      <a:pt x="20275" y="17262"/>
                    </a:lnTo>
                    <a:lnTo>
                      <a:pt x="20317" y="17011"/>
                    </a:lnTo>
                    <a:lnTo>
                      <a:pt x="20442" y="16823"/>
                    </a:lnTo>
                    <a:lnTo>
                      <a:pt x="20547" y="16593"/>
                    </a:lnTo>
                    <a:lnTo>
                      <a:pt x="20694" y="16446"/>
                    </a:lnTo>
                    <a:lnTo>
                      <a:pt x="20652" y="16342"/>
                    </a:lnTo>
                    <a:lnTo>
                      <a:pt x="20756" y="16258"/>
                    </a:lnTo>
                    <a:lnTo>
                      <a:pt x="20861" y="16049"/>
                    </a:lnTo>
                    <a:lnTo>
                      <a:pt x="20798" y="15965"/>
                    </a:lnTo>
                    <a:lnTo>
                      <a:pt x="20966" y="15902"/>
                    </a:lnTo>
                    <a:lnTo>
                      <a:pt x="21070" y="15714"/>
                    </a:lnTo>
                    <a:lnTo>
                      <a:pt x="21154" y="15630"/>
                    </a:lnTo>
                    <a:lnTo>
                      <a:pt x="21258" y="15442"/>
                    </a:lnTo>
                    <a:lnTo>
                      <a:pt x="21426" y="15400"/>
                    </a:lnTo>
                    <a:lnTo>
                      <a:pt x="21530" y="15338"/>
                    </a:lnTo>
                    <a:lnTo>
                      <a:pt x="21342" y="15338"/>
                    </a:lnTo>
                    <a:lnTo>
                      <a:pt x="21384" y="15296"/>
                    </a:lnTo>
                    <a:lnTo>
                      <a:pt x="21593" y="15254"/>
                    </a:lnTo>
                    <a:lnTo>
                      <a:pt x="21782" y="15170"/>
                    </a:lnTo>
                    <a:lnTo>
                      <a:pt x="21802" y="15003"/>
                    </a:lnTo>
                    <a:lnTo>
                      <a:pt x="21782" y="14961"/>
                    </a:lnTo>
                    <a:lnTo>
                      <a:pt x="21802" y="14814"/>
                    </a:lnTo>
                    <a:lnTo>
                      <a:pt x="22012" y="14689"/>
                    </a:lnTo>
                    <a:lnTo>
                      <a:pt x="22012" y="14563"/>
                    </a:lnTo>
                    <a:lnTo>
                      <a:pt x="22158" y="14501"/>
                    </a:lnTo>
                    <a:lnTo>
                      <a:pt x="22284" y="14291"/>
                    </a:lnTo>
                    <a:lnTo>
                      <a:pt x="22263" y="14187"/>
                    </a:lnTo>
                    <a:lnTo>
                      <a:pt x="22305" y="14019"/>
                    </a:lnTo>
                    <a:lnTo>
                      <a:pt x="22284" y="13957"/>
                    </a:lnTo>
                    <a:lnTo>
                      <a:pt x="22284" y="13852"/>
                    </a:lnTo>
                    <a:lnTo>
                      <a:pt x="22430" y="13496"/>
                    </a:lnTo>
                    <a:lnTo>
                      <a:pt x="22493" y="13287"/>
                    </a:lnTo>
                    <a:lnTo>
                      <a:pt x="22702" y="12910"/>
                    </a:lnTo>
                    <a:lnTo>
                      <a:pt x="22702" y="12785"/>
                    </a:lnTo>
                    <a:lnTo>
                      <a:pt x="22807" y="12492"/>
                    </a:lnTo>
                    <a:lnTo>
                      <a:pt x="22953" y="12366"/>
                    </a:lnTo>
                    <a:lnTo>
                      <a:pt x="23016" y="12199"/>
                    </a:lnTo>
                    <a:lnTo>
                      <a:pt x="22953" y="12053"/>
                    </a:lnTo>
                    <a:lnTo>
                      <a:pt x="23058" y="11927"/>
                    </a:lnTo>
                    <a:lnTo>
                      <a:pt x="22995" y="11655"/>
                    </a:lnTo>
                    <a:lnTo>
                      <a:pt x="22995" y="11529"/>
                    </a:lnTo>
                    <a:lnTo>
                      <a:pt x="22911" y="11320"/>
                    </a:lnTo>
                    <a:lnTo>
                      <a:pt x="22891" y="11236"/>
                    </a:lnTo>
                    <a:lnTo>
                      <a:pt x="22849" y="11111"/>
                    </a:lnTo>
                    <a:lnTo>
                      <a:pt x="22911" y="11069"/>
                    </a:lnTo>
                    <a:lnTo>
                      <a:pt x="22911" y="10923"/>
                    </a:lnTo>
                    <a:lnTo>
                      <a:pt x="23016" y="10776"/>
                    </a:lnTo>
                    <a:lnTo>
                      <a:pt x="23016" y="10713"/>
                    </a:lnTo>
                    <a:lnTo>
                      <a:pt x="22995" y="10379"/>
                    </a:lnTo>
                    <a:lnTo>
                      <a:pt x="23058" y="10253"/>
                    </a:lnTo>
                    <a:lnTo>
                      <a:pt x="23016" y="10190"/>
                    </a:lnTo>
                    <a:lnTo>
                      <a:pt x="22995" y="10065"/>
                    </a:lnTo>
                    <a:lnTo>
                      <a:pt x="22995" y="9856"/>
                    </a:lnTo>
                    <a:lnTo>
                      <a:pt x="22932" y="9835"/>
                    </a:lnTo>
                    <a:lnTo>
                      <a:pt x="22995" y="9688"/>
                    </a:lnTo>
                    <a:lnTo>
                      <a:pt x="22891" y="9667"/>
                    </a:lnTo>
                    <a:lnTo>
                      <a:pt x="22828" y="9542"/>
                    </a:lnTo>
                    <a:lnTo>
                      <a:pt x="22828" y="9416"/>
                    </a:lnTo>
                    <a:lnTo>
                      <a:pt x="22702" y="9312"/>
                    </a:lnTo>
                    <a:lnTo>
                      <a:pt x="22619" y="9144"/>
                    </a:lnTo>
                    <a:lnTo>
                      <a:pt x="22598" y="8956"/>
                    </a:lnTo>
                    <a:lnTo>
                      <a:pt x="22514" y="8830"/>
                    </a:lnTo>
                    <a:lnTo>
                      <a:pt x="22430" y="8830"/>
                    </a:lnTo>
                    <a:lnTo>
                      <a:pt x="22367" y="8851"/>
                    </a:lnTo>
                    <a:lnTo>
                      <a:pt x="22284" y="8809"/>
                    </a:lnTo>
                    <a:lnTo>
                      <a:pt x="22263" y="8642"/>
                    </a:lnTo>
                    <a:lnTo>
                      <a:pt x="22200" y="8621"/>
                    </a:lnTo>
                    <a:lnTo>
                      <a:pt x="22179" y="8537"/>
                    </a:lnTo>
                    <a:lnTo>
                      <a:pt x="22054" y="8412"/>
                    </a:lnTo>
                    <a:lnTo>
                      <a:pt x="21970" y="8370"/>
                    </a:lnTo>
                    <a:lnTo>
                      <a:pt x="22012" y="8265"/>
                    </a:lnTo>
                    <a:lnTo>
                      <a:pt x="21949" y="8119"/>
                    </a:lnTo>
                    <a:lnTo>
                      <a:pt x="22054" y="7993"/>
                    </a:lnTo>
                    <a:lnTo>
                      <a:pt x="22074" y="7805"/>
                    </a:lnTo>
                    <a:lnTo>
                      <a:pt x="22012" y="7742"/>
                    </a:lnTo>
                    <a:lnTo>
                      <a:pt x="22054" y="7638"/>
                    </a:lnTo>
                    <a:lnTo>
                      <a:pt x="21970" y="7575"/>
                    </a:lnTo>
                    <a:lnTo>
                      <a:pt x="21949" y="7638"/>
                    </a:lnTo>
                    <a:lnTo>
                      <a:pt x="21991" y="7679"/>
                    </a:lnTo>
                    <a:lnTo>
                      <a:pt x="21949" y="7763"/>
                    </a:lnTo>
                    <a:lnTo>
                      <a:pt x="21677" y="7533"/>
                    </a:lnTo>
                    <a:lnTo>
                      <a:pt x="21635" y="7366"/>
                    </a:lnTo>
                    <a:lnTo>
                      <a:pt x="21572" y="7387"/>
                    </a:lnTo>
                    <a:lnTo>
                      <a:pt x="21572" y="7470"/>
                    </a:lnTo>
                    <a:lnTo>
                      <a:pt x="21551" y="7575"/>
                    </a:lnTo>
                    <a:lnTo>
                      <a:pt x="21593" y="7763"/>
                    </a:lnTo>
                    <a:lnTo>
                      <a:pt x="21468" y="7596"/>
                    </a:lnTo>
                    <a:lnTo>
                      <a:pt x="21426" y="7659"/>
                    </a:lnTo>
                    <a:lnTo>
                      <a:pt x="21426" y="7554"/>
                    </a:lnTo>
                    <a:lnTo>
                      <a:pt x="21363" y="7470"/>
                    </a:lnTo>
                    <a:lnTo>
                      <a:pt x="21342" y="7135"/>
                    </a:lnTo>
                    <a:lnTo>
                      <a:pt x="21384" y="7115"/>
                    </a:lnTo>
                    <a:lnTo>
                      <a:pt x="21384" y="7031"/>
                    </a:lnTo>
                    <a:lnTo>
                      <a:pt x="21279" y="6947"/>
                    </a:lnTo>
                    <a:lnTo>
                      <a:pt x="21321" y="6863"/>
                    </a:lnTo>
                    <a:lnTo>
                      <a:pt x="21238" y="6801"/>
                    </a:lnTo>
                    <a:lnTo>
                      <a:pt x="21258" y="6696"/>
                    </a:lnTo>
                    <a:lnTo>
                      <a:pt x="21070" y="6529"/>
                    </a:lnTo>
                    <a:lnTo>
                      <a:pt x="21028" y="6424"/>
                    </a:lnTo>
                    <a:lnTo>
                      <a:pt x="21028" y="6299"/>
                    </a:lnTo>
                    <a:lnTo>
                      <a:pt x="21133" y="6319"/>
                    </a:lnTo>
                    <a:lnTo>
                      <a:pt x="21133" y="6194"/>
                    </a:lnTo>
                    <a:lnTo>
                      <a:pt x="21028" y="6027"/>
                    </a:lnTo>
                    <a:lnTo>
                      <a:pt x="20966" y="6068"/>
                    </a:lnTo>
                    <a:lnTo>
                      <a:pt x="20861" y="6068"/>
                    </a:lnTo>
                    <a:lnTo>
                      <a:pt x="20756" y="5880"/>
                    </a:lnTo>
                    <a:lnTo>
                      <a:pt x="20694" y="5880"/>
                    </a:lnTo>
                    <a:lnTo>
                      <a:pt x="20589" y="5796"/>
                    </a:lnTo>
                    <a:lnTo>
                      <a:pt x="20505" y="5859"/>
                    </a:lnTo>
                    <a:lnTo>
                      <a:pt x="20484" y="5796"/>
                    </a:lnTo>
                    <a:lnTo>
                      <a:pt x="20338" y="5754"/>
                    </a:lnTo>
                    <a:lnTo>
                      <a:pt x="20275" y="5817"/>
                    </a:lnTo>
                    <a:lnTo>
                      <a:pt x="20317" y="5713"/>
                    </a:lnTo>
                    <a:lnTo>
                      <a:pt x="20442" y="5692"/>
                    </a:lnTo>
                    <a:lnTo>
                      <a:pt x="20442" y="5608"/>
                    </a:lnTo>
                    <a:lnTo>
                      <a:pt x="20422" y="5545"/>
                    </a:lnTo>
                    <a:lnTo>
                      <a:pt x="20296" y="5566"/>
                    </a:lnTo>
                    <a:lnTo>
                      <a:pt x="20191" y="5545"/>
                    </a:lnTo>
                    <a:lnTo>
                      <a:pt x="20170" y="5482"/>
                    </a:lnTo>
                    <a:lnTo>
                      <a:pt x="20087" y="5482"/>
                    </a:lnTo>
                    <a:lnTo>
                      <a:pt x="19857" y="5336"/>
                    </a:lnTo>
                    <a:lnTo>
                      <a:pt x="19752" y="5127"/>
                    </a:lnTo>
                    <a:lnTo>
                      <a:pt x="19710" y="4918"/>
                    </a:lnTo>
                    <a:lnTo>
                      <a:pt x="19668" y="4771"/>
                    </a:lnTo>
                    <a:lnTo>
                      <a:pt x="19668" y="4666"/>
                    </a:lnTo>
                    <a:lnTo>
                      <a:pt x="19710" y="4646"/>
                    </a:lnTo>
                    <a:lnTo>
                      <a:pt x="19773" y="4415"/>
                    </a:lnTo>
                    <a:lnTo>
                      <a:pt x="19689" y="4122"/>
                    </a:lnTo>
                    <a:lnTo>
                      <a:pt x="19647" y="3976"/>
                    </a:lnTo>
                    <a:lnTo>
                      <a:pt x="19689" y="3934"/>
                    </a:lnTo>
                    <a:lnTo>
                      <a:pt x="19606" y="3892"/>
                    </a:lnTo>
                    <a:lnTo>
                      <a:pt x="19543" y="3892"/>
                    </a:lnTo>
                    <a:lnTo>
                      <a:pt x="19438" y="3662"/>
                    </a:lnTo>
                    <a:lnTo>
                      <a:pt x="19438" y="3369"/>
                    </a:lnTo>
                    <a:lnTo>
                      <a:pt x="19459" y="3348"/>
                    </a:lnTo>
                    <a:lnTo>
                      <a:pt x="19459" y="3265"/>
                    </a:lnTo>
                    <a:lnTo>
                      <a:pt x="19396" y="3202"/>
                    </a:lnTo>
                    <a:lnTo>
                      <a:pt x="19375" y="2846"/>
                    </a:lnTo>
                    <a:lnTo>
                      <a:pt x="19438" y="2762"/>
                    </a:lnTo>
                    <a:lnTo>
                      <a:pt x="19375" y="2637"/>
                    </a:lnTo>
                    <a:lnTo>
                      <a:pt x="19438" y="2616"/>
                    </a:lnTo>
                    <a:lnTo>
                      <a:pt x="19438" y="2532"/>
                    </a:lnTo>
                    <a:lnTo>
                      <a:pt x="19250" y="2323"/>
                    </a:lnTo>
                    <a:lnTo>
                      <a:pt x="19124" y="2260"/>
                    </a:lnTo>
                    <a:lnTo>
                      <a:pt x="19145" y="2218"/>
                    </a:lnTo>
                    <a:lnTo>
                      <a:pt x="19020" y="2093"/>
                    </a:lnTo>
                    <a:lnTo>
                      <a:pt x="18915" y="2156"/>
                    </a:lnTo>
                    <a:lnTo>
                      <a:pt x="18852" y="2114"/>
                    </a:lnTo>
                    <a:lnTo>
                      <a:pt x="18769" y="2239"/>
                    </a:lnTo>
                    <a:lnTo>
                      <a:pt x="18706" y="2239"/>
                    </a:lnTo>
                    <a:lnTo>
                      <a:pt x="18559" y="2051"/>
                    </a:lnTo>
                    <a:lnTo>
                      <a:pt x="18601" y="1988"/>
                    </a:lnTo>
                    <a:lnTo>
                      <a:pt x="18517" y="1800"/>
                    </a:lnTo>
                    <a:lnTo>
                      <a:pt x="18538" y="1591"/>
                    </a:lnTo>
                    <a:lnTo>
                      <a:pt x="18517" y="1319"/>
                    </a:lnTo>
                    <a:lnTo>
                      <a:pt x="18497" y="1361"/>
                    </a:lnTo>
                    <a:lnTo>
                      <a:pt x="18434" y="1256"/>
                    </a:lnTo>
                    <a:lnTo>
                      <a:pt x="18497" y="1151"/>
                    </a:lnTo>
                    <a:lnTo>
                      <a:pt x="18413" y="1047"/>
                    </a:lnTo>
                    <a:lnTo>
                      <a:pt x="18392" y="942"/>
                    </a:lnTo>
                    <a:lnTo>
                      <a:pt x="18329" y="900"/>
                    </a:lnTo>
                    <a:lnTo>
                      <a:pt x="18329" y="754"/>
                    </a:lnTo>
                    <a:lnTo>
                      <a:pt x="18413" y="670"/>
                    </a:lnTo>
                    <a:lnTo>
                      <a:pt x="18329" y="649"/>
                    </a:lnTo>
                    <a:lnTo>
                      <a:pt x="18225" y="670"/>
                    </a:lnTo>
                    <a:lnTo>
                      <a:pt x="18141" y="586"/>
                    </a:lnTo>
                    <a:lnTo>
                      <a:pt x="18204" y="314"/>
                    </a:lnTo>
                    <a:lnTo>
                      <a:pt x="18183" y="252"/>
                    </a:lnTo>
                    <a:lnTo>
                      <a:pt x="18120" y="105"/>
                    </a:lnTo>
                    <a:lnTo>
                      <a:pt x="18015" y="63"/>
                    </a:lnTo>
                    <a:lnTo>
                      <a:pt x="18015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  <p:sp>
            <p:nvSpPr>
              <p:cNvPr id="864" name="Google Shape;864;p34"/>
              <p:cNvSpPr/>
              <p:nvPr/>
            </p:nvSpPr>
            <p:spPr>
              <a:xfrm>
                <a:off x="5683950" y="3957275"/>
                <a:ext cx="54950" cy="71175"/>
              </a:xfrm>
              <a:custGeom>
                <a:avLst/>
                <a:gdLst/>
                <a:ahLst/>
                <a:cxnLst/>
                <a:rect l="l" t="t" r="r" b="b"/>
                <a:pathLst>
                  <a:path w="2198" h="2847" extrusionOk="0">
                    <a:moveTo>
                      <a:pt x="168" y="1"/>
                    </a:moveTo>
                    <a:lnTo>
                      <a:pt x="126" y="64"/>
                    </a:lnTo>
                    <a:lnTo>
                      <a:pt x="126" y="189"/>
                    </a:lnTo>
                    <a:lnTo>
                      <a:pt x="105" y="210"/>
                    </a:lnTo>
                    <a:lnTo>
                      <a:pt x="105" y="336"/>
                    </a:lnTo>
                    <a:lnTo>
                      <a:pt x="126" y="587"/>
                    </a:lnTo>
                    <a:lnTo>
                      <a:pt x="105" y="733"/>
                    </a:lnTo>
                    <a:lnTo>
                      <a:pt x="126" y="1005"/>
                    </a:lnTo>
                    <a:lnTo>
                      <a:pt x="168" y="1214"/>
                    </a:lnTo>
                    <a:lnTo>
                      <a:pt x="126" y="1361"/>
                    </a:lnTo>
                    <a:lnTo>
                      <a:pt x="189" y="1382"/>
                    </a:lnTo>
                    <a:lnTo>
                      <a:pt x="189" y="1466"/>
                    </a:lnTo>
                    <a:lnTo>
                      <a:pt x="294" y="1570"/>
                    </a:lnTo>
                    <a:lnTo>
                      <a:pt x="168" y="1570"/>
                    </a:lnTo>
                    <a:lnTo>
                      <a:pt x="64" y="1466"/>
                    </a:lnTo>
                    <a:lnTo>
                      <a:pt x="1" y="1570"/>
                    </a:lnTo>
                    <a:lnTo>
                      <a:pt x="1" y="1779"/>
                    </a:lnTo>
                    <a:lnTo>
                      <a:pt x="85" y="1842"/>
                    </a:lnTo>
                    <a:lnTo>
                      <a:pt x="64" y="1884"/>
                    </a:lnTo>
                    <a:lnTo>
                      <a:pt x="64" y="2198"/>
                    </a:lnTo>
                    <a:lnTo>
                      <a:pt x="105" y="2261"/>
                    </a:lnTo>
                    <a:lnTo>
                      <a:pt x="85" y="2303"/>
                    </a:lnTo>
                    <a:lnTo>
                      <a:pt x="105" y="2470"/>
                    </a:lnTo>
                    <a:lnTo>
                      <a:pt x="210" y="2491"/>
                    </a:lnTo>
                    <a:lnTo>
                      <a:pt x="168" y="2575"/>
                    </a:lnTo>
                    <a:lnTo>
                      <a:pt x="168" y="2700"/>
                    </a:lnTo>
                    <a:lnTo>
                      <a:pt x="210" y="2721"/>
                    </a:lnTo>
                    <a:lnTo>
                      <a:pt x="315" y="2700"/>
                    </a:lnTo>
                    <a:lnTo>
                      <a:pt x="398" y="2784"/>
                    </a:lnTo>
                    <a:lnTo>
                      <a:pt x="503" y="2637"/>
                    </a:lnTo>
                    <a:lnTo>
                      <a:pt x="503" y="2742"/>
                    </a:lnTo>
                    <a:lnTo>
                      <a:pt x="545" y="2847"/>
                    </a:lnTo>
                    <a:lnTo>
                      <a:pt x="649" y="2847"/>
                    </a:lnTo>
                    <a:lnTo>
                      <a:pt x="754" y="2700"/>
                    </a:lnTo>
                    <a:lnTo>
                      <a:pt x="796" y="2595"/>
                    </a:lnTo>
                    <a:lnTo>
                      <a:pt x="838" y="2407"/>
                    </a:lnTo>
                    <a:lnTo>
                      <a:pt x="921" y="2491"/>
                    </a:lnTo>
                    <a:lnTo>
                      <a:pt x="942" y="2428"/>
                    </a:lnTo>
                    <a:lnTo>
                      <a:pt x="1047" y="2365"/>
                    </a:lnTo>
                    <a:lnTo>
                      <a:pt x="1110" y="2219"/>
                    </a:lnTo>
                    <a:lnTo>
                      <a:pt x="1110" y="2365"/>
                    </a:lnTo>
                    <a:lnTo>
                      <a:pt x="1173" y="2386"/>
                    </a:lnTo>
                    <a:lnTo>
                      <a:pt x="1235" y="2282"/>
                    </a:lnTo>
                    <a:lnTo>
                      <a:pt x="1340" y="2261"/>
                    </a:lnTo>
                    <a:lnTo>
                      <a:pt x="1382" y="2303"/>
                    </a:lnTo>
                    <a:lnTo>
                      <a:pt x="1361" y="2407"/>
                    </a:lnTo>
                    <a:lnTo>
                      <a:pt x="1256" y="2365"/>
                    </a:lnTo>
                    <a:lnTo>
                      <a:pt x="1256" y="2512"/>
                    </a:lnTo>
                    <a:lnTo>
                      <a:pt x="1361" y="2470"/>
                    </a:lnTo>
                    <a:lnTo>
                      <a:pt x="1424" y="2491"/>
                    </a:lnTo>
                    <a:lnTo>
                      <a:pt x="1549" y="2303"/>
                    </a:lnTo>
                    <a:lnTo>
                      <a:pt x="1549" y="2219"/>
                    </a:lnTo>
                    <a:lnTo>
                      <a:pt x="1466" y="2177"/>
                    </a:lnTo>
                    <a:lnTo>
                      <a:pt x="1549" y="2072"/>
                    </a:lnTo>
                    <a:lnTo>
                      <a:pt x="1549" y="1947"/>
                    </a:lnTo>
                    <a:lnTo>
                      <a:pt x="1633" y="1947"/>
                    </a:lnTo>
                    <a:lnTo>
                      <a:pt x="1675" y="1884"/>
                    </a:lnTo>
                    <a:lnTo>
                      <a:pt x="1675" y="1633"/>
                    </a:lnTo>
                    <a:lnTo>
                      <a:pt x="1758" y="1570"/>
                    </a:lnTo>
                    <a:lnTo>
                      <a:pt x="1800" y="1466"/>
                    </a:lnTo>
                    <a:lnTo>
                      <a:pt x="1842" y="1633"/>
                    </a:lnTo>
                    <a:lnTo>
                      <a:pt x="1863" y="1696"/>
                    </a:lnTo>
                    <a:lnTo>
                      <a:pt x="1905" y="1570"/>
                    </a:lnTo>
                    <a:lnTo>
                      <a:pt x="1905" y="1466"/>
                    </a:lnTo>
                    <a:lnTo>
                      <a:pt x="1947" y="1424"/>
                    </a:lnTo>
                    <a:lnTo>
                      <a:pt x="1905" y="1256"/>
                    </a:lnTo>
                    <a:lnTo>
                      <a:pt x="1989" y="1131"/>
                    </a:lnTo>
                    <a:lnTo>
                      <a:pt x="1989" y="922"/>
                    </a:lnTo>
                    <a:lnTo>
                      <a:pt x="2093" y="796"/>
                    </a:lnTo>
                    <a:lnTo>
                      <a:pt x="2156" y="503"/>
                    </a:lnTo>
                    <a:lnTo>
                      <a:pt x="2198" y="398"/>
                    </a:lnTo>
                    <a:lnTo>
                      <a:pt x="2072" y="294"/>
                    </a:lnTo>
                    <a:lnTo>
                      <a:pt x="1947" y="294"/>
                    </a:lnTo>
                    <a:lnTo>
                      <a:pt x="1947" y="315"/>
                    </a:lnTo>
                    <a:lnTo>
                      <a:pt x="1884" y="419"/>
                    </a:lnTo>
                    <a:lnTo>
                      <a:pt x="1863" y="398"/>
                    </a:lnTo>
                    <a:lnTo>
                      <a:pt x="1800" y="398"/>
                    </a:lnTo>
                    <a:lnTo>
                      <a:pt x="1738" y="440"/>
                    </a:lnTo>
                    <a:lnTo>
                      <a:pt x="1675" y="503"/>
                    </a:lnTo>
                    <a:lnTo>
                      <a:pt x="1340" y="482"/>
                    </a:lnTo>
                    <a:lnTo>
                      <a:pt x="1256" y="524"/>
                    </a:lnTo>
                    <a:lnTo>
                      <a:pt x="1256" y="629"/>
                    </a:lnTo>
                    <a:lnTo>
                      <a:pt x="1173" y="545"/>
                    </a:lnTo>
                    <a:lnTo>
                      <a:pt x="1068" y="545"/>
                    </a:lnTo>
                    <a:lnTo>
                      <a:pt x="1005" y="608"/>
                    </a:lnTo>
                    <a:lnTo>
                      <a:pt x="901" y="524"/>
                    </a:lnTo>
                    <a:lnTo>
                      <a:pt x="733" y="398"/>
                    </a:lnTo>
                    <a:lnTo>
                      <a:pt x="524" y="294"/>
                    </a:lnTo>
                    <a:lnTo>
                      <a:pt x="524" y="106"/>
                    </a:lnTo>
                    <a:lnTo>
                      <a:pt x="482" y="168"/>
                    </a:lnTo>
                    <a:lnTo>
                      <a:pt x="440" y="210"/>
                    </a:lnTo>
                    <a:lnTo>
                      <a:pt x="377" y="126"/>
                    </a:lnTo>
                    <a:lnTo>
                      <a:pt x="273" y="85"/>
                    </a:lnTo>
                    <a:lnTo>
                      <a:pt x="16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5" name="Google Shape;865;p34"/>
            <p:cNvGrpSpPr/>
            <p:nvPr/>
          </p:nvGrpSpPr>
          <p:grpSpPr>
            <a:xfrm>
              <a:off x="4824403" y="3421846"/>
              <a:ext cx="110132" cy="130647"/>
              <a:chOff x="5952300" y="3852150"/>
              <a:chExt cx="231225" cy="287200"/>
            </a:xfrm>
          </p:grpSpPr>
          <p:sp>
            <p:nvSpPr>
              <p:cNvPr id="866" name="Google Shape;866;p34"/>
              <p:cNvSpPr/>
              <p:nvPr/>
            </p:nvSpPr>
            <p:spPr>
              <a:xfrm>
                <a:off x="5952300" y="3996525"/>
                <a:ext cx="145450" cy="1428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713" extrusionOk="0">
                    <a:moveTo>
                      <a:pt x="5064" y="0"/>
                    </a:moveTo>
                    <a:lnTo>
                      <a:pt x="4918" y="105"/>
                    </a:lnTo>
                    <a:lnTo>
                      <a:pt x="4834" y="126"/>
                    </a:lnTo>
                    <a:lnTo>
                      <a:pt x="4729" y="209"/>
                    </a:lnTo>
                    <a:lnTo>
                      <a:pt x="4729" y="377"/>
                    </a:lnTo>
                    <a:lnTo>
                      <a:pt x="4625" y="628"/>
                    </a:lnTo>
                    <a:lnTo>
                      <a:pt x="4520" y="753"/>
                    </a:lnTo>
                    <a:lnTo>
                      <a:pt x="4457" y="774"/>
                    </a:lnTo>
                    <a:lnTo>
                      <a:pt x="4332" y="942"/>
                    </a:lnTo>
                    <a:lnTo>
                      <a:pt x="4290" y="1025"/>
                    </a:lnTo>
                    <a:lnTo>
                      <a:pt x="4185" y="1067"/>
                    </a:lnTo>
                    <a:lnTo>
                      <a:pt x="4081" y="1046"/>
                    </a:lnTo>
                    <a:lnTo>
                      <a:pt x="3976" y="1130"/>
                    </a:lnTo>
                    <a:lnTo>
                      <a:pt x="3934" y="1235"/>
                    </a:lnTo>
                    <a:lnTo>
                      <a:pt x="3934" y="1339"/>
                    </a:lnTo>
                    <a:lnTo>
                      <a:pt x="3892" y="1360"/>
                    </a:lnTo>
                    <a:lnTo>
                      <a:pt x="3788" y="1465"/>
                    </a:lnTo>
                    <a:lnTo>
                      <a:pt x="3788" y="1590"/>
                    </a:lnTo>
                    <a:lnTo>
                      <a:pt x="3725" y="1674"/>
                    </a:lnTo>
                    <a:lnTo>
                      <a:pt x="3704" y="1758"/>
                    </a:lnTo>
                    <a:lnTo>
                      <a:pt x="3495" y="2009"/>
                    </a:lnTo>
                    <a:lnTo>
                      <a:pt x="3286" y="2176"/>
                    </a:lnTo>
                    <a:lnTo>
                      <a:pt x="3160" y="2197"/>
                    </a:lnTo>
                    <a:lnTo>
                      <a:pt x="2993" y="2281"/>
                    </a:lnTo>
                    <a:lnTo>
                      <a:pt x="2993" y="2344"/>
                    </a:lnTo>
                    <a:lnTo>
                      <a:pt x="2888" y="2344"/>
                    </a:lnTo>
                    <a:lnTo>
                      <a:pt x="2679" y="2469"/>
                    </a:lnTo>
                    <a:lnTo>
                      <a:pt x="2512" y="2616"/>
                    </a:lnTo>
                    <a:lnTo>
                      <a:pt x="2407" y="2637"/>
                    </a:lnTo>
                    <a:lnTo>
                      <a:pt x="2198" y="2783"/>
                    </a:lnTo>
                    <a:lnTo>
                      <a:pt x="2156" y="2846"/>
                    </a:lnTo>
                    <a:lnTo>
                      <a:pt x="2219" y="2929"/>
                    </a:lnTo>
                    <a:lnTo>
                      <a:pt x="2219" y="3055"/>
                    </a:lnTo>
                    <a:lnTo>
                      <a:pt x="2114" y="2950"/>
                    </a:lnTo>
                    <a:lnTo>
                      <a:pt x="2093" y="2929"/>
                    </a:lnTo>
                    <a:lnTo>
                      <a:pt x="1988" y="2950"/>
                    </a:lnTo>
                    <a:lnTo>
                      <a:pt x="1884" y="2992"/>
                    </a:lnTo>
                    <a:lnTo>
                      <a:pt x="1821" y="2950"/>
                    </a:lnTo>
                    <a:lnTo>
                      <a:pt x="1737" y="2950"/>
                    </a:lnTo>
                    <a:lnTo>
                      <a:pt x="1570" y="3118"/>
                    </a:lnTo>
                    <a:lnTo>
                      <a:pt x="1507" y="3201"/>
                    </a:lnTo>
                    <a:lnTo>
                      <a:pt x="1361" y="3327"/>
                    </a:lnTo>
                    <a:lnTo>
                      <a:pt x="1277" y="3348"/>
                    </a:lnTo>
                    <a:lnTo>
                      <a:pt x="1172" y="3453"/>
                    </a:lnTo>
                    <a:lnTo>
                      <a:pt x="1151" y="3620"/>
                    </a:lnTo>
                    <a:lnTo>
                      <a:pt x="1110" y="3536"/>
                    </a:lnTo>
                    <a:lnTo>
                      <a:pt x="1068" y="3473"/>
                    </a:lnTo>
                    <a:lnTo>
                      <a:pt x="1005" y="3557"/>
                    </a:lnTo>
                    <a:lnTo>
                      <a:pt x="942" y="3620"/>
                    </a:lnTo>
                    <a:lnTo>
                      <a:pt x="942" y="3746"/>
                    </a:lnTo>
                    <a:lnTo>
                      <a:pt x="879" y="3787"/>
                    </a:lnTo>
                    <a:lnTo>
                      <a:pt x="838" y="3766"/>
                    </a:lnTo>
                    <a:lnTo>
                      <a:pt x="670" y="3955"/>
                    </a:lnTo>
                    <a:lnTo>
                      <a:pt x="628" y="3955"/>
                    </a:lnTo>
                    <a:lnTo>
                      <a:pt x="566" y="4038"/>
                    </a:lnTo>
                    <a:lnTo>
                      <a:pt x="566" y="4206"/>
                    </a:lnTo>
                    <a:lnTo>
                      <a:pt x="524" y="4269"/>
                    </a:lnTo>
                    <a:lnTo>
                      <a:pt x="461" y="4164"/>
                    </a:lnTo>
                    <a:lnTo>
                      <a:pt x="419" y="4164"/>
                    </a:lnTo>
                    <a:lnTo>
                      <a:pt x="377" y="4206"/>
                    </a:lnTo>
                    <a:lnTo>
                      <a:pt x="335" y="4248"/>
                    </a:lnTo>
                    <a:lnTo>
                      <a:pt x="252" y="4415"/>
                    </a:lnTo>
                    <a:lnTo>
                      <a:pt x="252" y="4478"/>
                    </a:lnTo>
                    <a:lnTo>
                      <a:pt x="335" y="4582"/>
                    </a:lnTo>
                    <a:lnTo>
                      <a:pt x="377" y="4624"/>
                    </a:lnTo>
                    <a:lnTo>
                      <a:pt x="335" y="4666"/>
                    </a:lnTo>
                    <a:lnTo>
                      <a:pt x="252" y="4666"/>
                    </a:lnTo>
                    <a:lnTo>
                      <a:pt x="126" y="4687"/>
                    </a:lnTo>
                    <a:lnTo>
                      <a:pt x="1" y="4813"/>
                    </a:lnTo>
                    <a:lnTo>
                      <a:pt x="43" y="4834"/>
                    </a:lnTo>
                    <a:lnTo>
                      <a:pt x="126" y="4834"/>
                    </a:lnTo>
                    <a:lnTo>
                      <a:pt x="43" y="4896"/>
                    </a:lnTo>
                    <a:lnTo>
                      <a:pt x="43" y="5001"/>
                    </a:lnTo>
                    <a:lnTo>
                      <a:pt x="126" y="5085"/>
                    </a:lnTo>
                    <a:lnTo>
                      <a:pt x="168" y="5106"/>
                    </a:lnTo>
                    <a:lnTo>
                      <a:pt x="315" y="5106"/>
                    </a:lnTo>
                    <a:lnTo>
                      <a:pt x="335" y="5147"/>
                    </a:lnTo>
                    <a:lnTo>
                      <a:pt x="356" y="5147"/>
                    </a:lnTo>
                    <a:lnTo>
                      <a:pt x="377" y="5085"/>
                    </a:lnTo>
                    <a:lnTo>
                      <a:pt x="440" y="5085"/>
                    </a:lnTo>
                    <a:lnTo>
                      <a:pt x="524" y="5126"/>
                    </a:lnTo>
                    <a:lnTo>
                      <a:pt x="566" y="5210"/>
                    </a:lnTo>
                    <a:lnTo>
                      <a:pt x="545" y="5252"/>
                    </a:lnTo>
                    <a:lnTo>
                      <a:pt x="587" y="5315"/>
                    </a:lnTo>
                    <a:lnTo>
                      <a:pt x="670" y="5315"/>
                    </a:lnTo>
                    <a:lnTo>
                      <a:pt x="733" y="5336"/>
                    </a:lnTo>
                    <a:lnTo>
                      <a:pt x="754" y="5461"/>
                    </a:lnTo>
                    <a:lnTo>
                      <a:pt x="859" y="5545"/>
                    </a:lnTo>
                    <a:lnTo>
                      <a:pt x="942" y="5608"/>
                    </a:lnTo>
                    <a:lnTo>
                      <a:pt x="838" y="5670"/>
                    </a:lnTo>
                    <a:lnTo>
                      <a:pt x="879" y="5670"/>
                    </a:lnTo>
                    <a:lnTo>
                      <a:pt x="1005" y="5629"/>
                    </a:lnTo>
                    <a:lnTo>
                      <a:pt x="1005" y="5670"/>
                    </a:lnTo>
                    <a:lnTo>
                      <a:pt x="1110" y="5712"/>
                    </a:lnTo>
                    <a:lnTo>
                      <a:pt x="1256" y="5670"/>
                    </a:lnTo>
                    <a:lnTo>
                      <a:pt x="1465" y="5608"/>
                    </a:lnTo>
                    <a:lnTo>
                      <a:pt x="1612" y="5461"/>
                    </a:lnTo>
                    <a:lnTo>
                      <a:pt x="1737" y="5419"/>
                    </a:lnTo>
                    <a:lnTo>
                      <a:pt x="1737" y="5357"/>
                    </a:lnTo>
                    <a:lnTo>
                      <a:pt x="1716" y="5252"/>
                    </a:lnTo>
                    <a:lnTo>
                      <a:pt x="1800" y="5315"/>
                    </a:lnTo>
                    <a:lnTo>
                      <a:pt x="1779" y="5398"/>
                    </a:lnTo>
                    <a:lnTo>
                      <a:pt x="1905" y="5336"/>
                    </a:lnTo>
                    <a:lnTo>
                      <a:pt x="1926" y="5210"/>
                    </a:lnTo>
                    <a:lnTo>
                      <a:pt x="2009" y="5106"/>
                    </a:lnTo>
                    <a:lnTo>
                      <a:pt x="2198" y="5022"/>
                    </a:lnTo>
                    <a:lnTo>
                      <a:pt x="2323" y="5022"/>
                    </a:lnTo>
                    <a:lnTo>
                      <a:pt x="2365" y="5001"/>
                    </a:lnTo>
                    <a:lnTo>
                      <a:pt x="2365" y="4959"/>
                    </a:lnTo>
                    <a:lnTo>
                      <a:pt x="2260" y="4959"/>
                    </a:lnTo>
                    <a:lnTo>
                      <a:pt x="2323" y="4938"/>
                    </a:lnTo>
                    <a:lnTo>
                      <a:pt x="2344" y="4917"/>
                    </a:lnTo>
                    <a:lnTo>
                      <a:pt x="2323" y="4896"/>
                    </a:lnTo>
                    <a:lnTo>
                      <a:pt x="2449" y="4729"/>
                    </a:lnTo>
                    <a:lnTo>
                      <a:pt x="2532" y="4582"/>
                    </a:lnTo>
                    <a:lnTo>
                      <a:pt x="2574" y="4415"/>
                    </a:lnTo>
                    <a:lnTo>
                      <a:pt x="2658" y="4310"/>
                    </a:lnTo>
                    <a:lnTo>
                      <a:pt x="2930" y="4143"/>
                    </a:lnTo>
                    <a:lnTo>
                      <a:pt x="2972" y="4038"/>
                    </a:lnTo>
                    <a:lnTo>
                      <a:pt x="2993" y="3913"/>
                    </a:lnTo>
                    <a:lnTo>
                      <a:pt x="3097" y="3746"/>
                    </a:lnTo>
                    <a:lnTo>
                      <a:pt x="3160" y="3641"/>
                    </a:lnTo>
                    <a:lnTo>
                      <a:pt x="3181" y="3536"/>
                    </a:lnTo>
                    <a:lnTo>
                      <a:pt x="3265" y="3432"/>
                    </a:lnTo>
                    <a:lnTo>
                      <a:pt x="3369" y="3369"/>
                    </a:lnTo>
                    <a:lnTo>
                      <a:pt x="3390" y="3264"/>
                    </a:lnTo>
                    <a:lnTo>
                      <a:pt x="3474" y="3348"/>
                    </a:lnTo>
                    <a:lnTo>
                      <a:pt x="3516" y="3348"/>
                    </a:lnTo>
                    <a:lnTo>
                      <a:pt x="3558" y="3243"/>
                    </a:lnTo>
                    <a:lnTo>
                      <a:pt x="3662" y="3243"/>
                    </a:lnTo>
                    <a:lnTo>
                      <a:pt x="3725" y="3222"/>
                    </a:lnTo>
                    <a:lnTo>
                      <a:pt x="3788" y="3139"/>
                    </a:lnTo>
                    <a:lnTo>
                      <a:pt x="3788" y="3034"/>
                    </a:lnTo>
                    <a:lnTo>
                      <a:pt x="3704" y="2950"/>
                    </a:lnTo>
                    <a:lnTo>
                      <a:pt x="3704" y="2950"/>
                    </a:lnTo>
                    <a:lnTo>
                      <a:pt x="3809" y="3013"/>
                    </a:lnTo>
                    <a:lnTo>
                      <a:pt x="3830" y="3139"/>
                    </a:lnTo>
                    <a:lnTo>
                      <a:pt x="3892" y="3139"/>
                    </a:lnTo>
                    <a:lnTo>
                      <a:pt x="3976" y="3118"/>
                    </a:lnTo>
                    <a:lnTo>
                      <a:pt x="3976" y="3055"/>
                    </a:lnTo>
                    <a:lnTo>
                      <a:pt x="4039" y="3013"/>
                    </a:lnTo>
                    <a:lnTo>
                      <a:pt x="4123" y="3034"/>
                    </a:lnTo>
                    <a:lnTo>
                      <a:pt x="4123" y="3097"/>
                    </a:lnTo>
                    <a:lnTo>
                      <a:pt x="4018" y="3139"/>
                    </a:lnTo>
                    <a:lnTo>
                      <a:pt x="4123" y="3139"/>
                    </a:lnTo>
                    <a:lnTo>
                      <a:pt x="4227" y="3160"/>
                    </a:lnTo>
                    <a:lnTo>
                      <a:pt x="4248" y="3118"/>
                    </a:lnTo>
                    <a:lnTo>
                      <a:pt x="4248" y="3034"/>
                    </a:lnTo>
                    <a:lnTo>
                      <a:pt x="4290" y="2992"/>
                    </a:lnTo>
                    <a:lnTo>
                      <a:pt x="4311" y="3013"/>
                    </a:lnTo>
                    <a:lnTo>
                      <a:pt x="4311" y="3139"/>
                    </a:lnTo>
                    <a:lnTo>
                      <a:pt x="4332" y="3160"/>
                    </a:lnTo>
                    <a:lnTo>
                      <a:pt x="4395" y="3118"/>
                    </a:lnTo>
                    <a:lnTo>
                      <a:pt x="4416" y="2950"/>
                    </a:lnTo>
                    <a:lnTo>
                      <a:pt x="4353" y="2867"/>
                    </a:lnTo>
                    <a:lnTo>
                      <a:pt x="4290" y="2867"/>
                    </a:lnTo>
                    <a:lnTo>
                      <a:pt x="4311" y="2825"/>
                    </a:lnTo>
                    <a:lnTo>
                      <a:pt x="4311" y="2699"/>
                    </a:lnTo>
                    <a:lnTo>
                      <a:pt x="4332" y="2511"/>
                    </a:lnTo>
                    <a:lnTo>
                      <a:pt x="4416" y="2490"/>
                    </a:lnTo>
                    <a:lnTo>
                      <a:pt x="4562" y="2427"/>
                    </a:lnTo>
                    <a:lnTo>
                      <a:pt x="4750" y="2323"/>
                    </a:lnTo>
                    <a:lnTo>
                      <a:pt x="4771" y="2260"/>
                    </a:lnTo>
                    <a:lnTo>
                      <a:pt x="4918" y="2093"/>
                    </a:lnTo>
                    <a:lnTo>
                      <a:pt x="4918" y="1988"/>
                    </a:lnTo>
                    <a:lnTo>
                      <a:pt x="5043" y="1862"/>
                    </a:lnTo>
                    <a:lnTo>
                      <a:pt x="5127" y="1883"/>
                    </a:lnTo>
                    <a:lnTo>
                      <a:pt x="5127" y="1821"/>
                    </a:lnTo>
                    <a:lnTo>
                      <a:pt x="5336" y="1632"/>
                    </a:lnTo>
                    <a:lnTo>
                      <a:pt x="5336" y="1549"/>
                    </a:lnTo>
                    <a:lnTo>
                      <a:pt x="5650" y="1277"/>
                    </a:lnTo>
                    <a:lnTo>
                      <a:pt x="5755" y="1235"/>
                    </a:lnTo>
                    <a:lnTo>
                      <a:pt x="5692" y="1214"/>
                    </a:lnTo>
                    <a:lnTo>
                      <a:pt x="5671" y="1109"/>
                    </a:lnTo>
                    <a:lnTo>
                      <a:pt x="5608" y="1005"/>
                    </a:lnTo>
                    <a:lnTo>
                      <a:pt x="5650" y="900"/>
                    </a:lnTo>
                    <a:lnTo>
                      <a:pt x="5671" y="774"/>
                    </a:lnTo>
                    <a:lnTo>
                      <a:pt x="5692" y="816"/>
                    </a:lnTo>
                    <a:lnTo>
                      <a:pt x="5797" y="649"/>
                    </a:lnTo>
                    <a:lnTo>
                      <a:pt x="5713" y="691"/>
                    </a:lnTo>
                    <a:lnTo>
                      <a:pt x="5650" y="691"/>
                    </a:lnTo>
                    <a:lnTo>
                      <a:pt x="5755" y="628"/>
                    </a:lnTo>
                    <a:lnTo>
                      <a:pt x="5817" y="502"/>
                    </a:lnTo>
                    <a:lnTo>
                      <a:pt x="5797" y="502"/>
                    </a:lnTo>
                    <a:lnTo>
                      <a:pt x="5797" y="419"/>
                    </a:lnTo>
                    <a:lnTo>
                      <a:pt x="5713" y="419"/>
                    </a:lnTo>
                    <a:lnTo>
                      <a:pt x="5650" y="544"/>
                    </a:lnTo>
                    <a:lnTo>
                      <a:pt x="5671" y="586"/>
                    </a:lnTo>
                    <a:lnTo>
                      <a:pt x="5713" y="607"/>
                    </a:lnTo>
                    <a:lnTo>
                      <a:pt x="5608" y="649"/>
                    </a:lnTo>
                    <a:lnTo>
                      <a:pt x="5566" y="607"/>
                    </a:lnTo>
                    <a:lnTo>
                      <a:pt x="5566" y="544"/>
                    </a:lnTo>
                    <a:lnTo>
                      <a:pt x="5504" y="544"/>
                    </a:lnTo>
                    <a:lnTo>
                      <a:pt x="5441" y="523"/>
                    </a:lnTo>
                    <a:lnTo>
                      <a:pt x="5378" y="586"/>
                    </a:lnTo>
                    <a:lnTo>
                      <a:pt x="5294" y="691"/>
                    </a:lnTo>
                    <a:lnTo>
                      <a:pt x="5232" y="628"/>
                    </a:lnTo>
                    <a:lnTo>
                      <a:pt x="5169" y="481"/>
                    </a:lnTo>
                    <a:lnTo>
                      <a:pt x="5232" y="440"/>
                    </a:lnTo>
                    <a:lnTo>
                      <a:pt x="5273" y="377"/>
                    </a:lnTo>
                    <a:lnTo>
                      <a:pt x="5273" y="314"/>
                    </a:lnTo>
                    <a:lnTo>
                      <a:pt x="5252" y="293"/>
                    </a:lnTo>
                    <a:lnTo>
                      <a:pt x="5273" y="251"/>
                    </a:lnTo>
                    <a:lnTo>
                      <a:pt x="5232" y="209"/>
                    </a:lnTo>
                    <a:lnTo>
                      <a:pt x="5169" y="251"/>
                    </a:lnTo>
                    <a:lnTo>
                      <a:pt x="5127" y="230"/>
                    </a:lnTo>
                    <a:lnTo>
                      <a:pt x="5064" y="188"/>
                    </a:lnTo>
                    <a:lnTo>
                      <a:pt x="5085" y="105"/>
                    </a:lnTo>
                    <a:lnTo>
                      <a:pt x="516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" name="Google Shape;867;p34"/>
              <p:cNvSpPr/>
              <p:nvPr/>
            </p:nvSpPr>
            <p:spPr>
              <a:xfrm>
                <a:off x="6101375" y="3852150"/>
                <a:ext cx="82150" cy="171075"/>
              </a:xfrm>
              <a:custGeom>
                <a:avLst/>
                <a:gdLst/>
                <a:ahLst/>
                <a:cxnLst/>
                <a:rect l="l" t="t" r="r" b="b"/>
                <a:pathLst>
                  <a:path w="3286" h="6843" extrusionOk="0">
                    <a:moveTo>
                      <a:pt x="880" y="0"/>
                    </a:moveTo>
                    <a:lnTo>
                      <a:pt x="796" y="21"/>
                    </a:lnTo>
                    <a:lnTo>
                      <a:pt x="650" y="21"/>
                    </a:lnTo>
                    <a:lnTo>
                      <a:pt x="650" y="42"/>
                    </a:lnTo>
                    <a:lnTo>
                      <a:pt x="733" y="126"/>
                    </a:lnTo>
                    <a:lnTo>
                      <a:pt x="859" y="440"/>
                    </a:lnTo>
                    <a:lnTo>
                      <a:pt x="859" y="544"/>
                    </a:lnTo>
                    <a:lnTo>
                      <a:pt x="859" y="733"/>
                    </a:lnTo>
                    <a:lnTo>
                      <a:pt x="796" y="774"/>
                    </a:lnTo>
                    <a:lnTo>
                      <a:pt x="754" y="774"/>
                    </a:lnTo>
                    <a:lnTo>
                      <a:pt x="754" y="795"/>
                    </a:lnTo>
                    <a:lnTo>
                      <a:pt x="796" y="1046"/>
                    </a:lnTo>
                    <a:lnTo>
                      <a:pt x="838" y="1067"/>
                    </a:lnTo>
                    <a:lnTo>
                      <a:pt x="942" y="1026"/>
                    </a:lnTo>
                    <a:lnTo>
                      <a:pt x="1047" y="1026"/>
                    </a:lnTo>
                    <a:lnTo>
                      <a:pt x="963" y="1046"/>
                    </a:lnTo>
                    <a:lnTo>
                      <a:pt x="880" y="1151"/>
                    </a:lnTo>
                    <a:lnTo>
                      <a:pt x="901" y="1277"/>
                    </a:lnTo>
                    <a:lnTo>
                      <a:pt x="984" y="1444"/>
                    </a:lnTo>
                    <a:lnTo>
                      <a:pt x="1005" y="1716"/>
                    </a:lnTo>
                    <a:lnTo>
                      <a:pt x="1005" y="1904"/>
                    </a:lnTo>
                    <a:lnTo>
                      <a:pt x="1005" y="2030"/>
                    </a:lnTo>
                    <a:lnTo>
                      <a:pt x="1068" y="2009"/>
                    </a:lnTo>
                    <a:lnTo>
                      <a:pt x="1089" y="1904"/>
                    </a:lnTo>
                    <a:lnTo>
                      <a:pt x="1068" y="1821"/>
                    </a:lnTo>
                    <a:lnTo>
                      <a:pt x="1089" y="1800"/>
                    </a:lnTo>
                    <a:lnTo>
                      <a:pt x="1152" y="1842"/>
                    </a:lnTo>
                    <a:lnTo>
                      <a:pt x="1152" y="1967"/>
                    </a:lnTo>
                    <a:lnTo>
                      <a:pt x="1194" y="1967"/>
                    </a:lnTo>
                    <a:lnTo>
                      <a:pt x="1214" y="1904"/>
                    </a:lnTo>
                    <a:lnTo>
                      <a:pt x="1194" y="1842"/>
                    </a:lnTo>
                    <a:lnTo>
                      <a:pt x="1214" y="1842"/>
                    </a:lnTo>
                    <a:lnTo>
                      <a:pt x="1256" y="1925"/>
                    </a:lnTo>
                    <a:lnTo>
                      <a:pt x="1173" y="2030"/>
                    </a:lnTo>
                    <a:lnTo>
                      <a:pt x="1152" y="2134"/>
                    </a:lnTo>
                    <a:lnTo>
                      <a:pt x="1152" y="2197"/>
                    </a:lnTo>
                    <a:lnTo>
                      <a:pt x="1110" y="2218"/>
                    </a:lnTo>
                    <a:lnTo>
                      <a:pt x="1068" y="2134"/>
                    </a:lnTo>
                    <a:lnTo>
                      <a:pt x="1005" y="2134"/>
                    </a:lnTo>
                    <a:lnTo>
                      <a:pt x="1047" y="2323"/>
                    </a:lnTo>
                    <a:lnTo>
                      <a:pt x="1110" y="2532"/>
                    </a:lnTo>
                    <a:lnTo>
                      <a:pt x="1173" y="2553"/>
                    </a:lnTo>
                    <a:lnTo>
                      <a:pt x="1194" y="2532"/>
                    </a:lnTo>
                    <a:lnTo>
                      <a:pt x="1256" y="2616"/>
                    </a:lnTo>
                    <a:lnTo>
                      <a:pt x="1256" y="2658"/>
                    </a:lnTo>
                    <a:lnTo>
                      <a:pt x="1298" y="2699"/>
                    </a:lnTo>
                    <a:lnTo>
                      <a:pt x="1194" y="2762"/>
                    </a:lnTo>
                    <a:lnTo>
                      <a:pt x="1194" y="2825"/>
                    </a:lnTo>
                    <a:lnTo>
                      <a:pt x="1214" y="2867"/>
                    </a:lnTo>
                    <a:lnTo>
                      <a:pt x="1194" y="2950"/>
                    </a:lnTo>
                    <a:lnTo>
                      <a:pt x="1110" y="3139"/>
                    </a:lnTo>
                    <a:lnTo>
                      <a:pt x="1152" y="3243"/>
                    </a:lnTo>
                    <a:lnTo>
                      <a:pt x="1089" y="3264"/>
                    </a:lnTo>
                    <a:lnTo>
                      <a:pt x="1173" y="3348"/>
                    </a:lnTo>
                    <a:lnTo>
                      <a:pt x="1152" y="3369"/>
                    </a:lnTo>
                    <a:lnTo>
                      <a:pt x="1068" y="3369"/>
                    </a:lnTo>
                    <a:lnTo>
                      <a:pt x="1005" y="3474"/>
                    </a:lnTo>
                    <a:lnTo>
                      <a:pt x="1005" y="3536"/>
                    </a:lnTo>
                    <a:lnTo>
                      <a:pt x="1068" y="3599"/>
                    </a:lnTo>
                    <a:lnTo>
                      <a:pt x="1005" y="3641"/>
                    </a:lnTo>
                    <a:lnTo>
                      <a:pt x="942" y="3641"/>
                    </a:lnTo>
                    <a:lnTo>
                      <a:pt x="880" y="3767"/>
                    </a:lnTo>
                    <a:lnTo>
                      <a:pt x="796" y="4164"/>
                    </a:lnTo>
                    <a:lnTo>
                      <a:pt x="796" y="4269"/>
                    </a:lnTo>
                    <a:lnTo>
                      <a:pt x="733" y="4331"/>
                    </a:lnTo>
                    <a:lnTo>
                      <a:pt x="629" y="4331"/>
                    </a:lnTo>
                    <a:lnTo>
                      <a:pt x="545" y="4290"/>
                    </a:lnTo>
                    <a:lnTo>
                      <a:pt x="419" y="4311"/>
                    </a:lnTo>
                    <a:lnTo>
                      <a:pt x="210" y="4415"/>
                    </a:lnTo>
                    <a:lnTo>
                      <a:pt x="106" y="4520"/>
                    </a:lnTo>
                    <a:lnTo>
                      <a:pt x="64" y="4645"/>
                    </a:lnTo>
                    <a:lnTo>
                      <a:pt x="106" y="4834"/>
                    </a:lnTo>
                    <a:lnTo>
                      <a:pt x="210" y="4917"/>
                    </a:lnTo>
                    <a:lnTo>
                      <a:pt x="357" y="5022"/>
                    </a:lnTo>
                    <a:lnTo>
                      <a:pt x="440" y="5168"/>
                    </a:lnTo>
                    <a:lnTo>
                      <a:pt x="587" y="5231"/>
                    </a:lnTo>
                    <a:lnTo>
                      <a:pt x="650" y="5273"/>
                    </a:lnTo>
                    <a:lnTo>
                      <a:pt x="670" y="5545"/>
                    </a:lnTo>
                    <a:lnTo>
                      <a:pt x="691" y="5566"/>
                    </a:lnTo>
                    <a:lnTo>
                      <a:pt x="670" y="5587"/>
                    </a:lnTo>
                    <a:lnTo>
                      <a:pt x="670" y="5733"/>
                    </a:lnTo>
                    <a:lnTo>
                      <a:pt x="629" y="5838"/>
                    </a:lnTo>
                    <a:lnTo>
                      <a:pt x="378" y="6110"/>
                    </a:lnTo>
                    <a:lnTo>
                      <a:pt x="231" y="6277"/>
                    </a:lnTo>
                    <a:lnTo>
                      <a:pt x="43" y="6424"/>
                    </a:lnTo>
                    <a:lnTo>
                      <a:pt x="1" y="6508"/>
                    </a:lnTo>
                    <a:lnTo>
                      <a:pt x="22" y="6549"/>
                    </a:lnTo>
                    <a:lnTo>
                      <a:pt x="126" y="6591"/>
                    </a:lnTo>
                    <a:lnTo>
                      <a:pt x="147" y="6528"/>
                    </a:lnTo>
                    <a:lnTo>
                      <a:pt x="210" y="6528"/>
                    </a:lnTo>
                    <a:lnTo>
                      <a:pt x="210" y="6612"/>
                    </a:lnTo>
                    <a:lnTo>
                      <a:pt x="210" y="6675"/>
                    </a:lnTo>
                    <a:lnTo>
                      <a:pt x="231" y="6696"/>
                    </a:lnTo>
                    <a:lnTo>
                      <a:pt x="273" y="6675"/>
                    </a:lnTo>
                    <a:lnTo>
                      <a:pt x="315" y="6717"/>
                    </a:lnTo>
                    <a:lnTo>
                      <a:pt x="315" y="6800"/>
                    </a:lnTo>
                    <a:lnTo>
                      <a:pt x="336" y="6842"/>
                    </a:lnTo>
                    <a:lnTo>
                      <a:pt x="419" y="6821"/>
                    </a:lnTo>
                    <a:lnTo>
                      <a:pt x="629" y="6675"/>
                    </a:lnTo>
                    <a:lnTo>
                      <a:pt x="796" y="6528"/>
                    </a:lnTo>
                    <a:lnTo>
                      <a:pt x="984" y="6361"/>
                    </a:lnTo>
                    <a:lnTo>
                      <a:pt x="1152" y="6173"/>
                    </a:lnTo>
                    <a:lnTo>
                      <a:pt x="1319" y="5901"/>
                    </a:lnTo>
                    <a:lnTo>
                      <a:pt x="1424" y="5859"/>
                    </a:lnTo>
                    <a:lnTo>
                      <a:pt x="1507" y="5859"/>
                    </a:lnTo>
                    <a:lnTo>
                      <a:pt x="1570" y="5775"/>
                    </a:lnTo>
                    <a:lnTo>
                      <a:pt x="1570" y="5691"/>
                    </a:lnTo>
                    <a:lnTo>
                      <a:pt x="1612" y="5650"/>
                    </a:lnTo>
                    <a:lnTo>
                      <a:pt x="1717" y="5587"/>
                    </a:lnTo>
                    <a:lnTo>
                      <a:pt x="1800" y="5357"/>
                    </a:lnTo>
                    <a:lnTo>
                      <a:pt x="1905" y="5210"/>
                    </a:lnTo>
                    <a:lnTo>
                      <a:pt x="1905" y="5147"/>
                    </a:lnTo>
                    <a:lnTo>
                      <a:pt x="1989" y="5106"/>
                    </a:lnTo>
                    <a:lnTo>
                      <a:pt x="1884" y="4980"/>
                    </a:lnTo>
                    <a:lnTo>
                      <a:pt x="1717" y="4980"/>
                    </a:lnTo>
                    <a:lnTo>
                      <a:pt x="1800" y="4938"/>
                    </a:lnTo>
                    <a:lnTo>
                      <a:pt x="1884" y="4917"/>
                    </a:lnTo>
                    <a:lnTo>
                      <a:pt x="2114" y="4624"/>
                    </a:lnTo>
                    <a:lnTo>
                      <a:pt x="2240" y="4603"/>
                    </a:lnTo>
                    <a:lnTo>
                      <a:pt x="2428" y="4624"/>
                    </a:lnTo>
                    <a:lnTo>
                      <a:pt x="2512" y="4624"/>
                    </a:lnTo>
                    <a:lnTo>
                      <a:pt x="2512" y="4708"/>
                    </a:lnTo>
                    <a:lnTo>
                      <a:pt x="2512" y="4792"/>
                    </a:lnTo>
                    <a:lnTo>
                      <a:pt x="2616" y="4708"/>
                    </a:lnTo>
                    <a:lnTo>
                      <a:pt x="2679" y="4645"/>
                    </a:lnTo>
                    <a:lnTo>
                      <a:pt x="2533" y="4603"/>
                    </a:lnTo>
                    <a:lnTo>
                      <a:pt x="2554" y="4499"/>
                    </a:lnTo>
                    <a:lnTo>
                      <a:pt x="2637" y="4311"/>
                    </a:lnTo>
                    <a:lnTo>
                      <a:pt x="2679" y="4227"/>
                    </a:lnTo>
                    <a:lnTo>
                      <a:pt x="2784" y="4227"/>
                    </a:lnTo>
                    <a:lnTo>
                      <a:pt x="2826" y="4290"/>
                    </a:lnTo>
                    <a:lnTo>
                      <a:pt x="2867" y="4227"/>
                    </a:lnTo>
                    <a:lnTo>
                      <a:pt x="2930" y="4122"/>
                    </a:lnTo>
                    <a:lnTo>
                      <a:pt x="3077" y="3892"/>
                    </a:lnTo>
                    <a:lnTo>
                      <a:pt x="3077" y="3808"/>
                    </a:lnTo>
                    <a:lnTo>
                      <a:pt x="3077" y="3746"/>
                    </a:lnTo>
                    <a:lnTo>
                      <a:pt x="3098" y="3599"/>
                    </a:lnTo>
                    <a:lnTo>
                      <a:pt x="3202" y="3495"/>
                    </a:lnTo>
                    <a:lnTo>
                      <a:pt x="3286" y="3453"/>
                    </a:lnTo>
                    <a:lnTo>
                      <a:pt x="3286" y="3411"/>
                    </a:lnTo>
                    <a:lnTo>
                      <a:pt x="3160" y="3369"/>
                    </a:lnTo>
                    <a:lnTo>
                      <a:pt x="3098" y="3285"/>
                    </a:lnTo>
                    <a:lnTo>
                      <a:pt x="3139" y="3285"/>
                    </a:lnTo>
                    <a:lnTo>
                      <a:pt x="3160" y="3243"/>
                    </a:lnTo>
                    <a:lnTo>
                      <a:pt x="3035" y="3222"/>
                    </a:lnTo>
                    <a:lnTo>
                      <a:pt x="2888" y="3327"/>
                    </a:lnTo>
                    <a:lnTo>
                      <a:pt x="2679" y="3536"/>
                    </a:lnTo>
                    <a:lnTo>
                      <a:pt x="2554" y="3536"/>
                    </a:lnTo>
                    <a:lnTo>
                      <a:pt x="2470" y="3578"/>
                    </a:lnTo>
                    <a:lnTo>
                      <a:pt x="2365" y="3536"/>
                    </a:lnTo>
                    <a:lnTo>
                      <a:pt x="2135" y="3285"/>
                    </a:lnTo>
                    <a:lnTo>
                      <a:pt x="2051" y="3285"/>
                    </a:lnTo>
                    <a:lnTo>
                      <a:pt x="1989" y="3181"/>
                    </a:lnTo>
                    <a:lnTo>
                      <a:pt x="1947" y="3118"/>
                    </a:lnTo>
                    <a:lnTo>
                      <a:pt x="2010" y="3034"/>
                    </a:lnTo>
                    <a:lnTo>
                      <a:pt x="2030" y="2888"/>
                    </a:lnTo>
                    <a:lnTo>
                      <a:pt x="1926" y="2720"/>
                    </a:lnTo>
                    <a:lnTo>
                      <a:pt x="1926" y="2637"/>
                    </a:lnTo>
                    <a:lnTo>
                      <a:pt x="1905" y="2595"/>
                    </a:lnTo>
                    <a:lnTo>
                      <a:pt x="1905" y="2448"/>
                    </a:lnTo>
                    <a:lnTo>
                      <a:pt x="1947" y="2365"/>
                    </a:lnTo>
                    <a:lnTo>
                      <a:pt x="1884" y="2365"/>
                    </a:lnTo>
                    <a:lnTo>
                      <a:pt x="1884" y="2239"/>
                    </a:lnTo>
                    <a:lnTo>
                      <a:pt x="1842" y="2176"/>
                    </a:lnTo>
                    <a:lnTo>
                      <a:pt x="1800" y="2197"/>
                    </a:lnTo>
                    <a:lnTo>
                      <a:pt x="1717" y="2134"/>
                    </a:lnTo>
                    <a:lnTo>
                      <a:pt x="1675" y="2197"/>
                    </a:lnTo>
                    <a:lnTo>
                      <a:pt x="1779" y="2281"/>
                    </a:lnTo>
                    <a:lnTo>
                      <a:pt x="1738" y="2365"/>
                    </a:lnTo>
                    <a:lnTo>
                      <a:pt x="1779" y="2427"/>
                    </a:lnTo>
                    <a:lnTo>
                      <a:pt x="1696" y="2511"/>
                    </a:lnTo>
                    <a:lnTo>
                      <a:pt x="1696" y="2595"/>
                    </a:lnTo>
                    <a:lnTo>
                      <a:pt x="1779" y="2699"/>
                    </a:lnTo>
                    <a:lnTo>
                      <a:pt x="1779" y="2741"/>
                    </a:lnTo>
                    <a:lnTo>
                      <a:pt x="1675" y="2762"/>
                    </a:lnTo>
                    <a:lnTo>
                      <a:pt x="1612" y="2720"/>
                    </a:lnTo>
                    <a:lnTo>
                      <a:pt x="1591" y="2616"/>
                    </a:lnTo>
                    <a:lnTo>
                      <a:pt x="1486" y="2595"/>
                    </a:lnTo>
                    <a:lnTo>
                      <a:pt x="1486" y="2532"/>
                    </a:lnTo>
                    <a:lnTo>
                      <a:pt x="1382" y="2511"/>
                    </a:lnTo>
                    <a:lnTo>
                      <a:pt x="1319" y="2511"/>
                    </a:lnTo>
                    <a:lnTo>
                      <a:pt x="1298" y="2448"/>
                    </a:lnTo>
                    <a:lnTo>
                      <a:pt x="1403" y="2406"/>
                    </a:lnTo>
                    <a:lnTo>
                      <a:pt x="1424" y="2323"/>
                    </a:lnTo>
                    <a:lnTo>
                      <a:pt x="1319" y="2239"/>
                    </a:lnTo>
                    <a:lnTo>
                      <a:pt x="1403" y="2114"/>
                    </a:lnTo>
                    <a:lnTo>
                      <a:pt x="1486" y="2093"/>
                    </a:lnTo>
                    <a:lnTo>
                      <a:pt x="1507" y="1988"/>
                    </a:lnTo>
                    <a:lnTo>
                      <a:pt x="1486" y="1904"/>
                    </a:lnTo>
                    <a:lnTo>
                      <a:pt x="1507" y="1821"/>
                    </a:lnTo>
                    <a:lnTo>
                      <a:pt x="1466" y="1758"/>
                    </a:lnTo>
                    <a:lnTo>
                      <a:pt x="1486" y="1611"/>
                    </a:lnTo>
                    <a:lnTo>
                      <a:pt x="1361" y="1507"/>
                    </a:lnTo>
                    <a:lnTo>
                      <a:pt x="1361" y="1465"/>
                    </a:lnTo>
                    <a:lnTo>
                      <a:pt x="1424" y="1507"/>
                    </a:lnTo>
                    <a:lnTo>
                      <a:pt x="1528" y="1486"/>
                    </a:lnTo>
                    <a:lnTo>
                      <a:pt x="1570" y="1360"/>
                    </a:lnTo>
                    <a:lnTo>
                      <a:pt x="1591" y="1318"/>
                    </a:lnTo>
                    <a:lnTo>
                      <a:pt x="1591" y="1151"/>
                    </a:lnTo>
                    <a:lnTo>
                      <a:pt x="1570" y="1026"/>
                    </a:lnTo>
                    <a:lnTo>
                      <a:pt x="1570" y="921"/>
                    </a:lnTo>
                    <a:lnTo>
                      <a:pt x="1507" y="942"/>
                    </a:lnTo>
                    <a:lnTo>
                      <a:pt x="1382" y="984"/>
                    </a:lnTo>
                    <a:lnTo>
                      <a:pt x="1277" y="879"/>
                    </a:lnTo>
                    <a:lnTo>
                      <a:pt x="1361" y="837"/>
                    </a:lnTo>
                    <a:lnTo>
                      <a:pt x="1277" y="774"/>
                    </a:lnTo>
                    <a:lnTo>
                      <a:pt x="1214" y="754"/>
                    </a:lnTo>
                    <a:lnTo>
                      <a:pt x="1277" y="712"/>
                    </a:lnTo>
                    <a:lnTo>
                      <a:pt x="1361" y="649"/>
                    </a:lnTo>
                    <a:lnTo>
                      <a:pt x="1361" y="607"/>
                    </a:lnTo>
                    <a:lnTo>
                      <a:pt x="1256" y="565"/>
                    </a:lnTo>
                    <a:lnTo>
                      <a:pt x="1173" y="502"/>
                    </a:lnTo>
                    <a:lnTo>
                      <a:pt x="1089" y="544"/>
                    </a:lnTo>
                    <a:lnTo>
                      <a:pt x="1089" y="440"/>
                    </a:lnTo>
                    <a:lnTo>
                      <a:pt x="1110" y="440"/>
                    </a:lnTo>
                    <a:lnTo>
                      <a:pt x="1173" y="356"/>
                    </a:lnTo>
                    <a:lnTo>
                      <a:pt x="1110" y="356"/>
                    </a:lnTo>
                    <a:lnTo>
                      <a:pt x="1047" y="398"/>
                    </a:lnTo>
                    <a:lnTo>
                      <a:pt x="1047" y="461"/>
                    </a:lnTo>
                    <a:lnTo>
                      <a:pt x="1005" y="544"/>
                    </a:lnTo>
                    <a:lnTo>
                      <a:pt x="942" y="523"/>
                    </a:lnTo>
                    <a:lnTo>
                      <a:pt x="963" y="419"/>
                    </a:lnTo>
                    <a:lnTo>
                      <a:pt x="901" y="335"/>
                    </a:lnTo>
                    <a:lnTo>
                      <a:pt x="880" y="209"/>
                    </a:lnTo>
                    <a:lnTo>
                      <a:pt x="880" y="105"/>
                    </a:lnTo>
                    <a:lnTo>
                      <a:pt x="880" y="42"/>
                    </a:lnTo>
                    <a:lnTo>
                      <a:pt x="942" y="42"/>
                    </a:lnTo>
                    <a:lnTo>
                      <a:pt x="88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8" name="Google Shape;868;p34"/>
            <p:cNvSpPr/>
            <p:nvPr/>
          </p:nvSpPr>
          <p:spPr>
            <a:xfrm>
              <a:off x="3608564" y="2619698"/>
              <a:ext cx="60550" cy="35232"/>
            </a:xfrm>
            <a:custGeom>
              <a:avLst/>
              <a:gdLst/>
              <a:ahLst/>
              <a:cxnLst/>
              <a:rect l="l" t="t" r="r" b="b"/>
              <a:pathLst>
                <a:path w="5085" h="3098" extrusionOk="0">
                  <a:moveTo>
                    <a:pt x="900" y="1"/>
                  </a:moveTo>
                  <a:lnTo>
                    <a:pt x="733" y="22"/>
                  </a:lnTo>
                  <a:lnTo>
                    <a:pt x="733" y="64"/>
                  </a:lnTo>
                  <a:lnTo>
                    <a:pt x="775" y="126"/>
                  </a:lnTo>
                  <a:lnTo>
                    <a:pt x="837" y="126"/>
                  </a:lnTo>
                  <a:lnTo>
                    <a:pt x="858" y="64"/>
                  </a:lnTo>
                  <a:lnTo>
                    <a:pt x="942" y="64"/>
                  </a:lnTo>
                  <a:lnTo>
                    <a:pt x="984" y="126"/>
                  </a:lnTo>
                  <a:lnTo>
                    <a:pt x="1088" y="147"/>
                  </a:lnTo>
                  <a:lnTo>
                    <a:pt x="1047" y="210"/>
                  </a:lnTo>
                  <a:lnTo>
                    <a:pt x="942" y="168"/>
                  </a:lnTo>
                  <a:lnTo>
                    <a:pt x="837" y="168"/>
                  </a:lnTo>
                  <a:lnTo>
                    <a:pt x="858" y="231"/>
                  </a:lnTo>
                  <a:lnTo>
                    <a:pt x="1005" y="315"/>
                  </a:lnTo>
                  <a:lnTo>
                    <a:pt x="1109" y="440"/>
                  </a:lnTo>
                  <a:lnTo>
                    <a:pt x="1088" y="524"/>
                  </a:lnTo>
                  <a:lnTo>
                    <a:pt x="1047" y="545"/>
                  </a:lnTo>
                  <a:lnTo>
                    <a:pt x="1047" y="461"/>
                  </a:lnTo>
                  <a:lnTo>
                    <a:pt x="900" y="377"/>
                  </a:lnTo>
                  <a:lnTo>
                    <a:pt x="837" y="461"/>
                  </a:lnTo>
                  <a:lnTo>
                    <a:pt x="775" y="440"/>
                  </a:lnTo>
                  <a:lnTo>
                    <a:pt x="796" y="356"/>
                  </a:lnTo>
                  <a:lnTo>
                    <a:pt x="691" y="252"/>
                  </a:lnTo>
                  <a:lnTo>
                    <a:pt x="586" y="210"/>
                  </a:lnTo>
                  <a:lnTo>
                    <a:pt x="524" y="252"/>
                  </a:lnTo>
                  <a:lnTo>
                    <a:pt x="586" y="356"/>
                  </a:lnTo>
                  <a:lnTo>
                    <a:pt x="565" y="419"/>
                  </a:lnTo>
                  <a:lnTo>
                    <a:pt x="524" y="315"/>
                  </a:lnTo>
                  <a:lnTo>
                    <a:pt x="419" y="273"/>
                  </a:lnTo>
                  <a:lnTo>
                    <a:pt x="377" y="356"/>
                  </a:lnTo>
                  <a:lnTo>
                    <a:pt x="461" y="440"/>
                  </a:lnTo>
                  <a:lnTo>
                    <a:pt x="524" y="482"/>
                  </a:lnTo>
                  <a:lnTo>
                    <a:pt x="565" y="545"/>
                  </a:lnTo>
                  <a:lnTo>
                    <a:pt x="461" y="482"/>
                  </a:lnTo>
                  <a:lnTo>
                    <a:pt x="356" y="545"/>
                  </a:lnTo>
                  <a:lnTo>
                    <a:pt x="419" y="608"/>
                  </a:lnTo>
                  <a:lnTo>
                    <a:pt x="565" y="670"/>
                  </a:lnTo>
                  <a:lnTo>
                    <a:pt x="482" y="670"/>
                  </a:lnTo>
                  <a:lnTo>
                    <a:pt x="461" y="733"/>
                  </a:lnTo>
                  <a:lnTo>
                    <a:pt x="482" y="775"/>
                  </a:lnTo>
                  <a:lnTo>
                    <a:pt x="461" y="775"/>
                  </a:lnTo>
                  <a:lnTo>
                    <a:pt x="272" y="649"/>
                  </a:lnTo>
                  <a:lnTo>
                    <a:pt x="231" y="608"/>
                  </a:lnTo>
                  <a:lnTo>
                    <a:pt x="168" y="670"/>
                  </a:lnTo>
                  <a:lnTo>
                    <a:pt x="252" y="796"/>
                  </a:lnTo>
                  <a:lnTo>
                    <a:pt x="314" y="880"/>
                  </a:lnTo>
                  <a:lnTo>
                    <a:pt x="252" y="900"/>
                  </a:lnTo>
                  <a:lnTo>
                    <a:pt x="147" y="775"/>
                  </a:lnTo>
                  <a:lnTo>
                    <a:pt x="63" y="754"/>
                  </a:lnTo>
                  <a:lnTo>
                    <a:pt x="0" y="859"/>
                  </a:lnTo>
                  <a:lnTo>
                    <a:pt x="126" y="900"/>
                  </a:lnTo>
                  <a:lnTo>
                    <a:pt x="231" y="1005"/>
                  </a:lnTo>
                  <a:lnTo>
                    <a:pt x="356" y="1047"/>
                  </a:lnTo>
                  <a:lnTo>
                    <a:pt x="440" y="942"/>
                  </a:lnTo>
                  <a:lnTo>
                    <a:pt x="565" y="900"/>
                  </a:lnTo>
                  <a:lnTo>
                    <a:pt x="628" y="796"/>
                  </a:lnTo>
                  <a:lnTo>
                    <a:pt x="649" y="859"/>
                  </a:lnTo>
                  <a:lnTo>
                    <a:pt x="649" y="900"/>
                  </a:lnTo>
                  <a:lnTo>
                    <a:pt x="691" y="900"/>
                  </a:lnTo>
                  <a:lnTo>
                    <a:pt x="775" y="880"/>
                  </a:lnTo>
                  <a:lnTo>
                    <a:pt x="796" y="984"/>
                  </a:lnTo>
                  <a:lnTo>
                    <a:pt x="858" y="984"/>
                  </a:lnTo>
                  <a:lnTo>
                    <a:pt x="942" y="900"/>
                  </a:lnTo>
                  <a:lnTo>
                    <a:pt x="963" y="859"/>
                  </a:lnTo>
                  <a:lnTo>
                    <a:pt x="984" y="963"/>
                  </a:lnTo>
                  <a:lnTo>
                    <a:pt x="1005" y="963"/>
                  </a:lnTo>
                  <a:lnTo>
                    <a:pt x="1151" y="859"/>
                  </a:lnTo>
                  <a:lnTo>
                    <a:pt x="1109" y="900"/>
                  </a:lnTo>
                  <a:lnTo>
                    <a:pt x="1088" y="1005"/>
                  </a:lnTo>
                  <a:lnTo>
                    <a:pt x="1151" y="1047"/>
                  </a:lnTo>
                  <a:lnTo>
                    <a:pt x="1214" y="984"/>
                  </a:lnTo>
                  <a:lnTo>
                    <a:pt x="1360" y="1068"/>
                  </a:lnTo>
                  <a:lnTo>
                    <a:pt x="1277" y="1089"/>
                  </a:lnTo>
                  <a:lnTo>
                    <a:pt x="1193" y="1089"/>
                  </a:lnTo>
                  <a:lnTo>
                    <a:pt x="1109" y="1131"/>
                  </a:lnTo>
                  <a:lnTo>
                    <a:pt x="1047" y="1131"/>
                  </a:lnTo>
                  <a:lnTo>
                    <a:pt x="879" y="1214"/>
                  </a:lnTo>
                  <a:lnTo>
                    <a:pt x="879" y="1256"/>
                  </a:lnTo>
                  <a:lnTo>
                    <a:pt x="1068" y="1298"/>
                  </a:lnTo>
                  <a:lnTo>
                    <a:pt x="1172" y="1298"/>
                  </a:lnTo>
                  <a:lnTo>
                    <a:pt x="1214" y="1214"/>
                  </a:lnTo>
                  <a:lnTo>
                    <a:pt x="1277" y="1193"/>
                  </a:lnTo>
                  <a:lnTo>
                    <a:pt x="1277" y="1298"/>
                  </a:lnTo>
                  <a:lnTo>
                    <a:pt x="1193" y="1382"/>
                  </a:lnTo>
                  <a:lnTo>
                    <a:pt x="1005" y="1403"/>
                  </a:lnTo>
                  <a:lnTo>
                    <a:pt x="942" y="1382"/>
                  </a:lnTo>
                  <a:lnTo>
                    <a:pt x="858" y="1486"/>
                  </a:lnTo>
                  <a:lnTo>
                    <a:pt x="796" y="1403"/>
                  </a:lnTo>
                  <a:lnTo>
                    <a:pt x="775" y="1382"/>
                  </a:lnTo>
                  <a:lnTo>
                    <a:pt x="775" y="1319"/>
                  </a:lnTo>
                  <a:lnTo>
                    <a:pt x="691" y="1319"/>
                  </a:lnTo>
                  <a:lnTo>
                    <a:pt x="691" y="1361"/>
                  </a:lnTo>
                  <a:lnTo>
                    <a:pt x="691" y="1382"/>
                  </a:lnTo>
                  <a:lnTo>
                    <a:pt x="628" y="1465"/>
                  </a:lnTo>
                  <a:lnTo>
                    <a:pt x="544" y="1403"/>
                  </a:lnTo>
                  <a:lnTo>
                    <a:pt x="461" y="1424"/>
                  </a:lnTo>
                  <a:lnTo>
                    <a:pt x="356" y="1486"/>
                  </a:lnTo>
                  <a:lnTo>
                    <a:pt x="252" y="1424"/>
                  </a:lnTo>
                  <a:lnTo>
                    <a:pt x="168" y="1465"/>
                  </a:lnTo>
                  <a:lnTo>
                    <a:pt x="126" y="1465"/>
                  </a:lnTo>
                  <a:lnTo>
                    <a:pt x="168" y="1591"/>
                  </a:lnTo>
                  <a:lnTo>
                    <a:pt x="231" y="1654"/>
                  </a:lnTo>
                  <a:lnTo>
                    <a:pt x="377" y="1696"/>
                  </a:lnTo>
                  <a:lnTo>
                    <a:pt x="377" y="1633"/>
                  </a:lnTo>
                  <a:lnTo>
                    <a:pt x="565" y="1696"/>
                  </a:lnTo>
                  <a:lnTo>
                    <a:pt x="900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837" y="1842"/>
                  </a:lnTo>
                  <a:lnTo>
                    <a:pt x="942" y="1926"/>
                  </a:lnTo>
                  <a:lnTo>
                    <a:pt x="963" y="2009"/>
                  </a:lnTo>
                  <a:lnTo>
                    <a:pt x="1005" y="2009"/>
                  </a:lnTo>
                  <a:lnTo>
                    <a:pt x="1172" y="1905"/>
                  </a:lnTo>
                  <a:lnTo>
                    <a:pt x="1151" y="1988"/>
                  </a:lnTo>
                  <a:lnTo>
                    <a:pt x="1047" y="2030"/>
                  </a:lnTo>
                  <a:lnTo>
                    <a:pt x="984" y="2135"/>
                  </a:lnTo>
                  <a:lnTo>
                    <a:pt x="1068" y="2177"/>
                  </a:lnTo>
                  <a:lnTo>
                    <a:pt x="1214" y="2051"/>
                  </a:lnTo>
                  <a:lnTo>
                    <a:pt x="1360" y="2114"/>
                  </a:lnTo>
                  <a:lnTo>
                    <a:pt x="1381" y="2156"/>
                  </a:lnTo>
                  <a:lnTo>
                    <a:pt x="1298" y="2114"/>
                  </a:lnTo>
                  <a:lnTo>
                    <a:pt x="1193" y="2156"/>
                  </a:lnTo>
                  <a:lnTo>
                    <a:pt x="1109" y="2240"/>
                  </a:lnTo>
                  <a:lnTo>
                    <a:pt x="984" y="2240"/>
                  </a:lnTo>
                  <a:lnTo>
                    <a:pt x="984" y="2323"/>
                  </a:lnTo>
                  <a:lnTo>
                    <a:pt x="942" y="2365"/>
                  </a:lnTo>
                  <a:lnTo>
                    <a:pt x="879" y="2365"/>
                  </a:lnTo>
                  <a:lnTo>
                    <a:pt x="796" y="2407"/>
                  </a:lnTo>
                  <a:lnTo>
                    <a:pt x="775" y="2344"/>
                  </a:lnTo>
                  <a:lnTo>
                    <a:pt x="670" y="2261"/>
                  </a:lnTo>
                  <a:lnTo>
                    <a:pt x="670" y="2323"/>
                  </a:lnTo>
                  <a:lnTo>
                    <a:pt x="628" y="2323"/>
                  </a:lnTo>
                  <a:lnTo>
                    <a:pt x="649" y="2449"/>
                  </a:lnTo>
                  <a:lnTo>
                    <a:pt x="691" y="2470"/>
                  </a:lnTo>
                  <a:lnTo>
                    <a:pt x="670" y="2512"/>
                  </a:lnTo>
                  <a:lnTo>
                    <a:pt x="649" y="2700"/>
                  </a:lnTo>
                  <a:lnTo>
                    <a:pt x="775" y="2679"/>
                  </a:lnTo>
                  <a:lnTo>
                    <a:pt x="837" y="2658"/>
                  </a:lnTo>
                  <a:lnTo>
                    <a:pt x="900" y="2700"/>
                  </a:lnTo>
                  <a:lnTo>
                    <a:pt x="1088" y="2742"/>
                  </a:lnTo>
                  <a:lnTo>
                    <a:pt x="1214" y="2637"/>
                  </a:lnTo>
                  <a:lnTo>
                    <a:pt x="1360" y="2679"/>
                  </a:lnTo>
                  <a:lnTo>
                    <a:pt x="1423" y="2637"/>
                  </a:lnTo>
                  <a:lnTo>
                    <a:pt x="1465" y="2679"/>
                  </a:lnTo>
                  <a:lnTo>
                    <a:pt x="1528" y="2700"/>
                  </a:lnTo>
                  <a:lnTo>
                    <a:pt x="1632" y="2679"/>
                  </a:lnTo>
                  <a:lnTo>
                    <a:pt x="1632" y="2784"/>
                  </a:lnTo>
                  <a:lnTo>
                    <a:pt x="1779" y="2930"/>
                  </a:lnTo>
                  <a:lnTo>
                    <a:pt x="1842" y="2972"/>
                  </a:lnTo>
                  <a:lnTo>
                    <a:pt x="1946" y="2888"/>
                  </a:lnTo>
                  <a:lnTo>
                    <a:pt x="2051" y="2888"/>
                  </a:lnTo>
                  <a:lnTo>
                    <a:pt x="2239" y="3077"/>
                  </a:lnTo>
                  <a:lnTo>
                    <a:pt x="2469" y="3077"/>
                  </a:lnTo>
                  <a:lnTo>
                    <a:pt x="2574" y="3097"/>
                  </a:lnTo>
                  <a:lnTo>
                    <a:pt x="2741" y="3056"/>
                  </a:lnTo>
                  <a:lnTo>
                    <a:pt x="2721" y="2951"/>
                  </a:lnTo>
                  <a:lnTo>
                    <a:pt x="2741" y="2867"/>
                  </a:lnTo>
                  <a:lnTo>
                    <a:pt x="2762" y="2951"/>
                  </a:lnTo>
                  <a:lnTo>
                    <a:pt x="2888" y="2972"/>
                  </a:lnTo>
                  <a:lnTo>
                    <a:pt x="3034" y="2867"/>
                  </a:lnTo>
                  <a:lnTo>
                    <a:pt x="3034" y="2700"/>
                  </a:lnTo>
                  <a:lnTo>
                    <a:pt x="3181" y="2700"/>
                  </a:lnTo>
                  <a:lnTo>
                    <a:pt x="3139" y="2763"/>
                  </a:lnTo>
                  <a:lnTo>
                    <a:pt x="3181" y="2846"/>
                  </a:lnTo>
                  <a:lnTo>
                    <a:pt x="3202" y="2763"/>
                  </a:lnTo>
                  <a:lnTo>
                    <a:pt x="3306" y="2763"/>
                  </a:lnTo>
                  <a:lnTo>
                    <a:pt x="3411" y="2637"/>
                  </a:lnTo>
                  <a:lnTo>
                    <a:pt x="3474" y="2658"/>
                  </a:lnTo>
                  <a:lnTo>
                    <a:pt x="3495" y="2637"/>
                  </a:lnTo>
                  <a:lnTo>
                    <a:pt x="3599" y="2658"/>
                  </a:lnTo>
                  <a:lnTo>
                    <a:pt x="3599" y="2679"/>
                  </a:lnTo>
                  <a:lnTo>
                    <a:pt x="3662" y="2658"/>
                  </a:lnTo>
                  <a:lnTo>
                    <a:pt x="3892" y="2449"/>
                  </a:lnTo>
                  <a:lnTo>
                    <a:pt x="3976" y="2323"/>
                  </a:lnTo>
                  <a:lnTo>
                    <a:pt x="4248" y="2261"/>
                  </a:lnTo>
                  <a:lnTo>
                    <a:pt x="4332" y="2177"/>
                  </a:lnTo>
                  <a:lnTo>
                    <a:pt x="4290" y="2135"/>
                  </a:lnTo>
                  <a:lnTo>
                    <a:pt x="4311" y="2051"/>
                  </a:lnTo>
                  <a:lnTo>
                    <a:pt x="4353" y="2051"/>
                  </a:lnTo>
                  <a:lnTo>
                    <a:pt x="4394" y="2156"/>
                  </a:lnTo>
                  <a:lnTo>
                    <a:pt x="4541" y="2177"/>
                  </a:lnTo>
                  <a:lnTo>
                    <a:pt x="4625" y="2114"/>
                  </a:lnTo>
                  <a:lnTo>
                    <a:pt x="4625" y="2030"/>
                  </a:lnTo>
                  <a:lnTo>
                    <a:pt x="4604" y="2009"/>
                  </a:lnTo>
                  <a:lnTo>
                    <a:pt x="4604" y="1926"/>
                  </a:lnTo>
                  <a:lnTo>
                    <a:pt x="4666" y="1905"/>
                  </a:lnTo>
                  <a:lnTo>
                    <a:pt x="4625" y="1779"/>
                  </a:lnTo>
                  <a:lnTo>
                    <a:pt x="4666" y="1716"/>
                  </a:lnTo>
                  <a:lnTo>
                    <a:pt x="4771" y="1779"/>
                  </a:lnTo>
                  <a:lnTo>
                    <a:pt x="4771" y="1884"/>
                  </a:lnTo>
                  <a:lnTo>
                    <a:pt x="4876" y="1842"/>
                  </a:lnTo>
                  <a:lnTo>
                    <a:pt x="4938" y="1716"/>
                  </a:lnTo>
                  <a:lnTo>
                    <a:pt x="4917" y="1612"/>
                  </a:lnTo>
                  <a:lnTo>
                    <a:pt x="4813" y="1507"/>
                  </a:lnTo>
                  <a:lnTo>
                    <a:pt x="4813" y="1403"/>
                  </a:lnTo>
                  <a:lnTo>
                    <a:pt x="4855" y="1361"/>
                  </a:lnTo>
                  <a:lnTo>
                    <a:pt x="4855" y="1256"/>
                  </a:lnTo>
                  <a:lnTo>
                    <a:pt x="4959" y="1193"/>
                  </a:lnTo>
                  <a:lnTo>
                    <a:pt x="5043" y="1193"/>
                  </a:lnTo>
                  <a:lnTo>
                    <a:pt x="5085" y="1110"/>
                  </a:lnTo>
                  <a:lnTo>
                    <a:pt x="5022" y="1005"/>
                  </a:lnTo>
                  <a:lnTo>
                    <a:pt x="4771" y="984"/>
                  </a:lnTo>
                  <a:lnTo>
                    <a:pt x="4708" y="1068"/>
                  </a:lnTo>
                  <a:lnTo>
                    <a:pt x="4750" y="963"/>
                  </a:lnTo>
                  <a:lnTo>
                    <a:pt x="4750" y="859"/>
                  </a:lnTo>
                  <a:lnTo>
                    <a:pt x="4625" y="859"/>
                  </a:lnTo>
                  <a:lnTo>
                    <a:pt x="4604" y="880"/>
                  </a:lnTo>
                  <a:lnTo>
                    <a:pt x="4541" y="775"/>
                  </a:lnTo>
                  <a:lnTo>
                    <a:pt x="4625" y="670"/>
                  </a:lnTo>
                  <a:lnTo>
                    <a:pt x="4708" y="649"/>
                  </a:lnTo>
                  <a:lnTo>
                    <a:pt x="4708" y="482"/>
                  </a:lnTo>
                  <a:lnTo>
                    <a:pt x="4645" y="461"/>
                  </a:lnTo>
                  <a:lnTo>
                    <a:pt x="4562" y="545"/>
                  </a:lnTo>
                  <a:lnTo>
                    <a:pt x="4457" y="482"/>
                  </a:lnTo>
                  <a:lnTo>
                    <a:pt x="4415" y="377"/>
                  </a:lnTo>
                  <a:lnTo>
                    <a:pt x="4520" y="336"/>
                  </a:lnTo>
                  <a:lnTo>
                    <a:pt x="4541" y="252"/>
                  </a:lnTo>
                  <a:lnTo>
                    <a:pt x="4604" y="210"/>
                  </a:lnTo>
                  <a:lnTo>
                    <a:pt x="4708" y="168"/>
                  </a:lnTo>
                  <a:lnTo>
                    <a:pt x="4562" y="126"/>
                  </a:lnTo>
                  <a:lnTo>
                    <a:pt x="4499" y="147"/>
                  </a:lnTo>
                  <a:lnTo>
                    <a:pt x="4311" y="336"/>
                  </a:lnTo>
                  <a:lnTo>
                    <a:pt x="4290" y="419"/>
                  </a:lnTo>
                  <a:lnTo>
                    <a:pt x="4206" y="440"/>
                  </a:lnTo>
                  <a:lnTo>
                    <a:pt x="4122" y="315"/>
                  </a:lnTo>
                  <a:lnTo>
                    <a:pt x="4185" y="252"/>
                  </a:lnTo>
                  <a:lnTo>
                    <a:pt x="4122" y="210"/>
                  </a:lnTo>
                  <a:lnTo>
                    <a:pt x="4101" y="84"/>
                  </a:lnTo>
                  <a:lnTo>
                    <a:pt x="3997" y="64"/>
                  </a:lnTo>
                  <a:lnTo>
                    <a:pt x="3913" y="126"/>
                  </a:lnTo>
                  <a:lnTo>
                    <a:pt x="3829" y="84"/>
                  </a:lnTo>
                  <a:lnTo>
                    <a:pt x="3788" y="168"/>
                  </a:lnTo>
                  <a:lnTo>
                    <a:pt x="3829" y="315"/>
                  </a:lnTo>
                  <a:lnTo>
                    <a:pt x="3788" y="377"/>
                  </a:lnTo>
                  <a:lnTo>
                    <a:pt x="3683" y="377"/>
                  </a:lnTo>
                  <a:lnTo>
                    <a:pt x="3578" y="440"/>
                  </a:lnTo>
                  <a:lnTo>
                    <a:pt x="3557" y="336"/>
                  </a:lnTo>
                  <a:lnTo>
                    <a:pt x="3495" y="315"/>
                  </a:lnTo>
                  <a:lnTo>
                    <a:pt x="3453" y="377"/>
                  </a:lnTo>
                  <a:lnTo>
                    <a:pt x="3369" y="545"/>
                  </a:lnTo>
                  <a:lnTo>
                    <a:pt x="3265" y="545"/>
                  </a:lnTo>
                  <a:lnTo>
                    <a:pt x="3160" y="356"/>
                  </a:lnTo>
                  <a:lnTo>
                    <a:pt x="3076" y="356"/>
                  </a:lnTo>
                  <a:lnTo>
                    <a:pt x="3034" y="336"/>
                  </a:lnTo>
                  <a:lnTo>
                    <a:pt x="2951" y="356"/>
                  </a:lnTo>
                  <a:lnTo>
                    <a:pt x="2888" y="545"/>
                  </a:lnTo>
                  <a:lnTo>
                    <a:pt x="2993" y="754"/>
                  </a:lnTo>
                  <a:lnTo>
                    <a:pt x="2888" y="1047"/>
                  </a:lnTo>
                  <a:lnTo>
                    <a:pt x="2930" y="775"/>
                  </a:lnTo>
                  <a:lnTo>
                    <a:pt x="2825" y="608"/>
                  </a:lnTo>
                  <a:lnTo>
                    <a:pt x="2825" y="524"/>
                  </a:lnTo>
                  <a:lnTo>
                    <a:pt x="2762" y="482"/>
                  </a:lnTo>
                  <a:lnTo>
                    <a:pt x="2783" y="356"/>
                  </a:lnTo>
                  <a:lnTo>
                    <a:pt x="2658" y="273"/>
                  </a:lnTo>
                  <a:lnTo>
                    <a:pt x="2448" y="440"/>
                  </a:lnTo>
                  <a:lnTo>
                    <a:pt x="2428" y="566"/>
                  </a:lnTo>
                  <a:lnTo>
                    <a:pt x="2448" y="649"/>
                  </a:lnTo>
                  <a:lnTo>
                    <a:pt x="2344" y="796"/>
                  </a:lnTo>
                  <a:lnTo>
                    <a:pt x="2260" y="796"/>
                  </a:lnTo>
                  <a:lnTo>
                    <a:pt x="2260" y="649"/>
                  </a:lnTo>
                  <a:lnTo>
                    <a:pt x="2156" y="587"/>
                  </a:lnTo>
                  <a:lnTo>
                    <a:pt x="2156" y="356"/>
                  </a:lnTo>
                  <a:lnTo>
                    <a:pt x="2093" y="315"/>
                  </a:lnTo>
                  <a:lnTo>
                    <a:pt x="1925" y="440"/>
                  </a:lnTo>
                  <a:lnTo>
                    <a:pt x="1946" y="691"/>
                  </a:lnTo>
                  <a:lnTo>
                    <a:pt x="2009" y="775"/>
                  </a:lnTo>
                  <a:lnTo>
                    <a:pt x="2009" y="963"/>
                  </a:lnTo>
                  <a:lnTo>
                    <a:pt x="1925" y="1047"/>
                  </a:lnTo>
                  <a:lnTo>
                    <a:pt x="1842" y="1047"/>
                  </a:lnTo>
                  <a:lnTo>
                    <a:pt x="1821" y="900"/>
                  </a:lnTo>
                  <a:lnTo>
                    <a:pt x="1716" y="963"/>
                  </a:lnTo>
                  <a:lnTo>
                    <a:pt x="1674" y="1110"/>
                  </a:lnTo>
                  <a:lnTo>
                    <a:pt x="1612" y="1131"/>
                  </a:lnTo>
                  <a:lnTo>
                    <a:pt x="1591" y="1319"/>
                  </a:lnTo>
                  <a:lnTo>
                    <a:pt x="1507" y="1131"/>
                  </a:lnTo>
                  <a:lnTo>
                    <a:pt x="1423" y="1131"/>
                  </a:lnTo>
                  <a:lnTo>
                    <a:pt x="1465" y="1068"/>
                  </a:lnTo>
                  <a:lnTo>
                    <a:pt x="1528" y="963"/>
                  </a:lnTo>
                  <a:lnTo>
                    <a:pt x="1528" y="859"/>
                  </a:lnTo>
                  <a:lnTo>
                    <a:pt x="1402" y="859"/>
                  </a:lnTo>
                  <a:lnTo>
                    <a:pt x="1465" y="775"/>
                  </a:lnTo>
                  <a:lnTo>
                    <a:pt x="1402" y="649"/>
                  </a:lnTo>
                  <a:lnTo>
                    <a:pt x="1486" y="691"/>
                  </a:lnTo>
                  <a:lnTo>
                    <a:pt x="1570" y="608"/>
                  </a:lnTo>
                  <a:lnTo>
                    <a:pt x="1528" y="545"/>
                  </a:lnTo>
                  <a:lnTo>
                    <a:pt x="1423" y="482"/>
                  </a:lnTo>
                  <a:lnTo>
                    <a:pt x="1528" y="440"/>
                  </a:lnTo>
                  <a:lnTo>
                    <a:pt x="1465" y="336"/>
                  </a:lnTo>
                  <a:lnTo>
                    <a:pt x="1381" y="377"/>
                  </a:lnTo>
                  <a:lnTo>
                    <a:pt x="1319" y="315"/>
                  </a:lnTo>
                  <a:lnTo>
                    <a:pt x="1193" y="231"/>
                  </a:lnTo>
                  <a:lnTo>
                    <a:pt x="1193" y="126"/>
                  </a:lnTo>
                  <a:lnTo>
                    <a:pt x="1109" y="22"/>
                  </a:lnTo>
                  <a:lnTo>
                    <a:pt x="1005" y="43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" name="Google Shape;869;p34"/>
            <p:cNvSpPr/>
            <p:nvPr/>
          </p:nvSpPr>
          <p:spPr>
            <a:xfrm>
              <a:off x="4188328" y="2704412"/>
              <a:ext cx="421823" cy="300791"/>
            </a:xfrm>
            <a:custGeom>
              <a:avLst/>
              <a:gdLst/>
              <a:ahLst/>
              <a:cxnLst/>
              <a:rect l="l" t="t" r="r" b="b"/>
              <a:pathLst>
                <a:path w="35425" h="26449" extrusionOk="0">
                  <a:moveTo>
                    <a:pt x="27390" y="1"/>
                  </a:moveTo>
                  <a:lnTo>
                    <a:pt x="27369" y="21"/>
                  </a:lnTo>
                  <a:lnTo>
                    <a:pt x="27180" y="42"/>
                  </a:lnTo>
                  <a:lnTo>
                    <a:pt x="27139" y="126"/>
                  </a:lnTo>
                  <a:lnTo>
                    <a:pt x="27097" y="126"/>
                  </a:lnTo>
                  <a:lnTo>
                    <a:pt x="27055" y="189"/>
                  </a:lnTo>
                  <a:lnTo>
                    <a:pt x="26867" y="189"/>
                  </a:lnTo>
                  <a:lnTo>
                    <a:pt x="26741" y="147"/>
                  </a:lnTo>
                  <a:lnTo>
                    <a:pt x="26678" y="231"/>
                  </a:lnTo>
                  <a:lnTo>
                    <a:pt x="26574" y="231"/>
                  </a:lnTo>
                  <a:lnTo>
                    <a:pt x="26532" y="335"/>
                  </a:lnTo>
                  <a:lnTo>
                    <a:pt x="26448" y="356"/>
                  </a:lnTo>
                  <a:lnTo>
                    <a:pt x="26344" y="356"/>
                  </a:lnTo>
                  <a:lnTo>
                    <a:pt x="26260" y="398"/>
                  </a:lnTo>
                  <a:lnTo>
                    <a:pt x="26176" y="419"/>
                  </a:lnTo>
                  <a:lnTo>
                    <a:pt x="26051" y="419"/>
                  </a:lnTo>
                  <a:lnTo>
                    <a:pt x="25967" y="461"/>
                  </a:lnTo>
                  <a:lnTo>
                    <a:pt x="25967" y="545"/>
                  </a:lnTo>
                  <a:lnTo>
                    <a:pt x="25904" y="649"/>
                  </a:lnTo>
                  <a:lnTo>
                    <a:pt x="25862" y="754"/>
                  </a:lnTo>
                  <a:lnTo>
                    <a:pt x="25820" y="817"/>
                  </a:lnTo>
                  <a:lnTo>
                    <a:pt x="25820" y="858"/>
                  </a:lnTo>
                  <a:lnTo>
                    <a:pt x="25800" y="921"/>
                  </a:lnTo>
                  <a:lnTo>
                    <a:pt x="25800" y="1068"/>
                  </a:lnTo>
                  <a:lnTo>
                    <a:pt x="25820" y="1089"/>
                  </a:lnTo>
                  <a:lnTo>
                    <a:pt x="25862" y="1130"/>
                  </a:lnTo>
                  <a:lnTo>
                    <a:pt x="26009" y="1047"/>
                  </a:lnTo>
                  <a:lnTo>
                    <a:pt x="26072" y="984"/>
                  </a:lnTo>
                  <a:lnTo>
                    <a:pt x="26155" y="1005"/>
                  </a:lnTo>
                  <a:lnTo>
                    <a:pt x="26239" y="1151"/>
                  </a:lnTo>
                  <a:lnTo>
                    <a:pt x="26281" y="1256"/>
                  </a:lnTo>
                  <a:lnTo>
                    <a:pt x="26364" y="1340"/>
                  </a:lnTo>
                  <a:lnTo>
                    <a:pt x="26364" y="1402"/>
                  </a:lnTo>
                  <a:lnTo>
                    <a:pt x="26385" y="1486"/>
                  </a:lnTo>
                  <a:lnTo>
                    <a:pt x="26385" y="1612"/>
                  </a:lnTo>
                  <a:lnTo>
                    <a:pt x="26323" y="1674"/>
                  </a:lnTo>
                  <a:lnTo>
                    <a:pt x="26239" y="1779"/>
                  </a:lnTo>
                  <a:lnTo>
                    <a:pt x="26218" y="1926"/>
                  </a:lnTo>
                  <a:lnTo>
                    <a:pt x="26134" y="1988"/>
                  </a:lnTo>
                  <a:lnTo>
                    <a:pt x="26072" y="2093"/>
                  </a:lnTo>
                  <a:lnTo>
                    <a:pt x="26051" y="2198"/>
                  </a:lnTo>
                  <a:lnTo>
                    <a:pt x="26134" y="2281"/>
                  </a:lnTo>
                  <a:lnTo>
                    <a:pt x="26092" y="2344"/>
                  </a:lnTo>
                  <a:lnTo>
                    <a:pt x="26134" y="2490"/>
                  </a:lnTo>
                  <a:lnTo>
                    <a:pt x="26176" y="2532"/>
                  </a:lnTo>
                  <a:lnTo>
                    <a:pt x="26176" y="2658"/>
                  </a:lnTo>
                  <a:lnTo>
                    <a:pt x="26092" y="2700"/>
                  </a:lnTo>
                  <a:lnTo>
                    <a:pt x="26072" y="2742"/>
                  </a:lnTo>
                  <a:lnTo>
                    <a:pt x="26134" y="2846"/>
                  </a:lnTo>
                  <a:lnTo>
                    <a:pt x="26134" y="3034"/>
                  </a:lnTo>
                  <a:lnTo>
                    <a:pt x="26092" y="3076"/>
                  </a:lnTo>
                  <a:lnTo>
                    <a:pt x="26092" y="3244"/>
                  </a:lnTo>
                  <a:lnTo>
                    <a:pt x="26155" y="3244"/>
                  </a:lnTo>
                  <a:lnTo>
                    <a:pt x="26218" y="3265"/>
                  </a:lnTo>
                  <a:lnTo>
                    <a:pt x="26260" y="3244"/>
                  </a:lnTo>
                  <a:lnTo>
                    <a:pt x="26281" y="3265"/>
                  </a:lnTo>
                  <a:lnTo>
                    <a:pt x="26323" y="3390"/>
                  </a:lnTo>
                  <a:lnTo>
                    <a:pt x="26281" y="3495"/>
                  </a:lnTo>
                  <a:lnTo>
                    <a:pt x="26218" y="3578"/>
                  </a:lnTo>
                  <a:lnTo>
                    <a:pt x="26009" y="3620"/>
                  </a:lnTo>
                  <a:lnTo>
                    <a:pt x="25862" y="3704"/>
                  </a:lnTo>
                  <a:lnTo>
                    <a:pt x="25569" y="3976"/>
                  </a:lnTo>
                  <a:lnTo>
                    <a:pt x="25527" y="3997"/>
                  </a:lnTo>
                  <a:lnTo>
                    <a:pt x="25444" y="3913"/>
                  </a:lnTo>
                  <a:lnTo>
                    <a:pt x="25276" y="3892"/>
                  </a:lnTo>
                  <a:lnTo>
                    <a:pt x="25172" y="3913"/>
                  </a:lnTo>
                  <a:lnTo>
                    <a:pt x="25130" y="3871"/>
                  </a:lnTo>
                  <a:lnTo>
                    <a:pt x="25004" y="3871"/>
                  </a:lnTo>
                  <a:lnTo>
                    <a:pt x="25004" y="3892"/>
                  </a:lnTo>
                  <a:lnTo>
                    <a:pt x="24879" y="4792"/>
                  </a:lnTo>
                  <a:lnTo>
                    <a:pt x="24900" y="4959"/>
                  </a:lnTo>
                  <a:lnTo>
                    <a:pt x="24858" y="5148"/>
                  </a:lnTo>
                  <a:lnTo>
                    <a:pt x="24879" y="5252"/>
                  </a:lnTo>
                  <a:lnTo>
                    <a:pt x="24795" y="5524"/>
                  </a:lnTo>
                  <a:lnTo>
                    <a:pt x="24900" y="5692"/>
                  </a:lnTo>
                  <a:lnTo>
                    <a:pt x="25172" y="5838"/>
                  </a:lnTo>
                  <a:lnTo>
                    <a:pt x="25339" y="5671"/>
                  </a:lnTo>
                  <a:lnTo>
                    <a:pt x="25569" y="5671"/>
                  </a:lnTo>
                  <a:lnTo>
                    <a:pt x="25841" y="5734"/>
                  </a:lnTo>
                  <a:lnTo>
                    <a:pt x="25946" y="5838"/>
                  </a:lnTo>
                  <a:lnTo>
                    <a:pt x="26072" y="5629"/>
                  </a:lnTo>
                  <a:lnTo>
                    <a:pt x="26072" y="5483"/>
                  </a:lnTo>
                  <a:lnTo>
                    <a:pt x="26072" y="5378"/>
                  </a:lnTo>
                  <a:lnTo>
                    <a:pt x="26239" y="5336"/>
                  </a:lnTo>
                  <a:lnTo>
                    <a:pt x="26281" y="5273"/>
                  </a:lnTo>
                  <a:lnTo>
                    <a:pt x="26553" y="5357"/>
                  </a:lnTo>
                  <a:lnTo>
                    <a:pt x="26699" y="5545"/>
                  </a:lnTo>
                  <a:lnTo>
                    <a:pt x="26908" y="5734"/>
                  </a:lnTo>
                  <a:lnTo>
                    <a:pt x="27076" y="5943"/>
                  </a:lnTo>
                  <a:lnTo>
                    <a:pt x="27285" y="6089"/>
                  </a:lnTo>
                  <a:lnTo>
                    <a:pt x="27306" y="6194"/>
                  </a:lnTo>
                  <a:lnTo>
                    <a:pt x="27327" y="6278"/>
                  </a:lnTo>
                  <a:lnTo>
                    <a:pt x="27327" y="6382"/>
                  </a:lnTo>
                  <a:lnTo>
                    <a:pt x="27285" y="6424"/>
                  </a:lnTo>
                  <a:lnTo>
                    <a:pt x="27285" y="6508"/>
                  </a:lnTo>
                  <a:lnTo>
                    <a:pt x="27264" y="6591"/>
                  </a:lnTo>
                  <a:lnTo>
                    <a:pt x="27139" y="6571"/>
                  </a:lnTo>
                  <a:lnTo>
                    <a:pt x="27097" y="6508"/>
                  </a:lnTo>
                  <a:lnTo>
                    <a:pt x="26992" y="6529"/>
                  </a:lnTo>
                  <a:lnTo>
                    <a:pt x="26908" y="6591"/>
                  </a:lnTo>
                  <a:lnTo>
                    <a:pt x="26762" y="6508"/>
                  </a:lnTo>
                  <a:lnTo>
                    <a:pt x="26657" y="6529"/>
                  </a:lnTo>
                  <a:lnTo>
                    <a:pt x="26553" y="6675"/>
                  </a:lnTo>
                  <a:lnTo>
                    <a:pt x="26385" y="6801"/>
                  </a:lnTo>
                  <a:lnTo>
                    <a:pt x="26323" y="6843"/>
                  </a:lnTo>
                  <a:lnTo>
                    <a:pt x="26218" y="6780"/>
                  </a:lnTo>
                  <a:lnTo>
                    <a:pt x="26155" y="6801"/>
                  </a:lnTo>
                  <a:lnTo>
                    <a:pt x="26155" y="6905"/>
                  </a:lnTo>
                  <a:lnTo>
                    <a:pt x="26092" y="6947"/>
                  </a:lnTo>
                  <a:lnTo>
                    <a:pt x="26030" y="6989"/>
                  </a:lnTo>
                  <a:lnTo>
                    <a:pt x="25967" y="6947"/>
                  </a:lnTo>
                  <a:lnTo>
                    <a:pt x="25925" y="7031"/>
                  </a:lnTo>
                  <a:lnTo>
                    <a:pt x="25820" y="7198"/>
                  </a:lnTo>
                  <a:lnTo>
                    <a:pt x="25800" y="7366"/>
                  </a:lnTo>
                  <a:lnTo>
                    <a:pt x="25800" y="7470"/>
                  </a:lnTo>
                  <a:lnTo>
                    <a:pt x="25737" y="7554"/>
                  </a:lnTo>
                  <a:lnTo>
                    <a:pt x="25611" y="7575"/>
                  </a:lnTo>
                  <a:lnTo>
                    <a:pt x="25381" y="7763"/>
                  </a:lnTo>
                  <a:lnTo>
                    <a:pt x="25214" y="7763"/>
                  </a:lnTo>
                  <a:lnTo>
                    <a:pt x="25088" y="7742"/>
                  </a:lnTo>
                  <a:lnTo>
                    <a:pt x="25004" y="7784"/>
                  </a:lnTo>
                  <a:lnTo>
                    <a:pt x="24900" y="7993"/>
                  </a:lnTo>
                  <a:lnTo>
                    <a:pt x="24795" y="8077"/>
                  </a:lnTo>
                  <a:lnTo>
                    <a:pt x="24670" y="8182"/>
                  </a:lnTo>
                  <a:lnTo>
                    <a:pt x="24586" y="8265"/>
                  </a:lnTo>
                  <a:lnTo>
                    <a:pt x="24565" y="8370"/>
                  </a:lnTo>
                  <a:lnTo>
                    <a:pt x="24502" y="8370"/>
                  </a:lnTo>
                  <a:lnTo>
                    <a:pt x="24377" y="8307"/>
                  </a:lnTo>
                  <a:lnTo>
                    <a:pt x="24251" y="8286"/>
                  </a:lnTo>
                  <a:lnTo>
                    <a:pt x="24063" y="8203"/>
                  </a:lnTo>
                  <a:lnTo>
                    <a:pt x="23937" y="8140"/>
                  </a:lnTo>
                  <a:lnTo>
                    <a:pt x="23770" y="8098"/>
                  </a:lnTo>
                  <a:lnTo>
                    <a:pt x="23561" y="8161"/>
                  </a:lnTo>
                  <a:lnTo>
                    <a:pt x="23435" y="8265"/>
                  </a:lnTo>
                  <a:lnTo>
                    <a:pt x="23331" y="8391"/>
                  </a:lnTo>
                  <a:lnTo>
                    <a:pt x="23331" y="8621"/>
                  </a:lnTo>
                  <a:lnTo>
                    <a:pt x="23351" y="8768"/>
                  </a:lnTo>
                  <a:lnTo>
                    <a:pt x="23331" y="8830"/>
                  </a:lnTo>
                  <a:lnTo>
                    <a:pt x="23603" y="9019"/>
                  </a:lnTo>
                  <a:lnTo>
                    <a:pt x="23833" y="9144"/>
                  </a:lnTo>
                  <a:lnTo>
                    <a:pt x="23833" y="9228"/>
                  </a:lnTo>
                  <a:lnTo>
                    <a:pt x="23770" y="9332"/>
                  </a:lnTo>
                  <a:lnTo>
                    <a:pt x="23707" y="9437"/>
                  </a:lnTo>
                  <a:lnTo>
                    <a:pt x="23435" y="9730"/>
                  </a:lnTo>
                  <a:lnTo>
                    <a:pt x="23310" y="9960"/>
                  </a:lnTo>
                  <a:lnTo>
                    <a:pt x="23226" y="10169"/>
                  </a:lnTo>
                  <a:lnTo>
                    <a:pt x="23121" y="10169"/>
                  </a:lnTo>
                  <a:lnTo>
                    <a:pt x="22933" y="10232"/>
                  </a:lnTo>
                  <a:lnTo>
                    <a:pt x="22807" y="10232"/>
                  </a:lnTo>
                  <a:lnTo>
                    <a:pt x="22661" y="10337"/>
                  </a:lnTo>
                  <a:lnTo>
                    <a:pt x="22494" y="10462"/>
                  </a:lnTo>
                  <a:lnTo>
                    <a:pt x="22347" y="10462"/>
                  </a:lnTo>
                  <a:lnTo>
                    <a:pt x="22096" y="10483"/>
                  </a:lnTo>
                  <a:lnTo>
                    <a:pt x="21908" y="10546"/>
                  </a:lnTo>
                  <a:lnTo>
                    <a:pt x="21740" y="10588"/>
                  </a:lnTo>
                  <a:lnTo>
                    <a:pt x="21322" y="10755"/>
                  </a:lnTo>
                  <a:lnTo>
                    <a:pt x="21008" y="10860"/>
                  </a:lnTo>
                  <a:lnTo>
                    <a:pt x="20841" y="11027"/>
                  </a:lnTo>
                  <a:lnTo>
                    <a:pt x="20590" y="11216"/>
                  </a:lnTo>
                  <a:lnTo>
                    <a:pt x="20485" y="11320"/>
                  </a:lnTo>
                  <a:lnTo>
                    <a:pt x="20338" y="11320"/>
                  </a:lnTo>
                  <a:lnTo>
                    <a:pt x="20192" y="11278"/>
                  </a:lnTo>
                  <a:lnTo>
                    <a:pt x="20192" y="11216"/>
                  </a:lnTo>
                  <a:lnTo>
                    <a:pt x="20171" y="11111"/>
                  </a:lnTo>
                  <a:lnTo>
                    <a:pt x="19899" y="11195"/>
                  </a:lnTo>
                  <a:lnTo>
                    <a:pt x="19732" y="11216"/>
                  </a:lnTo>
                  <a:lnTo>
                    <a:pt x="19522" y="11111"/>
                  </a:lnTo>
                  <a:lnTo>
                    <a:pt x="19355" y="11090"/>
                  </a:lnTo>
                  <a:lnTo>
                    <a:pt x="18999" y="10965"/>
                  </a:lnTo>
                  <a:lnTo>
                    <a:pt x="18623" y="10797"/>
                  </a:lnTo>
                  <a:lnTo>
                    <a:pt x="18413" y="10609"/>
                  </a:lnTo>
                  <a:lnTo>
                    <a:pt x="18288" y="10588"/>
                  </a:lnTo>
                  <a:lnTo>
                    <a:pt x="17869" y="10567"/>
                  </a:lnTo>
                  <a:lnTo>
                    <a:pt x="17493" y="10567"/>
                  </a:lnTo>
                  <a:lnTo>
                    <a:pt x="17430" y="10546"/>
                  </a:lnTo>
                  <a:lnTo>
                    <a:pt x="17367" y="10588"/>
                  </a:lnTo>
                  <a:lnTo>
                    <a:pt x="17325" y="10651"/>
                  </a:lnTo>
                  <a:lnTo>
                    <a:pt x="17137" y="10713"/>
                  </a:lnTo>
                  <a:lnTo>
                    <a:pt x="16865" y="10755"/>
                  </a:lnTo>
                  <a:lnTo>
                    <a:pt x="16384" y="10693"/>
                  </a:lnTo>
                  <a:lnTo>
                    <a:pt x="16028" y="10713"/>
                  </a:lnTo>
                  <a:lnTo>
                    <a:pt x="15777" y="10693"/>
                  </a:lnTo>
                  <a:lnTo>
                    <a:pt x="15547" y="10713"/>
                  </a:lnTo>
                  <a:lnTo>
                    <a:pt x="15442" y="10755"/>
                  </a:lnTo>
                  <a:lnTo>
                    <a:pt x="15338" y="10713"/>
                  </a:lnTo>
                  <a:lnTo>
                    <a:pt x="15191" y="10462"/>
                  </a:lnTo>
                  <a:lnTo>
                    <a:pt x="15149" y="10337"/>
                  </a:lnTo>
                  <a:lnTo>
                    <a:pt x="15024" y="10169"/>
                  </a:lnTo>
                  <a:lnTo>
                    <a:pt x="14919" y="10044"/>
                  </a:lnTo>
                  <a:lnTo>
                    <a:pt x="14856" y="9877"/>
                  </a:lnTo>
                  <a:lnTo>
                    <a:pt x="14856" y="9814"/>
                  </a:lnTo>
                  <a:lnTo>
                    <a:pt x="14752" y="9709"/>
                  </a:lnTo>
                  <a:lnTo>
                    <a:pt x="14668" y="9667"/>
                  </a:lnTo>
                  <a:lnTo>
                    <a:pt x="14626" y="9667"/>
                  </a:lnTo>
                  <a:lnTo>
                    <a:pt x="14584" y="9604"/>
                  </a:lnTo>
                  <a:lnTo>
                    <a:pt x="14564" y="9500"/>
                  </a:lnTo>
                  <a:lnTo>
                    <a:pt x="14333" y="9500"/>
                  </a:lnTo>
                  <a:lnTo>
                    <a:pt x="14187" y="9416"/>
                  </a:lnTo>
                  <a:lnTo>
                    <a:pt x="13978" y="9249"/>
                  </a:lnTo>
                  <a:lnTo>
                    <a:pt x="13873" y="9249"/>
                  </a:lnTo>
                  <a:lnTo>
                    <a:pt x="13768" y="9228"/>
                  </a:lnTo>
                  <a:lnTo>
                    <a:pt x="13706" y="9186"/>
                  </a:lnTo>
                  <a:lnTo>
                    <a:pt x="13517" y="9040"/>
                  </a:lnTo>
                  <a:lnTo>
                    <a:pt x="13141" y="8977"/>
                  </a:lnTo>
                  <a:lnTo>
                    <a:pt x="13099" y="8977"/>
                  </a:lnTo>
                  <a:lnTo>
                    <a:pt x="13057" y="9019"/>
                  </a:lnTo>
                  <a:lnTo>
                    <a:pt x="12890" y="9019"/>
                  </a:lnTo>
                  <a:lnTo>
                    <a:pt x="12639" y="9040"/>
                  </a:lnTo>
                  <a:lnTo>
                    <a:pt x="12053" y="8914"/>
                  </a:lnTo>
                  <a:lnTo>
                    <a:pt x="11948" y="8830"/>
                  </a:lnTo>
                  <a:lnTo>
                    <a:pt x="11823" y="8663"/>
                  </a:lnTo>
                  <a:lnTo>
                    <a:pt x="11802" y="8558"/>
                  </a:lnTo>
                  <a:lnTo>
                    <a:pt x="11802" y="8475"/>
                  </a:lnTo>
                  <a:lnTo>
                    <a:pt x="11823" y="8412"/>
                  </a:lnTo>
                  <a:lnTo>
                    <a:pt x="11906" y="8349"/>
                  </a:lnTo>
                  <a:lnTo>
                    <a:pt x="11948" y="8244"/>
                  </a:lnTo>
                  <a:lnTo>
                    <a:pt x="11885" y="8161"/>
                  </a:lnTo>
                  <a:lnTo>
                    <a:pt x="11843" y="8035"/>
                  </a:lnTo>
                  <a:lnTo>
                    <a:pt x="11885" y="7952"/>
                  </a:lnTo>
                  <a:lnTo>
                    <a:pt x="11885" y="7826"/>
                  </a:lnTo>
                  <a:lnTo>
                    <a:pt x="11823" y="7763"/>
                  </a:lnTo>
                  <a:lnTo>
                    <a:pt x="11739" y="7638"/>
                  </a:lnTo>
                  <a:lnTo>
                    <a:pt x="11676" y="7575"/>
                  </a:lnTo>
                  <a:lnTo>
                    <a:pt x="11592" y="7533"/>
                  </a:lnTo>
                  <a:lnTo>
                    <a:pt x="11530" y="7428"/>
                  </a:lnTo>
                  <a:lnTo>
                    <a:pt x="11488" y="7345"/>
                  </a:lnTo>
                  <a:lnTo>
                    <a:pt x="11446" y="7240"/>
                  </a:lnTo>
                  <a:lnTo>
                    <a:pt x="11425" y="7136"/>
                  </a:lnTo>
                  <a:lnTo>
                    <a:pt x="11383" y="7052"/>
                  </a:lnTo>
                  <a:lnTo>
                    <a:pt x="11279" y="6989"/>
                  </a:lnTo>
                  <a:lnTo>
                    <a:pt x="11195" y="6947"/>
                  </a:lnTo>
                  <a:lnTo>
                    <a:pt x="11153" y="6884"/>
                  </a:lnTo>
                  <a:lnTo>
                    <a:pt x="11069" y="6843"/>
                  </a:lnTo>
                  <a:lnTo>
                    <a:pt x="10965" y="6843"/>
                  </a:lnTo>
                  <a:lnTo>
                    <a:pt x="10902" y="6905"/>
                  </a:lnTo>
                  <a:lnTo>
                    <a:pt x="10860" y="6926"/>
                  </a:lnTo>
                  <a:lnTo>
                    <a:pt x="10776" y="6905"/>
                  </a:lnTo>
                  <a:lnTo>
                    <a:pt x="10693" y="6801"/>
                  </a:lnTo>
                  <a:lnTo>
                    <a:pt x="10672" y="6738"/>
                  </a:lnTo>
                  <a:lnTo>
                    <a:pt x="10567" y="6738"/>
                  </a:lnTo>
                  <a:lnTo>
                    <a:pt x="10442" y="6801"/>
                  </a:lnTo>
                  <a:lnTo>
                    <a:pt x="10400" y="6843"/>
                  </a:lnTo>
                  <a:lnTo>
                    <a:pt x="10379" y="6926"/>
                  </a:lnTo>
                  <a:lnTo>
                    <a:pt x="10337" y="6926"/>
                  </a:lnTo>
                  <a:lnTo>
                    <a:pt x="10211" y="6843"/>
                  </a:lnTo>
                  <a:lnTo>
                    <a:pt x="10170" y="6780"/>
                  </a:lnTo>
                  <a:lnTo>
                    <a:pt x="10170" y="6717"/>
                  </a:lnTo>
                  <a:lnTo>
                    <a:pt x="10107" y="6633"/>
                  </a:lnTo>
                  <a:lnTo>
                    <a:pt x="10002" y="6571"/>
                  </a:lnTo>
                  <a:lnTo>
                    <a:pt x="9877" y="6466"/>
                  </a:lnTo>
                  <a:lnTo>
                    <a:pt x="9835" y="6424"/>
                  </a:lnTo>
                  <a:lnTo>
                    <a:pt x="9751" y="6382"/>
                  </a:lnTo>
                  <a:lnTo>
                    <a:pt x="9730" y="6299"/>
                  </a:lnTo>
                  <a:lnTo>
                    <a:pt x="9730" y="6215"/>
                  </a:lnTo>
                  <a:lnTo>
                    <a:pt x="9709" y="6173"/>
                  </a:lnTo>
                  <a:lnTo>
                    <a:pt x="9688" y="6173"/>
                  </a:lnTo>
                  <a:lnTo>
                    <a:pt x="9688" y="6215"/>
                  </a:lnTo>
                  <a:lnTo>
                    <a:pt x="9646" y="6215"/>
                  </a:lnTo>
                  <a:lnTo>
                    <a:pt x="9605" y="6152"/>
                  </a:lnTo>
                  <a:lnTo>
                    <a:pt x="9584" y="6110"/>
                  </a:lnTo>
                  <a:lnTo>
                    <a:pt x="9584" y="5985"/>
                  </a:lnTo>
                  <a:lnTo>
                    <a:pt x="9542" y="5943"/>
                  </a:lnTo>
                  <a:lnTo>
                    <a:pt x="9521" y="5943"/>
                  </a:lnTo>
                  <a:lnTo>
                    <a:pt x="9395" y="5880"/>
                  </a:lnTo>
                  <a:lnTo>
                    <a:pt x="9312" y="5880"/>
                  </a:lnTo>
                  <a:lnTo>
                    <a:pt x="9333" y="5901"/>
                  </a:lnTo>
                  <a:lnTo>
                    <a:pt x="9228" y="6006"/>
                  </a:lnTo>
                  <a:lnTo>
                    <a:pt x="9123" y="6068"/>
                  </a:lnTo>
                  <a:lnTo>
                    <a:pt x="8998" y="6215"/>
                  </a:lnTo>
                  <a:lnTo>
                    <a:pt x="8977" y="6319"/>
                  </a:lnTo>
                  <a:lnTo>
                    <a:pt x="9019" y="6382"/>
                  </a:lnTo>
                  <a:lnTo>
                    <a:pt x="8956" y="6508"/>
                  </a:lnTo>
                  <a:lnTo>
                    <a:pt x="8768" y="6571"/>
                  </a:lnTo>
                  <a:lnTo>
                    <a:pt x="8684" y="6633"/>
                  </a:lnTo>
                  <a:lnTo>
                    <a:pt x="8663" y="6780"/>
                  </a:lnTo>
                  <a:lnTo>
                    <a:pt x="8663" y="7010"/>
                  </a:lnTo>
                  <a:lnTo>
                    <a:pt x="8768" y="7240"/>
                  </a:lnTo>
                  <a:lnTo>
                    <a:pt x="8872" y="7408"/>
                  </a:lnTo>
                  <a:lnTo>
                    <a:pt x="8872" y="7470"/>
                  </a:lnTo>
                  <a:lnTo>
                    <a:pt x="8705" y="7638"/>
                  </a:lnTo>
                  <a:lnTo>
                    <a:pt x="8579" y="7680"/>
                  </a:lnTo>
                  <a:lnTo>
                    <a:pt x="8496" y="7784"/>
                  </a:lnTo>
                  <a:lnTo>
                    <a:pt x="8433" y="7826"/>
                  </a:lnTo>
                  <a:lnTo>
                    <a:pt x="8349" y="7826"/>
                  </a:lnTo>
                  <a:lnTo>
                    <a:pt x="8307" y="7742"/>
                  </a:lnTo>
                  <a:lnTo>
                    <a:pt x="8245" y="7742"/>
                  </a:lnTo>
                  <a:lnTo>
                    <a:pt x="8014" y="7784"/>
                  </a:lnTo>
                  <a:lnTo>
                    <a:pt x="7847" y="7763"/>
                  </a:lnTo>
                  <a:lnTo>
                    <a:pt x="7638" y="7680"/>
                  </a:lnTo>
                  <a:lnTo>
                    <a:pt x="7429" y="7680"/>
                  </a:lnTo>
                  <a:lnTo>
                    <a:pt x="7387" y="7952"/>
                  </a:lnTo>
                  <a:lnTo>
                    <a:pt x="7324" y="8098"/>
                  </a:lnTo>
                  <a:lnTo>
                    <a:pt x="7324" y="8244"/>
                  </a:lnTo>
                  <a:lnTo>
                    <a:pt x="7261" y="8579"/>
                  </a:lnTo>
                  <a:lnTo>
                    <a:pt x="7261" y="8830"/>
                  </a:lnTo>
                  <a:lnTo>
                    <a:pt x="7240" y="8914"/>
                  </a:lnTo>
                  <a:lnTo>
                    <a:pt x="7303" y="8977"/>
                  </a:lnTo>
                  <a:lnTo>
                    <a:pt x="7429" y="9019"/>
                  </a:lnTo>
                  <a:lnTo>
                    <a:pt x="7387" y="9144"/>
                  </a:lnTo>
                  <a:lnTo>
                    <a:pt x="7387" y="9228"/>
                  </a:lnTo>
                  <a:lnTo>
                    <a:pt x="7303" y="9228"/>
                  </a:lnTo>
                  <a:lnTo>
                    <a:pt x="7219" y="9291"/>
                  </a:lnTo>
                  <a:lnTo>
                    <a:pt x="7136" y="9291"/>
                  </a:lnTo>
                  <a:lnTo>
                    <a:pt x="7073" y="9228"/>
                  </a:lnTo>
                  <a:lnTo>
                    <a:pt x="6989" y="9249"/>
                  </a:lnTo>
                  <a:lnTo>
                    <a:pt x="6864" y="9291"/>
                  </a:lnTo>
                  <a:lnTo>
                    <a:pt x="6592" y="9332"/>
                  </a:lnTo>
                  <a:lnTo>
                    <a:pt x="6445" y="9416"/>
                  </a:lnTo>
                  <a:lnTo>
                    <a:pt x="6341" y="9416"/>
                  </a:lnTo>
                  <a:lnTo>
                    <a:pt x="6278" y="9353"/>
                  </a:lnTo>
                  <a:lnTo>
                    <a:pt x="6173" y="9416"/>
                  </a:lnTo>
                  <a:lnTo>
                    <a:pt x="6069" y="9521"/>
                  </a:lnTo>
                  <a:lnTo>
                    <a:pt x="6069" y="9604"/>
                  </a:lnTo>
                  <a:lnTo>
                    <a:pt x="6173" y="9667"/>
                  </a:lnTo>
                  <a:lnTo>
                    <a:pt x="6341" y="9646"/>
                  </a:lnTo>
                  <a:lnTo>
                    <a:pt x="6466" y="9667"/>
                  </a:lnTo>
                  <a:lnTo>
                    <a:pt x="6466" y="9730"/>
                  </a:lnTo>
                  <a:lnTo>
                    <a:pt x="6382" y="9814"/>
                  </a:lnTo>
                  <a:lnTo>
                    <a:pt x="6445" y="9981"/>
                  </a:lnTo>
                  <a:lnTo>
                    <a:pt x="6445" y="10065"/>
                  </a:lnTo>
                  <a:lnTo>
                    <a:pt x="6487" y="10149"/>
                  </a:lnTo>
                  <a:lnTo>
                    <a:pt x="6508" y="10253"/>
                  </a:lnTo>
                  <a:lnTo>
                    <a:pt x="6613" y="10441"/>
                  </a:lnTo>
                  <a:lnTo>
                    <a:pt x="6654" y="10546"/>
                  </a:lnTo>
                  <a:lnTo>
                    <a:pt x="6780" y="10609"/>
                  </a:lnTo>
                  <a:lnTo>
                    <a:pt x="6822" y="10860"/>
                  </a:lnTo>
                  <a:lnTo>
                    <a:pt x="6738" y="10923"/>
                  </a:lnTo>
                  <a:lnTo>
                    <a:pt x="6696" y="11027"/>
                  </a:lnTo>
                  <a:lnTo>
                    <a:pt x="6801" y="11132"/>
                  </a:lnTo>
                  <a:lnTo>
                    <a:pt x="6738" y="11174"/>
                  </a:lnTo>
                  <a:lnTo>
                    <a:pt x="6738" y="11216"/>
                  </a:lnTo>
                  <a:lnTo>
                    <a:pt x="6613" y="11299"/>
                  </a:lnTo>
                  <a:lnTo>
                    <a:pt x="6654" y="11446"/>
                  </a:lnTo>
                  <a:lnTo>
                    <a:pt x="6508" y="11509"/>
                  </a:lnTo>
                  <a:lnTo>
                    <a:pt x="6278" y="11446"/>
                  </a:lnTo>
                  <a:lnTo>
                    <a:pt x="6027" y="11174"/>
                  </a:lnTo>
                  <a:lnTo>
                    <a:pt x="5922" y="11195"/>
                  </a:lnTo>
                  <a:lnTo>
                    <a:pt x="5671" y="11090"/>
                  </a:lnTo>
                  <a:lnTo>
                    <a:pt x="5336" y="11090"/>
                  </a:lnTo>
                  <a:lnTo>
                    <a:pt x="5148" y="11132"/>
                  </a:lnTo>
                  <a:lnTo>
                    <a:pt x="4876" y="11069"/>
                  </a:lnTo>
                  <a:lnTo>
                    <a:pt x="4583" y="11132"/>
                  </a:lnTo>
                  <a:lnTo>
                    <a:pt x="4457" y="11132"/>
                  </a:lnTo>
                  <a:lnTo>
                    <a:pt x="4311" y="11111"/>
                  </a:lnTo>
                  <a:lnTo>
                    <a:pt x="4206" y="11195"/>
                  </a:lnTo>
                  <a:lnTo>
                    <a:pt x="4102" y="11237"/>
                  </a:lnTo>
                  <a:lnTo>
                    <a:pt x="3767" y="11195"/>
                  </a:lnTo>
                  <a:lnTo>
                    <a:pt x="3558" y="11132"/>
                  </a:lnTo>
                  <a:lnTo>
                    <a:pt x="3432" y="11069"/>
                  </a:lnTo>
                  <a:lnTo>
                    <a:pt x="3244" y="11069"/>
                  </a:lnTo>
                  <a:lnTo>
                    <a:pt x="3202" y="11111"/>
                  </a:lnTo>
                  <a:lnTo>
                    <a:pt x="3035" y="11090"/>
                  </a:lnTo>
                  <a:lnTo>
                    <a:pt x="2930" y="11069"/>
                  </a:lnTo>
                  <a:lnTo>
                    <a:pt x="2888" y="11111"/>
                  </a:lnTo>
                  <a:lnTo>
                    <a:pt x="2888" y="11237"/>
                  </a:lnTo>
                  <a:lnTo>
                    <a:pt x="2909" y="11383"/>
                  </a:lnTo>
                  <a:lnTo>
                    <a:pt x="2930" y="11509"/>
                  </a:lnTo>
                  <a:lnTo>
                    <a:pt x="2742" y="11550"/>
                  </a:lnTo>
                  <a:lnTo>
                    <a:pt x="2386" y="11550"/>
                  </a:lnTo>
                  <a:lnTo>
                    <a:pt x="1968" y="11509"/>
                  </a:lnTo>
                  <a:lnTo>
                    <a:pt x="1863" y="11446"/>
                  </a:lnTo>
                  <a:lnTo>
                    <a:pt x="1675" y="11425"/>
                  </a:lnTo>
                  <a:lnTo>
                    <a:pt x="1570" y="11550"/>
                  </a:lnTo>
                  <a:lnTo>
                    <a:pt x="1591" y="11613"/>
                  </a:lnTo>
                  <a:lnTo>
                    <a:pt x="1465" y="11697"/>
                  </a:lnTo>
                  <a:lnTo>
                    <a:pt x="1465" y="11739"/>
                  </a:lnTo>
                  <a:lnTo>
                    <a:pt x="1507" y="11739"/>
                  </a:lnTo>
                  <a:lnTo>
                    <a:pt x="1507" y="11864"/>
                  </a:lnTo>
                  <a:lnTo>
                    <a:pt x="1340" y="12157"/>
                  </a:lnTo>
                  <a:lnTo>
                    <a:pt x="1256" y="12283"/>
                  </a:lnTo>
                  <a:lnTo>
                    <a:pt x="1361" y="12366"/>
                  </a:lnTo>
                  <a:lnTo>
                    <a:pt x="1633" y="12450"/>
                  </a:lnTo>
                  <a:lnTo>
                    <a:pt x="1737" y="12555"/>
                  </a:lnTo>
                  <a:lnTo>
                    <a:pt x="1842" y="12576"/>
                  </a:lnTo>
                  <a:lnTo>
                    <a:pt x="1947" y="12471"/>
                  </a:lnTo>
                  <a:lnTo>
                    <a:pt x="1947" y="12325"/>
                  </a:lnTo>
                  <a:lnTo>
                    <a:pt x="2009" y="12325"/>
                  </a:lnTo>
                  <a:lnTo>
                    <a:pt x="2302" y="12555"/>
                  </a:lnTo>
                  <a:lnTo>
                    <a:pt x="2323" y="12659"/>
                  </a:lnTo>
                  <a:lnTo>
                    <a:pt x="2177" y="12848"/>
                  </a:lnTo>
                  <a:lnTo>
                    <a:pt x="1968" y="12848"/>
                  </a:lnTo>
                  <a:lnTo>
                    <a:pt x="1675" y="12890"/>
                  </a:lnTo>
                  <a:lnTo>
                    <a:pt x="1654" y="12785"/>
                  </a:lnTo>
                  <a:lnTo>
                    <a:pt x="1507" y="12659"/>
                  </a:lnTo>
                  <a:lnTo>
                    <a:pt x="1340" y="12869"/>
                  </a:lnTo>
                  <a:lnTo>
                    <a:pt x="1235" y="12848"/>
                  </a:lnTo>
                  <a:lnTo>
                    <a:pt x="1068" y="12973"/>
                  </a:lnTo>
                  <a:lnTo>
                    <a:pt x="921" y="13015"/>
                  </a:lnTo>
                  <a:lnTo>
                    <a:pt x="921" y="13162"/>
                  </a:lnTo>
                  <a:lnTo>
                    <a:pt x="1110" y="13224"/>
                  </a:lnTo>
                  <a:lnTo>
                    <a:pt x="1068" y="13371"/>
                  </a:lnTo>
                  <a:lnTo>
                    <a:pt x="900" y="13434"/>
                  </a:lnTo>
                  <a:lnTo>
                    <a:pt x="628" y="13496"/>
                  </a:lnTo>
                  <a:lnTo>
                    <a:pt x="691" y="13538"/>
                  </a:lnTo>
                  <a:lnTo>
                    <a:pt x="733" y="13622"/>
                  </a:lnTo>
                  <a:lnTo>
                    <a:pt x="503" y="13706"/>
                  </a:lnTo>
                  <a:lnTo>
                    <a:pt x="503" y="13831"/>
                  </a:lnTo>
                  <a:lnTo>
                    <a:pt x="398" y="13852"/>
                  </a:lnTo>
                  <a:lnTo>
                    <a:pt x="126" y="13831"/>
                  </a:lnTo>
                  <a:lnTo>
                    <a:pt x="1" y="13936"/>
                  </a:lnTo>
                  <a:lnTo>
                    <a:pt x="1" y="14103"/>
                  </a:lnTo>
                  <a:lnTo>
                    <a:pt x="168" y="14333"/>
                  </a:lnTo>
                  <a:lnTo>
                    <a:pt x="273" y="14270"/>
                  </a:lnTo>
                  <a:lnTo>
                    <a:pt x="419" y="14250"/>
                  </a:lnTo>
                  <a:lnTo>
                    <a:pt x="440" y="14375"/>
                  </a:lnTo>
                  <a:lnTo>
                    <a:pt x="398" y="14522"/>
                  </a:lnTo>
                  <a:lnTo>
                    <a:pt x="461" y="14668"/>
                  </a:lnTo>
                  <a:lnTo>
                    <a:pt x="587" y="14731"/>
                  </a:lnTo>
                  <a:lnTo>
                    <a:pt x="607" y="14877"/>
                  </a:lnTo>
                  <a:lnTo>
                    <a:pt x="545" y="14940"/>
                  </a:lnTo>
                  <a:lnTo>
                    <a:pt x="419" y="15212"/>
                  </a:lnTo>
                  <a:lnTo>
                    <a:pt x="377" y="15589"/>
                  </a:lnTo>
                  <a:lnTo>
                    <a:pt x="335" y="15526"/>
                  </a:lnTo>
                  <a:lnTo>
                    <a:pt x="440" y="15693"/>
                  </a:lnTo>
                  <a:lnTo>
                    <a:pt x="545" y="15714"/>
                  </a:lnTo>
                  <a:lnTo>
                    <a:pt x="733" y="15693"/>
                  </a:lnTo>
                  <a:lnTo>
                    <a:pt x="859" y="15610"/>
                  </a:lnTo>
                  <a:lnTo>
                    <a:pt x="921" y="15526"/>
                  </a:lnTo>
                  <a:lnTo>
                    <a:pt x="984" y="15505"/>
                  </a:lnTo>
                  <a:lnTo>
                    <a:pt x="1047" y="15463"/>
                  </a:lnTo>
                  <a:lnTo>
                    <a:pt x="1110" y="15484"/>
                  </a:lnTo>
                  <a:lnTo>
                    <a:pt x="1172" y="15568"/>
                  </a:lnTo>
                  <a:lnTo>
                    <a:pt x="1361" y="15589"/>
                  </a:lnTo>
                  <a:lnTo>
                    <a:pt x="1361" y="15505"/>
                  </a:lnTo>
                  <a:lnTo>
                    <a:pt x="1319" y="15463"/>
                  </a:lnTo>
                  <a:lnTo>
                    <a:pt x="1319" y="15358"/>
                  </a:lnTo>
                  <a:lnTo>
                    <a:pt x="1444" y="15317"/>
                  </a:lnTo>
                  <a:lnTo>
                    <a:pt x="1486" y="15275"/>
                  </a:lnTo>
                  <a:lnTo>
                    <a:pt x="1549" y="15275"/>
                  </a:lnTo>
                  <a:lnTo>
                    <a:pt x="1570" y="15317"/>
                  </a:lnTo>
                  <a:lnTo>
                    <a:pt x="1695" y="15317"/>
                  </a:lnTo>
                  <a:lnTo>
                    <a:pt x="1779" y="15191"/>
                  </a:lnTo>
                  <a:lnTo>
                    <a:pt x="1758" y="15045"/>
                  </a:lnTo>
                  <a:lnTo>
                    <a:pt x="1779" y="14961"/>
                  </a:lnTo>
                  <a:lnTo>
                    <a:pt x="1863" y="14898"/>
                  </a:lnTo>
                  <a:lnTo>
                    <a:pt x="1884" y="14731"/>
                  </a:lnTo>
                  <a:lnTo>
                    <a:pt x="1947" y="14626"/>
                  </a:lnTo>
                  <a:lnTo>
                    <a:pt x="2072" y="14626"/>
                  </a:lnTo>
                  <a:lnTo>
                    <a:pt x="2177" y="14689"/>
                  </a:lnTo>
                  <a:lnTo>
                    <a:pt x="2281" y="14752"/>
                  </a:lnTo>
                  <a:lnTo>
                    <a:pt x="2281" y="14835"/>
                  </a:lnTo>
                  <a:lnTo>
                    <a:pt x="2260" y="14982"/>
                  </a:lnTo>
                  <a:lnTo>
                    <a:pt x="2281" y="15086"/>
                  </a:lnTo>
                  <a:lnTo>
                    <a:pt x="2386" y="15086"/>
                  </a:lnTo>
                  <a:lnTo>
                    <a:pt x="2428" y="15191"/>
                  </a:lnTo>
                  <a:lnTo>
                    <a:pt x="2407" y="15317"/>
                  </a:lnTo>
                  <a:lnTo>
                    <a:pt x="2428" y="15463"/>
                  </a:lnTo>
                  <a:lnTo>
                    <a:pt x="2428" y="15672"/>
                  </a:lnTo>
                  <a:lnTo>
                    <a:pt x="2532" y="15798"/>
                  </a:lnTo>
                  <a:lnTo>
                    <a:pt x="2532" y="15882"/>
                  </a:lnTo>
                  <a:lnTo>
                    <a:pt x="2637" y="15903"/>
                  </a:lnTo>
                  <a:lnTo>
                    <a:pt x="2784" y="15903"/>
                  </a:lnTo>
                  <a:lnTo>
                    <a:pt x="2888" y="15819"/>
                  </a:lnTo>
                  <a:lnTo>
                    <a:pt x="2909" y="15777"/>
                  </a:lnTo>
                  <a:lnTo>
                    <a:pt x="3076" y="15693"/>
                  </a:lnTo>
                  <a:lnTo>
                    <a:pt x="3202" y="15610"/>
                  </a:lnTo>
                  <a:lnTo>
                    <a:pt x="3223" y="15484"/>
                  </a:lnTo>
                  <a:lnTo>
                    <a:pt x="3307" y="15421"/>
                  </a:lnTo>
                  <a:lnTo>
                    <a:pt x="3558" y="15275"/>
                  </a:lnTo>
                  <a:lnTo>
                    <a:pt x="3725" y="15212"/>
                  </a:lnTo>
                  <a:lnTo>
                    <a:pt x="3746" y="15358"/>
                  </a:lnTo>
                  <a:lnTo>
                    <a:pt x="3976" y="15317"/>
                  </a:lnTo>
                  <a:lnTo>
                    <a:pt x="4039" y="15212"/>
                  </a:lnTo>
                  <a:lnTo>
                    <a:pt x="4290" y="15212"/>
                  </a:lnTo>
                  <a:lnTo>
                    <a:pt x="4311" y="15317"/>
                  </a:lnTo>
                  <a:lnTo>
                    <a:pt x="4123" y="15484"/>
                  </a:lnTo>
                  <a:lnTo>
                    <a:pt x="4248" y="15505"/>
                  </a:lnTo>
                  <a:lnTo>
                    <a:pt x="4290" y="15463"/>
                  </a:lnTo>
                  <a:lnTo>
                    <a:pt x="4374" y="15463"/>
                  </a:lnTo>
                  <a:lnTo>
                    <a:pt x="4478" y="15526"/>
                  </a:lnTo>
                  <a:lnTo>
                    <a:pt x="4520" y="15505"/>
                  </a:lnTo>
                  <a:lnTo>
                    <a:pt x="4625" y="15505"/>
                  </a:lnTo>
                  <a:lnTo>
                    <a:pt x="4688" y="15463"/>
                  </a:lnTo>
                  <a:lnTo>
                    <a:pt x="4729" y="15400"/>
                  </a:lnTo>
                  <a:lnTo>
                    <a:pt x="4813" y="15400"/>
                  </a:lnTo>
                  <a:lnTo>
                    <a:pt x="4897" y="15484"/>
                  </a:lnTo>
                  <a:lnTo>
                    <a:pt x="4981" y="15672"/>
                  </a:lnTo>
                  <a:lnTo>
                    <a:pt x="5232" y="16049"/>
                  </a:lnTo>
                  <a:lnTo>
                    <a:pt x="5357" y="16133"/>
                  </a:lnTo>
                  <a:lnTo>
                    <a:pt x="5399" y="16300"/>
                  </a:lnTo>
                  <a:lnTo>
                    <a:pt x="5462" y="16363"/>
                  </a:lnTo>
                  <a:lnTo>
                    <a:pt x="5545" y="16447"/>
                  </a:lnTo>
                  <a:lnTo>
                    <a:pt x="5776" y="16467"/>
                  </a:lnTo>
                  <a:lnTo>
                    <a:pt x="5985" y="16467"/>
                  </a:lnTo>
                  <a:lnTo>
                    <a:pt x="6089" y="16509"/>
                  </a:lnTo>
                  <a:lnTo>
                    <a:pt x="6131" y="16635"/>
                  </a:lnTo>
                  <a:lnTo>
                    <a:pt x="6361" y="16719"/>
                  </a:lnTo>
                  <a:lnTo>
                    <a:pt x="6550" y="16823"/>
                  </a:lnTo>
                  <a:lnTo>
                    <a:pt x="6654" y="17095"/>
                  </a:lnTo>
                  <a:lnTo>
                    <a:pt x="6801" y="17263"/>
                  </a:lnTo>
                  <a:lnTo>
                    <a:pt x="6989" y="17367"/>
                  </a:lnTo>
                  <a:lnTo>
                    <a:pt x="7073" y="17514"/>
                  </a:lnTo>
                  <a:lnTo>
                    <a:pt x="7073" y="17786"/>
                  </a:lnTo>
                  <a:lnTo>
                    <a:pt x="7177" y="18037"/>
                  </a:lnTo>
                  <a:lnTo>
                    <a:pt x="7324" y="18079"/>
                  </a:lnTo>
                  <a:lnTo>
                    <a:pt x="7387" y="18330"/>
                  </a:lnTo>
                  <a:lnTo>
                    <a:pt x="7429" y="18539"/>
                  </a:lnTo>
                  <a:lnTo>
                    <a:pt x="7345" y="18664"/>
                  </a:lnTo>
                  <a:lnTo>
                    <a:pt x="7324" y="18602"/>
                  </a:lnTo>
                  <a:lnTo>
                    <a:pt x="7219" y="18539"/>
                  </a:lnTo>
                  <a:lnTo>
                    <a:pt x="7073" y="18727"/>
                  </a:lnTo>
                  <a:lnTo>
                    <a:pt x="7094" y="18811"/>
                  </a:lnTo>
                  <a:lnTo>
                    <a:pt x="7115" y="18874"/>
                  </a:lnTo>
                  <a:lnTo>
                    <a:pt x="7261" y="18957"/>
                  </a:lnTo>
                  <a:lnTo>
                    <a:pt x="7240" y="19188"/>
                  </a:lnTo>
                  <a:lnTo>
                    <a:pt x="7303" y="19292"/>
                  </a:lnTo>
                  <a:lnTo>
                    <a:pt x="7261" y="19376"/>
                  </a:lnTo>
                  <a:lnTo>
                    <a:pt x="7324" y="19397"/>
                  </a:lnTo>
                  <a:lnTo>
                    <a:pt x="7408" y="19501"/>
                  </a:lnTo>
                  <a:lnTo>
                    <a:pt x="7408" y="19606"/>
                  </a:lnTo>
                  <a:lnTo>
                    <a:pt x="7449" y="19606"/>
                  </a:lnTo>
                  <a:lnTo>
                    <a:pt x="7491" y="19752"/>
                  </a:lnTo>
                  <a:lnTo>
                    <a:pt x="7617" y="19794"/>
                  </a:lnTo>
                  <a:lnTo>
                    <a:pt x="7701" y="19690"/>
                  </a:lnTo>
                  <a:lnTo>
                    <a:pt x="7826" y="19690"/>
                  </a:lnTo>
                  <a:lnTo>
                    <a:pt x="7868" y="19773"/>
                  </a:lnTo>
                  <a:lnTo>
                    <a:pt x="8014" y="19794"/>
                  </a:lnTo>
                  <a:lnTo>
                    <a:pt x="8119" y="19899"/>
                  </a:lnTo>
                  <a:lnTo>
                    <a:pt x="8182" y="19920"/>
                  </a:lnTo>
                  <a:lnTo>
                    <a:pt x="8266" y="20087"/>
                  </a:lnTo>
                  <a:lnTo>
                    <a:pt x="8370" y="20087"/>
                  </a:lnTo>
                  <a:lnTo>
                    <a:pt x="8391" y="20192"/>
                  </a:lnTo>
                  <a:lnTo>
                    <a:pt x="8433" y="20171"/>
                  </a:lnTo>
                  <a:lnTo>
                    <a:pt x="8454" y="20129"/>
                  </a:lnTo>
                  <a:lnTo>
                    <a:pt x="8600" y="20213"/>
                  </a:lnTo>
                  <a:lnTo>
                    <a:pt x="8663" y="20296"/>
                  </a:lnTo>
                  <a:lnTo>
                    <a:pt x="8768" y="20296"/>
                  </a:lnTo>
                  <a:lnTo>
                    <a:pt x="8830" y="20317"/>
                  </a:lnTo>
                  <a:lnTo>
                    <a:pt x="8893" y="20213"/>
                  </a:lnTo>
                  <a:lnTo>
                    <a:pt x="9061" y="20192"/>
                  </a:lnTo>
                  <a:lnTo>
                    <a:pt x="9270" y="20276"/>
                  </a:lnTo>
                  <a:lnTo>
                    <a:pt x="9312" y="20338"/>
                  </a:lnTo>
                  <a:lnTo>
                    <a:pt x="9437" y="20338"/>
                  </a:lnTo>
                  <a:lnTo>
                    <a:pt x="9542" y="20401"/>
                  </a:lnTo>
                  <a:lnTo>
                    <a:pt x="9709" y="20589"/>
                  </a:lnTo>
                  <a:lnTo>
                    <a:pt x="9835" y="20589"/>
                  </a:lnTo>
                  <a:lnTo>
                    <a:pt x="9960" y="20652"/>
                  </a:lnTo>
                  <a:lnTo>
                    <a:pt x="10023" y="20715"/>
                  </a:lnTo>
                  <a:lnTo>
                    <a:pt x="10128" y="20840"/>
                  </a:lnTo>
                  <a:lnTo>
                    <a:pt x="10170" y="20966"/>
                  </a:lnTo>
                  <a:lnTo>
                    <a:pt x="10232" y="20945"/>
                  </a:lnTo>
                  <a:lnTo>
                    <a:pt x="10232" y="20757"/>
                  </a:lnTo>
                  <a:lnTo>
                    <a:pt x="10316" y="20715"/>
                  </a:lnTo>
                  <a:lnTo>
                    <a:pt x="10337" y="20757"/>
                  </a:lnTo>
                  <a:lnTo>
                    <a:pt x="10462" y="20757"/>
                  </a:lnTo>
                  <a:lnTo>
                    <a:pt x="10588" y="20840"/>
                  </a:lnTo>
                  <a:lnTo>
                    <a:pt x="10588" y="21008"/>
                  </a:lnTo>
                  <a:lnTo>
                    <a:pt x="10755" y="21133"/>
                  </a:lnTo>
                  <a:lnTo>
                    <a:pt x="10923" y="21071"/>
                  </a:lnTo>
                  <a:lnTo>
                    <a:pt x="11069" y="21071"/>
                  </a:lnTo>
                  <a:lnTo>
                    <a:pt x="11048" y="21322"/>
                  </a:lnTo>
                  <a:lnTo>
                    <a:pt x="11090" y="21468"/>
                  </a:lnTo>
                  <a:lnTo>
                    <a:pt x="11195" y="21447"/>
                  </a:lnTo>
                  <a:lnTo>
                    <a:pt x="11362" y="21531"/>
                  </a:lnTo>
                  <a:lnTo>
                    <a:pt x="11425" y="21447"/>
                  </a:lnTo>
                  <a:lnTo>
                    <a:pt x="11571" y="21426"/>
                  </a:lnTo>
                  <a:lnTo>
                    <a:pt x="11676" y="21322"/>
                  </a:lnTo>
                  <a:lnTo>
                    <a:pt x="11885" y="21322"/>
                  </a:lnTo>
                  <a:lnTo>
                    <a:pt x="12011" y="21384"/>
                  </a:lnTo>
                  <a:lnTo>
                    <a:pt x="12053" y="21531"/>
                  </a:lnTo>
                  <a:lnTo>
                    <a:pt x="12220" y="21594"/>
                  </a:lnTo>
                  <a:lnTo>
                    <a:pt x="12346" y="21761"/>
                  </a:lnTo>
                  <a:lnTo>
                    <a:pt x="12429" y="21782"/>
                  </a:lnTo>
                  <a:lnTo>
                    <a:pt x="12576" y="21740"/>
                  </a:lnTo>
                  <a:lnTo>
                    <a:pt x="12639" y="21761"/>
                  </a:lnTo>
                  <a:lnTo>
                    <a:pt x="12785" y="21698"/>
                  </a:lnTo>
                  <a:lnTo>
                    <a:pt x="12931" y="21698"/>
                  </a:lnTo>
                  <a:lnTo>
                    <a:pt x="13015" y="21594"/>
                  </a:lnTo>
                  <a:lnTo>
                    <a:pt x="13162" y="21594"/>
                  </a:lnTo>
                  <a:lnTo>
                    <a:pt x="13203" y="21698"/>
                  </a:lnTo>
                  <a:lnTo>
                    <a:pt x="13245" y="21866"/>
                  </a:lnTo>
                  <a:lnTo>
                    <a:pt x="13350" y="21949"/>
                  </a:lnTo>
                  <a:lnTo>
                    <a:pt x="13475" y="21887"/>
                  </a:lnTo>
                  <a:lnTo>
                    <a:pt x="13601" y="21636"/>
                  </a:lnTo>
                  <a:lnTo>
                    <a:pt x="13873" y="21468"/>
                  </a:lnTo>
                  <a:lnTo>
                    <a:pt x="14040" y="21447"/>
                  </a:lnTo>
                  <a:lnTo>
                    <a:pt x="14124" y="21552"/>
                  </a:lnTo>
                  <a:lnTo>
                    <a:pt x="14396" y="21573"/>
                  </a:lnTo>
                  <a:lnTo>
                    <a:pt x="14501" y="21636"/>
                  </a:lnTo>
                  <a:lnTo>
                    <a:pt x="14647" y="21552"/>
                  </a:lnTo>
                  <a:lnTo>
                    <a:pt x="14815" y="21573"/>
                  </a:lnTo>
                  <a:lnTo>
                    <a:pt x="14877" y="21677"/>
                  </a:lnTo>
                  <a:lnTo>
                    <a:pt x="14982" y="21677"/>
                  </a:lnTo>
                  <a:lnTo>
                    <a:pt x="15191" y="21636"/>
                  </a:lnTo>
                  <a:lnTo>
                    <a:pt x="15296" y="21636"/>
                  </a:lnTo>
                  <a:lnTo>
                    <a:pt x="15359" y="21468"/>
                  </a:lnTo>
                  <a:lnTo>
                    <a:pt x="15442" y="21426"/>
                  </a:lnTo>
                  <a:lnTo>
                    <a:pt x="15547" y="21447"/>
                  </a:lnTo>
                  <a:lnTo>
                    <a:pt x="15547" y="21364"/>
                  </a:lnTo>
                  <a:lnTo>
                    <a:pt x="15631" y="21343"/>
                  </a:lnTo>
                  <a:lnTo>
                    <a:pt x="15693" y="21217"/>
                  </a:lnTo>
                  <a:lnTo>
                    <a:pt x="15798" y="21112"/>
                  </a:lnTo>
                  <a:lnTo>
                    <a:pt x="15903" y="21071"/>
                  </a:lnTo>
                  <a:lnTo>
                    <a:pt x="16133" y="21029"/>
                  </a:lnTo>
                  <a:lnTo>
                    <a:pt x="16237" y="20861"/>
                  </a:lnTo>
                  <a:lnTo>
                    <a:pt x="16237" y="20736"/>
                  </a:lnTo>
                  <a:lnTo>
                    <a:pt x="16321" y="20736"/>
                  </a:lnTo>
                  <a:lnTo>
                    <a:pt x="16447" y="20631"/>
                  </a:lnTo>
                  <a:lnTo>
                    <a:pt x="16551" y="20799"/>
                  </a:lnTo>
                  <a:lnTo>
                    <a:pt x="16719" y="20736"/>
                  </a:lnTo>
                  <a:lnTo>
                    <a:pt x="16928" y="20820"/>
                  </a:lnTo>
                  <a:lnTo>
                    <a:pt x="17012" y="20757"/>
                  </a:lnTo>
                  <a:lnTo>
                    <a:pt x="16970" y="20652"/>
                  </a:lnTo>
                  <a:lnTo>
                    <a:pt x="17242" y="20506"/>
                  </a:lnTo>
                  <a:lnTo>
                    <a:pt x="17325" y="20527"/>
                  </a:lnTo>
                  <a:lnTo>
                    <a:pt x="17367" y="20610"/>
                  </a:lnTo>
                  <a:lnTo>
                    <a:pt x="17451" y="20610"/>
                  </a:lnTo>
                  <a:lnTo>
                    <a:pt x="17472" y="20652"/>
                  </a:lnTo>
                  <a:lnTo>
                    <a:pt x="17388" y="20820"/>
                  </a:lnTo>
                  <a:lnTo>
                    <a:pt x="17451" y="20903"/>
                  </a:lnTo>
                  <a:lnTo>
                    <a:pt x="17535" y="20903"/>
                  </a:lnTo>
                  <a:lnTo>
                    <a:pt x="17597" y="20861"/>
                  </a:lnTo>
                  <a:lnTo>
                    <a:pt x="17639" y="20945"/>
                  </a:lnTo>
                  <a:lnTo>
                    <a:pt x="17702" y="21050"/>
                  </a:lnTo>
                  <a:lnTo>
                    <a:pt x="17702" y="21133"/>
                  </a:lnTo>
                  <a:lnTo>
                    <a:pt x="17597" y="21238"/>
                  </a:lnTo>
                  <a:lnTo>
                    <a:pt x="17639" y="21343"/>
                  </a:lnTo>
                  <a:lnTo>
                    <a:pt x="17765" y="21364"/>
                  </a:lnTo>
                  <a:lnTo>
                    <a:pt x="17849" y="21322"/>
                  </a:lnTo>
                  <a:lnTo>
                    <a:pt x="17953" y="21364"/>
                  </a:lnTo>
                  <a:lnTo>
                    <a:pt x="18016" y="21468"/>
                  </a:lnTo>
                  <a:lnTo>
                    <a:pt x="18121" y="21426"/>
                  </a:lnTo>
                  <a:lnTo>
                    <a:pt x="18246" y="21468"/>
                  </a:lnTo>
                  <a:lnTo>
                    <a:pt x="18330" y="21426"/>
                  </a:lnTo>
                  <a:lnTo>
                    <a:pt x="18497" y="21426"/>
                  </a:lnTo>
                  <a:lnTo>
                    <a:pt x="18539" y="21573"/>
                  </a:lnTo>
                  <a:lnTo>
                    <a:pt x="18685" y="21677"/>
                  </a:lnTo>
                  <a:lnTo>
                    <a:pt x="18706" y="21845"/>
                  </a:lnTo>
                  <a:lnTo>
                    <a:pt x="18811" y="21845"/>
                  </a:lnTo>
                  <a:lnTo>
                    <a:pt x="18916" y="21970"/>
                  </a:lnTo>
                  <a:lnTo>
                    <a:pt x="18916" y="22117"/>
                  </a:lnTo>
                  <a:lnTo>
                    <a:pt x="18999" y="22326"/>
                  </a:lnTo>
                  <a:lnTo>
                    <a:pt x="19020" y="22493"/>
                  </a:lnTo>
                  <a:lnTo>
                    <a:pt x="18999" y="22745"/>
                  </a:lnTo>
                  <a:lnTo>
                    <a:pt x="18999" y="22849"/>
                  </a:lnTo>
                  <a:lnTo>
                    <a:pt x="18957" y="22933"/>
                  </a:lnTo>
                  <a:lnTo>
                    <a:pt x="18853" y="22996"/>
                  </a:lnTo>
                  <a:lnTo>
                    <a:pt x="18832" y="23100"/>
                  </a:lnTo>
                  <a:lnTo>
                    <a:pt x="18769" y="23121"/>
                  </a:lnTo>
                  <a:lnTo>
                    <a:pt x="18748" y="23205"/>
                  </a:lnTo>
                  <a:lnTo>
                    <a:pt x="18811" y="23309"/>
                  </a:lnTo>
                  <a:lnTo>
                    <a:pt x="18748" y="23351"/>
                  </a:lnTo>
                  <a:lnTo>
                    <a:pt x="18685" y="23330"/>
                  </a:lnTo>
                  <a:lnTo>
                    <a:pt x="18602" y="23435"/>
                  </a:lnTo>
                  <a:lnTo>
                    <a:pt x="18539" y="23519"/>
                  </a:lnTo>
                  <a:lnTo>
                    <a:pt x="18602" y="23581"/>
                  </a:lnTo>
                  <a:lnTo>
                    <a:pt x="18539" y="23665"/>
                  </a:lnTo>
                  <a:lnTo>
                    <a:pt x="18539" y="23770"/>
                  </a:lnTo>
                  <a:lnTo>
                    <a:pt x="18644" y="23833"/>
                  </a:lnTo>
                  <a:lnTo>
                    <a:pt x="18706" y="23895"/>
                  </a:lnTo>
                  <a:lnTo>
                    <a:pt x="18769" y="23958"/>
                  </a:lnTo>
                  <a:lnTo>
                    <a:pt x="18748" y="24105"/>
                  </a:lnTo>
                  <a:lnTo>
                    <a:pt x="18811" y="24251"/>
                  </a:lnTo>
                  <a:lnTo>
                    <a:pt x="18937" y="24146"/>
                  </a:lnTo>
                  <a:lnTo>
                    <a:pt x="19209" y="24084"/>
                  </a:lnTo>
                  <a:lnTo>
                    <a:pt x="19229" y="24167"/>
                  </a:lnTo>
                  <a:lnTo>
                    <a:pt x="19209" y="24251"/>
                  </a:lnTo>
                  <a:lnTo>
                    <a:pt x="19271" y="24293"/>
                  </a:lnTo>
                  <a:lnTo>
                    <a:pt x="19418" y="24272"/>
                  </a:lnTo>
                  <a:lnTo>
                    <a:pt x="19439" y="24377"/>
                  </a:lnTo>
                  <a:lnTo>
                    <a:pt x="19418" y="24481"/>
                  </a:lnTo>
                  <a:lnTo>
                    <a:pt x="19481" y="24565"/>
                  </a:lnTo>
                  <a:lnTo>
                    <a:pt x="19627" y="24586"/>
                  </a:lnTo>
                  <a:lnTo>
                    <a:pt x="19585" y="24628"/>
                  </a:lnTo>
                  <a:lnTo>
                    <a:pt x="19648" y="24711"/>
                  </a:lnTo>
                  <a:lnTo>
                    <a:pt x="19669" y="24670"/>
                  </a:lnTo>
                  <a:lnTo>
                    <a:pt x="19815" y="24670"/>
                  </a:lnTo>
                  <a:lnTo>
                    <a:pt x="19941" y="24732"/>
                  </a:lnTo>
                  <a:lnTo>
                    <a:pt x="19941" y="24816"/>
                  </a:lnTo>
                  <a:lnTo>
                    <a:pt x="19878" y="24921"/>
                  </a:lnTo>
                  <a:lnTo>
                    <a:pt x="19899" y="25004"/>
                  </a:lnTo>
                  <a:lnTo>
                    <a:pt x="19753" y="25193"/>
                  </a:lnTo>
                  <a:lnTo>
                    <a:pt x="19648" y="25297"/>
                  </a:lnTo>
                  <a:lnTo>
                    <a:pt x="19669" y="25360"/>
                  </a:lnTo>
                  <a:lnTo>
                    <a:pt x="19753" y="25339"/>
                  </a:lnTo>
                  <a:lnTo>
                    <a:pt x="19941" y="25339"/>
                  </a:lnTo>
                  <a:lnTo>
                    <a:pt x="19983" y="25402"/>
                  </a:lnTo>
                  <a:lnTo>
                    <a:pt x="20066" y="25318"/>
                  </a:lnTo>
                  <a:lnTo>
                    <a:pt x="20150" y="25423"/>
                  </a:lnTo>
                  <a:lnTo>
                    <a:pt x="20108" y="25548"/>
                  </a:lnTo>
                  <a:lnTo>
                    <a:pt x="20150" y="25674"/>
                  </a:lnTo>
                  <a:lnTo>
                    <a:pt x="20276" y="25737"/>
                  </a:lnTo>
                  <a:lnTo>
                    <a:pt x="20338" y="25653"/>
                  </a:lnTo>
                  <a:lnTo>
                    <a:pt x="20485" y="25653"/>
                  </a:lnTo>
                  <a:lnTo>
                    <a:pt x="20736" y="25548"/>
                  </a:lnTo>
                  <a:lnTo>
                    <a:pt x="20841" y="25569"/>
                  </a:lnTo>
                  <a:lnTo>
                    <a:pt x="20841" y="25716"/>
                  </a:lnTo>
                  <a:lnTo>
                    <a:pt x="20799" y="25737"/>
                  </a:lnTo>
                  <a:lnTo>
                    <a:pt x="20862" y="25778"/>
                  </a:lnTo>
                  <a:lnTo>
                    <a:pt x="20924" y="25883"/>
                  </a:lnTo>
                  <a:lnTo>
                    <a:pt x="21050" y="25841"/>
                  </a:lnTo>
                  <a:lnTo>
                    <a:pt x="21154" y="25862"/>
                  </a:lnTo>
                  <a:lnTo>
                    <a:pt x="21134" y="25716"/>
                  </a:lnTo>
                  <a:lnTo>
                    <a:pt x="21134" y="25569"/>
                  </a:lnTo>
                  <a:lnTo>
                    <a:pt x="21092" y="25465"/>
                  </a:lnTo>
                  <a:lnTo>
                    <a:pt x="21092" y="25255"/>
                  </a:lnTo>
                  <a:lnTo>
                    <a:pt x="21154" y="25214"/>
                  </a:lnTo>
                  <a:lnTo>
                    <a:pt x="21154" y="25130"/>
                  </a:lnTo>
                  <a:lnTo>
                    <a:pt x="21364" y="25130"/>
                  </a:lnTo>
                  <a:lnTo>
                    <a:pt x="21426" y="25109"/>
                  </a:lnTo>
                  <a:lnTo>
                    <a:pt x="21468" y="25088"/>
                  </a:lnTo>
                  <a:lnTo>
                    <a:pt x="21510" y="25025"/>
                  </a:lnTo>
                  <a:lnTo>
                    <a:pt x="21552" y="24983"/>
                  </a:lnTo>
                  <a:lnTo>
                    <a:pt x="21678" y="24921"/>
                  </a:lnTo>
                  <a:lnTo>
                    <a:pt x="21761" y="24942"/>
                  </a:lnTo>
                  <a:lnTo>
                    <a:pt x="21740" y="25025"/>
                  </a:lnTo>
                  <a:lnTo>
                    <a:pt x="21782" y="25046"/>
                  </a:lnTo>
                  <a:lnTo>
                    <a:pt x="21866" y="25046"/>
                  </a:lnTo>
                  <a:lnTo>
                    <a:pt x="21887" y="24942"/>
                  </a:lnTo>
                  <a:lnTo>
                    <a:pt x="21970" y="24900"/>
                  </a:lnTo>
                  <a:lnTo>
                    <a:pt x="22096" y="25004"/>
                  </a:lnTo>
                  <a:lnTo>
                    <a:pt x="22159" y="24921"/>
                  </a:lnTo>
                  <a:lnTo>
                    <a:pt x="22242" y="24921"/>
                  </a:lnTo>
                  <a:lnTo>
                    <a:pt x="22263" y="25004"/>
                  </a:lnTo>
                  <a:lnTo>
                    <a:pt x="22389" y="24942"/>
                  </a:lnTo>
                  <a:lnTo>
                    <a:pt x="22389" y="24879"/>
                  </a:lnTo>
                  <a:lnTo>
                    <a:pt x="22556" y="24816"/>
                  </a:lnTo>
                  <a:lnTo>
                    <a:pt x="22661" y="24900"/>
                  </a:lnTo>
                  <a:lnTo>
                    <a:pt x="22870" y="24816"/>
                  </a:lnTo>
                  <a:lnTo>
                    <a:pt x="22828" y="24628"/>
                  </a:lnTo>
                  <a:lnTo>
                    <a:pt x="22954" y="24586"/>
                  </a:lnTo>
                  <a:lnTo>
                    <a:pt x="23100" y="24586"/>
                  </a:lnTo>
                  <a:lnTo>
                    <a:pt x="23184" y="24502"/>
                  </a:lnTo>
                  <a:lnTo>
                    <a:pt x="23310" y="24586"/>
                  </a:lnTo>
                  <a:lnTo>
                    <a:pt x="23310" y="24670"/>
                  </a:lnTo>
                  <a:lnTo>
                    <a:pt x="23435" y="24690"/>
                  </a:lnTo>
                  <a:lnTo>
                    <a:pt x="23477" y="24774"/>
                  </a:lnTo>
                  <a:lnTo>
                    <a:pt x="23749" y="24774"/>
                  </a:lnTo>
                  <a:lnTo>
                    <a:pt x="23812" y="24816"/>
                  </a:lnTo>
                  <a:lnTo>
                    <a:pt x="23958" y="24774"/>
                  </a:lnTo>
                  <a:lnTo>
                    <a:pt x="24042" y="24837"/>
                  </a:lnTo>
                  <a:lnTo>
                    <a:pt x="24042" y="24942"/>
                  </a:lnTo>
                  <a:lnTo>
                    <a:pt x="23937" y="24983"/>
                  </a:lnTo>
                  <a:lnTo>
                    <a:pt x="23875" y="25193"/>
                  </a:lnTo>
                  <a:lnTo>
                    <a:pt x="23958" y="25214"/>
                  </a:lnTo>
                  <a:lnTo>
                    <a:pt x="23979" y="25318"/>
                  </a:lnTo>
                  <a:lnTo>
                    <a:pt x="24230" y="25402"/>
                  </a:lnTo>
                  <a:lnTo>
                    <a:pt x="24251" y="25506"/>
                  </a:lnTo>
                  <a:lnTo>
                    <a:pt x="24377" y="25527"/>
                  </a:lnTo>
                  <a:lnTo>
                    <a:pt x="24481" y="25611"/>
                  </a:lnTo>
                  <a:lnTo>
                    <a:pt x="24586" y="25548"/>
                  </a:lnTo>
                  <a:lnTo>
                    <a:pt x="24649" y="25611"/>
                  </a:lnTo>
                  <a:lnTo>
                    <a:pt x="24711" y="25569"/>
                  </a:lnTo>
                  <a:lnTo>
                    <a:pt x="24816" y="25632"/>
                  </a:lnTo>
                  <a:lnTo>
                    <a:pt x="24858" y="25632"/>
                  </a:lnTo>
                  <a:lnTo>
                    <a:pt x="24900" y="25611"/>
                  </a:lnTo>
                  <a:lnTo>
                    <a:pt x="24963" y="25653"/>
                  </a:lnTo>
                  <a:lnTo>
                    <a:pt x="25046" y="25611"/>
                  </a:lnTo>
                  <a:lnTo>
                    <a:pt x="25046" y="25548"/>
                  </a:lnTo>
                  <a:lnTo>
                    <a:pt x="25088" y="25423"/>
                  </a:lnTo>
                  <a:lnTo>
                    <a:pt x="25130" y="25527"/>
                  </a:lnTo>
                  <a:lnTo>
                    <a:pt x="25235" y="25653"/>
                  </a:lnTo>
                  <a:lnTo>
                    <a:pt x="25297" y="25632"/>
                  </a:lnTo>
                  <a:lnTo>
                    <a:pt x="25444" y="25737"/>
                  </a:lnTo>
                  <a:lnTo>
                    <a:pt x="25569" y="25737"/>
                  </a:lnTo>
                  <a:lnTo>
                    <a:pt x="25632" y="25632"/>
                  </a:lnTo>
                  <a:lnTo>
                    <a:pt x="25716" y="25716"/>
                  </a:lnTo>
                  <a:lnTo>
                    <a:pt x="25820" y="25674"/>
                  </a:lnTo>
                  <a:lnTo>
                    <a:pt x="25862" y="25716"/>
                  </a:lnTo>
                  <a:lnTo>
                    <a:pt x="25862" y="25737"/>
                  </a:lnTo>
                  <a:lnTo>
                    <a:pt x="25800" y="25758"/>
                  </a:lnTo>
                  <a:lnTo>
                    <a:pt x="25758" y="25862"/>
                  </a:lnTo>
                  <a:lnTo>
                    <a:pt x="25695" y="25967"/>
                  </a:lnTo>
                  <a:lnTo>
                    <a:pt x="25695" y="26030"/>
                  </a:lnTo>
                  <a:lnTo>
                    <a:pt x="25820" y="26197"/>
                  </a:lnTo>
                  <a:lnTo>
                    <a:pt x="25904" y="26260"/>
                  </a:lnTo>
                  <a:lnTo>
                    <a:pt x="25904" y="26302"/>
                  </a:lnTo>
                  <a:lnTo>
                    <a:pt x="25925" y="26448"/>
                  </a:lnTo>
                  <a:lnTo>
                    <a:pt x="25946" y="26406"/>
                  </a:lnTo>
                  <a:lnTo>
                    <a:pt x="26009" y="26343"/>
                  </a:lnTo>
                  <a:lnTo>
                    <a:pt x="26092" y="26364"/>
                  </a:lnTo>
                  <a:lnTo>
                    <a:pt x="26134" y="26385"/>
                  </a:lnTo>
                  <a:lnTo>
                    <a:pt x="26176" y="26385"/>
                  </a:lnTo>
                  <a:lnTo>
                    <a:pt x="26281" y="26281"/>
                  </a:lnTo>
                  <a:lnTo>
                    <a:pt x="26260" y="26239"/>
                  </a:lnTo>
                  <a:lnTo>
                    <a:pt x="26218" y="26197"/>
                  </a:lnTo>
                  <a:lnTo>
                    <a:pt x="26218" y="26176"/>
                  </a:lnTo>
                  <a:lnTo>
                    <a:pt x="26155" y="26071"/>
                  </a:lnTo>
                  <a:lnTo>
                    <a:pt x="26072" y="26071"/>
                  </a:lnTo>
                  <a:lnTo>
                    <a:pt x="26030" y="25967"/>
                  </a:lnTo>
                  <a:lnTo>
                    <a:pt x="26051" y="25925"/>
                  </a:lnTo>
                  <a:lnTo>
                    <a:pt x="26155" y="25841"/>
                  </a:lnTo>
                  <a:lnTo>
                    <a:pt x="26155" y="25758"/>
                  </a:lnTo>
                  <a:lnTo>
                    <a:pt x="26155" y="25716"/>
                  </a:lnTo>
                  <a:lnTo>
                    <a:pt x="26176" y="25716"/>
                  </a:lnTo>
                  <a:lnTo>
                    <a:pt x="26218" y="25653"/>
                  </a:lnTo>
                  <a:lnTo>
                    <a:pt x="26239" y="25716"/>
                  </a:lnTo>
                  <a:lnTo>
                    <a:pt x="26260" y="25737"/>
                  </a:lnTo>
                  <a:lnTo>
                    <a:pt x="26281" y="25737"/>
                  </a:lnTo>
                  <a:lnTo>
                    <a:pt x="26260" y="25758"/>
                  </a:lnTo>
                  <a:lnTo>
                    <a:pt x="26260" y="25778"/>
                  </a:lnTo>
                  <a:lnTo>
                    <a:pt x="26323" y="25778"/>
                  </a:lnTo>
                  <a:lnTo>
                    <a:pt x="26281" y="25820"/>
                  </a:lnTo>
                  <a:lnTo>
                    <a:pt x="26344" y="25841"/>
                  </a:lnTo>
                  <a:lnTo>
                    <a:pt x="26385" y="25758"/>
                  </a:lnTo>
                  <a:lnTo>
                    <a:pt x="26490" y="25737"/>
                  </a:lnTo>
                  <a:lnTo>
                    <a:pt x="26553" y="25653"/>
                  </a:lnTo>
                  <a:lnTo>
                    <a:pt x="26616" y="25716"/>
                  </a:lnTo>
                  <a:lnTo>
                    <a:pt x="26741" y="25653"/>
                  </a:lnTo>
                  <a:lnTo>
                    <a:pt x="26867" y="25611"/>
                  </a:lnTo>
                  <a:lnTo>
                    <a:pt x="26804" y="25527"/>
                  </a:lnTo>
                  <a:lnTo>
                    <a:pt x="26908" y="25527"/>
                  </a:lnTo>
                  <a:lnTo>
                    <a:pt x="27013" y="25465"/>
                  </a:lnTo>
                  <a:lnTo>
                    <a:pt x="27139" y="25527"/>
                  </a:lnTo>
                  <a:lnTo>
                    <a:pt x="27201" y="25506"/>
                  </a:lnTo>
                  <a:lnTo>
                    <a:pt x="27327" y="25444"/>
                  </a:lnTo>
                  <a:lnTo>
                    <a:pt x="27432" y="25339"/>
                  </a:lnTo>
                  <a:lnTo>
                    <a:pt x="27515" y="25234"/>
                  </a:lnTo>
                  <a:lnTo>
                    <a:pt x="27536" y="25193"/>
                  </a:lnTo>
                  <a:lnTo>
                    <a:pt x="27578" y="25214"/>
                  </a:lnTo>
                  <a:lnTo>
                    <a:pt x="27620" y="25255"/>
                  </a:lnTo>
                  <a:lnTo>
                    <a:pt x="27662" y="25214"/>
                  </a:lnTo>
                  <a:lnTo>
                    <a:pt x="27724" y="25130"/>
                  </a:lnTo>
                  <a:lnTo>
                    <a:pt x="27808" y="25088"/>
                  </a:lnTo>
                  <a:lnTo>
                    <a:pt x="27787" y="24942"/>
                  </a:lnTo>
                  <a:lnTo>
                    <a:pt x="27745" y="24837"/>
                  </a:lnTo>
                  <a:lnTo>
                    <a:pt x="27787" y="24774"/>
                  </a:lnTo>
                  <a:lnTo>
                    <a:pt x="27745" y="24690"/>
                  </a:lnTo>
                  <a:lnTo>
                    <a:pt x="27808" y="24732"/>
                  </a:lnTo>
                  <a:lnTo>
                    <a:pt x="27934" y="24816"/>
                  </a:lnTo>
                  <a:lnTo>
                    <a:pt x="27955" y="24900"/>
                  </a:lnTo>
                  <a:lnTo>
                    <a:pt x="28059" y="25004"/>
                  </a:lnTo>
                  <a:lnTo>
                    <a:pt x="28143" y="24983"/>
                  </a:lnTo>
                  <a:lnTo>
                    <a:pt x="28143" y="24983"/>
                  </a:lnTo>
                  <a:lnTo>
                    <a:pt x="28101" y="25046"/>
                  </a:lnTo>
                  <a:lnTo>
                    <a:pt x="28017" y="25109"/>
                  </a:lnTo>
                  <a:lnTo>
                    <a:pt x="28038" y="25151"/>
                  </a:lnTo>
                  <a:lnTo>
                    <a:pt x="28248" y="25046"/>
                  </a:lnTo>
                  <a:lnTo>
                    <a:pt x="28248" y="24921"/>
                  </a:lnTo>
                  <a:lnTo>
                    <a:pt x="28352" y="24900"/>
                  </a:lnTo>
                  <a:lnTo>
                    <a:pt x="28415" y="24837"/>
                  </a:lnTo>
                  <a:lnTo>
                    <a:pt x="28520" y="24900"/>
                  </a:lnTo>
                  <a:lnTo>
                    <a:pt x="28582" y="24879"/>
                  </a:lnTo>
                  <a:lnTo>
                    <a:pt x="28624" y="24795"/>
                  </a:lnTo>
                  <a:lnTo>
                    <a:pt x="28687" y="24795"/>
                  </a:lnTo>
                  <a:lnTo>
                    <a:pt x="28708" y="24711"/>
                  </a:lnTo>
                  <a:lnTo>
                    <a:pt x="28771" y="24795"/>
                  </a:lnTo>
                  <a:lnTo>
                    <a:pt x="28854" y="24900"/>
                  </a:lnTo>
                  <a:lnTo>
                    <a:pt x="28896" y="24837"/>
                  </a:lnTo>
                  <a:lnTo>
                    <a:pt x="28938" y="24732"/>
                  </a:lnTo>
                  <a:lnTo>
                    <a:pt x="28980" y="24732"/>
                  </a:lnTo>
                  <a:lnTo>
                    <a:pt x="29001" y="24774"/>
                  </a:lnTo>
                  <a:lnTo>
                    <a:pt x="29085" y="24774"/>
                  </a:lnTo>
                  <a:lnTo>
                    <a:pt x="29105" y="24711"/>
                  </a:lnTo>
                  <a:lnTo>
                    <a:pt x="29231" y="24711"/>
                  </a:lnTo>
                  <a:lnTo>
                    <a:pt x="29294" y="24628"/>
                  </a:lnTo>
                  <a:lnTo>
                    <a:pt x="29357" y="24586"/>
                  </a:lnTo>
                  <a:lnTo>
                    <a:pt x="29377" y="24670"/>
                  </a:lnTo>
                  <a:lnTo>
                    <a:pt x="29398" y="24607"/>
                  </a:lnTo>
                  <a:lnTo>
                    <a:pt x="29482" y="24607"/>
                  </a:lnTo>
                  <a:lnTo>
                    <a:pt x="29566" y="24586"/>
                  </a:lnTo>
                  <a:lnTo>
                    <a:pt x="29524" y="24502"/>
                  </a:lnTo>
                  <a:lnTo>
                    <a:pt x="29587" y="24418"/>
                  </a:lnTo>
                  <a:lnTo>
                    <a:pt x="29608" y="24293"/>
                  </a:lnTo>
                  <a:lnTo>
                    <a:pt x="29566" y="24188"/>
                  </a:lnTo>
                  <a:lnTo>
                    <a:pt x="29566" y="24188"/>
                  </a:lnTo>
                  <a:lnTo>
                    <a:pt x="29608" y="24209"/>
                  </a:lnTo>
                  <a:lnTo>
                    <a:pt x="29670" y="24146"/>
                  </a:lnTo>
                  <a:lnTo>
                    <a:pt x="29796" y="24105"/>
                  </a:lnTo>
                  <a:lnTo>
                    <a:pt x="29817" y="24167"/>
                  </a:lnTo>
                  <a:lnTo>
                    <a:pt x="29921" y="24167"/>
                  </a:lnTo>
                  <a:lnTo>
                    <a:pt x="29942" y="24042"/>
                  </a:lnTo>
                  <a:lnTo>
                    <a:pt x="30005" y="24042"/>
                  </a:lnTo>
                  <a:lnTo>
                    <a:pt x="30026" y="23958"/>
                  </a:lnTo>
                  <a:lnTo>
                    <a:pt x="30089" y="23958"/>
                  </a:lnTo>
                  <a:lnTo>
                    <a:pt x="30089" y="23979"/>
                  </a:lnTo>
                  <a:lnTo>
                    <a:pt x="30110" y="23979"/>
                  </a:lnTo>
                  <a:lnTo>
                    <a:pt x="30193" y="23874"/>
                  </a:lnTo>
                  <a:lnTo>
                    <a:pt x="30256" y="23958"/>
                  </a:lnTo>
                  <a:lnTo>
                    <a:pt x="30256" y="23833"/>
                  </a:lnTo>
                  <a:lnTo>
                    <a:pt x="30340" y="23833"/>
                  </a:lnTo>
                  <a:lnTo>
                    <a:pt x="30361" y="23728"/>
                  </a:lnTo>
                  <a:lnTo>
                    <a:pt x="30277" y="23686"/>
                  </a:lnTo>
                  <a:lnTo>
                    <a:pt x="30193" y="23749"/>
                  </a:lnTo>
                  <a:lnTo>
                    <a:pt x="30047" y="23623"/>
                  </a:lnTo>
                  <a:lnTo>
                    <a:pt x="30235" y="23623"/>
                  </a:lnTo>
                  <a:lnTo>
                    <a:pt x="30340" y="23477"/>
                  </a:lnTo>
                  <a:lnTo>
                    <a:pt x="30361" y="23540"/>
                  </a:lnTo>
                  <a:lnTo>
                    <a:pt x="30445" y="23477"/>
                  </a:lnTo>
                  <a:lnTo>
                    <a:pt x="30612" y="23581"/>
                  </a:lnTo>
                  <a:lnTo>
                    <a:pt x="30633" y="23456"/>
                  </a:lnTo>
                  <a:lnTo>
                    <a:pt x="30549" y="23435"/>
                  </a:lnTo>
                  <a:lnTo>
                    <a:pt x="30507" y="23372"/>
                  </a:lnTo>
                  <a:lnTo>
                    <a:pt x="30528" y="23309"/>
                  </a:lnTo>
                  <a:lnTo>
                    <a:pt x="30633" y="23372"/>
                  </a:lnTo>
                  <a:lnTo>
                    <a:pt x="30717" y="23309"/>
                  </a:lnTo>
                  <a:lnTo>
                    <a:pt x="30675" y="23268"/>
                  </a:lnTo>
                  <a:lnTo>
                    <a:pt x="30612" y="23268"/>
                  </a:lnTo>
                  <a:lnTo>
                    <a:pt x="30612" y="23163"/>
                  </a:lnTo>
                  <a:lnTo>
                    <a:pt x="30528" y="23121"/>
                  </a:lnTo>
                  <a:lnTo>
                    <a:pt x="30612" y="23100"/>
                  </a:lnTo>
                  <a:lnTo>
                    <a:pt x="30654" y="23142"/>
                  </a:lnTo>
                  <a:lnTo>
                    <a:pt x="30717" y="23142"/>
                  </a:lnTo>
                  <a:lnTo>
                    <a:pt x="30758" y="23205"/>
                  </a:lnTo>
                  <a:lnTo>
                    <a:pt x="30758" y="23121"/>
                  </a:lnTo>
                  <a:lnTo>
                    <a:pt x="30654" y="23037"/>
                  </a:lnTo>
                  <a:lnTo>
                    <a:pt x="30654" y="22933"/>
                  </a:lnTo>
                  <a:lnTo>
                    <a:pt x="30737" y="22933"/>
                  </a:lnTo>
                  <a:lnTo>
                    <a:pt x="30758" y="22891"/>
                  </a:lnTo>
                  <a:lnTo>
                    <a:pt x="30863" y="22954"/>
                  </a:lnTo>
                  <a:lnTo>
                    <a:pt x="30863" y="23037"/>
                  </a:lnTo>
                  <a:lnTo>
                    <a:pt x="30926" y="23037"/>
                  </a:lnTo>
                  <a:lnTo>
                    <a:pt x="30968" y="23121"/>
                  </a:lnTo>
                  <a:lnTo>
                    <a:pt x="30989" y="22996"/>
                  </a:lnTo>
                  <a:lnTo>
                    <a:pt x="30947" y="22912"/>
                  </a:lnTo>
                  <a:lnTo>
                    <a:pt x="30884" y="22912"/>
                  </a:lnTo>
                  <a:lnTo>
                    <a:pt x="30863" y="22828"/>
                  </a:lnTo>
                  <a:lnTo>
                    <a:pt x="30947" y="22828"/>
                  </a:lnTo>
                  <a:lnTo>
                    <a:pt x="30947" y="22745"/>
                  </a:lnTo>
                  <a:lnTo>
                    <a:pt x="30863" y="22724"/>
                  </a:lnTo>
                  <a:lnTo>
                    <a:pt x="30989" y="22598"/>
                  </a:lnTo>
                  <a:lnTo>
                    <a:pt x="30926" y="22535"/>
                  </a:lnTo>
                  <a:lnTo>
                    <a:pt x="30842" y="22535"/>
                  </a:lnTo>
                  <a:lnTo>
                    <a:pt x="30779" y="22598"/>
                  </a:lnTo>
                  <a:lnTo>
                    <a:pt x="30800" y="22493"/>
                  </a:lnTo>
                  <a:lnTo>
                    <a:pt x="30947" y="22410"/>
                  </a:lnTo>
                  <a:lnTo>
                    <a:pt x="31135" y="22326"/>
                  </a:lnTo>
                  <a:lnTo>
                    <a:pt x="31072" y="22263"/>
                  </a:lnTo>
                  <a:lnTo>
                    <a:pt x="30989" y="22326"/>
                  </a:lnTo>
                  <a:lnTo>
                    <a:pt x="30863" y="22201"/>
                  </a:lnTo>
                  <a:lnTo>
                    <a:pt x="30968" y="22201"/>
                  </a:lnTo>
                  <a:lnTo>
                    <a:pt x="30884" y="22096"/>
                  </a:lnTo>
                  <a:lnTo>
                    <a:pt x="30800" y="22096"/>
                  </a:lnTo>
                  <a:lnTo>
                    <a:pt x="30863" y="22054"/>
                  </a:lnTo>
                  <a:lnTo>
                    <a:pt x="30800" y="21991"/>
                  </a:lnTo>
                  <a:lnTo>
                    <a:pt x="30884" y="21991"/>
                  </a:lnTo>
                  <a:lnTo>
                    <a:pt x="30926" y="21908"/>
                  </a:lnTo>
                  <a:lnTo>
                    <a:pt x="31030" y="21908"/>
                  </a:lnTo>
                  <a:lnTo>
                    <a:pt x="30989" y="22012"/>
                  </a:lnTo>
                  <a:lnTo>
                    <a:pt x="31072" y="22012"/>
                  </a:lnTo>
                  <a:lnTo>
                    <a:pt x="31240" y="21866"/>
                  </a:lnTo>
                  <a:lnTo>
                    <a:pt x="31240" y="21782"/>
                  </a:lnTo>
                  <a:lnTo>
                    <a:pt x="31365" y="21803"/>
                  </a:lnTo>
                  <a:lnTo>
                    <a:pt x="31281" y="21698"/>
                  </a:lnTo>
                  <a:lnTo>
                    <a:pt x="31198" y="21698"/>
                  </a:lnTo>
                  <a:lnTo>
                    <a:pt x="31240" y="21594"/>
                  </a:lnTo>
                  <a:lnTo>
                    <a:pt x="31302" y="21677"/>
                  </a:lnTo>
                  <a:lnTo>
                    <a:pt x="31386" y="21636"/>
                  </a:lnTo>
                  <a:lnTo>
                    <a:pt x="31386" y="21531"/>
                  </a:lnTo>
                  <a:lnTo>
                    <a:pt x="31449" y="21489"/>
                  </a:lnTo>
                  <a:lnTo>
                    <a:pt x="31386" y="21426"/>
                  </a:lnTo>
                  <a:lnTo>
                    <a:pt x="31386" y="21343"/>
                  </a:lnTo>
                  <a:lnTo>
                    <a:pt x="31470" y="21322"/>
                  </a:lnTo>
                  <a:lnTo>
                    <a:pt x="31407" y="21238"/>
                  </a:lnTo>
                  <a:lnTo>
                    <a:pt x="31407" y="21175"/>
                  </a:lnTo>
                  <a:lnTo>
                    <a:pt x="31302" y="21112"/>
                  </a:lnTo>
                  <a:lnTo>
                    <a:pt x="31470" y="21154"/>
                  </a:lnTo>
                  <a:lnTo>
                    <a:pt x="31512" y="21112"/>
                  </a:lnTo>
                  <a:lnTo>
                    <a:pt x="31616" y="20903"/>
                  </a:lnTo>
                  <a:lnTo>
                    <a:pt x="31700" y="20903"/>
                  </a:lnTo>
                  <a:lnTo>
                    <a:pt x="31721" y="20966"/>
                  </a:lnTo>
                  <a:lnTo>
                    <a:pt x="31763" y="21029"/>
                  </a:lnTo>
                  <a:lnTo>
                    <a:pt x="31784" y="20924"/>
                  </a:lnTo>
                  <a:lnTo>
                    <a:pt x="31846" y="20861"/>
                  </a:lnTo>
                  <a:lnTo>
                    <a:pt x="31805" y="20736"/>
                  </a:lnTo>
                  <a:lnTo>
                    <a:pt x="31679" y="20736"/>
                  </a:lnTo>
                  <a:lnTo>
                    <a:pt x="31616" y="20694"/>
                  </a:lnTo>
                  <a:lnTo>
                    <a:pt x="31679" y="20652"/>
                  </a:lnTo>
                  <a:lnTo>
                    <a:pt x="31763" y="20652"/>
                  </a:lnTo>
                  <a:lnTo>
                    <a:pt x="31826" y="20610"/>
                  </a:lnTo>
                  <a:lnTo>
                    <a:pt x="31784" y="20548"/>
                  </a:lnTo>
                  <a:lnTo>
                    <a:pt x="31700" y="20506"/>
                  </a:lnTo>
                  <a:lnTo>
                    <a:pt x="31784" y="20443"/>
                  </a:lnTo>
                  <a:lnTo>
                    <a:pt x="31826" y="20443"/>
                  </a:lnTo>
                  <a:lnTo>
                    <a:pt x="31826" y="20401"/>
                  </a:lnTo>
                  <a:lnTo>
                    <a:pt x="31784" y="20338"/>
                  </a:lnTo>
                  <a:lnTo>
                    <a:pt x="31574" y="20338"/>
                  </a:lnTo>
                  <a:lnTo>
                    <a:pt x="31595" y="20296"/>
                  </a:lnTo>
                  <a:lnTo>
                    <a:pt x="31721" y="20192"/>
                  </a:lnTo>
                  <a:lnTo>
                    <a:pt x="31826" y="20213"/>
                  </a:lnTo>
                  <a:lnTo>
                    <a:pt x="31846" y="20192"/>
                  </a:lnTo>
                  <a:lnTo>
                    <a:pt x="31888" y="20129"/>
                  </a:lnTo>
                  <a:lnTo>
                    <a:pt x="31930" y="20192"/>
                  </a:lnTo>
                  <a:lnTo>
                    <a:pt x="31972" y="20213"/>
                  </a:lnTo>
                  <a:lnTo>
                    <a:pt x="32014" y="20171"/>
                  </a:lnTo>
                  <a:lnTo>
                    <a:pt x="31993" y="20087"/>
                  </a:lnTo>
                  <a:lnTo>
                    <a:pt x="31972" y="19920"/>
                  </a:lnTo>
                  <a:lnTo>
                    <a:pt x="31909" y="19878"/>
                  </a:lnTo>
                  <a:lnTo>
                    <a:pt x="31826" y="19962"/>
                  </a:lnTo>
                  <a:lnTo>
                    <a:pt x="31846" y="19983"/>
                  </a:lnTo>
                  <a:lnTo>
                    <a:pt x="31846" y="20024"/>
                  </a:lnTo>
                  <a:lnTo>
                    <a:pt x="31763" y="20004"/>
                  </a:lnTo>
                  <a:lnTo>
                    <a:pt x="31595" y="20129"/>
                  </a:lnTo>
                  <a:lnTo>
                    <a:pt x="31512" y="20108"/>
                  </a:lnTo>
                  <a:lnTo>
                    <a:pt x="31512" y="20004"/>
                  </a:lnTo>
                  <a:lnTo>
                    <a:pt x="31679" y="19983"/>
                  </a:lnTo>
                  <a:lnTo>
                    <a:pt x="31930" y="19752"/>
                  </a:lnTo>
                  <a:lnTo>
                    <a:pt x="31909" y="19711"/>
                  </a:lnTo>
                  <a:lnTo>
                    <a:pt x="31805" y="19711"/>
                  </a:lnTo>
                  <a:lnTo>
                    <a:pt x="31763" y="19648"/>
                  </a:lnTo>
                  <a:lnTo>
                    <a:pt x="31721" y="19690"/>
                  </a:lnTo>
                  <a:lnTo>
                    <a:pt x="31553" y="19460"/>
                  </a:lnTo>
                  <a:lnTo>
                    <a:pt x="31386" y="19439"/>
                  </a:lnTo>
                  <a:lnTo>
                    <a:pt x="31240" y="19585"/>
                  </a:lnTo>
                  <a:lnTo>
                    <a:pt x="31135" y="19564"/>
                  </a:lnTo>
                  <a:lnTo>
                    <a:pt x="31030" y="19397"/>
                  </a:lnTo>
                  <a:lnTo>
                    <a:pt x="30884" y="19439"/>
                  </a:lnTo>
                  <a:lnTo>
                    <a:pt x="30779" y="19501"/>
                  </a:lnTo>
                  <a:lnTo>
                    <a:pt x="30737" y="19606"/>
                  </a:lnTo>
                  <a:lnTo>
                    <a:pt x="30758" y="19480"/>
                  </a:lnTo>
                  <a:lnTo>
                    <a:pt x="30884" y="19376"/>
                  </a:lnTo>
                  <a:lnTo>
                    <a:pt x="30968" y="19376"/>
                  </a:lnTo>
                  <a:lnTo>
                    <a:pt x="31051" y="19334"/>
                  </a:lnTo>
                  <a:lnTo>
                    <a:pt x="31177" y="19376"/>
                  </a:lnTo>
                  <a:lnTo>
                    <a:pt x="31281" y="19355"/>
                  </a:lnTo>
                  <a:lnTo>
                    <a:pt x="31281" y="19250"/>
                  </a:lnTo>
                  <a:lnTo>
                    <a:pt x="31323" y="19188"/>
                  </a:lnTo>
                  <a:lnTo>
                    <a:pt x="31407" y="19188"/>
                  </a:lnTo>
                  <a:lnTo>
                    <a:pt x="31553" y="19041"/>
                  </a:lnTo>
                  <a:lnTo>
                    <a:pt x="31700" y="19020"/>
                  </a:lnTo>
                  <a:lnTo>
                    <a:pt x="31700" y="18936"/>
                  </a:lnTo>
                  <a:lnTo>
                    <a:pt x="31574" y="18727"/>
                  </a:lnTo>
                  <a:lnTo>
                    <a:pt x="31281" y="18539"/>
                  </a:lnTo>
                  <a:lnTo>
                    <a:pt x="31072" y="18413"/>
                  </a:lnTo>
                  <a:lnTo>
                    <a:pt x="30842" y="18204"/>
                  </a:lnTo>
                  <a:lnTo>
                    <a:pt x="30737" y="18204"/>
                  </a:lnTo>
                  <a:lnTo>
                    <a:pt x="30549" y="18330"/>
                  </a:lnTo>
                  <a:lnTo>
                    <a:pt x="30445" y="18309"/>
                  </a:lnTo>
                  <a:lnTo>
                    <a:pt x="30319" y="18183"/>
                  </a:lnTo>
                  <a:lnTo>
                    <a:pt x="30319" y="18099"/>
                  </a:lnTo>
                  <a:lnTo>
                    <a:pt x="30235" y="18079"/>
                  </a:lnTo>
                  <a:lnTo>
                    <a:pt x="30110" y="18120"/>
                  </a:lnTo>
                  <a:lnTo>
                    <a:pt x="29984" y="18120"/>
                  </a:lnTo>
                  <a:lnTo>
                    <a:pt x="29838" y="18141"/>
                  </a:lnTo>
                  <a:lnTo>
                    <a:pt x="29691" y="18351"/>
                  </a:lnTo>
                  <a:lnTo>
                    <a:pt x="29817" y="18099"/>
                  </a:lnTo>
                  <a:lnTo>
                    <a:pt x="29921" y="18037"/>
                  </a:lnTo>
                  <a:lnTo>
                    <a:pt x="29984" y="18079"/>
                  </a:lnTo>
                  <a:lnTo>
                    <a:pt x="30047" y="18079"/>
                  </a:lnTo>
                  <a:lnTo>
                    <a:pt x="30089" y="18016"/>
                  </a:lnTo>
                  <a:lnTo>
                    <a:pt x="30193" y="18079"/>
                  </a:lnTo>
                  <a:lnTo>
                    <a:pt x="30340" y="17995"/>
                  </a:lnTo>
                  <a:lnTo>
                    <a:pt x="30403" y="18183"/>
                  </a:lnTo>
                  <a:lnTo>
                    <a:pt x="30465" y="18225"/>
                  </a:lnTo>
                  <a:lnTo>
                    <a:pt x="30570" y="18225"/>
                  </a:lnTo>
                  <a:lnTo>
                    <a:pt x="30654" y="18120"/>
                  </a:lnTo>
                  <a:lnTo>
                    <a:pt x="30842" y="18141"/>
                  </a:lnTo>
                  <a:lnTo>
                    <a:pt x="30968" y="18246"/>
                  </a:lnTo>
                  <a:lnTo>
                    <a:pt x="31051" y="18246"/>
                  </a:lnTo>
                  <a:lnTo>
                    <a:pt x="31177" y="18351"/>
                  </a:lnTo>
                  <a:lnTo>
                    <a:pt x="31323" y="18288"/>
                  </a:lnTo>
                  <a:lnTo>
                    <a:pt x="31574" y="18351"/>
                  </a:lnTo>
                  <a:lnTo>
                    <a:pt x="31658" y="18330"/>
                  </a:lnTo>
                  <a:lnTo>
                    <a:pt x="31553" y="18141"/>
                  </a:lnTo>
                  <a:lnTo>
                    <a:pt x="31491" y="18120"/>
                  </a:lnTo>
                  <a:lnTo>
                    <a:pt x="31323" y="17974"/>
                  </a:lnTo>
                  <a:lnTo>
                    <a:pt x="31323" y="17911"/>
                  </a:lnTo>
                  <a:lnTo>
                    <a:pt x="31281" y="17869"/>
                  </a:lnTo>
                  <a:lnTo>
                    <a:pt x="31177" y="17890"/>
                  </a:lnTo>
                  <a:lnTo>
                    <a:pt x="31051" y="17827"/>
                  </a:lnTo>
                  <a:lnTo>
                    <a:pt x="30884" y="17597"/>
                  </a:lnTo>
                  <a:lnTo>
                    <a:pt x="30884" y="17451"/>
                  </a:lnTo>
                  <a:lnTo>
                    <a:pt x="30675" y="17283"/>
                  </a:lnTo>
                  <a:lnTo>
                    <a:pt x="30675" y="17095"/>
                  </a:lnTo>
                  <a:lnTo>
                    <a:pt x="30549" y="17074"/>
                  </a:lnTo>
                  <a:lnTo>
                    <a:pt x="30612" y="16949"/>
                  </a:lnTo>
                  <a:lnTo>
                    <a:pt x="30570" y="16928"/>
                  </a:lnTo>
                  <a:lnTo>
                    <a:pt x="30403" y="16572"/>
                  </a:lnTo>
                  <a:lnTo>
                    <a:pt x="30089" y="16405"/>
                  </a:lnTo>
                  <a:lnTo>
                    <a:pt x="30005" y="16447"/>
                  </a:lnTo>
                  <a:lnTo>
                    <a:pt x="30005" y="16363"/>
                  </a:lnTo>
                  <a:lnTo>
                    <a:pt x="29712" y="16237"/>
                  </a:lnTo>
                  <a:lnTo>
                    <a:pt x="29670" y="16237"/>
                  </a:lnTo>
                  <a:lnTo>
                    <a:pt x="29670" y="15944"/>
                  </a:lnTo>
                  <a:lnTo>
                    <a:pt x="29712" y="15735"/>
                  </a:lnTo>
                  <a:lnTo>
                    <a:pt x="29670" y="15610"/>
                  </a:lnTo>
                  <a:lnTo>
                    <a:pt x="29691" y="15463"/>
                  </a:lnTo>
                  <a:lnTo>
                    <a:pt x="29712" y="15484"/>
                  </a:lnTo>
                  <a:lnTo>
                    <a:pt x="29817" y="15463"/>
                  </a:lnTo>
                  <a:lnTo>
                    <a:pt x="29921" y="15296"/>
                  </a:lnTo>
                  <a:lnTo>
                    <a:pt x="29984" y="15317"/>
                  </a:lnTo>
                  <a:lnTo>
                    <a:pt x="30089" y="15191"/>
                  </a:lnTo>
                  <a:lnTo>
                    <a:pt x="29984" y="15149"/>
                  </a:lnTo>
                  <a:lnTo>
                    <a:pt x="29921" y="15066"/>
                  </a:lnTo>
                  <a:lnTo>
                    <a:pt x="30005" y="14961"/>
                  </a:lnTo>
                  <a:lnTo>
                    <a:pt x="30193" y="14982"/>
                  </a:lnTo>
                  <a:lnTo>
                    <a:pt x="30193" y="14856"/>
                  </a:lnTo>
                  <a:lnTo>
                    <a:pt x="30319" y="14835"/>
                  </a:lnTo>
                  <a:lnTo>
                    <a:pt x="30319" y="14731"/>
                  </a:lnTo>
                  <a:lnTo>
                    <a:pt x="30193" y="14647"/>
                  </a:lnTo>
                  <a:lnTo>
                    <a:pt x="30319" y="14647"/>
                  </a:lnTo>
                  <a:lnTo>
                    <a:pt x="30424" y="14689"/>
                  </a:lnTo>
                  <a:lnTo>
                    <a:pt x="30445" y="14647"/>
                  </a:lnTo>
                  <a:lnTo>
                    <a:pt x="30549" y="14647"/>
                  </a:lnTo>
                  <a:lnTo>
                    <a:pt x="30654" y="14563"/>
                  </a:lnTo>
                  <a:lnTo>
                    <a:pt x="30717" y="14563"/>
                  </a:lnTo>
                  <a:lnTo>
                    <a:pt x="30842" y="14375"/>
                  </a:lnTo>
                  <a:lnTo>
                    <a:pt x="30884" y="14459"/>
                  </a:lnTo>
                  <a:lnTo>
                    <a:pt x="30947" y="14417"/>
                  </a:lnTo>
                  <a:lnTo>
                    <a:pt x="30947" y="14459"/>
                  </a:lnTo>
                  <a:lnTo>
                    <a:pt x="31093" y="14563"/>
                  </a:lnTo>
                  <a:lnTo>
                    <a:pt x="31240" y="14438"/>
                  </a:lnTo>
                  <a:lnTo>
                    <a:pt x="31240" y="14375"/>
                  </a:lnTo>
                  <a:lnTo>
                    <a:pt x="31156" y="14354"/>
                  </a:lnTo>
                  <a:lnTo>
                    <a:pt x="31135" y="14250"/>
                  </a:lnTo>
                  <a:lnTo>
                    <a:pt x="31198" y="14208"/>
                  </a:lnTo>
                  <a:lnTo>
                    <a:pt x="31261" y="14208"/>
                  </a:lnTo>
                  <a:lnTo>
                    <a:pt x="31177" y="14061"/>
                  </a:lnTo>
                  <a:lnTo>
                    <a:pt x="31177" y="13998"/>
                  </a:lnTo>
                  <a:lnTo>
                    <a:pt x="31302" y="13957"/>
                  </a:lnTo>
                  <a:lnTo>
                    <a:pt x="31240" y="13936"/>
                  </a:lnTo>
                  <a:lnTo>
                    <a:pt x="31093" y="13957"/>
                  </a:lnTo>
                  <a:lnTo>
                    <a:pt x="30947" y="13957"/>
                  </a:lnTo>
                  <a:lnTo>
                    <a:pt x="30947" y="13915"/>
                  </a:lnTo>
                  <a:lnTo>
                    <a:pt x="30800" y="13915"/>
                  </a:lnTo>
                  <a:lnTo>
                    <a:pt x="30758" y="13957"/>
                  </a:lnTo>
                  <a:lnTo>
                    <a:pt x="30403" y="13998"/>
                  </a:lnTo>
                  <a:lnTo>
                    <a:pt x="30319" y="13915"/>
                  </a:lnTo>
                  <a:lnTo>
                    <a:pt x="30256" y="13894"/>
                  </a:lnTo>
                  <a:lnTo>
                    <a:pt x="30193" y="13789"/>
                  </a:lnTo>
                  <a:lnTo>
                    <a:pt x="30131" y="13747"/>
                  </a:lnTo>
                  <a:lnTo>
                    <a:pt x="30089" y="13706"/>
                  </a:lnTo>
                  <a:lnTo>
                    <a:pt x="29817" y="13831"/>
                  </a:lnTo>
                  <a:lnTo>
                    <a:pt x="29691" y="13831"/>
                  </a:lnTo>
                  <a:lnTo>
                    <a:pt x="29733" y="13894"/>
                  </a:lnTo>
                  <a:lnTo>
                    <a:pt x="29733" y="13998"/>
                  </a:lnTo>
                  <a:lnTo>
                    <a:pt x="29670" y="14040"/>
                  </a:lnTo>
                  <a:lnTo>
                    <a:pt x="29503" y="14103"/>
                  </a:lnTo>
                  <a:lnTo>
                    <a:pt x="29524" y="14124"/>
                  </a:lnTo>
                  <a:lnTo>
                    <a:pt x="29587" y="14208"/>
                  </a:lnTo>
                  <a:lnTo>
                    <a:pt x="29524" y="14312"/>
                  </a:lnTo>
                  <a:lnTo>
                    <a:pt x="29482" y="14354"/>
                  </a:lnTo>
                  <a:lnTo>
                    <a:pt x="29357" y="14312"/>
                  </a:lnTo>
                  <a:lnTo>
                    <a:pt x="29231" y="14375"/>
                  </a:lnTo>
                  <a:lnTo>
                    <a:pt x="29085" y="14354"/>
                  </a:lnTo>
                  <a:lnTo>
                    <a:pt x="28938" y="14061"/>
                  </a:lnTo>
                  <a:lnTo>
                    <a:pt x="28938" y="13915"/>
                  </a:lnTo>
                  <a:lnTo>
                    <a:pt x="28896" y="13810"/>
                  </a:lnTo>
                  <a:lnTo>
                    <a:pt x="28750" y="13810"/>
                  </a:lnTo>
                  <a:lnTo>
                    <a:pt x="28687" y="13831"/>
                  </a:lnTo>
                  <a:lnTo>
                    <a:pt x="28687" y="13789"/>
                  </a:lnTo>
                  <a:lnTo>
                    <a:pt x="28624" y="13789"/>
                  </a:lnTo>
                  <a:lnTo>
                    <a:pt x="28561" y="13852"/>
                  </a:lnTo>
                  <a:lnTo>
                    <a:pt x="28540" y="13789"/>
                  </a:lnTo>
                  <a:lnTo>
                    <a:pt x="28540" y="13831"/>
                  </a:lnTo>
                  <a:lnTo>
                    <a:pt x="28436" y="13706"/>
                  </a:lnTo>
                  <a:lnTo>
                    <a:pt x="28436" y="13622"/>
                  </a:lnTo>
                  <a:lnTo>
                    <a:pt x="28227" y="13496"/>
                  </a:lnTo>
                  <a:lnTo>
                    <a:pt x="28122" y="13413"/>
                  </a:lnTo>
                  <a:lnTo>
                    <a:pt x="28101" y="13287"/>
                  </a:lnTo>
                  <a:lnTo>
                    <a:pt x="28038" y="13162"/>
                  </a:lnTo>
                  <a:lnTo>
                    <a:pt x="28101" y="13099"/>
                  </a:lnTo>
                  <a:lnTo>
                    <a:pt x="28101" y="13057"/>
                  </a:lnTo>
                  <a:lnTo>
                    <a:pt x="28101" y="12994"/>
                  </a:lnTo>
                  <a:lnTo>
                    <a:pt x="28122" y="12869"/>
                  </a:lnTo>
                  <a:lnTo>
                    <a:pt x="28164" y="12806"/>
                  </a:lnTo>
                  <a:lnTo>
                    <a:pt x="28185" y="12764"/>
                  </a:lnTo>
                  <a:lnTo>
                    <a:pt x="28415" y="12848"/>
                  </a:lnTo>
                  <a:lnTo>
                    <a:pt x="28750" y="12848"/>
                  </a:lnTo>
                  <a:lnTo>
                    <a:pt x="28792" y="12701"/>
                  </a:lnTo>
                  <a:lnTo>
                    <a:pt x="28771" y="12659"/>
                  </a:lnTo>
                  <a:lnTo>
                    <a:pt x="28854" y="12659"/>
                  </a:lnTo>
                  <a:lnTo>
                    <a:pt x="28833" y="12492"/>
                  </a:lnTo>
                  <a:lnTo>
                    <a:pt x="28792" y="12471"/>
                  </a:lnTo>
                  <a:lnTo>
                    <a:pt x="28854" y="12429"/>
                  </a:lnTo>
                  <a:lnTo>
                    <a:pt x="28896" y="12136"/>
                  </a:lnTo>
                  <a:lnTo>
                    <a:pt x="29105" y="12011"/>
                  </a:lnTo>
                  <a:lnTo>
                    <a:pt x="29210" y="12011"/>
                  </a:lnTo>
                  <a:lnTo>
                    <a:pt x="29315" y="11843"/>
                  </a:lnTo>
                  <a:lnTo>
                    <a:pt x="29377" y="11843"/>
                  </a:lnTo>
                  <a:lnTo>
                    <a:pt x="29398" y="11613"/>
                  </a:lnTo>
                  <a:lnTo>
                    <a:pt x="29503" y="11488"/>
                  </a:lnTo>
                  <a:lnTo>
                    <a:pt x="29524" y="11341"/>
                  </a:lnTo>
                  <a:lnTo>
                    <a:pt x="29587" y="11320"/>
                  </a:lnTo>
                  <a:lnTo>
                    <a:pt x="29670" y="11195"/>
                  </a:lnTo>
                  <a:lnTo>
                    <a:pt x="29796" y="11195"/>
                  </a:lnTo>
                  <a:lnTo>
                    <a:pt x="29838" y="11216"/>
                  </a:lnTo>
                  <a:lnTo>
                    <a:pt x="29942" y="11216"/>
                  </a:lnTo>
                  <a:lnTo>
                    <a:pt x="29984" y="11111"/>
                  </a:lnTo>
                  <a:lnTo>
                    <a:pt x="30152" y="11320"/>
                  </a:lnTo>
                  <a:lnTo>
                    <a:pt x="30424" y="11488"/>
                  </a:lnTo>
                  <a:lnTo>
                    <a:pt x="30424" y="11592"/>
                  </a:lnTo>
                  <a:lnTo>
                    <a:pt x="30361" y="11613"/>
                  </a:lnTo>
                  <a:lnTo>
                    <a:pt x="30340" y="11697"/>
                  </a:lnTo>
                  <a:lnTo>
                    <a:pt x="30214" y="11843"/>
                  </a:lnTo>
                  <a:lnTo>
                    <a:pt x="30193" y="12011"/>
                  </a:lnTo>
                  <a:lnTo>
                    <a:pt x="30089" y="12011"/>
                  </a:lnTo>
                  <a:lnTo>
                    <a:pt x="30110" y="12032"/>
                  </a:lnTo>
                  <a:lnTo>
                    <a:pt x="30089" y="12178"/>
                  </a:lnTo>
                  <a:lnTo>
                    <a:pt x="30214" y="12325"/>
                  </a:lnTo>
                  <a:lnTo>
                    <a:pt x="30193" y="12387"/>
                  </a:lnTo>
                  <a:lnTo>
                    <a:pt x="30131" y="12429"/>
                  </a:lnTo>
                  <a:lnTo>
                    <a:pt x="30131" y="12471"/>
                  </a:lnTo>
                  <a:lnTo>
                    <a:pt x="30193" y="12555"/>
                  </a:lnTo>
                  <a:lnTo>
                    <a:pt x="30319" y="12492"/>
                  </a:lnTo>
                  <a:lnTo>
                    <a:pt x="30445" y="12387"/>
                  </a:lnTo>
                  <a:lnTo>
                    <a:pt x="30403" y="12492"/>
                  </a:lnTo>
                  <a:lnTo>
                    <a:pt x="30277" y="12576"/>
                  </a:lnTo>
                  <a:lnTo>
                    <a:pt x="30319" y="12638"/>
                  </a:lnTo>
                  <a:lnTo>
                    <a:pt x="30361" y="12659"/>
                  </a:lnTo>
                  <a:lnTo>
                    <a:pt x="30361" y="12701"/>
                  </a:lnTo>
                  <a:lnTo>
                    <a:pt x="30319" y="12743"/>
                  </a:lnTo>
                  <a:lnTo>
                    <a:pt x="30193" y="12743"/>
                  </a:lnTo>
                  <a:lnTo>
                    <a:pt x="30131" y="12806"/>
                  </a:lnTo>
                  <a:lnTo>
                    <a:pt x="30026" y="12806"/>
                  </a:lnTo>
                  <a:lnTo>
                    <a:pt x="29984" y="12890"/>
                  </a:lnTo>
                  <a:lnTo>
                    <a:pt x="30089" y="12973"/>
                  </a:lnTo>
                  <a:lnTo>
                    <a:pt x="30089" y="13057"/>
                  </a:lnTo>
                  <a:lnTo>
                    <a:pt x="30152" y="13057"/>
                  </a:lnTo>
                  <a:lnTo>
                    <a:pt x="30235" y="12952"/>
                  </a:lnTo>
                  <a:lnTo>
                    <a:pt x="30277" y="12952"/>
                  </a:lnTo>
                  <a:lnTo>
                    <a:pt x="30403" y="12806"/>
                  </a:lnTo>
                  <a:lnTo>
                    <a:pt x="30549" y="12743"/>
                  </a:lnTo>
                  <a:lnTo>
                    <a:pt x="30570" y="12701"/>
                  </a:lnTo>
                  <a:lnTo>
                    <a:pt x="30528" y="12576"/>
                  </a:lnTo>
                  <a:lnTo>
                    <a:pt x="30654" y="12471"/>
                  </a:lnTo>
                  <a:lnTo>
                    <a:pt x="30926" y="12283"/>
                  </a:lnTo>
                  <a:lnTo>
                    <a:pt x="30989" y="12283"/>
                  </a:lnTo>
                  <a:lnTo>
                    <a:pt x="31030" y="12178"/>
                  </a:lnTo>
                  <a:lnTo>
                    <a:pt x="31156" y="12178"/>
                  </a:lnTo>
                  <a:lnTo>
                    <a:pt x="31302" y="12053"/>
                  </a:lnTo>
                  <a:lnTo>
                    <a:pt x="31365" y="12115"/>
                  </a:lnTo>
                  <a:lnTo>
                    <a:pt x="31407" y="12115"/>
                  </a:lnTo>
                  <a:lnTo>
                    <a:pt x="31553" y="12073"/>
                  </a:lnTo>
                  <a:lnTo>
                    <a:pt x="31721" y="11906"/>
                  </a:lnTo>
                  <a:lnTo>
                    <a:pt x="31763" y="12011"/>
                  </a:lnTo>
                  <a:lnTo>
                    <a:pt x="31763" y="11655"/>
                  </a:lnTo>
                  <a:lnTo>
                    <a:pt x="31909" y="11550"/>
                  </a:lnTo>
                  <a:lnTo>
                    <a:pt x="31972" y="11404"/>
                  </a:lnTo>
                  <a:lnTo>
                    <a:pt x="31972" y="11299"/>
                  </a:lnTo>
                  <a:lnTo>
                    <a:pt x="32118" y="11195"/>
                  </a:lnTo>
                  <a:lnTo>
                    <a:pt x="32223" y="11006"/>
                  </a:lnTo>
                  <a:lnTo>
                    <a:pt x="32328" y="10965"/>
                  </a:lnTo>
                  <a:lnTo>
                    <a:pt x="32411" y="10672"/>
                  </a:lnTo>
                  <a:lnTo>
                    <a:pt x="32453" y="10567"/>
                  </a:lnTo>
                  <a:lnTo>
                    <a:pt x="32453" y="10504"/>
                  </a:lnTo>
                  <a:lnTo>
                    <a:pt x="32453" y="10337"/>
                  </a:lnTo>
                  <a:lnTo>
                    <a:pt x="32600" y="10190"/>
                  </a:lnTo>
                  <a:lnTo>
                    <a:pt x="32704" y="10358"/>
                  </a:lnTo>
                  <a:lnTo>
                    <a:pt x="32767" y="10400"/>
                  </a:lnTo>
                  <a:lnTo>
                    <a:pt x="32851" y="10483"/>
                  </a:lnTo>
                  <a:lnTo>
                    <a:pt x="32955" y="10441"/>
                  </a:lnTo>
                  <a:lnTo>
                    <a:pt x="33081" y="10483"/>
                  </a:lnTo>
                  <a:lnTo>
                    <a:pt x="33332" y="10462"/>
                  </a:lnTo>
                  <a:lnTo>
                    <a:pt x="33478" y="10483"/>
                  </a:lnTo>
                  <a:lnTo>
                    <a:pt x="33541" y="10337"/>
                  </a:lnTo>
                  <a:lnTo>
                    <a:pt x="33541" y="10253"/>
                  </a:lnTo>
                  <a:lnTo>
                    <a:pt x="33395" y="10128"/>
                  </a:lnTo>
                  <a:lnTo>
                    <a:pt x="33290" y="10044"/>
                  </a:lnTo>
                  <a:lnTo>
                    <a:pt x="33374" y="9960"/>
                  </a:lnTo>
                  <a:lnTo>
                    <a:pt x="33499" y="9960"/>
                  </a:lnTo>
                  <a:lnTo>
                    <a:pt x="33750" y="9772"/>
                  </a:lnTo>
                  <a:lnTo>
                    <a:pt x="33750" y="9646"/>
                  </a:lnTo>
                  <a:lnTo>
                    <a:pt x="33855" y="9521"/>
                  </a:lnTo>
                  <a:lnTo>
                    <a:pt x="33939" y="9521"/>
                  </a:lnTo>
                  <a:lnTo>
                    <a:pt x="34002" y="9416"/>
                  </a:lnTo>
                  <a:lnTo>
                    <a:pt x="33939" y="9312"/>
                  </a:lnTo>
                  <a:lnTo>
                    <a:pt x="33939" y="9207"/>
                  </a:lnTo>
                  <a:lnTo>
                    <a:pt x="33939" y="9081"/>
                  </a:lnTo>
                  <a:lnTo>
                    <a:pt x="34022" y="9040"/>
                  </a:lnTo>
                  <a:lnTo>
                    <a:pt x="34127" y="9123"/>
                  </a:lnTo>
                  <a:lnTo>
                    <a:pt x="34127" y="9228"/>
                  </a:lnTo>
                  <a:lnTo>
                    <a:pt x="34190" y="9312"/>
                  </a:lnTo>
                  <a:lnTo>
                    <a:pt x="34378" y="9332"/>
                  </a:lnTo>
                  <a:lnTo>
                    <a:pt x="34399" y="9395"/>
                  </a:lnTo>
                  <a:lnTo>
                    <a:pt x="34399" y="9353"/>
                  </a:lnTo>
                  <a:lnTo>
                    <a:pt x="34399" y="9291"/>
                  </a:lnTo>
                  <a:lnTo>
                    <a:pt x="34378" y="9249"/>
                  </a:lnTo>
                  <a:lnTo>
                    <a:pt x="34336" y="9144"/>
                  </a:lnTo>
                  <a:lnTo>
                    <a:pt x="34336" y="9123"/>
                  </a:lnTo>
                  <a:lnTo>
                    <a:pt x="34420" y="9081"/>
                  </a:lnTo>
                  <a:lnTo>
                    <a:pt x="34546" y="9102"/>
                  </a:lnTo>
                  <a:lnTo>
                    <a:pt x="34608" y="9081"/>
                  </a:lnTo>
                  <a:lnTo>
                    <a:pt x="34608" y="8977"/>
                  </a:lnTo>
                  <a:lnTo>
                    <a:pt x="34587" y="8914"/>
                  </a:lnTo>
                  <a:lnTo>
                    <a:pt x="34587" y="8830"/>
                  </a:lnTo>
                  <a:lnTo>
                    <a:pt x="34608" y="8788"/>
                  </a:lnTo>
                  <a:lnTo>
                    <a:pt x="34608" y="8684"/>
                  </a:lnTo>
                  <a:lnTo>
                    <a:pt x="34608" y="8579"/>
                  </a:lnTo>
                  <a:lnTo>
                    <a:pt x="34525" y="8516"/>
                  </a:lnTo>
                  <a:lnTo>
                    <a:pt x="34525" y="8349"/>
                  </a:lnTo>
                  <a:lnTo>
                    <a:pt x="34525" y="8244"/>
                  </a:lnTo>
                  <a:lnTo>
                    <a:pt x="34504" y="8098"/>
                  </a:lnTo>
                  <a:lnTo>
                    <a:pt x="34504" y="7993"/>
                  </a:lnTo>
                  <a:lnTo>
                    <a:pt x="34441" y="7889"/>
                  </a:lnTo>
                  <a:lnTo>
                    <a:pt x="34399" y="7826"/>
                  </a:lnTo>
                  <a:lnTo>
                    <a:pt x="34378" y="7742"/>
                  </a:lnTo>
                  <a:lnTo>
                    <a:pt x="34232" y="7533"/>
                  </a:lnTo>
                  <a:lnTo>
                    <a:pt x="34190" y="7428"/>
                  </a:lnTo>
                  <a:lnTo>
                    <a:pt x="34211" y="7366"/>
                  </a:lnTo>
                  <a:lnTo>
                    <a:pt x="34294" y="7345"/>
                  </a:lnTo>
                  <a:lnTo>
                    <a:pt x="34378" y="7324"/>
                  </a:lnTo>
                  <a:lnTo>
                    <a:pt x="34420" y="7261"/>
                  </a:lnTo>
                  <a:lnTo>
                    <a:pt x="34441" y="7198"/>
                  </a:lnTo>
                  <a:lnTo>
                    <a:pt x="34546" y="7010"/>
                  </a:lnTo>
                  <a:lnTo>
                    <a:pt x="34587" y="7010"/>
                  </a:lnTo>
                  <a:lnTo>
                    <a:pt x="34692" y="7031"/>
                  </a:lnTo>
                  <a:lnTo>
                    <a:pt x="34755" y="7052"/>
                  </a:lnTo>
                  <a:lnTo>
                    <a:pt x="35131" y="7115"/>
                  </a:lnTo>
                  <a:lnTo>
                    <a:pt x="35173" y="7136"/>
                  </a:lnTo>
                  <a:lnTo>
                    <a:pt x="35236" y="7136"/>
                  </a:lnTo>
                  <a:lnTo>
                    <a:pt x="35278" y="7094"/>
                  </a:lnTo>
                  <a:lnTo>
                    <a:pt x="35257" y="7010"/>
                  </a:lnTo>
                  <a:lnTo>
                    <a:pt x="35236" y="6926"/>
                  </a:lnTo>
                  <a:lnTo>
                    <a:pt x="35236" y="6884"/>
                  </a:lnTo>
                  <a:lnTo>
                    <a:pt x="35257" y="6822"/>
                  </a:lnTo>
                  <a:lnTo>
                    <a:pt x="35236" y="6780"/>
                  </a:lnTo>
                  <a:lnTo>
                    <a:pt x="35215" y="6696"/>
                  </a:lnTo>
                  <a:lnTo>
                    <a:pt x="35257" y="6591"/>
                  </a:lnTo>
                  <a:lnTo>
                    <a:pt x="35320" y="6571"/>
                  </a:lnTo>
                  <a:lnTo>
                    <a:pt x="35278" y="6466"/>
                  </a:lnTo>
                  <a:lnTo>
                    <a:pt x="35257" y="6403"/>
                  </a:lnTo>
                  <a:lnTo>
                    <a:pt x="35257" y="6382"/>
                  </a:lnTo>
                  <a:lnTo>
                    <a:pt x="35341" y="6319"/>
                  </a:lnTo>
                  <a:lnTo>
                    <a:pt x="35320" y="6278"/>
                  </a:lnTo>
                  <a:lnTo>
                    <a:pt x="35320" y="6215"/>
                  </a:lnTo>
                  <a:lnTo>
                    <a:pt x="35278" y="6152"/>
                  </a:lnTo>
                  <a:lnTo>
                    <a:pt x="35320" y="6068"/>
                  </a:lnTo>
                  <a:lnTo>
                    <a:pt x="35362" y="6047"/>
                  </a:lnTo>
                  <a:lnTo>
                    <a:pt x="35362" y="5985"/>
                  </a:lnTo>
                  <a:lnTo>
                    <a:pt x="35341" y="5943"/>
                  </a:lnTo>
                  <a:lnTo>
                    <a:pt x="35278" y="5796"/>
                  </a:lnTo>
                  <a:lnTo>
                    <a:pt x="35278" y="5671"/>
                  </a:lnTo>
                  <a:lnTo>
                    <a:pt x="35320" y="5650"/>
                  </a:lnTo>
                  <a:lnTo>
                    <a:pt x="35341" y="5629"/>
                  </a:lnTo>
                  <a:lnTo>
                    <a:pt x="35341" y="5587"/>
                  </a:lnTo>
                  <a:lnTo>
                    <a:pt x="35320" y="5545"/>
                  </a:lnTo>
                  <a:lnTo>
                    <a:pt x="35320" y="5483"/>
                  </a:lnTo>
                  <a:lnTo>
                    <a:pt x="35257" y="5441"/>
                  </a:lnTo>
                  <a:lnTo>
                    <a:pt x="35236" y="5378"/>
                  </a:lnTo>
                  <a:lnTo>
                    <a:pt x="35257" y="5315"/>
                  </a:lnTo>
                  <a:lnTo>
                    <a:pt x="35257" y="5231"/>
                  </a:lnTo>
                  <a:lnTo>
                    <a:pt x="35236" y="5169"/>
                  </a:lnTo>
                  <a:lnTo>
                    <a:pt x="35173" y="5127"/>
                  </a:lnTo>
                  <a:lnTo>
                    <a:pt x="35173" y="5064"/>
                  </a:lnTo>
                  <a:lnTo>
                    <a:pt x="35257" y="4959"/>
                  </a:lnTo>
                  <a:lnTo>
                    <a:pt x="35362" y="4939"/>
                  </a:lnTo>
                  <a:lnTo>
                    <a:pt x="35383" y="4918"/>
                  </a:lnTo>
                  <a:lnTo>
                    <a:pt x="35383" y="4813"/>
                  </a:lnTo>
                  <a:lnTo>
                    <a:pt x="35424" y="4687"/>
                  </a:lnTo>
                  <a:lnTo>
                    <a:pt x="35341" y="4646"/>
                  </a:lnTo>
                  <a:lnTo>
                    <a:pt x="35278" y="4583"/>
                  </a:lnTo>
                  <a:lnTo>
                    <a:pt x="35257" y="4499"/>
                  </a:lnTo>
                  <a:lnTo>
                    <a:pt x="35173" y="4395"/>
                  </a:lnTo>
                  <a:lnTo>
                    <a:pt x="35152" y="4332"/>
                  </a:lnTo>
                  <a:lnTo>
                    <a:pt x="35215" y="4290"/>
                  </a:lnTo>
                  <a:lnTo>
                    <a:pt x="35152" y="4185"/>
                  </a:lnTo>
                  <a:lnTo>
                    <a:pt x="35131" y="4123"/>
                  </a:lnTo>
                  <a:lnTo>
                    <a:pt x="35027" y="4102"/>
                  </a:lnTo>
                  <a:lnTo>
                    <a:pt x="34964" y="4081"/>
                  </a:lnTo>
                  <a:lnTo>
                    <a:pt x="34859" y="4018"/>
                  </a:lnTo>
                  <a:lnTo>
                    <a:pt x="34797" y="4081"/>
                  </a:lnTo>
                  <a:lnTo>
                    <a:pt x="34713" y="4102"/>
                  </a:lnTo>
                  <a:lnTo>
                    <a:pt x="34629" y="4143"/>
                  </a:lnTo>
                  <a:lnTo>
                    <a:pt x="34629" y="4227"/>
                  </a:lnTo>
                  <a:lnTo>
                    <a:pt x="34587" y="4269"/>
                  </a:lnTo>
                  <a:lnTo>
                    <a:pt x="34504" y="4269"/>
                  </a:lnTo>
                  <a:lnTo>
                    <a:pt x="34483" y="4395"/>
                  </a:lnTo>
                  <a:lnTo>
                    <a:pt x="34294" y="4395"/>
                  </a:lnTo>
                  <a:lnTo>
                    <a:pt x="34232" y="4478"/>
                  </a:lnTo>
                  <a:lnTo>
                    <a:pt x="34232" y="4583"/>
                  </a:lnTo>
                  <a:lnTo>
                    <a:pt x="34190" y="4604"/>
                  </a:lnTo>
                  <a:lnTo>
                    <a:pt x="34169" y="4729"/>
                  </a:lnTo>
                  <a:lnTo>
                    <a:pt x="34169" y="4792"/>
                  </a:lnTo>
                  <a:lnTo>
                    <a:pt x="34106" y="4813"/>
                  </a:lnTo>
                  <a:lnTo>
                    <a:pt x="34022" y="4897"/>
                  </a:lnTo>
                  <a:lnTo>
                    <a:pt x="33876" y="4918"/>
                  </a:lnTo>
                  <a:lnTo>
                    <a:pt x="33709" y="4918"/>
                  </a:lnTo>
                  <a:lnTo>
                    <a:pt x="33667" y="4939"/>
                  </a:lnTo>
                  <a:lnTo>
                    <a:pt x="33604" y="5001"/>
                  </a:lnTo>
                  <a:lnTo>
                    <a:pt x="33583" y="4918"/>
                  </a:lnTo>
                  <a:lnTo>
                    <a:pt x="33541" y="4834"/>
                  </a:lnTo>
                  <a:lnTo>
                    <a:pt x="33458" y="4834"/>
                  </a:lnTo>
                  <a:lnTo>
                    <a:pt x="33374" y="4897"/>
                  </a:lnTo>
                  <a:lnTo>
                    <a:pt x="33269" y="4918"/>
                  </a:lnTo>
                  <a:lnTo>
                    <a:pt x="33248" y="4834"/>
                  </a:lnTo>
                  <a:lnTo>
                    <a:pt x="33165" y="4729"/>
                  </a:lnTo>
                  <a:lnTo>
                    <a:pt x="33123" y="4708"/>
                  </a:lnTo>
                  <a:lnTo>
                    <a:pt x="32976" y="4583"/>
                  </a:lnTo>
                  <a:lnTo>
                    <a:pt x="32976" y="4478"/>
                  </a:lnTo>
                  <a:lnTo>
                    <a:pt x="33018" y="4436"/>
                  </a:lnTo>
                  <a:lnTo>
                    <a:pt x="33039" y="4332"/>
                  </a:lnTo>
                  <a:lnTo>
                    <a:pt x="33018" y="4227"/>
                  </a:lnTo>
                  <a:lnTo>
                    <a:pt x="32976" y="4123"/>
                  </a:lnTo>
                  <a:lnTo>
                    <a:pt x="32872" y="4143"/>
                  </a:lnTo>
                  <a:lnTo>
                    <a:pt x="32872" y="4081"/>
                  </a:lnTo>
                  <a:lnTo>
                    <a:pt x="32872" y="3997"/>
                  </a:lnTo>
                  <a:lnTo>
                    <a:pt x="32934" y="3913"/>
                  </a:lnTo>
                  <a:lnTo>
                    <a:pt x="32934" y="3871"/>
                  </a:lnTo>
                  <a:lnTo>
                    <a:pt x="32872" y="3851"/>
                  </a:lnTo>
                  <a:lnTo>
                    <a:pt x="32851" y="3851"/>
                  </a:lnTo>
                  <a:lnTo>
                    <a:pt x="32767" y="3892"/>
                  </a:lnTo>
                  <a:lnTo>
                    <a:pt x="32725" y="3892"/>
                  </a:lnTo>
                  <a:lnTo>
                    <a:pt x="32642" y="3913"/>
                  </a:lnTo>
                  <a:lnTo>
                    <a:pt x="32558" y="3892"/>
                  </a:lnTo>
                  <a:lnTo>
                    <a:pt x="32516" y="3871"/>
                  </a:lnTo>
                  <a:lnTo>
                    <a:pt x="32453" y="3851"/>
                  </a:lnTo>
                  <a:lnTo>
                    <a:pt x="32432" y="3809"/>
                  </a:lnTo>
                  <a:lnTo>
                    <a:pt x="32307" y="3767"/>
                  </a:lnTo>
                  <a:lnTo>
                    <a:pt x="32307" y="3704"/>
                  </a:lnTo>
                  <a:lnTo>
                    <a:pt x="32244" y="3662"/>
                  </a:lnTo>
                  <a:lnTo>
                    <a:pt x="32202" y="3662"/>
                  </a:lnTo>
                  <a:lnTo>
                    <a:pt x="32139" y="3599"/>
                  </a:lnTo>
                  <a:lnTo>
                    <a:pt x="32139" y="3558"/>
                  </a:lnTo>
                  <a:lnTo>
                    <a:pt x="32077" y="3558"/>
                  </a:lnTo>
                  <a:lnTo>
                    <a:pt x="32014" y="3474"/>
                  </a:lnTo>
                  <a:lnTo>
                    <a:pt x="31993" y="3432"/>
                  </a:lnTo>
                  <a:lnTo>
                    <a:pt x="31930" y="3369"/>
                  </a:lnTo>
                  <a:lnTo>
                    <a:pt x="31888" y="3369"/>
                  </a:lnTo>
                  <a:lnTo>
                    <a:pt x="31846" y="3453"/>
                  </a:lnTo>
                  <a:lnTo>
                    <a:pt x="31805" y="3432"/>
                  </a:lnTo>
                  <a:lnTo>
                    <a:pt x="31763" y="3453"/>
                  </a:lnTo>
                  <a:lnTo>
                    <a:pt x="31721" y="3495"/>
                  </a:lnTo>
                  <a:lnTo>
                    <a:pt x="31658" y="3453"/>
                  </a:lnTo>
                  <a:lnTo>
                    <a:pt x="31616" y="3390"/>
                  </a:lnTo>
                  <a:lnTo>
                    <a:pt x="31574" y="3369"/>
                  </a:lnTo>
                  <a:lnTo>
                    <a:pt x="31449" y="3369"/>
                  </a:lnTo>
                  <a:lnTo>
                    <a:pt x="31386" y="3348"/>
                  </a:lnTo>
                  <a:lnTo>
                    <a:pt x="31449" y="3286"/>
                  </a:lnTo>
                  <a:lnTo>
                    <a:pt x="31449" y="3244"/>
                  </a:lnTo>
                  <a:lnTo>
                    <a:pt x="31365" y="3244"/>
                  </a:lnTo>
                  <a:lnTo>
                    <a:pt x="31302" y="3286"/>
                  </a:lnTo>
                  <a:lnTo>
                    <a:pt x="31177" y="3286"/>
                  </a:lnTo>
                  <a:lnTo>
                    <a:pt x="31135" y="3327"/>
                  </a:lnTo>
                  <a:lnTo>
                    <a:pt x="31072" y="3265"/>
                  </a:lnTo>
                  <a:lnTo>
                    <a:pt x="31030" y="3286"/>
                  </a:lnTo>
                  <a:lnTo>
                    <a:pt x="30947" y="3286"/>
                  </a:lnTo>
                  <a:lnTo>
                    <a:pt x="30884" y="3223"/>
                  </a:lnTo>
                  <a:lnTo>
                    <a:pt x="30800" y="3181"/>
                  </a:lnTo>
                  <a:lnTo>
                    <a:pt x="30675" y="3055"/>
                  </a:lnTo>
                  <a:lnTo>
                    <a:pt x="30633" y="2930"/>
                  </a:lnTo>
                  <a:lnTo>
                    <a:pt x="30633" y="2846"/>
                  </a:lnTo>
                  <a:lnTo>
                    <a:pt x="30612" y="2742"/>
                  </a:lnTo>
                  <a:lnTo>
                    <a:pt x="30549" y="2742"/>
                  </a:lnTo>
                  <a:lnTo>
                    <a:pt x="30465" y="2721"/>
                  </a:lnTo>
                  <a:lnTo>
                    <a:pt x="30465" y="2574"/>
                  </a:lnTo>
                  <a:lnTo>
                    <a:pt x="30424" y="2553"/>
                  </a:lnTo>
                  <a:lnTo>
                    <a:pt x="30403" y="2428"/>
                  </a:lnTo>
                  <a:lnTo>
                    <a:pt x="30361" y="2323"/>
                  </a:lnTo>
                  <a:lnTo>
                    <a:pt x="30152" y="2198"/>
                  </a:lnTo>
                  <a:lnTo>
                    <a:pt x="30047" y="2030"/>
                  </a:lnTo>
                  <a:lnTo>
                    <a:pt x="30026" y="1988"/>
                  </a:lnTo>
                  <a:lnTo>
                    <a:pt x="29984" y="1884"/>
                  </a:lnTo>
                  <a:lnTo>
                    <a:pt x="29921" y="1905"/>
                  </a:lnTo>
                  <a:lnTo>
                    <a:pt x="29901" y="1905"/>
                  </a:lnTo>
                  <a:lnTo>
                    <a:pt x="29901" y="1821"/>
                  </a:lnTo>
                  <a:lnTo>
                    <a:pt x="29921" y="1779"/>
                  </a:lnTo>
                  <a:lnTo>
                    <a:pt x="29838" y="1716"/>
                  </a:lnTo>
                  <a:lnTo>
                    <a:pt x="29796" y="1612"/>
                  </a:lnTo>
                  <a:lnTo>
                    <a:pt x="29733" y="1591"/>
                  </a:lnTo>
                  <a:lnTo>
                    <a:pt x="29712" y="1507"/>
                  </a:lnTo>
                  <a:lnTo>
                    <a:pt x="29670" y="1444"/>
                  </a:lnTo>
                  <a:lnTo>
                    <a:pt x="29608" y="1340"/>
                  </a:lnTo>
                  <a:lnTo>
                    <a:pt x="29482" y="1256"/>
                  </a:lnTo>
                  <a:lnTo>
                    <a:pt x="29461" y="1193"/>
                  </a:lnTo>
                  <a:lnTo>
                    <a:pt x="29503" y="1130"/>
                  </a:lnTo>
                  <a:lnTo>
                    <a:pt x="29482" y="1047"/>
                  </a:lnTo>
                  <a:lnTo>
                    <a:pt x="29315" y="1047"/>
                  </a:lnTo>
                  <a:lnTo>
                    <a:pt x="29294" y="984"/>
                  </a:lnTo>
                  <a:lnTo>
                    <a:pt x="29294" y="942"/>
                  </a:lnTo>
                  <a:lnTo>
                    <a:pt x="29273" y="879"/>
                  </a:lnTo>
                  <a:lnTo>
                    <a:pt x="29273" y="817"/>
                  </a:lnTo>
                  <a:lnTo>
                    <a:pt x="29231" y="733"/>
                  </a:lnTo>
                  <a:lnTo>
                    <a:pt x="29168" y="712"/>
                  </a:lnTo>
                  <a:lnTo>
                    <a:pt x="29168" y="649"/>
                  </a:lnTo>
                  <a:lnTo>
                    <a:pt x="29147" y="607"/>
                  </a:lnTo>
                  <a:lnTo>
                    <a:pt x="29085" y="628"/>
                  </a:lnTo>
                  <a:lnTo>
                    <a:pt x="28980" y="607"/>
                  </a:lnTo>
                  <a:lnTo>
                    <a:pt x="28959" y="545"/>
                  </a:lnTo>
                  <a:lnTo>
                    <a:pt x="28980" y="482"/>
                  </a:lnTo>
                  <a:lnTo>
                    <a:pt x="28959" y="440"/>
                  </a:lnTo>
                  <a:lnTo>
                    <a:pt x="28875" y="419"/>
                  </a:lnTo>
                  <a:lnTo>
                    <a:pt x="28833" y="461"/>
                  </a:lnTo>
                  <a:lnTo>
                    <a:pt x="28792" y="419"/>
                  </a:lnTo>
                  <a:lnTo>
                    <a:pt x="28750" y="419"/>
                  </a:lnTo>
                  <a:lnTo>
                    <a:pt x="28708" y="356"/>
                  </a:lnTo>
                  <a:lnTo>
                    <a:pt x="28750" y="293"/>
                  </a:lnTo>
                  <a:lnTo>
                    <a:pt x="28687" y="231"/>
                  </a:lnTo>
                  <a:lnTo>
                    <a:pt x="28624" y="210"/>
                  </a:lnTo>
                  <a:lnTo>
                    <a:pt x="28561" y="231"/>
                  </a:lnTo>
                  <a:lnTo>
                    <a:pt x="28520" y="147"/>
                  </a:lnTo>
                  <a:lnTo>
                    <a:pt x="28457" y="189"/>
                  </a:lnTo>
                  <a:lnTo>
                    <a:pt x="28373" y="189"/>
                  </a:lnTo>
                  <a:lnTo>
                    <a:pt x="28331" y="147"/>
                  </a:lnTo>
                  <a:lnTo>
                    <a:pt x="28268" y="189"/>
                  </a:lnTo>
                  <a:lnTo>
                    <a:pt x="28268" y="252"/>
                  </a:lnTo>
                  <a:lnTo>
                    <a:pt x="28248" y="293"/>
                  </a:lnTo>
                  <a:lnTo>
                    <a:pt x="28143" y="231"/>
                  </a:lnTo>
                  <a:lnTo>
                    <a:pt x="28101" y="189"/>
                  </a:lnTo>
                  <a:lnTo>
                    <a:pt x="28017" y="210"/>
                  </a:lnTo>
                  <a:lnTo>
                    <a:pt x="27892" y="210"/>
                  </a:lnTo>
                  <a:lnTo>
                    <a:pt x="27892" y="189"/>
                  </a:lnTo>
                  <a:lnTo>
                    <a:pt x="27808" y="105"/>
                  </a:lnTo>
                  <a:lnTo>
                    <a:pt x="27620" y="84"/>
                  </a:lnTo>
                  <a:lnTo>
                    <a:pt x="27536" y="21"/>
                  </a:lnTo>
                  <a:lnTo>
                    <a:pt x="27432" y="21"/>
                  </a:lnTo>
                  <a:lnTo>
                    <a:pt x="2739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" name="Google Shape;870;p34"/>
            <p:cNvSpPr/>
            <p:nvPr/>
          </p:nvSpPr>
          <p:spPr>
            <a:xfrm>
              <a:off x="4442708" y="2990191"/>
              <a:ext cx="762" cy="967"/>
            </a:xfrm>
            <a:custGeom>
              <a:avLst/>
              <a:gdLst/>
              <a:ahLst/>
              <a:cxnLst/>
              <a:rect l="l" t="t" r="r" b="b"/>
              <a:pathLst>
                <a:path w="64" h="85" extrusionOk="0">
                  <a:moveTo>
                    <a:pt x="63" y="8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" name="Google Shape;871;p34"/>
            <p:cNvSpPr/>
            <p:nvPr/>
          </p:nvSpPr>
          <p:spPr>
            <a:xfrm>
              <a:off x="4434742" y="2997094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extrusionOk="0">
                  <a:moveTo>
                    <a:pt x="0" y="105"/>
                  </a:moveTo>
                  <a:lnTo>
                    <a:pt x="105" y="1"/>
                  </a:lnTo>
                  <a:lnTo>
                    <a:pt x="10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" name="Google Shape;872;p34"/>
            <p:cNvSpPr/>
            <p:nvPr/>
          </p:nvSpPr>
          <p:spPr>
            <a:xfrm>
              <a:off x="4184339" y="2879787"/>
              <a:ext cx="2512" cy="728"/>
            </a:xfrm>
            <a:custGeom>
              <a:avLst/>
              <a:gdLst/>
              <a:ahLst/>
              <a:cxnLst/>
              <a:rect l="l" t="t" r="r" b="b"/>
              <a:pathLst>
                <a:path w="211" h="64" extrusionOk="0">
                  <a:moveTo>
                    <a:pt x="210" y="0"/>
                  </a:moveTo>
                  <a:lnTo>
                    <a:pt x="1" y="63"/>
                  </a:lnTo>
                  <a:lnTo>
                    <a:pt x="22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" name="Google Shape;873;p34"/>
            <p:cNvSpPr/>
            <p:nvPr/>
          </p:nvSpPr>
          <p:spPr>
            <a:xfrm>
              <a:off x="4038591" y="2720356"/>
              <a:ext cx="260870" cy="130886"/>
            </a:xfrm>
            <a:custGeom>
              <a:avLst/>
              <a:gdLst/>
              <a:ahLst/>
              <a:cxnLst/>
              <a:rect l="l" t="t" r="r" b="b"/>
              <a:pathLst>
                <a:path w="21908" h="11509" extrusionOk="0">
                  <a:moveTo>
                    <a:pt x="10860" y="0"/>
                  </a:moveTo>
                  <a:lnTo>
                    <a:pt x="10755" y="84"/>
                  </a:lnTo>
                  <a:lnTo>
                    <a:pt x="10713" y="189"/>
                  </a:lnTo>
                  <a:lnTo>
                    <a:pt x="10567" y="189"/>
                  </a:lnTo>
                  <a:lnTo>
                    <a:pt x="10483" y="252"/>
                  </a:lnTo>
                  <a:lnTo>
                    <a:pt x="10546" y="314"/>
                  </a:lnTo>
                  <a:lnTo>
                    <a:pt x="10546" y="398"/>
                  </a:lnTo>
                  <a:lnTo>
                    <a:pt x="10400" y="419"/>
                  </a:lnTo>
                  <a:lnTo>
                    <a:pt x="10337" y="419"/>
                  </a:lnTo>
                  <a:lnTo>
                    <a:pt x="10253" y="524"/>
                  </a:lnTo>
                  <a:lnTo>
                    <a:pt x="10128" y="524"/>
                  </a:lnTo>
                  <a:lnTo>
                    <a:pt x="10044" y="586"/>
                  </a:lnTo>
                  <a:lnTo>
                    <a:pt x="9981" y="586"/>
                  </a:lnTo>
                  <a:lnTo>
                    <a:pt x="9751" y="733"/>
                  </a:lnTo>
                  <a:lnTo>
                    <a:pt x="9625" y="796"/>
                  </a:lnTo>
                  <a:lnTo>
                    <a:pt x="9521" y="837"/>
                  </a:lnTo>
                  <a:lnTo>
                    <a:pt x="9437" y="837"/>
                  </a:lnTo>
                  <a:lnTo>
                    <a:pt x="9353" y="775"/>
                  </a:lnTo>
                  <a:lnTo>
                    <a:pt x="9312" y="837"/>
                  </a:lnTo>
                  <a:lnTo>
                    <a:pt x="9291" y="921"/>
                  </a:lnTo>
                  <a:lnTo>
                    <a:pt x="9144" y="921"/>
                  </a:lnTo>
                  <a:lnTo>
                    <a:pt x="9102" y="984"/>
                  </a:lnTo>
                  <a:lnTo>
                    <a:pt x="9102" y="1088"/>
                  </a:lnTo>
                  <a:lnTo>
                    <a:pt x="9040" y="1130"/>
                  </a:lnTo>
                  <a:lnTo>
                    <a:pt x="8977" y="1109"/>
                  </a:lnTo>
                  <a:lnTo>
                    <a:pt x="8893" y="1109"/>
                  </a:lnTo>
                  <a:lnTo>
                    <a:pt x="8789" y="1151"/>
                  </a:lnTo>
                  <a:lnTo>
                    <a:pt x="8663" y="1172"/>
                  </a:lnTo>
                  <a:lnTo>
                    <a:pt x="8496" y="1256"/>
                  </a:lnTo>
                  <a:lnTo>
                    <a:pt x="8475" y="1319"/>
                  </a:lnTo>
                  <a:lnTo>
                    <a:pt x="8307" y="1340"/>
                  </a:lnTo>
                  <a:lnTo>
                    <a:pt x="8182" y="1402"/>
                  </a:lnTo>
                  <a:lnTo>
                    <a:pt x="8035" y="1423"/>
                  </a:lnTo>
                  <a:lnTo>
                    <a:pt x="7847" y="1465"/>
                  </a:lnTo>
                  <a:lnTo>
                    <a:pt x="7826" y="1549"/>
                  </a:lnTo>
                  <a:lnTo>
                    <a:pt x="7763" y="1632"/>
                  </a:lnTo>
                  <a:lnTo>
                    <a:pt x="7721" y="1528"/>
                  </a:lnTo>
                  <a:lnTo>
                    <a:pt x="7617" y="1528"/>
                  </a:lnTo>
                  <a:lnTo>
                    <a:pt x="7512" y="1570"/>
                  </a:lnTo>
                  <a:lnTo>
                    <a:pt x="7512" y="1653"/>
                  </a:lnTo>
                  <a:lnTo>
                    <a:pt x="7449" y="1695"/>
                  </a:lnTo>
                  <a:lnTo>
                    <a:pt x="7345" y="1653"/>
                  </a:lnTo>
                  <a:lnTo>
                    <a:pt x="7219" y="1653"/>
                  </a:lnTo>
                  <a:lnTo>
                    <a:pt x="7198" y="1612"/>
                  </a:lnTo>
                  <a:lnTo>
                    <a:pt x="7115" y="1612"/>
                  </a:lnTo>
                  <a:lnTo>
                    <a:pt x="7031" y="1653"/>
                  </a:lnTo>
                  <a:lnTo>
                    <a:pt x="6926" y="1674"/>
                  </a:lnTo>
                  <a:lnTo>
                    <a:pt x="6884" y="1695"/>
                  </a:lnTo>
                  <a:lnTo>
                    <a:pt x="6926" y="1842"/>
                  </a:lnTo>
                  <a:lnTo>
                    <a:pt x="6884" y="1925"/>
                  </a:lnTo>
                  <a:lnTo>
                    <a:pt x="6989" y="1946"/>
                  </a:lnTo>
                  <a:lnTo>
                    <a:pt x="7136" y="1925"/>
                  </a:lnTo>
                  <a:lnTo>
                    <a:pt x="7198" y="2051"/>
                  </a:lnTo>
                  <a:lnTo>
                    <a:pt x="7031" y="2051"/>
                  </a:lnTo>
                  <a:lnTo>
                    <a:pt x="6989" y="2093"/>
                  </a:lnTo>
                  <a:lnTo>
                    <a:pt x="6989" y="2156"/>
                  </a:lnTo>
                  <a:lnTo>
                    <a:pt x="7136" y="2176"/>
                  </a:lnTo>
                  <a:lnTo>
                    <a:pt x="7240" y="2197"/>
                  </a:lnTo>
                  <a:lnTo>
                    <a:pt x="7324" y="2156"/>
                  </a:lnTo>
                  <a:lnTo>
                    <a:pt x="7408" y="2156"/>
                  </a:lnTo>
                  <a:lnTo>
                    <a:pt x="7512" y="2260"/>
                  </a:lnTo>
                  <a:lnTo>
                    <a:pt x="7617" y="2281"/>
                  </a:lnTo>
                  <a:lnTo>
                    <a:pt x="7617" y="2386"/>
                  </a:lnTo>
                  <a:lnTo>
                    <a:pt x="7554" y="2449"/>
                  </a:lnTo>
                  <a:lnTo>
                    <a:pt x="7449" y="2407"/>
                  </a:lnTo>
                  <a:lnTo>
                    <a:pt x="7219" y="2449"/>
                  </a:lnTo>
                  <a:lnTo>
                    <a:pt x="7094" y="2553"/>
                  </a:lnTo>
                  <a:lnTo>
                    <a:pt x="6947" y="2741"/>
                  </a:lnTo>
                  <a:lnTo>
                    <a:pt x="6947" y="2867"/>
                  </a:lnTo>
                  <a:lnTo>
                    <a:pt x="7031" y="2888"/>
                  </a:lnTo>
                  <a:lnTo>
                    <a:pt x="7052" y="3013"/>
                  </a:lnTo>
                  <a:lnTo>
                    <a:pt x="6989" y="3118"/>
                  </a:lnTo>
                  <a:lnTo>
                    <a:pt x="6947" y="3244"/>
                  </a:lnTo>
                  <a:lnTo>
                    <a:pt x="6843" y="3244"/>
                  </a:lnTo>
                  <a:lnTo>
                    <a:pt x="6843" y="3306"/>
                  </a:lnTo>
                  <a:lnTo>
                    <a:pt x="6884" y="3390"/>
                  </a:lnTo>
                  <a:lnTo>
                    <a:pt x="6884" y="3453"/>
                  </a:lnTo>
                  <a:lnTo>
                    <a:pt x="7031" y="3453"/>
                  </a:lnTo>
                  <a:lnTo>
                    <a:pt x="7115" y="3537"/>
                  </a:lnTo>
                  <a:lnTo>
                    <a:pt x="7240" y="3557"/>
                  </a:lnTo>
                  <a:lnTo>
                    <a:pt x="7240" y="3620"/>
                  </a:lnTo>
                  <a:lnTo>
                    <a:pt x="7366" y="3704"/>
                  </a:lnTo>
                  <a:lnTo>
                    <a:pt x="7533" y="3725"/>
                  </a:lnTo>
                  <a:lnTo>
                    <a:pt x="7575" y="3746"/>
                  </a:lnTo>
                  <a:lnTo>
                    <a:pt x="7617" y="4227"/>
                  </a:lnTo>
                  <a:lnTo>
                    <a:pt x="7554" y="4290"/>
                  </a:lnTo>
                  <a:lnTo>
                    <a:pt x="7366" y="4373"/>
                  </a:lnTo>
                  <a:lnTo>
                    <a:pt x="7219" y="4353"/>
                  </a:lnTo>
                  <a:lnTo>
                    <a:pt x="7031" y="4248"/>
                  </a:lnTo>
                  <a:lnTo>
                    <a:pt x="6947" y="4290"/>
                  </a:lnTo>
                  <a:lnTo>
                    <a:pt x="6947" y="4394"/>
                  </a:lnTo>
                  <a:lnTo>
                    <a:pt x="6905" y="4541"/>
                  </a:lnTo>
                  <a:lnTo>
                    <a:pt x="6780" y="4562"/>
                  </a:lnTo>
                  <a:lnTo>
                    <a:pt x="6571" y="4457"/>
                  </a:lnTo>
                  <a:lnTo>
                    <a:pt x="6403" y="4457"/>
                  </a:lnTo>
                  <a:lnTo>
                    <a:pt x="6320" y="4394"/>
                  </a:lnTo>
                  <a:lnTo>
                    <a:pt x="6278" y="4436"/>
                  </a:lnTo>
                  <a:lnTo>
                    <a:pt x="6173" y="4394"/>
                  </a:lnTo>
                  <a:lnTo>
                    <a:pt x="6048" y="4269"/>
                  </a:lnTo>
                  <a:lnTo>
                    <a:pt x="6152" y="4227"/>
                  </a:lnTo>
                  <a:lnTo>
                    <a:pt x="6173" y="4143"/>
                  </a:lnTo>
                  <a:lnTo>
                    <a:pt x="6089" y="4122"/>
                  </a:lnTo>
                  <a:lnTo>
                    <a:pt x="5964" y="4039"/>
                  </a:lnTo>
                  <a:lnTo>
                    <a:pt x="5880" y="4122"/>
                  </a:lnTo>
                  <a:lnTo>
                    <a:pt x="5755" y="4081"/>
                  </a:lnTo>
                  <a:lnTo>
                    <a:pt x="5671" y="4122"/>
                  </a:lnTo>
                  <a:lnTo>
                    <a:pt x="5692" y="4269"/>
                  </a:lnTo>
                  <a:lnTo>
                    <a:pt x="5545" y="4290"/>
                  </a:lnTo>
                  <a:lnTo>
                    <a:pt x="5483" y="4227"/>
                  </a:lnTo>
                  <a:lnTo>
                    <a:pt x="5336" y="4060"/>
                  </a:lnTo>
                  <a:lnTo>
                    <a:pt x="5211" y="4081"/>
                  </a:lnTo>
                  <a:lnTo>
                    <a:pt x="5148" y="4185"/>
                  </a:lnTo>
                  <a:lnTo>
                    <a:pt x="5064" y="4081"/>
                  </a:lnTo>
                  <a:lnTo>
                    <a:pt x="5001" y="4122"/>
                  </a:lnTo>
                  <a:lnTo>
                    <a:pt x="5001" y="4248"/>
                  </a:lnTo>
                  <a:lnTo>
                    <a:pt x="4855" y="4248"/>
                  </a:lnTo>
                  <a:lnTo>
                    <a:pt x="4834" y="4457"/>
                  </a:lnTo>
                  <a:lnTo>
                    <a:pt x="4708" y="4562"/>
                  </a:lnTo>
                  <a:lnTo>
                    <a:pt x="4625" y="4541"/>
                  </a:lnTo>
                  <a:lnTo>
                    <a:pt x="4541" y="4436"/>
                  </a:lnTo>
                  <a:lnTo>
                    <a:pt x="4332" y="4394"/>
                  </a:lnTo>
                  <a:lnTo>
                    <a:pt x="4269" y="4269"/>
                  </a:lnTo>
                  <a:lnTo>
                    <a:pt x="4123" y="4353"/>
                  </a:lnTo>
                  <a:lnTo>
                    <a:pt x="4164" y="4478"/>
                  </a:lnTo>
                  <a:lnTo>
                    <a:pt x="4081" y="4604"/>
                  </a:lnTo>
                  <a:lnTo>
                    <a:pt x="3997" y="4583"/>
                  </a:lnTo>
                  <a:lnTo>
                    <a:pt x="3997" y="4457"/>
                  </a:lnTo>
                  <a:lnTo>
                    <a:pt x="3955" y="4373"/>
                  </a:lnTo>
                  <a:lnTo>
                    <a:pt x="3871" y="4373"/>
                  </a:lnTo>
                  <a:lnTo>
                    <a:pt x="3704" y="4248"/>
                  </a:lnTo>
                  <a:lnTo>
                    <a:pt x="3599" y="4122"/>
                  </a:lnTo>
                  <a:lnTo>
                    <a:pt x="3474" y="4122"/>
                  </a:lnTo>
                  <a:lnTo>
                    <a:pt x="3369" y="3976"/>
                  </a:lnTo>
                  <a:lnTo>
                    <a:pt x="3286" y="3955"/>
                  </a:lnTo>
                  <a:lnTo>
                    <a:pt x="3244" y="3871"/>
                  </a:lnTo>
                  <a:lnTo>
                    <a:pt x="3160" y="3871"/>
                  </a:lnTo>
                  <a:lnTo>
                    <a:pt x="2951" y="3955"/>
                  </a:lnTo>
                  <a:lnTo>
                    <a:pt x="2825" y="3850"/>
                  </a:lnTo>
                  <a:lnTo>
                    <a:pt x="2742" y="3704"/>
                  </a:lnTo>
                  <a:lnTo>
                    <a:pt x="2637" y="3704"/>
                  </a:lnTo>
                  <a:lnTo>
                    <a:pt x="2532" y="3809"/>
                  </a:lnTo>
                  <a:lnTo>
                    <a:pt x="2407" y="3809"/>
                  </a:lnTo>
                  <a:lnTo>
                    <a:pt x="2407" y="3871"/>
                  </a:lnTo>
                  <a:lnTo>
                    <a:pt x="2323" y="3955"/>
                  </a:lnTo>
                  <a:lnTo>
                    <a:pt x="2323" y="3850"/>
                  </a:lnTo>
                  <a:lnTo>
                    <a:pt x="2239" y="3913"/>
                  </a:lnTo>
                  <a:lnTo>
                    <a:pt x="2218" y="3976"/>
                  </a:lnTo>
                  <a:lnTo>
                    <a:pt x="2114" y="4060"/>
                  </a:lnTo>
                  <a:lnTo>
                    <a:pt x="2030" y="3976"/>
                  </a:lnTo>
                  <a:lnTo>
                    <a:pt x="2114" y="3913"/>
                  </a:lnTo>
                  <a:lnTo>
                    <a:pt x="2135" y="3829"/>
                  </a:lnTo>
                  <a:lnTo>
                    <a:pt x="2009" y="3767"/>
                  </a:lnTo>
                  <a:lnTo>
                    <a:pt x="1821" y="3662"/>
                  </a:lnTo>
                  <a:lnTo>
                    <a:pt x="1800" y="3746"/>
                  </a:lnTo>
                  <a:lnTo>
                    <a:pt x="1821" y="3850"/>
                  </a:lnTo>
                  <a:lnTo>
                    <a:pt x="1821" y="3955"/>
                  </a:lnTo>
                  <a:lnTo>
                    <a:pt x="1695" y="3913"/>
                  </a:lnTo>
                  <a:lnTo>
                    <a:pt x="1612" y="3976"/>
                  </a:lnTo>
                  <a:lnTo>
                    <a:pt x="1570" y="4143"/>
                  </a:lnTo>
                  <a:lnTo>
                    <a:pt x="1486" y="4143"/>
                  </a:lnTo>
                  <a:lnTo>
                    <a:pt x="1298" y="4248"/>
                  </a:lnTo>
                  <a:lnTo>
                    <a:pt x="1277" y="4373"/>
                  </a:lnTo>
                  <a:lnTo>
                    <a:pt x="1361" y="4478"/>
                  </a:lnTo>
                  <a:lnTo>
                    <a:pt x="1361" y="4604"/>
                  </a:lnTo>
                  <a:lnTo>
                    <a:pt x="1172" y="4604"/>
                  </a:lnTo>
                  <a:lnTo>
                    <a:pt x="984" y="4645"/>
                  </a:lnTo>
                  <a:lnTo>
                    <a:pt x="1130" y="5106"/>
                  </a:lnTo>
                  <a:lnTo>
                    <a:pt x="1047" y="5169"/>
                  </a:lnTo>
                  <a:lnTo>
                    <a:pt x="1068" y="5336"/>
                  </a:lnTo>
                  <a:lnTo>
                    <a:pt x="879" y="5336"/>
                  </a:lnTo>
                  <a:lnTo>
                    <a:pt x="733" y="5231"/>
                  </a:lnTo>
                  <a:lnTo>
                    <a:pt x="670" y="5127"/>
                  </a:lnTo>
                  <a:lnTo>
                    <a:pt x="356" y="4876"/>
                  </a:lnTo>
                  <a:lnTo>
                    <a:pt x="294" y="4980"/>
                  </a:lnTo>
                  <a:lnTo>
                    <a:pt x="294" y="5106"/>
                  </a:lnTo>
                  <a:lnTo>
                    <a:pt x="126" y="5315"/>
                  </a:lnTo>
                  <a:lnTo>
                    <a:pt x="22" y="5378"/>
                  </a:lnTo>
                  <a:lnTo>
                    <a:pt x="42" y="5629"/>
                  </a:lnTo>
                  <a:lnTo>
                    <a:pt x="126" y="5734"/>
                  </a:lnTo>
                  <a:lnTo>
                    <a:pt x="105" y="6068"/>
                  </a:lnTo>
                  <a:lnTo>
                    <a:pt x="1" y="6278"/>
                  </a:lnTo>
                  <a:lnTo>
                    <a:pt x="231" y="6382"/>
                  </a:lnTo>
                  <a:lnTo>
                    <a:pt x="335" y="6550"/>
                  </a:lnTo>
                  <a:lnTo>
                    <a:pt x="314" y="6633"/>
                  </a:lnTo>
                  <a:lnTo>
                    <a:pt x="503" y="6780"/>
                  </a:lnTo>
                  <a:lnTo>
                    <a:pt x="545" y="6696"/>
                  </a:lnTo>
                  <a:lnTo>
                    <a:pt x="921" y="6801"/>
                  </a:lnTo>
                  <a:lnTo>
                    <a:pt x="1172" y="7052"/>
                  </a:lnTo>
                  <a:lnTo>
                    <a:pt x="1402" y="7428"/>
                  </a:lnTo>
                  <a:lnTo>
                    <a:pt x="1172" y="7428"/>
                  </a:lnTo>
                  <a:lnTo>
                    <a:pt x="1172" y="7533"/>
                  </a:lnTo>
                  <a:lnTo>
                    <a:pt x="1382" y="7679"/>
                  </a:lnTo>
                  <a:lnTo>
                    <a:pt x="1549" y="7617"/>
                  </a:lnTo>
                  <a:lnTo>
                    <a:pt x="1674" y="7721"/>
                  </a:lnTo>
                  <a:lnTo>
                    <a:pt x="1716" y="7721"/>
                  </a:lnTo>
                  <a:lnTo>
                    <a:pt x="1758" y="7784"/>
                  </a:lnTo>
                  <a:lnTo>
                    <a:pt x="1821" y="7784"/>
                  </a:lnTo>
                  <a:lnTo>
                    <a:pt x="1863" y="7721"/>
                  </a:lnTo>
                  <a:lnTo>
                    <a:pt x="1905" y="7721"/>
                  </a:lnTo>
                  <a:lnTo>
                    <a:pt x="1967" y="7784"/>
                  </a:lnTo>
                  <a:lnTo>
                    <a:pt x="2009" y="7721"/>
                  </a:lnTo>
                  <a:lnTo>
                    <a:pt x="2009" y="7638"/>
                  </a:lnTo>
                  <a:lnTo>
                    <a:pt x="2072" y="7679"/>
                  </a:lnTo>
                  <a:lnTo>
                    <a:pt x="2177" y="7596"/>
                  </a:lnTo>
                  <a:lnTo>
                    <a:pt x="2218" y="7512"/>
                  </a:lnTo>
                  <a:lnTo>
                    <a:pt x="2281" y="7512"/>
                  </a:lnTo>
                  <a:lnTo>
                    <a:pt x="2344" y="7428"/>
                  </a:lnTo>
                  <a:lnTo>
                    <a:pt x="2407" y="7428"/>
                  </a:lnTo>
                  <a:lnTo>
                    <a:pt x="2428" y="7470"/>
                  </a:lnTo>
                  <a:lnTo>
                    <a:pt x="2491" y="7428"/>
                  </a:lnTo>
                  <a:lnTo>
                    <a:pt x="2511" y="7366"/>
                  </a:lnTo>
                  <a:lnTo>
                    <a:pt x="2595" y="7282"/>
                  </a:lnTo>
                  <a:lnTo>
                    <a:pt x="2721" y="7282"/>
                  </a:lnTo>
                  <a:lnTo>
                    <a:pt x="2763" y="7303"/>
                  </a:lnTo>
                  <a:lnTo>
                    <a:pt x="2846" y="7303"/>
                  </a:lnTo>
                  <a:lnTo>
                    <a:pt x="2909" y="7282"/>
                  </a:lnTo>
                  <a:lnTo>
                    <a:pt x="2930" y="7303"/>
                  </a:lnTo>
                  <a:lnTo>
                    <a:pt x="2930" y="7386"/>
                  </a:lnTo>
                  <a:lnTo>
                    <a:pt x="2972" y="7470"/>
                  </a:lnTo>
                  <a:lnTo>
                    <a:pt x="3014" y="7407"/>
                  </a:lnTo>
                  <a:lnTo>
                    <a:pt x="3076" y="7407"/>
                  </a:lnTo>
                  <a:lnTo>
                    <a:pt x="3076" y="7470"/>
                  </a:lnTo>
                  <a:lnTo>
                    <a:pt x="3160" y="7491"/>
                  </a:lnTo>
                  <a:lnTo>
                    <a:pt x="3223" y="7470"/>
                  </a:lnTo>
                  <a:lnTo>
                    <a:pt x="3244" y="7407"/>
                  </a:lnTo>
                  <a:lnTo>
                    <a:pt x="3286" y="7386"/>
                  </a:lnTo>
                  <a:lnTo>
                    <a:pt x="3286" y="7324"/>
                  </a:lnTo>
                  <a:lnTo>
                    <a:pt x="3369" y="7303"/>
                  </a:lnTo>
                  <a:lnTo>
                    <a:pt x="3453" y="7324"/>
                  </a:lnTo>
                  <a:lnTo>
                    <a:pt x="3662" y="7324"/>
                  </a:lnTo>
                  <a:lnTo>
                    <a:pt x="3662" y="7386"/>
                  </a:lnTo>
                  <a:lnTo>
                    <a:pt x="3704" y="7470"/>
                  </a:lnTo>
                  <a:lnTo>
                    <a:pt x="3788" y="7491"/>
                  </a:lnTo>
                  <a:lnTo>
                    <a:pt x="3788" y="7512"/>
                  </a:lnTo>
                  <a:lnTo>
                    <a:pt x="3746" y="7596"/>
                  </a:lnTo>
                  <a:lnTo>
                    <a:pt x="3767" y="7638"/>
                  </a:lnTo>
                  <a:lnTo>
                    <a:pt x="3871" y="7742"/>
                  </a:lnTo>
                  <a:lnTo>
                    <a:pt x="3851" y="7826"/>
                  </a:lnTo>
                  <a:lnTo>
                    <a:pt x="3788" y="7951"/>
                  </a:lnTo>
                  <a:lnTo>
                    <a:pt x="3809" y="8014"/>
                  </a:lnTo>
                  <a:lnTo>
                    <a:pt x="3851" y="8056"/>
                  </a:lnTo>
                  <a:lnTo>
                    <a:pt x="3871" y="8098"/>
                  </a:lnTo>
                  <a:lnTo>
                    <a:pt x="3851" y="8140"/>
                  </a:lnTo>
                  <a:lnTo>
                    <a:pt x="3767" y="8161"/>
                  </a:lnTo>
                  <a:lnTo>
                    <a:pt x="3746" y="8307"/>
                  </a:lnTo>
                  <a:lnTo>
                    <a:pt x="3809" y="8454"/>
                  </a:lnTo>
                  <a:lnTo>
                    <a:pt x="3913" y="8475"/>
                  </a:lnTo>
                  <a:lnTo>
                    <a:pt x="3997" y="8516"/>
                  </a:lnTo>
                  <a:lnTo>
                    <a:pt x="3997" y="8558"/>
                  </a:lnTo>
                  <a:lnTo>
                    <a:pt x="3871" y="8621"/>
                  </a:lnTo>
                  <a:lnTo>
                    <a:pt x="3788" y="8621"/>
                  </a:lnTo>
                  <a:lnTo>
                    <a:pt x="3683" y="8516"/>
                  </a:lnTo>
                  <a:lnTo>
                    <a:pt x="3599" y="8516"/>
                  </a:lnTo>
                  <a:lnTo>
                    <a:pt x="3558" y="8558"/>
                  </a:lnTo>
                  <a:lnTo>
                    <a:pt x="3495" y="8516"/>
                  </a:lnTo>
                  <a:lnTo>
                    <a:pt x="3432" y="8516"/>
                  </a:lnTo>
                  <a:lnTo>
                    <a:pt x="3286" y="8558"/>
                  </a:lnTo>
                  <a:lnTo>
                    <a:pt x="3223" y="8516"/>
                  </a:lnTo>
                  <a:lnTo>
                    <a:pt x="3118" y="8537"/>
                  </a:lnTo>
                  <a:lnTo>
                    <a:pt x="2972" y="8579"/>
                  </a:lnTo>
                  <a:lnTo>
                    <a:pt x="2930" y="8663"/>
                  </a:lnTo>
                  <a:lnTo>
                    <a:pt x="2930" y="8726"/>
                  </a:lnTo>
                  <a:lnTo>
                    <a:pt x="2930" y="8788"/>
                  </a:lnTo>
                  <a:lnTo>
                    <a:pt x="2867" y="8830"/>
                  </a:lnTo>
                  <a:lnTo>
                    <a:pt x="2867" y="8893"/>
                  </a:lnTo>
                  <a:lnTo>
                    <a:pt x="3014" y="9039"/>
                  </a:lnTo>
                  <a:lnTo>
                    <a:pt x="3014" y="9102"/>
                  </a:lnTo>
                  <a:lnTo>
                    <a:pt x="3035" y="9144"/>
                  </a:lnTo>
                  <a:lnTo>
                    <a:pt x="3139" y="9102"/>
                  </a:lnTo>
                  <a:lnTo>
                    <a:pt x="3160" y="9186"/>
                  </a:lnTo>
                  <a:lnTo>
                    <a:pt x="3139" y="9207"/>
                  </a:lnTo>
                  <a:lnTo>
                    <a:pt x="3055" y="9165"/>
                  </a:lnTo>
                  <a:lnTo>
                    <a:pt x="3014" y="9186"/>
                  </a:lnTo>
                  <a:lnTo>
                    <a:pt x="2930" y="9249"/>
                  </a:lnTo>
                  <a:lnTo>
                    <a:pt x="2867" y="9207"/>
                  </a:lnTo>
                  <a:lnTo>
                    <a:pt x="2825" y="9207"/>
                  </a:lnTo>
                  <a:lnTo>
                    <a:pt x="2763" y="9186"/>
                  </a:lnTo>
                  <a:lnTo>
                    <a:pt x="2616" y="9207"/>
                  </a:lnTo>
                  <a:lnTo>
                    <a:pt x="2532" y="9186"/>
                  </a:lnTo>
                  <a:lnTo>
                    <a:pt x="2491" y="9249"/>
                  </a:lnTo>
                  <a:lnTo>
                    <a:pt x="2491" y="9291"/>
                  </a:lnTo>
                  <a:lnTo>
                    <a:pt x="2553" y="9395"/>
                  </a:lnTo>
                  <a:lnTo>
                    <a:pt x="2637" y="9395"/>
                  </a:lnTo>
                  <a:lnTo>
                    <a:pt x="2742" y="9416"/>
                  </a:lnTo>
                  <a:lnTo>
                    <a:pt x="2804" y="9521"/>
                  </a:lnTo>
                  <a:lnTo>
                    <a:pt x="2846" y="9563"/>
                  </a:lnTo>
                  <a:lnTo>
                    <a:pt x="2909" y="9688"/>
                  </a:lnTo>
                  <a:lnTo>
                    <a:pt x="2951" y="9709"/>
                  </a:lnTo>
                  <a:lnTo>
                    <a:pt x="2972" y="9772"/>
                  </a:lnTo>
                  <a:lnTo>
                    <a:pt x="3139" y="9939"/>
                  </a:lnTo>
                  <a:lnTo>
                    <a:pt x="3139" y="10086"/>
                  </a:lnTo>
                  <a:lnTo>
                    <a:pt x="3139" y="10211"/>
                  </a:lnTo>
                  <a:lnTo>
                    <a:pt x="3181" y="10211"/>
                  </a:lnTo>
                  <a:lnTo>
                    <a:pt x="3286" y="10190"/>
                  </a:lnTo>
                  <a:lnTo>
                    <a:pt x="3327" y="10190"/>
                  </a:lnTo>
                  <a:lnTo>
                    <a:pt x="3369" y="10211"/>
                  </a:lnTo>
                  <a:lnTo>
                    <a:pt x="3432" y="10295"/>
                  </a:lnTo>
                  <a:lnTo>
                    <a:pt x="3474" y="10337"/>
                  </a:lnTo>
                  <a:lnTo>
                    <a:pt x="3537" y="10441"/>
                  </a:lnTo>
                  <a:lnTo>
                    <a:pt x="3579" y="10441"/>
                  </a:lnTo>
                  <a:lnTo>
                    <a:pt x="3662" y="10420"/>
                  </a:lnTo>
                  <a:lnTo>
                    <a:pt x="3767" y="10441"/>
                  </a:lnTo>
                  <a:lnTo>
                    <a:pt x="3871" y="10462"/>
                  </a:lnTo>
                  <a:lnTo>
                    <a:pt x="3976" y="10462"/>
                  </a:lnTo>
                  <a:lnTo>
                    <a:pt x="4018" y="10504"/>
                  </a:lnTo>
                  <a:lnTo>
                    <a:pt x="3997" y="10546"/>
                  </a:lnTo>
                  <a:lnTo>
                    <a:pt x="3997" y="10609"/>
                  </a:lnTo>
                  <a:lnTo>
                    <a:pt x="3997" y="10755"/>
                  </a:lnTo>
                  <a:lnTo>
                    <a:pt x="3913" y="10923"/>
                  </a:lnTo>
                  <a:lnTo>
                    <a:pt x="3955" y="11048"/>
                  </a:lnTo>
                  <a:lnTo>
                    <a:pt x="3976" y="11195"/>
                  </a:lnTo>
                  <a:lnTo>
                    <a:pt x="4311" y="10881"/>
                  </a:lnTo>
                  <a:lnTo>
                    <a:pt x="4604" y="10776"/>
                  </a:lnTo>
                  <a:lnTo>
                    <a:pt x="4959" y="10839"/>
                  </a:lnTo>
                  <a:lnTo>
                    <a:pt x="5378" y="11069"/>
                  </a:lnTo>
                  <a:lnTo>
                    <a:pt x="5755" y="11508"/>
                  </a:lnTo>
                  <a:lnTo>
                    <a:pt x="5985" y="11467"/>
                  </a:lnTo>
                  <a:lnTo>
                    <a:pt x="6068" y="11446"/>
                  </a:lnTo>
                  <a:lnTo>
                    <a:pt x="5629" y="8726"/>
                  </a:lnTo>
                  <a:lnTo>
                    <a:pt x="7136" y="8433"/>
                  </a:lnTo>
                  <a:lnTo>
                    <a:pt x="8056" y="9060"/>
                  </a:lnTo>
                  <a:lnTo>
                    <a:pt x="8391" y="9186"/>
                  </a:lnTo>
                  <a:lnTo>
                    <a:pt x="8893" y="9479"/>
                  </a:lnTo>
                  <a:lnTo>
                    <a:pt x="9751" y="9395"/>
                  </a:lnTo>
                  <a:lnTo>
                    <a:pt x="10693" y="9395"/>
                  </a:lnTo>
                  <a:lnTo>
                    <a:pt x="10985" y="9604"/>
                  </a:lnTo>
                  <a:lnTo>
                    <a:pt x="11132" y="9981"/>
                  </a:lnTo>
                  <a:lnTo>
                    <a:pt x="11320" y="9897"/>
                  </a:lnTo>
                  <a:lnTo>
                    <a:pt x="11341" y="10713"/>
                  </a:lnTo>
                  <a:lnTo>
                    <a:pt x="11760" y="10755"/>
                  </a:lnTo>
                  <a:lnTo>
                    <a:pt x="11990" y="11446"/>
                  </a:lnTo>
                  <a:lnTo>
                    <a:pt x="12115" y="11446"/>
                  </a:lnTo>
                  <a:lnTo>
                    <a:pt x="12366" y="11299"/>
                  </a:lnTo>
                  <a:lnTo>
                    <a:pt x="12555" y="11278"/>
                  </a:lnTo>
                  <a:lnTo>
                    <a:pt x="12743" y="11299"/>
                  </a:lnTo>
                  <a:lnTo>
                    <a:pt x="12994" y="11446"/>
                  </a:lnTo>
                  <a:lnTo>
                    <a:pt x="13078" y="11467"/>
                  </a:lnTo>
                  <a:lnTo>
                    <a:pt x="13287" y="11257"/>
                  </a:lnTo>
                  <a:lnTo>
                    <a:pt x="13413" y="11048"/>
                  </a:lnTo>
                  <a:lnTo>
                    <a:pt x="13475" y="10964"/>
                  </a:lnTo>
                  <a:lnTo>
                    <a:pt x="13538" y="10818"/>
                  </a:lnTo>
                  <a:lnTo>
                    <a:pt x="13789" y="10525"/>
                  </a:lnTo>
                  <a:lnTo>
                    <a:pt x="13894" y="10504"/>
                  </a:lnTo>
                  <a:lnTo>
                    <a:pt x="13998" y="10337"/>
                  </a:lnTo>
                  <a:lnTo>
                    <a:pt x="14040" y="10337"/>
                  </a:lnTo>
                  <a:lnTo>
                    <a:pt x="14040" y="10295"/>
                  </a:lnTo>
                  <a:lnTo>
                    <a:pt x="14166" y="10211"/>
                  </a:lnTo>
                  <a:lnTo>
                    <a:pt x="14145" y="10148"/>
                  </a:lnTo>
                  <a:lnTo>
                    <a:pt x="14250" y="10023"/>
                  </a:lnTo>
                  <a:lnTo>
                    <a:pt x="14438" y="10044"/>
                  </a:lnTo>
                  <a:lnTo>
                    <a:pt x="14543" y="10107"/>
                  </a:lnTo>
                  <a:lnTo>
                    <a:pt x="14961" y="10148"/>
                  </a:lnTo>
                  <a:lnTo>
                    <a:pt x="15317" y="10148"/>
                  </a:lnTo>
                  <a:lnTo>
                    <a:pt x="15505" y="10107"/>
                  </a:lnTo>
                  <a:lnTo>
                    <a:pt x="15484" y="9981"/>
                  </a:lnTo>
                  <a:lnTo>
                    <a:pt x="15463" y="9835"/>
                  </a:lnTo>
                  <a:lnTo>
                    <a:pt x="15463" y="9709"/>
                  </a:lnTo>
                  <a:lnTo>
                    <a:pt x="15505" y="9667"/>
                  </a:lnTo>
                  <a:lnTo>
                    <a:pt x="15610" y="9688"/>
                  </a:lnTo>
                  <a:lnTo>
                    <a:pt x="15777" y="9709"/>
                  </a:lnTo>
                  <a:lnTo>
                    <a:pt x="15819" y="9667"/>
                  </a:lnTo>
                  <a:lnTo>
                    <a:pt x="16007" y="9667"/>
                  </a:lnTo>
                  <a:lnTo>
                    <a:pt x="16133" y="9730"/>
                  </a:lnTo>
                  <a:lnTo>
                    <a:pt x="16342" y="9793"/>
                  </a:lnTo>
                  <a:lnTo>
                    <a:pt x="16677" y="9835"/>
                  </a:lnTo>
                  <a:lnTo>
                    <a:pt x="16781" y="9793"/>
                  </a:lnTo>
                  <a:lnTo>
                    <a:pt x="16886" y="9709"/>
                  </a:lnTo>
                  <a:lnTo>
                    <a:pt x="17032" y="9730"/>
                  </a:lnTo>
                  <a:lnTo>
                    <a:pt x="17158" y="9730"/>
                  </a:lnTo>
                  <a:lnTo>
                    <a:pt x="17451" y="9667"/>
                  </a:lnTo>
                  <a:lnTo>
                    <a:pt x="17723" y="9730"/>
                  </a:lnTo>
                  <a:lnTo>
                    <a:pt x="17911" y="9688"/>
                  </a:lnTo>
                  <a:lnTo>
                    <a:pt x="18246" y="9688"/>
                  </a:lnTo>
                  <a:lnTo>
                    <a:pt x="18497" y="9793"/>
                  </a:lnTo>
                  <a:lnTo>
                    <a:pt x="18602" y="9772"/>
                  </a:lnTo>
                  <a:lnTo>
                    <a:pt x="18853" y="10044"/>
                  </a:lnTo>
                  <a:lnTo>
                    <a:pt x="19083" y="10107"/>
                  </a:lnTo>
                  <a:lnTo>
                    <a:pt x="19229" y="10044"/>
                  </a:lnTo>
                  <a:lnTo>
                    <a:pt x="19188" y="9897"/>
                  </a:lnTo>
                  <a:lnTo>
                    <a:pt x="19313" y="9814"/>
                  </a:lnTo>
                  <a:lnTo>
                    <a:pt x="19313" y="9772"/>
                  </a:lnTo>
                  <a:lnTo>
                    <a:pt x="19376" y="9730"/>
                  </a:lnTo>
                  <a:lnTo>
                    <a:pt x="19271" y="9625"/>
                  </a:lnTo>
                  <a:lnTo>
                    <a:pt x="19313" y="9521"/>
                  </a:lnTo>
                  <a:lnTo>
                    <a:pt x="19397" y="9458"/>
                  </a:lnTo>
                  <a:lnTo>
                    <a:pt x="19355" y="9207"/>
                  </a:lnTo>
                  <a:lnTo>
                    <a:pt x="19229" y="9144"/>
                  </a:lnTo>
                  <a:lnTo>
                    <a:pt x="19188" y="9039"/>
                  </a:lnTo>
                  <a:lnTo>
                    <a:pt x="19083" y="8851"/>
                  </a:lnTo>
                  <a:lnTo>
                    <a:pt x="19062" y="8747"/>
                  </a:lnTo>
                  <a:lnTo>
                    <a:pt x="19020" y="8663"/>
                  </a:lnTo>
                  <a:lnTo>
                    <a:pt x="19020" y="8579"/>
                  </a:lnTo>
                  <a:lnTo>
                    <a:pt x="18957" y="8412"/>
                  </a:lnTo>
                  <a:lnTo>
                    <a:pt x="19041" y="8328"/>
                  </a:lnTo>
                  <a:lnTo>
                    <a:pt x="19041" y="8265"/>
                  </a:lnTo>
                  <a:lnTo>
                    <a:pt x="18916" y="8244"/>
                  </a:lnTo>
                  <a:lnTo>
                    <a:pt x="18748" y="8265"/>
                  </a:lnTo>
                  <a:lnTo>
                    <a:pt x="18644" y="8202"/>
                  </a:lnTo>
                  <a:lnTo>
                    <a:pt x="18644" y="8119"/>
                  </a:lnTo>
                  <a:lnTo>
                    <a:pt x="18748" y="8014"/>
                  </a:lnTo>
                  <a:lnTo>
                    <a:pt x="18853" y="7951"/>
                  </a:lnTo>
                  <a:lnTo>
                    <a:pt x="18916" y="8014"/>
                  </a:lnTo>
                  <a:lnTo>
                    <a:pt x="19020" y="8014"/>
                  </a:lnTo>
                  <a:lnTo>
                    <a:pt x="19167" y="7930"/>
                  </a:lnTo>
                  <a:lnTo>
                    <a:pt x="19439" y="7889"/>
                  </a:lnTo>
                  <a:lnTo>
                    <a:pt x="19564" y="7847"/>
                  </a:lnTo>
                  <a:lnTo>
                    <a:pt x="19648" y="7826"/>
                  </a:lnTo>
                  <a:lnTo>
                    <a:pt x="19711" y="7889"/>
                  </a:lnTo>
                  <a:lnTo>
                    <a:pt x="19794" y="7889"/>
                  </a:lnTo>
                  <a:lnTo>
                    <a:pt x="19878" y="7826"/>
                  </a:lnTo>
                  <a:lnTo>
                    <a:pt x="19962" y="7826"/>
                  </a:lnTo>
                  <a:lnTo>
                    <a:pt x="19962" y="7742"/>
                  </a:lnTo>
                  <a:lnTo>
                    <a:pt x="20004" y="7617"/>
                  </a:lnTo>
                  <a:lnTo>
                    <a:pt x="19878" y="7575"/>
                  </a:lnTo>
                  <a:lnTo>
                    <a:pt x="19815" y="7512"/>
                  </a:lnTo>
                  <a:lnTo>
                    <a:pt x="19836" y="7428"/>
                  </a:lnTo>
                  <a:lnTo>
                    <a:pt x="19836" y="7177"/>
                  </a:lnTo>
                  <a:lnTo>
                    <a:pt x="19899" y="6842"/>
                  </a:lnTo>
                  <a:lnTo>
                    <a:pt x="19899" y="6696"/>
                  </a:lnTo>
                  <a:lnTo>
                    <a:pt x="19962" y="6550"/>
                  </a:lnTo>
                  <a:lnTo>
                    <a:pt x="20004" y="6278"/>
                  </a:lnTo>
                  <a:lnTo>
                    <a:pt x="20213" y="6278"/>
                  </a:lnTo>
                  <a:lnTo>
                    <a:pt x="20422" y="6361"/>
                  </a:lnTo>
                  <a:lnTo>
                    <a:pt x="20589" y="6382"/>
                  </a:lnTo>
                  <a:lnTo>
                    <a:pt x="20820" y="6340"/>
                  </a:lnTo>
                  <a:lnTo>
                    <a:pt x="20882" y="6340"/>
                  </a:lnTo>
                  <a:lnTo>
                    <a:pt x="20924" y="6424"/>
                  </a:lnTo>
                  <a:lnTo>
                    <a:pt x="21008" y="6424"/>
                  </a:lnTo>
                  <a:lnTo>
                    <a:pt x="21071" y="6382"/>
                  </a:lnTo>
                  <a:lnTo>
                    <a:pt x="21154" y="6278"/>
                  </a:lnTo>
                  <a:lnTo>
                    <a:pt x="21280" y="6236"/>
                  </a:lnTo>
                  <a:lnTo>
                    <a:pt x="21447" y="6068"/>
                  </a:lnTo>
                  <a:lnTo>
                    <a:pt x="21447" y="6006"/>
                  </a:lnTo>
                  <a:lnTo>
                    <a:pt x="21343" y="5838"/>
                  </a:lnTo>
                  <a:lnTo>
                    <a:pt x="21238" y="5608"/>
                  </a:lnTo>
                  <a:lnTo>
                    <a:pt x="21238" y="5378"/>
                  </a:lnTo>
                  <a:lnTo>
                    <a:pt x="21259" y="5231"/>
                  </a:lnTo>
                  <a:lnTo>
                    <a:pt x="21343" y="5169"/>
                  </a:lnTo>
                  <a:lnTo>
                    <a:pt x="21531" y="5106"/>
                  </a:lnTo>
                  <a:lnTo>
                    <a:pt x="21594" y="4980"/>
                  </a:lnTo>
                  <a:lnTo>
                    <a:pt x="21552" y="4917"/>
                  </a:lnTo>
                  <a:lnTo>
                    <a:pt x="21573" y="4813"/>
                  </a:lnTo>
                  <a:lnTo>
                    <a:pt x="21698" y="4666"/>
                  </a:lnTo>
                  <a:lnTo>
                    <a:pt x="21803" y="4604"/>
                  </a:lnTo>
                  <a:lnTo>
                    <a:pt x="21908" y="4499"/>
                  </a:lnTo>
                  <a:lnTo>
                    <a:pt x="21887" y="4478"/>
                  </a:lnTo>
                  <a:lnTo>
                    <a:pt x="21866" y="4457"/>
                  </a:lnTo>
                  <a:lnTo>
                    <a:pt x="21698" y="4394"/>
                  </a:lnTo>
                  <a:lnTo>
                    <a:pt x="21573" y="4269"/>
                  </a:lnTo>
                  <a:lnTo>
                    <a:pt x="21489" y="4269"/>
                  </a:lnTo>
                  <a:lnTo>
                    <a:pt x="21447" y="4164"/>
                  </a:lnTo>
                  <a:lnTo>
                    <a:pt x="21489" y="4039"/>
                  </a:lnTo>
                  <a:lnTo>
                    <a:pt x="21447" y="3976"/>
                  </a:lnTo>
                  <a:lnTo>
                    <a:pt x="21343" y="4060"/>
                  </a:lnTo>
                  <a:lnTo>
                    <a:pt x="21259" y="4164"/>
                  </a:lnTo>
                  <a:lnTo>
                    <a:pt x="21154" y="4185"/>
                  </a:lnTo>
                  <a:lnTo>
                    <a:pt x="20861" y="4227"/>
                  </a:lnTo>
                  <a:lnTo>
                    <a:pt x="20799" y="4269"/>
                  </a:lnTo>
                  <a:lnTo>
                    <a:pt x="20757" y="4332"/>
                  </a:lnTo>
                  <a:lnTo>
                    <a:pt x="20652" y="4269"/>
                  </a:lnTo>
                  <a:lnTo>
                    <a:pt x="20548" y="4227"/>
                  </a:lnTo>
                  <a:lnTo>
                    <a:pt x="20506" y="4227"/>
                  </a:lnTo>
                  <a:lnTo>
                    <a:pt x="20485" y="4185"/>
                  </a:lnTo>
                  <a:lnTo>
                    <a:pt x="20422" y="4143"/>
                  </a:lnTo>
                  <a:lnTo>
                    <a:pt x="20401" y="4060"/>
                  </a:lnTo>
                  <a:lnTo>
                    <a:pt x="20359" y="3976"/>
                  </a:lnTo>
                  <a:lnTo>
                    <a:pt x="20401" y="3934"/>
                  </a:lnTo>
                  <a:lnTo>
                    <a:pt x="20401" y="3850"/>
                  </a:lnTo>
                  <a:lnTo>
                    <a:pt x="20317" y="3809"/>
                  </a:lnTo>
                  <a:lnTo>
                    <a:pt x="20276" y="3809"/>
                  </a:lnTo>
                  <a:lnTo>
                    <a:pt x="20129" y="3725"/>
                  </a:lnTo>
                  <a:lnTo>
                    <a:pt x="20004" y="3704"/>
                  </a:lnTo>
                  <a:lnTo>
                    <a:pt x="19962" y="3704"/>
                  </a:lnTo>
                  <a:lnTo>
                    <a:pt x="19899" y="3557"/>
                  </a:lnTo>
                  <a:lnTo>
                    <a:pt x="19794" y="3390"/>
                  </a:lnTo>
                  <a:lnTo>
                    <a:pt x="19648" y="3244"/>
                  </a:lnTo>
                  <a:lnTo>
                    <a:pt x="19460" y="3223"/>
                  </a:lnTo>
                  <a:lnTo>
                    <a:pt x="19250" y="3223"/>
                  </a:lnTo>
                  <a:lnTo>
                    <a:pt x="19062" y="3244"/>
                  </a:lnTo>
                  <a:lnTo>
                    <a:pt x="19041" y="3306"/>
                  </a:lnTo>
                  <a:lnTo>
                    <a:pt x="19083" y="3348"/>
                  </a:lnTo>
                  <a:lnTo>
                    <a:pt x="19062" y="3411"/>
                  </a:lnTo>
                  <a:lnTo>
                    <a:pt x="18936" y="3453"/>
                  </a:lnTo>
                  <a:lnTo>
                    <a:pt x="18853" y="3432"/>
                  </a:lnTo>
                  <a:lnTo>
                    <a:pt x="18727" y="3495"/>
                  </a:lnTo>
                  <a:lnTo>
                    <a:pt x="18560" y="3411"/>
                  </a:lnTo>
                  <a:lnTo>
                    <a:pt x="18497" y="3432"/>
                  </a:lnTo>
                  <a:lnTo>
                    <a:pt x="18413" y="3495"/>
                  </a:lnTo>
                  <a:lnTo>
                    <a:pt x="18309" y="3495"/>
                  </a:lnTo>
                  <a:lnTo>
                    <a:pt x="18204" y="3411"/>
                  </a:lnTo>
                  <a:lnTo>
                    <a:pt x="18079" y="3348"/>
                  </a:lnTo>
                  <a:lnTo>
                    <a:pt x="18079" y="3285"/>
                  </a:lnTo>
                  <a:lnTo>
                    <a:pt x="18100" y="3202"/>
                  </a:lnTo>
                  <a:lnTo>
                    <a:pt x="17911" y="3118"/>
                  </a:lnTo>
                  <a:lnTo>
                    <a:pt x="17828" y="3181"/>
                  </a:lnTo>
                  <a:lnTo>
                    <a:pt x="17828" y="3306"/>
                  </a:lnTo>
                  <a:lnTo>
                    <a:pt x="17869" y="3327"/>
                  </a:lnTo>
                  <a:lnTo>
                    <a:pt x="17828" y="3390"/>
                  </a:lnTo>
                  <a:lnTo>
                    <a:pt x="17744" y="3453"/>
                  </a:lnTo>
                  <a:lnTo>
                    <a:pt x="17597" y="3453"/>
                  </a:lnTo>
                  <a:lnTo>
                    <a:pt x="16175" y="1695"/>
                  </a:lnTo>
                  <a:lnTo>
                    <a:pt x="15170" y="921"/>
                  </a:lnTo>
                  <a:lnTo>
                    <a:pt x="15107" y="837"/>
                  </a:lnTo>
                  <a:lnTo>
                    <a:pt x="15191" y="816"/>
                  </a:lnTo>
                  <a:lnTo>
                    <a:pt x="15296" y="712"/>
                  </a:lnTo>
                  <a:lnTo>
                    <a:pt x="15296" y="607"/>
                  </a:lnTo>
                  <a:lnTo>
                    <a:pt x="15254" y="565"/>
                  </a:lnTo>
                  <a:lnTo>
                    <a:pt x="15087" y="607"/>
                  </a:lnTo>
                  <a:lnTo>
                    <a:pt x="14961" y="628"/>
                  </a:lnTo>
                  <a:lnTo>
                    <a:pt x="14877" y="733"/>
                  </a:lnTo>
                  <a:lnTo>
                    <a:pt x="14773" y="775"/>
                  </a:lnTo>
                  <a:lnTo>
                    <a:pt x="14647" y="900"/>
                  </a:lnTo>
                  <a:lnTo>
                    <a:pt x="14647" y="984"/>
                  </a:lnTo>
                  <a:lnTo>
                    <a:pt x="14563" y="1047"/>
                  </a:lnTo>
                  <a:lnTo>
                    <a:pt x="14522" y="1151"/>
                  </a:lnTo>
                  <a:lnTo>
                    <a:pt x="14417" y="1235"/>
                  </a:lnTo>
                  <a:lnTo>
                    <a:pt x="14229" y="1235"/>
                  </a:lnTo>
                  <a:lnTo>
                    <a:pt x="14124" y="1298"/>
                  </a:lnTo>
                  <a:lnTo>
                    <a:pt x="14145" y="1423"/>
                  </a:lnTo>
                  <a:lnTo>
                    <a:pt x="14061" y="1465"/>
                  </a:lnTo>
                  <a:lnTo>
                    <a:pt x="14019" y="1423"/>
                  </a:lnTo>
                  <a:lnTo>
                    <a:pt x="13789" y="1360"/>
                  </a:lnTo>
                  <a:lnTo>
                    <a:pt x="13643" y="1423"/>
                  </a:lnTo>
                  <a:lnTo>
                    <a:pt x="13601" y="1507"/>
                  </a:lnTo>
                  <a:lnTo>
                    <a:pt x="13517" y="1507"/>
                  </a:lnTo>
                  <a:lnTo>
                    <a:pt x="13434" y="1402"/>
                  </a:lnTo>
                  <a:lnTo>
                    <a:pt x="13434" y="1235"/>
                  </a:lnTo>
                  <a:lnTo>
                    <a:pt x="13517" y="1172"/>
                  </a:lnTo>
                  <a:lnTo>
                    <a:pt x="13538" y="1088"/>
                  </a:lnTo>
                  <a:lnTo>
                    <a:pt x="13496" y="1026"/>
                  </a:lnTo>
                  <a:lnTo>
                    <a:pt x="13413" y="1109"/>
                  </a:lnTo>
                  <a:lnTo>
                    <a:pt x="13329" y="1109"/>
                  </a:lnTo>
                  <a:lnTo>
                    <a:pt x="13120" y="1005"/>
                  </a:lnTo>
                  <a:lnTo>
                    <a:pt x="12994" y="1026"/>
                  </a:lnTo>
                  <a:lnTo>
                    <a:pt x="13015" y="1109"/>
                  </a:lnTo>
                  <a:lnTo>
                    <a:pt x="13078" y="1130"/>
                  </a:lnTo>
                  <a:lnTo>
                    <a:pt x="12994" y="1214"/>
                  </a:lnTo>
                  <a:lnTo>
                    <a:pt x="12952" y="1214"/>
                  </a:lnTo>
                  <a:lnTo>
                    <a:pt x="12869" y="1088"/>
                  </a:lnTo>
                  <a:lnTo>
                    <a:pt x="12848" y="900"/>
                  </a:lnTo>
                  <a:lnTo>
                    <a:pt x="12638" y="733"/>
                  </a:lnTo>
                  <a:lnTo>
                    <a:pt x="12597" y="775"/>
                  </a:lnTo>
                  <a:lnTo>
                    <a:pt x="12638" y="900"/>
                  </a:lnTo>
                  <a:lnTo>
                    <a:pt x="12638" y="984"/>
                  </a:lnTo>
                  <a:lnTo>
                    <a:pt x="12555" y="984"/>
                  </a:lnTo>
                  <a:lnTo>
                    <a:pt x="12513" y="879"/>
                  </a:lnTo>
                  <a:lnTo>
                    <a:pt x="12450" y="900"/>
                  </a:lnTo>
                  <a:lnTo>
                    <a:pt x="12429" y="1005"/>
                  </a:lnTo>
                  <a:lnTo>
                    <a:pt x="12366" y="1026"/>
                  </a:lnTo>
                  <a:lnTo>
                    <a:pt x="12262" y="942"/>
                  </a:lnTo>
                  <a:lnTo>
                    <a:pt x="12136" y="1026"/>
                  </a:lnTo>
                  <a:lnTo>
                    <a:pt x="12074" y="984"/>
                  </a:lnTo>
                  <a:lnTo>
                    <a:pt x="12032" y="879"/>
                  </a:lnTo>
                  <a:lnTo>
                    <a:pt x="12115" y="837"/>
                  </a:lnTo>
                  <a:lnTo>
                    <a:pt x="12136" y="796"/>
                  </a:lnTo>
                  <a:lnTo>
                    <a:pt x="12115" y="691"/>
                  </a:lnTo>
                  <a:lnTo>
                    <a:pt x="12136" y="586"/>
                  </a:lnTo>
                  <a:lnTo>
                    <a:pt x="12115" y="524"/>
                  </a:lnTo>
                  <a:lnTo>
                    <a:pt x="12032" y="482"/>
                  </a:lnTo>
                  <a:lnTo>
                    <a:pt x="11948" y="398"/>
                  </a:lnTo>
                  <a:lnTo>
                    <a:pt x="11927" y="272"/>
                  </a:lnTo>
                  <a:lnTo>
                    <a:pt x="11864" y="252"/>
                  </a:lnTo>
                  <a:lnTo>
                    <a:pt x="11822" y="84"/>
                  </a:lnTo>
                  <a:lnTo>
                    <a:pt x="11718" y="84"/>
                  </a:lnTo>
                  <a:lnTo>
                    <a:pt x="11592" y="126"/>
                  </a:lnTo>
                  <a:lnTo>
                    <a:pt x="11446" y="126"/>
                  </a:lnTo>
                  <a:lnTo>
                    <a:pt x="11299" y="42"/>
                  </a:lnTo>
                  <a:lnTo>
                    <a:pt x="11132" y="63"/>
                  </a:lnTo>
                  <a:lnTo>
                    <a:pt x="11006" y="0"/>
                  </a:lnTo>
                  <a:lnTo>
                    <a:pt x="10902" y="42"/>
                  </a:lnTo>
                  <a:lnTo>
                    <a:pt x="1086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4" name="Google Shape;874;p34"/>
            <p:cNvSpPr/>
            <p:nvPr/>
          </p:nvSpPr>
          <p:spPr>
            <a:xfrm>
              <a:off x="4105619" y="2816249"/>
              <a:ext cx="110383" cy="65688"/>
            </a:xfrm>
            <a:custGeom>
              <a:avLst/>
              <a:gdLst/>
              <a:ahLst/>
              <a:cxnLst/>
              <a:rect l="l" t="t" r="r" b="b"/>
              <a:pathLst>
                <a:path w="9270" h="5776" extrusionOk="0">
                  <a:moveTo>
                    <a:pt x="1507" y="1"/>
                  </a:moveTo>
                  <a:lnTo>
                    <a:pt x="0" y="294"/>
                  </a:lnTo>
                  <a:lnTo>
                    <a:pt x="439" y="3014"/>
                  </a:lnTo>
                  <a:lnTo>
                    <a:pt x="732" y="3014"/>
                  </a:lnTo>
                  <a:lnTo>
                    <a:pt x="963" y="3035"/>
                  </a:lnTo>
                  <a:lnTo>
                    <a:pt x="1004" y="2909"/>
                  </a:lnTo>
                  <a:lnTo>
                    <a:pt x="900" y="2804"/>
                  </a:lnTo>
                  <a:lnTo>
                    <a:pt x="879" y="2595"/>
                  </a:lnTo>
                  <a:lnTo>
                    <a:pt x="983" y="2344"/>
                  </a:lnTo>
                  <a:lnTo>
                    <a:pt x="1172" y="2323"/>
                  </a:lnTo>
                  <a:lnTo>
                    <a:pt x="1276" y="2198"/>
                  </a:lnTo>
                  <a:lnTo>
                    <a:pt x="1402" y="2114"/>
                  </a:lnTo>
                  <a:lnTo>
                    <a:pt x="1527" y="2198"/>
                  </a:lnTo>
                  <a:lnTo>
                    <a:pt x="1611" y="2135"/>
                  </a:lnTo>
                  <a:lnTo>
                    <a:pt x="1507" y="2009"/>
                  </a:lnTo>
                  <a:lnTo>
                    <a:pt x="1779" y="2030"/>
                  </a:lnTo>
                  <a:lnTo>
                    <a:pt x="2155" y="2219"/>
                  </a:lnTo>
                  <a:lnTo>
                    <a:pt x="2511" y="2428"/>
                  </a:lnTo>
                  <a:lnTo>
                    <a:pt x="2532" y="2553"/>
                  </a:lnTo>
                  <a:lnTo>
                    <a:pt x="2971" y="2804"/>
                  </a:lnTo>
                  <a:lnTo>
                    <a:pt x="3306" y="2951"/>
                  </a:lnTo>
                  <a:lnTo>
                    <a:pt x="3390" y="2909"/>
                  </a:lnTo>
                  <a:lnTo>
                    <a:pt x="3515" y="2930"/>
                  </a:lnTo>
                  <a:lnTo>
                    <a:pt x="3766" y="3076"/>
                  </a:lnTo>
                  <a:lnTo>
                    <a:pt x="3871" y="3432"/>
                  </a:lnTo>
                  <a:lnTo>
                    <a:pt x="3976" y="3537"/>
                  </a:lnTo>
                  <a:lnTo>
                    <a:pt x="4017" y="3662"/>
                  </a:lnTo>
                  <a:lnTo>
                    <a:pt x="4143" y="3913"/>
                  </a:lnTo>
                  <a:lnTo>
                    <a:pt x="4352" y="3997"/>
                  </a:lnTo>
                  <a:lnTo>
                    <a:pt x="4729" y="4227"/>
                  </a:lnTo>
                  <a:lnTo>
                    <a:pt x="5126" y="4520"/>
                  </a:lnTo>
                  <a:lnTo>
                    <a:pt x="5545" y="4708"/>
                  </a:lnTo>
                  <a:lnTo>
                    <a:pt x="5921" y="5001"/>
                  </a:lnTo>
                  <a:lnTo>
                    <a:pt x="6235" y="5022"/>
                  </a:lnTo>
                  <a:lnTo>
                    <a:pt x="6319" y="5106"/>
                  </a:lnTo>
                  <a:lnTo>
                    <a:pt x="6403" y="5106"/>
                  </a:lnTo>
                  <a:lnTo>
                    <a:pt x="6612" y="5232"/>
                  </a:lnTo>
                  <a:lnTo>
                    <a:pt x="6612" y="5378"/>
                  </a:lnTo>
                  <a:lnTo>
                    <a:pt x="6633" y="5650"/>
                  </a:lnTo>
                  <a:lnTo>
                    <a:pt x="6821" y="5587"/>
                  </a:lnTo>
                  <a:lnTo>
                    <a:pt x="6926" y="5671"/>
                  </a:lnTo>
                  <a:lnTo>
                    <a:pt x="7009" y="5776"/>
                  </a:lnTo>
                  <a:lnTo>
                    <a:pt x="7072" y="5776"/>
                  </a:lnTo>
                  <a:lnTo>
                    <a:pt x="7177" y="5671"/>
                  </a:lnTo>
                  <a:lnTo>
                    <a:pt x="7281" y="5692"/>
                  </a:lnTo>
                  <a:lnTo>
                    <a:pt x="7323" y="5755"/>
                  </a:lnTo>
                  <a:lnTo>
                    <a:pt x="7365" y="5378"/>
                  </a:lnTo>
                  <a:lnTo>
                    <a:pt x="7491" y="5106"/>
                  </a:lnTo>
                  <a:lnTo>
                    <a:pt x="7553" y="5043"/>
                  </a:lnTo>
                  <a:lnTo>
                    <a:pt x="7533" y="4897"/>
                  </a:lnTo>
                  <a:lnTo>
                    <a:pt x="7407" y="4834"/>
                  </a:lnTo>
                  <a:lnTo>
                    <a:pt x="7344" y="4688"/>
                  </a:lnTo>
                  <a:lnTo>
                    <a:pt x="7386" y="4541"/>
                  </a:lnTo>
                  <a:lnTo>
                    <a:pt x="7365" y="4416"/>
                  </a:lnTo>
                  <a:lnTo>
                    <a:pt x="7219" y="4436"/>
                  </a:lnTo>
                  <a:lnTo>
                    <a:pt x="7114" y="4499"/>
                  </a:lnTo>
                  <a:lnTo>
                    <a:pt x="6947" y="4269"/>
                  </a:lnTo>
                  <a:lnTo>
                    <a:pt x="6947" y="4102"/>
                  </a:lnTo>
                  <a:lnTo>
                    <a:pt x="7072" y="3997"/>
                  </a:lnTo>
                  <a:lnTo>
                    <a:pt x="7344" y="4018"/>
                  </a:lnTo>
                  <a:lnTo>
                    <a:pt x="7449" y="3997"/>
                  </a:lnTo>
                  <a:lnTo>
                    <a:pt x="7449" y="3872"/>
                  </a:lnTo>
                  <a:lnTo>
                    <a:pt x="7679" y="3788"/>
                  </a:lnTo>
                  <a:lnTo>
                    <a:pt x="7637" y="3704"/>
                  </a:lnTo>
                  <a:lnTo>
                    <a:pt x="7574" y="3662"/>
                  </a:lnTo>
                  <a:lnTo>
                    <a:pt x="7846" y="3600"/>
                  </a:lnTo>
                  <a:lnTo>
                    <a:pt x="8014" y="3537"/>
                  </a:lnTo>
                  <a:lnTo>
                    <a:pt x="8056" y="3390"/>
                  </a:lnTo>
                  <a:lnTo>
                    <a:pt x="7867" y="3328"/>
                  </a:lnTo>
                  <a:lnTo>
                    <a:pt x="7867" y="3181"/>
                  </a:lnTo>
                  <a:lnTo>
                    <a:pt x="8014" y="3139"/>
                  </a:lnTo>
                  <a:lnTo>
                    <a:pt x="8181" y="3014"/>
                  </a:lnTo>
                  <a:lnTo>
                    <a:pt x="8286" y="3035"/>
                  </a:lnTo>
                  <a:lnTo>
                    <a:pt x="8453" y="2825"/>
                  </a:lnTo>
                  <a:lnTo>
                    <a:pt x="8600" y="2951"/>
                  </a:lnTo>
                  <a:lnTo>
                    <a:pt x="8621" y="3056"/>
                  </a:lnTo>
                  <a:lnTo>
                    <a:pt x="8914" y="3014"/>
                  </a:lnTo>
                  <a:lnTo>
                    <a:pt x="9123" y="3014"/>
                  </a:lnTo>
                  <a:lnTo>
                    <a:pt x="9269" y="2825"/>
                  </a:lnTo>
                  <a:lnTo>
                    <a:pt x="9248" y="2721"/>
                  </a:lnTo>
                  <a:lnTo>
                    <a:pt x="8955" y="2491"/>
                  </a:lnTo>
                  <a:lnTo>
                    <a:pt x="8893" y="2491"/>
                  </a:lnTo>
                  <a:lnTo>
                    <a:pt x="8893" y="2637"/>
                  </a:lnTo>
                  <a:lnTo>
                    <a:pt x="8788" y="2742"/>
                  </a:lnTo>
                  <a:lnTo>
                    <a:pt x="8683" y="2721"/>
                  </a:lnTo>
                  <a:lnTo>
                    <a:pt x="8579" y="2616"/>
                  </a:lnTo>
                  <a:lnTo>
                    <a:pt x="8307" y="2532"/>
                  </a:lnTo>
                  <a:lnTo>
                    <a:pt x="8202" y="2449"/>
                  </a:lnTo>
                  <a:lnTo>
                    <a:pt x="8286" y="2323"/>
                  </a:lnTo>
                  <a:lnTo>
                    <a:pt x="8453" y="2030"/>
                  </a:lnTo>
                  <a:lnTo>
                    <a:pt x="8453" y="1905"/>
                  </a:lnTo>
                  <a:lnTo>
                    <a:pt x="8369" y="1905"/>
                  </a:lnTo>
                  <a:lnTo>
                    <a:pt x="8265" y="2072"/>
                  </a:lnTo>
                  <a:lnTo>
                    <a:pt x="8160" y="2093"/>
                  </a:lnTo>
                  <a:lnTo>
                    <a:pt x="7909" y="2386"/>
                  </a:lnTo>
                  <a:lnTo>
                    <a:pt x="7846" y="2532"/>
                  </a:lnTo>
                  <a:lnTo>
                    <a:pt x="7784" y="2616"/>
                  </a:lnTo>
                  <a:lnTo>
                    <a:pt x="7658" y="2825"/>
                  </a:lnTo>
                  <a:lnTo>
                    <a:pt x="7449" y="3035"/>
                  </a:lnTo>
                  <a:lnTo>
                    <a:pt x="7365" y="3014"/>
                  </a:lnTo>
                  <a:lnTo>
                    <a:pt x="7114" y="2867"/>
                  </a:lnTo>
                  <a:lnTo>
                    <a:pt x="6926" y="2846"/>
                  </a:lnTo>
                  <a:lnTo>
                    <a:pt x="6737" y="2867"/>
                  </a:lnTo>
                  <a:lnTo>
                    <a:pt x="6486" y="3014"/>
                  </a:lnTo>
                  <a:lnTo>
                    <a:pt x="6361" y="3014"/>
                  </a:lnTo>
                  <a:lnTo>
                    <a:pt x="6131" y="2323"/>
                  </a:lnTo>
                  <a:lnTo>
                    <a:pt x="5712" y="2281"/>
                  </a:lnTo>
                  <a:lnTo>
                    <a:pt x="5691" y="1465"/>
                  </a:lnTo>
                  <a:lnTo>
                    <a:pt x="5503" y="1549"/>
                  </a:lnTo>
                  <a:lnTo>
                    <a:pt x="5356" y="1172"/>
                  </a:lnTo>
                  <a:lnTo>
                    <a:pt x="5064" y="963"/>
                  </a:lnTo>
                  <a:lnTo>
                    <a:pt x="4122" y="963"/>
                  </a:lnTo>
                  <a:lnTo>
                    <a:pt x="3264" y="1047"/>
                  </a:lnTo>
                  <a:lnTo>
                    <a:pt x="2762" y="754"/>
                  </a:lnTo>
                  <a:lnTo>
                    <a:pt x="2427" y="628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5" name="Google Shape;875;p34"/>
            <p:cNvSpPr/>
            <p:nvPr/>
          </p:nvSpPr>
          <p:spPr>
            <a:xfrm>
              <a:off x="4085936" y="2839096"/>
              <a:ext cx="98666" cy="59262"/>
            </a:xfrm>
            <a:custGeom>
              <a:avLst/>
              <a:gdLst/>
              <a:ahLst/>
              <a:cxnLst/>
              <a:rect l="l" t="t" r="r" b="b"/>
              <a:pathLst>
                <a:path w="8286" h="5211" extrusionOk="0">
                  <a:moveTo>
                    <a:pt x="3160" y="0"/>
                  </a:moveTo>
                  <a:lnTo>
                    <a:pt x="3264" y="126"/>
                  </a:lnTo>
                  <a:lnTo>
                    <a:pt x="3180" y="189"/>
                  </a:lnTo>
                  <a:lnTo>
                    <a:pt x="3055" y="105"/>
                  </a:lnTo>
                  <a:lnTo>
                    <a:pt x="2929" y="189"/>
                  </a:lnTo>
                  <a:lnTo>
                    <a:pt x="2825" y="314"/>
                  </a:lnTo>
                  <a:lnTo>
                    <a:pt x="2636" y="335"/>
                  </a:lnTo>
                  <a:lnTo>
                    <a:pt x="2532" y="586"/>
                  </a:lnTo>
                  <a:lnTo>
                    <a:pt x="2553" y="795"/>
                  </a:lnTo>
                  <a:lnTo>
                    <a:pt x="2657" y="900"/>
                  </a:lnTo>
                  <a:lnTo>
                    <a:pt x="2616" y="1026"/>
                  </a:lnTo>
                  <a:lnTo>
                    <a:pt x="2385" y="1005"/>
                  </a:lnTo>
                  <a:lnTo>
                    <a:pt x="2092" y="1005"/>
                  </a:lnTo>
                  <a:lnTo>
                    <a:pt x="2009" y="1026"/>
                  </a:lnTo>
                  <a:lnTo>
                    <a:pt x="1779" y="1067"/>
                  </a:lnTo>
                  <a:lnTo>
                    <a:pt x="1402" y="628"/>
                  </a:lnTo>
                  <a:lnTo>
                    <a:pt x="983" y="398"/>
                  </a:lnTo>
                  <a:lnTo>
                    <a:pt x="628" y="335"/>
                  </a:lnTo>
                  <a:lnTo>
                    <a:pt x="335" y="440"/>
                  </a:lnTo>
                  <a:lnTo>
                    <a:pt x="0" y="754"/>
                  </a:lnTo>
                  <a:lnTo>
                    <a:pt x="0" y="816"/>
                  </a:lnTo>
                  <a:lnTo>
                    <a:pt x="84" y="900"/>
                  </a:lnTo>
                  <a:lnTo>
                    <a:pt x="126" y="963"/>
                  </a:lnTo>
                  <a:lnTo>
                    <a:pt x="209" y="1047"/>
                  </a:lnTo>
                  <a:lnTo>
                    <a:pt x="251" y="1151"/>
                  </a:lnTo>
                  <a:lnTo>
                    <a:pt x="356" y="1360"/>
                  </a:lnTo>
                  <a:lnTo>
                    <a:pt x="335" y="1528"/>
                  </a:lnTo>
                  <a:lnTo>
                    <a:pt x="293" y="1653"/>
                  </a:lnTo>
                  <a:lnTo>
                    <a:pt x="314" y="1946"/>
                  </a:lnTo>
                  <a:lnTo>
                    <a:pt x="356" y="2009"/>
                  </a:lnTo>
                  <a:lnTo>
                    <a:pt x="398" y="2093"/>
                  </a:lnTo>
                  <a:lnTo>
                    <a:pt x="607" y="2302"/>
                  </a:lnTo>
                  <a:lnTo>
                    <a:pt x="565" y="2218"/>
                  </a:lnTo>
                  <a:lnTo>
                    <a:pt x="523" y="2155"/>
                  </a:lnTo>
                  <a:lnTo>
                    <a:pt x="544" y="2114"/>
                  </a:lnTo>
                  <a:lnTo>
                    <a:pt x="732" y="2155"/>
                  </a:lnTo>
                  <a:lnTo>
                    <a:pt x="816" y="2093"/>
                  </a:lnTo>
                  <a:lnTo>
                    <a:pt x="858" y="2114"/>
                  </a:lnTo>
                  <a:lnTo>
                    <a:pt x="837" y="2260"/>
                  </a:lnTo>
                  <a:lnTo>
                    <a:pt x="858" y="2365"/>
                  </a:lnTo>
                  <a:lnTo>
                    <a:pt x="942" y="2323"/>
                  </a:lnTo>
                  <a:lnTo>
                    <a:pt x="983" y="2427"/>
                  </a:lnTo>
                  <a:lnTo>
                    <a:pt x="963" y="2490"/>
                  </a:lnTo>
                  <a:lnTo>
                    <a:pt x="858" y="2469"/>
                  </a:lnTo>
                  <a:lnTo>
                    <a:pt x="816" y="2469"/>
                  </a:lnTo>
                  <a:lnTo>
                    <a:pt x="753" y="2427"/>
                  </a:lnTo>
                  <a:lnTo>
                    <a:pt x="649" y="2511"/>
                  </a:lnTo>
                  <a:lnTo>
                    <a:pt x="649" y="2616"/>
                  </a:lnTo>
                  <a:lnTo>
                    <a:pt x="732" y="2699"/>
                  </a:lnTo>
                  <a:lnTo>
                    <a:pt x="711" y="2574"/>
                  </a:lnTo>
                  <a:lnTo>
                    <a:pt x="774" y="2574"/>
                  </a:lnTo>
                  <a:lnTo>
                    <a:pt x="837" y="2595"/>
                  </a:lnTo>
                  <a:lnTo>
                    <a:pt x="921" y="2616"/>
                  </a:lnTo>
                  <a:lnTo>
                    <a:pt x="963" y="2720"/>
                  </a:lnTo>
                  <a:lnTo>
                    <a:pt x="1130" y="2804"/>
                  </a:lnTo>
                  <a:lnTo>
                    <a:pt x="1172" y="2909"/>
                  </a:lnTo>
                  <a:lnTo>
                    <a:pt x="1151" y="3097"/>
                  </a:lnTo>
                  <a:lnTo>
                    <a:pt x="1172" y="3160"/>
                  </a:lnTo>
                  <a:lnTo>
                    <a:pt x="1172" y="3453"/>
                  </a:lnTo>
                  <a:lnTo>
                    <a:pt x="1235" y="3662"/>
                  </a:lnTo>
                  <a:lnTo>
                    <a:pt x="1339" y="3955"/>
                  </a:lnTo>
                  <a:lnTo>
                    <a:pt x="1444" y="3871"/>
                  </a:lnTo>
                  <a:lnTo>
                    <a:pt x="1716" y="3871"/>
                  </a:lnTo>
                  <a:lnTo>
                    <a:pt x="1779" y="3725"/>
                  </a:lnTo>
                  <a:lnTo>
                    <a:pt x="1862" y="3620"/>
                  </a:lnTo>
                  <a:lnTo>
                    <a:pt x="1967" y="3620"/>
                  </a:lnTo>
                  <a:lnTo>
                    <a:pt x="2197" y="3411"/>
                  </a:lnTo>
                  <a:lnTo>
                    <a:pt x="2427" y="3348"/>
                  </a:lnTo>
                  <a:lnTo>
                    <a:pt x="2636" y="3411"/>
                  </a:lnTo>
                  <a:lnTo>
                    <a:pt x="2699" y="3264"/>
                  </a:lnTo>
                  <a:lnTo>
                    <a:pt x="2804" y="3243"/>
                  </a:lnTo>
                  <a:lnTo>
                    <a:pt x="2929" y="3306"/>
                  </a:lnTo>
                  <a:lnTo>
                    <a:pt x="3055" y="3264"/>
                  </a:lnTo>
                  <a:lnTo>
                    <a:pt x="3264" y="3453"/>
                  </a:lnTo>
                  <a:lnTo>
                    <a:pt x="3432" y="3515"/>
                  </a:lnTo>
                  <a:lnTo>
                    <a:pt x="3766" y="3725"/>
                  </a:lnTo>
                  <a:lnTo>
                    <a:pt x="3871" y="3725"/>
                  </a:lnTo>
                  <a:lnTo>
                    <a:pt x="3955" y="3641"/>
                  </a:lnTo>
                  <a:lnTo>
                    <a:pt x="4185" y="3746"/>
                  </a:lnTo>
                  <a:lnTo>
                    <a:pt x="4310" y="3767"/>
                  </a:lnTo>
                  <a:lnTo>
                    <a:pt x="4331" y="3934"/>
                  </a:lnTo>
                  <a:lnTo>
                    <a:pt x="4394" y="3976"/>
                  </a:lnTo>
                  <a:lnTo>
                    <a:pt x="4520" y="3955"/>
                  </a:lnTo>
                  <a:lnTo>
                    <a:pt x="4729" y="3997"/>
                  </a:lnTo>
                  <a:lnTo>
                    <a:pt x="4959" y="4311"/>
                  </a:lnTo>
                  <a:lnTo>
                    <a:pt x="5231" y="4352"/>
                  </a:lnTo>
                  <a:lnTo>
                    <a:pt x="5357" y="4394"/>
                  </a:lnTo>
                  <a:lnTo>
                    <a:pt x="5461" y="4562"/>
                  </a:lnTo>
                  <a:lnTo>
                    <a:pt x="5419" y="4666"/>
                  </a:lnTo>
                  <a:lnTo>
                    <a:pt x="5461" y="4792"/>
                  </a:lnTo>
                  <a:lnTo>
                    <a:pt x="5461" y="4876"/>
                  </a:lnTo>
                  <a:lnTo>
                    <a:pt x="5524" y="4980"/>
                  </a:lnTo>
                  <a:lnTo>
                    <a:pt x="5566" y="4938"/>
                  </a:lnTo>
                  <a:lnTo>
                    <a:pt x="5691" y="4980"/>
                  </a:lnTo>
                  <a:lnTo>
                    <a:pt x="5775" y="5043"/>
                  </a:lnTo>
                  <a:lnTo>
                    <a:pt x="5880" y="5043"/>
                  </a:lnTo>
                  <a:lnTo>
                    <a:pt x="5963" y="4980"/>
                  </a:lnTo>
                  <a:lnTo>
                    <a:pt x="6047" y="4980"/>
                  </a:lnTo>
                  <a:lnTo>
                    <a:pt x="6173" y="5085"/>
                  </a:lnTo>
                  <a:lnTo>
                    <a:pt x="6214" y="5148"/>
                  </a:lnTo>
                  <a:lnTo>
                    <a:pt x="6277" y="5210"/>
                  </a:lnTo>
                  <a:lnTo>
                    <a:pt x="6319" y="5148"/>
                  </a:lnTo>
                  <a:lnTo>
                    <a:pt x="6486" y="5127"/>
                  </a:lnTo>
                  <a:lnTo>
                    <a:pt x="6570" y="5022"/>
                  </a:lnTo>
                  <a:lnTo>
                    <a:pt x="6591" y="4938"/>
                  </a:lnTo>
                  <a:lnTo>
                    <a:pt x="6675" y="4896"/>
                  </a:lnTo>
                  <a:lnTo>
                    <a:pt x="6633" y="4813"/>
                  </a:lnTo>
                  <a:lnTo>
                    <a:pt x="6821" y="4708"/>
                  </a:lnTo>
                  <a:lnTo>
                    <a:pt x="7030" y="4666"/>
                  </a:lnTo>
                  <a:lnTo>
                    <a:pt x="7051" y="4604"/>
                  </a:lnTo>
                  <a:lnTo>
                    <a:pt x="7135" y="4520"/>
                  </a:lnTo>
                  <a:lnTo>
                    <a:pt x="7240" y="4499"/>
                  </a:lnTo>
                  <a:lnTo>
                    <a:pt x="7261" y="4373"/>
                  </a:lnTo>
                  <a:lnTo>
                    <a:pt x="7261" y="4206"/>
                  </a:lnTo>
                  <a:lnTo>
                    <a:pt x="7407" y="4080"/>
                  </a:lnTo>
                  <a:lnTo>
                    <a:pt x="7407" y="3955"/>
                  </a:lnTo>
                  <a:lnTo>
                    <a:pt x="7344" y="3892"/>
                  </a:lnTo>
                  <a:lnTo>
                    <a:pt x="7365" y="3850"/>
                  </a:lnTo>
                  <a:lnTo>
                    <a:pt x="7428" y="3829"/>
                  </a:lnTo>
                  <a:lnTo>
                    <a:pt x="7470" y="3767"/>
                  </a:lnTo>
                  <a:lnTo>
                    <a:pt x="7637" y="3725"/>
                  </a:lnTo>
                  <a:lnTo>
                    <a:pt x="7679" y="3725"/>
                  </a:lnTo>
                  <a:lnTo>
                    <a:pt x="7846" y="3620"/>
                  </a:lnTo>
                  <a:lnTo>
                    <a:pt x="7993" y="3557"/>
                  </a:lnTo>
                  <a:lnTo>
                    <a:pt x="8098" y="3641"/>
                  </a:lnTo>
                  <a:lnTo>
                    <a:pt x="8244" y="3620"/>
                  </a:lnTo>
                  <a:lnTo>
                    <a:pt x="8265" y="3641"/>
                  </a:lnTo>
                  <a:lnTo>
                    <a:pt x="8286" y="3641"/>
                  </a:lnTo>
                  <a:lnTo>
                    <a:pt x="8265" y="3369"/>
                  </a:lnTo>
                  <a:lnTo>
                    <a:pt x="8265" y="3223"/>
                  </a:lnTo>
                  <a:lnTo>
                    <a:pt x="8056" y="3097"/>
                  </a:lnTo>
                  <a:lnTo>
                    <a:pt x="7972" y="3097"/>
                  </a:lnTo>
                  <a:lnTo>
                    <a:pt x="7888" y="3013"/>
                  </a:lnTo>
                  <a:lnTo>
                    <a:pt x="7574" y="2992"/>
                  </a:lnTo>
                  <a:lnTo>
                    <a:pt x="7198" y="2699"/>
                  </a:lnTo>
                  <a:lnTo>
                    <a:pt x="6779" y="2511"/>
                  </a:lnTo>
                  <a:lnTo>
                    <a:pt x="6382" y="2218"/>
                  </a:lnTo>
                  <a:lnTo>
                    <a:pt x="6005" y="1988"/>
                  </a:lnTo>
                  <a:lnTo>
                    <a:pt x="5796" y="1904"/>
                  </a:lnTo>
                  <a:lnTo>
                    <a:pt x="5670" y="1653"/>
                  </a:lnTo>
                  <a:lnTo>
                    <a:pt x="5629" y="1528"/>
                  </a:lnTo>
                  <a:lnTo>
                    <a:pt x="5524" y="1423"/>
                  </a:lnTo>
                  <a:lnTo>
                    <a:pt x="5419" y="1067"/>
                  </a:lnTo>
                  <a:lnTo>
                    <a:pt x="5168" y="921"/>
                  </a:lnTo>
                  <a:lnTo>
                    <a:pt x="5043" y="900"/>
                  </a:lnTo>
                  <a:lnTo>
                    <a:pt x="4959" y="942"/>
                  </a:lnTo>
                  <a:lnTo>
                    <a:pt x="4624" y="795"/>
                  </a:lnTo>
                  <a:lnTo>
                    <a:pt x="4185" y="544"/>
                  </a:lnTo>
                  <a:lnTo>
                    <a:pt x="4164" y="419"/>
                  </a:lnTo>
                  <a:lnTo>
                    <a:pt x="3808" y="210"/>
                  </a:lnTo>
                  <a:lnTo>
                    <a:pt x="3432" y="21"/>
                  </a:lnTo>
                  <a:lnTo>
                    <a:pt x="316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76" name="Google Shape;876;p34"/>
            <p:cNvGrpSpPr/>
            <p:nvPr/>
          </p:nvGrpSpPr>
          <p:grpSpPr>
            <a:xfrm>
              <a:off x="4295710" y="3079670"/>
              <a:ext cx="14968" cy="27135"/>
              <a:chOff x="4842300" y="3099950"/>
              <a:chExt cx="31425" cy="59650"/>
            </a:xfrm>
          </p:grpSpPr>
          <p:sp>
            <p:nvSpPr>
              <p:cNvPr id="877" name="Google Shape;877;p34"/>
              <p:cNvSpPr/>
              <p:nvPr/>
            </p:nvSpPr>
            <p:spPr>
              <a:xfrm>
                <a:off x="4842300" y="3122950"/>
                <a:ext cx="2125" cy="6825"/>
              </a:xfrm>
              <a:custGeom>
                <a:avLst/>
                <a:gdLst/>
                <a:ahLst/>
                <a:cxnLst/>
                <a:rect l="l" t="t" r="r" b="b"/>
                <a:pathLst>
                  <a:path w="85" h="273" extrusionOk="0">
                    <a:moveTo>
                      <a:pt x="84" y="1"/>
                    </a:moveTo>
                    <a:lnTo>
                      <a:pt x="1" y="22"/>
                    </a:lnTo>
                    <a:lnTo>
                      <a:pt x="43" y="126"/>
                    </a:lnTo>
                    <a:lnTo>
                      <a:pt x="1" y="273"/>
                    </a:lnTo>
                    <a:lnTo>
                      <a:pt x="64" y="126"/>
                    </a:lnTo>
                    <a:lnTo>
                      <a:pt x="43" y="22"/>
                    </a:lnTo>
                    <a:lnTo>
                      <a:pt x="84" y="22"/>
                    </a:lnTo>
                    <a:lnTo>
                      <a:pt x="8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" name="Google Shape;878;p34"/>
              <p:cNvSpPr/>
              <p:nvPr/>
            </p:nvSpPr>
            <p:spPr>
              <a:xfrm>
                <a:off x="4842300" y="3106225"/>
                <a:ext cx="31425" cy="53375"/>
              </a:xfrm>
              <a:custGeom>
                <a:avLst/>
                <a:gdLst/>
                <a:ahLst/>
                <a:cxnLst/>
                <a:rect l="l" t="t" r="r" b="b"/>
                <a:pathLst>
                  <a:path w="1257" h="2135" extrusionOk="0">
                    <a:moveTo>
                      <a:pt x="273" y="0"/>
                    </a:moveTo>
                    <a:lnTo>
                      <a:pt x="273" y="21"/>
                    </a:lnTo>
                    <a:lnTo>
                      <a:pt x="294" y="42"/>
                    </a:lnTo>
                    <a:lnTo>
                      <a:pt x="273" y="63"/>
                    </a:lnTo>
                    <a:lnTo>
                      <a:pt x="252" y="105"/>
                    </a:lnTo>
                    <a:lnTo>
                      <a:pt x="252" y="126"/>
                    </a:lnTo>
                    <a:lnTo>
                      <a:pt x="252" y="209"/>
                    </a:lnTo>
                    <a:lnTo>
                      <a:pt x="189" y="314"/>
                    </a:lnTo>
                    <a:lnTo>
                      <a:pt x="147" y="272"/>
                    </a:lnTo>
                    <a:lnTo>
                      <a:pt x="84" y="230"/>
                    </a:lnTo>
                    <a:lnTo>
                      <a:pt x="1" y="230"/>
                    </a:lnTo>
                    <a:lnTo>
                      <a:pt x="1" y="251"/>
                    </a:lnTo>
                    <a:lnTo>
                      <a:pt x="84" y="272"/>
                    </a:lnTo>
                    <a:lnTo>
                      <a:pt x="105" y="335"/>
                    </a:lnTo>
                    <a:lnTo>
                      <a:pt x="84" y="356"/>
                    </a:lnTo>
                    <a:lnTo>
                      <a:pt x="147" y="461"/>
                    </a:lnTo>
                    <a:lnTo>
                      <a:pt x="147" y="628"/>
                    </a:lnTo>
                    <a:lnTo>
                      <a:pt x="84" y="691"/>
                    </a:lnTo>
                    <a:lnTo>
                      <a:pt x="64" y="942"/>
                    </a:lnTo>
                    <a:lnTo>
                      <a:pt x="84" y="1005"/>
                    </a:lnTo>
                    <a:lnTo>
                      <a:pt x="43" y="1046"/>
                    </a:lnTo>
                    <a:lnTo>
                      <a:pt x="84" y="1277"/>
                    </a:lnTo>
                    <a:lnTo>
                      <a:pt x="84" y="1360"/>
                    </a:lnTo>
                    <a:lnTo>
                      <a:pt x="168" y="1611"/>
                    </a:lnTo>
                    <a:lnTo>
                      <a:pt x="252" y="1925"/>
                    </a:lnTo>
                    <a:lnTo>
                      <a:pt x="315" y="2051"/>
                    </a:lnTo>
                    <a:lnTo>
                      <a:pt x="461" y="2134"/>
                    </a:lnTo>
                    <a:lnTo>
                      <a:pt x="587" y="2113"/>
                    </a:lnTo>
                    <a:lnTo>
                      <a:pt x="775" y="2093"/>
                    </a:lnTo>
                    <a:lnTo>
                      <a:pt x="942" y="2030"/>
                    </a:lnTo>
                    <a:lnTo>
                      <a:pt x="1131" y="1821"/>
                    </a:lnTo>
                    <a:lnTo>
                      <a:pt x="1214" y="1674"/>
                    </a:lnTo>
                    <a:lnTo>
                      <a:pt x="1256" y="1569"/>
                    </a:lnTo>
                    <a:lnTo>
                      <a:pt x="1235" y="1486"/>
                    </a:lnTo>
                    <a:lnTo>
                      <a:pt x="1256" y="1423"/>
                    </a:lnTo>
                    <a:lnTo>
                      <a:pt x="1256" y="1277"/>
                    </a:lnTo>
                    <a:lnTo>
                      <a:pt x="1235" y="1214"/>
                    </a:lnTo>
                    <a:lnTo>
                      <a:pt x="1256" y="1109"/>
                    </a:lnTo>
                    <a:lnTo>
                      <a:pt x="1152" y="1046"/>
                    </a:lnTo>
                    <a:lnTo>
                      <a:pt x="1089" y="795"/>
                    </a:lnTo>
                    <a:lnTo>
                      <a:pt x="1005" y="628"/>
                    </a:lnTo>
                    <a:lnTo>
                      <a:pt x="900" y="628"/>
                    </a:lnTo>
                    <a:lnTo>
                      <a:pt x="900" y="586"/>
                    </a:lnTo>
                    <a:lnTo>
                      <a:pt x="796" y="586"/>
                    </a:lnTo>
                    <a:lnTo>
                      <a:pt x="921" y="544"/>
                    </a:lnTo>
                    <a:lnTo>
                      <a:pt x="900" y="481"/>
                    </a:lnTo>
                    <a:lnTo>
                      <a:pt x="838" y="461"/>
                    </a:lnTo>
                    <a:lnTo>
                      <a:pt x="775" y="335"/>
                    </a:lnTo>
                    <a:lnTo>
                      <a:pt x="712" y="335"/>
                    </a:lnTo>
                    <a:lnTo>
                      <a:pt x="691" y="230"/>
                    </a:lnTo>
                    <a:lnTo>
                      <a:pt x="670" y="168"/>
                    </a:lnTo>
                    <a:lnTo>
                      <a:pt x="670" y="126"/>
                    </a:lnTo>
                    <a:lnTo>
                      <a:pt x="482" y="42"/>
                    </a:lnTo>
                    <a:lnTo>
                      <a:pt x="461" y="105"/>
                    </a:lnTo>
                    <a:lnTo>
                      <a:pt x="377" y="63"/>
                    </a:lnTo>
                    <a:lnTo>
                      <a:pt x="398" y="21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9" name="Google Shape;879;p34"/>
              <p:cNvSpPr/>
              <p:nvPr/>
            </p:nvSpPr>
            <p:spPr>
              <a:xfrm>
                <a:off x="4844400" y="3099950"/>
                <a:ext cx="5250" cy="4725"/>
              </a:xfrm>
              <a:custGeom>
                <a:avLst/>
                <a:gdLst/>
                <a:ahLst/>
                <a:cxnLst/>
                <a:rect l="l" t="t" r="r" b="b"/>
                <a:pathLst>
                  <a:path w="210" h="189" extrusionOk="0">
                    <a:moveTo>
                      <a:pt x="189" y="0"/>
                    </a:moveTo>
                    <a:lnTo>
                      <a:pt x="0" y="42"/>
                    </a:lnTo>
                    <a:lnTo>
                      <a:pt x="0" y="105"/>
                    </a:lnTo>
                    <a:lnTo>
                      <a:pt x="126" y="188"/>
                    </a:lnTo>
                    <a:lnTo>
                      <a:pt x="126" y="147"/>
                    </a:lnTo>
                    <a:lnTo>
                      <a:pt x="168" y="147"/>
                    </a:lnTo>
                    <a:lnTo>
                      <a:pt x="210" y="42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0" name="Google Shape;880;p34"/>
              <p:cNvSpPr/>
              <p:nvPr/>
            </p:nvSpPr>
            <p:spPr>
              <a:xfrm>
                <a:off x="4849625" y="3101500"/>
                <a:ext cx="787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315" h="252" extrusionOk="0">
                    <a:moveTo>
                      <a:pt x="43" y="1"/>
                    </a:moveTo>
                    <a:lnTo>
                      <a:pt x="43" y="43"/>
                    </a:lnTo>
                    <a:lnTo>
                      <a:pt x="84" y="85"/>
                    </a:lnTo>
                    <a:lnTo>
                      <a:pt x="1" y="85"/>
                    </a:lnTo>
                    <a:lnTo>
                      <a:pt x="1" y="105"/>
                    </a:lnTo>
                    <a:lnTo>
                      <a:pt x="126" y="147"/>
                    </a:lnTo>
                    <a:lnTo>
                      <a:pt x="189" y="210"/>
                    </a:lnTo>
                    <a:lnTo>
                      <a:pt x="273" y="210"/>
                    </a:lnTo>
                    <a:lnTo>
                      <a:pt x="315" y="252"/>
                    </a:lnTo>
                    <a:lnTo>
                      <a:pt x="294" y="210"/>
                    </a:lnTo>
                    <a:lnTo>
                      <a:pt x="168" y="105"/>
                    </a:lnTo>
                    <a:lnTo>
                      <a:pt x="168" y="22"/>
                    </a:lnTo>
                    <a:lnTo>
                      <a:pt x="43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81" name="Google Shape;881;p34"/>
            <p:cNvSpPr/>
            <p:nvPr/>
          </p:nvSpPr>
          <p:spPr>
            <a:xfrm>
              <a:off x="4210500" y="2911903"/>
              <a:ext cx="193104" cy="180152"/>
            </a:xfrm>
            <a:custGeom>
              <a:avLst/>
              <a:gdLst/>
              <a:ahLst/>
              <a:cxnLst/>
              <a:rect l="l" t="t" r="r" b="b"/>
              <a:pathLst>
                <a:path w="16217" h="15841" extrusionOk="0">
                  <a:moveTo>
                    <a:pt x="6906" y="15150"/>
                  </a:moveTo>
                  <a:lnTo>
                    <a:pt x="6927" y="15212"/>
                  </a:lnTo>
                  <a:lnTo>
                    <a:pt x="6927" y="15171"/>
                  </a:lnTo>
                  <a:lnTo>
                    <a:pt x="6906" y="15150"/>
                  </a:lnTo>
                  <a:close/>
                  <a:moveTo>
                    <a:pt x="3997" y="1"/>
                  </a:moveTo>
                  <a:lnTo>
                    <a:pt x="3914" y="147"/>
                  </a:lnTo>
                  <a:lnTo>
                    <a:pt x="3788" y="147"/>
                  </a:lnTo>
                  <a:lnTo>
                    <a:pt x="3600" y="294"/>
                  </a:lnTo>
                  <a:lnTo>
                    <a:pt x="3453" y="587"/>
                  </a:lnTo>
                  <a:lnTo>
                    <a:pt x="3391" y="629"/>
                  </a:lnTo>
                  <a:lnTo>
                    <a:pt x="3286" y="733"/>
                  </a:lnTo>
                  <a:lnTo>
                    <a:pt x="3223" y="733"/>
                  </a:lnTo>
                  <a:lnTo>
                    <a:pt x="3119" y="817"/>
                  </a:lnTo>
                  <a:lnTo>
                    <a:pt x="3014" y="838"/>
                  </a:lnTo>
                  <a:lnTo>
                    <a:pt x="2826" y="1026"/>
                  </a:lnTo>
                  <a:lnTo>
                    <a:pt x="2846" y="1089"/>
                  </a:lnTo>
                  <a:lnTo>
                    <a:pt x="2930" y="1298"/>
                  </a:lnTo>
                  <a:lnTo>
                    <a:pt x="2867" y="1570"/>
                  </a:lnTo>
                  <a:lnTo>
                    <a:pt x="2867" y="1717"/>
                  </a:lnTo>
                  <a:lnTo>
                    <a:pt x="2763" y="1779"/>
                  </a:lnTo>
                  <a:lnTo>
                    <a:pt x="2616" y="1968"/>
                  </a:lnTo>
                  <a:lnTo>
                    <a:pt x="2700" y="2031"/>
                  </a:lnTo>
                  <a:lnTo>
                    <a:pt x="2700" y="2135"/>
                  </a:lnTo>
                  <a:lnTo>
                    <a:pt x="2637" y="2261"/>
                  </a:lnTo>
                  <a:lnTo>
                    <a:pt x="2428" y="2365"/>
                  </a:lnTo>
                  <a:lnTo>
                    <a:pt x="2323" y="2554"/>
                  </a:lnTo>
                  <a:lnTo>
                    <a:pt x="2302" y="2721"/>
                  </a:lnTo>
                  <a:lnTo>
                    <a:pt x="2219" y="2867"/>
                  </a:lnTo>
                  <a:lnTo>
                    <a:pt x="1968" y="3035"/>
                  </a:lnTo>
                  <a:lnTo>
                    <a:pt x="1863" y="3391"/>
                  </a:lnTo>
                  <a:lnTo>
                    <a:pt x="1675" y="3600"/>
                  </a:lnTo>
                  <a:lnTo>
                    <a:pt x="1361" y="3600"/>
                  </a:lnTo>
                  <a:lnTo>
                    <a:pt x="1152" y="3725"/>
                  </a:lnTo>
                  <a:lnTo>
                    <a:pt x="1068" y="3704"/>
                  </a:lnTo>
                  <a:lnTo>
                    <a:pt x="1047" y="3600"/>
                  </a:lnTo>
                  <a:lnTo>
                    <a:pt x="922" y="3537"/>
                  </a:lnTo>
                  <a:lnTo>
                    <a:pt x="838" y="3600"/>
                  </a:lnTo>
                  <a:lnTo>
                    <a:pt x="733" y="3642"/>
                  </a:lnTo>
                  <a:lnTo>
                    <a:pt x="691" y="3746"/>
                  </a:lnTo>
                  <a:lnTo>
                    <a:pt x="545" y="3956"/>
                  </a:lnTo>
                  <a:lnTo>
                    <a:pt x="461" y="3976"/>
                  </a:lnTo>
                  <a:lnTo>
                    <a:pt x="357" y="4228"/>
                  </a:lnTo>
                  <a:lnTo>
                    <a:pt x="357" y="4374"/>
                  </a:lnTo>
                  <a:lnTo>
                    <a:pt x="461" y="4353"/>
                  </a:lnTo>
                  <a:lnTo>
                    <a:pt x="608" y="4395"/>
                  </a:lnTo>
                  <a:lnTo>
                    <a:pt x="670" y="4374"/>
                  </a:lnTo>
                  <a:lnTo>
                    <a:pt x="775" y="4374"/>
                  </a:lnTo>
                  <a:lnTo>
                    <a:pt x="859" y="4562"/>
                  </a:lnTo>
                  <a:lnTo>
                    <a:pt x="838" y="4688"/>
                  </a:lnTo>
                  <a:lnTo>
                    <a:pt x="859" y="4897"/>
                  </a:lnTo>
                  <a:lnTo>
                    <a:pt x="1068" y="5023"/>
                  </a:lnTo>
                  <a:lnTo>
                    <a:pt x="1173" y="5023"/>
                  </a:lnTo>
                  <a:lnTo>
                    <a:pt x="1256" y="5085"/>
                  </a:lnTo>
                  <a:lnTo>
                    <a:pt x="1214" y="5169"/>
                  </a:lnTo>
                  <a:lnTo>
                    <a:pt x="1340" y="5316"/>
                  </a:lnTo>
                  <a:lnTo>
                    <a:pt x="1466" y="5692"/>
                  </a:lnTo>
                  <a:lnTo>
                    <a:pt x="1445" y="5755"/>
                  </a:lnTo>
                  <a:lnTo>
                    <a:pt x="1486" y="5818"/>
                  </a:lnTo>
                  <a:lnTo>
                    <a:pt x="1382" y="5860"/>
                  </a:lnTo>
                  <a:lnTo>
                    <a:pt x="1256" y="5943"/>
                  </a:lnTo>
                  <a:lnTo>
                    <a:pt x="1194" y="5860"/>
                  </a:lnTo>
                  <a:lnTo>
                    <a:pt x="1256" y="5797"/>
                  </a:lnTo>
                  <a:lnTo>
                    <a:pt x="1256" y="5797"/>
                  </a:lnTo>
                  <a:lnTo>
                    <a:pt x="1131" y="5818"/>
                  </a:lnTo>
                  <a:lnTo>
                    <a:pt x="1068" y="5860"/>
                  </a:lnTo>
                  <a:lnTo>
                    <a:pt x="838" y="5964"/>
                  </a:lnTo>
                  <a:lnTo>
                    <a:pt x="440" y="5943"/>
                  </a:lnTo>
                  <a:lnTo>
                    <a:pt x="336" y="6006"/>
                  </a:lnTo>
                  <a:lnTo>
                    <a:pt x="252" y="5964"/>
                  </a:lnTo>
                  <a:lnTo>
                    <a:pt x="210" y="6111"/>
                  </a:lnTo>
                  <a:lnTo>
                    <a:pt x="126" y="6132"/>
                  </a:lnTo>
                  <a:lnTo>
                    <a:pt x="22" y="6215"/>
                  </a:lnTo>
                  <a:lnTo>
                    <a:pt x="1" y="6362"/>
                  </a:lnTo>
                  <a:lnTo>
                    <a:pt x="168" y="6257"/>
                  </a:lnTo>
                  <a:lnTo>
                    <a:pt x="336" y="6236"/>
                  </a:lnTo>
                  <a:lnTo>
                    <a:pt x="210" y="6320"/>
                  </a:lnTo>
                  <a:lnTo>
                    <a:pt x="106" y="6445"/>
                  </a:lnTo>
                  <a:lnTo>
                    <a:pt x="85" y="6571"/>
                  </a:lnTo>
                  <a:lnTo>
                    <a:pt x="147" y="6592"/>
                  </a:lnTo>
                  <a:lnTo>
                    <a:pt x="336" y="6780"/>
                  </a:lnTo>
                  <a:lnTo>
                    <a:pt x="691" y="6906"/>
                  </a:lnTo>
                  <a:lnTo>
                    <a:pt x="817" y="6885"/>
                  </a:lnTo>
                  <a:lnTo>
                    <a:pt x="963" y="6885"/>
                  </a:lnTo>
                  <a:lnTo>
                    <a:pt x="1194" y="6780"/>
                  </a:lnTo>
                  <a:lnTo>
                    <a:pt x="1194" y="6738"/>
                  </a:lnTo>
                  <a:lnTo>
                    <a:pt x="1194" y="6697"/>
                  </a:lnTo>
                  <a:lnTo>
                    <a:pt x="1214" y="6697"/>
                  </a:lnTo>
                  <a:lnTo>
                    <a:pt x="1340" y="6738"/>
                  </a:lnTo>
                  <a:lnTo>
                    <a:pt x="1298" y="6843"/>
                  </a:lnTo>
                  <a:lnTo>
                    <a:pt x="1256" y="6843"/>
                  </a:lnTo>
                  <a:lnTo>
                    <a:pt x="1152" y="6989"/>
                  </a:lnTo>
                  <a:lnTo>
                    <a:pt x="1068" y="6989"/>
                  </a:lnTo>
                  <a:lnTo>
                    <a:pt x="838" y="7178"/>
                  </a:lnTo>
                  <a:lnTo>
                    <a:pt x="838" y="7220"/>
                  </a:lnTo>
                  <a:lnTo>
                    <a:pt x="754" y="7199"/>
                  </a:lnTo>
                  <a:lnTo>
                    <a:pt x="733" y="7199"/>
                  </a:lnTo>
                  <a:lnTo>
                    <a:pt x="650" y="7261"/>
                  </a:lnTo>
                  <a:lnTo>
                    <a:pt x="566" y="7220"/>
                  </a:lnTo>
                  <a:lnTo>
                    <a:pt x="566" y="7115"/>
                  </a:lnTo>
                  <a:lnTo>
                    <a:pt x="503" y="7115"/>
                  </a:lnTo>
                  <a:lnTo>
                    <a:pt x="461" y="7094"/>
                  </a:lnTo>
                  <a:lnTo>
                    <a:pt x="419" y="7094"/>
                  </a:lnTo>
                  <a:lnTo>
                    <a:pt x="398" y="7178"/>
                  </a:lnTo>
                  <a:lnTo>
                    <a:pt x="419" y="7261"/>
                  </a:lnTo>
                  <a:lnTo>
                    <a:pt x="650" y="7492"/>
                  </a:lnTo>
                  <a:lnTo>
                    <a:pt x="733" y="7533"/>
                  </a:lnTo>
                  <a:lnTo>
                    <a:pt x="775" y="7533"/>
                  </a:lnTo>
                  <a:lnTo>
                    <a:pt x="817" y="7575"/>
                  </a:lnTo>
                  <a:lnTo>
                    <a:pt x="984" y="7826"/>
                  </a:lnTo>
                  <a:lnTo>
                    <a:pt x="1403" y="8161"/>
                  </a:lnTo>
                  <a:lnTo>
                    <a:pt x="1612" y="8224"/>
                  </a:lnTo>
                  <a:lnTo>
                    <a:pt x="1779" y="8161"/>
                  </a:lnTo>
                  <a:lnTo>
                    <a:pt x="2072" y="7994"/>
                  </a:lnTo>
                  <a:lnTo>
                    <a:pt x="2261" y="7889"/>
                  </a:lnTo>
                  <a:lnTo>
                    <a:pt x="2261" y="7826"/>
                  </a:lnTo>
                  <a:lnTo>
                    <a:pt x="2344" y="7722"/>
                  </a:lnTo>
                  <a:lnTo>
                    <a:pt x="2386" y="7513"/>
                  </a:lnTo>
                  <a:lnTo>
                    <a:pt x="2302" y="7408"/>
                  </a:lnTo>
                  <a:lnTo>
                    <a:pt x="2386" y="7199"/>
                  </a:lnTo>
                  <a:lnTo>
                    <a:pt x="2386" y="7094"/>
                  </a:lnTo>
                  <a:lnTo>
                    <a:pt x="2407" y="7010"/>
                  </a:lnTo>
                  <a:lnTo>
                    <a:pt x="2428" y="7094"/>
                  </a:lnTo>
                  <a:lnTo>
                    <a:pt x="2595" y="7094"/>
                  </a:lnTo>
                  <a:lnTo>
                    <a:pt x="2637" y="7115"/>
                  </a:lnTo>
                  <a:lnTo>
                    <a:pt x="2742" y="7073"/>
                  </a:lnTo>
                  <a:lnTo>
                    <a:pt x="2721" y="7115"/>
                  </a:lnTo>
                  <a:lnTo>
                    <a:pt x="2616" y="7220"/>
                  </a:lnTo>
                  <a:lnTo>
                    <a:pt x="2533" y="7199"/>
                  </a:lnTo>
                  <a:lnTo>
                    <a:pt x="2512" y="7220"/>
                  </a:lnTo>
                  <a:lnTo>
                    <a:pt x="2491" y="7366"/>
                  </a:lnTo>
                  <a:lnTo>
                    <a:pt x="2533" y="7429"/>
                  </a:lnTo>
                  <a:lnTo>
                    <a:pt x="2533" y="7533"/>
                  </a:lnTo>
                  <a:lnTo>
                    <a:pt x="2595" y="7575"/>
                  </a:lnTo>
                  <a:lnTo>
                    <a:pt x="2742" y="7533"/>
                  </a:lnTo>
                  <a:lnTo>
                    <a:pt x="2826" y="7575"/>
                  </a:lnTo>
                  <a:lnTo>
                    <a:pt x="2742" y="7575"/>
                  </a:lnTo>
                  <a:lnTo>
                    <a:pt x="2700" y="7617"/>
                  </a:lnTo>
                  <a:lnTo>
                    <a:pt x="2554" y="7701"/>
                  </a:lnTo>
                  <a:lnTo>
                    <a:pt x="2616" y="7952"/>
                  </a:lnTo>
                  <a:lnTo>
                    <a:pt x="2700" y="8015"/>
                  </a:lnTo>
                  <a:lnTo>
                    <a:pt x="2742" y="8203"/>
                  </a:lnTo>
                  <a:lnTo>
                    <a:pt x="2742" y="8349"/>
                  </a:lnTo>
                  <a:lnTo>
                    <a:pt x="2700" y="8475"/>
                  </a:lnTo>
                  <a:lnTo>
                    <a:pt x="2700" y="8580"/>
                  </a:lnTo>
                  <a:lnTo>
                    <a:pt x="2784" y="8642"/>
                  </a:lnTo>
                  <a:lnTo>
                    <a:pt x="2700" y="8684"/>
                  </a:lnTo>
                  <a:lnTo>
                    <a:pt x="2721" y="8873"/>
                  </a:lnTo>
                  <a:lnTo>
                    <a:pt x="2867" y="9186"/>
                  </a:lnTo>
                  <a:lnTo>
                    <a:pt x="2909" y="9291"/>
                  </a:lnTo>
                  <a:lnTo>
                    <a:pt x="2951" y="9375"/>
                  </a:lnTo>
                  <a:lnTo>
                    <a:pt x="2867" y="9396"/>
                  </a:lnTo>
                  <a:lnTo>
                    <a:pt x="2867" y="9521"/>
                  </a:lnTo>
                  <a:lnTo>
                    <a:pt x="3035" y="9730"/>
                  </a:lnTo>
                  <a:lnTo>
                    <a:pt x="2909" y="9730"/>
                  </a:lnTo>
                  <a:lnTo>
                    <a:pt x="3035" y="9919"/>
                  </a:lnTo>
                  <a:lnTo>
                    <a:pt x="3035" y="10086"/>
                  </a:lnTo>
                  <a:lnTo>
                    <a:pt x="3265" y="10546"/>
                  </a:lnTo>
                  <a:lnTo>
                    <a:pt x="3265" y="10860"/>
                  </a:lnTo>
                  <a:lnTo>
                    <a:pt x="3370" y="11132"/>
                  </a:lnTo>
                  <a:lnTo>
                    <a:pt x="3453" y="11174"/>
                  </a:lnTo>
                  <a:lnTo>
                    <a:pt x="3495" y="11342"/>
                  </a:lnTo>
                  <a:lnTo>
                    <a:pt x="3579" y="11383"/>
                  </a:lnTo>
                  <a:lnTo>
                    <a:pt x="3579" y="11467"/>
                  </a:lnTo>
                  <a:lnTo>
                    <a:pt x="3704" y="11697"/>
                  </a:lnTo>
                  <a:lnTo>
                    <a:pt x="3767" y="11718"/>
                  </a:lnTo>
                  <a:lnTo>
                    <a:pt x="3767" y="11781"/>
                  </a:lnTo>
                  <a:lnTo>
                    <a:pt x="3893" y="11969"/>
                  </a:lnTo>
                  <a:lnTo>
                    <a:pt x="3955" y="11969"/>
                  </a:lnTo>
                  <a:lnTo>
                    <a:pt x="3955" y="12178"/>
                  </a:lnTo>
                  <a:lnTo>
                    <a:pt x="3997" y="12241"/>
                  </a:lnTo>
                  <a:lnTo>
                    <a:pt x="4081" y="12388"/>
                  </a:lnTo>
                  <a:lnTo>
                    <a:pt x="4102" y="12555"/>
                  </a:lnTo>
                  <a:lnTo>
                    <a:pt x="4207" y="12827"/>
                  </a:lnTo>
                  <a:lnTo>
                    <a:pt x="4269" y="12932"/>
                  </a:lnTo>
                  <a:lnTo>
                    <a:pt x="4290" y="13162"/>
                  </a:lnTo>
                  <a:lnTo>
                    <a:pt x="4332" y="13225"/>
                  </a:lnTo>
                  <a:lnTo>
                    <a:pt x="4416" y="13371"/>
                  </a:lnTo>
                  <a:lnTo>
                    <a:pt x="4583" y="13539"/>
                  </a:lnTo>
                  <a:lnTo>
                    <a:pt x="4604" y="13539"/>
                  </a:lnTo>
                  <a:lnTo>
                    <a:pt x="4709" y="13685"/>
                  </a:lnTo>
                  <a:lnTo>
                    <a:pt x="4876" y="13894"/>
                  </a:lnTo>
                  <a:lnTo>
                    <a:pt x="4939" y="14083"/>
                  </a:lnTo>
                  <a:lnTo>
                    <a:pt x="5002" y="14229"/>
                  </a:lnTo>
                  <a:lnTo>
                    <a:pt x="5043" y="14271"/>
                  </a:lnTo>
                  <a:lnTo>
                    <a:pt x="5043" y="14375"/>
                  </a:lnTo>
                  <a:lnTo>
                    <a:pt x="5169" y="14606"/>
                  </a:lnTo>
                  <a:lnTo>
                    <a:pt x="5232" y="14815"/>
                  </a:lnTo>
                  <a:lnTo>
                    <a:pt x="5232" y="15045"/>
                  </a:lnTo>
                  <a:lnTo>
                    <a:pt x="5441" y="15484"/>
                  </a:lnTo>
                  <a:lnTo>
                    <a:pt x="5629" y="15673"/>
                  </a:lnTo>
                  <a:lnTo>
                    <a:pt x="5776" y="15798"/>
                  </a:lnTo>
                  <a:lnTo>
                    <a:pt x="5985" y="15840"/>
                  </a:lnTo>
                  <a:lnTo>
                    <a:pt x="6194" y="15673"/>
                  </a:lnTo>
                  <a:lnTo>
                    <a:pt x="6257" y="15547"/>
                  </a:lnTo>
                  <a:lnTo>
                    <a:pt x="6215" y="15484"/>
                  </a:lnTo>
                  <a:lnTo>
                    <a:pt x="6257" y="15464"/>
                  </a:lnTo>
                  <a:lnTo>
                    <a:pt x="6278" y="15422"/>
                  </a:lnTo>
                  <a:lnTo>
                    <a:pt x="6320" y="15317"/>
                  </a:lnTo>
                  <a:lnTo>
                    <a:pt x="6529" y="15212"/>
                  </a:lnTo>
                  <a:lnTo>
                    <a:pt x="6571" y="15212"/>
                  </a:lnTo>
                  <a:lnTo>
                    <a:pt x="6822" y="15129"/>
                  </a:lnTo>
                  <a:lnTo>
                    <a:pt x="6906" y="15150"/>
                  </a:lnTo>
                  <a:lnTo>
                    <a:pt x="6717" y="15045"/>
                  </a:lnTo>
                  <a:lnTo>
                    <a:pt x="6696" y="14961"/>
                  </a:lnTo>
                  <a:lnTo>
                    <a:pt x="6738" y="14919"/>
                  </a:lnTo>
                  <a:lnTo>
                    <a:pt x="6906" y="14710"/>
                  </a:lnTo>
                  <a:lnTo>
                    <a:pt x="6885" y="14647"/>
                  </a:lnTo>
                  <a:lnTo>
                    <a:pt x="6927" y="14543"/>
                  </a:lnTo>
                  <a:lnTo>
                    <a:pt x="7094" y="14522"/>
                  </a:lnTo>
                  <a:lnTo>
                    <a:pt x="7136" y="14543"/>
                  </a:lnTo>
                  <a:lnTo>
                    <a:pt x="7261" y="14522"/>
                  </a:lnTo>
                  <a:lnTo>
                    <a:pt x="7261" y="14375"/>
                  </a:lnTo>
                  <a:lnTo>
                    <a:pt x="7220" y="13894"/>
                  </a:lnTo>
                  <a:lnTo>
                    <a:pt x="7157" y="13811"/>
                  </a:lnTo>
                  <a:lnTo>
                    <a:pt x="7157" y="13580"/>
                  </a:lnTo>
                  <a:lnTo>
                    <a:pt x="7303" y="13329"/>
                  </a:lnTo>
                  <a:lnTo>
                    <a:pt x="7429" y="12953"/>
                  </a:lnTo>
                  <a:lnTo>
                    <a:pt x="7429" y="12660"/>
                  </a:lnTo>
                  <a:lnTo>
                    <a:pt x="7261" y="12618"/>
                  </a:lnTo>
                  <a:lnTo>
                    <a:pt x="7261" y="12178"/>
                  </a:lnTo>
                  <a:lnTo>
                    <a:pt x="7240" y="12011"/>
                  </a:lnTo>
                  <a:lnTo>
                    <a:pt x="7345" y="11906"/>
                  </a:lnTo>
                  <a:lnTo>
                    <a:pt x="7240" y="11614"/>
                  </a:lnTo>
                  <a:lnTo>
                    <a:pt x="7240" y="11404"/>
                  </a:lnTo>
                  <a:lnTo>
                    <a:pt x="7303" y="11300"/>
                  </a:lnTo>
                  <a:lnTo>
                    <a:pt x="7492" y="11132"/>
                  </a:lnTo>
                  <a:lnTo>
                    <a:pt x="7533" y="11132"/>
                  </a:lnTo>
                  <a:lnTo>
                    <a:pt x="7617" y="11195"/>
                  </a:lnTo>
                  <a:lnTo>
                    <a:pt x="7680" y="11237"/>
                  </a:lnTo>
                  <a:lnTo>
                    <a:pt x="7847" y="11028"/>
                  </a:lnTo>
                  <a:lnTo>
                    <a:pt x="7847" y="10881"/>
                  </a:lnTo>
                  <a:lnTo>
                    <a:pt x="7952" y="10818"/>
                  </a:lnTo>
                  <a:lnTo>
                    <a:pt x="8203" y="10839"/>
                  </a:lnTo>
                  <a:lnTo>
                    <a:pt x="8349" y="10756"/>
                  </a:lnTo>
                  <a:lnTo>
                    <a:pt x="8454" y="10609"/>
                  </a:lnTo>
                  <a:lnTo>
                    <a:pt x="8412" y="10463"/>
                  </a:lnTo>
                  <a:lnTo>
                    <a:pt x="8454" y="10358"/>
                  </a:lnTo>
                  <a:lnTo>
                    <a:pt x="8600" y="10212"/>
                  </a:lnTo>
                  <a:lnTo>
                    <a:pt x="8810" y="10149"/>
                  </a:lnTo>
                  <a:lnTo>
                    <a:pt x="8935" y="10023"/>
                  </a:lnTo>
                  <a:lnTo>
                    <a:pt x="9019" y="9877"/>
                  </a:lnTo>
                  <a:lnTo>
                    <a:pt x="9542" y="9479"/>
                  </a:lnTo>
                  <a:lnTo>
                    <a:pt x="9626" y="9186"/>
                  </a:lnTo>
                  <a:lnTo>
                    <a:pt x="10023" y="8852"/>
                  </a:lnTo>
                  <a:lnTo>
                    <a:pt x="9961" y="8831"/>
                  </a:lnTo>
                  <a:lnTo>
                    <a:pt x="9940" y="8852"/>
                  </a:lnTo>
                  <a:lnTo>
                    <a:pt x="9856" y="8893"/>
                  </a:lnTo>
                  <a:lnTo>
                    <a:pt x="9877" y="8747"/>
                  </a:lnTo>
                  <a:lnTo>
                    <a:pt x="9940" y="8747"/>
                  </a:lnTo>
                  <a:lnTo>
                    <a:pt x="10044" y="8663"/>
                  </a:lnTo>
                  <a:lnTo>
                    <a:pt x="10065" y="8663"/>
                  </a:lnTo>
                  <a:lnTo>
                    <a:pt x="10086" y="8684"/>
                  </a:lnTo>
                  <a:lnTo>
                    <a:pt x="10086" y="8747"/>
                  </a:lnTo>
                  <a:lnTo>
                    <a:pt x="10149" y="8789"/>
                  </a:lnTo>
                  <a:lnTo>
                    <a:pt x="10463" y="8621"/>
                  </a:lnTo>
                  <a:lnTo>
                    <a:pt x="10463" y="8559"/>
                  </a:lnTo>
                  <a:lnTo>
                    <a:pt x="10672" y="8412"/>
                  </a:lnTo>
                  <a:lnTo>
                    <a:pt x="10630" y="8329"/>
                  </a:lnTo>
                  <a:lnTo>
                    <a:pt x="10714" y="8329"/>
                  </a:lnTo>
                  <a:lnTo>
                    <a:pt x="10756" y="8224"/>
                  </a:lnTo>
                  <a:lnTo>
                    <a:pt x="10881" y="8119"/>
                  </a:lnTo>
                  <a:lnTo>
                    <a:pt x="10818" y="8098"/>
                  </a:lnTo>
                  <a:lnTo>
                    <a:pt x="10860" y="8057"/>
                  </a:lnTo>
                  <a:lnTo>
                    <a:pt x="10777" y="7931"/>
                  </a:lnTo>
                  <a:lnTo>
                    <a:pt x="10777" y="7847"/>
                  </a:lnTo>
                  <a:lnTo>
                    <a:pt x="10818" y="7743"/>
                  </a:lnTo>
                  <a:lnTo>
                    <a:pt x="10860" y="7680"/>
                  </a:lnTo>
                  <a:lnTo>
                    <a:pt x="10902" y="7617"/>
                  </a:lnTo>
                  <a:lnTo>
                    <a:pt x="11279" y="7492"/>
                  </a:lnTo>
                  <a:lnTo>
                    <a:pt x="11341" y="7387"/>
                  </a:lnTo>
                  <a:lnTo>
                    <a:pt x="11341" y="7303"/>
                  </a:lnTo>
                  <a:lnTo>
                    <a:pt x="11404" y="7220"/>
                  </a:lnTo>
                  <a:lnTo>
                    <a:pt x="11425" y="7178"/>
                  </a:lnTo>
                  <a:lnTo>
                    <a:pt x="11383" y="7115"/>
                  </a:lnTo>
                  <a:lnTo>
                    <a:pt x="11321" y="7115"/>
                  </a:lnTo>
                  <a:lnTo>
                    <a:pt x="11300" y="7073"/>
                  </a:lnTo>
                  <a:lnTo>
                    <a:pt x="11404" y="7073"/>
                  </a:lnTo>
                  <a:lnTo>
                    <a:pt x="11488" y="7157"/>
                  </a:lnTo>
                  <a:lnTo>
                    <a:pt x="11488" y="7261"/>
                  </a:lnTo>
                  <a:lnTo>
                    <a:pt x="11509" y="7387"/>
                  </a:lnTo>
                  <a:lnTo>
                    <a:pt x="11593" y="7408"/>
                  </a:lnTo>
                  <a:lnTo>
                    <a:pt x="11676" y="7408"/>
                  </a:lnTo>
                  <a:lnTo>
                    <a:pt x="11718" y="7366"/>
                  </a:lnTo>
                  <a:lnTo>
                    <a:pt x="11739" y="7387"/>
                  </a:lnTo>
                  <a:lnTo>
                    <a:pt x="11739" y="7324"/>
                  </a:lnTo>
                  <a:lnTo>
                    <a:pt x="11760" y="7282"/>
                  </a:lnTo>
                  <a:lnTo>
                    <a:pt x="11802" y="7324"/>
                  </a:lnTo>
                  <a:lnTo>
                    <a:pt x="11823" y="7492"/>
                  </a:lnTo>
                  <a:lnTo>
                    <a:pt x="11906" y="7513"/>
                  </a:lnTo>
                  <a:lnTo>
                    <a:pt x="11906" y="7429"/>
                  </a:lnTo>
                  <a:lnTo>
                    <a:pt x="11969" y="7533"/>
                  </a:lnTo>
                  <a:lnTo>
                    <a:pt x="12032" y="7429"/>
                  </a:lnTo>
                  <a:lnTo>
                    <a:pt x="11969" y="7303"/>
                  </a:lnTo>
                  <a:lnTo>
                    <a:pt x="12011" y="7303"/>
                  </a:lnTo>
                  <a:lnTo>
                    <a:pt x="11969" y="7115"/>
                  </a:lnTo>
                  <a:lnTo>
                    <a:pt x="11948" y="7010"/>
                  </a:lnTo>
                  <a:lnTo>
                    <a:pt x="11948" y="6864"/>
                  </a:lnTo>
                  <a:lnTo>
                    <a:pt x="11760" y="6634"/>
                  </a:lnTo>
                  <a:lnTo>
                    <a:pt x="11739" y="6445"/>
                  </a:lnTo>
                  <a:lnTo>
                    <a:pt x="11760" y="6341"/>
                  </a:lnTo>
                  <a:lnTo>
                    <a:pt x="11718" y="6215"/>
                  </a:lnTo>
                  <a:lnTo>
                    <a:pt x="11718" y="6027"/>
                  </a:lnTo>
                  <a:lnTo>
                    <a:pt x="11551" y="5839"/>
                  </a:lnTo>
                  <a:lnTo>
                    <a:pt x="11425" y="5797"/>
                  </a:lnTo>
                  <a:lnTo>
                    <a:pt x="11300" y="5629"/>
                  </a:lnTo>
                  <a:lnTo>
                    <a:pt x="11300" y="5399"/>
                  </a:lnTo>
                  <a:lnTo>
                    <a:pt x="11404" y="5378"/>
                  </a:lnTo>
                  <a:lnTo>
                    <a:pt x="11446" y="5211"/>
                  </a:lnTo>
                  <a:lnTo>
                    <a:pt x="11530" y="5169"/>
                  </a:lnTo>
                  <a:lnTo>
                    <a:pt x="11613" y="5190"/>
                  </a:lnTo>
                  <a:lnTo>
                    <a:pt x="11676" y="5127"/>
                  </a:lnTo>
                  <a:lnTo>
                    <a:pt x="11634" y="4981"/>
                  </a:lnTo>
                  <a:lnTo>
                    <a:pt x="11655" y="4918"/>
                  </a:lnTo>
                  <a:lnTo>
                    <a:pt x="11530" y="4897"/>
                  </a:lnTo>
                  <a:lnTo>
                    <a:pt x="11425" y="4960"/>
                  </a:lnTo>
                  <a:lnTo>
                    <a:pt x="11132" y="4855"/>
                  </a:lnTo>
                  <a:lnTo>
                    <a:pt x="11153" y="4709"/>
                  </a:lnTo>
                  <a:lnTo>
                    <a:pt x="11279" y="4583"/>
                  </a:lnTo>
                  <a:lnTo>
                    <a:pt x="11321" y="4437"/>
                  </a:lnTo>
                  <a:lnTo>
                    <a:pt x="11279" y="4374"/>
                  </a:lnTo>
                  <a:lnTo>
                    <a:pt x="11279" y="4290"/>
                  </a:lnTo>
                  <a:lnTo>
                    <a:pt x="11321" y="4290"/>
                  </a:lnTo>
                  <a:lnTo>
                    <a:pt x="11341" y="4228"/>
                  </a:lnTo>
                  <a:lnTo>
                    <a:pt x="11404" y="4269"/>
                  </a:lnTo>
                  <a:lnTo>
                    <a:pt x="11488" y="4374"/>
                  </a:lnTo>
                  <a:lnTo>
                    <a:pt x="11488" y="4437"/>
                  </a:lnTo>
                  <a:lnTo>
                    <a:pt x="11551" y="4541"/>
                  </a:lnTo>
                  <a:lnTo>
                    <a:pt x="11676" y="4562"/>
                  </a:lnTo>
                  <a:lnTo>
                    <a:pt x="11739" y="4541"/>
                  </a:lnTo>
                  <a:lnTo>
                    <a:pt x="11655" y="4479"/>
                  </a:lnTo>
                  <a:lnTo>
                    <a:pt x="11676" y="4395"/>
                  </a:lnTo>
                  <a:lnTo>
                    <a:pt x="11739" y="4395"/>
                  </a:lnTo>
                  <a:lnTo>
                    <a:pt x="11823" y="4479"/>
                  </a:lnTo>
                  <a:lnTo>
                    <a:pt x="11865" y="4541"/>
                  </a:lnTo>
                  <a:lnTo>
                    <a:pt x="11969" y="4583"/>
                  </a:lnTo>
                  <a:lnTo>
                    <a:pt x="12011" y="4541"/>
                  </a:lnTo>
                  <a:lnTo>
                    <a:pt x="12053" y="4541"/>
                  </a:lnTo>
                  <a:lnTo>
                    <a:pt x="12137" y="4667"/>
                  </a:lnTo>
                  <a:lnTo>
                    <a:pt x="12158" y="4792"/>
                  </a:lnTo>
                  <a:lnTo>
                    <a:pt x="12158" y="4876"/>
                  </a:lnTo>
                  <a:lnTo>
                    <a:pt x="12199" y="5002"/>
                  </a:lnTo>
                  <a:lnTo>
                    <a:pt x="12199" y="5085"/>
                  </a:lnTo>
                  <a:lnTo>
                    <a:pt x="12325" y="5127"/>
                  </a:lnTo>
                  <a:lnTo>
                    <a:pt x="12430" y="5106"/>
                  </a:lnTo>
                  <a:lnTo>
                    <a:pt x="12555" y="5169"/>
                  </a:lnTo>
                  <a:lnTo>
                    <a:pt x="12911" y="5169"/>
                  </a:lnTo>
                  <a:lnTo>
                    <a:pt x="13099" y="5190"/>
                  </a:lnTo>
                  <a:lnTo>
                    <a:pt x="13308" y="5169"/>
                  </a:lnTo>
                  <a:lnTo>
                    <a:pt x="13392" y="5169"/>
                  </a:lnTo>
                  <a:lnTo>
                    <a:pt x="13434" y="5190"/>
                  </a:lnTo>
                  <a:lnTo>
                    <a:pt x="13497" y="5169"/>
                  </a:lnTo>
                  <a:lnTo>
                    <a:pt x="13601" y="5274"/>
                  </a:lnTo>
                  <a:lnTo>
                    <a:pt x="13643" y="5295"/>
                  </a:lnTo>
                  <a:lnTo>
                    <a:pt x="13601" y="5420"/>
                  </a:lnTo>
                  <a:lnTo>
                    <a:pt x="13580" y="5546"/>
                  </a:lnTo>
                  <a:lnTo>
                    <a:pt x="13497" y="5755"/>
                  </a:lnTo>
                  <a:lnTo>
                    <a:pt x="13434" y="5797"/>
                  </a:lnTo>
                  <a:lnTo>
                    <a:pt x="13434" y="5860"/>
                  </a:lnTo>
                  <a:lnTo>
                    <a:pt x="13392" y="5922"/>
                  </a:lnTo>
                  <a:lnTo>
                    <a:pt x="13308" y="5922"/>
                  </a:lnTo>
                  <a:lnTo>
                    <a:pt x="13287" y="5860"/>
                  </a:lnTo>
                  <a:lnTo>
                    <a:pt x="13183" y="5943"/>
                  </a:lnTo>
                  <a:lnTo>
                    <a:pt x="13162" y="6027"/>
                  </a:lnTo>
                  <a:lnTo>
                    <a:pt x="13099" y="6048"/>
                  </a:lnTo>
                  <a:lnTo>
                    <a:pt x="13099" y="6132"/>
                  </a:lnTo>
                  <a:lnTo>
                    <a:pt x="13162" y="6278"/>
                  </a:lnTo>
                  <a:lnTo>
                    <a:pt x="13225" y="6341"/>
                  </a:lnTo>
                  <a:lnTo>
                    <a:pt x="13225" y="6383"/>
                  </a:lnTo>
                  <a:lnTo>
                    <a:pt x="13329" y="6487"/>
                  </a:lnTo>
                  <a:lnTo>
                    <a:pt x="13413" y="6592"/>
                  </a:lnTo>
                  <a:lnTo>
                    <a:pt x="13497" y="6592"/>
                  </a:lnTo>
                  <a:lnTo>
                    <a:pt x="13497" y="6529"/>
                  </a:lnTo>
                  <a:lnTo>
                    <a:pt x="13476" y="6466"/>
                  </a:lnTo>
                  <a:lnTo>
                    <a:pt x="13518" y="6383"/>
                  </a:lnTo>
                  <a:lnTo>
                    <a:pt x="13518" y="6341"/>
                  </a:lnTo>
                  <a:lnTo>
                    <a:pt x="13538" y="6278"/>
                  </a:lnTo>
                  <a:lnTo>
                    <a:pt x="13518" y="6236"/>
                  </a:lnTo>
                  <a:lnTo>
                    <a:pt x="13580" y="6173"/>
                  </a:lnTo>
                  <a:lnTo>
                    <a:pt x="13643" y="6236"/>
                  </a:lnTo>
                  <a:lnTo>
                    <a:pt x="13727" y="6236"/>
                  </a:lnTo>
                  <a:lnTo>
                    <a:pt x="13769" y="6278"/>
                  </a:lnTo>
                  <a:lnTo>
                    <a:pt x="13831" y="6362"/>
                  </a:lnTo>
                  <a:lnTo>
                    <a:pt x="13852" y="6529"/>
                  </a:lnTo>
                  <a:lnTo>
                    <a:pt x="13852" y="6655"/>
                  </a:lnTo>
                  <a:lnTo>
                    <a:pt x="13915" y="6738"/>
                  </a:lnTo>
                  <a:lnTo>
                    <a:pt x="13936" y="6969"/>
                  </a:lnTo>
                  <a:lnTo>
                    <a:pt x="13999" y="7115"/>
                  </a:lnTo>
                  <a:lnTo>
                    <a:pt x="14020" y="7199"/>
                  </a:lnTo>
                  <a:lnTo>
                    <a:pt x="14041" y="7261"/>
                  </a:lnTo>
                  <a:lnTo>
                    <a:pt x="14041" y="7303"/>
                  </a:lnTo>
                  <a:lnTo>
                    <a:pt x="14062" y="7366"/>
                  </a:lnTo>
                  <a:lnTo>
                    <a:pt x="14103" y="7387"/>
                  </a:lnTo>
                  <a:lnTo>
                    <a:pt x="14103" y="7303"/>
                  </a:lnTo>
                  <a:lnTo>
                    <a:pt x="14124" y="7199"/>
                  </a:lnTo>
                  <a:lnTo>
                    <a:pt x="14166" y="7220"/>
                  </a:lnTo>
                  <a:lnTo>
                    <a:pt x="14250" y="7199"/>
                  </a:lnTo>
                  <a:lnTo>
                    <a:pt x="14292" y="6989"/>
                  </a:lnTo>
                  <a:lnTo>
                    <a:pt x="14271" y="6885"/>
                  </a:lnTo>
                  <a:lnTo>
                    <a:pt x="14292" y="6759"/>
                  </a:lnTo>
                  <a:lnTo>
                    <a:pt x="14271" y="6592"/>
                  </a:lnTo>
                  <a:lnTo>
                    <a:pt x="14417" y="6592"/>
                  </a:lnTo>
                  <a:lnTo>
                    <a:pt x="14417" y="6383"/>
                  </a:lnTo>
                  <a:lnTo>
                    <a:pt x="14417" y="6257"/>
                  </a:lnTo>
                  <a:lnTo>
                    <a:pt x="14354" y="5964"/>
                  </a:lnTo>
                  <a:lnTo>
                    <a:pt x="14459" y="5964"/>
                  </a:lnTo>
                  <a:lnTo>
                    <a:pt x="14564" y="6006"/>
                  </a:lnTo>
                  <a:lnTo>
                    <a:pt x="14731" y="6006"/>
                  </a:lnTo>
                  <a:lnTo>
                    <a:pt x="14794" y="5797"/>
                  </a:lnTo>
                  <a:lnTo>
                    <a:pt x="14857" y="5546"/>
                  </a:lnTo>
                  <a:lnTo>
                    <a:pt x="14982" y="5232"/>
                  </a:lnTo>
                  <a:lnTo>
                    <a:pt x="14857" y="5190"/>
                  </a:lnTo>
                  <a:lnTo>
                    <a:pt x="14857" y="5085"/>
                  </a:lnTo>
                  <a:lnTo>
                    <a:pt x="15003" y="4813"/>
                  </a:lnTo>
                  <a:lnTo>
                    <a:pt x="15087" y="4583"/>
                  </a:lnTo>
                  <a:lnTo>
                    <a:pt x="15045" y="4541"/>
                  </a:lnTo>
                  <a:lnTo>
                    <a:pt x="15066" y="4374"/>
                  </a:lnTo>
                  <a:lnTo>
                    <a:pt x="15254" y="4081"/>
                  </a:lnTo>
                  <a:lnTo>
                    <a:pt x="15380" y="4039"/>
                  </a:lnTo>
                  <a:lnTo>
                    <a:pt x="15505" y="3872"/>
                  </a:lnTo>
                  <a:lnTo>
                    <a:pt x="15568" y="3725"/>
                  </a:lnTo>
                  <a:lnTo>
                    <a:pt x="15777" y="3663"/>
                  </a:lnTo>
                  <a:lnTo>
                    <a:pt x="15924" y="3558"/>
                  </a:lnTo>
                  <a:lnTo>
                    <a:pt x="16007" y="3642"/>
                  </a:lnTo>
                  <a:lnTo>
                    <a:pt x="16133" y="3704"/>
                  </a:lnTo>
                  <a:lnTo>
                    <a:pt x="16112" y="3600"/>
                  </a:lnTo>
                  <a:lnTo>
                    <a:pt x="16112" y="3432"/>
                  </a:lnTo>
                  <a:lnTo>
                    <a:pt x="16217" y="3328"/>
                  </a:lnTo>
                  <a:lnTo>
                    <a:pt x="16196" y="3244"/>
                  </a:lnTo>
                  <a:lnTo>
                    <a:pt x="16154" y="3223"/>
                  </a:lnTo>
                  <a:lnTo>
                    <a:pt x="16091" y="3119"/>
                  </a:lnTo>
                  <a:lnTo>
                    <a:pt x="15987" y="3077"/>
                  </a:lnTo>
                  <a:lnTo>
                    <a:pt x="15903" y="3119"/>
                  </a:lnTo>
                  <a:lnTo>
                    <a:pt x="15777" y="3098"/>
                  </a:lnTo>
                  <a:lnTo>
                    <a:pt x="15735" y="2993"/>
                  </a:lnTo>
                  <a:lnTo>
                    <a:pt x="15840" y="2888"/>
                  </a:lnTo>
                  <a:lnTo>
                    <a:pt x="15840" y="2805"/>
                  </a:lnTo>
                  <a:lnTo>
                    <a:pt x="15777" y="2700"/>
                  </a:lnTo>
                  <a:lnTo>
                    <a:pt x="15735" y="2616"/>
                  </a:lnTo>
                  <a:lnTo>
                    <a:pt x="15673" y="2658"/>
                  </a:lnTo>
                  <a:lnTo>
                    <a:pt x="15589" y="2658"/>
                  </a:lnTo>
                  <a:lnTo>
                    <a:pt x="15526" y="2575"/>
                  </a:lnTo>
                  <a:lnTo>
                    <a:pt x="15610" y="2407"/>
                  </a:lnTo>
                  <a:lnTo>
                    <a:pt x="15589" y="2365"/>
                  </a:lnTo>
                  <a:lnTo>
                    <a:pt x="15505" y="2365"/>
                  </a:lnTo>
                  <a:lnTo>
                    <a:pt x="15463" y="2282"/>
                  </a:lnTo>
                  <a:lnTo>
                    <a:pt x="15380" y="2261"/>
                  </a:lnTo>
                  <a:lnTo>
                    <a:pt x="15108" y="2407"/>
                  </a:lnTo>
                  <a:lnTo>
                    <a:pt x="15150" y="2512"/>
                  </a:lnTo>
                  <a:lnTo>
                    <a:pt x="15066" y="2575"/>
                  </a:lnTo>
                  <a:lnTo>
                    <a:pt x="14857" y="2491"/>
                  </a:lnTo>
                  <a:lnTo>
                    <a:pt x="14689" y="2554"/>
                  </a:lnTo>
                  <a:lnTo>
                    <a:pt x="14585" y="2386"/>
                  </a:lnTo>
                  <a:lnTo>
                    <a:pt x="14459" y="2491"/>
                  </a:lnTo>
                  <a:lnTo>
                    <a:pt x="14375" y="2491"/>
                  </a:lnTo>
                  <a:lnTo>
                    <a:pt x="14375" y="2616"/>
                  </a:lnTo>
                  <a:lnTo>
                    <a:pt x="14271" y="2784"/>
                  </a:lnTo>
                  <a:lnTo>
                    <a:pt x="14041" y="2826"/>
                  </a:lnTo>
                  <a:lnTo>
                    <a:pt x="13936" y="2867"/>
                  </a:lnTo>
                  <a:lnTo>
                    <a:pt x="13831" y="2972"/>
                  </a:lnTo>
                  <a:lnTo>
                    <a:pt x="13769" y="3098"/>
                  </a:lnTo>
                  <a:lnTo>
                    <a:pt x="13685" y="3119"/>
                  </a:lnTo>
                  <a:lnTo>
                    <a:pt x="13685" y="3202"/>
                  </a:lnTo>
                  <a:lnTo>
                    <a:pt x="13580" y="3181"/>
                  </a:lnTo>
                  <a:lnTo>
                    <a:pt x="13497" y="3223"/>
                  </a:lnTo>
                  <a:lnTo>
                    <a:pt x="13434" y="3391"/>
                  </a:lnTo>
                  <a:lnTo>
                    <a:pt x="13329" y="3391"/>
                  </a:lnTo>
                  <a:lnTo>
                    <a:pt x="13120" y="3432"/>
                  </a:lnTo>
                  <a:lnTo>
                    <a:pt x="13057" y="3432"/>
                  </a:lnTo>
                  <a:lnTo>
                    <a:pt x="13015" y="3600"/>
                  </a:lnTo>
                  <a:lnTo>
                    <a:pt x="13015" y="3704"/>
                  </a:lnTo>
                  <a:lnTo>
                    <a:pt x="13204" y="3767"/>
                  </a:lnTo>
                  <a:lnTo>
                    <a:pt x="13204" y="3935"/>
                  </a:lnTo>
                  <a:lnTo>
                    <a:pt x="13204" y="4039"/>
                  </a:lnTo>
                  <a:lnTo>
                    <a:pt x="12974" y="4123"/>
                  </a:lnTo>
                  <a:lnTo>
                    <a:pt x="12806" y="4081"/>
                  </a:lnTo>
                  <a:lnTo>
                    <a:pt x="12597" y="4144"/>
                  </a:lnTo>
                  <a:lnTo>
                    <a:pt x="12492" y="4081"/>
                  </a:lnTo>
                  <a:lnTo>
                    <a:pt x="12367" y="4123"/>
                  </a:lnTo>
                  <a:lnTo>
                    <a:pt x="12262" y="4248"/>
                  </a:lnTo>
                  <a:lnTo>
                    <a:pt x="12116" y="4248"/>
                  </a:lnTo>
                  <a:lnTo>
                    <a:pt x="11823" y="4081"/>
                  </a:lnTo>
                  <a:lnTo>
                    <a:pt x="11739" y="4144"/>
                  </a:lnTo>
                  <a:lnTo>
                    <a:pt x="11530" y="4123"/>
                  </a:lnTo>
                  <a:lnTo>
                    <a:pt x="11425" y="3935"/>
                  </a:lnTo>
                  <a:lnTo>
                    <a:pt x="11488" y="3830"/>
                  </a:lnTo>
                  <a:lnTo>
                    <a:pt x="11488" y="3704"/>
                  </a:lnTo>
                  <a:lnTo>
                    <a:pt x="11383" y="3621"/>
                  </a:lnTo>
                  <a:lnTo>
                    <a:pt x="11341" y="3453"/>
                  </a:lnTo>
                  <a:lnTo>
                    <a:pt x="11300" y="3349"/>
                  </a:lnTo>
                  <a:lnTo>
                    <a:pt x="11153" y="3349"/>
                  </a:lnTo>
                  <a:lnTo>
                    <a:pt x="11069" y="3453"/>
                  </a:lnTo>
                  <a:lnTo>
                    <a:pt x="11028" y="3453"/>
                  </a:lnTo>
                  <a:lnTo>
                    <a:pt x="11090" y="3600"/>
                  </a:lnTo>
                  <a:lnTo>
                    <a:pt x="11028" y="3851"/>
                  </a:lnTo>
                  <a:lnTo>
                    <a:pt x="11132" y="4081"/>
                  </a:lnTo>
                  <a:lnTo>
                    <a:pt x="11090" y="4353"/>
                  </a:lnTo>
                  <a:lnTo>
                    <a:pt x="10756" y="4437"/>
                  </a:lnTo>
                  <a:lnTo>
                    <a:pt x="10505" y="4290"/>
                  </a:lnTo>
                  <a:lnTo>
                    <a:pt x="10400" y="4374"/>
                  </a:lnTo>
                  <a:lnTo>
                    <a:pt x="9919" y="4186"/>
                  </a:lnTo>
                  <a:lnTo>
                    <a:pt x="9709" y="4186"/>
                  </a:lnTo>
                  <a:lnTo>
                    <a:pt x="9584" y="4248"/>
                  </a:lnTo>
                  <a:lnTo>
                    <a:pt x="9291" y="4165"/>
                  </a:lnTo>
                  <a:lnTo>
                    <a:pt x="9124" y="4039"/>
                  </a:lnTo>
                  <a:lnTo>
                    <a:pt x="9103" y="3872"/>
                  </a:lnTo>
                  <a:lnTo>
                    <a:pt x="8810" y="3830"/>
                  </a:lnTo>
                  <a:lnTo>
                    <a:pt x="8517" y="3914"/>
                  </a:lnTo>
                  <a:lnTo>
                    <a:pt x="8412" y="3830"/>
                  </a:lnTo>
                  <a:lnTo>
                    <a:pt x="8140" y="3830"/>
                  </a:lnTo>
                  <a:lnTo>
                    <a:pt x="7952" y="3725"/>
                  </a:lnTo>
                  <a:lnTo>
                    <a:pt x="7784" y="3725"/>
                  </a:lnTo>
                  <a:lnTo>
                    <a:pt x="7680" y="3642"/>
                  </a:lnTo>
                  <a:lnTo>
                    <a:pt x="7450" y="3600"/>
                  </a:lnTo>
                  <a:lnTo>
                    <a:pt x="7261" y="3391"/>
                  </a:lnTo>
                  <a:lnTo>
                    <a:pt x="7010" y="3202"/>
                  </a:lnTo>
                  <a:lnTo>
                    <a:pt x="6801" y="3139"/>
                  </a:lnTo>
                  <a:lnTo>
                    <a:pt x="6717" y="3077"/>
                  </a:lnTo>
                  <a:lnTo>
                    <a:pt x="6613" y="3077"/>
                  </a:lnTo>
                  <a:lnTo>
                    <a:pt x="6508" y="2993"/>
                  </a:lnTo>
                  <a:lnTo>
                    <a:pt x="6383" y="2972"/>
                  </a:lnTo>
                  <a:lnTo>
                    <a:pt x="6362" y="2826"/>
                  </a:lnTo>
                  <a:lnTo>
                    <a:pt x="6487" y="2616"/>
                  </a:lnTo>
                  <a:lnTo>
                    <a:pt x="6487" y="2449"/>
                  </a:lnTo>
                  <a:lnTo>
                    <a:pt x="6571" y="2135"/>
                  </a:lnTo>
                  <a:lnTo>
                    <a:pt x="6571" y="1926"/>
                  </a:lnTo>
                  <a:lnTo>
                    <a:pt x="6529" y="1947"/>
                  </a:lnTo>
                  <a:lnTo>
                    <a:pt x="6508" y="1842"/>
                  </a:lnTo>
                  <a:lnTo>
                    <a:pt x="6404" y="1842"/>
                  </a:lnTo>
                  <a:lnTo>
                    <a:pt x="6320" y="1675"/>
                  </a:lnTo>
                  <a:lnTo>
                    <a:pt x="6257" y="1654"/>
                  </a:lnTo>
                  <a:lnTo>
                    <a:pt x="6152" y="1549"/>
                  </a:lnTo>
                  <a:lnTo>
                    <a:pt x="6006" y="1528"/>
                  </a:lnTo>
                  <a:lnTo>
                    <a:pt x="5964" y="1445"/>
                  </a:lnTo>
                  <a:lnTo>
                    <a:pt x="5839" y="1445"/>
                  </a:lnTo>
                  <a:lnTo>
                    <a:pt x="5755" y="1549"/>
                  </a:lnTo>
                  <a:lnTo>
                    <a:pt x="5629" y="1507"/>
                  </a:lnTo>
                  <a:lnTo>
                    <a:pt x="5587" y="1361"/>
                  </a:lnTo>
                  <a:lnTo>
                    <a:pt x="5546" y="1361"/>
                  </a:lnTo>
                  <a:lnTo>
                    <a:pt x="5546" y="1256"/>
                  </a:lnTo>
                  <a:lnTo>
                    <a:pt x="5462" y="1152"/>
                  </a:lnTo>
                  <a:lnTo>
                    <a:pt x="5399" y="1131"/>
                  </a:lnTo>
                  <a:lnTo>
                    <a:pt x="5441" y="1047"/>
                  </a:lnTo>
                  <a:lnTo>
                    <a:pt x="5378" y="943"/>
                  </a:lnTo>
                  <a:lnTo>
                    <a:pt x="5399" y="712"/>
                  </a:lnTo>
                  <a:lnTo>
                    <a:pt x="5253" y="629"/>
                  </a:lnTo>
                  <a:lnTo>
                    <a:pt x="5232" y="566"/>
                  </a:lnTo>
                  <a:lnTo>
                    <a:pt x="5211" y="482"/>
                  </a:lnTo>
                  <a:lnTo>
                    <a:pt x="4960" y="357"/>
                  </a:lnTo>
                  <a:lnTo>
                    <a:pt x="4813" y="357"/>
                  </a:lnTo>
                  <a:lnTo>
                    <a:pt x="4751" y="189"/>
                  </a:lnTo>
                  <a:lnTo>
                    <a:pt x="4604" y="106"/>
                  </a:lnTo>
                  <a:lnTo>
                    <a:pt x="4437" y="210"/>
                  </a:lnTo>
                  <a:lnTo>
                    <a:pt x="4123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2" name="Google Shape;882;p34"/>
            <p:cNvSpPr/>
            <p:nvPr/>
          </p:nvSpPr>
          <p:spPr>
            <a:xfrm>
              <a:off x="4286244" y="2933329"/>
              <a:ext cx="56823" cy="29034"/>
            </a:xfrm>
            <a:custGeom>
              <a:avLst/>
              <a:gdLst/>
              <a:ahLst/>
              <a:cxnLst/>
              <a:rect l="l" t="t" r="r" b="b"/>
              <a:pathLst>
                <a:path w="4772" h="2553" extrusionOk="0">
                  <a:moveTo>
                    <a:pt x="231" y="0"/>
                  </a:moveTo>
                  <a:lnTo>
                    <a:pt x="210" y="42"/>
                  </a:lnTo>
                  <a:lnTo>
                    <a:pt x="210" y="251"/>
                  </a:lnTo>
                  <a:lnTo>
                    <a:pt x="126" y="565"/>
                  </a:lnTo>
                  <a:lnTo>
                    <a:pt x="126" y="732"/>
                  </a:lnTo>
                  <a:lnTo>
                    <a:pt x="1" y="942"/>
                  </a:lnTo>
                  <a:lnTo>
                    <a:pt x="22" y="1088"/>
                  </a:lnTo>
                  <a:lnTo>
                    <a:pt x="147" y="1109"/>
                  </a:lnTo>
                  <a:lnTo>
                    <a:pt x="252" y="1193"/>
                  </a:lnTo>
                  <a:lnTo>
                    <a:pt x="356" y="1193"/>
                  </a:lnTo>
                  <a:lnTo>
                    <a:pt x="440" y="1255"/>
                  </a:lnTo>
                  <a:lnTo>
                    <a:pt x="649" y="1318"/>
                  </a:lnTo>
                  <a:lnTo>
                    <a:pt x="900" y="1507"/>
                  </a:lnTo>
                  <a:lnTo>
                    <a:pt x="1089" y="1716"/>
                  </a:lnTo>
                  <a:lnTo>
                    <a:pt x="1319" y="1758"/>
                  </a:lnTo>
                  <a:lnTo>
                    <a:pt x="1423" y="1841"/>
                  </a:lnTo>
                  <a:lnTo>
                    <a:pt x="1591" y="1841"/>
                  </a:lnTo>
                  <a:lnTo>
                    <a:pt x="1779" y="1946"/>
                  </a:lnTo>
                  <a:lnTo>
                    <a:pt x="2051" y="1946"/>
                  </a:lnTo>
                  <a:lnTo>
                    <a:pt x="2156" y="2030"/>
                  </a:lnTo>
                  <a:lnTo>
                    <a:pt x="2449" y="1946"/>
                  </a:lnTo>
                  <a:lnTo>
                    <a:pt x="2742" y="1988"/>
                  </a:lnTo>
                  <a:lnTo>
                    <a:pt x="2763" y="2155"/>
                  </a:lnTo>
                  <a:lnTo>
                    <a:pt x="2930" y="2281"/>
                  </a:lnTo>
                  <a:lnTo>
                    <a:pt x="3223" y="2364"/>
                  </a:lnTo>
                  <a:lnTo>
                    <a:pt x="3348" y="2302"/>
                  </a:lnTo>
                  <a:lnTo>
                    <a:pt x="3558" y="2302"/>
                  </a:lnTo>
                  <a:lnTo>
                    <a:pt x="4039" y="2490"/>
                  </a:lnTo>
                  <a:lnTo>
                    <a:pt x="4144" y="2406"/>
                  </a:lnTo>
                  <a:lnTo>
                    <a:pt x="4395" y="2553"/>
                  </a:lnTo>
                  <a:lnTo>
                    <a:pt x="4729" y="2469"/>
                  </a:lnTo>
                  <a:lnTo>
                    <a:pt x="4771" y="2197"/>
                  </a:lnTo>
                  <a:lnTo>
                    <a:pt x="4667" y="1967"/>
                  </a:lnTo>
                  <a:lnTo>
                    <a:pt x="4729" y="1716"/>
                  </a:lnTo>
                  <a:lnTo>
                    <a:pt x="4667" y="1569"/>
                  </a:lnTo>
                  <a:lnTo>
                    <a:pt x="4562" y="1569"/>
                  </a:lnTo>
                  <a:lnTo>
                    <a:pt x="4416" y="1632"/>
                  </a:lnTo>
                  <a:lnTo>
                    <a:pt x="4353" y="1611"/>
                  </a:lnTo>
                  <a:lnTo>
                    <a:pt x="4206" y="1653"/>
                  </a:lnTo>
                  <a:lnTo>
                    <a:pt x="4123" y="1632"/>
                  </a:lnTo>
                  <a:lnTo>
                    <a:pt x="3997" y="1465"/>
                  </a:lnTo>
                  <a:lnTo>
                    <a:pt x="3830" y="1402"/>
                  </a:lnTo>
                  <a:lnTo>
                    <a:pt x="3788" y="1255"/>
                  </a:lnTo>
                  <a:lnTo>
                    <a:pt x="3662" y="1193"/>
                  </a:lnTo>
                  <a:lnTo>
                    <a:pt x="3453" y="1193"/>
                  </a:lnTo>
                  <a:lnTo>
                    <a:pt x="3348" y="1297"/>
                  </a:lnTo>
                  <a:lnTo>
                    <a:pt x="3202" y="1318"/>
                  </a:lnTo>
                  <a:lnTo>
                    <a:pt x="3139" y="1402"/>
                  </a:lnTo>
                  <a:lnTo>
                    <a:pt x="2972" y="1318"/>
                  </a:lnTo>
                  <a:lnTo>
                    <a:pt x="2867" y="1339"/>
                  </a:lnTo>
                  <a:lnTo>
                    <a:pt x="2825" y="1193"/>
                  </a:lnTo>
                  <a:lnTo>
                    <a:pt x="2846" y="942"/>
                  </a:lnTo>
                  <a:lnTo>
                    <a:pt x="2700" y="942"/>
                  </a:lnTo>
                  <a:lnTo>
                    <a:pt x="2532" y="1004"/>
                  </a:lnTo>
                  <a:lnTo>
                    <a:pt x="2365" y="879"/>
                  </a:lnTo>
                  <a:lnTo>
                    <a:pt x="2365" y="711"/>
                  </a:lnTo>
                  <a:lnTo>
                    <a:pt x="2239" y="628"/>
                  </a:lnTo>
                  <a:lnTo>
                    <a:pt x="2114" y="628"/>
                  </a:lnTo>
                  <a:lnTo>
                    <a:pt x="2093" y="586"/>
                  </a:lnTo>
                  <a:lnTo>
                    <a:pt x="2009" y="628"/>
                  </a:lnTo>
                  <a:lnTo>
                    <a:pt x="2009" y="816"/>
                  </a:lnTo>
                  <a:lnTo>
                    <a:pt x="1947" y="837"/>
                  </a:lnTo>
                  <a:lnTo>
                    <a:pt x="1905" y="711"/>
                  </a:lnTo>
                  <a:lnTo>
                    <a:pt x="1800" y="586"/>
                  </a:lnTo>
                  <a:lnTo>
                    <a:pt x="1737" y="523"/>
                  </a:lnTo>
                  <a:lnTo>
                    <a:pt x="1612" y="460"/>
                  </a:lnTo>
                  <a:lnTo>
                    <a:pt x="1486" y="460"/>
                  </a:lnTo>
                  <a:lnTo>
                    <a:pt x="1319" y="272"/>
                  </a:lnTo>
                  <a:lnTo>
                    <a:pt x="1214" y="209"/>
                  </a:lnTo>
                  <a:lnTo>
                    <a:pt x="1089" y="209"/>
                  </a:lnTo>
                  <a:lnTo>
                    <a:pt x="1047" y="147"/>
                  </a:lnTo>
                  <a:lnTo>
                    <a:pt x="838" y="63"/>
                  </a:lnTo>
                  <a:lnTo>
                    <a:pt x="670" y="84"/>
                  </a:lnTo>
                  <a:lnTo>
                    <a:pt x="607" y="188"/>
                  </a:lnTo>
                  <a:lnTo>
                    <a:pt x="545" y="167"/>
                  </a:lnTo>
                  <a:lnTo>
                    <a:pt x="440" y="167"/>
                  </a:lnTo>
                  <a:lnTo>
                    <a:pt x="377" y="84"/>
                  </a:lnTo>
                  <a:lnTo>
                    <a:pt x="23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3" name="Google Shape;883;p34"/>
            <p:cNvSpPr/>
            <p:nvPr/>
          </p:nvSpPr>
          <p:spPr>
            <a:xfrm>
              <a:off x="4155440" y="2884541"/>
              <a:ext cx="95439" cy="100431"/>
            </a:xfrm>
            <a:custGeom>
              <a:avLst/>
              <a:gdLst/>
              <a:ahLst/>
              <a:cxnLst/>
              <a:rect l="l" t="t" r="r" b="b"/>
              <a:pathLst>
                <a:path w="8015" h="8831" extrusionOk="0">
                  <a:moveTo>
                    <a:pt x="5901" y="1"/>
                  </a:moveTo>
                  <a:lnTo>
                    <a:pt x="5713" y="105"/>
                  </a:lnTo>
                  <a:lnTo>
                    <a:pt x="5587" y="252"/>
                  </a:lnTo>
                  <a:lnTo>
                    <a:pt x="5441" y="252"/>
                  </a:lnTo>
                  <a:lnTo>
                    <a:pt x="5315" y="377"/>
                  </a:lnTo>
                  <a:lnTo>
                    <a:pt x="5232" y="482"/>
                  </a:lnTo>
                  <a:lnTo>
                    <a:pt x="5462" y="838"/>
                  </a:lnTo>
                  <a:lnTo>
                    <a:pt x="5483" y="1110"/>
                  </a:lnTo>
                  <a:lnTo>
                    <a:pt x="5232" y="1444"/>
                  </a:lnTo>
                  <a:lnTo>
                    <a:pt x="5357" y="1570"/>
                  </a:lnTo>
                  <a:lnTo>
                    <a:pt x="5357" y="1737"/>
                  </a:lnTo>
                  <a:lnTo>
                    <a:pt x="5190" y="1968"/>
                  </a:lnTo>
                  <a:lnTo>
                    <a:pt x="4981" y="1968"/>
                  </a:lnTo>
                  <a:lnTo>
                    <a:pt x="4771" y="1884"/>
                  </a:lnTo>
                  <a:lnTo>
                    <a:pt x="4646" y="1968"/>
                  </a:lnTo>
                  <a:lnTo>
                    <a:pt x="4709" y="2135"/>
                  </a:lnTo>
                  <a:lnTo>
                    <a:pt x="4834" y="2198"/>
                  </a:lnTo>
                  <a:lnTo>
                    <a:pt x="4876" y="2365"/>
                  </a:lnTo>
                  <a:lnTo>
                    <a:pt x="4855" y="2449"/>
                  </a:lnTo>
                  <a:lnTo>
                    <a:pt x="4730" y="2512"/>
                  </a:lnTo>
                  <a:lnTo>
                    <a:pt x="4604" y="2553"/>
                  </a:lnTo>
                  <a:lnTo>
                    <a:pt x="4562" y="2616"/>
                  </a:lnTo>
                  <a:lnTo>
                    <a:pt x="4541" y="2825"/>
                  </a:lnTo>
                  <a:lnTo>
                    <a:pt x="4499" y="2972"/>
                  </a:lnTo>
                  <a:lnTo>
                    <a:pt x="4499" y="3035"/>
                  </a:lnTo>
                  <a:lnTo>
                    <a:pt x="4457" y="3097"/>
                  </a:lnTo>
                  <a:lnTo>
                    <a:pt x="4499" y="3328"/>
                  </a:lnTo>
                  <a:lnTo>
                    <a:pt x="4395" y="3537"/>
                  </a:lnTo>
                  <a:lnTo>
                    <a:pt x="4248" y="3390"/>
                  </a:lnTo>
                  <a:lnTo>
                    <a:pt x="4206" y="3390"/>
                  </a:lnTo>
                  <a:lnTo>
                    <a:pt x="4185" y="3453"/>
                  </a:lnTo>
                  <a:lnTo>
                    <a:pt x="4039" y="3453"/>
                  </a:lnTo>
                  <a:lnTo>
                    <a:pt x="3997" y="3411"/>
                  </a:lnTo>
                  <a:lnTo>
                    <a:pt x="3830" y="3432"/>
                  </a:lnTo>
                  <a:lnTo>
                    <a:pt x="3809" y="3495"/>
                  </a:lnTo>
                  <a:lnTo>
                    <a:pt x="3600" y="3662"/>
                  </a:lnTo>
                  <a:lnTo>
                    <a:pt x="3683" y="3704"/>
                  </a:lnTo>
                  <a:lnTo>
                    <a:pt x="3621" y="3767"/>
                  </a:lnTo>
                  <a:lnTo>
                    <a:pt x="3411" y="3872"/>
                  </a:lnTo>
                  <a:lnTo>
                    <a:pt x="3349" y="3830"/>
                  </a:lnTo>
                  <a:lnTo>
                    <a:pt x="3202" y="3851"/>
                  </a:lnTo>
                  <a:lnTo>
                    <a:pt x="3160" y="3934"/>
                  </a:lnTo>
                  <a:lnTo>
                    <a:pt x="3139" y="4039"/>
                  </a:lnTo>
                  <a:lnTo>
                    <a:pt x="3035" y="4060"/>
                  </a:lnTo>
                  <a:lnTo>
                    <a:pt x="2951" y="4165"/>
                  </a:lnTo>
                  <a:lnTo>
                    <a:pt x="2951" y="4332"/>
                  </a:lnTo>
                  <a:lnTo>
                    <a:pt x="2993" y="4499"/>
                  </a:lnTo>
                  <a:lnTo>
                    <a:pt x="2993" y="4646"/>
                  </a:lnTo>
                  <a:lnTo>
                    <a:pt x="3035" y="4750"/>
                  </a:lnTo>
                  <a:lnTo>
                    <a:pt x="3035" y="4855"/>
                  </a:lnTo>
                  <a:lnTo>
                    <a:pt x="2784" y="4960"/>
                  </a:lnTo>
                  <a:lnTo>
                    <a:pt x="2574" y="4960"/>
                  </a:lnTo>
                  <a:lnTo>
                    <a:pt x="2407" y="4981"/>
                  </a:lnTo>
                  <a:lnTo>
                    <a:pt x="2093" y="4981"/>
                  </a:lnTo>
                  <a:lnTo>
                    <a:pt x="1905" y="5022"/>
                  </a:lnTo>
                  <a:lnTo>
                    <a:pt x="1821" y="5106"/>
                  </a:lnTo>
                  <a:lnTo>
                    <a:pt x="1633" y="5085"/>
                  </a:lnTo>
                  <a:lnTo>
                    <a:pt x="1465" y="5127"/>
                  </a:lnTo>
                  <a:lnTo>
                    <a:pt x="775" y="5169"/>
                  </a:lnTo>
                  <a:lnTo>
                    <a:pt x="1" y="4918"/>
                  </a:lnTo>
                  <a:lnTo>
                    <a:pt x="273" y="5336"/>
                  </a:lnTo>
                  <a:lnTo>
                    <a:pt x="356" y="5483"/>
                  </a:lnTo>
                  <a:lnTo>
                    <a:pt x="524" y="5629"/>
                  </a:lnTo>
                  <a:lnTo>
                    <a:pt x="649" y="5713"/>
                  </a:lnTo>
                  <a:lnTo>
                    <a:pt x="691" y="5755"/>
                  </a:lnTo>
                  <a:lnTo>
                    <a:pt x="880" y="5797"/>
                  </a:lnTo>
                  <a:lnTo>
                    <a:pt x="984" y="5818"/>
                  </a:lnTo>
                  <a:lnTo>
                    <a:pt x="1005" y="5901"/>
                  </a:lnTo>
                  <a:lnTo>
                    <a:pt x="1172" y="5901"/>
                  </a:lnTo>
                  <a:lnTo>
                    <a:pt x="1172" y="6110"/>
                  </a:lnTo>
                  <a:lnTo>
                    <a:pt x="1214" y="6236"/>
                  </a:lnTo>
                  <a:lnTo>
                    <a:pt x="1214" y="6382"/>
                  </a:lnTo>
                  <a:lnTo>
                    <a:pt x="1256" y="6487"/>
                  </a:lnTo>
                  <a:lnTo>
                    <a:pt x="1403" y="6466"/>
                  </a:lnTo>
                  <a:lnTo>
                    <a:pt x="1528" y="6571"/>
                  </a:lnTo>
                  <a:lnTo>
                    <a:pt x="1570" y="6801"/>
                  </a:lnTo>
                  <a:lnTo>
                    <a:pt x="1486" y="6885"/>
                  </a:lnTo>
                  <a:lnTo>
                    <a:pt x="1319" y="6843"/>
                  </a:lnTo>
                  <a:lnTo>
                    <a:pt x="1068" y="6906"/>
                  </a:lnTo>
                  <a:lnTo>
                    <a:pt x="984" y="6968"/>
                  </a:lnTo>
                  <a:lnTo>
                    <a:pt x="838" y="7052"/>
                  </a:lnTo>
                  <a:lnTo>
                    <a:pt x="754" y="7157"/>
                  </a:lnTo>
                  <a:lnTo>
                    <a:pt x="796" y="7261"/>
                  </a:lnTo>
                  <a:lnTo>
                    <a:pt x="691" y="7387"/>
                  </a:lnTo>
                  <a:lnTo>
                    <a:pt x="754" y="7512"/>
                  </a:lnTo>
                  <a:lnTo>
                    <a:pt x="733" y="7722"/>
                  </a:lnTo>
                  <a:lnTo>
                    <a:pt x="733" y="7805"/>
                  </a:lnTo>
                  <a:lnTo>
                    <a:pt x="796" y="7805"/>
                  </a:lnTo>
                  <a:lnTo>
                    <a:pt x="796" y="7889"/>
                  </a:lnTo>
                  <a:lnTo>
                    <a:pt x="859" y="7910"/>
                  </a:lnTo>
                  <a:lnTo>
                    <a:pt x="1005" y="7805"/>
                  </a:lnTo>
                  <a:lnTo>
                    <a:pt x="1131" y="7805"/>
                  </a:lnTo>
                  <a:lnTo>
                    <a:pt x="1172" y="7847"/>
                  </a:lnTo>
                  <a:lnTo>
                    <a:pt x="1193" y="7826"/>
                  </a:lnTo>
                  <a:lnTo>
                    <a:pt x="1298" y="7784"/>
                  </a:lnTo>
                  <a:lnTo>
                    <a:pt x="1403" y="7784"/>
                  </a:lnTo>
                  <a:lnTo>
                    <a:pt x="1465" y="7805"/>
                  </a:lnTo>
                  <a:lnTo>
                    <a:pt x="1570" y="7784"/>
                  </a:lnTo>
                  <a:lnTo>
                    <a:pt x="1696" y="7784"/>
                  </a:lnTo>
                  <a:lnTo>
                    <a:pt x="1717" y="7722"/>
                  </a:lnTo>
                  <a:lnTo>
                    <a:pt x="1779" y="7638"/>
                  </a:lnTo>
                  <a:lnTo>
                    <a:pt x="1884" y="7722"/>
                  </a:lnTo>
                  <a:lnTo>
                    <a:pt x="1947" y="7722"/>
                  </a:lnTo>
                  <a:lnTo>
                    <a:pt x="1989" y="7701"/>
                  </a:lnTo>
                  <a:lnTo>
                    <a:pt x="2030" y="7701"/>
                  </a:lnTo>
                  <a:lnTo>
                    <a:pt x="2051" y="7784"/>
                  </a:lnTo>
                  <a:lnTo>
                    <a:pt x="2156" y="7784"/>
                  </a:lnTo>
                  <a:lnTo>
                    <a:pt x="2240" y="7826"/>
                  </a:lnTo>
                  <a:lnTo>
                    <a:pt x="2323" y="7826"/>
                  </a:lnTo>
                  <a:lnTo>
                    <a:pt x="2449" y="7701"/>
                  </a:lnTo>
                  <a:lnTo>
                    <a:pt x="2616" y="7701"/>
                  </a:lnTo>
                  <a:lnTo>
                    <a:pt x="2700" y="7722"/>
                  </a:lnTo>
                  <a:lnTo>
                    <a:pt x="2784" y="7680"/>
                  </a:lnTo>
                  <a:lnTo>
                    <a:pt x="2867" y="7680"/>
                  </a:lnTo>
                  <a:lnTo>
                    <a:pt x="2888" y="7617"/>
                  </a:lnTo>
                  <a:lnTo>
                    <a:pt x="2951" y="7638"/>
                  </a:lnTo>
                  <a:lnTo>
                    <a:pt x="3097" y="7680"/>
                  </a:lnTo>
                  <a:lnTo>
                    <a:pt x="3223" y="7617"/>
                  </a:lnTo>
                  <a:lnTo>
                    <a:pt x="3411" y="7617"/>
                  </a:lnTo>
                  <a:lnTo>
                    <a:pt x="3558" y="7722"/>
                  </a:lnTo>
                  <a:lnTo>
                    <a:pt x="3579" y="7847"/>
                  </a:lnTo>
                  <a:lnTo>
                    <a:pt x="3579" y="7931"/>
                  </a:lnTo>
                  <a:lnTo>
                    <a:pt x="3579" y="7952"/>
                  </a:lnTo>
                  <a:lnTo>
                    <a:pt x="3558" y="7952"/>
                  </a:lnTo>
                  <a:lnTo>
                    <a:pt x="3558" y="8014"/>
                  </a:lnTo>
                  <a:lnTo>
                    <a:pt x="3662" y="8014"/>
                  </a:lnTo>
                  <a:lnTo>
                    <a:pt x="3809" y="7931"/>
                  </a:lnTo>
                  <a:lnTo>
                    <a:pt x="3809" y="8056"/>
                  </a:lnTo>
                  <a:lnTo>
                    <a:pt x="3934" y="8203"/>
                  </a:lnTo>
                  <a:lnTo>
                    <a:pt x="3997" y="8412"/>
                  </a:lnTo>
                  <a:lnTo>
                    <a:pt x="3997" y="8433"/>
                  </a:lnTo>
                  <a:lnTo>
                    <a:pt x="3997" y="8517"/>
                  </a:lnTo>
                  <a:lnTo>
                    <a:pt x="3934" y="8538"/>
                  </a:lnTo>
                  <a:lnTo>
                    <a:pt x="4039" y="8538"/>
                  </a:lnTo>
                  <a:lnTo>
                    <a:pt x="4081" y="8663"/>
                  </a:lnTo>
                  <a:lnTo>
                    <a:pt x="4353" y="8663"/>
                  </a:lnTo>
                  <a:lnTo>
                    <a:pt x="4541" y="8747"/>
                  </a:lnTo>
                  <a:lnTo>
                    <a:pt x="4541" y="8831"/>
                  </a:lnTo>
                  <a:lnTo>
                    <a:pt x="4625" y="8768"/>
                  </a:lnTo>
                  <a:lnTo>
                    <a:pt x="4646" y="8621"/>
                  </a:lnTo>
                  <a:lnTo>
                    <a:pt x="4750" y="8538"/>
                  </a:lnTo>
                  <a:lnTo>
                    <a:pt x="4834" y="8517"/>
                  </a:lnTo>
                  <a:lnTo>
                    <a:pt x="4876" y="8370"/>
                  </a:lnTo>
                  <a:lnTo>
                    <a:pt x="4960" y="8412"/>
                  </a:lnTo>
                  <a:lnTo>
                    <a:pt x="5064" y="8349"/>
                  </a:lnTo>
                  <a:lnTo>
                    <a:pt x="5462" y="8370"/>
                  </a:lnTo>
                  <a:lnTo>
                    <a:pt x="5692" y="8266"/>
                  </a:lnTo>
                  <a:lnTo>
                    <a:pt x="5755" y="8224"/>
                  </a:lnTo>
                  <a:lnTo>
                    <a:pt x="5880" y="8203"/>
                  </a:lnTo>
                  <a:lnTo>
                    <a:pt x="5880" y="8203"/>
                  </a:lnTo>
                  <a:lnTo>
                    <a:pt x="5818" y="8266"/>
                  </a:lnTo>
                  <a:lnTo>
                    <a:pt x="5880" y="8349"/>
                  </a:lnTo>
                  <a:lnTo>
                    <a:pt x="6006" y="8266"/>
                  </a:lnTo>
                  <a:lnTo>
                    <a:pt x="6110" y="8224"/>
                  </a:lnTo>
                  <a:lnTo>
                    <a:pt x="6069" y="8161"/>
                  </a:lnTo>
                  <a:lnTo>
                    <a:pt x="6090" y="8098"/>
                  </a:lnTo>
                  <a:lnTo>
                    <a:pt x="5964" y="7722"/>
                  </a:lnTo>
                  <a:lnTo>
                    <a:pt x="5838" y="7575"/>
                  </a:lnTo>
                  <a:lnTo>
                    <a:pt x="5880" y="7491"/>
                  </a:lnTo>
                  <a:lnTo>
                    <a:pt x="5797" y="7429"/>
                  </a:lnTo>
                  <a:lnTo>
                    <a:pt x="5692" y="7429"/>
                  </a:lnTo>
                  <a:lnTo>
                    <a:pt x="5483" y="7303"/>
                  </a:lnTo>
                  <a:lnTo>
                    <a:pt x="5462" y="7094"/>
                  </a:lnTo>
                  <a:lnTo>
                    <a:pt x="5483" y="6968"/>
                  </a:lnTo>
                  <a:lnTo>
                    <a:pt x="5399" y="6780"/>
                  </a:lnTo>
                  <a:lnTo>
                    <a:pt x="5294" y="6780"/>
                  </a:lnTo>
                  <a:lnTo>
                    <a:pt x="5232" y="6801"/>
                  </a:lnTo>
                  <a:lnTo>
                    <a:pt x="5085" y="6759"/>
                  </a:lnTo>
                  <a:lnTo>
                    <a:pt x="4981" y="6780"/>
                  </a:lnTo>
                  <a:lnTo>
                    <a:pt x="4981" y="6634"/>
                  </a:lnTo>
                  <a:lnTo>
                    <a:pt x="5085" y="6382"/>
                  </a:lnTo>
                  <a:lnTo>
                    <a:pt x="5169" y="6362"/>
                  </a:lnTo>
                  <a:lnTo>
                    <a:pt x="5315" y="6152"/>
                  </a:lnTo>
                  <a:lnTo>
                    <a:pt x="5357" y="6048"/>
                  </a:lnTo>
                  <a:lnTo>
                    <a:pt x="5462" y="6006"/>
                  </a:lnTo>
                  <a:lnTo>
                    <a:pt x="5546" y="5943"/>
                  </a:lnTo>
                  <a:lnTo>
                    <a:pt x="5671" y="6006"/>
                  </a:lnTo>
                  <a:lnTo>
                    <a:pt x="5692" y="6110"/>
                  </a:lnTo>
                  <a:lnTo>
                    <a:pt x="5776" y="6131"/>
                  </a:lnTo>
                  <a:lnTo>
                    <a:pt x="5985" y="6006"/>
                  </a:lnTo>
                  <a:lnTo>
                    <a:pt x="6299" y="6006"/>
                  </a:lnTo>
                  <a:lnTo>
                    <a:pt x="6487" y="5797"/>
                  </a:lnTo>
                  <a:lnTo>
                    <a:pt x="6592" y="5441"/>
                  </a:lnTo>
                  <a:lnTo>
                    <a:pt x="6843" y="5273"/>
                  </a:lnTo>
                  <a:lnTo>
                    <a:pt x="6926" y="5127"/>
                  </a:lnTo>
                  <a:lnTo>
                    <a:pt x="6947" y="4960"/>
                  </a:lnTo>
                  <a:lnTo>
                    <a:pt x="7052" y="4771"/>
                  </a:lnTo>
                  <a:lnTo>
                    <a:pt x="7261" y="4667"/>
                  </a:lnTo>
                  <a:lnTo>
                    <a:pt x="7324" y="4541"/>
                  </a:lnTo>
                  <a:lnTo>
                    <a:pt x="7324" y="4437"/>
                  </a:lnTo>
                  <a:lnTo>
                    <a:pt x="7240" y="4374"/>
                  </a:lnTo>
                  <a:lnTo>
                    <a:pt x="7387" y="4185"/>
                  </a:lnTo>
                  <a:lnTo>
                    <a:pt x="7491" y="4123"/>
                  </a:lnTo>
                  <a:lnTo>
                    <a:pt x="7491" y="3976"/>
                  </a:lnTo>
                  <a:lnTo>
                    <a:pt x="7554" y="3704"/>
                  </a:lnTo>
                  <a:lnTo>
                    <a:pt x="7470" y="3495"/>
                  </a:lnTo>
                  <a:lnTo>
                    <a:pt x="7450" y="3432"/>
                  </a:lnTo>
                  <a:lnTo>
                    <a:pt x="7638" y="3244"/>
                  </a:lnTo>
                  <a:lnTo>
                    <a:pt x="7743" y="3223"/>
                  </a:lnTo>
                  <a:lnTo>
                    <a:pt x="7847" y="3139"/>
                  </a:lnTo>
                  <a:lnTo>
                    <a:pt x="7910" y="3139"/>
                  </a:lnTo>
                  <a:lnTo>
                    <a:pt x="8015" y="3035"/>
                  </a:lnTo>
                  <a:lnTo>
                    <a:pt x="8015" y="2909"/>
                  </a:lnTo>
                  <a:lnTo>
                    <a:pt x="7868" y="2867"/>
                  </a:lnTo>
                  <a:lnTo>
                    <a:pt x="7743" y="2909"/>
                  </a:lnTo>
                  <a:lnTo>
                    <a:pt x="7554" y="2888"/>
                  </a:lnTo>
                  <a:lnTo>
                    <a:pt x="7491" y="2721"/>
                  </a:lnTo>
                  <a:lnTo>
                    <a:pt x="7282" y="2658"/>
                  </a:lnTo>
                  <a:lnTo>
                    <a:pt x="7073" y="2595"/>
                  </a:lnTo>
                  <a:lnTo>
                    <a:pt x="6864" y="2407"/>
                  </a:lnTo>
                  <a:lnTo>
                    <a:pt x="6843" y="2240"/>
                  </a:lnTo>
                  <a:lnTo>
                    <a:pt x="6738" y="1863"/>
                  </a:lnTo>
                  <a:lnTo>
                    <a:pt x="6634" y="1675"/>
                  </a:lnTo>
                  <a:lnTo>
                    <a:pt x="6634" y="1507"/>
                  </a:lnTo>
                  <a:lnTo>
                    <a:pt x="6738" y="1465"/>
                  </a:lnTo>
                  <a:lnTo>
                    <a:pt x="6738" y="1340"/>
                  </a:lnTo>
                  <a:lnTo>
                    <a:pt x="6885" y="1235"/>
                  </a:lnTo>
                  <a:lnTo>
                    <a:pt x="6885" y="1110"/>
                  </a:lnTo>
                  <a:lnTo>
                    <a:pt x="6738" y="1047"/>
                  </a:lnTo>
                  <a:lnTo>
                    <a:pt x="6717" y="921"/>
                  </a:lnTo>
                  <a:lnTo>
                    <a:pt x="6550" y="838"/>
                  </a:lnTo>
                  <a:lnTo>
                    <a:pt x="6403" y="712"/>
                  </a:lnTo>
                  <a:lnTo>
                    <a:pt x="6278" y="566"/>
                  </a:lnTo>
                  <a:lnTo>
                    <a:pt x="6173" y="608"/>
                  </a:lnTo>
                  <a:lnTo>
                    <a:pt x="6090" y="628"/>
                  </a:lnTo>
                  <a:lnTo>
                    <a:pt x="6006" y="566"/>
                  </a:lnTo>
                  <a:lnTo>
                    <a:pt x="5985" y="315"/>
                  </a:lnTo>
                  <a:lnTo>
                    <a:pt x="6236" y="147"/>
                  </a:lnTo>
                  <a:lnTo>
                    <a:pt x="6215" y="64"/>
                  </a:lnTo>
                  <a:lnTo>
                    <a:pt x="6027" y="84"/>
                  </a:lnTo>
                  <a:lnTo>
                    <a:pt x="590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4" name="Google Shape;884;p34"/>
            <p:cNvSpPr/>
            <p:nvPr/>
          </p:nvSpPr>
          <p:spPr>
            <a:xfrm>
              <a:off x="4148462" y="2870746"/>
              <a:ext cx="91200" cy="72579"/>
            </a:xfrm>
            <a:custGeom>
              <a:avLst/>
              <a:gdLst/>
              <a:ahLst/>
              <a:cxnLst/>
              <a:rect l="l" t="t" r="r" b="b"/>
              <a:pathLst>
                <a:path w="7659" h="6382" extrusionOk="0">
                  <a:moveTo>
                    <a:pt x="5295" y="0"/>
                  </a:moveTo>
                  <a:lnTo>
                    <a:pt x="5232" y="105"/>
                  </a:lnTo>
                  <a:lnTo>
                    <a:pt x="5211" y="272"/>
                  </a:lnTo>
                  <a:lnTo>
                    <a:pt x="5127" y="335"/>
                  </a:lnTo>
                  <a:lnTo>
                    <a:pt x="5106" y="419"/>
                  </a:lnTo>
                  <a:lnTo>
                    <a:pt x="5127" y="565"/>
                  </a:lnTo>
                  <a:lnTo>
                    <a:pt x="5043" y="691"/>
                  </a:lnTo>
                  <a:lnTo>
                    <a:pt x="4918" y="691"/>
                  </a:lnTo>
                  <a:lnTo>
                    <a:pt x="4897" y="649"/>
                  </a:lnTo>
                  <a:lnTo>
                    <a:pt x="4834" y="649"/>
                  </a:lnTo>
                  <a:lnTo>
                    <a:pt x="4792" y="691"/>
                  </a:lnTo>
                  <a:lnTo>
                    <a:pt x="4667" y="732"/>
                  </a:lnTo>
                  <a:lnTo>
                    <a:pt x="4667" y="837"/>
                  </a:lnTo>
                  <a:lnTo>
                    <a:pt x="4709" y="879"/>
                  </a:lnTo>
                  <a:lnTo>
                    <a:pt x="4709" y="963"/>
                  </a:lnTo>
                  <a:lnTo>
                    <a:pt x="4520" y="942"/>
                  </a:lnTo>
                  <a:lnTo>
                    <a:pt x="4458" y="858"/>
                  </a:lnTo>
                  <a:lnTo>
                    <a:pt x="4395" y="837"/>
                  </a:lnTo>
                  <a:lnTo>
                    <a:pt x="4332" y="879"/>
                  </a:lnTo>
                  <a:lnTo>
                    <a:pt x="4269" y="900"/>
                  </a:lnTo>
                  <a:lnTo>
                    <a:pt x="4207" y="984"/>
                  </a:lnTo>
                  <a:lnTo>
                    <a:pt x="4081" y="1067"/>
                  </a:lnTo>
                  <a:lnTo>
                    <a:pt x="3893" y="1088"/>
                  </a:lnTo>
                  <a:lnTo>
                    <a:pt x="3788" y="1067"/>
                  </a:lnTo>
                  <a:lnTo>
                    <a:pt x="3683" y="900"/>
                  </a:lnTo>
                  <a:lnTo>
                    <a:pt x="3579" y="879"/>
                  </a:lnTo>
                  <a:lnTo>
                    <a:pt x="3474" y="984"/>
                  </a:lnTo>
                  <a:lnTo>
                    <a:pt x="3411" y="984"/>
                  </a:lnTo>
                  <a:lnTo>
                    <a:pt x="3328" y="879"/>
                  </a:lnTo>
                  <a:lnTo>
                    <a:pt x="3223" y="795"/>
                  </a:lnTo>
                  <a:lnTo>
                    <a:pt x="3014" y="858"/>
                  </a:lnTo>
                  <a:lnTo>
                    <a:pt x="2993" y="837"/>
                  </a:lnTo>
                  <a:lnTo>
                    <a:pt x="2847" y="858"/>
                  </a:lnTo>
                  <a:lnTo>
                    <a:pt x="2742" y="774"/>
                  </a:lnTo>
                  <a:lnTo>
                    <a:pt x="2595" y="837"/>
                  </a:lnTo>
                  <a:lnTo>
                    <a:pt x="2428" y="942"/>
                  </a:lnTo>
                  <a:lnTo>
                    <a:pt x="2386" y="942"/>
                  </a:lnTo>
                  <a:lnTo>
                    <a:pt x="2219" y="984"/>
                  </a:lnTo>
                  <a:lnTo>
                    <a:pt x="2177" y="1046"/>
                  </a:lnTo>
                  <a:lnTo>
                    <a:pt x="2114" y="1067"/>
                  </a:lnTo>
                  <a:lnTo>
                    <a:pt x="2093" y="1109"/>
                  </a:lnTo>
                  <a:lnTo>
                    <a:pt x="2156" y="1172"/>
                  </a:lnTo>
                  <a:lnTo>
                    <a:pt x="2156" y="1297"/>
                  </a:lnTo>
                  <a:lnTo>
                    <a:pt x="2010" y="1423"/>
                  </a:lnTo>
                  <a:lnTo>
                    <a:pt x="2010" y="1590"/>
                  </a:lnTo>
                  <a:lnTo>
                    <a:pt x="1989" y="1716"/>
                  </a:lnTo>
                  <a:lnTo>
                    <a:pt x="1884" y="1737"/>
                  </a:lnTo>
                  <a:lnTo>
                    <a:pt x="1800" y="1821"/>
                  </a:lnTo>
                  <a:lnTo>
                    <a:pt x="1779" y="1883"/>
                  </a:lnTo>
                  <a:lnTo>
                    <a:pt x="1570" y="1925"/>
                  </a:lnTo>
                  <a:lnTo>
                    <a:pt x="1382" y="2030"/>
                  </a:lnTo>
                  <a:lnTo>
                    <a:pt x="1424" y="2113"/>
                  </a:lnTo>
                  <a:lnTo>
                    <a:pt x="1340" y="2155"/>
                  </a:lnTo>
                  <a:lnTo>
                    <a:pt x="1319" y="2239"/>
                  </a:lnTo>
                  <a:lnTo>
                    <a:pt x="1235" y="2344"/>
                  </a:lnTo>
                  <a:lnTo>
                    <a:pt x="1068" y="2365"/>
                  </a:lnTo>
                  <a:lnTo>
                    <a:pt x="1026" y="2427"/>
                  </a:lnTo>
                  <a:lnTo>
                    <a:pt x="963" y="2365"/>
                  </a:lnTo>
                  <a:lnTo>
                    <a:pt x="922" y="2302"/>
                  </a:lnTo>
                  <a:lnTo>
                    <a:pt x="796" y="2197"/>
                  </a:lnTo>
                  <a:lnTo>
                    <a:pt x="712" y="2197"/>
                  </a:lnTo>
                  <a:lnTo>
                    <a:pt x="629" y="2260"/>
                  </a:lnTo>
                  <a:lnTo>
                    <a:pt x="524" y="2260"/>
                  </a:lnTo>
                  <a:lnTo>
                    <a:pt x="440" y="2197"/>
                  </a:lnTo>
                  <a:lnTo>
                    <a:pt x="315" y="2155"/>
                  </a:lnTo>
                  <a:lnTo>
                    <a:pt x="273" y="2197"/>
                  </a:lnTo>
                  <a:lnTo>
                    <a:pt x="273" y="2365"/>
                  </a:lnTo>
                  <a:lnTo>
                    <a:pt x="273" y="2448"/>
                  </a:lnTo>
                  <a:lnTo>
                    <a:pt x="210" y="2532"/>
                  </a:lnTo>
                  <a:lnTo>
                    <a:pt x="294" y="2637"/>
                  </a:lnTo>
                  <a:lnTo>
                    <a:pt x="273" y="2657"/>
                  </a:lnTo>
                  <a:lnTo>
                    <a:pt x="273" y="2741"/>
                  </a:lnTo>
                  <a:lnTo>
                    <a:pt x="126" y="2846"/>
                  </a:lnTo>
                  <a:lnTo>
                    <a:pt x="1" y="2867"/>
                  </a:lnTo>
                  <a:lnTo>
                    <a:pt x="64" y="2950"/>
                  </a:lnTo>
                  <a:lnTo>
                    <a:pt x="168" y="3034"/>
                  </a:lnTo>
                  <a:lnTo>
                    <a:pt x="22" y="3181"/>
                  </a:lnTo>
                  <a:lnTo>
                    <a:pt x="85" y="3181"/>
                  </a:lnTo>
                  <a:lnTo>
                    <a:pt x="106" y="3390"/>
                  </a:lnTo>
                  <a:lnTo>
                    <a:pt x="106" y="3515"/>
                  </a:lnTo>
                  <a:lnTo>
                    <a:pt x="294" y="3557"/>
                  </a:lnTo>
                  <a:lnTo>
                    <a:pt x="336" y="3557"/>
                  </a:lnTo>
                  <a:lnTo>
                    <a:pt x="189" y="3787"/>
                  </a:lnTo>
                  <a:lnTo>
                    <a:pt x="126" y="3934"/>
                  </a:lnTo>
                  <a:lnTo>
                    <a:pt x="294" y="4227"/>
                  </a:lnTo>
                  <a:lnTo>
                    <a:pt x="378" y="4499"/>
                  </a:lnTo>
                  <a:lnTo>
                    <a:pt x="336" y="4562"/>
                  </a:lnTo>
                  <a:lnTo>
                    <a:pt x="398" y="4666"/>
                  </a:lnTo>
                  <a:lnTo>
                    <a:pt x="419" y="4875"/>
                  </a:lnTo>
                  <a:lnTo>
                    <a:pt x="922" y="4917"/>
                  </a:lnTo>
                  <a:lnTo>
                    <a:pt x="1005" y="5085"/>
                  </a:lnTo>
                  <a:lnTo>
                    <a:pt x="1005" y="5252"/>
                  </a:lnTo>
                  <a:lnTo>
                    <a:pt x="1047" y="5482"/>
                  </a:lnTo>
                  <a:lnTo>
                    <a:pt x="1005" y="5566"/>
                  </a:lnTo>
                  <a:lnTo>
                    <a:pt x="587" y="6131"/>
                  </a:lnTo>
                  <a:lnTo>
                    <a:pt x="1361" y="6382"/>
                  </a:lnTo>
                  <a:lnTo>
                    <a:pt x="2051" y="6340"/>
                  </a:lnTo>
                  <a:lnTo>
                    <a:pt x="2219" y="6298"/>
                  </a:lnTo>
                  <a:lnTo>
                    <a:pt x="2407" y="6319"/>
                  </a:lnTo>
                  <a:lnTo>
                    <a:pt x="2491" y="6235"/>
                  </a:lnTo>
                  <a:lnTo>
                    <a:pt x="2679" y="6194"/>
                  </a:lnTo>
                  <a:lnTo>
                    <a:pt x="2993" y="6194"/>
                  </a:lnTo>
                  <a:lnTo>
                    <a:pt x="3160" y="6173"/>
                  </a:lnTo>
                  <a:lnTo>
                    <a:pt x="3370" y="6173"/>
                  </a:lnTo>
                  <a:lnTo>
                    <a:pt x="3621" y="6068"/>
                  </a:lnTo>
                  <a:lnTo>
                    <a:pt x="3621" y="5963"/>
                  </a:lnTo>
                  <a:lnTo>
                    <a:pt x="3579" y="5859"/>
                  </a:lnTo>
                  <a:lnTo>
                    <a:pt x="3579" y="5712"/>
                  </a:lnTo>
                  <a:lnTo>
                    <a:pt x="3537" y="5545"/>
                  </a:lnTo>
                  <a:lnTo>
                    <a:pt x="3537" y="5378"/>
                  </a:lnTo>
                  <a:lnTo>
                    <a:pt x="3621" y="5273"/>
                  </a:lnTo>
                  <a:lnTo>
                    <a:pt x="3725" y="5252"/>
                  </a:lnTo>
                  <a:lnTo>
                    <a:pt x="3746" y="5147"/>
                  </a:lnTo>
                  <a:lnTo>
                    <a:pt x="3788" y="5064"/>
                  </a:lnTo>
                  <a:lnTo>
                    <a:pt x="3935" y="5043"/>
                  </a:lnTo>
                  <a:lnTo>
                    <a:pt x="3997" y="5085"/>
                  </a:lnTo>
                  <a:lnTo>
                    <a:pt x="4207" y="4980"/>
                  </a:lnTo>
                  <a:lnTo>
                    <a:pt x="4269" y="4917"/>
                  </a:lnTo>
                  <a:lnTo>
                    <a:pt x="4186" y="4875"/>
                  </a:lnTo>
                  <a:lnTo>
                    <a:pt x="4395" y="4708"/>
                  </a:lnTo>
                  <a:lnTo>
                    <a:pt x="4416" y="4645"/>
                  </a:lnTo>
                  <a:lnTo>
                    <a:pt x="4583" y="4624"/>
                  </a:lnTo>
                  <a:lnTo>
                    <a:pt x="4625" y="4666"/>
                  </a:lnTo>
                  <a:lnTo>
                    <a:pt x="4771" y="4666"/>
                  </a:lnTo>
                  <a:lnTo>
                    <a:pt x="4792" y="4603"/>
                  </a:lnTo>
                  <a:lnTo>
                    <a:pt x="4834" y="4603"/>
                  </a:lnTo>
                  <a:lnTo>
                    <a:pt x="4981" y="4750"/>
                  </a:lnTo>
                  <a:lnTo>
                    <a:pt x="5085" y="4541"/>
                  </a:lnTo>
                  <a:lnTo>
                    <a:pt x="5043" y="4310"/>
                  </a:lnTo>
                  <a:lnTo>
                    <a:pt x="5085" y="4248"/>
                  </a:lnTo>
                  <a:lnTo>
                    <a:pt x="5085" y="4185"/>
                  </a:lnTo>
                  <a:lnTo>
                    <a:pt x="5127" y="4038"/>
                  </a:lnTo>
                  <a:lnTo>
                    <a:pt x="5148" y="3829"/>
                  </a:lnTo>
                  <a:lnTo>
                    <a:pt x="5190" y="3766"/>
                  </a:lnTo>
                  <a:lnTo>
                    <a:pt x="5316" y="3725"/>
                  </a:lnTo>
                  <a:lnTo>
                    <a:pt x="5441" y="3662"/>
                  </a:lnTo>
                  <a:lnTo>
                    <a:pt x="5462" y="3578"/>
                  </a:lnTo>
                  <a:lnTo>
                    <a:pt x="5420" y="3411"/>
                  </a:lnTo>
                  <a:lnTo>
                    <a:pt x="5295" y="3348"/>
                  </a:lnTo>
                  <a:lnTo>
                    <a:pt x="5232" y="3181"/>
                  </a:lnTo>
                  <a:lnTo>
                    <a:pt x="5357" y="3097"/>
                  </a:lnTo>
                  <a:lnTo>
                    <a:pt x="5567" y="3181"/>
                  </a:lnTo>
                  <a:lnTo>
                    <a:pt x="5776" y="3181"/>
                  </a:lnTo>
                  <a:lnTo>
                    <a:pt x="5943" y="2950"/>
                  </a:lnTo>
                  <a:lnTo>
                    <a:pt x="5943" y="2783"/>
                  </a:lnTo>
                  <a:lnTo>
                    <a:pt x="5818" y="2657"/>
                  </a:lnTo>
                  <a:lnTo>
                    <a:pt x="6069" y="2323"/>
                  </a:lnTo>
                  <a:lnTo>
                    <a:pt x="6048" y="2051"/>
                  </a:lnTo>
                  <a:lnTo>
                    <a:pt x="5818" y="1695"/>
                  </a:lnTo>
                  <a:lnTo>
                    <a:pt x="5901" y="1590"/>
                  </a:lnTo>
                  <a:lnTo>
                    <a:pt x="6027" y="1465"/>
                  </a:lnTo>
                  <a:lnTo>
                    <a:pt x="6173" y="1465"/>
                  </a:lnTo>
                  <a:lnTo>
                    <a:pt x="6299" y="1318"/>
                  </a:lnTo>
                  <a:lnTo>
                    <a:pt x="6487" y="1214"/>
                  </a:lnTo>
                  <a:lnTo>
                    <a:pt x="6613" y="1297"/>
                  </a:lnTo>
                  <a:lnTo>
                    <a:pt x="6801" y="1277"/>
                  </a:lnTo>
                  <a:lnTo>
                    <a:pt x="7199" y="1172"/>
                  </a:lnTo>
                  <a:lnTo>
                    <a:pt x="7450" y="1067"/>
                  </a:lnTo>
                  <a:lnTo>
                    <a:pt x="7596" y="879"/>
                  </a:lnTo>
                  <a:lnTo>
                    <a:pt x="7471" y="858"/>
                  </a:lnTo>
                  <a:lnTo>
                    <a:pt x="7659" y="691"/>
                  </a:lnTo>
                  <a:lnTo>
                    <a:pt x="7638" y="586"/>
                  </a:lnTo>
                  <a:lnTo>
                    <a:pt x="7387" y="586"/>
                  </a:lnTo>
                  <a:lnTo>
                    <a:pt x="7324" y="691"/>
                  </a:lnTo>
                  <a:lnTo>
                    <a:pt x="7094" y="732"/>
                  </a:lnTo>
                  <a:lnTo>
                    <a:pt x="7073" y="586"/>
                  </a:lnTo>
                  <a:lnTo>
                    <a:pt x="6906" y="649"/>
                  </a:lnTo>
                  <a:lnTo>
                    <a:pt x="6655" y="795"/>
                  </a:lnTo>
                  <a:lnTo>
                    <a:pt x="6571" y="858"/>
                  </a:lnTo>
                  <a:lnTo>
                    <a:pt x="6550" y="984"/>
                  </a:lnTo>
                  <a:lnTo>
                    <a:pt x="6424" y="1067"/>
                  </a:lnTo>
                  <a:lnTo>
                    <a:pt x="6257" y="1151"/>
                  </a:lnTo>
                  <a:lnTo>
                    <a:pt x="6236" y="1193"/>
                  </a:lnTo>
                  <a:lnTo>
                    <a:pt x="6132" y="1277"/>
                  </a:lnTo>
                  <a:lnTo>
                    <a:pt x="5985" y="1277"/>
                  </a:lnTo>
                  <a:lnTo>
                    <a:pt x="5880" y="1256"/>
                  </a:lnTo>
                  <a:lnTo>
                    <a:pt x="5880" y="1172"/>
                  </a:lnTo>
                  <a:lnTo>
                    <a:pt x="5776" y="1046"/>
                  </a:lnTo>
                  <a:lnTo>
                    <a:pt x="5776" y="837"/>
                  </a:lnTo>
                  <a:lnTo>
                    <a:pt x="5755" y="691"/>
                  </a:lnTo>
                  <a:lnTo>
                    <a:pt x="5776" y="565"/>
                  </a:lnTo>
                  <a:lnTo>
                    <a:pt x="5734" y="460"/>
                  </a:lnTo>
                  <a:lnTo>
                    <a:pt x="5629" y="460"/>
                  </a:lnTo>
                  <a:lnTo>
                    <a:pt x="5608" y="356"/>
                  </a:lnTo>
                  <a:lnTo>
                    <a:pt x="5629" y="209"/>
                  </a:lnTo>
                  <a:lnTo>
                    <a:pt x="5629" y="126"/>
                  </a:lnTo>
                  <a:lnTo>
                    <a:pt x="5525" y="63"/>
                  </a:lnTo>
                  <a:lnTo>
                    <a:pt x="54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5" name="Google Shape;885;p34"/>
            <p:cNvSpPr/>
            <p:nvPr/>
          </p:nvSpPr>
          <p:spPr>
            <a:xfrm>
              <a:off x="3884115" y="2761763"/>
              <a:ext cx="113133" cy="67348"/>
            </a:xfrm>
            <a:custGeom>
              <a:avLst/>
              <a:gdLst/>
              <a:ahLst/>
              <a:cxnLst/>
              <a:rect l="l" t="t" r="r" b="b"/>
              <a:pathLst>
                <a:path w="9501" h="5922" extrusionOk="0">
                  <a:moveTo>
                    <a:pt x="5064" y="0"/>
                  </a:moveTo>
                  <a:lnTo>
                    <a:pt x="4960" y="84"/>
                  </a:lnTo>
                  <a:lnTo>
                    <a:pt x="5002" y="209"/>
                  </a:lnTo>
                  <a:lnTo>
                    <a:pt x="4855" y="230"/>
                  </a:lnTo>
                  <a:lnTo>
                    <a:pt x="4751" y="209"/>
                  </a:lnTo>
                  <a:lnTo>
                    <a:pt x="4730" y="209"/>
                  </a:lnTo>
                  <a:lnTo>
                    <a:pt x="4500" y="272"/>
                  </a:lnTo>
                  <a:lnTo>
                    <a:pt x="4332" y="293"/>
                  </a:lnTo>
                  <a:lnTo>
                    <a:pt x="4228" y="502"/>
                  </a:lnTo>
                  <a:lnTo>
                    <a:pt x="4228" y="712"/>
                  </a:lnTo>
                  <a:lnTo>
                    <a:pt x="4102" y="712"/>
                  </a:lnTo>
                  <a:lnTo>
                    <a:pt x="3997" y="628"/>
                  </a:lnTo>
                  <a:lnTo>
                    <a:pt x="3851" y="691"/>
                  </a:lnTo>
                  <a:lnTo>
                    <a:pt x="3746" y="607"/>
                  </a:lnTo>
                  <a:lnTo>
                    <a:pt x="3642" y="628"/>
                  </a:lnTo>
                  <a:lnTo>
                    <a:pt x="3537" y="753"/>
                  </a:lnTo>
                  <a:lnTo>
                    <a:pt x="3432" y="732"/>
                  </a:lnTo>
                  <a:lnTo>
                    <a:pt x="3391" y="607"/>
                  </a:lnTo>
                  <a:lnTo>
                    <a:pt x="3244" y="607"/>
                  </a:lnTo>
                  <a:lnTo>
                    <a:pt x="3056" y="712"/>
                  </a:lnTo>
                  <a:lnTo>
                    <a:pt x="2972" y="649"/>
                  </a:lnTo>
                  <a:lnTo>
                    <a:pt x="2805" y="628"/>
                  </a:lnTo>
                  <a:lnTo>
                    <a:pt x="2763" y="691"/>
                  </a:lnTo>
                  <a:lnTo>
                    <a:pt x="2700" y="691"/>
                  </a:lnTo>
                  <a:lnTo>
                    <a:pt x="2595" y="607"/>
                  </a:lnTo>
                  <a:lnTo>
                    <a:pt x="2386" y="691"/>
                  </a:lnTo>
                  <a:lnTo>
                    <a:pt x="2344" y="628"/>
                  </a:lnTo>
                  <a:lnTo>
                    <a:pt x="2219" y="544"/>
                  </a:lnTo>
                  <a:lnTo>
                    <a:pt x="1884" y="502"/>
                  </a:lnTo>
                  <a:lnTo>
                    <a:pt x="1759" y="419"/>
                  </a:lnTo>
                  <a:lnTo>
                    <a:pt x="1675" y="419"/>
                  </a:lnTo>
                  <a:lnTo>
                    <a:pt x="1570" y="523"/>
                  </a:lnTo>
                  <a:lnTo>
                    <a:pt x="1382" y="523"/>
                  </a:lnTo>
                  <a:lnTo>
                    <a:pt x="963" y="586"/>
                  </a:lnTo>
                  <a:lnTo>
                    <a:pt x="859" y="628"/>
                  </a:lnTo>
                  <a:lnTo>
                    <a:pt x="671" y="544"/>
                  </a:lnTo>
                  <a:lnTo>
                    <a:pt x="608" y="544"/>
                  </a:lnTo>
                  <a:lnTo>
                    <a:pt x="566" y="649"/>
                  </a:lnTo>
                  <a:lnTo>
                    <a:pt x="608" y="921"/>
                  </a:lnTo>
                  <a:lnTo>
                    <a:pt x="650" y="1004"/>
                  </a:lnTo>
                  <a:lnTo>
                    <a:pt x="733" y="1151"/>
                  </a:lnTo>
                  <a:lnTo>
                    <a:pt x="859" y="1235"/>
                  </a:lnTo>
                  <a:lnTo>
                    <a:pt x="817" y="1318"/>
                  </a:lnTo>
                  <a:lnTo>
                    <a:pt x="838" y="1381"/>
                  </a:lnTo>
                  <a:lnTo>
                    <a:pt x="880" y="1465"/>
                  </a:lnTo>
                  <a:lnTo>
                    <a:pt x="838" y="1653"/>
                  </a:lnTo>
                  <a:lnTo>
                    <a:pt x="754" y="1653"/>
                  </a:lnTo>
                  <a:lnTo>
                    <a:pt x="650" y="1737"/>
                  </a:lnTo>
                  <a:lnTo>
                    <a:pt x="629" y="1904"/>
                  </a:lnTo>
                  <a:lnTo>
                    <a:pt x="252" y="2302"/>
                  </a:lnTo>
                  <a:lnTo>
                    <a:pt x="294" y="2469"/>
                  </a:lnTo>
                  <a:lnTo>
                    <a:pt x="294" y="2637"/>
                  </a:lnTo>
                  <a:lnTo>
                    <a:pt x="147" y="2616"/>
                  </a:lnTo>
                  <a:lnTo>
                    <a:pt x="43" y="2888"/>
                  </a:lnTo>
                  <a:lnTo>
                    <a:pt x="22" y="3097"/>
                  </a:lnTo>
                  <a:lnTo>
                    <a:pt x="1" y="3097"/>
                  </a:lnTo>
                  <a:lnTo>
                    <a:pt x="126" y="3222"/>
                  </a:lnTo>
                  <a:lnTo>
                    <a:pt x="294" y="3327"/>
                  </a:lnTo>
                  <a:lnTo>
                    <a:pt x="315" y="3432"/>
                  </a:lnTo>
                  <a:lnTo>
                    <a:pt x="440" y="3432"/>
                  </a:lnTo>
                  <a:lnTo>
                    <a:pt x="524" y="3348"/>
                  </a:lnTo>
                  <a:lnTo>
                    <a:pt x="629" y="3348"/>
                  </a:lnTo>
                  <a:lnTo>
                    <a:pt x="838" y="3453"/>
                  </a:lnTo>
                  <a:lnTo>
                    <a:pt x="984" y="3473"/>
                  </a:lnTo>
                  <a:lnTo>
                    <a:pt x="1152" y="3536"/>
                  </a:lnTo>
                  <a:lnTo>
                    <a:pt x="1194" y="3641"/>
                  </a:lnTo>
                  <a:lnTo>
                    <a:pt x="1340" y="3683"/>
                  </a:lnTo>
                  <a:lnTo>
                    <a:pt x="1487" y="3641"/>
                  </a:lnTo>
                  <a:lnTo>
                    <a:pt x="1612" y="3641"/>
                  </a:lnTo>
                  <a:lnTo>
                    <a:pt x="1717" y="3515"/>
                  </a:lnTo>
                  <a:lnTo>
                    <a:pt x="2114" y="3453"/>
                  </a:lnTo>
                  <a:lnTo>
                    <a:pt x="2240" y="3369"/>
                  </a:lnTo>
                  <a:lnTo>
                    <a:pt x="2386" y="3348"/>
                  </a:lnTo>
                  <a:lnTo>
                    <a:pt x="2344" y="3201"/>
                  </a:lnTo>
                  <a:lnTo>
                    <a:pt x="2386" y="3139"/>
                  </a:lnTo>
                  <a:lnTo>
                    <a:pt x="2344" y="2992"/>
                  </a:lnTo>
                  <a:lnTo>
                    <a:pt x="2428" y="3013"/>
                  </a:lnTo>
                  <a:lnTo>
                    <a:pt x="2449" y="2992"/>
                  </a:lnTo>
                  <a:lnTo>
                    <a:pt x="2554" y="3034"/>
                  </a:lnTo>
                  <a:lnTo>
                    <a:pt x="2616" y="2992"/>
                  </a:lnTo>
                  <a:lnTo>
                    <a:pt x="2742" y="2992"/>
                  </a:lnTo>
                  <a:lnTo>
                    <a:pt x="2763" y="2929"/>
                  </a:lnTo>
                  <a:lnTo>
                    <a:pt x="2867" y="3055"/>
                  </a:lnTo>
                  <a:lnTo>
                    <a:pt x="3014" y="3055"/>
                  </a:lnTo>
                  <a:lnTo>
                    <a:pt x="3181" y="3243"/>
                  </a:lnTo>
                  <a:lnTo>
                    <a:pt x="3370" y="3243"/>
                  </a:lnTo>
                  <a:lnTo>
                    <a:pt x="3391" y="3201"/>
                  </a:lnTo>
                  <a:lnTo>
                    <a:pt x="3453" y="3201"/>
                  </a:lnTo>
                  <a:lnTo>
                    <a:pt x="3642" y="3369"/>
                  </a:lnTo>
                  <a:lnTo>
                    <a:pt x="3788" y="3453"/>
                  </a:lnTo>
                  <a:lnTo>
                    <a:pt x="3809" y="3641"/>
                  </a:lnTo>
                  <a:lnTo>
                    <a:pt x="3809" y="3787"/>
                  </a:lnTo>
                  <a:lnTo>
                    <a:pt x="3956" y="3850"/>
                  </a:lnTo>
                  <a:lnTo>
                    <a:pt x="3956" y="3892"/>
                  </a:lnTo>
                  <a:lnTo>
                    <a:pt x="4102" y="4038"/>
                  </a:lnTo>
                  <a:lnTo>
                    <a:pt x="4269" y="4143"/>
                  </a:lnTo>
                  <a:lnTo>
                    <a:pt x="4290" y="4248"/>
                  </a:lnTo>
                  <a:lnTo>
                    <a:pt x="4269" y="4352"/>
                  </a:lnTo>
                  <a:lnTo>
                    <a:pt x="4332" y="4457"/>
                  </a:lnTo>
                  <a:lnTo>
                    <a:pt x="4311" y="4499"/>
                  </a:lnTo>
                  <a:lnTo>
                    <a:pt x="4123" y="4499"/>
                  </a:lnTo>
                  <a:lnTo>
                    <a:pt x="4060" y="4415"/>
                  </a:lnTo>
                  <a:lnTo>
                    <a:pt x="3893" y="4478"/>
                  </a:lnTo>
                  <a:lnTo>
                    <a:pt x="3788" y="4478"/>
                  </a:lnTo>
                  <a:lnTo>
                    <a:pt x="3767" y="4687"/>
                  </a:lnTo>
                  <a:lnTo>
                    <a:pt x="3767" y="4834"/>
                  </a:lnTo>
                  <a:lnTo>
                    <a:pt x="3704" y="4813"/>
                  </a:lnTo>
                  <a:lnTo>
                    <a:pt x="3600" y="5022"/>
                  </a:lnTo>
                  <a:lnTo>
                    <a:pt x="3600" y="5126"/>
                  </a:lnTo>
                  <a:lnTo>
                    <a:pt x="3495" y="5106"/>
                  </a:lnTo>
                  <a:lnTo>
                    <a:pt x="3432" y="5147"/>
                  </a:lnTo>
                  <a:lnTo>
                    <a:pt x="3537" y="5315"/>
                  </a:lnTo>
                  <a:lnTo>
                    <a:pt x="3684" y="5357"/>
                  </a:lnTo>
                  <a:lnTo>
                    <a:pt x="3893" y="5357"/>
                  </a:lnTo>
                  <a:lnTo>
                    <a:pt x="3976" y="5294"/>
                  </a:lnTo>
                  <a:lnTo>
                    <a:pt x="4165" y="5294"/>
                  </a:lnTo>
                  <a:lnTo>
                    <a:pt x="4269" y="5357"/>
                  </a:lnTo>
                  <a:lnTo>
                    <a:pt x="4290" y="5252"/>
                  </a:lnTo>
                  <a:lnTo>
                    <a:pt x="4228" y="5189"/>
                  </a:lnTo>
                  <a:lnTo>
                    <a:pt x="4228" y="5106"/>
                  </a:lnTo>
                  <a:lnTo>
                    <a:pt x="4228" y="5022"/>
                  </a:lnTo>
                  <a:lnTo>
                    <a:pt x="4290" y="5106"/>
                  </a:lnTo>
                  <a:lnTo>
                    <a:pt x="4374" y="5106"/>
                  </a:lnTo>
                  <a:lnTo>
                    <a:pt x="4583" y="4834"/>
                  </a:lnTo>
                  <a:lnTo>
                    <a:pt x="4541" y="4771"/>
                  </a:lnTo>
                  <a:lnTo>
                    <a:pt x="4604" y="4771"/>
                  </a:lnTo>
                  <a:lnTo>
                    <a:pt x="4730" y="4603"/>
                  </a:lnTo>
                  <a:lnTo>
                    <a:pt x="4730" y="4478"/>
                  </a:lnTo>
                  <a:lnTo>
                    <a:pt x="4813" y="4394"/>
                  </a:lnTo>
                  <a:lnTo>
                    <a:pt x="4939" y="4394"/>
                  </a:lnTo>
                  <a:lnTo>
                    <a:pt x="5064" y="4269"/>
                  </a:lnTo>
                  <a:lnTo>
                    <a:pt x="5127" y="4310"/>
                  </a:lnTo>
                  <a:lnTo>
                    <a:pt x="5127" y="4352"/>
                  </a:lnTo>
                  <a:lnTo>
                    <a:pt x="5232" y="4352"/>
                  </a:lnTo>
                  <a:lnTo>
                    <a:pt x="5274" y="4289"/>
                  </a:lnTo>
                  <a:lnTo>
                    <a:pt x="5336" y="4206"/>
                  </a:lnTo>
                  <a:lnTo>
                    <a:pt x="5357" y="4269"/>
                  </a:lnTo>
                  <a:lnTo>
                    <a:pt x="5441" y="4310"/>
                  </a:lnTo>
                  <a:lnTo>
                    <a:pt x="5525" y="4352"/>
                  </a:lnTo>
                  <a:lnTo>
                    <a:pt x="5692" y="4310"/>
                  </a:lnTo>
                  <a:lnTo>
                    <a:pt x="5567" y="4373"/>
                  </a:lnTo>
                  <a:lnTo>
                    <a:pt x="5483" y="4415"/>
                  </a:lnTo>
                  <a:lnTo>
                    <a:pt x="5378" y="4394"/>
                  </a:lnTo>
                  <a:lnTo>
                    <a:pt x="5211" y="4415"/>
                  </a:lnTo>
                  <a:lnTo>
                    <a:pt x="5064" y="4415"/>
                  </a:lnTo>
                  <a:lnTo>
                    <a:pt x="5127" y="4478"/>
                  </a:lnTo>
                  <a:lnTo>
                    <a:pt x="5336" y="4478"/>
                  </a:lnTo>
                  <a:lnTo>
                    <a:pt x="5483" y="4561"/>
                  </a:lnTo>
                  <a:lnTo>
                    <a:pt x="5462" y="4582"/>
                  </a:lnTo>
                  <a:lnTo>
                    <a:pt x="5420" y="4624"/>
                  </a:lnTo>
                  <a:lnTo>
                    <a:pt x="5483" y="4708"/>
                  </a:lnTo>
                  <a:lnTo>
                    <a:pt x="5567" y="4708"/>
                  </a:lnTo>
                  <a:lnTo>
                    <a:pt x="5671" y="4771"/>
                  </a:lnTo>
                  <a:lnTo>
                    <a:pt x="5797" y="4708"/>
                  </a:lnTo>
                  <a:lnTo>
                    <a:pt x="5943" y="4687"/>
                  </a:lnTo>
                  <a:lnTo>
                    <a:pt x="6069" y="4729"/>
                  </a:lnTo>
                  <a:lnTo>
                    <a:pt x="6173" y="4792"/>
                  </a:lnTo>
                  <a:lnTo>
                    <a:pt x="6194" y="4708"/>
                  </a:lnTo>
                  <a:lnTo>
                    <a:pt x="6257" y="4729"/>
                  </a:lnTo>
                  <a:lnTo>
                    <a:pt x="6278" y="4875"/>
                  </a:lnTo>
                  <a:lnTo>
                    <a:pt x="6362" y="4938"/>
                  </a:lnTo>
                  <a:lnTo>
                    <a:pt x="6299" y="4980"/>
                  </a:lnTo>
                  <a:lnTo>
                    <a:pt x="6111" y="5022"/>
                  </a:lnTo>
                  <a:lnTo>
                    <a:pt x="5943" y="5126"/>
                  </a:lnTo>
                  <a:lnTo>
                    <a:pt x="5797" y="5315"/>
                  </a:lnTo>
                  <a:lnTo>
                    <a:pt x="5901" y="5357"/>
                  </a:lnTo>
                  <a:lnTo>
                    <a:pt x="5985" y="5294"/>
                  </a:lnTo>
                  <a:lnTo>
                    <a:pt x="6111" y="5357"/>
                  </a:lnTo>
                  <a:lnTo>
                    <a:pt x="6173" y="5336"/>
                  </a:lnTo>
                  <a:lnTo>
                    <a:pt x="6362" y="5503"/>
                  </a:lnTo>
                  <a:lnTo>
                    <a:pt x="6383" y="5566"/>
                  </a:lnTo>
                  <a:lnTo>
                    <a:pt x="6299" y="5775"/>
                  </a:lnTo>
                  <a:lnTo>
                    <a:pt x="6278" y="5838"/>
                  </a:lnTo>
                  <a:lnTo>
                    <a:pt x="6383" y="5922"/>
                  </a:lnTo>
                  <a:lnTo>
                    <a:pt x="6592" y="5922"/>
                  </a:lnTo>
                  <a:lnTo>
                    <a:pt x="6780" y="5817"/>
                  </a:lnTo>
                  <a:lnTo>
                    <a:pt x="7031" y="5629"/>
                  </a:lnTo>
                  <a:lnTo>
                    <a:pt x="7220" y="5629"/>
                  </a:lnTo>
                  <a:lnTo>
                    <a:pt x="7324" y="5503"/>
                  </a:lnTo>
                  <a:lnTo>
                    <a:pt x="7450" y="5419"/>
                  </a:lnTo>
                  <a:lnTo>
                    <a:pt x="7680" y="5440"/>
                  </a:lnTo>
                  <a:lnTo>
                    <a:pt x="7889" y="5440"/>
                  </a:lnTo>
                  <a:lnTo>
                    <a:pt x="7952" y="5336"/>
                  </a:lnTo>
                  <a:lnTo>
                    <a:pt x="7889" y="5231"/>
                  </a:lnTo>
                  <a:lnTo>
                    <a:pt x="7952" y="5210"/>
                  </a:lnTo>
                  <a:lnTo>
                    <a:pt x="7994" y="5126"/>
                  </a:lnTo>
                  <a:lnTo>
                    <a:pt x="7847" y="5106"/>
                  </a:lnTo>
                  <a:lnTo>
                    <a:pt x="7659" y="5126"/>
                  </a:lnTo>
                  <a:lnTo>
                    <a:pt x="7638" y="5252"/>
                  </a:lnTo>
                  <a:lnTo>
                    <a:pt x="7513" y="5189"/>
                  </a:lnTo>
                  <a:lnTo>
                    <a:pt x="7450" y="5189"/>
                  </a:lnTo>
                  <a:lnTo>
                    <a:pt x="7345" y="5294"/>
                  </a:lnTo>
                  <a:lnTo>
                    <a:pt x="7303" y="5252"/>
                  </a:lnTo>
                  <a:lnTo>
                    <a:pt x="7010" y="4938"/>
                  </a:lnTo>
                  <a:lnTo>
                    <a:pt x="6948" y="4813"/>
                  </a:lnTo>
                  <a:lnTo>
                    <a:pt x="6885" y="4687"/>
                  </a:lnTo>
                  <a:lnTo>
                    <a:pt x="6822" y="4708"/>
                  </a:lnTo>
                  <a:lnTo>
                    <a:pt x="6885" y="4875"/>
                  </a:lnTo>
                  <a:lnTo>
                    <a:pt x="7094" y="5106"/>
                  </a:lnTo>
                  <a:lnTo>
                    <a:pt x="7261" y="5294"/>
                  </a:lnTo>
                  <a:lnTo>
                    <a:pt x="7220" y="5315"/>
                  </a:lnTo>
                  <a:lnTo>
                    <a:pt x="7094" y="5294"/>
                  </a:lnTo>
                  <a:lnTo>
                    <a:pt x="7031" y="5210"/>
                  </a:lnTo>
                  <a:lnTo>
                    <a:pt x="7010" y="5085"/>
                  </a:lnTo>
                  <a:lnTo>
                    <a:pt x="6927" y="5043"/>
                  </a:lnTo>
                  <a:lnTo>
                    <a:pt x="6885" y="5106"/>
                  </a:lnTo>
                  <a:lnTo>
                    <a:pt x="6885" y="5022"/>
                  </a:lnTo>
                  <a:lnTo>
                    <a:pt x="6822" y="5022"/>
                  </a:lnTo>
                  <a:lnTo>
                    <a:pt x="6780" y="5043"/>
                  </a:lnTo>
                  <a:lnTo>
                    <a:pt x="6780" y="5001"/>
                  </a:lnTo>
                  <a:lnTo>
                    <a:pt x="6822" y="4917"/>
                  </a:lnTo>
                  <a:lnTo>
                    <a:pt x="6801" y="4875"/>
                  </a:lnTo>
                  <a:lnTo>
                    <a:pt x="6717" y="4896"/>
                  </a:lnTo>
                  <a:lnTo>
                    <a:pt x="6676" y="4834"/>
                  </a:lnTo>
                  <a:lnTo>
                    <a:pt x="6592" y="4771"/>
                  </a:lnTo>
                  <a:lnTo>
                    <a:pt x="6404" y="4792"/>
                  </a:lnTo>
                  <a:lnTo>
                    <a:pt x="6320" y="4729"/>
                  </a:lnTo>
                  <a:lnTo>
                    <a:pt x="6362" y="4687"/>
                  </a:lnTo>
                  <a:lnTo>
                    <a:pt x="6487" y="4708"/>
                  </a:lnTo>
                  <a:lnTo>
                    <a:pt x="6529" y="4624"/>
                  </a:lnTo>
                  <a:lnTo>
                    <a:pt x="6634" y="4708"/>
                  </a:lnTo>
                  <a:lnTo>
                    <a:pt x="6738" y="4708"/>
                  </a:lnTo>
                  <a:lnTo>
                    <a:pt x="6780" y="4624"/>
                  </a:lnTo>
                  <a:lnTo>
                    <a:pt x="6885" y="4603"/>
                  </a:lnTo>
                  <a:lnTo>
                    <a:pt x="7052" y="4415"/>
                  </a:lnTo>
                  <a:lnTo>
                    <a:pt x="7052" y="4373"/>
                  </a:lnTo>
                  <a:lnTo>
                    <a:pt x="7136" y="4394"/>
                  </a:lnTo>
                  <a:lnTo>
                    <a:pt x="7136" y="4457"/>
                  </a:lnTo>
                  <a:lnTo>
                    <a:pt x="7031" y="4582"/>
                  </a:lnTo>
                  <a:lnTo>
                    <a:pt x="6989" y="4603"/>
                  </a:lnTo>
                  <a:lnTo>
                    <a:pt x="7010" y="4666"/>
                  </a:lnTo>
                  <a:lnTo>
                    <a:pt x="7094" y="4624"/>
                  </a:lnTo>
                  <a:lnTo>
                    <a:pt x="7220" y="4457"/>
                  </a:lnTo>
                  <a:lnTo>
                    <a:pt x="7241" y="4373"/>
                  </a:lnTo>
                  <a:lnTo>
                    <a:pt x="7157" y="4289"/>
                  </a:lnTo>
                  <a:lnTo>
                    <a:pt x="7136" y="4248"/>
                  </a:lnTo>
                  <a:lnTo>
                    <a:pt x="7199" y="4206"/>
                  </a:lnTo>
                  <a:lnTo>
                    <a:pt x="7261" y="4352"/>
                  </a:lnTo>
                  <a:lnTo>
                    <a:pt x="7345" y="4373"/>
                  </a:lnTo>
                  <a:lnTo>
                    <a:pt x="7450" y="4289"/>
                  </a:lnTo>
                  <a:lnTo>
                    <a:pt x="7617" y="4310"/>
                  </a:lnTo>
                  <a:lnTo>
                    <a:pt x="7722" y="4248"/>
                  </a:lnTo>
                  <a:lnTo>
                    <a:pt x="7868" y="4248"/>
                  </a:lnTo>
                  <a:lnTo>
                    <a:pt x="7973" y="4101"/>
                  </a:lnTo>
                  <a:lnTo>
                    <a:pt x="8057" y="4038"/>
                  </a:lnTo>
                  <a:lnTo>
                    <a:pt x="8182" y="4038"/>
                  </a:lnTo>
                  <a:lnTo>
                    <a:pt x="8203" y="3934"/>
                  </a:lnTo>
                  <a:lnTo>
                    <a:pt x="8287" y="3871"/>
                  </a:lnTo>
                  <a:lnTo>
                    <a:pt x="8454" y="3871"/>
                  </a:lnTo>
                  <a:lnTo>
                    <a:pt x="8580" y="3829"/>
                  </a:lnTo>
                  <a:lnTo>
                    <a:pt x="8663" y="3829"/>
                  </a:lnTo>
                  <a:lnTo>
                    <a:pt x="8663" y="3892"/>
                  </a:lnTo>
                  <a:lnTo>
                    <a:pt x="8768" y="3850"/>
                  </a:lnTo>
                  <a:lnTo>
                    <a:pt x="8789" y="3578"/>
                  </a:lnTo>
                  <a:lnTo>
                    <a:pt x="8873" y="3557"/>
                  </a:lnTo>
                  <a:lnTo>
                    <a:pt x="8998" y="3348"/>
                  </a:lnTo>
                  <a:lnTo>
                    <a:pt x="9291" y="3327"/>
                  </a:lnTo>
                  <a:lnTo>
                    <a:pt x="9396" y="3243"/>
                  </a:lnTo>
                  <a:lnTo>
                    <a:pt x="9354" y="3118"/>
                  </a:lnTo>
                  <a:lnTo>
                    <a:pt x="9438" y="2909"/>
                  </a:lnTo>
                  <a:lnTo>
                    <a:pt x="9417" y="2720"/>
                  </a:lnTo>
                  <a:lnTo>
                    <a:pt x="9228" y="2616"/>
                  </a:lnTo>
                  <a:lnTo>
                    <a:pt x="9291" y="2365"/>
                  </a:lnTo>
                  <a:lnTo>
                    <a:pt x="9396" y="2323"/>
                  </a:lnTo>
                  <a:lnTo>
                    <a:pt x="9500" y="2197"/>
                  </a:lnTo>
                  <a:lnTo>
                    <a:pt x="9500" y="2072"/>
                  </a:lnTo>
                  <a:lnTo>
                    <a:pt x="9417" y="2009"/>
                  </a:lnTo>
                  <a:lnTo>
                    <a:pt x="9354" y="1883"/>
                  </a:lnTo>
                  <a:lnTo>
                    <a:pt x="9291" y="1967"/>
                  </a:lnTo>
                  <a:lnTo>
                    <a:pt x="9103" y="1946"/>
                  </a:lnTo>
                  <a:lnTo>
                    <a:pt x="8935" y="1841"/>
                  </a:lnTo>
                  <a:lnTo>
                    <a:pt x="8810" y="1862"/>
                  </a:lnTo>
                  <a:lnTo>
                    <a:pt x="8705" y="1800"/>
                  </a:lnTo>
                  <a:lnTo>
                    <a:pt x="8559" y="1779"/>
                  </a:lnTo>
                  <a:lnTo>
                    <a:pt x="8349" y="1758"/>
                  </a:lnTo>
                  <a:lnTo>
                    <a:pt x="8266" y="1841"/>
                  </a:lnTo>
                  <a:lnTo>
                    <a:pt x="8203" y="1695"/>
                  </a:lnTo>
                  <a:lnTo>
                    <a:pt x="8057" y="1590"/>
                  </a:lnTo>
                  <a:lnTo>
                    <a:pt x="7931" y="1318"/>
                  </a:lnTo>
                  <a:lnTo>
                    <a:pt x="7826" y="1339"/>
                  </a:lnTo>
                  <a:lnTo>
                    <a:pt x="7638" y="1465"/>
                  </a:lnTo>
                  <a:lnTo>
                    <a:pt x="7513" y="1444"/>
                  </a:lnTo>
                  <a:lnTo>
                    <a:pt x="7366" y="1486"/>
                  </a:lnTo>
                  <a:lnTo>
                    <a:pt x="7220" y="1423"/>
                  </a:lnTo>
                  <a:lnTo>
                    <a:pt x="7115" y="1528"/>
                  </a:lnTo>
                  <a:lnTo>
                    <a:pt x="6843" y="1256"/>
                  </a:lnTo>
                  <a:lnTo>
                    <a:pt x="6780" y="1067"/>
                  </a:lnTo>
                  <a:lnTo>
                    <a:pt x="6780" y="921"/>
                  </a:lnTo>
                  <a:lnTo>
                    <a:pt x="6676" y="921"/>
                  </a:lnTo>
                  <a:lnTo>
                    <a:pt x="6676" y="795"/>
                  </a:lnTo>
                  <a:lnTo>
                    <a:pt x="6529" y="691"/>
                  </a:lnTo>
                  <a:lnTo>
                    <a:pt x="6215" y="732"/>
                  </a:lnTo>
                  <a:lnTo>
                    <a:pt x="6069" y="523"/>
                  </a:lnTo>
                  <a:lnTo>
                    <a:pt x="6111" y="398"/>
                  </a:lnTo>
                  <a:lnTo>
                    <a:pt x="6006" y="293"/>
                  </a:lnTo>
                  <a:lnTo>
                    <a:pt x="5901" y="21"/>
                  </a:lnTo>
                  <a:lnTo>
                    <a:pt x="5776" y="21"/>
                  </a:lnTo>
                  <a:lnTo>
                    <a:pt x="5650" y="105"/>
                  </a:lnTo>
                  <a:lnTo>
                    <a:pt x="5357" y="105"/>
                  </a:lnTo>
                  <a:lnTo>
                    <a:pt x="506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6" name="Google Shape;886;p34"/>
            <p:cNvSpPr/>
            <p:nvPr/>
          </p:nvSpPr>
          <p:spPr>
            <a:xfrm>
              <a:off x="3912027" y="2795073"/>
              <a:ext cx="23684" cy="25236"/>
            </a:xfrm>
            <a:custGeom>
              <a:avLst/>
              <a:gdLst/>
              <a:ahLst/>
              <a:cxnLst/>
              <a:rect l="l" t="t" r="r" b="b"/>
              <a:pathLst>
                <a:path w="1989" h="2219" extrusionOk="0">
                  <a:moveTo>
                    <a:pt x="419" y="0"/>
                  </a:moveTo>
                  <a:lnTo>
                    <a:pt x="398" y="63"/>
                  </a:lnTo>
                  <a:lnTo>
                    <a:pt x="272" y="63"/>
                  </a:lnTo>
                  <a:lnTo>
                    <a:pt x="210" y="105"/>
                  </a:lnTo>
                  <a:lnTo>
                    <a:pt x="105" y="63"/>
                  </a:lnTo>
                  <a:lnTo>
                    <a:pt x="84" y="84"/>
                  </a:lnTo>
                  <a:lnTo>
                    <a:pt x="0" y="63"/>
                  </a:lnTo>
                  <a:lnTo>
                    <a:pt x="42" y="210"/>
                  </a:lnTo>
                  <a:lnTo>
                    <a:pt x="0" y="272"/>
                  </a:lnTo>
                  <a:lnTo>
                    <a:pt x="42" y="419"/>
                  </a:lnTo>
                  <a:lnTo>
                    <a:pt x="251" y="377"/>
                  </a:lnTo>
                  <a:lnTo>
                    <a:pt x="314" y="628"/>
                  </a:lnTo>
                  <a:lnTo>
                    <a:pt x="565" y="837"/>
                  </a:lnTo>
                  <a:lnTo>
                    <a:pt x="586" y="942"/>
                  </a:lnTo>
                  <a:lnTo>
                    <a:pt x="900" y="1214"/>
                  </a:lnTo>
                  <a:lnTo>
                    <a:pt x="921" y="1360"/>
                  </a:lnTo>
                  <a:lnTo>
                    <a:pt x="1026" y="1528"/>
                  </a:lnTo>
                  <a:lnTo>
                    <a:pt x="1005" y="2072"/>
                  </a:lnTo>
                  <a:lnTo>
                    <a:pt x="1088" y="2218"/>
                  </a:lnTo>
                  <a:lnTo>
                    <a:pt x="1151" y="2177"/>
                  </a:lnTo>
                  <a:lnTo>
                    <a:pt x="1256" y="2197"/>
                  </a:lnTo>
                  <a:lnTo>
                    <a:pt x="1256" y="2093"/>
                  </a:lnTo>
                  <a:lnTo>
                    <a:pt x="1360" y="1884"/>
                  </a:lnTo>
                  <a:lnTo>
                    <a:pt x="1423" y="1905"/>
                  </a:lnTo>
                  <a:lnTo>
                    <a:pt x="1423" y="1758"/>
                  </a:lnTo>
                  <a:lnTo>
                    <a:pt x="1444" y="1549"/>
                  </a:lnTo>
                  <a:lnTo>
                    <a:pt x="1549" y="1549"/>
                  </a:lnTo>
                  <a:lnTo>
                    <a:pt x="1716" y="1486"/>
                  </a:lnTo>
                  <a:lnTo>
                    <a:pt x="1779" y="1570"/>
                  </a:lnTo>
                  <a:lnTo>
                    <a:pt x="1967" y="1570"/>
                  </a:lnTo>
                  <a:lnTo>
                    <a:pt x="1988" y="1528"/>
                  </a:lnTo>
                  <a:lnTo>
                    <a:pt x="1925" y="1423"/>
                  </a:lnTo>
                  <a:lnTo>
                    <a:pt x="1946" y="1319"/>
                  </a:lnTo>
                  <a:lnTo>
                    <a:pt x="1925" y="1214"/>
                  </a:lnTo>
                  <a:lnTo>
                    <a:pt x="1758" y="1109"/>
                  </a:lnTo>
                  <a:lnTo>
                    <a:pt x="1612" y="963"/>
                  </a:lnTo>
                  <a:lnTo>
                    <a:pt x="1612" y="921"/>
                  </a:lnTo>
                  <a:lnTo>
                    <a:pt x="1465" y="858"/>
                  </a:lnTo>
                  <a:lnTo>
                    <a:pt x="1465" y="712"/>
                  </a:lnTo>
                  <a:lnTo>
                    <a:pt x="1444" y="524"/>
                  </a:lnTo>
                  <a:lnTo>
                    <a:pt x="1298" y="440"/>
                  </a:lnTo>
                  <a:lnTo>
                    <a:pt x="1109" y="272"/>
                  </a:lnTo>
                  <a:lnTo>
                    <a:pt x="1047" y="272"/>
                  </a:lnTo>
                  <a:lnTo>
                    <a:pt x="1026" y="314"/>
                  </a:lnTo>
                  <a:lnTo>
                    <a:pt x="837" y="314"/>
                  </a:lnTo>
                  <a:lnTo>
                    <a:pt x="670" y="126"/>
                  </a:lnTo>
                  <a:lnTo>
                    <a:pt x="523" y="126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7" name="Google Shape;887;p34"/>
            <p:cNvSpPr/>
            <p:nvPr/>
          </p:nvSpPr>
          <p:spPr>
            <a:xfrm>
              <a:off x="3874161" y="2799361"/>
              <a:ext cx="60800" cy="37131"/>
            </a:xfrm>
            <a:custGeom>
              <a:avLst/>
              <a:gdLst/>
              <a:ahLst/>
              <a:cxnLst/>
              <a:rect l="l" t="t" r="r" b="b"/>
              <a:pathLst>
                <a:path w="5106" h="3265" extrusionOk="0">
                  <a:moveTo>
                    <a:pt x="3431" y="0"/>
                  </a:moveTo>
                  <a:lnTo>
                    <a:pt x="3076" y="63"/>
                  </a:lnTo>
                  <a:lnTo>
                    <a:pt x="2950" y="147"/>
                  </a:lnTo>
                  <a:lnTo>
                    <a:pt x="2553" y="209"/>
                  </a:lnTo>
                  <a:lnTo>
                    <a:pt x="2448" y="335"/>
                  </a:lnTo>
                  <a:lnTo>
                    <a:pt x="2323" y="335"/>
                  </a:lnTo>
                  <a:lnTo>
                    <a:pt x="2176" y="377"/>
                  </a:lnTo>
                  <a:lnTo>
                    <a:pt x="2030" y="335"/>
                  </a:lnTo>
                  <a:lnTo>
                    <a:pt x="1988" y="230"/>
                  </a:lnTo>
                  <a:lnTo>
                    <a:pt x="1820" y="167"/>
                  </a:lnTo>
                  <a:lnTo>
                    <a:pt x="1674" y="147"/>
                  </a:lnTo>
                  <a:lnTo>
                    <a:pt x="1465" y="42"/>
                  </a:lnTo>
                  <a:lnTo>
                    <a:pt x="1360" y="42"/>
                  </a:lnTo>
                  <a:lnTo>
                    <a:pt x="1276" y="126"/>
                  </a:lnTo>
                  <a:lnTo>
                    <a:pt x="1151" y="126"/>
                  </a:lnTo>
                  <a:lnTo>
                    <a:pt x="1172" y="147"/>
                  </a:lnTo>
                  <a:lnTo>
                    <a:pt x="1130" y="272"/>
                  </a:lnTo>
                  <a:lnTo>
                    <a:pt x="962" y="314"/>
                  </a:lnTo>
                  <a:lnTo>
                    <a:pt x="858" y="544"/>
                  </a:lnTo>
                  <a:lnTo>
                    <a:pt x="732" y="879"/>
                  </a:lnTo>
                  <a:lnTo>
                    <a:pt x="523" y="1193"/>
                  </a:lnTo>
                  <a:lnTo>
                    <a:pt x="544" y="1297"/>
                  </a:lnTo>
                  <a:lnTo>
                    <a:pt x="439" y="1402"/>
                  </a:lnTo>
                  <a:lnTo>
                    <a:pt x="293" y="1381"/>
                  </a:lnTo>
                  <a:lnTo>
                    <a:pt x="230" y="1486"/>
                  </a:lnTo>
                  <a:lnTo>
                    <a:pt x="126" y="1507"/>
                  </a:lnTo>
                  <a:lnTo>
                    <a:pt x="0" y="1632"/>
                  </a:lnTo>
                  <a:lnTo>
                    <a:pt x="126" y="1674"/>
                  </a:lnTo>
                  <a:lnTo>
                    <a:pt x="146" y="1737"/>
                  </a:lnTo>
                  <a:lnTo>
                    <a:pt x="335" y="1946"/>
                  </a:lnTo>
                  <a:lnTo>
                    <a:pt x="356" y="2051"/>
                  </a:lnTo>
                  <a:lnTo>
                    <a:pt x="523" y="2134"/>
                  </a:lnTo>
                  <a:lnTo>
                    <a:pt x="670" y="2260"/>
                  </a:lnTo>
                  <a:lnTo>
                    <a:pt x="607" y="2406"/>
                  </a:lnTo>
                  <a:lnTo>
                    <a:pt x="628" y="2448"/>
                  </a:lnTo>
                  <a:lnTo>
                    <a:pt x="837" y="2532"/>
                  </a:lnTo>
                  <a:lnTo>
                    <a:pt x="879" y="2616"/>
                  </a:lnTo>
                  <a:lnTo>
                    <a:pt x="983" y="2574"/>
                  </a:lnTo>
                  <a:lnTo>
                    <a:pt x="1088" y="2657"/>
                  </a:lnTo>
                  <a:lnTo>
                    <a:pt x="1172" y="2532"/>
                  </a:lnTo>
                  <a:lnTo>
                    <a:pt x="1381" y="2553"/>
                  </a:lnTo>
                  <a:lnTo>
                    <a:pt x="1276" y="2678"/>
                  </a:lnTo>
                  <a:lnTo>
                    <a:pt x="1297" y="2762"/>
                  </a:lnTo>
                  <a:lnTo>
                    <a:pt x="1339" y="2888"/>
                  </a:lnTo>
                  <a:lnTo>
                    <a:pt x="1486" y="2888"/>
                  </a:lnTo>
                  <a:lnTo>
                    <a:pt x="1569" y="2971"/>
                  </a:lnTo>
                  <a:lnTo>
                    <a:pt x="1569" y="3055"/>
                  </a:lnTo>
                  <a:lnTo>
                    <a:pt x="1507" y="3097"/>
                  </a:lnTo>
                  <a:lnTo>
                    <a:pt x="1590" y="3201"/>
                  </a:lnTo>
                  <a:lnTo>
                    <a:pt x="1716" y="3139"/>
                  </a:lnTo>
                  <a:lnTo>
                    <a:pt x="1883" y="3139"/>
                  </a:lnTo>
                  <a:lnTo>
                    <a:pt x="1925" y="3201"/>
                  </a:lnTo>
                  <a:lnTo>
                    <a:pt x="1988" y="3180"/>
                  </a:lnTo>
                  <a:lnTo>
                    <a:pt x="2197" y="3264"/>
                  </a:lnTo>
                  <a:lnTo>
                    <a:pt x="2343" y="3180"/>
                  </a:lnTo>
                  <a:lnTo>
                    <a:pt x="2490" y="3201"/>
                  </a:lnTo>
                  <a:lnTo>
                    <a:pt x="2553" y="3160"/>
                  </a:lnTo>
                  <a:lnTo>
                    <a:pt x="2699" y="3201"/>
                  </a:lnTo>
                  <a:lnTo>
                    <a:pt x="2804" y="3201"/>
                  </a:lnTo>
                  <a:lnTo>
                    <a:pt x="3013" y="3243"/>
                  </a:lnTo>
                  <a:lnTo>
                    <a:pt x="3076" y="3180"/>
                  </a:lnTo>
                  <a:lnTo>
                    <a:pt x="3222" y="3139"/>
                  </a:lnTo>
                  <a:lnTo>
                    <a:pt x="3264" y="3055"/>
                  </a:lnTo>
                  <a:lnTo>
                    <a:pt x="3599" y="2888"/>
                  </a:lnTo>
                  <a:lnTo>
                    <a:pt x="3766" y="2867"/>
                  </a:lnTo>
                  <a:lnTo>
                    <a:pt x="3955" y="2888"/>
                  </a:lnTo>
                  <a:lnTo>
                    <a:pt x="4122" y="2971"/>
                  </a:lnTo>
                  <a:lnTo>
                    <a:pt x="4185" y="3034"/>
                  </a:lnTo>
                  <a:lnTo>
                    <a:pt x="4289" y="2992"/>
                  </a:lnTo>
                  <a:lnTo>
                    <a:pt x="4436" y="3055"/>
                  </a:lnTo>
                  <a:lnTo>
                    <a:pt x="4478" y="3139"/>
                  </a:lnTo>
                  <a:lnTo>
                    <a:pt x="4603" y="3139"/>
                  </a:lnTo>
                  <a:lnTo>
                    <a:pt x="4582" y="2992"/>
                  </a:lnTo>
                  <a:lnTo>
                    <a:pt x="4624" y="2888"/>
                  </a:lnTo>
                  <a:lnTo>
                    <a:pt x="4624" y="2720"/>
                  </a:lnTo>
                  <a:lnTo>
                    <a:pt x="4603" y="2636"/>
                  </a:lnTo>
                  <a:lnTo>
                    <a:pt x="4645" y="2553"/>
                  </a:lnTo>
                  <a:lnTo>
                    <a:pt x="4708" y="2427"/>
                  </a:lnTo>
                  <a:lnTo>
                    <a:pt x="4896" y="2427"/>
                  </a:lnTo>
                  <a:lnTo>
                    <a:pt x="5022" y="2406"/>
                  </a:lnTo>
                  <a:lnTo>
                    <a:pt x="5105" y="2239"/>
                  </a:lnTo>
                  <a:lnTo>
                    <a:pt x="5105" y="2155"/>
                  </a:lnTo>
                  <a:lnTo>
                    <a:pt x="5043" y="2113"/>
                  </a:lnTo>
                  <a:lnTo>
                    <a:pt x="5105" y="2051"/>
                  </a:lnTo>
                  <a:lnTo>
                    <a:pt x="5001" y="1988"/>
                  </a:lnTo>
                  <a:lnTo>
                    <a:pt x="4812" y="1988"/>
                  </a:lnTo>
                  <a:lnTo>
                    <a:pt x="4729" y="2051"/>
                  </a:lnTo>
                  <a:lnTo>
                    <a:pt x="4520" y="2051"/>
                  </a:lnTo>
                  <a:lnTo>
                    <a:pt x="4373" y="2009"/>
                  </a:lnTo>
                  <a:lnTo>
                    <a:pt x="4268" y="1841"/>
                  </a:lnTo>
                  <a:lnTo>
                    <a:pt x="4185" y="1695"/>
                  </a:lnTo>
                  <a:lnTo>
                    <a:pt x="4206" y="1151"/>
                  </a:lnTo>
                  <a:lnTo>
                    <a:pt x="4101" y="983"/>
                  </a:lnTo>
                  <a:lnTo>
                    <a:pt x="4080" y="837"/>
                  </a:lnTo>
                  <a:lnTo>
                    <a:pt x="3766" y="565"/>
                  </a:lnTo>
                  <a:lnTo>
                    <a:pt x="3745" y="460"/>
                  </a:lnTo>
                  <a:lnTo>
                    <a:pt x="3494" y="251"/>
                  </a:lnTo>
                  <a:lnTo>
                    <a:pt x="343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8" name="Google Shape;888;p34"/>
            <p:cNvSpPr/>
            <p:nvPr/>
          </p:nvSpPr>
          <p:spPr>
            <a:xfrm>
              <a:off x="3889355" y="2831954"/>
              <a:ext cx="39878" cy="24041"/>
            </a:xfrm>
            <a:custGeom>
              <a:avLst/>
              <a:gdLst/>
              <a:ahLst/>
              <a:cxnLst/>
              <a:rect l="l" t="t" r="r" b="b"/>
              <a:pathLst>
                <a:path w="3349" h="2114" extrusionOk="0">
                  <a:moveTo>
                    <a:pt x="2490" y="1"/>
                  </a:moveTo>
                  <a:lnTo>
                    <a:pt x="2323" y="22"/>
                  </a:lnTo>
                  <a:lnTo>
                    <a:pt x="1988" y="189"/>
                  </a:lnTo>
                  <a:lnTo>
                    <a:pt x="1946" y="273"/>
                  </a:lnTo>
                  <a:lnTo>
                    <a:pt x="1800" y="314"/>
                  </a:lnTo>
                  <a:lnTo>
                    <a:pt x="1737" y="377"/>
                  </a:lnTo>
                  <a:lnTo>
                    <a:pt x="1528" y="335"/>
                  </a:lnTo>
                  <a:lnTo>
                    <a:pt x="1423" y="335"/>
                  </a:lnTo>
                  <a:lnTo>
                    <a:pt x="1277" y="294"/>
                  </a:lnTo>
                  <a:lnTo>
                    <a:pt x="1214" y="335"/>
                  </a:lnTo>
                  <a:lnTo>
                    <a:pt x="1067" y="314"/>
                  </a:lnTo>
                  <a:lnTo>
                    <a:pt x="921" y="398"/>
                  </a:lnTo>
                  <a:lnTo>
                    <a:pt x="712" y="314"/>
                  </a:lnTo>
                  <a:lnTo>
                    <a:pt x="649" y="335"/>
                  </a:lnTo>
                  <a:lnTo>
                    <a:pt x="607" y="273"/>
                  </a:lnTo>
                  <a:lnTo>
                    <a:pt x="440" y="273"/>
                  </a:lnTo>
                  <a:lnTo>
                    <a:pt x="314" y="335"/>
                  </a:lnTo>
                  <a:lnTo>
                    <a:pt x="231" y="231"/>
                  </a:lnTo>
                  <a:lnTo>
                    <a:pt x="293" y="189"/>
                  </a:lnTo>
                  <a:lnTo>
                    <a:pt x="293" y="105"/>
                  </a:lnTo>
                  <a:lnTo>
                    <a:pt x="210" y="22"/>
                  </a:lnTo>
                  <a:lnTo>
                    <a:pt x="63" y="22"/>
                  </a:lnTo>
                  <a:lnTo>
                    <a:pt x="84" y="126"/>
                  </a:lnTo>
                  <a:lnTo>
                    <a:pt x="0" y="210"/>
                  </a:lnTo>
                  <a:lnTo>
                    <a:pt x="63" y="440"/>
                  </a:lnTo>
                  <a:lnTo>
                    <a:pt x="231" y="628"/>
                  </a:lnTo>
                  <a:lnTo>
                    <a:pt x="314" y="754"/>
                  </a:lnTo>
                  <a:lnTo>
                    <a:pt x="272" y="900"/>
                  </a:lnTo>
                  <a:lnTo>
                    <a:pt x="63" y="1068"/>
                  </a:lnTo>
                  <a:lnTo>
                    <a:pt x="84" y="1172"/>
                  </a:lnTo>
                  <a:lnTo>
                    <a:pt x="168" y="1277"/>
                  </a:lnTo>
                  <a:lnTo>
                    <a:pt x="105" y="1382"/>
                  </a:lnTo>
                  <a:lnTo>
                    <a:pt x="335" y="1570"/>
                  </a:lnTo>
                  <a:lnTo>
                    <a:pt x="503" y="1842"/>
                  </a:lnTo>
                  <a:lnTo>
                    <a:pt x="523" y="1988"/>
                  </a:lnTo>
                  <a:lnTo>
                    <a:pt x="523" y="2093"/>
                  </a:lnTo>
                  <a:lnTo>
                    <a:pt x="607" y="2114"/>
                  </a:lnTo>
                  <a:lnTo>
                    <a:pt x="795" y="2114"/>
                  </a:lnTo>
                  <a:lnTo>
                    <a:pt x="942" y="2093"/>
                  </a:lnTo>
                  <a:lnTo>
                    <a:pt x="1026" y="1988"/>
                  </a:lnTo>
                  <a:lnTo>
                    <a:pt x="1172" y="2009"/>
                  </a:lnTo>
                  <a:lnTo>
                    <a:pt x="1319" y="2009"/>
                  </a:lnTo>
                  <a:lnTo>
                    <a:pt x="1339" y="2114"/>
                  </a:lnTo>
                  <a:lnTo>
                    <a:pt x="1444" y="2114"/>
                  </a:lnTo>
                  <a:lnTo>
                    <a:pt x="1528" y="2051"/>
                  </a:lnTo>
                  <a:lnTo>
                    <a:pt x="1653" y="2051"/>
                  </a:lnTo>
                  <a:lnTo>
                    <a:pt x="1737" y="2114"/>
                  </a:lnTo>
                  <a:lnTo>
                    <a:pt x="1863" y="2072"/>
                  </a:lnTo>
                  <a:lnTo>
                    <a:pt x="2093" y="2072"/>
                  </a:lnTo>
                  <a:lnTo>
                    <a:pt x="2176" y="2009"/>
                  </a:lnTo>
                  <a:lnTo>
                    <a:pt x="2114" y="1905"/>
                  </a:lnTo>
                  <a:lnTo>
                    <a:pt x="2114" y="1779"/>
                  </a:lnTo>
                  <a:lnTo>
                    <a:pt x="2281" y="1675"/>
                  </a:lnTo>
                  <a:lnTo>
                    <a:pt x="2323" y="1675"/>
                  </a:lnTo>
                  <a:lnTo>
                    <a:pt x="2427" y="1570"/>
                  </a:lnTo>
                  <a:lnTo>
                    <a:pt x="2511" y="1570"/>
                  </a:lnTo>
                  <a:lnTo>
                    <a:pt x="2595" y="1486"/>
                  </a:lnTo>
                  <a:lnTo>
                    <a:pt x="2741" y="1486"/>
                  </a:lnTo>
                  <a:lnTo>
                    <a:pt x="2909" y="1633"/>
                  </a:lnTo>
                  <a:lnTo>
                    <a:pt x="3013" y="1549"/>
                  </a:lnTo>
                  <a:lnTo>
                    <a:pt x="3118" y="1570"/>
                  </a:lnTo>
                  <a:lnTo>
                    <a:pt x="3034" y="1444"/>
                  </a:lnTo>
                  <a:lnTo>
                    <a:pt x="2930" y="1256"/>
                  </a:lnTo>
                  <a:lnTo>
                    <a:pt x="2825" y="1256"/>
                  </a:lnTo>
                  <a:lnTo>
                    <a:pt x="2804" y="1172"/>
                  </a:lnTo>
                  <a:lnTo>
                    <a:pt x="2951" y="1068"/>
                  </a:lnTo>
                  <a:lnTo>
                    <a:pt x="3013" y="942"/>
                  </a:lnTo>
                  <a:lnTo>
                    <a:pt x="2992" y="712"/>
                  </a:lnTo>
                  <a:lnTo>
                    <a:pt x="3139" y="545"/>
                  </a:lnTo>
                  <a:lnTo>
                    <a:pt x="3244" y="586"/>
                  </a:lnTo>
                  <a:lnTo>
                    <a:pt x="3327" y="503"/>
                  </a:lnTo>
                  <a:lnTo>
                    <a:pt x="3348" y="294"/>
                  </a:lnTo>
                  <a:lnTo>
                    <a:pt x="3327" y="273"/>
                  </a:lnTo>
                  <a:lnTo>
                    <a:pt x="3202" y="273"/>
                  </a:lnTo>
                  <a:lnTo>
                    <a:pt x="3160" y="189"/>
                  </a:lnTo>
                  <a:lnTo>
                    <a:pt x="3013" y="126"/>
                  </a:lnTo>
                  <a:lnTo>
                    <a:pt x="2909" y="168"/>
                  </a:lnTo>
                  <a:lnTo>
                    <a:pt x="2846" y="105"/>
                  </a:lnTo>
                  <a:lnTo>
                    <a:pt x="2679" y="22"/>
                  </a:lnTo>
                  <a:lnTo>
                    <a:pt x="249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89" name="Google Shape;889;p34"/>
            <p:cNvGrpSpPr/>
            <p:nvPr/>
          </p:nvGrpSpPr>
          <p:grpSpPr>
            <a:xfrm>
              <a:off x="3831056" y="2816010"/>
              <a:ext cx="37378" cy="27612"/>
              <a:chOff x="3866750" y="2520350"/>
              <a:chExt cx="78475" cy="60700"/>
            </a:xfrm>
          </p:grpSpPr>
          <p:sp>
            <p:nvSpPr>
              <p:cNvPr id="890" name="Google Shape;890;p34"/>
              <p:cNvSpPr/>
              <p:nvPr/>
            </p:nvSpPr>
            <p:spPr>
              <a:xfrm>
                <a:off x="3877200" y="2546500"/>
                <a:ext cx="472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189" h="252" extrusionOk="0">
                    <a:moveTo>
                      <a:pt x="1" y="1"/>
                    </a:moveTo>
                    <a:lnTo>
                      <a:pt x="84" y="126"/>
                    </a:lnTo>
                    <a:lnTo>
                      <a:pt x="63" y="147"/>
                    </a:lnTo>
                    <a:lnTo>
                      <a:pt x="168" y="252"/>
                    </a:lnTo>
                    <a:lnTo>
                      <a:pt x="189" y="252"/>
                    </a:lnTo>
                    <a:lnTo>
                      <a:pt x="168" y="106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" name="Google Shape;891;p34"/>
              <p:cNvSpPr/>
              <p:nvPr/>
            </p:nvSpPr>
            <p:spPr>
              <a:xfrm>
                <a:off x="3882425" y="2554350"/>
                <a:ext cx="2650" cy="3175"/>
              </a:xfrm>
              <a:custGeom>
                <a:avLst/>
                <a:gdLst/>
                <a:ahLst/>
                <a:cxnLst/>
                <a:rect l="l" t="t" r="r" b="b"/>
                <a:pathLst>
                  <a:path w="106" h="127" extrusionOk="0">
                    <a:moveTo>
                      <a:pt x="1" y="1"/>
                    </a:moveTo>
                    <a:lnTo>
                      <a:pt x="106" y="126"/>
                    </a:lnTo>
                    <a:lnTo>
                      <a:pt x="85" y="43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" name="Google Shape;892;p34"/>
              <p:cNvSpPr/>
              <p:nvPr/>
            </p:nvSpPr>
            <p:spPr>
              <a:xfrm>
                <a:off x="3866750" y="2520350"/>
                <a:ext cx="78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428" extrusionOk="0">
                    <a:moveTo>
                      <a:pt x="1653" y="1"/>
                    </a:moveTo>
                    <a:lnTo>
                      <a:pt x="1653" y="22"/>
                    </a:lnTo>
                    <a:lnTo>
                      <a:pt x="1402" y="22"/>
                    </a:lnTo>
                    <a:lnTo>
                      <a:pt x="1046" y="210"/>
                    </a:lnTo>
                    <a:lnTo>
                      <a:pt x="1025" y="356"/>
                    </a:lnTo>
                    <a:lnTo>
                      <a:pt x="837" y="440"/>
                    </a:lnTo>
                    <a:lnTo>
                      <a:pt x="816" y="649"/>
                    </a:lnTo>
                    <a:lnTo>
                      <a:pt x="691" y="649"/>
                    </a:lnTo>
                    <a:lnTo>
                      <a:pt x="481" y="545"/>
                    </a:lnTo>
                    <a:lnTo>
                      <a:pt x="356" y="587"/>
                    </a:lnTo>
                    <a:lnTo>
                      <a:pt x="209" y="691"/>
                    </a:lnTo>
                    <a:lnTo>
                      <a:pt x="0" y="691"/>
                    </a:lnTo>
                    <a:lnTo>
                      <a:pt x="0" y="733"/>
                    </a:lnTo>
                    <a:lnTo>
                      <a:pt x="42" y="942"/>
                    </a:lnTo>
                    <a:lnTo>
                      <a:pt x="168" y="1068"/>
                    </a:lnTo>
                    <a:lnTo>
                      <a:pt x="168" y="1110"/>
                    </a:lnTo>
                    <a:lnTo>
                      <a:pt x="209" y="1152"/>
                    </a:lnTo>
                    <a:lnTo>
                      <a:pt x="356" y="942"/>
                    </a:lnTo>
                    <a:lnTo>
                      <a:pt x="377" y="796"/>
                    </a:lnTo>
                    <a:lnTo>
                      <a:pt x="461" y="691"/>
                    </a:lnTo>
                    <a:lnTo>
                      <a:pt x="607" y="691"/>
                    </a:lnTo>
                    <a:lnTo>
                      <a:pt x="628" y="796"/>
                    </a:lnTo>
                    <a:lnTo>
                      <a:pt x="733" y="900"/>
                    </a:lnTo>
                    <a:lnTo>
                      <a:pt x="774" y="1068"/>
                    </a:lnTo>
                    <a:lnTo>
                      <a:pt x="879" y="1256"/>
                    </a:lnTo>
                    <a:lnTo>
                      <a:pt x="1025" y="1403"/>
                    </a:lnTo>
                    <a:lnTo>
                      <a:pt x="1088" y="1403"/>
                    </a:lnTo>
                    <a:lnTo>
                      <a:pt x="1193" y="1507"/>
                    </a:lnTo>
                    <a:lnTo>
                      <a:pt x="1088" y="1486"/>
                    </a:lnTo>
                    <a:lnTo>
                      <a:pt x="1005" y="1507"/>
                    </a:lnTo>
                    <a:lnTo>
                      <a:pt x="942" y="1591"/>
                    </a:lnTo>
                    <a:lnTo>
                      <a:pt x="1005" y="1696"/>
                    </a:lnTo>
                    <a:lnTo>
                      <a:pt x="1130" y="1696"/>
                    </a:lnTo>
                    <a:lnTo>
                      <a:pt x="1256" y="1821"/>
                    </a:lnTo>
                    <a:lnTo>
                      <a:pt x="1360" y="1842"/>
                    </a:lnTo>
                    <a:lnTo>
                      <a:pt x="1423" y="1947"/>
                    </a:lnTo>
                    <a:lnTo>
                      <a:pt x="1465" y="2030"/>
                    </a:lnTo>
                    <a:lnTo>
                      <a:pt x="1611" y="2009"/>
                    </a:lnTo>
                    <a:lnTo>
                      <a:pt x="1862" y="2030"/>
                    </a:lnTo>
                    <a:lnTo>
                      <a:pt x="1988" y="2093"/>
                    </a:lnTo>
                    <a:lnTo>
                      <a:pt x="2281" y="2365"/>
                    </a:lnTo>
                    <a:lnTo>
                      <a:pt x="2197" y="2407"/>
                    </a:lnTo>
                    <a:lnTo>
                      <a:pt x="2072" y="2323"/>
                    </a:lnTo>
                    <a:lnTo>
                      <a:pt x="2155" y="2407"/>
                    </a:lnTo>
                    <a:lnTo>
                      <a:pt x="2260" y="2428"/>
                    </a:lnTo>
                    <a:lnTo>
                      <a:pt x="2302" y="2344"/>
                    </a:lnTo>
                    <a:lnTo>
                      <a:pt x="1925" y="1884"/>
                    </a:lnTo>
                    <a:lnTo>
                      <a:pt x="1444" y="1486"/>
                    </a:lnTo>
                    <a:lnTo>
                      <a:pt x="1423" y="1403"/>
                    </a:lnTo>
                    <a:lnTo>
                      <a:pt x="1465" y="1382"/>
                    </a:lnTo>
                    <a:lnTo>
                      <a:pt x="1402" y="1277"/>
                    </a:lnTo>
                    <a:lnTo>
                      <a:pt x="1360" y="1172"/>
                    </a:lnTo>
                    <a:lnTo>
                      <a:pt x="1235" y="1047"/>
                    </a:lnTo>
                    <a:lnTo>
                      <a:pt x="1193" y="1047"/>
                    </a:lnTo>
                    <a:lnTo>
                      <a:pt x="1151" y="963"/>
                    </a:lnTo>
                    <a:lnTo>
                      <a:pt x="1214" y="900"/>
                    </a:lnTo>
                    <a:lnTo>
                      <a:pt x="1214" y="775"/>
                    </a:lnTo>
                    <a:lnTo>
                      <a:pt x="1256" y="733"/>
                    </a:lnTo>
                    <a:lnTo>
                      <a:pt x="1402" y="838"/>
                    </a:lnTo>
                    <a:lnTo>
                      <a:pt x="1444" y="900"/>
                    </a:lnTo>
                    <a:lnTo>
                      <a:pt x="1528" y="880"/>
                    </a:lnTo>
                    <a:lnTo>
                      <a:pt x="1528" y="796"/>
                    </a:lnTo>
                    <a:lnTo>
                      <a:pt x="1632" y="775"/>
                    </a:lnTo>
                    <a:lnTo>
                      <a:pt x="1716" y="796"/>
                    </a:lnTo>
                    <a:lnTo>
                      <a:pt x="1758" y="733"/>
                    </a:lnTo>
                    <a:lnTo>
                      <a:pt x="1841" y="775"/>
                    </a:lnTo>
                    <a:lnTo>
                      <a:pt x="1883" y="733"/>
                    </a:lnTo>
                    <a:lnTo>
                      <a:pt x="1988" y="754"/>
                    </a:lnTo>
                    <a:lnTo>
                      <a:pt x="2051" y="859"/>
                    </a:lnTo>
                    <a:lnTo>
                      <a:pt x="2093" y="796"/>
                    </a:lnTo>
                    <a:lnTo>
                      <a:pt x="2239" y="859"/>
                    </a:lnTo>
                    <a:lnTo>
                      <a:pt x="2344" y="796"/>
                    </a:lnTo>
                    <a:lnTo>
                      <a:pt x="2365" y="859"/>
                    </a:lnTo>
                    <a:lnTo>
                      <a:pt x="2490" y="838"/>
                    </a:lnTo>
                    <a:lnTo>
                      <a:pt x="2616" y="880"/>
                    </a:lnTo>
                    <a:lnTo>
                      <a:pt x="2699" y="859"/>
                    </a:lnTo>
                    <a:lnTo>
                      <a:pt x="2804" y="963"/>
                    </a:lnTo>
                    <a:lnTo>
                      <a:pt x="2971" y="963"/>
                    </a:lnTo>
                    <a:lnTo>
                      <a:pt x="2992" y="984"/>
                    </a:lnTo>
                    <a:lnTo>
                      <a:pt x="2971" y="880"/>
                    </a:lnTo>
                    <a:lnTo>
                      <a:pt x="3097" y="859"/>
                    </a:lnTo>
                    <a:lnTo>
                      <a:pt x="3139" y="859"/>
                    </a:lnTo>
                    <a:lnTo>
                      <a:pt x="3139" y="796"/>
                    </a:lnTo>
                    <a:lnTo>
                      <a:pt x="3034" y="775"/>
                    </a:lnTo>
                    <a:lnTo>
                      <a:pt x="2971" y="733"/>
                    </a:lnTo>
                    <a:lnTo>
                      <a:pt x="2930" y="566"/>
                    </a:lnTo>
                    <a:lnTo>
                      <a:pt x="2888" y="419"/>
                    </a:lnTo>
                    <a:lnTo>
                      <a:pt x="2804" y="356"/>
                    </a:lnTo>
                    <a:lnTo>
                      <a:pt x="2699" y="482"/>
                    </a:lnTo>
                    <a:lnTo>
                      <a:pt x="2490" y="419"/>
                    </a:lnTo>
                    <a:lnTo>
                      <a:pt x="2197" y="356"/>
                    </a:lnTo>
                    <a:lnTo>
                      <a:pt x="2093" y="273"/>
                    </a:lnTo>
                    <a:lnTo>
                      <a:pt x="1988" y="231"/>
                    </a:lnTo>
                    <a:lnTo>
                      <a:pt x="1737" y="22"/>
                    </a:lnTo>
                    <a:lnTo>
                      <a:pt x="1653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" name="Google Shape;893;p34"/>
              <p:cNvSpPr/>
              <p:nvPr/>
            </p:nvSpPr>
            <p:spPr>
              <a:xfrm>
                <a:off x="3886100" y="2558550"/>
                <a:ext cx="3675" cy="5250"/>
              </a:xfrm>
              <a:custGeom>
                <a:avLst/>
                <a:gdLst/>
                <a:ahLst/>
                <a:cxnLst/>
                <a:rect l="l" t="t" r="r" b="b"/>
                <a:pathLst>
                  <a:path w="147" h="210" extrusionOk="0">
                    <a:moveTo>
                      <a:pt x="0" y="0"/>
                    </a:moveTo>
                    <a:lnTo>
                      <a:pt x="147" y="209"/>
                    </a:lnTo>
                    <a:lnTo>
                      <a:pt x="126" y="10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94" name="Google Shape;894;p34"/>
            <p:cNvSpPr/>
            <p:nvPr/>
          </p:nvSpPr>
          <p:spPr>
            <a:xfrm>
              <a:off x="3799155" y="2842190"/>
              <a:ext cx="6990" cy="13340"/>
            </a:xfrm>
            <a:custGeom>
              <a:avLst/>
              <a:gdLst/>
              <a:ahLst/>
              <a:cxnLst/>
              <a:rect l="l" t="t" r="r" b="b"/>
              <a:pathLst>
                <a:path w="587" h="1173" extrusionOk="0">
                  <a:moveTo>
                    <a:pt x="461" y="0"/>
                  </a:moveTo>
                  <a:lnTo>
                    <a:pt x="440" y="105"/>
                  </a:lnTo>
                  <a:lnTo>
                    <a:pt x="482" y="147"/>
                  </a:lnTo>
                  <a:lnTo>
                    <a:pt x="461" y="251"/>
                  </a:lnTo>
                  <a:lnTo>
                    <a:pt x="419" y="251"/>
                  </a:lnTo>
                  <a:lnTo>
                    <a:pt x="357" y="210"/>
                  </a:lnTo>
                  <a:lnTo>
                    <a:pt x="273" y="251"/>
                  </a:lnTo>
                  <a:lnTo>
                    <a:pt x="106" y="335"/>
                  </a:lnTo>
                  <a:lnTo>
                    <a:pt x="22" y="461"/>
                  </a:lnTo>
                  <a:lnTo>
                    <a:pt x="106" y="523"/>
                  </a:lnTo>
                  <a:lnTo>
                    <a:pt x="64" y="565"/>
                  </a:lnTo>
                  <a:lnTo>
                    <a:pt x="1" y="565"/>
                  </a:lnTo>
                  <a:lnTo>
                    <a:pt x="22" y="649"/>
                  </a:lnTo>
                  <a:lnTo>
                    <a:pt x="106" y="691"/>
                  </a:lnTo>
                  <a:lnTo>
                    <a:pt x="106" y="754"/>
                  </a:lnTo>
                  <a:lnTo>
                    <a:pt x="64" y="775"/>
                  </a:lnTo>
                  <a:lnTo>
                    <a:pt x="106" y="837"/>
                  </a:lnTo>
                  <a:lnTo>
                    <a:pt x="168" y="879"/>
                  </a:lnTo>
                  <a:lnTo>
                    <a:pt x="168" y="963"/>
                  </a:lnTo>
                  <a:lnTo>
                    <a:pt x="210" y="963"/>
                  </a:lnTo>
                  <a:lnTo>
                    <a:pt x="252" y="1005"/>
                  </a:lnTo>
                  <a:lnTo>
                    <a:pt x="210" y="984"/>
                  </a:lnTo>
                  <a:lnTo>
                    <a:pt x="147" y="1067"/>
                  </a:lnTo>
                  <a:lnTo>
                    <a:pt x="210" y="1109"/>
                  </a:lnTo>
                  <a:lnTo>
                    <a:pt x="357" y="1172"/>
                  </a:lnTo>
                  <a:lnTo>
                    <a:pt x="461" y="1109"/>
                  </a:lnTo>
                  <a:lnTo>
                    <a:pt x="545" y="942"/>
                  </a:lnTo>
                  <a:lnTo>
                    <a:pt x="545" y="795"/>
                  </a:lnTo>
                  <a:lnTo>
                    <a:pt x="587" y="544"/>
                  </a:lnTo>
                  <a:lnTo>
                    <a:pt x="545" y="314"/>
                  </a:lnTo>
                  <a:lnTo>
                    <a:pt x="545" y="147"/>
                  </a:lnTo>
                  <a:lnTo>
                    <a:pt x="52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5" name="Google Shape;895;p34"/>
            <p:cNvSpPr/>
            <p:nvPr/>
          </p:nvSpPr>
          <p:spPr>
            <a:xfrm>
              <a:off x="3688535" y="2836242"/>
              <a:ext cx="76506" cy="61161"/>
            </a:xfrm>
            <a:custGeom>
              <a:avLst/>
              <a:gdLst/>
              <a:ahLst/>
              <a:cxnLst/>
              <a:rect l="l" t="t" r="r" b="b"/>
              <a:pathLst>
                <a:path w="6425" h="5378" extrusionOk="0">
                  <a:moveTo>
                    <a:pt x="817" y="0"/>
                  </a:moveTo>
                  <a:lnTo>
                    <a:pt x="733" y="42"/>
                  </a:lnTo>
                  <a:lnTo>
                    <a:pt x="712" y="21"/>
                  </a:lnTo>
                  <a:lnTo>
                    <a:pt x="503" y="126"/>
                  </a:lnTo>
                  <a:lnTo>
                    <a:pt x="524" y="209"/>
                  </a:lnTo>
                  <a:lnTo>
                    <a:pt x="608" y="251"/>
                  </a:lnTo>
                  <a:lnTo>
                    <a:pt x="524" y="335"/>
                  </a:lnTo>
                  <a:lnTo>
                    <a:pt x="336" y="356"/>
                  </a:lnTo>
                  <a:lnTo>
                    <a:pt x="252" y="335"/>
                  </a:lnTo>
                  <a:lnTo>
                    <a:pt x="43" y="419"/>
                  </a:lnTo>
                  <a:lnTo>
                    <a:pt x="1" y="544"/>
                  </a:lnTo>
                  <a:lnTo>
                    <a:pt x="43" y="670"/>
                  </a:lnTo>
                  <a:lnTo>
                    <a:pt x="126" y="649"/>
                  </a:lnTo>
                  <a:lnTo>
                    <a:pt x="126" y="691"/>
                  </a:lnTo>
                  <a:lnTo>
                    <a:pt x="189" y="733"/>
                  </a:lnTo>
                  <a:lnTo>
                    <a:pt x="147" y="879"/>
                  </a:lnTo>
                  <a:lnTo>
                    <a:pt x="210" y="900"/>
                  </a:lnTo>
                  <a:lnTo>
                    <a:pt x="294" y="837"/>
                  </a:lnTo>
                  <a:lnTo>
                    <a:pt x="252" y="963"/>
                  </a:lnTo>
                  <a:lnTo>
                    <a:pt x="315" y="1005"/>
                  </a:lnTo>
                  <a:lnTo>
                    <a:pt x="252" y="1088"/>
                  </a:lnTo>
                  <a:lnTo>
                    <a:pt x="357" y="1109"/>
                  </a:lnTo>
                  <a:lnTo>
                    <a:pt x="231" y="1256"/>
                  </a:lnTo>
                  <a:lnTo>
                    <a:pt x="231" y="1277"/>
                  </a:lnTo>
                  <a:lnTo>
                    <a:pt x="482" y="1214"/>
                  </a:lnTo>
                  <a:lnTo>
                    <a:pt x="587" y="1256"/>
                  </a:lnTo>
                  <a:lnTo>
                    <a:pt x="566" y="1381"/>
                  </a:lnTo>
                  <a:lnTo>
                    <a:pt x="629" y="1465"/>
                  </a:lnTo>
                  <a:lnTo>
                    <a:pt x="796" y="1360"/>
                  </a:lnTo>
                  <a:lnTo>
                    <a:pt x="1110" y="1423"/>
                  </a:lnTo>
                  <a:lnTo>
                    <a:pt x="1214" y="1318"/>
                  </a:lnTo>
                  <a:lnTo>
                    <a:pt x="1486" y="1360"/>
                  </a:lnTo>
                  <a:lnTo>
                    <a:pt x="1507" y="1486"/>
                  </a:lnTo>
                  <a:lnTo>
                    <a:pt x="1612" y="1632"/>
                  </a:lnTo>
                  <a:lnTo>
                    <a:pt x="1591" y="1737"/>
                  </a:lnTo>
                  <a:lnTo>
                    <a:pt x="1445" y="1737"/>
                  </a:lnTo>
                  <a:lnTo>
                    <a:pt x="1235" y="1946"/>
                  </a:lnTo>
                  <a:lnTo>
                    <a:pt x="1256" y="2114"/>
                  </a:lnTo>
                  <a:lnTo>
                    <a:pt x="1235" y="2469"/>
                  </a:lnTo>
                  <a:lnTo>
                    <a:pt x="1089" y="2616"/>
                  </a:lnTo>
                  <a:lnTo>
                    <a:pt x="1194" y="2720"/>
                  </a:lnTo>
                  <a:lnTo>
                    <a:pt x="1047" y="2930"/>
                  </a:lnTo>
                  <a:lnTo>
                    <a:pt x="942" y="2888"/>
                  </a:lnTo>
                  <a:lnTo>
                    <a:pt x="817" y="2930"/>
                  </a:lnTo>
                  <a:lnTo>
                    <a:pt x="963" y="3202"/>
                  </a:lnTo>
                  <a:lnTo>
                    <a:pt x="1089" y="3285"/>
                  </a:lnTo>
                  <a:lnTo>
                    <a:pt x="1089" y="3515"/>
                  </a:lnTo>
                  <a:lnTo>
                    <a:pt x="922" y="3704"/>
                  </a:lnTo>
                  <a:lnTo>
                    <a:pt x="984" y="3871"/>
                  </a:lnTo>
                  <a:lnTo>
                    <a:pt x="1131" y="3871"/>
                  </a:lnTo>
                  <a:lnTo>
                    <a:pt x="1089" y="3976"/>
                  </a:lnTo>
                  <a:lnTo>
                    <a:pt x="963" y="4080"/>
                  </a:lnTo>
                  <a:lnTo>
                    <a:pt x="838" y="4331"/>
                  </a:lnTo>
                  <a:lnTo>
                    <a:pt x="922" y="4457"/>
                  </a:lnTo>
                  <a:lnTo>
                    <a:pt x="922" y="4603"/>
                  </a:lnTo>
                  <a:lnTo>
                    <a:pt x="1026" y="4624"/>
                  </a:lnTo>
                  <a:lnTo>
                    <a:pt x="1173" y="4645"/>
                  </a:lnTo>
                  <a:lnTo>
                    <a:pt x="1403" y="4875"/>
                  </a:lnTo>
                  <a:lnTo>
                    <a:pt x="1382" y="4917"/>
                  </a:lnTo>
                  <a:lnTo>
                    <a:pt x="1486" y="5168"/>
                  </a:lnTo>
                  <a:lnTo>
                    <a:pt x="1675" y="5357"/>
                  </a:lnTo>
                  <a:lnTo>
                    <a:pt x="1842" y="5378"/>
                  </a:lnTo>
                  <a:lnTo>
                    <a:pt x="2010" y="5273"/>
                  </a:lnTo>
                  <a:lnTo>
                    <a:pt x="2010" y="5168"/>
                  </a:lnTo>
                  <a:lnTo>
                    <a:pt x="2093" y="5085"/>
                  </a:lnTo>
                  <a:lnTo>
                    <a:pt x="2303" y="5064"/>
                  </a:lnTo>
                  <a:lnTo>
                    <a:pt x="2470" y="4875"/>
                  </a:lnTo>
                  <a:lnTo>
                    <a:pt x="2679" y="4855"/>
                  </a:lnTo>
                  <a:lnTo>
                    <a:pt x="2784" y="4813"/>
                  </a:lnTo>
                  <a:lnTo>
                    <a:pt x="3035" y="4875"/>
                  </a:lnTo>
                  <a:lnTo>
                    <a:pt x="3181" y="4917"/>
                  </a:lnTo>
                  <a:lnTo>
                    <a:pt x="3202" y="4855"/>
                  </a:lnTo>
                  <a:lnTo>
                    <a:pt x="3307" y="4855"/>
                  </a:lnTo>
                  <a:lnTo>
                    <a:pt x="3411" y="4938"/>
                  </a:lnTo>
                  <a:lnTo>
                    <a:pt x="3495" y="4855"/>
                  </a:lnTo>
                  <a:lnTo>
                    <a:pt x="3558" y="4750"/>
                  </a:lnTo>
                  <a:lnTo>
                    <a:pt x="3663" y="4855"/>
                  </a:lnTo>
                  <a:lnTo>
                    <a:pt x="3788" y="4917"/>
                  </a:lnTo>
                  <a:lnTo>
                    <a:pt x="3914" y="4708"/>
                  </a:lnTo>
                  <a:lnTo>
                    <a:pt x="3914" y="4603"/>
                  </a:lnTo>
                  <a:lnTo>
                    <a:pt x="4248" y="4436"/>
                  </a:lnTo>
                  <a:lnTo>
                    <a:pt x="4458" y="4436"/>
                  </a:lnTo>
                  <a:lnTo>
                    <a:pt x="4520" y="4352"/>
                  </a:lnTo>
                  <a:lnTo>
                    <a:pt x="4458" y="4311"/>
                  </a:lnTo>
                  <a:lnTo>
                    <a:pt x="4499" y="4143"/>
                  </a:lnTo>
                  <a:lnTo>
                    <a:pt x="4667" y="3892"/>
                  </a:lnTo>
                  <a:lnTo>
                    <a:pt x="4667" y="3766"/>
                  </a:lnTo>
                  <a:lnTo>
                    <a:pt x="4855" y="3704"/>
                  </a:lnTo>
                  <a:lnTo>
                    <a:pt x="4981" y="3578"/>
                  </a:lnTo>
                  <a:lnTo>
                    <a:pt x="4855" y="3390"/>
                  </a:lnTo>
                  <a:lnTo>
                    <a:pt x="4771" y="3348"/>
                  </a:lnTo>
                  <a:lnTo>
                    <a:pt x="4751" y="3243"/>
                  </a:lnTo>
                  <a:lnTo>
                    <a:pt x="4646" y="3076"/>
                  </a:lnTo>
                  <a:lnTo>
                    <a:pt x="4730" y="2992"/>
                  </a:lnTo>
                  <a:lnTo>
                    <a:pt x="4960" y="2637"/>
                  </a:lnTo>
                  <a:lnTo>
                    <a:pt x="5064" y="2574"/>
                  </a:lnTo>
                  <a:lnTo>
                    <a:pt x="5232" y="2302"/>
                  </a:lnTo>
                  <a:lnTo>
                    <a:pt x="5274" y="2323"/>
                  </a:lnTo>
                  <a:lnTo>
                    <a:pt x="5253" y="2344"/>
                  </a:lnTo>
                  <a:lnTo>
                    <a:pt x="5253" y="2365"/>
                  </a:lnTo>
                  <a:lnTo>
                    <a:pt x="5336" y="2323"/>
                  </a:lnTo>
                  <a:lnTo>
                    <a:pt x="5357" y="2197"/>
                  </a:lnTo>
                  <a:lnTo>
                    <a:pt x="5295" y="2134"/>
                  </a:lnTo>
                  <a:lnTo>
                    <a:pt x="5441" y="2051"/>
                  </a:lnTo>
                  <a:lnTo>
                    <a:pt x="5567" y="1946"/>
                  </a:lnTo>
                  <a:lnTo>
                    <a:pt x="5776" y="1946"/>
                  </a:lnTo>
                  <a:lnTo>
                    <a:pt x="5964" y="1883"/>
                  </a:lnTo>
                  <a:lnTo>
                    <a:pt x="6069" y="1737"/>
                  </a:lnTo>
                  <a:lnTo>
                    <a:pt x="6278" y="1611"/>
                  </a:lnTo>
                  <a:lnTo>
                    <a:pt x="6320" y="1507"/>
                  </a:lnTo>
                  <a:lnTo>
                    <a:pt x="6341" y="1381"/>
                  </a:lnTo>
                  <a:lnTo>
                    <a:pt x="6320" y="1193"/>
                  </a:lnTo>
                  <a:lnTo>
                    <a:pt x="6424" y="1151"/>
                  </a:lnTo>
                  <a:lnTo>
                    <a:pt x="6424" y="1088"/>
                  </a:lnTo>
                  <a:lnTo>
                    <a:pt x="6341" y="1067"/>
                  </a:lnTo>
                  <a:lnTo>
                    <a:pt x="6215" y="879"/>
                  </a:lnTo>
                  <a:lnTo>
                    <a:pt x="5964" y="900"/>
                  </a:lnTo>
                  <a:lnTo>
                    <a:pt x="5797" y="837"/>
                  </a:lnTo>
                  <a:lnTo>
                    <a:pt x="5629" y="837"/>
                  </a:lnTo>
                  <a:lnTo>
                    <a:pt x="5525" y="774"/>
                  </a:lnTo>
                  <a:lnTo>
                    <a:pt x="5253" y="774"/>
                  </a:lnTo>
                  <a:lnTo>
                    <a:pt x="5148" y="879"/>
                  </a:lnTo>
                  <a:lnTo>
                    <a:pt x="5064" y="837"/>
                  </a:lnTo>
                  <a:lnTo>
                    <a:pt x="4918" y="837"/>
                  </a:lnTo>
                  <a:lnTo>
                    <a:pt x="4792" y="691"/>
                  </a:lnTo>
                  <a:lnTo>
                    <a:pt x="4688" y="753"/>
                  </a:lnTo>
                  <a:lnTo>
                    <a:pt x="4583" y="649"/>
                  </a:lnTo>
                  <a:lnTo>
                    <a:pt x="4332" y="565"/>
                  </a:lnTo>
                  <a:lnTo>
                    <a:pt x="4186" y="586"/>
                  </a:lnTo>
                  <a:lnTo>
                    <a:pt x="4207" y="523"/>
                  </a:lnTo>
                  <a:lnTo>
                    <a:pt x="4186" y="377"/>
                  </a:lnTo>
                  <a:lnTo>
                    <a:pt x="4102" y="377"/>
                  </a:lnTo>
                  <a:lnTo>
                    <a:pt x="4102" y="356"/>
                  </a:lnTo>
                  <a:lnTo>
                    <a:pt x="3997" y="314"/>
                  </a:lnTo>
                  <a:lnTo>
                    <a:pt x="3955" y="335"/>
                  </a:lnTo>
                  <a:lnTo>
                    <a:pt x="3872" y="335"/>
                  </a:lnTo>
                  <a:lnTo>
                    <a:pt x="3809" y="419"/>
                  </a:lnTo>
                  <a:lnTo>
                    <a:pt x="3495" y="230"/>
                  </a:lnTo>
                  <a:lnTo>
                    <a:pt x="3391" y="230"/>
                  </a:lnTo>
                  <a:lnTo>
                    <a:pt x="3286" y="335"/>
                  </a:lnTo>
                  <a:lnTo>
                    <a:pt x="3077" y="272"/>
                  </a:lnTo>
                  <a:lnTo>
                    <a:pt x="3035" y="168"/>
                  </a:lnTo>
                  <a:lnTo>
                    <a:pt x="2826" y="147"/>
                  </a:lnTo>
                  <a:lnTo>
                    <a:pt x="2533" y="272"/>
                  </a:lnTo>
                  <a:lnTo>
                    <a:pt x="2344" y="230"/>
                  </a:lnTo>
                  <a:lnTo>
                    <a:pt x="1926" y="168"/>
                  </a:lnTo>
                  <a:lnTo>
                    <a:pt x="1779" y="105"/>
                  </a:lnTo>
                  <a:lnTo>
                    <a:pt x="1758" y="42"/>
                  </a:lnTo>
                  <a:lnTo>
                    <a:pt x="1570" y="105"/>
                  </a:lnTo>
                  <a:lnTo>
                    <a:pt x="1403" y="147"/>
                  </a:lnTo>
                  <a:lnTo>
                    <a:pt x="1277" y="105"/>
                  </a:lnTo>
                  <a:lnTo>
                    <a:pt x="1173" y="105"/>
                  </a:lnTo>
                  <a:lnTo>
                    <a:pt x="1068" y="168"/>
                  </a:lnTo>
                  <a:lnTo>
                    <a:pt x="942" y="21"/>
                  </a:lnTo>
                  <a:lnTo>
                    <a:pt x="81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6" name="Google Shape;896;p34"/>
            <p:cNvSpPr/>
            <p:nvPr/>
          </p:nvSpPr>
          <p:spPr>
            <a:xfrm>
              <a:off x="4036603" y="2865264"/>
              <a:ext cx="11967" cy="9064"/>
            </a:xfrm>
            <a:custGeom>
              <a:avLst/>
              <a:gdLst/>
              <a:ahLst/>
              <a:cxnLst/>
              <a:rect l="l" t="t" r="r" b="b"/>
              <a:pathLst>
                <a:path w="1005" h="797" extrusionOk="0">
                  <a:moveTo>
                    <a:pt x="189" y="1"/>
                  </a:moveTo>
                  <a:lnTo>
                    <a:pt x="84" y="64"/>
                  </a:lnTo>
                  <a:lnTo>
                    <a:pt x="0" y="64"/>
                  </a:lnTo>
                  <a:lnTo>
                    <a:pt x="0" y="106"/>
                  </a:lnTo>
                  <a:lnTo>
                    <a:pt x="42" y="106"/>
                  </a:lnTo>
                  <a:lnTo>
                    <a:pt x="105" y="189"/>
                  </a:lnTo>
                  <a:lnTo>
                    <a:pt x="189" y="189"/>
                  </a:lnTo>
                  <a:lnTo>
                    <a:pt x="251" y="294"/>
                  </a:lnTo>
                  <a:lnTo>
                    <a:pt x="209" y="378"/>
                  </a:lnTo>
                  <a:lnTo>
                    <a:pt x="481" y="503"/>
                  </a:lnTo>
                  <a:lnTo>
                    <a:pt x="502" y="629"/>
                  </a:lnTo>
                  <a:lnTo>
                    <a:pt x="670" y="712"/>
                  </a:lnTo>
                  <a:lnTo>
                    <a:pt x="795" y="712"/>
                  </a:lnTo>
                  <a:lnTo>
                    <a:pt x="984" y="796"/>
                  </a:lnTo>
                  <a:lnTo>
                    <a:pt x="1005" y="712"/>
                  </a:lnTo>
                  <a:lnTo>
                    <a:pt x="733" y="315"/>
                  </a:lnTo>
                  <a:lnTo>
                    <a:pt x="586" y="273"/>
                  </a:lnTo>
                  <a:lnTo>
                    <a:pt x="502" y="85"/>
                  </a:lnTo>
                  <a:lnTo>
                    <a:pt x="398" y="85"/>
                  </a:lnTo>
                  <a:lnTo>
                    <a:pt x="356" y="126"/>
                  </a:lnTo>
                  <a:lnTo>
                    <a:pt x="18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7" name="Google Shape;897;p34"/>
            <p:cNvSpPr/>
            <p:nvPr/>
          </p:nvSpPr>
          <p:spPr>
            <a:xfrm>
              <a:off x="4033614" y="2866458"/>
              <a:ext cx="140532" cy="108039"/>
            </a:xfrm>
            <a:custGeom>
              <a:avLst/>
              <a:gdLst/>
              <a:ahLst/>
              <a:cxnLst/>
              <a:rect l="l" t="t" r="r" b="b"/>
              <a:pathLst>
                <a:path w="11802" h="9500" extrusionOk="0">
                  <a:moveTo>
                    <a:pt x="502" y="1863"/>
                  </a:moveTo>
                  <a:lnTo>
                    <a:pt x="502" y="1884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502" y="1863"/>
                  </a:lnTo>
                  <a:close/>
                  <a:moveTo>
                    <a:pt x="251" y="1"/>
                  </a:moveTo>
                  <a:lnTo>
                    <a:pt x="209" y="63"/>
                  </a:lnTo>
                  <a:lnTo>
                    <a:pt x="147" y="210"/>
                  </a:lnTo>
                  <a:lnTo>
                    <a:pt x="0" y="210"/>
                  </a:lnTo>
                  <a:lnTo>
                    <a:pt x="0" y="273"/>
                  </a:lnTo>
                  <a:lnTo>
                    <a:pt x="42" y="398"/>
                  </a:lnTo>
                  <a:lnTo>
                    <a:pt x="105" y="607"/>
                  </a:lnTo>
                  <a:lnTo>
                    <a:pt x="105" y="712"/>
                  </a:lnTo>
                  <a:lnTo>
                    <a:pt x="105" y="858"/>
                  </a:lnTo>
                  <a:lnTo>
                    <a:pt x="230" y="900"/>
                  </a:lnTo>
                  <a:lnTo>
                    <a:pt x="251" y="942"/>
                  </a:lnTo>
                  <a:lnTo>
                    <a:pt x="188" y="1130"/>
                  </a:lnTo>
                  <a:lnTo>
                    <a:pt x="209" y="1277"/>
                  </a:lnTo>
                  <a:lnTo>
                    <a:pt x="188" y="1361"/>
                  </a:lnTo>
                  <a:lnTo>
                    <a:pt x="335" y="1423"/>
                  </a:lnTo>
                  <a:lnTo>
                    <a:pt x="460" y="1654"/>
                  </a:lnTo>
                  <a:lnTo>
                    <a:pt x="523" y="1779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607" y="1884"/>
                  </a:lnTo>
                  <a:lnTo>
                    <a:pt x="670" y="2009"/>
                  </a:lnTo>
                  <a:lnTo>
                    <a:pt x="649" y="2114"/>
                  </a:lnTo>
                  <a:lnTo>
                    <a:pt x="712" y="2260"/>
                  </a:lnTo>
                  <a:lnTo>
                    <a:pt x="816" y="2260"/>
                  </a:lnTo>
                  <a:lnTo>
                    <a:pt x="858" y="2365"/>
                  </a:lnTo>
                  <a:lnTo>
                    <a:pt x="921" y="2490"/>
                  </a:lnTo>
                  <a:lnTo>
                    <a:pt x="1025" y="2532"/>
                  </a:lnTo>
                  <a:lnTo>
                    <a:pt x="1088" y="2574"/>
                  </a:lnTo>
                  <a:lnTo>
                    <a:pt x="1297" y="2679"/>
                  </a:lnTo>
                  <a:lnTo>
                    <a:pt x="1381" y="2700"/>
                  </a:lnTo>
                  <a:lnTo>
                    <a:pt x="1507" y="2679"/>
                  </a:lnTo>
                  <a:lnTo>
                    <a:pt x="1590" y="2721"/>
                  </a:lnTo>
                  <a:lnTo>
                    <a:pt x="1653" y="2742"/>
                  </a:lnTo>
                  <a:lnTo>
                    <a:pt x="1590" y="2783"/>
                  </a:lnTo>
                  <a:lnTo>
                    <a:pt x="1486" y="2825"/>
                  </a:lnTo>
                  <a:lnTo>
                    <a:pt x="1402" y="2825"/>
                  </a:lnTo>
                  <a:lnTo>
                    <a:pt x="1444" y="2993"/>
                  </a:lnTo>
                  <a:lnTo>
                    <a:pt x="1486" y="3014"/>
                  </a:lnTo>
                  <a:lnTo>
                    <a:pt x="1486" y="3223"/>
                  </a:lnTo>
                  <a:lnTo>
                    <a:pt x="1402" y="3244"/>
                  </a:lnTo>
                  <a:lnTo>
                    <a:pt x="1339" y="3244"/>
                  </a:lnTo>
                  <a:lnTo>
                    <a:pt x="1297" y="3432"/>
                  </a:lnTo>
                  <a:lnTo>
                    <a:pt x="1256" y="3474"/>
                  </a:lnTo>
                  <a:lnTo>
                    <a:pt x="1256" y="3683"/>
                  </a:lnTo>
                  <a:lnTo>
                    <a:pt x="1235" y="3767"/>
                  </a:lnTo>
                  <a:lnTo>
                    <a:pt x="1256" y="3830"/>
                  </a:lnTo>
                  <a:lnTo>
                    <a:pt x="1193" y="3871"/>
                  </a:lnTo>
                  <a:lnTo>
                    <a:pt x="1193" y="3955"/>
                  </a:lnTo>
                  <a:lnTo>
                    <a:pt x="1276" y="3976"/>
                  </a:lnTo>
                  <a:lnTo>
                    <a:pt x="1360" y="4060"/>
                  </a:lnTo>
                  <a:lnTo>
                    <a:pt x="1465" y="4081"/>
                  </a:lnTo>
                  <a:lnTo>
                    <a:pt x="1486" y="4164"/>
                  </a:lnTo>
                  <a:lnTo>
                    <a:pt x="1611" y="4269"/>
                  </a:lnTo>
                  <a:lnTo>
                    <a:pt x="1569" y="4394"/>
                  </a:lnTo>
                  <a:lnTo>
                    <a:pt x="1590" y="4415"/>
                  </a:lnTo>
                  <a:lnTo>
                    <a:pt x="1590" y="4499"/>
                  </a:lnTo>
                  <a:lnTo>
                    <a:pt x="1695" y="4583"/>
                  </a:lnTo>
                  <a:lnTo>
                    <a:pt x="1758" y="4562"/>
                  </a:lnTo>
                  <a:lnTo>
                    <a:pt x="1862" y="4520"/>
                  </a:lnTo>
                  <a:lnTo>
                    <a:pt x="2302" y="4813"/>
                  </a:lnTo>
                  <a:lnTo>
                    <a:pt x="2344" y="4792"/>
                  </a:lnTo>
                  <a:lnTo>
                    <a:pt x="2427" y="4834"/>
                  </a:lnTo>
                  <a:lnTo>
                    <a:pt x="2532" y="5043"/>
                  </a:lnTo>
                  <a:lnTo>
                    <a:pt x="2636" y="5106"/>
                  </a:lnTo>
                  <a:lnTo>
                    <a:pt x="2762" y="5357"/>
                  </a:lnTo>
                  <a:lnTo>
                    <a:pt x="2636" y="5462"/>
                  </a:lnTo>
                  <a:lnTo>
                    <a:pt x="2636" y="5650"/>
                  </a:lnTo>
                  <a:lnTo>
                    <a:pt x="2657" y="5817"/>
                  </a:lnTo>
                  <a:lnTo>
                    <a:pt x="2846" y="5817"/>
                  </a:lnTo>
                  <a:lnTo>
                    <a:pt x="2909" y="6152"/>
                  </a:lnTo>
                  <a:lnTo>
                    <a:pt x="3013" y="6236"/>
                  </a:lnTo>
                  <a:lnTo>
                    <a:pt x="3118" y="6278"/>
                  </a:lnTo>
                  <a:lnTo>
                    <a:pt x="3160" y="6299"/>
                  </a:lnTo>
                  <a:lnTo>
                    <a:pt x="3222" y="6278"/>
                  </a:lnTo>
                  <a:lnTo>
                    <a:pt x="3222" y="6340"/>
                  </a:lnTo>
                  <a:lnTo>
                    <a:pt x="3285" y="6445"/>
                  </a:lnTo>
                  <a:lnTo>
                    <a:pt x="3369" y="6445"/>
                  </a:lnTo>
                  <a:lnTo>
                    <a:pt x="3432" y="6382"/>
                  </a:lnTo>
                  <a:lnTo>
                    <a:pt x="3453" y="6257"/>
                  </a:lnTo>
                  <a:lnTo>
                    <a:pt x="3348" y="6194"/>
                  </a:lnTo>
                  <a:lnTo>
                    <a:pt x="3494" y="6194"/>
                  </a:lnTo>
                  <a:lnTo>
                    <a:pt x="3536" y="6173"/>
                  </a:lnTo>
                  <a:lnTo>
                    <a:pt x="3494" y="6236"/>
                  </a:lnTo>
                  <a:lnTo>
                    <a:pt x="3494" y="6299"/>
                  </a:lnTo>
                  <a:lnTo>
                    <a:pt x="3641" y="6361"/>
                  </a:lnTo>
                  <a:lnTo>
                    <a:pt x="3683" y="6340"/>
                  </a:lnTo>
                  <a:lnTo>
                    <a:pt x="3745" y="6445"/>
                  </a:lnTo>
                  <a:lnTo>
                    <a:pt x="3787" y="6445"/>
                  </a:lnTo>
                  <a:lnTo>
                    <a:pt x="3976" y="6299"/>
                  </a:lnTo>
                  <a:lnTo>
                    <a:pt x="4017" y="6340"/>
                  </a:lnTo>
                  <a:lnTo>
                    <a:pt x="4164" y="6487"/>
                  </a:lnTo>
                  <a:lnTo>
                    <a:pt x="4164" y="6591"/>
                  </a:lnTo>
                  <a:lnTo>
                    <a:pt x="4373" y="6863"/>
                  </a:lnTo>
                  <a:lnTo>
                    <a:pt x="4394" y="7031"/>
                  </a:lnTo>
                  <a:lnTo>
                    <a:pt x="4436" y="7073"/>
                  </a:lnTo>
                  <a:lnTo>
                    <a:pt x="4541" y="7073"/>
                  </a:lnTo>
                  <a:lnTo>
                    <a:pt x="4603" y="7177"/>
                  </a:lnTo>
                  <a:lnTo>
                    <a:pt x="4541" y="7177"/>
                  </a:lnTo>
                  <a:lnTo>
                    <a:pt x="4520" y="7135"/>
                  </a:lnTo>
                  <a:lnTo>
                    <a:pt x="4499" y="7177"/>
                  </a:lnTo>
                  <a:lnTo>
                    <a:pt x="4603" y="7240"/>
                  </a:lnTo>
                  <a:lnTo>
                    <a:pt x="4645" y="7219"/>
                  </a:lnTo>
                  <a:lnTo>
                    <a:pt x="4687" y="7324"/>
                  </a:lnTo>
                  <a:lnTo>
                    <a:pt x="4833" y="7721"/>
                  </a:lnTo>
                  <a:lnTo>
                    <a:pt x="4959" y="7763"/>
                  </a:lnTo>
                  <a:lnTo>
                    <a:pt x="5168" y="7763"/>
                  </a:lnTo>
                  <a:lnTo>
                    <a:pt x="5315" y="7805"/>
                  </a:lnTo>
                  <a:lnTo>
                    <a:pt x="5377" y="7868"/>
                  </a:lnTo>
                  <a:lnTo>
                    <a:pt x="5566" y="7868"/>
                  </a:lnTo>
                  <a:lnTo>
                    <a:pt x="5587" y="7931"/>
                  </a:lnTo>
                  <a:lnTo>
                    <a:pt x="5691" y="7931"/>
                  </a:lnTo>
                  <a:lnTo>
                    <a:pt x="5733" y="7972"/>
                  </a:lnTo>
                  <a:lnTo>
                    <a:pt x="5649" y="8035"/>
                  </a:lnTo>
                  <a:lnTo>
                    <a:pt x="5796" y="8224"/>
                  </a:lnTo>
                  <a:lnTo>
                    <a:pt x="5963" y="8244"/>
                  </a:lnTo>
                  <a:lnTo>
                    <a:pt x="6047" y="8328"/>
                  </a:lnTo>
                  <a:lnTo>
                    <a:pt x="6152" y="8328"/>
                  </a:lnTo>
                  <a:lnTo>
                    <a:pt x="6319" y="8496"/>
                  </a:lnTo>
                  <a:lnTo>
                    <a:pt x="6403" y="8475"/>
                  </a:lnTo>
                  <a:lnTo>
                    <a:pt x="6528" y="8454"/>
                  </a:lnTo>
                  <a:lnTo>
                    <a:pt x="6717" y="8496"/>
                  </a:lnTo>
                  <a:lnTo>
                    <a:pt x="6947" y="8663"/>
                  </a:lnTo>
                  <a:lnTo>
                    <a:pt x="7135" y="8475"/>
                  </a:lnTo>
                  <a:lnTo>
                    <a:pt x="7407" y="8349"/>
                  </a:lnTo>
                  <a:lnTo>
                    <a:pt x="7407" y="8328"/>
                  </a:lnTo>
                  <a:lnTo>
                    <a:pt x="7533" y="8328"/>
                  </a:lnTo>
                  <a:lnTo>
                    <a:pt x="7679" y="8224"/>
                  </a:lnTo>
                  <a:lnTo>
                    <a:pt x="7784" y="8161"/>
                  </a:lnTo>
                  <a:lnTo>
                    <a:pt x="7993" y="8182"/>
                  </a:lnTo>
                  <a:lnTo>
                    <a:pt x="7993" y="8244"/>
                  </a:lnTo>
                  <a:lnTo>
                    <a:pt x="8056" y="8244"/>
                  </a:lnTo>
                  <a:lnTo>
                    <a:pt x="8056" y="8286"/>
                  </a:lnTo>
                  <a:lnTo>
                    <a:pt x="8160" y="8454"/>
                  </a:lnTo>
                  <a:lnTo>
                    <a:pt x="8244" y="8663"/>
                  </a:lnTo>
                  <a:lnTo>
                    <a:pt x="8349" y="8872"/>
                  </a:lnTo>
                  <a:lnTo>
                    <a:pt x="8349" y="9019"/>
                  </a:lnTo>
                  <a:lnTo>
                    <a:pt x="8411" y="9081"/>
                  </a:lnTo>
                  <a:lnTo>
                    <a:pt x="8453" y="9123"/>
                  </a:lnTo>
                  <a:lnTo>
                    <a:pt x="8872" y="9123"/>
                  </a:lnTo>
                  <a:lnTo>
                    <a:pt x="8976" y="9207"/>
                  </a:lnTo>
                  <a:lnTo>
                    <a:pt x="9102" y="9081"/>
                  </a:lnTo>
                  <a:lnTo>
                    <a:pt x="9144" y="9102"/>
                  </a:lnTo>
                  <a:lnTo>
                    <a:pt x="9311" y="9228"/>
                  </a:lnTo>
                  <a:lnTo>
                    <a:pt x="9625" y="9207"/>
                  </a:lnTo>
                  <a:lnTo>
                    <a:pt x="9813" y="9291"/>
                  </a:lnTo>
                  <a:lnTo>
                    <a:pt x="10064" y="9312"/>
                  </a:lnTo>
                  <a:lnTo>
                    <a:pt x="10169" y="9332"/>
                  </a:lnTo>
                  <a:lnTo>
                    <a:pt x="10232" y="9312"/>
                  </a:lnTo>
                  <a:lnTo>
                    <a:pt x="10295" y="9395"/>
                  </a:lnTo>
                  <a:lnTo>
                    <a:pt x="10315" y="9395"/>
                  </a:lnTo>
                  <a:lnTo>
                    <a:pt x="10357" y="9291"/>
                  </a:lnTo>
                  <a:lnTo>
                    <a:pt x="10441" y="9291"/>
                  </a:lnTo>
                  <a:lnTo>
                    <a:pt x="10483" y="9374"/>
                  </a:lnTo>
                  <a:lnTo>
                    <a:pt x="10608" y="9416"/>
                  </a:lnTo>
                  <a:lnTo>
                    <a:pt x="10818" y="9500"/>
                  </a:lnTo>
                  <a:lnTo>
                    <a:pt x="10901" y="9437"/>
                  </a:lnTo>
                  <a:lnTo>
                    <a:pt x="10922" y="9395"/>
                  </a:lnTo>
                  <a:lnTo>
                    <a:pt x="10964" y="9395"/>
                  </a:lnTo>
                  <a:lnTo>
                    <a:pt x="10964" y="9312"/>
                  </a:lnTo>
                  <a:lnTo>
                    <a:pt x="10985" y="9102"/>
                  </a:lnTo>
                  <a:lnTo>
                    <a:pt x="10922" y="8977"/>
                  </a:lnTo>
                  <a:lnTo>
                    <a:pt x="11027" y="8851"/>
                  </a:lnTo>
                  <a:lnTo>
                    <a:pt x="10985" y="8747"/>
                  </a:lnTo>
                  <a:lnTo>
                    <a:pt x="11069" y="8642"/>
                  </a:lnTo>
                  <a:lnTo>
                    <a:pt x="11215" y="8558"/>
                  </a:lnTo>
                  <a:lnTo>
                    <a:pt x="11299" y="8496"/>
                  </a:lnTo>
                  <a:lnTo>
                    <a:pt x="11550" y="8433"/>
                  </a:lnTo>
                  <a:lnTo>
                    <a:pt x="11717" y="8475"/>
                  </a:lnTo>
                  <a:lnTo>
                    <a:pt x="11801" y="8391"/>
                  </a:lnTo>
                  <a:lnTo>
                    <a:pt x="11759" y="8161"/>
                  </a:lnTo>
                  <a:lnTo>
                    <a:pt x="11634" y="8056"/>
                  </a:lnTo>
                  <a:lnTo>
                    <a:pt x="11487" y="8077"/>
                  </a:lnTo>
                  <a:lnTo>
                    <a:pt x="11445" y="7972"/>
                  </a:lnTo>
                  <a:lnTo>
                    <a:pt x="11445" y="7826"/>
                  </a:lnTo>
                  <a:lnTo>
                    <a:pt x="11403" y="7700"/>
                  </a:lnTo>
                  <a:lnTo>
                    <a:pt x="11403" y="7491"/>
                  </a:lnTo>
                  <a:lnTo>
                    <a:pt x="11236" y="7491"/>
                  </a:lnTo>
                  <a:lnTo>
                    <a:pt x="11215" y="7408"/>
                  </a:lnTo>
                  <a:lnTo>
                    <a:pt x="11111" y="7387"/>
                  </a:lnTo>
                  <a:lnTo>
                    <a:pt x="10922" y="7345"/>
                  </a:lnTo>
                  <a:lnTo>
                    <a:pt x="10880" y="7303"/>
                  </a:lnTo>
                  <a:lnTo>
                    <a:pt x="10755" y="7219"/>
                  </a:lnTo>
                  <a:lnTo>
                    <a:pt x="10587" y="7073"/>
                  </a:lnTo>
                  <a:lnTo>
                    <a:pt x="10504" y="6926"/>
                  </a:lnTo>
                  <a:lnTo>
                    <a:pt x="10232" y="6508"/>
                  </a:lnTo>
                  <a:lnTo>
                    <a:pt x="10650" y="5943"/>
                  </a:lnTo>
                  <a:lnTo>
                    <a:pt x="10692" y="5859"/>
                  </a:lnTo>
                  <a:lnTo>
                    <a:pt x="10650" y="5629"/>
                  </a:lnTo>
                  <a:lnTo>
                    <a:pt x="10650" y="5462"/>
                  </a:lnTo>
                  <a:lnTo>
                    <a:pt x="10567" y="5294"/>
                  </a:lnTo>
                  <a:lnTo>
                    <a:pt x="10064" y="5252"/>
                  </a:lnTo>
                  <a:lnTo>
                    <a:pt x="10043" y="5043"/>
                  </a:lnTo>
                  <a:lnTo>
                    <a:pt x="9981" y="4939"/>
                  </a:lnTo>
                  <a:lnTo>
                    <a:pt x="10023" y="4876"/>
                  </a:lnTo>
                  <a:lnTo>
                    <a:pt x="9939" y="4604"/>
                  </a:lnTo>
                  <a:lnTo>
                    <a:pt x="9771" y="4311"/>
                  </a:lnTo>
                  <a:lnTo>
                    <a:pt x="9834" y="4164"/>
                  </a:lnTo>
                  <a:lnTo>
                    <a:pt x="9981" y="3934"/>
                  </a:lnTo>
                  <a:lnTo>
                    <a:pt x="9939" y="3934"/>
                  </a:lnTo>
                  <a:lnTo>
                    <a:pt x="9751" y="3892"/>
                  </a:lnTo>
                  <a:lnTo>
                    <a:pt x="9751" y="3767"/>
                  </a:lnTo>
                  <a:lnTo>
                    <a:pt x="9730" y="3558"/>
                  </a:lnTo>
                  <a:lnTo>
                    <a:pt x="9667" y="3558"/>
                  </a:lnTo>
                  <a:lnTo>
                    <a:pt x="9813" y="3411"/>
                  </a:lnTo>
                  <a:lnTo>
                    <a:pt x="9709" y="3327"/>
                  </a:lnTo>
                  <a:lnTo>
                    <a:pt x="9646" y="3244"/>
                  </a:lnTo>
                  <a:lnTo>
                    <a:pt x="9771" y="3223"/>
                  </a:lnTo>
                  <a:lnTo>
                    <a:pt x="9918" y="3118"/>
                  </a:lnTo>
                  <a:lnTo>
                    <a:pt x="9918" y="3034"/>
                  </a:lnTo>
                  <a:lnTo>
                    <a:pt x="9939" y="3014"/>
                  </a:lnTo>
                  <a:lnTo>
                    <a:pt x="9855" y="2909"/>
                  </a:lnTo>
                  <a:lnTo>
                    <a:pt x="9918" y="2825"/>
                  </a:lnTo>
                  <a:lnTo>
                    <a:pt x="9918" y="2742"/>
                  </a:lnTo>
                  <a:lnTo>
                    <a:pt x="9918" y="2574"/>
                  </a:lnTo>
                  <a:lnTo>
                    <a:pt x="9855" y="2470"/>
                  </a:lnTo>
                  <a:lnTo>
                    <a:pt x="9855" y="2386"/>
                  </a:lnTo>
                  <a:lnTo>
                    <a:pt x="9813" y="2260"/>
                  </a:lnTo>
                  <a:lnTo>
                    <a:pt x="9855" y="2156"/>
                  </a:lnTo>
                  <a:lnTo>
                    <a:pt x="9751" y="1988"/>
                  </a:lnTo>
                  <a:lnTo>
                    <a:pt x="9625" y="1946"/>
                  </a:lnTo>
                  <a:lnTo>
                    <a:pt x="9353" y="1905"/>
                  </a:lnTo>
                  <a:lnTo>
                    <a:pt x="9123" y="1591"/>
                  </a:lnTo>
                  <a:lnTo>
                    <a:pt x="8914" y="1549"/>
                  </a:lnTo>
                  <a:lnTo>
                    <a:pt x="8788" y="1570"/>
                  </a:lnTo>
                  <a:lnTo>
                    <a:pt x="8725" y="1528"/>
                  </a:lnTo>
                  <a:lnTo>
                    <a:pt x="8704" y="1361"/>
                  </a:lnTo>
                  <a:lnTo>
                    <a:pt x="8579" y="1340"/>
                  </a:lnTo>
                  <a:lnTo>
                    <a:pt x="8349" y="1235"/>
                  </a:lnTo>
                  <a:lnTo>
                    <a:pt x="8265" y="1319"/>
                  </a:lnTo>
                  <a:lnTo>
                    <a:pt x="8160" y="1319"/>
                  </a:lnTo>
                  <a:lnTo>
                    <a:pt x="7826" y="1109"/>
                  </a:lnTo>
                  <a:lnTo>
                    <a:pt x="7658" y="1047"/>
                  </a:lnTo>
                  <a:lnTo>
                    <a:pt x="7449" y="858"/>
                  </a:lnTo>
                  <a:lnTo>
                    <a:pt x="7323" y="900"/>
                  </a:lnTo>
                  <a:lnTo>
                    <a:pt x="7198" y="837"/>
                  </a:lnTo>
                  <a:lnTo>
                    <a:pt x="7093" y="858"/>
                  </a:lnTo>
                  <a:lnTo>
                    <a:pt x="7030" y="1005"/>
                  </a:lnTo>
                  <a:lnTo>
                    <a:pt x="6821" y="942"/>
                  </a:lnTo>
                  <a:lnTo>
                    <a:pt x="6591" y="1005"/>
                  </a:lnTo>
                  <a:lnTo>
                    <a:pt x="6361" y="1214"/>
                  </a:lnTo>
                  <a:lnTo>
                    <a:pt x="6256" y="1214"/>
                  </a:lnTo>
                  <a:lnTo>
                    <a:pt x="6173" y="1319"/>
                  </a:lnTo>
                  <a:lnTo>
                    <a:pt x="6110" y="1465"/>
                  </a:lnTo>
                  <a:lnTo>
                    <a:pt x="5838" y="1465"/>
                  </a:lnTo>
                  <a:lnTo>
                    <a:pt x="5733" y="1549"/>
                  </a:lnTo>
                  <a:lnTo>
                    <a:pt x="5775" y="1695"/>
                  </a:lnTo>
                  <a:lnTo>
                    <a:pt x="5859" y="1842"/>
                  </a:lnTo>
                  <a:lnTo>
                    <a:pt x="5838" y="1967"/>
                  </a:lnTo>
                  <a:lnTo>
                    <a:pt x="5691" y="1967"/>
                  </a:lnTo>
                  <a:lnTo>
                    <a:pt x="5357" y="1905"/>
                  </a:lnTo>
                  <a:lnTo>
                    <a:pt x="5064" y="1967"/>
                  </a:lnTo>
                  <a:lnTo>
                    <a:pt x="4708" y="2072"/>
                  </a:lnTo>
                  <a:lnTo>
                    <a:pt x="4520" y="2072"/>
                  </a:lnTo>
                  <a:lnTo>
                    <a:pt x="4185" y="1967"/>
                  </a:lnTo>
                  <a:lnTo>
                    <a:pt x="4059" y="1967"/>
                  </a:lnTo>
                  <a:lnTo>
                    <a:pt x="3766" y="1842"/>
                  </a:lnTo>
                  <a:lnTo>
                    <a:pt x="3662" y="1737"/>
                  </a:lnTo>
                  <a:lnTo>
                    <a:pt x="3641" y="1591"/>
                  </a:lnTo>
                  <a:lnTo>
                    <a:pt x="3557" y="1591"/>
                  </a:lnTo>
                  <a:lnTo>
                    <a:pt x="3432" y="1528"/>
                  </a:lnTo>
                  <a:lnTo>
                    <a:pt x="3264" y="1570"/>
                  </a:lnTo>
                  <a:lnTo>
                    <a:pt x="3181" y="1528"/>
                  </a:lnTo>
                  <a:lnTo>
                    <a:pt x="3055" y="1528"/>
                  </a:lnTo>
                  <a:lnTo>
                    <a:pt x="2929" y="1423"/>
                  </a:lnTo>
                  <a:lnTo>
                    <a:pt x="2846" y="1381"/>
                  </a:lnTo>
                  <a:lnTo>
                    <a:pt x="2804" y="1340"/>
                  </a:lnTo>
                  <a:lnTo>
                    <a:pt x="2825" y="1214"/>
                  </a:lnTo>
                  <a:lnTo>
                    <a:pt x="2825" y="1068"/>
                  </a:lnTo>
                  <a:lnTo>
                    <a:pt x="2741" y="942"/>
                  </a:lnTo>
                  <a:lnTo>
                    <a:pt x="2741" y="921"/>
                  </a:lnTo>
                  <a:lnTo>
                    <a:pt x="2699" y="942"/>
                  </a:lnTo>
                  <a:lnTo>
                    <a:pt x="2595" y="921"/>
                  </a:lnTo>
                  <a:lnTo>
                    <a:pt x="2553" y="858"/>
                  </a:lnTo>
                  <a:lnTo>
                    <a:pt x="2448" y="817"/>
                  </a:lnTo>
                  <a:lnTo>
                    <a:pt x="2281" y="607"/>
                  </a:lnTo>
                  <a:lnTo>
                    <a:pt x="2448" y="482"/>
                  </a:lnTo>
                  <a:lnTo>
                    <a:pt x="2323" y="398"/>
                  </a:lnTo>
                  <a:lnTo>
                    <a:pt x="2302" y="335"/>
                  </a:lnTo>
                  <a:lnTo>
                    <a:pt x="2344" y="293"/>
                  </a:lnTo>
                  <a:lnTo>
                    <a:pt x="2281" y="210"/>
                  </a:lnTo>
                  <a:lnTo>
                    <a:pt x="2218" y="105"/>
                  </a:lnTo>
                  <a:lnTo>
                    <a:pt x="2176" y="105"/>
                  </a:lnTo>
                  <a:lnTo>
                    <a:pt x="2176" y="84"/>
                  </a:lnTo>
                  <a:lnTo>
                    <a:pt x="2113" y="84"/>
                  </a:lnTo>
                  <a:lnTo>
                    <a:pt x="1988" y="168"/>
                  </a:lnTo>
                  <a:lnTo>
                    <a:pt x="1904" y="168"/>
                  </a:lnTo>
                  <a:lnTo>
                    <a:pt x="1862" y="273"/>
                  </a:lnTo>
                  <a:lnTo>
                    <a:pt x="1779" y="293"/>
                  </a:lnTo>
                  <a:lnTo>
                    <a:pt x="1674" y="419"/>
                  </a:lnTo>
                  <a:lnTo>
                    <a:pt x="1611" y="440"/>
                  </a:lnTo>
                  <a:lnTo>
                    <a:pt x="1569" y="503"/>
                  </a:lnTo>
                  <a:lnTo>
                    <a:pt x="1569" y="545"/>
                  </a:lnTo>
                  <a:lnTo>
                    <a:pt x="1465" y="607"/>
                  </a:lnTo>
                  <a:lnTo>
                    <a:pt x="1381" y="586"/>
                  </a:lnTo>
                  <a:lnTo>
                    <a:pt x="1256" y="607"/>
                  </a:lnTo>
                  <a:lnTo>
                    <a:pt x="1235" y="691"/>
                  </a:lnTo>
                  <a:lnTo>
                    <a:pt x="1046" y="607"/>
                  </a:lnTo>
                  <a:lnTo>
                    <a:pt x="921" y="607"/>
                  </a:lnTo>
                  <a:lnTo>
                    <a:pt x="753" y="524"/>
                  </a:lnTo>
                  <a:lnTo>
                    <a:pt x="732" y="398"/>
                  </a:lnTo>
                  <a:lnTo>
                    <a:pt x="460" y="273"/>
                  </a:lnTo>
                  <a:lnTo>
                    <a:pt x="502" y="189"/>
                  </a:lnTo>
                  <a:lnTo>
                    <a:pt x="440" y="84"/>
                  </a:lnTo>
                  <a:lnTo>
                    <a:pt x="356" y="84"/>
                  </a:lnTo>
                  <a:lnTo>
                    <a:pt x="2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" name="Google Shape;898;p34"/>
            <p:cNvSpPr/>
            <p:nvPr/>
          </p:nvSpPr>
          <p:spPr>
            <a:xfrm>
              <a:off x="4026636" y="2853369"/>
              <a:ext cx="24672" cy="20004"/>
            </a:xfrm>
            <a:custGeom>
              <a:avLst/>
              <a:gdLst/>
              <a:ahLst/>
              <a:cxnLst/>
              <a:rect l="l" t="t" r="r" b="b"/>
              <a:pathLst>
                <a:path w="2072" h="1759" extrusionOk="0">
                  <a:moveTo>
                    <a:pt x="419" y="1"/>
                  </a:moveTo>
                  <a:lnTo>
                    <a:pt x="168" y="64"/>
                  </a:lnTo>
                  <a:lnTo>
                    <a:pt x="0" y="105"/>
                  </a:lnTo>
                  <a:lnTo>
                    <a:pt x="84" y="210"/>
                  </a:lnTo>
                  <a:lnTo>
                    <a:pt x="84" y="294"/>
                  </a:lnTo>
                  <a:lnTo>
                    <a:pt x="189" y="315"/>
                  </a:lnTo>
                  <a:lnTo>
                    <a:pt x="272" y="419"/>
                  </a:lnTo>
                  <a:lnTo>
                    <a:pt x="209" y="608"/>
                  </a:lnTo>
                  <a:lnTo>
                    <a:pt x="251" y="838"/>
                  </a:lnTo>
                  <a:lnTo>
                    <a:pt x="398" y="942"/>
                  </a:lnTo>
                  <a:lnTo>
                    <a:pt x="691" y="942"/>
                  </a:lnTo>
                  <a:lnTo>
                    <a:pt x="795" y="1026"/>
                  </a:lnTo>
                  <a:lnTo>
                    <a:pt x="837" y="1110"/>
                  </a:lnTo>
                  <a:lnTo>
                    <a:pt x="921" y="1110"/>
                  </a:lnTo>
                  <a:lnTo>
                    <a:pt x="1026" y="1047"/>
                  </a:lnTo>
                  <a:lnTo>
                    <a:pt x="1193" y="1172"/>
                  </a:lnTo>
                  <a:lnTo>
                    <a:pt x="1235" y="1131"/>
                  </a:lnTo>
                  <a:lnTo>
                    <a:pt x="1339" y="1131"/>
                  </a:lnTo>
                  <a:lnTo>
                    <a:pt x="1423" y="1319"/>
                  </a:lnTo>
                  <a:lnTo>
                    <a:pt x="1570" y="1361"/>
                  </a:lnTo>
                  <a:lnTo>
                    <a:pt x="1842" y="1758"/>
                  </a:lnTo>
                  <a:lnTo>
                    <a:pt x="1967" y="1737"/>
                  </a:lnTo>
                  <a:lnTo>
                    <a:pt x="1967" y="1591"/>
                  </a:lnTo>
                  <a:lnTo>
                    <a:pt x="1988" y="1549"/>
                  </a:lnTo>
                  <a:lnTo>
                    <a:pt x="1925" y="1382"/>
                  </a:lnTo>
                  <a:lnTo>
                    <a:pt x="2072" y="1361"/>
                  </a:lnTo>
                  <a:lnTo>
                    <a:pt x="1946" y="1235"/>
                  </a:lnTo>
                  <a:lnTo>
                    <a:pt x="1758" y="1235"/>
                  </a:lnTo>
                  <a:lnTo>
                    <a:pt x="1507" y="1110"/>
                  </a:lnTo>
                  <a:lnTo>
                    <a:pt x="1423" y="921"/>
                  </a:lnTo>
                  <a:lnTo>
                    <a:pt x="1507" y="838"/>
                  </a:lnTo>
                  <a:lnTo>
                    <a:pt x="1507" y="712"/>
                  </a:lnTo>
                  <a:lnTo>
                    <a:pt x="1256" y="524"/>
                  </a:lnTo>
                  <a:lnTo>
                    <a:pt x="1256" y="419"/>
                  </a:lnTo>
                  <a:lnTo>
                    <a:pt x="1298" y="294"/>
                  </a:lnTo>
                  <a:lnTo>
                    <a:pt x="1193" y="168"/>
                  </a:lnTo>
                  <a:lnTo>
                    <a:pt x="984" y="126"/>
                  </a:lnTo>
                  <a:lnTo>
                    <a:pt x="83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" name="Google Shape;899;p34"/>
            <p:cNvSpPr/>
            <p:nvPr/>
          </p:nvSpPr>
          <p:spPr>
            <a:xfrm>
              <a:off x="3915766" y="2848615"/>
              <a:ext cx="124088" cy="48788"/>
            </a:xfrm>
            <a:custGeom>
              <a:avLst/>
              <a:gdLst/>
              <a:ahLst/>
              <a:cxnLst/>
              <a:rect l="l" t="t" r="r" b="b"/>
              <a:pathLst>
                <a:path w="10421" h="4290" extrusionOk="0">
                  <a:moveTo>
                    <a:pt x="4708" y="0"/>
                  </a:moveTo>
                  <a:lnTo>
                    <a:pt x="4562" y="63"/>
                  </a:lnTo>
                  <a:lnTo>
                    <a:pt x="4373" y="63"/>
                  </a:lnTo>
                  <a:lnTo>
                    <a:pt x="4290" y="21"/>
                  </a:lnTo>
                  <a:lnTo>
                    <a:pt x="4185" y="63"/>
                  </a:lnTo>
                  <a:lnTo>
                    <a:pt x="3913" y="63"/>
                  </a:lnTo>
                  <a:lnTo>
                    <a:pt x="3766" y="84"/>
                  </a:lnTo>
                  <a:lnTo>
                    <a:pt x="3494" y="189"/>
                  </a:lnTo>
                  <a:lnTo>
                    <a:pt x="3390" y="210"/>
                  </a:lnTo>
                  <a:lnTo>
                    <a:pt x="3181" y="230"/>
                  </a:lnTo>
                  <a:lnTo>
                    <a:pt x="3097" y="335"/>
                  </a:lnTo>
                  <a:lnTo>
                    <a:pt x="2992" y="377"/>
                  </a:lnTo>
                  <a:lnTo>
                    <a:pt x="2909" y="440"/>
                  </a:lnTo>
                  <a:lnTo>
                    <a:pt x="2867" y="502"/>
                  </a:lnTo>
                  <a:lnTo>
                    <a:pt x="2804" y="628"/>
                  </a:lnTo>
                  <a:lnTo>
                    <a:pt x="2762" y="649"/>
                  </a:lnTo>
                  <a:lnTo>
                    <a:pt x="2762" y="733"/>
                  </a:lnTo>
                  <a:lnTo>
                    <a:pt x="2553" y="733"/>
                  </a:lnTo>
                  <a:lnTo>
                    <a:pt x="2239" y="628"/>
                  </a:lnTo>
                  <a:lnTo>
                    <a:pt x="2155" y="628"/>
                  </a:lnTo>
                  <a:lnTo>
                    <a:pt x="2072" y="691"/>
                  </a:lnTo>
                  <a:lnTo>
                    <a:pt x="1946" y="649"/>
                  </a:lnTo>
                  <a:lnTo>
                    <a:pt x="1779" y="691"/>
                  </a:lnTo>
                  <a:lnTo>
                    <a:pt x="1674" y="649"/>
                  </a:lnTo>
                  <a:lnTo>
                    <a:pt x="1549" y="712"/>
                  </a:lnTo>
                  <a:lnTo>
                    <a:pt x="1528" y="795"/>
                  </a:lnTo>
                  <a:lnTo>
                    <a:pt x="1632" y="942"/>
                  </a:lnTo>
                  <a:lnTo>
                    <a:pt x="1779" y="963"/>
                  </a:lnTo>
                  <a:lnTo>
                    <a:pt x="1925" y="963"/>
                  </a:lnTo>
                  <a:lnTo>
                    <a:pt x="1883" y="1046"/>
                  </a:lnTo>
                  <a:lnTo>
                    <a:pt x="1653" y="1046"/>
                  </a:lnTo>
                  <a:lnTo>
                    <a:pt x="1444" y="1109"/>
                  </a:lnTo>
                  <a:lnTo>
                    <a:pt x="1402" y="1214"/>
                  </a:lnTo>
                  <a:lnTo>
                    <a:pt x="1423" y="1256"/>
                  </a:lnTo>
                  <a:lnTo>
                    <a:pt x="1528" y="1235"/>
                  </a:lnTo>
                  <a:lnTo>
                    <a:pt x="1570" y="1277"/>
                  </a:lnTo>
                  <a:lnTo>
                    <a:pt x="1507" y="1318"/>
                  </a:lnTo>
                  <a:lnTo>
                    <a:pt x="1214" y="1339"/>
                  </a:lnTo>
                  <a:lnTo>
                    <a:pt x="1109" y="1256"/>
                  </a:lnTo>
                  <a:lnTo>
                    <a:pt x="984" y="1339"/>
                  </a:lnTo>
                  <a:lnTo>
                    <a:pt x="900" y="1235"/>
                  </a:lnTo>
                  <a:lnTo>
                    <a:pt x="837" y="1235"/>
                  </a:lnTo>
                  <a:lnTo>
                    <a:pt x="733" y="1339"/>
                  </a:lnTo>
                  <a:lnTo>
                    <a:pt x="628" y="1339"/>
                  </a:lnTo>
                  <a:lnTo>
                    <a:pt x="502" y="1235"/>
                  </a:lnTo>
                  <a:lnTo>
                    <a:pt x="377" y="1235"/>
                  </a:lnTo>
                  <a:lnTo>
                    <a:pt x="105" y="1444"/>
                  </a:lnTo>
                  <a:lnTo>
                    <a:pt x="63" y="1549"/>
                  </a:lnTo>
                  <a:lnTo>
                    <a:pt x="0" y="1653"/>
                  </a:lnTo>
                  <a:lnTo>
                    <a:pt x="63" y="1695"/>
                  </a:lnTo>
                  <a:lnTo>
                    <a:pt x="63" y="1842"/>
                  </a:lnTo>
                  <a:lnTo>
                    <a:pt x="0" y="1883"/>
                  </a:lnTo>
                  <a:lnTo>
                    <a:pt x="63" y="1946"/>
                  </a:lnTo>
                  <a:lnTo>
                    <a:pt x="209" y="1883"/>
                  </a:lnTo>
                  <a:lnTo>
                    <a:pt x="251" y="1904"/>
                  </a:lnTo>
                  <a:lnTo>
                    <a:pt x="377" y="1883"/>
                  </a:lnTo>
                  <a:lnTo>
                    <a:pt x="502" y="1883"/>
                  </a:lnTo>
                  <a:lnTo>
                    <a:pt x="377" y="2009"/>
                  </a:lnTo>
                  <a:lnTo>
                    <a:pt x="398" y="2093"/>
                  </a:lnTo>
                  <a:lnTo>
                    <a:pt x="461" y="2197"/>
                  </a:lnTo>
                  <a:lnTo>
                    <a:pt x="461" y="2281"/>
                  </a:lnTo>
                  <a:lnTo>
                    <a:pt x="419" y="2302"/>
                  </a:lnTo>
                  <a:lnTo>
                    <a:pt x="481" y="2323"/>
                  </a:lnTo>
                  <a:lnTo>
                    <a:pt x="586" y="2281"/>
                  </a:lnTo>
                  <a:lnTo>
                    <a:pt x="586" y="2323"/>
                  </a:lnTo>
                  <a:lnTo>
                    <a:pt x="502" y="2406"/>
                  </a:lnTo>
                  <a:lnTo>
                    <a:pt x="377" y="2490"/>
                  </a:lnTo>
                  <a:lnTo>
                    <a:pt x="419" y="2532"/>
                  </a:lnTo>
                  <a:lnTo>
                    <a:pt x="502" y="2532"/>
                  </a:lnTo>
                  <a:lnTo>
                    <a:pt x="419" y="2595"/>
                  </a:lnTo>
                  <a:lnTo>
                    <a:pt x="377" y="2699"/>
                  </a:lnTo>
                  <a:lnTo>
                    <a:pt x="293" y="2699"/>
                  </a:lnTo>
                  <a:lnTo>
                    <a:pt x="251" y="2532"/>
                  </a:lnTo>
                  <a:lnTo>
                    <a:pt x="189" y="2511"/>
                  </a:lnTo>
                  <a:lnTo>
                    <a:pt x="189" y="2616"/>
                  </a:lnTo>
                  <a:lnTo>
                    <a:pt x="209" y="2720"/>
                  </a:lnTo>
                  <a:lnTo>
                    <a:pt x="168" y="2783"/>
                  </a:lnTo>
                  <a:lnTo>
                    <a:pt x="189" y="2846"/>
                  </a:lnTo>
                  <a:lnTo>
                    <a:pt x="293" y="2930"/>
                  </a:lnTo>
                  <a:lnTo>
                    <a:pt x="293" y="2888"/>
                  </a:lnTo>
                  <a:lnTo>
                    <a:pt x="419" y="2950"/>
                  </a:lnTo>
                  <a:lnTo>
                    <a:pt x="502" y="2950"/>
                  </a:lnTo>
                  <a:lnTo>
                    <a:pt x="628" y="3034"/>
                  </a:lnTo>
                  <a:lnTo>
                    <a:pt x="670" y="3160"/>
                  </a:lnTo>
                  <a:lnTo>
                    <a:pt x="586" y="3243"/>
                  </a:lnTo>
                  <a:lnTo>
                    <a:pt x="670" y="3327"/>
                  </a:lnTo>
                  <a:lnTo>
                    <a:pt x="670" y="3411"/>
                  </a:lnTo>
                  <a:lnTo>
                    <a:pt x="733" y="3411"/>
                  </a:lnTo>
                  <a:lnTo>
                    <a:pt x="879" y="3536"/>
                  </a:lnTo>
                  <a:lnTo>
                    <a:pt x="816" y="3641"/>
                  </a:lnTo>
                  <a:lnTo>
                    <a:pt x="733" y="3620"/>
                  </a:lnTo>
                  <a:lnTo>
                    <a:pt x="712" y="3662"/>
                  </a:lnTo>
                  <a:lnTo>
                    <a:pt x="795" y="3683"/>
                  </a:lnTo>
                  <a:lnTo>
                    <a:pt x="942" y="3662"/>
                  </a:lnTo>
                  <a:lnTo>
                    <a:pt x="1214" y="3662"/>
                  </a:lnTo>
                  <a:lnTo>
                    <a:pt x="1193" y="3725"/>
                  </a:lnTo>
                  <a:lnTo>
                    <a:pt x="1130" y="3767"/>
                  </a:lnTo>
                  <a:lnTo>
                    <a:pt x="1005" y="3829"/>
                  </a:lnTo>
                  <a:lnTo>
                    <a:pt x="816" y="3829"/>
                  </a:lnTo>
                  <a:lnTo>
                    <a:pt x="774" y="3871"/>
                  </a:lnTo>
                  <a:lnTo>
                    <a:pt x="837" y="3892"/>
                  </a:lnTo>
                  <a:lnTo>
                    <a:pt x="942" y="3871"/>
                  </a:lnTo>
                  <a:lnTo>
                    <a:pt x="1088" y="3871"/>
                  </a:lnTo>
                  <a:lnTo>
                    <a:pt x="1130" y="3829"/>
                  </a:lnTo>
                  <a:lnTo>
                    <a:pt x="1130" y="3934"/>
                  </a:lnTo>
                  <a:lnTo>
                    <a:pt x="1151" y="3955"/>
                  </a:lnTo>
                  <a:lnTo>
                    <a:pt x="1235" y="3871"/>
                  </a:lnTo>
                  <a:lnTo>
                    <a:pt x="1318" y="3767"/>
                  </a:lnTo>
                  <a:lnTo>
                    <a:pt x="1402" y="3767"/>
                  </a:lnTo>
                  <a:lnTo>
                    <a:pt x="1444" y="3829"/>
                  </a:lnTo>
                  <a:lnTo>
                    <a:pt x="1528" y="3829"/>
                  </a:lnTo>
                  <a:lnTo>
                    <a:pt x="1632" y="3892"/>
                  </a:lnTo>
                  <a:lnTo>
                    <a:pt x="1674" y="3829"/>
                  </a:lnTo>
                  <a:lnTo>
                    <a:pt x="1758" y="3850"/>
                  </a:lnTo>
                  <a:lnTo>
                    <a:pt x="1758" y="3892"/>
                  </a:lnTo>
                  <a:lnTo>
                    <a:pt x="1716" y="3934"/>
                  </a:lnTo>
                  <a:lnTo>
                    <a:pt x="1758" y="3997"/>
                  </a:lnTo>
                  <a:lnTo>
                    <a:pt x="1779" y="4080"/>
                  </a:lnTo>
                  <a:lnTo>
                    <a:pt x="1883" y="4185"/>
                  </a:lnTo>
                  <a:lnTo>
                    <a:pt x="1946" y="4164"/>
                  </a:lnTo>
                  <a:lnTo>
                    <a:pt x="2072" y="4206"/>
                  </a:lnTo>
                  <a:lnTo>
                    <a:pt x="2197" y="4185"/>
                  </a:lnTo>
                  <a:lnTo>
                    <a:pt x="2281" y="4143"/>
                  </a:lnTo>
                  <a:lnTo>
                    <a:pt x="2386" y="4143"/>
                  </a:lnTo>
                  <a:lnTo>
                    <a:pt x="2469" y="4080"/>
                  </a:lnTo>
                  <a:lnTo>
                    <a:pt x="2574" y="4143"/>
                  </a:lnTo>
                  <a:lnTo>
                    <a:pt x="2616" y="4080"/>
                  </a:lnTo>
                  <a:lnTo>
                    <a:pt x="2616" y="3955"/>
                  </a:lnTo>
                  <a:lnTo>
                    <a:pt x="2658" y="3871"/>
                  </a:lnTo>
                  <a:lnTo>
                    <a:pt x="2616" y="3767"/>
                  </a:lnTo>
                  <a:lnTo>
                    <a:pt x="2867" y="3746"/>
                  </a:lnTo>
                  <a:lnTo>
                    <a:pt x="3076" y="3746"/>
                  </a:lnTo>
                  <a:lnTo>
                    <a:pt x="3348" y="3892"/>
                  </a:lnTo>
                  <a:lnTo>
                    <a:pt x="3453" y="3892"/>
                  </a:lnTo>
                  <a:lnTo>
                    <a:pt x="3641" y="4143"/>
                  </a:lnTo>
                  <a:lnTo>
                    <a:pt x="3808" y="4248"/>
                  </a:lnTo>
                  <a:lnTo>
                    <a:pt x="4331" y="4185"/>
                  </a:lnTo>
                  <a:lnTo>
                    <a:pt x="4478" y="4101"/>
                  </a:lnTo>
                  <a:lnTo>
                    <a:pt x="4541" y="4101"/>
                  </a:lnTo>
                  <a:lnTo>
                    <a:pt x="4562" y="4143"/>
                  </a:lnTo>
                  <a:lnTo>
                    <a:pt x="4603" y="4080"/>
                  </a:lnTo>
                  <a:lnTo>
                    <a:pt x="4645" y="3976"/>
                  </a:lnTo>
                  <a:lnTo>
                    <a:pt x="4896" y="3725"/>
                  </a:lnTo>
                  <a:lnTo>
                    <a:pt x="4959" y="3683"/>
                  </a:lnTo>
                  <a:lnTo>
                    <a:pt x="5189" y="3767"/>
                  </a:lnTo>
                  <a:lnTo>
                    <a:pt x="5336" y="3850"/>
                  </a:lnTo>
                  <a:lnTo>
                    <a:pt x="5524" y="3787"/>
                  </a:lnTo>
                  <a:lnTo>
                    <a:pt x="5524" y="3746"/>
                  </a:lnTo>
                  <a:lnTo>
                    <a:pt x="5650" y="3662"/>
                  </a:lnTo>
                  <a:lnTo>
                    <a:pt x="5754" y="3683"/>
                  </a:lnTo>
                  <a:lnTo>
                    <a:pt x="5754" y="3767"/>
                  </a:lnTo>
                  <a:lnTo>
                    <a:pt x="5691" y="3934"/>
                  </a:lnTo>
                  <a:lnTo>
                    <a:pt x="5545" y="3997"/>
                  </a:lnTo>
                  <a:lnTo>
                    <a:pt x="5587" y="4059"/>
                  </a:lnTo>
                  <a:lnTo>
                    <a:pt x="5691" y="4185"/>
                  </a:lnTo>
                  <a:lnTo>
                    <a:pt x="5650" y="4269"/>
                  </a:lnTo>
                  <a:lnTo>
                    <a:pt x="5754" y="4290"/>
                  </a:lnTo>
                  <a:lnTo>
                    <a:pt x="5901" y="4269"/>
                  </a:lnTo>
                  <a:lnTo>
                    <a:pt x="6005" y="4206"/>
                  </a:lnTo>
                  <a:lnTo>
                    <a:pt x="5963" y="4080"/>
                  </a:lnTo>
                  <a:lnTo>
                    <a:pt x="6047" y="4059"/>
                  </a:lnTo>
                  <a:lnTo>
                    <a:pt x="6047" y="3829"/>
                  </a:lnTo>
                  <a:lnTo>
                    <a:pt x="6110" y="3746"/>
                  </a:lnTo>
                  <a:lnTo>
                    <a:pt x="6256" y="3787"/>
                  </a:lnTo>
                  <a:lnTo>
                    <a:pt x="6361" y="3829"/>
                  </a:lnTo>
                  <a:lnTo>
                    <a:pt x="6654" y="3683"/>
                  </a:lnTo>
                  <a:lnTo>
                    <a:pt x="6696" y="3683"/>
                  </a:lnTo>
                  <a:lnTo>
                    <a:pt x="6780" y="3641"/>
                  </a:lnTo>
                  <a:lnTo>
                    <a:pt x="7093" y="3620"/>
                  </a:lnTo>
                  <a:lnTo>
                    <a:pt x="7198" y="3641"/>
                  </a:lnTo>
                  <a:lnTo>
                    <a:pt x="7261" y="3683"/>
                  </a:lnTo>
                  <a:lnTo>
                    <a:pt x="7428" y="3746"/>
                  </a:lnTo>
                  <a:lnTo>
                    <a:pt x="7700" y="3746"/>
                  </a:lnTo>
                  <a:lnTo>
                    <a:pt x="7721" y="3683"/>
                  </a:lnTo>
                  <a:lnTo>
                    <a:pt x="7888" y="3641"/>
                  </a:lnTo>
                  <a:lnTo>
                    <a:pt x="7951" y="3557"/>
                  </a:lnTo>
                  <a:lnTo>
                    <a:pt x="8160" y="3474"/>
                  </a:lnTo>
                  <a:lnTo>
                    <a:pt x="8307" y="3474"/>
                  </a:lnTo>
                  <a:lnTo>
                    <a:pt x="8432" y="3453"/>
                  </a:lnTo>
                  <a:lnTo>
                    <a:pt x="8725" y="3474"/>
                  </a:lnTo>
                  <a:lnTo>
                    <a:pt x="8956" y="3411"/>
                  </a:lnTo>
                  <a:lnTo>
                    <a:pt x="9102" y="3411"/>
                  </a:lnTo>
                  <a:lnTo>
                    <a:pt x="9165" y="3432"/>
                  </a:lnTo>
                  <a:lnTo>
                    <a:pt x="9311" y="3306"/>
                  </a:lnTo>
                  <a:lnTo>
                    <a:pt x="9458" y="3306"/>
                  </a:lnTo>
                  <a:lnTo>
                    <a:pt x="9500" y="3264"/>
                  </a:lnTo>
                  <a:lnTo>
                    <a:pt x="9730" y="3264"/>
                  </a:lnTo>
                  <a:lnTo>
                    <a:pt x="9939" y="3327"/>
                  </a:lnTo>
                  <a:lnTo>
                    <a:pt x="10085" y="3264"/>
                  </a:lnTo>
                  <a:lnTo>
                    <a:pt x="10148" y="3327"/>
                  </a:lnTo>
                  <a:lnTo>
                    <a:pt x="10148" y="3432"/>
                  </a:lnTo>
                  <a:lnTo>
                    <a:pt x="10253" y="3474"/>
                  </a:lnTo>
                  <a:lnTo>
                    <a:pt x="10399" y="3453"/>
                  </a:lnTo>
                  <a:lnTo>
                    <a:pt x="10420" y="3348"/>
                  </a:lnTo>
                  <a:lnTo>
                    <a:pt x="10357" y="3223"/>
                  </a:lnTo>
                  <a:lnTo>
                    <a:pt x="10232" y="2992"/>
                  </a:lnTo>
                  <a:lnTo>
                    <a:pt x="10085" y="2930"/>
                  </a:lnTo>
                  <a:lnTo>
                    <a:pt x="10106" y="2846"/>
                  </a:lnTo>
                  <a:lnTo>
                    <a:pt x="10085" y="2699"/>
                  </a:lnTo>
                  <a:lnTo>
                    <a:pt x="10148" y="2511"/>
                  </a:lnTo>
                  <a:lnTo>
                    <a:pt x="10127" y="2469"/>
                  </a:lnTo>
                  <a:lnTo>
                    <a:pt x="10002" y="2427"/>
                  </a:lnTo>
                  <a:lnTo>
                    <a:pt x="10002" y="2281"/>
                  </a:lnTo>
                  <a:lnTo>
                    <a:pt x="10002" y="2176"/>
                  </a:lnTo>
                  <a:lnTo>
                    <a:pt x="9939" y="1967"/>
                  </a:lnTo>
                  <a:lnTo>
                    <a:pt x="9897" y="1842"/>
                  </a:lnTo>
                  <a:lnTo>
                    <a:pt x="9897" y="1779"/>
                  </a:lnTo>
                  <a:lnTo>
                    <a:pt x="10044" y="1779"/>
                  </a:lnTo>
                  <a:lnTo>
                    <a:pt x="10106" y="1632"/>
                  </a:lnTo>
                  <a:lnTo>
                    <a:pt x="10148" y="1570"/>
                  </a:lnTo>
                  <a:lnTo>
                    <a:pt x="10148" y="1528"/>
                  </a:lnTo>
                  <a:lnTo>
                    <a:pt x="10106" y="1444"/>
                  </a:lnTo>
                  <a:lnTo>
                    <a:pt x="10002" y="1360"/>
                  </a:lnTo>
                  <a:lnTo>
                    <a:pt x="9709" y="1360"/>
                  </a:lnTo>
                  <a:lnTo>
                    <a:pt x="9562" y="1256"/>
                  </a:lnTo>
                  <a:lnTo>
                    <a:pt x="9520" y="1026"/>
                  </a:lnTo>
                  <a:lnTo>
                    <a:pt x="9583" y="837"/>
                  </a:lnTo>
                  <a:lnTo>
                    <a:pt x="9500" y="733"/>
                  </a:lnTo>
                  <a:lnTo>
                    <a:pt x="9395" y="712"/>
                  </a:lnTo>
                  <a:lnTo>
                    <a:pt x="9395" y="628"/>
                  </a:lnTo>
                  <a:lnTo>
                    <a:pt x="9290" y="523"/>
                  </a:lnTo>
                  <a:lnTo>
                    <a:pt x="9186" y="502"/>
                  </a:lnTo>
                  <a:lnTo>
                    <a:pt x="8956" y="293"/>
                  </a:lnTo>
                  <a:lnTo>
                    <a:pt x="8851" y="272"/>
                  </a:lnTo>
                  <a:lnTo>
                    <a:pt x="8767" y="335"/>
                  </a:lnTo>
                  <a:lnTo>
                    <a:pt x="8725" y="335"/>
                  </a:lnTo>
                  <a:lnTo>
                    <a:pt x="8558" y="293"/>
                  </a:lnTo>
                  <a:lnTo>
                    <a:pt x="8516" y="377"/>
                  </a:lnTo>
                  <a:lnTo>
                    <a:pt x="8432" y="335"/>
                  </a:lnTo>
                  <a:lnTo>
                    <a:pt x="8412" y="230"/>
                  </a:lnTo>
                  <a:lnTo>
                    <a:pt x="8349" y="230"/>
                  </a:lnTo>
                  <a:lnTo>
                    <a:pt x="8328" y="272"/>
                  </a:lnTo>
                  <a:lnTo>
                    <a:pt x="8244" y="419"/>
                  </a:lnTo>
                  <a:lnTo>
                    <a:pt x="8098" y="502"/>
                  </a:lnTo>
                  <a:lnTo>
                    <a:pt x="7909" y="607"/>
                  </a:lnTo>
                  <a:lnTo>
                    <a:pt x="7888" y="691"/>
                  </a:lnTo>
                  <a:lnTo>
                    <a:pt x="7700" y="712"/>
                  </a:lnTo>
                  <a:lnTo>
                    <a:pt x="7616" y="754"/>
                  </a:lnTo>
                  <a:lnTo>
                    <a:pt x="7386" y="712"/>
                  </a:lnTo>
                  <a:lnTo>
                    <a:pt x="7324" y="649"/>
                  </a:lnTo>
                  <a:lnTo>
                    <a:pt x="7219" y="649"/>
                  </a:lnTo>
                  <a:lnTo>
                    <a:pt x="7198" y="628"/>
                  </a:lnTo>
                  <a:lnTo>
                    <a:pt x="7093" y="691"/>
                  </a:lnTo>
                  <a:lnTo>
                    <a:pt x="6884" y="691"/>
                  </a:lnTo>
                  <a:lnTo>
                    <a:pt x="6633" y="795"/>
                  </a:lnTo>
                  <a:lnTo>
                    <a:pt x="6445" y="754"/>
                  </a:lnTo>
                  <a:lnTo>
                    <a:pt x="6319" y="649"/>
                  </a:lnTo>
                  <a:lnTo>
                    <a:pt x="6235" y="712"/>
                  </a:lnTo>
                  <a:lnTo>
                    <a:pt x="6026" y="607"/>
                  </a:lnTo>
                  <a:lnTo>
                    <a:pt x="5901" y="586"/>
                  </a:lnTo>
                  <a:lnTo>
                    <a:pt x="5712" y="440"/>
                  </a:lnTo>
                  <a:lnTo>
                    <a:pt x="5629" y="440"/>
                  </a:lnTo>
                  <a:lnTo>
                    <a:pt x="5587" y="523"/>
                  </a:lnTo>
                  <a:lnTo>
                    <a:pt x="5503" y="502"/>
                  </a:lnTo>
                  <a:lnTo>
                    <a:pt x="5399" y="377"/>
                  </a:lnTo>
                  <a:lnTo>
                    <a:pt x="5378" y="210"/>
                  </a:lnTo>
                  <a:lnTo>
                    <a:pt x="5273" y="126"/>
                  </a:lnTo>
                  <a:lnTo>
                    <a:pt x="5210" y="168"/>
                  </a:lnTo>
                  <a:lnTo>
                    <a:pt x="5085" y="293"/>
                  </a:lnTo>
                  <a:lnTo>
                    <a:pt x="5022" y="272"/>
                  </a:lnTo>
                  <a:lnTo>
                    <a:pt x="4980" y="314"/>
                  </a:lnTo>
                  <a:lnTo>
                    <a:pt x="4771" y="105"/>
                  </a:lnTo>
                  <a:lnTo>
                    <a:pt x="475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" name="Google Shape;900;p34"/>
            <p:cNvSpPr/>
            <p:nvPr/>
          </p:nvSpPr>
          <p:spPr>
            <a:xfrm>
              <a:off x="3914265" y="2848854"/>
              <a:ext cx="18945" cy="15956"/>
            </a:xfrm>
            <a:custGeom>
              <a:avLst/>
              <a:gdLst/>
              <a:ahLst/>
              <a:cxnLst/>
              <a:rect l="l" t="t" r="r" b="b"/>
              <a:pathLst>
                <a:path w="1591" h="1403" extrusionOk="0">
                  <a:moveTo>
                    <a:pt x="503" y="0"/>
                  </a:moveTo>
                  <a:lnTo>
                    <a:pt x="419" y="84"/>
                  </a:lnTo>
                  <a:lnTo>
                    <a:pt x="335" y="84"/>
                  </a:lnTo>
                  <a:lnTo>
                    <a:pt x="231" y="189"/>
                  </a:lnTo>
                  <a:lnTo>
                    <a:pt x="210" y="356"/>
                  </a:lnTo>
                  <a:lnTo>
                    <a:pt x="335" y="398"/>
                  </a:lnTo>
                  <a:lnTo>
                    <a:pt x="335" y="523"/>
                  </a:lnTo>
                  <a:lnTo>
                    <a:pt x="189" y="628"/>
                  </a:lnTo>
                  <a:lnTo>
                    <a:pt x="210" y="733"/>
                  </a:lnTo>
                  <a:lnTo>
                    <a:pt x="126" y="879"/>
                  </a:lnTo>
                  <a:lnTo>
                    <a:pt x="1" y="921"/>
                  </a:lnTo>
                  <a:lnTo>
                    <a:pt x="22" y="921"/>
                  </a:lnTo>
                  <a:lnTo>
                    <a:pt x="84" y="1025"/>
                  </a:lnTo>
                  <a:lnTo>
                    <a:pt x="168" y="1088"/>
                  </a:lnTo>
                  <a:lnTo>
                    <a:pt x="231" y="1046"/>
                  </a:lnTo>
                  <a:lnTo>
                    <a:pt x="294" y="1088"/>
                  </a:lnTo>
                  <a:lnTo>
                    <a:pt x="398" y="1046"/>
                  </a:lnTo>
                  <a:lnTo>
                    <a:pt x="294" y="1130"/>
                  </a:lnTo>
                  <a:lnTo>
                    <a:pt x="231" y="1130"/>
                  </a:lnTo>
                  <a:lnTo>
                    <a:pt x="168" y="1318"/>
                  </a:lnTo>
                  <a:lnTo>
                    <a:pt x="189" y="1402"/>
                  </a:lnTo>
                  <a:lnTo>
                    <a:pt x="419" y="1193"/>
                  </a:lnTo>
                  <a:lnTo>
                    <a:pt x="712" y="1025"/>
                  </a:lnTo>
                  <a:lnTo>
                    <a:pt x="796" y="879"/>
                  </a:lnTo>
                  <a:lnTo>
                    <a:pt x="900" y="816"/>
                  </a:lnTo>
                  <a:lnTo>
                    <a:pt x="1110" y="837"/>
                  </a:lnTo>
                  <a:lnTo>
                    <a:pt x="1152" y="795"/>
                  </a:lnTo>
                  <a:lnTo>
                    <a:pt x="1277" y="795"/>
                  </a:lnTo>
                  <a:lnTo>
                    <a:pt x="1361" y="816"/>
                  </a:lnTo>
                  <a:lnTo>
                    <a:pt x="1486" y="837"/>
                  </a:lnTo>
                  <a:lnTo>
                    <a:pt x="1591" y="733"/>
                  </a:lnTo>
                  <a:lnTo>
                    <a:pt x="1591" y="670"/>
                  </a:lnTo>
                  <a:lnTo>
                    <a:pt x="1486" y="607"/>
                  </a:lnTo>
                  <a:lnTo>
                    <a:pt x="1361" y="481"/>
                  </a:lnTo>
                  <a:lnTo>
                    <a:pt x="1235" y="461"/>
                  </a:lnTo>
                  <a:lnTo>
                    <a:pt x="1047" y="293"/>
                  </a:lnTo>
                  <a:lnTo>
                    <a:pt x="1026" y="84"/>
                  </a:lnTo>
                  <a:lnTo>
                    <a:pt x="921" y="63"/>
                  </a:lnTo>
                  <a:lnTo>
                    <a:pt x="817" y="147"/>
                  </a:lnTo>
                  <a:lnTo>
                    <a:pt x="64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1" name="Google Shape;901;p34"/>
            <p:cNvSpPr/>
            <p:nvPr/>
          </p:nvSpPr>
          <p:spPr>
            <a:xfrm>
              <a:off x="4004703" y="2885735"/>
              <a:ext cx="66539" cy="61161"/>
            </a:xfrm>
            <a:custGeom>
              <a:avLst/>
              <a:gdLst/>
              <a:ahLst/>
              <a:cxnLst/>
              <a:rect l="l" t="t" r="r" b="b"/>
              <a:pathLst>
                <a:path w="5588" h="5378" extrusionOk="0">
                  <a:moveTo>
                    <a:pt x="2031" y="0"/>
                  </a:moveTo>
                  <a:lnTo>
                    <a:pt x="1989" y="42"/>
                  </a:lnTo>
                  <a:lnTo>
                    <a:pt x="1842" y="42"/>
                  </a:lnTo>
                  <a:lnTo>
                    <a:pt x="1696" y="168"/>
                  </a:lnTo>
                  <a:lnTo>
                    <a:pt x="1717" y="189"/>
                  </a:lnTo>
                  <a:lnTo>
                    <a:pt x="1633" y="314"/>
                  </a:lnTo>
                  <a:lnTo>
                    <a:pt x="1591" y="314"/>
                  </a:lnTo>
                  <a:lnTo>
                    <a:pt x="1466" y="419"/>
                  </a:lnTo>
                  <a:lnTo>
                    <a:pt x="1215" y="482"/>
                  </a:lnTo>
                  <a:lnTo>
                    <a:pt x="1110" y="670"/>
                  </a:lnTo>
                  <a:lnTo>
                    <a:pt x="1110" y="837"/>
                  </a:lnTo>
                  <a:lnTo>
                    <a:pt x="1215" y="1047"/>
                  </a:lnTo>
                  <a:lnTo>
                    <a:pt x="1215" y="1235"/>
                  </a:lnTo>
                  <a:lnTo>
                    <a:pt x="1110" y="1444"/>
                  </a:lnTo>
                  <a:lnTo>
                    <a:pt x="1173" y="1549"/>
                  </a:lnTo>
                  <a:lnTo>
                    <a:pt x="1152" y="1716"/>
                  </a:lnTo>
                  <a:lnTo>
                    <a:pt x="1068" y="1842"/>
                  </a:lnTo>
                  <a:lnTo>
                    <a:pt x="1005" y="1925"/>
                  </a:lnTo>
                  <a:lnTo>
                    <a:pt x="1" y="2658"/>
                  </a:lnTo>
                  <a:lnTo>
                    <a:pt x="273" y="3411"/>
                  </a:lnTo>
                  <a:lnTo>
                    <a:pt x="775" y="3453"/>
                  </a:lnTo>
                  <a:lnTo>
                    <a:pt x="3474" y="5336"/>
                  </a:lnTo>
                  <a:lnTo>
                    <a:pt x="4562" y="5378"/>
                  </a:lnTo>
                  <a:lnTo>
                    <a:pt x="4709" y="5106"/>
                  </a:lnTo>
                  <a:lnTo>
                    <a:pt x="4834" y="4855"/>
                  </a:lnTo>
                  <a:lnTo>
                    <a:pt x="5085" y="4708"/>
                  </a:lnTo>
                  <a:lnTo>
                    <a:pt x="5274" y="4792"/>
                  </a:lnTo>
                  <a:lnTo>
                    <a:pt x="5399" y="4750"/>
                  </a:lnTo>
                  <a:lnTo>
                    <a:pt x="5462" y="4771"/>
                  </a:lnTo>
                  <a:lnTo>
                    <a:pt x="5546" y="4645"/>
                  </a:lnTo>
                  <a:lnTo>
                    <a:pt x="5588" y="4604"/>
                  </a:lnTo>
                  <a:lnTo>
                    <a:pt x="5546" y="4583"/>
                  </a:lnTo>
                  <a:lnTo>
                    <a:pt x="5441" y="4541"/>
                  </a:lnTo>
                  <a:lnTo>
                    <a:pt x="5337" y="4457"/>
                  </a:lnTo>
                  <a:lnTo>
                    <a:pt x="5274" y="4122"/>
                  </a:lnTo>
                  <a:lnTo>
                    <a:pt x="5085" y="4122"/>
                  </a:lnTo>
                  <a:lnTo>
                    <a:pt x="5064" y="3955"/>
                  </a:lnTo>
                  <a:lnTo>
                    <a:pt x="5064" y="3767"/>
                  </a:lnTo>
                  <a:lnTo>
                    <a:pt x="5190" y="3662"/>
                  </a:lnTo>
                  <a:lnTo>
                    <a:pt x="5064" y="3411"/>
                  </a:lnTo>
                  <a:lnTo>
                    <a:pt x="4960" y="3348"/>
                  </a:lnTo>
                  <a:lnTo>
                    <a:pt x="4855" y="3139"/>
                  </a:lnTo>
                  <a:lnTo>
                    <a:pt x="4772" y="3097"/>
                  </a:lnTo>
                  <a:lnTo>
                    <a:pt x="4730" y="3118"/>
                  </a:lnTo>
                  <a:lnTo>
                    <a:pt x="4290" y="2825"/>
                  </a:lnTo>
                  <a:lnTo>
                    <a:pt x="4186" y="2867"/>
                  </a:lnTo>
                  <a:lnTo>
                    <a:pt x="4123" y="2888"/>
                  </a:lnTo>
                  <a:lnTo>
                    <a:pt x="4018" y="2804"/>
                  </a:lnTo>
                  <a:lnTo>
                    <a:pt x="4018" y="2720"/>
                  </a:lnTo>
                  <a:lnTo>
                    <a:pt x="3997" y="2699"/>
                  </a:lnTo>
                  <a:lnTo>
                    <a:pt x="4039" y="2574"/>
                  </a:lnTo>
                  <a:lnTo>
                    <a:pt x="3914" y="2469"/>
                  </a:lnTo>
                  <a:lnTo>
                    <a:pt x="3893" y="2386"/>
                  </a:lnTo>
                  <a:lnTo>
                    <a:pt x="3788" y="2365"/>
                  </a:lnTo>
                  <a:lnTo>
                    <a:pt x="3704" y="2281"/>
                  </a:lnTo>
                  <a:lnTo>
                    <a:pt x="3621" y="2260"/>
                  </a:lnTo>
                  <a:lnTo>
                    <a:pt x="3621" y="2176"/>
                  </a:lnTo>
                  <a:lnTo>
                    <a:pt x="3684" y="2135"/>
                  </a:lnTo>
                  <a:lnTo>
                    <a:pt x="3663" y="2072"/>
                  </a:lnTo>
                  <a:lnTo>
                    <a:pt x="3684" y="1988"/>
                  </a:lnTo>
                  <a:lnTo>
                    <a:pt x="3684" y="1779"/>
                  </a:lnTo>
                  <a:lnTo>
                    <a:pt x="3725" y="1737"/>
                  </a:lnTo>
                  <a:lnTo>
                    <a:pt x="3767" y="1549"/>
                  </a:lnTo>
                  <a:lnTo>
                    <a:pt x="3830" y="1549"/>
                  </a:lnTo>
                  <a:lnTo>
                    <a:pt x="3914" y="1528"/>
                  </a:lnTo>
                  <a:lnTo>
                    <a:pt x="3914" y="1319"/>
                  </a:lnTo>
                  <a:lnTo>
                    <a:pt x="3872" y="1298"/>
                  </a:lnTo>
                  <a:lnTo>
                    <a:pt x="3830" y="1130"/>
                  </a:lnTo>
                  <a:lnTo>
                    <a:pt x="3914" y="1130"/>
                  </a:lnTo>
                  <a:lnTo>
                    <a:pt x="4018" y="1088"/>
                  </a:lnTo>
                  <a:lnTo>
                    <a:pt x="4081" y="1047"/>
                  </a:lnTo>
                  <a:lnTo>
                    <a:pt x="4018" y="1026"/>
                  </a:lnTo>
                  <a:lnTo>
                    <a:pt x="3935" y="984"/>
                  </a:lnTo>
                  <a:lnTo>
                    <a:pt x="3809" y="1005"/>
                  </a:lnTo>
                  <a:lnTo>
                    <a:pt x="3725" y="984"/>
                  </a:lnTo>
                  <a:lnTo>
                    <a:pt x="3516" y="879"/>
                  </a:lnTo>
                  <a:lnTo>
                    <a:pt x="3453" y="837"/>
                  </a:lnTo>
                  <a:lnTo>
                    <a:pt x="3349" y="795"/>
                  </a:lnTo>
                  <a:lnTo>
                    <a:pt x="3286" y="670"/>
                  </a:lnTo>
                  <a:lnTo>
                    <a:pt x="3244" y="565"/>
                  </a:lnTo>
                  <a:lnTo>
                    <a:pt x="3140" y="565"/>
                  </a:lnTo>
                  <a:lnTo>
                    <a:pt x="3077" y="419"/>
                  </a:lnTo>
                  <a:lnTo>
                    <a:pt x="3098" y="314"/>
                  </a:lnTo>
                  <a:lnTo>
                    <a:pt x="3035" y="189"/>
                  </a:lnTo>
                  <a:lnTo>
                    <a:pt x="2930" y="168"/>
                  </a:lnTo>
                  <a:lnTo>
                    <a:pt x="2784" y="210"/>
                  </a:lnTo>
                  <a:lnTo>
                    <a:pt x="2679" y="168"/>
                  </a:lnTo>
                  <a:lnTo>
                    <a:pt x="2679" y="63"/>
                  </a:lnTo>
                  <a:lnTo>
                    <a:pt x="2616" y="0"/>
                  </a:lnTo>
                  <a:lnTo>
                    <a:pt x="2470" y="63"/>
                  </a:lnTo>
                  <a:lnTo>
                    <a:pt x="226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2" name="Google Shape;902;p34"/>
            <p:cNvSpPr/>
            <p:nvPr/>
          </p:nvSpPr>
          <p:spPr>
            <a:xfrm>
              <a:off x="4059025" y="2939277"/>
              <a:ext cx="11967" cy="11668"/>
            </a:xfrm>
            <a:custGeom>
              <a:avLst/>
              <a:gdLst/>
              <a:ahLst/>
              <a:cxnLst/>
              <a:rect l="l" t="t" r="r" b="b"/>
              <a:pathLst>
                <a:path w="1005" h="1026" extrusionOk="0">
                  <a:moveTo>
                    <a:pt x="523" y="0"/>
                  </a:moveTo>
                  <a:lnTo>
                    <a:pt x="272" y="147"/>
                  </a:lnTo>
                  <a:lnTo>
                    <a:pt x="147" y="398"/>
                  </a:lnTo>
                  <a:lnTo>
                    <a:pt x="0" y="670"/>
                  </a:lnTo>
                  <a:lnTo>
                    <a:pt x="84" y="670"/>
                  </a:lnTo>
                  <a:lnTo>
                    <a:pt x="607" y="816"/>
                  </a:lnTo>
                  <a:lnTo>
                    <a:pt x="628" y="1025"/>
                  </a:lnTo>
                  <a:lnTo>
                    <a:pt x="1005" y="879"/>
                  </a:lnTo>
                  <a:lnTo>
                    <a:pt x="942" y="795"/>
                  </a:lnTo>
                  <a:lnTo>
                    <a:pt x="942" y="774"/>
                  </a:lnTo>
                  <a:lnTo>
                    <a:pt x="984" y="774"/>
                  </a:lnTo>
                  <a:lnTo>
                    <a:pt x="921" y="691"/>
                  </a:lnTo>
                  <a:lnTo>
                    <a:pt x="921" y="607"/>
                  </a:lnTo>
                  <a:lnTo>
                    <a:pt x="879" y="502"/>
                  </a:lnTo>
                  <a:lnTo>
                    <a:pt x="837" y="565"/>
                  </a:lnTo>
                  <a:lnTo>
                    <a:pt x="607" y="419"/>
                  </a:lnTo>
                  <a:lnTo>
                    <a:pt x="942" y="356"/>
                  </a:lnTo>
                  <a:lnTo>
                    <a:pt x="900" y="84"/>
                  </a:lnTo>
                  <a:lnTo>
                    <a:pt x="900" y="63"/>
                  </a:lnTo>
                  <a:lnTo>
                    <a:pt x="837" y="42"/>
                  </a:lnTo>
                  <a:lnTo>
                    <a:pt x="712" y="84"/>
                  </a:lnTo>
                  <a:lnTo>
                    <a:pt x="52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3" name="Google Shape;903;p34"/>
            <p:cNvSpPr/>
            <p:nvPr/>
          </p:nvSpPr>
          <p:spPr>
            <a:xfrm>
              <a:off x="3959359" y="2899768"/>
              <a:ext cx="15468" cy="8347"/>
            </a:xfrm>
            <a:custGeom>
              <a:avLst/>
              <a:gdLst/>
              <a:ahLst/>
              <a:cxnLst/>
              <a:rect l="l" t="t" r="r" b="b"/>
              <a:pathLst>
                <a:path w="1299" h="734" extrusionOk="0">
                  <a:moveTo>
                    <a:pt x="1194" y="1"/>
                  </a:moveTo>
                  <a:lnTo>
                    <a:pt x="1005" y="105"/>
                  </a:lnTo>
                  <a:lnTo>
                    <a:pt x="775" y="210"/>
                  </a:lnTo>
                  <a:lnTo>
                    <a:pt x="608" y="210"/>
                  </a:lnTo>
                  <a:lnTo>
                    <a:pt x="482" y="168"/>
                  </a:lnTo>
                  <a:lnTo>
                    <a:pt x="378" y="168"/>
                  </a:lnTo>
                  <a:lnTo>
                    <a:pt x="378" y="231"/>
                  </a:lnTo>
                  <a:lnTo>
                    <a:pt x="357" y="315"/>
                  </a:lnTo>
                  <a:lnTo>
                    <a:pt x="273" y="336"/>
                  </a:lnTo>
                  <a:lnTo>
                    <a:pt x="147" y="294"/>
                  </a:lnTo>
                  <a:lnTo>
                    <a:pt x="85" y="377"/>
                  </a:lnTo>
                  <a:lnTo>
                    <a:pt x="1" y="398"/>
                  </a:lnTo>
                  <a:lnTo>
                    <a:pt x="1" y="524"/>
                  </a:lnTo>
                  <a:lnTo>
                    <a:pt x="85" y="629"/>
                  </a:lnTo>
                  <a:lnTo>
                    <a:pt x="210" y="712"/>
                  </a:lnTo>
                  <a:lnTo>
                    <a:pt x="378" y="691"/>
                  </a:lnTo>
                  <a:lnTo>
                    <a:pt x="461" y="733"/>
                  </a:lnTo>
                  <a:lnTo>
                    <a:pt x="503" y="691"/>
                  </a:lnTo>
                  <a:lnTo>
                    <a:pt x="629" y="649"/>
                  </a:lnTo>
                  <a:lnTo>
                    <a:pt x="775" y="545"/>
                  </a:lnTo>
                  <a:lnTo>
                    <a:pt x="838" y="503"/>
                  </a:lnTo>
                  <a:lnTo>
                    <a:pt x="1005" y="524"/>
                  </a:lnTo>
                  <a:lnTo>
                    <a:pt x="1005" y="419"/>
                  </a:lnTo>
                  <a:lnTo>
                    <a:pt x="984" y="315"/>
                  </a:lnTo>
                  <a:lnTo>
                    <a:pt x="1110" y="168"/>
                  </a:lnTo>
                  <a:lnTo>
                    <a:pt x="1235" y="85"/>
                  </a:lnTo>
                  <a:lnTo>
                    <a:pt x="1298" y="22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4" name="Google Shape;904;p34"/>
            <p:cNvSpPr/>
            <p:nvPr/>
          </p:nvSpPr>
          <p:spPr>
            <a:xfrm>
              <a:off x="3982281" y="2887395"/>
              <a:ext cx="42867" cy="36426"/>
            </a:xfrm>
            <a:custGeom>
              <a:avLst/>
              <a:gdLst/>
              <a:ahLst/>
              <a:cxnLst/>
              <a:rect l="l" t="t" r="r" b="b"/>
              <a:pathLst>
                <a:path w="3600" h="3203" extrusionOk="0">
                  <a:moveTo>
                    <a:pt x="3370" y="1"/>
                  </a:moveTo>
                  <a:lnTo>
                    <a:pt x="3139" y="64"/>
                  </a:lnTo>
                  <a:lnTo>
                    <a:pt x="2846" y="43"/>
                  </a:lnTo>
                  <a:lnTo>
                    <a:pt x="2721" y="64"/>
                  </a:lnTo>
                  <a:lnTo>
                    <a:pt x="2574" y="64"/>
                  </a:lnTo>
                  <a:lnTo>
                    <a:pt x="2365" y="147"/>
                  </a:lnTo>
                  <a:lnTo>
                    <a:pt x="2302" y="231"/>
                  </a:lnTo>
                  <a:lnTo>
                    <a:pt x="2135" y="273"/>
                  </a:lnTo>
                  <a:lnTo>
                    <a:pt x="2114" y="336"/>
                  </a:lnTo>
                  <a:lnTo>
                    <a:pt x="1842" y="336"/>
                  </a:lnTo>
                  <a:lnTo>
                    <a:pt x="1675" y="273"/>
                  </a:lnTo>
                  <a:lnTo>
                    <a:pt x="1612" y="231"/>
                  </a:lnTo>
                  <a:lnTo>
                    <a:pt x="1507" y="210"/>
                  </a:lnTo>
                  <a:lnTo>
                    <a:pt x="1194" y="231"/>
                  </a:lnTo>
                  <a:lnTo>
                    <a:pt x="1110" y="273"/>
                  </a:lnTo>
                  <a:lnTo>
                    <a:pt x="1068" y="273"/>
                  </a:lnTo>
                  <a:lnTo>
                    <a:pt x="775" y="419"/>
                  </a:lnTo>
                  <a:lnTo>
                    <a:pt x="670" y="377"/>
                  </a:lnTo>
                  <a:lnTo>
                    <a:pt x="524" y="336"/>
                  </a:lnTo>
                  <a:lnTo>
                    <a:pt x="461" y="419"/>
                  </a:lnTo>
                  <a:lnTo>
                    <a:pt x="461" y="649"/>
                  </a:lnTo>
                  <a:lnTo>
                    <a:pt x="377" y="670"/>
                  </a:lnTo>
                  <a:lnTo>
                    <a:pt x="419" y="796"/>
                  </a:lnTo>
                  <a:lnTo>
                    <a:pt x="315" y="859"/>
                  </a:lnTo>
                  <a:lnTo>
                    <a:pt x="168" y="880"/>
                  </a:lnTo>
                  <a:lnTo>
                    <a:pt x="64" y="859"/>
                  </a:lnTo>
                  <a:lnTo>
                    <a:pt x="1" y="901"/>
                  </a:lnTo>
                  <a:lnTo>
                    <a:pt x="22" y="1068"/>
                  </a:lnTo>
                  <a:lnTo>
                    <a:pt x="105" y="1277"/>
                  </a:lnTo>
                  <a:lnTo>
                    <a:pt x="147" y="1403"/>
                  </a:lnTo>
                  <a:lnTo>
                    <a:pt x="126" y="1528"/>
                  </a:lnTo>
                  <a:lnTo>
                    <a:pt x="105" y="1779"/>
                  </a:lnTo>
                  <a:lnTo>
                    <a:pt x="336" y="1779"/>
                  </a:lnTo>
                  <a:lnTo>
                    <a:pt x="377" y="1905"/>
                  </a:lnTo>
                  <a:lnTo>
                    <a:pt x="482" y="1947"/>
                  </a:lnTo>
                  <a:lnTo>
                    <a:pt x="482" y="2114"/>
                  </a:lnTo>
                  <a:lnTo>
                    <a:pt x="545" y="2198"/>
                  </a:lnTo>
                  <a:lnTo>
                    <a:pt x="461" y="2219"/>
                  </a:lnTo>
                  <a:lnTo>
                    <a:pt x="419" y="2219"/>
                  </a:lnTo>
                  <a:lnTo>
                    <a:pt x="315" y="2302"/>
                  </a:lnTo>
                  <a:lnTo>
                    <a:pt x="252" y="2449"/>
                  </a:lnTo>
                  <a:lnTo>
                    <a:pt x="168" y="2574"/>
                  </a:lnTo>
                  <a:lnTo>
                    <a:pt x="147" y="2574"/>
                  </a:lnTo>
                  <a:lnTo>
                    <a:pt x="168" y="2616"/>
                  </a:lnTo>
                  <a:lnTo>
                    <a:pt x="252" y="2679"/>
                  </a:lnTo>
                  <a:lnTo>
                    <a:pt x="273" y="2888"/>
                  </a:lnTo>
                  <a:lnTo>
                    <a:pt x="252" y="2993"/>
                  </a:lnTo>
                  <a:lnTo>
                    <a:pt x="315" y="2993"/>
                  </a:lnTo>
                  <a:lnTo>
                    <a:pt x="482" y="3077"/>
                  </a:lnTo>
                  <a:lnTo>
                    <a:pt x="629" y="3181"/>
                  </a:lnTo>
                  <a:lnTo>
                    <a:pt x="649" y="3181"/>
                  </a:lnTo>
                  <a:lnTo>
                    <a:pt x="733" y="3202"/>
                  </a:lnTo>
                  <a:lnTo>
                    <a:pt x="1884" y="2512"/>
                  </a:lnTo>
                  <a:lnTo>
                    <a:pt x="2888" y="1779"/>
                  </a:lnTo>
                  <a:lnTo>
                    <a:pt x="2951" y="1696"/>
                  </a:lnTo>
                  <a:lnTo>
                    <a:pt x="3035" y="1570"/>
                  </a:lnTo>
                  <a:lnTo>
                    <a:pt x="3056" y="1403"/>
                  </a:lnTo>
                  <a:lnTo>
                    <a:pt x="2993" y="1298"/>
                  </a:lnTo>
                  <a:lnTo>
                    <a:pt x="3098" y="1089"/>
                  </a:lnTo>
                  <a:lnTo>
                    <a:pt x="3098" y="901"/>
                  </a:lnTo>
                  <a:lnTo>
                    <a:pt x="2993" y="691"/>
                  </a:lnTo>
                  <a:lnTo>
                    <a:pt x="2993" y="524"/>
                  </a:lnTo>
                  <a:lnTo>
                    <a:pt x="3098" y="336"/>
                  </a:lnTo>
                  <a:lnTo>
                    <a:pt x="3349" y="273"/>
                  </a:lnTo>
                  <a:lnTo>
                    <a:pt x="3474" y="168"/>
                  </a:lnTo>
                  <a:lnTo>
                    <a:pt x="3516" y="168"/>
                  </a:lnTo>
                  <a:lnTo>
                    <a:pt x="3600" y="43"/>
                  </a:lnTo>
                  <a:lnTo>
                    <a:pt x="3579" y="22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5" name="Google Shape;905;p34"/>
            <p:cNvSpPr/>
            <p:nvPr/>
          </p:nvSpPr>
          <p:spPr>
            <a:xfrm>
              <a:off x="3973565" y="2916668"/>
              <a:ext cx="10479" cy="29045"/>
            </a:xfrm>
            <a:custGeom>
              <a:avLst/>
              <a:gdLst/>
              <a:ahLst/>
              <a:cxnLst/>
              <a:rect l="l" t="t" r="r" b="b"/>
              <a:pathLst>
                <a:path w="880" h="2554" extrusionOk="0">
                  <a:moveTo>
                    <a:pt x="837" y="0"/>
                  </a:moveTo>
                  <a:lnTo>
                    <a:pt x="754" y="105"/>
                  </a:lnTo>
                  <a:lnTo>
                    <a:pt x="565" y="147"/>
                  </a:lnTo>
                  <a:lnTo>
                    <a:pt x="524" y="105"/>
                  </a:lnTo>
                  <a:lnTo>
                    <a:pt x="377" y="252"/>
                  </a:lnTo>
                  <a:lnTo>
                    <a:pt x="335" y="670"/>
                  </a:lnTo>
                  <a:lnTo>
                    <a:pt x="168" y="1005"/>
                  </a:lnTo>
                  <a:lnTo>
                    <a:pt x="1" y="1235"/>
                  </a:lnTo>
                  <a:lnTo>
                    <a:pt x="63" y="1256"/>
                  </a:lnTo>
                  <a:lnTo>
                    <a:pt x="168" y="1444"/>
                  </a:lnTo>
                  <a:lnTo>
                    <a:pt x="231" y="1653"/>
                  </a:lnTo>
                  <a:lnTo>
                    <a:pt x="377" y="1884"/>
                  </a:lnTo>
                  <a:lnTo>
                    <a:pt x="524" y="2197"/>
                  </a:lnTo>
                  <a:lnTo>
                    <a:pt x="461" y="2344"/>
                  </a:lnTo>
                  <a:lnTo>
                    <a:pt x="545" y="2553"/>
                  </a:lnTo>
                  <a:lnTo>
                    <a:pt x="628" y="2448"/>
                  </a:lnTo>
                  <a:lnTo>
                    <a:pt x="628" y="2407"/>
                  </a:lnTo>
                  <a:lnTo>
                    <a:pt x="628" y="2344"/>
                  </a:lnTo>
                  <a:lnTo>
                    <a:pt x="670" y="2281"/>
                  </a:lnTo>
                  <a:lnTo>
                    <a:pt x="670" y="2156"/>
                  </a:lnTo>
                  <a:lnTo>
                    <a:pt x="733" y="1988"/>
                  </a:lnTo>
                  <a:lnTo>
                    <a:pt x="691" y="1842"/>
                  </a:lnTo>
                  <a:lnTo>
                    <a:pt x="754" y="1821"/>
                  </a:lnTo>
                  <a:lnTo>
                    <a:pt x="754" y="1674"/>
                  </a:lnTo>
                  <a:lnTo>
                    <a:pt x="775" y="1549"/>
                  </a:lnTo>
                  <a:lnTo>
                    <a:pt x="775" y="1465"/>
                  </a:lnTo>
                  <a:lnTo>
                    <a:pt x="775" y="1214"/>
                  </a:lnTo>
                  <a:lnTo>
                    <a:pt x="754" y="1235"/>
                  </a:lnTo>
                  <a:lnTo>
                    <a:pt x="670" y="1235"/>
                  </a:lnTo>
                  <a:lnTo>
                    <a:pt x="565" y="1298"/>
                  </a:lnTo>
                  <a:lnTo>
                    <a:pt x="524" y="1235"/>
                  </a:lnTo>
                  <a:lnTo>
                    <a:pt x="545" y="1047"/>
                  </a:lnTo>
                  <a:lnTo>
                    <a:pt x="545" y="796"/>
                  </a:lnTo>
                  <a:lnTo>
                    <a:pt x="524" y="712"/>
                  </a:lnTo>
                  <a:lnTo>
                    <a:pt x="545" y="565"/>
                  </a:lnTo>
                  <a:lnTo>
                    <a:pt x="670" y="565"/>
                  </a:lnTo>
                  <a:lnTo>
                    <a:pt x="691" y="670"/>
                  </a:lnTo>
                  <a:lnTo>
                    <a:pt x="754" y="670"/>
                  </a:lnTo>
                  <a:lnTo>
                    <a:pt x="837" y="607"/>
                  </a:lnTo>
                  <a:lnTo>
                    <a:pt x="837" y="524"/>
                  </a:lnTo>
                  <a:lnTo>
                    <a:pt x="796" y="482"/>
                  </a:lnTo>
                  <a:lnTo>
                    <a:pt x="775" y="377"/>
                  </a:lnTo>
                  <a:lnTo>
                    <a:pt x="837" y="210"/>
                  </a:lnTo>
                  <a:lnTo>
                    <a:pt x="858" y="63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" name="Google Shape;906;p34"/>
            <p:cNvSpPr/>
            <p:nvPr/>
          </p:nvSpPr>
          <p:spPr>
            <a:xfrm>
              <a:off x="3982781" y="2916668"/>
              <a:ext cx="2751" cy="5959"/>
            </a:xfrm>
            <a:custGeom>
              <a:avLst/>
              <a:gdLst/>
              <a:ahLst/>
              <a:cxnLst/>
              <a:rect l="l" t="t" r="r" b="b"/>
              <a:pathLst>
                <a:path w="231" h="524" extrusionOk="0">
                  <a:moveTo>
                    <a:pt x="105" y="0"/>
                  </a:moveTo>
                  <a:lnTo>
                    <a:pt x="84" y="63"/>
                  </a:lnTo>
                  <a:lnTo>
                    <a:pt x="63" y="210"/>
                  </a:lnTo>
                  <a:lnTo>
                    <a:pt x="1" y="377"/>
                  </a:lnTo>
                  <a:lnTo>
                    <a:pt x="22" y="482"/>
                  </a:lnTo>
                  <a:lnTo>
                    <a:pt x="63" y="524"/>
                  </a:lnTo>
                  <a:lnTo>
                    <a:pt x="84" y="524"/>
                  </a:lnTo>
                  <a:lnTo>
                    <a:pt x="126" y="482"/>
                  </a:lnTo>
                  <a:lnTo>
                    <a:pt x="210" y="419"/>
                  </a:lnTo>
                  <a:lnTo>
                    <a:pt x="231" y="314"/>
                  </a:lnTo>
                  <a:lnTo>
                    <a:pt x="210" y="105"/>
                  </a:lnTo>
                  <a:lnTo>
                    <a:pt x="126" y="42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7" name="Google Shape;907;p34"/>
            <p:cNvSpPr/>
            <p:nvPr/>
          </p:nvSpPr>
          <p:spPr>
            <a:xfrm>
              <a:off x="3979792" y="2923093"/>
              <a:ext cx="3751" cy="8336"/>
            </a:xfrm>
            <a:custGeom>
              <a:avLst/>
              <a:gdLst/>
              <a:ahLst/>
              <a:cxnLst/>
              <a:rect l="l" t="t" r="r" b="b"/>
              <a:pathLst>
                <a:path w="315" h="733" extrusionOk="0">
                  <a:moveTo>
                    <a:pt x="22" y="0"/>
                  </a:moveTo>
                  <a:lnTo>
                    <a:pt x="1" y="147"/>
                  </a:lnTo>
                  <a:lnTo>
                    <a:pt x="22" y="231"/>
                  </a:lnTo>
                  <a:lnTo>
                    <a:pt x="22" y="482"/>
                  </a:lnTo>
                  <a:lnTo>
                    <a:pt x="1" y="670"/>
                  </a:lnTo>
                  <a:lnTo>
                    <a:pt x="42" y="733"/>
                  </a:lnTo>
                  <a:lnTo>
                    <a:pt x="147" y="670"/>
                  </a:lnTo>
                  <a:lnTo>
                    <a:pt x="231" y="670"/>
                  </a:lnTo>
                  <a:lnTo>
                    <a:pt x="252" y="649"/>
                  </a:lnTo>
                  <a:lnTo>
                    <a:pt x="273" y="440"/>
                  </a:lnTo>
                  <a:lnTo>
                    <a:pt x="273" y="356"/>
                  </a:lnTo>
                  <a:lnTo>
                    <a:pt x="314" y="210"/>
                  </a:lnTo>
                  <a:lnTo>
                    <a:pt x="314" y="147"/>
                  </a:lnTo>
                  <a:lnTo>
                    <a:pt x="314" y="63"/>
                  </a:lnTo>
                  <a:lnTo>
                    <a:pt x="314" y="42"/>
                  </a:lnTo>
                  <a:lnTo>
                    <a:pt x="231" y="105"/>
                  </a:lnTo>
                  <a:lnTo>
                    <a:pt x="168" y="105"/>
                  </a:lnTo>
                  <a:lnTo>
                    <a:pt x="14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" name="Google Shape;908;p34"/>
            <p:cNvSpPr/>
            <p:nvPr/>
          </p:nvSpPr>
          <p:spPr>
            <a:xfrm>
              <a:off x="3979792" y="2907627"/>
              <a:ext cx="8978" cy="10713"/>
            </a:xfrm>
            <a:custGeom>
              <a:avLst/>
              <a:gdLst/>
              <a:ahLst/>
              <a:cxnLst/>
              <a:rect l="l" t="t" r="r" b="b"/>
              <a:pathLst>
                <a:path w="754" h="942" extrusionOk="0">
                  <a:moveTo>
                    <a:pt x="314" y="0"/>
                  </a:moveTo>
                  <a:lnTo>
                    <a:pt x="314" y="21"/>
                  </a:lnTo>
                  <a:lnTo>
                    <a:pt x="231" y="21"/>
                  </a:lnTo>
                  <a:lnTo>
                    <a:pt x="210" y="440"/>
                  </a:lnTo>
                  <a:lnTo>
                    <a:pt x="105" y="586"/>
                  </a:lnTo>
                  <a:lnTo>
                    <a:pt x="1" y="733"/>
                  </a:lnTo>
                  <a:lnTo>
                    <a:pt x="1" y="879"/>
                  </a:lnTo>
                  <a:lnTo>
                    <a:pt x="1" y="900"/>
                  </a:lnTo>
                  <a:lnTo>
                    <a:pt x="42" y="942"/>
                  </a:lnTo>
                  <a:lnTo>
                    <a:pt x="231" y="900"/>
                  </a:lnTo>
                  <a:lnTo>
                    <a:pt x="314" y="795"/>
                  </a:lnTo>
                  <a:lnTo>
                    <a:pt x="377" y="795"/>
                  </a:lnTo>
                  <a:lnTo>
                    <a:pt x="461" y="670"/>
                  </a:lnTo>
                  <a:lnTo>
                    <a:pt x="524" y="523"/>
                  </a:lnTo>
                  <a:lnTo>
                    <a:pt x="628" y="440"/>
                  </a:lnTo>
                  <a:lnTo>
                    <a:pt x="670" y="440"/>
                  </a:lnTo>
                  <a:lnTo>
                    <a:pt x="754" y="419"/>
                  </a:lnTo>
                  <a:lnTo>
                    <a:pt x="691" y="335"/>
                  </a:lnTo>
                  <a:lnTo>
                    <a:pt x="691" y="168"/>
                  </a:lnTo>
                  <a:lnTo>
                    <a:pt x="586" y="126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" name="Google Shape;909;p34"/>
            <p:cNvSpPr/>
            <p:nvPr/>
          </p:nvSpPr>
          <p:spPr>
            <a:xfrm>
              <a:off x="3980292" y="2915952"/>
              <a:ext cx="27661" cy="32616"/>
            </a:xfrm>
            <a:custGeom>
              <a:avLst/>
              <a:gdLst/>
              <a:ahLst/>
              <a:cxnLst/>
              <a:rect l="l" t="t" r="r" b="b"/>
              <a:pathLst>
                <a:path w="2323" h="2868" extrusionOk="0">
                  <a:moveTo>
                    <a:pt x="2051" y="1"/>
                  </a:moveTo>
                  <a:lnTo>
                    <a:pt x="900" y="691"/>
                  </a:lnTo>
                  <a:lnTo>
                    <a:pt x="816" y="670"/>
                  </a:lnTo>
                  <a:lnTo>
                    <a:pt x="796" y="670"/>
                  </a:lnTo>
                  <a:lnTo>
                    <a:pt x="649" y="566"/>
                  </a:lnTo>
                  <a:lnTo>
                    <a:pt x="482" y="482"/>
                  </a:lnTo>
                  <a:lnTo>
                    <a:pt x="419" y="482"/>
                  </a:lnTo>
                  <a:lnTo>
                    <a:pt x="335" y="545"/>
                  </a:lnTo>
                  <a:lnTo>
                    <a:pt x="293" y="587"/>
                  </a:lnTo>
                  <a:lnTo>
                    <a:pt x="272" y="587"/>
                  </a:lnTo>
                  <a:lnTo>
                    <a:pt x="272" y="670"/>
                  </a:lnTo>
                  <a:lnTo>
                    <a:pt x="272" y="691"/>
                  </a:lnTo>
                  <a:lnTo>
                    <a:pt x="272" y="775"/>
                  </a:lnTo>
                  <a:lnTo>
                    <a:pt x="272" y="838"/>
                  </a:lnTo>
                  <a:lnTo>
                    <a:pt x="231" y="984"/>
                  </a:lnTo>
                  <a:lnTo>
                    <a:pt x="231" y="1068"/>
                  </a:lnTo>
                  <a:lnTo>
                    <a:pt x="210" y="1528"/>
                  </a:lnTo>
                  <a:lnTo>
                    <a:pt x="210" y="1612"/>
                  </a:lnTo>
                  <a:lnTo>
                    <a:pt x="189" y="1737"/>
                  </a:lnTo>
                  <a:lnTo>
                    <a:pt x="189" y="1884"/>
                  </a:lnTo>
                  <a:lnTo>
                    <a:pt x="126" y="1905"/>
                  </a:lnTo>
                  <a:lnTo>
                    <a:pt x="168" y="2051"/>
                  </a:lnTo>
                  <a:lnTo>
                    <a:pt x="105" y="2219"/>
                  </a:lnTo>
                  <a:lnTo>
                    <a:pt x="105" y="2344"/>
                  </a:lnTo>
                  <a:lnTo>
                    <a:pt x="63" y="2407"/>
                  </a:lnTo>
                  <a:lnTo>
                    <a:pt x="63" y="2470"/>
                  </a:lnTo>
                  <a:lnTo>
                    <a:pt x="63" y="2553"/>
                  </a:lnTo>
                  <a:lnTo>
                    <a:pt x="0" y="2679"/>
                  </a:lnTo>
                  <a:lnTo>
                    <a:pt x="0" y="2721"/>
                  </a:lnTo>
                  <a:lnTo>
                    <a:pt x="189" y="2721"/>
                  </a:lnTo>
                  <a:lnTo>
                    <a:pt x="754" y="2867"/>
                  </a:lnTo>
                  <a:lnTo>
                    <a:pt x="1172" y="2449"/>
                  </a:lnTo>
                  <a:lnTo>
                    <a:pt x="1633" y="2407"/>
                  </a:lnTo>
                  <a:lnTo>
                    <a:pt x="1653" y="2219"/>
                  </a:lnTo>
                  <a:lnTo>
                    <a:pt x="1884" y="1926"/>
                  </a:lnTo>
                  <a:lnTo>
                    <a:pt x="1235" y="1214"/>
                  </a:lnTo>
                  <a:lnTo>
                    <a:pt x="2093" y="963"/>
                  </a:lnTo>
                  <a:lnTo>
                    <a:pt x="2302" y="754"/>
                  </a:lnTo>
                  <a:lnTo>
                    <a:pt x="2323" y="754"/>
                  </a:lnTo>
                  <a:lnTo>
                    <a:pt x="20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" name="Google Shape;910;p34"/>
            <p:cNvSpPr/>
            <p:nvPr/>
          </p:nvSpPr>
          <p:spPr>
            <a:xfrm>
              <a:off x="3979792" y="2924515"/>
              <a:ext cx="142521" cy="114714"/>
            </a:xfrm>
            <a:custGeom>
              <a:avLst/>
              <a:gdLst/>
              <a:ahLst/>
              <a:cxnLst/>
              <a:rect l="l" t="t" r="r" b="b"/>
              <a:pathLst>
                <a:path w="11969" h="10087" extrusionOk="0">
                  <a:moveTo>
                    <a:pt x="2344" y="1"/>
                  </a:moveTo>
                  <a:lnTo>
                    <a:pt x="2135" y="210"/>
                  </a:lnTo>
                  <a:lnTo>
                    <a:pt x="1277" y="461"/>
                  </a:lnTo>
                  <a:lnTo>
                    <a:pt x="1926" y="1173"/>
                  </a:lnTo>
                  <a:lnTo>
                    <a:pt x="1695" y="1466"/>
                  </a:lnTo>
                  <a:lnTo>
                    <a:pt x="1675" y="1654"/>
                  </a:lnTo>
                  <a:lnTo>
                    <a:pt x="1214" y="1696"/>
                  </a:lnTo>
                  <a:lnTo>
                    <a:pt x="796" y="2114"/>
                  </a:lnTo>
                  <a:lnTo>
                    <a:pt x="231" y="1968"/>
                  </a:lnTo>
                  <a:lnTo>
                    <a:pt x="42" y="1968"/>
                  </a:lnTo>
                  <a:lnTo>
                    <a:pt x="42" y="2177"/>
                  </a:lnTo>
                  <a:lnTo>
                    <a:pt x="42" y="2407"/>
                  </a:lnTo>
                  <a:lnTo>
                    <a:pt x="1" y="2595"/>
                  </a:lnTo>
                  <a:lnTo>
                    <a:pt x="1" y="2637"/>
                  </a:lnTo>
                  <a:lnTo>
                    <a:pt x="63" y="2616"/>
                  </a:lnTo>
                  <a:lnTo>
                    <a:pt x="105" y="2637"/>
                  </a:lnTo>
                  <a:lnTo>
                    <a:pt x="168" y="2595"/>
                  </a:lnTo>
                  <a:lnTo>
                    <a:pt x="314" y="2658"/>
                  </a:lnTo>
                  <a:lnTo>
                    <a:pt x="273" y="2700"/>
                  </a:lnTo>
                  <a:lnTo>
                    <a:pt x="524" y="2972"/>
                  </a:lnTo>
                  <a:lnTo>
                    <a:pt x="545" y="3119"/>
                  </a:lnTo>
                  <a:lnTo>
                    <a:pt x="628" y="3139"/>
                  </a:lnTo>
                  <a:lnTo>
                    <a:pt x="628" y="3244"/>
                  </a:lnTo>
                  <a:lnTo>
                    <a:pt x="754" y="3349"/>
                  </a:lnTo>
                  <a:lnTo>
                    <a:pt x="838" y="3370"/>
                  </a:lnTo>
                  <a:lnTo>
                    <a:pt x="984" y="3663"/>
                  </a:lnTo>
                  <a:lnTo>
                    <a:pt x="984" y="3746"/>
                  </a:lnTo>
                  <a:lnTo>
                    <a:pt x="1047" y="3851"/>
                  </a:lnTo>
                  <a:lnTo>
                    <a:pt x="1110" y="3851"/>
                  </a:lnTo>
                  <a:lnTo>
                    <a:pt x="1151" y="3997"/>
                  </a:lnTo>
                  <a:lnTo>
                    <a:pt x="1193" y="4081"/>
                  </a:lnTo>
                  <a:lnTo>
                    <a:pt x="1319" y="4123"/>
                  </a:lnTo>
                  <a:lnTo>
                    <a:pt x="1423" y="4416"/>
                  </a:lnTo>
                  <a:lnTo>
                    <a:pt x="1528" y="4479"/>
                  </a:lnTo>
                  <a:lnTo>
                    <a:pt x="1570" y="4625"/>
                  </a:lnTo>
                  <a:lnTo>
                    <a:pt x="1528" y="4709"/>
                  </a:lnTo>
                  <a:lnTo>
                    <a:pt x="1528" y="4792"/>
                  </a:lnTo>
                  <a:lnTo>
                    <a:pt x="1633" y="4897"/>
                  </a:lnTo>
                  <a:lnTo>
                    <a:pt x="1633" y="4960"/>
                  </a:lnTo>
                  <a:lnTo>
                    <a:pt x="1716" y="5023"/>
                  </a:lnTo>
                  <a:lnTo>
                    <a:pt x="1821" y="4939"/>
                  </a:lnTo>
                  <a:lnTo>
                    <a:pt x="1926" y="5043"/>
                  </a:lnTo>
                  <a:lnTo>
                    <a:pt x="2114" y="5127"/>
                  </a:lnTo>
                  <a:lnTo>
                    <a:pt x="2260" y="5274"/>
                  </a:lnTo>
                  <a:lnTo>
                    <a:pt x="2323" y="5378"/>
                  </a:lnTo>
                  <a:lnTo>
                    <a:pt x="2344" y="5420"/>
                  </a:lnTo>
                  <a:lnTo>
                    <a:pt x="2365" y="5546"/>
                  </a:lnTo>
                  <a:lnTo>
                    <a:pt x="2428" y="5588"/>
                  </a:lnTo>
                  <a:lnTo>
                    <a:pt x="2470" y="5797"/>
                  </a:lnTo>
                  <a:lnTo>
                    <a:pt x="2574" y="5880"/>
                  </a:lnTo>
                  <a:lnTo>
                    <a:pt x="2637" y="6090"/>
                  </a:lnTo>
                  <a:lnTo>
                    <a:pt x="2658" y="6173"/>
                  </a:lnTo>
                  <a:lnTo>
                    <a:pt x="2616" y="6362"/>
                  </a:lnTo>
                  <a:lnTo>
                    <a:pt x="2574" y="6383"/>
                  </a:lnTo>
                  <a:lnTo>
                    <a:pt x="2616" y="6487"/>
                  </a:lnTo>
                  <a:lnTo>
                    <a:pt x="2658" y="6696"/>
                  </a:lnTo>
                  <a:lnTo>
                    <a:pt x="2679" y="6906"/>
                  </a:lnTo>
                  <a:lnTo>
                    <a:pt x="2783" y="7010"/>
                  </a:lnTo>
                  <a:lnTo>
                    <a:pt x="2825" y="7094"/>
                  </a:lnTo>
                  <a:lnTo>
                    <a:pt x="3097" y="7408"/>
                  </a:lnTo>
                  <a:lnTo>
                    <a:pt x="3202" y="7429"/>
                  </a:lnTo>
                  <a:lnTo>
                    <a:pt x="3307" y="7450"/>
                  </a:lnTo>
                  <a:lnTo>
                    <a:pt x="3390" y="7554"/>
                  </a:lnTo>
                  <a:lnTo>
                    <a:pt x="3474" y="7554"/>
                  </a:lnTo>
                  <a:lnTo>
                    <a:pt x="3620" y="7680"/>
                  </a:lnTo>
                  <a:lnTo>
                    <a:pt x="3620" y="7784"/>
                  </a:lnTo>
                  <a:lnTo>
                    <a:pt x="3788" y="7826"/>
                  </a:lnTo>
                  <a:lnTo>
                    <a:pt x="3767" y="7889"/>
                  </a:lnTo>
                  <a:lnTo>
                    <a:pt x="3830" y="7931"/>
                  </a:lnTo>
                  <a:lnTo>
                    <a:pt x="3976" y="8412"/>
                  </a:lnTo>
                  <a:lnTo>
                    <a:pt x="4102" y="8496"/>
                  </a:lnTo>
                  <a:lnTo>
                    <a:pt x="4102" y="8663"/>
                  </a:lnTo>
                  <a:lnTo>
                    <a:pt x="4541" y="9082"/>
                  </a:lnTo>
                  <a:lnTo>
                    <a:pt x="4604" y="9082"/>
                  </a:lnTo>
                  <a:lnTo>
                    <a:pt x="4646" y="9333"/>
                  </a:lnTo>
                  <a:lnTo>
                    <a:pt x="4834" y="9396"/>
                  </a:lnTo>
                  <a:lnTo>
                    <a:pt x="4939" y="9668"/>
                  </a:lnTo>
                  <a:lnTo>
                    <a:pt x="5043" y="9709"/>
                  </a:lnTo>
                  <a:lnTo>
                    <a:pt x="5127" y="9730"/>
                  </a:lnTo>
                  <a:lnTo>
                    <a:pt x="5169" y="9626"/>
                  </a:lnTo>
                  <a:lnTo>
                    <a:pt x="5336" y="9521"/>
                  </a:lnTo>
                  <a:lnTo>
                    <a:pt x="5232" y="9312"/>
                  </a:lnTo>
                  <a:lnTo>
                    <a:pt x="5294" y="9040"/>
                  </a:lnTo>
                  <a:lnTo>
                    <a:pt x="5462" y="8977"/>
                  </a:lnTo>
                  <a:lnTo>
                    <a:pt x="5650" y="9124"/>
                  </a:lnTo>
                  <a:lnTo>
                    <a:pt x="5985" y="9124"/>
                  </a:lnTo>
                  <a:lnTo>
                    <a:pt x="6487" y="9333"/>
                  </a:lnTo>
                  <a:lnTo>
                    <a:pt x="7010" y="9563"/>
                  </a:lnTo>
                  <a:lnTo>
                    <a:pt x="7031" y="10086"/>
                  </a:lnTo>
                  <a:lnTo>
                    <a:pt x="8077" y="8684"/>
                  </a:lnTo>
                  <a:lnTo>
                    <a:pt x="10253" y="8036"/>
                  </a:lnTo>
                  <a:lnTo>
                    <a:pt x="11885" y="7554"/>
                  </a:lnTo>
                  <a:lnTo>
                    <a:pt x="11969" y="6299"/>
                  </a:lnTo>
                  <a:lnTo>
                    <a:pt x="11843" y="5839"/>
                  </a:lnTo>
                  <a:lnTo>
                    <a:pt x="11655" y="5985"/>
                  </a:lnTo>
                  <a:lnTo>
                    <a:pt x="9960" y="5755"/>
                  </a:lnTo>
                  <a:lnTo>
                    <a:pt x="9835" y="5274"/>
                  </a:lnTo>
                  <a:lnTo>
                    <a:pt x="9688" y="5127"/>
                  </a:lnTo>
                  <a:lnTo>
                    <a:pt x="9688" y="4939"/>
                  </a:lnTo>
                  <a:lnTo>
                    <a:pt x="9688" y="4918"/>
                  </a:lnTo>
                  <a:lnTo>
                    <a:pt x="9667" y="4939"/>
                  </a:lnTo>
                  <a:lnTo>
                    <a:pt x="9625" y="4855"/>
                  </a:lnTo>
                  <a:lnTo>
                    <a:pt x="9625" y="4792"/>
                  </a:lnTo>
                  <a:lnTo>
                    <a:pt x="9667" y="4730"/>
                  </a:lnTo>
                  <a:lnTo>
                    <a:pt x="9563" y="4730"/>
                  </a:lnTo>
                  <a:lnTo>
                    <a:pt x="9563" y="4709"/>
                  </a:lnTo>
                  <a:lnTo>
                    <a:pt x="9458" y="4709"/>
                  </a:lnTo>
                  <a:lnTo>
                    <a:pt x="9270" y="4604"/>
                  </a:lnTo>
                  <a:lnTo>
                    <a:pt x="9249" y="4541"/>
                  </a:lnTo>
                  <a:lnTo>
                    <a:pt x="9228" y="4583"/>
                  </a:lnTo>
                  <a:lnTo>
                    <a:pt x="9123" y="4437"/>
                  </a:lnTo>
                  <a:lnTo>
                    <a:pt x="9102" y="4290"/>
                  </a:lnTo>
                  <a:lnTo>
                    <a:pt x="8809" y="3914"/>
                  </a:lnTo>
                  <a:lnTo>
                    <a:pt x="8726" y="3788"/>
                  </a:lnTo>
                  <a:lnTo>
                    <a:pt x="8809" y="3788"/>
                  </a:lnTo>
                  <a:lnTo>
                    <a:pt x="8809" y="3746"/>
                  </a:lnTo>
                  <a:lnTo>
                    <a:pt x="8705" y="3453"/>
                  </a:lnTo>
                  <a:lnTo>
                    <a:pt x="8705" y="3391"/>
                  </a:lnTo>
                  <a:lnTo>
                    <a:pt x="8621" y="3265"/>
                  </a:lnTo>
                  <a:lnTo>
                    <a:pt x="8579" y="3265"/>
                  </a:lnTo>
                  <a:lnTo>
                    <a:pt x="8391" y="3014"/>
                  </a:lnTo>
                  <a:lnTo>
                    <a:pt x="8307" y="3014"/>
                  </a:lnTo>
                  <a:lnTo>
                    <a:pt x="8224" y="2909"/>
                  </a:lnTo>
                  <a:lnTo>
                    <a:pt x="8224" y="2867"/>
                  </a:lnTo>
                  <a:lnTo>
                    <a:pt x="8286" y="2867"/>
                  </a:lnTo>
                  <a:lnTo>
                    <a:pt x="8307" y="2909"/>
                  </a:lnTo>
                  <a:lnTo>
                    <a:pt x="8286" y="2826"/>
                  </a:lnTo>
                  <a:lnTo>
                    <a:pt x="8182" y="2805"/>
                  </a:lnTo>
                  <a:lnTo>
                    <a:pt x="7973" y="2763"/>
                  </a:lnTo>
                  <a:lnTo>
                    <a:pt x="7868" y="2449"/>
                  </a:lnTo>
                  <a:lnTo>
                    <a:pt x="7805" y="2323"/>
                  </a:lnTo>
                  <a:lnTo>
                    <a:pt x="7742" y="2303"/>
                  </a:lnTo>
                  <a:lnTo>
                    <a:pt x="7742" y="2198"/>
                  </a:lnTo>
                  <a:lnTo>
                    <a:pt x="7701" y="2219"/>
                  </a:lnTo>
                  <a:lnTo>
                    <a:pt x="7659" y="2177"/>
                  </a:lnTo>
                  <a:lnTo>
                    <a:pt x="7282" y="2323"/>
                  </a:lnTo>
                  <a:lnTo>
                    <a:pt x="7261" y="2114"/>
                  </a:lnTo>
                  <a:lnTo>
                    <a:pt x="6738" y="1968"/>
                  </a:lnTo>
                  <a:lnTo>
                    <a:pt x="6654" y="1968"/>
                  </a:lnTo>
                  <a:lnTo>
                    <a:pt x="5566" y="1926"/>
                  </a:lnTo>
                  <a:lnTo>
                    <a:pt x="2867" y="43"/>
                  </a:lnTo>
                  <a:lnTo>
                    <a:pt x="234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11" name="Google Shape;911;p34"/>
            <p:cNvSpPr/>
            <p:nvPr/>
          </p:nvSpPr>
          <p:spPr>
            <a:xfrm>
              <a:off x="4089663" y="2967116"/>
              <a:ext cx="5251" cy="10952"/>
            </a:xfrm>
            <a:custGeom>
              <a:avLst/>
              <a:gdLst/>
              <a:ahLst/>
              <a:cxnLst/>
              <a:rect l="l" t="t" r="r" b="b"/>
              <a:pathLst>
                <a:path w="441" h="963" extrusionOk="0">
                  <a:moveTo>
                    <a:pt x="147" y="0"/>
                  </a:moveTo>
                  <a:lnTo>
                    <a:pt x="147" y="42"/>
                  </a:lnTo>
                  <a:lnTo>
                    <a:pt x="106" y="42"/>
                  </a:lnTo>
                  <a:lnTo>
                    <a:pt x="106" y="105"/>
                  </a:lnTo>
                  <a:lnTo>
                    <a:pt x="43" y="126"/>
                  </a:lnTo>
                  <a:lnTo>
                    <a:pt x="85" y="209"/>
                  </a:lnTo>
                  <a:lnTo>
                    <a:pt x="43" y="209"/>
                  </a:lnTo>
                  <a:lnTo>
                    <a:pt x="85" y="377"/>
                  </a:lnTo>
                  <a:lnTo>
                    <a:pt x="43" y="356"/>
                  </a:lnTo>
                  <a:lnTo>
                    <a:pt x="1" y="356"/>
                  </a:lnTo>
                  <a:lnTo>
                    <a:pt x="1" y="544"/>
                  </a:lnTo>
                  <a:lnTo>
                    <a:pt x="22" y="628"/>
                  </a:lnTo>
                  <a:lnTo>
                    <a:pt x="43" y="670"/>
                  </a:lnTo>
                  <a:lnTo>
                    <a:pt x="43" y="795"/>
                  </a:lnTo>
                  <a:lnTo>
                    <a:pt x="22" y="795"/>
                  </a:lnTo>
                  <a:lnTo>
                    <a:pt x="43" y="858"/>
                  </a:lnTo>
                  <a:lnTo>
                    <a:pt x="231" y="963"/>
                  </a:lnTo>
                  <a:lnTo>
                    <a:pt x="336" y="963"/>
                  </a:lnTo>
                  <a:lnTo>
                    <a:pt x="398" y="942"/>
                  </a:lnTo>
                  <a:lnTo>
                    <a:pt x="440" y="670"/>
                  </a:lnTo>
                  <a:lnTo>
                    <a:pt x="398" y="544"/>
                  </a:lnTo>
                  <a:lnTo>
                    <a:pt x="336" y="544"/>
                  </a:lnTo>
                  <a:lnTo>
                    <a:pt x="315" y="356"/>
                  </a:lnTo>
                  <a:lnTo>
                    <a:pt x="336" y="356"/>
                  </a:lnTo>
                  <a:lnTo>
                    <a:pt x="398" y="168"/>
                  </a:lnTo>
                  <a:lnTo>
                    <a:pt x="357" y="126"/>
                  </a:lnTo>
                  <a:lnTo>
                    <a:pt x="315" y="126"/>
                  </a:lnTo>
                  <a:lnTo>
                    <a:pt x="315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" name="Google Shape;912;p34"/>
            <p:cNvSpPr/>
            <p:nvPr/>
          </p:nvSpPr>
          <p:spPr>
            <a:xfrm>
              <a:off x="4095152" y="2967833"/>
              <a:ext cx="32900" cy="24758"/>
            </a:xfrm>
            <a:custGeom>
              <a:avLst/>
              <a:gdLst/>
              <a:ahLst/>
              <a:cxnLst/>
              <a:rect l="l" t="t" r="r" b="b"/>
              <a:pathLst>
                <a:path w="2763" h="2177" extrusionOk="0">
                  <a:moveTo>
                    <a:pt x="2490" y="0"/>
                  </a:moveTo>
                  <a:lnTo>
                    <a:pt x="2490" y="84"/>
                  </a:lnTo>
                  <a:lnTo>
                    <a:pt x="2469" y="146"/>
                  </a:lnTo>
                  <a:lnTo>
                    <a:pt x="2093" y="356"/>
                  </a:lnTo>
                  <a:lnTo>
                    <a:pt x="2093" y="502"/>
                  </a:lnTo>
                  <a:lnTo>
                    <a:pt x="1779" y="795"/>
                  </a:lnTo>
                  <a:lnTo>
                    <a:pt x="1737" y="879"/>
                  </a:lnTo>
                  <a:lnTo>
                    <a:pt x="1779" y="900"/>
                  </a:lnTo>
                  <a:lnTo>
                    <a:pt x="1821" y="983"/>
                  </a:lnTo>
                  <a:lnTo>
                    <a:pt x="1653" y="1130"/>
                  </a:lnTo>
                  <a:lnTo>
                    <a:pt x="1611" y="1046"/>
                  </a:lnTo>
                  <a:lnTo>
                    <a:pt x="1549" y="1088"/>
                  </a:lnTo>
                  <a:lnTo>
                    <a:pt x="1465" y="1088"/>
                  </a:lnTo>
                  <a:lnTo>
                    <a:pt x="1507" y="1193"/>
                  </a:lnTo>
                  <a:lnTo>
                    <a:pt x="1444" y="1193"/>
                  </a:lnTo>
                  <a:lnTo>
                    <a:pt x="1423" y="1234"/>
                  </a:lnTo>
                  <a:lnTo>
                    <a:pt x="1256" y="1255"/>
                  </a:lnTo>
                  <a:lnTo>
                    <a:pt x="1130" y="1297"/>
                  </a:lnTo>
                  <a:lnTo>
                    <a:pt x="1088" y="1214"/>
                  </a:lnTo>
                  <a:lnTo>
                    <a:pt x="837" y="1214"/>
                  </a:lnTo>
                  <a:lnTo>
                    <a:pt x="628" y="1151"/>
                  </a:lnTo>
                  <a:lnTo>
                    <a:pt x="398" y="1339"/>
                  </a:lnTo>
                  <a:lnTo>
                    <a:pt x="314" y="1318"/>
                  </a:lnTo>
                  <a:lnTo>
                    <a:pt x="251" y="1318"/>
                  </a:lnTo>
                  <a:lnTo>
                    <a:pt x="147" y="1360"/>
                  </a:lnTo>
                  <a:lnTo>
                    <a:pt x="105" y="1109"/>
                  </a:lnTo>
                  <a:lnTo>
                    <a:pt x="63" y="1151"/>
                  </a:lnTo>
                  <a:lnTo>
                    <a:pt x="0" y="1130"/>
                  </a:lnTo>
                  <a:lnTo>
                    <a:pt x="0" y="1318"/>
                  </a:lnTo>
                  <a:lnTo>
                    <a:pt x="147" y="1465"/>
                  </a:lnTo>
                  <a:lnTo>
                    <a:pt x="272" y="1946"/>
                  </a:lnTo>
                  <a:lnTo>
                    <a:pt x="1967" y="2176"/>
                  </a:lnTo>
                  <a:lnTo>
                    <a:pt x="2155" y="2030"/>
                  </a:lnTo>
                  <a:lnTo>
                    <a:pt x="2658" y="502"/>
                  </a:lnTo>
                  <a:lnTo>
                    <a:pt x="2762" y="481"/>
                  </a:lnTo>
                  <a:lnTo>
                    <a:pt x="2762" y="314"/>
                  </a:lnTo>
                  <a:lnTo>
                    <a:pt x="2720" y="251"/>
                  </a:lnTo>
                  <a:lnTo>
                    <a:pt x="2678" y="272"/>
                  </a:lnTo>
                  <a:lnTo>
                    <a:pt x="2658" y="251"/>
                  </a:lnTo>
                  <a:lnTo>
                    <a:pt x="2595" y="209"/>
                  </a:lnTo>
                  <a:lnTo>
                    <a:pt x="2574" y="42"/>
                  </a:lnTo>
                  <a:lnTo>
                    <a:pt x="249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3" name="Google Shape;913;p34"/>
            <p:cNvSpPr/>
            <p:nvPr/>
          </p:nvSpPr>
          <p:spPr>
            <a:xfrm>
              <a:off x="4101380" y="2973303"/>
              <a:ext cx="51583" cy="60684"/>
            </a:xfrm>
            <a:custGeom>
              <a:avLst/>
              <a:gdLst/>
              <a:ahLst/>
              <a:cxnLst/>
              <a:rect l="l" t="t" r="r" b="b"/>
              <a:pathLst>
                <a:path w="4332" h="5336" extrusionOk="0">
                  <a:moveTo>
                    <a:pt x="2239" y="0"/>
                  </a:moveTo>
                  <a:lnTo>
                    <a:pt x="2135" y="21"/>
                  </a:lnTo>
                  <a:lnTo>
                    <a:pt x="1632" y="1549"/>
                  </a:lnTo>
                  <a:lnTo>
                    <a:pt x="1758" y="2009"/>
                  </a:lnTo>
                  <a:lnTo>
                    <a:pt x="1674" y="3264"/>
                  </a:lnTo>
                  <a:lnTo>
                    <a:pt x="42" y="3746"/>
                  </a:lnTo>
                  <a:lnTo>
                    <a:pt x="0" y="4018"/>
                  </a:lnTo>
                  <a:lnTo>
                    <a:pt x="523" y="4708"/>
                  </a:lnTo>
                  <a:lnTo>
                    <a:pt x="461" y="4938"/>
                  </a:lnTo>
                  <a:lnTo>
                    <a:pt x="795" y="5336"/>
                  </a:lnTo>
                  <a:lnTo>
                    <a:pt x="879" y="5315"/>
                  </a:lnTo>
                  <a:lnTo>
                    <a:pt x="900" y="5336"/>
                  </a:lnTo>
                  <a:lnTo>
                    <a:pt x="1005" y="5336"/>
                  </a:lnTo>
                  <a:lnTo>
                    <a:pt x="1088" y="5231"/>
                  </a:lnTo>
                  <a:lnTo>
                    <a:pt x="1214" y="5231"/>
                  </a:lnTo>
                  <a:lnTo>
                    <a:pt x="1423" y="5127"/>
                  </a:lnTo>
                  <a:lnTo>
                    <a:pt x="1528" y="5127"/>
                  </a:lnTo>
                  <a:lnTo>
                    <a:pt x="1632" y="5106"/>
                  </a:lnTo>
                  <a:lnTo>
                    <a:pt x="1716" y="5147"/>
                  </a:lnTo>
                  <a:lnTo>
                    <a:pt x="1779" y="5147"/>
                  </a:lnTo>
                  <a:lnTo>
                    <a:pt x="1925" y="4938"/>
                  </a:lnTo>
                  <a:lnTo>
                    <a:pt x="1925" y="4917"/>
                  </a:lnTo>
                  <a:lnTo>
                    <a:pt x="1946" y="4917"/>
                  </a:lnTo>
                  <a:lnTo>
                    <a:pt x="1946" y="4834"/>
                  </a:lnTo>
                  <a:lnTo>
                    <a:pt x="1883" y="4813"/>
                  </a:lnTo>
                  <a:lnTo>
                    <a:pt x="1925" y="4750"/>
                  </a:lnTo>
                  <a:lnTo>
                    <a:pt x="1883" y="4687"/>
                  </a:lnTo>
                  <a:lnTo>
                    <a:pt x="1967" y="4603"/>
                  </a:lnTo>
                  <a:lnTo>
                    <a:pt x="2030" y="4541"/>
                  </a:lnTo>
                  <a:lnTo>
                    <a:pt x="2239" y="4541"/>
                  </a:lnTo>
                  <a:lnTo>
                    <a:pt x="2365" y="4520"/>
                  </a:lnTo>
                  <a:lnTo>
                    <a:pt x="2448" y="4583"/>
                  </a:lnTo>
                  <a:lnTo>
                    <a:pt x="2553" y="4436"/>
                  </a:lnTo>
                  <a:lnTo>
                    <a:pt x="2595" y="4415"/>
                  </a:lnTo>
                  <a:lnTo>
                    <a:pt x="2595" y="4227"/>
                  </a:lnTo>
                  <a:lnTo>
                    <a:pt x="2804" y="3976"/>
                  </a:lnTo>
                  <a:lnTo>
                    <a:pt x="2930" y="3955"/>
                  </a:lnTo>
                  <a:lnTo>
                    <a:pt x="3013" y="3976"/>
                  </a:lnTo>
                  <a:lnTo>
                    <a:pt x="3076" y="3913"/>
                  </a:lnTo>
                  <a:lnTo>
                    <a:pt x="3348" y="3913"/>
                  </a:lnTo>
                  <a:lnTo>
                    <a:pt x="3390" y="3850"/>
                  </a:lnTo>
                  <a:lnTo>
                    <a:pt x="3327" y="3808"/>
                  </a:lnTo>
                  <a:lnTo>
                    <a:pt x="3285" y="3599"/>
                  </a:lnTo>
                  <a:lnTo>
                    <a:pt x="3306" y="3599"/>
                  </a:lnTo>
                  <a:lnTo>
                    <a:pt x="3244" y="3494"/>
                  </a:lnTo>
                  <a:lnTo>
                    <a:pt x="3223" y="3474"/>
                  </a:lnTo>
                  <a:lnTo>
                    <a:pt x="3244" y="3390"/>
                  </a:lnTo>
                  <a:lnTo>
                    <a:pt x="3244" y="3285"/>
                  </a:lnTo>
                  <a:lnTo>
                    <a:pt x="3348" y="3118"/>
                  </a:lnTo>
                  <a:lnTo>
                    <a:pt x="3432" y="3076"/>
                  </a:lnTo>
                  <a:lnTo>
                    <a:pt x="3390" y="3013"/>
                  </a:lnTo>
                  <a:lnTo>
                    <a:pt x="3411" y="3013"/>
                  </a:lnTo>
                  <a:lnTo>
                    <a:pt x="3495" y="2867"/>
                  </a:lnTo>
                  <a:lnTo>
                    <a:pt x="3536" y="2846"/>
                  </a:lnTo>
                  <a:lnTo>
                    <a:pt x="3599" y="2846"/>
                  </a:lnTo>
                  <a:lnTo>
                    <a:pt x="3557" y="2909"/>
                  </a:lnTo>
                  <a:lnTo>
                    <a:pt x="3536" y="2971"/>
                  </a:lnTo>
                  <a:lnTo>
                    <a:pt x="3620" y="3013"/>
                  </a:lnTo>
                  <a:lnTo>
                    <a:pt x="3662" y="3013"/>
                  </a:lnTo>
                  <a:lnTo>
                    <a:pt x="3746" y="2804"/>
                  </a:lnTo>
                  <a:lnTo>
                    <a:pt x="3808" y="2741"/>
                  </a:lnTo>
                  <a:lnTo>
                    <a:pt x="3871" y="2616"/>
                  </a:lnTo>
                  <a:lnTo>
                    <a:pt x="4018" y="2490"/>
                  </a:lnTo>
                  <a:lnTo>
                    <a:pt x="4227" y="2134"/>
                  </a:lnTo>
                  <a:lnTo>
                    <a:pt x="4248" y="2072"/>
                  </a:lnTo>
                  <a:lnTo>
                    <a:pt x="4248" y="1988"/>
                  </a:lnTo>
                  <a:lnTo>
                    <a:pt x="4290" y="1862"/>
                  </a:lnTo>
                  <a:lnTo>
                    <a:pt x="4332" y="1758"/>
                  </a:lnTo>
                  <a:lnTo>
                    <a:pt x="4269" y="1695"/>
                  </a:lnTo>
                  <a:lnTo>
                    <a:pt x="4164" y="1674"/>
                  </a:lnTo>
                  <a:lnTo>
                    <a:pt x="3955" y="1507"/>
                  </a:lnTo>
                  <a:lnTo>
                    <a:pt x="3913" y="1402"/>
                  </a:lnTo>
                  <a:lnTo>
                    <a:pt x="3808" y="1298"/>
                  </a:lnTo>
                  <a:lnTo>
                    <a:pt x="3767" y="1151"/>
                  </a:lnTo>
                  <a:lnTo>
                    <a:pt x="3599" y="942"/>
                  </a:lnTo>
                  <a:lnTo>
                    <a:pt x="3516" y="942"/>
                  </a:lnTo>
                  <a:lnTo>
                    <a:pt x="3390" y="963"/>
                  </a:lnTo>
                  <a:lnTo>
                    <a:pt x="3118" y="921"/>
                  </a:lnTo>
                  <a:lnTo>
                    <a:pt x="3013" y="942"/>
                  </a:lnTo>
                  <a:lnTo>
                    <a:pt x="2930" y="963"/>
                  </a:lnTo>
                  <a:lnTo>
                    <a:pt x="2804" y="921"/>
                  </a:lnTo>
                  <a:lnTo>
                    <a:pt x="2469" y="649"/>
                  </a:lnTo>
                  <a:lnTo>
                    <a:pt x="2469" y="565"/>
                  </a:lnTo>
                  <a:lnTo>
                    <a:pt x="2260" y="335"/>
                  </a:lnTo>
                  <a:lnTo>
                    <a:pt x="223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4" name="Google Shape;914;p34"/>
            <p:cNvSpPr/>
            <p:nvPr/>
          </p:nvSpPr>
          <p:spPr>
            <a:xfrm>
              <a:off x="4124802" y="2964728"/>
              <a:ext cx="2751" cy="5971"/>
            </a:xfrm>
            <a:custGeom>
              <a:avLst/>
              <a:gdLst/>
              <a:ahLst/>
              <a:cxnLst/>
              <a:rect l="l" t="t" r="r" b="b"/>
              <a:pathLst>
                <a:path w="231" h="525" extrusionOk="0">
                  <a:moveTo>
                    <a:pt x="209" y="1"/>
                  </a:moveTo>
                  <a:lnTo>
                    <a:pt x="168" y="22"/>
                  </a:lnTo>
                  <a:lnTo>
                    <a:pt x="105" y="22"/>
                  </a:lnTo>
                  <a:lnTo>
                    <a:pt x="84" y="168"/>
                  </a:lnTo>
                  <a:lnTo>
                    <a:pt x="63" y="210"/>
                  </a:lnTo>
                  <a:lnTo>
                    <a:pt x="21" y="168"/>
                  </a:lnTo>
                  <a:lnTo>
                    <a:pt x="0" y="231"/>
                  </a:lnTo>
                  <a:lnTo>
                    <a:pt x="0" y="273"/>
                  </a:lnTo>
                  <a:lnTo>
                    <a:pt x="84" y="315"/>
                  </a:lnTo>
                  <a:lnTo>
                    <a:pt x="105" y="482"/>
                  </a:lnTo>
                  <a:lnTo>
                    <a:pt x="168" y="524"/>
                  </a:lnTo>
                  <a:lnTo>
                    <a:pt x="168" y="440"/>
                  </a:lnTo>
                  <a:lnTo>
                    <a:pt x="209" y="336"/>
                  </a:lnTo>
                  <a:lnTo>
                    <a:pt x="209" y="168"/>
                  </a:lnTo>
                  <a:lnTo>
                    <a:pt x="188" y="168"/>
                  </a:lnTo>
                  <a:lnTo>
                    <a:pt x="209" y="106"/>
                  </a:lnTo>
                  <a:lnTo>
                    <a:pt x="188" y="64"/>
                  </a:lnTo>
                  <a:lnTo>
                    <a:pt x="209" y="43"/>
                  </a:lnTo>
                  <a:lnTo>
                    <a:pt x="230" y="43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5" name="Google Shape;915;p34"/>
            <p:cNvSpPr/>
            <p:nvPr/>
          </p:nvSpPr>
          <p:spPr>
            <a:xfrm>
              <a:off x="4037591" y="3015893"/>
              <a:ext cx="73267" cy="45456"/>
            </a:xfrm>
            <a:custGeom>
              <a:avLst/>
              <a:gdLst/>
              <a:ahLst/>
              <a:cxnLst/>
              <a:rect l="l" t="t" r="r" b="b"/>
              <a:pathLst>
                <a:path w="6153" h="3997" extrusionOk="0">
                  <a:moveTo>
                    <a:pt x="5399" y="1"/>
                  </a:moveTo>
                  <a:lnTo>
                    <a:pt x="3223" y="649"/>
                  </a:lnTo>
                  <a:lnTo>
                    <a:pt x="2177" y="2051"/>
                  </a:lnTo>
                  <a:lnTo>
                    <a:pt x="2156" y="1528"/>
                  </a:lnTo>
                  <a:lnTo>
                    <a:pt x="1633" y="1298"/>
                  </a:lnTo>
                  <a:lnTo>
                    <a:pt x="1131" y="1089"/>
                  </a:lnTo>
                  <a:lnTo>
                    <a:pt x="796" y="1089"/>
                  </a:lnTo>
                  <a:lnTo>
                    <a:pt x="608" y="942"/>
                  </a:lnTo>
                  <a:lnTo>
                    <a:pt x="440" y="1005"/>
                  </a:lnTo>
                  <a:lnTo>
                    <a:pt x="378" y="1277"/>
                  </a:lnTo>
                  <a:lnTo>
                    <a:pt x="482" y="1486"/>
                  </a:lnTo>
                  <a:lnTo>
                    <a:pt x="315" y="1591"/>
                  </a:lnTo>
                  <a:lnTo>
                    <a:pt x="273" y="1695"/>
                  </a:lnTo>
                  <a:lnTo>
                    <a:pt x="189" y="1674"/>
                  </a:lnTo>
                  <a:lnTo>
                    <a:pt x="85" y="1633"/>
                  </a:lnTo>
                  <a:lnTo>
                    <a:pt x="106" y="1737"/>
                  </a:lnTo>
                  <a:lnTo>
                    <a:pt x="168" y="2030"/>
                  </a:lnTo>
                  <a:lnTo>
                    <a:pt x="168" y="2218"/>
                  </a:lnTo>
                  <a:lnTo>
                    <a:pt x="85" y="2218"/>
                  </a:lnTo>
                  <a:lnTo>
                    <a:pt x="85" y="2260"/>
                  </a:lnTo>
                  <a:lnTo>
                    <a:pt x="1" y="2239"/>
                  </a:lnTo>
                  <a:lnTo>
                    <a:pt x="1" y="2239"/>
                  </a:lnTo>
                  <a:lnTo>
                    <a:pt x="22" y="2344"/>
                  </a:lnTo>
                  <a:lnTo>
                    <a:pt x="106" y="2344"/>
                  </a:lnTo>
                  <a:lnTo>
                    <a:pt x="106" y="2428"/>
                  </a:lnTo>
                  <a:lnTo>
                    <a:pt x="231" y="2616"/>
                  </a:lnTo>
                  <a:lnTo>
                    <a:pt x="315" y="3139"/>
                  </a:lnTo>
                  <a:lnTo>
                    <a:pt x="482" y="3265"/>
                  </a:lnTo>
                  <a:lnTo>
                    <a:pt x="482" y="3453"/>
                  </a:lnTo>
                  <a:lnTo>
                    <a:pt x="419" y="3474"/>
                  </a:lnTo>
                  <a:lnTo>
                    <a:pt x="482" y="3620"/>
                  </a:lnTo>
                  <a:lnTo>
                    <a:pt x="608" y="3767"/>
                  </a:lnTo>
                  <a:lnTo>
                    <a:pt x="608" y="3913"/>
                  </a:lnTo>
                  <a:lnTo>
                    <a:pt x="650" y="3997"/>
                  </a:lnTo>
                  <a:lnTo>
                    <a:pt x="796" y="3997"/>
                  </a:lnTo>
                  <a:lnTo>
                    <a:pt x="817" y="3934"/>
                  </a:lnTo>
                  <a:lnTo>
                    <a:pt x="963" y="3997"/>
                  </a:lnTo>
                  <a:lnTo>
                    <a:pt x="1068" y="3976"/>
                  </a:lnTo>
                  <a:lnTo>
                    <a:pt x="1173" y="3871"/>
                  </a:lnTo>
                  <a:lnTo>
                    <a:pt x="1319" y="3871"/>
                  </a:lnTo>
                  <a:lnTo>
                    <a:pt x="1361" y="3934"/>
                  </a:lnTo>
                  <a:lnTo>
                    <a:pt x="1466" y="3892"/>
                  </a:lnTo>
                  <a:lnTo>
                    <a:pt x="1570" y="3725"/>
                  </a:lnTo>
                  <a:lnTo>
                    <a:pt x="1633" y="3725"/>
                  </a:lnTo>
                  <a:lnTo>
                    <a:pt x="1696" y="3579"/>
                  </a:lnTo>
                  <a:lnTo>
                    <a:pt x="1842" y="3495"/>
                  </a:lnTo>
                  <a:lnTo>
                    <a:pt x="1905" y="3474"/>
                  </a:lnTo>
                  <a:lnTo>
                    <a:pt x="2010" y="3474"/>
                  </a:lnTo>
                  <a:lnTo>
                    <a:pt x="2051" y="3495"/>
                  </a:lnTo>
                  <a:lnTo>
                    <a:pt x="2198" y="3495"/>
                  </a:lnTo>
                  <a:lnTo>
                    <a:pt x="2219" y="3558"/>
                  </a:lnTo>
                  <a:lnTo>
                    <a:pt x="2365" y="3579"/>
                  </a:lnTo>
                  <a:lnTo>
                    <a:pt x="2616" y="3474"/>
                  </a:lnTo>
                  <a:lnTo>
                    <a:pt x="2826" y="3453"/>
                  </a:lnTo>
                  <a:lnTo>
                    <a:pt x="2909" y="3369"/>
                  </a:lnTo>
                  <a:lnTo>
                    <a:pt x="2930" y="3307"/>
                  </a:lnTo>
                  <a:lnTo>
                    <a:pt x="3119" y="3160"/>
                  </a:lnTo>
                  <a:lnTo>
                    <a:pt x="3223" y="3160"/>
                  </a:lnTo>
                  <a:lnTo>
                    <a:pt x="3307" y="3202"/>
                  </a:lnTo>
                  <a:lnTo>
                    <a:pt x="3370" y="3181"/>
                  </a:lnTo>
                  <a:lnTo>
                    <a:pt x="3432" y="3139"/>
                  </a:lnTo>
                  <a:lnTo>
                    <a:pt x="3453" y="3181"/>
                  </a:lnTo>
                  <a:lnTo>
                    <a:pt x="3537" y="3181"/>
                  </a:lnTo>
                  <a:lnTo>
                    <a:pt x="3725" y="3034"/>
                  </a:lnTo>
                  <a:lnTo>
                    <a:pt x="3830" y="2846"/>
                  </a:lnTo>
                  <a:lnTo>
                    <a:pt x="3935" y="2783"/>
                  </a:lnTo>
                  <a:lnTo>
                    <a:pt x="3997" y="2783"/>
                  </a:lnTo>
                  <a:lnTo>
                    <a:pt x="4625" y="2616"/>
                  </a:lnTo>
                  <a:lnTo>
                    <a:pt x="4688" y="2532"/>
                  </a:lnTo>
                  <a:lnTo>
                    <a:pt x="5043" y="2470"/>
                  </a:lnTo>
                  <a:lnTo>
                    <a:pt x="5253" y="2365"/>
                  </a:lnTo>
                  <a:lnTo>
                    <a:pt x="5399" y="2260"/>
                  </a:lnTo>
                  <a:lnTo>
                    <a:pt x="5629" y="2218"/>
                  </a:lnTo>
                  <a:lnTo>
                    <a:pt x="5608" y="2135"/>
                  </a:lnTo>
                  <a:lnTo>
                    <a:pt x="5629" y="2114"/>
                  </a:lnTo>
                  <a:lnTo>
                    <a:pt x="5567" y="2051"/>
                  </a:lnTo>
                  <a:lnTo>
                    <a:pt x="5608" y="1905"/>
                  </a:lnTo>
                  <a:lnTo>
                    <a:pt x="5776" y="1674"/>
                  </a:lnTo>
                  <a:lnTo>
                    <a:pt x="6027" y="1612"/>
                  </a:lnTo>
                  <a:lnTo>
                    <a:pt x="6152" y="1591"/>
                  </a:lnTo>
                  <a:lnTo>
                    <a:pt x="5818" y="1193"/>
                  </a:lnTo>
                  <a:lnTo>
                    <a:pt x="5880" y="963"/>
                  </a:lnTo>
                  <a:lnTo>
                    <a:pt x="5357" y="273"/>
                  </a:lnTo>
                  <a:lnTo>
                    <a:pt x="539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" name="Google Shape;916;p34"/>
            <p:cNvSpPr/>
            <p:nvPr/>
          </p:nvSpPr>
          <p:spPr>
            <a:xfrm>
              <a:off x="3911526" y="2929280"/>
              <a:ext cx="85972" cy="69020"/>
            </a:xfrm>
            <a:custGeom>
              <a:avLst/>
              <a:gdLst/>
              <a:ahLst/>
              <a:cxnLst/>
              <a:rect l="l" t="t" r="r" b="b"/>
              <a:pathLst>
                <a:path w="7220" h="6069" extrusionOk="0">
                  <a:moveTo>
                    <a:pt x="503" y="0"/>
                  </a:moveTo>
                  <a:lnTo>
                    <a:pt x="210" y="21"/>
                  </a:lnTo>
                  <a:lnTo>
                    <a:pt x="147" y="21"/>
                  </a:lnTo>
                  <a:lnTo>
                    <a:pt x="126" y="126"/>
                  </a:lnTo>
                  <a:lnTo>
                    <a:pt x="84" y="356"/>
                  </a:lnTo>
                  <a:lnTo>
                    <a:pt x="126" y="523"/>
                  </a:lnTo>
                  <a:lnTo>
                    <a:pt x="126" y="649"/>
                  </a:lnTo>
                  <a:lnTo>
                    <a:pt x="42" y="858"/>
                  </a:lnTo>
                  <a:lnTo>
                    <a:pt x="1" y="1047"/>
                  </a:lnTo>
                  <a:lnTo>
                    <a:pt x="42" y="1193"/>
                  </a:lnTo>
                  <a:lnTo>
                    <a:pt x="126" y="1486"/>
                  </a:lnTo>
                  <a:lnTo>
                    <a:pt x="314" y="6068"/>
                  </a:lnTo>
                  <a:lnTo>
                    <a:pt x="7219" y="6005"/>
                  </a:lnTo>
                  <a:lnTo>
                    <a:pt x="7219" y="5985"/>
                  </a:lnTo>
                  <a:lnTo>
                    <a:pt x="7115" y="5964"/>
                  </a:lnTo>
                  <a:lnTo>
                    <a:pt x="6989" y="5796"/>
                  </a:lnTo>
                  <a:lnTo>
                    <a:pt x="6947" y="5754"/>
                  </a:lnTo>
                  <a:lnTo>
                    <a:pt x="6822" y="5692"/>
                  </a:lnTo>
                  <a:lnTo>
                    <a:pt x="6738" y="5566"/>
                  </a:lnTo>
                  <a:lnTo>
                    <a:pt x="6675" y="5587"/>
                  </a:lnTo>
                  <a:lnTo>
                    <a:pt x="6571" y="5587"/>
                  </a:lnTo>
                  <a:lnTo>
                    <a:pt x="6403" y="5461"/>
                  </a:lnTo>
                  <a:lnTo>
                    <a:pt x="6299" y="5169"/>
                  </a:lnTo>
                  <a:lnTo>
                    <a:pt x="6319" y="5106"/>
                  </a:lnTo>
                  <a:lnTo>
                    <a:pt x="6319" y="4938"/>
                  </a:lnTo>
                  <a:lnTo>
                    <a:pt x="6278" y="4855"/>
                  </a:lnTo>
                  <a:lnTo>
                    <a:pt x="6299" y="4813"/>
                  </a:lnTo>
                  <a:lnTo>
                    <a:pt x="6319" y="4855"/>
                  </a:lnTo>
                  <a:lnTo>
                    <a:pt x="6508" y="4855"/>
                  </a:lnTo>
                  <a:lnTo>
                    <a:pt x="6424" y="4792"/>
                  </a:lnTo>
                  <a:lnTo>
                    <a:pt x="6382" y="4792"/>
                  </a:lnTo>
                  <a:lnTo>
                    <a:pt x="6299" y="4624"/>
                  </a:lnTo>
                  <a:lnTo>
                    <a:pt x="6257" y="4604"/>
                  </a:lnTo>
                  <a:lnTo>
                    <a:pt x="6257" y="4645"/>
                  </a:lnTo>
                  <a:lnTo>
                    <a:pt x="6173" y="4583"/>
                  </a:lnTo>
                  <a:lnTo>
                    <a:pt x="6110" y="4415"/>
                  </a:lnTo>
                  <a:lnTo>
                    <a:pt x="5901" y="4080"/>
                  </a:lnTo>
                  <a:lnTo>
                    <a:pt x="5796" y="4018"/>
                  </a:lnTo>
                  <a:lnTo>
                    <a:pt x="5775" y="3871"/>
                  </a:lnTo>
                  <a:lnTo>
                    <a:pt x="5420" y="3327"/>
                  </a:lnTo>
                  <a:lnTo>
                    <a:pt x="5420" y="3223"/>
                  </a:lnTo>
                  <a:lnTo>
                    <a:pt x="5357" y="3118"/>
                  </a:lnTo>
                  <a:lnTo>
                    <a:pt x="5336" y="2867"/>
                  </a:lnTo>
                  <a:lnTo>
                    <a:pt x="5273" y="2825"/>
                  </a:lnTo>
                  <a:lnTo>
                    <a:pt x="5273" y="2741"/>
                  </a:lnTo>
                  <a:lnTo>
                    <a:pt x="5064" y="2532"/>
                  </a:lnTo>
                  <a:lnTo>
                    <a:pt x="5064" y="2448"/>
                  </a:lnTo>
                  <a:lnTo>
                    <a:pt x="5106" y="2344"/>
                  </a:lnTo>
                  <a:lnTo>
                    <a:pt x="5043" y="2281"/>
                  </a:lnTo>
                  <a:lnTo>
                    <a:pt x="4708" y="1988"/>
                  </a:lnTo>
                  <a:lnTo>
                    <a:pt x="4687" y="1884"/>
                  </a:lnTo>
                  <a:lnTo>
                    <a:pt x="4478" y="1653"/>
                  </a:lnTo>
                  <a:lnTo>
                    <a:pt x="4478" y="1507"/>
                  </a:lnTo>
                  <a:lnTo>
                    <a:pt x="4332" y="1360"/>
                  </a:lnTo>
                  <a:lnTo>
                    <a:pt x="4374" y="1277"/>
                  </a:lnTo>
                  <a:lnTo>
                    <a:pt x="4374" y="1193"/>
                  </a:lnTo>
                  <a:lnTo>
                    <a:pt x="4395" y="1151"/>
                  </a:lnTo>
                  <a:lnTo>
                    <a:pt x="4395" y="1193"/>
                  </a:lnTo>
                  <a:lnTo>
                    <a:pt x="4478" y="1193"/>
                  </a:lnTo>
                  <a:lnTo>
                    <a:pt x="4499" y="1339"/>
                  </a:lnTo>
                  <a:lnTo>
                    <a:pt x="4541" y="1402"/>
                  </a:lnTo>
                  <a:lnTo>
                    <a:pt x="4583" y="1465"/>
                  </a:lnTo>
                  <a:lnTo>
                    <a:pt x="4792" y="1674"/>
                  </a:lnTo>
                  <a:lnTo>
                    <a:pt x="4792" y="1779"/>
                  </a:lnTo>
                  <a:lnTo>
                    <a:pt x="4834" y="1884"/>
                  </a:lnTo>
                  <a:lnTo>
                    <a:pt x="5001" y="1967"/>
                  </a:lnTo>
                  <a:lnTo>
                    <a:pt x="5022" y="2072"/>
                  </a:lnTo>
                  <a:lnTo>
                    <a:pt x="5315" y="2344"/>
                  </a:lnTo>
                  <a:lnTo>
                    <a:pt x="5462" y="2428"/>
                  </a:lnTo>
                  <a:lnTo>
                    <a:pt x="5462" y="2490"/>
                  </a:lnTo>
                  <a:lnTo>
                    <a:pt x="5483" y="2407"/>
                  </a:lnTo>
                  <a:lnTo>
                    <a:pt x="5566" y="2323"/>
                  </a:lnTo>
                  <a:lnTo>
                    <a:pt x="5629" y="2114"/>
                  </a:lnTo>
                  <a:lnTo>
                    <a:pt x="5566" y="2072"/>
                  </a:lnTo>
                  <a:lnTo>
                    <a:pt x="5650" y="1904"/>
                  </a:lnTo>
                  <a:lnTo>
                    <a:pt x="5650" y="1779"/>
                  </a:lnTo>
                  <a:lnTo>
                    <a:pt x="5734" y="1465"/>
                  </a:lnTo>
                  <a:lnTo>
                    <a:pt x="5755" y="1444"/>
                  </a:lnTo>
                  <a:lnTo>
                    <a:pt x="5671" y="1235"/>
                  </a:lnTo>
                  <a:lnTo>
                    <a:pt x="5734" y="1088"/>
                  </a:lnTo>
                  <a:lnTo>
                    <a:pt x="5587" y="775"/>
                  </a:lnTo>
                  <a:lnTo>
                    <a:pt x="5441" y="544"/>
                  </a:lnTo>
                  <a:lnTo>
                    <a:pt x="5378" y="335"/>
                  </a:lnTo>
                  <a:lnTo>
                    <a:pt x="5273" y="147"/>
                  </a:lnTo>
                  <a:lnTo>
                    <a:pt x="5211" y="126"/>
                  </a:lnTo>
                  <a:lnTo>
                    <a:pt x="5127" y="231"/>
                  </a:lnTo>
                  <a:lnTo>
                    <a:pt x="4959" y="293"/>
                  </a:lnTo>
                  <a:lnTo>
                    <a:pt x="4604" y="231"/>
                  </a:lnTo>
                  <a:lnTo>
                    <a:pt x="4311" y="314"/>
                  </a:lnTo>
                  <a:lnTo>
                    <a:pt x="4102" y="147"/>
                  </a:lnTo>
                  <a:lnTo>
                    <a:pt x="4081" y="251"/>
                  </a:lnTo>
                  <a:lnTo>
                    <a:pt x="4164" y="398"/>
                  </a:lnTo>
                  <a:lnTo>
                    <a:pt x="4164" y="461"/>
                  </a:lnTo>
                  <a:lnTo>
                    <a:pt x="4081" y="335"/>
                  </a:lnTo>
                  <a:lnTo>
                    <a:pt x="3976" y="293"/>
                  </a:lnTo>
                  <a:lnTo>
                    <a:pt x="3955" y="189"/>
                  </a:lnTo>
                  <a:lnTo>
                    <a:pt x="3997" y="147"/>
                  </a:lnTo>
                  <a:lnTo>
                    <a:pt x="3955" y="105"/>
                  </a:lnTo>
                  <a:lnTo>
                    <a:pt x="3850" y="105"/>
                  </a:lnTo>
                  <a:lnTo>
                    <a:pt x="3746" y="84"/>
                  </a:lnTo>
                  <a:lnTo>
                    <a:pt x="3537" y="21"/>
                  </a:lnTo>
                  <a:lnTo>
                    <a:pt x="3495" y="42"/>
                  </a:lnTo>
                  <a:lnTo>
                    <a:pt x="3578" y="84"/>
                  </a:lnTo>
                  <a:lnTo>
                    <a:pt x="3599" y="105"/>
                  </a:lnTo>
                  <a:lnTo>
                    <a:pt x="3495" y="126"/>
                  </a:lnTo>
                  <a:lnTo>
                    <a:pt x="3390" y="105"/>
                  </a:lnTo>
                  <a:lnTo>
                    <a:pt x="3265" y="147"/>
                  </a:lnTo>
                  <a:lnTo>
                    <a:pt x="3223" y="126"/>
                  </a:lnTo>
                  <a:lnTo>
                    <a:pt x="3223" y="105"/>
                  </a:lnTo>
                  <a:lnTo>
                    <a:pt x="3348" y="84"/>
                  </a:lnTo>
                  <a:lnTo>
                    <a:pt x="3432" y="42"/>
                  </a:lnTo>
                  <a:lnTo>
                    <a:pt x="3327" y="42"/>
                  </a:lnTo>
                  <a:lnTo>
                    <a:pt x="3139" y="84"/>
                  </a:lnTo>
                  <a:lnTo>
                    <a:pt x="3076" y="126"/>
                  </a:lnTo>
                  <a:lnTo>
                    <a:pt x="2930" y="210"/>
                  </a:lnTo>
                  <a:lnTo>
                    <a:pt x="2846" y="231"/>
                  </a:lnTo>
                  <a:lnTo>
                    <a:pt x="2700" y="293"/>
                  </a:lnTo>
                  <a:lnTo>
                    <a:pt x="2595" y="419"/>
                  </a:lnTo>
                  <a:lnTo>
                    <a:pt x="2553" y="461"/>
                  </a:lnTo>
                  <a:lnTo>
                    <a:pt x="2386" y="461"/>
                  </a:lnTo>
                  <a:lnTo>
                    <a:pt x="2177" y="335"/>
                  </a:lnTo>
                  <a:lnTo>
                    <a:pt x="2009" y="314"/>
                  </a:lnTo>
                  <a:lnTo>
                    <a:pt x="1821" y="335"/>
                  </a:lnTo>
                  <a:lnTo>
                    <a:pt x="1674" y="231"/>
                  </a:lnTo>
                  <a:lnTo>
                    <a:pt x="1591" y="231"/>
                  </a:lnTo>
                  <a:lnTo>
                    <a:pt x="1507" y="251"/>
                  </a:lnTo>
                  <a:lnTo>
                    <a:pt x="1361" y="147"/>
                  </a:lnTo>
                  <a:lnTo>
                    <a:pt x="1172" y="105"/>
                  </a:lnTo>
                  <a:lnTo>
                    <a:pt x="733" y="84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7" name="Google Shape;917;p34"/>
            <p:cNvSpPr/>
            <p:nvPr/>
          </p:nvSpPr>
          <p:spPr>
            <a:xfrm>
              <a:off x="3896332" y="2997572"/>
              <a:ext cx="113621" cy="124461"/>
            </a:xfrm>
            <a:custGeom>
              <a:avLst/>
              <a:gdLst/>
              <a:ahLst/>
              <a:cxnLst/>
              <a:rect l="l" t="t" r="r" b="b"/>
              <a:pathLst>
                <a:path w="9542" h="10944" extrusionOk="0">
                  <a:moveTo>
                    <a:pt x="8495" y="0"/>
                  </a:moveTo>
                  <a:lnTo>
                    <a:pt x="1590" y="63"/>
                  </a:lnTo>
                  <a:lnTo>
                    <a:pt x="1632" y="1193"/>
                  </a:lnTo>
                  <a:lnTo>
                    <a:pt x="1088" y="1235"/>
                  </a:lnTo>
                  <a:lnTo>
                    <a:pt x="1088" y="1444"/>
                  </a:lnTo>
                  <a:lnTo>
                    <a:pt x="1151" y="3725"/>
                  </a:lnTo>
                  <a:lnTo>
                    <a:pt x="1046" y="3746"/>
                  </a:lnTo>
                  <a:lnTo>
                    <a:pt x="942" y="3829"/>
                  </a:lnTo>
                  <a:lnTo>
                    <a:pt x="837" y="3767"/>
                  </a:lnTo>
                  <a:lnTo>
                    <a:pt x="691" y="3767"/>
                  </a:lnTo>
                  <a:lnTo>
                    <a:pt x="586" y="3850"/>
                  </a:lnTo>
                  <a:lnTo>
                    <a:pt x="586" y="3976"/>
                  </a:lnTo>
                  <a:lnTo>
                    <a:pt x="649" y="4060"/>
                  </a:lnTo>
                  <a:lnTo>
                    <a:pt x="586" y="4185"/>
                  </a:lnTo>
                  <a:lnTo>
                    <a:pt x="377" y="4457"/>
                  </a:lnTo>
                  <a:lnTo>
                    <a:pt x="335" y="4457"/>
                  </a:lnTo>
                  <a:lnTo>
                    <a:pt x="230" y="4541"/>
                  </a:lnTo>
                  <a:lnTo>
                    <a:pt x="251" y="4645"/>
                  </a:lnTo>
                  <a:lnTo>
                    <a:pt x="314" y="4687"/>
                  </a:lnTo>
                  <a:lnTo>
                    <a:pt x="251" y="4813"/>
                  </a:lnTo>
                  <a:lnTo>
                    <a:pt x="126" y="4897"/>
                  </a:lnTo>
                  <a:lnTo>
                    <a:pt x="105" y="4980"/>
                  </a:lnTo>
                  <a:lnTo>
                    <a:pt x="209" y="5022"/>
                  </a:lnTo>
                  <a:lnTo>
                    <a:pt x="230" y="5127"/>
                  </a:lnTo>
                  <a:lnTo>
                    <a:pt x="168" y="5231"/>
                  </a:lnTo>
                  <a:lnTo>
                    <a:pt x="0" y="5420"/>
                  </a:lnTo>
                  <a:lnTo>
                    <a:pt x="0" y="5545"/>
                  </a:lnTo>
                  <a:lnTo>
                    <a:pt x="63" y="5629"/>
                  </a:lnTo>
                  <a:lnTo>
                    <a:pt x="209" y="5524"/>
                  </a:lnTo>
                  <a:lnTo>
                    <a:pt x="251" y="5545"/>
                  </a:lnTo>
                  <a:lnTo>
                    <a:pt x="251" y="5629"/>
                  </a:lnTo>
                  <a:lnTo>
                    <a:pt x="209" y="5692"/>
                  </a:lnTo>
                  <a:lnTo>
                    <a:pt x="272" y="5734"/>
                  </a:lnTo>
                  <a:lnTo>
                    <a:pt x="230" y="5817"/>
                  </a:lnTo>
                  <a:lnTo>
                    <a:pt x="272" y="5922"/>
                  </a:lnTo>
                  <a:lnTo>
                    <a:pt x="272" y="6047"/>
                  </a:lnTo>
                  <a:lnTo>
                    <a:pt x="314" y="6152"/>
                  </a:lnTo>
                  <a:lnTo>
                    <a:pt x="544" y="6236"/>
                  </a:lnTo>
                  <a:lnTo>
                    <a:pt x="586" y="6319"/>
                  </a:lnTo>
                  <a:lnTo>
                    <a:pt x="544" y="6382"/>
                  </a:lnTo>
                  <a:lnTo>
                    <a:pt x="544" y="6466"/>
                  </a:lnTo>
                  <a:lnTo>
                    <a:pt x="523" y="6487"/>
                  </a:lnTo>
                  <a:lnTo>
                    <a:pt x="586" y="6570"/>
                  </a:lnTo>
                  <a:lnTo>
                    <a:pt x="586" y="6654"/>
                  </a:lnTo>
                  <a:lnTo>
                    <a:pt x="544" y="6675"/>
                  </a:lnTo>
                  <a:lnTo>
                    <a:pt x="670" y="6780"/>
                  </a:lnTo>
                  <a:lnTo>
                    <a:pt x="691" y="6863"/>
                  </a:lnTo>
                  <a:lnTo>
                    <a:pt x="858" y="7052"/>
                  </a:lnTo>
                  <a:lnTo>
                    <a:pt x="963" y="7282"/>
                  </a:lnTo>
                  <a:lnTo>
                    <a:pt x="984" y="7366"/>
                  </a:lnTo>
                  <a:lnTo>
                    <a:pt x="963" y="7491"/>
                  </a:lnTo>
                  <a:lnTo>
                    <a:pt x="942" y="7533"/>
                  </a:lnTo>
                  <a:lnTo>
                    <a:pt x="879" y="7638"/>
                  </a:lnTo>
                  <a:lnTo>
                    <a:pt x="879" y="7826"/>
                  </a:lnTo>
                  <a:lnTo>
                    <a:pt x="984" y="7910"/>
                  </a:lnTo>
                  <a:lnTo>
                    <a:pt x="1109" y="7910"/>
                  </a:lnTo>
                  <a:lnTo>
                    <a:pt x="1172" y="7847"/>
                  </a:lnTo>
                  <a:lnTo>
                    <a:pt x="1318" y="7847"/>
                  </a:lnTo>
                  <a:lnTo>
                    <a:pt x="1402" y="7889"/>
                  </a:lnTo>
                  <a:lnTo>
                    <a:pt x="1360" y="7951"/>
                  </a:lnTo>
                  <a:lnTo>
                    <a:pt x="1381" y="8098"/>
                  </a:lnTo>
                  <a:lnTo>
                    <a:pt x="1465" y="8140"/>
                  </a:lnTo>
                  <a:lnTo>
                    <a:pt x="1590" y="8223"/>
                  </a:lnTo>
                  <a:lnTo>
                    <a:pt x="1695" y="8223"/>
                  </a:lnTo>
                  <a:lnTo>
                    <a:pt x="1779" y="8265"/>
                  </a:lnTo>
                  <a:lnTo>
                    <a:pt x="1821" y="8349"/>
                  </a:lnTo>
                  <a:lnTo>
                    <a:pt x="1925" y="8412"/>
                  </a:lnTo>
                  <a:lnTo>
                    <a:pt x="2030" y="8412"/>
                  </a:lnTo>
                  <a:lnTo>
                    <a:pt x="2093" y="8475"/>
                  </a:lnTo>
                  <a:lnTo>
                    <a:pt x="2051" y="8558"/>
                  </a:lnTo>
                  <a:lnTo>
                    <a:pt x="1988" y="8621"/>
                  </a:lnTo>
                  <a:lnTo>
                    <a:pt x="1946" y="8663"/>
                  </a:lnTo>
                  <a:lnTo>
                    <a:pt x="1904" y="8726"/>
                  </a:lnTo>
                  <a:lnTo>
                    <a:pt x="2030" y="8830"/>
                  </a:lnTo>
                  <a:lnTo>
                    <a:pt x="2134" y="8851"/>
                  </a:lnTo>
                  <a:lnTo>
                    <a:pt x="2155" y="8830"/>
                  </a:lnTo>
                  <a:lnTo>
                    <a:pt x="2260" y="8872"/>
                  </a:lnTo>
                  <a:lnTo>
                    <a:pt x="2323" y="8851"/>
                  </a:lnTo>
                  <a:lnTo>
                    <a:pt x="2511" y="8977"/>
                  </a:lnTo>
                  <a:lnTo>
                    <a:pt x="2532" y="9039"/>
                  </a:lnTo>
                  <a:lnTo>
                    <a:pt x="2553" y="9207"/>
                  </a:lnTo>
                  <a:lnTo>
                    <a:pt x="2616" y="9270"/>
                  </a:lnTo>
                  <a:lnTo>
                    <a:pt x="2720" y="9291"/>
                  </a:lnTo>
                  <a:lnTo>
                    <a:pt x="2762" y="9353"/>
                  </a:lnTo>
                  <a:lnTo>
                    <a:pt x="2741" y="9458"/>
                  </a:lnTo>
                  <a:lnTo>
                    <a:pt x="2783" y="9521"/>
                  </a:lnTo>
                  <a:lnTo>
                    <a:pt x="2992" y="9563"/>
                  </a:lnTo>
                  <a:lnTo>
                    <a:pt x="3076" y="9625"/>
                  </a:lnTo>
                  <a:lnTo>
                    <a:pt x="3076" y="9688"/>
                  </a:lnTo>
                  <a:lnTo>
                    <a:pt x="3076" y="9876"/>
                  </a:lnTo>
                  <a:lnTo>
                    <a:pt x="3160" y="9918"/>
                  </a:lnTo>
                  <a:lnTo>
                    <a:pt x="3264" y="9981"/>
                  </a:lnTo>
                  <a:lnTo>
                    <a:pt x="3306" y="10044"/>
                  </a:lnTo>
                  <a:lnTo>
                    <a:pt x="3306" y="10086"/>
                  </a:lnTo>
                  <a:lnTo>
                    <a:pt x="3348" y="10190"/>
                  </a:lnTo>
                  <a:lnTo>
                    <a:pt x="3390" y="10232"/>
                  </a:lnTo>
                  <a:lnTo>
                    <a:pt x="3474" y="10253"/>
                  </a:lnTo>
                  <a:lnTo>
                    <a:pt x="3515" y="10337"/>
                  </a:lnTo>
                  <a:lnTo>
                    <a:pt x="3662" y="10420"/>
                  </a:lnTo>
                  <a:lnTo>
                    <a:pt x="3766" y="10462"/>
                  </a:lnTo>
                  <a:lnTo>
                    <a:pt x="3829" y="10441"/>
                  </a:lnTo>
                  <a:lnTo>
                    <a:pt x="3871" y="10399"/>
                  </a:lnTo>
                  <a:lnTo>
                    <a:pt x="3934" y="10337"/>
                  </a:lnTo>
                  <a:lnTo>
                    <a:pt x="4143" y="10337"/>
                  </a:lnTo>
                  <a:lnTo>
                    <a:pt x="4185" y="10399"/>
                  </a:lnTo>
                  <a:lnTo>
                    <a:pt x="4227" y="10399"/>
                  </a:lnTo>
                  <a:lnTo>
                    <a:pt x="4331" y="10337"/>
                  </a:lnTo>
                  <a:lnTo>
                    <a:pt x="4394" y="10295"/>
                  </a:lnTo>
                  <a:lnTo>
                    <a:pt x="4436" y="10211"/>
                  </a:lnTo>
                  <a:lnTo>
                    <a:pt x="4562" y="10211"/>
                  </a:lnTo>
                  <a:lnTo>
                    <a:pt x="4624" y="10232"/>
                  </a:lnTo>
                  <a:lnTo>
                    <a:pt x="4708" y="10399"/>
                  </a:lnTo>
                  <a:lnTo>
                    <a:pt x="4750" y="10462"/>
                  </a:lnTo>
                  <a:lnTo>
                    <a:pt x="4813" y="10525"/>
                  </a:lnTo>
                  <a:lnTo>
                    <a:pt x="4938" y="10567"/>
                  </a:lnTo>
                  <a:lnTo>
                    <a:pt x="5022" y="10630"/>
                  </a:lnTo>
                  <a:lnTo>
                    <a:pt x="5043" y="10734"/>
                  </a:lnTo>
                  <a:lnTo>
                    <a:pt x="5085" y="10755"/>
                  </a:lnTo>
                  <a:lnTo>
                    <a:pt x="5126" y="10839"/>
                  </a:lnTo>
                  <a:lnTo>
                    <a:pt x="5126" y="10923"/>
                  </a:lnTo>
                  <a:lnTo>
                    <a:pt x="5294" y="10923"/>
                  </a:lnTo>
                  <a:lnTo>
                    <a:pt x="5336" y="10944"/>
                  </a:lnTo>
                  <a:lnTo>
                    <a:pt x="5357" y="10923"/>
                  </a:lnTo>
                  <a:lnTo>
                    <a:pt x="5336" y="10860"/>
                  </a:lnTo>
                  <a:lnTo>
                    <a:pt x="5336" y="10776"/>
                  </a:lnTo>
                  <a:lnTo>
                    <a:pt x="5398" y="10713"/>
                  </a:lnTo>
                  <a:lnTo>
                    <a:pt x="5503" y="10755"/>
                  </a:lnTo>
                  <a:lnTo>
                    <a:pt x="5671" y="10818"/>
                  </a:lnTo>
                  <a:lnTo>
                    <a:pt x="5754" y="10776"/>
                  </a:lnTo>
                  <a:lnTo>
                    <a:pt x="5859" y="10818"/>
                  </a:lnTo>
                  <a:lnTo>
                    <a:pt x="5859" y="10923"/>
                  </a:lnTo>
                  <a:lnTo>
                    <a:pt x="6005" y="10944"/>
                  </a:lnTo>
                  <a:lnTo>
                    <a:pt x="6068" y="10944"/>
                  </a:lnTo>
                  <a:lnTo>
                    <a:pt x="6068" y="10860"/>
                  </a:lnTo>
                  <a:lnTo>
                    <a:pt x="6131" y="10776"/>
                  </a:lnTo>
                  <a:lnTo>
                    <a:pt x="6215" y="10818"/>
                  </a:lnTo>
                  <a:lnTo>
                    <a:pt x="6235" y="10776"/>
                  </a:lnTo>
                  <a:lnTo>
                    <a:pt x="6340" y="10776"/>
                  </a:lnTo>
                  <a:lnTo>
                    <a:pt x="6487" y="10734"/>
                  </a:lnTo>
                  <a:lnTo>
                    <a:pt x="6696" y="10713"/>
                  </a:lnTo>
                  <a:lnTo>
                    <a:pt x="6821" y="10755"/>
                  </a:lnTo>
                  <a:lnTo>
                    <a:pt x="6947" y="10713"/>
                  </a:lnTo>
                  <a:lnTo>
                    <a:pt x="7010" y="10609"/>
                  </a:lnTo>
                  <a:lnTo>
                    <a:pt x="7135" y="10525"/>
                  </a:lnTo>
                  <a:lnTo>
                    <a:pt x="7219" y="10420"/>
                  </a:lnTo>
                  <a:lnTo>
                    <a:pt x="7261" y="10399"/>
                  </a:lnTo>
                  <a:lnTo>
                    <a:pt x="7323" y="10337"/>
                  </a:lnTo>
                  <a:lnTo>
                    <a:pt x="7428" y="10232"/>
                  </a:lnTo>
                  <a:lnTo>
                    <a:pt x="7470" y="10232"/>
                  </a:lnTo>
                  <a:lnTo>
                    <a:pt x="7595" y="10023"/>
                  </a:lnTo>
                  <a:lnTo>
                    <a:pt x="7805" y="9814"/>
                  </a:lnTo>
                  <a:lnTo>
                    <a:pt x="7763" y="9604"/>
                  </a:lnTo>
                  <a:lnTo>
                    <a:pt x="7700" y="9563"/>
                  </a:lnTo>
                  <a:lnTo>
                    <a:pt x="7679" y="9353"/>
                  </a:lnTo>
                  <a:lnTo>
                    <a:pt x="7595" y="9249"/>
                  </a:lnTo>
                  <a:lnTo>
                    <a:pt x="7554" y="9144"/>
                  </a:lnTo>
                  <a:lnTo>
                    <a:pt x="7470" y="9060"/>
                  </a:lnTo>
                  <a:lnTo>
                    <a:pt x="7365" y="9060"/>
                  </a:lnTo>
                  <a:lnTo>
                    <a:pt x="7323" y="8998"/>
                  </a:lnTo>
                  <a:lnTo>
                    <a:pt x="7323" y="8956"/>
                  </a:lnTo>
                  <a:lnTo>
                    <a:pt x="7219" y="8893"/>
                  </a:lnTo>
                  <a:lnTo>
                    <a:pt x="7114" y="8726"/>
                  </a:lnTo>
                  <a:lnTo>
                    <a:pt x="7072" y="8684"/>
                  </a:lnTo>
                  <a:lnTo>
                    <a:pt x="7051" y="8621"/>
                  </a:lnTo>
                  <a:lnTo>
                    <a:pt x="6947" y="8516"/>
                  </a:lnTo>
                  <a:lnTo>
                    <a:pt x="6905" y="8433"/>
                  </a:lnTo>
                  <a:lnTo>
                    <a:pt x="6633" y="8433"/>
                  </a:lnTo>
                  <a:lnTo>
                    <a:pt x="6549" y="8412"/>
                  </a:lnTo>
                  <a:lnTo>
                    <a:pt x="6507" y="8328"/>
                  </a:lnTo>
                  <a:lnTo>
                    <a:pt x="6591" y="8203"/>
                  </a:lnTo>
                  <a:lnTo>
                    <a:pt x="6654" y="8161"/>
                  </a:lnTo>
                  <a:lnTo>
                    <a:pt x="6654" y="8035"/>
                  </a:lnTo>
                  <a:lnTo>
                    <a:pt x="6800" y="8056"/>
                  </a:lnTo>
                  <a:lnTo>
                    <a:pt x="6905" y="8035"/>
                  </a:lnTo>
                  <a:lnTo>
                    <a:pt x="6947" y="8098"/>
                  </a:lnTo>
                  <a:lnTo>
                    <a:pt x="7031" y="8098"/>
                  </a:lnTo>
                  <a:lnTo>
                    <a:pt x="7051" y="8035"/>
                  </a:lnTo>
                  <a:lnTo>
                    <a:pt x="7135" y="7951"/>
                  </a:lnTo>
                  <a:lnTo>
                    <a:pt x="7156" y="7700"/>
                  </a:lnTo>
                  <a:lnTo>
                    <a:pt x="7135" y="7470"/>
                  </a:lnTo>
                  <a:lnTo>
                    <a:pt x="7177" y="7303"/>
                  </a:lnTo>
                  <a:lnTo>
                    <a:pt x="7282" y="7177"/>
                  </a:lnTo>
                  <a:lnTo>
                    <a:pt x="7282" y="7052"/>
                  </a:lnTo>
                  <a:lnTo>
                    <a:pt x="7240" y="6968"/>
                  </a:lnTo>
                  <a:lnTo>
                    <a:pt x="7282" y="6863"/>
                  </a:lnTo>
                  <a:lnTo>
                    <a:pt x="7386" y="6696"/>
                  </a:lnTo>
                  <a:lnTo>
                    <a:pt x="7428" y="6633"/>
                  </a:lnTo>
                  <a:lnTo>
                    <a:pt x="7470" y="6633"/>
                  </a:lnTo>
                  <a:lnTo>
                    <a:pt x="7533" y="6654"/>
                  </a:lnTo>
                  <a:lnTo>
                    <a:pt x="7658" y="6215"/>
                  </a:lnTo>
                  <a:lnTo>
                    <a:pt x="7700" y="6026"/>
                  </a:lnTo>
                  <a:lnTo>
                    <a:pt x="7888" y="5922"/>
                  </a:lnTo>
                  <a:lnTo>
                    <a:pt x="7888" y="5817"/>
                  </a:lnTo>
                  <a:lnTo>
                    <a:pt x="8014" y="5608"/>
                  </a:lnTo>
                  <a:lnTo>
                    <a:pt x="8056" y="5503"/>
                  </a:lnTo>
                  <a:lnTo>
                    <a:pt x="8160" y="5482"/>
                  </a:lnTo>
                  <a:lnTo>
                    <a:pt x="8202" y="5482"/>
                  </a:lnTo>
                  <a:lnTo>
                    <a:pt x="8265" y="5294"/>
                  </a:lnTo>
                  <a:lnTo>
                    <a:pt x="8412" y="5022"/>
                  </a:lnTo>
                  <a:lnTo>
                    <a:pt x="8412" y="4813"/>
                  </a:lnTo>
                  <a:lnTo>
                    <a:pt x="8495" y="4666"/>
                  </a:lnTo>
                  <a:lnTo>
                    <a:pt x="8516" y="4604"/>
                  </a:lnTo>
                  <a:lnTo>
                    <a:pt x="8495" y="4604"/>
                  </a:lnTo>
                  <a:lnTo>
                    <a:pt x="8474" y="4478"/>
                  </a:lnTo>
                  <a:lnTo>
                    <a:pt x="8391" y="4248"/>
                  </a:lnTo>
                  <a:lnTo>
                    <a:pt x="8412" y="4122"/>
                  </a:lnTo>
                  <a:lnTo>
                    <a:pt x="8474" y="4039"/>
                  </a:lnTo>
                  <a:lnTo>
                    <a:pt x="8474" y="3934"/>
                  </a:lnTo>
                  <a:lnTo>
                    <a:pt x="8579" y="3809"/>
                  </a:lnTo>
                  <a:lnTo>
                    <a:pt x="8621" y="3516"/>
                  </a:lnTo>
                  <a:lnTo>
                    <a:pt x="8684" y="3327"/>
                  </a:lnTo>
                  <a:lnTo>
                    <a:pt x="8725" y="3285"/>
                  </a:lnTo>
                  <a:lnTo>
                    <a:pt x="8684" y="3223"/>
                  </a:lnTo>
                  <a:lnTo>
                    <a:pt x="8621" y="3202"/>
                  </a:lnTo>
                  <a:lnTo>
                    <a:pt x="8704" y="3076"/>
                  </a:lnTo>
                  <a:lnTo>
                    <a:pt x="8704" y="2930"/>
                  </a:lnTo>
                  <a:lnTo>
                    <a:pt x="8746" y="2909"/>
                  </a:lnTo>
                  <a:lnTo>
                    <a:pt x="8914" y="2909"/>
                  </a:lnTo>
                  <a:lnTo>
                    <a:pt x="8914" y="2825"/>
                  </a:lnTo>
                  <a:lnTo>
                    <a:pt x="8914" y="2783"/>
                  </a:lnTo>
                  <a:lnTo>
                    <a:pt x="8914" y="2721"/>
                  </a:lnTo>
                  <a:lnTo>
                    <a:pt x="9018" y="2700"/>
                  </a:lnTo>
                  <a:lnTo>
                    <a:pt x="9102" y="2658"/>
                  </a:lnTo>
                  <a:lnTo>
                    <a:pt x="9228" y="2658"/>
                  </a:lnTo>
                  <a:lnTo>
                    <a:pt x="9248" y="2574"/>
                  </a:lnTo>
                  <a:lnTo>
                    <a:pt x="9353" y="2553"/>
                  </a:lnTo>
                  <a:lnTo>
                    <a:pt x="9458" y="2490"/>
                  </a:lnTo>
                  <a:lnTo>
                    <a:pt x="9541" y="2386"/>
                  </a:lnTo>
                  <a:lnTo>
                    <a:pt x="9479" y="2386"/>
                  </a:lnTo>
                  <a:lnTo>
                    <a:pt x="9479" y="2302"/>
                  </a:lnTo>
                  <a:lnTo>
                    <a:pt x="9353" y="2239"/>
                  </a:lnTo>
                  <a:lnTo>
                    <a:pt x="9248" y="2239"/>
                  </a:lnTo>
                  <a:lnTo>
                    <a:pt x="9248" y="2135"/>
                  </a:lnTo>
                  <a:lnTo>
                    <a:pt x="8997" y="1946"/>
                  </a:lnTo>
                  <a:lnTo>
                    <a:pt x="8914" y="1946"/>
                  </a:lnTo>
                  <a:lnTo>
                    <a:pt x="8809" y="1737"/>
                  </a:lnTo>
                  <a:lnTo>
                    <a:pt x="8725" y="1507"/>
                  </a:lnTo>
                  <a:lnTo>
                    <a:pt x="8746" y="1256"/>
                  </a:lnTo>
                  <a:lnTo>
                    <a:pt x="8725" y="1047"/>
                  </a:lnTo>
                  <a:lnTo>
                    <a:pt x="8579" y="628"/>
                  </a:lnTo>
                  <a:lnTo>
                    <a:pt x="8579" y="524"/>
                  </a:lnTo>
                  <a:lnTo>
                    <a:pt x="8600" y="503"/>
                  </a:lnTo>
                  <a:lnTo>
                    <a:pt x="8621" y="565"/>
                  </a:lnTo>
                  <a:lnTo>
                    <a:pt x="8642" y="607"/>
                  </a:lnTo>
                  <a:lnTo>
                    <a:pt x="8684" y="607"/>
                  </a:lnTo>
                  <a:lnTo>
                    <a:pt x="8684" y="565"/>
                  </a:lnTo>
                  <a:lnTo>
                    <a:pt x="8579" y="419"/>
                  </a:lnTo>
                  <a:lnTo>
                    <a:pt x="8516" y="252"/>
                  </a:lnTo>
                  <a:lnTo>
                    <a:pt x="8495" y="210"/>
                  </a:lnTo>
                  <a:lnTo>
                    <a:pt x="8495" y="189"/>
                  </a:lnTo>
                  <a:lnTo>
                    <a:pt x="8495" y="168"/>
                  </a:lnTo>
                  <a:lnTo>
                    <a:pt x="8495" y="147"/>
                  </a:lnTo>
                  <a:lnTo>
                    <a:pt x="8474" y="84"/>
                  </a:lnTo>
                  <a:lnTo>
                    <a:pt x="8495" y="42"/>
                  </a:lnTo>
                  <a:lnTo>
                    <a:pt x="849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" name="Google Shape;918;p34"/>
            <p:cNvSpPr/>
            <p:nvPr/>
          </p:nvSpPr>
          <p:spPr>
            <a:xfrm>
              <a:off x="3973815" y="3045871"/>
              <a:ext cx="104655" cy="75923"/>
            </a:xfrm>
            <a:custGeom>
              <a:avLst/>
              <a:gdLst/>
              <a:ahLst/>
              <a:cxnLst/>
              <a:rect l="l" t="t" r="r" b="b"/>
              <a:pathLst>
                <a:path w="8789" h="6676" extrusionOk="0">
                  <a:moveTo>
                    <a:pt x="2511" y="1"/>
                  </a:moveTo>
                  <a:lnTo>
                    <a:pt x="2344" y="336"/>
                  </a:lnTo>
                  <a:lnTo>
                    <a:pt x="2239" y="336"/>
                  </a:lnTo>
                  <a:lnTo>
                    <a:pt x="2218" y="419"/>
                  </a:lnTo>
                  <a:lnTo>
                    <a:pt x="2093" y="398"/>
                  </a:lnTo>
                  <a:lnTo>
                    <a:pt x="2009" y="357"/>
                  </a:lnTo>
                  <a:lnTo>
                    <a:pt x="1988" y="419"/>
                  </a:lnTo>
                  <a:lnTo>
                    <a:pt x="1905" y="566"/>
                  </a:lnTo>
                  <a:lnTo>
                    <a:pt x="1905" y="775"/>
                  </a:lnTo>
                  <a:lnTo>
                    <a:pt x="1758" y="1047"/>
                  </a:lnTo>
                  <a:lnTo>
                    <a:pt x="1695" y="1235"/>
                  </a:lnTo>
                  <a:lnTo>
                    <a:pt x="1653" y="1235"/>
                  </a:lnTo>
                  <a:lnTo>
                    <a:pt x="1549" y="1256"/>
                  </a:lnTo>
                  <a:lnTo>
                    <a:pt x="1507" y="1361"/>
                  </a:lnTo>
                  <a:lnTo>
                    <a:pt x="1381" y="1570"/>
                  </a:lnTo>
                  <a:lnTo>
                    <a:pt x="1381" y="1675"/>
                  </a:lnTo>
                  <a:lnTo>
                    <a:pt x="1193" y="1779"/>
                  </a:lnTo>
                  <a:lnTo>
                    <a:pt x="1151" y="1968"/>
                  </a:lnTo>
                  <a:lnTo>
                    <a:pt x="1026" y="2407"/>
                  </a:lnTo>
                  <a:lnTo>
                    <a:pt x="963" y="2386"/>
                  </a:lnTo>
                  <a:lnTo>
                    <a:pt x="921" y="2386"/>
                  </a:lnTo>
                  <a:lnTo>
                    <a:pt x="879" y="2449"/>
                  </a:lnTo>
                  <a:lnTo>
                    <a:pt x="775" y="2616"/>
                  </a:lnTo>
                  <a:lnTo>
                    <a:pt x="733" y="2721"/>
                  </a:lnTo>
                  <a:lnTo>
                    <a:pt x="775" y="2805"/>
                  </a:lnTo>
                  <a:lnTo>
                    <a:pt x="775" y="2930"/>
                  </a:lnTo>
                  <a:lnTo>
                    <a:pt x="670" y="3056"/>
                  </a:lnTo>
                  <a:lnTo>
                    <a:pt x="628" y="3223"/>
                  </a:lnTo>
                  <a:lnTo>
                    <a:pt x="649" y="3453"/>
                  </a:lnTo>
                  <a:lnTo>
                    <a:pt x="628" y="3704"/>
                  </a:lnTo>
                  <a:lnTo>
                    <a:pt x="544" y="3788"/>
                  </a:lnTo>
                  <a:lnTo>
                    <a:pt x="524" y="3851"/>
                  </a:lnTo>
                  <a:lnTo>
                    <a:pt x="440" y="3851"/>
                  </a:lnTo>
                  <a:lnTo>
                    <a:pt x="398" y="3788"/>
                  </a:lnTo>
                  <a:lnTo>
                    <a:pt x="293" y="3809"/>
                  </a:lnTo>
                  <a:lnTo>
                    <a:pt x="147" y="3788"/>
                  </a:lnTo>
                  <a:lnTo>
                    <a:pt x="147" y="3914"/>
                  </a:lnTo>
                  <a:lnTo>
                    <a:pt x="84" y="3956"/>
                  </a:lnTo>
                  <a:lnTo>
                    <a:pt x="0" y="4081"/>
                  </a:lnTo>
                  <a:lnTo>
                    <a:pt x="42" y="4165"/>
                  </a:lnTo>
                  <a:lnTo>
                    <a:pt x="126" y="4186"/>
                  </a:lnTo>
                  <a:lnTo>
                    <a:pt x="398" y="4186"/>
                  </a:lnTo>
                  <a:lnTo>
                    <a:pt x="440" y="4269"/>
                  </a:lnTo>
                  <a:lnTo>
                    <a:pt x="544" y="4374"/>
                  </a:lnTo>
                  <a:lnTo>
                    <a:pt x="565" y="4437"/>
                  </a:lnTo>
                  <a:lnTo>
                    <a:pt x="607" y="4479"/>
                  </a:lnTo>
                  <a:lnTo>
                    <a:pt x="712" y="4646"/>
                  </a:lnTo>
                  <a:lnTo>
                    <a:pt x="816" y="4709"/>
                  </a:lnTo>
                  <a:lnTo>
                    <a:pt x="816" y="4751"/>
                  </a:lnTo>
                  <a:lnTo>
                    <a:pt x="858" y="4813"/>
                  </a:lnTo>
                  <a:lnTo>
                    <a:pt x="963" y="4813"/>
                  </a:lnTo>
                  <a:lnTo>
                    <a:pt x="1047" y="4897"/>
                  </a:lnTo>
                  <a:lnTo>
                    <a:pt x="1088" y="5002"/>
                  </a:lnTo>
                  <a:lnTo>
                    <a:pt x="1172" y="5106"/>
                  </a:lnTo>
                  <a:lnTo>
                    <a:pt x="1193" y="5316"/>
                  </a:lnTo>
                  <a:lnTo>
                    <a:pt x="1256" y="5357"/>
                  </a:lnTo>
                  <a:lnTo>
                    <a:pt x="1298" y="5567"/>
                  </a:lnTo>
                  <a:lnTo>
                    <a:pt x="1340" y="5525"/>
                  </a:lnTo>
                  <a:lnTo>
                    <a:pt x="1402" y="5629"/>
                  </a:lnTo>
                  <a:lnTo>
                    <a:pt x="1507" y="5588"/>
                  </a:lnTo>
                  <a:lnTo>
                    <a:pt x="1612" y="5629"/>
                  </a:lnTo>
                  <a:lnTo>
                    <a:pt x="1612" y="5964"/>
                  </a:lnTo>
                  <a:lnTo>
                    <a:pt x="1695" y="6069"/>
                  </a:lnTo>
                  <a:lnTo>
                    <a:pt x="1821" y="6090"/>
                  </a:lnTo>
                  <a:lnTo>
                    <a:pt x="1967" y="6048"/>
                  </a:lnTo>
                  <a:lnTo>
                    <a:pt x="2093" y="6090"/>
                  </a:lnTo>
                  <a:lnTo>
                    <a:pt x="2386" y="6069"/>
                  </a:lnTo>
                  <a:lnTo>
                    <a:pt x="2490" y="6152"/>
                  </a:lnTo>
                  <a:lnTo>
                    <a:pt x="2721" y="6383"/>
                  </a:lnTo>
                  <a:lnTo>
                    <a:pt x="2867" y="6466"/>
                  </a:lnTo>
                  <a:lnTo>
                    <a:pt x="2951" y="6571"/>
                  </a:lnTo>
                  <a:lnTo>
                    <a:pt x="3055" y="6613"/>
                  </a:lnTo>
                  <a:lnTo>
                    <a:pt x="3244" y="6613"/>
                  </a:lnTo>
                  <a:lnTo>
                    <a:pt x="3369" y="6676"/>
                  </a:lnTo>
                  <a:lnTo>
                    <a:pt x="3537" y="6634"/>
                  </a:lnTo>
                  <a:lnTo>
                    <a:pt x="3641" y="6676"/>
                  </a:lnTo>
                  <a:lnTo>
                    <a:pt x="3850" y="6676"/>
                  </a:lnTo>
                  <a:lnTo>
                    <a:pt x="3997" y="6424"/>
                  </a:lnTo>
                  <a:lnTo>
                    <a:pt x="4060" y="6362"/>
                  </a:lnTo>
                  <a:lnTo>
                    <a:pt x="4164" y="6299"/>
                  </a:lnTo>
                  <a:lnTo>
                    <a:pt x="4269" y="6299"/>
                  </a:lnTo>
                  <a:lnTo>
                    <a:pt x="4311" y="6278"/>
                  </a:lnTo>
                  <a:lnTo>
                    <a:pt x="4583" y="6257"/>
                  </a:lnTo>
                  <a:lnTo>
                    <a:pt x="4645" y="6278"/>
                  </a:lnTo>
                  <a:lnTo>
                    <a:pt x="4729" y="6404"/>
                  </a:lnTo>
                  <a:lnTo>
                    <a:pt x="4834" y="6466"/>
                  </a:lnTo>
                  <a:lnTo>
                    <a:pt x="5043" y="6424"/>
                  </a:lnTo>
                  <a:lnTo>
                    <a:pt x="5210" y="6424"/>
                  </a:lnTo>
                  <a:lnTo>
                    <a:pt x="5252" y="6320"/>
                  </a:lnTo>
                  <a:lnTo>
                    <a:pt x="5441" y="6257"/>
                  </a:lnTo>
                  <a:lnTo>
                    <a:pt x="5629" y="6215"/>
                  </a:lnTo>
                  <a:lnTo>
                    <a:pt x="5775" y="6152"/>
                  </a:lnTo>
                  <a:lnTo>
                    <a:pt x="5880" y="6069"/>
                  </a:lnTo>
                  <a:lnTo>
                    <a:pt x="5943" y="5964"/>
                  </a:lnTo>
                  <a:lnTo>
                    <a:pt x="6068" y="5880"/>
                  </a:lnTo>
                  <a:lnTo>
                    <a:pt x="6173" y="5880"/>
                  </a:lnTo>
                  <a:lnTo>
                    <a:pt x="6278" y="5797"/>
                  </a:lnTo>
                  <a:lnTo>
                    <a:pt x="7010" y="5797"/>
                  </a:lnTo>
                  <a:lnTo>
                    <a:pt x="8788" y="4018"/>
                  </a:lnTo>
                  <a:lnTo>
                    <a:pt x="8056" y="4018"/>
                  </a:lnTo>
                  <a:lnTo>
                    <a:pt x="6361" y="3495"/>
                  </a:lnTo>
                  <a:lnTo>
                    <a:pt x="6215" y="3370"/>
                  </a:lnTo>
                  <a:lnTo>
                    <a:pt x="6006" y="3349"/>
                  </a:lnTo>
                  <a:lnTo>
                    <a:pt x="5943" y="3160"/>
                  </a:lnTo>
                  <a:lnTo>
                    <a:pt x="5964" y="3014"/>
                  </a:lnTo>
                  <a:lnTo>
                    <a:pt x="5796" y="2930"/>
                  </a:lnTo>
                  <a:lnTo>
                    <a:pt x="5692" y="2616"/>
                  </a:lnTo>
                  <a:lnTo>
                    <a:pt x="5650" y="2386"/>
                  </a:lnTo>
                  <a:lnTo>
                    <a:pt x="5692" y="2323"/>
                  </a:lnTo>
                  <a:lnTo>
                    <a:pt x="5587" y="2282"/>
                  </a:lnTo>
                  <a:lnTo>
                    <a:pt x="5441" y="2303"/>
                  </a:lnTo>
                  <a:lnTo>
                    <a:pt x="5315" y="2386"/>
                  </a:lnTo>
                  <a:lnTo>
                    <a:pt x="5106" y="2386"/>
                  </a:lnTo>
                  <a:lnTo>
                    <a:pt x="5022" y="2323"/>
                  </a:lnTo>
                  <a:lnTo>
                    <a:pt x="5127" y="2198"/>
                  </a:lnTo>
                  <a:lnTo>
                    <a:pt x="5127" y="2093"/>
                  </a:lnTo>
                  <a:lnTo>
                    <a:pt x="5169" y="1989"/>
                  </a:lnTo>
                  <a:lnTo>
                    <a:pt x="5169" y="1821"/>
                  </a:lnTo>
                  <a:lnTo>
                    <a:pt x="5210" y="1717"/>
                  </a:lnTo>
                  <a:lnTo>
                    <a:pt x="5252" y="1591"/>
                  </a:lnTo>
                  <a:lnTo>
                    <a:pt x="5357" y="1570"/>
                  </a:lnTo>
                  <a:lnTo>
                    <a:pt x="5210" y="1361"/>
                  </a:lnTo>
                  <a:lnTo>
                    <a:pt x="5127" y="1361"/>
                  </a:lnTo>
                  <a:lnTo>
                    <a:pt x="5106" y="1277"/>
                  </a:lnTo>
                  <a:lnTo>
                    <a:pt x="5064" y="1173"/>
                  </a:lnTo>
                  <a:lnTo>
                    <a:pt x="4959" y="1026"/>
                  </a:lnTo>
                  <a:lnTo>
                    <a:pt x="4855" y="984"/>
                  </a:lnTo>
                  <a:lnTo>
                    <a:pt x="4687" y="838"/>
                  </a:lnTo>
                  <a:lnTo>
                    <a:pt x="4541" y="733"/>
                  </a:lnTo>
                  <a:lnTo>
                    <a:pt x="4520" y="671"/>
                  </a:lnTo>
                  <a:lnTo>
                    <a:pt x="4415" y="671"/>
                  </a:lnTo>
                  <a:lnTo>
                    <a:pt x="4394" y="629"/>
                  </a:lnTo>
                  <a:lnTo>
                    <a:pt x="4227" y="629"/>
                  </a:lnTo>
                  <a:lnTo>
                    <a:pt x="4185" y="524"/>
                  </a:lnTo>
                  <a:lnTo>
                    <a:pt x="3976" y="336"/>
                  </a:lnTo>
                  <a:lnTo>
                    <a:pt x="3871" y="315"/>
                  </a:lnTo>
                  <a:lnTo>
                    <a:pt x="3788" y="231"/>
                  </a:lnTo>
                  <a:lnTo>
                    <a:pt x="3662" y="210"/>
                  </a:lnTo>
                  <a:lnTo>
                    <a:pt x="3578" y="231"/>
                  </a:lnTo>
                  <a:lnTo>
                    <a:pt x="3557" y="252"/>
                  </a:lnTo>
                  <a:lnTo>
                    <a:pt x="3369" y="106"/>
                  </a:lnTo>
                  <a:lnTo>
                    <a:pt x="3265" y="106"/>
                  </a:lnTo>
                  <a:lnTo>
                    <a:pt x="3223" y="147"/>
                  </a:lnTo>
                  <a:lnTo>
                    <a:pt x="3139" y="85"/>
                  </a:lnTo>
                  <a:lnTo>
                    <a:pt x="3034" y="106"/>
                  </a:lnTo>
                  <a:lnTo>
                    <a:pt x="2930" y="189"/>
                  </a:lnTo>
                  <a:lnTo>
                    <a:pt x="2825" y="189"/>
                  </a:lnTo>
                  <a:lnTo>
                    <a:pt x="2595" y="106"/>
                  </a:lnTo>
                  <a:lnTo>
                    <a:pt x="2553" y="43"/>
                  </a:lnTo>
                  <a:lnTo>
                    <a:pt x="251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" name="Google Shape;919;p34"/>
            <p:cNvSpPr/>
            <p:nvPr/>
          </p:nvSpPr>
          <p:spPr>
            <a:xfrm>
              <a:off x="3996236" y="3024695"/>
              <a:ext cx="46106" cy="39042"/>
            </a:xfrm>
            <a:custGeom>
              <a:avLst/>
              <a:gdLst/>
              <a:ahLst/>
              <a:cxnLst/>
              <a:rect l="l" t="t" r="r" b="b"/>
              <a:pathLst>
                <a:path w="3872" h="3433" extrusionOk="0">
                  <a:moveTo>
                    <a:pt x="1151" y="1"/>
                  </a:moveTo>
                  <a:lnTo>
                    <a:pt x="1068" y="105"/>
                  </a:lnTo>
                  <a:lnTo>
                    <a:pt x="963" y="168"/>
                  </a:lnTo>
                  <a:lnTo>
                    <a:pt x="858" y="189"/>
                  </a:lnTo>
                  <a:lnTo>
                    <a:pt x="838" y="273"/>
                  </a:lnTo>
                  <a:lnTo>
                    <a:pt x="712" y="273"/>
                  </a:lnTo>
                  <a:lnTo>
                    <a:pt x="628" y="315"/>
                  </a:lnTo>
                  <a:lnTo>
                    <a:pt x="524" y="336"/>
                  </a:lnTo>
                  <a:lnTo>
                    <a:pt x="524" y="398"/>
                  </a:lnTo>
                  <a:lnTo>
                    <a:pt x="524" y="440"/>
                  </a:lnTo>
                  <a:lnTo>
                    <a:pt x="524" y="524"/>
                  </a:lnTo>
                  <a:lnTo>
                    <a:pt x="356" y="524"/>
                  </a:lnTo>
                  <a:lnTo>
                    <a:pt x="314" y="545"/>
                  </a:lnTo>
                  <a:lnTo>
                    <a:pt x="314" y="691"/>
                  </a:lnTo>
                  <a:lnTo>
                    <a:pt x="231" y="817"/>
                  </a:lnTo>
                  <a:lnTo>
                    <a:pt x="294" y="838"/>
                  </a:lnTo>
                  <a:lnTo>
                    <a:pt x="335" y="900"/>
                  </a:lnTo>
                  <a:lnTo>
                    <a:pt x="294" y="942"/>
                  </a:lnTo>
                  <a:lnTo>
                    <a:pt x="231" y="1131"/>
                  </a:lnTo>
                  <a:lnTo>
                    <a:pt x="189" y="1424"/>
                  </a:lnTo>
                  <a:lnTo>
                    <a:pt x="84" y="1549"/>
                  </a:lnTo>
                  <a:lnTo>
                    <a:pt x="84" y="1654"/>
                  </a:lnTo>
                  <a:lnTo>
                    <a:pt x="22" y="1737"/>
                  </a:lnTo>
                  <a:lnTo>
                    <a:pt x="1" y="1863"/>
                  </a:lnTo>
                  <a:lnTo>
                    <a:pt x="84" y="2093"/>
                  </a:lnTo>
                  <a:lnTo>
                    <a:pt x="105" y="2219"/>
                  </a:lnTo>
                  <a:lnTo>
                    <a:pt x="126" y="2219"/>
                  </a:lnTo>
                  <a:lnTo>
                    <a:pt x="210" y="2260"/>
                  </a:lnTo>
                  <a:lnTo>
                    <a:pt x="335" y="2281"/>
                  </a:lnTo>
                  <a:lnTo>
                    <a:pt x="356" y="2198"/>
                  </a:lnTo>
                  <a:lnTo>
                    <a:pt x="461" y="2198"/>
                  </a:lnTo>
                  <a:lnTo>
                    <a:pt x="628" y="1863"/>
                  </a:lnTo>
                  <a:lnTo>
                    <a:pt x="670" y="1905"/>
                  </a:lnTo>
                  <a:lnTo>
                    <a:pt x="712" y="1968"/>
                  </a:lnTo>
                  <a:lnTo>
                    <a:pt x="942" y="2051"/>
                  </a:lnTo>
                  <a:lnTo>
                    <a:pt x="1047" y="2051"/>
                  </a:lnTo>
                  <a:lnTo>
                    <a:pt x="1151" y="1968"/>
                  </a:lnTo>
                  <a:lnTo>
                    <a:pt x="1256" y="1947"/>
                  </a:lnTo>
                  <a:lnTo>
                    <a:pt x="1340" y="2009"/>
                  </a:lnTo>
                  <a:lnTo>
                    <a:pt x="1382" y="1968"/>
                  </a:lnTo>
                  <a:lnTo>
                    <a:pt x="1486" y="1968"/>
                  </a:lnTo>
                  <a:lnTo>
                    <a:pt x="1674" y="2114"/>
                  </a:lnTo>
                  <a:lnTo>
                    <a:pt x="1695" y="2093"/>
                  </a:lnTo>
                  <a:lnTo>
                    <a:pt x="1779" y="2072"/>
                  </a:lnTo>
                  <a:lnTo>
                    <a:pt x="1905" y="2093"/>
                  </a:lnTo>
                  <a:lnTo>
                    <a:pt x="1988" y="2177"/>
                  </a:lnTo>
                  <a:lnTo>
                    <a:pt x="2093" y="2198"/>
                  </a:lnTo>
                  <a:lnTo>
                    <a:pt x="2302" y="2386"/>
                  </a:lnTo>
                  <a:lnTo>
                    <a:pt x="2344" y="2491"/>
                  </a:lnTo>
                  <a:lnTo>
                    <a:pt x="2511" y="2491"/>
                  </a:lnTo>
                  <a:lnTo>
                    <a:pt x="2532" y="2533"/>
                  </a:lnTo>
                  <a:lnTo>
                    <a:pt x="2637" y="2533"/>
                  </a:lnTo>
                  <a:lnTo>
                    <a:pt x="2658" y="2595"/>
                  </a:lnTo>
                  <a:lnTo>
                    <a:pt x="2804" y="2700"/>
                  </a:lnTo>
                  <a:lnTo>
                    <a:pt x="2972" y="2846"/>
                  </a:lnTo>
                  <a:lnTo>
                    <a:pt x="3076" y="2888"/>
                  </a:lnTo>
                  <a:lnTo>
                    <a:pt x="3181" y="3035"/>
                  </a:lnTo>
                  <a:lnTo>
                    <a:pt x="3223" y="3139"/>
                  </a:lnTo>
                  <a:lnTo>
                    <a:pt x="3244" y="3223"/>
                  </a:lnTo>
                  <a:lnTo>
                    <a:pt x="3327" y="3223"/>
                  </a:lnTo>
                  <a:lnTo>
                    <a:pt x="3474" y="3432"/>
                  </a:lnTo>
                  <a:lnTo>
                    <a:pt x="3599" y="3369"/>
                  </a:lnTo>
                  <a:lnTo>
                    <a:pt x="3662" y="3328"/>
                  </a:lnTo>
                  <a:lnTo>
                    <a:pt x="3746" y="3307"/>
                  </a:lnTo>
                  <a:lnTo>
                    <a:pt x="3871" y="3202"/>
                  </a:lnTo>
                  <a:lnTo>
                    <a:pt x="3809" y="3160"/>
                  </a:lnTo>
                  <a:lnTo>
                    <a:pt x="3809" y="3139"/>
                  </a:lnTo>
                  <a:lnTo>
                    <a:pt x="3767" y="3202"/>
                  </a:lnTo>
                  <a:lnTo>
                    <a:pt x="3683" y="3139"/>
                  </a:lnTo>
                  <a:lnTo>
                    <a:pt x="3641" y="3139"/>
                  </a:lnTo>
                  <a:lnTo>
                    <a:pt x="3579" y="3035"/>
                  </a:lnTo>
                  <a:lnTo>
                    <a:pt x="3599" y="3014"/>
                  </a:lnTo>
                  <a:lnTo>
                    <a:pt x="3537" y="2909"/>
                  </a:lnTo>
                  <a:lnTo>
                    <a:pt x="3453" y="2888"/>
                  </a:lnTo>
                  <a:lnTo>
                    <a:pt x="3348" y="2637"/>
                  </a:lnTo>
                  <a:lnTo>
                    <a:pt x="3327" y="2595"/>
                  </a:lnTo>
                  <a:lnTo>
                    <a:pt x="3327" y="2616"/>
                  </a:lnTo>
                  <a:lnTo>
                    <a:pt x="3265" y="2616"/>
                  </a:lnTo>
                  <a:lnTo>
                    <a:pt x="3181" y="2512"/>
                  </a:lnTo>
                  <a:lnTo>
                    <a:pt x="3055" y="2470"/>
                  </a:lnTo>
                  <a:lnTo>
                    <a:pt x="2972" y="2323"/>
                  </a:lnTo>
                  <a:lnTo>
                    <a:pt x="2804" y="2093"/>
                  </a:lnTo>
                  <a:lnTo>
                    <a:pt x="2742" y="2051"/>
                  </a:lnTo>
                  <a:lnTo>
                    <a:pt x="2595" y="2009"/>
                  </a:lnTo>
                  <a:lnTo>
                    <a:pt x="2532" y="1947"/>
                  </a:lnTo>
                  <a:lnTo>
                    <a:pt x="2428" y="1800"/>
                  </a:lnTo>
                  <a:lnTo>
                    <a:pt x="2344" y="1842"/>
                  </a:lnTo>
                  <a:lnTo>
                    <a:pt x="2218" y="1842"/>
                  </a:lnTo>
                  <a:lnTo>
                    <a:pt x="2177" y="1863"/>
                  </a:lnTo>
                  <a:lnTo>
                    <a:pt x="2114" y="1800"/>
                  </a:lnTo>
                  <a:lnTo>
                    <a:pt x="2009" y="1654"/>
                  </a:lnTo>
                  <a:lnTo>
                    <a:pt x="2072" y="1633"/>
                  </a:lnTo>
                  <a:lnTo>
                    <a:pt x="1967" y="1465"/>
                  </a:lnTo>
                  <a:lnTo>
                    <a:pt x="1905" y="1486"/>
                  </a:lnTo>
                  <a:lnTo>
                    <a:pt x="1905" y="1591"/>
                  </a:lnTo>
                  <a:lnTo>
                    <a:pt x="1926" y="1591"/>
                  </a:lnTo>
                  <a:lnTo>
                    <a:pt x="1926" y="1758"/>
                  </a:lnTo>
                  <a:lnTo>
                    <a:pt x="1821" y="1737"/>
                  </a:lnTo>
                  <a:lnTo>
                    <a:pt x="1800" y="1549"/>
                  </a:lnTo>
                  <a:lnTo>
                    <a:pt x="1758" y="1444"/>
                  </a:lnTo>
                  <a:lnTo>
                    <a:pt x="1674" y="1424"/>
                  </a:lnTo>
                  <a:lnTo>
                    <a:pt x="1674" y="1361"/>
                  </a:lnTo>
                  <a:lnTo>
                    <a:pt x="1654" y="1214"/>
                  </a:lnTo>
                  <a:lnTo>
                    <a:pt x="1591" y="1172"/>
                  </a:lnTo>
                  <a:lnTo>
                    <a:pt x="1507" y="754"/>
                  </a:lnTo>
                  <a:lnTo>
                    <a:pt x="1277" y="126"/>
                  </a:lnTo>
                  <a:lnTo>
                    <a:pt x="11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" name="Google Shape;920;p34"/>
            <p:cNvSpPr/>
            <p:nvPr/>
          </p:nvSpPr>
          <p:spPr>
            <a:xfrm>
              <a:off x="4033614" y="3061110"/>
              <a:ext cx="10467" cy="11907"/>
            </a:xfrm>
            <a:custGeom>
              <a:avLst/>
              <a:gdLst/>
              <a:ahLst/>
              <a:cxnLst/>
              <a:rect l="l" t="t" r="r" b="b"/>
              <a:pathLst>
                <a:path w="879" h="1047" extrusionOk="0">
                  <a:moveTo>
                    <a:pt x="732" y="0"/>
                  </a:moveTo>
                  <a:lnTo>
                    <a:pt x="607" y="105"/>
                  </a:lnTo>
                  <a:lnTo>
                    <a:pt x="523" y="126"/>
                  </a:lnTo>
                  <a:lnTo>
                    <a:pt x="460" y="167"/>
                  </a:lnTo>
                  <a:lnTo>
                    <a:pt x="230" y="251"/>
                  </a:lnTo>
                  <a:lnTo>
                    <a:pt x="188" y="377"/>
                  </a:lnTo>
                  <a:lnTo>
                    <a:pt x="147" y="481"/>
                  </a:lnTo>
                  <a:lnTo>
                    <a:pt x="147" y="649"/>
                  </a:lnTo>
                  <a:lnTo>
                    <a:pt x="105" y="753"/>
                  </a:lnTo>
                  <a:lnTo>
                    <a:pt x="105" y="858"/>
                  </a:lnTo>
                  <a:lnTo>
                    <a:pt x="0" y="983"/>
                  </a:lnTo>
                  <a:lnTo>
                    <a:pt x="84" y="1046"/>
                  </a:lnTo>
                  <a:lnTo>
                    <a:pt x="293" y="1046"/>
                  </a:lnTo>
                  <a:lnTo>
                    <a:pt x="419" y="963"/>
                  </a:lnTo>
                  <a:lnTo>
                    <a:pt x="565" y="942"/>
                  </a:lnTo>
                  <a:lnTo>
                    <a:pt x="670" y="983"/>
                  </a:lnTo>
                  <a:lnTo>
                    <a:pt x="670" y="963"/>
                  </a:lnTo>
                  <a:lnTo>
                    <a:pt x="837" y="732"/>
                  </a:lnTo>
                  <a:lnTo>
                    <a:pt x="816" y="670"/>
                  </a:lnTo>
                  <a:lnTo>
                    <a:pt x="649" y="670"/>
                  </a:lnTo>
                  <a:lnTo>
                    <a:pt x="565" y="732"/>
                  </a:lnTo>
                  <a:lnTo>
                    <a:pt x="523" y="691"/>
                  </a:lnTo>
                  <a:lnTo>
                    <a:pt x="460" y="628"/>
                  </a:lnTo>
                  <a:lnTo>
                    <a:pt x="565" y="628"/>
                  </a:lnTo>
                  <a:lnTo>
                    <a:pt x="649" y="544"/>
                  </a:lnTo>
                  <a:lnTo>
                    <a:pt x="732" y="544"/>
                  </a:lnTo>
                  <a:lnTo>
                    <a:pt x="837" y="419"/>
                  </a:lnTo>
                  <a:lnTo>
                    <a:pt x="879" y="377"/>
                  </a:lnTo>
                  <a:lnTo>
                    <a:pt x="858" y="230"/>
                  </a:lnTo>
                  <a:lnTo>
                    <a:pt x="879" y="147"/>
                  </a:lnTo>
                  <a:lnTo>
                    <a:pt x="858" y="147"/>
                  </a:lnTo>
                  <a:lnTo>
                    <a:pt x="732" y="21"/>
                  </a:lnTo>
                  <a:lnTo>
                    <a:pt x="73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1" name="Google Shape;921;p34"/>
            <p:cNvSpPr/>
            <p:nvPr/>
          </p:nvSpPr>
          <p:spPr>
            <a:xfrm>
              <a:off x="4029125" y="3065864"/>
              <a:ext cx="70516" cy="89240"/>
            </a:xfrm>
            <a:custGeom>
              <a:avLst/>
              <a:gdLst/>
              <a:ahLst/>
              <a:cxnLst/>
              <a:rect l="l" t="t" r="r" b="b"/>
              <a:pathLst>
                <a:path w="5922" h="7847" extrusionOk="0">
                  <a:moveTo>
                    <a:pt x="5587" y="1"/>
                  </a:moveTo>
                  <a:lnTo>
                    <a:pt x="5587" y="21"/>
                  </a:lnTo>
                  <a:lnTo>
                    <a:pt x="5545" y="21"/>
                  </a:lnTo>
                  <a:lnTo>
                    <a:pt x="5482" y="105"/>
                  </a:lnTo>
                  <a:lnTo>
                    <a:pt x="5441" y="210"/>
                  </a:lnTo>
                  <a:lnTo>
                    <a:pt x="5420" y="168"/>
                  </a:lnTo>
                  <a:lnTo>
                    <a:pt x="5315" y="273"/>
                  </a:lnTo>
                  <a:lnTo>
                    <a:pt x="5127" y="314"/>
                  </a:lnTo>
                  <a:lnTo>
                    <a:pt x="5127" y="335"/>
                  </a:lnTo>
                  <a:lnTo>
                    <a:pt x="5085" y="314"/>
                  </a:lnTo>
                  <a:lnTo>
                    <a:pt x="4897" y="335"/>
                  </a:lnTo>
                  <a:lnTo>
                    <a:pt x="4792" y="419"/>
                  </a:lnTo>
                  <a:lnTo>
                    <a:pt x="4499" y="461"/>
                  </a:lnTo>
                  <a:lnTo>
                    <a:pt x="4457" y="461"/>
                  </a:lnTo>
                  <a:lnTo>
                    <a:pt x="4394" y="440"/>
                  </a:lnTo>
                  <a:lnTo>
                    <a:pt x="4227" y="440"/>
                  </a:lnTo>
                  <a:lnTo>
                    <a:pt x="4060" y="524"/>
                  </a:lnTo>
                  <a:lnTo>
                    <a:pt x="3913" y="524"/>
                  </a:lnTo>
                  <a:lnTo>
                    <a:pt x="3830" y="545"/>
                  </a:lnTo>
                  <a:lnTo>
                    <a:pt x="3704" y="482"/>
                  </a:lnTo>
                  <a:lnTo>
                    <a:pt x="3599" y="524"/>
                  </a:lnTo>
                  <a:lnTo>
                    <a:pt x="3244" y="733"/>
                  </a:lnTo>
                  <a:lnTo>
                    <a:pt x="3076" y="754"/>
                  </a:lnTo>
                  <a:lnTo>
                    <a:pt x="2972" y="691"/>
                  </a:lnTo>
                  <a:lnTo>
                    <a:pt x="2909" y="733"/>
                  </a:lnTo>
                  <a:lnTo>
                    <a:pt x="2762" y="733"/>
                  </a:lnTo>
                  <a:lnTo>
                    <a:pt x="2700" y="691"/>
                  </a:lnTo>
                  <a:lnTo>
                    <a:pt x="2658" y="691"/>
                  </a:lnTo>
                  <a:lnTo>
                    <a:pt x="2469" y="858"/>
                  </a:lnTo>
                  <a:lnTo>
                    <a:pt x="2365" y="858"/>
                  </a:lnTo>
                  <a:lnTo>
                    <a:pt x="2239" y="942"/>
                  </a:lnTo>
                  <a:lnTo>
                    <a:pt x="2177" y="1005"/>
                  </a:lnTo>
                  <a:lnTo>
                    <a:pt x="1988" y="1047"/>
                  </a:lnTo>
                  <a:lnTo>
                    <a:pt x="1863" y="984"/>
                  </a:lnTo>
                  <a:lnTo>
                    <a:pt x="1716" y="858"/>
                  </a:lnTo>
                  <a:lnTo>
                    <a:pt x="1653" y="858"/>
                  </a:lnTo>
                  <a:lnTo>
                    <a:pt x="1633" y="754"/>
                  </a:lnTo>
                  <a:lnTo>
                    <a:pt x="1256" y="377"/>
                  </a:lnTo>
                  <a:lnTo>
                    <a:pt x="1235" y="356"/>
                  </a:lnTo>
                  <a:lnTo>
                    <a:pt x="1214" y="314"/>
                  </a:lnTo>
                  <a:lnTo>
                    <a:pt x="1047" y="545"/>
                  </a:lnTo>
                  <a:lnTo>
                    <a:pt x="1005" y="628"/>
                  </a:lnTo>
                  <a:lnTo>
                    <a:pt x="1047" y="858"/>
                  </a:lnTo>
                  <a:lnTo>
                    <a:pt x="1151" y="1172"/>
                  </a:lnTo>
                  <a:lnTo>
                    <a:pt x="1319" y="1256"/>
                  </a:lnTo>
                  <a:lnTo>
                    <a:pt x="1298" y="1402"/>
                  </a:lnTo>
                  <a:lnTo>
                    <a:pt x="1361" y="1591"/>
                  </a:lnTo>
                  <a:lnTo>
                    <a:pt x="1570" y="1612"/>
                  </a:lnTo>
                  <a:lnTo>
                    <a:pt x="1716" y="1737"/>
                  </a:lnTo>
                  <a:lnTo>
                    <a:pt x="3411" y="2260"/>
                  </a:lnTo>
                  <a:lnTo>
                    <a:pt x="4143" y="2260"/>
                  </a:lnTo>
                  <a:lnTo>
                    <a:pt x="2365" y="4039"/>
                  </a:lnTo>
                  <a:lnTo>
                    <a:pt x="1633" y="4039"/>
                  </a:lnTo>
                  <a:lnTo>
                    <a:pt x="1528" y="4122"/>
                  </a:lnTo>
                  <a:lnTo>
                    <a:pt x="1423" y="4122"/>
                  </a:lnTo>
                  <a:lnTo>
                    <a:pt x="1298" y="4206"/>
                  </a:lnTo>
                  <a:lnTo>
                    <a:pt x="1235" y="4311"/>
                  </a:lnTo>
                  <a:lnTo>
                    <a:pt x="1130" y="4394"/>
                  </a:lnTo>
                  <a:lnTo>
                    <a:pt x="984" y="4457"/>
                  </a:lnTo>
                  <a:lnTo>
                    <a:pt x="796" y="4499"/>
                  </a:lnTo>
                  <a:lnTo>
                    <a:pt x="607" y="4562"/>
                  </a:lnTo>
                  <a:lnTo>
                    <a:pt x="565" y="4666"/>
                  </a:lnTo>
                  <a:lnTo>
                    <a:pt x="0" y="5169"/>
                  </a:lnTo>
                  <a:lnTo>
                    <a:pt x="0" y="7449"/>
                  </a:lnTo>
                  <a:lnTo>
                    <a:pt x="419" y="7847"/>
                  </a:lnTo>
                  <a:lnTo>
                    <a:pt x="419" y="7805"/>
                  </a:lnTo>
                  <a:lnTo>
                    <a:pt x="900" y="7261"/>
                  </a:lnTo>
                  <a:lnTo>
                    <a:pt x="942" y="7156"/>
                  </a:lnTo>
                  <a:lnTo>
                    <a:pt x="1089" y="7031"/>
                  </a:lnTo>
                  <a:lnTo>
                    <a:pt x="1193" y="7010"/>
                  </a:lnTo>
                  <a:lnTo>
                    <a:pt x="1235" y="6926"/>
                  </a:lnTo>
                  <a:lnTo>
                    <a:pt x="1298" y="6905"/>
                  </a:lnTo>
                  <a:lnTo>
                    <a:pt x="1633" y="6529"/>
                  </a:lnTo>
                  <a:lnTo>
                    <a:pt x="1716" y="6508"/>
                  </a:lnTo>
                  <a:lnTo>
                    <a:pt x="2093" y="6089"/>
                  </a:lnTo>
                  <a:lnTo>
                    <a:pt x="2302" y="5922"/>
                  </a:lnTo>
                  <a:lnTo>
                    <a:pt x="2469" y="5817"/>
                  </a:lnTo>
                  <a:lnTo>
                    <a:pt x="2658" y="5796"/>
                  </a:lnTo>
                  <a:lnTo>
                    <a:pt x="2930" y="5566"/>
                  </a:lnTo>
                  <a:lnTo>
                    <a:pt x="3558" y="4980"/>
                  </a:lnTo>
                  <a:lnTo>
                    <a:pt x="3871" y="4625"/>
                  </a:lnTo>
                  <a:lnTo>
                    <a:pt x="4060" y="4436"/>
                  </a:lnTo>
                  <a:lnTo>
                    <a:pt x="4081" y="4311"/>
                  </a:lnTo>
                  <a:lnTo>
                    <a:pt x="4478" y="3788"/>
                  </a:lnTo>
                  <a:lnTo>
                    <a:pt x="4478" y="3683"/>
                  </a:lnTo>
                  <a:lnTo>
                    <a:pt x="4687" y="3390"/>
                  </a:lnTo>
                  <a:lnTo>
                    <a:pt x="4708" y="3202"/>
                  </a:lnTo>
                  <a:lnTo>
                    <a:pt x="5022" y="2574"/>
                  </a:lnTo>
                  <a:lnTo>
                    <a:pt x="5106" y="2532"/>
                  </a:lnTo>
                  <a:lnTo>
                    <a:pt x="5064" y="2449"/>
                  </a:lnTo>
                  <a:lnTo>
                    <a:pt x="5064" y="2365"/>
                  </a:lnTo>
                  <a:lnTo>
                    <a:pt x="5190" y="2239"/>
                  </a:lnTo>
                  <a:lnTo>
                    <a:pt x="5231" y="2239"/>
                  </a:lnTo>
                  <a:lnTo>
                    <a:pt x="5315" y="2135"/>
                  </a:lnTo>
                  <a:lnTo>
                    <a:pt x="5441" y="1842"/>
                  </a:lnTo>
                  <a:lnTo>
                    <a:pt x="5650" y="1591"/>
                  </a:lnTo>
                  <a:lnTo>
                    <a:pt x="5650" y="1423"/>
                  </a:lnTo>
                  <a:lnTo>
                    <a:pt x="5692" y="1381"/>
                  </a:lnTo>
                  <a:lnTo>
                    <a:pt x="5713" y="1214"/>
                  </a:lnTo>
                  <a:lnTo>
                    <a:pt x="5650" y="1151"/>
                  </a:lnTo>
                  <a:lnTo>
                    <a:pt x="5734" y="1005"/>
                  </a:lnTo>
                  <a:lnTo>
                    <a:pt x="5796" y="984"/>
                  </a:lnTo>
                  <a:lnTo>
                    <a:pt x="5859" y="984"/>
                  </a:lnTo>
                  <a:lnTo>
                    <a:pt x="5901" y="1005"/>
                  </a:lnTo>
                  <a:lnTo>
                    <a:pt x="5922" y="1005"/>
                  </a:lnTo>
                  <a:lnTo>
                    <a:pt x="5901" y="942"/>
                  </a:lnTo>
                  <a:lnTo>
                    <a:pt x="5838" y="942"/>
                  </a:lnTo>
                  <a:lnTo>
                    <a:pt x="5859" y="963"/>
                  </a:lnTo>
                  <a:lnTo>
                    <a:pt x="5796" y="963"/>
                  </a:lnTo>
                  <a:lnTo>
                    <a:pt x="5817" y="879"/>
                  </a:lnTo>
                  <a:lnTo>
                    <a:pt x="5817" y="775"/>
                  </a:lnTo>
                  <a:lnTo>
                    <a:pt x="5754" y="691"/>
                  </a:lnTo>
                  <a:lnTo>
                    <a:pt x="5817" y="586"/>
                  </a:lnTo>
                  <a:lnTo>
                    <a:pt x="5859" y="545"/>
                  </a:lnTo>
                  <a:lnTo>
                    <a:pt x="5859" y="482"/>
                  </a:lnTo>
                  <a:lnTo>
                    <a:pt x="5796" y="482"/>
                  </a:lnTo>
                  <a:lnTo>
                    <a:pt x="5754" y="440"/>
                  </a:lnTo>
                  <a:lnTo>
                    <a:pt x="5796" y="377"/>
                  </a:lnTo>
                  <a:lnTo>
                    <a:pt x="5796" y="314"/>
                  </a:lnTo>
                  <a:lnTo>
                    <a:pt x="5838" y="210"/>
                  </a:lnTo>
                  <a:lnTo>
                    <a:pt x="5901" y="126"/>
                  </a:lnTo>
                  <a:lnTo>
                    <a:pt x="5859" y="105"/>
                  </a:lnTo>
                  <a:lnTo>
                    <a:pt x="5796" y="105"/>
                  </a:lnTo>
                  <a:lnTo>
                    <a:pt x="5650" y="42"/>
                  </a:lnTo>
                  <a:lnTo>
                    <a:pt x="558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2" name="Google Shape;922;p34"/>
            <p:cNvSpPr/>
            <p:nvPr/>
          </p:nvSpPr>
          <p:spPr>
            <a:xfrm>
              <a:off x="3978054" y="3108693"/>
              <a:ext cx="57811" cy="66882"/>
            </a:xfrm>
            <a:custGeom>
              <a:avLst/>
              <a:gdLst/>
              <a:ahLst/>
              <a:cxnLst/>
              <a:rect l="l" t="t" r="r" b="b"/>
              <a:pathLst>
                <a:path w="4855" h="5881" extrusionOk="0">
                  <a:moveTo>
                    <a:pt x="984" y="1"/>
                  </a:moveTo>
                  <a:lnTo>
                    <a:pt x="942" y="43"/>
                  </a:lnTo>
                  <a:lnTo>
                    <a:pt x="732" y="252"/>
                  </a:lnTo>
                  <a:lnTo>
                    <a:pt x="607" y="461"/>
                  </a:lnTo>
                  <a:lnTo>
                    <a:pt x="565" y="461"/>
                  </a:lnTo>
                  <a:lnTo>
                    <a:pt x="460" y="566"/>
                  </a:lnTo>
                  <a:lnTo>
                    <a:pt x="398" y="628"/>
                  </a:lnTo>
                  <a:lnTo>
                    <a:pt x="356" y="649"/>
                  </a:lnTo>
                  <a:lnTo>
                    <a:pt x="272" y="754"/>
                  </a:lnTo>
                  <a:lnTo>
                    <a:pt x="293" y="733"/>
                  </a:lnTo>
                  <a:lnTo>
                    <a:pt x="356" y="796"/>
                  </a:lnTo>
                  <a:lnTo>
                    <a:pt x="377" y="963"/>
                  </a:lnTo>
                  <a:lnTo>
                    <a:pt x="419" y="984"/>
                  </a:lnTo>
                  <a:lnTo>
                    <a:pt x="419" y="1089"/>
                  </a:lnTo>
                  <a:lnTo>
                    <a:pt x="502" y="1089"/>
                  </a:lnTo>
                  <a:lnTo>
                    <a:pt x="523" y="1214"/>
                  </a:lnTo>
                  <a:lnTo>
                    <a:pt x="523" y="1361"/>
                  </a:lnTo>
                  <a:lnTo>
                    <a:pt x="670" y="1486"/>
                  </a:lnTo>
                  <a:lnTo>
                    <a:pt x="732" y="1633"/>
                  </a:lnTo>
                  <a:lnTo>
                    <a:pt x="816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921" y="1884"/>
                  </a:lnTo>
                  <a:lnTo>
                    <a:pt x="942" y="2009"/>
                  </a:lnTo>
                  <a:lnTo>
                    <a:pt x="942" y="2114"/>
                  </a:lnTo>
                  <a:lnTo>
                    <a:pt x="816" y="2261"/>
                  </a:lnTo>
                  <a:lnTo>
                    <a:pt x="816" y="2365"/>
                  </a:lnTo>
                  <a:lnTo>
                    <a:pt x="774" y="2512"/>
                  </a:lnTo>
                  <a:lnTo>
                    <a:pt x="565" y="2512"/>
                  </a:lnTo>
                  <a:lnTo>
                    <a:pt x="565" y="2553"/>
                  </a:lnTo>
                  <a:lnTo>
                    <a:pt x="502" y="2616"/>
                  </a:lnTo>
                  <a:lnTo>
                    <a:pt x="460" y="2721"/>
                  </a:lnTo>
                  <a:lnTo>
                    <a:pt x="377" y="2784"/>
                  </a:lnTo>
                  <a:lnTo>
                    <a:pt x="293" y="2930"/>
                  </a:lnTo>
                  <a:lnTo>
                    <a:pt x="188" y="3056"/>
                  </a:lnTo>
                  <a:lnTo>
                    <a:pt x="168" y="3202"/>
                  </a:lnTo>
                  <a:lnTo>
                    <a:pt x="0" y="3767"/>
                  </a:lnTo>
                  <a:lnTo>
                    <a:pt x="188" y="3767"/>
                  </a:lnTo>
                  <a:lnTo>
                    <a:pt x="2281" y="4981"/>
                  </a:lnTo>
                  <a:lnTo>
                    <a:pt x="2406" y="5169"/>
                  </a:lnTo>
                  <a:lnTo>
                    <a:pt x="2385" y="5253"/>
                  </a:lnTo>
                  <a:lnTo>
                    <a:pt x="2406" y="5294"/>
                  </a:lnTo>
                  <a:lnTo>
                    <a:pt x="2469" y="5378"/>
                  </a:lnTo>
                  <a:lnTo>
                    <a:pt x="3181" y="5880"/>
                  </a:lnTo>
                  <a:lnTo>
                    <a:pt x="3222" y="5880"/>
                  </a:lnTo>
                  <a:lnTo>
                    <a:pt x="3327" y="5818"/>
                  </a:lnTo>
                  <a:lnTo>
                    <a:pt x="3536" y="5546"/>
                  </a:lnTo>
                  <a:lnTo>
                    <a:pt x="3641" y="5357"/>
                  </a:lnTo>
                  <a:lnTo>
                    <a:pt x="3641" y="5232"/>
                  </a:lnTo>
                  <a:lnTo>
                    <a:pt x="3725" y="5085"/>
                  </a:lnTo>
                  <a:lnTo>
                    <a:pt x="3829" y="4939"/>
                  </a:lnTo>
                  <a:lnTo>
                    <a:pt x="3808" y="4918"/>
                  </a:lnTo>
                  <a:lnTo>
                    <a:pt x="3808" y="4855"/>
                  </a:lnTo>
                  <a:lnTo>
                    <a:pt x="3871" y="4750"/>
                  </a:lnTo>
                  <a:lnTo>
                    <a:pt x="3871" y="4730"/>
                  </a:lnTo>
                  <a:lnTo>
                    <a:pt x="3955" y="4709"/>
                  </a:lnTo>
                  <a:lnTo>
                    <a:pt x="4122" y="4709"/>
                  </a:lnTo>
                  <a:lnTo>
                    <a:pt x="4227" y="4541"/>
                  </a:lnTo>
                  <a:lnTo>
                    <a:pt x="4436" y="4458"/>
                  </a:lnTo>
                  <a:lnTo>
                    <a:pt x="4394" y="4416"/>
                  </a:lnTo>
                  <a:lnTo>
                    <a:pt x="4457" y="4332"/>
                  </a:lnTo>
                  <a:lnTo>
                    <a:pt x="4499" y="4332"/>
                  </a:lnTo>
                  <a:lnTo>
                    <a:pt x="4687" y="4102"/>
                  </a:lnTo>
                  <a:lnTo>
                    <a:pt x="4708" y="4081"/>
                  </a:lnTo>
                  <a:lnTo>
                    <a:pt x="4289" y="3683"/>
                  </a:lnTo>
                  <a:lnTo>
                    <a:pt x="4289" y="1403"/>
                  </a:lnTo>
                  <a:lnTo>
                    <a:pt x="4854" y="900"/>
                  </a:lnTo>
                  <a:lnTo>
                    <a:pt x="4687" y="900"/>
                  </a:lnTo>
                  <a:lnTo>
                    <a:pt x="4478" y="942"/>
                  </a:lnTo>
                  <a:lnTo>
                    <a:pt x="4373" y="880"/>
                  </a:lnTo>
                  <a:lnTo>
                    <a:pt x="4289" y="754"/>
                  </a:lnTo>
                  <a:lnTo>
                    <a:pt x="4227" y="733"/>
                  </a:lnTo>
                  <a:lnTo>
                    <a:pt x="3955" y="754"/>
                  </a:lnTo>
                  <a:lnTo>
                    <a:pt x="3913" y="775"/>
                  </a:lnTo>
                  <a:lnTo>
                    <a:pt x="3808" y="775"/>
                  </a:lnTo>
                  <a:lnTo>
                    <a:pt x="3704" y="838"/>
                  </a:lnTo>
                  <a:lnTo>
                    <a:pt x="3641" y="900"/>
                  </a:lnTo>
                  <a:lnTo>
                    <a:pt x="3494" y="1152"/>
                  </a:lnTo>
                  <a:lnTo>
                    <a:pt x="3285" y="1152"/>
                  </a:lnTo>
                  <a:lnTo>
                    <a:pt x="3181" y="1110"/>
                  </a:lnTo>
                  <a:lnTo>
                    <a:pt x="3013" y="1152"/>
                  </a:lnTo>
                  <a:lnTo>
                    <a:pt x="2888" y="1089"/>
                  </a:lnTo>
                  <a:lnTo>
                    <a:pt x="2699" y="1089"/>
                  </a:lnTo>
                  <a:lnTo>
                    <a:pt x="2595" y="1047"/>
                  </a:lnTo>
                  <a:lnTo>
                    <a:pt x="2511" y="942"/>
                  </a:lnTo>
                  <a:lnTo>
                    <a:pt x="2365" y="859"/>
                  </a:lnTo>
                  <a:lnTo>
                    <a:pt x="2134" y="628"/>
                  </a:lnTo>
                  <a:lnTo>
                    <a:pt x="2030" y="545"/>
                  </a:lnTo>
                  <a:lnTo>
                    <a:pt x="1737" y="566"/>
                  </a:lnTo>
                  <a:lnTo>
                    <a:pt x="1611" y="524"/>
                  </a:lnTo>
                  <a:lnTo>
                    <a:pt x="1465" y="566"/>
                  </a:lnTo>
                  <a:lnTo>
                    <a:pt x="1339" y="545"/>
                  </a:lnTo>
                  <a:lnTo>
                    <a:pt x="1256" y="440"/>
                  </a:lnTo>
                  <a:lnTo>
                    <a:pt x="1256" y="105"/>
                  </a:lnTo>
                  <a:lnTo>
                    <a:pt x="1151" y="64"/>
                  </a:lnTo>
                  <a:lnTo>
                    <a:pt x="1046" y="105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23" name="Google Shape;923;p34"/>
            <p:cNvSpPr/>
            <p:nvPr/>
          </p:nvSpPr>
          <p:spPr>
            <a:xfrm>
              <a:off x="3963598" y="3151999"/>
              <a:ext cx="5239" cy="11"/>
            </a:xfrm>
            <a:custGeom>
              <a:avLst/>
              <a:gdLst/>
              <a:ahLst/>
              <a:cxnLst/>
              <a:rect l="l" t="t" r="r" b="b"/>
              <a:pathLst>
                <a:path w="440" h="1" extrusionOk="0">
                  <a:moveTo>
                    <a:pt x="1" y="1"/>
                  </a:moveTo>
                  <a:lnTo>
                    <a:pt x="210" y="1"/>
                  </a:lnTo>
                  <a:lnTo>
                    <a:pt x="440" y="1"/>
                  </a:lnTo>
                  <a:lnTo>
                    <a:pt x="2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4" name="Google Shape;924;p34"/>
            <p:cNvSpPr/>
            <p:nvPr/>
          </p:nvSpPr>
          <p:spPr>
            <a:xfrm>
              <a:off x="3949392" y="3117029"/>
              <a:ext cx="39878" cy="37609"/>
            </a:xfrm>
            <a:custGeom>
              <a:avLst/>
              <a:gdLst/>
              <a:ahLst/>
              <a:cxnLst/>
              <a:rect l="l" t="t" r="r" b="b"/>
              <a:pathLst>
                <a:path w="3349" h="3307" extrusionOk="0">
                  <a:moveTo>
                    <a:pt x="2700" y="0"/>
                  </a:moveTo>
                  <a:lnTo>
                    <a:pt x="2679" y="21"/>
                  </a:lnTo>
                  <a:lnTo>
                    <a:pt x="2554" y="105"/>
                  </a:lnTo>
                  <a:lnTo>
                    <a:pt x="2491" y="209"/>
                  </a:lnTo>
                  <a:lnTo>
                    <a:pt x="2365" y="251"/>
                  </a:lnTo>
                  <a:lnTo>
                    <a:pt x="2240" y="209"/>
                  </a:lnTo>
                  <a:lnTo>
                    <a:pt x="2031" y="230"/>
                  </a:lnTo>
                  <a:lnTo>
                    <a:pt x="1884" y="272"/>
                  </a:lnTo>
                  <a:lnTo>
                    <a:pt x="1779" y="272"/>
                  </a:lnTo>
                  <a:lnTo>
                    <a:pt x="1759" y="314"/>
                  </a:lnTo>
                  <a:lnTo>
                    <a:pt x="1675" y="272"/>
                  </a:lnTo>
                  <a:lnTo>
                    <a:pt x="1612" y="356"/>
                  </a:lnTo>
                  <a:lnTo>
                    <a:pt x="1612" y="440"/>
                  </a:lnTo>
                  <a:lnTo>
                    <a:pt x="1549" y="440"/>
                  </a:lnTo>
                  <a:lnTo>
                    <a:pt x="1403" y="419"/>
                  </a:lnTo>
                  <a:lnTo>
                    <a:pt x="1403" y="314"/>
                  </a:lnTo>
                  <a:lnTo>
                    <a:pt x="1298" y="272"/>
                  </a:lnTo>
                  <a:lnTo>
                    <a:pt x="1215" y="314"/>
                  </a:lnTo>
                  <a:lnTo>
                    <a:pt x="1047" y="251"/>
                  </a:lnTo>
                  <a:lnTo>
                    <a:pt x="942" y="209"/>
                  </a:lnTo>
                  <a:lnTo>
                    <a:pt x="880" y="272"/>
                  </a:lnTo>
                  <a:lnTo>
                    <a:pt x="880" y="356"/>
                  </a:lnTo>
                  <a:lnTo>
                    <a:pt x="901" y="419"/>
                  </a:lnTo>
                  <a:lnTo>
                    <a:pt x="880" y="440"/>
                  </a:lnTo>
                  <a:lnTo>
                    <a:pt x="838" y="544"/>
                  </a:lnTo>
                  <a:lnTo>
                    <a:pt x="796" y="628"/>
                  </a:lnTo>
                  <a:lnTo>
                    <a:pt x="796" y="774"/>
                  </a:lnTo>
                  <a:lnTo>
                    <a:pt x="775" y="984"/>
                  </a:lnTo>
                  <a:lnTo>
                    <a:pt x="733" y="1109"/>
                  </a:lnTo>
                  <a:lnTo>
                    <a:pt x="817" y="1172"/>
                  </a:lnTo>
                  <a:lnTo>
                    <a:pt x="880" y="1256"/>
                  </a:lnTo>
                  <a:lnTo>
                    <a:pt x="922" y="1318"/>
                  </a:lnTo>
                  <a:lnTo>
                    <a:pt x="901" y="1402"/>
                  </a:lnTo>
                  <a:lnTo>
                    <a:pt x="608" y="1800"/>
                  </a:lnTo>
                  <a:lnTo>
                    <a:pt x="419" y="2009"/>
                  </a:lnTo>
                  <a:lnTo>
                    <a:pt x="378" y="2092"/>
                  </a:lnTo>
                  <a:lnTo>
                    <a:pt x="147" y="2511"/>
                  </a:lnTo>
                  <a:lnTo>
                    <a:pt x="106" y="2553"/>
                  </a:lnTo>
                  <a:lnTo>
                    <a:pt x="106" y="2720"/>
                  </a:lnTo>
                  <a:lnTo>
                    <a:pt x="85" y="2929"/>
                  </a:lnTo>
                  <a:lnTo>
                    <a:pt x="1" y="3139"/>
                  </a:lnTo>
                  <a:lnTo>
                    <a:pt x="43" y="3264"/>
                  </a:lnTo>
                  <a:lnTo>
                    <a:pt x="1" y="3285"/>
                  </a:lnTo>
                  <a:lnTo>
                    <a:pt x="43" y="3306"/>
                  </a:lnTo>
                  <a:lnTo>
                    <a:pt x="106" y="3285"/>
                  </a:lnTo>
                  <a:lnTo>
                    <a:pt x="210" y="3201"/>
                  </a:lnTo>
                  <a:lnTo>
                    <a:pt x="273" y="3243"/>
                  </a:lnTo>
                  <a:lnTo>
                    <a:pt x="315" y="3285"/>
                  </a:lnTo>
                  <a:lnTo>
                    <a:pt x="398" y="3285"/>
                  </a:lnTo>
                  <a:lnTo>
                    <a:pt x="461" y="3243"/>
                  </a:lnTo>
                  <a:lnTo>
                    <a:pt x="461" y="3160"/>
                  </a:lnTo>
                  <a:lnTo>
                    <a:pt x="566" y="3160"/>
                  </a:lnTo>
                  <a:lnTo>
                    <a:pt x="566" y="3180"/>
                  </a:lnTo>
                  <a:lnTo>
                    <a:pt x="608" y="3139"/>
                  </a:lnTo>
                  <a:lnTo>
                    <a:pt x="670" y="3139"/>
                  </a:lnTo>
                  <a:lnTo>
                    <a:pt x="712" y="3076"/>
                  </a:lnTo>
                  <a:lnTo>
                    <a:pt x="1633" y="3076"/>
                  </a:lnTo>
                  <a:lnTo>
                    <a:pt x="2407" y="3034"/>
                  </a:lnTo>
                  <a:lnTo>
                    <a:pt x="2575" y="2469"/>
                  </a:lnTo>
                  <a:lnTo>
                    <a:pt x="2595" y="2323"/>
                  </a:lnTo>
                  <a:lnTo>
                    <a:pt x="2700" y="2197"/>
                  </a:lnTo>
                  <a:lnTo>
                    <a:pt x="2784" y="2051"/>
                  </a:lnTo>
                  <a:lnTo>
                    <a:pt x="2867" y="1988"/>
                  </a:lnTo>
                  <a:lnTo>
                    <a:pt x="2909" y="1883"/>
                  </a:lnTo>
                  <a:lnTo>
                    <a:pt x="2972" y="1820"/>
                  </a:lnTo>
                  <a:lnTo>
                    <a:pt x="2972" y="1779"/>
                  </a:lnTo>
                  <a:lnTo>
                    <a:pt x="3181" y="1779"/>
                  </a:lnTo>
                  <a:lnTo>
                    <a:pt x="3223" y="1632"/>
                  </a:lnTo>
                  <a:lnTo>
                    <a:pt x="3223" y="1528"/>
                  </a:lnTo>
                  <a:lnTo>
                    <a:pt x="3349" y="1381"/>
                  </a:lnTo>
                  <a:lnTo>
                    <a:pt x="3349" y="1276"/>
                  </a:lnTo>
                  <a:lnTo>
                    <a:pt x="3328" y="1151"/>
                  </a:lnTo>
                  <a:lnTo>
                    <a:pt x="3244" y="1067"/>
                  </a:lnTo>
                  <a:lnTo>
                    <a:pt x="3307" y="1004"/>
                  </a:lnTo>
                  <a:lnTo>
                    <a:pt x="3223" y="963"/>
                  </a:lnTo>
                  <a:lnTo>
                    <a:pt x="3139" y="900"/>
                  </a:lnTo>
                  <a:lnTo>
                    <a:pt x="3077" y="753"/>
                  </a:lnTo>
                  <a:lnTo>
                    <a:pt x="2930" y="628"/>
                  </a:lnTo>
                  <a:lnTo>
                    <a:pt x="2930" y="481"/>
                  </a:lnTo>
                  <a:lnTo>
                    <a:pt x="2909" y="356"/>
                  </a:lnTo>
                  <a:lnTo>
                    <a:pt x="2826" y="356"/>
                  </a:lnTo>
                  <a:lnTo>
                    <a:pt x="2826" y="251"/>
                  </a:lnTo>
                  <a:lnTo>
                    <a:pt x="2784" y="230"/>
                  </a:lnTo>
                  <a:lnTo>
                    <a:pt x="2763" y="63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5" name="Google Shape;925;p34"/>
            <p:cNvSpPr/>
            <p:nvPr/>
          </p:nvSpPr>
          <p:spPr>
            <a:xfrm>
              <a:off x="3845999" y="3071334"/>
              <a:ext cx="89711" cy="57841"/>
            </a:xfrm>
            <a:custGeom>
              <a:avLst/>
              <a:gdLst/>
              <a:ahLst/>
              <a:cxnLst/>
              <a:rect l="l" t="t" r="r" b="b"/>
              <a:pathLst>
                <a:path w="7534" h="5086" extrusionOk="0">
                  <a:moveTo>
                    <a:pt x="4750" y="1"/>
                  </a:moveTo>
                  <a:lnTo>
                    <a:pt x="4708" y="64"/>
                  </a:lnTo>
                  <a:lnTo>
                    <a:pt x="4583" y="147"/>
                  </a:lnTo>
                  <a:lnTo>
                    <a:pt x="4499" y="84"/>
                  </a:lnTo>
                  <a:lnTo>
                    <a:pt x="4374" y="84"/>
                  </a:lnTo>
                  <a:lnTo>
                    <a:pt x="4269" y="168"/>
                  </a:lnTo>
                  <a:lnTo>
                    <a:pt x="4123" y="252"/>
                  </a:lnTo>
                  <a:lnTo>
                    <a:pt x="4081" y="315"/>
                  </a:lnTo>
                  <a:lnTo>
                    <a:pt x="4123" y="398"/>
                  </a:lnTo>
                  <a:lnTo>
                    <a:pt x="4039" y="419"/>
                  </a:lnTo>
                  <a:lnTo>
                    <a:pt x="3934" y="587"/>
                  </a:lnTo>
                  <a:lnTo>
                    <a:pt x="3872" y="587"/>
                  </a:lnTo>
                  <a:lnTo>
                    <a:pt x="3830" y="566"/>
                  </a:lnTo>
                  <a:lnTo>
                    <a:pt x="3746" y="670"/>
                  </a:lnTo>
                  <a:lnTo>
                    <a:pt x="3746" y="733"/>
                  </a:lnTo>
                  <a:lnTo>
                    <a:pt x="3662" y="796"/>
                  </a:lnTo>
                  <a:lnTo>
                    <a:pt x="3641" y="900"/>
                  </a:lnTo>
                  <a:lnTo>
                    <a:pt x="3662" y="984"/>
                  </a:lnTo>
                  <a:lnTo>
                    <a:pt x="3641" y="1089"/>
                  </a:lnTo>
                  <a:lnTo>
                    <a:pt x="3537" y="1131"/>
                  </a:lnTo>
                  <a:lnTo>
                    <a:pt x="3432" y="1214"/>
                  </a:lnTo>
                  <a:lnTo>
                    <a:pt x="3202" y="1235"/>
                  </a:lnTo>
                  <a:lnTo>
                    <a:pt x="3035" y="1256"/>
                  </a:lnTo>
                  <a:lnTo>
                    <a:pt x="2909" y="1235"/>
                  </a:lnTo>
                  <a:lnTo>
                    <a:pt x="2804" y="1193"/>
                  </a:lnTo>
                  <a:lnTo>
                    <a:pt x="2679" y="1214"/>
                  </a:lnTo>
                  <a:lnTo>
                    <a:pt x="2595" y="1193"/>
                  </a:lnTo>
                  <a:lnTo>
                    <a:pt x="2511" y="1235"/>
                  </a:lnTo>
                  <a:lnTo>
                    <a:pt x="2491" y="1340"/>
                  </a:lnTo>
                  <a:lnTo>
                    <a:pt x="2595" y="1445"/>
                  </a:lnTo>
                  <a:lnTo>
                    <a:pt x="2658" y="1445"/>
                  </a:lnTo>
                  <a:lnTo>
                    <a:pt x="2679" y="1528"/>
                  </a:lnTo>
                  <a:lnTo>
                    <a:pt x="2511" y="1633"/>
                  </a:lnTo>
                  <a:lnTo>
                    <a:pt x="2449" y="1737"/>
                  </a:lnTo>
                  <a:lnTo>
                    <a:pt x="2281" y="1737"/>
                  </a:lnTo>
                  <a:lnTo>
                    <a:pt x="1947" y="1821"/>
                  </a:lnTo>
                  <a:lnTo>
                    <a:pt x="1821" y="1926"/>
                  </a:lnTo>
                  <a:lnTo>
                    <a:pt x="1633" y="1968"/>
                  </a:lnTo>
                  <a:lnTo>
                    <a:pt x="1507" y="2072"/>
                  </a:lnTo>
                  <a:lnTo>
                    <a:pt x="1403" y="2093"/>
                  </a:lnTo>
                  <a:lnTo>
                    <a:pt x="1340" y="2051"/>
                  </a:lnTo>
                  <a:lnTo>
                    <a:pt x="1298" y="1926"/>
                  </a:lnTo>
                  <a:lnTo>
                    <a:pt x="1235" y="1863"/>
                  </a:lnTo>
                  <a:lnTo>
                    <a:pt x="1151" y="1926"/>
                  </a:lnTo>
                  <a:lnTo>
                    <a:pt x="1151" y="2051"/>
                  </a:lnTo>
                  <a:lnTo>
                    <a:pt x="1110" y="2177"/>
                  </a:lnTo>
                  <a:lnTo>
                    <a:pt x="942" y="2177"/>
                  </a:lnTo>
                  <a:lnTo>
                    <a:pt x="838" y="2198"/>
                  </a:lnTo>
                  <a:lnTo>
                    <a:pt x="733" y="2198"/>
                  </a:lnTo>
                  <a:lnTo>
                    <a:pt x="712" y="2072"/>
                  </a:lnTo>
                  <a:lnTo>
                    <a:pt x="670" y="2030"/>
                  </a:lnTo>
                  <a:lnTo>
                    <a:pt x="670" y="2051"/>
                  </a:lnTo>
                  <a:lnTo>
                    <a:pt x="566" y="2198"/>
                  </a:lnTo>
                  <a:lnTo>
                    <a:pt x="461" y="2240"/>
                  </a:lnTo>
                  <a:lnTo>
                    <a:pt x="398" y="2365"/>
                  </a:lnTo>
                  <a:lnTo>
                    <a:pt x="294" y="2553"/>
                  </a:lnTo>
                  <a:lnTo>
                    <a:pt x="252" y="2679"/>
                  </a:lnTo>
                  <a:lnTo>
                    <a:pt x="147" y="2867"/>
                  </a:lnTo>
                  <a:lnTo>
                    <a:pt x="63" y="2867"/>
                  </a:lnTo>
                  <a:lnTo>
                    <a:pt x="1" y="2930"/>
                  </a:lnTo>
                  <a:lnTo>
                    <a:pt x="42" y="3077"/>
                  </a:lnTo>
                  <a:lnTo>
                    <a:pt x="84" y="3223"/>
                  </a:lnTo>
                  <a:lnTo>
                    <a:pt x="63" y="3349"/>
                  </a:lnTo>
                  <a:lnTo>
                    <a:pt x="84" y="3516"/>
                  </a:lnTo>
                  <a:lnTo>
                    <a:pt x="105" y="3641"/>
                  </a:lnTo>
                  <a:lnTo>
                    <a:pt x="105" y="3872"/>
                  </a:lnTo>
                  <a:lnTo>
                    <a:pt x="168" y="3934"/>
                  </a:lnTo>
                  <a:lnTo>
                    <a:pt x="314" y="4018"/>
                  </a:lnTo>
                  <a:lnTo>
                    <a:pt x="419" y="4123"/>
                  </a:lnTo>
                  <a:lnTo>
                    <a:pt x="461" y="4248"/>
                  </a:lnTo>
                  <a:lnTo>
                    <a:pt x="607" y="4458"/>
                  </a:lnTo>
                  <a:lnTo>
                    <a:pt x="691" y="4604"/>
                  </a:lnTo>
                  <a:lnTo>
                    <a:pt x="775" y="4688"/>
                  </a:lnTo>
                  <a:lnTo>
                    <a:pt x="942" y="4813"/>
                  </a:lnTo>
                  <a:lnTo>
                    <a:pt x="942" y="4960"/>
                  </a:lnTo>
                  <a:lnTo>
                    <a:pt x="942" y="5022"/>
                  </a:lnTo>
                  <a:lnTo>
                    <a:pt x="984" y="5085"/>
                  </a:lnTo>
                  <a:lnTo>
                    <a:pt x="1005" y="5085"/>
                  </a:lnTo>
                  <a:lnTo>
                    <a:pt x="1256" y="4667"/>
                  </a:lnTo>
                  <a:lnTo>
                    <a:pt x="1403" y="4499"/>
                  </a:lnTo>
                  <a:lnTo>
                    <a:pt x="1507" y="4478"/>
                  </a:lnTo>
                  <a:lnTo>
                    <a:pt x="1549" y="4437"/>
                  </a:lnTo>
                  <a:lnTo>
                    <a:pt x="1779" y="4332"/>
                  </a:lnTo>
                  <a:lnTo>
                    <a:pt x="1884" y="4353"/>
                  </a:lnTo>
                  <a:lnTo>
                    <a:pt x="1947" y="4290"/>
                  </a:lnTo>
                  <a:lnTo>
                    <a:pt x="2135" y="4290"/>
                  </a:lnTo>
                  <a:lnTo>
                    <a:pt x="2156" y="4353"/>
                  </a:lnTo>
                  <a:lnTo>
                    <a:pt x="2260" y="4395"/>
                  </a:lnTo>
                  <a:lnTo>
                    <a:pt x="2302" y="4374"/>
                  </a:lnTo>
                  <a:lnTo>
                    <a:pt x="2386" y="4353"/>
                  </a:lnTo>
                  <a:lnTo>
                    <a:pt x="2386" y="4269"/>
                  </a:lnTo>
                  <a:lnTo>
                    <a:pt x="2407" y="4185"/>
                  </a:lnTo>
                  <a:lnTo>
                    <a:pt x="2470" y="4144"/>
                  </a:lnTo>
                  <a:lnTo>
                    <a:pt x="2365" y="4018"/>
                  </a:lnTo>
                  <a:lnTo>
                    <a:pt x="2365" y="3955"/>
                  </a:lnTo>
                  <a:lnTo>
                    <a:pt x="2449" y="3955"/>
                  </a:lnTo>
                  <a:lnTo>
                    <a:pt x="2491" y="3913"/>
                  </a:lnTo>
                  <a:lnTo>
                    <a:pt x="2491" y="3851"/>
                  </a:lnTo>
                  <a:lnTo>
                    <a:pt x="2553" y="3767"/>
                  </a:lnTo>
                  <a:lnTo>
                    <a:pt x="2553" y="3704"/>
                  </a:lnTo>
                  <a:lnTo>
                    <a:pt x="2595" y="3662"/>
                  </a:lnTo>
                  <a:lnTo>
                    <a:pt x="2679" y="3662"/>
                  </a:lnTo>
                  <a:lnTo>
                    <a:pt x="2763" y="3558"/>
                  </a:lnTo>
                  <a:lnTo>
                    <a:pt x="2867" y="3600"/>
                  </a:lnTo>
                  <a:lnTo>
                    <a:pt x="2867" y="3537"/>
                  </a:lnTo>
                  <a:lnTo>
                    <a:pt x="2930" y="3537"/>
                  </a:lnTo>
                  <a:lnTo>
                    <a:pt x="3014" y="3600"/>
                  </a:lnTo>
                  <a:lnTo>
                    <a:pt x="3076" y="3621"/>
                  </a:lnTo>
                  <a:lnTo>
                    <a:pt x="3244" y="3746"/>
                  </a:lnTo>
                  <a:lnTo>
                    <a:pt x="3327" y="3767"/>
                  </a:lnTo>
                  <a:lnTo>
                    <a:pt x="3495" y="3913"/>
                  </a:lnTo>
                  <a:lnTo>
                    <a:pt x="3516" y="3955"/>
                  </a:lnTo>
                  <a:lnTo>
                    <a:pt x="3641" y="3934"/>
                  </a:lnTo>
                  <a:lnTo>
                    <a:pt x="3767" y="4018"/>
                  </a:lnTo>
                  <a:lnTo>
                    <a:pt x="3913" y="4018"/>
                  </a:lnTo>
                  <a:lnTo>
                    <a:pt x="3976" y="4039"/>
                  </a:lnTo>
                  <a:lnTo>
                    <a:pt x="4060" y="3976"/>
                  </a:lnTo>
                  <a:lnTo>
                    <a:pt x="4144" y="3976"/>
                  </a:lnTo>
                  <a:lnTo>
                    <a:pt x="4248" y="4039"/>
                  </a:lnTo>
                  <a:lnTo>
                    <a:pt x="4374" y="4060"/>
                  </a:lnTo>
                  <a:lnTo>
                    <a:pt x="4436" y="4081"/>
                  </a:lnTo>
                  <a:lnTo>
                    <a:pt x="4562" y="4060"/>
                  </a:lnTo>
                  <a:lnTo>
                    <a:pt x="4583" y="4018"/>
                  </a:lnTo>
                  <a:lnTo>
                    <a:pt x="4541" y="3955"/>
                  </a:lnTo>
                  <a:lnTo>
                    <a:pt x="4499" y="3913"/>
                  </a:lnTo>
                  <a:lnTo>
                    <a:pt x="4604" y="3809"/>
                  </a:lnTo>
                  <a:lnTo>
                    <a:pt x="4688" y="3704"/>
                  </a:lnTo>
                  <a:lnTo>
                    <a:pt x="4792" y="3704"/>
                  </a:lnTo>
                  <a:lnTo>
                    <a:pt x="4897" y="3725"/>
                  </a:lnTo>
                  <a:lnTo>
                    <a:pt x="4980" y="3809"/>
                  </a:lnTo>
                  <a:lnTo>
                    <a:pt x="5064" y="3767"/>
                  </a:lnTo>
                  <a:lnTo>
                    <a:pt x="5294" y="3746"/>
                  </a:lnTo>
                  <a:lnTo>
                    <a:pt x="5336" y="3704"/>
                  </a:lnTo>
                  <a:lnTo>
                    <a:pt x="5420" y="3641"/>
                  </a:lnTo>
                  <a:lnTo>
                    <a:pt x="5650" y="3537"/>
                  </a:lnTo>
                  <a:lnTo>
                    <a:pt x="5734" y="3558"/>
                  </a:lnTo>
                  <a:lnTo>
                    <a:pt x="5755" y="3600"/>
                  </a:lnTo>
                  <a:lnTo>
                    <a:pt x="5796" y="3600"/>
                  </a:lnTo>
                  <a:lnTo>
                    <a:pt x="5817" y="3662"/>
                  </a:lnTo>
                  <a:lnTo>
                    <a:pt x="5859" y="3662"/>
                  </a:lnTo>
                  <a:lnTo>
                    <a:pt x="5943" y="3621"/>
                  </a:lnTo>
                  <a:lnTo>
                    <a:pt x="6068" y="3621"/>
                  </a:lnTo>
                  <a:lnTo>
                    <a:pt x="6152" y="3600"/>
                  </a:lnTo>
                  <a:lnTo>
                    <a:pt x="6236" y="3600"/>
                  </a:lnTo>
                  <a:lnTo>
                    <a:pt x="6320" y="3495"/>
                  </a:lnTo>
                  <a:lnTo>
                    <a:pt x="6278" y="3453"/>
                  </a:lnTo>
                  <a:lnTo>
                    <a:pt x="6278" y="3411"/>
                  </a:lnTo>
                  <a:lnTo>
                    <a:pt x="6361" y="3411"/>
                  </a:lnTo>
                  <a:lnTo>
                    <a:pt x="6445" y="3453"/>
                  </a:lnTo>
                  <a:lnTo>
                    <a:pt x="6633" y="3453"/>
                  </a:lnTo>
                  <a:lnTo>
                    <a:pt x="6675" y="3495"/>
                  </a:lnTo>
                  <a:lnTo>
                    <a:pt x="6759" y="3516"/>
                  </a:lnTo>
                  <a:lnTo>
                    <a:pt x="6843" y="3558"/>
                  </a:lnTo>
                  <a:lnTo>
                    <a:pt x="7073" y="3558"/>
                  </a:lnTo>
                  <a:lnTo>
                    <a:pt x="7094" y="3600"/>
                  </a:lnTo>
                  <a:lnTo>
                    <a:pt x="7282" y="3516"/>
                  </a:lnTo>
                  <a:lnTo>
                    <a:pt x="7408" y="3516"/>
                  </a:lnTo>
                  <a:lnTo>
                    <a:pt x="7512" y="3558"/>
                  </a:lnTo>
                  <a:lnTo>
                    <a:pt x="7533" y="3600"/>
                  </a:lnTo>
                  <a:lnTo>
                    <a:pt x="7533" y="3558"/>
                  </a:lnTo>
                  <a:lnTo>
                    <a:pt x="7491" y="3495"/>
                  </a:lnTo>
                  <a:lnTo>
                    <a:pt x="7387" y="3432"/>
                  </a:lnTo>
                  <a:lnTo>
                    <a:pt x="7303" y="3390"/>
                  </a:lnTo>
                  <a:lnTo>
                    <a:pt x="7303" y="3202"/>
                  </a:lnTo>
                  <a:lnTo>
                    <a:pt x="7303" y="3139"/>
                  </a:lnTo>
                  <a:lnTo>
                    <a:pt x="7219" y="3077"/>
                  </a:lnTo>
                  <a:lnTo>
                    <a:pt x="7010" y="3035"/>
                  </a:lnTo>
                  <a:lnTo>
                    <a:pt x="6968" y="2972"/>
                  </a:lnTo>
                  <a:lnTo>
                    <a:pt x="6989" y="2867"/>
                  </a:lnTo>
                  <a:lnTo>
                    <a:pt x="6947" y="2805"/>
                  </a:lnTo>
                  <a:lnTo>
                    <a:pt x="6843" y="2784"/>
                  </a:lnTo>
                  <a:lnTo>
                    <a:pt x="6780" y="2721"/>
                  </a:lnTo>
                  <a:lnTo>
                    <a:pt x="6759" y="2553"/>
                  </a:lnTo>
                  <a:lnTo>
                    <a:pt x="6738" y="2491"/>
                  </a:lnTo>
                  <a:lnTo>
                    <a:pt x="6550" y="2365"/>
                  </a:lnTo>
                  <a:lnTo>
                    <a:pt x="6487" y="2386"/>
                  </a:lnTo>
                  <a:lnTo>
                    <a:pt x="6382" y="2344"/>
                  </a:lnTo>
                  <a:lnTo>
                    <a:pt x="6361" y="2365"/>
                  </a:lnTo>
                  <a:lnTo>
                    <a:pt x="6257" y="2344"/>
                  </a:lnTo>
                  <a:lnTo>
                    <a:pt x="6131" y="2240"/>
                  </a:lnTo>
                  <a:lnTo>
                    <a:pt x="6173" y="2177"/>
                  </a:lnTo>
                  <a:lnTo>
                    <a:pt x="6215" y="2135"/>
                  </a:lnTo>
                  <a:lnTo>
                    <a:pt x="6278" y="2072"/>
                  </a:lnTo>
                  <a:lnTo>
                    <a:pt x="6320" y="1989"/>
                  </a:lnTo>
                  <a:lnTo>
                    <a:pt x="6257" y="1926"/>
                  </a:lnTo>
                  <a:lnTo>
                    <a:pt x="6152" y="1926"/>
                  </a:lnTo>
                  <a:lnTo>
                    <a:pt x="6048" y="1863"/>
                  </a:lnTo>
                  <a:lnTo>
                    <a:pt x="6006" y="1779"/>
                  </a:lnTo>
                  <a:lnTo>
                    <a:pt x="5922" y="1737"/>
                  </a:lnTo>
                  <a:lnTo>
                    <a:pt x="5817" y="1737"/>
                  </a:lnTo>
                  <a:lnTo>
                    <a:pt x="5692" y="1654"/>
                  </a:lnTo>
                  <a:lnTo>
                    <a:pt x="5608" y="1612"/>
                  </a:lnTo>
                  <a:lnTo>
                    <a:pt x="5587" y="1465"/>
                  </a:lnTo>
                  <a:lnTo>
                    <a:pt x="5629" y="1403"/>
                  </a:lnTo>
                  <a:lnTo>
                    <a:pt x="5545" y="1361"/>
                  </a:lnTo>
                  <a:lnTo>
                    <a:pt x="5399" y="1361"/>
                  </a:lnTo>
                  <a:lnTo>
                    <a:pt x="5336" y="1424"/>
                  </a:lnTo>
                  <a:lnTo>
                    <a:pt x="5211" y="1424"/>
                  </a:lnTo>
                  <a:lnTo>
                    <a:pt x="5106" y="1340"/>
                  </a:lnTo>
                  <a:lnTo>
                    <a:pt x="5106" y="1152"/>
                  </a:lnTo>
                  <a:lnTo>
                    <a:pt x="5169" y="1047"/>
                  </a:lnTo>
                  <a:lnTo>
                    <a:pt x="5190" y="1005"/>
                  </a:lnTo>
                  <a:lnTo>
                    <a:pt x="5211" y="880"/>
                  </a:lnTo>
                  <a:lnTo>
                    <a:pt x="5190" y="796"/>
                  </a:lnTo>
                  <a:lnTo>
                    <a:pt x="5085" y="566"/>
                  </a:lnTo>
                  <a:lnTo>
                    <a:pt x="4918" y="377"/>
                  </a:lnTo>
                  <a:lnTo>
                    <a:pt x="4897" y="294"/>
                  </a:lnTo>
                  <a:lnTo>
                    <a:pt x="4771" y="189"/>
                  </a:lnTo>
                  <a:lnTo>
                    <a:pt x="4813" y="168"/>
                  </a:lnTo>
                  <a:lnTo>
                    <a:pt x="4813" y="84"/>
                  </a:lnTo>
                  <a:lnTo>
                    <a:pt x="475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" name="Google Shape;926;p34"/>
            <p:cNvSpPr/>
            <p:nvPr/>
          </p:nvSpPr>
          <p:spPr>
            <a:xfrm>
              <a:off x="3809372" y="2919523"/>
              <a:ext cx="106405" cy="94483"/>
            </a:xfrm>
            <a:custGeom>
              <a:avLst/>
              <a:gdLst/>
              <a:ahLst/>
              <a:cxnLst/>
              <a:rect l="l" t="t" r="r" b="b"/>
              <a:pathLst>
                <a:path w="8936" h="8308" extrusionOk="0">
                  <a:moveTo>
                    <a:pt x="1068" y="1"/>
                  </a:moveTo>
                  <a:lnTo>
                    <a:pt x="1047" y="42"/>
                  </a:lnTo>
                  <a:lnTo>
                    <a:pt x="1089" y="252"/>
                  </a:lnTo>
                  <a:lnTo>
                    <a:pt x="1152" y="314"/>
                  </a:lnTo>
                  <a:lnTo>
                    <a:pt x="1026" y="482"/>
                  </a:lnTo>
                  <a:lnTo>
                    <a:pt x="670" y="691"/>
                  </a:lnTo>
                  <a:lnTo>
                    <a:pt x="670" y="775"/>
                  </a:lnTo>
                  <a:lnTo>
                    <a:pt x="566" y="900"/>
                  </a:lnTo>
                  <a:lnTo>
                    <a:pt x="440" y="900"/>
                  </a:lnTo>
                  <a:lnTo>
                    <a:pt x="357" y="963"/>
                  </a:lnTo>
                  <a:lnTo>
                    <a:pt x="357" y="1047"/>
                  </a:lnTo>
                  <a:lnTo>
                    <a:pt x="336" y="1109"/>
                  </a:lnTo>
                  <a:lnTo>
                    <a:pt x="398" y="1298"/>
                  </a:lnTo>
                  <a:lnTo>
                    <a:pt x="398" y="1423"/>
                  </a:lnTo>
                  <a:lnTo>
                    <a:pt x="357" y="1465"/>
                  </a:lnTo>
                  <a:lnTo>
                    <a:pt x="357" y="1507"/>
                  </a:lnTo>
                  <a:lnTo>
                    <a:pt x="336" y="1570"/>
                  </a:lnTo>
                  <a:lnTo>
                    <a:pt x="294" y="1674"/>
                  </a:lnTo>
                  <a:lnTo>
                    <a:pt x="189" y="1716"/>
                  </a:lnTo>
                  <a:lnTo>
                    <a:pt x="147" y="1737"/>
                  </a:lnTo>
                  <a:lnTo>
                    <a:pt x="85" y="1737"/>
                  </a:lnTo>
                  <a:lnTo>
                    <a:pt x="22" y="1800"/>
                  </a:lnTo>
                  <a:lnTo>
                    <a:pt x="22" y="2009"/>
                  </a:lnTo>
                  <a:lnTo>
                    <a:pt x="85" y="2030"/>
                  </a:lnTo>
                  <a:lnTo>
                    <a:pt x="147" y="2156"/>
                  </a:lnTo>
                  <a:lnTo>
                    <a:pt x="147" y="2553"/>
                  </a:lnTo>
                  <a:lnTo>
                    <a:pt x="189" y="2762"/>
                  </a:lnTo>
                  <a:lnTo>
                    <a:pt x="189" y="2825"/>
                  </a:lnTo>
                  <a:lnTo>
                    <a:pt x="189" y="3139"/>
                  </a:lnTo>
                  <a:lnTo>
                    <a:pt x="252" y="3286"/>
                  </a:lnTo>
                  <a:lnTo>
                    <a:pt x="210" y="3599"/>
                  </a:lnTo>
                  <a:lnTo>
                    <a:pt x="189" y="3662"/>
                  </a:lnTo>
                  <a:lnTo>
                    <a:pt x="231" y="3788"/>
                  </a:lnTo>
                  <a:lnTo>
                    <a:pt x="252" y="3997"/>
                  </a:lnTo>
                  <a:lnTo>
                    <a:pt x="210" y="4081"/>
                  </a:lnTo>
                  <a:lnTo>
                    <a:pt x="85" y="4185"/>
                  </a:lnTo>
                  <a:lnTo>
                    <a:pt x="43" y="4227"/>
                  </a:lnTo>
                  <a:lnTo>
                    <a:pt x="1" y="4290"/>
                  </a:lnTo>
                  <a:lnTo>
                    <a:pt x="85" y="4353"/>
                  </a:lnTo>
                  <a:lnTo>
                    <a:pt x="210" y="4541"/>
                  </a:lnTo>
                  <a:lnTo>
                    <a:pt x="315" y="4771"/>
                  </a:lnTo>
                  <a:lnTo>
                    <a:pt x="357" y="4813"/>
                  </a:lnTo>
                  <a:lnTo>
                    <a:pt x="398" y="4938"/>
                  </a:lnTo>
                  <a:lnTo>
                    <a:pt x="357" y="5022"/>
                  </a:lnTo>
                  <a:lnTo>
                    <a:pt x="398" y="5169"/>
                  </a:lnTo>
                  <a:lnTo>
                    <a:pt x="440" y="5252"/>
                  </a:lnTo>
                  <a:lnTo>
                    <a:pt x="461" y="5357"/>
                  </a:lnTo>
                  <a:lnTo>
                    <a:pt x="545" y="5441"/>
                  </a:lnTo>
                  <a:lnTo>
                    <a:pt x="984" y="5441"/>
                  </a:lnTo>
                  <a:lnTo>
                    <a:pt x="1089" y="5503"/>
                  </a:lnTo>
                  <a:lnTo>
                    <a:pt x="1173" y="5650"/>
                  </a:lnTo>
                  <a:lnTo>
                    <a:pt x="1277" y="5880"/>
                  </a:lnTo>
                  <a:lnTo>
                    <a:pt x="1340" y="5922"/>
                  </a:lnTo>
                  <a:lnTo>
                    <a:pt x="1403" y="6006"/>
                  </a:lnTo>
                  <a:lnTo>
                    <a:pt x="1486" y="6089"/>
                  </a:lnTo>
                  <a:lnTo>
                    <a:pt x="2491" y="6319"/>
                  </a:lnTo>
                  <a:lnTo>
                    <a:pt x="2595" y="6424"/>
                  </a:lnTo>
                  <a:lnTo>
                    <a:pt x="3118" y="6215"/>
                  </a:lnTo>
                  <a:lnTo>
                    <a:pt x="3746" y="5964"/>
                  </a:lnTo>
                  <a:lnTo>
                    <a:pt x="8391" y="8307"/>
                  </a:lnTo>
                  <a:lnTo>
                    <a:pt x="8391" y="8098"/>
                  </a:lnTo>
                  <a:lnTo>
                    <a:pt x="8935" y="8056"/>
                  </a:lnTo>
                  <a:lnTo>
                    <a:pt x="8705" y="2344"/>
                  </a:lnTo>
                  <a:lnTo>
                    <a:pt x="8621" y="2051"/>
                  </a:lnTo>
                  <a:lnTo>
                    <a:pt x="8580" y="1905"/>
                  </a:lnTo>
                  <a:lnTo>
                    <a:pt x="8621" y="1716"/>
                  </a:lnTo>
                  <a:lnTo>
                    <a:pt x="8705" y="1507"/>
                  </a:lnTo>
                  <a:lnTo>
                    <a:pt x="8705" y="1381"/>
                  </a:lnTo>
                  <a:lnTo>
                    <a:pt x="8663" y="1214"/>
                  </a:lnTo>
                  <a:lnTo>
                    <a:pt x="8705" y="984"/>
                  </a:lnTo>
                  <a:lnTo>
                    <a:pt x="8726" y="879"/>
                  </a:lnTo>
                  <a:lnTo>
                    <a:pt x="8684" y="733"/>
                  </a:lnTo>
                  <a:lnTo>
                    <a:pt x="8600" y="649"/>
                  </a:lnTo>
                  <a:lnTo>
                    <a:pt x="8496" y="628"/>
                  </a:lnTo>
                  <a:lnTo>
                    <a:pt x="8391" y="649"/>
                  </a:lnTo>
                  <a:lnTo>
                    <a:pt x="7994" y="586"/>
                  </a:lnTo>
                  <a:lnTo>
                    <a:pt x="7931" y="524"/>
                  </a:lnTo>
                  <a:lnTo>
                    <a:pt x="7764" y="524"/>
                  </a:lnTo>
                  <a:lnTo>
                    <a:pt x="7575" y="461"/>
                  </a:lnTo>
                  <a:lnTo>
                    <a:pt x="7533" y="377"/>
                  </a:lnTo>
                  <a:lnTo>
                    <a:pt x="7575" y="356"/>
                  </a:lnTo>
                  <a:lnTo>
                    <a:pt x="7554" y="314"/>
                  </a:lnTo>
                  <a:lnTo>
                    <a:pt x="7324" y="168"/>
                  </a:lnTo>
                  <a:lnTo>
                    <a:pt x="7199" y="168"/>
                  </a:lnTo>
                  <a:lnTo>
                    <a:pt x="7010" y="126"/>
                  </a:lnTo>
                  <a:lnTo>
                    <a:pt x="6948" y="105"/>
                  </a:lnTo>
                  <a:lnTo>
                    <a:pt x="6885" y="147"/>
                  </a:lnTo>
                  <a:lnTo>
                    <a:pt x="6780" y="63"/>
                  </a:lnTo>
                  <a:lnTo>
                    <a:pt x="6717" y="63"/>
                  </a:lnTo>
                  <a:lnTo>
                    <a:pt x="6529" y="168"/>
                  </a:lnTo>
                  <a:lnTo>
                    <a:pt x="6257" y="210"/>
                  </a:lnTo>
                  <a:lnTo>
                    <a:pt x="6006" y="314"/>
                  </a:lnTo>
                  <a:lnTo>
                    <a:pt x="5880" y="440"/>
                  </a:lnTo>
                  <a:lnTo>
                    <a:pt x="5839" y="586"/>
                  </a:lnTo>
                  <a:lnTo>
                    <a:pt x="5776" y="670"/>
                  </a:lnTo>
                  <a:lnTo>
                    <a:pt x="5755" y="963"/>
                  </a:lnTo>
                  <a:lnTo>
                    <a:pt x="5859" y="1109"/>
                  </a:lnTo>
                  <a:lnTo>
                    <a:pt x="5943" y="1361"/>
                  </a:lnTo>
                  <a:lnTo>
                    <a:pt x="5880" y="1486"/>
                  </a:lnTo>
                  <a:lnTo>
                    <a:pt x="5734" y="1633"/>
                  </a:lnTo>
                  <a:lnTo>
                    <a:pt x="5692" y="1695"/>
                  </a:lnTo>
                  <a:lnTo>
                    <a:pt x="5525" y="1842"/>
                  </a:lnTo>
                  <a:lnTo>
                    <a:pt x="5378" y="1905"/>
                  </a:lnTo>
                  <a:lnTo>
                    <a:pt x="5148" y="1800"/>
                  </a:lnTo>
                  <a:lnTo>
                    <a:pt x="4918" y="1612"/>
                  </a:lnTo>
                  <a:lnTo>
                    <a:pt x="4730" y="1486"/>
                  </a:lnTo>
                  <a:lnTo>
                    <a:pt x="4479" y="1319"/>
                  </a:lnTo>
                  <a:lnTo>
                    <a:pt x="4060" y="1172"/>
                  </a:lnTo>
                  <a:lnTo>
                    <a:pt x="3872" y="1151"/>
                  </a:lnTo>
                  <a:lnTo>
                    <a:pt x="3788" y="1172"/>
                  </a:lnTo>
                  <a:lnTo>
                    <a:pt x="3579" y="1172"/>
                  </a:lnTo>
                  <a:lnTo>
                    <a:pt x="3390" y="1068"/>
                  </a:lnTo>
                  <a:lnTo>
                    <a:pt x="3223" y="733"/>
                  </a:lnTo>
                  <a:lnTo>
                    <a:pt x="3223" y="545"/>
                  </a:lnTo>
                  <a:lnTo>
                    <a:pt x="3056" y="356"/>
                  </a:lnTo>
                  <a:lnTo>
                    <a:pt x="2700" y="314"/>
                  </a:lnTo>
                  <a:lnTo>
                    <a:pt x="2512" y="168"/>
                  </a:lnTo>
                  <a:lnTo>
                    <a:pt x="2198" y="168"/>
                  </a:lnTo>
                  <a:lnTo>
                    <a:pt x="2010" y="105"/>
                  </a:lnTo>
                  <a:lnTo>
                    <a:pt x="1591" y="168"/>
                  </a:lnTo>
                  <a:lnTo>
                    <a:pt x="1298" y="126"/>
                  </a:lnTo>
                  <a:lnTo>
                    <a:pt x="1194" y="21"/>
                  </a:lnTo>
                  <a:lnTo>
                    <a:pt x="106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7" name="Google Shape;927;p34"/>
            <p:cNvSpPr/>
            <p:nvPr/>
          </p:nvSpPr>
          <p:spPr>
            <a:xfrm>
              <a:off x="3795917" y="2888589"/>
              <a:ext cx="27173" cy="50699"/>
            </a:xfrm>
            <a:custGeom>
              <a:avLst/>
              <a:gdLst/>
              <a:ahLst/>
              <a:cxnLst/>
              <a:rect l="l" t="t" r="r" b="b"/>
              <a:pathLst>
                <a:path w="2282" h="4458" extrusionOk="0">
                  <a:moveTo>
                    <a:pt x="1235" y="0"/>
                  </a:moveTo>
                  <a:lnTo>
                    <a:pt x="1110" y="21"/>
                  </a:lnTo>
                  <a:lnTo>
                    <a:pt x="1110" y="105"/>
                  </a:lnTo>
                  <a:lnTo>
                    <a:pt x="1026" y="21"/>
                  </a:lnTo>
                  <a:lnTo>
                    <a:pt x="859" y="42"/>
                  </a:lnTo>
                  <a:lnTo>
                    <a:pt x="650" y="147"/>
                  </a:lnTo>
                  <a:lnTo>
                    <a:pt x="524" y="272"/>
                  </a:lnTo>
                  <a:lnTo>
                    <a:pt x="503" y="356"/>
                  </a:lnTo>
                  <a:lnTo>
                    <a:pt x="524" y="440"/>
                  </a:lnTo>
                  <a:lnTo>
                    <a:pt x="503" y="586"/>
                  </a:lnTo>
                  <a:lnTo>
                    <a:pt x="503" y="775"/>
                  </a:lnTo>
                  <a:lnTo>
                    <a:pt x="399" y="1047"/>
                  </a:lnTo>
                  <a:lnTo>
                    <a:pt x="440" y="1193"/>
                  </a:lnTo>
                  <a:lnTo>
                    <a:pt x="503" y="1298"/>
                  </a:lnTo>
                  <a:lnTo>
                    <a:pt x="524" y="1319"/>
                  </a:lnTo>
                  <a:lnTo>
                    <a:pt x="482" y="1381"/>
                  </a:lnTo>
                  <a:lnTo>
                    <a:pt x="419" y="1465"/>
                  </a:lnTo>
                  <a:lnTo>
                    <a:pt x="503" y="1528"/>
                  </a:lnTo>
                  <a:lnTo>
                    <a:pt x="440" y="1591"/>
                  </a:lnTo>
                  <a:lnTo>
                    <a:pt x="419" y="1800"/>
                  </a:lnTo>
                  <a:lnTo>
                    <a:pt x="336" y="1842"/>
                  </a:lnTo>
                  <a:lnTo>
                    <a:pt x="294" y="1925"/>
                  </a:lnTo>
                  <a:lnTo>
                    <a:pt x="210" y="1946"/>
                  </a:lnTo>
                  <a:lnTo>
                    <a:pt x="85" y="2114"/>
                  </a:lnTo>
                  <a:lnTo>
                    <a:pt x="1" y="2365"/>
                  </a:lnTo>
                  <a:lnTo>
                    <a:pt x="64" y="2407"/>
                  </a:lnTo>
                  <a:lnTo>
                    <a:pt x="106" y="2553"/>
                  </a:lnTo>
                  <a:lnTo>
                    <a:pt x="85" y="2616"/>
                  </a:lnTo>
                  <a:lnTo>
                    <a:pt x="168" y="2741"/>
                  </a:lnTo>
                  <a:lnTo>
                    <a:pt x="210" y="2741"/>
                  </a:lnTo>
                  <a:lnTo>
                    <a:pt x="399" y="2888"/>
                  </a:lnTo>
                  <a:lnTo>
                    <a:pt x="419" y="3034"/>
                  </a:lnTo>
                  <a:lnTo>
                    <a:pt x="545" y="3076"/>
                  </a:lnTo>
                  <a:lnTo>
                    <a:pt x="608" y="3139"/>
                  </a:lnTo>
                  <a:lnTo>
                    <a:pt x="712" y="3160"/>
                  </a:lnTo>
                  <a:lnTo>
                    <a:pt x="838" y="3306"/>
                  </a:lnTo>
                  <a:lnTo>
                    <a:pt x="1215" y="4457"/>
                  </a:lnTo>
                  <a:lnTo>
                    <a:pt x="1277" y="4457"/>
                  </a:lnTo>
                  <a:lnTo>
                    <a:pt x="1319" y="4436"/>
                  </a:lnTo>
                  <a:lnTo>
                    <a:pt x="1424" y="4394"/>
                  </a:lnTo>
                  <a:lnTo>
                    <a:pt x="1466" y="4290"/>
                  </a:lnTo>
                  <a:lnTo>
                    <a:pt x="1487" y="4227"/>
                  </a:lnTo>
                  <a:lnTo>
                    <a:pt x="1487" y="4185"/>
                  </a:lnTo>
                  <a:lnTo>
                    <a:pt x="1528" y="4143"/>
                  </a:lnTo>
                  <a:lnTo>
                    <a:pt x="1528" y="4018"/>
                  </a:lnTo>
                  <a:lnTo>
                    <a:pt x="1466" y="3829"/>
                  </a:lnTo>
                  <a:lnTo>
                    <a:pt x="1487" y="3767"/>
                  </a:lnTo>
                  <a:lnTo>
                    <a:pt x="1487" y="3683"/>
                  </a:lnTo>
                  <a:lnTo>
                    <a:pt x="1570" y="3620"/>
                  </a:lnTo>
                  <a:lnTo>
                    <a:pt x="1696" y="3620"/>
                  </a:lnTo>
                  <a:lnTo>
                    <a:pt x="1800" y="3495"/>
                  </a:lnTo>
                  <a:lnTo>
                    <a:pt x="1800" y="3411"/>
                  </a:lnTo>
                  <a:lnTo>
                    <a:pt x="2156" y="3202"/>
                  </a:lnTo>
                  <a:lnTo>
                    <a:pt x="2282" y="3034"/>
                  </a:lnTo>
                  <a:lnTo>
                    <a:pt x="2219" y="2972"/>
                  </a:lnTo>
                  <a:lnTo>
                    <a:pt x="2177" y="2762"/>
                  </a:lnTo>
                  <a:lnTo>
                    <a:pt x="2198" y="2721"/>
                  </a:lnTo>
                  <a:lnTo>
                    <a:pt x="2156" y="2679"/>
                  </a:lnTo>
                  <a:lnTo>
                    <a:pt x="1968" y="2574"/>
                  </a:lnTo>
                  <a:lnTo>
                    <a:pt x="1947" y="2532"/>
                  </a:lnTo>
                  <a:lnTo>
                    <a:pt x="1947" y="2448"/>
                  </a:lnTo>
                  <a:lnTo>
                    <a:pt x="1863" y="2407"/>
                  </a:lnTo>
                  <a:lnTo>
                    <a:pt x="1842" y="2428"/>
                  </a:lnTo>
                  <a:lnTo>
                    <a:pt x="1842" y="2469"/>
                  </a:lnTo>
                  <a:lnTo>
                    <a:pt x="1779" y="2511"/>
                  </a:lnTo>
                  <a:lnTo>
                    <a:pt x="1696" y="2469"/>
                  </a:lnTo>
                  <a:lnTo>
                    <a:pt x="1675" y="2365"/>
                  </a:lnTo>
                  <a:lnTo>
                    <a:pt x="1591" y="2407"/>
                  </a:lnTo>
                  <a:lnTo>
                    <a:pt x="1424" y="2260"/>
                  </a:lnTo>
                  <a:lnTo>
                    <a:pt x="1340" y="2114"/>
                  </a:lnTo>
                  <a:lnTo>
                    <a:pt x="1382" y="1925"/>
                  </a:lnTo>
                  <a:lnTo>
                    <a:pt x="1675" y="1737"/>
                  </a:lnTo>
                  <a:lnTo>
                    <a:pt x="1842" y="1570"/>
                  </a:lnTo>
                  <a:lnTo>
                    <a:pt x="1884" y="1507"/>
                  </a:lnTo>
                  <a:lnTo>
                    <a:pt x="1842" y="1465"/>
                  </a:lnTo>
                  <a:lnTo>
                    <a:pt x="1884" y="1381"/>
                  </a:lnTo>
                  <a:lnTo>
                    <a:pt x="1863" y="1298"/>
                  </a:lnTo>
                  <a:lnTo>
                    <a:pt x="1842" y="1277"/>
                  </a:lnTo>
                  <a:lnTo>
                    <a:pt x="1842" y="1088"/>
                  </a:lnTo>
                  <a:lnTo>
                    <a:pt x="1654" y="1005"/>
                  </a:lnTo>
                  <a:lnTo>
                    <a:pt x="1528" y="837"/>
                  </a:lnTo>
                  <a:lnTo>
                    <a:pt x="1549" y="670"/>
                  </a:lnTo>
                  <a:lnTo>
                    <a:pt x="1675" y="586"/>
                  </a:lnTo>
                  <a:lnTo>
                    <a:pt x="1696" y="482"/>
                  </a:lnTo>
                  <a:lnTo>
                    <a:pt x="1800" y="314"/>
                  </a:lnTo>
                  <a:lnTo>
                    <a:pt x="1800" y="210"/>
                  </a:lnTo>
                  <a:lnTo>
                    <a:pt x="1759" y="147"/>
                  </a:lnTo>
                  <a:lnTo>
                    <a:pt x="1549" y="335"/>
                  </a:lnTo>
                  <a:lnTo>
                    <a:pt x="1487" y="419"/>
                  </a:lnTo>
                  <a:lnTo>
                    <a:pt x="1424" y="377"/>
                  </a:lnTo>
                  <a:lnTo>
                    <a:pt x="1340" y="168"/>
                  </a:lnTo>
                  <a:lnTo>
                    <a:pt x="1277" y="168"/>
                  </a:lnTo>
                  <a:lnTo>
                    <a:pt x="1277" y="63"/>
                  </a:lnTo>
                  <a:lnTo>
                    <a:pt x="123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" name="Google Shape;928;p34"/>
            <p:cNvSpPr/>
            <p:nvPr/>
          </p:nvSpPr>
          <p:spPr>
            <a:xfrm>
              <a:off x="3689035" y="2890250"/>
              <a:ext cx="138044" cy="127554"/>
            </a:xfrm>
            <a:custGeom>
              <a:avLst/>
              <a:gdLst/>
              <a:ahLst/>
              <a:cxnLst/>
              <a:rect l="l" t="t" r="r" b="b"/>
              <a:pathLst>
                <a:path w="11593" h="11216" extrusionOk="0">
                  <a:moveTo>
                    <a:pt x="8307" y="1"/>
                  </a:moveTo>
                  <a:lnTo>
                    <a:pt x="8161" y="22"/>
                  </a:lnTo>
                  <a:lnTo>
                    <a:pt x="8140" y="106"/>
                  </a:lnTo>
                  <a:lnTo>
                    <a:pt x="8035" y="126"/>
                  </a:lnTo>
                  <a:lnTo>
                    <a:pt x="7994" y="210"/>
                  </a:lnTo>
                  <a:lnTo>
                    <a:pt x="7910" y="189"/>
                  </a:lnTo>
                  <a:lnTo>
                    <a:pt x="7805" y="189"/>
                  </a:lnTo>
                  <a:lnTo>
                    <a:pt x="7701" y="294"/>
                  </a:lnTo>
                  <a:lnTo>
                    <a:pt x="7575" y="294"/>
                  </a:lnTo>
                  <a:lnTo>
                    <a:pt x="7491" y="168"/>
                  </a:lnTo>
                  <a:lnTo>
                    <a:pt x="7324" y="168"/>
                  </a:lnTo>
                  <a:lnTo>
                    <a:pt x="7261" y="126"/>
                  </a:lnTo>
                  <a:lnTo>
                    <a:pt x="7115" y="168"/>
                  </a:lnTo>
                  <a:lnTo>
                    <a:pt x="6989" y="126"/>
                  </a:lnTo>
                  <a:lnTo>
                    <a:pt x="6947" y="168"/>
                  </a:lnTo>
                  <a:lnTo>
                    <a:pt x="6843" y="106"/>
                  </a:lnTo>
                  <a:lnTo>
                    <a:pt x="6759" y="126"/>
                  </a:lnTo>
                  <a:lnTo>
                    <a:pt x="6696" y="273"/>
                  </a:lnTo>
                  <a:lnTo>
                    <a:pt x="6571" y="273"/>
                  </a:lnTo>
                  <a:lnTo>
                    <a:pt x="6466" y="210"/>
                  </a:lnTo>
                  <a:lnTo>
                    <a:pt x="6320" y="336"/>
                  </a:lnTo>
                  <a:lnTo>
                    <a:pt x="6236" y="336"/>
                  </a:lnTo>
                  <a:lnTo>
                    <a:pt x="6110" y="273"/>
                  </a:lnTo>
                  <a:lnTo>
                    <a:pt x="5964" y="315"/>
                  </a:lnTo>
                  <a:lnTo>
                    <a:pt x="5629" y="315"/>
                  </a:lnTo>
                  <a:lnTo>
                    <a:pt x="5336" y="524"/>
                  </a:lnTo>
                  <a:lnTo>
                    <a:pt x="5190" y="545"/>
                  </a:lnTo>
                  <a:lnTo>
                    <a:pt x="5106" y="545"/>
                  </a:lnTo>
                  <a:lnTo>
                    <a:pt x="4981" y="629"/>
                  </a:lnTo>
                  <a:lnTo>
                    <a:pt x="4960" y="712"/>
                  </a:lnTo>
                  <a:lnTo>
                    <a:pt x="4897" y="817"/>
                  </a:lnTo>
                  <a:lnTo>
                    <a:pt x="4813" y="817"/>
                  </a:lnTo>
                  <a:lnTo>
                    <a:pt x="4792" y="796"/>
                  </a:lnTo>
                  <a:lnTo>
                    <a:pt x="4709" y="796"/>
                  </a:lnTo>
                  <a:lnTo>
                    <a:pt x="4646" y="817"/>
                  </a:lnTo>
                  <a:lnTo>
                    <a:pt x="4604" y="859"/>
                  </a:lnTo>
                  <a:lnTo>
                    <a:pt x="4457" y="901"/>
                  </a:lnTo>
                  <a:lnTo>
                    <a:pt x="4332" y="942"/>
                  </a:lnTo>
                  <a:lnTo>
                    <a:pt x="4248" y="1026"/>
                  </a:lnTo>
                  <a:lnTo>
                    <a:pt x="4227" y="1068"/>
                  </a:lnTo>
                  <a:lnTo>
                    <a:pt x="4123" y="1214"/>
                  </a:lnTo>
                  <a:lnTo>
                    <a:pt x="3934" y="1256"/>
                  </a:lnTo>
                  <a:lnTo>
                    <a:pt x="3767" y="1256"/>
                  </a:lnTo>
                  <a:lnTo>
                    <a:pt x="3830" y="1340"/>
                  </a:lnTo>
                  <a:lnTo>
                    <a:pt x="3851" y="1382"/>
                  </a:lnTo>
                  <a:lnTo>
                    <a:pt x="3913" y="1486"/>
                  </a:lnTo>
                  <a:lnTo>
                    <a:pt x="3934" y="1591"/>
                  </a:lnTo>
                  <a:lnTo>
                    <a:pt x="3955" y="1633"/>
                  </a:lnTo>
                  <a:lnTo>
                    <a:pt x="3955" y="1800"/>
                  </a:lnTo>
                  <a:lnTo>
                    <a:pt x="3955" y="2051"/>
                  </a:lnTo>
                  <a:lnTo>
                    <a:pt x="3976" y="2114"/>
                  </a:lnTo>
                  <a:lnTo>
                    <a:pt x="4039" y="2575"/>
                  </a:lnTo>
                  <a:lnTo>
                    <a:pt x="4123" y="2721"/>
                  </a:lnTo>
                  <a:lnTo>
                    <a:pt x="4144" y="2847"/>
                  </a:lnTo>
                  <a:lnTo>
                    <a:pt x="4227" y="2847"/>
                  </a:lnTo>
                  <a:lnTo>
                    <a:pt x="4269" y="2909"/>
                  </a:lnTo>
                  <a:lnTo>
                    <a:pt x="4353" y="2930"/>
                  </a:lnTo>
                  <a:lnTo>
                    <a:pt x="4395" y="2951"/>
                  </a:lnTo>
                  <a:lnTo>
                    <a:pt x="4332" y="3119"/>
                  </a:lnTo>
                  <a:lnTo>
                    <a:pt x="4353" y="3160"/>
                  </a:lnTo>
                  <a:lnTo>
                    <a:pt x="4269" y="3265"/>
                  </a:lnTo>
                  <a:lnTo>
                    <a:pt x="3600" y="3265"/>
                  </a:lnTo>
                  <a:lnTo>
                    <a:pt x="3453" y="3307"/>
                  </a:lnTo>
                  <a:lnTo>
                    <a:pt x="3307" y="3516"/>
                  </a:lnTo>
                  <a:lnTo>
                    <a:pt x="3202" y="3621"/>
                  </a:lnTo>
                  <a:lnTo>
                    <a:pt x="3118" y="3746"/>
                  </a:lnTo>
                  <a:lnTo>
                    <a:pt x="3139" y="3935"/>
                  </a:lnTo>
                  <a:lnTo>
                    <a:pt x="3097" y="4060"/>
                  </a:lnTo>
                  <a:lnTo>
                    <a:pt x="2700" y="4311"/>
                  </a:lnTo>
                  <a:lnTo>
                    <a:pt x="2072" y="4688"/>
                  </a:lnTo>
                  <a:lnTo>
                    <a:pt x="1612" y="4939"/>
                  </a:lnTo>
                  <a:lnTo>
                    <a:pt x="1361" y="5002"/>
                  </a:lnTo>
                  <a:lnTo>
                    <a:pt x="1152" y="5002"/>
                  </a:lnTo>
                  <a:lnTo>
                    <a:pt x="1047" y="5043"/>
                  </a:lnTo>
                  <a:lnTo>
                    <a:pt x="880" y="5043"/>
                  </a:lnTo>
                  <a:lnTo>
                    <a:pt x="587" y="5106"/>
                  </a:lnTo>
                  <a:lnTo>
                    <a:pt x="398" y="5211"/>
                  </a:lnTo>
                  <a:lnTo>
                    <a:pt x="294" y="5357"/>
                  </a:lnTo>
                  <a:lnTo>
                    <a:pt x="43" y="5546"/>
                  </a:lnTo>
                  <a:lnTo>
                    <a:pt x="43" y="6048"/>
                  </a:lnTo>
                  <a:lnTo>
                    <a:pt x="1" y="6194"/>
                  </a:lnTo>
                  <a:lnTo>
                    <a:pt x="2093" y="7617"/>
                  </a:lnTo>
                  <a:lnTo>
                    <a:pt x="5901" y="10128"/>
                  </a:lnTo>
                  <a:lnTo>
                    <a:pt x="5943" y="10379"/>
                  </a:lnTo>
                  <a:lnTo>
                    <a:pt x="6069" y="10484"/>
                  </a:lnTo>
                  <a:lnTo>
                    <a:pt x="6278" y="10484"/>
                  </a:lnTo>
                  <a:lnTo>
                    <a:pt x="6445" y="10546"/>
                  </a:lnTo>
                  <a:lnTo>
                    <a:pt x="6550" y="10672"/>
                  </a:lnTo>
                  <a:lnTo>
                    <a:pt x="6696" y="10735"/>
                  </a:lnTo>
                  <a:lnTo>
                    <a:pt x="6801" y="10797"/>
                  </a:lnTo>
                  <a:lnTo>
                    <a:pt x="6801" y="10902"/>
                  </a:lnTo>
                  <a:lnTo>
                    <a:pt x="6738" y="11090"/>
                  </a:lnTo>
                  <a:lnTo>
                    <a:pt x="6780" y="11174"/>
                  </a:lnTo>
                  <a:lnTo>
                    <a:pt x="6906" y="11216"/>
                  </a:lnTo>
                  <a:lnTo>
                    <a:pt x="7178" y="11195"/>
                  </a:lnTo>
                  <a:lnTo>
                    <a:pt x="7408" y="11111"/>
                  </a:lnTo>
                  <a:lnTo>
                    <a:pt x="8266" y="10902"/>
                  </a:lnTo>
                  <a:lnTo>
                    <a:pt x="8998" y="10253"/>
                  </a:lnTo>
                  <a:lnTo>
                    <a:pt x="11592" y="8663"/>
                  </a:lnTo>
                  <a:lnTo>
                    <a:pt x="11509" y="8580"/>
                  </a:lnTo>
                  <a:lnTo>
                    <a:pt x="11446" y="8496"/>
                  </a:lnTo>
                  <a:lnTo>
                    <a:pt x="11383" y="8454"/>
                  </a:lnTo>
                  <a:lnTo>
                    <a:pt x="11279" y="8224"/>
                  </a:lnTo>
                  <a:lnTo>
                    <a:pt x="11195" y="8077"/>
                  </a:lnTo>
                  <a:lnTo>
                    <a:pt x="11090" y="8015"/>
                  </a:lnTo>
                  <a:lnTo>
                    <a:pt x="10651" y="8015"/>
                  </a:lnTo>
                  <a:lnTo>
                    <a:pt x="10567" y="7931"/>
                  </a:lnTo>
                  <a:lnTo>
                    <a:pt x="10546" y="7826"/>
                  </a:lnTo>
                  <a:lnTo>
                    <a:pt x="10504" y="7743"/>
                  </a:lnTo>
                  <a:lnTo>
                    <a:pt x="10463" y="7596"/>
                  </a:lnTo>
                  <a:lnTo>
                    <a:pt x="10504" y="7512"/>
                  </a:lnTo>
                  <a:lnTo>
                    <a:pt x="10463" y="7387"/>
                  </a:lnTo>
                  <a:lnTo>
                    <a:pt x="10421" y="7345"/>
                  </a:lnTo>
                  <a:lnTo>
                    <a:pt x="10316" y="7115"/>
                  </a:lnTo>
                  <a:lnTo>
                    <a:pt x="10191" y="6927"/>
                  </a:lnTo>
                  <a:lnTo>
                    <a:pt x="10107" y="6864"/>
                  </a:lnTo>
                  <a:lnTo>
                    <a:pt x="10149" y="6801"/>
                  </a:lnTo>
                  <a:lnTo>
                    <a:pt x="10191" y="6759"/>
                  </a:lnTo>
                  <a:lnTo>
                    <a:pt x="10316" y="6655"/>
                  </a:lnTo>
                  <a:lnTo>
                    <a:pt x="10358" y="6571"/>
                  </a:lnTo>
                  <a:lnTo>
                    <a:pt x="10337" y="6362"/>
                  </a:lnTo>
                  <a:lnTo>
                    <a:pt x="10295" y="6236"/>
                  </a:lnTo>
                  <a:lnTo>
                    <a:pt x="10316" y="6173"/>
                  </a:lnTo>
                  <a:lnTo>
                    <a:pt x="10358" y="5860"/>
                  </a:lnTo>
                  <a:lnTo>
                    <a:pt x="10295" y="5713"/>
                  </a:lnTo>
                  <a:lnTo>
                    <a:pt x="10295" y="5399"/>
                  </a:lnTo>
                  <a:lnTo>
                    <a:pt x="10295" y="5336"/>
                  </a:lnTo>
                  <a:lnTo>
                    <a:pt x="10253" y="5127"/>
                  </a:lnTo>
                  <a:lnTo>
                    <a:pt x="10253" y="4730"/>
                  </a:lnTo>
                  <a:lnTo>
                    <a:pt x="10191" y="4604"/>
                  </a:lnTo>
                  <a:lnTo>
                    <a:pt x="10128" y="4583"/>
                  </a:lnTo>
                  <a:lnTo>
                    <a:pt x="10128" y="4374"/>
                  </a:lnTo>
                  <a:lnTo>
                    <a:pt x="10191" y="4311"/>
                  </a:lnTo>
                  <a:lnTo>
                    <a:pt x="9814" y="3160"/>
                  </a:lnTo>
                  <a:lnTo>
                    <a:pt x="9688" y="3014"/>
                  </a:lnTo>
                  <a:lnTo>
                    <a:pt x="9584" y="2993"/>
                  </a:lnTo>
                  <a:lnTo>
                    <a:pt x="9521" y="2930"/>
                  </a:lnTo>
                  <a:lnTo>
                    <a:pt x="9395" y="2888"/>
                  </a:lnTo>
                  <a:lnTo>
                    <a:pt x="9375" y="2742"/>
                  </a:lnTo>
                  <a:lnTo>
                    <a:pt x="9186" y="2595"/>
                  </a:lnTo>
                  <a:lnTo>
                    <a:pt x="9144" y="2595"/>
                  </a:lnTo>
                  <a:lnTo>
                    <a:pt x="9061" y="2470"/>
                  </a:lnTo>
                  <a:lnTo>
                    <a:pt x="9082" y="2407"/>
                  </a:lnTo>
                  <a:lnTo>
                    <a:pt x="9040" y="2261"/>
                  </a:lnTo>
                  <a:lnTo>
                    <a:pt x="8977" y="2219"/>
                  </a:lnTo>
                  <a:lnTo>
                    <a:pt x="9061" y="1968"/>
                  </a:lnTo>
                  <a:lnTo>
                    <a:pt x="9186" y="1800"/>
                  </a:lnTo>
                  <a:lnTo>
                    <a:pt x="9270" y="1779"/>
                  </a:lnTo>
                  <a:lnTo>
                    <a:pt x="9312" y="1696"/>
                  </a:lnTo>
                  <a:lnTo>
                    <a:pt x="9395" y="1654"/>
                  </a:lnTo>
                  <a:lnTo>
                    <a:pt x="9416" y="1445"/>
                  </a:lnTo>
                  <a:lnTo>
                    <a:pt x="9479" y="1382"/>
                  </a:lnTo>
                  <a:lnTo>
                    <a:pt x="9395" y="1319"/>
                  </a:lnTo>
                  <a:lnTo>
                    <a:pt x="9458" y="1235"/>
                  </a:lnTo>
                  <a:lnTo>
                    <a:pt x="9500" y="1173"/>
                  </a:lnTo>
                  <a:lnTo>
                    <a:pt x="9479" y="1152"/>
                  </a:lnTo>
                  <a:lnTo>
                    <a:pt x="9416" y="1047"/>
                  </a:lnTo>
                  <a:lnTo>
                    <a:pt x="9375" y="901"/>
                  </a:lnTo>
                  <a:lnTo>
                    <a:pt x="9479" y="629"/>
                  </a:lnTo>
                  <a:lnTo>
                    <a:pt x="9479" y="440"/>
                  </a:lnTo>
                  <a:lnTo>
                    <a:pt x="9500" y="294"/>
                  </a:lnTo>
                  <a:lnTo>
                    <a:pt x="9479" y="210"/>
                  </a:lnTo>
                  <a:lnTo>
                    <a:pt x="9500" y="126"/>
                  </a:lnTo>
                  <a:lnTo>
                    <a:pt x="9479" y="106"/>
                  </a:lnTo>
                  <a:lnTo>
                    <a:pt x="9291" y="126"/>
                  </a:lnTo>
                  <a:lnTo>
                    <a:pt x="9207" y="106"/>
                  </a:lnTo>
                  <a:lnTo>
                    <a:pt x="8977" y="189"/>
                  </a:lnTo>
                  <a:lnTo>
                    <a:pt x="8851" y="85"/>
                  </a:lnTo>
                  <a:lnTo>
                    <a:pt x="8684" y="22"/>
                  </a:lnTo>
                  <a:lnTo>
                    <a:pt x="8684" y="85"/>
                  </a:lnTo>
                  <a:lnTo>
                    <a:pt x="8579" y="189"/>
                  </a:lnTo>
                  <a:lnTo>
                    <a:pt x="8370" y="168"/>
                  </a:lnTo>
                  <a:lnTo>
                    <a:pt x="8370" y="64"/>
                  </a:lnTo>
                  <a:lnTo>
                    <a:pt x="83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" name="Google Shape;929;p34"/>
            <p:cNvSpPr/>
            <p:nvPr/>
          </p:nvSpPr>
          <p:spPr>
            <a:xfrm>
              <a:off x="3661636" y="2898825"/>
              <a:ext cx="79733" cy="60206"/>
            </a:xfrm>
            <a:custGeom>
              <a:avLst/>
              <a:gdLst/>
              <a:ahLst/>
              <a:cxnLst/>
              <a:rect l="l" t="t" r="r" b="b"/>
              <a:pathLst>
                <a:path w="6696" h="5294" extrusionOk="0">
                  <a:moveTo>
                    <a:pt x="4269" y="0"/>
                  </a:moveTo>
                  <a:lnTo>
                    <a:pt x="4164" y="42"/>
                  </a:lnTo>
                  <a:lnTo>
                    <a:pt x="4122" y="84"/>
                  </a:lnTo>
                  <a:lnTo>
                    <a:pt x="4038" y="84"/>
                  </a:lnTo>
                  <a:lnTo>
                    <a:pt x="3913" y="188"/>
                  </a:lnTo>
                  <a:lnTo>
                    <a:pt x="3871" y="502"/>
                  </a:lnTo>
                  <a:lnTo>
                    <a:pt x="3766" y="691"/>
                  </a:lnTo>
                  <a:lnTo>
                    <a:pt x="3745" y="921"/>
                  </a:lnTo>
                  <a:lnTo>
                    <a:pt x="3662" y="1046"/>
                  </a:lnTo>
                  <a:lnTo>
                    <a:pt x="3411" y="1318"/>
                  </a:lnTo>
                  <a:lnTo>
                    <a:pt x="3327" y="1318"/>
                  </a:lnTo>
                  <a:lnTo>
                    <a:pt x="3222" y="1402"/>
                  </a:lnTo>
                  <a:lnTo>
                    <a:pt x="2992" y="1465"/>
                  </a:lnTo>
                  <a:lnTo>
                    <a:pt x="2825" y="1632"/>
                  </a:lnTo>
                  <a:lnTo>
                    <a:pt x="2783" y="1632"/>
                  </a:lnTo>
                  <a:lnTo>
                    <a:pt x="2553" y="1779"/>
                  </a:lnTo>
                  <a:lnTo>
                    <a:pt x="2406" y="1841"/>
                  </a:lnTo>
                  <a:lnTo>
                    <a:pt x="2344" y="1967"/>
                  </a:lnTo>
                  <a:lnTo>
                    <a:pt x="2072" y="2155"/>
                  </a:lnTo>
                  <a:lnTo>
                    <a:pt x="2155" y="2365"/>
                  </a:lnTo>
                  <a:lnTo>
                    <a:pt x="2155" y="2490"/>
                  </a:lnTo>
                  <a:lnTo>
                    <a:pt x="1925" y="2699"/>
                  </a:lnTo>
                  <a:lnTo>
                    <a:pt x="1758" y="3013"/>
                  </a:lnTo>
                  <a:lnTo>
                    <a:pt x="1758" y="3118"/>
                  </a:lnTo>
                  <a:lnTo>
                    <a:pt x="1862" y="3327"/>
                  </a:lnTo>
                  <a:lnTo>
                    <a:pt x="1779" y="3536"/>
                  </a:lnTo>
                  <a:lnTo>
                    <a:pt x="1841" y="3599"/>
                  </a:lnTo>
                  <a:lnTo>
                    <a:pt x="1883" y="3662"/>
                  </a:lnTo>
                  <a:lnTo>
                    <a:pt x="1862" y="3829"/>
                  </a:lnTo>
                  <a:lnTo>
                    <a:pt x="1507" y="4248"/>
                  </a:lnTo>
                  <a:lnTo>
                    <a:pt x="1444" y="4394"/>
                  </a:lnTo>
                  <a:lnTo>
                    <a:pt x="1297" y="4582"/>
                  </a:lnTo>
                  <a:lnTo>
                    <a:pt x="1109" y="4603"/>
                  </a:lnTo>
                  <a:lnTo>
                    <a:pt x="712" y="4959"/>
                  </a:lnTo>
                  <a:lnTo>
                    <a:pt x="147" y="5064"/>
                  </a:lnTo>
                  <a:lnTo>
                    <a:pt x="0" y="5273"/>
                  </a:lnTo>
                  <a:lnTo>
                    <a:pt x="2344" y="5294"/>
                  </a:lnTo>
                  <a:lnTo>
                    <a:pt x="2344" y="4792"/>
                  </a:lnTo>
                  <a:lnTo>
                    <a:pt x="2595" y="4603"/>
                  </a:lnTo>
                  <a:lnTo>
                    <a:pt x="2699" y="4457"/>
                  </a:lnTo>
                  <a:lnTo>
                    <a:pt x="2888" y="4352"/>
                  </a:lnTo>
                  <a:lnTo>
                    <a:pt x="3181" y="4289"/>
                  </a:lnTo>
                  <a:lnTo>
                    <a:pt x="3348" y="4289"/>
                  </a:lnTo>
                  <a:lnTo>
                    <a:pt x="3453" y="4248"/>
                  </a:lnTo>
                  <a:lnTo>
                    <a:pt x="3662" y="4248"/>
                  </a:lnTo>
                  <a:lnTo>
                    <a:pt x="3913" y="4185"/>
                  </a:lnTo>
                  <a:lnTo>
                    <a:pt x="4373" y="3934"/>
                  </a:lnTo>
                  <a:lnTo>
                    <a:pt x="5001" y="3557"/>
                  </a:lnTo>
                  <a:lnTo>
                    <a:pt x="5398" y="3306"/>
                  </a:lnTo>
                  <a:lnTo>
                    <a:pt x="5440" y="3181"/>
                  </a:lnTo>
                  <a:lnTo>
                    <a:pt x="5419" y="2992"/>
                  </a:lnTo>
                  <a:lnTo>
                    <a:pt x="5503" y="2867"/>
                  </a:lnTo>
                  <a:lnTo>
                    <a:pt x="5608" y="2762"/>
                  </a:lnTo>
                  <a:lnTo>
                    <a:pt x="5754" y="2553"/>
                  </a:lnTo>
                  <a:lnTo>
                    <a:pt x="5901" y="2511"/>
                  </a:lnTo>
                  <a:lnTo>
                    <a:pt x="6570" y="2511"/>
                  </a:lnTo>
                  <a:lnTo>
                    <a:pt x="6654" y="2406"/>
                  </a:lnTo>
                  <a:lnTo>
                    <a:pt x="6633" y="2365"/>
                  </a:lnTo>
                  <a:lnTo>
                    <a:pt x="6696" y="2197"/>
                  </a:lnTo>
                  <a:lnTo>
                    <a:pt x="6654" y="2176"/>
                  </a:lnTo>
                  <a:lnTo>
                    <a:pt x="6570" y="2155"/>
                  </a:lnTo>
                  <a:lnTo>
                    <a:pt x="6528" y="2093"/>
                  </a:lnTo>
                  <a:lnTo>
                    <a:pt x="6445" y="2093"/>
                  </a:lnTo>
                  <a:lnTo>
                    <a:pt x="6424" y="1967"/>
                  </a:lnTo>
                  <a:lnTo>
                    <a:pt x="6340" y="1821"/>
                  </a:lnTo>
                  <a:lnTo>
                    <a:pt x="6277" y="1360"/>
                  </a:lnTo>
                  <a:lnTo>
                    <a:pt x="6256" y="1297"/>
                  </a:lnTo>
                  <a:lnTo>
                    <a:pt x="6256" y="1046"/>
                  </a:lnTo>
                  <a:lnTo>
                    <a:pt x="6256" y="879"/>
                  </a:lnTo>
                  <a:lnTo>
                    <a:pt x="6235" y="837"/>
                  </a:lnTo>
                  <a:lnTo>
                    <a:pt x="6214" y="732"/>
                  </a:lnTo>
                  <a:lnTo>
                    <a:pt x="6152" y="628"/>
                  </a:lnTo>
                  <a:lnTo>
                    <a:pt x="6131" y="586"/>
                  </a:lnTo>
                  <a:lnTo>
                    <a:pt x="6068" y="502"/>
                  </a:lnTo>
                  <a:lnTo>
                    <a:pt x="6005" y="523"/>
                  </a:lnTo>
                  <a:lnTo>
                    <a:pt x="5691" y="502"/>
                  </a:lnTo>
                  <a:lnTo>
                    <a:pt x="5608" y="419"/>
                  </a:lnTo>
                  <a:lnTo>
                    <a:pt x="5587" y="314"/>
                  </a:lnTo>
                  <a:lnTo>
                    <a:pt x="5524" y="293"/>
                  </a:lnTo>
                  <a:lnTo>
                    <a:pt x="5419" y="398"/>
                  </a:lnTo>
                  <a:lnTo>
                    <a:pt x="5231" y="460"/>
                  </a:lnTo>
                  <a:lnTo>
                    <a:pt x="5064" y="398"/>
                  </a:lnTo>
                  <a:lnTo>
                    <a:pt x="4959" y="398"/>
                  </a:lnTo>
                  <a:lnTo>
                    <a:pt x="4854" y="460"/>
                  </a:lnTo>
                  <a:lnTo>
                    <a:pt x="4666" y="481"/>
                  </a:lnTo>
                  <a:lnTo>
                    <a:pt x="4541" y="460"/>
                  </a:lnTo>
                  <a:lnTo>
                    <a:pt x="4373" y="293"/>
                  </a:lnTo>
                  <a:lnTo>
                    <a:pt x="4331" y="251"/>
                  </a:lnTo>
                  <a:lnTo>
                    <a:pt x="4290" y="147"/>
                  </a:lnTo>
                  <a:lnTo>
                    <a:pt x="4290" y="84"/>
                  </a:lnTo>
                  <a:lnTo>
                    <a:pt x="4290" y="42"/>
                  </a:lnTo>
                  <a:lnTo>
                    <a:pt x="426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0" name="Google Shape;930;p34"/>
            <p:cNvSpPr/>
            <p:nvPr/>
          </p:nvSpPr>
          <p:spPr>
            <a:xfrm>
              <a:off x="3632974" y="2958780"/>
              <a:ext cx="56573" cy="43318"/>
            </a:xfrm>
            <a:custGeom>
              <a:avLst/>
              <a:gdLst/>
              <a:ahLst/>
              <a:cxnLst/>
              <a:rect l="l" t="t" r="r" b="b"/>
              <a:pathLst>
                <a:path w="4751" h="3809" extrusionOk="0">
                  <a:moveTo>
                    <a:pt x="2407" y="1"/>
                  </a:moveTo>
                  <a:lnTo>
                    <a:pt x="2177" y="315"/>
                  </a:lnTo>
                  <a:lnTo>
                    <a:pt x="2177" y="524"/>
                  </a:lnTo>
                  <a:lnTo>
                    <a:pt x="2072" y="545"/>
                  </a:lnTo>
                  <a:lnTo>
                    <a:pt x="1675" y="754"/>
                  </a:lnTo>
                  <a:lnTo>
                    <a:pt x="1633" y="859"/>
                  </a:lnTo>
                  <a:lnTo>
                    <a:pt x="1466" y="942"/>
                  </a:lnTo>
                  <a:lnTo>
                    <a:pt x="1528" y="1089"/>
                  </a:lnTo>
                  <a:lnTo>
                    <a:pt x="1194" y="1612"/>
                  </a:lnTo>
                  <a:lnTo>
                    <a:pt x="1152" y="1779"/>
                  </a:lnTo>
                  <a:lnTo>
                    <a:pt x="901" y="2030"/>
                  </a:lnTo>
                  <a:lnTo>
                    <a:pt x="796" y="2093"/>
                  </a:lnTo>
                  <a:lnTo>
                    <a:pt x="671" y="2365"/>
                  </a:lnTo>
                  <a:lnTo>
                    <a:pt x="671" y="2470"/>
                  </a:lnTo>
                  <a:lnTo>
                    <a:pt x="461" y="2763"/>
                  </a:lnTo>
                  <a:lnTo>
                    <a:pt x="419" y="2847"/>
                  </a:lnTo>
                  <a:lnTo>
                    <a:pt x="503" y="2888"/>
                  </a:lnTo>
                  <a:lnTo>
                    <a:pt x="398" y="2930"/>
                  </a:lnTo>
                  <a:lnTo>
                    <a:pt x="210" y="3265"/>
                  </a:lnTo>
                  <a:lnTo>
                    <a:pt x="147" y="3286"/>
                  </a:lnTo>
                  <a:lnTo>
                    <a:pt x="64" y="3370"/>
                  </a:lnTo>
                  <a:lnTo>
                    <a:pt x="85" y="3495"/>
                  </a:lnTo>
                  <a:lnTo>
                    <a:pt x="1" y="3621"/>
                  </a:lnTo>
                  <a:lnTo>
                    <a:pt x="43" y="3809"/>
                  </a:lnTo>
                  <a:lnTo>
                    <a:pt x="2344" y="3809"/>
                  </a:lnTo>
                  <a:lnTo>
                    <a:pt x="2303" y="2742"/>
                  </a:lnTo>
                  <a:lnTo>
                    <a:pt x="2386" y="2575"/>
                  </a:lnTo>
                  <a:lnTo>
                    <a:pt x="2512" y="2512"/>
                  </a:lnTo>
                  <a:lnTo>
                    <a:pt x="2658" y="2470"/>
                  </a:lnTo>
                  <a:lnTo>
                    <a:pt x="2867" y="2470"/>
                  </a:lnTo>
                  <a:lnTo>
                    <a:pt x="2888" y="963"/>
                  </a:lnTo>
                  <a:lnTo>
                    <a:pt x="4709" y="984"/>
                  </a:lnTo>
                  <a:lnTo>
                    <a:pt x="4709" y="168"/>
                  </a:lnTo>
                  <a:lnTo>
                    <a:pt x="4751" y="22"/>
                  </a:lnTo>
                  <a:lnTo>
                    <a:pt x="24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" name="Google Shape;931;p34"/>
            <p:cNvSpPr/>
            <p:nvPr/>
          </p:nvSpPr>
          <p:spPr>
            <a:xfrm>
              <a:off x="3632736" y="2960691"/>
              <a:ext cx="81233" cy="85430"/>
            </a:xfrm>
            <a:custGeom>
              <a:avLst/>
              <a:gdLst/>
              <a:ahLst/>
              <a:cxnLst/>
              <a:rect l="l" t="t" r="r" b="b"/>
              <a:pathLst>
                <a:path w="6822" h="7512" extrusionOk="0">
                  <a:moveTo>
                    <a:pt x="4729" y="0"/>
                  </a:moveTo>
                  <a:lnTo>
                    <a:pt x="4729" y="816"/>
                  </a:lnTo>
                  <a:lnTo>
                    <a:pt x="2908" y="795"/>
                  </a:lnTo>
                  <a:lnTo>
                    <a:pt x="2887" y="2302"/>
                  </a:lnTo>
                  <a:lnTo>
                    <a:pt x="2678" y="2302"/>
                  </a:lnTo>
                  <a:lnTo>
                    <a:pt x="2532" y="2344"/>
                  </a:lnTo>
                  <a:lnTo>
                    <a:pt x="2406" y="2407"/>
                  </a:lnTo>
                  <a:lnTo>
                    <a:pt x="2323" y="2574"/>
                  </a:lnTo>
                  <a:lnTo>
                    <a:pt x="2364" y="3641"/>
                  </a:lnTo>
                  <a:lnTo>
                    <a:pt x="63" y="3641"/>
                  </a:lnTo>
                  <a:lnTo>
                    <a:pt x="63" y="3662"/>
                  </a:lnTo>
                  <a:lnTo>
                    <a:pt x="0" y="3808"/>
                  </a:lnTo>
                  <a:lnTo>
                    <a:pt x="0" y="4039"/>
                  </a:lnTo>
                  <a:lnTo>
                    <a:pt x="126" y="3871"/>
                  </a:lnTo>
                  <a:lnTo>
                    <a:pt x="188" y="4018"/>
                  </a:lnTo>
                  <a:lnTo>
                    <a:pt x="209" y="4039"/>
                  </a:lnTo>
                  <a:lnTo>
                    <a:pt x="293" y="3976"/>
                  </a:lnTo>
                  <a:lnTo>
                    <a:pt x="439" y="4248"/>
                  </a:lnTo>
                  <a:lnTo>
                    <a:pt x="398" y="4331"/>
                  </a:lnTo>
                  <a:lnTo>
                    <a:pt x="418" y="4436"/>
                  </a:lnTo>
                  <a:lnTo>
                    <a:pt x="398" y="4645"/>
                  </a:lnTo>
                  <a:lnTo>
                    <a:pt x="314" y="4645"/>
                  </a:lnTo>
                  <a:lnTo>
                    <a:pt x="230" y="4687"/>
                  </a:lnTo>
                  <a:lnTo>
                    <a:pt x="418" y="4917"/>
                  </a:lnTo>
                  <a:lnTo>
                    <a:pt x="523" y="5524"/>
                  </a:lnTo>
                  <a:lnTo>
                    <a:pt x="481" y="5943"/>
                  </a:lnTo>
                  <a:lnTo>
                    <a:pt x="335" y="6131"/>
                  </a:lnTo>
                  <a:lnTo>
                    <a:pt x="272" y="6487"/>
                  </a:lnTo>
                  <a:lnTo>
                    <a:pt x="209" y="6738"/>
                  </a:lnTo>
                  <a:lnTo>
                    <a:pt x="314" y="6654"/>
                  </a:lnTo>
                  <a:lnTo>
                    <a:pt x="398" y="6654"/>
                  </a:lnTo>
                  <a:lnTo>
                    <a:pt x="523" y="6549"/>
                  </a:lnTo>
                  <a:lnTo>
                    <a:pt x="837" y="6487"/>
                  </a:lnTo>
                  <a:lnTo>
                    <a:pt x="1130" y="6382"/>
                  </a:lnTo>
                  <a:lnTo>
                    <a:pt x="1235" y="6382"/>
                  </a:lnTo>
                  <a:lnTo>
                    <a:pt x="1486" y="6466"/>
                  </a:lnTo>
                  <a:lnTo>
                    <a:pt x="1653" y="6487"/>
                  </a:lnTo>
                  <a:lnTo>
                    <a:pt x="1779" y="6654"/>
                  </a:lnTo>
                  <a:lnTo>
                    <a:pt x="1779" y="6738"/>
                  </a:lnTo>
                  <a:lnTo>
                    <a:pt x="1862" y="6759"/>
                  </a:lnTo>
                  <a:lnTo>
                    <a:pt x="1946" y="6696"/>
                  </a:lnTo>
                  <a:lnTo>
                    <a:pt x="1988" y="6738"/>
                  </a:lnTo>
                  <a:lnTo>
                    <a:pt x="2071" y="6738"/>
                  </a:lnTo>
                  <a:lnTo>
                    <a:pt x="2113" y="6780"/>
                  </a:lnTo>
                  <a:lnTo>
                    <a:pt x="2155" y="6905"/>
                  </a:lnTo>
                  <a:lnTo>
                    <a:pt x="2281" y="7010"/>
                  </a:lnTo>
                  <a:lnTo>
                    <a:pt x="2281" y="7156"/>
                  </a:lnTo>
                  <a:lnTo>
                    <a:pt x="2406" y="7177"/>
                  </a:lnTo>
                  <a:lnTo>
                    <a:pt x="2427" y="7303"/>
                  </a:lnTo>
                  <a:lnTo>
                    <a:pt x="2532" y="7324"/>
                  </a:lnTo>
                  <a:lnTo>
                    <a:pt x="2699" y="7428"/>
                  </a:lnTo>
                  <a:lnTo>
                    <a:pt x="2720" y="7512"/>
                  </a:lnTo>
                  <a:lnTo>
                    <a:pt x="2846" y="7407"/>
                  </a:lnTo>
                  <a:lnTo>
                    <a:pt x="3034" y="7407"/>
                  </a:lnTo>
                  <a:lnTo>
                    <a:pt x="3097" y="7261"/>
                  </a:lnTo>
                  <a:lnTo>
                    <a:pt x="3097" y="7177"/>
                  </a:lnTo>
                  <a:lnTo>
                    <a:pt x="3097" y="6947"/>
                  </a:lnTo>
                  <a:lnTo>
                    <a:pt x="3264" y="6884"/>
                  </a:lnTo>
                  <a:lnTo>
                    <a:pt x="3411" y="6884"/>
                  </a:lnTo>
                  <a:lnTo>
                    <a:pt x="3431" y="7052"/>
                  </a:lnTo>
                  <a:lnTo>
                    <a:pt x="3515" y="7219"/>
                  </a:lnTo>
                  <a:lnTo>
                    <a:pt x="3578" y="7282"/>
                  </a:lnTo>
                  <a:lnTo>
                    <a:pt x="3724" y="6989"/>
                  </a:lnTo>
                  <a:lnTo>
                    <a:pt x="3996" y="6863"/>
                  </a:lnTo>
                  <a:lnTo>
                    <a:pt x="4143" y="6905"/>
                  </a:lnTo>
                  <a:lnTo>
                    <a:pt x="4164" y="7093"/>
                  </a:lnTo>
                  <a:lnTo>
                    <a:pt x="4206" y="7156"/>
                  </a:lnTo>
                  <a:lnTo>
                    <a:pt x="4310" y="7052"/>
                  </a:lnTo>
                  <a:lnTo>
                    <a:pt x="4394" y="7052"/>
                  </a:lnTo>
                  <a:lnTo>
                    <a:pt x="4457" y="7114"/>
                  </a:lnTo>
                  <a:lnTo>
                    <a:pt x="4520" y="7156"/>
                  </a:lnTo>
                  <a:lnTo>
                    <a:pt x="6570" y="7156"/>
                  </a:lnTo>
                  <a:lnTo>
                    <a:pt x="6758" y="6633"/>
                  </a:lnTo>
                  <a:lnTo>
                    <a:pt x="6570" y="6528"/>
                  </a:lnTo>
                  <a:lnTo>
                    <a:pt x="6131" y="1423"/>
                  </a:lnTo>
                  <a:lnTo>
                    <a:pt x="6821" y="1423"/>
                  </a:lnTo>
                  <a:lnTo>
                    <a:pt x="472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" name="Google Shape;932;p34"/>
            <p:cNvSpPr/>
            <p:nvPr/>
          </p:nvSpPr>
          <p:spPr>
            <a:xfrm>
              <a:off x="3665125" y="2976874"/>
              <a:ext cx="112121" cy="99236"/>
            </a:xfrm>
            <a:custGeom>
              <a:avLst/>
              <a:gdLst/>
              <a:ahLst/>
              <a:cxnLst/>
              <a:rect l="l" t="t" r="r" b="b"/>
              <a:pathLst>
                <a:path w="9416" h="8726" extrusionOk="0">
                  <a:moveTo>
                    <a:pt x="3411" y="0"/>
                  </a:moveTo>
                  <a:lnTo>
                    <a:pt x="3850" y="5105"/>
                  </a:lnTo>
                  <a:lnTo>
                    <a:pt x="4038" y="5210"/>
                  </a:lnTo>
                  <a:lnTo>
                    <a:pt x="3850" y="5733"/>
                  </a:lnTo>
                  <a:lnTo>
                    <a:pt x="1800" y="5733"/>
                  </a:lnTo>
                  <a:lnTo>
                    <a:pt x="1737" y="5691"/>
                  </a:lnTo>
                  <a:lnTo>
                    <a:pt x="1674" y="5629"/>
                  </a:lnTo>
                  <a:lnTo>
                    <a:pt x="1590" y="5629"/>
                  </a:lnTo>
                  <a:lnTo>
                    <a:pt x="1486" y="5733"/>
                  </a:lnTo>
                  <a:lnTo>
                    <a:pt x="1444" y="5670"/>
                  </a:lnTo>
                  <a:lnTo>
                    <a:pt x="1423" y="5482"/>
                  </a:lnTo>
                  <a:lnTo>
                    <a:pt x="1276" y="5440"/>
                  </a:lnTo>
                  <a:lnTo>
                    <a:pt x="1004" y="5566"/>
                  </a:lnTo>
                  <a:lnTo>
                    <a:pt x="858" y="5859"/>
                  </a:lnTo>
                  <a:lnTo>
                    <a:pt x="795" y="5796"/>
                  </a:lnTo>
                  <a:lnTo>
                    <a:pt x="711" y="5629"/>
                  </a:lnTo>
                  <a:lnTo>
                    <a:pt x="691" y="5461"/>
                  </a:lnTo>
                  <a:lnTo>
                    <a:pt x="544" y="5461"/>
                  </a:lnTo>
                  <a:lnTo>
                    <a:pt x="377" y="5524"/>
                  </a:lnTo>
                  <a:lnTo>
                    <a:pt x="377" y="5754"/>
                  </a:lnTo>
                  <a:lnTo>
                    <a:pt x="377" y="5838"/>
                  </a:lnTo>
                  <a:lnTo>
                    <a:pt x="314" y="5984"/>
                  </a:lnTo>
                  <a:lnTo>
                    <a:pt x="126" y="5984"/>
                  </a:lnTo>
                  <a:lnTo>
                    <a:pt x="0" y="6089"/>
                  </a:lnTo>
                  <a:lnTo>
                    <a:pt x="84" y="6173"/>
                  </a:lnTo>
                  <a:lnTo>
                    <a:pt x="84" y="6277"/>
                  </a:lnTo>
                  <a:lnTo>
                    <a:pt x="105" y="6361"/>
                  </a:lnTo>
                  <a:lnTo>
                    <a:pt x="63" y="6591"/>
                  </a:lnTo>
                  <a:lnTo>
                    <a:pt x="84" y="6675"/>
                  </a:lnTo>
                  <a:lnTo>
                    <a:pt x="209" y="6800"/>
                  </a:lnTo>
                  <a:lnTo>
                    <a:pt x="272" y="6926"/>
                  </a:lnTo>
                  <a:lnTo>
                    <a:pt x="335" y="7010"/>
                  </a:lnTo>
                  <a:lnTo>
                    <a:pt x="398" y="6989"/>
                  </a:lnTo>
                  <a:lnTo>
                    <a:pt x="481" y="7030"/>
                  </a:lnTo>
                  <a:lnTo>
                    <a:pt x="502" y="7114"/>
                  </a:lnTo>
                  <a:lnTo>
                    <a:pt x="586" y="7219"/>
                  </a:lnTo>
                  <a:lnTo>
                    <a:pt x="586" y="7261"/>
                  </a:lnTo>
                  <a:lnTo>
                    <a:pt x="523" y="7344"/>
                  </a:lnTo>
                  <a:lnTo>
                    <a:pt x="544" y="7428"/>
                  </a:lnTo>
                  <a:lnTo>
                    <a:pt x="691" y="7512"/>
                  </a:lnTo>
                  <a:lnTo>
                    <a:pt x="691" y="7616"/>
                  </a:lnTo>
                  <a:lnTo>
                    <a:pt x="649" y="7679"/>
                  </a:lnTo>
                  <a:lnTo>
                    <a:pt x="732" y="7721"/>
                  </a:lnTo>
                  <a:lnTo>
                    <a:pt x="837" y="7658"/>
                  </a:lnTo>
                  <a:lnTo>
                    <a:pt x="921" y="7679"/>
                  </a:lnTo>
                  <a:lnTo>
                    <a:pt x="1046" y="7784"/>
                  </a:lnTo>
                  <a:lnTo>
                    <a:pt x="1214" y="7784"/>
                  </a:lnTo>
                  <a:lnTo>
                    <a:pt x="1318" y="7721"/>
                  </a:lnTo>
                  <a:lnTo>
                    <a:pt x="1381" y="7679"/>
                  </a:lnTo>
                  <a:lnTo>
                    <a:pt x="1486" y="7533"/>
                  </a:lnTo>
                  <a:lnTo>
                    <a:pt x="1632" y="7533"/>
                  </a:lnTo>
                  <a:lnTo>
                    <a:pt x="1779" y="7616"/>
                  </a:lnTo>
                  <a:lnTo>
                    <a:pt x="1800" y="7554"/>
                  </a:lnTo>
                  <a:lnTo>
                    <a:pt x="1904" y="7533"/>
                  </a:lnTo>
                  <a:lnTo>
                    <a:pt x="1946" y="7574"/>
                  </a:lnTo>
                  <a:lnTo>
                    <a:pt x="2072" y="7679"/>
                  </a:lnTo>
                  <a:lnTo>
                    <a:pt x="2113" y="7826"/>
                  </a:lnTo>
                  <a:lnTo>
                    <a:pt x="2092" y="7972"/>
                  </a:lnTo>
                  <a:lnTo>
                    <a:pt x="2155" y="8035"/>
                  </a:lnTo>
                  <a:lnTo>
                    <a:pt x="2281" y="8056"/>
                  </a:lnTo>
                  <a:lnTo>
                    <a:pt x="2281" y="8098"/>
                  </a:lnTo>
                  <a:lnTo>
                    <a:pt x="2176" y="8265"/>
                  </a:lnTo>
                  <a:lnTo>
                    <a:pt x="2113" y="8411"/>
                  </a:lnTo>
                  <a:lnTo>
                    <a:pt x="2113" y="8411"/>
                  </a:lnTo>
                  <a:lnTo>
                    <a:pt x="2218" y="8390"/>
                  </a:lnTo>
                  <a:lnTo>
                    <a:pt x="2281" y="8307"/>
                  </a:lnTo>
                  <a:lnTo>
                    <a:pt x="2364" y="8307"/>
                  </a:lnTo>
                  <a:lnTo>
                    <a:pt x="2364" y="8411"/>
                  </a:lnTo>
                  <a:lnTo>
                    <a:pt x="2385" y="8495"/>
                  </a:lnTo>
                  <a:lnTo>
                    <a:pt x="2385" y="8558"/>
                  </a:lnTo>
                  <a:lnTo>
                    <a:pt x="2532" y="8579"/>
                  </a:lnTo>
                  <a:lnTo>
                    <a:pt x="2595" y="8621"/>
                  </a:lnTo>
                  <a:lnTo>
                    <a:pt x="2595" y="8704"/>
                  </a:lnTo>
                  <a:lnTo>
                    <a:pt x="2783" y="8600"/>
                  </a:lnTo>
                  <a:lnTo>
                    <a:pt x="2846" y="8600"/>
                  </a:lnTo>
                  <a:lnTo>
                    <a:pt x="2992" y="8683"/>
                  </a:lnTo>
                  <a:lnTo>
                    <a:pt x="3222" y="8683"/>
                  </a:lnTo>
                  <a:lnTo>
                    <a:pt x="3264" y="8662"/>
                  </a:lnTo>
                  <a:lnTo>
                    <a:pt x="3264" y="8600"/>
                  </a:lnTo>
                  <a:lnTo>
                    <a:pt x="3452" y="8558"/>
                  </a:lnTo>
                  <a:lnTo>
                    <a:pt x="3620" y="8579"/>
                  </a:lnTo>
                  <a:lnTo>
                    <a:pt x="3578" y="8621"/>
                  </a:lnTo>
                  <a:lnTo>
                    <a:pt x="3620" y="8683"/>
                  </a:lnTo>
                  <a:lnTo>
                    <a:pt x="3787" y="8725"/>
                  </a:lnTo>
                  <a:lnTo>
                    <a:pt x="3892" y="8579"/>
                  </a:lnTo>
                  <a:lnTo>
                    <a:pt x="3976" y="8516"/>
                  </a:lnTo>
                  <a:lnTo>
                    <a:pt x="3997" y="8390"/>
                  </a:lnTo>
                  <a:lnTo>
                    <a:pt x="3976" y="8307"/>
                  </a:lnTo>
                  <a:lnTo>
                    <a:pt x="3976" y="8181"/>
                  </a:lnTo>
                  <a:lnTo>
                    <a:pt x="4080" y="8160"/>
                  </a:lnTo>
                  <a:lnTo>
                    <a:pt x="4059" y="7993"/>
                  </a:lnTo>
                  <a:lnTo>
                    <a:pt x="4038" y="7888"/>
                  </a:lnTo>
                  <a:lnTo>
                    <a:pt x="4143" y="7826"/>
                  </a:lnTo>
                  <a:lnTo>
                    <a:pt x="4269" y="7679"/>
                  </a:lnTo>
                  <a:lnTo>
                    <a:pt x="4457" y="7407"/>
                  </a:lnTo>
                  <a:lnTo>
                    <a:pt x="4561" y="7219"/>
                  </a:lnTo>
                  <a:lnTo>
                    <a:pt x="4582" y="7135"/>
                  </a:lnTo>
                  <a:lnTo>
                    <a:pt x="4708" y="6926"/>
                  </a:lnTo>
                  <a:lnTo>
                    <a:pt x="4792" y="6905"/>
                  </a:lnTo>
                  <a:lnTo>
                    <a:pt x="4813" y="6821"/>
                  </a:lnTo>
                  <a:lnTo>
                    <a:pt x="4980" y="6800"/>
                  </a:lnTo>
                  <a:lnTo>
                    <a:pt x="5043" y="6821"/>
                  </a:lnTo>
                  <a:lnTo>
                    <a:pt x="5336" y="6738"/>
                  </a:lnTo>
                  <a:lnTo>
                    <a:pt x="5398" y="6612"/>
                  </a:lnTo>
                  <a:lnTo>
                    <a:pt x="5712" y="6403"/>
                  </a:lnTo>
                  <a:lnTo>
                    <a:pt x="6152" y="6173"/>
                  </a:lnTo>
                  <a:lnTo>
                    <a:pt x="6277" y="6047"/>
                  </a:lnTo>
                  <a:lnTo>
                    <a:pt x="6465" y="5942"/>
                  </a:lnTo>
                  <a:lnTo>
                    <a:pt x="6758" y="5901"/>
                  </a:lnTo>
                  <a:lnTo>
                    <a:pt x="6884" y="5880"/>
                  </a:lnTo>
                  <a:lnTo>
                    <a:pt x="7072" y="5942"/>
                  </a:lnTo>
                  <a:lnTo>
                    <a:pt x="7177" y="5942"/>
                  </a:lnTo>
                  <a:lnTo>
                    <a:pt x="7198" y="5984"/>
                  </a:lnTo>
                  <a:lnTo>
                    <a:pt x="7219" y="5963"/>
                  </a:lnTo>
                  <a:lnTo>
                    <a:pt x="7344" y="5984"/>
                  </a:lnTo>
                  <a:lnTo>
                    <a:pt x="7742" y="5963"/>
                  </a:lnTo>
                  <a:lnTo>
                    <a:pt x="7867" y="5963"/>
                  </a:lnTo>
                  <a:lnTo>
                    <a:pt x="8035" y="5880"/>
                  </a:lnTo>
                  <a:lnTo>
                    <a:pt x="8390" y="5880"/>
                  </a:lnTo>
                  <a:lnTo>
                    <a:pt x="8558" y="5775"/>
                  </a:lnTo>
                  <a:lnTo>
                    <a:pt x="8746" y="5775"/>
                  </a:lnTo>
                  <a:lnTo>
                    <a:pt x="8893" y="5670"/>
                  </a:lnTo>
                  <a:lnTo>
                    <a:pt x="9186" y="5524"/>
                  </a:lnTo>
                  <a:lnTo>
                    <a:pt x="9227" y="5377"/>
                  </a:lnTo>
                  <a:lnTo>
                    <a:pt x="9269" y="5210"/>
                  </a:lnTo>
                  <a:lnTo>
                    <a:pt x="9332" y="5126"/>
                  </a:lnTo>
                  <a:lnTo>
                    <a:pt x="9395" y="4624"/>
                  </a:lnTo>
                  <a:lnTo>
                    <a:pt x="9416" y="3494"/>
                  </a:lnTo>
                  <a:lnTo>
                    <a:pt x="9186" y="3578"/>
                  </a:lnTo>
                  <a:lnTo>
                    <a:pt x="8914" y="3599"/>
                  </a:lnTo>
                  <a:lnTo>
                    <a:pt x="8788" y="3557"/>
                  </a:lnTo>
                  <a:lnTo>
                    <a:pt x="8746" y="3473"/>
                  </a:lnTo>
                  <a:lnTo>
                    <a:pt x="8809" y="3285"/>
                  </a:lnTo>
                  <a:lnTo>
                    <a:pt x="8809" y="3180"/>
                  </a:lnTo>
                  <a:lnTo>
                    <a:pt x="8704" y="3118"/>
                  </a:lnTo>
                  <a:lnTo>
                    <a:pt x="8558" y="3055"/>
                  </a:lnTo>
                  <a:lnTo>
                    <a:pt x="8453" y="2929"/>
                  </a:lnTo>
                  <a:lnTo>
                    <a:pt x="8286" y="2867"/>
                  </a:lnTo>
                  <a:lnTo>
                    <a:pt x="8077" y="2867"/>
                  </a:lnTo>
                  <a:lnTo>
                    <a:pt x="7951" y="2762"/>
                  </a:lnTo>
                  <a:lnTo>
                    <a:pt x="7909" y="2511"/>
                  </a:lnTo>
                  <a:lnTo>
                    <a:pt x="410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" name="Google Shape;933;p34"/>
            <p:cNvSpPr/>
            <p:nvPr/>
          </p:nvSpPr>
          <p:spPr>
            <a:xfrm>
              <a:off x="3712457" y="3043733"/>
              <a:ext cx="51833" cy="35948"/>
            </a:xfrm>
            <a:custGeom>
              <a:avLst/>
              <a:gdLst/>
              <a:ahLst/>
              <a:cxnLst/>
              <a:rect l="l" t="t" r="r" b="b"/>
              <a:pathLst>
                <a:path w="4353" h="3161" extrusionOk="0">
                  <a:moveTo>
                    <a:pt x="2909" y="1"/>
                  </a:moveTo>
                  <a:lnTo>
                    <a:pt x="2783" y="22"/>
                  </a:lnTo>
                  <a:lnTo>
                    <a:pt x="2490" y="63"/>
                  </a:lnTo>
                  <a:lnTo>
                    <a:pt x="2302" y="168"/>
                  </a:lnTo>
                  <a:lnTo>
                    <a:pt x="2177" y="294"/>
                  </a:lnTo>
                  <a:lnTo>
                    <a:pt x="1737" y="524"/>
                  </a:lnTo>
                  <a:lnTo>
                    <a:pt x="1423" y="733"/>
                  </a:lnTo>
                  <a:lnTo>
                    <a:pt x="1361" y="859"/>
                  </a:lnTo>
                  <a:lnTo>
                    <a:pt x="1068" y="942"/>
                  </a:lnTo>
                  <a:lnTo>
                    <a:pt x="1005" y="921"/>
                  </a:lnTo>
                  <a:lnTo>
                    <a:pt x="838" y="942"/>
                  </a:lnTo>
                  <a:lnTo>
                    <a:pt x="817" y="1026"/>
                  </a:lnTo>
                  <a:lnTo>
                    <a:pt x="733" y="1047"/>
                  </a:lnTo>
                  <a:lnTo>
                    <a:pt x="607" y="1256"/>
                  </a:lnTo>
                  <a:lnTo>
                    <a:pt x="586" y="1340"/>
                  </a:lnTo>
                  <a:lnTo>
                    <a:pt x="482" y="1528"/>
                  </a:lnTo>
                  <a:lnTo>
                    <a:pt x="294" y="1800"/>
                  </a:lnTo>
                  <a:lnTo>
                    <a:pt x="168" y="1947"/>
                  </a:lnTo>
                  <a:lnTo>
                    <a:pt x="63" y="2009"/>
                  </a:lnTo>
                  <a:lnTo>
                    <a:pt x="84" y="2114"/>
                  </a:lnTo>
                  <a:lnTo>
                    <a:pt x="105" y="2281"/>
                  </a:lnTo>
                  <a:lnTo>
                    <a:pt x="1" y="2302"/>
                  </a:lnTo>
                  <a:lnTo>
                    <a:pt x="1" y="2428"/>
                  </a:lnTo>
                  <a:lnTo>
                    <a:pt x="22" y="2511"/>
                  </a:lnTo>
                  <a:lnTo>
                    <a:pt x="1" y="2637"/>
                  </a:lnTo>
                  <a:lnTo>
                    <a:pt x="22" y="2637"/>
                  </a:lnTo>
                  <a:lnTo>
                    <a:pt x="189" y="2783"/>
                  </a:lnTo>
                  <a:lnTo>
                    <a:pt x="398" y="2888"/>
                  </a:lnTo>
                  <a:lnTo>
                    <a:pt x="503" y="2888"/>
                  </a:lnTo>
                  <a:lnTo>
                    <a:pt x="545" y="2930"/>
                  </a:lnTo>
                  <a:lnTo>
                    <a:pt x="649" y="2930"/>
                  </a:lnTo>
                  <a:lnTo>
                    <a:pt x="754" y="2993"/>
                  </a:lnTo>
                  <a:lnTo>
                    <a:pt x="838" y="3097"/>
                  </a:lnTo>
                  <a:lnTo>
                    <a:pt x="1026" y="3160"/>
                  </a:lnTo>
                  <a:lnTo>
                    <a:pt x="1151" y="3139"/>
                  </a:lnTo>
                  <a:lnTo>
                    <a:pt x="1256" y="3055"/>
                  </a:lnTo>
                  <a:lnTo>
                    <a:pt x="1340" y="3055"/>
                  </a:lnTo>
                  <a:lnTo>
                    <a:pt x="1423" y="3139"/>
                  </a:lnTo>
                  <a:lnTo>
                    <a:pt x="1549" y="3139"/>
                  </a:lnTo>
                  <a:lnTo>
                    <a:pt x="1549" y="2993"/>
                  </a:lnTo>
                  <a:lnTo>
                    <a:pt x="1465" y="2825"/>
                  </a:lnTo>
                  <a:lnTo>
                    <a:pt x="1423" y="2783"/>
                  </a:lnTo>
                  <a:lnTo>
                    <a:pt x="1361" y="2595"/>
                  </a:lnTo>
                  <a:lnTo>
                    <a:pt x="1382" y="2470"/>
                  </a:lnTo>
                  <a:lnTo>
                    <a:pt x="1591" y="2428"/>
                  </a:lnTo>
                  <a:lnTo>
                    <a:pt x="2365" y="2428"/>
                  </a:lnTo>
                  <a:lnTo>
                    <a:pt x="2574" y="2386"/>
                  </a:lnTo>
                  <a:lnTo>
                    <a:pt x="2721" y="2386"/>
                  </a:lnTo>
                  <a:lnTo>
                    <a:pt x="2846" y="2323"/>
                  </a:lnTo>
                  <a:lnTo>
                    <a:pt x="2930" y="2323"/>
                  </a:lnTo>
                  <a:lnTo>
                    <a:pt x="3537" y="2491"/>
                  </a:lnTo>
                  <a:lnTo>
                    <a:pt x="3558" y="2428"/>
                  </a:lnTo>
                  <a:lnTo>
                    <a:pt x="3683" y="2386"/>
                  </a:lnTo>
                  <a:lnTo>
                    <a:pt x="3683" y="2281"/>
                  </a:lnTo>
                  <a:lnTo>
                    <a:pt x="3767" y="2198"/>
                  </a:lnTo>
                  <a:lnTo>
                    <a:pt x="3767" y="2093"/>
                  </a:lnTo>
                  <a:lnTo>
                    <a:pt x="3871" y="2051"/>
                  </a:lnTo>
                  <a:lnTo>
                    <a:pt x="3955" y="2072"/>
                  </a:lnTo>
                  <a:lnTo>
                    <a:pt x="4143" y="1967"/>
                  </a:lnTo>
                  <a:lnTo>
                    <a:pt x="4206" y="1967"/>
                  </a:lnTo>
                  <a:lnTo>
                    <a:pt x="4353" y="1800"/>
                  </a:lnTo>
                  <a:lnTo>
                    <a:pt x="4353" y="1737"/>
                  </a:lnTo>
                  <a:lnTo>
                    <a:pt x="4311" y="1737"/>
                  </a:lnTo>
                  <a:lnTo>
                    <a:pt x="4185" y="1570"/>
                  </a:lnTo>
                  <a:lnTo>
                    <a:pt x="4248" y="1465"/>
                  </a:lnTo>
                  <a:lnTo>
                    <a:pt x="4248" y="1361"/>
                  </a:lnTo>
                  <a:lnTo>
                    <a:pt x="4185" y="1319"/>
                  </a:lnTo>
                  <a:lnTo>
                    <a:pt x="4185" y="1256"/>
                  </a:lnTo>
                  <a:lnTo>
                    <a:pt x="4102" y="1214"/>
                  </a:lnTo>
                  <a:lnTo>
                    <a:pt x="3871" y="1340"/>
                  </a:lnTo>
                  <a:lnTo>
                    <a:pt x="3662" y="1214"/>
                  </a:lnTo>
                  <a:lnTo>
                    <a:pt x="3662" y="963"/>
                  </a:lnTo>
                  <a:lnTo>
                    <a:pt x="3118" y="607"/>
                  </a:lnTo>
                  <a:lnTo>
                    <a:pt x="3118" y="419"/>
                  </a:lnTo>
                  <a:lnTo>
                    <a:pt x="3202" y="314"/>
                  </a:lnTo>
                  <a:lnTo>
                    <a:pt x="3202" y="168"/>
                  </a:lnTo>
                  <a:lnTo>
                    <a:pt x="3223" y="105"/>
                  </a:lnTo>
                  <a:lnTo>
                    <a:pt x="3202" y="63"/>
                  </a:lnTo>
                  <a:lnTo>
                    <a:pt x="3097" y="63"/>
                  </a:lnTo>
                  <a:lnTo>
                    <a:pt x="29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" name="Google Shape;934;p34"/>
            <p:cNvSpPr/>
            <p:nvPr/>
          </p:nvSpPr>
          <p:spPr>
            <a:xfrm>
              <a:off x="3628997" y="3033259"/>
              <a:ext cx="44355" cy="30956"/>
            </a:xfrm>
            <a:custGeom>
              <a:avLst/>
              <a:gdLst/>
              <a:ahLst/>
              <a:cxnLst/>
              <a:rect l="l" t="t" r="r" b="b"/>
              <a:pathLst>
                <a:path w="3725" h="2722" extrusionOk="0">
                  <a:moveTo>
                    <a:pt x="1444" y="1"/>
                  </a:moveTo>
                  <a:lnTo>
                    <a:pt x="1151" y="106"/>
                  </a:lnTo>
                  <a:lnTo>
                    <a:pt x="837" y="168"/>
                  </a:lnTo>
                  <a:lnTo>
                    <a:pt x="712" y="273"/>
                  </a:lnTo>
                  <a:lnTo>
                    <a:pt x="628" y="273"/>
                  </a:lnTo>
                  <a:lnTo>
                    <a:pt x="523" y="357"/>
                  </a:lnTo>
                  <a:lnTo>
                    <a:pt x="502" y="524"/>
                  </a:lnTo>
                  <a:lnTo>
                    <a:pt x="377" y="817"/>
                  </a:lnTo>
                  <a:lnTo>
                    <a:pt x="0" y="1131"/>
                  </a:lnTo>
                  <a:lnTo>
                    <a:pt x="188" y="1298"/>
                  </a:lnTo>
                  <a:lnTo>
                    <a:pt x="314" y="1528"/>
                  </a:lnTo>
                  <a:lnTo>
                    <a:pt x="419" y="1528"/>
                  </a:lnTo>
                  <a:lnTo>
                    <a:pt x="419" y="1654"/>
                  </a:lnTo>
                  <a:lnTo>
                    <a:pt x="398" y="1654"/>
                  </a:lnTo>
                  <a:lnTo>
                    <a:pt x="523" y="1759"/>
                  </a:lnTo>
                  <a:lnTo>
                    <a:pt x="440" y="1821"/>
                  </a:lnTo>
                  <a:lnTo>
                    <a:pt x="481" y="1863"/>
                  </a:lnTo>
                  <a:lnTo>
                    <a:pt x="732" y="1863"/>
                  </a:lnTo>
                  <a:lnTo>
                    <a:pt x="795" y="1842"/>
                  </a:lnTo>
                  <a:lnTo>
                    <a:pt x="900" y="1842"/>
                  </a:lnTo>
                  <a:lnTo>
                    <a:pt x="1109" y="1675"/>
                  </a:lnTo>
                  <a:lnTo>
                    <a:pt x="1256" y="1612"/>
                  </a:lnTo>
                  <a:lnTo>
                    <a:pt x="1360" y="1633"/>
                  </a:lnTo>
                  <a:lnTo>
                    <a:pt x="1486" y="1633"/>
                  </a:lnTo>
                  <a:lnTo>
                    <a:pt x="1674" y="1759"/>
                  </a:lnTo>
                  <a:lnTo>
                    <a:pt x="1779" y="1759"/>
                  </a:lnTo>
                  <a:lnTo>
                    <a:pt x="2051" y="1926"/>
                  </a:lnTo>
                  <a:lnTo>
                    <a:pt x="2093" y="1884"/>
                  </a:lnTo>
                  <a:lnTo>
                    <a:pt x="2155" y="1968"/>
                  </a:lnTo>
                  <a:lnTo>
                    <a:pt x="2093" y="2052"/>
                  </a:lnTo>
                  <a:lnTo>
                    <a:pt x="1967" y="2052"/>
                  </a:lnTo>
                  <a:lnTo>
                    <a:pt x="1779" y="1968"/>
                  </a:lnTo>
                  <a:lnTo>
                    <a:pt x="1632" y="1926"/>
                  </a:lnTo>
                  <a:lnTo>
                    <a:pt x="1528" y="1926"/>
                  </a:lnTo>
                  <a:lnTo>
                    <a:pt x="1381" y="1821"/>
                  </a:lnTo>
                  <a:lnTo>
                    <a:pt x="1318" y="1842"/>
                  </a:lnTo>
                  <a:lnTo>
                    <a:pt x="1235" y="1926"/>
                  </a:lnTo>
                  <a:lnTo>
                    <a:pt x="1214" y="1884"/>
                  </a:lnTo>
                  <a:lnTo>
                    <a:pt x="1130" y="1863"/>
                  </a:lnTo>
                  <a:lnTo>
                    <a:pt x="1005" y="1947"/>
                  </a:lnTo>
                  <a:lnTo>
                    <a:pt x="900" y="1968"/>
                  </a:lnTo>
                  <a:lnTo>
                    <a:pt x="795" y="2093"/>
                  </a:lnTo>
                  <a:lnTo>
                    <a:pt x="419" y="2093"/>
                  </a:lnTo>
                  <a:lnTo>
                    <a:pt x="377" y="2156"/>
                  </a:lnTo>
                  <a:lnTo>
                    <a:pt x="377" y="2282"/>
                  </a:lnTo>
                  <a:lnTo>
                    <a:pt x="314" y="2344"/>
                  </a:lnTo>
                  <a:lnTo>
                    <a:pt x="335" y="2386"/>
                  </a:lnTo>
                  <a:lnTo>
                    <a:pt x="481" y="2303"/>
                  </a:lnTo>
                  <a:lnTo>
                    <a:pt x="691" y="2386"/>
                  </a:lnTo>
                  <a:lnTo>
                    <a:pt x="544" y="2470"/>
                  </a:lnTo>
                  <a:lnTo>
                    <a:pt x="502" y="2449"/>
                  </a:lnTo>
                  <a:lnTo>
                    <a:pt x="398" y="2407"/>
                  </a:lnTo>
                  <a:lnTo>
                    <a:pt x="398" y="2407"/>
                  </a:lnTo>
                  <a:lnTo>
                    <a:pt x="440" y="2470"/>
                  </a:lnTo>
                  <a:lnTo>
                    <a:pt x="419" y="2575"/>
                  </a:lnTo>
                  <a:lnTo>
                    <a:pt x="586" y="2616"/>
                  </a:lnTo>
                  <a:lnTo>
                    <a:pt x="753" y="2512"/>
                  </a:lnTo>
                  <a:lnTo>
                    <a:pt x="1151" y="2554"/>
                  </a:lnTo>
                  <a:lnTo>
                    <a:pt x="1256" y="2407"/>
                  </a:lnTo>
                  <a:lnTo>
                    <a:pt x="1465" y="2344"/>
                  </a:lnTo>
                  <a:lnTo>
                    <a:pt x="1988" y="2344"/>
                  </a:lnTo>
                  <a:lnTo>
                    <a:pt x="2113" y="2386"/>
                  </a:lnTo>
                  <a:lnTo>
                    <a:pt x="2113" y="2365"/>
                  </a:lnTo>
                  <a:lnTo>
                    <a:pt x="2260" y="2344"/>
                  </a:lnTo>
                  <a:lnTo>
                    <a:pt x="2595" y="2365"/>
                  </a:lnTo>
                  <a:lnTo>
                    <a:pt x="2825" y="2470"/>
                  </a:lnTo>
                  <a:lnTo>
                    <a:pt x="2929" y="2554"/>
                  </a:lnTo>
                  <a:lnTo>
                    <a:pt x="3118" y="2554"/>
                  </a:lnTo>
                  <a:lnTo>
                    <a:pt x="3306" y="2616"/>
                  </a:lnTo>
                  <a:lnTo>
                    <a:pt x="3411" y="2554"/>
                  </a:lnTo>
                  <a:lnTo>
                    <a:pt x="3515" y="2575"/>
                  </a:lnTo>
                  <a:lnTo>
                    <a:pt x="3557" y="2616"/>
                  </a:lnTo>
                  <a:lnTo>
                    <a:pt x="3683" y="2616"/>
                  </a:lnTo>
                  <a:lnTo>
                    <a:pt x="3683" y="2721"/>
                  </a:lnTo>
                  <a:lnTo>
                    <a:pt x="3725" y="2658"/>
                  </a:lnTo>
                  <a:lnTo>
                    <a:pt x="3725" y="2554"/>
                  </a:lnTo>
                  <a:lnTo>
                    <a:pt x="3578" y="2470"/>
                  </a:lnTo>
                  <a:lnTo>
                    <a:pt x="3557" y="2386"/>
                  </a:lnTo>
                  <a:lnTo>
                    <a:pt x="3620" y="2303"/>
                  </a:lnTo>
                  <a:lnTo>
                    <a:pt x="3620" y="2261"/>
                  </a:lnTo>
                  <a:lnTo>
                    <a:pt x="3536" y="2156"/>
                  </a:lnTo>
                  <a:lnTo>
                    <a:pt x="3515" y="2072"/>
                  </a:lnTo>
                  <a:lnTo>
                    <a:pt x="3432" y="2031"/>
                  </a:lnTo>
                  <a:lnTo>
                    <a:pt x="3369" y="2052"/>
                  </a:lnTo>
                  <a:lnTo>
                    <a:pt x="3306" y="1968"/>
                  </a:lnTo>
                  <a:lnTo>
                    <a:pt x="3243" y="1842"/>
                  </a:lnTo>
                  <a:lnTo>
                    <a:pt x="3118" y="1717"/>
                  </a:lnTo>
                  <a:lnTo>
                    <a:pt x="3097" y="1633"/>
                  </a:lnTo>
                  <a:lnTo>
                    <a:pt x="3139" y="1403"/>
                  </a:lnTo>
                  <a:lnTo>
                    <a:pt x="3118" y="1319"/>
                  </a:lnTo>
                  <a:lnTo>
                    <a:pt x="3118" y="1215"/>
                  </a:lnTo>
                  <a:lnTo>
                    <a:pt x="3034" y="1131"/>
                  </a:lnTo>
                  <a:lnTo>
                    <a:pt x="3013" y="1047"/>
                  </a:lnTo>
                  <a:lnTo>
                    <a:pt x="2846" y="943"/>
                  </a:lnTo>
                  <a:lnTo>
                    <a:pt x="2741" y="922"/>
                  </a:lnTo>
                  <a:lnTo>
                    <a:pt x="2720" y="796"/>
                  </a:lnTo>
                  <a:lnTo>
                    <a:pt x="2595" y="775"/>
                  </a:lnTo>
                  <a:lnTo>
                    <a:pt x="2595" y="629"/>
                  </a:lnTo>
                  <a:lnTo>
                    <a:pt x="2469" y="524"/>
                  </a:lnTo>
                  <a:lnTo>
                    <a:pt x="2427" y="399"/>
                  </a:lnTo>
                  <a:lnTo>
                    <a:pt x="2385" y="357"/>
                  </a:lnTo>
                  <a:lnTo>
                    <a:pt x="2302" y="357"/>
                  </a:lnTo>
                  <a:lnTo>
                    <a:pt x="2260" y="315"/>
                  </a:lnTo>
                  <a:lnTo>
                    <a:pt x="2176" y="378"/>
                  </a:lnTo>
                  <a:lnTo>
                    <a:pt x="2093" y="357"/>
                  </a:lnTo>
                  <a:lnTo>
                    <a:pt x="2093" y="273"/>
                  </a:lnTo>
                  <a:lnTo>
                    <a:pt x="1967" y="106"/>
                  </a:lnTo>
                  <a:lnTo>
                    <a:pt x="1800" y="85"/>
                  </a:lnTo>
                  <a:lnTo>
                    <a:pt x="154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" name="Google Shape;935;p34"/>
            <p:cNvSpPr/>
            <p:nvPr/>
          </p:nvSpPr>
          <p:spPr>
            <a:xfrm>
              <a:off x="3633975" y="3059916"/>
              <a:ext cx="21195" cy="12146"/>
            </a:xfrm>
            <a:custGeom>
              <a:avLst/>
              <a:gdLst/>
              <a:ahLst/>
              <a:cxnLst/>
              <a:rect l="l" t="t" r="r" b="b"/>
              <a:pathLst>
                <a:path w="1780" h="1068" extrusionOk="0">
                  <a:moveTo>
                    <a:pt x="1047" y="0"/>
                  </a:moveTo>
                  <a:lnTo>
                    <a:pt x="838" y="63"/>
                  </a:lnTo>
                  <a:lnTo>
                    <a:pt x="733" y="210"/>
                  </a:lnTo>
                  <a:lnTo>
                    <a:pt x="335" y="168"/>
                  </a:lnTo>
                  <a:lnTo>
                    <a:pt x="168" y="272"/>
                  </a:lnTo>
                  <a:lnTo>
                    <a:pt x="1" y="231"/>
                  </a:lnTo>
                  <a:lnTo>
                    <a:pt x="1" y="231"/>
                  </a:lnTo>
                  <a:lnTo>
                    <a:pt x="63" y="314"/>
                  </a:lnTo>
                  <a:lnTo>
                    <a:pt x="273" y="335"/>
                  </a:lnTo>
                  <a:lnTo>
                    <a:pt x="335" y="335"/>
                  </a:lnTo>
                  <a:lnTo>
                    <a:pt x="231" y="419"/>
                  </a:lnTo>
                  <a:lnTo>
                    <a:pt x="335" y="524"/>
                  </a:lnTo>
                  <a:lnTo>
                    <a:pt x="440" y="524"/>
                  </a:lnTo>
                  <a:lnTo>
                    <a:pt x="482" y="586"/>
                  </a:lnTo>
                  <a:lnTo>
                    <a:pt x="545" y="586"/>
                  </a:lnTo>
                  <a:lnTo>
                    <a:pt x="691" y="544"/>
                  </a:lnTo>
                  <a:lnTo>
                    <a:pt x="838" y="524"/>
                  </a:lnTo>
                  <a:lnTo>
                    <a:pt x="1005" y="586"/>
                  </a:lnTo>
                  <a:lnTo>
                    <a:pt x="942" y="649"/>
                  </a:lnTo>
                  <a:lnTo>
                    <a:pt x="649" y="649"/>
                  </a:lnTo>
                  <a:lnTo>
                    <a:pt x="691" y="691"/>
                  </a:lnTo>
                  <a:lnTo>
                    <a:pt x="796" y="691"/>
                  </a:lnTo>
                  <a:lnTo>
                    <a:pt x="838" y="754"/>
                  </a:lnTo>
                  <a:lnTo>
                    <a:pt x="817" y="796"/>
                  </a:lnTo>
                  <a:lnTo>
                    <a:pt x="859" y="796"/>
                  </a:lnTo>
                  <a:lnTo>
                    <a:pt x="733" y="963"/>
                  </a:lnTo>
                  <a:lnTo>
                    <a:pt x="963" y="942"/>
                  </a:lnTo>
                  <a:lnTo>
                    <a:pt x="963" y="1047"/>
                  </a:lnTo>
                  <a:lnTo>
                    <a:pt x="1005" y="1068"/>
                  </a:lnTo>
                  <a:lnTo>
                    <a:pt x="1131" y="1047"/>
                  </a:lnTo>
                  <a:lnTo>
                    <a:pt x="1214" y="879"/>
                  </a:lnTo>
                  <a:lnTo>
                    <a:pt x="1319" y="858"/>
                  </a:lnTo>
                  <a:lnTo>
                    <a:pt x="1465" y="775"/>
                  </a:lnTo>
                  <a:lnTo>
                    <a:pt x="1675" y="733"/>
                  </a:lnTo>
                  <a:lnTo>
                    <a:pt x="1758" y="670"/>
                  </a:lnTo>
                  <a:lnTo>
                    <a:pt x="1779" y="565"/>
                  </a:lnTo>
                  <a:lnTo>
                    <a:pt x="1695" y="482"/>
                  </a:lnTo>
                  <a:lnTo>
                    <a:pt x="1695" y="314"/>
                  </a:lnTo>
                  <a:lnTo>
                    <a:pt x="1737" y="210"/>
                  </a:lnTo>
                  <a:lnTo>
                    <a:pt x="1695" y="42"/>
                  </a:lnTo>
                  <a:lnTo>
                    <a:pt x="157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36" name="Google Shape;936;p34"/>
            <p:cNvGrpSpPr/>
            <p:nvPr/>
          </p:nvGrpSpPr>
          <p:grpSpPr>
            <a:xfrm>
              <a:off x="3632736" y="3051591"/>
              <a:ext cx="63288" cy="45217"/>
              <a:chOff x="3450375" y="3038225"/>
              <a:chExt cx="132875" cy="99400"/>
            </a:xfrm>
          </p:grpSpPr>
          <p:sp>
            <p:nvSpPr>
              <p:cNvPr id="937" name="Google Shape;937;p34"/>
              <p:cNvSpPr/>
              <p:nvPr/>
            </p:nvSpPr>
            <p:spPr>
              <a:xfrm>
                <a:off x="3450375" y="3038225"/>
                <a:ext cx="46050" cy="13625"/>
              </a:xfrm>
              <a:custGeom>
                <a:avLst/>
                <a:gdLst/>
                <a:ahLst/>
                <a:cxnLst/>
                <a:rect l="l" t="t" r="r" b="b"/>
                <a:pathLst>
                  <a:path w="1842" h="545" extrusionOk="0">
                    <a:moveTo>
                      <a:pt x="942" y="0"/>
                    </a:moveTo>
                    <a:lnTo>
                      <a:pt x="795" y="63"/>
                    </a:lnTo>
                    <a:lnTo>
                      <a:pt x="586" y="230"/>
                    </a:lnTo>
                    <a:lnTo>
                      <a:pt x="481" y="230"/>
                    </a:lnTo>
                    <a:lnTo>
                      <a:pt x="418" y="251"/>
                    </a:lnTo>
                    <a:lnTo>
                      <a:pt x="167" y="251"/>
                    </a:lnTo>
                    <a:lnTo>
                      <a:pt x="188" y="335"/>
                    </a:lnTo>
                    <a:lnTo>
                      <a:pt x="314" y="419"/>
                    </a:lnTo>
                    <a:lnTo>
                      <a:pt x="439" y="377"/>
                    </a:lnTo>
                    <a:lnTo>
                      <a:pt x="439" y="377"/>
                    </a:lnTo>
                    <a:lnTo>
                      <a:pt x="377" y="460"/>
                    </a:lnTo>
                    <a:lnTo>
                      <a:pt x="209" y="460"/>
                    </a:lnTo>
                    <a:lnTo>
                      <a:pt x="105" y="314"/>
                    </a:lnTo>
                    <a:lnTo>
                      <a:pt x="0" y="419"/>
                    </a:lnTo>
                    <a:lnTo>
                      <a:pt x="63" y="481"/>
                    </a:lnTo>
                    <a:lnTo>
                      <a:pt x="63" y="544"/>
                    </a:lnTo>
                    <a:lnTo>
                      <a:pt x="105" y="481"/>
                    </a:lnTo>
                    <a:lnTo>
                      <a:pt x="481" y="481"/>
                    </a:lnTo>
                    <a:lnTo>
                      <a:pt x="586" y="356"/>
                    </a:lnTo>
                    <a:lnTo>
                      <a:pt x="691" y="335"/>
                    </a:lnTo>
                    <a:lnTo>
                      <a:pt x="816" y="251"/>
                    </a:lnTo>
                    <a:lnTo>
                      <a:pt x="900" y="272"/>
                    </a:lnTo>
                    <a:lnTo>
                      <a:pt x="921" y="314"/>
                    </a:lnTo>
                    <a:lnTo>
                      <a:pt x="1004" y="230"/>
                    </a:lnTo>
                    <a:lnTo>
                      <a:pt x="1067" y="209"/>
                    </a:lnTo>
                    <a:lnTo>
                      <a:pt x="1214" y="314"/>
                    </a:lnTo>
                    <a:lnTo>
                      <a:pt x="1318" y="314"/>
                    </a:lnTo>
                    <a:lnTo>
                      <a:pt x="1465" y="356"/>
                    </a:lnTo>
                    <a:lnTo>
                      <a:pt x="1653" y="440"/>
                    </a:lnTo>
                    <a:lnTo>
                      <a:pt x="1779" y="440"/>
                    </a:lnTo>
                    <a:lnTo>
                      <a:pt x="1841" y="356"/>
                    </a:lnTo>
                    <a:lnTo>
                      <a:pt x="1779" y="272"/>
                    </a:lnTo>
                    <a:lnTo>
                      <a:pt x="1737" y="314"/>
                    </a:lnTo>
                    <a:lnTo>
                      <a:pt x="1465" y="147"/>
                    </a:lnTo>
                    <a:lnTo>
                      <a:pt x="1360" y="147"/>
                    </a:lnTo>
                    <a:lnTo>
                      <a:pt x="1172" y="21"/>
                    </a:lnTo>
                    <a:lnTo>
                      <a:pt x="1046" y="21"/>
                    </a:lnTo>
                    <a:lnTo>
                      <a:pt x="94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" name="Google Shape;938;p34"/>
              <p:cNvSpPr/>
              <p:nvPr/>
            </p:nvSpPr>
            <p:spPr>
              <a:xfrm>
                <a:off x="3481225" y="3056525"/>
                <a:ext cx="102025" cy="81100"/>
              </a:xfrm>
              <a:custGeom>
                <a:avLst/>
                <a:gdLst/>
                <a:ahLst/>
                <a:cxnLst/>
                <a:rect l="l" t="t" r="r" b="b"/>
                <a:pathLst>
                  <a:path w="4081" h="3244" extrusionOk="0">
                    <a:moveTo>
                      <a:pt x="712" y="0"/>
                    </a:moveTo>
                    <a:lnTo>
                      <a:pt x="565" y="21"/>
                    </a:lnTo>
                    <a:lnTo>
                      <a:pt x="565" y="42"/>
                    </a:lnTo>
                    <a:lnTo>
                      <a:pt x="607" y="210"/>
                    </a:lnTo>
                    <a:lnTo>
                      <a:pt x="565" y="314"/>
                    </a:lnTo>
                    <a:lnTo>
                      <a:pt x="565" y="482"/>
                    </a:lnTo>
                    <a:lnTo>
                      <a:pt x="649" y="565"/>
                    </a:lnTo>
                    <a:lnTo>
                      <a:pt x="628" y="670"/>
                    </a:lnTo>
                    <a:lnTo>
                      <a:pt x="545" y="733"/>
                    </a:lnTo>
                    <a:lnTo>
                      <a:pt x="335" y="775"/>
                    </a:lnTo>
                    <a:lnTo>
                      <a:pt x="189" y="858"/>
                    </a:lnTo>
                    <a:lnTo>
                      <a:pt x="84" y="879"/>
                    </a:lnTo>
                    <a:lnTo>
                      <a:pt x="1" y="1046"/>
                    </a:lnTo>
                    <a:lnTo>
                      <a:pt x="21" y="1005"/>
                    </a:lnTo>
                    <a:lnTo>
                      <a:pt x="105" y="1109"/>
                    </a:lnTo>
                    <a:lnTo>
                      <a:pt x="42" y="1319"/>
                    </a:lnTo>
                    <a:lnTo>
                      <a:pt x="189" y="1507"/>
                    </a:lnTo>
                    <a:lnTo>
                      <a:pt x="314" y="1528"/>
                    </a:lnTo>
                    <a:lnTo>
                      <a:pt x="398" y="1570"/>
                    </a:lnTo>
                    <a:lnTo>
                      <a:pt x="440" y="1486"/>
                    </a:lnTo>
                    <a:lnTo>
                      <a:pt x="545" y="1528"/>
                    </a:lnTo>
                    <a:lnTo>
                      <a:pt x="503" y="1570"/>
                    </a:lnTo>
                    <a:lnTo>
                      <a:pt x="503" y="1674"/>
                    </a:lnTo>
                    <a:lnTo>
                      <a:pt x="545" y="1716"/>
                    </a:lnTo>
                    <a:lnTo>
                      <a:pt x="670" y="1716"/>
                    </a:lnTo>
                    <a:lnTo>
                      <a:pt x="733" y="1904"/>
                    </a:lnTo>
                    <a:lnTo>
                      <a:pt x="879" y="1988"/>
                    </a:lnTo>
                    <a:lnTo>
                      <a:pt x="963" y="2051"/>
                    </a:lnTo>
                    <a:lnTo>
                      <a:pt x="1047" y="2030"/>
                    </a:lnTo>
                    <a:lnTo>
                      <a:pt x="1235" y="1946"/>
                    </a:lnTo>
                    <a:lnTo>
                      <a:pt x="1235" y="1884"/>
                    </a:lnTo>
                    <a:lnTo>
                      <a:pt x="1381" y="1716"/>
                    </a:lnTo>
                    <a:lnTo>
                      <a:pt x="1486" y="1632"/>
                    </a:lnTo>
                    <a:lnTo>
                      <a:pt x="1612" y="1570"/>
                    </a:lnTo>
                    <a:lnTo>
                      <a:pt x="2114" y="1570"/>
                    </a:lnTo>
                    <a:lnTo>
                      <a:pt x="2197" y="1716"/>
                    </a:lnTo>
                    <a:lnTo>
                      <a:pt x="2239" y="1821"/>
                    </a:lnTo>
                    <a:lnTo>
                      <a:pt x="2407" y="2093"/>
                    </a:lnTo>
                    <a:lnTo>
                      <a:pt x="2386" y="2156"/>
                    </a:lnTo>
                    <a:lnTo>
                      <a:pt x="2490" y="2260"/>
                    </a:lnTo>
                    <a:lnTo>
                      <a:pt x="2490" y="2365"/>
                    </a:lnTo>
                    <a:lnTo>
                      <a:pt x="2407" y="2407"/>
                    </a:lnTo>
                    <a:lnTo>
                      <a:pt x="2407" y="2511"/>
                    </a:lnTo>
                    <a:lnTo>
                      <a:pt x="2449" y="2532"/>
                    </a:lnTo>
                    <a:lnTo>
                      <a:pt x="2449" y="2574"/>
                    </a:lnTo>
                    <a:lnTo>
                      <a:pt x="2595" y="2532"/>
                    </a:lnTo>
                    <a:lnTo>
                      <a:pt x="2637" y="2532"/>
                    </a:lnTo>
                    <a:lnTo>
                      <a:pt x="2867" y="2449"/>
                    </a:lnTo>
                    <a:lnTo>
                      <a:pt x="3014" y="2511"/>
                    </a:lnTo>
                    <a:lnTo>
                      <a:pt x="3055" y="2637"/>
                    </a:lnTo>
                    <a:lnTo>
                      <a:pt x="3181" y="2721"/>
                    </a:lnTo>
                    <a:lnTo>
                      <a:pt x="3160" y="2930"/>
                    </a:lnTo>
                    <a:lnTo>
                      <a:pt x="3139" y="3055"/>
                    </a:lnTo>
                    <a:lnTo>
                      <a:pt x="3286" y="3202"/>
                    </a:lnTo>
                    <a:lnTo>
                      <a:pt x="3369" y="3202"/>
                    </a:lnTo>
                    <a:lnTo>
                      <a:pt x="3537" y="3076"/>
                    </a:lnTo>
                    <a:lnTo>
                      <a:pt x="3578" y="3076"/>
                    </a:lnTo>
                    <a:lnTo>
                      <a:pt x="3683" y="3181"/>
                    </a:lnTo>
                    <a:lnTo>
                      <a:pt x="3704" y="3244"/>
                    </a:lnTo>
                    <a:lnTo>
                      <a:pt x="3704" y="3202"/>
                    </a:lnTo>
                    <a:lnTo>
                      <a:pt x="3809" y="3181"/>
                    </a:lnTo>
                    <a:lnTo>
                      <a:pt x="3976" y="2846"/>
                    </a:lnTo>
                    <a:lnTo>
                      <a:pt x="3976" y="2721"/>
                    </a:lnTo>
                    <a:lnTo>
                      <a:pt x="3955" y="2658"/>
                    </a:lnTo>
                    <a:lnTo>
                      <a:pt x="3850" y="2553"/>
                    </a:lnTo>
                    <a:lnTo>
                      <a:pt x="3850" y="2469"/>
                    </a:lnTo>
                    <a:lnTo>
                      <a:pt x="3913" y="2428"/>
                    </a:lnTo>
                    <a:lnTo>
                      <a:pt x="3997" y="2449"/>
                    </a:lnTo>
                    <a:lnTo>
                      <a:pt x="4018" y="2365"/>
                    </a:lnTo>
                    <a:lnTo>
                      <a:pt x="3955" y="2239"/>
                    </a:lnTo>
                    <a:lnTo>
                      <a:pt x="3871" y="2218"/>
                    </a:lnTo>
                    <a:lnTo>
                      <a:pt x="3871" y="2009"/>
                    </a:lnTo>
                    <a:lnTo>
                      <a:pt x="3892" y="1925"/>
                    </a:lnTo>
                    <a:lnTo>
                      <a:pt x="3871" y="1674"/>
                    </a:lnTo>
                    <a:lnTo>
                      <a:pt x="3809" y="1612"/>
                    </a:lnTo>
                    <a:lnTo>
                      <a:pt x="3809" y="1507"/>
                    </a:lnTo>
                    <a:lnTo>
                      <a:pt x="4060" y="1423"/>
                    </a:lnTo>
                    <a:lnTo>
                      <a:pt x="4081" y="1402"/>
                    </a:lnTo>
                    <a:lnTo>
                      <a:pt x="4081" y="1319"/>
                    </a:lnTo>
                    <a:lnTo>
                      <a:pt x="4018" y="1277"/>
                    </a:lnTo>
                    <a:lnTo>
                      <a:pt x="3871" y="1256"/>
                    </a:lnTo>
                    <a:lnTo>
                      <a:pt x="3871" y="1193"/>
                    </a:lnTo>
                    <a:lnTo>
                      <a:pt x="3850" y="1109"/>
                    </a:lnTo>
                    <a:lnTo>
                      <a:pt x="3850" y="1005"/>
                    </a:lnTo>
                    <a:lnTo>
                      <a:pt x="3767" y="1005"/>
                    </a:lnTo>
                    <a:lnTo>
                      <a:pt x="3704" y="1088"/>
                    </a:lnTo>
                    <a:lnTo>
                      <a:pt x="3599" y="1109"/>
                    </a:lnTo>
                    <a:lnTo>
                      <a:pt x="3599" y="1109"/>
                    </a:lnTo>
                    <a:lnTo>
                      <a:pt x="3662" y="963"/>
                    </a:lnTo>
                    <a:lnTo>
                      <a:pt x="3767" y="796"/>
                    </a:lnTo>
                    <a:lnTo>
                      <a:pt x="3767" y="754"/>
                    </a:lnTo>
                    <a:lnTo>
                      <a:pt x="3641" y="733"/>
                    </a:lnTo>
                    <a:lnTo>
                      <a:pt x="3578" y="670"/>
                    </a:lnTo>
                    <a:lnTo>
                      <a:pt x="3599" y="524"/>
                    </a:lnTo>
                    <a:lnTo>
                      <a:pt x="3558" y="377"/>
                    </a:lnTo>
                    <a:lnTo>
                      <a:pt x="3432" y="272"/>
                    </a:lnTo>
                    <a:lnTo>
                      <a:pt x="3390" y="231"/>
                    </a:lnTo>
                    <a:lnTo>
                      <a:pt x="3286" y="252"/>
                    </a:lnTo>
                    <a:lnTo>
                      <a:pt x="3265" y="314"/>
                    </a:lnTo>
                    <a:lnTo>
                      <a:pt x="3118" y="231"/>
                    </a:lnTo>
                    <a:lnTo>
                      <a:pt x="2972" y="231"/>
                    </a:lnTo>
                    <a:lnTo>
                      <a:pt x="2867" y="377"/>
                    </a:lnTo>
                    <a:lnTo>
                      <a:pt x="2804" y="419"/>
                    </a:lnTo>
                    <a:lnTo>
                      <a:pt x="2700" y="482"/>
                    </a:lnTo>
                    <a:lnTo>
                      <a:pt x="2532" y="482"/>
                    </a:lnTo>
                    <a:lnTo>
                      <a:pt x="2407" y="377"/>
                    </a:lnTo>
                    <a:lnTo>
                      <a:pt x="2323" y="356"/>
                    </a:lnTo>
                    <a:lnTo>
                      <a:pt x="2218" y="419"/>
                    </a:lnTo>
                    <a:lnTo>
                      <a:pt x="2135" y="377"/>
                    </a:lnTo>
                    <a:lnTo>
                      <a:pt x="2135" y="272"/>
                    </a:lnTo>
                    <a:lnTo>
                      <a:pt x="2009" y="272"/>
                    </a:lnTo>
                    <a:lnTo>
                      <a:pt x="1967" y="231"/>
                    </a:lnTo>
                    <a:lnTo>
                      <a:pt x="1863" y="210"/>
                    </a:lnTo>
                    <a:lnTo>
                      <a:pt x="1758" y="272"/>
                    </a:lnTo>
                    <a:lnTo>
                      <a:pt x="1570" y="210"/>
                    </a:lnTo>
                    <a:lnTo>
                      <a:pt x="1381" y="210"/>
                    </a:lnTo>
                    <a:lnTo>
                      <a:pt x="1277" y="126"/>
                    </a:lnTo>
                    <a:lnTo>
                      <a:pt x="1047" y="21"/>
                    </a:lnTo>
                    <a:lnTo>
                      <a:pt x="71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39" name="Google Shape;939;p34"/>
            <p:cNvSpPr/>
            <p:nvPr/>
          </p:nvSpPr>
          <p:spPr>
            <a:xfrm>
              <a:off x="3657897" y="3077759"/>
              <a:ext cx="19195" cy="21903"/>
            </a:xfrm>
            <a:custGeom>
              <a:avLst/>
              <a:gdLst/>
              <a:ahLst/>
              <a:cxnLst/>
              <a:rect l="l" t="t" r="r" b="b"/>
              <a:pathLst>
                <a:path w="1612" h="1926" extrusionOk="0">
                  <a:moveTo>
                    <a:pt x="733" y="1"/>
                  </a:moveTo>
                  <a:lnTo>
                    <a:pt x="607" y="63"/>
                  </a:lnTo>
                  <a:lnTo>
                    <a:pt x="502" y="147"/>
                  </a:lnTo>
                  <a:lnTo>
                    <a:pt x="356" y="315"/>
                  </a:lnTo>
                  <a:lnTo>
                    <a:pt x="356" y="377"/>
                  </a:lnTo>
                  <a:lnTo>
                    <a:pt x="168" y="461"/>
                  </a:lnTo>
                  <a:lnTo>
                    <a:pt x="84" y="482"/>
                  </a:lnTo>
                  <a:lnTo>
                    <a:pt x="42" y="587"/>
                  </a:lnTo>
                  <a:lnTo>
                    <a:pt x="0" y="670"/>
                  </a:lnTo>
                  <a:lnTo>
                    <a:pt x="105" y="733"/>
                  </a:lnTo>
                  <a:lnTo>
                    <a:pt x="42" y="880"/>
                  </a:lnTo>
                  <a:lnTo>
                    <a:pt x="63" y="963"/>
                  </a:lnTo>
                  <a:lnTo>
                    <a:pt x="168" y="984"/>
                  </a:lnTo>
                  <a:lnTo>
                    <a:pt x="251" y="1172"/>
                  </a:lnTo>
                  <a:lnTo>
                    <a:pt x="251" y="1298"/>
                  </a:lnTo>
                  <a:lnTo>
                    <a:pt x="377" y="1424"/>
                  </a:lnTo>
                  <a:lnTo>
                    <a:pt x="482" y="1382"/>
                  </a:lnTo>
                  <a:lnTo>
                    <a:pt x="482" y="1403"/>
                  </a:lnTo>
                  <a:lnTo>
                    <a:pt x="419" y="1507"/>
                  </a:lnTo>
                  <a:lnTo>
                    <a:pt x="502" y="1591"/>
                  </a:lnTo>
                  <a:lnTo>
                    <a:pt x="586" y="1675"/>
                  </a:lnTo>
                  <a:lnTo>
                    <a:pt x="565" y="1737"/>
                  </a:lnTo>
                  <a:lnTo>
                    <a:pt x="691" y="1779"/>
                  </a:lnTo>
                  <a:lnTo>
                    <a:pt x="1005" y="1926"/>
                  </a:lnTo>
                  <a:lnTo>
                    <a:pt x="1046" y="1926"/>
                  </a:lnTo>
                  <a:lnTo>
                    <a:pt x="1088" y="1842"/>
                  </a:lnTo>
                  <a:lnTo>
                    <a:pt x="1151" y="1696"/>
                  </a:lnTo>
                  <a:lnTo>
                    <a:pt x="1298" y="1633"/>
                  </a:lnTo>
                  <a:lnTo>
                    <a:pt x="1402" y="1507"/>
                  </a:lnTo>
                  <a:lnTo>
                    <a:pt x="1402" y="1403"/>
                  </a:lnTo>
                  <a:lnTo>
                    <a:pt x="1444" y="1256"/>
                  </a:lnTo>
                  <a:lnTo>
                    <a:pt x="1528" y="1214"/>
                  </a:lnTo>
                  <a:lnTo>
                    <a:pt x="1528" y="1152"/>
                  </a:lnTo>
                  <a:lnTo>
                    <a:pt x="1549" y="1005"/>
                  </a:lnTo>
                  <a:lnTo>
                    <a:pt x="1570" y="1005"/>
                  </a:lnTo>
                  <a:lnTo>
                    <a:pt x="1570" y="963"/>
                  </a:lnTo>
                  <a:lnTo>
                    <a:pt x="1528" y="942"/>
                  </a:lnTo>
                  <a:lnTo>
                    <a:pt x="1528" y="838"/>
                  </a:lnTo>
                  <a:lnTo>
                    <a:pt x="1611" y="796"/>
                  </a:lnTo>
                  <a:lnTo>
                    <a:pt x="1611" y="691"/>
                  </a:lnTo>
                  <a:lnTo>
                    <a:pt x="1507" y="587"/>
                  </a:lnTo>
                  <a:lnTo>
                    <a:pt x="1528" y="524"/>
                  </a:lnTo>
                  <a:lnTo>
                    <a:pt x="1360" y="252"/>
                  </a:lnTo>
                  <a:lnTo>
                    <a:pt x="1318" y="147"/>
                  </a:lnTo>
                  <a:lnTo>
                    <a:pt x="123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0" name="Google Shape;940;p34"/>
            <p:cNvSpPr/>
            <p:nvPr/>
          </p:nvSpPr>
          <p:spPr>
            <a:xfrm>
              <a:off x="3670352" y="3087756"/>
              <a:ext cx="27911" cy="28568"/>
            </a:xfrm>
            <a:custGeom>
              <a:avLst/>
              <a:gdLst/>
              <a:ahLst/>
              <a:cxnLst/>
              <a:rect l="l" t="t" r="r" b="b"/>
              <a:pathLst>
                <a:path w="2344" h="2512" extrusionOk="0">
                  <a:moveTo>
                    <a:pt x="942" y="1"/>
                  </a:moveTo>
                  <a:lnTo>
                    <a:pt x="712" y="84"/>
                  </a:lnTo>
                  <a:lnTo>
                    <a:pt x="670" y="84"/>
                  </a:lnTo>
                  <a:lnTo>
                    <a:pt x="524" y="126"/>
                  </a:lnTo>
                  <a:lnTo>
                    <a:pt x="503" y="126"/>
                  </a:lnTo>
                  <a:lnTo>
                    <a:pt x="482" y="273"/>
                  </a:lnTo>
                  <a:lnTo>
                    <a:pt x="482" y="335"/>
                  </a:lnTo>
                  <a:lnTo>
                    <a:pt x="398" y="377"/>
                  </a:lnTo>
                  <a:lnTo>
                    <a:pt x="356" y="524"/>
                  </a:lnTo>
                  <a:lnTo>
                    <a:pt x="356" y="628"/>
                  </a:lnTo>
                  <a:lnTo>
                    <a:pt x="252" y="754"/>
                  </a:lnTo>
                  <a:lnTo>
                    <a:pt x="105" y="817"/>
                  </a:lnTo>
                  <a:lnTo>
                    <a:pt x="42" y="963"/>
                  </a:lnTo>
                  <a:lnTo>
                    <a:pt x="0" y="1047"/>
                  </a:lnTo>
                  <a:lnTo>
                    <a:pt x="168" y="1047"/>
                  </a:lnTo>
                  <a:lnTo>
                    <a:pt x="252" y="1109"/>
                  </a:lnTo>
                  <a:lnTo>
                    <a:pt x="210" y="1172"/>
                  </a:lnTo>
                  <a:lnTo>
                    <a:pt x="293" y="1235"/>
                  </a:lnTo>
                  <a:lnTo>
                    <a:pt x="461" y="1444"/>
                  </a:lnTo>
                  <a:lnTo>
                    <a:pt x="524" y="1444"/>
                  </a:lnTo>
                  <a:lnTo>
                    <a:pt x="775" y="1591"/>
                  </a:lnTo>
                  <a:lnTo>
                    <a:pt x="796" y="1591"/>
                  </a:lnTo>
                  <a:lnTo>
                    <a:pt x="1130" y="1967"/>
                  </a:lnTo>
                  <a:lnTo>
                    <a:pt x="1256" y="1988"/>
                  </a:lnTo>
                  <a:lnTo>
                    <a:pt x="1716" y="2302"/>
                  </a:lnTo>
                  <a:lnTo>
                    <a:pt x="2260" y="2511"/>
                  </a:lnTo>
                  <a:lnTo>
                    <a:pt x="2260" y="2386"/>
                  </a:lnTo>
                  <a:lnTo>
                    <a:pt x="2197" y="2281"/>
                  </a:lnTo>
                  <a:lnTo>
                    <a:pt x="2260" y="2156"/>
                  </a:lnTo>
                  <a:lnTo>
                    <a:pt x="2239" y="2072"/>
                  </a:lnTo>
                  <a:lnTo>
                    <a:pt x="2260" y="1967"/>
                  </a:lnTo>
                  <a:lnTo>
                    <a:pt x="2302" y="1884"/>
                  </a:lnTo>
                  <a:lnTo>
                    <a:pt x="2260" y="1800"/>
                  </a:lnTo>
                  <a:lnTo>
                    <a:pt x="2344" y="1758"/>
                  </a:lnTo>
                  <a:lnTo>
                    <a:pt x="2302" y="1653"/>
                  </a:lnTo>
                  <a:lnTo>
                    <a:pt x="2239" y="1633"/>
                  </a:lnTo>
                  <a:lnTo>
                    <a:pt x="2156" y="1570"/>
                  </a:lnTo>
                  <a:lnTo>
                    <a:pt x="2093" y="1465"/>
                  </a:lnTo>
                  <a:lnTo>
                    <a:pt x="2030" y="1444"/>
                  </a:lnTo>
                  <a:lnTo>
                    <a:pt x="1967" y="1444"/>
                  </a:lnTo>
                  <a:lnTo>
                    <a:pt x="1884" y="1361"/>
                  </a:lnTo>
                  <a:lnTo>
                    <a:pt x="1779" y="1361"/>
                  </a:lnTo>
                  <a:lnTo>
                    <a:pt x="1758" y="1381"/>
                  </a:lnTo>
                  <a:lnTo>
                    <a:pt x="1653" y="1361"/>
                  </a:lnTo>
                  <a:lnTo>
                    <a:pt x="1633" y="1256"/>
                  </a:lnTo>
                  <a:lnTo>
                    <a:pt x="1716" y="1151"/>
                  </a:lnTo>
                  <a:lnTo>
                    <a:pt x="1821" y="942"/>
                  </a:lnTo>
                  <a:lnTo>
                    <a:pt x="1758" y="837"/>
                  </a:lnTo>
                  <a:lnTo>
                    <a:pt x="1779" y="796"/>
                  </a:lnTo>
                  <a:lnTo>
                    <a:pt x="1758" y="733"/>
                  </a:lnTo>
                  <a:lnTo>
                    <a:pt x="1653" y="628"/>
                  </a:lnTo>
                  <a:lnTo>
                    <a:pt x="1612" y="628"/>
                  </a:lnTo>
                  <a:lnTo>
                    <a:pt x="1444" y="754"/>
                  </a:lnTo>
                  <a:lnTo>
                    <a:pt x="1361" y="754"/>
                  </a:lnTo>
                  <a:lnTo>
                    <a:pt x="1214" y="607"/>
                  </a:lnTo>
                  <a:lnTo>
                    <a:pt x="1235" y="482"/>
                  </a:lnTo>
                  <a:lnTo>
                    <a:pt x="1256" y="273"/>
                  </a:lnTo>
                  <a:lnTo>
                    <a:pt x="1130" y="189"/>
                  </a:lnTo>
                  <a:lnTo>
                    <a:pt x="1089" y="63"/>
                  </a:lnTo>
                  <a:lnTo>
                    <a:pt x="94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" name="Google Shape;941;p34"/>
            <p:cNvSpPr/>
            <p:nvPr/>
          </p:nvSpPr>
          <p:spPr>
            <a:xfrm>
              <a:off x="3689785" y="3073722"/>
              <a:ext cx="42617" cy="42840"/>
            </a:xfrm>
            <a:custGeom>
              <a:avLst/>
              <a:gdLst/>
              <a:ahLst/>
              <a:cxnLst/>
              <a:rect l="l" t="t" r="r" b="b"/>
              <a:pathLst>
                <a:path w="3579" h="3767" extrusionOk="0">
                  <a:moveTo>
                    <a:pt x="1905" y="0"/>
                  </a:moveTo>
                  <a:lnTo>
                    <a:pt x="1821" y="63"/>
                  </a:lnTo>
                  <a:lnTo>
                    <a:pt x="1716" y="209"/>
                  </a:lnTo>
                  <a:lnTo>
                    <a:pt x="1549" y="167"/>
                  </a:lnTo>
                  <a:lnTo>
                    <a:pt x="1507" y="105"/>
                  </a:lnTo>
                  <a:lnTo>
                    <a:pt x="1549" y="63"/>
                  </a:lnTo>
                  <a:lnTo>
                    <a:pt x="1381" y="42"/>
                  </a:lnTo>
                  <a:lnTo>
                    <a:pt x="1193" y="84"/>
                  </a:lnTo>
                  <a:lnTo>
                    <a:pt x="1193" y="146"/>
                  </a:lnTo>
                  <a:lnTo>
                    <a:pt x="1151" y="167"/>
                  </a:lnTo>
                  <a:lnTo>
                    <a:pt x="921" y="167"/>
                  </a:lnTo>
                  <a:lnTo>
                    <a:pt x="775" y="84"/>
                  </a:lnTo>
                  <a:lnTo>
                    <a:pt x="712" y="84"/>
                  </a:lnTo>
                  <a:lnTo>
                    <a:pt x="503" y="209"/>
                  </a:lnTo>
                  <a:lnTo>
                    <a:pt x="252" y="293"/>
                  </a:lnTo>
                  <a:lnTo>
                    <a:pt x="252" y="398"/>
                  </a:lnTo>
                  <a:lnTo>
                    <a:pt x="314" y="460"/>
                  </a:lnTo>
                  <a:lnTo>
                    <a:pt x="335" y="711"/>
                  </a:lnTo>
                  <a:lnTo>
                    <a:pt x="314" y="795"/>
                  </a:lnTo>
                  <a:lnTo>
                    <a:pt x="314" y="1004"/>
                  </a:lnTo>
                  <a:lnTo>
                    <a:pt x="398" y="1025"/>
                  </a:lnTo>
                  <a:lnTo>
                    <a:pt x="461" y="1151"/>
                  </a:lnTo>
                  <a:lnTo>
                    <a:pt x="440" y="1235"/>
                  </a:lnTo>
                  <a:lnTo>
                    <a:pt x="356" y="1214"/>
                  </a:lnTo>
                  <a:lnTo>
                    <a:pt x="293" y="1255"/>
                  </a:lnTo>
                  <a:lnTo>
                    <a:pt x="293" y="1339"/>
                  </a:lnTo>
                  <a:lnTo>
                    <a:pt x="398" y="1444"/>
                  </a:lnTo>
                  <a:lnTo>
                    <a:pt x="419" y="1507"/>
                  </a:lnTo>
                  <a:lnTo>
                    <a:pt x="419" y="1632"/>
                  </a:lnTo>
                  <a:lnTo>
                    <a:pt x="252" y="1967"/>
                  </a:lnTo>
                  <a:lnTo>
                    <a:pt x="147" y="1988"/>
                  </a:lnTo>
                  <a:lnTo>
                    <a:pt x="147" y="2030"/>
                  </a:lnTo>
                  <a:lnTo>
                    <a:pt x="126" y="2071"/>
                  </a:lnTo>
                  <a:lnTo>
                    <a:pt x="189" y="2176"/>
                  </a:lnTo>
                  <a:lnTo>
                    <a:pt x="84" y="2385"/>
                  </a:lnTo>
                  <a:lnTo>
                    <a:pt x="1" y="2490"/>
                  </a:lnTo>
                  <a:lnTo>
                    <a:pt x="21" y="2595"/>
                  </a:lnTo>
                  <a:lnTo>
                    <a:pt x="126" y="2615"/>
                  </a:lnTo>
                  <a:lnTo>
                    <a:pt x="147" y="2595"/>
                  </a:lnTo>
                  <a:lnTo>
                    <a:pt x="252" y="2595"/>
                  </a:lnTo>
                  <a:lnTo>
                    <a:pt x="335" y="2678"/>
                  </a:lnTo>
                  <a:lnTo>
                    <a:pt x="398" y="2678"/>
                  </a:lnTo>
                  <a:lnTo>
                    <a:pt x="461" y="2699"/>
                  </a:lnTo>
                  <a:lnTo>
                    <a:pt x="524" y="2804"/>
                  </a:lnTo>
                  <a:lnTo>
                    <a:pt x="607" y="2867"/>
                  </a:lnTo>
                  <a:lnTo>
                    <a:pt x="670" y="2887"/>
                  </a:lnTo>
                  <a:lnTo>
                    <a:pt x="712" y="2992"/>
                  </a:lnTo>
                  <a:lnTo>
                    <a:pt x="628" y="3034"/>
                  </a:lnTo>
                  <a:lnTo>
                    <a:pt x="670" y="3118"/>
                  </a:lnTo>
                  <a:lnTo>
                    <a:pt x="628" y="3201"/>
                  </a:lnTo>
                  <a:lnTo>
                    <a:pt x="607" y="3306"/>
                  </a:lnTo>
                  <a:lnTo>
                    <a:pt x="628" y="3390"/>
                  </a:lnTo>
                  <a:lnTo>
                    <a:pt x="565" y="3515"/>
                  </a:lnTo>
                  <a:lnTo>
                    <a:pt x="628" y="3620"/>
                  </a:lnTo>
                  <a:lnTo>
                    <a:pt x="628" y="3745"/>
                  </a:lnTo>
                  <a:lnTo>
                    <a:pt x="712" y="3766"/>
                  </a:lnTo>
                  <a:lnTo>
                    <a:pt x="879" y="3599"/>
                  </a:lnTo>
                  <a:lnTo>
                    <a:pt x="1026" y="3599"/>
                  </a:lnTo>
                  <a:lnTo>
                    <a:pt x="1068" y="3536"/>
                  </a:lnTo>
                  <a:lnTo>
                    <a:pt x="1465" y="3390"/>
                  </a:lnTo>
                  <a:lnTo>
                    <a:pt x="1465" y="3327"/>
                  </a:lnTo>
                  <a:lnTo>
                    <a:pt x="1674" y="3306"/>
                  </a:lnTo>
                  <a:lnTo>
                    <a:pt x="2449" y="3306"/>
                  </a:lnTo>
                  <a:lnTo>
                    <a:pt x="2742" y="3201"/>
                  </a:lnTo>
                  <a:lnTo>
                    <a:pt x="3014" y="3327"/>
                  </a:lnTo>
                  <a:lnTo>
                    <a:pt x="3034" y="3201"/>
                  </a:lnTo>
                  <a:lnTo>
                    <a:pt x="3139" y="3180"/>
                  </a:lnTo>
                  <a:lnTo>
                    <a:pt x="3223" y="3306"/>
                  </a:lnTo>
                  <a:lnTo>
                    <a:pt x="3244" y="3285"/>
                  </a:lnTo>
                  <a:lnTo>
                    <a:pt x="3348" y="3285"/>
                  </a:lnTo>
                  <a:lnTo>
                    <a:pt x="3453" y="3243"/>
                  </a:lnTo>
                  <a:lnTo>
                    <a:pt x="3453" y="3097"/>
                  </a:lnTo>
                  <a:lnTo>
                    <a:pt x="3390" y="2992"/>
                  </a:lnTo>
                  <a:lnTo>
                    <a:pt x="3265" y="2971"/>
                  </a:lnTo>
                  <a:lnTo>
                    <a:pt x="3244" y="2804"/>
                  </a:lnTo>
                  <a:lnTo>
                    <a:pt x="3160" y="2595"/>
                  </a:lnTo>
                  <a:lnTo>
                    <a:pt x="3076" y="2511"/>
                  </a:lnTo>
                  <a:lnTo>
                    <a:pt x="3118" y="2469"/>
                  </a:lnTo>
                  <a:lnTo>
                    <a:pt x="3139" y="2448"/>
                  </a:lnTo>
                  <a:lnTo>
                    <a:pt x="3139" y="2176"/>
                  </a:lnTo>
                  <a:lnTo>
                    <a:pt x="3181" y="2092"/>
                  </a:lnTo>
                  <a:lnTo>
                    <a:pt x="3223" y="1967"/>
                  </a:lnTo>
                  <a:lnTo>
                    <a:pt x="3244" y="1883"/>
                  </a:lnTo>
                  <a:lnTo>
                    <a:pt x="3244" y="1758"/>
                  </a:lnTo>
                  <a:lnTo>
                    <a:pt x="3432" y="1507"/>
                  </a:lnTo>
                  <a:lnTo>
                    <a:pt x="3537" y="1423"/>
                  </a:lnTo>
                  <a:lnTo>
                    <a:pt x="3537" y="1318"/>
                  </a:lnTo>
                  <a:lnTo>
                    <a:pt x="3578" y="1193"/>
                  </a:lnTo>
                  <a:lnTo>
                    <a:pt x="3537" y="1025"/>
                  </a:lnTo>
                  <a:lnTo>
                    <a:pt x="3453" y="942"/>
                  </a:lnTo>
                  <a:lnTo>
                    <a:pt x="3453" y="879"/>
                  </a:lnTo>
                  <a:lnTo>
                    <a:pt x="3390" y="732"/>
                  </a:lnTo>
                  <a:lnTo>
                    <a:pt x="3453" y="565"/>
                  </a:lnTo>
                  <a:lnTo>
                    <a:pt x="3453" y="502"/>
                  </a:lnTo>
                  <a:lnTo>
                    <a:pt x="3327" y="502"/>
                  </a:lnTo>
                  <a:lnTo>
                    <a:pt x="3244" y="418"/>
                  </a:lnTo>
                  <a:lnTo>
                    <a:pt x="3160" y="418"/>
                  </a:lnTo>
                  <a:lnTo>
                    <a:pt x="3055" y="502"/>
                  </a:lnTo>
                  <a:lnTo>
                    <a:pt x="2930" y="523"/>
                  </a:lnTo>
                  <a:lnTo>
                    <a:pt x="2742" y="460"/>
                  </a:lnTo>
                  <a:lnTo>
                    <a:pt x="2658" y="356"/>
                  </a:lnTo>
                  <a:lnTo>
                    <a:pt x="2553" y="293"/>
                  </a:lnTo>
                  <a:lnTo>
                    <a:pt x="2449" y="293"/>
                  </a:lnTo>
                  <a:lnTo>
                    <a:pt x="2407" y="251"/>
                  </a:lnTo>
                  <a:lnTo>
                    <a:pt x="2302" y="251"/>
                  </a:lnTo>
                  <a:lnTo>
                    <a:pt x="2093" y="146"/>
                  </a:lnTo>
                  <a:lnTo>
                    <a:pt x="19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2" name="Google Shape;942;p34"/>
            <p:cNvSpPr/>
            <p:nvPr/>
          </p:nvSpPr>
          <p:spPr>
            <a:xfrm>
              <a:off x="3726412" y="3070151"/>
              <a:ext cx="29161" cy="43557"/>
            </a:xfrm>
            <a:custGeom>
              <a:avLst/>
              <a:gdLst/>
              <a:ahLst/>
              <a:cxnLst/>
              <a:rect l="l" t="t" r="r" b="b"/>
              <a:pathLst>
                <a:path w="2449" h="3830" extrusionOk="0">
                  <a:moveTo>
                    <a:pt x="1674" y="0"/>
                  </a:moveTo>
                  <a:lnTo>
                    <a:pt x="1549" y="63"/>
                  </a:lnTo>
                  <a:lnTo>
                    <a:pt x="1402" y="63"/>
                  </a:lnTo>
                  <a:lnTo>
                    <a:pt x="1193" y="105"/>
                  </a:lnTo>
                  <a:lnTo>
                    <a:pt x="419" y="105"/>
                  </a:lnTo>
                  <a:lnTo>
                    <a:pt x="210" y="147"/>
                  </a:lnTo>
                  <a:lnTo>
                    <a:pt x="189" y="272"/>
                  </a:lnTo>
                  <a:lnTo>
                    <a:pt x="251" y="460"/>
                  </a:lnTo>
                  <a:lnTo>
                    <a:pt x="293" y="502"/>
                  </a:lnTo>
                  <a:lnTo>
                    <a:pt x="377" y="670"/>
                  </a:lnTo>
                  <a:lnTo>
                    <a:pt x="377" y="816"/>
                  </a:lnTo>
                  <a:lnTo>
                    <a:pt x="377" y="879"/>
                  </a:lnTo>
                  <a:lnTo>
                    <a:pt x="314" y="1046"/>
                  </a:lnTo>
                  <a:lnTo>
                    <a:pt x="377" y="1193"/>
                  </a:lnTo>
                  <a:lnTo>
                    <a:pt x="377" y="1256"/>
                  </a:lnTo>
                  <a:lnTo>
                    <a:pt x="461" y="1339"/>
                  </a:lnTo>
                  <a:lnTo>
                    <a:pt x="502" y="1507"/>
                  </a:lnTo>
                  <a:lnTo>
                    <a:pt x="461" y="1632"/>
                  </a:lnTo>
                  <a:lnTo>
                    <a:pt x="461" y="1737"/>
                  </a:lnTo>
                  <a:lnTo>
                    <a:pt x="356" y="1821"/>
                  </a:lnTo>
                  <a:lnTo>
                    <a:pt x="168" y="2072"/>
                  </a:lnTo>
                  <a:lnTo>
                    <a:pt x="168" y="2197"/>
                  </a:lnTo>
                  <a:lnTo>
                    <a:pt x="147" y="2281"/>
                  </a:lnTo>
                  <a:lnTo>
                    <a:pt x="105" y="2406"/>
                  </a:lnTo>
                  <a:lnTo>
                    <a:pt x="63" y="2490"/>
                  </a:lnTo>
                  <a:lnTo>
                    <a:pt x="63" y="2762"/>
                  </a:lnTo>
                  <a:lnTo>
                    <a:pt x="42" y="2783"/>
                  </a:lnTo>
                  <a:lnTo>
                    <a:pt x="0" y="2825"/>
                  </a:lnTo>
                  <a:lnTo>
                    <a:pt x="84" y="2909"/>
                  </a:lnTo>
                  <a:lnTo>
                    <a:pt x="168" y="3118"/>
                  </a:lnTo>
                  <a:lnTo>
                    <a:pt x="189" y="3285"/>
                  </a:lnTo>
                  <a:lnTo>
                    <a:pt x="314" y="3306"/>
                  </a:lnTo>
                  <a:lnTo>
                    <a:pt x="377" y="3411"/>
                  </a:lnTo>
                  <a:lnTo>
                    <a:pt x="377" y="3557"/>
                  </a:lnTo>
                  <a:lnTo>
                    <a:pt x="272" y="3599"/>
                  </a:lnTo>
                  <a:lnTo>
                    <a:pt x="168" y="3599"/>
                  </a:lnTo>
                  <a:lnTo>
                    <a:pt x="147" y="3620"/>
                  </a:lnTo>
                  <a:lnTo>
                    <a:pt x="168" y="3662"/>
                  </a:lnTo>
                  <a:lnTo>
                    <a:pt x="482" y="3725"/>
                  </a:lnTo>
                  <a:lnTo>
                    <a:pt x="712" y="3829"/>
                  </a:lnTo>
                  <a:lnTo>
                    <a:pt x="1214" y="3599"/>
                  </a:lnTo>
                  <a:lnTo>
                    <a:pt x="1549" y="3557"/>
                  </a:lnTo>
                  <a:lnTo>
                    <a:pt x="1863" y="3306"/>
                  </a:lnTo>
                  <a:lnTo>
                    <a:pt x="2135" y="3181"/>
                  </a:lnTo>
                  <a:lnTo>
                    <a:pt x="2448" y="3118"/>
                  </a:lnTo>
                  <a:lnTo>
                    <a:pt x="2386" y="3034"/>
                  </a:lnTo>
                  <a:lnTo>
                    <a:pt x="2302" y="2971"/>
                  </a:lnTo>
                  <a:lnTo>
                    <a:pt x="2260" y="2929"/>
                  </a:lnTo>
                  <a:lnTo>
                    <a:pt x="2197" y="2804"/>
                  </a:lnTo>
                  <a:lnTo>
                    <a:pt x="2176" y="2657"/>
                  </a:lnTo>
                  <a:lnTo>
                    <a:pt x="2197" y="2490"/>
                  </a:lnTo>
                  <a:lnTo>
                    <a:pt x="2197" y="2448"/>
                  </a:lnTo>
                  <a:lnTo>
                    <a:pt x="2260" y="2302"/>
                  </a:lnTo>
                  <a:lnTo>
                    <a:pt x="2260" y="1967"/>
                  </a:lnTo>
                  <a:lnTo>
                    <a:pt x="2197" y="1883"/>
                  </a:lnTo>
                  <a:lnTo>
                    <a:pt x="2239" y="1674"/>
                  </a:lnTo>
                  <a:lnTo>
                    <a:pt x="2176" y="1611"/>
                  </a:lnTo>
                  <a:lnTo>
                    <a:pt x="2239" y="1528"/>
                  </a:lnTo>
                  <a:lnTo>
                    <a:pt x="2197" y="1423"/>
                  </a:lnTo>
                  <a:lnTo>
                    <a:pt x="2155" y="1360"/>
                  </a:lnTo>
                  <a:lnTo>
                    <a:pt x="2176" y="1297"/>
                  </a:lnTo>
                  <a:lnTo>
                    <a:pt x="2197" y="1214"/>
                  </a:lnTo>
                  <a:lnTo>
                    <a:pt x="2197" y="1004"/>
                  </a:lnTo>
                  <a:lnTo>
                    <a:pt x="2155" y="1004"/>
                  </a:lnTo>
                  <a:lnTo>
                    <a:pt x="2093" y="942"/>
                  </a:lnTo>
                  <a:lnTo>
                    <a:pt x="2093" y="732"/>
                  </a:lnTo>
                  <a:lnTo>
                    <a:pt x="2135" y="586"/>
                  </a:lnTo>
                  <a:lnTo>
                    <a:pt x="1988" y="502"/>
                  </a:lnTo>
                  <a:lnTo>
                    <a:pt x="1946" y="419"/>
                  </a:lnTo>
                  <a:lnTo>
                    <a:pt x="1821" y="293"/>
                  </a:lnTo>
                  <a:lnTo>
                    <a:pt x="1821" y="209"/>
                  </a:lnTo>
                  <a:lnTo>
                    <a:pt x="1758" y="168"/>
                  </a:lnTo>
                  <a:lnTo>
                    <a:pt x="171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" name="Google Shape;943;p34"/>
            <p:cNvSpPr/>
            <p:nvPr/>
          </p:nvSpPr>
          <p:spPr>
            <a:xfrm>
              <a:off x="3746846" y="3070151"/>
              <a:ext cx="13956" cy="35459"/>
            </a:xfrm>
            <a:custGeom>
              <a:avLst/>
              <a:gdLst/>
              <a:ahLst/>
              <a:cxnLst/>
              <a:rect l="l" t="t" r="r" b="b"/>
              <a:pathLst>
                <a:path w="1172" h="3118" extrusionOk="0">
                  <a:moveTo>
                    <a:pt x="0" y="0"/>
                  </a:moveTo>
                  <a:lnTo>
                    <a:pt x="42" y="168"/>
                  </a:lnTo>
                  <a:lnTo>
                    <a:pt x="105" y="209"/>
                  </a:lnTo>
                  <a:lnTo>
                    <a:pt x="105" y="293"/>
                  </a:lnTo>
                  <a:lnTo>
                    <a:pt x="230" y="419"/>
                  </a:lnTo>
                  <a:lnTo>
                    <a:pt x="272" y="502"/>
                  </a:lnTo>
                  <a:lnTo>
                    <a:pt x="419" y="586"/>
                  </a:lnTo>
                  <a:lnTo>
                    <a:pt x="377" y="732"/>
                  </a:lnTo>
                  <a:lnTo>
                    <a:pt x="377" y="942"/>
                  </a:lnTo>
                  <a:lnTo>
                    <a:pt x="439" y="1004"/>
                  </a:lnTo>
                  <a:lnTo>
                    <a:pt x="481" y="1004"/>
                  </a:lnTo>
                  <a:lnTo>
                    <a:pt x="481" y="1214"/>
                  </a:lnTo>
                  <a:lnTo>
                    <a:pt x="460" y="1297"/>
                  </a:lnTo>
                  <a:lnTo>
                    <a:pt x="439" y="1360"/>
                  </a:lnTo>
                  <a:lnTo>
                    <a:pt x="481" y="1423"/>
                  </a:lnTo>
                  <a:lnTo>
                    <a:pt x="523" y="1528"/>
                  </a:lnTo>
                  <a:lnTo>
                    <a:pt x="460" y="1611"/>
                  </a:lnTo>
                  <a:lnTo>
                    <a:pt x="523" y="1674"/>
                  </a:lnTo>
                  <a:lnTo>
                    <a:pt x="481" y="1883"/>
                  </a:lnTo>
                  <a:lnTo>
                    <a:pt x="544" y="1967"/>
                  </a:lnTo>
                  <a:lnTo>
                    <a:pt x="544" y="2302"/>
                  </a:lnTo>
                  <a:lnTo>
                    <a:pt x="481" y="2448"/>
                  </a:lnTo>
                  <a:lnTo>
                    <a:pt x="481" y="2490"/>
                  </a:lnTo>
                  <a:lnTo>
                    <a:pt x="460" y="2657"/>
                  </a:lnTo>
                  <a:lnTo>
                    <a:pt x="481" y="2804"/>
                  </a:lnTo>
                  <a:lnTo>
                    <a:pt x="544" y="2929"/>
                  </a:lnTo>
                  <a:lnTo>
                    <a:pt x="586" y="2971"/>
                  </a:lnTo>
                  <a:lnTo>
                    <a:pt x="670" y="3034"/>
                  </a:lnTo>
                  <a:lnTo>
                    <a:pt x="732" y="3118"/>
                  </a:lnTo>
                  <a:lnTo>
                    <a:pt x="774" y="3118"/>
                  </a:lnTo>
                  <a:lnTo>
                    <a:pt x="1088" y="2929"/>
                  </a:lnTo>
                  <a:lnTo>
                    <a:pt x="1151" y="2929"/>
                  </a:lnTo>
                  <a:lnTo>
                    <a:pt x="1172" y="2825"/>
                  </a:lnTo>
                  <a:lnTo>
                    <a:pt x="1088" y="2699"/>
                  </a:lnTo>
                  <a:lnTo>
                    <a:pt x="1088" y="2553"/>
                  </a:lnTo>
                  <a:lnTo>
                    <a:pt x="1046" y="2385"/>
                  </a:lnTo>
                  <a:lnTo>
                    <a:pt x="1067" y="1716"/>
                  </a:lnTo>
                  <a:lnTo>
                    <a:pt x="1067" y="1611"/>
                  </a:lnTo>
                  <a:lnTo>
                    <a:pt x="1109" y="1528"/>
                  </a:lnTo>
                  <a:lnTo>
                    <a:pt x="1109" y="1402"/>
                  </a:lnTo>
                  <a:lnTo>
                    <a:pt x="1088" y="1297"/>
                  </a:lnTo>
                  <a:lnTo>
                    <a:pt x="1088" y="1130"/>
                  </a:lnTo>
                  <a:lnTo>
                    <a:pt x="1046" y="900"/>
                  </a:lnTo>
                  <a:lnTo>
                    <a:pt x="900" y="586"/>
                  </a:lnTo>
                  <a:lnTo>
                    <a:pt x="858" y="565"/>
                  </a:lnTo>
                  <a:lnTo>
                    <a:pt x="774" y="481"/>
                  </a:lnTo>
                  <a:lnTo>
                    <a:pt x="649" y="398"/>
                  </a:lnTo>
                  <a:lnTo>
                    <a:pt x="628" y="209"/>
                  </a:lnTo>
                  <a:lnTo>
                    <a:pt x="649" y="168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" name="Google Shape;944;p34"/>
            <p:cNvSpPr/>
            <p:nvPr/>
          </p:nvSpPr>
          <p:spPr>
            <a:xfrm>
              <a:off x="3754312" y="3061110"/>
              <a:ext cx="21445" cy="42840"/>
            </a:xfrm>
            <a:custGeom>
              <a:avLst/>
              <a:gdLst/>
              <a:ahLst/>
              <a:cxnLst/>
              <a:rect l="l" t="t" r="r" b="b"/>
              <a:pathLst>
                <a:path w="1801" h="3767" extrusionOk="0">
                  <a:moveTo>
                    <a:pt x="1047" y="0"/>
                  </a:moveTo>
                  <a:lnTo>
                    <a:pt x="984" y="105"/>
                  </a:lnTo>
                  <a:lnTo>
                    <a:pt x="1005" y="147"/>
                  </a:lnTo>
                  <a:lnTo>
                    <a:pt x="900" y="209"/>
                  </a:lnTo>
                  <a:lnTo>
                    <a:pt x="838" y="209"/>
                  </a:lnTo>
                  <a:lnTo>
                    <a:pt x="838" y="272"/>
                  </a:lnTo>
                  <a:lnTo>
                    <a:pt x="691" y="439"/>
                  </a:lnTo>
                  <a:lnTo>
                    <a:pt x="628" y="439"/>
                  </a:lnTo>
                  <a:lnTo>
                    <a:pt x="440" y="544"/>
                  </a:lnTo>
                  <a:lnTo>
                    <a:pt x="356" y="523"/>
                  </a:lnTo>
                  <a:lnTo>
                    <a:pt x="252" y="565"/>
                  </a:lnTo>
                  <a:lnTo>
                    <a:pt x="252" y="670"/>
                  </a:lnTo>
                  <a:lnTo>
                    <a:pt x="168" y="753"/>
                  </a:lnTo>
                  <a:lnTo>
                    <a:pt x="168" y="858"/>
                  </a:lnTo>
                  <a:lnTo>
                    <a:pt x="43" y="900"/>
                  </a:lnTo>
                  <a:lnTo>
                    <a:pt x="22" y="963"/>
                  </a:lnTo>
                  <a:lnTo>
                    <a:pt x="1" y="1004"/>
                  </a:lnTo>
                  <a:lnTo>
                    <a:pt x="22" y="1193"/>
                  </a:lnTo>
                  <a:lnTo>
                    <a:pt x="147" y="1276"/>
                  </a:lnTo>
                  <a:lnTo>
                    <a:pt x="231" y="1360"/>
                  </a:lnTo>
                  <a:lnTo>
                    <a:pt x="273" y="1381"/>
                  </a:lnTo>
                  <a:lnTo>
                    <a:pt x="419" y="1695"/>
                  </a:lnTo>
                  <a:lnTo>
                    <a:pt x="461" y="1925"/>
                  </a:lnTo>
                  <a:lnTo>
                    <a:pt x="461" y="2092"/>
                  </a:lnTo>
                  <a:lnTo>
                    <a:pt x="482" y="2197"/>
                  </a:lnTo>
                  <a:lnTo>
                    <a:pt x="482" y="2323"/>
                  </a:lnTo>
                  <a:lnTo>
                    <a:pt x="440" y="2406"/>
                  </a:lnTo>
                  <a:lnTo>
                    <a:pt x="440" y="2511"/>
                  </a:lnTo>
                  <a:lnTo>
                    <a:pt x="419" y="3180"/>
                  </a:lnTo>
                  <a:lnTo>
                    <a:pt x="461" y="3348"/>
                  </a:lnTo>
                  <a:lnTo>
                    <a:pt x="461" y="3494"/>
                  </a:lnTo>
                  <a:lnTo>
                    <a:pt x="545" y="3620"/>
                  </a:lnTo>
                  <a:lnTo>
                    <a:pt x="524" y="3724"/>
                  </a:lnTo>
                  <a:lnTo>
                    <a:pt x="733" y="3766"/>
                  </a:lnTo>
                  <a:lnTo>
                    <a:pt x="1110" y="3620"/>
                  </a:lnTo>
                  <a:lnTo>
                    <a:pt x="1152" y="3620"/>
                  </a:lnTo>
                  <a:lnTo>
                    <a:pt x="1110" y="3515"/>
                  </a:lnTo>
                  <a:lnTo>
                    <a:pt x="1152" y="3243"/>
                  </a:lnTo>
                  <a:lnTo>
                    <a:pt x="1110" y="3139"/>
                  </a:lnTo>
                  <a:lnTo>
                    <a:pt x="1152" y="3055"/>
                  </a:lnTo>
                  <a:lnTo>
                    <a:pt x="1110" y="2825"/>
                  </a:lnTo>
                  <a:lnTo>
                    <a:pt x="1110" y="2720"/>
                  </a:lnTo>
                  <a:lnTo>
                    <a:pt x="1110" y="2657"/>
                  </a:lnTo>
                  <a:lnTo>
                    <a:pt x="1089" y="2616"/>
                  </a:lnTo>
                  <a:lnTo>
                    <a:pt x="1110" y="2553"/>
                  </a:lnTo>
                  <a:lnTo>
                    <a:pt x="1089" y="2469"/>
                  </a:lnTo>
                  <a:lnTo>
                    <a:pt x="1089" y="2427"/>
                  </a:lnTo>
                  <a:lnTo>
                    <a:pt x="1089" y="2302"/>
                  </a:lnTo>
                  <a:lnTo>
                    <a:pt x="1110" y="2218"/>
                  </a:lnTo>
                  <a:lnTo>
                    <a:pt x="1110" y="2113"/>
                  </a:lnTo>
                  <a:lnTo>
                    <a:pt x="1152" y="2051"/>
                  </a:lnTo>
                  <a:lnTo>
                    <a:pt x="1256" y="2009"/>
                  </a:lnTo>
                  <a:lnTo>
                    <a:pt x="1298" y="2009"/>
                  </a:lnTo>
                  <a:lnTo>
                    <a:pt x="1361" y="1946"/>
                  </a:lnTo>
                  <a:lnTo>
                    <a:pt x="1403" y="1841"/>
                  </a:lnTo>
                  <a:lnTo>
                    <a:pt x="1486" y="1716"/>
                  </a:lnTo>
                  <a:lnTo>
                    <a:pt x="1528" y="1611"/>
                  </a:lnTo>
                  <a:lnTo>
                    <a:pt x="1612" y="1569"/>
                  </a:lnTo>
                  <a:lnTo>
                    <a:pt x="1696" y="1569"/>
                  </a:lnTo>
                  <a:lnTo>
                    <a:pt x="1716" y="1507"/>
                  </a:lnTo>
                  <a:lnTo>
                    <a:pt x="1591" y="1381"/>
                  </a:lnTo>
                  <a:lnTo>
                    <a:pt x="1591" y="1318"/>
                  </a:lnTo>
                  <a:lnTo>
                    <a:pt x="1633" y="1255"/>
                  </a:lnTo>
                  <a:lnTo>
                    <a:pt x="1779" y="1255"/>
                  </a:lnTo>
                  <a:lnTo>
                    <a:pt x="1800" y="1172"/>
                  </a:lnTo>
                  <a:lnTo>
                    <a:pt x="1737" y="963"/>
                  </a:lnTo>
                  <a:lnTo>
                    <a:pt x="1716" y="837"/>
                  </a:lnTo>
                  <a:lnTo>
                    <a:pt x="1570" y="691"/>
                  </a:lnTo>
                  <a:lnTo>
                    <a:pt x="1528" y="628"/>
                  </a:lnTo>
                  <a:lnTo>
                    <a:pt x="1570" y="481"/>
                  </a:lnTo>
                  <a:lnTo>
                    <a:pt x="1591" y="481"/>
                  </a:lnTo>
                  <a:lnTo>
                    <a:pt x="1465" y="314"/>
                  </a:lnTo>
                  <a:lnTo>
                    <a:pt x="1319" y="272"/>
                  </a:lnTo>
                  <a:lnTo>
                    <a:pt x="1214" y="147"/>
                  </a:lnTo>
                  <a:lnTo>
                    <a:pt x="104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5" name="Google Shape;945;p34"/>
            <p:cNvSpPr/>
            <p:nvPr/>
          </p:nvSpPr>
          <p:spPr>
            <a:xfrm>
              <a:off x="3838283" y="2987337"/>
              <a:ext cx="71755" cy="108994"/>
            </a:xfrm>
            <a:custGeom>
              <a:avLst/>
              <a:gdLst/>
              <a:ahLst/>
              <a:cxnLst/>
              <a:rect l="l" t="t" r="r" b="b"/>
              <a:pathLst>
                <a:path w="6026" h="9584" extrusionOk="0">
                  <a:moveTo>
                    <a:pt x="1318" y="1"/>
                  </a:moveTo>
                  <a:lnTo>
                    <a:pt x="690" y="252"/>
                  </a:lnTo>
                  <a:lnTo>
                    <a:pt x="732" y="336"/>
                  </a:lnTo>
                  <a:lnTo>
                    <a:pt x="1025" y="1110"/>
                  </a:lnTo>
                  <a:lnTo>
                    <a:pt x="1004" y="1277"/>
                  </a:lnTo>
                  <a:lnTo>
                    <a:pt x="962" y="1361"/>
                  </a:lnTo>
                  <a:lnTo>
                    <a:pt x="1360" y="1821"/>
                  </a:lnTo>
                  <a:lnTo>
                    <a:pt x="1339" y="2030"/>
                  </a:lnTo>
                  <a:lnTo>
                    <a:pt x="1255" y="2114"/>
                  </a:lnTo>
                  <a:lnTo>
                    <a:pt x="1109" y="3202"/>
                  </a:lnTo>
                  <a:lnTo>
                    <a:pt x="1130" y="4039"/>
                  </a:lnTo>
                  <a:lnTo>
                    <a:pt x="167" y="5022"/>
                  </a:lnTo>
                  <a:lnTo>
                    <a:pt x="126" y="5085"/>
                  </a:lnTo>
                  <a:lnTo>
                    <a:pt x="0" y="5085"/>
                  </a:lnTo>
                  <a:lnTo>
                    <a:pt x="0" y="5169"/>
                  </a:lnTo>
                  <a:lnTo>
                    <a:pt x="21" y="5901"/>
                  </a:lnTo>
                  <a:lnTo>
                    <a:pt x="105" y="5922"/>
                  </a:lnTo>
                  <a:lnTo>
                    <a:pt x="272" y="6131"/>
                  </a:lnTo>
                  <a:lnTo>
                    <a:pt x="335" y="6278"/>
                  </a:lnTo>
                  <a:lnTo>
                    <a:pt x="628" y="6424"/>
                  </a:lnTo>
                  <a:lnTo>
                    <a:pt x="753" y="6529"/>
                  </a:lnTo>
                  <a:lnTo>
                    <a:pt x="795" y="6717"/>
                  </a:lnTo>
                  <a:lnTo>
                    <a:pt x="837" y="6759"/>
                  </a:lnTo>
                  <a:lnTo>
                    <a:pt x="858" y="6864"/>
                  </a:lnTo>
                  <a:lnTo>
                    <a:pt x="942" y="7031"/>
                  </a:lnTo>
                  <a:lnTo>
                    <a:pt x="942" y="7115"/>
                  </a:lnTo>
                  <a:lnTo>
                    <a:pt x="921" y="7157"/>
                  </a:lnTo>
                  <a:lnTo>
                    <a:pt x="900" y="7219"/>
                  </a:lnTo>
                  <a:lnTo>
                    <a:pt x="962" y="7282"/>
                  </a:lnTo>
                  <a:lnTo>
                    <a:pt x="921" y="7429"/>
                  </a:lnTo>
                  <a:lnTo>
                    <a:pt x="837" y="7491"/>
                  </a:lnTo>
                  <a:lnTo>
                    <a:pt x="858" y="7596"/>
                  </a:lnTo>
                  <a:lnTo>
                    <a:pt x="962" y="7763"/>
                  </a:lnTo>
                  <a:lnTo>
                    <a:pt x="1046" y="7805"/>
                  </a:lnTo>
                  <a:lnTo>
                    <a:pt x="1067" y="7910"/>
                  </a:lnTo>
                  <a:lnTo>
                    <a:pt x="1234" y="8056"/>
                  </a:lnTo>
                  <a:lnTo>
                    <a:pt x="1276" y="8077"/>
                  </a:lnTo>
                  <a:lnTo>
                    <a:pt x="1234" y="8119"/>
                  </a:lnTo>
                  <a:lnTo>
                    <a:pt x="1151" y="8098"/>
                  </a:lnTo>
                  <a:lnTo>
                    <a:pt x="1067" y="8077"/>
                  </a:lnTo>
                  <a:lnTo>
                    <a:pt x="942" y="8056"/>
                  </a:lnTo>
                  <a:lnTo>
                    <a:pt x="900" y="8077"/>
                  </a:lnTo>
                  <a:lnTo>
                    <a:pt x="795" y="8056"/>
                  </a:lnTo>
                  <a:lnTo>
                    <a:pt x="690" y="8077"/>
                  </a:lnTo>
                  <a:lnTo>
                    <a:pt x="628" y="8056"/>
                  </a:lnTo>
                  <a:lnTo>
                    <a:pt x="439" y="8056"/>
                  </a:lnTo>
                  <a:lnTo>
                    <a:pt x="439" y="8161"/>
                  </a:lnTo>
                  <a:lnTo>
                    <a:pt x="418" y="8203"/>
                  </a:lnTo>
                  <a:lnTo>
                    <a:pt x="418" y="8307"/>
                  </a:lnTo>
                  <a:lnTo>
                    <a:pt x="418" y="8370"/>
                  </a:lnTo>
                  <a:lnTo>
                    <a:pt x="502" y="8412"/>
                  </a:lnTo>
                  <a:lnTo>
                    <a:pt x="502" y="8496"/>
                  </a:lnTo>
                  <a:lnTo>
                    <a:pt x="607" y="8517"/>
                  </a:lnTo>
                  <a:lnTo>
                    <a:pt x="816" y="8705"/>
                  </a:lnTo>
                  <a:lnTo>
                    <a:pt x="1025" y="8914"/>
                  </a:lnTo>
                  <a:lnTo>
                    <a:pt x="1109" y="8998"/>
                  </a:lnTo>
                  <a:lnTo>
                    <a:pt x="1214" y="9144"/>
                  </a:lnTo>
                  <a:lnTo>
                    <a:pt x="1276" y="9312"/>
                  </a:lnTo>
                  <a:lnTo>
                    <a:pt x="1318" y="9416"/>
                  </a:lnTo>
                  <a:lnTo>
                    <a:pt x="1360" y="9458"/>
                  </a:lnTo>
                  <a:lnTo>
                    <a:pt x="1381" y="9584"/>
                  </a:lnTo>
                  <a:lnTo>
                    <a:pt x="1486" y="9584"/>
                  </a:lnTo>
                  <a:lnTo>
                    <a:pt x="1590" y="9563"/>
                  </a:lnTo>
                  <a:lnTo>
                    <a:pt x="1758" y="9563"/>
                  </a:lnTo>
                  <a:lnTo>
                    <a:pt x="1799" y="9437"/>
                  </a:lnTo>
                  <a:lnTo>
                    <a:pt x="1799" y="9312"/>
                  </a:lnTo>
                  <a:lnTo>
                    <a:pt x="1883" y="9249"/>
                  </a:lnTo>
                  <a:lnTo>
                    <a:pt x="1946" y="9312"/>
                  </a:lnTo>
                  <a:lnTo>
                    <a:pt x="1988" y="9437"/>
                  </a:lnTo>
                  <a:lnTo>
                    <a:pt x="2051" y="9479"/>
                  </a:lnTo>
                  <a:lnTo>
                    <a:pt x="2155" y="9458"/>
                  </a:lnTo>
                  <a:lnTo>
                    <a:pt x="2281" y="9354"/>
                  </a:lnTo>
                  <a:lnTo>
                    <a:pt x="2469" y="9312"/>
                  </a:lnTo>
                  <a:lnTo>
                    <a:pt x="2595" y="9207"/>
                  </a:lnTo>
                  <a:lnTo>
                    <a:pt x="2929" y="9123"/>
                  </a:lnTo>
                  <a:lnTo>
                    <a:pt x="3097" y="9123"/>
                  </a:lnTo>
                  <a:lnTo>
                    <a:pt x="3159" y="9019"/>
                  </a:lnTo>
                  <a:lnTo>
                    <a:pt x="3327" y="8914"/>
                  </a:lnTo>
                  <a:lnTo>
                    <a:pt x="3306" y="8831"/>
                  </a:lnTo>
                  <a:lnTo>
                    <a:pt x="3243" y="8831"/>
                  </a:lnTo>
                  <a:lnTo>
                    <a:pt x="3139" y="8726"/>
                  </a:lnTo>
                  <a:lnTo>
                    <a:pt x="3159" y="8621"/>
                  </a:lnTo>
                  <a:lnTo>
                    <a:pt x="3243" y="8579"/>
                  </a:lnTo>
                  <a:lnTo>
                    <a:pt x="3327" y="8600"/>
                  </a:lnTo>
                  <a:lnTo>
                    <a:pt x="3452" y="8579"/>
                  </a:lnTo>
                  <a:lnTo>
                    <a:pt x="3557" y="8621"/>
                  </a:lnTo>
                  <a:lnTo>
                    <a:pt x="3683" y="8642"/>
                  </a:lnTo>
                  <a:lnTo>
                    <a:pt x="3850" y="8621"/>
                  </a:lnTo>
                  <a:lnTo>
                    <a:pt x="4080" y="8600"/>
                  </a:lnTo>
                  <a:lnTo>
                    <a:pt x="4185" y="8517"/>
                  </a:lnTo>
                  <a:lnTo>
                    <a:pt x="4289" y="8475"/>
                  </a:lnTo>
                  <a:lnTo>
                    <a:pt x="4310" y="8370"/>
                  </a:lnTo>
                  <a:lnTo>
                    <a:pt x="4289" y="8286"/>
                  </a:lnTo>
                  <a:lnTo>
                    <a:pt x="4310" y="8182"/>
                  </a:lnTo>
                  <a:lnTo>
                    <a:pt x="4394" y="8119"/>
                  </a:lnTo>
                  <a:lnTo>
                    <a:pt x="4394" y="8056"/>
                  </a:lnTo>
                  <a:lnTo>
                    <a:pt x="4478" y="7952"/>
                  </a:lnTo>
                  <a:lnTo>
                    <a:pt x="4520" y="7973"/>
                  </a:lnTo>
                  <a:lnTo>
                    <a:pt x="4582" y="7973"/>
                  </a:lnTo>
                  <a:lnTo>
                    <a:pt x="4687" y="7805"/>
                  </a:lnTo>
                  <a:lnTo>
                    <a:pt x="4771" y="7784"/>
                  </a:lnTo>
                  <a:lnTo>
                    <a:pt x="4729" y="7701"/>
                  </a:lnTo>
                  <a:lnTo>
                    <a:pt x="4771" y="7638"/>
                  </a:lnTo>
                  <a:lnTo>
                    <a:pt x="4917" y="7554"/>
                  </a:lnTo>
                  <a:lnTo>
                    <a:pt x="5022" y="7470"/>
                  </a:lnTo>
                  <a:lnTo>
                    <a:pt x="5147" y="7470"/>
                  </a:lnTo>
                  <a:lnTo>
                    <a:pt x="5231" y="7533"/>
                  </a:lnTo>
                  <a:lnTo>
                    <a:pt x="5356" y="7450"/>
                  </a:lnTo>
                  <a:lnTo>
                    <a:pt x="5398" y="7387"/>
                  </a:lnTo>
                  <a:lnTo>
                    <a:pt x="5419" y="7366"/>
                  </a:lnTo>
                  <a:lnTo>
                    <a:pt x="5419" y="7282"/>
                  </a:lnTo>
                  <a:lnTo>
                    <a:pt x="5461" y="7219"/>
                  </a:lnTo>
                  <a:lnTo>
                    <a:pt x="5419" y="7136"/>
                  </a:lnTo>
                  <a:lnTo>
                    <a:pt x="5189" y="7052"/>
                  </a:lnTo>
                  <a:lnTo>
                    <a:pt x="5147" y="6947"/>
                  </a:lnTo>
                  <a:lnTo>
                    <a:pt x="5147" y="6822"/>
                  </a:lnTo>
                  <a:lnTo>
                    <a:pt x="5105" y="6717"/>
                  </a:lnTo>
                  <a:lnTo>
                    <a:pt x="5147" y="6634"/>
                  </a:lnTo>
                  <a:lnTo>
                    <a:pt x="5084" y="6592"/>
                  </a:lnTo>
                  <a:lnTo>
                    <a:pt x="5126" y="6529"/>
                  </a:lnTo>
                  <a:lnTo>
                    <a:pt x="5126" y="6445"/>
                  </a:lnTo>
                  <a:lnTo>
                    <a:pt x="5084" y="6424"/>
                  </a:lnTo>
                  <a:lnTo>
                    <a:pt x="4938" y="6529"/>
                  </a:lnTo>
                  <a:lnTo>
                    <a:pt x="4875" y="6445"/>
                  </a:lnTo>
                  <a:lnTo>
                    <a:pt x="4875" y="6320"/>
                  </a:lnTo>
                  <a:lnTo>
                    <a:pt x="5043" y="6131"/>
                  </a:lnTo>
                  <a:lnTo>
                    <a:pt x="5105" y="6027"/>
                  </a:lnTo>
                  <a:lnTo>
                    <a:pt x="5084" y="5922"/>
                  </a:lnTo>
                  <a:lnTo>
                    <a:pt x="4980" y="5880"/>
                  </a:lnTo>
                  <a:lnTo>
                    <a:pt x="5001" y="5797"/>
                  </a:lnTo>
                  <a:lnTo>
                    <a:pt x="5126" y="5713"/>
                  </a:lnTo>
                  <a:lnTo>
                    <a:pt x="5189" y="5587"/>
                  </a:lnTo>
                  <a:lnTo>
                    <a:pt x="5126" y="5545"/>
                  </a:lnTo>
                  <a:lnTo>
                    <a:pt x="5105" y="5441"/>
                  </a:lnTo>
                  <a:lnTo>
                    <a:pt x="5210" y="5357"/>
                  </a:lnTo>
                  <a:lnTo>
                    <a:pt x="5252" y="5357"/>
                  </a:lnTo>
                  <a:lnTo>
                    <a:pt x="5461" y="5085"/>
                  </a:lnTo>
                  <a:lnTo>
                    <a:pt x="5524" y="4960"/>
                  </a:lnTo>
                  <a:lnTo>
                    <a:pt x="5461" y="4876"/>
                  </a:lnTo>
                  <a:lnTo>
                    <a:pt x="5461" y="4750"/>
                  </a:lnTo>
                  <a:lnTo>
                    <a:pt x="5566" y="4667"/>
                  </a:lnTo>
                  <a:lnTo>
                    <a:pt x="5712" y="4667"/>
                  </a:lnTo>
                  <a:lnTo>
                    <a:pt x="5817" y="4729"/>
                  </a:lnTo>
                  <a:lnTo>
                    <a:pt x="5921" y="4646"/>
                  </a:lnTo>
                  <a:lnTo>
                    <a:pt x="6026" y="4625"/>
                  </a:lnTo>
                  <a:lnTo>
                    <a:pt x="5963" y="2344"/>
                  </a:lnTo>
                  <a:lnTo>
                    <a:pt x="131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6" name="Google Shape;946;p34"/>
            <p:cNvSpPr/>
            <p:nvPr/>
          </p:nvSpPr>
          <p:spPr>
            <a:xfrm>
              <a:off x="3829555" y="3057778"/>
              <a:ext cx="2251" cy="1194"/>
            </a:xfrm>
            <a:custGeom>
              <a:avLst/>
              <a:gdLst/>
              <a:ahLst/>
              <a:cxnLst/>
              <a:rect l="l" t="t" r="r" b="b"/>
              <a:pathLst>
                <a:path w="189" h="105" extrusionOk="0">
                  <a:moveTo>
                    <a:pt x="189" y="0"/>
                  </a:moveTo>
                  <a:lnTo>
                    <a:pt x="1" y="42"/>
                  </a:lnTo>
                  <a:lnTo>
                    <a:pt x="63" y="105"/>
                  </a:lnTo>
                  <a:lnTo>
                    <a:pt x="168" y="84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7" name="Google Shape;947;p34"/>
            <p:cNvSpPr/>
            <p:nvPr/>
          </p:nvSpPr>
          <p:spPr>
            <a:xfrm>
              <a:off x="3749584" y="2988770"/>
              <a:ext cx="104905" cy="77822"/>
            </a:xfrm>
            <a:custGeom>
              <a:avLst/>
              <a:gdLst/>
              <a:ahLst/>
              <a:cxnLst/>
              <a:rect l="l" t="t" r="r" b="b"/>
              <a:pathLst>
                <a:path w="8810" h="6843" extrusionOk="0">
                  <a:moveTo>
                    <a:pt x="6507" y="0"/>
                  </a:moveTo>
                  <a:lnTo>
                    <a:pt x="3913" y="1590"/>
                  </a:lnTo>
                  <a:lnTo>
                    <a:pt x="3181" y="2239"/>
                  </a:lnTo>
                  <a:lnTo>
                    <a:pt x="2323" y="2448"/>
                  </a:lnTo>
                  <a:lnTo>
                    <a:pt x="2302" y="3578"/>
                  </a:lnTo>
                  <a:lnTo>
                    <a:pt x="2239" y="4080"/>
                  </a:lnTo>
                  <a:lnTo>
                    <a:pt x="2176" y="4164"/>
                  </a:lnTo>
                  <a:lnTo>
                    <a:pt x="2134" y="4331"/>
                  </a:lnTo>
                  <a:lnTo>
                    <a:pt x="2093" y="4478"/>
                  </a:lnTo>
                  <a:lnTo>
                    <a:pt x="1800" y="4624"/>
                  </a:lnTo>
                  <a:lnTo>
                    <a:pt x="1653" y="4729"/>
                  </a:lnTo>
                  <a:lnTo>
                    <a:pt x="1465" y="4729"/>
                  </a:lnTo>
                  <a:lnTo>
                    <a:pt x="1297" y="4834"/>
                  </a:lnTo>
                  <a:lnTo>
                    <a:pt x="942" y="4834"/>
                  </a:lnTo>
                  <a:lnTo>
                    <a:pt x="774" y="4917"/>
                  </a:lnTo>
                  <a:lnTo>
                    <a:pt x="649" y="4917"/>
                  </a:lnTo>
                  <a:lnTo>
                    <a:pt x="251" y="4938"/>
                  </a:lnTo>
                  <a:lnTo>
                    <a:pt x="126" y="4917"/>
                  </a:lnTo>
                  <a:lnTo>
                    <a:pt x="84" y="5001"/>
                  </a:lnTo>
                  <a:lnTo>
                    <a:pt x="84" y="5147"/>
                  </a:lnTo>
                  <a:lnTo>
                    <a:pt x="0" y="5252"/>
                  </a:lnTo>
                  <a:lnTo>
                    <a:pt x="0" y="5440"/>
                  </a:lnTo>
                  <a:lnTo>
                    <a:pt x="544" y="5796"/>
                  </a:lnTo>
                  <a:lnTo>
                    <a:pt x="544" y="6047"/>
                  </a:lnTo>
                  <a:lnTo>
                    <a:pt x="753" y="6173"/>
                  </a:lnTo>
                  <a:lnTo>
                    <a:pt x="984" y="6047"/>
                  </a:lnTo>
                  <a:lnTo>
                    <a:pt x="1067" y="6089"/>
                  </a:lnTo>
                  <a:lnTo>
                    <a:pt x="1067" y="6152"/>
                  </a:lnTo>
                  <a:lnTo>
                    <a:pt x="1130" y="6194"/>
                  </a:lnTo>
                  <a:lnTo>
                    <a:pt x="1130" y="6298"/>
                  </a:lnTo>
                  <a:lnTo>
                    <a:pt x="1067" y="6403"/>
                  </a:lnTo>
                  <a:lnTo>
                    <a:pt x="1193" y="6570"/>
                  </a:lnTo>
                  <a:lnTo>
                    <a:pt x="1297" y="6570"/>
                  </a:lnTo>
                  <a:lnTo>
                    <a:pt x="1402" y="6508"/>
                  </a:lnTo>
                  <a:lnTo>
                    <a:pt x="1381" y="6466"/>
                  </a:lnTo>
                  <a:lnTo>
                    <a:pt x="1444" y="6361"/>
                  </a:lnTo>
                  <a:lnTo>
                    <a:pt x="1611" y="6508"/>
                  </a:lnTo>
                  <a:lnTo>
                    <a:pt x="1716" y="6633"/>
                  </a:lnTo>
                  <a:lnTo>
                    <a:pt x="1862" y="6675"/>
                  </a:lnTo>
                  <a:lnTo>
                    <a:pt x="1988" y="6842"/>
                  </a:lnTo>
                  <a:lnTo>
                    <a:pt x="2072" y="6780"/>
                  </a:lnTo>
                  <a:lnTo>
                    <a:pt x="2072" y="6717"/>
                  </a:lnTo>
                  <a:lnTo>
                    <a:pt x="2009" y="6696"/>
                  </a:lnTo>
                  <a:lnTo>
                    <a:pt x="1925" y="6528"/>
                  </a:lnTo>
                  <a:lnTo>
                    <a:pt x="1967" y="6487"/>
                  </a:lnTo>
                  <a:lnTo>
                    <a:pt x="1967" y="6403"/>
                  </a:lnTo>
                  <a:lnTo>
                    <a:pt x="2072" y="6298"/>
                  </a:lnTo>
                  <a:lnTo>
                    <a:pt x="2176" y="6298"/>
                  </a:lnTo>
                  <a:lnTo>
                    <a:pt x="2176" y="6215"/>
                  </a:lnTo>
                  <a:lnTo>
                    <a:pt x="2113" y="6173"/>
                  </a:lnTo>
                  <a:lnTo>
                    <a:pt x="2093" y="6068"/>
                  </a:lnTo>
                  <a:lnTo>
                    <a:pt x="2113" y="6005"/>
                  </a:lnTo>
                  <a:lnTo>
                    <a:pt x="2134" y="5984"/>
                  </a:lnTo>
                  <a:lnTo>
                    <a:pt x="2113" y="5943"/>
                  </a:lnTo>
                  <a:lnTo>
                    <a:pt x="2113" y="5880"/>
                  </a:lnTo>
                  <a:lnTo>
                    <a:pt x="2239" y="5775"/>
                  </a:lnTo>
                  <a:lnTo>
                    <a:pt x="2323" y="5754"/>
                  </a:lnTo>
                  <a:lnTo>
                    <a:pt x="2385" y="5733"/>
                  </a:lnTo>
                  <a:lnTo>
                    <a:pt x="2490" y="5692"/>
                  </a:lnTo>
                  <a:lnTo>
                    <a:pt x="2804" y="5692"/>
                  </a:lnTo>
                  <a:lnTo>
                    <a:pt x="2846" y="5650"/>
                  </a:lnTo>
                  <a:lnTo>
                    <a:pt x="2930" y="5650"/>
                  </a:lnTo>
                  <a:lnTo>
                    <a:pt x="3013" y="5671"/>
                  </a:lnTo>
                  <a:lnTo>
                    <a:pt x="3160" y="5692"/>
                  </a:lnTo>
                  <a:lnTo>
                    <a:pt x="3243" y="5733"/>
                  </a:lnTo>
                  <a:lnTo>
                    <a:pt x="3327" y="5754"/>
                  </a:lnTo>
                  <a:lnTo>
                    <a:pt x="3494" y="5796"/>
                  </a:lnTo>
                  <a:lnTo>
                    <a:pt x="3557" y="5880"/>
                  </a:lnTo>
                  <a:lnTo>
                    <a:pt x="3683" y="6068"/>
                  </a:lnTo>
                  <a:lnTo>
                    <a:pt x="3787" y="6152"/>
                  </a:lnTo>
                  <a:lnTo>
                    <a:pt x="3850" y="6110"/>
                  </a:lnTo>
                  <a:lnTo>
                    <a:pt x="3913" y="6047"/>
                  </a:lnTo>
                  <a:lnTo>
                    <a:pt x="3997" y="6005"/>
                  </a:lnTo>
                  <a:lnTo>
                    <a:pt x="4080" y="5984"/>
                  </a:lnTo>
                  <a:lnTo>
                    <a:pt x="4227" y="5964"/>
                  </a:lnTo>
                  <a:lnTo>
                    <a:pt x="4269" y="5943"/>
                  </a:lnTo>
                  <a:lnTo>
                    <a:pt x="4373" y="5943"/>
                  </a:lnTo>
                  <a:lnTo>
                    <a:pt x="4478" y="6005"/>
                  </a:lnTo>
                  <a:lnTo>
                    <a:pt x="4478" y="6068"/>
                  </a:lnTo>
                  <a:lnTo>
                    <a:pt x="4582" y="6089"/>
                  </a:lnTo>
                  <a:lnTo>
                    <a:pt x="4750" y="6194"/>
                  </a:lnTo>
                  <a:lnTo>
                    <a:pt x="4896" y="6215"/>
                  </a:lnTo>
                  <a:lnTo>
                    <a:pt x="5126" y="6298"/>
                  </a:lnTo>
                  <a:lnTo>
                    <a:pt x="5231" y="6319"/>
                  </a:lnTo>
                  <a:lnTo>
                    <a:pt x="5357" y="6256"/>
                  </a:lnTo>
                  <a:lnTo>
                    <a:pt x="5524" y="6047"/>
                  </a:lnTo>
                  <a:lnTo>
                    <a:pt x="5629" y="5984"/>
                  </a:lnTo>
                  <a:lnTo>
                    <a:pt x="5943" y="6005"/>
                  </a:lnTo>
                  <a:lnTo>
                    <a:pt x="6068" y="5964"/>
                  </a:lnTo>
                  <a:lnTo>
                    <a:pt x="6319" y="5984"/>
                  </a:lnTo>
                  <a:lnTo>
                    <a:pt x="6507" y="6068"/>
                  </a:lnTo>
                  <a:lnTo>
                    <a:pt x="6675" y="6089"/>
                  </a:lnTo>
                  <a:lnTo>
                    <a:pt x="6717" y="6110"/>
                  </a:lnTo>
                  <a:lnTo>
                    <a:pt x="6905" y="6068"/>
                  </a:lnTo>
                  <a:lnTo>
                    <a:pt x="6926" y="6047"/>
                  </a:lnTo>
                  <a:lnTo>
                    <a:pt x="7031" y="5984"/>
                  </a:lnTo>
                  <a:lnTo>
                    <a:pt x="7093" y="5943"/>
                  </a:lnTo>
                  <a:lnTo>
                    <a:pt x="7156" y="5901"/>
                  </a:lnTo>
                  <a:lnTo>
                    <a:pt x="7240" y="5943"/>
                  </a:lnTo>
                  <a:lnTo>
                    <a:pt x="7303" y="5901"/>
                  </a:lnTo>
                  <a:lnTo>
                    <a:pt x="7323" y="5838"/>
                  </a:lnTo>
                  <a:lnTo>
                    <a:pt x="7365" y="5733"/>
                  </a:lnTo>
                  <a:lnTo>
                    <a:pt x="7470" y="5775"/>
                  </a:lnTo>
                  <a:lnTo>
                    <a:pt x="7470" y="5775"/>
                  </a:lnTo>
                  <a:lnTo>
                    <a:pt x="7449" y="5043"/>
                  </a:lnTo>
                  <a:lnTo>
                    <a:pt x="7449" y="4959"/>
                  </a:lnTo>
                  <a:lnTo>
                    <a:pt x="7575" y="4959"/>
                  </a:lnTo>
                  <a:lnTo>
                    <a:pt x="7616" y="4896"/>
                  </a:lnTo>
                  <a:lnTo>
                    <a:pt x="8579" y="3913"/>
                  </a:lnTo>
                  <a:lnTo>
                    <a:pt x="8558" y="3076"/>
                  </a:lnTo>
                  <a:lnTo>
                    <a:pt x="8704" y="1988"/>
                  </a:lnTo>
                  <a:lnTo>
                    <a:pt x="8788" y="1904"/>
                  </a:lnTo>
                  <a:lnTo>
                    <a:pt x="8809" y="1695"/>
                  </a:lnTo>
                  <a:lnTo>
                    <a:pt x="8411" y="1235"/>
                  </a:lnTo>
                  <a:lnTo>
                    <a:pt x="8453" y="1151"/>
                  </a:lnTo>
                  <a:lnTo>
                    <a:pt x="8474" y="984"/>
                  </a:lnTo>
                  <a:lnTo>
                    <a:pt x="8181" y="210"/>
                  </a:lnTo>
                  <a:lnTo>
                    <a:pt x="8139" y="126"/>
                  </a:lnTo>
                  <a:lnTo>
                    <a:pt x="7616" y="335"/>
                  </a:lnTo>
                  <a:lnTo>
                    <a:pt x="7512" y="230"/>
                  </a:lnTo>
                  <a:lnTo>
                    <a:pt x="65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948" name="Google Shape;948;p34"/>
            <p:cNvSpPr/>
            <p:nvPr/>
          </p:nvSpPr>
          <p:spPr>
            <a:xfrm>
              <a:off x="3767267" y="3053013"/>
              <a:ext cx="78744" cy="64493"/>
            </a:xfrm>
            <a:custGeom>
              <a:avLst/>
              <a:gdLst/>
              <a:ahLst/>
              <a:cxnLst/>
              <a:rect l="l" t="t" r="r" b="b"/>
              <a:pathLst>
                <a:path w="6613" h="5671" extrusionOk="0">
                  <a:moveTo>
                    <a:pt x="1361" y="1"/>
                  </a:moveTo>
                  <a:lnTo>
                    <a:pt x="1319" y="43"/>
                  </a:lnTo>
                  <a:lnTo>
                    <a:pt x="1005" y="43"/>
                  </a:lnTo>
                  <a:lnTo>
                    <a:pt x="900" y="84"/>
                  </a:lnTo>
                  <a:lnTo>
                    <a:pt x="838" y="105"/>
                  </a:lnTo>
                  <a:lnTo>
                    <a:pt x="754" y="126"/>
                  </a:lnTo>
                  <a:lnTo>
                    <a:pt x="628" y="231"/>
                  </a:lnTo>
                  <a:lnTo>
                    <a:pt x="628" y="294"/>
                  </a:lnTo>
                  <a:lnTo>
                    <a:pt x="649" y="335"/>
                  </a:lnTo>
                  <a:lnTo>
                    <a:pt x="628" y="356"/>
                  </a:lnTo>
                  <a:lnTo>
                    <a:pt x="608" y="419"/>
                  </a:lnTo>
                  <a:lnTo>
                    <a:pt x="628" y="524"/>
                  </a:lnTo>
                  <a:lnTo>
                    <a:pt x="691" y="566"/>
                  </a:lnTo>
                  <a:lnTo>
                    <a:pt x="691" y="649"/>
                  </a:lnTo>
                  <a:lnTo>
                    <a:pt x="587" y="649"/>
                  </a:lnTo>
                  <a:lnTo>
                    <a:pt x="482" y="754"/>
                  </a:lnTo>
                  <a:lnTo>
                    <a:pt x="482" y="838"/>
                  </a:lnTo>
                  <a:lnTo>
                    <a:pt x="440" y="879"/>
                  </a:lnTo>
                  <a:lnTo>
                    <a:pt x="524" y="1047"/>
                  </a:lnTo>
                  <a:lnTo>
                    <a:pt x="587" y="1068"/>
                  </a:lnTo>
                  <a:lnTo>
                    <a:pt x="587" y="1131"/>
                  </a:lnTo>
                  <a:lnTo>
                    <a:pt x="503" y="1193"/>
                  </a:lnTo>
                  <a:lnTo>
                    <a:pt x="482" y="1193"/>
                  </a:lnTo>
                  <a:lnTo>
                    <a:pt x="440" y="1340"/>
                  </a:lnTo>
                  <a:lnTo>
                    <a:pt x="482" y="1403"/>
                  </a:lnTo>
                  <a:lnTo>
                    <a:pt x="628" y="1549"/>
                  </a:lnTo>
                  <a:lnTo>
                    <a:pt x="649" y="1675"/>
                  </a:lnTo>
                  <a:lnTo>
                    <a:pt x="712" y="1884"/>
                  </a:lnTo>
                  <a:lnTo>
                    <a:pt x="691" y="1967"/>
                  </a:lnTo>
                  <a:lnTo>
                    <a:pt x="545" y="1967"/>
                  </a:lnTo>
                  <a:lnTo>
                    <a:pt x="503" y="2030"/>
                  </a:lnTo>
                  <a:lnTo>
                    <a:pt x="503" y="2093"/>
                  </a:lnTo>
                  <a:lnTo>
                    <a:pt x="628" y="2219"/>
                  </a:lnTo>
                  <a:lnTo>
                    <a:pt x="608" y="2281"/>
                  </a:lnTo>
                  <a:lnTo>
                    <a:pt x="524" y="2281"/>
                  </a:lnTo>
                  <a:lnTo>
                    <a:pt x="440" y="2323"/>
                  </a:lnTo>
                  <a:lnTo>
                    <a:pt x="398" y="2428"/>
                  </a:lnTo>
                  <a:lnTo>
                    <a:pt x="315" y="2553"/>
                  </a:lnTo>
                  <a:lnTo>
                    <a:pt x="273" y="2658"/>
                  </a:lnTo>
                  <a:lnTo>
                    <a:pt x="210" y="2721"/>
                  </a:lnTo>
                  <a:lnTo>
                    <a:pt x="168" y="2721"/>
                  </a:lnTo>
                  <a:lnTo>
                    <a:pt x="64" y="2763"/>
                  </a:lnTo>
                  <a:lnTo>
                    <a:pt x="22" y="2825"/>
                  </a:lnTo>
                  <a:lnTo>
                    <a:pt x="22" y="2930"/>
                  </a:lnTo>
                  <a:lnTo>
                    <a:pt x="1" y="3014"/>
                  </a:lnTo>
                  <a:lnTo>
                    <a:pt x="1" y="3139"/>
                  </a:lnTo>
                  <a:lnTo>
                    <a:pt x="1" y="3181"/>
                  </a:lnTo>
                  <a:lnTo>
                    <a:pt x="22" y="3265"/>
                  </a:lnTo>
                  <a:lnTo>
                    <a:pt x="1" y="3328"/>
                  </a:lnTo>
                  <a:lnTo>
                    <a:pt x="22" y="3369"/>
                  </a:lnTo>
                  <a:lnTo>
                    <a:pt x="22" y="3432"/>
                  </a:lnTo>
                  <a:lnTo>
                    <a:pt x="22" y="3537"/>
                  </a:lnTo>
                  <a:lnTo>
                    <a:pt x="64" y="3767"/>
                  </a:lnTo>
                  <a:lnTo>
                    <a:pt x="22" y="3851"/>
                  </a:lnTo>
                  <a:lnTo>
                    <a:pt x="64" y="3955"/>
                  </a:lnTo>
                  <a:lnTo>
                    <a:pt x="22" y="4227"/>
                  </a:lnTo>
                  <a:lnTo>
                    <a:pt x="64" y="4332"/>
                  </a:lnTo>
                  <a:lnTo>
                    <a:pt x="294" y="4395"/>
                  </a:lnTo>
                  <a:lnTo>
                    <a:pt x="482" y="4311"/>
                  </a:lnTo>
                  <a:lnTo>
                    <a:pt x="900" y="4541"/>
                  </a:lnTo>
                  <a:lnTo>
                    <a:pt x="1131" y="4750"/>
                  </a:lnTo>
                  <a:lnTo>
                    <a:pt x="1256" y="5043"/>
                  </a:lnTo>
                  <a:lnTo>
                    <a:pt x="1256" y="5232"/>
                  </a:lnTo>
                  <a:lnTo>
                    <a:pt x="1340" y="5273"/>
                  </a:lnTo>
                  <a:lnTo>
                    <a:pt x="1424" y="5462"/>
                  </a:lnTo>
                  <a:lnTo>
                    <a:pt x="1549" y="5587"/>
                  </a:lnTo>
                  <a:lnTo>
                    <a:pt x="1758" y="5671"/>
                  </a:lnTo>
                  <a:lnTo>
                    <a:pt x="2323" y="5629"/>
                  </a:lnTo>
                  <a:lnTo>
                    <a:pt x="2428" y="5566"/>
                  </a:lnTo>
                  <a:lnTo>
                    <a:pt x="2512" y="5587"/>
                  </a:lnTo>
                  <a:lnTo>
                    <a:pt x="2784" y="5483"/>
                  </a:lnTo>
                  <a:lnTo>
                    <a:pt x="2888" y="5545"/>
                  </a:lnTo>
                  <a:lnTo>
                    <a:pt x="3014" y="5524"/>
                  </a:lnTo>
                  <a:lnTo>
                    <a:pt x="3056" y="5357"/>
                  </a:lnTo>
                  <a:lnTo>
                    <a:pt x="3160" y="5462"/>
                  </a:lnTo>
                  <a:lnTo>
                    <a:pt x="3223" y="5441"/>
                  </a:lnTo>
                  <a:lnTo>
                    <a:pt x="3223" y="5357"/>
                  </a:lnTo>
                  <a:lnTo>
                    <a:pt x="3369" y="5211"/>
                  </a:lnTo>
                  <a:lnTo>
                    <a:pt x="3432" y="5043"/>
                  </a:lnTo>
                  <a:lnTo>
                    <a:pt x="3432" y="4918"/>
                  </a:lnTo>
                  <a:lnTo>
                    <a:pt x="3411" y="4792"/>
                  </a:lnTo>
                  <a:lnTo>
                    <a:pt x="3474" y="4729"/>
                  </a:lnTo>
                  <a:lnTo>
                    <a:pt x="3474" y="4646"/>
                  </a:lnTo>
                  <a:lnTo>
                    <a:pt x="3558" y="4583"/>
                  </a:lnTo>
                  <a:lnTo>
                    <a:pt x="3662" y="4499"/>
                  </a:lnTo>
                  <a:lnTo>
                    <a:pt x="3725" y="4436"/>
                  </a:lnTo>
                  <a:lnTo>
                    <a:pt x="3893" y="4311"/>
                  </a:lnTo>
                  <a:lnTo>
                    <a:pt x="3872" y="4206"/>
                  </a:lnTo>
                  <a:lnTo>
                    <a:pt x="3893" y="4123"/>
                  </a:lnTo>
                  <a:lnTo>
                    <a:pt x="4039" y="4123"/>
                  </a:lnTo>
                  <a:lnTo>
                    <a:pt x="4081" y="4060"/>
                  </a:lnTo>
                  <a:lnTo>
                    <a:pt x="4102" y="4081"/>
                  </a:lnTo>
                  <a:lnTo>
                    <a:pt x="4269" y="4123"/>
                  </a:lnTo>
                  <a:lnTo>
                    <a:pt x="4353" y="4123"/>
                  </a:lnTo>
                  <a:lnTo>
                    <a:pt x="4458" y="4185"/>
                  </a:lnTo>
                  <a:lnTo>
                    <a:pt x="4499" y="4311"/>
                  </a:lnTo>
                  <a:lnTo>
                    <a:pt x="4604" y="4374"/>
                  </a:lnTo>
                  <a:lnTo>
                    <a:pt x="4688" y="4395"/>
                  </a:lnTo>
                  <a:lnTo>
                    <a:pt x="4792" y="4332"/>
                  </a:lnTo>
                  <a:lnTo>
                    <a:pt x="4876" y="4206"/>
                  </a:lnTo>
                  <a:lnTo>
                    <a:pt x="4876" y="4164"/>
                  </a:lnTo>
                  <a:lnTo>
                    <a:pt x="4918" y="4081"/>
                  </a:lnTo>
                  <a:lnTo>
                    <a:pt x="5002" y="4060"/>
                  </a:lnTo>
                  <a:lnTo>
                    <a:pt x="5085" y="3955"/>
                  </a:lnTo>
                  <a:lnTo>
                    <a:pt x="5085" y="3872"/>
                  </a:lnTo>
                  <a:lnTo>
                    <a:pt x="5106" y="3746"/>
                  </a:lnTo>
                  <a:lnTo>
                    <a:pt x="5294" y="3558"/>
                  </a:lnTo>
                  <a:lnTo>
                    <a:pt x="5315" y="3453"/>
                  </a:lnTo>
                  <a:lnTo>
                    <a:pt x="5294" y="3369"/>
                  </a:lnTo>
                  <a:lnTo>
                    <a:pt x="5336" y="3286"/>
                  </a:lnTo>
                  <a:lnTo>
                    <a:pt x="5504" y="3139"/>
                  </a:lnTo>
                  <a:lnTo>
                    <a:pt x="5608" y="3056"/>
                  </a:lnTo>
                  <a:lnTo>
                    <a:pt x="5629" y="2930"/>
                  </a:lnTo>
                  <a:lnTo>
                    <a:pt x="5650" y="2846"/>
                  </a:lnTo>
                  <a:lnTo>
                    <a:pt x="5629" y="2658"/>
                  </a:lnTo>
                  <a:lnTo>
                    <a:pt x="5734" y="2595"/>
                  </a:lnTo>
                  <a:lnTo>
                    <a:pt x="5880" y="2553"/>
                  </a:lnTo>
                  <a:lnTo>
                    <a:pt x="5964" y="2428"/>
                  </a:lnTo>
                  <a:lnTo>
                    <a:pt x="5985" y="2302"/>
                  </a:lnTo>
                  <a:lnTo>
                    <a:pt x="5985" y="2135"/>
                  </a:lnTo>
                  <a:lnTo>
                    <a:pt x="5985" y="2030"/>
                  </a:lnTo>
                  <a:lnTo>
                    <a:pt x="6048" y="1926"/>
                  </a:lnTo>
                  <a:lnTo>
                    <a:pt x="6152" y="1758"/>
                  </a:lnTo>
                  <a:lnTo>
                    <a:pt x="6194" y="1695"/>
                  </a:lnTo>
                  <a:lnTo>
                    <a:pt x="6236" y="1654"/>
                  </a:lnTo>
                  <a:lnTo>
                    <a:pt x="6341" y="1570"/>
                  </a:lnTo>
                  <a:lnTo>
                    <a:pt x="6382" y="1570"/>
                  </a:lnTo>
                  <a:lnTo>
                    <a:pt x="6466" y="1465"/>
                  </a:lnTo>
                  <a:lnTo>
                    <a:pt x="6592" y="1403"/>
                  </a:lnTo>
                  <a:lnTo>
                    <a:pt x="6613" y="1340"/>
                  </a:lnTo>
                  <a:lnTo>
                    <a:pt x="6571" y="1193"/>
                  </a:lnTo>
                  <a:lnTo>
                    <a:pt x="6571" y="1131"/>
                  </a:lnTo>
                  <a:lnTo>
                    <a:pt x="6550" y="1047"/>
                  </a:lnTo>
                  <a:lnTo>
                    <a:pt x="6445" y="984"/>
                  </a:lnTo>
                  <a:lnTo>
                    <a:pt x="6382" y="921"/>
                  </a:lnTo>
                  <a:lnTo>
                    <a:pt x="6382" y="733"/>
                  </a:lnTo>
                  <a:lnTo>
                    <a:pt x="6362" y="628"/>
                  </a:lnTo>
                  <a:lnTo>
                    <a:pt x="6299" y="503"/>
                  </a:lnTo>
                  <a:lnTo>
                    <a:pt x="6236" y="356"/>
                  </a:lnTo>
                  <a:lnTo>
                    <a:pt x="6069" y="147"/>
                  </a:lnTo>
                  <a:lnTo>
                    <a:pt x="5985" y="126"/>
                  </a:lnTo>
                  <a:lnTo>
                    <a:pt x="5880" y="84"/>
                  </a:lnTo>
                  <a:lnTo>
                    <a:pt x="5838" y="189"/>
                  </a:lnTo>
                  <a:lnTo>
                    <a:pt x="5818" y="252"/>
                  </a:lnTo>
                  <a:lnTo>
                    <a:pt x="5755" y="294"/>
                  </a:lnTo>
                  <a:lnTo>
                    <a:pt x="5671" y="252"/>
                  </a:lnTo>
                  <a:lnTo>
                    <a:pt x="5608" y="294"/>
                  </a:lnTo>
                  <a:lnTo>
                    <a:pt x="5546" y="335"/>
                  </a:lnTo>
                  <a:lnTo>
                    <a:pt x="5441" y="398"/>
                  </a:lnTo>
                  <a:lnTo>
                    <a:pt x="5399" y="503"/>
                  </a:lnTo>
                  <a:lnTo>
                    <a:pt x="5294" y="524"/>
                  </a:lnTo>
                  <a:lnTo>
                    <a:pt x="5232" y="461"/>
                  </a:lnTo>
                  <a:lnTo>
                    <a:pt x="5190" y="440"/>
                  </a:lnTo>
                  <a:lnTo>
                    <a:pt x="5022" y="419"/>
                  </a:lnTo>
                  <a:lnTo>
                    <a:pt x="4834" y="335"/>
                  </a:lnTo>
                  <a:lnTo>
                    <a:pt x="4583" y="315"/>
                  </a:lnTo>
                  <a:lnTo>
                    <a:pt x="4458" y="356"/>
                  </a:lnTo>
                  <a:lnTo>
                    <a:pt x="4144" y="335"/>
                  </a:lnTo>
                  <a:lnTo>
                    <a:pt x="4039" y="398"/>
                  </a:lnTo>
                  <a:lnTo>
                    <a:pt x="3872" y="607"/>
                  </a:lnTo>
                  <a:lnTo>
                    <a:pt x="3746" y="670"/>
                  </a:lnTo>
                  <a:lnTo>
                    <a:pt x="3641" y="649"/>
                  </a:lnTo>
                  <a:lnTo>
                    <a:pt x="3411" y="566"/>
                  </a:lnTo>
                  <a:lnTo>
                    <a:pt x="3265" y="545"/>
                  </a:lnTo>
                  <a:lnTo>
                    <a:pt x="3097" y="440"/>
                  </a:lnTo>
                  <a:lnTo>
                    <a:pt x="2993" y="419"/>
                  </a:lnTo>
                  <a:lnTo>
                    <a:pt x="2993" y="356"/>
                  </a:lnTo>
                  <a:lnTo>
                    <a:pt x="2888" y="294"/>
                  </a:lnTo>
                  <a:lnTo>
                    <a:pt x="2784" y="294"/>
                  </a:lnTo>
                  <a:lnTo>
                    <a:pt x="2742" y="315"/>
                  </a:lnTo>
                  <a:lnTo>
                    <a:pt x="2595" y="335"/>
                  </a:lnTo>
                  <a:lnTo>
                    <a:pt x="2512" y="356"/>
                  </a:lnTo>
                  <a:lnTo>
                    <a:pt x="2428" y="398"/>
                  </a:lnTo>
                  <a:lnTo>
                    <a:pt x="2365" y="461"/>
                  </a:lnTo>
                  <a:lnTo>
                    <a:pt x="2302" y="503"/>
                  </a:lnTo>
                  <a:lnTo>
                    <a:pt x="2198" y="419"/>
                  </a:lnTo>
                  <a:lnTo>
                    <a:pt x="2072" y="231"/>
                  </a:lnTo>
                  <a:lnTo>
                    <a:pt x="2009" y="147"/>
                  </a:lnTo>
                  <a:lnTo>
                    <a:pt x="1842" y="105"/>
                  </a:lnTo>
                  <a:lnTo>
                    <a:pt x="1758" y="84"/>
                  </a:lnTo>
                  <a:lnTo>
                    <a:pt x="1675" y="43"/>
                  </a:lnTo>
                  <a:lnTo>
                    <a:pt x="1528" y="22"/>
                  </a:lnTo>
                  <a:lnTo>
                    <a:pt x="144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9" name="Google Shape;949;p34"/>
            <p:cNvSpPr/>
            <p:nvPr/>
          </p:nvSpPr>
          <p:spPr>
            <a:xfrm>
              <a:off x="3805645" y="3058722"/>
              <a:ext cx="52322" cy="74968"/>
            </a:xfrm>
            <a:custGeom>
              <a:avLst/>
              <a:gdLst/>
              <a:ahLst/>
              <a:cxnLst/>
              <a:rect l="l" t="t" r="r" b="b"/>
              <a:pathLst>
                <a:path w="4394" h="6592" extrusionOk="0">
                  <a:moveTo>
                    <a:pt x="3076" y="1"/>
                  </a:moveTo>
                  <a:lnTo>
                    <a:pt x="3139" y="126"/>
                  </a:lnTo>
                  <a:lnTo>
                    <a:pt x="3159" y="231"/>
                  </a:lnTo>
                  <a:lnTo>
                    <a:pt x="3159" y="419"/>
                  </a:lnTo>
                  <a:lnTo>
                    <a:pt x="3222" y="482"/>
                  </a:lnTo>
                  <a:lnTo>
                    <a:pt x="3327" y="545"/>
                  </a:lnTo>
                  <a:lnTo>
                    <a:pt x="3348" y="629"/>
                  </a:lnTo>
                  <a:lnTo>
                    <a:pt x="3348" y="691"/>
                  </a:lnTo>
                  <a:lnTo>
                    <a:pt x="3390" y="838"/>
                  </a:lnTo>
                  <a:lnTo>
                    <a:pt x="3369" y="901"/>
                  </a:lnTo>
                  <a:lnTo>
                    <a:pt x="3243" y="963"/>
                  </a:lnTo>
                  <a:lnTo>
                    <a:pt x="3159" y="1068"/>
                  </a:lnTo>
                  <a:lnTo>
                    <a:pt x="3118" y="1068"/>
                  </a:lnTo>
                  <a:lnTo>
                    <a:pt x="3013" y="1152"/>
                  </a:lnTo>
                  <a:lnTo>
                    <a:pt x="2971" y="1193"/>
                  </a:lnTo>
                  <a:lnTo>
                    <a:pt x="2929" y="1256"/>
                  </a:lnTo>
                  <a:lnTo>
                    <a:pt x="2825" y="1424"/>
                  </a:lnTo>
                  <a:lnTo>
                    <a:pt x="2762" y="1528"/>
                  </a:lnTo>
                  <a:lnTo>
                    <a:pt x="2762" y="1633"/>
                  </a:lnTo>
                  <a:lnTo>
                    <a:pt x="2762" y="1800"/>
                  </a:lnTo>
                  <a:lnTo>
                    <a:pt x="2741" y="1926"/>
                  </a:lnTo>
                  <a:lnTo>
                    <a:pt x="2657" y="2051"/>
                  </a:lnTo>
                  <a:lnTo>
                    <a:pt x="2511" y="2093"/>
                  </a:lnTo>
                  <a:lnTo>
                    <a:pt x="2406" y="2156"/>
                  </a:lnTo>
                  <a:lnTo>
                    <a:pt x="2427" y="2344"/>
                  </a:lnTo>
                  <a:lnTo>
                    <a:pt x="2406" y="2428"/>
                  </a:lnTo>
                  <a:lnTo>
                    <a:pt x="2385" y="2554"/>
                  </a:lnTo>
                  <a:lnTo>
                    <a:pt x="2281" y="2637"/>
                  </a:lnTo>
                  <a:lnTo>
                    <a:pt x="2113" y="2784"/>
                  </a:lnTo>
                  <a:lnTo>
                    <a:pt x="2071" y="2867"/>
                  </a:lnTo>
                  <a:lnTo>
                    <a:pt x="2092" y="2951"/>
                  </a:lnTo>
                  <a:lnTo>
                    <a:pt x="2071" y="3056"/>
                  </a:lnTo>
                  <a:lnTo>
                    <a:pt x="1883" y="3244"/>
                  </a:lnTo>
                  <a:lnTo>
                    <a:pt x="1862" y="3370"/>
                  </a:lnTo>
                  <a:lnTo>
                    <a:pt x="1862" y="3453"/>
                  </a:lnTo>
                  <a:lnTo>
                    <a:pt x="1779" y="3558"/>
                  </a:lnTo>
                  <a:lnTo>
                    <a:pt x="1695" y="3579"/>
                  </a:lnTo>
                  <a:lnTo>
                    <a:pt x="1653" y="3662"/>
                  </a:lnTo>
                  <a:lnTo>
                    <a:pt x="1653" y="3704"/>
                  </a:lnTo>
                  <a:lnTo>
                    <a:pt x="1569" y="3830"/>
                  </a:lnTo>
                  <a:lnTo>
                    <a:pt x="1465" y="3893"/>
                  </a:lnTo>
                  <a:lnTo>
                    <a:pt x="1381" y="3872"/>
                  </a:lnTo>
                  <a:lnTo>
                    <a:pt x="1276" y="3809"/>
                  </a:lnTo>
                  <a:lnTo>
                    <a:pt x="1235" y="3683"/>
                  </a:lnTo>
                  <a:lnTo>
                    <a:pt x="1130" y="3621"/>
                  </a:lnTo>
                  <a:lnTo>
                    <a:pt x="1046" y="3621"/>
                  </a:lnTo>
                  <a:lnTo>
                    <a:pt x="879" y="3579"/>
                  </a:lnTo>
                  <a:lnTo>
                    <a:pt x="858" y="3558"/>
                  </a:lnTo>
                  <a:lnTo>
                    <a:pt x="816" y="3621"/>
                  </a:lnTo>
                  <a:lnTo>
                    <a:pt x="670" y="3621"/>
                  </a:lnTo>
                  <a:lnTo>
                    <a:pt x="649" y="3704"/>
                  </a:lnTo>
                  <a:lnTo>
                    <a:pt x="670" y="3809"/>
                  </a:lnTo>
                  <a:lnTo>
                    <a:pt x="502" y="3934"/>
                  </a:lnTo>
                  <a:lnTo>
                    <a:pt x="439" y="3997"/>
                  </a:lnTo>
                  <a:lnTo>
                    <a:pt x="335" y="4081"/>
                  </a:lnTo>
                  <a:lnTo>
                    <a:pt x="251" y="4144"/>
                  </a:lnTo>
                  <a:lnTo>
                    <a:pt x="251" y="4227"/>
                  </a:lnTo>
                  <a:lnTo>
                    <a:pt x="188" y="4290"/>
                  </a:lnTo>
                  <a:lnTo>
                    <a:pt x="209" y="4416"/>
                  </a:lnTo>
                  <a:lnTo>
                    <a:pt x="209" y="4541"/>
                  </a:lnTo>
                  <a:lnTo>
                    <a:pt x="146" y="4709"/>
                  </a:lnTo>
                  <a:lnTo>
                    <a:pt x="0" y="4855"/>
                  </a:lnTo>
                  <a:lnTo>
                    <a:pt x="0" y="4939"/>
                  </a:lnTo>
                  <a:lnTo>
                    <a:pt x="84" y="4960"/>
                  </a:lnTo>
                  <a:lnTo>
                    <a:pt x="188" y="4918"/>
                  </a:lnTo>
                  <a:lnTo>
                    <a:pt x="230" y="5274"/>
                  </a:lnTo>
                  <a:lnTo>
                    <a:pt x="335" y="5274"/>
                  </a:lnTo>
                  <a:lnTo>
                    <a:pt x="398" y="5357"/>
                  </a:lnTo>
                  <a:lnTo>
                    <a:pt x="565" y="5274"/>
                  </a:lnTo>
                  <a:lnTo>
                    <a:pt x="649" y="5399"/>
                  </a:lnTo>
                  <a:lnTo>
                    <a:pt x="628" y="5483"/>
                  </a:lnTo>
                  <a:lnTo>
                    <a:pt x="628" y="5650"/>
                  </a:lnTo>
                  <a:lnTo>
                    <a:pt x="732" y="5797"/>
                  </a:lnTo>
                  <a:lnTo>
                    <a:pt x="732" y="6006"/>
                  </a:lnTo>
                  <a:lnTo>
                    <a:pt x="649" y="6215"/>
                  </a:lnTo>
                  <a:lnTo>
                    <a:pt x="753" y="6299"/>
                  </a:lnTo>
                  <a:lnTo>
                    <a:pt x="649" y="6403"/>
                  </a:lnTo>
                  <a:lnTo>
                    <a:pt x="649" y="6403"/>
                  </a:lnTo>
                  <a:lnTo>
                    <a:pt x="732" y="6383"/>
                  </a:lnTo>
                  <a:lnTo>
                    <a:pt x="816" y="6383"/>
                  </a:lnTo>
                  <a:lnTo>
                    <a:pt x="837" y="6403"/>
                  </a:lnTo>
                  <a:lnTo>
                    <a:pt x="1507" y="6403"/>
                  </a:lnTo>
                  <a:lnTo>
                    <a:pt x="1548" y="6383"/>
                  </a:lnTo>
                  <a:lnTo>
                    <a:pt x="1590" y="6341"/>
                  </a:lnTo>
                  <a:lnTo>
                    <a:pt x="1653" y="6383"/>
                  </a:lnTo>
                  <a:lnTo>
                    <a:pt x="1695" y="6320"/>
                  </a:lnTo>
                  <a:lnTo>
                    <a:pt x="1862" y="6341"/>
                  </a:lnTo>
                  <a:lnTo>
                    <a:pt x="1904" y="6320"/>
                  </a:lnTo>
                  <a:lnTo>
                    <a:pt x="2092" y="6320"/>
                  </a:lnTo>
                  <a:lnTo>
                    <a:pt x="2134" y="6341"/>
                  </a:lnTo>
                  <a:lnTo>
                    <a:pt x="2239" y="6320"/>
                  </a:lnTo>
                  <a:lnTo>
                    <a:pt x="2323" y="6320"/>
                  </a:lnTo>
                  <a:lnTo>
                    <a:pt x="2323" y="6341"/>
                  </a:lnTo>
                  <a:lnTo>
                    <a:pt x="2490" y="6383"/>
                  </a:lnTo>
                  <a:lnTo>
                    <a:pt x="2511" y="6341"/>
                  </a:lnTo>
                  <a:lnTo>
                    <a:pt x="2553" y="6341"/>
                  </a:lnTo>
                  <a:lnTo>
                    <a:pt x="2595" y="6403"/>
                  </a:lnTo>
                  <a:lnTo>
                    <a:pt x="3327" y="6403"/>
                  </a:lnTo>
                  <a:lnTo>
                    <a:pt x="3390" y="6424"/>
                  </a:lnTo>
                  <a:lnTo>
                    <a:pt x="3431" y="6403"/>
                  </a:lnTo>
                  <a:lnTo>
                    <a:pt x="3452" y="6403"/>
                  </a:lnTo>
                  <a:lnTo>
                    <a:pt x="3536" y="6487"/>
                  </a:lnTo>
                  <a:lnTo>
                    <a:pt x="3578" y="6445"/>
                  </a:lnTo>
                  <a:lnTo>
                    <a:pt x="3662" y="6487"/>
                  </a:lnTo>
                  <a:lnTo>
                    <a:pt x="3683" y="6529"/>
                  </a:lnTo>
                  <a:lnTo>
                    <a:pt x="3745" y="6508"/>
                  </a:lnTo>
                  <a:lnTo>
                    <a:pt x="3766" y="6487"/>
                  </a:lnTo>
                  <a:lnTo>
                    <a:pt x="3808" y="6487"/>
                  </a:lnTo>
                  <a:lnTo>
                    <a:pt x="3892" y="6550"/>
                  </a:lnTo>
                  <a:lnTo>
                    <a:pt x="3955" y="6529"/>
                  </a:lnTo>
                  <a:lnTo>
                    <a:pt x="4059" y="6529"/>
                  </a:lnTo>
                  <a:lnTo>
                    <a:pt x="4101" y="6550"/>
                  </a:lnTo>
                  <a:lnTo>
                    <a:pt x="4206" y="6550"/>
                  </a:lnTo>
                  <a:lnTo>
                    <a:pt x="4206" y="6592"/>
                  </a:lnTo>
                  <a:lnTo>
                    <a:pt x="4289" y="6592"/>
                  </a:lnTo>
                  <a:lnTo>
                    <a:pt x="4310" y="6529"/>
                  </a:lnTo>
                  <a:lnTo>
                    <a:pt x="4268" y="6424"/>
                  </a:lnTo>
                  <a:lnTo>
                    <a:pt x="4268" y="6403"/>
                  </a:lnTo>
                  <a:lnTo>
                    <a:pt x="4331" y="6299"/>
                  </a:lnTo>
                  <a:lnTo>
                    <a:pt x="4373" y="6215"/>
                  </a:lnTo>
                  <a:lnTo>
                    <a:pt x="4394" y="6194"/>
                  </a:lnTo>
                  <a:lnTo>
                    <a:pt x="4373" y="6194"/>
                  </a:lnTo>
                  <a:lnTo>
                    <a:pt x="4331" y="6131"/>
                  </a:lnTo>
                  <a:lnTo>
                    <a:pt x="4331" y="6069"/>
                  </a:lnTo>
                  <a:lnTo>
                    <a:pt x="4331" y="5922"/>
                  </a:lnTo>
                  <a:lnTo>
                    <a:pt x="4164" y="5797"/>
                  </a:lnTo>
                  <a:lnTo>
                    <a:pt x="4080" y="5713"/>
                  </a:lnTo>
                  <a:lnTo>
                    <a:pt x="3996" y="5567"/>
                  </a:lnTo>
                  <a:lnTo>
                    <a:pt x="3850" y="5357"/>
                  </a:lnTo>
                  <a:lnTo>
                    <a:pt x="3808" y="5232"/>
                  </a:lnTo>
                  <a:lnTo>
                    <a:pt x="3703" y="5127"/>
                  </a:lnTo>
                  <a:lnTo>
                    <a:pt x="3557" y="5043"/>
                  </a:lnTo>
                  <a:lnTo>
                    <a:pt x="3494" y="4981"/>
                  </a:lnTo>
                  <a:lnTo>
                    <a:pt x="3494" y="4750"/>
                  </a:lnTo>
                  <a:lnTo>
                    <a:pt x="3473" y="4625"/>
                  </a:lnTo>
                  <a:lnTo>
                    <a:pt x="3452" y="4458"/>
                  </a:lnTo>
                  <a:lnTo>
                    <a:pt x="3473" y="4332"/>
                  </a:lnTo>
                  <a:lnTo>
                    <a:pt x="3431" y="4186"/>
                  </a:lnTo>
                  <a:lnTo>
                    <a:pt x="3390" y="4039"/>
                  </a:lnTo>
                  <a:lnTo>
                    <a:pt x="3452" y="3976"/>
                  </a:lnTo>
                  <a:lnTo>
                    <a:pt x="3536" y="3976"/>
                  </a:lnTo>
                  <a:lnTo>
                    <a:pt x="3641" y="3788"/>
                  </a:lnTo>
                  <a:lnTo>
                    <a:pt x="3683" y="3662"/>
                  </a:lnTo>
                  <a:lnTo>
                    <a:pt x="3787" y="3474"/>
                  </a:lnTo>
                  <a:lnTo>
                    <a:pt x="3850" y="3349"/>
                  </a:lnTo>
                  <a:lnTo>
                    <a:pt x="3955" y="3307"/>
                  </a:lnTo>
                  <a:lnTo>
                    <a:pt x="4059" y="3160"/>
                  </a:lnTo>
                  <a:lnTo>
                    <a:pt x="4059" y="3139"/>
                  </a:lnTo>
                  <a:lnTo>
                    <a:pt x="4017" y="3035"/>
                  </a:lnTo>
                  <a:lnTo>
                    <a:pt x="3955" y="2867"/>
                  </a:lnTo>
                  <a:lnTo>
                    <a:pt x="3850" y="2721"/>
                  </a:lnTo>
                  <a:lnTo>
                    <a:pt x="3766" y="2637"/>
                  </a:lnTo>
                  <a:lnTo>
                    <a:pt x="3557" y="2428"/>
                  </a:lnTo>
                  <a:lnTo>
                    <a:pt x="3348" y="2240"/>
                  </a:lnTo>
                  <a:lnTo>
                    <a:pt x="3243" y="2219"/>
                  </a:lnTo>
                  <a:lnTo>
                    <a:pt x="3243" y="2135"/>
                  </a:lnTo>
                  <a:lnTo>
                    <a:pt x="3159" y="2093"/>
                  </a:lnTo>
                  <a:lnTo>
                    <a:pt x="3159" y="2030"/>
                  </a:lnTo>
                  <a:lnTo>
                    <a:pt x="3159" y="1926"/>
                  </a:lnTo>
                  <a:lnTo>
                    <a:pt x="3180" y="1884"/>
                  </a:lnTo>
                  <a:lnTo>
                    <a:pt x="3180" y="1779"/>
                  </a:lnTo>
                  <a:lnTo>
                    <a:pt x="3369" y="1779"/>
                  </a:lnTo>
                  <a:lnTo>
                    <a:pt x="3431" y="1800"/>
                  </a:lnTo>
                  <a:lnTo>
                    <a:pt x="3536" y="1779"/>
                  </a:lnTo>
                  <a:lnTo>
                    <a:pt x="3641" y="1800"/>
                  </a:lnTo>
                  <a:lnTo>
                    <a:pt x="3683" y="1779"/>
                  </a:lnTo>
                  <a:lnTo>
                    <a:pt x="3808" y="1800"/>
                  </a:lnTo>
                  <a:lnTo>
                    <a:pt x="3892" y="1821"/>
                  </a:lnTo>
                  <a:lnTo>
                    <a:pt x="3975" y="1842"/>
                  </a:lnTo>
                  <a:lnTo>
                    <a:pt x="4017" y="1800"/>
                  </a:lnTo>
                  <a:lnTo>
                    <a:pt x="3975" y="1779"/>
                  </a:lnTo>
                  <a:lnTo>
                    <a:pt x="3808" y="1633"/>
                  </a:lnTo>
                  <a:lnTo>
                    <a:pt x="3787" y="1528"/>
                  </a:lnTo>
                  <a:lnTo>
                    <a:pt x="3703" y="1486"/>
                  </a:lnTo>
                  <a:lnTo>
                    <a:pt x="3599" y="1319"/>
                  </a:lnTo>
                  <a:lnTo>
                    <a:pt x="3578" y="1214"/>
                  </a:lnTo>
                  <a:lnTo>
                    <a:pt x="3662" y="1152"/>
                  </a:lnTo>
                  <a:lnTo>
                    <a:pt x="3703" y="1005"/>
                  </a:lnTo>
                  <a:lnTo>
                    <a:pt x="3641" y="942"/>
                  </a:lnTo>
                  <a:lnTo>
                    <a:pt x="3662" y="880"/>
                  </a:lnTo>
                  <a:lnTo>
                    <a:pt x="3683" y="838"/>
                  </a:lnTo>
                  <a:lnTo>
                    <a:pt x="3683" y="754"/>
                  </a:lnTo>
                  <a:lnTo>
                    <a:pt x="3599" y="587"/>
                  </a:lnTo>
                  <a:lnTo>
                    <a:pt x="3578" y="482"/>
                  </a:lnTo>
                  <a:lnTo>
                    <a:pt x="3536" y="440"/>
                  </a:lnTo>
                  <a:lnTo>
                    <a:pt x="3494" y="252"/>
                  </a:lnTo>
                  <a:lnTo>
                    <a:pt x="3369" y="147"/>
                  </a:lnTo>
                  <a:lnTo>
                    <a:pt x="307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0" name="Google Shape;950;p34"/>
            <p:cNvSpPr/>
            <p:nvPr/>
          </p:nvSpPr>
          <p:spPr>
            <a:xfrm>
              <a:off x="3805883" y="3130585"/>
              <a:ext cx="39378" cy="40702"/>
            </a:xfrm>
            <a:custGeom>
              <a:avLst/>
              <a:gdLst/>
              <a:ahLst/>
              <a:cxnLst/>
              <a:rect l="l" t="t" r="r" b="b"/>
              <a:pathLst>
                <a:path w="3307" h="3579" extrusionOk="0">
                  <a:moveTo>
                    <a:pt x="1675" y="1"/>
                  </a:moveTo>
                  <a:lnTo>
                    <a:pt x="1633" y="64"/>
                  </a:lnTo>
                  <a:lnTo>
                    <a:pt x="1570" y="22"/>
                  </a:lnTo>
                  <a:lnTo>
                    <a:pt x="1528" y="64"/>
                  </a:lnTo>
                  <a:lnTo>
                    <a:pt x="1487" y="84"/>
                  </a:lnTo>
                  <a:lnTo>
                    <a:pt x="1487" y="754"/>
                  </a:lnTo>
                  <a:lnTo>
                    <a:pt x="712" y="754"/>
                  </a:lnTo>
                  <a:lnTo>
                    <a:pt x="691" y="733"/>
                  </a:lnTo>
                  <a:lnTo>
                    <a:pt x="608" y="754"/>
                  </a:lnTo>
                  <a:lnTo>
                    <a:pt x="524" y="817"/>
                  </a:lnTo>
                  <a:lnTo>
                    <a:pt x="482" y="796"/>
                  </a:lnTo>
                  <a:lnTo>
                    <a:pt x="482" y="921"/>
                  </a:lnTo>
                  <a:lnTo>
                    <a:pt x="336" y="942"/>
                  </a:lnTo>
                  <a:lnTo>
                    <a:pt x="440" y="1131"/>
                  </a:lnTo>
                  <a:lnTo>
                    <a:pt x="629" y="1172"/>
                  </a:lnTo>
                  <a:lnTo>
                    <a:pt x="378" y="1235"/>
                  </a:lnTo>
                  <a:lnTo>
                    <a:pt x="315" y="1152"/>
                  </a:lnTo>
                  <a:lnTo>
                    <a:pt x="294" y="1340"/>
                  </a:lnTo>
                  <a:lnTo>
                    <a:pt x="273" y="1654"/>
                  </a:lnTo>
                  <a:lnTo>
                    <a:pt x="168" y="1737"/>
                  </a:lnTo>
                  <a:lnTo>
                    <a:pt x="22" y="1675"/>
                  </a:lnTo>
                  <a:lnTo>
                    <a:pt x="1" y="1758"/>
                  </a:lnTo>
                  <a:lnTo>
                    <a:pt x="126" y="1988"/>
                  </a:lnTo>
                  <a:lnTo>
                    <a:pt x="210" y="2051"/>
                  </a:lnTo>
                  <a:lnTo>
                    <a:pt x="210" y="2156"/>
                  </a:lnTo>
                  <a:lnTo>
                    <a:pt x="315" y="2281"/>
                  </a:lnTo>
                  <a:lnTo>
                    <a:pt x="315" y="2470"/>
                  </a:lnTo>
                  <a:lnTo>
                    <a:pt x="398" y="2533"/>
                  </a:lnTo>
                  <a:lnTo>
                    <a:pt x="440" y="2679"/>
                  </a:lnTo>
                  <a:lnTo>
                    <a:pt x="608" y="2805"/>
                  </a:lnTo>
                  <a:lnTo>
                    <a:pt x="545" y="2825"/>
                  </a:lnTo>
                  <a:lnTo>
                    <a:pt x="712" y="2993"/>
                  </a:lnTo>
                  <a:lnTo>
                    <a:pt x="963" y="3202"/>
                  </a:lnTo>
                  <a:lnTo>
                    <a:pt x="1026" y="3328"/>
                  </a:lnTo>
                  <a:lnTo>
                    <a:pt x="1235" y="3432"/>
                  </a:lnTo>
                  <a:lnTo>
                    <a:pt x="1256" y="3537"/>
                  </a:lnTo>
                  <a:lnTo>
                    <a:pt x="1361" y="3558"/>
                  </a:lnTo>
                  <a:lnTo>
                    <a:pt x="1382" y="3579"/>
                  </a:lnTo>
                  <a:lnTo>
                    <a:pt x="1466" y="3474"/>
                  </a:lnTo>
                  <a:lnTo>
                    <a:pt x="1466" y="3411"/>
                  </a:lnTo>
                  <a:lnTo>
                    <a:pt x="1528" y="3369"/>
                  </a:lnTo>
                  <a:lnTo>
                    <a:pt x="1633" y="3369"/>
                  </a:lnTo>
                  <a:lnTo>
                    <a:pt x="1675" y="3307"/>
                  </a:lnTo>
                  <a:lnTo>
                    <a:pt x="1696" y="3307"/>
                  </a:lnTo>
                  <a:lnTo>
                    <a:pt x="1884" y="3432"/>
                  </a:lnTo>
                  <a:lnTo>
                    <a:pt x="1884" y="3328"/>
                  </a:lnTo>
                  <a:lnTo>
                    <a:pt x="1863" y="3035"/>
                  </a:lnTo>
                  <a:lnTo>
                    <a:pt x="1779" y="2951"/>
                  </a:lnTo>
                  <a:lnTo>
                    <a:pt x="1696" y="2930"/>
                  </a:lnTo>
                  <a:lnTo>
                    <a:pt x="1633" y="2951"/>
                  </a:lnTo>
                  <a:lnTo>
                    <a:pt x="1549" y="2993"/>
                  </a:lnTo>
                  <a:lnTo>
                    <a:pt x="1549" y="2846"/>
                  </a:lnTo>
                  <a:lnTo>
                    <a:pt x="1528" y="2784"/>
                  </a:lnTo>
                  <a:lnTo>
                    <a:pt x="1570" y="2721"/>
                  </a:lnTo>
                  <a:lnTo>
                    <a:pt x="1675" y="2721"/>
                  </a:lnTo>
                  <a:lnTo>
                    <a:pt x="1800" y="2784"/>
                  </a:lnTo>
                  <a:lnTo>
                    <a:pt x="1863" y="2721"/>
                  </a:lnTo>
                  <a:lnTo>
                    <a:pt x="1884" y="2679"/>
                  </a:lnTo>
                  <a:lnTo>
                    <a:pt x="1968" y="2679"/>
                  </a:lnTo>
                  <a:lnTo>
                    <a:pt x="2177" y="2637"/>
                  </a:lnTo>
                  <a:lnTo>
                    <a:pt x="2198" y="2574"/>
                  </a:lnTo>
                  <a:lnTo>
                    <a:pt x="2177" y="2407"/>
                  </a:lnTo>
                  <a:lnTo>
                    <a:pt x="2219" y="2365"/>
                  </a:lnTo>
                  <a:lnTo>
                    <a:pt x="2365" y="2365"/>
                  </a:lnTo>
                  <a:lnTo>
                    <a:pt x="2428" y="2595"/>
                  </a:lnTo>
                  <a:lnTo>
                    <a:pt x="2512" y="2700"/>
                  </a:lnTo>
                  <a:lnTo>
                    <a:pt x="2637" y="2637"/>
                  </a:lnTo>
                  <a:lnTo>
                    <a:pt x="2721" y="2679"/>
                  </a:lnTo>
                  <a:lnTo>
                    <a:pt x="2805" y="2616"/>
                  </a:lnTo>
                  <a:lnTo>
                    <a:pt x="2909" y="2616"/>
                  </a:lnTo>
                  <a:lnTo>
                    <a:pt x="3035" y="2679"/>
                  </a:lnTo>
                  <a:lnTo>
                    <a:pt x="3056" y="2742"/>
                  </a:lnTo>
                  <a:lnTo>
                    <a:pt x="3119" y="2742"/>
                  </a:lnTo>
                  <a:lnTo>
                    <a:pt x="3119" y="2637"/>
                  </a:lnTo>
                  <a:lnTo>
                    <a:pt x="3098" y="2533"/>
                  </a:lnTo>
                  <a:lnTo>
                    <a:pt x="3244" y="2114"/>
                  </a:lnTo>
                  <a:lnTo>
                    <a:pt x="3307" y="1884"/>
                  </a:lnTo>
                  <a:lnTo>
                    <a:pt x="3307" y="1779"/>
                  </a:lnTo>
                  <a:lnTo>
                    <a:pt x="3244" y="1696"/>
                  </a:lnTo>
                  <a:lnTo>
                    <a:pt x="3223" y="1654"/>
                  </a:lnTo>
                  <a:lnTo>
                    <a:pt x="3139" y="1570"/>
                  </a:lnTo>
                  <a:lnTo>
                    <a:pt x="3119" y="1528"/>
                  </a:lnTo>
                  <a:lnTo>
                    <a:pt x="3035" y="1486"/>
                  </a:lnTo>
                  <a:lnTo>
                    <a:pt x="3014" y="1444"/>
                  </a:lnTo>
                  <a:lnTo>
                    <a:pt x="2993" y="1382"/>
                  </a:lnTo>
                  <a:lnTo>
                    <a:pt x="2993" y="1340"/>
                  </a:lnTo>
                  <a:lnTo>
                    <a:pt x="3035" y="1319"/>
                  </a:lnTo>
                  <a:lnTo>
                    <a:pt x="3056" y="1277"/>
                  </a:lnTo>
                  <a:lnTo>
                    <a:pt x="3119" y="1277"/>
                  </a:lnTo>
                  <a:lnTo>
                    <a:pt x="3098" y="1214"/>
                  </a:lnTo>
                  <a:lnTo>
                    <a:pt x="3056" y="1172"/>
                  </a:lnTo>
                  <a:lnTo>
                    <a:pt x="3056" y="1110"/>
                  </a:lnTo>
                  <a:lnTo>
                    <a:pt x="3202" y="1026"/>
                  </a:lnTo>
                  <a:lnTo>
                    <a:pt x="3307" y="1005"/>
                  </a:lnTo>
                  <a:lnTo>
                    <a:pt x="3307" y="900"/>
                  </a:lnTo>
                  <a:lnTo>
                    <a:pt x="3265" y="838"/>
                  </a:lnTo>
                  <a:lnTo>
                    <a:pt x="3307" y="754"/>
                  </a:lnTo>
                  <a:lnTo>
                    <a:pt x="3307" y="587"/>
                  </a:lnTo>
                  <a:lnTo>
                    <a:pt x="3244" y="545"/>
                  </a:lnTo>
                  <a:lnTo>
                    <a:pt x="3056" y="524"/>
                  </a:lnTo>
                  <a:lnTo>
                    <a:pt x="2930" y="587"/>
                  </a:lnTo>
                  <a:lnTo>
                    <a:pt x="2805" y="628"/>
                  </a:lnTo>
                  <a:lnTo>
                    <a:pt x="2721" y="608"/>
                  </a:lnTo>
                  <a:lnTo>
                    <a:pt x="2616" y="649"/>
                  </a:lnTo>
                  <a:lnTo>
                    <a:pt x="2575" y="608"/>
                  </a:lnTo>
                  <a:lnTo>
                    <a:pt x="2595" y="545"/>
                  </a:lnTo>
                  <a:lnTo>
                    <a:pt x="2575" y="440"/>
                  </a:lnTo>
                  <a:lnTo>
                    <a:pt x="2575" y="315"/>
                  </a:lnTo>
                  <a:lnTo>
                    <a:pt x="2533" y="189"/>
                  </a:lnTo>
                  <a:lnTo>
                    <a:pt x="2575" y="84"/>
                  </a:lnTo>
                  <a:lnTo>
                    <a:pt x="2533" y="22"/>
                  </a:lnTo>
                  <a:lnTo>
                    <a:pt x="2491" y="22"/>
                  </a:lnTo>
                  <a:lnTo>
                    <a:pt x="2470" y="64"/>
                  </a:lnTo>
                  <a:lnTo>
                    <a:pt x="2303" y="22"/>
                  </a:lnTo>
                  <a:lnTo>
                    <a:pt x="2303" y="1"/>
                  </a:lnTo>
                  <a:lnTo>
                    <a:pt x="2219" y="1"/>
                  </a:lnTo>
                  <a:lnTo>
                    <a:pt x="2114" y="22"/>
                  </a:lnTo>
                  <a:lnTo>
                    <a:pt x="2072" y="1"/>
                  </a:lnTo>
                  <a:lnTo>
                    <a:pt x="1884" y="1"/>
                  </a:lnTo>
                  <a:lnTo>
                    <a:pt x="1842" y="22"/>
                  </a:lnTo>
                  <a:lnTo>
                    <a:pt x="167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1" name="Google Shape;951;p34"/>
            <p:cNvSpPr/>
            <p:nvPr/>
          </p:nvSpPr>
          <p:spPr>
            <a:xfrm>
              <a:off x="3809622" y="3131301"/>
              <a:ext cx="13967" cy="8575"/>
            </a:xfrm>
            <a:custGeom>
              <a:avLst/>
              <a:gdLst/>
              <a:ahLst/>
              <a:cxnLst/>
              <a:rect l="l" t="t" r="r" b="b"/>
              <a:pathLst>
                <a:path w="1173" h="754" extrusionOk="0">
                  <a:moveTo>
                    <a:pt x="398" y="1"/>
                  </a:moveTo>
                  <a:lnTo>
                    <a:pt x="315" y="21"/>
                  </a:lnTo>
                  <a:lnTo>
                    <a:pt x="294" y="42"/>
                  </a:lnTo>
                  <a:lnTo>
                    <a:pt x="336" y="147"/>
                  </a:lnTo>
                  <a:lnTo>
                    <a:pt x="168" y="335"/>
                  </a:lnTo>
                  <a:lnTo>
                    <a:pt x="1" y="628"/>
                  </a:lnTo>
                  <a:lnTo>
                    <a:pt x="168" y="691"/>
                  </a:lnTo>
                  <a:lnTo>
                    <a:pt x="168" y="733"/>
                  </a:lnTo>
                  <a:lnTo>
                    <a:pt x="210" y="754"/>
                  </a:lnTo>
                  <a:lnTo>
                    <a:pt x="294" y="691"/>
                  </a:lnTo>
                  <a:lnTo>
                    <a:pt x="377" y="670"/>
                  </a:lnTo>
                  <a:lnTo>
                    <a:pt x="398" y="691"/>
                  </a:lnTo>
                  <a:lnTo>
                    <a:pt x="1173" y="691"/>
                  </a:lnTo>
                  <a:lnTo>
                    <a:pt x="1173" y="21"/>
                  </a:lnTo>
                  <a:lnTo>
                    <a:pt x="503" y="21"/>
                  </a:lnTo>
                  <a:lnTo>
                    <a:pt x="48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2" name="Google Shape;952;p34"/>
            <p:cNvSpPr/>
            <p:nvPr/>
          </p:nvSpPr>
          <p:spPr>
            <a:xfrm>
              <a:off x="3822327" y="3120122"/>
              <a:ext cx="52834" cy="59023"/>
            </a:xfrm>
            <a:custGeom>
              <a:avLst/>
              <a:gdLst/>
              <a:ahLst/>
              <a:cxnLst/>
              <a:rect l="l" t="t" r="r" b="b"/>
              <a:pathLst>
                <a:path w="4437" h="5190" extrusionOk="0">
                  <a:moveTo>
                    <a:pt x="3935" y="0"/>
                  </a:moveTo>
                  <a:lnTo>
                    <a:pt x="3872" y="63"/>
                  </a:lnTo>
                  <a:lnTo>
                    <a:pt x="3767" y="42"/>
                  </a:lnTo>
                  <a:lnTo>
                    <a:pt x="3537" y="147"/>
                  </a:lnTo>
                  <a:lnTo>
                    <a:pt x="3495" y="188"/>
                  </a:lnTo>
                  <a:lnTo>
                    <a:pt x="3391" y="209"/>
                  </a:lnTo>
                  <a:lnTo>
                    <a:pt x="3244" y="377"/>
                  </a:lnTo>
                  <a:lnTo>
                    <a:pt x="2972" y="816"/>
                  </a:lnTo>
                  <a:lnTo>
                    <a:pt x="2930" y="900"/>
                  </a:lnTo>
                  <a:lnTo>
                    <a:pt x="2867" y="1004"/>
                  </a:lnTo>
                  <a:lnTo>
                    <a:pt x="2867" y="1025"/>
                  </a:lnTo>
                  <a:lnTo>
                    <a:pt x="2909" y="1130"/>
                  </a:lnTo>
                  <a:lnTo>
                    <a:pt x="2888" y="1193"/>
                  </a:lnTo>
                  <a:lnTo>
                    <a:pt x="2805" y="1193"/>
                  </a:lnTo>
                  <a:lnTo>
                    <a:pt x="2805" y="1151"/>
                  </a:lnTo>
                  <a:lnTo>
                    <a:pt x="2700" y="1151"/>
                  </a:lnTo>
                  <a:lnTo>
                    <a:pt x="2658" y="1130"/>
                  </a:lnTo>
                  <a:lnTo>
                    <a:pt x="2554" y="1130"/>
                  </a:lnTo>
                  <a:lnTo>
                    <a:pt x="2491" y="1151"/>
                  </a:lnTo>
                  <a:lnTo>
                    <a:pt x="2407" y="1088"/>
                  </a:lnTo>
                  <a:lnTo>
                    <a:pt x="2365" y="1088"/>
                  </a:lnTo>
                  <a:lnTo>
                    <a:pt x="2344" y="1109"/>
                  </a:lnTo>
                  <a:lnTo>
                    <a:pt x="2282" y="1130"/>
                  </a:lnTo>
                  <a:lnTo>
                    <a:pt x="2261" y="1088"/>
                  </a:lnTo>
                  <a:lnTo>
                    <a:pt x="2177" y="1046"/>
                  </a:lnTo>
                  <a:lnTo>
                    <a:pt x="2135" y="1088"/>
                  </a:lnTo>
                  <a:lnTo>
                    <a:pt x="2051" y="1004"/>
                  </a:lnTo>
                  <a:lnTo>
                    <a:pt x="2030" y="1004"/>
                  </a:lnTo>
                  <a:lnTo>
                    <a:pt x="1989" y="1025"/>
                  </a:lnTo>
                  <a:lnTo>
                    <a:pt x="1926" y="1004"/>
                  </a:lnTo>
                  <a:lnTo>
                    <a:pt x="1194" y="1004"/>
                  </a:lnTo>
                  <a:lnTo>
                    <a:pt x="1152" y="1109"/>
                  </a:lnTo>
                  <a:lnTo>
                    <a:pt x="1194" y="1235"/>
                  </a:lnTo>
                  <a:lnTo>
                    <a:pt x="1194" y="1360"/>
                  </a:lnTo>
                  <a:lnTo>
                    <a:pt x="1214" y="1465"/>
                  </a:lnTo>
                  <a:lnTo>
                    <a:pt x="1194" y="1528"/>
                  </a:lnTo>
                  <a:lnTo>
                    <a:pt x="1235" y="1569"/>
                  </a:lnTo>
                  <a:lnTo>
                    <a:pt x="1340" y="1528"/>
                  </a:lnTo>
                  <a:lnTo>
                    <a:pt x="1424" y="1548"/>
                  </a:lnTo>
                  <a:lnTo>
                    <a:pt x="1549" y="1507"/>
                  </a:lnTo>
                  <a:lnTo>
                    <a:pt x="1675" y="1444"/>
                  </a:lnTo>
                  <a:lnTo>
                    <a:pt x="1863" y="1465"/>
                  </a:lnTo>
                  <a:lnTo>
                    <a:pt x="1926" y="1507"/>
                  </a:lnTo>
                  <a:lnTo>
                    <a:pt x="1926" y="1674"/>
                  </a:lnTo>
                  <a:lnTo>
                    <a:pt x="1884" y="1758"/>
                  </a:lnTo>
                  <a:lnTo>
                    <a:pt x="1926" y="1820"/>
                  </a:lnTo>
                  <a:lnTo>
                    <a:pt x="1926" y="1925"/>
                  </a:lnTo>
                  <a:lnTo>
                    <a:pt x="1821" y="1946"/>
                  </a:lnTo>
                  <a:lnTo>
                    <a:pt x="1675" y="2030"/>
                  </a:lnTo>
                  <a:lnTo>
                    <a:pt x="1675" y="2092"/>
                  </a:lnTo>
                  <a:lnTo>
                    <a:pt x="1717" y="2134"/>
                  </a:lnTo>
                  <a:lnTo>
                    <a:pt x="1738" y="2197"/>
                  </a:lnTo>
                  <a:lnTo>
                    <a:pt x="1675" y="2197"/>
                  </a:lnTo>
                  <a:lnTo>
                    <a:pt x="1654" y="2239"/>
                  </a:lnTo>
                  <a:lnTo>
                    <a:pt x="1612" y="2260"/>
                  </a:lnTo>
                  <a:lnTo>
                    <a:pt x="1612" y="2302"/>
                  </a:lnTo>
                  <a:lnTo>
                    <a:pt x="1633" y="2364"/>
                  </a:lnTo>
                  <a:lnTo>
                    <a:pt x="1654" y="2406"/>
                  </a:lnTo>
                  <a:lnTo>
                    <a:pt x="1738" y="2448"/>
                  </a:lnTo>
                  <a:lnTo>
                    <a:pt x="1758" y="2490"/>
                  </a:lnTo>
                  <a:lnTo>
                    <a:pt x="1842" y="2574"/>
                  </a:lnTo>
                  <a:lnTo>
                    <a:pt x="1863" y="2616"/>
                  </a:lnTo>
                  <a:lnTo>
                    <a:pt x="1926" y="2699"/>
                  </a:lnTo>
                  <a:lnTo>
                    <a:pt x="1926" y="2804"/>
                  </a:lnTo>
                  <a:lnTo>
                    <a:pt x="1863" y="3034"/>
                  </a:lnTo>
                  <a:lnTo>
                    <a:pt x="1717" y="3453"/>
                  </a:lnTo>
                  <a:lnTo>
                    <a:pt x="1738" y="3557"/>
                  </a:lnTo>
                  <a:lnTo>
                    <a:pt x="1738" y="3662"/>
                  </a:lnTo>
                  <a:lnTo>
                    <a:pt x="1675" y="3662"/>
                  </a:lnTo>
                  <a:lnTo>
                    <a:pt x="1654" y="3599"/>
                  </a:lnTo>
                  <a:lnTo>
                    <a:pt x="1528" y="3536"/>
                  </a:lnTo>
                  <a:lnTo>
                    <a:pt x="1424" y="3536"/>
                  </a:lnTo>
                  <a:lnTo>
                    <a:pt x="1340" y="3599"/>
                  </a:lnTo>
                  <a:lnTo>
                    <a:pt x="1256" y="3557"/>
                  </a:lnTo>
                  <a:lnTo>
                    <a:pt x="1131" y="3620"/>
                  </a:lnTo>
                  <a:lnTo>
                    <a:pt x="1047" y="3515"/>
                  </a:lnTo>
                  <a:lnTo>
                    <a:pt x="984" y="3285"/>
                  </a:lnTo>
                  <a:lnTo>
                    <a:pt x="838" y="3285"/>
                  </a:lnTo>
                  <a:lnTo>
                    <a:pt x="796" y="3327"/>
                  </a:lnTo>
                  <a:lnTo>
                    <a:pt x="817" y="3494"/>
                  </a:lnTo>
                  <a:lnTo>
                    <a:pt x="796" y="3557"/>
                  </a:lnTo>
                  <a:lnTo>
                    <a:pt x="587" y="3599"/>
                  </a:lnTo>
                  <a:lnTo>
                    <a:pt x="503" y="3599"/>
                  </a:lnTo>
                  <a:lnTo>
                    <a:pt x="482" y="3641"/>
                  </a:lnTo>
                  <a:lnTo>
                    <a:pt x="419" y="3704"/>
                  </a:lnTo>
                  <a:lnTo>
                    <a:pt x="294" y="3641"/>
                  </a:lnTo>
                  <a:lnTo>
                    <a:pt x="189" y="3641"/>
                  </a:lnTo>
                  <a:lnTo>
                    <a:pt x="147" y="3704"/>
                  </a:lnTo>
                  <a:lnTo>
                    <a:pt x="168" y="3766"/>
                  </a:lnTo>
                  <a:lnTo>
                    <a:pt x="168" y="3913"/>
                  </a:lnTo>
                  <a:lnTo>
                    <a:pt x="252" y="3871"/>
                  </a:lnTo>
                  <a:lnTo>
                    <a:pt x="315" y="3850"/>
                  </a:lnTo>
                  <a:lnTo>
                    <a:pt x="398" y="3871"/>
                  </a:lnTo>
                  <a:lnTo>
                    <a:pt x="482" y="3955"/>
                  </a:lnTo>
                  <a:lnTo>
                    <a:pt x="503" y="4248"/>
                  </a:lnTo>
                  <a:lnTo>
                    <a:pt x="503" y="4352"/>
                  </a:lnTo>
                  <a:lnTo>
                    <a:pt x="315" y="4227"/>
                  </a:lnTo>
                  <a:lnTo>
                    <a:pt x="294" y="4227"/>
                  </a:lnTo>
                  <a:lnTo>
                    <a:pt x="252" y="4289"/>
                  </a:lnTo>
                  <a:lnTo>
                    <a:pt x="147" y="4289"/>
                  </a:lnTo>
                  <a:lnTo>
                    <a:pt x="85" y="4331"/>
                  </a:lnTo>
                  <a:lnTo>
                    <a:pt x="85" y="4394"/>
                  </a:lnTo>
                  <a:lnTo>
                    <a:pt x="1" y="4499"/>
                  </a:lnTo>
                  <a:lnTo>
                    <a:pt x="106" y="4603"/>
                  </a:lnTo>
                  <a:lnTo>
                    <a:pt x="168" y="4687"/>
                  </a:lnTo>
                  <a:lnTo>
                    <a:pt x="315" y="4792"/>
                  </a:lnTo>
                  <a:lnTo>
                    <a:pt x="315" y="4896"/>
                  </a:lnTo>
                  <a:lnTo>
                    <a:pt x="419" y="5001"/>
                  </a:lnTo>
                  <a:lnTo>
                    <a:pt x="419" y="5126"/>
                  </a:lnTo>
                  <a:lnTo>
                    <a:pt x="482" y="5189"/>
                  </a:lnTo>
                  <a:lnTo>
                    <a:pt x="524" y="5168"/>
                  </a:lnTo>
                  <a:lnTo>
                    <a:pt x="608" y="5022"/>
                  </a:lnTo>
                  <a:lnTo>
                    <a:pt x="629" y="5022"/>
                  </a:lnTo>
                  <a:lnTo>
                    <a:pt x="712" y="4980"/>
                  </a:lnTo>
                  <a:lnTo>
                    <a:pt x="775" y="4875"/>
                  </a:lnTo>
                  <a:lnTo>
                    <a:pt x="838" y="4854"/>
                  </a:lnTo>
                  <a:lnTo>
                    <a:pt x="942" y="4771"/>
                  </a:lnTo>
                  <a:lnTo>
                    <a:pt x="1005" y="4771"/>
                  </a:lnTo>
                  <a:lnTo>
                    <a:pt x="1047" y="4813"/>
                  </a:lnTo>
                  <a:lnTo>
                    <a:pt x="1110" y="4896"/>
                  </a:lnTo>
                  <a:lnTo>
                    <a:pt x="1110" y="5001"/>
                  </a:lnTo>
                  <a:lnTo>
                    <a:pt x="1131" y="4980"/>
                  </a:lnTo>
                  <a:lnTo>
                    <a:pt x="1194" y="5001"/>
                  </a:lnTo>
                  <a:lnTo>
                    <a:pt x="1298" y="4959"/>
                  </a:lnTo>
                  <a:lnTo>
                    <a:pt x="1319" y="5001"/>
                  </a:lnTo>
                  <a:lnTo>
                    <a:pt x="1319" y="5064"/>
                  </a:lnTo>
                  <a:lnTo>
                    <a:pt x="1424" y="5064"/>
                  </a:lnTo>
                  <a:lnTo>
                    <a:pt x="1507" y="4980"/>
                  </a:lnTo>
                  <a:lnTo>
                    <a:pt x="1507" y="4875"/>
                  </a:lnTo>
                  <a:lnTo>
                    <a:pt x="1570" y="4854"/>
                  </a:lnTo>
                  <a:lnTo>
                    <a:pt x="1654" y="4875"/>
                  </a:lnTo>
                  <a:lnTo>
                    <a:pt x="1758" y="4771"/>
                  </a:lnTo>
                  <a:lnTo>
                    <a:pt x="1947" y="4708"/>
                  </a:lnTo>
                  <a:lnTo>
                    <a:pt x="1947" y="4771"/>
                  </a:lnTo>
                  <a:lnTo>
                    <a:pt x="1863" y="4896"/>
                  </a:lnTo>
                  <a:lnTo>
                    <a:pt x="1884" y="4917"/>
                  </a:lnTo>
                  <a:lnTo>
                    <a:pt x="1947" y="5022"/>
                  </a:lnTo>
                  <a:lnTo>
                    <a:pt x="2072" y="5105"/>
                  </a:lnTo>
                  <a:lnTo>
                    <a:pt x="2198" y="5022"/>
                  </a:lnTo>
                  <a:lnTo>
                    <a:pt x="2282" y="4917"/>
                  </a:lnTo>
                  <a:lnTo>
                    <a:pt x="2512" y="4687"/>
                  </a:lnTo>
                  <a:lnTo>
                    <a:pt x="2574" y="4603"/>
                  </a:lnTo>
                  <a:lnTo>
                    <a:pt x="2658" y="4541"/>
                  </a:lnTo>
                  <a:lnTo>
                    <a:pt x="2763" y="4499"/>
                  </a:lnTo>
                  <a:lnTo>
                    <a:pt x="2867" y="4352"/>
                  </a:lnTo>
                  <a:lnTo>
                    <a:pt x="2867" y="4248"/>
                  </a:lnTo>
                  <a:lnTo>
                    <a:pt x="2888" y="4080"/>
                  </a:lnTo>
                  <a:lnTo>
                    <a:pt x="2909" y="3766"/>
                  </a:lnTo>
                  <a:lnTo>
                    <a:pt x="2888" y="3745"/>
                  </a:lnTo>
                  <a:lnTo>
                    <a:pt x="2867" y="3557"/>
                  </a:lnTo>
                  <a:lnTo>
                    <a:pt x="2909" y="3453"/>
                  </a:lnTo>
                  <a:lnTo>
                    <a:pt x="3098" y="3285"/>
                  </a:lnTo>
                  <a:lnTo>
                    <a:pt x="3098" y="3139"/>
                  </a:lnTo>
                  <a:lnTo>
                    <a:pt x="3202" y="3013"/>
                  </a:lnTo>
                  <a:lnTo>
                    <a:pt x="3328" y="2908"/>
                  </a:lnTo>
                  <a:lnTo>
                    <a:pt x="3411" y="2929"/>
                  </a:lnTo>
                  <a:lnTo>
                    <a:pt x="3516" y="2867"/>
                  </a:lnTo>
                  <a:lnTo>
                    <a:pt x="3621" y="2825"/>
                  </a:lnTo>
                  <a:lnTo>
                    <a:pt x="3809" y="2511"/>
                  </a:lnTo>
                  <a:lnTo>
                    <a:pt x="3809" y="2344"/>
                  </a:lnTo>
                  <a:lnTo>
                    <a:pt x="3851" y="2155"/>
                  </a:lnTo>
                  <a:lnTo>
                    <a:pt x="3935" y="2092"/>
                  </a:lnTo>
                  <a:lnTo>
                    <a:pt x="3955" y="1946"/>
                  </a:lnTo>
                  <a:lnTo>
                    <a:pt x="3935" y="1925"/>
                  </a:lnTo>
                  <a:lnTo>
                    <a:pt x="3955" y="1737"/>
                  </a:lnTo>
                  <a:lnTo>
                    <a:pt x="3955" y="1653"/>
                  </a:lnTo>
                  <a:lnTo>
                    <a:pt x="3955" y="1507"/>
                  </a:lnTo>
                  <a:lnTo>
                    <a:pt x="4060" y="1402"/>
                  </a:lnTo>
                  <a:lnTo>
                    <a:pt x="4060" y="1256"/>
                  </a:lnTo>
                  <a:lnTo>
                    <a:pt x="4081" y="1130"/>
                  </a:lnTo>
                  <a:lnTo>
                    <a:pt x="4039" y="921"/>
                  </a:lnTo>
                  <a:lnTo>
                    <a:pt x="4290" y="607"/>
                  </a:lnTo>
                  <a:lnTo>
                    <a:pt x="4332" y="502"/>
                  </a:lnTo>
                  <a:lnTo>
                    <a:pt x="4437" y="460"/>
                  </a:lnTo>
                  <a:lnTo>
                    <a:pt x="4437" y="209"/>
                  </a:lnTo>
                  <a:lnTo>
                    <a:pt x="4374" y="105"/>
                  </a:lnTo>
                  <a:lnTo>
                    <a:pt x="4374" y="63"/>
                  </a:lnTo>
                  <a:lnTo>
                    <a:pt x="4290" y="84"/>
                  </a:lnTo>
                  <a:lnTo>
                    <a:pt x="4248" y="105"/>
                  </a:lnTo>
                  <a:lnTo>
                    <a:pt x="4144" y="63"/>
                  </a:lnTo>
                  <a:lnTo>
                    <a:pt x="412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3" name="Google Shape;953;p34"/>
            <p:cNvSpPr/>
            <p:nvPr/>
          </p:nvSpPr>
          <p:spPr>
            <a:xfrm>
              <a:off x="3828067" y="3174369"/>
              <a:ext cx="7478" cy="9769"/>
            </a:xfrm>
            <a:custGeom>
              <a:avLst/>
              <a:gdLst/>
              <a:ahLst/>
              <a:cxnLst/>
              <a:rect l="l" t="t" r="r" b="b"/>
              <a:pathLst>
                <a:path w="628" h="859" extrusionOk="0">
                  <a:moveTo>
                    <a:pt x="460" y="1"/>
                  </a:moveTo>
                  <a:lnTo>
                    <a:pt x="356" y="84"/>
                  </a:lnTo>
                  <a:lnTo>
                    <a:pt x="293" y="105"/>
                  </a:lnTo>
                  <a:lnTo>
                    <a:pt x="230" y="210"/>
                  </a:lnTo>
                  <a:lnTo>
                    <a:pt x="147" y="252"/>
                  </a:lnTo>
                  <a:lnTo>
                    <a:pt x="126" y="252"/>
                  </a:lnTo>
                  <a:lnTo>
                    <a:pt x="42" y="398"/>
                  </a:lnTo>
                  <a:lnTo>
                    <a:pt x="0" y="419"/>
                  </a:lnTo>
                  <a:lnTo>
                    <a:pt x="84" y="503"/>
                  </a:lnTo>
                  <a:lnTo>
                    <a:pt x="105" y="670"/>
                  </a:lnTo>
                  <a:lnTo>
                    <a:pt x="42" y="775"/>
                  </a:lnTo>
                  <a:lnTo>
                    <a:pt x="84" y="859"/>
                  </a:lnTo>
                  <a:lnTo>
                    <a:pt x="188" y="775"/>
                  </a:lnTo>
                  <a:lnTo>
                    <a:pt x="293" y="775"/>
                  </a:lnTo>
                  <a:lnTo>
                    <a:pt x="356" y="712"/>
                  </a:lnTo>
                  <a:lnTo>
                    <a:pt x="335" y="503"/>
                  </a:lnTo>
                  <a:lnTo>
                    <a:pt x="398" y="440"/>
                  </a:lnTo>
                  <a:lnTo>
                    <a:pt x="523" y="335"/>
                  </a:lnTo>
                  <a:lnTo>
                    <a:pt x="628" y="231"/>
                  </a:lnTo>
                  <a:lnTo>
                    <a:pt x="628" y="126"/>
                  </a:lnTo>
                  <a:lnTo>
                    <a:pt x="565" y="43"/>
                  </a:lnTo>
                  <a:lnTo>
                    <a:pt x="52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4" name="Google Shape;954;p34"/>
            <p:cNvSpPr/>
            <p:nvPr/>
          </p:nvSpPr>
          <p:spPr>
            <a:xfrm>
              <a:off x="3947654" y="3151533"/>
              <a:ext cx="76994" cy="74956"/>
            </a:xfrm>
            <a:custGeom>
              <a:avLst/>
              <a:gdLst/>
              <a:ahLst/>
              <a:cxnLst/>
              <a:rect l="l" t="t" r="r" b="b"/>
              <a:pathLst>
                <a:path w="6466" h="6591" extrusionOk="0">
                  <a:moveTo>
                    <a:pt x="2553" y="0"/>
                  </a:moveTo>
                  <a:lnTo>
                    <a:pt x="1779" y="42"/>
                  </a:lnTo>
                  <a:lnTo>
                    <a:pt x="858" y="42"/>
                  </a:lnTo>
                  <a:lnTo>
                    <a:pt x="816" y="105"/>
                  </a:lnTo>
                  <a:lnTo>
                    <a:pt x="754" y="105"/>
                  </a:lnTo>
                  <a:lnTo>
                    <a:pt x="712" y="146"/>
                  </a:lnTo>
                  <a:lnTo>
                    <a:pt x="775" y="230"/>
                  </a:lnTo>
                  <a:lnTo>
                    <a:pt x="858" y="314"/>
                  </a:lnTo>
                  <a:lnTo>
                    <a:pt x="858" y="356"/>
                  </a:lnTo>
                  <a:lnTo>
                    <a:pt x="921" y="439"/>
                  </a:lnTo>
                  <a:lnTo>
                    <a:pt x="963" y="628"/>
                  </a:lnTo>
                  <a:lnTo>
                    <a:pt x="984" y="732"/>
                  </a:lnTo>
                  <a:lnTo>
                    <a:pt x="942" y="795"/>
                  </a:lnTo>
                  <a:lnTo>
                    <a:pt x="942" y="879"/>
                  </a:lnTo>
                  <a:lnTo>
                    <a:pt x="879" y="942"/>
                  </a:lnTo>
                  <a:lnTo>
                    <a:pt x="816" y="963"/>
                  </a:lnTo>
                  <a:lnTo>
                    <a:pt x="754" y="963"/>
                  </a:lnTo>
                  <a:lnTo>
                    <a:pt x="733" y="942"/>
                  </a:lnTo>
                  <a:lnTo>
                    <a:pt x="733" y="983"/>
                  </a:lnTo>
                  <a:lnTo>
                    <a:pt x="754" y="1046"/>
                  </a:lnTo>
                  <a:lnTo>
                    <a:pt x="754" y="1109"/>
                  </a:lnTo>
                  <a:lnTo>
                    <a:pt x="858" y="1151"/>
                  </a:lnTo>
                  <a:lnTo>
                    <a:pt x="858" y="1214"/>
                  </a:lnTo>
                  <a:lnTo>
                    <a:pt x="942" y="1214"/>
                  </a:lnTo>
                  <a:lnTo>
                    <a:pt x="963" y="1402"/>
                  </a:lnTo>
                  <a:lnTo>
                    <a:pt x="963" y="1486"/>
                  </a:lnTo>
                  <a:lnTo>
                    <a:pt x="858" y="1590"/>
                  </a:lnTo>
                  <a:lnTo>
                    <a:pt x="775" y="1674"/>
                  </a:lnTo>
                  <a:lnTo>
                    <a:pt x="733" y="1716"/>
                  </a:lnTo>
                  <a:lnTo>
                    <a:pt x="565" y="1883"/>
                  </a:lnTo>
                  <a:lnTo>
                    <a:pt x="461" y="2030"/>
                  </a:lnTo>
                  <a:lnTo>
                    <a:pt x="293" y="2092"/>
                  </a:lnTo>
                  <a:lnTo>
                    <a:pt x="0" y="2092"/>
                  </a:lnTo>
                  <a:lnTo>
                    <a:pt x="84" y="2553"/>
                  </a:lnTo>
                  <a:lnTo>
                    <a:pt x="210" y="3243"/>
                  </a:lnTo>
                  <a:lnTo>
                    <a:pt x="628" y="3808"/>
                  </a:lnTo>
                  <a:lnTo>
                    <a:pt x="754" y="4248"/>
                  </a:lnTo>
                  <a:lnTo>
                    <a:pt x="942" y="4352"/>
                  </a:lnTo>
                  <a:lnTo>
                    <a:pt x="1026" y="4352"/>
                  </a:lnTo>
                  <a:lnTo>
                    <a:pt x="1130" y="4394"/>
                  </a:lnTo>
                  <a:lnTo>
                    <a:pt x="1172" y="4394"/>
                  </a:lnTo>
                  <a:lnTo>
                    <a:pt x="1256" y="4436"/>
                  </a:lnTo>
                  <a:lnTo>
                    <a:pt x="1256" y="4499"/>
                  </a:lnTo>
                  <a:lnTo>
                    <a:pt x="1340" y="4561"/>
                  </a:lnTo>
                  <a:lnTo>
                    <a:pt x="1444" y="4561"/>
                  </a:lnTo>
                  <a:lnTo>
                    <a:pt x="1695" y="4645"/>
                  </a:lnTo>
                  <a:lnTo>
                    <a:pt x="1779" y="4645"/>
                  </a:lnTo>
                  <a:lnTo>
                    <a:pt x="1821" y="4708"/>
                  </a:lnTo>
                  <a:lnTo>
                    <a:pt x="1884" y="4729"/>
                  </a:lnTo>
                  <a:lnTo>
                    <a:pt x="1925" y="4812"/>
                  </a:lnTo>
                  <a:lnTo>
                    <a:pt x="2030" y="4917"/>
                  </a:lnTo>
                  <a:lnTo>
                    <a:pt x="2093" y="4917"/>
                  </a:lnTo>
                  <a:lnTo>
                    <a:pt x="2093" y="4938"/>
                  </a:lnTo>
                  <a:lnTo>
                    <a:pt x="2114" y="4917"/>
                  </a:lnTo>
                  <a:lnTo>
                    <a:pt x="2177" y="4917"/>
                  </a:lnTo>
                  <a:lnTo>
                    <a:pt x="2197" y="4980"/>
                  </a:lnTo>
                  <a:lnTo>
                    <a:pt x="2281" y="4980"/>
                  </a:lnTo>
                  <a:lnTo>
                    <a:pt x="2302" y="5022"/>
                  </a:lnTo>
                  <a:lnTo>
                    <a:pt x="2323" y="4980"/>
                  </a:lnTo>
                  <a:lnTo>
                    <a:pt x="2407" y="5022"/>
                  </a:lnTo>
                  <a:lnTo>
                    <a:pt x="2428" y="5043"/>
                  </a:lnTo>
                  <a:lnTo>
                    <a:pt x="2490" y="5043"/>
                  </a:lnTo>
                  <a:lnTo>
                    <a:pt x="2511" y="5084"/>
                  </a:lnTo>
                  <a:lnTo>
                    <a:pt x="2553" y="5126"/>
                  </a:lnTo>
                  <a:lnTo>
                    <a:pt x="2637" y="5189"/>
                  </a:lnTo>
                  <a:lnTo>
                    <a:pt x="2825" y="5398"/>
                  </a:lnTo>
                  <a:lnTo>
                    <a:pt x="2846" y="5608"/>
                  </a:lnTo>
                  <a:lnTo>
                    <a:pt x="2846" y="6591"/>
                  </a:lnTo>
                  <a:lnTo>
                    <a:pt x="2951" y="6193"/>
                  </a:lnTo>
                  <a:lnTo>
                    <a:pt x="3495" y="6173"/>
                  </a:lnTo>
                  <a:lnTo>
                    <a:pt x="3599" y="6131"/>
                  </a:lnTo>
                  <a:lnTo>
                    <a:pt x="3641" y="6110"/>
                  </a:lnTo>
                  <a:lnTo>
                    <a:pt x="3704" y="6089"/>
                  </a:lnTo>
                  <a:lnTo>
                    <a:pt x="3704" y="6131"/>
                  </a:lnTo>
                  <a:lnTo>
                    <a:pt x="3788" y="6173"/>
                  </a:lnTo>
                  <a:lnTo>
                    <a:pt x="3871" y="6214"/>
                  </a:lnTo>
                  <a:lnTo>
                    <a:pt x="3955" y="6214"/>
                  </a:lnTo>
                  <a:lnTo>
                    <a:pt x="3997" y="6298"/>
                  </a:lnTo>
                  <a:lnTo>
                    <a:pt x="3976" y="6319"/>
                  </a:lnTo>
                  <a:lnTo>
                    <a:pt x="4164" y="6298"/>
                  </a:lnTo>
                  <a:lnTo>
                    <a:pt x="4269" y="6193"/>
                  </a:lnTo>
                  <a:lnTo>
                    <a:pt x="4332" y="6193"/>
                  </a:lnTo>
                  <a:lnTo>
                    <a:pt x="4394" y="6131"/>
                  </a:lnTo>
                  <a:lnTo>
                    <a:pt x="4436" y="6173"/>
                  </a:lnTo>
                  <a:lnTo>
                    <a:pt x="4436" y="6214"/>
                  </a:lnTo>
                  <a:lnTo>
                    <a:pt x="4520" y="6214"/>
                  </a:lnTo>
                  <a:lnTo>
                    <a:pt x="4604" y="6277"/>
                  </a:lnTo>
                  <a:lnTo>
                    <a:pt x="4729" y="6214"/>
                  </a:lnTo>
                  <a:lnTo>
                    <a:pt x="4897" y="6193"/>
                  </a:lnTo>
                  <a:lnTo>
                    <a:pt x="4918" y="6110"/>
                  </a:lnTo>
                  <a:lnTo>
                    <a:pt x="4897" y="6068"/>
                  </a:lnTo>
                  <a:lnTo>
                    <a:pt x="4938" y="6005"/>
                  </a:lnTo>
                  <a:lnTo>
                    <a:pt x="5043" y="6026"/>
                  </a:lnTo>
                  <a:lnTo>
                    <a:pt x="5127" y="6026"/>
                  </a:lnTo>
                  <a:lnTo>
                    <a:pt x="5210" y="6089"/>
                  </a:lnTo>
                  <a:lnTo>
                    <a:pt x="5315" y="6068"/>
                  </a:lnTo>
                  <a:lnTo>
                    <a:pt x="5357" y="6026"/>
                  </a:lnTo>
                  <a:lnTo>
                    <a:pt x="5566" y="5963"/>
                  </a:lnTo>
                  <a:lnTo>
                    <a:pt x="5650" y="5984"/>
                  </a:lnTo>
                  <a:lnTo>
                    <a:pt x="5754" y="5963"/>
                  </a:lnTo>
                  <a:lnTo>
                    <a:pt x="5775" y="5900"/>
                  </a:lnTo>
                  <a:lnTo>
                    <a:pt x="5901" y="5900"/>
                  </a:lnTo>
                  <a:lnTo>
                    <a:pt x="5985" y="5817"/>
                  </a:lnTo>
                  <a:lnTo>
                    <a:pt x="6110" y="5796"/>
                  </a:lnTo>
                  <a:lnTo>
                    <a:pt x="6194" y="5712"/>
                  </a:lnTo>
                  <a:lnTo>
                    <a:pt x="6278" y="5649"/>
                  </a:lnTo>
                  <a:lnTo>
                    <a:pt x="6382" y="5670"/>
                  </a:lnTo>
                  <a:lnTo>
                    <a:pt x="6424" y="5608"/>
                  </a:lnTo>
                  <a:lnTo>
                    <a:pt x="6466" y="5587"/>
                  </a:lnTo>
                  <a:lnTo>
                    <a:pt x="6424" y="5587"/>
                  </a:lnTo>
                  <a:lnTo>
                    <a:pt x="6424" y="5545"/>
                  </a:lnTo>
                  <a:lnTo>
                    <a:pt x="6298" y="5440"/>
                  </a:lnTo>
                  <a:lnTo>
                    <a:pt x="6173" y="5398"/>
                  </a:lnTo>
                  <a:lnTo>
                    <a:pt x="5964" y="5189"/>
                  </a:lnTo>
                  <a:lnTo>
                    <a:pt x="5985" y="5126"/>
                  </a:lnTo>
                  <a:lnTo>
                    <a:pt x="5901" y="4938"/>
                  </a:lnTo>
                  <a:lnTo>
                    <a:pt x="5859" y="4875"/>
                  </a:lnTo>
                  <a:lnTo>
                    <a:pt x="5901" y="4771"/>
                  </a:lnTo>
                  <a:lnTo>
                    <a:pt x="5859" y="4729"/>
                  </a:lnTo>
                  <a:lnTo>
                    <a:pt x="5838" y="4624"/>
                  </a:lnTo>
                  <a:lnTo>
                    <a:pt x="5796" y="4540"/>
                  </a:lnTo>
                  <a:lnTo>
                    <a:pt x="5838" y="4540"/>
                  </a:lnTo>
                  <a:lnTo>
                    <a:pt x="5775" y="4394"/>
                  </a:lnTo>
                  <a:lnTo>
                    <a:pt x="5754" y="4248"/>
                  </a:lnTo>
                  <a:lnTo>
                    <a:pt x="5838" y="4206"/>
                  </a:lnTo>
                  <a:lnTo>
                    <a:pt x="5838" y="4038"/>
                  </a:lnTo>
                  <a:lnTo>
                    <a:pt x="5754" y="3976"/>
                  </a:lnTo>
                  <a:lnTo>
                    <a:pt x="5754" y="3766"/>
                  </a:lnTo>
                  <a:lnTo>
                    <a:pt x="5775" y="3620"/>
                  </a:lnTo>
                  <a:lnTo>
                    <a:pt x="5859" y="3578"/>
                  </a:lnTo>
                  <a:lnTo>
                    <a:pt x="5880" y="3599"/>
                  </a:lnTo>
                  <a:lnTo>
                    <a:pt x="5943" y="3515"/>
                  </a:lnTo>
                  <a:lnTo>
                    <a:pt x="5859" y="3306"/>
                  </a:lnTo>
                  <a:lnTo>
                    <a:pt x="5775" y="3306"/>
                  </a:lnTo>
                  <a:lnTo>
                    <a:pt x="5650" y="3180"/>
                  </a:lnTo>
                  <a:lnTo>
                    <a:pt x="5482" y="3055"/>
                  </a:lnTo>
                  <a:lnTo>
                    <a:pt x="5482" y="2929"/>
                  </a:lnTo>
                  <a:lnTo>
                    <a:pt x="5566" y="2657"/>
                  </a:lnTo>
                  <a:lnTo>
                    <a:pt x="5692" y="2302"/>
                  </a:lnTo>
                  <a:lnTo>
                    <a:pt x="5754" y="2239"/>
                  </a:lnTo>
                  <a:lnTo>
                    <a:pt x="5734" y="2134"/>
                  </a:lnTo>
                  <a:lnTo>
                    <a:pt x="5692" y="2113"/>
                  </a:lnTo>
                  <a:lnTo>
                    <a:pt x="5734" y="2113"/>
                  </a:lnTo>
                  <a:lnTo>
                    <a:pt x="5022" y="1611"/>
                  </a:lnTo>
                  <a:lnTo>
                    <a:pt x="4959" y="1527"/>
                  </a:lnTo>
                  <a:lnTo>
                    <a:pt x="4938" y="1486"/>
                  </a:lnTo>
                  <a:lnTo>
                    <a:pt x="4959" y="1402"/>
                  </a:lnTo>
                  <a:lnTo>
                    <a:pt x="4834" y="1214"/>
                  </a:lnTo>
                  <a:lnTo>
                    <a:pt x="274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5" name="Google Shape;955;p34"/>
            <p:cNvSpPr/>
            <p:nvPr/>
          </p:nvSpPr>
          <p:spPr>
            <a:xfrm>
              <a:off x="3945415" y="3152954"/>
              <a:ext cx="13956" cy="10963"/>
            </a:xfrm>
            <a:custGeom>
              <a:avLst/>
              <a:gdLst/>
              <a:ahLst/>
              <a:cxnLst/>
              <a:rect l="l" t="t" r="r" b="b"/>
              <a:pathLst>
                <a:path w="1172" h="964" extrusionOk="0">
                  <a:moveTo>
                    <a:pt x="795" y="1"/>
                  </a:moveTo>
                  <a:lnTo>
                    <a:pt x="795" y="84"/>
                  </a:lnTo>
                  <a:lnTo>
                    <a:pt x="732" y="126"/>
                  </a:lnTo>
                  <a:lnTo>
                    <a:pt x="649" y="126"/>
                  </a:lnTo>
                  <a:lnTo>
                    <a:pt x="607" y="84"/>
                  </a:lnTo>
                  <a:lnTo>
                    <a:pt x="544" y="42"/>
                  </a:lnTo>
                  <a:lnTo>
                    <a:pt x="440" y="126"/>
                  </a:lnTo>
                  <a:lnTo>
                    <a:pt x="377" y="147"/>
                  </a:lnTo>
                  <a:lnTo>
                    <a:pt x="335" y="126"/>
                  </a:lnTo>
                  <a:lnTo>
                    <a:pt x="209" y="231"/>
                  </a:lnTo>
                  <a:lnTo>
                    <a:pt x="105" y="356"/>
                  </a:lnTo>
                  <a:lnTo>
                    <a:pt x="0" y="733"/>
                  </a:lnTo>
                  <a:lnTo>
                    <a:pt x="0" y="817"/>
                  </a:lnTo>
                  <a:lnTo>
                    <a:pt x="209" y="817"/>
                  </a:lnTo>
                  <a:lnTo>
                    <a:pt x="272" y="921"/>
                  </a:lnTo>
                  <a:lnTo>
                    <a:pt x="335" y="963"/>
                  </a:lnTo>
                  <a:lnTo>
                    <a:pt x="398" y="921"/>
                  </a:lnTo>
                  <a:lnTo>
                    <a:pt x="419" y="921"/>
                  </a:lnTo>
                  <a:lnTo>
                    <a:pt x="481" y="963"/>
                  </a:lnTo>
                  <a:lnTo>
                    <a:pt x="607" y="921"/>
                  </a:lnTo>
                  <a:lnTo>
                    <a:pt x="607" y="858"/>
                  </a:lnTo>
                  <a:lnTo>
                    <a:pt x="691" y="670"/>
                  </a:lnTo>
                  <a:lnTo>
                    <a:pt x="649" y="566"/>
                  </a:lnTo>
                  <a:lnTo>
                    <a:pt x="712" y="566"/>
                  </a:lnTo>
                  <a:lnTo>
                    <a:pt x="753" y="628"/>
                  </a:lnTo>
                  <a:lnTo>
                    <a:pt x="816" y="628"/>
                  </a:lnTo>
                  <a:lnTo>
                    <a:pt x="858" y="733"/>
                  </a:lnTo>
                  <a:lnTo>
                    <a:pt x="921" y="754"/>
                  </a:lnTo>
                  <a:lnTo>
                    <a:pt x="921" y="817"/>
                  </a:lnTo>
                  <a:lnTo>
                    <a:pt x="942" y="838"/>
                  </a:lnTo>
                  <a:lnTo>
                    <a:pt x="1004" y="838"/>
                  </a:lnTo>
                  <a:lnTo>
                    <a:pt x="1067" y="817"/>
                  </a:lnTo>
                  <a:lnTo>
                    <a:pt x="1130" y="754"/>
                  </a:lnTo>
                  <a:lnTo>
                    <a:pt x="1130" y="670"/>
                  </a:lnTo>
                  <a:lnTo>
                    <a:pt x="1172" y="607"/>
                  </a:lnTo>
                  <a:lnTo>
                    <a:pt x="1151" y="503"/>
                  </a:lnTo>
                  <a:lnTo>
                    <a:pt x="1109" y="314"/>
                  </a:lnTo>
                  <a:lnTo>
                    <a:pt x="1046" y="231"/>
                  </a:lnTo>
                  <a:lnTo>
                    <a:pt x="1046" y="189"/>
                  </a:lnTo>
                  <a:lnTo>
                    <a:pt x="963" y="105"/>
                  </a:lnTo>
                  <a:lnTo>
                    <a:pt x="900" y="21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6" name="Google Shape;956;p34"/>
            <p:cNvSpPr/>
            <p:nvPr/>
          </p:nvSpPr>
          <p:spPr>
            <a:xfrm>
              <a:off x="3945415" y="3159380"/>
              <a:ext cx="13706" cy="15956"/>
            </a:xfrm>
            <a:custGeom>
              <a:avLst/>
              <a:gdLst/>
              <a:ahLst/>
              <a:cxnLst/>
              <a:rect l="l" t="t" r="r" b="b"/>
              <a:pathLst>
                <a:path w="1151" h="1403" extrusionOk="0">
                  <a:moveTo>
                    <a:pt x="649" y="1"/>
                  </a:moveTo>
                  <a:lnTo>
                    <a:pt x="691" y="105"/>
                  </a:lnTo>
                  <a:lnTo>
                    <a:pt x="607" y="293"/>
                  </a:lnTo>
                  <a:lnTo>
                    <a:pt x="607" y="356"/>
                  </a:lnTo>
                  <a:lnTo>
                    <a:pt x="481" y="398"/>
                  </a:lnTo>
                  <a:lnTo>
                    <a:pt x="419" y="356"/>
                  </a:lnTo>
                  <a:lnTo>
                    <a:pt x="398" y="356"/>
                  </a:lnTo>
                  <a:lnTo>
                    <a:pt x="335" y="398"/>
                  </a:lnTo>
                  <a:lnTo>
                    <a:pt x="272" y="356"/>
                  </a:lnTo>
                  <a:lnTo>
                    <a:pt x="209" y="252"/>
                  </a:lnTo>
                  <a:lnTo>
                    <a:pt x="0" y="252"/>
                  </a:lnTo>
                  <a:lnTo>
                    <a:pt x="0" y="314"/>
                  </a:lnTo>
                  <a:lnTo>
                    <a:pt x="63" y="419"/>
                  </a:lnTo>
                  <a:lnTo>
                    <a:pt x="84" y="565"/>
                  </a:lnTo>
                  <a:lnTo>
                    <a:pt x="84" y="712"/>
                  </a:lnTo>
                  <a:lnTo>
                    <a:pt x="188" y="1402"/>
                  </a:lnTo>
                  <a:lnTo>
                    <a:pt x="481" y="1402"/>
                  </a:lnTo>
                  <a:lnTo>
                    <a:pt x="649" y="1340"/>
                  </a:lnTo>
                  <a:lnTo>
                    <a:pt x="753" y="1193"/>
                  </a:lnTo>
                  <a:lnTo>
                    <a:pt x="921" y="1026"/>
                  </a:lnTo>
                  <a:lnTo>
                    <a:pt x="963" y="984"/>
                  </a:lnTo>
                  <a:lnTo>
                    <a:pt x="1046" y="900"/>
                  </a:lnTo>
                  <a:lnTo>
                    <a:pt x="1151" y="796"/>
                  </a:lnTo>
                  <a:lnTo>
                    <a:pt x="1151" y="712"/>
                  </a:lnTo>
                  <a:lnTo>
                    <a:pt x="1130" y="524"/>
                  </a:lnTo>
                  <a:lnTo>
                    <a:pt x="1046" y="524"/>
                  </a:lnTo>
                  <a:lnTo>
                    <a:pt x="1046" y="461"/>
                  </a:lnTo>
                  <a:lnTo>
                    <a:pt x="942" y="419"/>
                  </a:lnTo>
                  <a:lnTo>
                    <a:pt x="942" y="356"/>
                  </a:lnTo>
                  <a:lnTo>
                    <a:pt x="921" y="293"/>
                  </a:lnTo>
                  <a:lnTo>
                    <a:pt x="921" y="252"/>
                  </a:lnTo>
                  <a:lnTo>
                    <a:pt x="921" y="189"/>
                  </a:lnTo>
                  <a:lnTo>
                    <a:pt x="858" y="168"/>
                  </a:lnTo>
                  <a:lnTo>
                    <a:pt x="816" y="63"/>
                  </a:lnTo>
                  <a:lnTo>
                    <a:pt x="753" y="63"/>
                  </a:lnTo>
                  <a:lnTo>
                    <a:pt x="71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7" name="Google Shape;957;p34"/>
            <p:cNvSpPr/>
            <p:nvPr/>
          </p:nvSpPr>
          <p:spPr>
            <a:xfrm>
              <a:off x="3829055" y="3110126"/>
              <a:ext cx="131316" cy="124222"/>
            </a:xfrm>
            <a:custGeom>
              <a:avLst/>
              <a:gdLst/>
              <a:ahLst/>
              <a:cxnLst/>
              <a:rect l="l" t="t" r="r" b="b"/>
              <a:pathLst>
                <a:path w="11028" h="10923" extrusionOk="0">
                  <a:moveTo>
                    <a:pt x="7701" y="0"/>
                  </a:moveTo>
                  <a:lnTo>
                    <a:pt x="7701" y="42"/>
                  </a:lnTo>
                  <a:lnTo>
                    <a:pt x="7743" y="84"/>
                  </a:lnTo>
                  <a:lnTo>
                    <a:pt x="7659" y="189"/>
                  </a:lnTo>
                  <a:lnTo>
                    <a:pt x="7575" y="189"/>
                  </a:lnTo>
                  <a:lnTo>
                    <a:pt x="7491" y="210"/>
                  </a:lnTo>
                  <a:lnTo>
                    <a:pt x="7366" y="210"/>
                  </a:lnTo>
                  <a:lnTo>
                    <a:pt x="7282" y="251"/>
                  </a:lnTo>
                  <a:lnTo>
                    <a:pt x="7240" y="251"/>
                  </a:lnTo>
                  <a:lnTo>
                    <a:pt x="7219" y="189"/>
                  </a:lnTo>
                  <a:lnTo>
                    <a:pt x="7178" y="189"/>
                  </a:lnTo>
                  <a:lnTo>
                    <a:pt x="7157" y="147"/>
                  </a:lnTo>
                  <a:lnTo>
                    <a:pt x="7073" y="126"/>
                  </a:lnTo>
                  <a:lnTo>
                    <a:pt x="6843" y="230"/>
                  </a:lnTo>
                  <a:lnTo>
                    <a:pt x="6759" y="293"/>
                  </a:lnTo>
                  <a:lnTo>
                    <a:pt x="6717" y="335"/>
                  </a:lnTo>
                  <a:lnTo>
                    <a:pt x="6487" y="356"/>
                  </a:lnTo>
                  <a:lnTo>
                    <a:pt x="6403" y="398"/>
                  </a:lnTo>
                  <a:lnTo>
                    <a:pt x="6320" y="314"/>
                  </a:lnTo>
                  <a:lnTo>
                    <a:pt x="6215" y="293"/>
                  </a:lnTo>
                  <a:lnTo>
                    <a:pt x="6111" y="293"/>
                  </a:lnTo>
                  <a:lnTo>
                    <a:pt x="6027" y="398"/>
                  </a:lnTo>
                  <a:lnTo>
                    <a:pt x="5922" y="502"/>
                  </a:lnTo>
                  <a:lnTo>
                    <a:pt x="5964" y="544"/>
                  </a:lnTo>
                  <a:lnTo>
                    <a:pt x="6006" y="607"/>
                  </a:lnTo>
                  <a:lnTo>
                    <a:pt x="5985" y="649"/>
                  </a:lnTo>
                  <a:lnTo>
                    <a:pt x="5859" y="670"/>
                  </a:lnTo>
                  <a:lnTo>
                    <a:pt x="5797" y="649"/>
                  </a:lnTo>
                  <a:lnTo>
                    <a:pt x="5671" y="628"/>
                  </a:lnTo>
                  <a:lnTo>
                    <a:pt x="5567" y="565"/>
                  </a:lnTo>
                  <a:lnTo>
                    <a:pt x="5483" y="565"/>
                  </a:lnTo>
                  <a:lnTo>
                    <a:pt x="5399" y="628"/>
                  </a:lnTo>
                  <a:lnTo>
                    <a:pt x="5336" y="607"/>
                  </a:lnTo>
                  <a:lnTo>
                    <a:pt x="5190" y="607"/>
                  </a:lnTo>
                  <a:lnTo>
                    <a:pt x="5064" y="523"/>
                  </a:lnTo>
                  <a:lnTo>
                    <a:pt x="4939" y="544"/>
                  </a:lnTo>
                  <a:lnTo>
                    <a:pt x="4918" y="502"/>
                  </a:lnTo>
                  <a:lnTo>
                    <a:pt x="4750" y="356"/>
                  </a:lnTo>
                  <a:lnTo>
                    <a:pt x="4667" y="335"/>
                  </a:lnTo>
                  <a:lnTo>
                    <a:pt x="4499" y="210"/>
                  </a:lnTo>
                  <a:lnTo>
                    <a:pt x="4437" y="189"/>
                  </a:lnTo>
                  <a:lnTo>
                    <a:pt x="4353" y="126"/>
                  </a:lnTo>
                  <a:lnTo>
                    <a:pt x="4290" y="126"/>
                  </a:lnTo>
                  <a:lnTo>
                    <a:pt x="4290" y="189"/>
                  </a:lnTo>
                  <a:lnTo>
                    <a:pt x="4186" y="147"/>
                  </a:lnTo>
                  <a:lnTo>
                    <a:pt x="4102" y="251"/>
                  </a:lnTo>
                  <a:lnTo>
                    <a:pt x="4018" y="251"/>
                  </a:lnTo>
                  <a:lnTo>
                    <a:pt x="3976" y="293"/>
                  </a:lnTo>
                  <a:lnTo>
                    <a:pt x="3976" y="356"/>
                  </a:lnTo>
                  <a:lnTo>
                    <a:pt x="3914" y="440"/>
                  </a:lnTo>
                  <a:lnTo>
                    <a:pt x="3914" y="502"/>
                  </a:lnTo>
                  <a:lnTo>
                    <a:pt x="3872" y="544"/>
                  </a:lnTo>
                  <a:lnTo>
                    <a:pt x="3788" y="544"/>
                  </a:lnTo>
                  <a:lnTo>
                    <a:pt x="3788" y="607"/>
                  </a:lnTo>
                  <a:lnTo>
                    <a:pt x="3893" y="733"/>
                  </a:lnTo>
                  <a:lnTo>
                    <a:pt x="3830" y="774"/>
                  </a:lnTo>
                  <a:lnTo>
                    <a:pt x="3809" y="858"/>
                  </a:lnTo>
                  <a:lnTo>
                    <a:pt x="3809" y="984"/>
                  </a:lnTo>
                  <a:lnTo>
                    <a:pt x="3872" y="1088"/>
                  </a:lnTo>
                  <a:lnTo>
                    <a:pt x="3872" y="1339"/>
                  </a:lnTo>
                  <a:lnTo>
                    <a:pt x="3767" y="1381"/>
                  </a:lnTo>
                  <a:lnTo>
                    <a:pt x="3725" y="1486"/>
                  </a:lnTo>
                  <a:lnTo>
                    <a:pt x="3474" y="1800"/>
                  </a:lnTo>
                  <a:lnTo>
                    <a:pt x="3516" y="2009"/>
                  </a:lnTo>
                  <a:lnTo>
                    <a:pt x="3495" y="2135"/>
                  </a:lnTo>
                  <a:lnTo>
                    <a:pt x="3495" y="2281"/>
                  </a:lnTo>
                  <a:lnTo>
                    <a:pt x="3390" y="2386"/>
                  </a:lnTo>
                  <a:lnTo>
                    <a:pt x="3390" y="2532"/>
                  </a:lnTo>
                  <a:lnTo>
                    <a:pt x="3390" y="2616"/>
                  </a:lnTo>
                  <a:lnTo>
                    <a:pt x="3370" y="2804"/>
                  </a:lnTo>
                  <a:lnTo>
                    <a:pt x="3390" y="2825"/>
                  </a:lnTo>
                  <a:lnTo>
                    <a:pt x="3370" y="2971"/>
                  </a:lnTo>
                  <a:lnTo>
                    <a:pt x="3286" y="3034"/>
                  </a:lnTo>
                  <a:lnTo>
                    <a:pt x="3244" y="3223"/>
                  </a:lnTo>
                  <a:lnTo>
                    <a:pt x="3244" y="3390"/>
                  </a:lnTo>
                  <a:lnTo>
                    <a:pt x="3056" y="3704"/>
                  </a:lnTo>
                  <a:lnTo>
                    <a:pt x="2951" y="3746"/>
                  </a:lnTo>
                  <a:lnTo>
                    <a:pt x="2846" y="3808"/>
                  </a:lnTo>
                  <a:lnTo>
                    <a:pt x="2763" y="3787"/>
                  </a:lnTo>
                  <a:lnTo>
                    <a:pt x="2637" y="3892"/>
                  </a:lnTo>
                  <a:lnTo>
                    <a:pt x="2533" y="4018"/>
                  </a:lnTo>
                  <a:lnTo>
                    <a:pt x="2533" y="4164"/>
                  </a:lnTo>
                  <a:lnTo>
                    <a:pt x="2344" y="4332"/>
                  </a:lnTo>
                  <a:lnTo>
                    <a:pt x="2302" y="4436"/>
                  </a:lnTo>
                  <a:lnTo>
                    <a:pt x="2323" y="4624"/>
                  </a:lnTo>
                  <a:lnTo>
                    <a:pt x="2344" y="4645"/>
                  </a:lnTo>
                  <a:lnTo>
                    <a:pt x="2323" y="4959"/>
                  </a:lnTo>
                  <a:lnTo>
                    <a:pt x="2302" y="5127"/>
                  </a:lnTo>
                  <a:lnTo>
                    <a:pt x="2302" y="5231"/>
                  </a:lnTo>
                  <a:lnTo>
                    <a:pt x="2198" y="5378"/>
                  </a:lnTo>
                  <a:lnTo>
                    <a:pt x="2093" y="5420"/>
                  </a:lnTo>
                  <a:lnTo>
                    <a:pt x="2009" y="5482"/>
                  </a:lnTo>
                  <a:lnTo>
                    <a:pt x="1947" y="5566"/>
                  </a:lnTo>
                  <a:lnTo>
                    <a:pt x="1717" y="5796"/>
                  </a:lnTo>
                  <a:lnTo>
                    <a:pt x="1633" y="5901"/>
                  </a:lnTo>
                  <a:lnTo>
                    <a:pt x="1507" y="5984"/>
                  </a:lnTo>
                  <a:lnTo>
                    <a:pt x="1382" y="5901"/>
                  </a:lnTo>
                  <a:lnTo>
                    <a:pt x="1319" y="5796"/>
                  </a:lnTo>
                  <a:lnTo>
                    <a:pt x="1298" y="5775"/>
                  </a:lnTo>
                  <a:lnTo>
                    <a:pt x="1382" y="5650"/>
                  </a:lnTo>
                  <a:lnTo>
                    <a:pt x="1382" y="5587"/>
                  </a:lnTo>
                  <a:lnTo>
                    <a:pt x="1193" y="5650"/>
                  </a:lnTo>
                  <a:lnTo>
                    <a:pt x="1089" y="5754"/>
                  </a:lnTo>
                  <a:lnTo>
                    <a:pt x="1005" y="5733"/>
                  </a:lnTo>
                  <a:lnTo>
                    <a:pt x="942" y="5754"/>
                  </a:lnTo>
                  <a:lnTo>
                    <a:pt x="942" y="5859"/>
                  </a:lnTo>
                  <a:lnTo>
                    <a:pt x="859" y="5943"/>
                  </a:lnTo>
                  <a:lnTo>
                    <a:pt x="754" y="5943"/>
                  </a:lnTo>
                  <a:lnTo>
                    <a:pt x="754" y="5880"/>
                  </a:lnTo>
                  <a:lnTo>
                    <a:pt x="733" y="5838"/>
                  </a:lnTo>
                  <a:lnTo>
                    <a:pt x="629" y="5880"/>
                  </a:lnTo>
                  <a:lnTo>
                    <a:pt x="566" y="5859"/>
                  </a:lnTo>
                  <a:lnTo>
                    <a:pt x="440" y="5984"/>
                  </a:lnTo>
                  <a:lnTo>
                    <a:pt x="315" y="6089"/>
                  </a:lnTo>
                  <a:lnTo>
                    <a:pt x="252" y="6152"/>
                  </a:lnTo>
                  <a:lnTo>
                    <a:pt x="273" y="6361"/>
                  </a:lnTo>
                  <a:lnTo>
                    <a:pt x="210" y="6424"/>
                  </a:lnTo>
                  <a:lnTo>
                    <a:pt x="105" y="6424"/>
                  </a:lnTo>
                  <a:lnTo>
                    <a:pt x="1" y="6508"/>
                  </a:lnTo>
                  <a:lnTo>
                    <a:pt x="22" y="6570"/>
                  </a:lnTo>
                  <a:lnTo>
                    <a:pt x="210" y="6591"/>
                  </a:lnTo>
                  <a:lnTo>
                    <a:pt x="252" y="6633"/>
                  </a:lnTo>
                  <a:lnTo>
                    <a:pt x="273" y="6633"/>
                  </a:lnTo>
                  <a:lnTo>
                    <a:pt x="273" y="6612"/>
                  </a:lnTo>
                  <a:lnTo>
                    <a:pt x="315" y="6591"/>
                  </a:lnTo>
                  <a:lnTo>
                    <a:pt x="377" y="6591"/>
                  </a:lnTo>
                  <a:lnTo>
                    <a:pt x="482" y="6570"/>
                  </a:lnTo>
                  <a:lnTo>
                    <a:pt x="566" y="6528"/>
                  </a:lnTo>
                  <a:lnTo>
                    <a:pt x="1256" y="6528"/>
                  </a:lnTo>
                  <a:lnTo>
                    <a:pt x="1424" y="6570"/>
                  </a:lnTo>
                  <a:lnTo>
                    <a:pt x="1633" y="6528"/>
                  </a:lnTo>
                  <a:lnTo>
                    <a:pt x="2637" y="6528"/>
                  </a:lnTo>
                  <a:lnTo>
                    <a:pt x="2637" y="6612"/>
                  </a:lnTo>
                  <a:lnTo>
                    <a:pt x="2637" y="6633"/>
                  </a:lnTo>
                  <a:lnTo>
                    <a:pt x="2637" y="6717"/>
                  </a:lnTo>
                  <a:lnTo>
                    <a:pt x="2679" y="6780"/>
                  </a:lnTo>
                  <a:lnTo>
                    <a:pt x="2721" y="6842"/>
                  </a:lnTo>
                  <a:lnTo>
                    <a:pt x="2679" y="6905"/>
                  </a:lnTo>
                  <a:lnTo>
                    <a:pt x="2679" y="6989"/>
                  </a:lnTo>
                  <a:lnTo>
                    <a:pt x="2742" y="7093"/>
                  </a:lnTo>
                  <a:lnTo>
                    <a:pt x="2763" y="7219"/>
                  </a:lnTo>
                  <a:lnTo>
                    <a:pt x="2784" y="7261"/>
                  </a:lnTo>
                  <a:lnTo>
                    <a:pt x="2784" y="7345"/>
                  </a:lnTo>
                  <a:lnTo>
                    <a:pt x="2846" y="7365"/>
                  </a:lnTo>
                  <a:lnTo>
                    <a:pt x="2888" y="7449"/>
                  </a:lnTo>
                  <a:lnTo>
                    <a:pt x="2972" y="7554"/>
                  </a:lnTo>
                  <a:lnTo>
                    <a:pt x="2993" y="7763"/>
                  </a:lnTo>
                  <a:lnTo>
                    <a:pt x="3056" y="7784"/>
                  </a:lnTo>
                  <a:lnTo>
                    <a:pt x="3202" y="7784"/>
                  </a:lnTo>
                  <a:lnTo>
                    <a:pt x="3307" y="7763"/>
                  </a:lnTo>
                  <a:lnTo>
                    <a:pt x="3390" y="7784"/>
                  </a:lnTo>
                  <a:lnTo>
                    <a:pt x="3579" y="7826"/>
                  </a:lnTo>
                  <a:lnTo>
                    <a:pt x="3662" y="7763"/>
                  </a:lnTo>
                  <a:lnTo>
                    <a:pt x="4102" y="7742"/>
                  </a:lnTo>
                  <a:lnTo>
                    <a:pt x="4102" y="7575"/>
                  </a:lnTo>
                  <a:lnTo>
                    <a:pt x="4081" y="7470"/>
                  </a:lnTo>
                  <a:lnTo>
                    <a:pt x="4123" y="7449"/>
                  </a:lnTo>
                  <a:lnTo>
                    <a:pt x="4186" y="7345"/>
                  </a:lnTo>
                  <a:lnTo>
                    <a:pt x="4186" y="7198"/>
                  </a:lnTo>
                  <a:lnTo>
                    <a:pt x="4750" y="7156"/>
                  </a:lnTo>
                  <a:lnTo>
                    <a:pt x="4750" y="7114"/>
                  </a:lnTo>
                  <a:lnTo>
                    <a:pt x="4939" y="7135"/>
                  </a:lnTo>
                  <a:lnTo>
                    <a:pt x="4918" y="7219"/>
                  </a:lnTo>
                  <a:lnTo>
                    <a:pt x="4876" y="7261"/>
                  </a:lnTo>
                  <a:lnTo>
                    <a:pt x="4918" y="7324"/>
                  </a:lnTo>
                  <a:lnTo>
                    <a:pt x="5567" y="7365"/>
                  </a:lnTo>
                  <a:lnTo>
                    <a:pt x="5587" y="7449"/>
                  </a:lnTo>
                  <a:lnTo>
                    <a:pt x="5587" y="7533"/>
                  </a:lnTo>
                  <a:lnTo>
                    <a:pt x="5587" y="7617"/>
                  </a:lnTo>
                  <a:lnTo>
                    <a:pt x="5546" y="7721"/>
                  </a:lnTo>
                  <a:lnTo>
                    <a:pt x="5504" y="7826"/>
                  </a:lnTo>
                  <a:lnTo>
                    <a:pt x="5567" y="7889"/>
                  </a:lnTo>
                  <a:lnTo>
                    <a:pt x="5567" y="7972"/>
                  </a:lnTo>
                  <a:lnTo>
                    <a:pt x="5546" y="8035"/>
                  </a:lnTo>
                  <a:lnTo>
                    <a:pt x="5546" y="8056"/>
                  </a:lnTo>
                  <a:lnTo>
                    <a:pt x="5567" y="8140"/>
                  </a:lnTo>
                  <a:lnTo>
                    <a:pt x="5567" y="8349"/>
                  </a:lnTo>
                  <a:lnTo>
                    <a:pt x="5504" y="8453"/>
                  </a:lnTo>
                  <a:lnTo>
                    <a:pt x="5567" y="8495"/>
                  </a:lnTo>
                  <a:lnTo>
                    <a:pt x="5567" y="8579"/>
                  </a:lnTo>
                  <a:lnTo>
                    <a:pt x="5608" y="8621"/>
                  </a:lnTo>
                  <a:lnTo>
                    <a:pt x="5608" y="8705"/>
                  </a:lnTo>
                  <a:lnTo>
                    <a:pt x="5650" y="8725"/>
                  </a:lnTo>
                  <a:lnTo>
                    <a:pt x="5671" y="8788"/>
                  </a:lnTo>
                  <a:lnTo>
                    <a:pt x="5713" y="8809"/>
                  </a:lnTo>
                  <a:lnTo>
                    <a:pt x="5755" y="8872"/>
                  </a:lnTo>
                  <a:lnTo>
                    <a:pt x="5713" y="8935"/>
                  </a:lnTo>
                  <a:lnTo>
                    <a:pt x="5713" y="9018"/>
                  </a:lnTo>
                  <a:lnTo>
                    <a:pt x="5797" y="9081"/>
                  </a:lnTo>
                  <a:lnTo>
                    <a:pt x="5797" y="9144"/>
                  </a:lnTo>
                  <a:lnTo>
                    <a:pt x="5776" y="9186"/>
                  </a:lnTo>
                  <a:lnTo>
                    <a:pt x="5776" y="9311"/>
                  </a:lnTo>
                  <a:lnTo>
                    <a:pt x="5859" y="9353"/>
                  </a:lnTo>
                  <a:lnTo>
                    <a:pt x="5818" y="9437"/>
                  </a:lnTo>
                  <a:lnTo>
                    <a:pt x="5818" y="9458"/>
                  </a:lnTo>
                  <a:lnTo>
                    <a:pt x="5776" y="9500"/>
                  </a:lnTo>
                  <a:lnTo>
                    <a:pt x="5776" y="9625"/>
                  </a:lnTo>
                  <a:lnTo>
                    <a:pt x="5797" y="9646"/>
                  </a:lnTo>
                  <a:lnTo>
                    <a:pt x="5859" y="9646"/>
                  </a:lnTo>
                  <a:lnTo>
                    <a:pt x="5901" y="9625"/>
                  </a:lnTo>
                  <a:lnTo>
                    <a:pt x="5964" y="9604"/>
                  </a:lnTo>
                  <a:lnTo>
                    <a:pt x="5985" y="9562"/>
                  </a:lnTo>
                  <a:lnTo>
                    <a:pt x="6027" y="9562"/>
                  </a:lnTo>
                  <a:lnTo>
                    <a:pt x="6111" y="9625"/>
                  </a:lnTo>
                  <a:lnTo>
                    <a:pt x="6173" y="9646"/>
                  </a:lnTo>
                  <a:lnTo>
                    <a:pt x="6320" y="9646"/>
                  </a:lnTo>
                  <a:lnTo>
                    <a:pt x="6383" y="9667"/>
                  </a:lnTo>
                  <a:lnTo>
                    <a:pt x="6424" y="9646"/>
                  </a:lnTo>
                  <a:lnTo>
                    <a:pt x="6508" y="9625"/>
                  </a:lnTo>
                  <a:lnTo>
                    <a:pt x="6592" y="9562"/>
                  </a:lnTo>
                  <a:lnTo>
                    <a:pt x="6696" y="9541"/>
                  </a:lnTo>
                  <a:lnTo>
                    <a:pt x="6801" y="9541"/>
                  </a:lnTo>
                  <a:lnTo>
                    <a:pt x="6843" y="9604"/>
                  </a:lnTo>
                  <a:lnTo>
                    <a:pt x="6906" y="9562"/>
                  </a:lnTo>
                  <a:lnTo>
                    <a:pt x="7010" y="9625"/>
                  </a:lnTo>
                  <a:lnTo>
                    <a:pt x="7031" y="9646"/>
                  </a:lnTo>
                  <a:lnTo>
                    <a:pt x="7031" y="9751"/>
                  </a:lnTo>
                  <a:lnTo>
                    <a:pt x="7052" y="9772"/>
                  </a:lnTo>
                  <a:lnTo>
                    <a:pt x="7073" y="9814"/>
                  </a:lnTo>
                  <a:lnTo>
                    <a:pt x="7157" y="9751"/>
                  </a:lnTo>
                  <a:lnTo>
                    <a:pt x="7240" y="9709"/>
                  </a:lnTo>
                  <a:lnTo>
                    <a:pt x="7324" y="9709"/>
                  </a:lnTo>
                  <a:lnTo>
                    <a:pt x="7345" y="9667"/>
                  </a:lnTo>
                  <a:lnTo>
                    <a:pt x="7491" y="9625"/>
                  </a:lnTo>
                  <a:lnTo>
                    <a:pt x="7554" y="9625"/>
                  </a:lnTo>
                  <a:lnTo>
                    <a:pt x="7554" y="9751"/>
                  </a:lnTo>
                  <a:lnTo>
                    <a:pt x="7575" y="9814"/>
                  </a:lnTo>
                  <a:lnTo>
                    <a:pt x="7575" y="9876"/>
                  </a:lnTo>
                  <a:lnTo>
                    <a:pt x="7575" y="9939"/>
                  </a:lnTo>
                  <a:lnTo>
                    <a:pt x="7638" y="9939"/>
                  </a:lnTo>
                  <a:lnTo>
                    <a:pt x="7743" y="9981"/>
                  </a:lnTo>
                  <a:lnTo>
                    <a:pt x="7784" y="9981"/>
                  </a:lnTo>
                  <a:lnTo>
                    <a:pt x="7910" y="10065"/>
                  </a:lnTo>
                  <a:lnTo>
                    <a:pt x="8056" y="10086"/>
                  </a:lnTo>
                  <a:lnTo>
                    <a:pt x="8182" y="10127"/>
                  </a:lnTo>
                  <a:lnTo>
                    <a:pt x="8182" y="10148"/>
                  </a:lnTo>
                  <a:lnTo>
                    <a:pt x="8287" y="10148"/>
                  </a:lnTo>
                  <a:lnTo>
                    <a:pt x="8433" y="10086"/>
                  </a:lnTo>
                  <a:lnTo>
                    <a:pt x="8475" y="10044"/>
                  </a:lnTo>
                  <a:lnTo>
                    <a:pt x="8517" y="9876"/>
                  </a:lnTo>
                  <a:lnTo>
                    <a:pt x="8600" y="9876"/>
                  </a:lnTo>
                  <a:lnTo>
                    <a:pt x="8642" y="9855"/>
                  </a:lnTo>
                  <a:lnTo>
                    <a:pt x="8684" y="9855"/>
                  </a:lnTo>
                  <a:lnTo>
                    <a:pt x="8684" y="10023"/>
                  </a:lnTo>
                  <a:lnTo>
                    <a:pt x="8789" y="10127"/>
                  </a:lnTo>
                  <a:lnTo>
                    <a:pt x="8789" y="10190"/>
                  </a:lnTo>
                  <a:lnTo>
                    <a:pt x="8935" y="10274"/>
                  </a:lnTo>
                  <a:lnTo>
                    <a:pt x="9144" y="10337"/>
                  </a:lnTo>
                  <a:lnTo>
                    <a:pt x="9270" y="10441"/>
                  </a:lnTo>
                  <a:lnTo>
                    <a:pt x="9375" y="10588"/>
                  </a:lnTo>
                  <a:lnTo>
                    <a:pt x="9479" y="10671"/>
                  </a:lnTo>
                  <a:lnTo>
                    <a:pt x="9584" y="10797"/>
                  </a:lnTo>
                  <a:lnTo>
                    <a:pt x="9730" y="10922"/>
                  </a:lnTo>
                  <a:lnTo>
                    <a:pt x="9793" y="10922"/>
                  </a:lnTo>
                  <a:lnTo>
                    <a:pt x="9898" y="10902"/>
                  </a:lnTo>
                  <a:lnTo>
                    <a:pt x="9981" y="10860"/>
                  </a:lnTo>
                  <a:lnTo>
                    <a:pt x="10002" y="10881"/>
                  </a:lnTo>
                  <a:lnTo>
                    <a:pt x="10044" y="10902"/>
                  </a:lnTo>
                  <a:lnTo>
                    <a:pt x="10107" y="10922"/>
                  </a:lnTo>
                  <a:lnTo>
                    <a:pt x="10170" y="10881"/>
                  </a:lnTo>
                  <a:lnTo>
                    <a:pt x="10107" y="10253"/>
                  </a:lnTo>
                  <a:lnTo>
                    <a:pt x="10065" y="10232"/>
                  </a:lnTo>
                  <a:lnTo>
                    <a:pt x="9940" y="10253"/>
                  </a:lnTo>
                  <a:lnTo>
                    <a:pt x="9940" y="10337"/>
                  </a:lnTo>
                  <a:lnTo>
                    <a:pt x="9981" y="10378"/>
                  </a:lnTo>
                  <a:lnTo>
                    <a:pt x="9688" y="10378"/>
                  </a:lnTo>
                  <a:lnTo>
                    <a:pt x="9647" y="10295"/>
                  </a:lnTo>
                  <a:lnTo>
                    <a:pt x="9626" y="10232"/>
                  </a:lnTo>
                  <a:lnTo>
                    <a:pt x="9458" y="10065"/>
                  </a:lnTo>
                  <a:lnTo>
                    <a:pt x="9375" y="9981"/>
                  </a:lnTo>
                  <a:lnTo>
                    <a:pt x="9375" y="9855"/>
                  </a:lnTo>
                  <a:lnTo>
                    <a:pt x="9375" y="9521"/>
                  </a:lnTo>
                  <a:lnTo>
                    <a:pt x="9375" y="9437"/>
                  </a:lnTo>
                  <a:lnTo>
                    <a:pt x="9479" y="9332"/>
                  </a:lnTo>
                  <a:lnTo>
                    <a:pt x="9542" y="9290"/>
                  </a:lnTo>
                  <a:lnTo>
                    <a:pt x="9521" y="9249"/>
                  </a:lnTo>
                  <a:lnTo>
                    <a:pt x="9563" y="9228"/>
                  </a:lnTo>
                  <a:lnTo>
                    <a:pt x="9563" y="9102"/>
                  </a:lnTo>
                  <a:lnTo>
                    <a:pt x="9563" y="9018"/>
                  </a:lnTo>
                  <a:lnTo>
                    <a:pt x="9563" y="8935"/>
                  </a:lnTo>
                  <a:lnTo>
                    <a:pt x="9563" y="8872"/>
                  </a:lnTo>
                  <a:lnTo>
                    <a:pt x="9584" y="8809"/>
                  </a:lnTo>
                  <a:lnTo>
                    <a:pt x="9626" y="8767"/>
                  </a:lnTo>
                  <a:lnTo>
                    <a:pt x="9542" y="8725"/>
                  </a:lnTo>
                  <a:lnTo>
                    <a:pt x="9479" y="8663"/>
                  </a:lnTo>
                  <a:lnTo>
                    <a:pt x="9458" y="8558"/>
                  </a:lnTo>
                  <a:lnTo>
                    <a:pt x="9688" y="8077"/>
                  </a:lnTo>
                  <a:lnTo>
                    <a:pt x="10630" y="7868"/>
                  </a:lnTo>
                  <a:lnTo>
                    <a:pt x="10714" y="7889"/>
                  </a:lnTo>
                  <a:lnTo>
                    <a:pt x="10588" y="7449"/>
                  </a:lnTo>
                  <a:lnTo>
                    <a:pt x="10170" y="6884"/>
                  </a:lnTo>
                  <a:lnTo>
                    <a:pt x="10044" y="6194"/>
                  </a:lnTo>
                  <a:lnTo>
                    <a:pt x="9960" y="5733"/>
                  </a:lnTo>
                  <a:lnTo>
                    <a:pt x="9856" y="5043"/>
                  </a:lnTo>
                  <a:lnTo>
                    <a:pt x="9856" y="4896"/>
                  </a:lnTo>
                  <a:lnTo>
                    <a:pt x="9835" y="4750"/>
                  </a:lnTo>
                  <a:lnTo>
                    <a:pt x="9772" y="4645"/>
                  </a:lnTo>
                  <a:lnTo>
                    <a:pt x="9772" y="4583"/>
                  </a:lnTo>
                  <a:lnTo>
                    <a:pt x="9772" y="4499"/>
                  </a:lnTo>
                  <a:lnTo>
                    <a:pt x="9877" y="4122"/>
                  </a:lnTo>
                  <a:lnTo>
                    <a:pt x="9981" y="3997"/>
                  </a:lnTo>
                  <a:lnTo>
                    <a:pt x="10107" y="3892"/>
                  </a:lnTo>
                  <a:lnTo>
                    <a:pt x="10149" y="3871"/>
                  </a:lnTo>
                  <a:lnTo>
                    <a:pt x="10107" y="3746"/>
                  </a:lnTo>
                  <a:lnTo>
                    <a:pt x="10191" y="3536"/>
                  </a:lnTo>
                  <a:lnTo>
                    <a:pt x="10212" y="3327"/>
                  </a:lnTo>
                  <a:lnTo>
                    <a:pt x="10212" y="3160"/>
                  </a:lnTo>
                  <a:lnTo>
                    <a:pt x="10253" y="3118"/>
                  </a:lnTo>
                  <a:lnTo>
                    <a:pt x="10484" y="2699"/>
                  </a:lnTo>
                  <a:lnTo>
                    <a:pt x="10525" y="2616"/>
                  </a:lnTo>
                  <a:lnTo>
                    <a:pt x="10714" y="2407"/>
                  </a:lnTo>
                  <a:lnTo>
                    <a:pt x="11007" y="2009"/>
                  </a:lnTo>
                  <a:lnTo>
                    <a:pt x="11028" y="1925"/>
                  </a:lnTo>
                  <a:lnTo>
                    <a:pt x="10986" y="1863"/>
                  </a:lnTo>
                  <a:lnTo>
                    <a:pt x="10923" y="1779"/>
                  </a:lnTo>
                  <a:lnTo>
                    <a:pt x="10839" y="1716"/>
                  </a:lnTo>
                  <a:lnTo>
                    <a:pt x="10881" y="1591"/>
                  </a:lnTo>
                  <a:lnTo>
                    <a:pt x="10902" y="1381"/>
                  </a:lnTo>
                  <a:lnTo>
                    <a:pt x="10902" y="1235"/>
                  </a:lnTo>
                  <a:lnTo>
                    <a:pt x="10944" y="1151"/>
                  </a:lnTo>
                  <a:lnTo>
                    <a:pt x="10986" y="1047"/>
                  </a:lnTo>
                  <a:lnTo>
                    <a:pt x="10944" y="1026"/>
                  </a:lnTo>
                  <a:lnTo>
                    <a:pt x="10776" y="1026"/>
                  </a:lnTo>
                  <a:lnTo>
                    <a:pt x="10776" y="942"/>
                  </a:lnTo>
                  <a:lnTo>
                    <a:pt x="10735" y="858"/>
                  </a:lnTo>
                  <a:lnTo>
                    <a:pt x="10693" y="837"/>
                  </a:lnTo>
                  <a:lnTo>
                    <a:pt x="10672" y="733"/>
                  </a:lnTo>
                  <a:lnTo>
                    <a:pt x="10588" y="670"/>
                  </a:lnTo>
                  <a:lnTo>
                    <a:pt x="10463" y="628"/>
                  </a:lnTo>
                  <a:lnTo>
                    <a:pt x="10400" y="565"/>
                  </a:lnTo>
                  <a:lnTo>
                    <a:pt x="10358" y="502"/>
                  </a:lnTo>
                  <a:lnTo>
                    <a:pt x="10274" y="335"/>
                  </a:lnTo>
                  <a:lnTo>
                    <a:pt x="10212" y="314"/>
                  </a:lnTo>
                  <a:lnTo>
                    <a:pt x="10086" y="314"/>
                  </a:lnTo>
                  <a:lnTo>
                    <a:pt x="10044" y="398"/>
                  </a:lnTo>
                  <a:lnTo>
                    <a:pt x="9981" y="440"/>
                  </a:lnTo>
                  <a:lnTo>
                    <a:pt x="9877" y="502"/>
                  </a:lnTo>
                  <a:lnTo>
                    <a:pt x="9835" y="502"/>
                  </a:lnTo>
                  <a:lnTo>
                    <a:pt x="9793" y="440"/>
                  </a:lnTo>
                  <a:lnTo>
                    <a:pt x="9584" y="440"/>
                  </a:lnTo>
                  <a:lnTo>
                    <a:pt x="9521" y="502"/>
                  </a:lnTo>
                  <a:lnTo>
                    <a:pt x="9479" y="544"/>
                  </a:lnTo>
                  <a:lnTo>
                    <a:pt x="9416" y="565"/>
                  </a:lnTo>
                  <a:lnTo>
                    <a:pt x="9312" y="523"/>
                  </a:lnTo>
                  <a:lnTo>
                    <a:pt x="9165" y="440"/>
                  </a:lnTo>
                  <a:lnTo>
                    <a:pt x="9124" y="356"/>
                  </a:lnTo>
                  <a:lnTo>
                    <a:pt x="9040" y="335"/>
                  </a:lnTo>
                  <a:lnTo>
                    <a:pt x="8998" y="293"/>
                  </a:lnTo>
                  <a:lnTo>
                    <a:pt x="8956" y="189"/>
                  </a:lnTo>
                  <a:lnTo>
                    <a:pt x="8935" y="147"/>
                  </a:lnTo>
                  <a:lnTo>
                    <a:pt x="8831" y="105"/>
                  </a:lnTo>
                  <a:lnTo>
                    <a:pt x="8705" y="105"/>
                  </a:lnTo>
                  <a:lnTo>
                    <a:pt x="8517" y="189"/>
                  </a:lnTo>
                  <a:lnTo>
                    <a:pt x="8496" y="147"/>
                  </a:lnTo>
                  <a:lnTo>
                    <a:pt x="8266" y="147"/>
                  </a:lnTo>
                  <a:lnTo>
                    <a:pt x="8182" y="105"/>
                  </a:lnTo>
                  <a:lnTo>
                    <a:pt x="8098" y="84"/>
                  </a:lnTo>
                  <a:lnTo>
                    <a:pt x="8056" y="42"/>
                  </a:lnTo>
                  <a:lnTo>
                    <a:pt x="7868" y="42"/>
                  </a:lnTo>
                  <a:lnTo>
                    <a:pt x="778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958" name="Google Shape;958;p34"/>
            <p:cNvSpPr/>
            <p:nvPr/>
          </p:nvSpPr>
          <p:spPr>
            <a:xfrm>
              <a:off x="3970326" y="3207451"/>
              <a:ext cx="21934" cy="52837"/>
            </a:xfrm>
            <a:custGeom>
              <a:avLst/>
              <a:gdLst/>
              <a:ahLst/>
              <a:cxnLst/>
              <a:rect l="l" t="t" r="r" b="b"/>
              <a:pathLst>
                <a:path w="1842" h="4646" extrusionOk="0">
                  <a:moveTo>
                    <a:pt x="210" y="0"/>
                  </a:moveTo>
                  <a:lnTo>
                    <a:pt x="189" y="21"/>
                  </a:lnTo>
                  <a:lnTo>
                    <a:pt x="210" y="105"/>
                  </a:lnTo>
                  <a:lnTo>
                    <a:pt x="231" y="126"/>
                  </a:lnTo>
                  <a:lnTo>
                    <a:pt x="273" y="209"/>
                  </a:lnTo>
                  <a:lnTo>
                    <a:pt x="377" y="251"/>
                  </a:lnTo>
                  <a:lnTo>
                    <a:pt x="419" y="272"/>
                  </a:lnTo>
                  <a:lnTo>
                    <a:pt x="419" y="314"/>
                  </a:lnTo>
                  <a:lnTo>
                    <a:pt x="377" y="460"/>
                  </a:lnTo>
                  <a:lnTo>
                    <a:pt x="377" y="523"/>
                  </a:lnTo>
                  <a:lnTo>
                    <a:pt x="482" y="586"/>
                  </a:lnTo>
                  <a:lnTo>
                    <a:pt x="503" y="670"/>
                  </a:lnTo>
                  <a:lnTo>
                    <a:pt x="503" y="795"/>
                  </a:lnTo>
                  <a:lnTo>
                    <a:pt x="482" y="837"/>
                  </a:lnTo>
                  <a:lnTo>
                    <a:pt x="482" y="879"/>
                  </a:lnTo>
                  <a:lnTo>
                    <a:pt x="335" y="1004"/>
                  </a:lnTo>
                  <a:lnTo>
                    <a:pt x="335" y="1088"/>
                  </a:lnTo>
                  <a:lnTo>
                    <a:pt x="377" y="1193"/>
                  </a:lnTo>
                  <a:lnTo>
                    <a:pt x="377" y="1276"/>
                  </a:lnTo>
                  <a:lnTo>
                    <a:pt x="398" y="1360"/>
                  </a:lnTo>
                  <a:lnTo>
                    <a:pt x="335" y="1423"/>
                  </a:lnTo>
                  <a:lnTo>
                    <a:pt x="398" y="1507"/>
                  </a:lnTo>
                  <a:lnTo>
                    <a:pt x="398" y="1590"/>
                  </a:lnTo>
                  <a:lnTo>
                    <a:pt x="335" y="1611"/>
                  </a:lnTo>
                  <a:lnTo>
                    <a:pt x="377" y="1695"/>
                  </a:lnTo>
                  <a:lnTo>
                    <a:pt x="398" y="1737"/>
                  </a:lnTo>
                  <a:lnTo>
                    <a:pt x="440" y="1779"/>
                  </a:lnTo>
                  <a:lnTo>
                    <a:pt x="440" y="1820"/>
                  </a:lnTo>
                  <a:lnTo>
                    <a:pt x="398" y="1820"/>
                  </a:lnTo>
                  <a:lnTo>
                    <a:pt x="377" y="1904"/>
                  </a:lnTo>
                  <a:lnTo>
                    <a:pt x="293" y="1925"/>
                  </a:lnTo>
                  <a:lnTo>
                    <a:pt x="168" y="2030"/>
                  </a:lnTo>
                  <a:lnTo>
                    <a:pt x="126" y="2051"/>
                  </a:lnTo>
                  <a:lnTo>
                    <a:pt x="126" y="2134"/>
                  </a:lnTo>
                  <a:lnTo>
                    <a:pt x="168" y="2197"/>
                  </a:lnTo>
                  <a:lnTo>
                    <a:pt x="126" y="2260"/>
                  </a:lnTo>
                  <a:lnTo>
                    <a:pt x="126" y="2344"/>
                  </a:lnTo>
                  <a:lnTo>
                    <a:pt x="63" y="2448"/>
                  </a:lnTo>
                  <a:lnTo>
                    <a:pt x="1" y="2469"/>
                  </a:lnTo>
                  <a:lnTo>
                    <a:pt x="1" y="2532"/>
                  </a:lnTo>
                  <a:lnTo>
                    <a:pt x="84" y="2636"/>
                  </a:lnTo>
                  <a:lnTo>
                    <a:pt x="126" y="2741"/>
                  </a:lnTo>
                  <a:lnTo>
                    <a:pt x="168" y="2783"/>
                  </a:lnTo>
                  <a:lnTo>
                    <a:pt x="314" y="2762"/>
                  </a:lnTo>
                  <a:lnTo>
                    <a:pt x="335" y="2825"/>
                  </a:lnTo>
                  <a:lnTo>
                    <a:pt x="377" y="2867"/>
                  </a:lnTo>
                  <a:lnTo>
                    <a:pt x="419" y="2929"/>
                  </a:lnTo>
                  <a:lnTo>
                    <a:pt x="419" y="2992"/>
                  </a:lnTo>
                  <a:lnTo>
                    <a:pt x="524" y="3055"/>
                  </a:lnTo>
                  <a:lnTo>
                    <a:pt x="586" y="3034"/>
                  </a:lnTo>
                  <a:lnTo>
                    <a:pt x="628" y="3034"/>
                  </a:lnTo>
                  <a:lnTo>
                    <a:pt x="691" y="2971"/>
                  </a:lnTo>
                  <a:lnTo>
                    <a:pt x="817" y="2971"/>
                  </a:lnTo>
                  <a:lnTo>
                    <a:pt x="963" y="2992"/>
                  </a:lnTo>
                  <a:lnTo>
                    <a:pt x="1026" y="3097"/>
                  </a:lnTo>
                  <a:lnTo>
                    <a:pt x="1026" y="3264"/>
                  </a:lnTo>
                  <a:lnTo>
                    <a:pt x="1005" y="3390"/>
                  </a:lnTo>
                  <a:lnTo>
                    <a:pt x="900" y="3515"/>
                  </a:lnTo>
                  <a:lnTo>
                    <a:pt x="837" y="3662"/>
                  </a:lnTo>
                  <a:lnTo>
                    <a:pt x="796" y="3766"/>
                  </a:lnTo>
                  <a:lnTo>
                    <a:pt x="796" y="3871"/>
                  </a:lnTo>
                  <a:lnTo>
                    <a:pt x="837" y="3996"/>
                  </a:lnTo>
                  <a:lnTo>
                    <a:pt x="837" y="4080"/>
                  </a:lnTo>
                  <a:lnTo>
                    <a:pt x="942" y="4206"/>
                  </a:lnTo>
                  <a:lnTo>
                    <a:pt x="1047" y="4289"/>
                  </a:lnTo>
                  <a:lnTo>
                    <a:pt x="1130" y="4331"/>
                  </a:lnTo>
                  <a:lnTo>
                    <a:pt x="1172" y="4394"/>
                  </a:lnTo>
                  <a:lnTo>
                    <a:pt x="1256" y="4499"/>
                  </a:lnTo>
                  <a:lnTo>
                    <a:pt x="1235" y="4541"/>
                  </a:lnTo>
                  <a:lnTo>
                    <a:pt x="1256" y="4645"/>
                  </a:lnTo>
                  <a:lnTo>
                    <a:pt x="1361" y="4624"/>
                  </a:lnTo>
                  <a:lnTo>
                    <a:pt x="1381" y="4499"/>
                  </a:lnTo>
                  <a:lnTo>
                    <a:pt x="1361" y="4352"/>
                  </a:lnTo>
                  <a:lnTo>
                    <a:pt x="1423" y="4248"/>
                  </a:lnTo>
                  <a:lnTo>
                    <a:pt x="1423" y="4143"/>
                  </a:lnTo>
                  <a:lnTo>
                    <a:pt x="1486" y="3996"/>
                  </a:lnTo>
                  <a:lnTo>
                    <a:pt x="1591" y="3976"/>
                  </a:lnTo>
                  <a:lnTo>
                    <a:pt x="1674" y="3913"/>
                  </a:lnTo>
                  <a:lnTo>
                    <a:pt x="1695" y="3808"/>
                  </a:lnTo>
                  <a:lnTo>
                    <a:pt x="1737" y="3599"/>
                  </a:lnTo>
                  <a:lnTo>
                    <a:pt x="1653" y="3515"/>
                  </a:lnTo>
                  <a:lnTo>
                    <a:pt x="1674" y="3473"/>
                  </a:lnTo>
                  <a:lnTo>
                    <a:pt x="1653" y="3452"/>
                  </a:lnTo>
                  <a:lnTo>
                    <a:pt x="1674" y="3390"/>
                  </a:lnTo>
                  <a:lnTo>
                    <a:pt x="1737" y="3390"/>
                  </a:lnTo>
                  <a:lnTo>
                    <a:pt x="1758" y="3306"/>
                  </a:lnTo>
                  <a:lnTo>
                    <a:pt x="1842" y="3306"/>
                  </a:lnTo>
                  <a:lnTo>
                    <a:pt x="1842" y="3243"/>
                  </a:lnTo>
                  <a:lnTo>
                    <a:pt x="1779" y="3160"/>
                  </a:lnTo>
                  <a:lnTo>
                    <a:pt x="1737" y="3034"/>
                  </a:lnTo>
                  <a:lnTo>
                    <a:pt x="1591" y="2846"/>
                  </a:lnTo>
                  <a:lnTo>
                    <a:pt x="1570" y="2741"/>
                  </a:lnTo>
                  <a:lnTo>
                    <a:pt x="1361" y="2553"/>
                  </a:lnTo>
                  <a:lnTo>
                    <a:pt x="1319" y="2532"/>
                  </a:lnTo>
                  <a:lnTo>
                    <a:pt x="1277" y="2469"/>
                  </a:lnTo>
                  <a:lnTo>
                    <a:pt x="1172" y="2406"/>
                  </a:lnTo>
                  <a:lnTo>
                    <a:pt x="1005" y="2323"/>
                  </a:lnTo>
                  <a:lnTo>
                    <a:pt x="921" y="1779"/>
                  </a:lnTo>
                  <a:lnTo>
                    <a:pt x="942" y="1674"/>
                  </a:lnTo>
                  <a:lnTo>
                    <a:pt x="942" y="691"/>
                  </a:lnTo>
                  <a:lnTo>
                    <a:pt x="921" y="481"/>
                  </a:lnTo>
                  <a:lnTo>
                    <a:pt x="733" y="272"/>
                  </a:lnTo>
                  <a:lnTo>
                    <a:pt x="649" y="209"/>
                  </a:lnTo>
                  <a:lnTo>
                    <a:pt x="607" y="167"/>
                  </a:lnTo>
                  <a:lnTo>
                    <a:pt x="586" y="126"/>
                  </a:lnTo>
                  <a:lnTo>
                    <a:pt x="524" y="126"/>
                  </a:lnTo>
                  <a:lnTo>
                    <a:pt x="503" y="105"/>
                  </a:lnTo>
                  <a:lnTo>
                    <a:pt x="419" y="63"/>
                  </a:lnTo>
                  <a:lnTo>
                    <a:pt x="398" y="105"/>
                  </a:lnTo>
                  <a:lnTo>
                    <a:pt x="377" y="63"/>
                  </a:lnTo>
                  <a:lnTo>
                    <a:pt x="293" y="63"/>
                  </a:lnTo>
                  <a:lnTo>
                    <a:pt x="27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" name="Google Shape;959;p34"/>
            <p:cNvSpPr/>
            <p:nvPr/>
          </p:nvSpPr>
          <p:spPr>
            <a:xfrm>
              <a:off x="3895082" y="3199593"/>
              <a:ext cx="81233" cy="66165"/>
            </a:xfrm>
            <a:custGeom>
              <a:avLst/>
              <a:gdLst/>
              <a:ahLst/>
              <a:cxnLst/>
              <a:rect l="l" t="t" r="r" b="b"/>
              <a:pathLst>
                <a:path w="6822" h="5818" extrusionOk="0">
                  <a:moveTo>
                    <a:pt x="5085" y="1"/>
                  </a:moveTo>
                  <a:lnTo>
                    <a:pt x="4143" y="210"/>
                  </a:lnTo>
                  <a:lnTo>
                    <a:pt x="3913" y="691"/>
                  </a:lnTo>
                  <a:lnTo>
                    <a:pt x="3934" y="796"/>
                  </a:lnTo>
                  <a:lnTo>
                    <a:pt x="3997" y="858"/>
                  </a:lnTo>
                  <a:lnTo>
                    <a:pt x="4081" y="900"/>
                  </a:lnTo>
                  <a:lnTo>
                    <a:pt x="4039" y="942"/>
                  </a:lnTo>
                  <a:lnTo>
                    <a:pt x="4018" y="1005"/>
                  </a:lnTo>
                  <a:lnTo>
                    <a:pt x="4018" y="1068"/>
                  </a:lnTo>
                  <a:lnTo>
                    <a:pt x="4018" y="1151"/>
                  </a:lnTo>
                  <a:lnTo>
                    <a:pt x="4018" y="1235"/>
                  </a:lnTo>
                  <a:lnTo>
                    <a:pt x="4018" y="1361"/>
                  </a:lnTo>
                  <a:lnTo>
                    <a:pt x="3976" y="1382"/>
                  </a:lnTo>
                  <a:lnTo>
                    <a:pt x="3997" y="1423"/>
                  </a:lnTo>
                  <a:lnTo>
                    <a:pt x="3934" y="1465"/>
                  </a:lnTo>
                  <a:lnTo>
                    <a:pt x="3830" y="1570"/>
                  </a:lnTo>
                  <a:lnTo>
                    <a:pt x="3830" y="1654"/>
                  </a:lnTo>
                  <a:lnTo>
                    <a:pt x="3830" y="1988"/>
                  </a:lnTo>
                  <a:lnTo>
                    <a:pt x="3830" y="2114"/>
                  </a:lnTo>
                  <a:lnTo>
                    <a:pt x="3913" y="2198"/>
                  </a:lnTo>
                  <a:lnTo>
                    <a:pt x="4081" y="2365"/>
                  </a:lnTo>
                  <a:lnTo>
                    <a:pt x="4102" y="2428"/>
                  </a:lnTo>
                  <a:lnTo>
                    <a:pt x="4143" y="2511"/>
                  </a:lnTo>
                  <a:lnTo>
                    <a:pt x="4436" y="2511"/>
                  </a:lnTo>
                  <a:lnTo>
                    <a:pt x="4395" y="2470"/>
                  </a:lnTo>
                  <a:lnTo>
                    <a:pt x="4395" y="2386"/>
                  </a:lnTo>
                  <a:lnTo>
                    <a:pt x="4520" y="2365"/>
                  </a:lnTo>
                  <a:lnTo>
                    <a:pt x="4562" y="2386"/>
                  </a:lnTo>
                  <a:lnTo>
                    <a:pt x="4625" y="3014"/>
                  </a:lnTo>
                  <a:lnTo>
                    <a:pt x="4562" y="3055"/>
                  </a:lnTo>
                  <a:lnTo>
                    <a:pt x="4499" y="3035"/>
                  </a:lnTo>
                  <a:lnTo>
                    <a:pt x="4457" y="3014"/>
                  </a:lnTo>
                  <a:lnTo>
                    <a:pt x="4436" y="2993"/>
                  </a:lnTo>
                  <a:lnTo>
                    <a:pt x="4353" y="3035"/>
                  </a:lnTo>
                  <a:lnTo>
                    <a:pt x="4248" y="3055"/>
                  </a:lnTo>
                  <a:lnTo>
                    <a:pt x="4185" y="3055"/>
                  </a:lnTo>
                  <a:lnTo>
                    <a:pt x="4039" y="2930"/>
                  </a:lnTo>
                  <a:lnTo>
                    <a:pt x="3934" y="2804"/>
                  </a:lnTo>
                  <a:lnTo>
                    <a:pt x="3830" y="2721"/>
                  </a:lnTo>
                  <a:lnTo>
                    <a:pt x="3725" y="2574"/>
                  </a:lnTo>
                  <a:lnTo>
                    <a:pt x="3599" y="2470"/>
                  </a:lnTo>
                  <a:lnTo>
                    <a:pt x="3390" y="2407"/>
                  </a:lnTo>
                  <a:lnTo>
                    <a:pt x="3244" y="2323"/>
                  </a:lnTo>
                  <a:lnTo>
                    <a:pt x="3244" y="2260"/>
                  </a:lnTo>
                  <a:lnTo>
                    <a:pt x="3139" y="2156"/>
                  </a:lnTo>
                  <a:lnTo>
                    <a:pt x="3139" y="1988"/>
                  </a:lnTo>
                  <a:lnTo>
                    <a:pt x="3097" y="1988"/>
                  </a:lnTo>
                  <a:lnTo>
                    <a:pt x="3055" y="2009"/>
                  </a:lnTo>
                  <a:lnTo>
                    <a:pt x="2972" y="2009"/>
                  </a:lnTo>
                  <a:lnTo>
                    <a:pt x="2930" y="2177"/>
                  </a:lnTo>
                  <a:lnTo>
                    <a:pt x="2888" y="2219"/>
                  </a:lnTo>
                  <a:lnTo>
                    <a:pt x="2742" y="2281"/>
                  </a:lnTo>
                  <a:lnTo>
                    <a:pt x="2637" y="2281"/>
                  </a:lnTo>
                  <a:lnTo>
                    <a:pt x="2637" y="2260"/>
                  </a:lnTo>
                  <a:lnTo>
                    <a:pt x="2511" y="2219"/>
                  </a:lnTo>
                  <a:lnTo>
                    <a:pt x="2365" y="2198"/>
                  </a:lnTo>
                  <a:lnTo>
                    <a:pt x="2239" y="2114"/>
                  </a:lnTo>
                  <a:lnTo>
                    <a:pt x="2198" y="2114"/>
                  </a:lnTo>
                  <a:lnTo>
                    <a:pt x="2093" y="2072"/>
                  </a:lnTo>
                  <a:lnTo>
                    <a:pt x="2030" y="2072"/>
                  </a:lnTo>
                  <a:lnTo>
                    <a:pt x="2030" y="2009"/>
                  </a:lnTo>
                  <a:lnTo>
                    <a:pt x="2030" y="1947"/>
                  </a:lnTo>
                  <a:lnTo>
                    <a:pt x="2009" y="1884"/>
                  </a:lnTo>
                  <a:lnTo>
                    <a:pt x="2009" y="1758"/>
                  </a:lnTo>
                  <a:lnTo>
                    <a:pt x="1946" y="1758"/>
                  </a:lnTo>
                  <a:lnTo>
                    <a:pt x="1800" y="1800"/>
                  </a:lnTo>
                  <a:lnTo>
                    <a:pt x="1779" y="1842"/>
                  </a:lnTo>
                  <a:lnTo>
                    <a:pt x="1695" y="1842"/>
                  </a:lnTo>
                  <a:lnTo>
                    <a:pt x="1612" y="1884"/>
                  </a:lnTo>
                  <a:lnTo>
                    <a:pt x="1528" y="1947"/>
                  </a:lnTo>
                  <a:lnTo>
                    <a:pt x="1507" y="1905"/>
                  </a:lnTo>
                  <a:lnTo>
                    <a:pt x="1486" y="1884"/>
                  </a:lnTo>
                  <a:lnTo>
                    <a:pt x="1486" y="1779"/>
                  </a:lnTo>
                  <a:lnTo>
                    <a:pt x="1465" y="1758"/>
                  </a:lnTo>
                  <a:lnTo>
                    <a:pt x="1361" y="1695"/>
                  </a:lnTo>
                  <a:lnTo>
                    <a:pt x="1298" y="1737"/>
                  </a:lnTo>
                  <a:lnTo>
                    <a:pt x="1256" y="1674"/>
                  </a:lnTo>
                  <a:lnTo>
                    <a:pt x="1256" y="1695"/>
                  </a:lnTo>
                  <a:lnTo>
                    <a:pt x="1256" y="1758"/>
                  </a:lnTo>
                  <a:lnTo>
                    <a:pt x="1214" y="1779"/>
                  </a:lnTo>
                  <a:lnTo>
                    <a:pt x="1256" y="2009"/>
                  </a:lnTo>
                  <a:lnTo>
                    <a:pt x="1256" y="2219"/>
                  </a:lnTo>
                  <a:lnTo>
                    <a:pt x="1256" y="2365"/>
                  </a:lnTo>
                  <a:lnTo>
                    <a:pt x="1298" y="2470"/>
                  </a:lnTo>
                  <a:lnTo>
                    <a:pt x="1298" y="2574"/>
                  </a:lnTo>
                  <a:lnTo>
                    <a:pt x="1277" y="2616"/>
                  </a:lnTo>
                  <a:lnTo>
                    <a:pt x="1256" y="2783"/>
                  </a:lnTo>
                  <a:lnTo>
                    <a:pt x="1277" y="2825"/>
                  </a:lnTo>
                  <a:lnTo>
                    <a:pt x="42" y="2825"/>
                  </a:lnTo>
                  <a:lnTo>
                    <a:pt x="1" y="4771"/>
                  </a:lnTo>
                  <a:lnTo>
                    <a:pt x="22" y="4813"/>
                  </a:lnTo>
                  <a:lnTo>
                    <a:pt x="105" y="4918"/>
                  </a:lnTo>
                  <a:lnTo>
                    <a:pt x="168" y="4980"/>
                  </a:lnTo>
                  <a:lnTo>
                    <a:pt x="231" y="5043"/>
                  </a:lnTo>
                  <a:lnTo>
                    <a:pt x="314" y="5085"/>
                  </a:lnTo>
                  <a:lnTo>
                    <a:pt x="419" y="5232"/>
                  </a:lnTo>
                  <a:lnTo>
                    <a:pt x="482" y="5294"/>
                  </a:lnTo>
                  <a:lnTo>
                    <a:pt x="566" y="5336"/>
                  </a:lnTo>
                  <a:lnTo>
                    <a:pt x="628" y="5399"/>
                  </a:lnTo>
                  <a:lnTo>
                    <a:pt x="670" y="5462"/>
                  </a:lnTo>
                  <a:lnTo>
                    <a:pt x="754" y="5504"/>
                  </a:lnTo>
                  <a:lnTo>
                    <a:pt x="775" y="5608"/>
                  </a:lnTo>
                  <a:lnTo>
                    <a:pt x="1319" y="5462"/>
                  </a:lnTo>
                  <a:lnTo>
                    <a:pt x="1402" y="5504"/>
                  </a:lnTo>
                  <a:lnTo>
                    <a:pt x="1528" y="5441"/>
                  </a:lnTo>
                  <a:lnTo>
                    <a:pt x="1570" y="5462"/>
                  </a:lnTo>
                  <a:lnTo>
                    <a:pt x="1591" y="5462"/>
                  </a:lnTo>
                  <a:lnTo>
                    <a:pt x="1612" y="5504"/>
                  </a:lnTo>
                  <a:lnTo>
                    <a:pt x="1695" y="5504"/>
                  </a:lnTo>
                  <a:lnTo>
                    <a:pt x="1716" y="5524"/>
                  </a:lnTo>
                  <a:lnTo>
                    <a:pt x="1737" y="5524"/>
                  </a:lnTo>
                  <a:lnTo>
                    <a:pt x="1821" y="5629"/>
                  </a:lnTo>
                  <a:lnTo>
                    <a:pt x="1884" y="5629"/>
                  </a:lnTo>
                  <a:lnTo>
                    <a:pt x="2030" y="5650"/>
                  </a:lnTo>
                  <a:lnTo>
                    <a:pt x="2135" y="5713"/>
                  </a:lnTo>
                  <a:lnTo>
                    <a:pt x="2198" y="5755"/>
                  </a:lnTo>
                  <a:lnTo>
                    <a:pt x="2239" y="5755"/>
                  </a:lnTo>
                  <a:lnTo>
                    <a:pt x="2344" y="5671"/>
                  </a:lnTo>
                  <a:lnTo>
                    <a:pt x="2470" y="5650"/>
                  </a:lnTo>
                  <a:lnTo>
                    <a:pt x="2532" y="5713"/>
                  </a:lnTo>
                  <a:lnTo>
                    <a:pt x="2553" y="5671"/>
                  </a:lnTo>
                  <a:lnTo>
                    <a:pt x="2574" y="5713"/>
                  </a:lnTo>
                  <a:lnTo>
                    <a:pt x="2616" y="5713"/>
                  </a:lnTo>
                  <a:lnTo>
                    <a:pt x="2679" y="5776"/>
                  </a:lnTo>
                  <a:lnTo>
                    <a:pt x="2783" y="5817"/>
                  </a:lnTo>
                  <a:lnTo>
                    <a:pt x="2951" y="5755"/>
                  </a:lnTo>
                  <a:lnTo>
                    <a:pt x="3139" y="5504"/>
                  </a:lnTo>
                  <a:lnTo>
                    <a:pt x="3390" y="5190"/>
                  </a:lnTo>
                  <a:lnTo>
                    <a:pt x="3725" y="4939"/>
                  </a:lnTo>
                  <a:lnTo>
                    <a:pt x="3934" y="4876"/>
                  </a:lnTo>
                  <a:lnTo>
                    <a:pt x="3976" y="4834"/>
                  </a:lnTo>
                  <a:lnTo>
                    <a:pt x="3997" y="4792"/>
                  </a:lnTo>
                  <a:lnTo>
                    <a:pt x="3976" y="4729"/>
                  </a:lnTo>
                  <a:lnTo>
                    <a:pt x="3997" y="4687"/>
                  </a:lnTo>
                  <a:lnTo>
                    <a:pt x="3997" y="4625"/>
                  </a:lnTo>
                  <a:lnTo>
                    <a:pt x="4039" y="4562"/>
                  </a:lnTo>
                  <a:lnTo>
                    <a:pt x="4206" y="4457"/>
                  </a:lnTo>
                  <a:lnTo>
                    <a:pt x="4290" y="4415"/>
                  </a:lnTo>
                  <a:lnTo>
                    <a:pt x="4353" y="4395"/>
                  </a:lnTo>
                  <a:lnTo>
                    <a:pt x="4499" y="4353"/>
                  </a:lnTo>
                  <a:lnTo>
                    <a:pt x="4646" y="4353"/>
                  </a:lnTo>
                  <a:lnTo>
                    <a:pt x="4667" y="4395"/>
                  </a:lnTo>
                  <a:lnTo>
                    <a:pt x="4729" y="4374"/>
                  </a:lnTo>
                  <a:lnTo>
                    <a:pt x="4855" y="4395"/>
                  </a:lnTo>
                  <a:lnTo>
                    <a:pt x="4918" y="4395"/>
                  </a:lnTo>
                  <a:lnTo>
                    <a:pt x="4918" y="4311"/>
                  </a:lnTo>
                  <a:lnTo>
                    <a:pt x="4876" y="4143"/>
                  </a:lnTo>
                  <a:lnTo>
                    <a:pt x="4918" y="4060"/>
                  </a:lnTo>
                  <a:lnTo>
                    <a:pt x="5148" y="3955"/>
                  </a:lnTo>
                  <a:lnTo>
                    <a:pt x="5273" y="3955"/>
                  </a:lnTo>
                  <a:lnTo>
                    <a:pt x="5859" y="3683"/>
                  </a:lnTo>
                  <a:lnTo>
                    <a:pt x="5964" y="3662"/>
                  </a:lnTo>
                  <a:lnTo>
                    <a:pt x="6299" y="3537"/>
                  </a:lnTo>
                  <a:lnTo>
                    <a:pt x="6487" y="3474"/>
                  </a:lnTo>
                  <a:lnTo>
                    <a:pt x="6445" y="3432"/>
                  </a:lnTo>
                  <a:lnTo>
                    <a:pt x="6403" y="3327"/>
                  </a:lnTo>
                  <a:lnTo>
                    <a:pt x="6320" y="3223"/>
                  </a:lnTo>
                  <a:lnTo>
                    <a:pt x="6320" y="3160"/>
                  </a:lnTo>
                  <a:lnTo>
                    <a:pt x="6382" y="3139"/>
                  </a:lnTo>
                  <a:lnTo>
                    <a:pt x="6445" y="3035"/>
                  </a:lnTo>
                  <a:lnTo>
                    <a:pt x="6445" y="2951"/>
                  </a:lnTo>
                  <a:lnTo>
                    <a:pt x="6487" y="2888"/>
                  </a:lnTo>
                  <a:lnTo>
                    <a:pt x="6445" y="2825"/>
                  </a:lnTo>
                  <a:lnTo>
                    <a:pt x="6445" y="2742"/>
                  </a:lnTo>
                  <a:lnTo>
                    <a:pt x="6487" y="2721"/>
                  </a:lnTo>
                  <a:lnTo>
                    <a:pt x="6612" y="2616"/>
                  </a:lnTo>
                  <a:lnTo>
                    <a:pt x="6696" y="2595"/>
                  </a:lnTo>
                  <a:lnTo>
                    <a:pt x="6717" y="2511"/>
                  </a:lnTo>
                  <a:lnTo>
                    <a:pt x="6759" y="2511"/>
                  </a:lnTo>
                  <a:lnTo>
                    <a:pt x="6759" y="2470"/>
                  </a:lnTo>
                  <a:lnTo>
                    <a:pt x="6717" y="2428"/>
                  </a:lnTo>
                  <a:lnTo>
                    <a:pt x="6696" y="2386"/>
                  </a:lnTo>
                  <a:lnTo>
                    <a:pt x="6654" y="2302"/>
                  </a:lnTo>
                  <a:lnTo>
                    <a:pt x="6717" y="2281"/>
                  </a:lnTo>
                  <a:lnTo>
                    <a:pt x="6717" y="2198"/>
                  </a:lnTo>
                  <a:lnTo>
                    <a:pt x="6654" y="2114"/>
                  </a:lnTo>
                  <a:lnTo>
                    <a:pt x="6717" y="2051"/>
                  </a:lnTo>
                  <a:lnTo>
                    <a:pt x="6696" y="1967"/>
                  </a:lnTo>
                  <a:lnTo>
                    <a:pt x="6696" y="1884"/>
                  </a:lnTo>
                  <a:lnTo>
                    <a:pt x="6654" y="1779"/>
                  </a:lnTo>
                  <a:lnTo>
                    <a:pt x="6654" y="1695"/>
                  </a:lnTo>
                  <a:lnTo>
                    <a:pt x="6801" y="1570"/>
                  </a:lnTo>
                  <a:lnTo>
                    <a:pt x="6801" y="1528"/>
                  </a:lnTo>
                  <a:lnTo>
                    <a:pt x="6822" y="1486"/>
                  </a:lnTo>
                  <a:lnTo>
                    <a:pt x="6822" y="1361"/>
                  </a:lnTo>
                  <a:lnTo>
                    <a:pt x="6801" y="1277"/>
                  </a:lnTo>
                  <a:lnTo>
                    <a:pt x="6696" y="1214"/>
                  </a:lnTo>
                  <a:lnTo>
                    <a:pt x="6696" y="1151"/>
                  </a:lnTo>
                  <a:lnTo>
                    <a:pt x="6738" y="1005"/>
                  </a:lnTo>
                  <a:lnTo>
                    <a:pt x="6738" y="963"/>
                  </a:lnTo>
                  <a:lnTo>
                    <a:pt x="6696" y="942"/>
                  </a:lnTo>
                  <a:lnTo>
                    <a:pt x="6592" y="900"/>
                  </a:lnTo>
                  <a:lnTo>
                    <a:pt x="6550" y="817"/>
                  </a:lnTo>
                  <a:lnTo>
                    <a:pt x="6529" y="796"/>
                  </a:lnTo>
                  <a:lnTo>
                    <a:pt x="6508" y="712"/>
                  </a:lnTo>
                  <a:lnTo>
                    <a:pt x="6508" y="691"/>
                  </a:lnTo>
                  <a:lnTo>
                    <a:pt x="6445" y="691"/>
                  </a:lnTo>
                  <a:lnTo>
                    <a:pt x="6340" y="586"/>
                  </a:lnTo>
                  <a:lnTo>
                    <a:pt x="6299" y="503"/>
                  </a:lnTo>
                  <a:lnTo>
                    <a:pt x="6236" y="482"/>
                  </a:lnTo>
                  <a:lnTo>
                    <a:pt x="6194" y="419"/>
                  </a:lnTo>
                  <a:lnTo>
                    <a:pt x="6110" y="419"/>
                  </a:lnTo>
                  <a:lnTo>
                    <a:pt x="5859" y="335"/>
                  </a:lnTo>
                  <a:lnTo>
                    <a:pt x="5755" y="335"/>
                  </a:lnTo>
                  <a:lnTo>
                    <a:pt x="5671" y="273"/>
                  </a:lnTo>
                  <a:lnTo>
                    <a:pt x="5671" y="210"/>
                  </a:lnTo>
                  <a:lnTo>
                    <a:pt x="5587" y="168"/>
                  </a:lnTo>
                  <a:lnTo>
                    <a:pt x="5545" y="168"/>
                  </a:lnTo>
                  <a:lnTo>
                    <a:pt x="5441" y="126"/>
                  </a:lnTo>
                  <a:lnTo>
                    <a:pt x="5357" y="126"/>
                  </a:lnTo>
                  <a:lnTo>
                    <a:pt x="5169" y="22"/>
                  </a:lnTo>
                  <a:lnTo>
                    <a:pt x="508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" name="Google Shape;960;p34"/>
            <p:cNvSpPr/>
            <p:nvPr/>
          </p:nvSpPr>
          <p:spPr>
            <a:xfrm>
              <a:off x="3824328" y="3184365"/>
              <a:ext cx="86210" cy="81393"/>
            </a:xfrm>
            <a:custGeom>
              <a:avLst/>
              <a:gdLst/>
              <a:ahLst/>
              <a:cxnLst/>
              <a:rect l="l" t="t" r="r" b="b"/>
              <a:pathLst>
                <a:path w="7240" h="7157" extrusionOk="0">
                  <a:moveTo>
                    <a:pt x="963" y="0"/>
                  </a:moveTo>
                  <a:lnTo>
                    <a:pt x="879" y="42"/>
                  </a:lnTo>
                  <a:lnTo>
                    <a:pt x="774" y="63"/>
                  </a:lnTo>
                  <a:lnTo>
                    <a:pt x="712" y="63"/>
                  </a:lnTo>
                  <a:lnTo>
                    <a:pt x="670" y="84"/>
                  </a:lnTo>
                  <a:lnTo>
                    <a:pt x="670" y="105"/>
                  </a:lnTo>
                  <a:lnTo>
                    <a:pt x="649" y="105"/>
                  </a:lnTo>
                  <a:lnTo>
                    <a:pt x="502" y="189"/>
                  </a:lnTo>
                  <a:lnTo>
                    <a:pt x="544" y="273"/>
                  </a:lnTo>
                  <a:lnTo>
                    <a:pt x="544" y="356"/>
                  </a:lnTo>
                  <a:lnTo>
                    <a:pt x="858" y="712"/>
                  </a:lnTo>
                  <a:lnTo>
                    <a:pt x="879" y="1151"/>
                  </a:lnTo>
                  <a:lnTo>
                    <a:pt x="1046" y="1402"/>
                  </a:lnTo>
                  <a:lnTo>
                    <a:pt x="1026" y="1633"/>
                  </a:lnTo>
                  <a:lnTo>
                    <a:pt x="837" y="1863"/>
                  </a:lnTo>
                  <a:lnTo>
                    <a:pt x="942" y="1925"/>
                  </a:lnTo>
                  <a:lnTo>
                    <a:pt x="942" y="2135"/>
                  </a:lnTo>
                  <a:lnTo>
                    <a:pt x="1046" y="2260"/>
                  </a:lnTo>
                  <a:lnTo>
                    <a:pt x="1046" y="2407"/>
                  </a:lnTo>
                  <a:lnTo>
                    <a:pt x="1256" y="2783"/>
                  </a:lnTo>
                  <a:lnTo>
                    <a:pt x="1256" y="2867"/>
                  </a:lnTo>
                  <a:lnTo>
                    <a:pt x="1339" y="2972"/>
                  </a:lnTo>
                  <a:lnTo>
                    <a:pt x="1339" y="3453"/>
                  </a:lnTo>
                  <a:lnTo>
                    <a:pt x="1088" y="3871"/>
                  </a:lnTo>
                  <a:lnTo>
                    <a:pt x="1026" y="3871"/>
                  </a:lnTo>
                  <a:lnTo>
                    <a:pt x="754" y="4081"/>
                  </a:lnTo>
                  <a:lnTo>
                    <a:pt x="754" y="4227"/>
                  </a:lnTo>
                  <a:lnTo>
                    <a:pt x="440" y="4499"/>
                  </a:lnTo>
                  <a:lnTo>
                    <a:pt x="440" y="4687"/>
                  </a:lnTo>
                  <a:lnTo>
                    <a:pt x="398" y="4750"/>
                  </a:lnTo>
                  <a:lnTo>
                    <a:pt x="398" y="5210"/>
                  </a:lnTo>
                  <a:lnTo>
                    <a:pt x="230" y="5399"/>
                  </a:lnTo>
                  <a:lnTo>
                    <a:pt x="210" y="5608"/>
                  </a:lnTo>
                  <a:lnTo>
                    <a:pt x="42" y="5796"/>
                  </a:lnTo>
                  <a:lnTo>
                    <a:pt x="42" y="6006"/>
                  </a:lnTo>
                  <a:lnTo>
                    <a:pt x="21" y="6173"/>
                  </a:lnTo>
                  <a:lnTo>
                    <a:pt x="21" y="6466"/>
                  </a:lnTo>
                  <a:lnTo>
                    <a:pt x="0" y="6654"/>
                  </a:lnTo>
                  <a:lnTo>
                    <a:pt x="21" y="6696"/>
                  </a:lnTo>
                  <a:lnTo>
                    <a:pt x="105" y="6738"/>
                  </a:lnTo>
                  <a:lnTo>
                    <a:pt x="126" y="6759"/>
                  </a:lnTo>
                  <a:lnTo>
                    <a:pt x="189" y="6738"/>
                  </a:lnTo>
                  <a:lnTo>
                    <a:pt x="210" y="6654"/>
                  </a:lnTo>
                  <a:lnTo>
                    <a:pt x="398" y="6654"/>
                  </a:lnTo>
                  <a:lnTo>
                    <a:pt x="461" y="6696"/>
                  </a:lnTo>
                  <a:lnTo>
                    <a:pt x="523" y="6675"/>
                  </a:lnTo>
                  <a:lnTo>
                    <a:pt x="523" y="6591"/>
                  </a:lnTo>
                  <a:lnTo>
                    <a:pt x="712" y="6466"/>
                  </a:lnTo>
                  <a:lnTo>
                    <a:pt x="754" y="6466"/>
                  </a:lnTo>
                  <a:lnTo>
                    <a:pt x="858" y="6529"/>
                  </a:lnTo>
                  <a:lnTo>
                    <a:pt x="879" y="6529"/>
                  </a:lnTo>
                  <a:lnTo>
                    <a:pt x="921" y="6487"/>
                  </a:lnTo>
                  <a:lnTo>
                    <a:pt x="963" y="6466"/>
                  </a:lnTo>
                  <a:lnTo>
                    <a:pt x="1046" y="6529"/>
                  </a:lnTo>
                  <a:lnTo>
                    <a:pt x="1046" y="6550"/>
                  </a:lnTo>
                  <a:lnTo>
                    <a:pt x="1130" y="6571"/>
                  </a:lnTo>
                  <a:lnTo>
                    <a:pt x="1088" y="6633"/>
                  </a:lnTo>
                  <a:lnTo>
                    <a:pt x="1151" y="6654"/>
                  </a:lnTo>
                  <a:lnTo>
                    <a:pt x="1256" y="6759"/>
                  </a:lnTo>
                  <a:lnTo>
                    <a:pt x="1381" y="6801"/>
                  </a:lnTo>
                  <a:lnTo>
                    <a:pt x="1486" y="6759"/>
                  </a:lnTo>
                  <a:lnTo>
                    <a:pt x="1507" y="6759"/>
                  </a:lnTo>
                  <a:lnTo>
                    <a:pt x="1590" y="6696"/>
                  </a:lnTo>
                  <a:lnTo>
                    <a:pt x="1653" y="6696"/>
                  </a:lnTo>
                  <a:lnTo>
                    <a:pt x="1674" y="6738"/>
                  </a:lnTo>
                  <a:lnTo>
                    <a:pt x="3850" y="6738"/>
                  </a:lnTo>
                  <a:lnTo>
                    <a:pt x="3871" y="6759"/>
                  </a:lnTo>
                  <a:lnTo>
                    <a:pt x="3913" y="6863"/>
                  </a:lnTo>
                  <a:lnTo>
                    <a:pt x="3976" y="6905"/>
                  </a:lnTo>
                  <a:lnTo>
                    <a:pt x="4101" y="6968"/>
                  </a:lnTo>
                  <a:lnTo>
                    <a:pt x="4206" y="6989"/>
                  </a:lnTo>
                  <a:lnTo>
                    <a:pt x="4311" y="6968"/>
                  </a:lnTo>
                  <a:lnTo>
                    <a:pt x="4373" y="6989"/>
                  </a:lnTo>
                  <a:lnTo>
                    <a:pt x="4394" y="7052"/>
                  </a:lnTo>
                  <a:lnTo>
                    <a:pt x="4478" y="7073"/>
                  </a:lnTo>
                  <a:lnTo>
                    <a:pt x="4541" y="7010"/>
                  </a:lnTo>
                  <a:lnTo>
                    <a:pt x="4645" y="6989"/>
                  </a:lnTo>
                  <a:lnTo>
                    <a:pt x="4792" y="7010"/>
                  </a:lnTo>
                  <a:lnTo>
                    <a:pt x="4855" y="7010"/>
                  </a:lnTo>
                  <a:lnTo>
                    <a:pt x="4896" y="6947"/>
                  </a:lnTo>
                  <a:lnTo>
                    <a:pt x="4917" y="6968"/>
                  </a:lnTo>
                  <a:lnTo>
                    <a:pt x="4959" y="6968"/>
                  </a:lnTo>
                  <a:lnTo>
                    <a:pt x="5106" y="7094"/>
                  </a:lnTo>
                  <a:lnTo>
                    <a:pt x="5210" y="7115"/>
                  </a:lnTo>
                  <a:lnTo>
                    <a:pt x="5357" y="7115"/>
                  </a:lnTo>
                  <a:lnTo>
                    <a:pt x="5357" y="7073"/>
                  </a:lnTo>
                  <a:lnTo>
                    <a:pt x="5440" y="7052"/>
                  </a:lnTo>
                  <a:lnTo>
                    <a:pt x="5482" y="7073"/>
                  </a:lnTo>
                  <a:lnTo>
                    <a:pt x="5545" y="7094"/>
                  </a:lnTo>
                  <a:lnTo>
                    <a:pt x="5587" y="7073"/>
                  </a:lnTo>
                  <a:lnTo>
                    <a:pt x="5629" y="7115"/>
                  </a:lnTo>
                  <a:lnTo>
                    <a:pt x="5671" y="7115"/>
                  </a:lnTo>
                  <a:lnTo>
                    <a:pt x="5692" y="7156"/>
                  </a:lnTo>
                  <a:lnTo>
                    <a:pt x="5838" y="7156"/>
                  </a:lnTo>
                  <a:lnTo>
                    <a:pt x="6717" y="6947"/>
                  </a:lnTo>
                  <a:lnTo>
                    <a:pt x="6696" y="6843"/>
                  </a:lnTo>
                  <a:lnTo>
                    <a:pt x="6612" y="6801"/>
                  </a:lnTo>
                  <a:lnTo>
                    <a:pt x="6570" y="6738"/>
                  </a:lnTo>
                  <a:lnTo>
                    <a:pt x="6508" y="6675"/>
                  </a:lnTo>
                  <a:lnTo>
                    <a:pt x="6424" y="6633"/>
                  </a:lnTo>
                  <a:lnTo>
                    <a:pt x="6361" y="6571"/>
                  </a:lnTo>
                  <a:lnTo>
                    <a:pt x="6256" y="6424"/>
                  </a:lnTo>
                  <a:lnTo>
                    <a:pt x="6173" y="6382"/>
                  </a:lnTo>
                  <a:lnTo>
                    <a:pt x="6110" y="6319"/>
                  </a:lnTo>
                  <a:lnTo>
                    <a:pt x="6047" y="6257"/>
                  </a:lnTo>
                  <a:lnTo>
                    <a:pt x="5964" y="6152"/>
                  </a:lnTo>
                  <a:lnTo>
                    <a:pt x="5943" y="6110"/>
                  </a:lnTo>
                  <a:lnTo>
                    <a:pt x="5984" y="4164"/>
                  </a:lnTo>
                  <a:lnTo>
                    <a:pt x="7219" y="4164"/>
                  </a:lnTo>
                  <a:lnTo>
                    <a:pt x="7198" y="4122"/>
                  </a:lnTo>
                  <a:lnTo>
                    <a:pt x="7219" y="3955"/>
                  </a:lnTo>
                  <a:lnTo>
                    <a:pt x="7240" y="3913"/>
                  </a:lnTo>
                  <a:lnTo>
                    <a:pt x="7240" y="3809"/>
                  </a:lnTo>
                  <a:lnTo>
                    <a:pt x="7198" y="3704"/>
                  </a:lnTo>
                  <a:lnTo>
                    <a:pt x="7198" y="3558"/>
                  </a:lnTo>
                  <a:lnTo>
                    <a:pt x="7198" y="3348"/>
                  </a:lnTo>
                  <a:lnTo>
                    <a:pt x="7156" y="3118"/>
                  </a:lnTo>
                  <a:lnTo>
                    <a:pt x="7198" y="3097"/>
                  </a:lnTo>
                  <a:lnTo>
                    <a:pt x="7198" y="3034"/>
                  </a:lnTo>
                  <a:lnTo>
                    <a:pt x="7198" y="3013"/>
                  </a:lnTo>
                  <a:lnTo>
                    <a:pt x="7093" y="3013"/>
                  </a:lnTo>
                  <a:lnTo>
                    <a:pt x="6989" y="3034"/>
                  </a:lnTo>
                  <a:lnTo>
                    <a:pt x="6905" y="3097"/>
                  </a:lnTo>
                  <a:lnTo>
                    <a:pt x="6821" y="3118"/>
                  </a:lnTo>
                  <a:lnTo>
                    <a:pt x="6780" y="3139"/>
                  </a:lnTo>
                  <a:lnTo>
                    <a:pt x="6717" y="3118"/>
                  </a:lnTo>
                  <a:lnTo>
                    <a:pt x="6570" y="3118"/>
                  </a:lnTo>
                  <a:lnTo>
                    <a:pt x="6508" y="3097"/>
                  </a:lnTo>
                  <a:lnTo>
                    <a:pt x="6424" y="3034"/>
                  </a:lnTo>
                  <a:lnTo>
                    <a:pt x="6382" y="3034"/>
                  </a:lnTo>
                  <a:lnTo>
                    <a:pt x="6361" y="3076"/>
                  </a:lnTo>
                  <a:lnTo>
                    <a:pt x="6298" y="3097"/>
                  </a:lnTo>
                  <a:lnTo>
                    <a:pt x="6256" y="3118"/>
                  </a:lnTo>
                  <a:lnTo>
                    <a:pt x="6194" y="3118"/>
                  </a:lnTo>
                  <a:lnTo>
                    <a:pt x="6173" y="3097"/>
                  </a:lnTo>
                  <a:lnTo>
                    <a:pt x="6173" y="2972"/>
                  </a:lnTo>
                  <a:lnTo>
                    <a:pt x="6215" y="2930"/>
                  </a:lnTo>
                  <a:lnTo>
                    <a:pt x="6215" y="2909"/>
                  </a:lnTo>
                  <a:lnTo>
                    <a:pt x="6256" y="2825"/>
                  </a:lnTo>
                  <a:lnTo>
                    <a:pt x="6173" y="2783"/>
                  </a:lnTo>
                  <a:lnTo>
                    <a:pt x="6173" y="2658"/>
                  </a:lnTo>
                  <a:lnTo>
                    <a:pt x="6194" y="2616"/>
                  </a:lnTo>
                  <a:lnTo>
                    <a:pt x="6194" y="2553"/>
                  </a:lnTo>
                  <a:lnTo>
                    <a:pt x="6110" y="2490"/>
                  </a:lnTo>
                  <a:lnTo>
                    <a:pt x="6110" y="2407"/>
                  </a:lnTo>
                  <a:lnTo>
                    <a:pt x="6152" y="2344"/>
                  </a:lnTo>
                  <a:lnTo>
                    <a:pt x="6110" y="2281"/>
                  </a:lnTo>
                  <a:lnTo>
                    <a:pt x="6068" y="2260"/>
                  </a:lnTo>
                  <a:lnTo>
                    <a:pt x="6047" y="2197"/>
                  </a:lnTo>
                  <a:lnTo>
                    <a:pt x="6005" y="2177"/>
                  </a:lnTo>
                  <a:lnTo>
                    <a:pt x="6005" y="2093"/>
                  </a:lnTo>
                  <a:lnTo>
                    <a:pt x="5964" y="2051"/>
                  </a:lnTo>
                  <a:lnTo>
                    <a:pt x="5964" y="1967"/>
                  </a:lnTo>
                  <a:lnTo>
                    <a:pt x="5901" y="1925"/>
                  </a:lnTo>
                  <a:lnTo>
                    <a:pt x="5964" y="1821"/>
                  </a:lnTo>
                  <a:lnTo>
                    <a:pt x="5964" y="1612"/>
                  </a:lnTo>
                  <a:lnTo>
                    <a:pt x="5943" y="1528"/>
                  </a:lnTo>
                  <a:lnTo>
                    <a:pt x="5943" y="1507"/>
                  </a:lnTo>
                  <a:lnTo>
                    <a:pt x="5964" y="1444"/>
                  </a:lnTo>
                  <a:lnTo>
                    <a:pt x="5964" y="1361"/>
                  </a:lnTo>
                  <a:lnTo>
                    <a:pt x="5901" y="1298"/>
                  </a:lnTo>
                  <a:lnTo>
                    <a:pt x="5943" y="1193"/>
                  </a:lnTo>
                  <a:lnTo>
                    <a:pt x="5984" y="1089"/>
                  </a:lnTo>
                  <a:lnTo>
                    <a:pt x="5984" y="1005"/>
                  </a:lnTo>
                  <a:lnTo>
                    <a:pt x="5984" y="921"/>
                  </a:lnTo>
                  <a:lnTo>
                    <a:pt x="5964" y="837"/>
                  </a:lnTo>
                  <a:lnTo>
                    <a:pt x="5315" y="796"/>
                  </a:lnTo>
                  <a:lnTo>
                    <a:pt x="5273" y="733"/>
                  </a:lnTo>
                  <a:lnTo>
                    <a:pt x="5315" y="691"/>
                  </a:lnTo>
                  <a:lnTo>
                    <a:pt x="5336" y="607"/>
                  </a:lnTo>
                  <a:lnTo>
                    <a:pt x="5147" y="586"/>
                  </a:lnTo>
                  <a:lnTo>
                    <a:pt x="5147" y="628"/>
                  </a:lnTo>
                  <a:lnTo>
                    <a:pt x="4583" y="670"/>
                  </a:lnTo>
                  <a:lnTo>
                    <a:pt x="4583" y="817"/>
                  </a:lnTo>
                  <a:lnTo>
                    <a:pt x="4520" y="921"/>
                  </a:lnTo>
                  <a:lnTo>
                    <a:pt x="4478" y="942"/>
                  </a:lnTo>
                  <a:lnTo>
                    <a:pt x="4499" y="1047"/>
                  </a:lnTo>
                  <a:lnTo>
                    <a:pt x="4499" y="1214"/>
                  </a:lnTo>
                  <a:lnTo>
                    <a:pt x="4059" y="1235"/>
                  </a:lnTo>
                  <a:lnTo>
                    <a:pt x="3976" y="1298"/>
                  </a:lnTo>
                  <a:lnTo>
                    <a:pt x="3787" y="1256"/>
                  </a:lnTo>
                  <a:lnTo>
                    <a:pt x="3704" y="1235"/>
                  </a:lnTo>
                  <a:lnTo>
                    <a:pt x="3599" y="1256"/>
                  </a:lnTo>
                  <a:lnTo>
                    <a:pt x="3453" y="1256"/>
                  </a:lnTo>
                  <a:lnTo>
                    <a:pt x="3390" y="1235"/>
                  </a:lnTo>
                  <a:lnTo>
                    <a:pt x="3369" y="1026"/>
                  </a:lnTo>
                  <a:lnTo>
                    <a:pt x="3285" y="921"/>
                  </a:lnTo>
                  <a:lnTo>
                    <a:pt x="3243" y="837"/>
                  </a:lnTo>
                  <a:lnTo>
                    <a:pt x="3181" y="817"/>
                  </a:lnTo>
                  <a:lnTo>
                    <a:pt x="3181" y="733"/>
                  </a:lnTo>
                  <a:lnTo>
                    <a:pt x="3160" y="691"/>
                  </a:lnTo>
                  <a:lnTo>
                    <a:pt x="3139" y="565"/>
                  </a:lnTo>
                  <a:lnTo>
                    <a:pt x="3076" y="461"/>
                  </a:lnTo>
                  <a:lnTo>
                    <a:pt x="3076" y="377"/>
                  </a:lnTo>
                  <a:lnTo>
                    <a:pt x="3118" y="314"/>
                  </a:lnTo>
                  <a:lnTo>
                    <a:pt x="3076" y="252"/>
                  </a:lnTo>
                  <a:lnTo>
                    <a:pt x="3034" y="189"/>
                  </a:lnTo>
                  <a:lnTo>
                    <a:pt x="3034" y="105"/>
                  </a:lnTo>
                  <a:lnTo>
                    <a:pt x="3034" y="84"/>
                  </a:lnTo>
                  <a:lnTo>
                    <a:pt x="3034" y="0"/>
                  </a:lnTo>
                  <a:lnTo>
                    <a:pt x="2030" y="0"/>
                  </a:lnTo>
                  <a:lnTo>
                    <a:pt x="1821" y="42"/>
                  </a:lnTo>
                  <a:lnTo>
                    <a:pt x="165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" name="Google Shape;961;p34"/>
            <p:cNvSpPr/>
            <p:nvPr/>
          </p:nvSpPr>
          <p:spPr>
            <a:xfrm>
              <a:off x="3916754" y="3249086"/>
              <a:ext cx="53834" cy="46889"/>
            </a:xfrm>
            <a:custGeom>
              <a:avLst/>
              <a:gdLst/>
              <a:ahLst/>
              <a:cxnLst/>
              <a:rect l="l" t="t" r="r" b="b"/>
              <a:pathLst>
                <a:path w="4521" h="4123" extrusionOk="0">
                  <a:moveTo>
                    <a:pt x="2679" y="1"/>
                  </a:moveTo>
                  <a:lnTo>
                    <a:pt x="2533" y="43"/>
                  </a:lnTo>
                  <a:lnTo>
                    <a:pt x="2470" y="63"/>
                  </a:lnTo>
                  <a:lnTo>
                    <a:pt x="2386" y="105"/>
                  </a:lnTo>
                  <a:lnTo>
                    <a:pt x="2219" y="210"/>
                  </a:lnTo>
                  <a:lnTo>
                    <a:pt x="2177" y="273"/>
                  </a:lnTo>
                  <a:lnTo>
                    <a:pt x="2177" y="335"/>
                  </a:lnTo>
                  <a:lnTo>
                    <a:pt x="2156" y="377"/>
                  </a:lnTo>
                  <a:lnTo>
                    <a:pt x="2177" y="440"/>
                  </a:lnTo>
                  <a:lnTo>
                    <a:pt x="2156" y="482"/>
                  </a:lnTo>
                  <a:lnTo>
                    <a:pt x="2114" y="524"/>
                  </a:lnTo>
                  <a:lnTo>
                    <a:pt x="1905" y="587"/>
                  </a:lnTo>
                  <a:lnTo>
                    <a:pt x="1570" y="838"/>
                  </a:lnTo>
                  <a:lnTo>
                    <a:pt x="1319" y="1152"/>
                  </a:lnTo>
                  <a:lnTo>
                    <a:pt x="1131" y="1403"/>
                  </a:lnTo>
                  <a:lnTo>
                    <a:pt x="963" y="1465"/>
                  </a:lnTo>
                  <a:lnTo>
                    <a:pt x="859" y="1424"/>
                  </a:lnTo>
                  <a:lnTo>
                    <a:pt x="796" y="1361"/>
                  </a:lnTo>
                  <a:lnTo>
                    <a:pt x="754" y="1361"/>
                  </a:lnTo>
                  <a:lnTo>
                    <a:pt x="733" y="1319"/>
                  </a:lnTo>
                  <a:lnTo>
                    <a:pt x="712" y="1361"/>
                  </a:lnTo>
                  <a:lnTo>
                    <a:pt x="650" y="1298"/>
                  </a:lnTo>
                  <a:lnTo>
                    <a:pt x="524" y="1319"/>
                  </a:lnTo>
                  <a:lnTo>
                    <a:pt x="419" y="1403"/>
                  </a:lnTo>
                  <a:lnTo>
                    <a:pt x="378" y="1403"/>
                  </a:lnTo>
                  <a:lnTo>
                    <a:pt x="315" y="1361"/>
                  </a:lnTo>
                  <a:lnTo>
                    <a:pt x="210" y="1298"/>
                  </a:lnTo>
                  <a:lnTo>
                    <a:pt x="64" y="1277"/>
                  </a:lnTo>
                  <a:lnTo>
                    <a:pt x="1" y="1277"/>
                  </a:lnTo>
                  <a:lnTo>
                    <a:pt x="22" y="1319"/>
                  </a:lnTo>
                  <a:lnTo>
                    <a:pt x="22" y="1382"/>
                  </a:lnTo>
                  <a:lnTo>
                    <a:pt x="22" y="1424"/>
                  </a:lnTo>
                  <a:lnTo>
                    <a:pt x="22" y="1486"/>
                  </a:lnTo>
                  <a:lnTo>
                    <a:pt x="106" y="1570"/>
                  </a:lnTo>
                  <a:lnTo>
                    <a:pt x="168" y="1591"/>
                  </a:lnTo>
                  <a:lnTo>
                    <a:pt x="231" y="1633"/>
                  </a:lnTo>
                  <a:lnTo>
                    <a:pt x="294" y="1716"/>
                  </a:lnTo>
                  <a:lnTo>
                    <a:pt x="294" y="1779"/>
                  </a:lnTo>
                  <a:lnTo>
                    <a:pt x="315" y="1800"/>
                  </a:lnTo>
                  <a:lnTo>
                    <a:pt x="378" y="1884"/>
                  </a:lnTo>
                  <a:lnTo>
                    <a:pt x="398" y="1988"/>
                  </a:lnTo>
                  <a:lnTo>
                    <a:pt x="440" y="2030"/>
                  </a:lnTo>
                  <a:lnTo>
                    <a:pt x="503" y="2114"/>
                  </a:lnTo>
                  <a:lnTo>
                    <a:pt x="545" y="2156"/>
                  </a:lnTo>
                  <a:lnTo>
                    <a:pt x="587" y="2156"/>
                  </a:lnTo>
                  <a:lnTo>
                    <a:pt x="629" y="2240"/>
                  </a:lnTo>
                  <a:lnTo>
                    <a:pt x="796" y="2512"/>
                  </a:lnTo>
                  <a:lnTo>
                    <a:pt x="901" y="2574"/>
                  </a:lnTo>
                  <a:lnTo>
                    <a:pt x="1005" y="2637"/>
                  </a:lnTo>
                  <a:lnTo>
                    <a:pt x="1047" y="2679"/>
                  </a:lnTo>
                  <a:lnTo>
                    <a:pt x="1131" y="2742"/>
                  </a:lnTo>
                  <a:lnTo>
                    <a:pt x="1131" y="2763"/>
                  </a:lnTo>
                  <a:lnTo>
                    <a:pt x="1131" y="2825"/>
                  </a:lnTo>
                  <a:lnTo>
                    <a:pt x="1152" y="2867"/>
                  </a:lnTo>
                  <a:lnTo>
                    <a:pt x="1256" y="2888"/>
                  </a:lnTo>
                  <a:lnTo>
                    <a:pt x="1340" y="2972"/>
                  </a:lnTo>
                  <a:lnTo>
                    <a:pt x="1319" y="3056"/>
                  </a:lnTo>
                  <a:lnTo>
                    <a:pt x="1340" y="3181"/>
                  </a:lnTo>
                  <a:lnTo>
                    <a:pt x="1340" y="3265"/>
                  </a:lnTo>
                  <a:lnTo>
                    <a:pt x="1382" y="3369"/>
                  </a:lnTo>
                  <a:lnTo>
                    <a:pt x="1487" y="3453"/>
                  </a:lnTo>
                  <a:lnTo>
                    <a:pt x="1549" y="3558"/>
                  </a:lnTo>
                  <a:lnTo>
                    <a:pt x="1675" y="3579"/>
                  </a:lnTo>
                  <a:lnTo>
                    <a:pt x="1759" y="3558"/>
                  </a:lnTo>
                  <a:lnTo>
                    <a:pt x="1884" y="3600"/>
                  </a:lnTo>
                  <a:lnTo>
                    <a:pt x="1968" y="3600"/>
                  </a:lnTo>
                  <a:lnTo>
                    <a:pt x="2093" y="3683"/>
                  </a:lnTo>
                  <a:lnTo>
                    <a:pt x="2156" y="3683"/>
                  </a:lnTo>
                  <a:lnTo>
                    <a:pt x="2198" y="3725"/>
                  </a:lnTo>
                  <a:lnTo>
                    <a:pt x="2198" y="3788"/>
                  </a:lnTo>
                  <a:lnTo>
                    <a:pt x="2261" y="3830"/>
                  </a:lnTo>
                  <a:lnTo>
                    <a:pt x="2303" y="3893"/>
                  </a:lnTo>
                  <a:lnTo>
                    <a:pt x="2491" y="3872"/>
                  </a:lnTo>
                  <a:lnTo>
                    <a:pt x="2616" y="3893"/>
                  </a:lnTo>
                  <a:lnTo>
                    <a:pt x="2679" y="3976"/>
                  </a:lnTo>
                  <a:lnTo>
                    <a:pt x="2742" y="3976"/>
                  </a:lnTo>
                  <a:lnTo>
                    <a:pt x="2888" y="4018"/>
                  </a:lnTo>
                  <a:lnTo>
                    <a:pt x="2909" y="4039"/>
                  </a:lnTo>
                  <a:lnTo>
                    <a:pt x="3014" y="4018"/>
                  </a:lnTo>
                  <a:lnTo>
                    <a:pt x="3160" y="3997"/>
                  </a:lnTo>
                  <a:lnTo>
                    <a:pt x="3349" y="4039"/>
                  </a:lnTo>
                  <a:lnTo>
                    <a:pt x="3453" y="4123"/>
                  </a:lnTo>
                  <a:lnTo>
                    <a:pt x="4081" y="3474"/>
                  </a:lnTo>
                  <a:lnTo>
                    <a:pt x="4081" y="3286"/>
                  </a:lnTo>
                  <a:lnTo>
                    <a:pt x="4102" y="3202"/>
                  </a:lnTo>
                  <a:lnTo>
                    <a:pt x="4144" y="3056"/>
                  </a:lnTo>
                  <a:lnTo>
                    <a:pt x="4165" y="2972"/>
                  </a:lnTo>
                  <a:lnTo>
                    <a:pt x="4144" y="2867"/>
                  </a:lnTo>
                  <a:lnTo>
                    <a:pt x="4165" y="2784"/>
                  </a:lnTo>
                  <a:lnTo>
                    <a:pt x="4248" y="2784"/>
                  </a:lnTo>
                  <a:lnTo>
                    <a:pt x="4269" y="2742"/>
                  </a:lnTo>
                  <a:lnTo>
                    <a:pt x="4374" y="2637"/>
                  </a:lnTo>
                  <a:lnTo>
                    <a:pt x="4458" y="2532"/>
                  </a:lnTo>
                  <a:lnTo>
                    <a:pt x="4416" y="2449"/>
                  </a:lnTo>
                  <a:lnTo>
                    <a:pt x="4374" y="2407"/>
                  </a:lnTo>
                  <a:lnTo>
                    <a:pt x="4374" y="2302"/>
                  </a:lnTo>
                  <a:lnTo>
                    <a:pt x="4416" y="2240"/>
                  </a:lnTo>
                  <a:lnTo>
                    <a:pt x="4395" y="2135"/>
                  </a:lnTo>
                  <a:lnTo>
                    <a:pt x="4290" y="2051"/>
                  </a:lnTo>
                  <a:lnTo>
                    <a:pt x="4290" y="2009"/>
                  </a:lnTo>
                  <a:lnTo>
                    <a:pt x="4374" y="1988"/>
                  </a:lnTo>
                  <a:lnTo>
                    <a:pt x="4374" y="1842"/>
                  </a:lnTo>
                  <a:lnTo>
                    <a:pt x="4374" y="1737"/>
                  </a:lnTo>
                  <a:lnTo>
                    <a:pt x="4479" y="1696"/>
                  </a:lnTo>
                  <a:lnTo>
                    <a:pt x="4500" y="1612"/>
                  </a:lnTo>
                  <a:lnTo>
                    <a:pt x="4416" y="1612"/>
                  </a:lnTo>
                  <a:lnTo>
                    <a:pt x="4374" y="1570"/>
                  </a:lnTo>
                  <a:lnTo>
                    <a:pt x="4416" y="1465"/>
                  </a:lnTo>
                  <a:lnTo>
                    <a:pt x="4458" y="1298"/>
                  </a:lnTo>
                  <a:lnTo>
                    <a:pt x="4500" y="1214"/>
                  </a:lnTo>
                  <a:lnTo>
                    <a:pt x="4500" y="1152"/>
                  </a:lnTo>
                  <a:lnTo>
                    <a:pt x="4479" y="1068"/>
                  </a:lnTo>
                  <a:lnTo>
                    <a:pt x="4500" y="984"/>
                  </a:lnTo>
                  <a:lnTo>
                    <a:pt x="4479" y="900"/>
                  </a:lnTo>
                  <a:lnTo>
                    <a:pt x="4520" y="796"/>
                  </a:lnTo>
                  <a:lnTo>
                    <a:pt x="4520" y="733"/>
                  </a:lnTo>
                  <a:lnTo>
                    <a:pt x="4395" y="691"/>
                  </a:lnTo>
                  <a:lnTo>
                    <a:pt x="4353" y="628"/>
                  </a:lnTo>
                  <a:lnTo>
                    <a:pt x="4248" y="545"/>
                  </a:lnTo>
                  <a:lnTo>
                    <a:pt x="4060" y="545"/>
                  </a:lnTo>
                  <a:lnTo>
                    <a:pt x="3956" y="524"/>
                  </a:lnTo>
                  <a:lnTo>
                    <a:pt x="3851" y="377"/>
                  </a:lnTo>
                  <a:lnTo>
                    <a:pt x="3683" y="273"/>
                  </a:lnTo>
                  <a:lnTo>
                    <a:pt x="3537" y="252"/>
                  </a:lnTo>
                  <a:lnTo>
                    <a:pt x="3474" y="315"/>
                  </a:lnTo>
                  <a:lnTo>
                    <a:pt x="3432" y="335"/>
                  </a:lnTo>
                  <a:lnTo>
                    <a:pt x="3411" y="252"/>
                  </a:lnTo>
                  <a:lnTo>
                    <a:pt x="3328" y="252"/>
                  </a:lnTo>
                  <a:lnTo>
                    <a:pt x="3119" y="231"/>
                  </a:lnTo>
                  <a:lnTo>
                    <a:pt x="3098" y="43"/>
                  </a:lnTo>
                  <a:lnTo>
                    <a:pt x="3035" y="43"/>
                  </a:lnTo>
                  <a:lnTo>
                    <a:pt x="2909" y="22"/>
                  </a:lnTo>
                  <a:lnTo>
                    <a:pt x="2847" y="43"/>
                  </a:lnTo>
                  <a:lnTo>
                    <a:pt x="28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" name="Google Shape;962;p34"/>
            <p:cNvSpPr/>
            <p:nvPr/>
          </p:nvSpPr>
          <p:spPr>
            <a:xfrm>
              <a:off x="3879638" y="3263609"/>
              <a:ext cx="64539" cy="61639"/>
            </a:xfrm>
            <a:custGeom>
              <a:avLst/>
              <a:gdLst/>
              <a:ahLst/>
              <a:cxnLst/>
              <a:rect l="l" t="t" r="r" b="b"/>
              <a:pathLst>
                <a:path w="5420" h="5420" extrusionOk="0">
                  <a:moveTo>
                    <a:pt x="3118" y="0"/>
                  </a:moveTo>
                  <a:lnTo>
                    <a:pt x="3013" y="21"/>
                  </a:lnTo>
                  <a:lnTo>
                    <a:pt x="2825" y="105"/>
                  </a:lnTo>
                  <a:lnTo>
                    <a:pt x="2762" y="147"/>
                  </a:lnTo>
                  <a:lnTo>
                    <a:pt x="2679" y="126"/>
                  </a:lnTo>
                  <a:lnTo>
                    <a:pt x="2658" y="105"/>
                  </a:lnTo>
                  <a:lnTo>
                    <a:pt x="2511" y="105"/>
                  </a:lnTo>
                  <a:lnTo>
                    <a:pt x="2407" y="230"/>
                  </a:lnTo>
                  <a:lnTo>
                    <a:pt x="2281" y="356"/>
                  </a:lnTo>
                  <a:lnTo>
                    <a:pt x="2093" y="502"/>
                  </a:lnTo>
                  <a:lnTo>
                    <a:pt x="2051" y="502"/>
                  </a:lnTo>
                  <a:lnTo>
                    <a:pt x="2072" y="419"/>
                  </a:lnTo>
                  <a:lnTo>
                    <a:pt x="2093" y="356"/>
                  </a:lnTo>
                  <a:lnTo>
                    <a:pt x="2051" y="335"/>
                  </a:lnTo>
                  <a:lnTo>
                    <a:pt x="2030" y="251"/>
                  </a:lnTo>
                  <a:lnTo>
                    <a:pt x="1988" y="230"/>
                  </a:lnTo>
                  <a:lnTo>
                    <a:pt x="1883" y="230"/>
                  </a:lnTo>
                  <a:lnTo>
                    <a:pt x="1716" y="293"/>
                  </a:lnTo>
                  <a:lnTo>
                    <a:pt x="1151" y="419"/>
                  </a:lnTo>
                  <a:lnTo>
                    <a:pt x="733" y="419"/>
                  </a:lnTo>
                  <a:lnTo>
                    <a:pt x="628" y="2490"/>
                  </a:lnTo>
                  <a:lnTo>
                    <a:pt x="105" y="2490"/>
                  </a:lnTo>
                  <a:lnTo>
                    <a:pt x="0" y="4310"/>
                  </a:lnTo>
                  <a:lnTo>
                    <a:pt x="210" y="4436"/>
                  </a:lnTo>
                  <a:lnTo>
                    <a:pt x="272" y="4624"/>
                  </a:lnTo>
                  <a:lnTo>
                    <a:pt x="419" y="4938"/>
                  </a:lnTo>
                  <a:lnTo>
                    <a:pt x="398" y="5105"/>
                  </a:lnTo>
                  <a:lnTo>
                    <a:pt x="314" y="5273"/>
                  </a:lnTo>
                  <a:lnTo>
                    <a:pt x="314" y="5377"/>
                  </a:lnTo>
                  <a:lnTo>
                    <a:pt x="482" y="5357"/>
                  </a:lnTo>
                  <a:lnTo>
                    <a:pt x="628" y="5419"/>
                  </a:lnTo>
                  <a:lnTo>
                    <a:pt x="712" y="5357"/>
                  </a:lnTo>
                  <a:lnTo>
                    <a:pt x="879" y="5377"/>
                  </a:lnTo>
                  <a:lnTo>
                    <a:pt x="942" y="5294"/>
                  </a:lnTo>
                  <a:lnTo>
                    <a:pt x="1088" y="5273"/>
                  </a:lnTo>
                  <a:lnTo>
                    <a:pt x="1193" y="5210"/>
                  </a:lnTo>
                  <a:lnTo>
                    <a:pt x="1235" y="5126"/>
                  </a:lnTo>
                  <a:lnTo>
                    <a:pt x="1423" y="5043"/>
                  </a:lnTo>
                  <a:lnTo>
                    <a:pt x="1528" y="4938"/>
                  </a:lnTo>
                  <a:lnTo>
                    <a:pt x="1611" y="4708"/>
                  </a:lnTo>
                  <a:lnTo>
                    <a:pt x="1758" y="4582"/>
                  </a:lnTo>
                  <a:lnTo>
                    <a:pt x="1925" y="4540"/>
                  </a:lnTo>
                  <a:lnTo>
                    <a:pt x="2093" y="4603"/>
                  </a:lnTo>
                  <a:lnTo>
                    <a:pt x="2155" y="4645"/>
                  </a:lnTo>
                  <a:lnTo>
                    <a:pt x="2239" y="4687"/>
                  </a:lnTo>
                  <a:lnTo>
                    <a:pt x="2448" y="4771"/>
                  </a:lnTo>
                  <a:lnTo>
                    <a:pt x="2511" y="4771"/>
                  </a:lnTo>
                  <a:lnTo>
                    <a:pt x="2616" y="4812"/>
                  </a:lnTo>
                  <a:lnTo>
                    <a:pt x="2762" y="4771"/>
                  </a:lnTo>
                  <a:lnTo>
                    <a:pt x="2888" y="4771"/>
                  </a:lnTo>
                  <a:lnTo>
                    <a:pt x="2992" y="4750"/>
                  </a:lnTo>
                  <a:lnTo>
                    <a:pt x="3013" y="4812"/>
                  </a:lnTo>
                  <a:lnTo>
                    <a:pt x="3097" y="4854"/>
                  </a:lnTo>
                  <a:lnTo>
                    <a:pt x="3223" y="4750"/>
                  </a:lnTo>
                  <a:lnTo>
                    <a:pt x="3202" y="4729"/>
                  </a:lnTo>
                  <a:lnTo>
                    <a:pt x="3223" y="4624"/>
                  </a:lnTo>
                  <a:lnTo>
                    <a:pt x="3223" y="4540"/>
                  </a:lnTo>
                  <a:lnTo>
                    <a:pt x="3285" y="4499"/>
                  </a:lnTo>
                  <a:lnTo>
                    <a:pt x="3285" y="4331"/>
                  </a:lnTo>
                  <a:lnTo>
                    <a:pt x="3327" y="4227"/>
                  </a:lnTo>
                  <a:lnTo>
                    <a:pt x="3432" y="4206"/>
                  </a:lnTo>
                  <a:lnTo>
                    <a:pt x="3515" y="4164"/>
                  </a:lnTo>
                  <a:lnTo>
                    <a:pt x="3599" y="4164"/>
                  </a:lnTo>
                  <a:lnTo>
                    <a:pt x="3641" y="4101"/>
                  </a:lnTo>
                  <a:lnTo>
                    <a:pt x="3662" y="4080"/>
                  </a:lnTo>
                  <a:lnTo>
                    <a:pt x="3704" y="3996"/>
                  </a:lnTo>
                  <a:lnTo>
                    <a:pt x="3767" y="3955"/>
                  </a:lnTo>
                  <a:lnTo>
                    <a:pt x="3850" y="3913"/>
                  </a:lnTo>
                  <a:lnTo>
                    <a:pt x="3871" y="3871"/>
                  </a:lnTo>
                  <a:lnTo>
                    <a:pt x="3955" y="3850"/>
                  </a:lnTo>
                  <a:lnTo>
                    <a:pt x="3955" y="3766"/>
                  </a:lnTo>
                  <a:lnTo>
                    <a:pt x="3934" y="3704"/>
                  </a:lnTo>
                  <a:lnTo>
                    <a:pt x="3955" y="3578"/>
                  </a:lnTo>
                  <a:lnTo>
                    <a:pt x="4080" y="3369"/>
                  </a:lnTo>
                  <a:lnTo>
                    <a:pt x="4185" y="3327"/>
                  </a:lnTo>
                  <a:lnTo>
                    <a:pt x="4248" y="3327"/>
                  </a:lnTo>
                  <a:lnTo>
                    <a:pt x="4290" y="3264"/>
                  </a:lnTo>
                  <a:lnTo>
                    <a:pt x="4373" y="3243"/>
                  </a:lnTo>
                  <a:lnTo>
                    <a:pt x="4394" y="3180"/>
                  </a:lnTo>
                  <a:lnTo>
                    <a:pt x="4457" y="3139"/>
                  </a:lnTo>
                  <a:lnTo>
                    <a:pt x="4541" y="3076"/>
                  </a:lnTo>
                  <a:lnTo>
                    <a:pt x="4645" y="2971"/>
                  </a:lnTo>
                  <a:lnTo>
                    <a:pt x="4771" y="2950"/>
                  </a:lnTo>
                  <a:lnTo>
                    <a:pt x="4792" y="2971"/>
                  </a:lnTo>
                  <a:lnTo>
                    <a:pt x="4855" y="2950"/>
                  </a:lnTo>
                  <a:lnTo>
                    <a:pt x="4959" y="2950"/>
                  </a:lnTo>
                  <a:lnTo>
                    <a:pt x="5022" y="2867"/>
                  </a:lnTo>
                  <a:lnTo>
                    <a:pt x="5106" y="2867"/>
                  </a:lnTo>
                  <a:lnTo>
                    <a:pt x="5127" y="2762"/>
                  </a:lnTo>
                  <a:lnTo>
                    <a:pt x="5127" y="2720"/>
                  </a:lnTo>
                  <a:lnTo>
                    <a:pt x="5189" y="2657"/>
                  </a:lnTo>
                  <a:lnTo>
                    <a:pt x="5294" y="2657"/>
                  </a:lnTo>
                  <a:lnTo>
                    <a:pt x="5336" y="2616"/>
                  </a:lnTo>
                  <a:lnTo>
                    <a:pt x="5420" y="2616"/>
                  </a:lnTo>
                  <a:lnTo>
                    <a:pt x="5378" y="2553"/>
                  </a:lnTo>
                  <a:lnTo>
                    <a:pt x="5315" y="2511"/>
                  </a:lnTo>
                  <a:lnTo>
                    <a:pt x="5315" y="2448"/>
                  </a:lnTo>
                  <a:lnTo>
                    <a:pt x="5273" y="2406"/>
                  </a:lnTo>
                  <a:lnTo>
                    <a:pt x="5210" y="2406"/>
                  </a:lnTo>
                  <a:lnTo>
                    <a:pt x="5085" y="2323"/>
                  </a:lnTo>
                  <a:lnTo>
                    <a:pt x="5001" y="2323"/>
                  </a:lnTo>
                  <a:lnTo>
                    <a:pt x="4876" y="2281"/>
                  </a:lnTo>
                  <a:lnTo>
                    <a:pt x="4792" y="2302"/>
                  </a:lnTo>
                  <a:lnTo>
                    <a:pt x="4666" y="2281"/>
                  </a:lnTo>
                  <a:lnTo>
                    <a:pt x="4604" y="2176"/>
                  </a:lnTo>
                  <a:lnTo>
                    <a:pt x="4499" y="2092"/>
                  </a:lnTo>
                  <a:lnTo>
                    <a:pt x="4457" y="1988"/>
                  </a:lnTo>
                  <a:lnTo>
                    <a:pt x="4457" y="1904"/>
                  </a:lnTo>
                  <a:lnTo>
                    <a:pt x="4436" y="1779"/>
                  </a:lnTo>
                  <a:lnTo>
                    <a:pt x="4457" y="1695"/>
                  </a:lnTo>
                  <a:lnTo>
                    <a:pt x="4373" y="1611"/>
                  </a:lnTo>
                  <a:lnTo>
                    <a:pt x="4269" y="1590"/>
                  </a:lnTo>
                  <a:lnTo>
                    <a:pt x="4248" y="1548"/>
                  </a:lnTo>
                  <a:lnTo>
                    <a:pt x="4248" y="1486"/>
                  </a:lnTo>
                  <a:lnTo>
                    <a:pt x="4248" y="1465"/>
                  </a:lnTo>
                  <a:lnTo>
                    <a:pt x="4164" y="1402"/>
                  </a:lnTo>
                  <a:lnTo>
                    <a:pt x="4122" y="1360"/>
                  </a:lnTo>
                  <a:lnTo>
                    <a:pt x="4018" y="1297"/>
                  </a:lnTo>
                  <a:lnTo>
                    <a:pt x="3913" y="1235"/>
                  </a:lnTo>
                  <a:lnTo>
                    <a:pt x="3746" y="963"/>
                  </a:lnTo>
                  <a:lnTo>
                    <a:pt x="3704" y="879"/>
                  </a:lnTo>
                  <a:lnTo>
                    <a:pt x="3662" y="879"/>
                  </a:lnTo>
                  <a:lnTo>
                    <a:pt x="3620" y="837"/>
                  </a:lnTo>
                  <a:lnTo>
                    <a:pt x="3557" y="753"/>
                  </a:lnTo>
                  <a:lnTo>
                    <a:pt x="3515" y="711"/>
                  </a:lnTo>
                  <a:lnTo>
                    <a:pt x="3495" y="607"/>
                  </a:lnTo>
                  <a:lnTo>
                    <a:pt x="3432" y="523"/>
                  </a:lnTo>
                  <a:lnTo>
                    <a:pt x="3411" y="502"/>
                  </a:lnTo>
                  <a:lnTo>
                    <a:pt x="3411" y="439"/>
                  </a:lnTo>
                  <a:lnTo>
                    <a:pt x="3348" y="356"/>
                  </a:lnTo>
                  <a:lnTo>
                    <a:pt x="3285" y="314"/>
                  </a:lnTo>
                  <a:lnTo>
                    <a:pt x="3223" y="293"/>
                  </a:lnTo>
                  <a:lnTo>
                    <a:pt x="3139" y="209"/>
                  </a:lnTo>
                  <a:lnTo>
                    <a:pt x="3139" y="147"/>
                  </a:lnTo>
                  <a:lnTo>
                    <a:pt x="3139" y="105"/>
                  </a:lnTo>
                  <a:lnTo>
                    <a:pt x="3139" y="42"/>
                  </a:lnTo>
                  <a:lnTo>
                    <a:pt x="311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3" name="Google Shape;963;p34"/>
            <p:cNvSpPr/>
            <p:nvPr/>
          </p:nvSpPr>
          <p:spPr>
            <a:xfrm>
              <a:off x="3824578" y="3257889"/>
              <a:ext cx="92188" cy="82826"/>
            </a:xfrm>
            <a:custGeom>
              <a:avLst/>
              <a:gdLst/>
              <a:ahLst/>
              <a:cxnLst/>
              <a:rect l="l" t="t" r="r" b="b"/>
              <a:pathLst>
                <a:path w="7742" h="7283" extrusionOk="0">
                  <a:moveTo>
                    <a:pt x="691" y="1"/>
                  </a:moveTo>
                  <a:lnTo>
                    <a:pt x="502" y="126"/>
                  </a:lnTo>
                  <a:lnTo>
                    <a:pt x="502" y="210"/>
                  </a:lnTo>
                  <a:lnTo>
                    <a:pt x="440" y="231"/>
                  </a:lnTo>
                  <a:lnTo>
                    <a:pt x="377" y="189"/>
                  </a:lnTo>
                  <a:lnTo>
                    <a:pt x="189" y="189"/>
                  </a:lnTo>
                  <a:lnTo>
                    <a:pt x="168" y="273"/>
                  </a:lnTo>
                  <a:lnTo>
                    <a:pt x="105" y="294"/>
                  </a:lnTo>
                  <a:lnTo>
                    <a:pt x="84" y="273"/>
                  </a:lnTo>
                  <a:lnTo>
                    <a:pt x="0" y="231"/>
                  </a:lnTo>
                  <a:lnTo>
                    <a:pt x="21" y="733"/>
                  </a:lnTo>
                  <a:lnTo>
                    <a:pt x="377" y="1068"/>
                  </a:lnTo>
                  <a:lnTo>
                    <a:pt x="544" y="1382"/>
                  </a:lnTo>
                  <a:lnTo>
                    <a:pt x="837" y="2051"/>
                  </a:lnTo>
                  <a:lnTo>
                    <a:pt x="858" y="2302"/>
                  </a:lnTo>
                  <a:lnTo>
                    <a:pt x="1151" y="2700"/>
                  </a:lnTo>
                  <a:lnTo>
                    <a:pt x="1151" y="2847"/>
                  </a:lnTo>
                  <a:lnTo>
                    <a:pt x="1465" y="3307"/>
                  </a:lnTo>
                  <a:lnTo>
                    <a:pt x="1465" y="3537"/>
                  </a:lnTo>
                  <a:lnTo>
                    <a:pt x="1381" y="3579"/>
                  </a:lnTo>
                  <a:lnTo>
                    <a:pt x="1465" y="3872"/>
                  </a:lnTo>
                  <a:lnTo>
                    <a:pt x="1486" y="4311"/>
                  </a:lnTo>
                  <a:lnTo>
                    <a:pt x="1674" y="4751"/>
                  </a:lnTo>
                  <a:lnTo>
                    <a:pt x="1653" y="5023"/>
                  </a:lnTo>
                  <a:lnTo>
                    <a:pt x="1695" y="5190"/>
                  </a:lnTo>
                  <a:lnTo>
                    <a:pt x="1632" y="5232"/>
                  </a:lnTo>
                  <a:lnTo>
                    <a:pt x="1674" y="5315"/>
                  </a:lnTo>
                  <a:lnTo>
                    <a:pt x="1737" y="5629"/>
                  </a:lnTo>
                  <a:lnTo>
                    <a:pt x="1800" y="5650"/>
                  </a:lnTo>
                  <a:lnTo>
                    <a:pt x="1862" y="5755"/>
                  </a:lnTo>
                  <a:lnTo>
                    <a:pt x="1800" y="5797"/>
                  </a:lnTo>
                  <a:lnTo>
                    <a:pt x="1800" y="5943"/>
                  </a:lnTo>
                  <a:lnTo>
                    <a:pt x="1883" y="6027"/>
                  </a:lnTo>
                  <a:lnTo>
                    <a:pt x="1904" y="6257"/>
                  </a:lnTo>
                  <a:lnTo>
                    <a:pt x="2009" y="6383"/>
                  </a:lnTo>
                  <a:lnTo>
                    <a:pt x="2155" y="6676"/>
                  </a:lnTo>
                  <a:lnTo>
                    <a:pt x="2281" y="6801"/>
                  </a:lnTo>
                  <a:lnTo>
                    <a:pt x="2302" y="6885"/>
                  </a:lnTo>
                  <a:lnTo>
                    <a:pt x="2511" y="7031"/>
                  </a:lnTo>
                  <a:lnTo>
                    <a:pt x="2595" y="6989"/>
                  </a:lnTo>
                  <a:lnTo>
                    <a:pt x="2720" y="6968"/>
                  </a:lnTo>
                  <a:lnTo>
                    <a:pt x="2720" y="6885"/>
                  </a:lnTo>
                  <a:lnTo>
                    <a:pt x="2678" y="6843"/>
                  </a:lnTo>
                  <a:lnTo>
                    <a:pt x="2720" y="6759"/>
                  </a:lnTo>
                  <a:lnTo>
                    <a:pt x="2888" y="6696"/>
                  </a:lnTo>
                  <a:lnTo>
                    <a:pt x="2930" y="6801"/>
                  </a:lnTo>
                  <a:lnTo>
                    <a:pt x="3055" y="6822"/>
                  </a:lnTo>
                  <a:lnTo>
                    <a:pt x="3013" y="6927"/>
                  </a:lnTo>
                  <a:lnTo>
                    <a:pt x="3097" y="7115"/>
                  </a:lnTo>
                  <a:lnTo>
                    <a:pt x="3264" y="7136"/>
                  </a:lnTo>
                  <a:lnTo>
                    <a:pt x="3411" y="7220"/>
                  </a:lnTo>
                  <a:lnTo>
                    <a:pt x="3515" y="7199"/>
                  </a:lnTo>
                  <a:lnTo>
                    <a:pt x="3557" y="7220"/>
                  </a:lnTo>
                  <a:lnTo>
                    <a:pt x="3662" y="7240"/>
                  </a:lnTo>
                  <a:lnTo>
                    <a:pt x="3725" y="7199"/>
                  </a:lnTo>
                  <a:lnTo>
                    <a:pt x="3787" y="7199"/>
                  </a:lnTo>
                  <a:lnTo>
                    <a:pt x="3850" y="7282"/>
                  </a:lnTo>
                  <a:lnTo>
                    <a:pt x="3976" y="7282"/>
                  </a:lnTo>
                  <a:lnTo>
                    <a:pt x="3997" y="7178"/>
                  </a:lnTo>
                  <a:lnTo>
                    <a:pt x="4038" y="7115"/>
                  </a:lnTo>
                  <a:lnTo>
                    <a:pt x="4101" y="7094"/>
                  </a:lnTo>
                  <a:lnTo>
                    <a:pt x="4164" y="6968"/>
                  </a:lnTo>
                  <a:lnTo>
                    <a:pt x="4310" y="6885"/>
                  </a:lnTo>
                  <a:lnTo>
                    <a:pt x="4499" y="6906"/>
                  </a:lnTo>
                  <a:lnTo>
                    <a:pt x="4562" y="6906"/>
                  </a:lnTo>
                  <a:lnTo>
                    <a:pt x="4624" y="4813"/>
                  </a:lnTo>
                  <a:lnTo>
                    <a:pt x="4729" y="2993"/>
                  </a:lnTo>
                  <a:lnTo>
                    <a:pt x="5252" y="2993"/>
                  </a:lnTo>
                  <a:lnTo>
                    <a:pt x="5357" y="922"/>
                  </a:lnTo>
                  <a:lnTo>
                    <a:pt x="5775" y="922"/>
                  </a:lnTo>
                  <a:lnTo>
                    <a:pt x="6340" y="796"/>
                  </a:lnTo>
                  <a:lnTo>
                    <a:pt x="6507" y="733"/>
                  </a:lnTo>
                  <a:lnTo>
                    <a:pt x="6612" y="733"/>
                  </a:lnTo>
                  <a:lnTo>
                    <a:pt x="6654" y="754"/>
                  </a:lnTo>
                  <a:lnTo>
                    <a:pt x="6675" y="838"/>
                  </a:lnTo>
                  <a:lnTo>
                    <a:pt x="6717" y="859"/>
                  </a:lnTo>
                  <a:lnTo>
                    <a:pt x="6696" y="922"/>
                  </a:lnTo>
                  <a:lnTo>
                    <a:pt x="6675" y="1005"/>
                  </a:lnTo>
                  <a:lnTo>
                    <a:pt x="6717" y="1005"/>
                  </a:lnTo>
                  <a:lnTo>
                    <a:pt x="6905" y="859"/>
                  </a:lnTo>
                  <a:lnTo>
                    <a:pt x="7031" y="733"/>
                  </a:lnTo>
                  <a:lnTo>
                    <a:pt x="7135" y="608"/>
                  </a:lnTo>
                  <a:lnTo>
                    <a:pt x="7282" y="608"/>
                  </a:lnTo>
                  <a:lnTo>
                    <a:pt x="7303" y="629"/>
                  </a:lnTo>
                  <a:lnTo>
                    <a:pt x="7386" y="650"/>
                  </a:lnTo>
                  <a:lnTo>
                    <a:pt x="7449" y="608"/>
                  </a:lnTo>
                  <a:lnTo>
                    <a:pt x="7637" y="524"/>
                  </a:lnTo>
                  <a:lnTo>
                    <a:pt x="7742" y="503"/>
                  </a:lnTo>
                  <a:lnTo>
                    <a:pt x="7658" y="398"/>
                  </a:lnTo>
                  <a:lnTo>
                    <a:pt x="7637" y="398"/>
                  </a:lnTo>
                  <a:lnTo>
                    <a:pt x="7616" y="378"/>
                  </a:lnTo>
                  <a:lnTo>
                    <a:pt x="7533" y="378"/>
                  </a:lnTo>
                  <a:lnTo>
                    <a:pt x="7512" y="336"/>
                  </a:lnTo>
                  <a:lnTo>
                    <a:pt x="7491" y="336"/>
                  </a:lnTo>
                  <a:lnTo>
                    <a:pt x="7449" y="315"/>
                  </a:lnTo>
                  <a:lnTo>
                    <a:pt x="7323" y="378"/>
                  </a:lnTo>
                  <a:lnTo>
                    <a:pt x="7240" y="336"/>
                  </a:lnTo>
                  <a:lnTo>
                    <a:pt x="6696" y="482"/>
                  </a:lnTo>
                  <a:lnTo>
                    <a:pt x="5817" y="691"/>
                  </a:lnTo>
                  <a:lnTo>
                    <a:pt x="5671" y="691"/>
                  </a:lnTo>
                  <a:lnTo>
                    <a:pt x="5650" y="650"/>
                  </a:lnTo>
                  <a:lnTo>
                    <a:pt x="5608" y="650"/>
                  </a:lnTo>
                  <a:lnTo>
                    <a:pt x="5566" y="608"/>
                  </a:lnTo>
                  <a:lnTo>
                    <a:pt x="5524" y="629"/>
                  </a:lnTo>
                  <a:lnTo>
                    <a:pt x="5461" y="608"/>
                  </a:lnTo>
                  <a:lnTo>
                    <a:pt x="5419" y="587"/>
                  </a:lnTo>
                  <a:lnTo>
                    <a:pt x="5336" y="608"/>
                  </a:lnTo>
                  <a:lnTo>
                    <a:pt x="5336" y="650"/>
                  </a:lnTo>
                  <a:lnTo>
                    <a:pt x="5189" y="650"/>
                  </a:lnTo>
                  <a:lnTo>
                    <a:pt x="5085" y="629"/>
                  </a:lnTo>
                  <a:lnTo>
                    <a:pt x="4938" y="503"/>
                  </a:lnTo>
                  <a:lnTo>
                    <a:pt x="4896" y="503"/>
                  </a:lnTo>
                  <a:lnTo>
                    <a:pt x="4875" y="482"/>
                  </a:lnTo>
                  <a:lnTo>
                    <a:pt x="4834" y="545"/>
                  </a:lnTo>
                  <a:lnTo>
                    <a:pt x="4771" y="545"/>
                  </a:lnTo>
                  <a:lnTo>
                    <a:pt x="4624" y="524"/>
                  </a:lnTo>
                  <a:lnTo>
                    <a:pt x="4520" y="545"/>
                  </a:lnTo>
                  <a:lnTo>
                    <a:pt x="4457" y="608"/>
                  </a:lnTo>
                  <a:lnTo>
                    <a:pt x="4373" y="587"/>
                  </a:lnTo>
                  <a:lnTo>
                    <a:pt x="4352" y="524"/>
                  </a:lnTo>
                  <a:lnTo>
                    <a:pt x="4290" y="503"/>
                  </a:lnTo>
                  <a:lnTo>
                    <a:pt x="4185" y="524"/>
                  </a:lnTo>
                  <a:lnTo>
                    <a:pt x="4080" y="503"/>
                  </a:lnTo>
                  <a:lnTo>
                    <a:pt x="3955" y="440"/>
                  </a:lnTo>
                  <a:lnTo>
                    <a:pt x="3892" y="398"/>
                  </a:lnTo>
                  <a:lnTo>
                    <a:pt x="3850" y="294"/>
                  </a:lnTo>
                  <a:lnTo>
                    <a:pt x="3829" y="273"/>
                  </a:lnTo>
                  <a:lnTo>
                    <a:pt x="1653" y="273"/>
                  </a:lnTo>
                  <a:lnTo>
                    <a:pt x="1632" y="231"/>
                  </a:lnTo>
                  <a:lnTo>
                    <a:pt x="1569" y="231"/>
                  </a:lnTo>
                  <a:lnTo>
                    <a:pt x="1486" y="294"/>
                  </a:lnTo>
                  <a:lnTo>
                    <a:pt x="1465" y="294"/>
                  </a:lnTo>
                  <a:lnTo>
                    <a:pt x="1360" y="336"/>
                  </a:lnTo>
                  <a:lnTo>
                    <a:pt x="1235" y="294"/>
                  </a:lnTo>
                  <a:lnTo>
                    <a:pt x="1130" y="189"/>
                  </a:lnTo>
                  <a:lnTo>
                    <a:pt x="1067" y="168"/>
                  </a:lnTo>
                  <a:lnTo>
                    <a:pt x="1109" y="106"/>
                  </a:lnTo>
                  <a:lnTo>
                    <a:pt x="1025" y="85"/>
                  </a:lnTo>
                  <a:lnTo>
                    <a:pt x="1025" y="64"/>
                  </a:lnTo>
                  <a:lnTo>
                    <a:pt x="942" y="1"/>
                  </a:lnTo>
                  <a:lnTo>
                    <a:pt x="900" y="22"/>
                  </a:lnTo>
                  <a:lnTo>
                    <a:pt x="858" y="64"/>
                  </a:lnTo>
                  <a:lnTo>
                    <a:pt x="837" y="64"/>
                  </a:lnTo>
                  <a:lnTo>
                    <a:pt x="73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64" name="Google Shape;964;p34"/>
            <p:cNvSpPr/>
            <p:nvPr/>
          </p:nvSpPr>
          <p:spPr>
            <a:xfrm>
              <a:off x="3953131" y="3215060"/>
              <a:ext cx="71767" cy="110427"/>
            </a:xfrm>
            <a:custGeom>
              <a:avLst/>
              <a:gdLst/>
              <a:ahLst/>
              <a:cxnLst/>
              <a:rect l="l" t="t" r="r" b="b"/>
              <a:pathLst>
                <a:path w="6027" h="9710" extrusionOk="0">
                  <a:moveTo>
                    <a:pt x="6006" y="1"/>
                  </a:moveTo>
                  <a:lnTo>
                    <a:pt x="5964" y="22"/>
                  </a:lnTo>
                  <a:lnTo>
                    <a:pt x="5922" y="84"/>
                  </a:lnTo>
                  <a:lnTo>
                    <a:pt x="5818" y="63"/>
                  </a:lnTo>
                  <a:lnTo>
                    <a:pt x="5734" y="126"/>
                  </a:lnTo>
                  <a:lnTo>
                    <a:pt x="5650" y="210"/>
                  </a:lnTo>
                  <a:lnTo>
                    <a:pt x="5525" y="231"/>
                  </a:lnTo>
                  <a:lnTo>
                    <a:pt x="5441" y="314"/>
                  </a:lnTo>
                  <a:lnTo>
                    <a:pt x="5315" y="314"/>
                  </a:lnTo>
                  <a:lnTo>
                    <a:pt x="5294" y="377"/>
                  </a:lnTo>
                  <a:lnTo>
                    <a:pt x="5190" y="398"/>
                  </a:lnTo>
                  <a:lnTo>
                    <a:pt x="5106" y="377"/>
                  </a:lnTo>
                  <a:lnTo>
                    <a:pt x="4897" y="440"/>
                  </a:lnTo>
                  <a:lnTo>
                    <a:pt x="4855" y="482"/>
                  </a:lnTo>
                  <a:lnTo>
                    <a:pt x="4750" y="503"/>
                  </a:lnTo>
                  <a:lnTo>
                    <a:pt x="4667" y="440"/>
                  </a:lnTo>
                  <a:lnTo>
                    <a:pt x="4583" y="440"/>
                  </a:lnTo>
                  <a:lnTo>
                    <a:pt x="4478" y="419"/>
                  </a:lnTo>
                  <a:lnTo>
                    <a:pt x="4437" y="482"/>
                  </a:lnTo>
                  <a:lnTo>
                    <a:pt x="4458" y="524"/>
                  </a:lnTo>
                  <a:lnTo>
                    <a:pt x="4437" y="607"/>
                  </a:lnTo>
                  <a:lnTo>
                    <a:pt x="4269" y="628"/>
                  </a:lnTo>
                  <a:lnTo>
                    <a:pt x="4144" y="691"/>
                  </a:lnTo>
                  <a:lnTo>
                    <a:pt x="4060" y="628"/>
                  </a:lnTo>
                  <a:lnTo>
                    <a:pt x="3976" y="628"/>
                  </a:lnTo>
                  <a:lnTo>
                    <a:pt x="3976" y="587"/>
                  </a:lnTo>
                  <a:lnTo>
                    <a:pt x="3934" y="545"/>
                  </a:lnTo>
                  <a:lnTo>
                    <a:pt x="3872" y="607"/>
                  </a:lnTo>
                  <a:lnTo>
                    <a:pt x="3809" y="607"/>
                  </a:lnTo>
                  <a:lnTo>
                    <a:pt x="3704" y="712"/>
                  </a:lnTo>
                  <a:lnTo>
                    <a:pt x="3516" y="733"/>
                  </a:lnTo>
                  <a:lnTo>
                    <a:pt x="3537" y="712"/>
                  </a:lnTo>
                  <a:lnTo>
                    <a:pt x="3495" y="628"/>
                  </a:lnTo>
                  <a:lnTo>
                    <a:pt x="3411" y="628"/>
                  </a:lnTo>
                  <a:lnTo>
                    <a:pt x="3328" y="587"/>
                  </a:lnTo>
                  <a:lnTo>
                    <a:pt x="3244" y="545"/>
                  </a:lnTo>
                  <a:lnTo>
                    <a:pt x="3244" y="503"/>
                  </a:lnTo>
                  <a:lnTo>
                    <a:pt x="3181" y="524"/>
                  </a:lnTo>
                  <a:lnTo>
                    <a:pt x="3139" y="545"/>
                  </a:lnTo>
                  <a:lnTo>
                    <a:pt x="3035" y="587"/>
                  </a:lnTo>
                  <a:lnTo>
                    <a:pt x="2491" y="607"/>
                  </a:lnTo>
                  <a:lnTo>
                    <a:pt x="2365" y="1110"/>
                  </a:lnTo>
                  <a:lnTo>
                    <a:pt x="2449" y="1654"/>
                  </a:lnTo>
                  <a:lnTo>
                    <a:pt x="2616" y="1737"/>
                  </a:lnTo>
                  <a:lnTo>
                    <a:pt x="2721" y="1800"/>
                  </a:lnTo>
                  <a:lnTo>
                    <a:pt x="2763" y="1863"/>
                  </a:lnTo>
                  <a:lnTo>
                    <a:pt x="2805" y="1884"/>
                  </a:lnTo>
                  <a:lnTo>
                    <a:pt x="3014" y="2072"/>
                  </a:lnTo>
                  <a:lnTo>
                    <a:pt x="3035" y="2177"/>
                  </a:lnTo>
                  <a:lnTo>
                    <a:pt x="3181" y="2365"/>
                  </a:lnTo>
                  <a:lnTo>
                    <a:pt x="3223" y="2491"/>
                  </a:lnTo>
                  <a:lnTo>
                    <a:pt x="3286" y="2574"/>
                  </a:lnTo>
                  <a:lnTo>
                    <a:pt x="3286" y="2637"/>
                  </a:lnTo>
                  <a:lnTo>
                    <a:pt x="3202" y="2637"/>
                  </a:lnTo>
                  <a:lnTo>
                    <a:pt x="3181" y="2721"/>
                  </a:lnTo>
                  <a:lnTo>
                    <a:pt x="3118" y="2721"/>
                  </a:lnTo>
                  <a:lnTo>
                    <a:pt x="3097" y="2783"/>
                  </a:lnTo>
                  <a:lnTo>
                    <a:pt x="3118" y="2804"/>
                  </a:lnTo>
                  <a:lnTo>
                    <a:pt x="3097" y="2846"/>
                  </a:lnTo>
                  <a:lnTo>
                    <a:pt x="3181" y="2930"/>
                  </a:lnTo>
                  <a:lnTo>
                    <a:pt x="3139" y="3139"/>
                  </a:lnTo>
                  <a:lnTo>
                    <a:pt x="3118" y="3244"/>
                  </a:lnTo>
                  <a:lnTo>
                    <a:pt x="3035" y="3307"/>
                  </a:lnTo>
                  <a:lnTo>
                    <a:pt x="2930" y="3327"/>
                  </a:lnTo>
                  <a:lnTo>
                    <a:pt x="2867" y="3474"/>
                  </a:lnTo>
                  <a:lnTo>
                    <a:pt x="2867" y="3579"/>
                  </a:lnTo>
                  <a:lnTo>
                    <a:pt x="2805" y="3683"/>
                  </a:lnTo>
                  <a:lnTo>
                    <a:pt x="2825" y="3830"/>
                  </a:lnTo>
                  <a:lnTo>
                    <a:pt x="2805" y="3955"/>
                  </a:lnTo>
                  <a:lnTo>
                    <a:pt x="2700" y="3976"/>
                  </a:lnTo>
                  <a:lnTo>
                    <a:pt x="2679" y="3872"/>
                  </a:lnTo>
                  <a:lnTo>
                    <a:pt x="2700" y="3830"/>
                  </a:lnTo>
                  <a:lnTo>
                    <a:pt x="2616" y="3725"/>
                  </a:lnTo>
                  <a:lnTo>
                    <a:pt x="2574" y="3662"/>
                  </a:lnTo>
                  <a:lnTo>
                    <a:pt x="2491" y="3620"/>
                  </a:lnTo>
                  <a:lnTo>
                    <a:pt x="2386" y="3537"/>
                  </a:lnTo>
                  <a:lnTo>
                    <a:pt x="2281" y="3411"/>
                  </a:lnTo>
                  <a:lnTo>
                    <a:pt x="2281" y="3327"/>
                  </a:lnTo>
                  <a:lnTo>
                    <a:pt x="2240" y="3202"/>
                  </a:lnTo>
                  <a:lnTo>
                    <a:pt x="2240" y="3097"/>
                  </a:lnTo>
                  <a:lnTo>
                    <a:pt x="2281" y="2993"/>
                  </a:lnTo>
                  <a:lnTo>
                    <a:pt x="2344" y="2846"/>
                  </a:lnTo>
                  <a:lnTo>
                    <a:pt x="2449" y="2721"/>
                  </a:lnTo>
                  <a:lnTo>
                    <a:pt x="2470" y="2595"/>
                  </a:lnTo>
                  <a:lnTo>
                    <a:pt x="2470" y="2428"/>
                  </a:lnTo>
                  <a:lnTo>
                    <a:pt x="2407" y="2323"/>
                  </a:lnTo>
                  <a:lnTo>
                    <a:pt x="2261" y="2302"/>
                  </a:lnTo>
                  <a:lnTo>
                    <a:pt x="2135" y="2302"/>
                  </a:lnTo>
                  <a:lnTo>
                    <a:pt x="2072" y="2365"/>
                  </a:lnTo>
                  <a:lnTo>
                    <a:pt x="2030" y="2365"/>
                  </a:lnTo>
                  <a:lnTo>
                    <a:pt x="1968" y="2386"/>
                  </a:lnTo>
                  <a:lnTo>
                    <a:pt x="1863" y="2323"/>
                  </a:lnTo>
                  <a:lnTo>
                    <a:pt x="1863" y="2260"/>
                  </a:lnTo>
                  <a:lnTo>
                    <a:pt x="1821" y="2198"/>
                  </a:lnTo>
                  <a:lnTo>
                    <a:pt x="1779" y="2156"/>
                  </a:lnTo>
                  <a:lnTo>
                    <a:pt x="1758" y="2093"/>
                  </a:lnTo>
                  <a:lnTo>
                    <a:pt x="1612" y="2114"/>
                  </a:lnTo>
                  <a:lnTo>
                    <a:pt x="1424" y="2177"/>
                  </a:lnTo>
                  <a:lnTo>
                    <a:pt x="1089" y="2302"/>
                  </a:lnTo>
                  <a:lnTo>
                    <a:pt x="984" y="2323"/>
                  </a:lnTo>
                  <a:lnTo>
                    <a:pt x="398" y="2595"/>
                  </a:lnTo>
                  <a:lnTo>
                    <a:pt x="273" y="2595"/>
                  </a:lnTo>
                  <a:lnTo>
                    <a:pt x="43" y="2700"/>
                  </a:lnTo>
                  <a:lnTo>
                    <a:pt x="1" y="2783"/>
                  </a:lnTo>
                  <a:lnTo>
                    <a:pt x="43" y="2951"/>
                  </a:lnTo>
                  <a:lnTo>
                    <a:pt x="43" y="3035"/>
                  </a:lnTo>
                  <a:lnTo>
                    <a:pt x="64" y="3223"/>
                  </a:lnTo>
                  <a:lnTo>
                    <a:pt x="273" y="3244"/>
                  </a:lnTo>
                  <a:lnTo>
                    <a:pt x="356" y="3244"/>
                  </a:lnTo>
                  <a:lnTo>
                    <a:pt x="377" y="3327"/>
                  </a:lnTo>
                  <a:lnTo>
                    <a:pt x="419" y="3307"/>
                  </a:lnTo>
                  <a:lnTo>
                    <a:pt x="482" y="3244"/>
                  </a:lnTo>
                  <a:lnTo>
                    <a:pt x="628" y="3265"/>
                  </a:lnTo>
                  <a:lnTo>
                    <a:pt x="796" y="3369"/>
                  </a:lnTo>
                  <a:lnTo>
                    <a:pt x="901" y="3516"/>
                  </a:lnTo>
                  <a:lnTo>
                    <a:pt x="1005" y="3537"/>
                  </a:lnTo>
                  <a:lnTo>
                    <a:pt x="1193" y="3537"/>
                  </a:lnTo>
                  <a:lnTo>
                    <a:pt x="1298" y="3620"/>
                  </a:lnTo>
                  <a:lnTo>
                    <a:pt x="1340" y="3683"/>
                  </a:lnTo>
                  <a:lnTo>
                    <a:pt x="1465" y="3725"/>
                  </a:lnTo>
                  <a:lnTo>
                    <a:pt x="1465" y="3788"/>
                  </a:lnTo>
                  <a:lnTo>
                    <a:pt x="1424" y="3892"/>
                  </a:lnTo>
                  <a:lnTo>
                    <a:pt x="1445" y="3976"/>
                  </a:lnTo>
                  <a:lnTo>
                    <a:pt x="1424" y="4060"/>
                  </a:lnTo>
                  <a:lnTo>
                    <a:pt x="1445" y="4144"/>
                  </a:lnTo>
                  <a:lnTo>
                    <a:pt x="1445" y="4206"/>
                  </a:lnTo>
                  <a:lnTo>
                    <a:pt x="1403" y="4290"/>
                  </a:lnTo>
                  <a:lnTo>
                    <a:pt x="1361" y="4457"/>
                  </a:lnTo>
                  <a:lnTo>
                    <a:pt x="1319" y="4562"/>
                  </a:lnTo>
                  <a:lnTo>
                    <a:pt x="1361" y="4604"/>
                  </a:lnTo>
                  <a:lnTo>
                    <a:pt x="1445" y="4604"/>
                  </a:lnTo>
                  <a:lnTo>
                    <a:pt x="1424" y="4688"/>
                  </a:lnTo>
                  <a:lnTo>
                    <a:pt x="1319" y="4729"/>
                  </a:lnTo>
                  <a:lnTo>
                    <a:pt x="1319" y="4834"/>
                  </a:lnTo>
                  <a:lnTo>
                    <a:pt x="1319" y="4980"/>
                  </a:lnTo>
                  <a:lnTo>
                    <a:pt x="1235" y="5001"/>
                  </a:lnTo>
                  <a:lnTo>
                    <a:pt x="1235" y="5043"/>
                  </a:lnTo>
                  <a:lnTo>
                    <a:pt x="1340" y="5127"/>
                  </a:lnTo>
                  <a:lnTo>
                    <a:pt x="1361" y="5232"/>
                  </a:lnTo>
                  <a:lnTo>
                    <a:pt x="1319" y="5294"/>
                  </a:lnTo>
                  <a:lnTo>
                    <a:pt x="1319" y="5399"/>
                  </a:lnTo>
                  <a:lnTo>
                    <a:pt x="1361" y="5441"/>
                  </a:lnTo>
                  <a:lnTo>
                    <a:pt x="1403" y="5524"/>
                  </a:lnTo>
                  <a:lnTo>
                    <a:pt x="1319" y="5629"/>
                  </a:lnTo>
                  <a:lnTo>
                    <a:pt x="1214" y="5734"/>
                  </a:lnTo>
                  <a:lnTo>
                    <a:pt x="1193" y="5776"/>
                  </a:lnTo>
                  <a:lnTo>
                    <a:pt x="1110" y="5776"/>
                  </a:lnTo>
                  <a:lnTo>
                    <a:pt x="1089" y="5859"/>
                  </a:lnTo>
                  <a:lnTo>
                    <a:pt x="1110" y="5964"/>
                  </a:lnTo>
                  <a:lnTo>
                    <a:pt x="1089" y="6048"/>
                  </a:lnTo>
                  <a:lnTo>
                    <a:pt x="1047" y="6194"/>
                  </a:lnTo>
                  <a:lnTo>
                    <a:pt x="1026" y="6278"/>
                  </a:lnTo>
                  <a:lnTo>
                    <a:pt x="1026" y="6466"/>
                  </a:lnTo>
                  <a:lnTo>
                    <a:pt x="398" y="7115"/>
                  </a:lnTo>
                  <a:lnTo>
                    <a:pt x="461" y="7282"/>
                  </a:lnTo>
                  <a:lnTo>
                    <a:pt x="482" y="7429"/>
                  </a:lnTo>
                  <a:lnTo>
                    <a:pt x="566" y="7554"/>
                  </a:lnTo>
                  <a:lnTo>
                    <a:pt x="566" y="7847"/>
                  </a:lnTo>
                  <a:lnTo>
                    <a:pt x="524" y="7868"/>
                  </a:lnTo>
                  <a:lnTo>
                    <a:pt x="524" y="7973"/>
                  </a:lnTo>
                  <a:lnTo>
                    <a:pt x="587" y="8077"/>
                  </a:lnTo>
                  <a:lnTo>
                    <a:pt x="608" y="8224"/>
                  </a:lnTo>
                  <a:lnTo>
                    <a:pt x="608" y="8684"/>
                  </a:lnTo>
                  <a:lnTo>
                    <a:pt x="566" y="8851"/>
                  </a:lnTo>
                  <a:lnTo>
                    <a:pt x="566" y="9019"/>
                  </a:lnTo>
                  <a:lnTo>
                    <a:pt x="566" y="9207"/>
                  </a:lnTo>
                  <a:lnTo>
                    <a:pt x="566" y="9228"/>
                  </a:lnTo>
                  <a:lnTo>
                    <a:pt x="628" y="9270"/>
                  </a:lnTo>
                  <a:lnTo>
                    <a:pt x="691" y="9333"/>
                  </a:lnTo>
                  <a:lnTo>
                    <a:pt x="733" y="9395"/>
                  </a:lnTo>
                  <a:lnTo>
                    <a:pt x="712" y="9437"/>
                  </a:lnTo>
                  <a:lnTo>
                    <a:pt x="712" y="9521"/>
                  </a:lnTo>
                  <a:lnTo>
                    <a:pt x="691" y="9626"/>
                  </a:lnTo>
                  <a:lnTo>
                    <a:pt x="691" y="9646"/>
                  </a:lnTo>
                  <a:lnTo>
                    <a:pt x="733" y="9646"/>
                  </a:lnTo>
                  <a:lnTo>
                    <a:pt x="942" y="9709"/>
                  </a:lnTo>
                  <a:lnTo>
                    <a:pt x="1047" y="9709"/>
                  </a:lnTo>
                  <a:lnTo>
                    <a:pt x="1089" y="9605"/>
                  </a:lnTo>
                  <a:lnTo>
                    <a:pt x="1131" y="9500"/>
                  </a:lnTo>
                  <a:lnTo>
                    <a:pt x="1152" y="9333"/>
                  </a:lnTo>
                  <a:lnTo>
                    <a:pt x="1131" y="9291"/>
                  </a:lnTo>
                  <a:lnTo>
                    <a:pt x="1110" y="9291"/>
                  </a:lnTo>
                  <a:lnTo>
                    <a:pt x="1089" y="9395"/>
                  </a:lnTo>
                  <a:lnTo>
                    <a:pt x="1005" y="9374"/>
                  </a:lnTo>
                  <a:lnTo>
                    <a:pt x="942" y="9437"/>
                  </a:lnTo>
                  <a:lnTo>
                    <a:pt x="942" y="9333"/>
                  </a:lnTo>
                  <a:lnTo>
                    <a:pt x="901" y="9228"/>
                  </a:lnTo>
                  <a:lnTo>
                    <a:pt x="880" y="9207"/>
                  </a:lnTo>
                  <a:lnTo>
                    <a:pt x="921" y="9165"/>
                  </a:lnTo>
                  <a:lnTo>
                    <a:pt x="984" y="9165"/>
                  </a:lnTo>
                  <a:lnTo>
                    <a:pt x="1026" y="9019"/>
                  </a:lnTo>
                  <a:lnTo>
                    <a:pt x="1110" y="8977"/>
                  </a:lnTo>
                  <a:lnTo>
                    <a:pt x="1131" y="8893"/>
                  </a:lnTo>
                  <a:lnTo>
                    <a:pt x="1298" y="8872"/>
                  </a:lnTo>
                  <a:lnTo>
                    <a:pt x="1465" y="8663"/>
                  </a:lnTo>
                  <a:lnTo>
                    <a:pt x="1989" y="8579"/>
                  </a:lnTo>
                  <a:lnTo>
                    <a:pt x="2365" y="8391"/>
                  </a:lnTo>
                  <a:lnTo>
                    <a:pt x="2574" y="8182"/>
                  </a:lnTo>
                  <a:lnTo>
                    <a:pt x="2616" y="8035"/>
                  </a:lnTo>
                  <a:lnTo>
                    <a:pt x="2679" y="7931"/>
                  </a:lnTo>
                  <a:lnTo>
                    <a:pt x="2679" y="7847"/>
                  </a:lnTo>
                  <a:lnTo>
                    <a:pt x="2574" y="7910"/>
                  </a:lnTo>
                  <a:lnTo>
                    <a:pt x="2553" y="7805"/>
                  </a:lnTo>
                  <a:lnTo>
                    <a:pt x="2595" y="7805"/>
                  </a:lnTo>
                  <a:lnTo>
                    <a:pt x="2595" y="7701"/>
                  </a:lnTo>
                  <a:lnTo>
                    <a:pt x="2658" y="7617"/>
                  </a:lnTo>
                  <a:lnTo>
                    <a:pt x="2658" y="7533"/>
                  </a:lnTo>
                  <a:lnTo>
                    <a:pt x="2721" y="7345"/>
                  </a:lnTo>
                  <a:lnTo>
                    <a:pt x="2700" y="7324"/>
                  </a:lnTo>
                  <a:lnTo>
                    <a:pt x="2700" y="7177"/>
                  </a:lnTo>
                  <a:lnTo>
                    <a:pt x="2763" y="7115"/>
                  </a:lnTo>
                  <a:lnTo>
                    <a:pt x="2763" y="6968"/>
                  </a:lnTo>
                  <a:lnTo>
                    <a:pt x="2721" y="6968"/>
                  </a:lnTo>
                  <a:lnTo>
                    <a:pt x="2721" y="6822"/>
                  </a:lnTo>
                  <a:lnTo>
                    <a:pt x="2658" y="6968"/>
                  </a:lnTo>
                  <a:lnTo>
                    <a:pt x="2658" y="7073"/>
                  </a:lnTo>
                  <a:lnTo>
                    <a:pt x="2595" y="7094"/>
                  </a:lnTo>
                  <a:lnTo>
                    <a:pt x="2574" y="6968"/>
                  </a:lnTo>
                  <a:lnTo>
                    <a:pt x="2595" y="6592"/>
                  </a:lnTo>
                  <a:lnTo>
                    <a:pt x="2553" y="6466"/>
                  </a:lnTo>
                  <a:lnTo>
                    <a:pt x="2553" y="6340"/>
                  </a:lnTo>
                  <a:lnTo>
                    <a:pt x="2470" y="6236"/>
                  </a:lnTo>
                  <a:lnTo>
                    <a:pt x="2407" y="6194"/>
                  </a:lnTo>
                  <a:lnTo>
                    <a:pt x="2491" y="6152"/>
                  </a:lnTo>
                  <a:lnTo>
                    <a:pt x="2491" y="6068"/>
                  </a:lnTo>
                  <a:lnTo>
                    <a:pt x="2302" y="5838"/>
                  </a:lnTo>
                  <a:lnTo>
                    <a:pt x="2386" y="5755"/>
                  </a:lnTo>
                  <a:lnTo>
                    <a:pt x="2365" y="5650"/>
                  </a:lnTo>
                  <a:lnTo>
                    <a:pt x="2407" y="5608"/>
                  </a:lnTo>
                  <a:lnTo>
                    <a:pt x="2407" y="5524"/>
                  </a:lnTo>
                  <a:lnTo>
                    <a:pt x="2365" y="5441"/>
                  </a:lnTo>
                  <a:lnTo>
                    <a:pt x="2365" y="5399"/>
                  </a:lnTo>
                  <a:lnTo>
                    <a:pt x="2407" y="5399"/>
                  </a:lnTo>
                  <a:lnTo>
                    <a:pt x="2512" y="5462"/>
                  </a:lnTo>
                  <a:lnTo>
                    <a:pt x="2574" y="5399"/>
                  </a:lnTo>
                  <a:lnTo>
                    <a:pt x="2721" y="5399"/>
                  </a:lnTo>
                  <a:lnTo>
                    <a:pt x="2825" y="5315"/>
                  </a:lnTo>
                  <a:lnTo>
                    <a:pt x="2805" y="5190"/>
                  </a:lnTo>
                  <a:lnTo>
                    <a:pt x="3118" y="4980"/>
                  </a:lnTo>
                  <a:lnTo>
                    <a:pt x="3244" y="4980"/>
                  </a:lnTo>
                  <a:lnTo>
                    <a:pt x="3244" y="4897"/>
                  </a:lnTo>
                  <a:lnTo>
                    <a:pt x="3307" y="4876"/>
                  </a:lnTo>
                  <a:lnTo>
                    <a:pt x="3349" y="4813"/>
                  </a:lnTo>
                  <a:lnTo>
                    <a:pt x="3349" y="4771"/>
                  </a:lnTo>
                  <a:lnTo>
                    <a:pt x="3600" y="4625"/>
                  </a:lnTo>
                  <a:lnTo>
                    <a:pt x="3621" y="4562"/>
                  </a:lnTo>
                  <a:lnTo>
                    <a:pt x="3662" y="4520"/>
                  </a:lnTo>
                  <a:lnTo>
                    <a:pt x="3704" y="4374"/>
                  </a:lnTo>
                  <a:lnTo>
                    <a:pt x="3746" y="4478"/>
                  </a:lnTo>
                  <a:lnTo>
                    <a:pt x="3830" y="4416"/>
                  </a:lnTo>
                  <a:lnTo>
                    <a:pt x="3955" y="4269"/>
                  </a:lnTo>
                  <a:lnTo>
                    <a:pt x="3955" y="4185"/>
                  </a:lnTo>
                  <a:lnTo>
                    <a:pt x="4018" y="4248"/>
                  </a:lnTo>
                  <a:lnTo>
                    <a:pt x="4248" y="4081"/>
                  </a:lnTo>
                  <a:lnTo>
                    <a:pt x="4437" y="3997"/>
                  </a:lnTo>
                  <a:lnTo>
                    <a:pt x="4437" y="3976"/>
                  </a:lnTo>
                  <a:lnTo>
                    <a:pt x="4562" y="3976"/>
                  </a:lnTo>
                  <a:lnTo>
                    <a:pt x="4918" y="3788"/>
                  </a:lnTo>
                  <a:lnTo>
                    <a:pt x="4960" y="3725"/>
                  </a:lnTo>
                  <a:lnTo>
                    <a:pt x="5022" y="3683"/>
                  </a:lnTo>
                  <a:lnTo>
                    <a:pt x="5399" y="3474"/>
                  </a:lnTo>
                  <a:lnTo>
                    <a:pt x="5399" y="3369"/>
                  </a:lnTo>
                  <a:lnTo>
                    <a:pt x="5504" y="3369"/>
                  </a:lnTo>
                  <a:lnTo>
                    <a:pt x="5608" y="3223"/>
                  </a:lnTo>
                  <a:lnTo>
                    <a:pt x="5608" y="3139"/>
                  </a:lnTo>
                  <a:lnTo>
                    <a:pt x="5734" y="2993"/>
                  </a:lnTo>
                  <a:lnTo>
                    <a:pt x="5818" y="2951"/>
                  </a:lnTo>
                  <a:lnTo>
                    <a:pt x="5818" y="2846"/>
                  </a:lnTo>
                  <a:lnTo>
                    <a:pt x="5859" y="2783"/>
                  </a:lnTo>
                  <a:lnTo>
                    <a:pt x="5797" y="2783"/>
                  </a:lnTo>
                  <a:lnTo>
                    <a:pt x="5755" y="2804"/>
                  </a:lnTo>
                  <a:lnTo>
                    <a:pt x="5734" y="2742"/>
                  </a:lnTo>
                  <a:lnTo>
                    <a:pt x="5838" y="2679"/>
                  </a:lnTo>
                  <a:lnTo>
                    <a:pt x="5901" y="2679"/>
                  </a:lnTo>
                  <a:lnTo>
                    <a:pt x="5922" y="2616"/>
                  </a:lnTo>
                  <a:lnTo>
                    <a:pt x="5901" y="2574"/>
                  </a:lnTo>
                  <a:lnTo>
                    <a:pt x="5943" y="2532"/>
                  </a:lnTo>
                  <a:lnTo>
                    <a:pt x="6006" y="2470"/>
                  </a:lnTo>
                  <a:lnTo>
                    <a:pt x="5964" y="2219"/>
                  </a:lnTo>
                  <a:lnTo>
                    <a:pt x="5943" y="2198"/>
                  </a:lnTo>
                  <a:lnTo>
                    <a:pt x="5838" y="2198"/>
                  </a:lnTo>
                  <a:lnTo>
                    <a:pt x="5797" y="2177"/>
                  </a:lnTo>
                  <a:lnTo>
                    <a:pt x="5818" y="2114"/>
                  </a:lnTo>
                  <a:lnTo>
                    <a:pt x="5901" y="2114"/>
                  </a:lnTo>
                  <a:lnTo>
                    <a:pt x="5901" y="1863"/>
                  </a:lnTo>
                  <a:lnTo>
                    <a:pt x="5859" y="1800"/>
                  </a:lnTo>
                  <a:lnTo>
                    <a:pt x="5901" y="1800"/>
                  </a:lnTo>
                  <a:lnTo>
                    <a:pt x="5922" y="1528"/>
                  </a:lnTo>
                  <a:lnTo>
                    <a:pt x="5901" y="1361"/>
                  </a:lnTo>
                  <a:lnTo>
                    <a:pt x="5964" y="1319"/>
                  </a:lnTo>
                  <a:lnTo>
                    <a:pt x="5943" y="1151"/>
                  </a:lnTo>
                  <a:lnTo>
                    <a:pt x="5922" y="1131"/>
                  </a:lnTo>
                  <a:lnTo>
                    <a:pt x="5922" y="963"/>
                  </a:lnTo>
                  <a:lnTo>
                    <a:pt x="5964" y="942"/>
                  </a:lnTo>
                  <a:lnTo>
                    <a:pt x="5901" y="817"/>
                  </a:lnTo>
                  <a:lnTo>
                    <a:pt x="5859" y="628"/>
                  </a:lnTo>
                  <a:lnTo>
                    <a:pt x="5922" y="587"/>
                  </a:lnTo>
                  <a:lnTo>
                    <a:pt x="5901" y="545"/>
                  </a:lnTo>
                  <a:lnTo>
                    <a:pt x="5901" y="503"/>
                  </a:lnTo>
                  <a:lnTo>
                    <a:pt x="5901" y="440"/>
                  </a:lnTo>
                  <a:lnTo>
                    <a:pt x="6027" y="273"/>
                  </a:lnTo>
                  <a:lnTo>
                    <a:pt x="5964" y="231"/>
                  </a:lnTo>
                  <a:lnTo>
                    <a:pt x="6027" y="168"/>
                  </a:lnTo>
                  <a:lnTo>
                    <a:pt x="6027" y="22"/>
                  </a:lnTo>
                  <a:lnTo>
                    <a:pt x="600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" name="Google Shape;965;p34"/>
            <p:cNvSpPr/>
            <p:nvPr/>
          </p:nvSpPr>
          <p:spPr>
            <a:xfrm>
              <a:off x="3951893" y="3317378"/>
              <a:ext cx="9978" cy="10724"/>
            </a:xfrm>
            <a:custGeom>
              <a:avLst/>
              <a:gdLst/>
              <a:ahLst/>
              <a:cxnLst/>
              <a:rect l="l" t="t" r="r" b="b"/>
              <a:pathLst>
                <a:path w="838" h="943" extrusionOk="0">
                  <a:moveTo>
                    <a:pt x="314" y="1"/>
                  </a:moveTo>
                  <a:lnTo>
                    <a:pt x="209" y="43"/>
                  </a:lnTo>
                  <a:lnTo>
                    <a:pt x="188" y="189"/>
                  </a:lnTo>
                  <a:lnTo>
                    <a:pt x="63" y="440"/>
                  </a:lnTo>
                  <a:lnTo>
                    <a:pt x="0" y="566"/>
                  </a:lnTo>
                  <a:lnTo>
                    <a:pt x="42" y="649"/>
                  </a:lnTo>
                  <a:lnTo>
                    <a:pt x="105" y="712"/>
                  </a:lnTo>
                  <a:lnTo>
                    <a:pt x="168" y="817"/>
                  </a:lnTo>
                  <a:lnTo>
                    <a:pt x="377" y="921"/>
                  </a:lnTo>
                  <a:lnTo>
                    <a:pt x="586" y="942"/>
                  </a:lnTo>
                  <a:lnTo>
                    <a:pt x="670" y="921"/>
                  </a:lnTo>
                  <a:lnTo>
                    <a:pt x="712" y="817"/>
                  </a:lnTo>
                  <a:lnTo>
                    <a:pt x="691" y="712"/>
                  </a:lnTo>
                  <a:lnTo>
                    <a:pt x="774" y="691"/>
                  </a:lnTo>
                  <a:lnTo>
                    <a:pt x="795" y="649"/>
                  </a:lnTo>
                  <a:lnTo>
                    <a:pt x="795" y="629"/>
                  </a:lnTo>
                  <a:lnTo>
                    <a:pt x="816" y="524"/>
                  </a:lnTo>
                  <a:lnTo>
                    <a:pt x="816" y="440"/>
                  </a:lnTo>
                  <a:lnTo>
                    <a:pt x="837" y="398"/>
                  </a:lnTo>
                  <a:lnTo>
                    <a:pt x="795" y="336"/>
                  </a:lnTo>
                  <a:lnTo>
                    <a:pt x="732" y="273"/>
                  </a:lnTo>
                  <a:lnTo>
                    <a:pt x="670" y="231"/>
                  </a:lnTo>
                  <a:lnTo>
                    <a:pt x="670" y="210"/>
                  </a:lnTo>
                  <a:lnTo>
                    <a:pt x="565" y="189"/>
                  </a:lnTo>
                  <a:lnTo>
                    <a:pt x="481" y="105"/>
                  </a:lnTo>
                  <a:lnTo>
                    <a:pt x="3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" name="Google Shape;966;p34"/>
            <p:cNvSpPr/>
            <p:nvPr/>
          </p:nvSpPr>
          <p:spPr>
            <a:xfrm>
              <a:off x="3925232" y="3338554"/>
              <a:ext cx="15956" cy="14295"/>
            </a:xfrm>
            <a:custGeom>
              <a:avLst/>
              <a:gdLst/>
              <a:ahLst/>
              <a:cxnLst/>
              <a:rect l="l" t="t" r="r" b="b"/>
              <a:pathLst>
                <a:path w="1340" h="1257" extrusionOk="0">
                  <a:moveTo>
                    <a:pt x="775" y="1"/>
                  </a:moveTo>
                  <a:lnTo>
                    <a:pt x="754" y="43"/>
                  </a:lnTo>
                  <a:lnTo>
                    <a:pt x="670" y="106"/>
                  </a:lnTo>
                  <a:lnTo>
                    <a:pt x="628" y="147"/>
                  </a:lnTo>
                  <a:lnTo>
                    <a:pt x="419" y="189"/>
                  </a:lnTo>
                  <a:lnTo>
                    <a:pt x="293" y="315"/>
                  </a:lnTo>
                  <a:lnTo>
                    <a:pt x="231" y="440"/>
                  </a:lnTo>
                  <a:lnTo>
                    <a:pt x="84" y="566"/>
                  </a:lnTo>
                  <a:lnTo>
                    <a:pt x="0" y="629"/>
                  </a:lnTo>
                  <a:lnTo>
                    <a:pt x="42" y="733"/>
                  </a:lnTo>
                  <a:lnTo>
                    <a:pt x="126" y="796"/>
                  </a:lnTo>
                  <a:lnTo>
                    <a:pt x="126" y="859"/>
                  </a:lnTo>
                  <a:lnTo>
                    <a:pt x="210" y="943"/>
                  </a:lnTo>
                  <a:lnTo>
                    <a:pt x="210" y="1047"/>
                  </a:lnTo>
                  <a:lnTo>
                    <a:pt x="293" y="1131"/>
                  </a:lnTo>
                  <a:lnTo>
                    <a:pt x="356" y="1194"/>
                  </a:lnTo>
                  <a:lnTo>
                    <a:pt x="503" y="1256"/>
                  </a:lnTo>
                  <a:lnTo>
                    <a:pt x="607" y="1256"/>
                  </a:lnTo>
                  <a:lnTo>
                    <a:pt x="628" y="1194"/>
                  </a:lnTo>
                  <a:lnTo>
                    <a:pt x="670" y="1152"/>
                  </a:lnTo>
                  <a:lnTo>
                    <a:pt x="712" y="1026"/>
                  </a:lnTo>
                  <a:lnTo>
                    <a:pt x="816" y="984"/>
                  </a:lnTo>
                  <a:lnTo>
                    <a:pt x="879" y="943"/>
                  </a:lnTo>
                  <a:lnTo>
                    <a:pt x="984" y="922"/>
                  </a:lnTo>
                  <a:lnTo>
                    <a:pt x="1067" y="943"/>
                  </a:lnTo>
                  <a:lnTo>
                    <a:pt x="1172" y="859"/>
                  </a:lnTo>
                  <a:lnTo>
                    <a:pt x="1193" y="775"/>
                  </a:lnTo>
                  <a:lnTo>
                    <a:pt x="1151" y="733"/>
                  </a:lnTo>
                  <a:lnTo>
                    <a:pt x="1130" y="650"/>
                  </a:lnTo>
                  <a:lnTo>
                    <a:pt x="1235" y="608"/>
                  </a:lnTo>
                  <a:lnTo>
                    <a:pt x="1339" y="524"/>
                  </a:lnTo>
                  <a:lnTo>
                    <a:pt x="1339" y="399"/>
                  </a:lnTo>
                  <a:lnTo>
                    <a:pt x="1256" y="147"/>
                  </a:lnTo>
                  <a:lnTo>
                    <a:pt x="1130" y="43"/>
                  </a:lnTo>
                  <a:lnTo>
                    <a:pt x="1026" y="85"/>
                  </a:lnTo>
                  <a:lnTo>
                    <a:pt x="942" y="22"/>
                  </a:lnTo>
                  <a:lnTo>
                    <a:pt x="921" y="43"/>
                  </a:lnTo>
                  <a:lnTo>
                    <a:pt x="858" y="22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7" name="Google Shape;967;p34"/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" name="Google Shape;968;p34"/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9" name="Google Shape;969;p34"/>
            <p:cNvSpPr/>
            <p:nvPr/>
          </p:nvSpPr>
          <p:spPr>
            <a:xfrm>
              <a:off x="4014919" y="2846238"/>
              <a:ext cx="33651" cy="9053"/>
            </a:xfrm>
            <a:custGeom>
              <a:avLst/>
              <a:gdLst/>
              <a:ahLst/>
              <a:cxnLst/>
              <a:rect l="l" t="t" r="r" b="b"/>
              <a:pathLst>
                <a:path w="2826" h="796" extrusionOk="0">
                  <a:moveTo>
                    <a:pt x="2240" y="0"/>
                  </a:moveTo>
                  <a:cubicBezTo>
                    <a:pt x="2240" y="0"/>
                    <a:pt x="1717" y="230"/>
                    <a:pt x="1612" y="230"/>
                  </a:cubicBezTo>
                  <a:cubicBezTo>
                    <a:pt x="1507" y="230"/>
                    <a:pt x="1382" y="105"/>
                    <a:pt x="1382" y="105"/>
                  </a:cubicBezTo>
                  <a:lnTo>
                    <a:pt x="733" y="126"/>
                  </a:lnTo>
                  <a:lnTo>
                    <a:pt x="754" y="293"/>
                  </a:lnTo>
                  <a:cubicBezTo>
                    <a:pt x="775" y="419"/>
                    <a:pt x="231" y="419"/>
                    <a:pt x="22" y="419"/>
                  </a:cubicBezTo>
                  <a:lnTo>
                    <a:pt x="22" y="439"/>
                  </a:lnTo>
                  <a:lnTo>
                    <a:pt x="1" y="481"/>
                  </a:lnTo>
                  <a:lnTo>
                    <a:pt x="85" y="481"/>
                  </a:lnTo>
                  <a:lnTo>
                    <a:pt x="105" y="586"/>
                  </a:lnTo>
                  <a:lnTo>
                    <a:pt x="189" y="586"/>
                  </a:lnTo>
                  <a:lnTo>
                    <a:pt x="231" y="502"/>
                  </a:lnTo>
                  <a:lnTo>
                    <a:pt x="398" y="544"/>
                  </a:lnTo>
                  <a:lnTo>
                    <a:pt x="461" y="544"/>
                  </a:lnTo>
                  <a:lnTo>
                    <a:pt x="545" y="460"/>
                  </a:lnTo>
                  <a:lnTo>
                    <a:pt x="649" y="502"/>
                  </a:lnTo>
                  <a:lnTo>
                    <a:pt x="880" y="711"/>
                  </a:lnTo>
                  <a:lnTo>
                    <a:pt x="984" y="732"/>
                  </a:lnTo>
                  <a:lnTo>
                    <a:pt x="1173" y="691"/>
                  </a:lnTo>
                  <a:lnTo>
                    <a:pt x="1424" y="628"/>
                  </a:lnTo>
                  <a:lnTo>
                    <a:pt x="1507" y="649"/>
                  </a:lnTo>
                  <a:lnTo>
                    <a:pt x="1821" y="649"/>
                  </a:lnTo>
                  <a:lnTo>
                    <a:pt x="1863" y="691"/>
                  </a:lnTo>
                  <a:lnTo>
                    <a:pt x="1863" y="586"/>
                  </a:lnTo>
                  <a:lnTo>
                    <a:pt x="2072" y="502"/>
                  </a:lnTo>
                  <a:lnTo>
                    <a:pt x="2386" y="691"/>
                  </a:lnTo>
                  <a:lnTo>
                    <a:pt x="2595" y="691"/>
                  </a:lnTo>
                  <a:lnTo>
                    <a:pt x="2805" y="795"/>
                  </a:lnTo>
                  <a:lnTo>
                    <a:pt x="2826" y="586"/>
                  </a:lnTo>
                  <a:lnTo>
                    <a:pt x="2742" y="481"/>
                  </a:lnTo>
                  <a:lnTo>
                    <a:pt x="2595" y="377"/>
                  </a:lnTo>
                  <a:lnTo>
                    <a:pt x="2637" y="188"/>
                  </a:lnTo>
                  <a:cubicBezTo>
                    <a:pt x="2628" y="188"/>
                    <a:pt x="2594" y="197"/>
                    <a:pt x="2555" y="197"/>
                  </a:cubicBezTo>
                  <a:cubicBezTo>
                    <a:pt x="2507" y="197"/>
                    <a:pt x="2451" y="184"/>
                    <a:pt x="2428" y="126"/>
                  </a:cubicBezTo>
                  <a:cubicBezTo>
                    <a:pt x="2386" y="21"/>
                    <a:pt x="2240" y="0"/>
                    <a:pt x="224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0" name="Google Shape;970;p34"/>
            <p:cNvSpPr/>
            <p:nvPr/>
          </p:nvSpPr>
          <p:spPr>
            <a:xfrm>
              <a:off x="4036853" y="2853608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fill="none" extrusionOk="0">
                  <a:moveTo>
                    <a:pt x="105" y="105"/>
                  </a:moveTo>
                  <a:lnTo>
                    <a:pt x="0" y="1"/>
                  </a:lnTo>
                </a:path>
              </a:pathLst>
            </a:custGeom>
            <a:solidFill>
              <a:schemeClr val="lt2"/>
            </a:solidFill>
            <a:ln w="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1" name="Google Shape;971;p34"/>
            <p:cNvSpPr/>
            <p:nvPr/>
          </p:nvSpPr>
          <p:spPr>
            <a:xfrm>
              <a:off x="4346543" y="2948318"/>
              <a:ext cx="21183" cy="11907"/>
            </a:xfrm>
            <a:custGeom>
              <a:avLst/>
              <a:gdLst/>
              <a:ahLst/>
              <a:cxnLst/>
              <a:rect l="l" t="t" r="r" b="b"/>
              <a:pathLst>
                <a:path w="1779" h="1047" extrusionOk="0">
                  <a:moveTo>
                    <a:pt x="753" y="0"/>
                  </a:moveTo>
                  <a:lnTo>
                    <a:pt x="586" y="21"/>
                  </a:lnTo>
                  <a:lnTo>
                    <a:pt x="314" y="189"/>
                  </a:lnTo>
                  <a:lnTo>
                    <a:pt x="188" y="440"/>
                  </a:lnTo>
                  <a:lnTo>
                    <a:pt x="63" y="502"/>
                  </a:lnTo>
                  <a:lnTo>
                    <a:pt x="63" y="628"/>
                  </a:lnTo>
                  <a:lnTo>
                    <a:pt x="0" y="733"/>
                  </a:lnTo>
                  <a:lnTo>
                    <a:pt x="105" y="921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691" y="1046"/>
                  </a:lnTo>
                  <a:lnTo>
                    <a:pt x="837" y="1046"/>
                  </a:lnTo>
                  <a:lnTo>
                    <a:pt x="942" y="921"/>
                  </a:lnTo>
                  <a:lnTo>
                    <a:pt x="1067" y="879"/>
                  </a:lnTo>
                  <a:lnTo>
                    <a:pt x="1172" y="942"/>
                  </a:lnTo>
                  <a:lnTo>
                    <a:pt x="1381" y="879"/>
                  </a:lnTo>
                  <a:lnTo>
                    <a:pt x="1549" y="921"/>
                  </a:lnTo>
                  <a:lnTo>
                    <a:pt x="1779" y="837"/>
                  </a:lnTo>
                  <a:lnTo>
                    <a:pt x="1779" y="733"/>
                  </a:lnTo>
                  <a:lnTo>
                    <a:pt x="1779" y="565"/>
                  </a:lnTo>
                  <a:lnTo>
                    <a:pt x="1590" y="502"/>
                  </a:lnTo>
                  <a:lnTo>
                    <a:pt x="1590" y="398"/>
                  </a:lnTo>
                  <a:lnTo>
                    <a:pt x="1632" y="230"/>
                  </a:lnTo>
                  <a:lnTo>
                    <a:pt x="1590" y="230"/>
                  </a:lnTo>
                  <a:lnTo>
                    <a:pt x="1528" y="126"/>
                  </a:lnTo>
                  <a:lnTo>
                    <a:pt x="1360" y="105"/>
                  </a:lnTo>
                  <a:lnTo>
                    <a:pt x="1214" y="189"/>
                  </a:lnTo>
                  <a:lnTo>
                    <a:pt x="1109" y="126"/>
                  </a:lnTo>
                  <a:lnTo>
                    <a:pt x="837" y="105"/>
                  </a:lnTo>
                  <a:lnTo>
                    <a:pt x="75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2" name="Google Shape;972;p34"/>
            <p:cNvSpPr/>
            <p:nvPr/>
          </p:nvSpPr>
          <p:spPr>
            <a:xfrm>
              <a:off x="3878888" y="2847660"/>
              <a:ext cx="16706" cy="13579"/>
            </a:xfrm>
            <a:custGeom>
              <a:avLst/>
              <a:gdLst/>
              <a:ahLst/>
              <a:cxnLst/>
              <a:rect l="l" t="t" r="r" b="b"/>
              <a:pathLst>
                <a:path w="1403" h="1194" extrusionOk="0">
                  <a:moveTo>
                    <a:pt x="900" y="1"/>
                  </a:moveTo>
                  <a:lnTo>
                    <a:pt x="754" y="42"/>
                  </a:lnTo>
                  <a:lnTo>
                    <a:pt x="628" y="42"/>
                  </a:lnTo>
                  <a:lnTo>
                    <a:pt x="419" y="84"/>
                  </a:lnTo>
                  <a:lnTo>
                    <a:pt x="314" y="168"/>
                  </a:lnTo>
                  <a:lnTo>
                    <a:pt x="210" y="189"/>
                  </a:lnTo>
                  <a:lnTo>
                    <a:pt x="42" y="273"/>
                  </a:lnTo>
                  <a:lnTo>
                    <a:pt x="63" y="356"/>
                  </a:lnTo>
                  <a:lnTo>
                    <a:pt x="21" y="398"/>
                  </a:lnTo>
                  <a:lnTo>
                    <a:pt x="21" y="377"/>
                  </a:lnTo>
                  <a:lnTo>
                    <a:pt x="1" y="586"/>
                  </a:lnTo>
                  <a:lnTo>
                    <a:pt x="21" y="796"/>
                  </a:lnTo>
                  <a:lnTo>
                    <a:pt x="126" y="942"/>
                  </a:lnTo>
                  <a:lnTo>
                    <a:pt x="168" y="1089"/>
                  </a:lnTo>
                  <a:lnTo>
                    <a:pt x="314" y="1193"/>
                  </a:lnTo>
                  <a:lnTo>
                    <a:pt x="314" y="1151"/>
                  </a:lnTo>
                  <a:lnTo>
                    <a:pt x="524" y="1026"/>
                  </a:lnTo>
                  <a:lnTo>
                    <a:pt x="691" y="984"/>
                  </a:lnTo>
                  <a:lnTo>
                    <a:pt x="691" y="921"/>
                  </a:lnTo>
                  <a:lnTo>
                    <a:pt x="837" y="838"/>
                  </a:lnTo>
                  <a:lnTo>
                    <a:pt x="1110" y="879"/>
                  </a:lnTo>
                  <a:lnTo>
                    <a:pt x="1256" y="796"/>
                  </a:lnTo>
                  <a:lnTo>
                    <a:pt x="1361" y="775"/>
                  </a:lnTo>
                  <a:lnTo>
                    <a:pt x="1402" y="712"/>
                  </a:lnTo>
                  <a:lnTo>
                    <a:pt x="1402" y="607"/>
                  </a:lnTo>
                  <a:lnTo>
                    <a:pt x="1382" y="461"/>
                  </a:lnTo>
                  <a:lnTo>
                    <a:pt x="1214" y="189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3" name="Google Shape;973;p34"/>
            <p:cNvSpPr/>
            <p:nvPr/>
          </p:nvSpPr>
          <p:spPr>
            <a:xfrm>
              <a:off x="3865182" y="2817204"/>
              <a:ext cx="27923" cy="34993"/>
            </a:xfrm>
            <a:custGeom>
              <a:avLst/>
              <a:gdLst/>
              <a:ahLst/>
              <a:cxnLst/>
              <a:rect l="l" t="t" r="r" b="b"/>
              <a:pathLst>
                <a:path w="2345" h="3077" extrusionOk="0">
                  <a:moveTo>
                    <a:pt x="461" y="0"/>
                  </a:moveTo>
                  <a:lnTo>
                    <a:pt x="336" y="105"/>
                  </a:lnTo>
                  <a:lnTo>
                    <a:pt x="315" y="147"/>
                  </a:lnTo>
                  <a:lnTo>
                    <a:pt x="210" y="147"/>
                  </a:lnTo>
                  <a:lnTo>
                    <a:pt x="64" y="210"/>
                  </a:lnTo>
                  <a:lnTo>
                    <a:pt x="1" y="272"/>
                  </a:lnTo>
                  <a:lnTo>
                    <a:pt x="22" y="314"/>
                  </a:lnTo>
                  <a:lnTo>
                    <a:pt x="64" y="461"/>
                  </a:lnTo>
                  <a:lnTo>
                    <a:pt x="105" y="628"/>
                  </a:lnTo>
                  <a:lnTo>
                    <a:pt x="168" y="670"/>
                  </a:lnTo>
                  <a:lnTo>
                    <a:pt x="273" y="691"/>
                  </a:lnTo>
                  <a:lnTo>
                    <a:pt x="273" y="754"/>
                  </a:lnTo>
                  <a:lnTo>
                    <a:pt x="231" y="754"/>
                  </a:lnTo>
                  <a:lnTo>
                    <a:pt x="105" y="775"/>
                  </a:lnTo>
                  <a:lnTo>
                    <a:pt x="126" y="879"/>
                  </a:lnTo>
                  <a:lnTo>
                    <a:pt x="147" y="900"/>
                  </a:lnTo>
                  <a:lnTo>
                    <a:pt x="210" y="879"/>
                  </a:lnTo>
                  <a:lnTo>
                    <a:pt x="273" y="879"/>
                  </a:lnTo>
                  <a:lnTo>
                    <a:pt x="252" y="1047"/>
                  </a:lnTo>
                  <a:lnTo>
                    <a:pt x="147" y="1193"/>
                  </a:lnTo>
                  <a:lnTo>
                    <a:pt x="147" y="1277"/>
                  </a:lnTo>
                  <a:lnTo>
                    <a:pt x="315" y="1402"/>
                  </a:lnTo>
                  <a:lnTo>
                    <a:pt x="419" y="1423"/>
                  </a:lnTo>
                  <a:lnTo>
                    <a:pt x="461" y="1486"/>
                  </a:lnTo>
                  <a:lnTo>
                    <a:pt x="440" y="1570"/>
                  </a:lnTo>
                  <a:lnTo>
                    <a:pt x="336" y="1507"/>
                  </a:lnTo>
                  <a:lnTo>
                    <a:pt x="273" y="1528"/>
                  </a:lnTo>
                  <a:lnTo>
                    <a:pt x="273" y="1674"/>
                  </a:lnTo>
                  <a:lnTo>
                    <a:pt x="419" y="1821"/>
                  </a:lnTo>
                  <a:lnTo>
                    <a:pt x="356" y="1842"/>
                  </a:lnTo>
                  <a:lnTo>
                    <a:pt x="482" y="1988"/>
                  </a:lnTo>
                  <a:lnTo>
                    <a:pt x="482" y="2051"/>
                  </a:lnTo>
                  <a:lnTo>
                    <a:pt x="545" y="2135"/>
                  </a:lnTo>
                  <a:lnTo>
                    <a:pt x="670" y="2135"/>
                  </a:lnTo>
                  <a:lnTo>
                    <a:pt x="754" y="2218"/>
                  </a:lnTo>
                  <a:lnTo>
                    <a:pt x="900" y="2239"/>
                  </a:lnTo>
                  <a:lnTo>
                    <a:pt x="900" y="2365"/>
                  </a:lnTo>
                  <a:lnTo>
                    <a:pt x="838" y="2448"/>
                  </a:lnTo>
                  <a:lnTo>
                    <a:pt x="796" y="2511"/>
                  </a:lnTo>
                  <a:lnTo>
                    <a:pt x="859" y="2532"/>
                  </a:lnTo>
                  <a:lnTo>
                    <a:pt x="942" y="2658"/>
                  </a:lnTo>
                  <a:lnTo>
                    <a:pt x="984" y="2658"/>
                  </a:lnTo>
                  <a:lnTo>
                    <a:pt x="1089" y="2741"/>
                  </a:lnTo>
                  <a:lnTo>
                    <a:pt x="1152" y="2846"/>
                  </a:lnTo>
                  <a:lnTo>
                    <a:pt x="1152" y="2992"/>
                  </a:lnTo>
                  <a:lnTo>
                    <a:pt x="1172" y="3076"/>
                  </a:lnTo>
                  <a:lnTo>
                    <a:pt x="1214" y="3034"/>
                  </a:lnTo>
                  <a:lnTo>
                    <a:pt x="1193" y="2951"/>
                  </a:lnTo>
                  <a:lnTo>
                    <a:pt x="1361" y="2867"/>
                  </a:lnTo>
                  <a:lnTo>
                    <a:pt x="1465" y="2846"/>
                  </a:lnTo>
                  <a:lnTo>
                    <a:pt x="1570" y="2762"/>
                  </a:lnTo>
                  <a:lnTo>
                    <a:pt x="1779" y="2720"/>
                  </a:lnTo>
                  <a:lnTo>
                    <a:pt x="1905" y="2720"/>
                  </a:lnTo>
                  <a:lnTo>
                    <a:pt x="2051" y="2679"/>
                  </a:lnTo>
                  <a:lnTo>
                    <a:pt x="2135" y="2679"/>
                  </a:lnTo>
                  <a:lnTo>
                    <a:pt x="2198" y="2574"/>
                  </a:lnTo>
                  <a:lnTo>
                    <a:pt x="2114" y="2469"/>
                  </a:lnTo>
                  <a:lnTo>
                    <a:pt x="2093" y="2365"/>
                  </a:lnTo>
                  <a:lnTo>
                    <a:pt x="2302" y="2197"/>
                  </a:lnTo>
                  <a:lnTo>
                    <a:pt x="2344" y="2051"/>
                  </a:lnTo>
                  <a:lnTo>
                    <a:pt x="2261" y="1925"/>
                  </a:lnTo>
                  <a:lnTo>
                    <a:pt x="2093" y="1737"/>
                  </a:lnTo>
                  <a:lnTo>
                    <a:pt x="2030" y="1507"/>
                  </a:lnTo>
                  <a:lnTo>
                    <a:pt x="2114" y="1423"/>
                  </a:lnTo>
                  <a:lnTo>
                    <a:pt x="2093" y="1319"/>
                  </a:lnTo>
                  <a:lnTo>
                    <a:pt x="2051" y="1193"/>
                  </a:lnTo>
                  <a:lnTo>
                    <a:pt x="2030" y="1109"/>
                  </a:lnTo>
                  <a:lnTo>
                    <a:pt x="2135" y="984"/>
                  </a:lnTo>
                  <a:lnTo>
                    <a:pt x="1926" y="963"/>
                  </a:lnTo>
                  <a:lnTo>
                    <a:pt x="1842" y="1088"/>
                  </a:lnTo>
                  <a:lnTo>
                    <a:pt x="1737" y="1005"/>
                  </a:lnTo>
                  <a:lnTo>
                    <a:pt x="1633" y="1047"/>
                  </a:lnTo>
                  <a:lnTo>
                    <a:pt x="1591" y="963"/>
                  </a:lnTo>
                  <a:lnTo>
                    <a:pt x="1382" y="879"/>
                  </a:lnTo>
                  <a:lnTo>
                    <a:pt x="1361" y="837"/>
                  </a:lnTo>
                  <a:lnTo>
                    <a:pt x="1424" y="691"/>
                  </a:lnTo>
                  <a:lnTo>
                    <a:pt x="1277" y="565"/>
                  </a:lnTo>
                  <a:lnTo>
                    <a:pt x="1110" y="482"/>
                  </a:lnTo>
                  <a:lnTo>
                    <a:pt x="1089" y="377"/>
                  </a:lnTo>
                  <a:lnTo>
                    <a:pt x="900" y="168"/>
                  </a:lnTo>
                  <a:lnTo>
                    <a:pt x="880" y="105"/>
                  </a:lnTo>
                  <a:lnTo>
                    <a:pt x="754" y="63"/>
                  </a:lnTo>
                  <a:lnTo>
                    <a:pt x="670" y="42"/>
                  </a:lnTo>
                  <a:lnTo>
                    <a:pt x="566" y="21"/>
                  </a:lnTo>
                  <a:lnTo>
                    <a:pt x="46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4" name="Google Shape;974;p34"/>
          <p:cNvGrpSpPr/>
          <p:nvPr/>
        </p:nvGrpSpPr>
        <p:grpSpPr>
          <a:xfrm>
            <a:off x="7771352" y="1698225"/>
            <a:ext cx="338852" cy="2014657"/>
            <a:chOff x="7771352" y="1698225"/>
            <a:chExt cx="338852" cy="2014657"/>
          </a:xfrm>
        </p:grpSpPr>
        <p:sp>
          <p:nvSpPr>
            <p:cNvPr id="975" name="Google Shape;975;p34"/>
            <p:cNvSpPr/>
            <p:nvPr/>
          </p:nvSpPr>
          <p:spPr>
            <a:xfrm>
              <a:off x="7771352" y="1698225"/>
              <a:ext cx="338852" cy="2014657"/>
            </a:xfrm>
            <a:custGeom>
              <a:avLst/>
              <a:gdLst/>
              <a:ahLst/>
              <a:cxnLst/>
              <a:rect l="l" t="t" r="r" b="b"/>
              <a:pathLst>
                <a:path w="6831" h="40614" extrusionOk="0">
                  <a:moveTo>
                    <a:pt x="6666" y="152"/>
                  </a:moveTo>
                  <a:lnTo>
                    <a:pt x="6666" y="40450"/>
                  </a:lnTo>
                  <a:lnTo>
                    <a:pt x="164" y="40450"/>
                  </a:lnTo>
                  <a:lnTo>
                    <a:pt x="164" y="152"/>
                  </a:lnTo>
                  <a:close/>
                  <a:moveTo>
                    <a:pt x="1" y="1"/>
                  </a:moveTo>
                  <a:lnTo>
                    <a:pt x="1" y="40613"/>
                  </a:lnTo>
                  <a:lnTo>
                    <a:pt x="6830" y="40613"/>
                  </a:lnTo>
                  <a:lnTo>
                    <a:pt x="6830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" name="Google Shape;976;p34"/>
            <p:cNvSpPr/>
            <p:nvPr/>
          </p:nvSpPr>
          <p:spPr>
            <a:xfrm>
              <a:off x="7779487" y="3318418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0"/>
                  </a:moveTo>
                  <a:cubicBezTo>
                    <a:pt x="618" y="0"/>
                    <a:pt x="0" y="630"/>
                    <a:pt x="0" y="1399"/>
                  </a:cubicBezTo>
                  <a:cubicBezTo>
                    <a:pt x="0" y="2168"/>
                    <a:pt x="618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68"/>
                    <a:pt x="6502" y="1399"/>
                  </a:cubicBezTo>
                  <a:cubicBezTo>
                    <a:pt x="6502" y="630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7" name="Google Shape;977;p34"/>
            <p:cNvSpPr/>
            <p:nvPr/>
          </p:nvSpPr>
          <p:spPr>
            <a:xfrm>
              <a:off x="7779487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18" y="1"/>
                    <a:pt x="0" y="618"/>
                    <a:pt x="0" y="1400"/>
                  </a:cubicBezTo>
                  <a:cubicBezTo>
                    <a:pt x="0" y="2168"/>
                    <a:pt x="618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400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8" name="Google Shape;978;p34"/>
            <p:cNvSpPr/>
            <p:nvPr/>
          </p:nvSpPr>
          <p:spPr>
            <a:xfrm>
              <a:off x="7779487" y="284960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5126" y="0"/>
                  </a:moveTo>
                  <a:cubicBezTo>
                    <a:pt x="5119" y="0"/>
                    <a:pt x="5111" y="1"/>
                    <a:pt x="5104" y="1"/>
                  </a:cubicBezTo>
                  <a:lnTo>
                    <a:pt x="1399" y="1"/>
                  </a:lnTo>
                  <a:cubicBezTo>
                    <a:pt x="618" y="1"/>
                    <a:pt x="0" y="618"/>
                    <a:pt x="0" y="1387"/>
                  </a:cubicBezTo>
                  <a:cubicBezTo>
                    <a:pt x="0" y="2155"/>
                    <a:pt x="618" y="2785"/>
                    <a:pt x="1399" y="2785"/>
                  </a:cubicBezTo>
                  <a:lnTo>
                    <a:pt x="5104" y="2785"/>
                  </a:lnTo>
                  <a:cubicBezTo>
                    <a:pt x="5872" y="2785"/>
                    <a:pt x="6502" y="2155"/>
                    <a:pt x="6502" y="1387"/>
                  </a:cubicBezTo>
                  <a:cubicBezTo>
                    <a:pt x="6502" y="626"/>
                    <a:pt x="5885" y="0"/>
                    <a:pt x="5126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9" name="Google Shape;979;p34"/>
            <p:cNvSpPr/>
            <p:nvPr/>
          </p:nvSpPr>
          <p:spPr>
            <a:xfrm>
              <a:off x="7779487" y="261457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6" y="1"/>
                  </a:moveTo>
                  <a:cubicBezTo>
                    <a:pt x="618" y="1"/>
                    <a:pt x="0" y="631"/>
                    <a:pt x="0" y="1399"/>
                  </a:cubicBezTo>
                  <a:cubicBezTo>
                    <a:pt x="0" y="2168"/>
                    <a:pt x="618" y="2786"/>
                    <a:pt x="1386" y="2786"/>
                  </a:cubicBezTo>
                  <a:lnTo>
                    <a:pt x="5104" y="2786"/>
                  </a:lnTo>
                  <a:cubicBezTo>
                    <a:pt x="5872" y="2786"/>
                    <a:pt x="6502" y="2168"/>
                    <a:pt x="6502" y="1399"/>
                  </a:cubicBezTo>
                  <a:cubicBezTo>
                    <a:pt x="6502" y="631"/>
                    <a:pt x="5872" y="1"/>
                    <a:pt x="510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0" name="Google Shape;980;p34"/>
            <p:cNvSpPr/>
            <p:nvPr/>
          </p:nvSpPr>
          <p:spPr>
            <a:xfrm>
              <a:off x="7779487" y="3566541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18" y="1"/>
                    <a:pt x="0" y="618"/>
                    <a:pt x="0" y="1400"/>
                  </a:cubicBezTo>
                  <a:cubicBezTo>
                    <a:pt x="0" y="2168"/>
                    <a:pt x="618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400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1" name="Google Shape;981;p34"/>
          <p:cNvGrpSpPr/>
          <p:nvPr/>
        </p:nvGrpSpPr>
        <p:grpSpPr>
          <a:xfrm>
            <a:off x="6752726" y="1698225"/>
            <a:ext cx="338207" cy="2014657"/>
            <a:chOff x="6905926" y="1698225"/>
            <a:chExt cx="338207" cy="2014657"/>
          </a:xfrm>
        </p:grpSpPr>
        <p:sp>
          <p:nvSpPr>
            <p:cNvPr id="982" name="Google Shape;982;p34"/>
            <p:cNvSpPr/>
            <p:nvPr/>
          </p:nvSpPr>
          <p:spPr>
            <a:xfrm>
              <a:off x="6905926" y="1698225"/>
              <a:ext cx="338207" cy="2014657"/>
            </a:xfrm>
            <a:custGeom>
              <a:avLst/>
              <a:gdLst/>
              <a:ahLst/>
              <a:cxnLst/>
              <a:rect l="l" t="t" r="r" b="b"/>
              <a:pathLst>
                <a:path w="6818" h="40614" extrusionOk="0">
                  <a:moveTo>
                    <a:pt x="6667" y="152"/>
                  </a:moveTo>
                  <a:lnTo>
                    <a:pt x="6667" y="40450"/>
                  </a:lnTo>
                  <a:lnTo>
                    <a:pt x="165" y="40450"/>
                  </a:lnTo>
                  <a:lnTo>
                    <a:pt x="165" y="152"/>
                  </a:lnTo>
                  <a:close/>
                  <a:moveTo>
                    <a:pt x="1" y="1"/>
                  </a:moveTo>
                  <a:lnTo>
                    <a:pt x="1" y="40613"/>
                  </a:lnTo>
                  <a:lnTo>
                    <a:pt x="6818" y="40613"/>
                  </a:lnTo>
                  <a:lnTo>
                    <a:pt x="6818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" name="Google Shape;983;p34"/>
            <p:cNvSpPr/>
            <p:nvPr/>
          </p:nvSpPr>
          <p:spPr>
            <a:xfrm>
              <a:off x="6914061" y="3318418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0"/>
                  </a:moveTo>
                  <a:cubicBezTo>
                    <a:pt x="618" y="0"/>
                    <a:pt x="1" y="630"/>
                    <a:pt x="1" y="1399"/>
                  </a:cubicBezTo>
                  <a:cubicBezTo>
                    <a:pt x="1" y="2168"/>
                    <a:pt x="618" y="2785"/>
                    <a:pt x="1387" y="2785"/>
                  </a:cubicBezTo>
                  <a:lnTo>
                    <a:pt x="5104" y="2785"/>
                  </a:lnTo>
                  <a:cubicBezTo>
                    <a:pt x="5873" y="2785"/>
                    <a:pt x="6503" y="2168"/>
                    <a:pt x="6503" y="1399"/>
                  </a:cubicBezTo>
                  <a:cubicBezTo>
                    <a:pt x="6503" y="630"/>
                    <a:pt x="5873" y="0"/>
                    <a:pt x="510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" name="Google Shape;984;p34"/>
            <p:cNvSpPr/>
            <p:nvPr/>
          </p:nvSpPr>
          <p:spPr>
            <a:xfrm>
              <a:off x="6914061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1"/>
                  </a:moveTo>
                  <a:cubicBezTo>
                    <a:pt x="618" y="1"/>
                    <a:pt x="1" y="618"/>
                    <a:pt x="1" y="1400"/>
                  </a:cubicBezTo>
                  <a:cubicBezTo>
                    <a:pt x="1" y="2168"/>
                    <a:pt x="618" y="2786"/>
                    <a:pt x="1387" y="2786"/>
                  </a:cubicBezTo>
                  <a:lnTo>
                    <a:pt x="5104" y="2786"/>
                  </a:lnTo>
                  <a:cubicBezTo>
                    <a:pt x="5873" y="2786"/>
                    <a:pt x="6503" y="2168"/>
                    <a:pt x="6503" y="1400"/>
                  </a:cubicBezTo>
                  <a:cubicBezTo>
                    <a:pt x="6503" y="618"/>
                    <a:pt x="5873" y="1"/>
                    <a:pt x="51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" name="Google Shape;985;p34"/>
            <p:cNvSpPr/>
            <p:nvPr/>
          </p:nvSpPr>
          <p:spPr>
            <a:xfrm>
              <a:off x="6913466" y="284960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0" y="1"/>
                    <a:pt x="0" y="618"/>
                    <a:pt x="0" y="1387"/>
                  </a:cubicBezTo>
                  <a:cubicBezTo>
                    <a:pt x="0" y="2155"/>
                    <a:pt x="630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55"/>
                    <a:pt x="6502" y="1387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" name="Google Shape;986;p34"/>
            <p:cNvSpPr/>
            <p:nvPr/>
          </p:nvSpPr>
          <p:spPr>
            <a:xfrm>
              <a:off x="6913466" y="261457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0" y="1"/>
                    <a:pt x="0" y="631"/>
                    <a:pt x="0" y="1399"/>
                  </a:cubicBezTo>
                  <a:cubicBezTo>
                    <a:pt x="0" y="2168"/>
                    <a:pt x="630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399"/>
                  </a:cubicBezTo>
                  <a:cubicBezTo>
                    <a:pt x="6502" y="631"/>
                    <a:pt x="5885" y="1"/>
                    <a:pt x="511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" name="Google Shape;987;p34"/>
            <p:cNvSpPr/>
            <p:nvPr/>
          </p:nvSpPr>
          <p:spPr>
            <a:xfrm>
              <a:off x="6913466" y="238019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0"/>
                  </a:moveTo>
                  <a:cubicBezTo>
                    <a:pt x="618" y="0"/>
                    <a:pt x="0" y="618"/>
                    <a:pt x="0" y="1386"/>
                  </a:cubicBezTo>
                  <a:cubicBezTo>
                    <a:pt x="0" y="2155"/>
                    <a:pt x="618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55"/>
                    <a:pt x="6502" y="1386"/>
                  </a:cubicBezTo>
                  <a:cubicBezTo>
                    <a:pt x="6502" y="618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" name="Google Shape;988;p34"/>
            <p:cNvSpPr/>
            <p:nvPr/>
          </p:nvSpPr>
          <p:spPr>
            <a:xfrm>
              <a:off x="6913466" y="2145164"/>
              <a:ext cx="322581" cy="138795"/>
            </a:xfrm>
            <a:custGeom>
              <a:avLst/>
              <a:gdLst/>
              <a:ahLst/>
              <a:cxnLst/>
              <a:rect l="l" t="t" r="r" b="b"/>
              <a:pathLst>
                <a:path w="6503" h="2798" extrusionOk="0">
                  <a:moveTo>
                    <a:pt x="1399" y="0"/>
                  </a:moveTo>
                  <a:cubicBezTo>
                    <a:pt x="630" y="0"/>
                    <a:pt x="0" y="631"/>
                    <a:pt x="0" y="1399"/>
                  </a:cubicBezTo>
                  <a:cubicBezTo>
                    <a:pt x="0" y="2168"/>
                    <a:pt x="630" y="2798"/>
                    <a:pt x="1399" y="2798"/>
                  </a:cubicBezTo>
                  <a:lnTo>
                    <a:pt x="5116" y="2798"/>
                  </a:lnTo>
                  <a:cubicBezTo>
                    <a:pt x="5885" y="2798"/>
                    <a:pt x="6502" y="2168"/>
                    <a:pt x="6502" y="1399"/>
                  </a:cubicBezTo>
                  <a:cubicBezTo>
                    <a:pt x="6502" y="631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" name="Google Shape;989;p34"/>
            <p:cNvSpPr/>
            <p:nvPr/>
          </p:nvSpPr>
          <p:spPr>
            <a:xfrm>
              <a:off x="6914061" y="3566541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1"/>
                  </a:moveTo>
                  <a:cubicBezTo>
                    <a:pt x="618" y="1"/>
                    <a:pt x="1" y="618"/>
                    <a:pt x="1" y="1400"/>
                  </a:cubicBezTo>
                  <a:cubicBezTo>
                    <a:pt x="1" y="2168"/>
                    <a:pt x="618" y="2786"/>
                    <a:pt x="1387" y="2786"/>
                  </a:cubicBezTo>
                  <a:lnTo>
                    <a:pt x="5104" y="2786"/>
                  </a:lnTo>
                  <a:cubicBezTo>
                    <a:pt x="5873" y="2786"/>
                    <a:pt x="6503" y="2168"/>
                    <a:pt x="6503" y="1400"/>
                  </a:cubicBezTo>
                  <a:cubicBezTo>
                    <a:pt x="6503" y="618"/>
                    <a:pt x="5873" y="1"/>
                    <a:pt x="51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" name="Google Shape;990;p34"/>
          <p:cNvGrpSpPr/>
          <p:nvPr/>
        </p:nvGrpSpPr>
        <p:grpSpPr>
          <a:xfrm>
            <a:off x="5734100" y="1698225"/>
            <a:ext cx="338207" cy="2014657"/>
            <a:chOff x="6048625" y="1698225"/>
            <a:chExt cx="338207" cy="2014657"/>
          </a:xfrm>
        </p:grpSpPr>
        <p:sp>
          <p:nvSpPr>
            <p:cNvPr id="991" name="Google Shape;991;p34"/>
            <p:cNvSpPr/>
            <p:nvPr/>
          </p:nvSpPr>
          <p:spPr>
            <a:xfrm>
              <a:off x="6048625" y="1698225"/>
              <a:ext cx="338207" cy="2014657"/>
            </a:xfrm>
            <a:custGeom>
              <a:avLst/>
              <a:gdLst/>
              <a:ahLst/>
              <a:cxnLst/>
              <a:rect l="l" t="t" r="r" b="b"/>
              <a:pathLst>
                <a:path w="6818" h="40614" extrusionOk="0">
                  <a:moveTo>
                    <a:pt x="6654" y="152"/>
                  </a:moveTo>
                  <a:lnTo>
                    <a:pt x="6654" y="40450"/>
                  </a:lnTo>
                  <a:lnTo>
                    <a:pt x="151" y="40450"/>
                  </a:lnTo>
                  <a:lnTo>
                    <a:pt x="151" y="152"/>
                  </a:lnTo>
                  <a:close/>
                  <a:moveTo>
                    <a:pt x="0" y="1"/>
                  </a:moveTo>
                  <a:lnTo>
                    <a:pt x="0" y="40613"/>
                  </a:lnTo>
                  <a:lnTo>
                    <a:pt x="6817" y="40613"/>
                  </a:lnTo>
                  <a:lnTo>
                    <a:pt x="681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" name="Google Shape;992;p34"/>
            <p:cNvSpPr/>
            <p:nvPr/>
          </p:nvSpPr>
          <p:spPr>
            <a:xfrm>
              <a:off x="6056115" y="3318418"/>
              <a:ext cx="323226" cy="138200"/>
            </a:xfrm>
            <a:custGeom>
              <a:avLst/>
              <a:gdLst/>
              <a:ahLst/>
              <a:cxnLst/>
              <a:rect l="l" t="t" r="r" b="b"/>
              <a:pathLst>
                <a:path w="6516" h="2786" extrusionOk="0">
                  <a:moveTo>
                    <a:pt x="1399" y="0"/>
                  </a:moveTo>
                  <a:cubicBezTo>
                    <a:pt x="631" y="0"/>
                    <a:pt x="0" y="630"/>
                    <a:pt x="0" y="1399"/>
                  </a:cubicBezTo>
                  <a:cubicBezTo>
                    <a:pt x="0" y="2168"/>
                    <a:pt x="631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3" y="2168"/>
                    <a:pt x="6515" y="1399"/>
                  </a:cubicBezTo>
                  <a:cubicBezTo>
                    <a:pt x="6515" y="630"/>
                    <a:pt x="5885" y="0"/>
                    <a:pt x="511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" name="Google Shape;993;p34"/>
            <p:cNvSpPr/>
            <p:nvPr/>
          </p:nvSpPr>
          <p:spPr>
            <a:xfrm>
              <a:off x="6056115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1" y="1"/>
                    <a:pt x="0" y="618"/>
                    <a:pt x="0" y="1400"/>
                  </a:cubicBezTo>
                  <a:cubicBezTo>
                    <a:pt x="0" y="2156"/>
                    <a:pt x="631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3" y="2168"/>
                    <a:pt x="6503" y="1400"/>
                  </a:cubicBezTo>
                  <a:cubicBezTo>
                    <a:pt x="6503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" name="Google Shape;994;p34"/>
            <p:cNvSpPr/>
            <p:nvPr/>
          </p:nvSpPr>
          <p:spPr>
            <a:xfrm>
              <a:off x="6056115" y="3566541"/>
              <a:ext cx="323226" cy="138200"/>
            </a:xfrm>
            <a:custGeom>
              <a:avLst/>
              <a:gdLst/>
              <a:ahLst/>
              <a:cxnLst/>
              <a:rect l="l" t="t" r="r" b="b"/>
              <a:pathLst>
                <a:path w="6516" h="2786" extrusionOk="0">
                  <a:moveTo>
                    <a:pt x="1399" y="1"/>
                  </a:moveTo>
                  <a:cubicBezTo>
                    <a:pt x="631" y="1"/>
                    <a:pt x="0" y="618"/>
                    <a:pt x="0" y="1400"/>
                  </a:cubicBezTo>
                  <a:cubicBezTo>
                    <a:pt x="0" y="2156"/>
                    <a:pt x="631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3" y="2168"/>
                    <a:pt x="6515" y="1400"/>
                  </a:cubicBezTo>
                  <a:cubicBezTo>
                    <a:pt x="6515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5" name="Google Shape;995;p34"/>
          <p:cNvSpPr/>
          <p:nvPr/>
        </p:nvSpPr>
        <p:spPr>
          <a:xfrm>
            <a:off x="1143200" y="4267825"/>
            <a:ext cx="138900" cy="138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6" name="Google Shape;996;p34"/>
          <p:cNvSpPr/>
          <p:nvPr/>
        </p:nvSpPr>
        <p:spPr>
          <a:xfrm>
            <a:off x="2810075" y="4267825"/>
            <a:ext cx="138900" cy="138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7" name="Google Shape;997;p34"/>
          <p:cNvSpPr txBox="1">
            <a:spLocks noGrp="1"/>
          </p:cNvSpPr>
          <p:nvPr>
            <p:ph type="subTitle" idx="4294967295"/>
          </p:nvPr>
        </p:nvSpPr>
        <p:spPr>
          <a:xfrm>
            <a:off x="1386875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998" name="Google Shape;998;p34"/>
          <p:cNvSpPr txBox="1">
            <a:spLocks noGrp="1"/>
          </p:cNvSpPr>
          <p:nvPr>
            <p:ph type="subTitle" idx="4294967295"/>
          </p:nvPr>
        </p:nvSpPr>
        <p:spPr>
          <a:xfrm>
            <a:off x="3053750" y="4141975"/>
            <a:ext cx="11286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</a:t>
            </a:r>
            <a:endParaRPr/>
          </a:p>
        </p:txBody>
      </p:sp>
      <p:sp>
        <p:nvSpPr>
          <p:cNvPr id="999" name="Google Shape;999;p34"/>
          <p:cNvSpPr txBox="1">
            <a:spLocks noGrp="1"/>
          </p:cNvSpPr>
          <p:nvPr>
            <p:ph type="subTitle" idx="4294967295"/>
          </p:nvPr>
        </p:nvSpPr>
        <p:spPr>
          <a:xfrm>
            <a:off x="5448850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000" name="Google Shape;1000;p34"/>
          <p:cNvSpPr txBox="1">
            <a:spLocks noGrp="1"/>
          </p:cNvSpPr>
          <p:nvPr>
            <p:ph type="subTitle" idx="4294967295"/>
          </p:nvPr>
        </p:nvSpPr>
        <p:spPr>
          <a:xfrm>
            <a:off x="6357550" y="4141975"/>
            <a:ext cx="11286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1001" name="Google Shape;1001;p34"/>
          <p:cNvSpPr txBox="1">
            <a:spLocks noGrp="1"/>
          </p:cNvSpPr>
          <p:nvPr>
            <p:ph type="subTitle" idx="4294967295"/>
          </p:nvPr>
        </p:nvSpPr>
        <p:spPr>
          <a:xfrm>
            <a:off x="7486100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1002" name="Google Shape;1002;p34"/>
          <p:cNvSpPr txBox="1">
            <a:spLocks noGrp="1"/>
          </p:cNvSpPr>
          <p:nvPr>
            <p:ph type="subTitle" idx="4294967295"/>
          </p:nvPr>
        </p:nvSpPr>
        <p:spPr>
          <a:xfrm>
            <a:off x="5448850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rPr>
              <a:t>30%</a:t>
            </a:r>
            <a:endParaRPr sz="2200">
              <a:solidFill>
                <a:schemeClr val="accen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03" name="Google Shape;1003;p34"/>
          <p:cNvSpPr txBox="1">
            <a:spLocks noGrp="1"/>
          </p:cNvSpPr>
          <p:nvPr>
            <p:ph type="subTitle" idx="4294967295"/>
          </p:nvPr>
        </p:nvSpPr>
        <p:spPr>
          <a:xfrm>
            <a:off x="6467475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2"/>
                </a:solidFill>
                <a:latin typeface="Share Tech"/>
                <a:ea typeface="Share Tech"/>
                <a:cs typeface="Share Tech"/>
                <a:sym typeface="Share Tech"/>
              </a:rPr>
              <a:t>80%</a:t>
            </a:r>
            <a:endParaRPr sz="2200">
              <a:solidFill>
                <a:schemeClr val="accent2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04" name="Google Shape;1004;p34"/>
          <p:cNvSpPr txBox="1">
            <a:spLocks noGrp="1"/>
          </p:cNvSpPr>
          <p:nvPr>
            <p:ph type="subTitle" idx="4294967295"/>
          </p:nvPr>
        </p:nvSpPr>
        <p:spPr>
          <a:xfrm>
            <a:off x="7486100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50%</a:t>
            </a:r>
            <a:endParaRPr sz="22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9" name="Google Shape;1009;p35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RGET</a:t>
            </a:r>
            <a:endParaRPr/>
          </a:p>
        </p:txBody>
      </p:sp>
      <p:sp>
        <p:nvSpPr>
          <p:cNvPr id="1010" name="Google Shape;1010;p35"/>
          <p:cNvSpPr/>
          <p:nvPr/>
        </p:nvSpPr>
        <p:spPr>
          <a:xfrm>
            <a:off x="1411483" y="1615175"/>
            <a:ext cx="1674020" cy="1674059"/>
          </a:xfrm>
          <a:custGeom>
            <a:avLst/>
            <a:gdLst/>
            <a:ahLst/>
            <a:cxnLst/>
            <a:rect l="l" t="t" r="r" b="b"/>
            <a:pathLst>
              <a:path w="43045" h="43046" extrusionOk="0">
                <a:moveTo>
                  <a:pt x="21522" y="2193"/>
                </a:moveTo>
                <a:cubicBezTo>
                  <a:pt x="32195" y="2206"/>
                  <a:pt x="40839" y="10850"/>
                  <a:pt x="40852" y="21523"/>
                </a:cubicBezTo>
                <a:cubicBezTo>
                  <a:pt x="40852" y="29348"/>
                  <a:pt x="36139" y="36392"/>
                  <a:pt x="28919" y="39391"/>
                </a:cubicBezTo>
                <a:cubicBezTo>
                  <a:pt x="26525" y="40379"/>
                  <a:pt x="24014" y="40860"/>
                  <a:pt x="21525" y="40860"/>
                </a:cubicBezTo>
                <a:cubicBezTo>
                  <a:pt x="16494" y="40860"/>
                  <a:pt x="11551" y="38896"/>
                  <a:pt x="7850" y="35195"/>
                </a:cubicBezTo>
                <a:cubicBezTo>
                  <a:pt x="2319" y="29663"/>
                  <a:pt x="668" y="21346"/>
                  <a:pt x="3654" y="14126"/>
                </a:cubicBezTo>
                <a:cubicBezTo>
                  <a:pt x="6653" y="6893"/>
                  <a:pt x="13697" y="2193"/>
                  <a:pt x="21522" y="2193"/>
                </a:cubicBezTo>
                <a:close/>
                <a:moveTo>
                  <a:pt x="21522" y="1"/>
                </a:moveTo>
                <a:cubicBezTo>
                  <a:pt x="9652" y="1"/>
                  <a:pt x="0" y="9653"/>
                  <a:pt x="0" y="21523"/>
                </a:cubicBezTo>
                <a:cubicBezTo>
                  <a:pt x="0" y="33393"/>
                  <a:pt x="9652" y="43045"/>
                  <a:pt x="21522" y="43045"/>
                </a:cubicBezTo>
                <a:cubicBezTo>
                  <a:pt x="33380" y="43045"/>
                  <a:pt x="43045" y="33393"/>
                  <a:pt x="43045" y="21523"/>
                </a:cubicBezTo>
                <a:cubicBezTo>
                  <a:pt x="43045" y="9653"/>
                  <a:pt x="33392" y="1"/>
                  <a:pt x="21522" y="1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1" name="Google Shape;1011;p35"/>
          <p:cNvSpPr/>
          <p:nvPr/>
        </p:nvSpPr>
        <p:spPr>
          <a:xfrm>
            <a:off x="1508979" y="1767040"/>
            <a:ext cx="1424618" cy="1370756"/>
          </a:xfrm>
          <a:custGeom>
            <a:avLst/>
            <a:gdLst/>
            <a:ahLst/>
            <a:cxnLst/>
            <a:rect l="l" t="t" r="r" b="b"/>
            <a:pathLst>
              <a:path w="36632" h="35247" extrusionOk="0">
                <a:moveTo>
                  <a:pt x="19015" y="2182"/>
                </a:moveTo>
                <a:cubicBezTo>
                  <a:pt x="27533" y="2194"/>
                  <a:pt x="34439" y="9100"/>
                  <a:pt x="34451" y="17630"/>
                </a:cubicBezTo>
                <a:cubicBezTo>
                  <a:pt x="34451" y="23868"/>
                  <a:pt x="30684" y="29500"/>
                  <a:pt x="24913" y="31882"/>
                </a:cubicBezTo>
                <a:cubicBezTo>
                  <a:pt x="23004" y="32675"/>
                  <a:pt x="21000" y="33060"/>
                  <a:pt x="19011" y="33060"/>
                </a:cubicBezTo>
                <a:cubicBezTo>
                  <a:pt x="14997" y="33060"/>
                  <a:pt x="11048" y="31492"/>
                  <a:pt x="8090" y="28543"/>
                </a:cubicBezTo>
                <a:cubicBezTo>
                  <a:pt x="3680" y="24132"/>
                  <a:pt x="2357" y="17492"/>
                  <a:pt x="4751" y="11721"/>
                </a:cubicBezTo>
                <a:cubicBezTo>
                  <a:pt x="7133" y="5949"/>
                  <a:pt x="12765" y="2194"/>
                  <a:pt x="19015" y="2194"/>
                </a:cubicBezTo>
                <a:lnTo>
                  <a:pt x="19015" y="2182"/>
                </a:lnTo>
                <a:close/>
                <a:moveTo>
                  <a:pt x="19027" y="1"/>
                </a:moveTo>
                <a:cubicBezTo>
                  <a:pt x="14437" y="1"/>
                  <a:pt x="9927" y="1794"/>
                  <a:pt x="6553" y="5168"/>
                </a:cubicBezTo>
                <a:cubicBezTo>
                  <a:pt x="1513" y="10209"/>
                  <a:pt x="1" y="17782"/>
                  <a:pt x="2735" y="24372"/>
                </a:cubicBezTo>
                <a:cubicBezTo>
                  <a:pt x="5457" y="30950"/>
                  <a:pt x="11883" y="35246"/>
                  <a:pt x="19015" y="35246"/>
                </a:cubicBezTo>
                <a:cubicBezTo>
                  <a:pt x="28743" y="35234"/>
                  <a:pt x="36619" y="27358"/>
                  <a:pt x="36631" y="17630"/>
                </a:cubicBezTo>
                <a:cubicBezTo>
                  <a:pt x="36631" y="10498"/>
                  <a:pt x="32334" y="4072"/>
                  <a:pt x="25757" y="1338"/>
                </a:cubicBezTo>
                <a:cubicBezTo>
                  <a:pt x="23578" y="438"/>
                  <a:pt x="21293" y="1"/>
                  <a:pt x="19027" y="1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2" name="Google Shape;1012;p35"/>
          <p:cNvSpPr txBox="1"/>
          <p:nvPr/>
        </p:nvSpPr>
        <p:spPr>
          <a:xfrm>
            <a:off x="1446264" y="35144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75%</a:t>
            </a:r>
            <a:endParaRPr sz="20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13" name="Google Shape;1013;p35"/>
          <p:cNvSpPr/>
          <p:nvPr/>
        </p:nvSpPr>
        <p:spPr>
          <a:xfrm>
            <a:off x="1411495" y="1615425"/>
            <a:ext cx="1674000" cy="1674000"/>
          </a:xfrm>
          <a:prstGeom prst="blockArc">
            <a:avLst>
              <a:gd name="adj1" fmla="val 5981036"/>
              <a:gd name="adj2" fmla="val 1956664"/>
              <a:gd name="adj3" fmla="val 5171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4" name="Google Shape;1014;p35"/>
          <p:cNvSpPr/>
          <p:nvPr/>
        </p:nvSpPr>
        <p:spPr>
          <a:xfrm>
            <a:off x="1563257" y="1767013"/>
            <a:ext cx="1370400" cy="1370400"/>
          </a:xfrm>
          <a:prstGeom prst="blockArc">
            <a:avLst>
              <a:gd name="adj1" fmla="val 10800000"/>
              <a:gd name="adj2" fmla="val 1840440"/>
              <a:gd name="adj3" fmla="val 5981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5" name="Google Shape;1015;p35"/>
          <p:cNvSpPr txBox="1"/>
          <p:nvPr/>
        </p:nvSpPr>
        <p:spPr>
          <a:xfrm>
            <a:off x="1446264" y="40681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accent2"/>
                </a:solidFill>
                <a:latin typeface="Share Tech"/>
                <a:ea typeface="Share Tech"/>
                <a:cs typeface="Share Tech"/>
                <a:sym typeface="Share Tech"/>
              </a:rPr>
              <a:t>60%</a:t>
            </a:r>
            <a:endParaRPr sz="2000">
              <a:solidFill>
                <a:schemeClr val="accent2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16" name="Google Shape;1016;p35"/>
          <p:cNvSpPr txBox="1"/>
          <p:nvPr/>
        </p:nvSpPr>
        <p:spPr>
          <a:xfrm>
            <a:off x="2230880" y="3514400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Female</a:t>
            </a:r>
            <a:endParaRPr sz="2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17" name="Google Shape;1017;p35"/>
          <p:cNvSpPr txBox="1"/>
          <p:nvPr/>
        </p:nvSpPr>
        <p:spPr>
          <a:xfrm>
            <a:off x="2230889" y="40681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Male</a:t>
            </a:r>
            <a:endParaRPr sz="2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cxnSp>
        <p:nvCxnSpPr>
          <p:cNvPr id="1018" name="Google Shape;1018;p35"/>
          <p:cNvCxnSpPr>
            <a:stCxn id="1014" idx="0"/>
            <a:endCxn id="1015" idx="1"/>
          </p:cNvCxnSpPr>
          <p:nvPr/>
        </p:nvCxnSpPr>
        <p:spPr>
          <a:xfrm rot="5400000">
            <a:off x="619639" y="3278713"/>
            <a:ext cx="1811100" cy="158100"/>
          </a:xfrm>
          <a:prstGeom prst="bentConnector4">
            <a:avLst>
              <a:gd name="adj1" fmla="val -1062"/>
              <a:gd name="adj2" fmla="val 250538"/>
            </a:avLst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19" name="Google Shape;1019;p35"/>
          <p:cNvCxnSpPr/>
          <p:nvPr/>
        </p:nvCxnSpPr>
        <p:spPr>
          <a:xfrm rot="10800000">
            <a:off x="1709408" y="3068100"/>
            <a:ext cx="0" cy="521100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20" name="Google Shape;1020;p35"/>
          <p:cNvSpPr txBox="1"/>
          <p:nvPr/>
        </p:nvSpPr>
        <p:spPr>
          <a:xfrm>
            <a:off x="3650742" y="1671325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20-39</a:t>
            </a:r>
            <a:endParaRPr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21" name="Google Shape;1021;p35"/>
          <p:cNvSpPr txBox="1"/>
          <p:nvPr/>
        </p:nvSpPr>
        <p:spPr>
          <a:xfrm>
            <a:off x="4014342" y="2318175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40-60</a:t>
            </a:r>
            <a:endParaRPr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22" name="Google Shape;1022;p35"/>
          <p:cNvSpPr/>
          <p:nvPr/>
        </p:nvSpPr>
        <p:spPr>
          <a:xfrm>
            <a:off x="509057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3" name="Google Shape;1023;p35"/>
          <p:cNvSpPr/>
          <p:nvPr/>
        </p:nvSpPr>
        <p:spPr>
          <a:xfrm>
            <a:off x="540275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4" name="Google Shape;1024;p35"/>
          <p:cNvSpPr/>
          <p:nvPr/>
        </p:nvSpPr>
        <p:spPr>
          <a:xfrm>
            <a:off x="571492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5" name="Google Shape;1025;p35"/>
          <p:cNvSpPr/>
          <p:nvPr/>
        </p:nvSpPr>
        <p:spPr>
          <a:xfrm>
            <a:off x="602710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6" name="Google Shape;1026;p35"/>
          <p:cNvSpPr/>
          <p:nvPr/>
        </p:nvSpPr>
        <p:spPr>
          <a:xfrm>
            <a:off x="633927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7" name="Google Shape;1027;p35"/>
          <p:cNvSpPr/>
          <p:nvPr/>
        </p:nvSpPr>
        <p:spPr>
          <a:xfrm>
            <a:off x="665145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8" name="Google Shape;1028;p35"/>
          <p:cNvSpPr/>
          <p:nvPr/>
        </p:nvSpPr>
        <p:spPr>
          <a:xfrm>
            <a:off x="696362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9" name="Google Shape;1029;p35"/>
          <p:cNvSpPr/>
          <p:nvPr/>
        </p:nvSpPr>
        <p:spPr>
          <a:xfrm>
            <a:off x="509057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0" name="Google Shape;1030;p35"/>
          <p:cNvSpPr/>
          <p:nvPr/>
        </p:nvSpPr>
        <p:spPr>
          <a:xfrm>
            <a:off x="540275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1" name="Google Shape;1031;p35"/>
          <p:cNvSpPr/>
          <p:nvPr/>
        </p:nvSpPr>
        <p:spPr>
          <a:xfrm>
            <a:off x="571492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2" name="Google Shape;1032;p35"/>
          <p:cNvSpPr/>
          <p:nvPr/>
        </p:nvSpPr>
        <p:spPr>
          <a:xfrm>
            <a:off x="602710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3" name="Google Shape;1033;p35"/>
          <p:cNvSpPr/>
          <p:nvPr/>
        </p:nvSpPr>
        <p:spPr>
          <a:xfrm>
            <a:off x="633927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4" name="Google Shape;1034;p35"/>
          <p:cNvSpPr/>
          <p:nvPr/>
        </p:nvSpPr>
        <p:spPr>
          <a:xfrm>
            <a:off x="665145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5" name="Google Shape;1035;p35"/>
          <p:cNvSpPr/>
          <p:nvPr/>
        </p:nvSpPr>
        <p:spPr>
          <a:xfrm>
            <a:off x="6963625" y="190530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" name="Google Shape;1036;p35"/>
          <p:cNvSpPr/>
          <p:nvPr/>
        </p:nvSpPr>
        <p:spPr>
          <a:xfrm>
            <a:off x="5090575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7" name="Google Shape;1037;p35"/>
          <p:cNvSpPr/>
          <p:nvPr/>
        </p:nvSpPr>
        <p:spPr>
          <a:xfrm>
            <a:off x="5402750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8" name="Google Shape;1038;p35"/>
          <p:cNvSpPr/>
          <p:nvPr/>
        </p:nvSpPr>
        <p:spPr>
          <a:xfrm>
            <a:off x="5714925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9" name="Google Shape;1039;p35"/>
          <p:cNvSpPr/>
          <p:nvPr/>
        </p:nvSpPr>
        <p:spPr>
          <a:xfrm>
            <a:off x="6027100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0" name="Google Shape;1040;p35"/>
          <p:cNvSpPr/>
          <p:nvPr/>
        </p:nvSpPr>
        <p:spPr>
          <a:xfrm>
            <a:off x="6339275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1" name="Google Shape;1041;p35"/>
          <p:cNvSpPr/>
          <p:nvPr/>
        </p:nvSpPr>
        <p:spPr>
          <a:xfrm>
            <a:off x="6651450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2" name="Google Shape;1042;p35"/>
          <p:cNvSpPr/>
          <p:nvPr/>
        </p:nvSpPr>
        <p:spPr>
          <a:xfrm>
            <a:off x="6963625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3" name="Google Shape;1043;p35"/>
          <p:cNvSpPr/>
          <p:nvPr/>
        </p:nvSpPr>
        <p:spPr>
          <a:xfrm>
            <a:off x="509057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4" name="Google Shape;1044;p35"/>
          <p:cNvSpPr/>
          <p:nvPr/>
        </p:nvSpPr>
        <p:spPr>
          <a:xfrm>
            <a:off x="5402750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5" name="Google Shape;1045;p35"/>
          <p:cNvSpPr/>
          <p:nvPr/>
        </p:nvSpPr>
        <p:spPr>
          <a:xfrm>
            <a:off x="571492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6" name="Google Shape;1046;p35"/>
          <p:cNvSpPr/>
          <p:nvPr/>
        </p:nvSpPr>
        <p:spPr>
          <a:xfrm>
            <a:off x="6027100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7" name="Google Shape;1047;p35"/>
          <p:cNvSpPr/>
          <p:nvPr/>
        </p:nvSpPr>
        <p:spPr>
          <a:xfrm>
            <a:off x="633927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8" name="Google Shape;1048;p35"/>
          <p:cNvSpPr/>
          <p:nvPr/>
        </p:nvSpPr>
        <p:spPr>
          <a:xfrm>
            <a:off x="6651450" y="258565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9" name="Google Shape;1049;p35"/>
          <p:cNvSpPr/>
          <p:nvPr/>
        </p:nvSpPr>
        <p:spPr>
          <a:xfrm>
            <a:off x="6963625" y="258565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0" name="Google Shape;1050;p35"/>
          <p:cNvSpPr txBox="1"/>
          <p:nvPr/>
        </p:nvSpPr>
        <p:spPr>
          <a:xfrm>
            <a:off x="7275792" y="1671325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80%</a:t>
            </a:r>
            <a:endParaRPr sz="24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51" name="Google Shape;1051;p35"/>
          <p:cNvSpPr txBox="1"/>
          <p:nvPr/>
        </p:nvSpPr>
        <p:spPr>
          <a:xfrm>
            <a:off x="7275792" y="2332976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50%</a:t>
            </a:r>
            <a:endParaRPr sz="24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grpSp>
        <p:nvGrpSpPr>
          <p:cNvPr id="1052" name="Google Shape;1052;p35"/>
          <p:cNvGrpSpPr/>
          <p:nvPr/>
        </p:nvGrpSpPr>
        <p:grpSpPr>
          <a:xfrm>
            <a:off x="4923267" y="3422061"/>
            <a:ext cx="417992" cy="1036638"/>
            <a:chOff x="3343310" y="4475555"/>
            <a:chExt cx="127717" cy="316753"/>
          </a:xfrm>
        </p:grpSpPr>
        <p:sp>
          <p:nvSpPr>
            <p:cNvPr id="1053" name="Google Shape;1053;p35"/>
            <p:cNvSpPr/>
            <p:nvPr/>
          </p:nvSpPr>
          <p:spPr>
            <a:xfrm>
              <a:off x="3343310" y="4535967"/>
              <a:ext cx="127717" cy="256341"/>
            </a:xfrm>
            <a:custGeom>
              <a:avLst/>
              <a:gdLst/>
              <a:ahLst/>
              <a:cxnLst/>
              <a:rect l="l" t="t" r="r" b="b"/>
              <a:pathLst>
                <a:path w="77995" h="156544" extrusionOk="0">
                  <a:moveTo>
                    <a:pt x="18496" y="1"/>
                  </a:moveTo>
                  <a:cubicBezTo>
                    <a:pt x="8514" y="1"/>
                    <a:pt x="359" y="8123"/>
                    <a:pt x="327" y="18105"/>
                  </a:cubicBezTo>
                  <a:lnTo>
                    <a:pt x="33" y="74537"/>
                  </a:lnTo>
                  <a:cubicBezTo>
                    <a:pt x="0" y="78778"/>
                    <a:pt x="3425" y="82235"/>
                    <a:pt x="7666" y="82268"/>
                  </a:cubicBezTo>
                  <a:lnTo>
                    <a:pt x="7731" y="82268"/>
                  </a:lnTo>
                  <a:cubicBezTo>
                    <a:pt x="11939" y="82268"/>
                    <a:pt x="15364" y="78843"/>
                    <a:pt x="15397" y="74635"/>
                  </a:cubicBezTo>
                  <a:lnTo>
                    <a:pt x="15691" y="18170"/>
                  </a:lnTo>
                  <a:cubicBezTo>
                    <a:pt x="15691" y="17341"/>
                    <a:pt x="16344" y="16668"/>
                    <a:pt x="17166" y="16668"/>
                  </a:cubicBezTo>
                  <a:cubicBezTo>
                    <a:pt x="17185" y="16668"/>
                    <a:pt x="17204" y="16669"/>
                    <a:pt x="17224" y="16669"/>
                  </a:cubicBezTo>
                  <a:cubicBezTo>
                    <a:pt x="18039" y="16669"/>
                    <a:pt x="18724" y="17355"/>
                    <a:pt x="18724" y="18170"/>
                  </a:cubicBezTo>
                  <a:lnTo>
                    <a:pt x="18724" y="147345"/>
                  </a:lnTo>
                  <a:cubicBezTo>
                    <a:pt x="18724" y="152433"/>
                    <a:pt x="22867" y="156543"/>
                    <a:pt x="27956" y="156543"/>
                  </a:cubicBezTo>
                  <a:cubicBezTo>
                    <a:pt x="33044" y="156543"/>
                    <a:pt x="37187" y="152433"/>
                    <a:pt x="37187" y="147345"/>
                  </a:cubicBezTo>
                  <a:lnTo>
                    <a:pt x="37187" y="73656"/>
                  </a:lnTo>
                  <a:lnTo>
                    <a:pt x="41167" y="73656"/>
                  </a:lnTo>
                  <a:lnTo>
                    <a:pt x="41167" y="147345"/>
                  </a:lnTo>
                  <a:cubicBezTo>
                    <a:pt x="41167" y="152433"/>
                    <a:pt x="45277" y="156543"/>
                    <a:pt x="50365" y="156543"/>
                  </a:cubicBezTo>
                  <a:cubicBezTo>
                    <a:pt x="55454" y="156543"/>
                    <a:pt x="59597" y="152433"/>
                    <a:pt x="59597" y="147345"/>
                  </a:cubicBezTo>
                  <a:cubicBezTo>
                    <a:pt x="59597" y="25477"/>
                    <a:pt x="59434" y="95153"/>
                    <a:pt x="59434" y="18300"/>
                  </a:cubicBezTo>
                  <a:cubicBezTo>
                    <a:pt x="59434" y="17420"/>
                    <a:pt x="60119" y="16702"/>
                    <a:pt x="60967" y="16669"/>
                  </a:cubicBezTo>
                  <a:cubicBezTo>
                    <a:pt x="60988" y="16669"/>
                    <a:pt x="61009" y="16668"/>
                    <a:pt x="61030" y="16668"/>
                  </a:cubicBezTo>
                  <a:cubicBezTo>
                    <a:pt x="61882" y="16668"/>
                    <a:pt x="62567" y="17310"/>
                    <a:pt x="62631" y="18170"/>
                  </a:cubicBezTo>
                  <a:lnTo>
                    <a:pt x="62598" y="74570"/>
                  </a:lnTo>
                  <a:cubicBezTo>
                    <a:pt x="62598" y="78810"/>
                    <a:pt x="66023" y="82268"/>
                    <a:pt x="70264" y="82268"/>
                  </a:cubicBezTo>
                  <a:cubicBezTo>
                    <a:pt x="74504" y="82268"/>
                    <a:pt x="77962" y="78843"/>
                    <a:pt x="77962" y="74602"/>
                  </a:cubicBezTo>
                  <a:lnTo>
                    <a:pt x="77994" y="18137"/>
                  </a:lnTo>
                  <a:cubicBezTo>
                    <a:pt x="77994" y="18137"/>
                    <a:pt x="77994" y="18105"/>
                    <a:pt x="77994" y="18105"/>
                  </a:cubicBezTo>
                  <a:cubicBezTo>
                    <a:pt x="77962" y="8123"/>
                    <a:pt x="69807" y="1"/>
                    <a:pt x="5982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" name="Google Shape;1054;p35"/>
            <p:cNvSpPr/>
            <p:nvPr/>
          </p:nvSpPr>
          <p:spPr>
            <a:xfrm>
              <a:off x="3381341" y="4475555"/>
              <a:ext cx="52189" cy="52135"/>
            </a:xfrm>
            <a:custGeom>
              <a:avLst/>
              <a:gdLst/>
              <a:ahLst/>
              <a:cxnLst/>
              <a:rect l="l" t="t" r="r" b="b"/>
              <a:pathLst>
                <a:path w="31871" h="31838" extrusionOk="0">
                  <a:moveTo>
                    <a:pt x="15952" y="1"/>
                  </a:moveTo>
                  <a:cubicBezTo>
                    <a:pt x="7144" y="1"/>
                    <a:pt x="1" y="7112"/>
                    <a:pt x="1" y="15919"/>
                  </a:cubicBezTo>
                  <a:cubicBezTo>
                    <a:pt x="1" y="24694"/>
                    <a:pt x="7144" y="31838"/>
                    <a:pt x="15952" y="31838"/>
                  </a:cubicBezTo>
                  <a:cubicBezTo>
                    <a:pt x="24727" y="31838"/>
                    <a:pt x="31870" y="24694"/>
                    <a:pt x="31870" y="15919"/>
                  </a:cubicBezTo>
                  <a:cubicBezTo>
                    <a:pt x="31870" y="7112"/>
                    <a:pt x="24727" y="1"/>
                    <a:pt x="1595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5" name="Google Shape;1055;p35"/>
          <p:cNvSpPr txBox="1"/>
          <p:nvPr/>
        </p:nvSpPr>
        <p:spPr>
          <a:xfrm>
            <a:off x="5756375" y="3422050"/>
            <a:ext cx="15951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914400" lvl="0" indent="-91440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500,000+</a:t>
            </a:r>
            <a:endParaRPr sz="30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56" name="Google Shape;1056;p35"/>
          <p:cNvSpPr txBox="1"/>
          <p:nvPr/>
        </p:nvSpPr>
        <p:spPr>
          <a:xfrm>
            <a:off x="5680688" y="3830650"/>
            <a:ext cx="17466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Employees</a:t>
            </a:r>
            <a:endParaRPr sz="18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57" name="Google Shape;1057;p35"/>
          <p:cNvSpPr/>
          <p:nvPr/>
        </p:nvSpPr>
        <p:spPr>
          <a:xfrm>
            <a:off x="5482538" y="3388075"/>
            <a:ext cx="184200" cy="1104600"/>
          </a:xfrm>
          <a:prstGeom prst="rightBrace">
            <a:avLst>
              <a:gd name="adj1" fmla="val 0"/>
              <a:gd name="adj2" fmla="val 84884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058" name="Google Shape;1058;p35"/>
          <p:cNvCxnSpPr>
            <a:stCxn id="1057" idx="1"/>
          </p:cNvCxnSpPr>
          <p:nvPr/>
        </p:nvCxnSpPr>
        <p:spPr>
          <a:xfrm>
            <a:off x="5666738" y="4325704"/>
            <a:ext cx="17745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059" name="Google Shape;1059;p35"/>
          <p:cNvGrpSpPr/>
          <p:nvPr/>
        </p:nvGrpSpPr>
        <p:grpSpPr>
          <a:xfrm>
            <a:off x="4363992" y="3422061"/>
            <a:ext cx="417992" cy="1036638"/>
            <a:chOff x="3343310" y="4475555"/>
            <a:chExt cx="127717" cy="316753"/>
          </a:xfrm>
        </p:grpSpPr>
        <p:sp>
          <p:nvSpPr>
            <p:cNvPr id="1060" name="Google Shape;1060;p35"/>
            <p:cNvSpPr/>
            <p:nvPr/>
          </p:nvSpPr>
          <p:spPr>
            <a:xfrm>
              <a:off x="3343310" y="4535967"/>
              <a:ext cx="127717" cy="256341"/>
            </a:xfrm>
            <a:custGeom>
              <a:avLst/>
              <a:gdLst/>
              <a:ahLst/>
              <a:cxnLst/>
              <a:rect l="l" t="t" r="r" b="b"/>
              <a:pathLst>
                <a:path w="77995" h="156544" extrusionOk="0">
                  <a:moveTo>
                    <a:pt x="18496" y="1"/>
                  </a:moveTo>
                  <a:cubicBezTo>
                    <a:pt x="8514" y="1"/>
                    <a:pt x="359" y="8123"/>
                    <a:pt x="327" y="18105"/>
                  </a:cubicBezTo>
                  <a:lnTo>
                    <a:pt x="33" y="74537"/>
                  </a:lnTo>
                  <a:cubicBezTo>
                    <a:pt x="0" y="78778"/>
                    <a:pt x="3425" y="82235"/>
                    <a:pt x="7666" y="82268"/>
                  </a:cubicBezTo>
                  <a:lnTo>
                    <a:pt x="7731" y="82268"/>
                  </a:lnTo>
                  <a:cubicBezTo>
                    <a:pt x="11939" y="82268"/>
                    <a:pt x="15364" y="78843"/>
                    <a:pt x="15397" y="74635"/>
                  </a:cubicBezTo>
                  <a:lnTo>
                    <a:pt x="15691" y="18170"/>
                  </a:lnTo>
                  <a:cubicBezTo>
                    <a:pt x="15691" y="17341"/>
                    <a:pt x="16344" y="16668"/>
                    <a:pt x="17166" y="16668"/>
                  </a:cubicBezTo>
                  <a:cubicBezTo>
                    <a:pt x="17185" y="16668"/>
                    <a:pt x="17204" y="16669"/>
                    <a:pt x="17224" y="16669"/>
                  </a:cubicBezTo>
                  <a:cubicBezTo>
                    <a:pt x="18039" y="16669"/>
                    <a:pt x="18724" y="17355"/>
                    <a:pt x="18724" y="18170"/>
                  </a:cubicBezTo>
                  <a:lnTo>
                    <a:pt x="18724" y="147345"/>
                  </a:lnTo>
                  <a:cubicBezTo>
                    <a:pt x="18724" y="152433"/>
                    <a:pt x="22867" y="156543"/>
                    <a:pt x="27956" y="156543"/>
                  </a:cubicBezTo>
                  <a:cubicBezTo>
                    <a:pt x="33044" y="156543"/>
                    <a:pt x="37187" y="152433"/>
                    <a:pt x="37187" y="147345"/>
                  </a:cubicBezTo>
                  <a:lnTo>
                    <a:pt x="37187" y="73656"/>
                  </a:lnTo>
                  <a:lnTo>
                    <a:pt x="41167" y="73656"/>
                  </a:lnTo>
                  <a:lnTo>
                    <a:pt x="41167" y="147345"/>
                  </a:lnTo>
                  <a:cubicBezTo>
                    <a:pt x="41167" y="152433"/>
                    <a:pt x="45277" y="156543"/>
                    <a:pt x="50365" y="156543"/>
                  </a:cubicBezTo>
                  <a:cubicBezTo>
                    <a:pt x="55454" y="156543"/>
                    <a:pt x="59597" y="152433"/>
                    <a:pt x="59597" y="147345"/>
                  </a:cubicBezTo>
                  <a:cubicBezTo>
                    <a:pt x="59597" y="25477"/>
                    <a:pt x="59434" y="95153"/>
                    <a:pt x="59434" y="18300"/>
                  </a:cubicBezTo>
                  <a:cubicBezTo>
                    <a:pt x="59434" y="17420"/>
                    <a:pt x="60119" y="16702"/>
                    <a:pt x="60967" y="16669"/>
                  </a:cubicBezTo>
                  <a:cubicBezTo>
                    <a:pt x="60988" y="16669"/>
                    <a:pt x="61009" y="16668"/>
                    <a:pt x="61030" y="16668"/>
                  </a:cubicBezTo>
                  <a:cubicBezTo>
                    <a:pt x="61882" y="16668"/>
                    <a:pt x="62567" y="17310"/>
                    <a:pt x="62631" y="18170"/>
                  </a:cubicBezTo>
                  <a:lnTo>
                    <a:pt x="62598" y="74570"/>
                  </a:lnTo>
                  <a:cubicBezTo>
                    <a:pt x="62598" y="78810"/>
                    <a:pt x="66023" y="82268"/>
                    <a:pt x="70264" y="82268"/>
                  </a:cubicBezTo>
                  <a:cubicBezTo>
                    <a:pt x="74504" y="82268"/>
                    <a:pt x="77962" y="78843"/>
                    <a:pt x="77962" y="74602"/>
                  </a:cubicBezTo>
                  <a:lnTo>
                    <a:pt x="77994" y="18137"/>
                  </a:lnTo>
                  <a:cubicBezTo>
                    <a:pt x="77994" y="18137"/>
                    <a:pt x="77994" y="18105"/>
                    <a:pt x="77994" y="18105"/>
                  </a:cubicBezTo>
                  <a:cubicBezTo>
                    <a:pt x="77962" y="8123"/>
                    <a:pt x="69807" y="1"/>
                    <a:pt x="5982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" name="Google Shape;1061;p35"/>
            <p:cNvSpPr/>
            <p:nvPr/>
          </p:nvSpPr>
          <p:spPr>
            <a:xfrm>
              <a:off x="3381341" y="4475555"/>
              <a:ext cx="52189" cy="52135"/>
            </a:xfrm>
            <a:custGeom>
              <a:avLst/>
              <a:gdLst/>
              <a:ahLst/>
              <a:cxnLst/>
              <a:rect l="l" t="t" r="r" b="b"/>
              <a:pathLst>
                <a:path w="31871" h="31838" extrusionOk="0">
                  <a:moveTo>
                    <a:pt x="15952" y="1"/>
                  </a:moveTo>
                  <a:cubicBezTo>
                    <a:pt x="7144" y="1"/>
                    <a:pt x="1" y="7112"/>
                    <a:pt x="1" y="15919"/>
                  </a:cubicBezTo>
                  <a:cubicBezTo>
                    <a:pt x="1" y="24694"/>
                    <a:pt x="7144" y="31838"/>
                    <a:pt x="15952" y="31838"/>
                  </a:cubicBezTo>
                  <a:cubicBezTo>
                    <a:pt x="24727" y="31838"/>
                    <a:pt x="31870" y="24694"/>
                    <a:pt x="31870" y="15919"/>
                  </a:cubicBezTo>
                  <a:cubicBezTo>
                    <a:pt x="31870" y="7112"/>
                    <a:pt x="24727" y="1"/>
                    <a:pt x="1595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62" name="Google Shape;1062;p35"/>
          <p:cNvSpPr txBox="1"/>
          <p:nvPr/>
        </p:nvSpPr>
        <p:spPr>
          <a:xfrm>
            <a:off x="1307862" y="10220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GENDER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63" name="Google Shape;1063;p35"/>
          <p:cNvSpPr txBox="1"/>
          <p:nvPr/>
        </p:nvSpPr>
        <p:spPr>
          <a:xfrm>
            <a:off x="5282437" y="10220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AGE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0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8" name="Google Shape;1068;p36"/>
          <p:cNvGrpSpPr/>
          <p:nvPr/>
        </p:nvGrpSpPr>
        <p:grpSpPr>
          <a:xfrm>
            <a:off x="0" y="2139400"/>
            <a:ext cx="4962900" cy="3012375"/>
            <a:chOff x="0" y="2139400"/>
            <a:chExt cx="4962900" cy="3012375"/>
          </a:xfrm>
        </p:grpSpPr>
        <p:sp>
          <p:nvSpPr>
            <p:cNvPr id="1069" name="Google Shape;1069;p36"/>
            <p:cNvSpPr/>
            <p:nvPr/>
          </p:nvSpPr>
          <p:spPr>
            <a:xfrm>
              <a:off x="0" y="3486775"/>
              <a:ext cx="4038900" cy="1665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" name="Google Shape;1070;p36"/>
            <p:cNvSpPr/>
            <p:nvPr/>
          </p:nvSpPr>
          <p:spPr>
            <a:xfrm>
              <a:off x="4038900" y="4219500"/>
              <a:ext cx="924000" cy="92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071" name="Google Shape;1071;p36"/>
            <p:cNvGrpSpPr/>
            <p:nvPr/>
          </p:nvGrpSpPr>
          <p:grpSpPr>
            <a:xfrm>
              <a:off x="0" y="2139400"/>
              <a:ext cx="1351800" cy="1347375"/>
              <a:chOff x="0" y="2139400"/>
              <a:chExt cx="1351800" cy="1347375"/>
            </a:xfrm>
          </p:grpSpPr>
          <p:sp>
            <p:nvSpPr>
              <p:cNvPr id="1072" name="Google Shape;1072;p36"/>
              <p:cNvSpPr/>
              <p:nvPr/>
            </p:nvSpPr>
            <p:spPr>
              <a:xfrm>
                <a:off x="0" y="2562775"/>
                <a:ext cx="924000" cy="924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3" name="Google Shape;1073;p36"/>
              <p:cNvSpPr/>
              <p:nvPr/>
            </p:nvSpPr>
            <p:spPr>
              <a:xfrm>
                <a:off x="924000" y="2139400"/>
                <a:ext cx="427800" cy="4278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1074" name="Google Shape;1074;p36"/>
          <p:cNvSpPr txBox="1">
            <a:spLocks noGrp="1"/>
          </p:cNvSpPr>
          <p:nvPr>
            <p:ph type="title"/>
          </p:nvPr>
        </p:nvSpPr>
        <p:spPr>
          <a:xfrm>
            <a:off x="581925" y="3391646"/>
            <a:ext cx="4126500" cy="132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 Picture Is Worth a Thousand Words</a:t>
            </a:r>
            <a:endParaRPr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9" name="Google Shape;1079;p37"/>
          <p:cNvSpPr txBox="1">
            <a:spLocks noGrp="1"/>
          </p:cNvSpPr>
          <p:nvPr>
            <p:ph type="title"/>
          </p:nvPr>
        </p:nvSpPr>
        <p:spPr>
          <a:xfrm>
            <a:off x="2037000" y="1496400"/>
            <a:ext cx="5070000" cy="2150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WESOME </a:t>
            </a:r>
            <a:r>
              <a:rPr lang="en">
                <a:solidFill>
                  <a:schemeClr val="accent3"/>
                </a:solidFill>
              </a:rPr>
              <a:t>WORDS</a:t>
            </a:r>
            <a:endParaRPr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84" name="Google Shape;1084;p38"/>
          <p:cNvCxnSpPr/>
          <p:nvPr/>
        </p:nvCxnSpPr>
        <p:spPr>
          <a:xfrm>
            <a:off x="1551088" y="2404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5" name="Google Shape;1085;p38"/>
          <p:cNvCxnSpPr/>
          <p:nvPr/>
        </p:nvCxnSpPr>
        <p:spPr>
          <a:xfrm>
            <a:off x="3587838" y="2976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6" name="Google Shape;1086;p38"/>
          <p:cNvCxnSpPr/>
          <p:nvPr/>
        </p:nvCxnSpPr>
        <p:spPr>
          <a:xfrm>
            <a:off x="5624588" y="2404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7" name="Google Shape;1087;p38"/>
          <p:cNvCxnSpPr/>
          <p:nvPr/>
        </p:nvCxnSpPr>
        <p:spPr>
          <a:xfrm>
            <a:off x="7661338" y="2976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88" name="Google Shape;1088;p3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OUR PROCESS</a:t>
            </a:r>
            <a:endParaRPr/>
          </a:p>
        </p:txBody>
      </p:sp>
      <p:cxnSp>
        <p:nvCxnSpPr>
          <p:cNvPr id="1089" name="Google Shape;1089;p38"/>
          <p:cNvCxnSpPr/>
          <p:nvPr/>
        </p:nvCxnSpPr>
        <p:spPr>
          <a:xfrm>
            <a:off x="1034400" y="2918100"/>
            <a:ext cx="7075200" cy="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090" name="Google Shape;1090;p38"/>
          <p:cNvGrpSpPr/>
          <p:nvPr/>
        </p:nvGrpSpPr>
        <p:grpSpPr>
          <a:xfrm>
            <a:off x="1372725" y="2731350"/>
            <a:ext cx="373500" cy="373500"/>
            <a:chOff x="1372725" y="1912500"/>
            <a:chExt cx="373500" cy="373500"/>
          </a:xfrm>
        </p:grpSpPr>
        <p:sp>
          <p:nvSpPr>
            <p:cNvPr id="1091" name="Google Shape;1091;p38"/>
            <p:cNvSpPr/>
            <p:nvPr/>
          </p:nvSpPr>
          <p:spPr>
            <a:xfrm>
              <a:off x="146406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" name="Google Shape;1092;p38"/>
            <p:cNvSpPr/>
            <p:nvPr/>
          </p:nvSpPr>
          <p:spPr>
            <a:xfrm>
              <a:off x="137272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3" name="Google Shape;1093;p38"/>
          <p:cNvGrpSpPr/>
          <p:nvPr/>
        </p:nvGrpSpPr>
        <p:grpSpPr>
          <a:xfrm>
            <a:off x="3401092" y="2731350"/>
            <a:ext cx="373500" cy="373500"/>
            <a:chOff x="3212675" y="1912500"/>
            <a:chExt cx="373500" cy="373500"/>
          </a:xfrm>
        </p:grpSpPr>
        <p:sp>
          <p:nvSpPr>
            <p:cNvPr id="1094" name="Google Shape;1094;p38"/>
            <p:cNvSpPr/>
            <p:nvPr/>
          </p:nvSpPr>
          <p:spPr>
            <a:xfrm>
              <a:off x="330401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" name="Google Shape;1095;p38"/>
            <p:cNvSpPr/>
            <p:nvPr/>
          </p:nvSpPr>
          <p:spPr>
            <a:xfrm>
              <a:off x="321267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6" name="Google Shape;1096;p38"/>
          <p:cNvGrpSpPr/>
          <p:nvPr/>
        </p:nvGrpSpPr>
        <p:grpSpPr>
          <a:xfrm>
            <a:off x="5429458" y="2731350"/>
            <a:ext cx="373500" cy="373500"/>
            <a:chOff x="5557850" y="1912500"/>
            <a:chExt cx="373500" cy="373500"/>
          </a:xfrm>
        </p:grpSpPr>
        <p:sp>
          <p:nvSpPr>
            <p:cNvPr id="1097" name="Google Shape;1097;p38"/>
            <p:cNvSpPr/>
            <p:nvPr/>
          </p:nvSpPr>
          <p:spPr>
            <a:xfrm>
              <a:off x="5649188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" name="Google Shape;1098;p38"/>
            <p:cNvSpPr/>
            <p:nvPr/>
          </p:nvSpPr>
          <p:spPr>
            <a:xfrm>
              <a:off x="5557850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9" name="Google Shape;1099;p38"/>
          <p:cNvGrpSpPr/>
          <p:nvPr/>
        </p:nvGrpSpPr>
        <p:grpSpPr>
          <a:xfrm>
            <a:off x="7457825" y="2731350"/>
            <a:ext cx="373500" cy="373500"/>
            <a:chOff x="7457825" y="1912500"/>
            <a:chExt cx="373500" cy="373500"/>
          </a:xfrm>
        </p:grpSpPr>
        <p:sp>
          <p:nvSpPr>
            <p:cNvPr id="1100" name="Google Shape;1100;p38"/>
            <p:cNvSpPr/>
            <p:nvPr/>
          </p:nvSpPr>
          <p:spPr>
            <a:xfrm>
              <a:off x="754916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" name="Google Shape;1101;p38"/>
            <p:cNvSpPr/>
            <p:nvPr/>
          </p:nvSpPr>
          <p:spPr>
            <a:xfrm>
              <a:off x="745782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02" name="Google Shape;1102;p38"/>
          <p:cNvSpPr txBox="1">
            <a:spLocks noGrp="1"/>
          </p:cNvSpPr>
          <p:nvPr>
            <p:ph type="ctrTitle" idx="4294967295"/>
          </p:nvPr>
        </p:nvSpPr>
        <p:spPr>
          <a:xfrm>
            <a:off x="610450" y="1977263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MARS</a:t>
            </a:r>
            <a:endParaRPr sz="1800"/>
          </a:p>
        </p:txBody>
      </p:sp>
      <p:sp>
        <p:nvSpPr>
          <p:cNvPr id="1103" name="Google Shape;1103;p38"/>
          <p:cNvSpPr txBox="1">
            <a:spLocks noGrp="1"/>
          </p:cNvSpPr>
          <p:nvPr>
            <p:ph type="subTitle" idx="4294967295"/>
          </p:nvPr>
        </p:nvSpPr>
        <p:spPr>
          <a:xfrm>
            <a:off x="610438" y="148995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Despite being red, Mars is a cold place</a:t>
            </a:r>
            <a:endParaRPr sz="1400"/>
          </a:p>
        </p:txBody>
      </p:sp>
      <p:sp>
        <p:nvSpPr>
          <p:cNvPr id="1104" name="Google Shape;1104;p38"/>
          <p:cNvSpPr txBox="1">
            <a:spLocks noGrp="1"/>
          </p:cNvSpPr>
          <p:nvPr>
            <p:ph type="ctrTitle" idx="4294967295"/>
          </p:nvPr>
        </p:nvSpPr>
        <p:spPr>
          <a:xfrm>
            <a:off x="6720390" y="3438422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NEPTUNE</a:t>
            </a:r>
            <a:endParaRPr sz="1800"/>
          </a:p>
        </p:txBody>
      </p:sp>
      <p:sp>
        <p:nvSpPr>
          <p:cNvPr id="1105" name="Google Shape;1105;p38"/>
          <p:cNvSpPr txBox="1">
            <a:spLocks noGrp="1"/>
          </p:cNvSpPr>
          <p:nvPr>
            <p:ph type="subTitle" idx="4294967295"/>
          </p:nvPr>
        </p:nvSpPr>
        <p:spPr>
          <a:xfrm>
            <a:off x="6720378" y="366058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1106" name="Google Shape;1106;p38"/>
          <p:cNvSpPr txBox="1">
            <a:spLocks noGrp="1"/>
          </p:cNvSpPr>
          <p:nvPr>
            <p:ph type="ctrTitle" idx="4294967295"/>
          </p:nvPr>
        </p:nvSpPr>
        <p:spPr>
          <a:xfrm>
            <a:off x="2647200" y="3438422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JUPITER</a:t>
            </a:r>
            <a:endParaRPr sz="1800"/>
          </a:p>
        </p:txBody>
      </p:sp>
      <p:sp>
        <p:nvSpPr>
          <p:cNvPr id="1107" name="Google Shape;1107;p38"/>
          <p:cNvSpPr txBox="1">
            <a:spLocks noGrp="1"/>
          </p:cNvSpPr>
          <p:nvPr>
            <p:ph type="subTitle" idx="4294967295"/>
          </p:nvPr>
        </p:nvSpPr>
        <p:spPr>
          <a:xfrm>
            <a:off x="2532864" y="3660598"/>
            <a:ext cx="2109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biggest planet in the Solar System</a:t>
            </a:r>
            <a:endParaRPr sz="1400"/>
          </a:p>
        </p:txBody>
      </p:sp>
      <p:sp>
        <p:nvSpPr>
          <p:cNvPr id="1108" name="Google Shape;1108;p38"/>
          <p:cNvSpPr txBox="1">
            <a:spLocks noGrp="1"/>
          </p:cNvSpPr>
          <p:nvPr>
            <p:ph type="ctrTitle" idx="4294967295"/>
          </p:nvPr>
        </p:nvSpPr>
        <p:spPr>
          <a:xfrm>
            <a:off x="4683963" y="1977263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1109" name="Google Shape;1109;p38"/>
          <p:cNvSpPr txBox="1">
            <a:spLocks noGrp="1"/>
          </p:cNvSpPr>
          <p:nvPr>
            <p:ph type="subTitle" idx="4294967295"/>
          </p:nvPr>
        </p:nvSpPr>
        <p:spPr>
          <a:xfrm>
            <a:off x="4569650" y="1489967"/>
            <a:ext cx="21099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Saturn is composed of hydrogen and helium</a:t>
            </a:r>
            <a:endParaRPr sz="1400"/>
          </a:p>
        </p:txBody>
      </p:sp>
      <p:sp>
        <p:nvSpPr>
          <p:cNvPr id="1110" name="Google Shape;1110;p38"/>
          <p:cNvSpPr txBox="1">
            <a:spLocks noGrp="1"/>
          </p:cNvSpPr>
          <p:nvPr>
            <p:ph type="ctrTitle" idx="4294967295"/>
          </p:nvPr>
        </p:nvSpPr>
        <p:spPr>
          <a:xfrm>
            <a:off x="907900" y="3282474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2"/>
                </a:solidFill>
              </a:rPr>
              <a:t>DAY 01</a:t>
            </a:r>
            <a:endParaRPr sz="2400">
              <a:solidFill>
                <a:schemeClr val="accent2"/>
              </a:solidFill>
            </a:endParaRPr>
          </a:p>
        </p:txBody>
      </p:sp>
      <p:sp>
        <p:nvSpPr>
          <p:cNvPr id="1111" name="Google Shape;1111;p38"/>
          <p:cNvSpPr txBox="1">
            <a:spLocks noGrp="1"/>
          </p:cNvSpPr>
          <p:nvPr>
            <p:ph type="ctrTitle" idx="4294967295"/>
          </p:nvPr>
        </p:nvSpPr>
        <p:spPr>
          <a:xfrm>
            <a:off x="2944650" y="2113408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1"/>
                </a:solidFill>
              </a:rPr>
              <a:t>DAY 02</a:t>
            </a:r>
            <a:endParaRPr sz="2400">
              <a:solidFill>
                <a:schemeClr val="accent1"/>
              </a:solidFill>
            </a:endParaRPr>
          </a:p>
        </p:txBody>
      </p:sp>
      <p:sp>
        <p:nvSpPr>
          <p:cNvPr id="1112" name="Google Shape;1112;p38"/>
          <p:cNvSpPr txBox="1">
            <a:spLocks noGrp="1"/>
          </p:cNvSpPr>
          <p:nvPr>
            <p:ph type="ctrTitle" idx="4294967295"/>
          </p:nvPr>
        </p:nvSpPr>
        <p:spPr>
          <a:xfrm>
            <a:off x="4981400" y="3282474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3"/>
                </a:solidFill>
              </a:rPr>
              <a:t>DAY 03</a:t>
            </a:r>
            <a:endParaRPr sz="2400">
              <a:solidFill>
                <a:schemeClr val="accent3"/>
              </a:solidFill>
            </a:endParaRPr>
          </a:p>
        </p:txBody>
      </p:sp>
      <p:sp>
        <p:nvSpPr>
          <p:cNvPr id="1113" name="Google Shape;1113;p38"/>
          <p:cNvSpPr txBox="1">
            <a:spLocks noGrp="1"/>
          </p:cNvSpPr>
          <p:nvPr>
            <p:ph type="ctrTitle" idx="4294967295"/>
          </p:nvPr>
        </p:nvSpPr>
        <p:spPr>
          <a:xfrm>
            <a:off x="7018150" y="2113408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4"/>
                </a:solidFill>
              </a:rPr>
              <a:t>DAY 04</a:t>
            </a:r>
            <a:endParaRPr sz="2400">
              <a:solidFill>
                <a:schemeClr val="accent4"/>
              </a:solidFill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18" name="Google Shape;1118;p39"/>
          <p:cNvPicPr preferRelativeResize="0"/>
          <p:nvPr/>
        </p:nvPicPr>
        <p:blipFill rotWithShape="1">
          <a:blip r:embed="rId3">
            <a:alphaModFix/>
          </a:blip>
          <a:srcRect l="37085" t="8631" r="3972" b="32447"/>
          <a:stretch/>
        </p:blipFill>
        <p:spPr>
          <a:xfrm>
            <a:off x="4545800" y="2883100"/>
            <a:ext cx="2546500" cy="1431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19" name="Google Shape;1119;p39"/>
          <p:cNvPicPr preferRelativeResize="0"/>
          <p:nvPr/>
        </p:nvPicPr>
        <p:blipFill rotWithShape="1">
          <a:blip r:embed="rId4">
            <a:alphaModFix/>
          </a:blip>
          <a:srcRect l="8853" t="11226" r="15216" b="23880"/>
          <a:stretch/>
        </p:blipFill>
        <p:spPr>
          <a:xfrm>
            <a:off x="2035300" y="1451200"/>
            <a:ext cx="2510395" cy="1431897"/>
          </a:xfrm>
          <a:prstGeom prst="rect">
            <a:avLst/>
          </a:prstGeom>
          <a:noFill/>
          <a:ln>
            <a:noFill/>
          </a:ln>
        </p:spPr>
      </p:pic>
      <p:sp>
        <p:nvSpPr>
          <p:cNvPr id="1120" name="Google Shape;1120;p39"/>
          <p:cNvSpPr/>
          <p:nvPr/>
        </p:nvSpPr>
        <p:spPr>
          <a:xfrm>
            <a:off x="4545850" y="2883100"/>
            <a:ext cx="2546400" cy="1431900"/>
          </a:xfrm>
          <a:prstGeom prst="rect">
            <a:avLst/>
          </a:prstGeom>
          <a:solidFill>
            <a:srgbClr val="FF9973">
              <a:alpha val="4607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1" name="Google Shape;1121;p39"/>
          <p:cNvSpPr/>
          <p:nvPr/>
        </p:nvSpPr>
        <p:spPr>
          <a:xfrm>
            <a:off x="2035300" y="1451200"/>
            <a:ext cx="2510400" cy="1431900"/>
          </a:xfrm>
          <a:prstGeom prst="rect">
            <a:avLst/>
          </a:prstGeom>
          <a:solidFill>
            <a:srgbClr val="00CFCC">
              <a:alpha val="3539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39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/>
              <a:t>OUR CONSULTANTS</a:t>
            </a:r>
            <a:endParaRPr sz="3000"/>
          </a:p>
        </p:txBody>
      </p:sp>
      <p:sp>
        <p:nvSpPr>
          <p:cNvPr id="1123" name="Google Shape;1123;p39"/>
          <p:cNvSpPr txBox="1">
            <a:spLocks noGrp="1"/>
          </p:cNvSpPr>
          <p:nvPr>
            <p:ph type="ctrTitle"/>
          </p:nvPr>
        </p:nvSpPr>
        <p:spPr>
          <a:xfrm>
            <a:off x="4696481" y="1365079"/>
            <a:ext cx="26556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LENA PATTERSON</a:t>
            </a:r>
            <a:endParaRPr/>
          </a:p>
        </p:txBody>
      </p:sp>
      <p:sp>
        <p:nvSpPr>
          <p:cNvPr id="1124" name="Google Shape;1124;p39"/>
          <p:cNvSpPr txBox="1">
            <a:spLocks noGrp="1"/>
          </p:cNvSpPr>
          <p:nvPr>
            <p:ph type="subTitle" idx="1"/>
          </p:nvPr>
        </p:nvSpPr>
        <p:spPr>
          <a:xfrm>
            <a:off x="4696481" y="1835141"/>
            <a:ext cx="3039300" cy="93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 on the screen with your own</a:t>
            </a:r>
            <a:endParaRPr/>
          </a:p>
        </p:txBody>
      </p:sp>
      <p:sp>
        <p:nvSpPr>
          <p:cNvPr id="1125" name="Google Shape;1125;p39"/>
          <p:cNvSpPr txBox="1">
            <a:spLocks noGrp="1"/>
          </p:cNvSpPr>
          <p:nvPr>
            <p:ph type="ctrTitle" idx="2"/>
          </p:nvPr>
        </p:nvSpPr>
        <p:spPr>
          <a:xfrm>
            <a:off x="1900150" y="3127942"/>
            <a:ext cx="24729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ANE DOE</a:t>
            </a:r>
            <a:endParaRPr/>
          </a:p>
        </p:txBody>
      </p:sp>
      <p:sp>
        <p:nvSpPr>
          <p:cNvPr id="1126" name="Google Shape;1126;p39"/>
          <p:cNvSpPr txBox="1">
            <a:spLocks noGrp="1"/>
          </p:cNvSpPr>
          <p:nvPr>
            <p:ph type="subTitle" idx="3"/>
          </p:nvPr>
        </p:nvSpPr>
        <p:spPr>
          <a:xfrm>
            <a:off x="1333875" y="3598390"/>
            <a:ext cx="3039300" cy="117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 on the screen with your own</a:t>
            </a:r>
            <a:endParaRPr/>
          </a:p>
        </p:txBody>
      </p:sp>
      <p:sp>
        <p:nvSpPr>
          <p:cNvPr id="1127" name="Google Shape;1127;p39"/>
          <p:cNvSpPr/>
          <p:nvPr/>
        </p:nvSpPr>
        <p:spPr>
          <a:xfrm>
            <a:off x="1783325" y="1199225"/>
            <a:ext cx="252000" cy="25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8" name="Google Shape;1128;p39"/>
          <p:cNvSpPr/>
          <p:nvPr/>
        </p:nvSpPr>
        <p:spPr>
          <a:xfrm>
            <a:off x="7092250" y="3891700"/>
            <a:ext cx="423300" cy="423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" name="Google Shape;1133;p40"/>
          <p:cNvSpPr txBox="1">
            <a:spLocks noGrp="1"/>
          </p:cNvSpPr>
          <p:nvPr>
            <p:ph type="ctrTitle"/>
          </p:nvPr>
        </p:nvSpPr>
        <p:spPr>
          <a:xfrm>
            <a:off x="3044100" y="3247750"/>
            <a:ext cx="3055800" cy="54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SOMEONE FAMOUS</a:t>
            </a:r>
            <a:endParaRPr/>
          </a:p>
        </p:txBody>
      </p:sp>
      <p:sp>
        <p:nvSpPr>
          <p:cNvPr id="1134" name="Google Shape;1134;p40"/>
          <p:cNvSpPr txBox="1">
            <a:spLocks noGrp="1"/>
          </p:cNvSpPr>
          <p:nvPr>
            <p:ph type="subTitle" idx="1"/>
          </p:nvPr>
        </p:nvSpPr>
        <p:spPr>
          <a:xfrm>
            <a:off x="2333000" y="1423125"/>
            <a:ext cx="4478100" cy="170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/>
              <a:t>“This is a quote. Words full of wisdom that someone important said and can make the reader get inspired.”</a:t>
            </a:r>
            <a:endParaRPr sz="240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738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Wir möchten eine </a:t>
            </a:r>
            <a:r>
              <a:rPr lang="de-DE" sz="1400" b="1" dirty="0">
                <a:solidFill>
                  <a:srgbClr val="00CFCC"/>
                </a:solidFill>
              </a:rPr>
              <a:t>Market Basket Analysis</a:t>
            </a:r>
            <a:r>
              <a:rPr lang="de-DE" sz="1400" dirty="0">
                <a:solidFill>
                  <a:srgbClr val="00CFCC"/>
                </a:solidFill>
              </a:rPr>
              <a:t> </a:t>
            </a:r>
            <a:r>
              <a:rPr lang="de-DE" sz="1400" dirty="0"/>
              <a:t>durchführen, um die </a:t>
            </a:r>
            <a:r>
              <a:rPr lang="de-DE" sz="1400" b="1" dirty="0">
                <a:solidFill>
                  <a:srgbClr val="00CFCC"/>
                </a:solidFill>
              </a:rPr>
              <a:t>Kaufhistorien</a:t>
            </a:r>
            <a:r>
              <a:rPr lang="de-DE" sz="1400" dirty="0"/>
              <a:t> aller Kunden </a:t>
            </a:r>
            <a:r>
              <a:rPr lang="de-DE" sz="1400" b="1" dirty="0">
                <a:solidFill>
                  <a:srgbClr val="00CFCC"/>
                </a:solidFill>
              </a:rPr>
              <a:t>auszuwerten</a:t>
            </a:r>
            <a:r>
              <a:rPr lang="de-DE" sz="1400" dirty="0"/>
              <a:t> und auf der Basis der häufig zusammen gekauften Artikel ("Market </a:t>
            </a:r>
            <a:r>
              <a:rPr lang="de-DE" sz="1400" dirty="0" err="1"/>
              <a:t>Baskets</a:t>
            </a:r>
            <a:r>
              <a:rPr lang="de-DE" sz="1400" dirty="0"/>
              <a:t>") </a:t>
            </a:r>
            <a:r>
              <a:rPr lang="de-DE" sz="1400" b="1" dirty="0">
                <a:solidFill>
                  <a:srgbClr val="00CFCC"/>
                </a:solidFill>
              </a:rPr>
              <a:t>assoziierte Regeln</a:t>
            </a:r>
            <a:r>
              <a:rPr lang="de-DE" sz="1400" b="1" dirty="0"/>
              <a:t> </a:t>
            </a:r>
            <a:r>
              <a:rPr lang="de-DE" sz="1400" dirty="0"/>
              <a:t>zu erstellen</a:t>
            </a:r>
          </a:p>
          <a:p>
            <a:pPr marL="285750" indent="-285750"/>
            <a:endParaRPr lang="de-DE" sz="1400" dirty="0"/>
          </a:p>
          <a:p>
            <a:pPr marL="285750" indent="-285750"/>
            <a:r>
              <a:rPr lang="de-DE" sz="1400" dirty="0"/>
              <a:t>Die Analyse soll beispielsweise zeigen, dass Kunden, die ein gewisses Produkt (z.B. Kaffee) kaufen, oft auch ähnliche Produkte (z.B. Milch) in Verbindung kaufen</a:t>
            </a:r>
          </a:p>
          <a:p>
            <a:pPr marL="285750" indent="-285750"/>
            <a:endParaRPr lang="de-DE" sz="1400" dirty="0"/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95" name="Gruppieren 494">
            <a:extLst>
              <a:ext uri="{FF2B5EF4-FFF2-40B4-BE49-F238E27FC236}">
                <a16:creationId xmlns:a16="http://schemas.microsoft.com/office/drawing/2014/main" id="{D5BB797C-C984-01CE-1CD1-B12B65F83EB6}"/>
              </a:ext>
            </a:extLst>
          </p:cNvPr>
          <p:cNvGrpSpPr/>
          <p:nvPr/>
        </p:nvGrpSpPr>
        <p:grpSpPr>
          <a:xfrm>
            <a:off x="5953396" y="1193218"/>
            <a:ext cx="874400" cy="2792320"/>
            <a:chOff x="3861131" y="998675"/>
            <a:chExt cx="1226338" cy="3916203"/>
          </a:xfrm>
        </p:grpSpPr>
        <p:sp>
          <p:nvSpPr>
            <p:cNvPr id="496" name="Rechteck 495">
              <a:extLst>
                <a:ext uri="{FF2B5EF4-FFF2-40B4-BE49-F238E27FC236}">
                  <a16:creationId xmlns:a16="http://schemas.microsoft.com/office/drawing/2014/main" id="{50BC5244-BFBA-D18A-3637-847AD6E20F4D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7" name="Rechteck 496">
              <a:extLst>
                <a:ext uri="{FF2B5EF4-FFF2-40B4-BE49-F238E27FC236}">
                  <a16:creationId xmlns:a16="http://schemas.microsoft.com/office/drawing/2014/main" id="{EE2C9AA5-3748-F465-1F90-D2AD2DA955FE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8" name="Rechteck 497">
              <a:extLst>
                <a:ext uri="{FF2B5EF4-FFF2-40B4-BE49-F238E27FC236}">
                  <a16:creationId xmlns:a16="http://schemas.microsoft.com/office/drawing/2014/main" id="{A2D31473-126C-23AB-DB76-F3ADB0135BD2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9" name="Rechteck 498">
              <a:extLst>
                <a:ext uri="{FF2B5EF4-FFF2-40B4-BE49-F238E27FC236}">
                  <a16:creationId xmlns:a16="http://schemas.microsoft.com/office/drawing/2014/main" id="{3C71F541-E788-80EC-CCAE-0474573801A6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0" name="Rechteck 499">
              <a:extLst>
                <a:ext uri="{FF2B5EF4-FFF2-40B4-BE49-F238E27FC236}">
                  <a16:creationId xmlns:a16="http://schemas.microsoft.com/office/drawing/2014/main" id="{6AA8D7B9-57A2-1CF2-AEB1-27B0C9D2A2E7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1" name="Rechteck 500">
              <a:extLst>
                <a:ext uri="{FF2B5EF4-FFF2-40B4-BE49-F238E27FC236}">
                  <a16:creationId xmlns:a16="http://schemas.microsoft.com/office/drawing/2014/main" id="{11E898CF-EF6B-D014-5929-BEDF17C4D7CF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2" name="Flussdiagramm: Alternativer Prozess 501">
              <a:extLst>
                <a:ext uri="{FF2B5EF4-FFF2-40B4-BE49-F238E27FC236}">
                  <a16:creationId xmlns:a16="http://schemas.microsoft.com/office/drawing/2014/main" id="{3EFBFBCB-AA4C-A059-00EC-35987A4B7B09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3" name="Flussdiagramm: Alternativer Prozess 502">
              <a:extLst>
                <a:ext uri="{FF2B5EF4-FFF2-40B4-BE49-F238E27FC236}">
                  <a16:creationId xmlns:a16="http://schemas.microsoft.com/office/drawing/2014/main" id="{FE58C295-C474-FFBA-780D-26B43C5BCA7C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4" name="Flussdiagramm: Alternativer Prozess 503">
              <a:extLst>
                <a:ext uri="{FF2B5EF4-FFF2-40B4-BE49-F238E27FC236}">
                  <a16:creationId xmlns:a16="http://schemas.microsoft.com/office/drawing/2014/main" id="{D9FA8D9F-3A17-4D41-292F-235445B5FF33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5" name="Flussdiagramm: Alternativer Prozess 504">
              <a:extLst>
                <a:ext uri="{FF2B5EF4-FFF2-40B4-BE49-F238E27FC236}">
                  <a16:creationId xmlns:a16="http://schemas.microsoft.com/office/drawing/2014/main" id="{083EF45A-D5FC-A19A-B0D5-EED13913E5D9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48" name="Flussdiagramm: Alternativer Prozess 2047">
              <a:extLst>
                <a:ext uri="{FF2B5EF4-FFF2-40B4-BE49-F238E27FC236}">
                  <a16:creationId xmlns:a16="http://schemas.microsoft.com/office/drawing/2014/main" id="{5B96F45A-8C80-03B3-CA53-F8CD0E070CDE}"/>
                </a:ext>
              </a:extLst>
            </p:cNvPr>
            <p:cNvSpPr/>
            <p:nvPr/>
          </p:nvSpPr>
          <p:spPr>
            <a:xfrm rot="2700000">
              <a:off x="3861131" y="3201480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49" name="Flussdiagramm: Alternativer Prozess 2048">
              <a:extLst>
                <a:ext uri="{FF2B5EF4-FFF2-40B4-BE49-F238E27FC236}">
                  <a16:creationId xmlns:a16="http://schemas.microsoft.com/office/drawing/2014/main" id="{0E3BB711-DDBC-2284-A25F-0606F56F057A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1" name="Flussdiagramm: Alternativer Prozess 2050">
              <a:extLst>
                <a:ext uri="{FF2B5EF4-FFF2-40B4-BE49-F238E27FC236}">
                  <a16:creationId xmlns:a16="http://schemas.microsoft.com/office/drawing/2014/main" id="{748297F7-575B-FDE5-E22B-7805EB8C2554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3" name="Flussdiagramm: Alternativer Prozess 2052">
              <a:extLst>
                <a:ext uri="{FF2B5EF4-FFF2-40B4-BE49-F238E27FC236}">
                  <a16:creationId xmlns:a16="http://schemas.microsoft.com/office/drawing/2014/main" id="{396544FF-09FC-EA95-5449-1DD588D69F67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4" name="Flussdiagramm: Alternativer Prozess 2053">
              <a:extLst>
                <a:ext uri="{FF2B5EF4-FFF2-40B4-BE49-F238E27FC236}">
                  <a16:creationId xmlns:a16="http://schemas.microsoft.com/office/drawing/2014/main" id="{5BD4945A-8899-0CD8-2481-1ED1FD3BEBCE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5" name="Flussdiagramm: Alternativer Prozess 2054">
              <a:extLst>
                <a:ext uri="{FF2B5EF4-FFF2-40B4-BE49-F238E27FC236}">
                  <a16:creationId xmlns:a16="http://schemas.microsoft.com/office/drawing/2014/main" id="{93B04E16-1FD2-4E9A-AB77-DEFD3B358A7E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6" name="Flussdiagramm: Alternativer Prozess 2055">
              <a:extLst>
                <a:ext uri="{FF2B5EF4-FFF2-40B4-BE49-F238E27FC236}">
                  <a16:creationId xmlns:a16="http://schemas.microsoft.com/office/drawing/2014/main" id="{4DAA40AD-3243-B476-8F1E-BFF32B1989B8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7" name="Flussdiagramm: Alternativer Prozess 2056">
              <a:extLst>
                <a:ext uri="{FF2B5EF4-FFF2-40B4-BE49-F238E27FC236}">
                  <a16:creationId xmlns:a16="http://schemas.microsoft.com/office/drawing/2014/main" id="{F0943BAF-39B3-B519-D742-1609A2FF4929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8" name="Flussdiagramm: Alternativer Prozess 2057">
              <a:extLst>
                <a:ext uri="{FF2B5EF4-FFF2-40B4-BE49-F238E27FC236}">
                  <a16:creationId xmlns:a16="http://schemas.microsoft.com/office/drawing/2014/main" id="{126249FF-A719-C72D-6AAC-28FFFC7C768D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9" name="Flussdiagramm: Alternativer Prozess 2058">
              <a:extLst>
                <a:ext uri="{FF2B5EF4-FFF2-40B4-BE49-F238E27FC236}">
                  <a16:creationId xmlns:a16="http://schemas.microsoft.com/office/drawing/2014/main" id="{5E65A6F9-0836-68A7-E8DC-E716A0D8F522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2060" name="Google Shape;9903;p58">
              <a:extLst>
                <a:ext uri="{FF2B5EF4-FFF2-40B4-BE49-F238E27FC236}">
                  <a16:creationId xmlns:a16="http://schemas.microsoft.com/office/drawing/2014/main" id="{5B3F2714-4562-26F8-6F40-1CB40994E645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2079" name="Google Shape;9904;p58">
                <a:extLst>
                  <a:ext uri="{FF2B5EF4-FFF2-40B4-BE49-F238E27FC236}">
                    <a16:creationId xmlns:a16="http://schemas.microsoft.com/office/drawing/2014/main" id="{853D40FB-F8F6-4E95-0FB4-DB610E4CB453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7" name="Google Shape;9905;p58">
                <a:extLst>
                  <a:ext uri="{FF2B5EF4-FFF2-40B4-BE49-F238E27FC236}">
                    <a16:creationId xmlns:a16="http://schemas.microsoft.com/office/drawing/2014/main" id="{0FB4828F-4C94-97C0-6E11-C6E51E933AC4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8" name="Google Shape;9906;p58">
                <a:extLst>
                  <a:ext uri="{FF2B5EF4-FFF2-40B4-BE49-F238E27FC236}">
                    <a16:creationId xmlns:a16="http://schemas.microsoft.com/office/drawing/2014/main" id="{7DB16960-5CC3-9D47-EE92-A03BB354F513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061" name="Picture 4" descr="Market Basket Analysis">
              <a:extLst>
                <a:ext uri="{FF2B5EF4-FFF2-40B4-BE49-F238E27FC236}">
                  <a16:creationId xmlns:a16="http://schemas.microsoft.com/office/drawing/2014/main" id="{1EE813CD-CDF1-EDCE-6D86-C9C94962ED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062" name="Google Shape;11111;p60">
              <a:extLst>
                <a:ext uri="{FF2B5EF4-FFF2-40B4-BE49-F238E27FC236}">
                  <a16:creationId xmlns:a16="http://schemas.microsoft.com/office/drawing/2014/main" id="{18469530-4766-9775-2DC7-D5BF1B97D3D0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2074" name="Google Shape;11112;p60">
                <a:extLst>
                  <a:ext uri="{FF2B5EF4-FFF2-40B4-BE49-F238E27FC236}">
                    <a16:creationId xmlns:a16="http://schemas.microsoft.com/office/drawing/2014/main" id="{8224EBB1-34F9-3A17-81CD-094F520F3F54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5" name="Google Shape;11113;p60">
                <a:extLst>
                  <a:ext uri="{FF2B5EF4-FFF2-40B4-BE49-F238E27FC236}">
                    <a16:creationId xmlns:a16="http://schemas.microsoft.com/office/drawing/2014/main" id="{49B876CA-1953-7A49-8773-D7C898B586E0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6" name="Google Shape;11114;p60">
                <a:extLst>
                  <a:ext uri="{FF2B5EF4-FFF2-40B4-BE49-F238E27FC236}">
                    <a16:creationId xmlns:a16="http://schemas.microsoft.com/office/drawing/2014/main" id="{63E2BB10-1552-8B5F-E39C-D2E38268335B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7" name="Google Shape;11115;p60">
                <a:extLst>
                  <a:ext uri="{FF2B5EF4-FFF2-40B4-BE49-F238E27FC236}">
                    <a16:creationId xmlns:a16="http://schemas.microsoft.com/office/drawing/2014/main" id="{5A5D26DD-20D9-8FF4-9C96-CF05F5BC6BBD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8" name="Google Shape;11116;p60">
                <a:extLst>
                  <a:ext uri="{FF2B5EF4-FFF2-40B4-BE49-F238E27FC236}">
                    <a16:creationId xmlns:a16="http://schemas.microsoft.com/office/drawing/2014/main" id="{1E1A6C08-059F-CD40-BEBD-931BA32FDE8E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063" name="Google Shape;13596;p64">
              <a:extLst>
                <a:ext uri="{FF2B5EF4-FFF2-40B4-BE49-F238E27FC236}">
                  <a16:creationId xmlns:a16="http://schemas.microsoft.com/office/drawing/2014/main" id="{3E0AE69D-80AF-80F1-E924-D0A652078B6A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2072" name="Google Shape;13597;p64">
                <a:extLst>
                  <a:ext uri="{FF2B5EF4-FFF2-40B4-BE49-F238E27FC236}">
                    <a16:creationId xmlns:a16="http://schemas.microsoft.com/office/drawing/2014/main" id="{3BCF379B-A928-0A24-3011-06AC7403EF4C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3" name="Google Shape;13598;p64">
                <a:extLst>
                  <a:ext uri="{FF2B5EF4-FFF2-40B4-BE49-F238E27FC236}">
                    <a16:creationId xmlns:a16="http://schemas.microsoft.com/office/drawing/2014/main" id="{8EC3D648-CB6A-087C-D0DF-F65937C8C0D6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064" name="Google Shape;13305;p64">
              <a:extLst>
                <a:ext uri="{FF2B5EF4-FFF2-40B4-BE49-F238E27FC236}">
                  <a16:creationId xmlns:a16="http://schemas.microsoft.com/office/drawing/2014/main" id="{A86F53DE-B113-9E31-65ED-25C81F1A5875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2067" name="Google Shape;13306;p64">
                <a:extLst>
                  <a:ext uri="{FF2B5EF4-FFF2-40B4-BE49-F238E27FC236}">
                    <a16:creationId xmlns:a16="http://schemas.microsoft.com/office/drawing/2014/main" id="{3E0882D1-B113-ADFA-2B7D-63279EE937A1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68" name="Google Shape;13307;p64">
                <a:extLst>
                  <a:ext uri="{FF2B5EF4-FFF2-40B4-BE49-F238E27FC236}">
                    <a16:creationId xmlns:a16="http://schemas.microsoft.com/office/drawing/2014/main" id="{15FE5360-C8A9-AFC4-FEB7-E54A948BB404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69" name="Google Shape;13308;p64">
                <a:extLst>
                  <a:ext uri="{FF2B5EF4-FFF2-40B4-BE49-F238E27FC236}">
                    <a16:creationId xmlns:a16="http://schemas.microsoft.com/office/drawing/2014/main" id="{ABE3A775-BD27-6AAD-5F43-45CC3DF7D5AB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0" name="Google Shape;13309;p64">
                <a:extLst>
                  <a:ext uri="{FF2B5EF4-FFF2-40B4-BE49-F238E27FC236}">
                    <a16:creationId xmlns:a16="http://schemas.microsoft.com/office/drawing/2014/main" id="{6D403B79-DB54-B921-A814-6B0750D96BE4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1" name="Google Shape;13310;p64">
                <a:extLst>
                  <a:ext uri="{FF2B5EF4-FFF2-40B4-BE49-F238E27FC236}">
                    <a16:creationId xmlns:a16="http://schemas.microsoft.com/office/drawing/2014/main" id="{46D3A583-4C2A-E61C-0E95-DD3D69C5D1D5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065" name="Grafik 2064" descr="Money outline">
              <a:extLst>
                <a:ext uri="{FF2B5EF4-FFF2-40B4-BE49-F238E27FC236}">
                  <a16:creationId xmlns:a16="http://schemas.microsoft.com/office/drawing/2014/main" id="{99170FF2-55E4-B343-9BDB-846E967E62B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2066" name="Grafik 2065" descr="Mandala outline">
              <a:extLst>
                <a:ext uri="{FF2B5EF4-FFF2-40B4-BE49-F238E27FC236}">
                  <a16:creationId xmlns:a16="http://schemas.microsoft.com/office/drawing/2014/main" id="{D8DFE1C2-8E97-2CF8-BC9E-A11C826E4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  <p:cxnSp>
        <p:nvCxnSpPr>
          <p:cNvPr id="572" name="Gerade Verbindung mit Pfeil 571">
            <a:extLst>
              <a:ext uri="{FF2B5EF4-FFF2-40B4-BE49-F238E27FC236}">
                <a16:creationId xmlns:a16="http://schemas.microsoft.com/office/drawing/2014/main" id="{E0FC7535-3EAD-802D-F1EC-E4CBD0B96042}"/>
              </a:ext>
            </a:extLst>
          </p:cNvPr>
          <p:cNvCxnSpPr/>
          <p:nvPr/>
        </p:nvCxnSpPr>
        <p:spPr>
          <a:xfrm flipH="1">
            <a:off x="4005558" y="1403638"/>
            <a:ext cx="1857463" cy="0"/>
          </a:xfrm>
          <a:prstGeom prst="straightConnector1">
            <a:avLst/>
          </a:prstGeom>
          <a:ln>
            <a:solidFill>
              <a:srgbClr val="00CFC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765180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9" name="Google Shape;1139;p41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/>
              <a:t>OUR PARTNERS</a:t>
            </a:r>
            <a:endParaRPr sz="3000"/>
          </a:p>
        </p:txBody>
      </p:sp>
      <p:sp>
        <p:nvSpPr>
          <p:cNvPr id="1140" name="Google Shape;1140;p41"/>
          <p:cNvSpPr txBox="1">
            <a:spLocks noGrp="1"/>
          </p:cNvSpPr>
          <p:nvPr>
            <p:ph type="ctrTitle"/>
          </p:nvPr>
        </p:nvSpPr>
        <p:spPr>
          <a:xfrm>
            <a:off x="915161" y="2299544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1141" name="Google Shape;1141;p41"/>
          <p:cNvSpPr txBox="1">
            <a:spLocks noGrp="1"/>
          </p:cNvSpPr>
          <p:nvPr>
            <p:ph type="subTitle" idx="1"/>
          </p:nvPr>
        </p:nvSpPr>
        <p:spPr>
          <a:xfrm>
            <a:off x="879139" y="1777397"/>
            <a:ext cx="1917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 has an extremely poisonous atmosphere</a:t>
            </a:r>
            <a:endParaRPr/>
          </a:p>
        </p:txBody>
      </p:sp>
      <p:sp>
        <p:nvSpPr>
          <p:cNvPr id="1142" name="Google Shape;1142;p41"/>
          <p:cNvSpPr txBox="1">
            <a:spLocks noGrp="1"/>
          </p:cNvSpPr>
          <p:nvPr>
            <p:ph type="subTitle" idx="3"/>
          </p:nvPr>
        </p:nvSpPr>
        <p:spPr>
          <a:xfrm>
            <a:off x="6345518" y="1777397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ctually a cold place</a:t>
            </a:r>
            <a:endParaRPr/>
          </a:p>
        </p:txBody>
      </p:sp>
      <p:sp>
        <p:nvSpPr>
          <p:cNvPr id="1143" name="Google Shape;1143;p41"/>
          <p:cNvSpPr txBox="1">
            <a:spLocks noGrp="1"/>
          </p:cNvSpPr>
          <p:nvPr>
            <p:ph type="ctrTitle" idx="2"/>
          </p:nvPr>
        </p:nvSpPr>
        <p:spPr>
          <a:xfrm>
            <a:off x="6345518" y="2299544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1144" name="Google Shape;1144;p41"/>
          <p:cNvSpPr txBox="1">
            <a:spLocks noGrp="1"/>
          </p:cNvSpPr>
          <p:nvPr>
            <p:ph type="ctrTitle" idx="4"/>
          </p:nvPr>
        </p:nvSpPr>
        <p:spPr>
          <a:xfrm>
            <a:off x="915161" y="286152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145" name="Google Shape;1145;p41"/>
          <p:cNvSpPr txBox="1">
            <a:spLocks noGrp="1"/>
          </p:cNvSpPr>
          <p:nvPr>
            <p:ph type="subTitle" idx="5"/>
          </p:nvPr>
        </p:nvSpPr>
        <p:spPr>
          <a:xfrm>
            <a:off x="915161" y="335327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composed mostly of hydrogen and helium</a:t>
            </a:r>
            <a:endParaRPr/>
          </a:p>
        </p:txBody>
      </p:sp>
      <p:sp>
        <p:nvSpPr>
          <p:cNvPr id="1146" name="Google Shape;1146;p41"/>
          <p:cNvSpPr txBox="1">
            <a:spLocks noGrp="1"/>
          </p:cNvSpPr>
          <p:nvPr>
            <p:ph type="ctrTitle" idx="6"/>
          </p:nvPr>
        </p:nvSpPr>
        <p:spPr>
          <a:xfrm>
            <a:off x="6345518" y="286152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</a:t>
            </a:r>
            <a:endParaRPr/>
          </a:p>
        </p:txBody>
      </p:sp>
      <p:sp>
        <p:nvSpPr>
          <p:cNvPr id="1147" name="Google Shape;1147;p41"/>
          <p:cNvSpPr txBox="1">
            <a:spLocks noGrp="1"/>
          </p:cNvSpPr>
          <p:nvPr>
            <p:ph type="subTitle" idx="7"/>
          </p:nvPr>
        </p:nvSpPr>
        <p:spPr>
          <a:xfrm>
            <a:off x="6345518" y="3353275"/>
            <a:ext cx="16566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 is the closest planet to the Sun</a:t>
            </a:r>
            <a:endParaRPr/>
          </a:p>
        </p:txBody>
      </p:sp>
      <p:sp>
        <p:nvSpPr>
          <p:cNvPr id="1148" name="Google Shape;1148;p41"/>
          <p:cNvSpPr/>
          <p:nvPr/>
        </p:nvSpPr>
        <p:spPr>
          <a:xfrm>
            <a:off x="3174876" y="1346300"/>
            <a:ext cx="2794205" cy="2794153"/>
          </a:xfrm>
          <a:custGeom>
            <a:avLst/>
            <a:gdLst/>
            <a:ahLst/>
            <a:cxnLst/>
            <a:rect l="l" t="t" r="r" b="b"/>
            <a:pathLst>
              <a:path w="53593" h="53592" extrusionOk="0">
                <a:moveTo>
                  <a:pt x="26790" y="454"/>
                </a:moveTo>
                <a:cubicBezTo>
                  <a:pt x="41319" y="454"/>
                  <a:pt x="53139" y="12273"/>
                  <a:pt x="53139" y="26789"/>
                </a:cubicBezTo>
                <a:cubicBezTo>
                  <a:pt x="53139" y="41318"/>
                  <a:pt x="41319" y="53138"/>
                  <a:pt x="26790" y="53138"/>
                </a:cubicBezTo>
                <a:cubicBezTo>
                  <a:pt x="12274" y="53138"/>
                  <a:pt x="454" y="41318"/>
                  <a:pt x="454" y="26789"/>
                </a:cubicBezTo>
                <a:cubicBezTo>
                  <a:pt x="454" y="12273"/>
                  <a:pt x="12274" y="454"/>
                  <a:pt x="26790" y="454"/>
                </a:cubicBezTo>
                <a:close/>
                <a:moveTo>
                  <a:pt x="26790" y="0"/>
                </a:moveTo>
                <a:cubicBezTo>
                  <a:pt x="12022" y="0"/>
                  <a:pt x="1" y="12021"/>
                  <a:pt x="1" y="26789"/>
                </a:cubicBezTo>
                <a:cubicBezTo>
                  <a:pt x="1" y="41570"/>
                  <a:pt x="12022" y="53591"/>
                  <a:pt x="26790" y="53591"/>
                </a:cubicBezTo>
                <a:cubicBezTo>
                  <a:pt x="41571" y="53591"/>
                  <a:pt x="53592" y="41570"/>
                  <a:pt x="53592" y="26789"/>
                </a:cubicBezTo>
                <a:cubicBezTo>
                  <a:pt x="53592" y="12021"/>
                  <a:pt x="41571" y="0"/>
                  <a:pt x="26790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49" name="Google Shape;1149;p41"/>
          <p:cNvSpPr/>
          <p:nvPr/>
        </p:nvSpPr>
        <p:spPr>
          <a:xfrm>
            <a:off x="3363449" y="1535500"/>
            <a:ext cx="2417042" cy="2416417"/>
          </a:xfrm>
          <a:custGeom>
            <a:avLst/>
            <a:gdLst/>
            <a:ahLst/>
            <a:cxnLst/>
            <a:rect l="l" t="t" r="r" b="b"/>
            <a:pathLst>
              <a:path w="46359" h="46347" extrusionOk="0">
                <a:moveTo>
                  <a:pt x="23173" y="441"/>
                </a:moveTo>
                <a:cubicBezTo>
                  <a:pt x="35711" y="441"/>
                  <a:pt x="45905" y="10635"/>
                  <a:pt x="45905" y="23160"/>
                </a:cubicBezTo>
                <a:cubicBezTo>
                  <a:pt x="45905" y="35698"/>
                  <a:pt x="35711" y="45892"/>
                  <a:pt x="23186" y="45892"/>
                </a:cubicBezTo>
                <a:cubicBezTo>
                  <a:pt x="10661" y="45892"/>
                  <a:pt x="466" y="35698"/>
                  <a:pt x="466" y="23160"/>
                </a:cubicBezTo>
                <a:cubicBezTo>
                  <a:pt x="466" y="10635"/>
                  <a:pt x="10648" y="441"/>
                  <a:pt x="23173" y="441"/>
                </a:cubicBezTo>
                <a:close/>
                <a:moveTo>
                  <a:pt x="23173" y="0"/>
                </a:moveTo>
                <a:cubicBezTo>
                  <a:pt x="10396" y="0"/>
                  <a:pt x="0" y="10383"/>
                  <a:pt x="0" y="23160"/>
                </a:cubicBezTo>
                <a:cubicBezTo>
                  <a:pt x="0" y="35950"/>
                  <a:pt x="10396" y="46346"/>
                  <a:pt x="23173" y="46346"/>
                </a:cubicBezTo>
                <a:cubicBezTo>
                  <a:pt x="35963" y="46346"/>
                  <a:pt x="46359" y="35938"/>
                  <a:pt x="46359" y="23160"/>
                </a:cubicBezTo>
                <a:cubicBezTo>
                  <a:pt x="46359" y="10396"/>
                  <a:pt x="35963" y="0"/>
                  <a:pt x="23173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0" name="Google Shape;1150;p41"/>
          <p:cNvSpPr/>
          <p:nvPr/>
        </p:nvSpPr>
        <p:spPr>
          <a:xfrm>
            <a:off x="3471839" y="1723396"/>
            <a:ext cx="2120119" cy="2039932"/>
          </a:xfrm>
          <a:custGeom>
            <a:avLst/>
            <a:gdLst/>
            <a:ahLst/>
            <a:cxnLst/>
            <a:rect l="l" t="t" r="r" b="b"/>
            <a:pathLst>
              <a:path w="40664" h="39126" extrusionOk="0">
                <a:moveTo>
                  <a:pt x="21094" y="454"/>
                </a:moveTo>
                <a:cubicBezTo>
                  <a:pt x="31641" y="466"/>
                  <a:pt x="40197" y="9010"/>
                  <a:pt x="40210" y="19556"/>
                </a:cubicBezTo>
                <a:cubicBezTo>
                  <a:pt x="40210" y="27293"/>
                  <a:pt x="35547" y="34262"/>
                  <a:pt x="28415" y="37210"/>
                </a:cubicBezTo>
                <a:cubicBezTo>
                  <a:pt x="26049" y="38191"/>
                  <a:pt x="23565" y="38667"/>
                  <a:pt x="21102" y="38667"/>
                </a:cubicBezTo>
                <a:cubicBezTo>
                  <a:pt x="16129" y="38667"/>
                  <a:pt x="11243" y="36726"/>
                  <a:pt x="7586" y="33077"/>
                </a:cubicBezTo>
                <a:cubicBezTo>
                  <a:pt x="2130" y="27608"/>
                  <a:pt x="492" y="19393"/>
                  <a:pt x="3440" y="12248"/>
                </a:cubicBezTo>
                <a:cubicBezTo>
                  <a:pt x="6402" y="5116"/>
                  <a:pt x="13370" y="454"/>
                  <a:pt x="21094" y="454"/>
                </a:cubicBezTo>
                <a:close/>
                <a:moveTo>
                  <a:pt x="21107" y="0"/>
                </a:moveTo>
                <a:cubicBezTo>
                  <a:pt x="16017" y="0"/>
                  <a:pt x="11015" y="1989"/>
                  <a:pt x="7271" y="5733"/>
                </a:cubicBezTo>
                <a:cubicBezTo>
                  <a:pt x="1676" y="11328"/>
                  <a:pt x="0" y="19733"/>
                  <a:pt x="3025" y="27041"/>
                </a:cubicBezTo>
                <a:cubicBezTo>
                  <a:pt x="6049" y="34362"/>
                  <a:pt x="13181" y="39126"/>
                  <a:pt x="21094" y="39126"/>
                </a:cubicBezTo>
                <a:cubicBezTo>
                  <a:pt x="31893" y="39113"/>
                  <a:pt x="40651" y="30355"/>
                  <a:pt x="40663" y="19556"/>
                </a:cubicBezTo>
                <a:cubicBezTo>
                  <a:pt x="40663" y="11643"/>
                  <a:pt x="35888" y="4511"/>
                  <a:pt x="28579" y="1487"/>
                </a:cubicBezTo>
                <a:cubicBezTo>
                  <a:pt x="26161" y="486"/>
                  <a:pt x="23624" y="0"/>
                  <a:pt x="21107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1" name="Google Shape;1151;p41"/>
          <p:cNvSpPr/>
          <p:nvPr/>
        </p:nvSpPr>
        <p:spPr>
          <a:xfrm>
            <a:off x="3674854" y="1911761"/>
            <a:ext cx="1728515" cy="1663030"/>
          </a:xfrm>
          <a:custGeom>
            <a:avLst/>
            <a:gdLst/>
            <a:ahLst/>
            <a:cxnLst/>
            <a:rect l="l" t="t" r="r" b="b"/>
            <a:pathLst>
              <a:path w="33153" h="31897" extrusionOk="0">
                <a:moveTo>
                  <a:pt x="17200" y="457"/>
                </a:moveTo>
                <a:cubicBezTo>
                  <a:pt x="25756" y="470"/>
                  <a:pt x="32687" y="7400"/>
                  <a:pt x="32699" y="15943"/>
                </a:cubicBezTo>
                <a:cubicBezTo>
                  <a:pt x="32699" y="22219"/>
                  <a:pt x="28919" y="27864"/>
                  <a:pt x="23135" y="30258"/>
                </a:cubicBezTo>
                <a:cubicBezTo>
                  <a:pt x="21216" y="31055"/>
                  <a:pt x="19202" y="31442"/>
                  <a:pt x="17207" y="31442"/>
                </a:cubicBezTo>
                <a:cubicBezTo>
                  <a:pt x="13176" y="31442"/>
                  <a:pt x="9217" y="29864"/>
                  <a:pt x="6250" y="26906"/>
                </a:cubicBezTo>
                <a:cubicBezTo>
                  <a:pt x="1815" y="22471"/>
                  <a:pt x="491" y="15805"/>
                  <a:pt x="2886" y="10021"/>
                </a:cubicBezTo>
                <a:cubicBezTo>
                  <a:pt x="5292" y="4225"/>
                  <a:pt x="10938" y="457"/>
                  <a:pt x="17200" y="457"/>
                </a:cubicBezTo>
                <a:close/>
                <a:moveTo>
                  <a:pt x="17222" y="0"/>
                </a:moveTo>
                <a:cubicBezTo>
                  <a:pt x="13069" y="0"/>
                  <a:pt x="8988" y="1625"/>
                  <a:pt x="5935" y="4678"/>
                </a:cubicBezTo>
                <a:cubicBezTo>
                  <a:pt x="1374" y="9227"/>
                  <a:pt x="0" y="16095"/>
                  <a:pt x="2470" y="22055"/>
                </a:cubicBezTo>
                <a:cubicBezTo>
                  <a:pt x="4940" y="28002"/>
                  <a:pt x="10749" y="31896"/>
                  <a:pt x="17200" y="31896"/>
                </a:cubicBezTo>
                <a:cubicBezTo>
                  <a:pt x="26008" y="31884"/>
                  <a:pt x="33140" y="24751"/>
                  <a:pt x="33153" y="15943"/>
                </a:cubicBezTo>
                <a:cubicBezTo>
                  <a:pt x="33153" y="9504"/>
                  <a:pt x="29272" y="3683"/>
                  <a:pt x="23312" y="1213"/>
                </a:cubicBezTo>
                <a:cubicBezTo>
                  <a:pt x="21341" y="396"/>
                  <a:pt x="19273" y="0"/>
                  <a:pt x="17222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2" name="Google Shape;1152;p41"/>
          <p:cNvSpPr/>
          <p:nvPr/>
        </p:nvSpPr>
        <p:spPr>
          <a:xfrm rot="-8999970">
            <a:off x="3174921" y="1347034"/>
            <a:ext cx="2794158" cy="2793489"/>
          </a:xfrm>
          <a:prstGeom prst="blockArc">
            <a:avLst>
              <a:gd name="adj1" fmla="val 15791057"/>
              <a:gd name="adj2" fmla="val 10360267"/>
              <a:gd name="adj3" fmla="val 865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3" name="Google Shape;1153;p41"/>
          <p:cNvSpPr/>
          <p:nvPr/>
        </p:nvSpPr>
        <p:spPr>
          <a:xfrm>
            <a:off x="3363451" y="1535447"/>
            <a:ext cx="2417100" cy="2416500"/>
          </a:xfrm>
          <a:prstGeom prst="blockArc">
            <a:avLst>
              <a:gd name="adj1" fmla="val 18313733"/>
              <a:gd name="adj2" fmla="val 10538502"/>
              <a:gd name="adj3" fmla="val 1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4" name="Google Shape;1154;p41"/>
          <p:cNvSpPr/>
          <p:nvPr/>
        </p:nvSpPr>
        <p:spPr>
          <a:xfrm rot="4870002">
            <a:off x="3552388" y="1724236"/>
            <a:ext cx="2039591" cy="2038998"/>
          </a:xfrm>
          <a:prstGeom prst="blockArc">
            <a:avLst>
              <a:gd name="adj1" fmla="val 2412399"/>
              <a:gd name="adj2" fmla="val 10510293"/>
              <a:gd name="adj3" fmla="val 1218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5" name="Google Shape;1155;p41"/>
          <p:cNvSpPr/>
          <p:nvPr/>
        </p:nvSpPr>
        <p:spPr>
          <a:xfrm rot="788870">
            <a:off x="3743754" y="1915710"/>
            <a:ext cx="1656523" cy="1655871"/>
          </a:xfrm>
          <a:prstGeom prst="blockArc">
            <a:avLst>
              <a:gd name="adj1" fmla="val 19721094"/>
              <a:gd name="adj2" fmla="val 10510293"/>
              <a:gd name="adj3" fmla="val 1218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156" name="Google Shape;1156;p41"/>
          <p:cNvCxnSpPr/>
          <p:nvPr/>
        </p:nvCxnSpPr>
        <p:spPr>
          <a:xfrm>
            <a:off x="2068344" y="2735750"/>
            <a:ext cx="1716900" cy="0"/>
          </a:xfrm>
          <a:prstGeom prst="straightConnector1">
            <a:avLst/>
          </a:prstGeom>
          <a:noFill/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7" name="Google Shape;1157;p41"/>
          <p:cNvCxnSpPr/>
          <p:nvPr/>
        </p:nvCxnSpPr>
        <p:spPr>
          <a:xfrm>
            <a:off x="2068344" y="3062800"/>
            <a:ext cx="1577400" cy="0"/>
          </a:xfrm>
          <a:prstGeom prst="straightConnector1">
            <a:avLst/>
          </a:prstGeom>
          <a:noFill/>
          <a:ln w="19050" cap="flat" cmpd="sng">
            <a:solidFill>
              <a:schemeClr val="accent4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8" name="Google Shape;1158;p41"/>
          <p:cNvCxnSpPr/>
          <p:nvPr/>
        </p:nvCxnSpPr>
        <p:spPr>
          <a:xfrm rot="10800000">
            <a:off x="5715844" y="2735750"/>
            <a:ext cx="1310100" cy="0"/>
          </a:xfrm>
          <a:prstGeom prst="straightConnector1">
            <a:avLst/>
          </a:prstGeom>
          <a:noFill/>
          <a:ln w="19050" cap="flat" cmpd="sng">
            <a:solidFill>
              <a:schemeClr val="accent3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9" name="Google Shape;1159;p41"/>
          <p:cNvCxnSpPr/>
          <p:nvPr/>
        </p:nvCxnSpPr>
        <p:spPr>
          <a:xfrm rot="10800000">
            <a:off x="5878144" y="3062800"/>
            <a:ext cx="1147800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med" len="med"/>
            <a:tailEnd type="oval" w="med" len="med"/>
          </a:ln>
        </p:spPr>
      </p:cxn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4" name="Google Shape;1164;p42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ESTIMONIALS</a:t>
            </a:r>
            <a:endParaRPr/>
          </a:p>
        </p:txBody>
      </p:sp>
      <p:sp>
        <p:nvSpPr>
          <p:cNvPr id="1165" name="Google Shape;1165;p42"/>
          <p:cNvSpPr txBox="1">
            <a:spLocks noGrp="1"/>
          </p:cNvSpPr>
          <p:nvPr>
            <p:ph type="ctrTitle" idx="2"/>
          </p:nvPr>
        </p:nvSpPr>
        <p:spPr>
          <a:xfrm>
            <a:off x="3628263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ALIYA FARLEY</a:t>
            </a:r>
            <a:endParaRPr/>
          </a:p>
        </p:txBody>
      </p:sp>
      <p:sp>
        <p:nvSpPr>
          <p:cNvPr id="1166" name="Google Shape;1166;p42"/>
          <p:cNvSpPr txBox="1">
            <a:spLocks noGrp="1"/>
          </p:cNvSpPr>
          <p:nvPr>
            <p:ph type="ctrTitle"/>
          </p:nvPr>
        </p:nvSpPr>
        <p:spPr>
          <a:xfrm>
            <a:off x="892925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RYAN DIXON</a:t>
            </a:r>
            <a:endParaRPr/>
          </a:p>
        </p:txBody>
      </p:sp>
      <p:sp>
        <p:nvSpPr>
          <p:cNvPr id="1167" name="Google Shape;1167;p42"/>
          <p:cNvSpPr txBox="1">
            <a:spLocks noGrp="1"/>
          </p:cNvSpPr>
          <p:nvPr>
            <p:ph type="subTitle" idx="1"/>
          </p:nvPr>
        </p:nvSpPr>
        <p:spPr>
          <a:xfrm>
            <a:off x="733325" y="16437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Mercury is the closest planet to the Sun and the smallest of them all”</a:t>
            </a:r>
            <a:endParaRPr/>
          </a:p>
        </p:txBody>
      </p:sp>
      <p:sp>
        <p:nvSpPr>
          <p:cNvPr id="1168" name="Google Shape;1168;p42"/>
          <p:cNvSpPr txBox="1">
            <a:spLocks noGrp="1"/>
          </p:cNvSpPr>
          <p:nvPr>
            <p:ph type="subTitle" idx="3"/>
          </p:nvPr>
        </p:nvSpPr>
        <p:spPr>
          <a:xfrm>
            <a:off x="3468663" y="1643759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Venus has a beautiful name and is the second planet from the Sun”</a:t>
            </a:r>
            <a:endParaRPr/>
          </a:p>
        </p:txBody>
      </p:sp>
      <p:sp>
        <p:nvSpPr>
          <p:cNvPr id="1169" name="Google Shape;1169;p42"/>
          <p:cNvSpPr txBox="1">
            <a:spLocks noGrp="1"/>
          </p:cNvSpPr>
          <p:nvPr>
            <p:ph type="ctrTitle" idx="4"/>
          </p:nvPr>
        </p:nvSpPr>
        <p:spPr>
          <a:xfrm>
            <a:off x="6371224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HENRY McKANE</a:t>
            </a:r>
            <a:endParaRPr/>
          </a:p>
        </p:txBody>
      </p:sp>
      <p:sp>
        <p:nvSpPr>
          <p:cNvPr id="1170" name="Google Shape;1170;p42"/>
          <p:cNvSpPr txBox="1">
            <a:spLocks noGrp="1"/>
          </p:cNvSpPr>
          <p:nvPr>
            <p:ph type="subTitle" idx="5"/>
          </p:nvPr>
        </p:nvSpPr>
        <p:spPr>
          <a:xfrm>
            <a:off x="6176524" y="16437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Jupiter is a gas giant and the biggest planet in the Solar System”</a:t>
            </a:r>
            <a:endParaRPr/>
          </a:p>
        </p:txBody>
      </p:sp>
      <p:sp>
        <p:nvSpPr>
          <p:cNvPr id="1171" name="Google Shape;1171;p42"/>
          <p:cNvSpPr txBox="1">
            <a:spLocks noGrp="1"/>
          </p:cNvSpPr>
          <p:nvPr>
            <p:ph type="ctrTitle" idx="7"/>
          </p:nvPr>
        </p:nvSpPr>
        <p:spPr>
          <a:xfrm>
            <a:off x="892925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BILLY BROOKS</a:t>
            </a:r>
            <a:endParaRPr/>
          </a:p>
        </p:txBody>
      </p:sp>
      <p:sp>
        <p:nvSpPr>
          <p:cNvPr id="1172" name="Google Shape;1172;p42"/>
          <p:cNvSpPr txBox="1">
            <a:spLocks noGrp="1"/>
          </p:cNvSpPr>
          <p:nvPr>
            <p:ph type="subTitle" idx="8"/>
          </p:nvPr>
        </p:nvSpPr>
        <p:spPr>
          <a:xfrm>
            <a:off x="733325" y="34792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Saturn is composed mostly of hydrogen and helium”</a:t>
            </a:r>
            <a:endParaRPr/>
          </a:p>
        </p:txBody>
      </p:sp>
      <p:sp>
        <p:nvSpPr>
          <p:cNvPr id="1173" name="Google Shape;1173;p42"/>
          <p:cNvSpPr txBox="1">
            <a:spLocks noGrp="1"/>
          </p:cNvSpPr>
          <p:nvPr>
            <p:ph type="ctrTitle" idx="9"/>
          </p:nvPr>
        </p:nvSpPr>
        <p:spPr>
          <a:xfrm>
            <a:off x="3628263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LUCY JADE</a:t>
            </a:r>
            <a:endParaRPr/>
          </a:p>
        </p:txBody>
      </p:sp>
      <p:sp>
        <p:nvSpPr>
          <p:cNvPr id="1174" name="Google Shape;1174;p42"/>
          <p:cNvSpPr txBox="1">
            <a:spLocks noGrp="1"/>
          </p:cNvSpPr>
          <p:nvPr>
            <p:ph type="subTitle" idx="13"/>
          </p:nvPr>
        </p:nvSpPr>
        <p:spPr>
          <a:xfrm>
            <a:off x="3533613" y="3479251"/>
            <a:ext cx="20706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The Sun is the star at the center of the Solar System”</a:t>
            </a:r>
            <a:endParaRPr/>
          </a:p>
        </p:txBody>
      </p:sp>
      <p:sp>
        <p:nvSpPr>
          <p:cNvPr id="1175" name="Google Shape;1175;p42"/>
          <p:cNvSpPr txBox="1">
            <a:spLocks noGrp="1"/>
          </p:cNvSpPr>
          <p:nvPr>
            <p:ph type="ctrTitle" idx="14"/>
          </p:nvPr>
        </p:nvSpPr>
        <p:spPr>
          <a:xfrm>
            <a:off x="6371224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ROSE CLARK</a:t>
            </a:r>
            <a:endParaRPr/>
          </a:p>
        </p:txBody>
      </p:sp>
      <p:sp>
        <p:nvSpPr>
          <p:cNvPr id="1176" name="Google Shape;1176;p42"/>
          <p:cNvSpPr txBox="1">
            <a:spLocks noGrp="1"/>
          </p:cNvSpPr>
          <p:nvPr>
            <p:ph type="subTitle" idx="15"/>
          </p:nvPr>
        </p:nvSpPr>
        <p:spPr>
          <a:xfrm>
            <a:off x="6176524" y="34792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Neptune is the fourth-largest planet in the Solar System”</a:t>
            </a:r>
            <a:endParaRPr/>
          </a:p>
        </p:txBody>
      </p:sp>
      <p:sp>
        <p:nvSpPr>
          <p:cNvPr id="1177" name="Google Shape;1177;p42"/>
          <p:cNvSpPr/>
          <p:nvPr/>
        </p:nvSpPr>
        <p:spPr>
          <a:xfrm>
            <a:off x="1625825" y="3005284"/>
            <a:ext cx="415500" cy="415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8" name="Google Shape;1178;p42"/>
          <p:cNvSpPr/>
          <p:nvPr/>
        </p:nvSpPr>
        <p:spPr>
          <a:xfrm>
            <a:off x="4361163" y="3005284"/>
            <a:ext cx="415500" cy="415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9" name="Google Shape;1179;p42"/>
          <p:cNvSpPr/>
          <p:nvPr/>
        </p:nvSpPr>
        <p:spPr>
          <a:xfrm>
            <a:off x="7104124" y="3005284"/>
            <a:ext cx="415500" cy="415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0" name="Google Shape;1180;p42"/>
          <p:cNvSpPr/>
          <p:nvPr/>
        </p:nvSpPr>
        <p:spPr>
          <a:xfrm>
            <a:off x="1625825" y="1163242"/>
            <a:ext cx="415500" cy="415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1" name="Google Shape;1181;p42"/>
          <p:cNvSpPr/>
          <p:nvPr/>
        </p:nvSpPr>
        <p:spPr>
          <a:xfrm>
            <a:off x="4361163" y="1163242"/>
            <a:ext cx="415500" cy="415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2" name="Google Shape;1182;p42"/>
          <p:cNvSpPr/>
          <p:nvPr/>
        </p:nvSpPr>
        <p:spPr>
          <a:xfrm>
            <a:off x="7104124" y="1163242"/>
            <a:ext cx="415500" cy="415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183" name="Google Shape;1183;p42"/>
          <p:cNvCxnSpPr>
            <a:stCxn id="1180" idx="3"/>
            <a:endCxn id="1178" idx="1"/>
          </p:cNvCxnSpPr>
          <p:nvPr/>
        </p:nvCxnSpPr>
        <p:spPr>
          <a:xfrm>
            <a:off x="2041325" y="1370992"/>
            <a:ext cx="2319900" cy="1842000"/>
          </a:xfrm>
          <a:prstGeom prst="bentConnector3">
            <a:avLst>
              <a:gd name="adj1" fmla="val 4999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184" name="Google Shape;1184;p42"/>
          <p:cNvCxnSpPr>
            <a:stCxn id="1178" idx="3"/>
            <a:endCxn id="1182" idx="1"/>
          </p:cNvCxnSpPr>
          <p:nvPr/>
        </p:nvCxnSpPr>
        <p:spPr>
          <a:xfrm rot="10800000" flipH="1">
            <a:off x="4776663" y="1371034"/>
            <a:ext cx="2327400" cy="1842000"/>
          </a:xfrm>
          <a:prstGeom prst="bentConnector3">
            <a:avLst>
              <a:gd name="adj1" fmla="val 50001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185" name="Google Shape;1185;p42"/>
          <p:cNvGrpSpPr/>
          <p:nvPr/>
        </p:nvGrpSpPr>
        <p:grpSpPr>
          <a:xfrm>
            <a:off x="4436544" y="3036686"/>
            <a:ext cx="264813" cy="352693"/>
            <a:chOff x="6703732" y="3346936"/>
            <a:chExt cx="264813" cy="352693"/>
          </a:xfrm>
        </p:grpSpPr>
        <p:sp>
          <p:nvSpPr>
            <p:cNvPr id="1186" name="Google Shape;1186;p42"/>
            <p:cNvSpPr/>
            <p:nvPr/>
          </p:nvSpPr>
          <p:spPr>
            <a:xfrm>
              <a:off x="6797283" y="3468777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" name="Google Shape;1187;p42"/>
            <p:cNvSpPr/>
            <p:nvPr/>
          </p:nvSpPr>
          <p:spPr>
            <a:xfrm>
              <a:off x="6863272" y="3468777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" name="Google Shape;1188;p42"/>
            <p:cNvSpPr/>
            <p:nvPr/>
          </p:nvSpPr>
          <p:spPr>
            <a:xfrm>
              <a:off x="6814231" y="3507712"/>
              <a:ext cx="43433" cy="15777"/>
            </a:xfrm>
            <a:custGeom>
              <a:avLst/>
              <a:gdLst/>
              <a:ahLst/>
              <a:cxnLst/>
              <a:rect l="l" t="t" r="r" b="b"/>
              <a:pathLst>
                <a:path w="1371" h="498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2" y="402"/>
                    <a:pt x="1346" y="271"/>
                  </a:cubicBezTo>
                  <a:cubicBezTo>
                    <a:pt x="1370" y="212"/>
                    <a:pt x="1370" y="105"/>
                    <a:pt x="1311" y="45"/>
                  </a:cubicBezTo>
                  <a:cubicBezTo>
                    <a:pt x="1281" y="15"/>
                    <a:pt x="1242" y="0"/>
                    <a:pt x="1203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882" y="188"/>
                    <a:pt x="692" y="188"/>
                  </a:cubicBezTo>
                  <a:cubicBezTo>
                    <a:pt x="477" y="188"/>
                    <a:pt x="346" y="105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" name="Google Shape;1189;p42"/>
            <p:cNvSpPr/>
            <p:nvPr/>
          </p:nvSpPr>
          <p:spPr>
            <a:xfrm>
              <a:off x="6902143" y="3489876"/>
              <a:ext cx="32" cy="412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13"/>
                  </a:moveTo>
                  <a:cubicBezTo>
                    <a:pt x="0" y="1"/>
                    <a:pt x="0" y="13"/>
                    <a:pt x="0" y="13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" name="Google Shape;1190;p42"/>
            <p:cNvSpPr/>
            <p:nvPr/>
          </p:nvSpPr>
          <p:spPr>
            <a:xfrm>
              <a:off x="6703732" y="3346936"/>
              <a:ext cx="264813" cy="352693"/>
            </a:xfrm>
            <a:custGeom>
              <a:avLst/>
              <a:gdLst/>
              <a:ahLst/>
              <a:cxnLst/>
              <a:rect l="l" t="t" r="r" b="b"/>
              <a:pathLst>
                <a:path w="8359" h="11133" extrusionOk="0">
                  <a:moveTo>
                    <a:pt x="4120" y="346"/>
                  </a:moveTo>
                  <a:cubicBezTo>
                    <a:pt x="5668" y="346"/>
                    <a:pt x="6918" y="1596"/>
                    <a:pt x="6918" y="3144"/>
                  </a:cubicBezTo>
                  <a:lnTo>
                    <a:pt x="6918" y="8081"/>
                  </a:lnTo>
                  <a:lnTo>
                    <a:pt x="6918" y="8081"/>
                  </a:lnTo>
                  <a:lnTo>
                    <a:pt x="6049" y="7787"/>
                  </a:lnTo>
                  <a:cubicBezTo>
                    <a:pt x="6037" y="7763"/>
                    <a:pt x="6037" y="7739"/>
                    <a:pt x="6013" y="7716"/>
                  </a:cubicBezTo>
                  <a:lnTo>
                    <a:pt x="5608" y="7311"/>
                  </a:lnTo>
                  <a:cubicBezTo>
                    <a:pt x="5537" y="7239"/>
                    <a:pt x="5442" y="7204"/>
                    <a:pt x="5358" y="7204"/>
                  </a:cubicBezTo>
                  <a:lnTo>
                    <a:pt x="5358" y="6608"/>
                  </a:lnTo>
                  <a:cubicBezTo>
                    <a:pt x="5727" y="6406"/>
                    <a:pt x="6037" y="6084"/>
                    <a:pt x="6251" y="5715"/>
                  </a:cubicBezTo>
                  <a:lnTo>
                    <a:pt x="6251" y="7299"/>
                  </a:lnTo>
                  <a:cubicBezTo>
                    <a:pt x="6251" y="7382"/>
                    <a:pt x="6323" y="7466"/>
                    <a:pt x="6406" y="7466"/>
                  </a:cubicBezTo>
                  <a:cubicBezTo>
                    <a:pt x="6501" y="7466"/>
                    <a:pt x="6573" y="7382"/>
                    <a:pt x="6573" y="7299"/>
                  </a:cubicBezTo>
                  <a:lnTo>
                    <a:pt x="6573" y="4144"/>
                  </a:lnTo>
                  <a:cubicBezTo>
                    <a:pt x="6573" y="3882"/>
                    <a:pt x="6394" y="3667"/>
                    <a:pt x="6144" y="3620"/>
                  </a:cubicBezTo>
                  <a:cubicBezTo>
                    <a:pt x="5858" y="3572"/>
                    <a:pt x="5108" y="3370"/>
                    <a:pt x="4418" y="2370"/>
                  </a:cubicBezTo>
                  <a:cubicBezTo>
                    <a:pt x="4358" y="2274"/>
                    <a:pt x="4251" y="2215"/>
                    <a:pt x="4132" y="2215"/>
                  </a:cubicBezTo>
                  <a:cubicBezTo>
                    <a:pt x="4025" y="2215"/>
                    <a:pt x="3918" y="2274"/>
                    <a:pt x="3846" y="2370"/>
                  </a:cubicBezTo>
                  <a:cubicBezTo>
                    <a:pt x="3739" y="2536"/>
                    <a:pt x="3608" y="2679"/>
                    <a:pt x="3477" y="2810"/>
                  </a:cubicBezTo>
                  <a:cubicBezTo>
                    <a:pt x="3418" y="2870"/>
                    <a:pt x="3418" y="2977"/>
                    <a:pt x="3489" y="3036"/>
                  </a:cubicBezTo>
                  <a:cubicBezTo>
                    <a:pt x="3517" y="3065"/>
                    <a:pt x="3557" y="3080"/>
                    <a:pt x="3596" y="3080"/>
                  </a:cubicBezTo>
                  <a:cubicBezTo>
                    <a:pt x="3640" y="3080"/>
                    <a:pt x="3684" y="3062"/>
                    <a:pt x="3715" y="3025"/>
                  </a:cubicBezTo>
                  <a:cubicBezTo>
                    <a:pt x="3858" y="2870"/>
                    <a:pt x="3977" y="2715"/>
                    <a:pt x="4120" y="2536"/>
                  </a:cubicBezTo>
                  <a:lnTo>
                    <a:pt x="4144" y="2536"/>
                  </a:lnTo>
                  <a:cubicBezTo>
                    <a:pt x="4299" y="2739"/>
                    <a:pt x="4537" y="3036"/>
                    <a:pt x="4846" y="3322"/>
                  </a:cubicBezTo>
                  <a:cubicBezTo>
                    <a:pt x="5227" y="3656"/>
                    <a:pt x="5644" y="3858"/>
                    <a:pt x="6085" y="3929"/>
                  </a:cubicBezTo>
                  <a:cubicBezTo>
                    <a:pt x="6168" y="3953"/>
                    <a:pt x="6227" y="4037"/>
                    <a:pt x="6227" y="4120"/>
                  </a:cubicBezTo>
                  <a:lnTo>
                    <a:pt x="6227" y="4501"/>
                  </a:lnTo>
                  <a:cubicBezTo>
                    <a:pt x="6227" y="5656"/>
                    <a:pt x="5287" y="6596"/>
                    <a:pt x="4132" y="6596"/>
                  </a:cubicBezTo>
                  <a:cubicBezTo>
                    <a:pt x="2965" y="6596"/>
                    <a:pt x="2036" y="5656"/>
                    <a:pt x="2036" y="4513"/>
                  </a:cubicBezTo>
                  <a:lnTo>
                    <a:pt x="2036" y="4144"/>
                  </a:lnTo>
                  <a:cubicBezTo>
                    <a:pt x="2036" y="4048"/>
                    <a:pt x="2096" y="3965"/>
                    <a:pt x="2179" y="3953"/>
                  </a:cubicBezTo>
                  <a:cubicBezTo>
                    <a:pt x="2525" y="3894"/>
                    <a:pt x="2846" y="3751"/>
                    <a:pt x="3179" y="3537"/>
                  </a:cubicBezTo>
                  <a:cubicBezTo>
                    <a:pt x="3251" y="3489"/>
                    <a:pt x="3263" y="3382"/>
                    <a:pt x="3227" y="3310"/>
                  </a:cubicBezTo>
                  <a:cubicBezTo>
                    <a:pt x="3196" y="3264"/>
                    <a:pt x="3141" y="3238"/>
                    <a:pt x="3086" y="3238"/>
                  </a:cubicBezTo>
                  <a:cubicBezTo>
                    <a:pt x="3056" y="3238"/>
                    <a:pt x="3026" y="3246"/>
                    <a:pt x="3001" y="3263"/>
                  </a:cubicBezTo>
                  <a:cubicBezTo>
                    <a:pt x="2715" y="3453"/>
                    <a:pt x="2429" y="3572"/>
                    <a:pt x="2132" y="3632"/>
                  </a:cubicBezTo>
                  <a:cubicBezTo>
                    <a:pt x="1894" y="3679"/>
                    <a:pt x="1703" y="3894"/>
                    <a:pt x="1703" y="4156"/>
                  </a:cubicBezTo>
                  <a:lnTo>
                    <a:pt x="1703" y="7311"/>
                  </a:lnTo>
                  <a:cubicBezTo>
                    <a:pt x="1703" y="7406"/>
                    <a:pt x="1774" y="7477"/>
                    <a:pt x="1870" y="7477"/>
                  </a:cubicBezTo>
                  <a:cubicBezTo>
                    <a:pt x="1953" y="7477"/>
                    <a:pt x="2036" y="7406"/>
                    <a:pt x="2036" y="7311"/>
                  </a:cubicBezTo>
                  <a:lnTo>
                    <a:pt x="2036" y="5739"/>
                  </a:lnTo>
                  <a:cubicBezTo>
                    <a:pt x="2239" y="6108"/>
                    <a:pt x="2548" y="6418"/>
                    <a:pt x="2929" y="6632"/>
                  </a:cubicBezTo>
                  <a:lnTo>
                    <a:pt x="2929" y="7227"/>
                  </a:lnTo>
                  <a:cubicBezTo>
                    <a:pt x="2834" y="7227"/>
                    <a:pt x="2751" y="7251"/>
                    <a:pt x="2667" y="7323"/>
                  </a:cubicBezTo>
                  <a:lnTo>
                    <a:pt x="2275" y="7728"/>
                  </a:lnTo>
                  <a:cubicBezTo>
                    <a:pt x="2251" y="7739"/>
                    <a:pt x="2239" y="7775"/>
                    <a:pt x="2227" y="7799"/>
                  </a:cubicBezTo>
                  <a:lnTo>
                    <a:pt x="1322" y="8120"/>
                  </a:lnTo>
                  <a:lnTo>
                    <a:pt x="1322" y="3144"/>
                  </a:lnTo>
                  <a:cubicBezTo>
                    <a:pt x="1322" y="1596"/>
                    <a:pt x="2572" y="346"/>
                    <a:pt x="4120" y="346"/>
                  </a:cubicBezTo>
                  <a:close/>
                  <a:moveTo>
                    <a:pt x="5037" y="6787"/>
                  </a:moveTo>
                  <a:lnTo>
                    <a:pt x="5037" y="7418"/>
                  </a:lnTo>
                  <a:lnTo>
                    <a:pt x="4168" y="8299"/>
                  </a:lnTo>
                  <a:lnTo>
                    <a:pt x="3287" y="7418"/>
                  </a:lnTo>
                  <a:lnTo>
                    <a:pt x="3287" y="6787"/>
                  </a:lnTo>
                  <a:cubicBezTo>
                    <a:pt x="3548" y="6894"/>
                    <a:pt x="3846" y="6954"/>
                    <a:pt x="4168" y="6954"/>
                  </a:cubicBezTo>
                  <a:cubicBezTo>
                    <a:pt x="4477" y="6954"/>
                    <a:pt x="4775" y="6894"/>
                    <a:pt x="5037" y="6787"/>
                  </a:cubicBezTo>
                  <a:close/>
                  <a:moveTo>
                    <a:pt x="2953" y="7549"/>
                  </a:moveTo>
                  <a:lnTo>
                    <a:pt x="3929" y="8513"/>
                  </a:lnTo>
                  <a:lnTo>
                    <a:pt x="3191" y="9132"/>
                  </a:lnTo>
                  <a:lnTo>
                    <a:pt x="3167" y="9132"/>
                  </a:lnTo>
                  <a:lnTo>
                    <a:pt x="2620" y="7882"/>
                  </a:lnTo>
                  <a:lnTo>
                    <a:pt x="2941" y="7549"/>
                  </a:lnTo>
                  <a:close/>
                  <a:moveTo>
                    <a:pt x="5346" y="7561"/>
                  </a:moveTo>
                  <a:lnTo>
                    <a:pt x="5680" y="7894"/>
                  </a:lnTo>
                  <a:lnTo>
                    <a:pt x="5644" y="7966"/>
                  </a:lnTo>
                  <a:cubicBezTo>
                    <a:pt x="5620" y="8061"/>
                    <a:pt x="5644" y="8144"/>
                    <a:pt x="5739" y="8168"/>
                  </a:cubicBezTo>
                  <a:cubicBezTo>
                    <a:pt x="5759" y="8178"/>
                    <a:pt x="5782" y="8183"/>
                    <a:pt x="5804" y="8183"/>
                  </a:cubicBezTo>
                  <a:cubicBezTo>
                    <a:pt x="5860" y="8183"/>
                    <a:pt x="5916" y="8155"/>
                    <a:pt x="5942" y="8120"/>
                  </a:cubicBezTo>
                  <a:lnTo>
                    <a:pt x="6180" y="8192"/>
                  </a:lnTo>
                  <a:lnTo>
                    <a:pt x="6168" y="8359"/>
                  </a:lnTo>
                  <a:cubicBezTo>
                    <a:pt x="6037" y="9347"/>
                    <a:pt x="5180" y="10109"/>
                    <a:pt x="4168" y="10109"/>
                  </a:cubicBezTo>
                  <a:cubicBezTo>
                    <a:pt x="3156" y="10109"/>
                    <a:pt x="2286" y="9347"/>
                    <a:pt x="2155" y="8359"/>
                  </a:cubicBezTo>
                  <a:lnTo>
                    <a:pt x="2120" y="8168"/>
                  </a:lnTo>
                  <a:lnTo>
                    <a:pt x="2346" y="8097"/>
                  </a:lnTo>
                  <a:lnTo>
                    <a:pt x="2870" y="9263"/>
                  </a:lnTo>
                  <a:cubicBezTo>
                    <a:pt x="2917" y="9359"/>
                    <a:pt x="3001" y="9418"/>
                    <a:pt x="3108" y="9454"/>
                  </a:cubicBezTo>
                  <a:cubicBezTo>
                    <a:pt x="3132" y="9454"/>
                    <a:pt x="3156" y="9466"/>
                    <a:pt x="3179" y="9466"/>
                  </a:cubicBezTo>
                  <a:cubicBezTo>
                    <a:pt x="3251" y="9466"/>
                    <a:pt x="3334" y="9442"/>
                    <a:pt x="3394" y="9394"/>
                  </a:cubicBezTo>
                  <a:lnTo>
                    <a:pt x="4144" y="8751"/>
                  </a:lnTo>
                  <a:lnTo>
                    <a:pt x="4906" y="9394"/>
                  </a:lnTo>
                  <a:cubicBezTo>
                    <a:pt x="4965" y="9442"/>
                    <a:pt x="5037" y="9466"/>
                    <a:pt x="5120" y="9466"/>
                  </a:cubicBezTo>
                  <a:cubicBezTo>
                    <a:pt x="5144" y="9466"/>
                    <a:pt x="5156" y="9466"/>
                    <a:pt x="5192" y="9454"/>
                  </a:cubicBezTo>
                  <a:cubicBezTo>
                    <a:pt x="5299" y="9418"/>
                    <a:pt x="5382" y="9359"/>
                    <a:pt x="5430" y="9263"/>
                  </a:cubicBezTo>
                  <a:lnTo>
                    <a:pt x="5680" y="8704"/>
                  </a:lnTo>
                  <a:cubicBezTo>
                    <a:pt x="5715" y="8620"/>
                    <a:pt x="5680" y="8525"/>
                    <a:pt x="5596" y="8501"/>
                  </a:cubicBezTo>
                  <a:cubicBezTo>
                    <a:pt x="5571" y="8492"/>
                    <a:pt x="5547" y="8488"/>
                    <a:pt x="5525" y="8488"/>
                  </a:cubicBezTo>
                  <a:cubicBezTo>
                    <a:pt x="5461" y="8488"/>
                    <a:pt x="5408" y="8523"/>
                    <a:pt x="5382" y="8585"/>
                  </a:cubicBezTo>
                  <a:lnTo>
                    <a:pt x="5132" y="9144"/>
                  </a:lnTo>
                  <a:lnTo>
                    <a:pt x="5096" y="9144"/>
                  </a:lnTo>
                  <a:lnTo>
                    <a:pt x="4370" y="8525"/>
                  </a:lnTo>
                  <a:lnTo>
                    <a:pt x="5334" y="7561"/>
                  </a:lnTo>
                  <a:close/>
                  <a:moveTo>
                    <a:pt x="4168" y="0"/>
                  </a:moveTo>
                  <a:cubicBezTo>
                    <a:pt x="2441" y="0"/>
                    <a:pt x="1036" y="1405"/>
                    <a:pt x="1036" y="3132"/>
                  </a:cubicBezTo>
                  <a:lnTo>
                    <a:pt x="1036" y="8216"/>
                  </a:lnTo>
                  <a:lnTo>
                    <a:pt x="798" y="8311"/>
                  </a:lnTo>
                  <a:cubicBezTo>
                    <a:pt x="322" y="8478"/>
                    <a:pt x="0" y="8930"/>
                    <a:pt x="0" y="9454"/>
                  </a:cubicBezTo>
                  <a:lnTo>
                    <a:pt x="0" y="10978"/>
                  </a:lnTo>
                  <a:cubicBezTo>
                    <a:pt x="0" y="11061"/>
                    <a:pt x="72" y="11133"/>
                    <a:pt x="155" y="11133"/>
                  </a:cubicBezTo>
                  <a:cubicBezTo>
                    <a:pt x="250" y="11133"/>
                    <a:pt x="322" y="11061"/>
                    <a:pt x="322" y="10978"/>
                  </a:cubicBezTo>
                  <a:lnTo>
                    <a:pt x="322" y="9454"/>
                  </a:lnTo>
                  <a:cubicBezTo>
                    <a:pt x="322" y="9347"/>
                    <a:pt x="334" y="9252"/>
                    <a:pt x="381" y="9144"/>
                  </a:cubicBezTo>
                  <a:lnTo>
                    <a:pt x="1203" y="9847"/>
                  </a:lnTo>
                  <a:cubicBezTo>
                    <a:pt x="1322" y="9942"/>
                    <a:pt x="1393" y="10097"/>
                    <a:pt x="1393" y="10240"/>
                  </a:cubicBezTo>
                  <a:lnTo>
                    <a:pt x="1393" y="10978"/>
                  </a:lnTo>
                  <a:cubicBezTo>
                    <a:pt x="1393" y="11061"/>
                    <a:pt x="1465" y="11133"/>
                    <a:pt x="1560" y="11133"/>
                  </a:cubicBezTo>
                  <a:cubicBezTo>
                    <a:pt x="1643" y="11133"/>
                    <a:pt x="1715" y="11061"/>
                    <a:pt x="1715" y="10978"/>
                  </a:cubicBezTo>
                  <a:lnTo>
                    <a:pt x="1715" y="10240"/>
                  </a:lnTo>
                  <a:cubicBezTo>
                    <a:pt x="1715" y="9990"/>
                    <a:pt x="1620" y="9752"/>
                    <a:pt x="1417" y="9585"/>
                  </a:cubicBezTo>
                  <a:lnTo>
                    <a:pt x="560" y="8847"/>
                  </a:lnTo>
                  <a:cubicBezTo>
                    <a:pt x="643" y="8740"/>
                    <a:pt x="786" y="8656"/>
                    <a:pt x="917" y="8609"/>
                  </a:cubicBezTo>
                  <a:lnTo>
                    <a:pt x="1822" y="8275"/>
                  </a:lnTo>
                  <a:lnTo>
                    <a:pt x="1834" y="8382"/>
                  </a:lnTo>
                  <a:cubicBezTo>
                    <a:pt x="1917" y="8954"/>
                    <a:pt x="2191" y="9466"/>
                    <a:pt x="2632" y="9847"/>
                  </a:cubicBezTo>
                  <a:cubicBezTo>
                    <a:pt x="3060" y="10216"/>
                    <a:pt x="3608" y="10418"/>
                    <a:pt x="4180" y="10418"/>
                  </a:cubicBezTo>
                  <a:cubicBezTo>
                    <a:pt x="4739" y="10418"/>
                    <a:pt x="5287" y="10216"/>
                    <a:pt x="5727" y="9847"/>
                  </a:cubicBezTo>
                  <a:cubicBezTo>
                    <a:pt x="6156" y="9466"/>
                    <a:pt x="6430" y="8954"/>
                    <a:pt x="6513" y="8382"/>
                  </a:cubicBezTo>
                  <a:lnTo>
                    <a:pt x="6525" y="8275"/>
                  </a:lnTo>
                  <a:lnTo>
                    <a:pt x="7430" y="8609"/>
                  </a:lnTo>
                  <a:cubicBezTo>
                    <a:pt x="7573" y="8656"/>
                    <a:pt x="7704" y="8740"/>
                    <a:pt x="7787" y="8847"/>
                  </a:cubicBezTo>
                  <a:lnTo>
                    <a:pt x="6930" y="9585"/>
                  </a:lnTo>
                  <a:cubicBezTo>
                    <a:pt x="6739" y="9752"/>
                    <a:pt x="6632" y="9990"/>
                    <a:pt x="6632" y="10240"/>
                  </a:cubicBezTo>
                  <a:lnTo>
                    <a:pt x="6632" y="10978"/>
                  </a:lnTo>
                  <a:cubicBezTo>
                    <a:pt x="6632" y="11061"/>
                    <a:pt x="6704" y="11133"/>
                    <a:pt x="6799" y="11133"/>
                  </a:cubicBezTo>
                  <a:cubicBezTo>
                    <a:pt x="6882" y="11133"/>
                    <a:pt x="6954" y="11061"/>
                    <a:pt x="6954" y="10978"/>
                  </a:cubicBezTo>
                  <a:lnTo>
                    <a:pt x="6954" y="10240"/>
                  </a:lnTo>
                  <a:cubicBezTo>
                    <a:pt x="6954" y="10097"/>
                    <a:pt x="7037" y="9942"/>
                    <a:pt x="7156" y="9847"/>
                  </a:cubicBezTo>
                  <a:lnTo>
                    <a:pt x="7966" y="9144"/>
                  </a:lnTo>
                  <a:cubicBezTo>
                    <a:pt x="8001" y="9252"/>
                    <a:pt x="8025" y="9347"/>
                    <a:pt x="8025" y="9454"/>
                  </a:cubicBezTo>
                  <a:lnTo>
                    <a:pt x="8025" y="10978"/>
                  </a:lnTo>
                  <a:cubicBezTo>
                    <a:pt x="8025" y="11061"/>
                    <a:pt x="8109" y="11133"/>
                    <a:pt x="8192" y="11133"/>
                  </a:cubicBezTo>
                  <a:cubicBezTo>
                    <a:pt x="8287" y="11133"/>
                    <a:pt x="8359" y="11061"/>
                    <a:pt x="8359" y="10978"/>
                  </a:cubicBezTo>
                  <a:lnTo>
                    <a:pt x="8359" y="9454"/>
                  </a:lnTo>
                  <a:cubicBezTo>
                    <a:pt x="8335" y="8930"/>
                    <a:pt x="8001" y="8478"/>
                    <a:pt x="7525" y="8311"/>
                  </a:cubicBezTo>
                  <a:lnTo>
                    <a:pt x="7287" y="8216"/>
                  </a:lnTo>
                  <a:lnTo>
                    <a:pt x="7287" y="3132"/>
                  </a:lnTo>
                  <a:cubicBezTo>
                    <a:pt x="7287" y="1405"/>
                    <a:pt x="5894" y="0"/>
                    <a:pt x="416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" name="Google Shape;1191;p42"/>
          <p:cNvGrpSpPr/>
          <p:nvPr/>
        </p:nvGrpSpPr>
        <p:grpSpPr>
          <a:xfrm>
            <a:off x="1697949" y="3039620"/>
            <a:ext cx="271244" cy="346801"/>
            <a:chOff x="4899999" y="2882095"/>
            <a:chExt cx="271244" cy="346801"/>
          </a:xfrm>
        </p:grpSpPr>
        <p:sp>
          <p:nvSpPr>
            <p:cNvPr id="1192" name="Google Shape;1192;p42"/>
            <p:cNvSpPr/>
            <p:nvPr/>
          </p:nvSpPr>
          <p:spPr>
            <a:xfrm>
              <a:off x="4899999" y="2882095"/>
              <a:ext cx="271244" cy="346801"/>
            </a:xfrm>
            <a:custGeom>
              <a:avLst/>
              <a:gdLst/>
              <a:ahLst/>
              <a:cxnLst/>
              <a:rect l="l" t="t" r="r" b="b"/>
              <a:pathLst>
                <a:path w="8562" h="10947" extrusionOk="0">
                  <a:moveTo>
                    <a:pt x="6609" y="1719"/>
                  </a:moveTo>
                  <a:cubicBezTo>
                    <a:pt x="6823" y="1803"/>
                    <a:pt x="6954" y="2041"/>
                    <a:pt x="6906" y="2279"/>
                  </a:cubicBezTo>
                  <a:lnTo>
                    <a:pt x="6716" y="3398"/>
                  </a:lnTo>
                  <a:lnTo>
                    <a:pt x="6502" y="3398"/>
                  </a:lnTo>
                  <a:cubicBezTo>
                    <a:pt x="6406" y="3398"/>
                    <a:pt x="6323" y="3327"/>
                    <a:pt x="6323" y="3220"/>
                  </a:cubicBezTo>
                  <a:lnTo>
                    <a:pt x="6323" y="1969"/>
                  </a:lnTo>
                  <a:cubicBezTo>
                    <a:pt x="6454" y="1910"/>
                    <a:pt x="6537" y="1815"/>
                    <a:pt x="6609" y="1719"/>
                  </a:cubicBezTo>
                  <a:close/>
                  <a:moveTo>
                    <a:pt x="2287" y="1684"/>
                  </a:moveTo>
                  <a:cubicBezTo>
                    <a:pt x="2287" y="1743"/>
                    <a:pt x="2263" y="1803"/>
                    <a:pt x="2263" y="1862"/>
                  </a:cubicBezTo>
                  <a:lnTo>
                    <a:pt x="2263" y="3231"/>
                  </a:lnTo>
                  <a:cubicBezTo>
                    <a:pt x="2263" y="3339"/>
                    <a:pt x="2191" y="3410"/>
                    <a:pt x="2084" y="3410"/>
                  </a:cubicBezTo>
                  <a:lnTo>
                    <a:pt x="1882" y="3410"/>
                  </a:lnTo>
                  <a:lnTo>
                    <a:pt x="1691" y="2291"/>
                  </a:lnTo>
                  <a:cubicBezTo>
                    <a:pt x="1656" y="2136"/>
                    <a:pt x="1703" y="1981"/>
                    <a:pt x="1810" y="1862"/>
                  </a:cubicBezTo>
                  <a:cubicBezTo>
                    <a:pt x="1906" y="1743"/>
                    <a:pt x="2037" y="1684"/>
                    <a:pt x="2203" y="1684"/>
                  </a:cubicBezTo>
                  <a:close/>
                  <a:moveTo>
                    <a:pt x="6454" y="386"/>
                  </a:moveTo>
                  <a:lnTo>
                    <a:pt x="6454" y="386"/>
                  </a:lnTo>
                  <a:cubicBezTo>
                    <a:pt x="6597" y="815"/>
                    <a:pt x="6573" y="1207"/>
                    <a:pt x="6394" y="1469"/>
                  </a:cubicBezTo>
                  <a:cubicBezTo>
                    <a:pt x="6228" y="1707"/>
                    <a:pt x="5954" y="1862"/>
                    <a:pt x="5680" y="1862"/>
                  </a:cubicBezTo>
                  <a:lnTo>
                    <a:pt x="3120" y="1862"/>
                  </a:lnTo>
                  <a:cubicBezTo>
                    <a:pt x="3025" y="1862"/>
                    <a:pt x="2953" y="1934"/>
                    <a:pt x="2953" y="2029"/>
                  </a:cubicBezTo>
                  <a:cubicBezTo>
                    <a:pt x="2953" y="2112"/>
                    <a:pt x="3025" y="2184"/>
                    <a:pt x="3120" y="2184"/>
                  </a:cubicBezTo>
                  <a:lnTo>
                    <a:pt x="5680" y="2184"/>
                  </a:lnTo>
                  <a:cubicBezTo>
                    <a:pt x="5799" y="2184"/>
                    <a:pt x="5918" y="2172"/>
                    <a:pt x="6037" y="2136"/>
                  </a:cubicBezTo>
                  <a:lnTo>
                    <a:pt x="6037" y="3220"/>
                  </a:lnTo>
                  <a:cubicBezTo>
                    <a:pt x="6037" y="3493"/>
                    <a:pt x="6252" y="3720"/>
                    <a:pt x="6537" y="3720"/>
                  </a:cubicBezTo>
                  <a:lnTo>
                    <a:pt x="6787" y="3720"/>
                  </a:lnTo>
                  <a:cubicBezTo>
                    <a:pt x="6871" y="3720"/>
                    <a:pt x="6942" y="3755"/>
                    <a:pt x="6990" y="3815"/>
                  </a:cubicBezTo>
                  <a:cubicBezTo>
                    <a:pt x="7025" y="3874"/>
                    <a:pt x="7061" y="3946"/>
                    <a:pt x="7061" y="4017"/>
                  </a:cubicBezTo>
                  <a:cubicBezTo>
                    <a:pt x="7049" y="4148"/>
                    <a:pt x="6930" y="4255"/>
                    <a:pt x="6763" y="4255"/>
                  </a:cubicBezTo>
                  <a:lnTo>
                    <a:pt x="6692" y="4255"/>
                  </a:lnTo>
                  <a:lnTo>
                    <a:pt x="6692" y="4244"/>
                  </a:lnTo>
                  <a:cubicBezTo>
                    <a:pt x="6692" y="4148"/>
                    <a:pt x="6609" y="4077"/>
                    <a:pt x="6525" y="4077"/>
                  </a:cubicBezTo>
                  <a:cubicBezTo>
                    <a:pt x="6430" y="4077"/>
                    <a:pt x="6359" y="4148"/>
                    <a:pt x="6359" y="4244"/>
                  </a:cubicBezTo>
                  <a:cubicBezTo>
                    <a:pt x="6359" y="5375"/>
                    <a:pt x="5442" y="6315"/>
                    <a:pt x="4287" y="6315"/>
                  </a:cubicBezTo>
                  <a:cubicBezTo>
                    <a:pt x="3180" y="6315"/>
                    <a:pt x="2239" y="5387"/>
                    <a:pt x="2239" y="4244"/>
                  </a:cubicBezTo>
                  <a:cubicBezTo>
                    <a:pt x="2239" y="4160"/>
                    <a:pt x="2168" y="4077"/>
                    <a:pt x="2072" y="4077"/>
                  </a:cubicBezTo>
                  <a:cubicBezTo>
                    <a:pt x="1989" y="4077"/>
                    <a:pt x="1906" y="4160"/>
                    <a:pt x="1906" y="4244"/>
                  </a:cubicBezTo>
                  <a:lnTo>
                    <a:pt x="1906" y="4255"/>
                  </a:lnTo>
                  <a:lnTo>
                    <a:pt x="1822" y="4255"/>
                  </a:lnTo>
                  <a:cubicBezTo>
                    <a:pt x="1751" y="4255"/>
                    <a:pt x="1668" y="4232"/>
                    <a:pt x="1632" y="4172"/>
                  </a:cubicBezTo>
                  <a:cubicBezTo>
                    <a:pt x="1584" y="4113"/>
                    <a:pt x="1549" y="4041"/>
                    <a:pt x="1549" y="3958"/>
                  </a:cubicBezTo>
                  <a:cubicBezTo>
                    <a:pt x="1572" y="3827"/>
                    <a:pt x="1691" y="3720"/>
                    <a:pt x="1846" y="3720"/>
                  </a:cubicBezTo>
                  <a:lnTo>
                    <a:pt x="2084" y="3720"/>
                  </a:lnTo>
                  <a:cubicBezTo>
                    <a:pt x="2370" y="3720"/>
                    <a:pt x="2596" y="3505"/>
                    <a:pt x="2596" y="3220"/>
                  </a:cubicBezTo>
                  <a:lnTo>
                    <a:pt x="2596" y="1850"/>
                  </a:lnTo>
                  <a:cubicBezTo>
                    <a:pt x="2596" y="1184"/>
                    <a:pt x="3132" y="648"/>
                    <a:pt x="3799" y="648"/>
                  </a:cubicBezTo>
                  <a:lnTo>
                    <a:pt x="5335" y="648"/>
                  </a:lnTo>
                  <a:cubicBezTo>
                    <a:pt x="5894" y="648"/>
                    <a:pt x="6252" y="493"/>
                    <a:pt x="6454" y="386"/>
                  </a:cubicBezTo>
                  <a:close/>
                  <a:moveTo>
                    <a:pt x="5347" y="6387"/>
                  </a:moveTo>
                  <a:lnTo>
                    <a:pt x="5347" y="6911"/>
                  </a:lnTo>
                  <a:lnTo>
                    <a:pt x="4299" y="7494"/>
                  </a:lnTo>
                  <a:lnTo>
                    <a:pt x="3263" y="6911"/>
                  </a:lnTo>
                  <a:lnTo>
                    <a:pt x="3263" y="6387"/>
                  </a:lnTo>
                  <a:cubicBezTo>
                    <a:pt x="3573" y="6541"/>
                    <a:pt x="3930" y="6625"/>
                    <a:pt x="4299" y="6625"/>
                  </a:cubicBezTo>
                  <a:cubicBezTo>
                    <a:pt x="4680" y="6625"/>
                    <a:pt x="5037" y="6541"/>
                    <a:pt x="5347" y="6387"/>
                  </a:cubicBezTo>
                  <a:close/>
                  <a:moveTo>
                    <a:pt x="2846" y="7041"/>
                  </a:moveTo>
                  <a:lnTo>
                    <a:pt x="4073" y="7708"/>
                  </a:lnTo>
                  <a:lnTo>
                    <a:pt x="3704" y="8149"/>
                  </a:lnTo>
                  <a:cubicBezTo>
                    <a:pt x="3680" y="8184"/>
                    <a:pt x="3632" y="8208"/>
                    <a:pt x="3596" y="8220"/>
                  </a:cubicBezTo>
                  <a:cubicBezTo>
                    <a:pt x="3549" y="8220"/>
                    <a:pt x="3489" y="8208"/>
                    <a:pt x="3454" y="8173"/>
                  </a:cubicBezTo>
                  <a:lnTo>
                    <a:pt x="2620" y="7458"/>
                  </a:lnTo>
                  <a:lnTo>
                    <a:pt x="2834" y="7041"/>
                  </a:lnTo>
                  <a:close/>
                  <a:moveTo>
                    <a:pt x="5787" y="7041"/>
                  </a:moveTo>
                  <a:lnTo>
                    <a:pt x="6001" y="7458"/>
                  </a:lnTo>
                  <a:lnTo>
                    <a:pt x="5156" y="8173"/>
                  </a:lnTo>
                  <a:cubicBezTo>
                    <a:pt x="5109" y="8208"/>
                    <a:pt x="5061" y="8220"/>
                    <a:pt x="5013" y="8220"/>
                  </a:cubicBezTo>
                  <a:cubicBezTo>
                    <a:pt x="4978" y="8220"/>
                    <a:pt x="4930" y="8184"/>
                    <a:pt x="4894" y="8149"/>
                  </a:cubicBezTo>
                  <a:lnTo>
                    <a:pt x="4561" y="7708"/>
                  </a:lnTo>
                  <a:lnTo>
                    <a:pt x="5775" y="7041"/>
                  </a:lnTo>
                  <a:close/>
                  <a:moveTo>
                    <a:pt x="6497" y="1"/>
                  </a:moveTo>
                  <a:cubicBezTo>
                    <a:pt x="6455" y="1"/>
                    <a:pt x="6419" y="16"/>
                    <a:pt x="6382" y="53"/>
                  </a:cubicBezTo>
                  <a:cubicBezTo>
                    <a:pt x="6382" y="53"/>
                    <a:pt x="6073" y="350"/>
                    <a:pt x="5299" y="350"/>
                  </a:cubicBezTo>
                  <a:lnTo>
                    <a:pt x="3763" y="350"/>
                  </a:lnTo>
                  <a:cubicBezTo>
                    <a:pt x="3096" y="350"/>
                    <a:pt x="2537" y="779"/>
                    <a:pt x="2322" y="1374"/>
                  </a:cubicBezTo>
                  <a:lnTo>
                    <a:pt x="2180" y="1374"/>
                  </a:lnTo>
                  <a:cubicBezTo>
                    <a:pt x="1918" y="1374"/>
                    <a:pt x="1703" y="1481"/>
                    <a:pt x="1537" y="1672"/>
                  </a:cubicBezTo>
                  <a:cubicBezTo>
                    <a:pt x="1370" y="1862"/>
                    <a:pt x="1310" y="2112"/>
                    <a:pt x="1346" y="2350"/>
                  </a:cubicBezTo>
                  <a:lnTo>
                    <a:pt x="1537" y="3505"/>
                  </a:lnTo>
                  <a:cubicBezTo>
                    <a:pt x="1358" y="3589"/>
                    <a:pt x="1239" y="3755"/>
                    <a:pt x="1203" y="3958"/>
                  </a:cubicBezTo>
                  <a:cubicBezTo>
                    <a:pt x="1191" y="4124"/>
                    <a:pt x="1251" y="4291"/>
                    <a:pt x="1358" y="4422"/>
                  </a:cubicBezTo>
                  <a:cubicBezTo>
                    <a:pt x="1465" y="4541"/>
                    <a:pt x="1620" y="4613"/>
                    <a:pt x="1787" y="4613"/>
                  </a:cubicBezTo>
                  <a:lnTo>
                    <a:pt x="1906" y="4613"/>
                  </a:lnTo>
                  <a:cubicBezTo>
                    <a:pt x="2001" y="5291"/>
                    <a:pt x="2382" y="5863"/>
                    <a:pt x="2906" y="6244"/>
                  </a:cubicBezTo>
                  <a:lnTo>
                    <a:pt x="2906" y="6780"/>
                  </a:lnTo>
                  <a:cubicBezTo>
                    <a:pt x="2876" y="6762"/>
                    <a:pt x="2843" y="6753"/>
                    <a:pt x="2808" y="6753"/>
                  </a:cubicBezTo>
                  <a:cubicBezTo>
                    <a:pt x="2772" y="6753"/>
                    <a:pt x="2733" y="6762"/>
                    <a:pt x="2692" y="6780"/>
                  </a:cubicBezTo>
                  <a:cubicBezTo>
                    <a:pt x="2608" y="6803"/>
                    <a:pt x="2537" y="6863"/>
                    <a:pt x="2501" y="6934"/>
                  </a:cubicBezTo>
                  <a:lnTo>
                    <a:pt x="2251" y="7434"/>
                  </a:lnTo>
                  <a:lnTo>
                    <a:pt x="846" y="7851"/>
                  </a:lnTo>
                  <a:cubicBezTo>
                    <a:pt x="346" y="7994"/>
                    <a:pt x="1" y="8458"/>
                    <a:pt x="1" y="8982"/>
                  </a:cubicBezTo>
                  <a:lnTo>
                    <a:pt x="1" y="10780"/>
                  </a:lnTo>
                  <a:cubicBezTo>
                    <a:pt x="1" y="10863"/>
                    <a:pt x="72" y="10947"/>
                    <a:pt x="167" y="10947"/>
                  </a:cubicBezTo>
                  <a:cubicBezTo>
                    <a:pt x="251" y="10947"/>
                    <a:pt x="334" y="10863"/>
                    <a:pt x="334" y="10780"/>
                  </a:cubicBezTo>
                  <a:lnTo>
                    <a:pt x="334" y="8982"/>
                  </a:lnTo>
                  <a:cubicBezTo>
                    <a:pt x="334" y="8589"/>
                    <a:pt x="584" y="8244"/>
                    <a:pt x="953" y="8149"/>
                  </a:cubicBezTo>
                  <a:lnTo>
                    <a:pt x="1549" y="7958"/>
                  </a:lnTo>
                  <a:lnTo>
                    <a:pt x="1549" y="10756"/>
                  </a:lnTo>
                  <a:cubicBezTo>
                    <a:pt x="1549" y="10851"/>
                    <a:pt x="1620" y="10923"/>
                    <a:pt x="1715" y="10923"/>
                  </a:cubicBezTo>
                  <a:cubicBezTo>
                    <a:pt x="1799" y="10923"/>
                    <a:pt x="1882" y="10851"/>
                    <a:pt x="1882" y="10756"/>
                  </a:cubicBezTo>
                  <a:lnTo>
                    <a:pt x="1882" y="7863"/>
                  </a:lnTo>
                  <a:lnTo>
                    <a:pt x="2239" y="7756"/>
                  </a:lnTo>
                  <a:lnTo>
                    <a:pt x="2239" y="10756"/>
                  </a:lnTo>
                  <a:cubicBezTo>
                    <a:pt x="2239" y="10851"/>
                    <a:pt x="2311" y="10923"/>
                    <a:pt x="2394" y="10923"/>
                  </a:cubicBezTo>
                  <a:cubicBezTo>
                    <a:pt x="2489" y="10923"/>
                    <a:pt x="2561" y="10851"/>
                    <a:pt x="2561" y="10756"/>
                  </a:cubicBezTo>
                  <a:lnTo>
                    <a:pt x="2561" y="7863"/>
                  </a:lnTo>
                  <a:lnTo>
                    <a:pt x="3227" y="8423"/>
                  </a:lnTo>
                  <a:cubicBezTo>
                    <a:pt x="3323" y="8494"/>
                    <a:pt x="3442" y="8542"/>
                    <a:pt x="3561" y="8542"/>
                  </a:cubicBezTo>
                  <a:lnTo>
                    <a:pt x="3608" y="8542"/>
                  </a:lnTo>
                  <a:cubicBezTo>
                    <a:pt x="3739" y="8530"/>
                    <a:pt x="3858" y="8470"/>
                    <a:pt x="3942" y="8351"/>
                  </a:cubicBezTo>
                  <a:lnTo>
                    <a:pt x="4287" y="7934"/>
                  </a:lnTo>
                  <a:lnTo>
                    <a:pt x="4632" y="8351"/>
                  </a:lnTo>
                  <a:cubicBezTo>
                    <a:pt x="4716" y="8458"/>
                    <a:pt x="4835" y="8530"/>
                    <a:pt x="4978" y="8542"/>
                  </a:cubicBezTo>
                  <a:lnTo>
                    <a:pt x="5013" y="8542"/>
                  </a:lnTo>
                  <a:cubicBezTo>
                    <a:pt x="5132" y="8542"/>
                    <a:pt x="5251" y="8494"/>
                    <a:pt x="5347" y="8423"/>
                  </a:cubicBezTo>
                  <a:lnTo>
                    <a:pt x="6180" y="7708"/>
                  </a:lnTo>
                  <a:lnTo>
                    <a:pt x="6680" y="7863"/>
                  </a:lnTo>
                  <a:lnTo>
                    <a:pt x="6680" y="10756"/>
                  </a:lnTo>
                  <a:cubicBezTo>
                    <a:pt x="6680" y="10851"/>
                    <a:pt x="6763" y="10923"/>
                    <a:pt x="6847" y="10923"/>
                  </a:cubicBezTo>
                  <a:cubicBezTo>
                    <a:pt x="6942" y="10923"/>
                    <a:pt x="7014" y="10851"/>
                    <a:pt x="7014" y="10756"/>
                  </a:cubicBezTo>
                  <a:lnTo>
                    <a:pt x="7014" y="7958"/>
                  </a:lnTo>
                  <a:lnTo>
                    <a:pt x="7609" y="8149"/>
                  </a:lnTo>
                  <a:cubicBezTo>
                    <a:pt x="7978" y="8244"/>
                    <a:pt x="8228" y="8589"/>
                    <a:pt x="8228" y="8982"/>
                  </a:cubicBezTo>
                  <a:lnTo>
                    <a:pt x="8228" y="10780"/>
                  </a:lnTo>
                  <a:cubicBezTo>
                    <a:pt x="8228" y="10863"/>
                    <a:pt x="8311" y="10947"/>
                    <a:pt x="8395" y="10947"/>
                  </a:cubicBezTo>
                  <a:cubicBezTo>
                    <a:pt x="8490" y="10947"/>
                    <a:pt x="8561" y="10863"/>
                    <a:pt x="8561" y="10780"/>
                  </a:cubicBezTo>
                  <a:lnTo>
                    <a:pt x="8561" y="8982"/>
                  </a:lnTo>
                  <a:cubicBezTo>
                    <a:pt x="8561" y="8423"/>
                    <a:pt x="8216" y="7970"/>
                    <a:pt x="7716" y="7815"/>
                  </a:cubicBezTo>
                  <a:lnTo>
                    <a:pt x="6311" y="7399"/>
                  </a:lnTo>
                  <a:lnTo>
                    <a:pt x="6061" y="6911"/>
                  </a:lnTo>
                  <a:cubicBezTo>
                    <a:pt x="6013" y="6839"/>
                    <a:pt x="5942" y="6756"/>
                    <a:pt x="5871" y="6744"/>
                  </a:cubicBezTo>
                  <a:cubicBezTo>
                    <a:pt x="5829" y="6738"/>
                    <a:pt x="5793" y="6735"/>
                    <a:pt x="5759" y="6735"/>
                  </a:cubicBezTo>
                  <a:cubicBezTo>
                    <a:pt x="5725" y="6735"/>
                    <a:pt x="5692" y="6738"/>
                    <a:pt x="5656" y="6744"/>
                  </a:cubicBezTo>
                  <a:lnTo>
                    <a:pt x="5656" y="6208"/>
                  </a:lnTo>
                  <a:cubicBezTo>
                    <a:pt x="6192" y="5839"/>
                    <a:pt x="6561" y="5256"/>
                    <a:pt x="6656" y="4589"/>
                  </a:cubicBezTo>
                  <a:lnTo>
                    <a:pt x="6740" y="4589"/>
                  </a:lnTo>
                  <a:cubicBezTo>
                    <a:pt x="7061" y="4589"/>
                    <a:pt x="7323" y="4351"/>
                    <a:pt x="7359" y="4065"/>
                  </a:cubicBezTo>
                  <a:cubicBezTo>
                    <a:pt x="7371" y="3898"/>
                    <a:pt x="7311" y="3743"/>
                    <a:pt x="7204" y="3601"/>
                  </a:cubicBezTo>
                  <a:cubicBezTo>
                    <a:pt x="7156" y="3541"/>
                    <a:pt x="7097" y="3505"/>
                    <a:pt x="7025" y="3470"/>
                  </a:cubicBezTo>
                  <a:lnTo>
                    <a:pt x="7216" y="2339"/>
                  </a:lnTo>
                  <a:cubicBezTo>
                    <a:pt x="7275" y="1969"/>
                    <a:pt x="7085" y="1600"/>
                    <a:pt x="6763" y="1446"/>
                  </a:cubicBezTo>
                  <a:cubicBezTo>
                    <a:pt x="6906" y="1065"/>
                    <a:pt x="6883" y="600"/>
                    <a:pt x="6656" y="88"/>
                  </a:cubicBezTo>
                  <a:cubicBezTo>
                    <a:pt x="6644" y="53"/>
                    <a:pt x="6597" y="5"/>
                    <a:pt x="6537" y="5"/>
                  </a:cubicBezTo>
                  <a:cubicBezTo>
                    <a:pt x="6523" y="2"/>
                    <a:pt x="6510" y="1"/>
                    <a:pt x="649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" name="Google Shape;1193;p42"/>
            <p:cNvSpPr/>
            <p:nvPr/>
          </p:nvSpPr>
          <p:spPr>
            <a:xfrm>
              <a:off x="5090491" y="3141364"/>
              <a:ext cx="10581" cy="86391"/>
            </a:xfrm>
            <a:custGeom>
              <a:avLst/>
              <a:gdLst/>
              <a:ahLst/>
              <a:cxnLst/>
              <a:rect l="l" t="t" r="r" b="b"/>
              <a:pathLst>
                <a:path w="334" h="272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2560"/>
                  </a:lnTo>
                  <a:cubicBezTo>
                    <a:pt x="0" y="2656"/>
                    <a:pt x="84" y="2727"/>
                    <a:pt x="167" y="2727"/>
                  </a:cubicBezTo>
                  <a:cubicBezTo>
                    <a:pt x="262" y="2727"/>
                    <a:pt x="334" y="2656"/>
                    <a:pt x="334" y="2560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" name="Google Shape;1194;p42"/>
            <p:cNvSpPr/>
            <p:nvPr/>
          </p:nvSpPr>
          <p:spPr>
            <a:xfrm>
              <a:off x="5031281" y="315229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" name="Google Shape;1195;p42"/>
            <p:cNvSpPr/>
            <p:nvPr/>
          </p:nvSpPr>
          <p:spPr>
            <a:xfrm>
              <a:off x="5031281" y="3217555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55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" name="Google Shape;1196;p42"/>
            <p:cNvSpPr/>
            <p:nvPr/>
          </p:nvSpPr>
          <p:spPr>
            <a:xfrm>
              <a:off x="5031281" y="318473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250" y="334"/>
                    <a:pt x="322" y="263"/>
                    <a:pt x="322" y="167"/>
                  </a:cubicBez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" name="Google Shape;1197;p42"/>
            <p:cNvSpPr/>
            <p:nvPr/>
          </p:nvSpPr>
          <p:spPr>
            <a:xfrm>
              <a:off x="499884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55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" name="Google Shape;1198;p42"/>
            <p:cNvSpPr/>
            <p:nvPr/>
          </p:nvSpPr>
          <p:spPr>
            <a:xfrm>
              <a:off x="506372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" name="Google Shape;1199;p42"/>
            <p:cNvSpPr/>
            <p:nvPr/>
          </p:nvSpPr>
          <p:spPr>
            <a:xfrm>
              <a:off x="4993550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55" y="84"/>
                    <a:pt x="584" y="1"/>
                    <a:pt x="50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" name="Google Shape;1200;p42"/>
            <p:cNvSpPr/>
            <p:nvPr/>
          </p:nvSpPr>
          <p:spPr>
            <a:xfrm>
              <a:off x="5058051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67" y="84"/>
                    <a:pt x="596" y="1"/>
                    <a:pt x="50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" name="Google Shape;1201;p42"/>
            <p:cNvSpPr/>
            <p:nvPr/>
          </p:nvSpPr>
          <p:spPr>
            <a:xfrm>
              <a:off x="5007141" y="3025574"/>
              <a:ext cx="58481" cy="32092"/>
            </a:xfrm>
            <a:custGeom>
              <a:avLst/>
              <a:gdLst/>
              <a:ahLst/>
              <a:cxnLst/>
              <a:rect l="l" t="t" r="r" b="b"/>
              <a:pathLst>
                <a:path w="1846" h="1013" extrusionOk="0">
                  <a:moveTo>
                    <a:pt x="1500" y="322"/>
                  </a:moveTo>
                  <a:cubicBezTo>
                    <a:pt x="1429" y="536"/>
                    <a:pt x="1191" y="679"/>
                    <a:pt x="917" y="679"/>
                  </a:cubicBezTo>
                  <a:cubicBezTo>
                    <a:pt x="655" y="679"/>
                    <a:pt x="417" y="536"/>
                    <a:pt x="345" y="322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619"/>
                    <a:pt x="417" y="1012"/>
                    <a:pt x="929" y="1012"/>
                  </a:cubicBezTo>
                  <a:cubicBezTo>
                    <a:pt x="1429" y="1012"/>
                    <a:pt x="1846" y="643"/>
                    <a:pt x="1846" y="167"/>
                  </a:cubicBezTo>
                  <a:cubicBezTo>
                    <a:pt x="1846" y="72"/>
                    <a:pt x="1786" y="0"/>
                    <a:pt x="170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2" name="Google Shape;1202;p42"/>
          <p:cNvGrpSpPr/>
          <p:nvPr/>
        </p:nvGrpSpPr>
        <p:grpSpPr>
          <a:xfrm>
            <a:off x="1707236" y="1198029"/>
            <a:ext cx="260283" cy="345914"/>
            <a:chOff x="8055961" y="2881842"/>
            <a:chExt cx="260283" cy="345914"/>
          </a:xfrm>
        </p:grpSpPr>
        <p:sp>
          <p:nvSpPr>
            <p:cNvPr id="1203" name="Google Shape;1203;p42"/>
            <p:cNvSpPr/>
            <p:nvPr/>
          </p:nvSpPr>
          <p:spPr>
            <a:xfrm>
              <a:off x="8055961" y="2881842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918" y="2358"/>
                  </a:moveTo>
                  <a:cubicBezTo>
                    <a:pt x="5120" y="2656"/>
                    <a:pt x="5334" y="2882"/>
                    <a:pt x="5561" y="3073"/>
                  </a:cubicBezTo>
                  <a:lnTo>
                    <a:pt x="4477" y="3073"/>
                  </a:lnTo>
                  <a:cubicBezTo>
                    <a:pt x="4429" y="3073"/>
                    <a:pt x="4382" y="3085"/>
                    <a:pt x="4358" y="3132"/>
                  </a:cubicBezTo>
                  <a:cubicBezTo>
                    <a:pt x="4310" y="3168"/>
                    <a:pt x="4298" y="3216"/>
                    <a:pt x="4298" y="3251"/>
                  </a:cubicBezTo>
                  <a:lnTo>
                    <a:pt x="4322" y="3442"/>
                  </a:lnTo>
                  <a:cubicBezTo>
                    <a:pt x="4263" y="3418"/>
                    <a:pt x="4191" y="3418"/>
                    <a:pt x="4120" y="3418"/>
                  </a:cubicBezTo>
                  <a:cubicBezTo>
                    <a:pt x="4048" y="3418"/>
                    <a:pt x="3965" y="3430"/>
                    <a:pt x="3906" y="3442"/>
                  </a:cubicBezTo>
                  <a:lnTo>
                    <a:pt x="3941" y="3251"/>
                  </a:lnTo>
                  <a:lnTo>
                    <a:pt x="3941" y="3228"/>
                  </a:lnTo>
                  <a:cubicBezTo>
                    <a:pt x="4263" y="2966"/>
                    <a:pt x="4596" y="2692"/>
                    <a:pt x="4918" y="2358"/>
                  </a:cubicBezTo>
                  <a:close/>
                  <a:moveTo>
                    <a:pt x="3572" y="3478"/>
                  </a:moveTo>
                  <a:lnTo>
                    <a:pt x="3525" y="3823"/>
                  </a:lnTo>
                  <a:cubicBezTo>
                    <a:pt x="3525" y="3823"/>
                    <a:pt x="3513" y="3894"/>
                    <a:pt x="3513" y="3906"/>
                  </a:cubicBezTo>
                  <a:cubicBezTo>
                    <a:pt x="3429" y="4121"/>
                    <a:pt x="3239" y="4263"/>
                    <a:pt x="3013" y="4263"/>
                  </a:cubicBezTo>
                  <a:lnTo>
                    <a:pt x="2858" y="4263"/>
                  </a:lnTo>
                  <a:cubicBezTo>
                    <a:pt x="2739" y="4263"/>
                    <a:pt x="2632" y="4204"/>
                    <a:pt x="2572" y="4121"/>
                  </a:cubicBezTo>
                  <a:cubicBezTo>
                    <a:pt x="2596" y="4097"/>
                    <a:pt x="2620" y="4085"/>
                    <a:pt x="2644" y="4073"/>
                  </a:cubicBezTo>
                  <a:cubicBezTo>
                    <a:pt x="2739" y="4013"/>
                    <a:pt x="2834" y="3954"/>
                    <a:pt x="2941" y="3894"/>
                  </a:cubicBezTo>
                  <a:lnTo>
                    <a:pt x="2941" y="3906"/>
                  </a:lnTo>
                  <a:cubicBezTo>
                    <a:pt x="2929" y="4013"/>
                    <a:pt x="3001" y="4073"/>
                    <a:pt x="3096" y="4073"/>
                  </a:cubicBezTo>
                  <a:cubicBezTo>
                    <a:pt x="3179" y="4073"/>
                    <a:pt x="3239" y="4001"/>
                    <a:pt x="3239" y="3906"/>
                  </a:cubicBezTo>
                  <a:lnTo>
                    <a:pt x="3239" y="3704"/>
                  </a:lnTo>
                  <a:cubicBezTo>
                    <a:pt x="3346" y="3632"/>
                    <a:pt x="3453" y="3549"/>
                    <a:pt x="3572" y="3478"/>
                  </a:cubicBezTo>
                  <a:close/>
                  <a:moveTo>
                    <a:pt x="4965" y="3370"/>
                  </a:moveTo>
                  <a:lnTo>
                    <a:pt x="4965" y="3382"/>
                  </a:lnTo>
                  <a:lnTo>
                    <a:pt x="5811" y="3382"/>
                  </a:lnTo>
                  <a:lnTo>
                    <a:pt x="5727" y="3966"/>
                  </a:lnTo>
                  <a:cubicBezTo>
                    <a:pt x="5692" y="4144"/>
                    <a:pt x="5549" y="4263"/>
                    <a:pt x="5382" y="4263"/>
                  </a:cubicBezTo>
                  <a:lnTo>
                    <a:pt x="5215" y="4263"/>
                  </a:lnTo>
                  <a:cubicBezTo>
                    <a:pt x="4977" y="4263"/>
                    <a:pt x="4775" y="4097"/>
                    <a:pt x="4715" y="3882"/>
                  </a:cubicBezTo>
                  <a:cubicBezTo>
                    <a:pt x="4715" y="3847"/>
                    <a:pt x="4703" y="3823"/>
                    <a:pt x="4703" y="3787"/>
                  </a:cubicBezTo>
                  <a:cubicBezTo>
                    <a:pt x="4679" y="3668"/>
                    <a:pt x="4644" y="3370"/>
                    <a:pt x="4644" y="3370"/>
                  </a:cubicBezTo>
                  <a:close/>
                  <a:moveTo>
                    <a:pt x="4453" y="311"/>
                  </a:moveTo>
                  <a:cubicBezTo>
                    <a:pt x="4549" y="311"/>
                    <a:pt x="4632" y="322"/>
                    <a:pt x="4715" y="358"/>
                  </a:cubicBezTo>
                  <a:cubicBezTo>
                    <a:pt x="5072" y="453"/>
                    <a:pt x="5299" y="811"/>
                    <a:pt x="5275" y="1215"/>
                  </a:cubicBezTo>
                  <a:cubicBezTo>
                    <a:pt x="5275" y="1299"/>
                    <a:pt x="5334" y="1382"/>
                    <a:pt x="5430" y="1382"/>
                  </a:cubicBezTo>
                  <a:cubicBezTo>
                    <a:pt x="5513" y="1382"/>
                    <a:pt x="5584" y="1323"/>
                    <a:pt x="5584" y="1227"/>
                  </a:cubicBezTo>
                  <a:cubicBezTo>
                    <a:pt x="5608" y="1025"/>
                    <a:pt x="5572" y="823"/>
                    <a:pt x="5501" y="668"/>
                  </a:cubicBezTo>
                  <a:lnTo>
                    <a:pt x="5501" y="668"/>
                  </a:lnTo>
                  <a:cubicBezTo>
                    <a:pt x="6084" y="751"/>
                    <a:pt x="6525" y="1263"/>
                    <a:pt x="6525" y="1858"/>
                  </a:cubicBezTo>
                  <a:lnTo>
                    <a:pt x="6525" y="3299"/>
                  </a:lnTo>
                  <a:cubicBezTo>
                    <a:pt x="6215" y="3156"/>
                    <a:pt x="5596" y="2811"/>
                    <a:pt x="5144" y="2120"/>
                  </a:cubicBezTo>
                  <a:cubicBezTo>
                    <a:pt x="5191" y="2061"/>
                    <a:pt x="5251" y="2025"/>
                    <a:pt x="5299" y="1966"/>
                  </a:cubicBezTo>
                  <a:cubicBezTo>
                    <a:pt x="5358" y="1906"/>
                    <a:pt x="5358" y="1799"/>
                    <a:pt x="5275" y="1739"/>
                  </a:cubicBezTo>
                  <a:cubicBezTo>
                    <a:pt x="5246" y="1711"/>
                    <a:pt x="5210" y="1696"/>
                    <a:pt x="5173" y="1696"/>
                  </a:cubicBezTo>
                  <a:cubicBezTo>
                    <a:pt x="5132" y="1696"/>
                    <a:pt x="5092" y="1714"/>
                    <a:pt x="5060" y="1751"/>
                  </a:cubicBezTo>
                  <a:cubicBezTo>
                    <a:pt x="3727" y="3239"/>
                    <a:pt x="2060" y="4061"/>
                    <a:pt x="1429" y="4323"/>
                  </a:cubicBezTo>
                  <a:cubicBezTo>
                    <a:pt x="1465" y="4061"/>
                    <a:pt x="1512" y="3585"/>
                    <a:pt x="1512" y="2882"/>
                  </a:cubicBezTo>
                  <a:cubicBezTo>
                    <a:pt x="1512" y="2192"/>
                    <a:pt x="1798" y="1549"/>
                    <a:pt x="2322" y="1049"/>
                  </a:cubicBezTo>
                  <a:cubicBezTo>
                    <a:pt x="2822" y="572"/>
                    <a:pt x="3477" y="311"/>
                    <a:pt x="4120" y="311"/>
                  </a:cubicBezTo>
                  <a:close/>
                  <a:moveTo>
                    <a:pt x="6108" y="3466"/>
                  </a:moveTo>
                  <a:cubicBezTo>
                    <a:pt x="6144" y="3478"/>
                    <a:pt x="6156" y="3490"/>
                    <a:pt x="6192" y="3490"/>
                  </a:cubicBezTo>
                  <a:cubicBezTo>
                    <a:pt x="6227" y="3632"/>
                    <a:pt x="6346" y="3728"/>
                    <a:pt x="6501" y="3728"/>
                  </a:cubicBezTo>
                  <a:lnTo>
                    <a:pt x="6584" y="3728"/>
                  </a:lnTo>
                  <a:cubicBezTo>
                    <a:pt x="6739" y="3728"/>
                    <a:pt x="6858" y="3847"/>
                    <a:pt x="6858" y="4001"/>
                  </a:cubicBezTo>
                  <a:cubicBezTo>
                    <a:pt x="6858" y="4144"/>
                    <a:pt x="6739" y="4263"/>
                    <a:pt x="6584" y="4263"/>
                  </a:cubicBezTo>
                  <a:lnTo>
                    <a:pt x="6477" y="4263"/>
                  </a:lnTo>
                  <a:cubicBezTo>
                    <a:pt x="6477" y="4180"/>
                    <a:pt x="6418" y="4097"/>
                    <a:pt x="6334" y="4097"/>
                  </a:cubicBezTo>
                  <a:cubicBezTo>
                    <a:pt x="6239" y="4097"/>
                    <a:pt x="6168" y="4156"/>
                    <a:pt x="6156" y="4252"/>
                  </a:cubicBezTo>
                  <a:cubicBezTo>
                    <a:pt x="6108" y="4775"/>
                    <a:pt x="5882" y="5252"/>
                    <a:pt x="5501" y="5609"/>
                  </a:cubicBezTo>
                  <a:cubicBezTo>
                    <a:pt x="5108" y="5966"/>
                    <a:pt x="4620" y="6157"/>
                    <a:pt x="4096" y="6157"/>
                  </a:cubicBezTo>
                  <a:cubicBezTo>
                    <a:pt x="3596" y="6157"/>
                    <a:pt x="3108" y="5966"/>
                    <a:pt x="2715" y="5621"/>
                  </a:cubicBezTo>
                  <a:cubicBezTo>
                    <a:pt x="2358" y="5287"/>
                    <a:pt x="2143" y="4859"/>
                    <a:pt x="2060" y="4382"/>
                  </a:cubicBezTo>
                  <a:cubicBezTo>
                    <a:pt x="2120" y="4359"/>
                    <a:pt x="2203" y="4311"/>
                    <a:pt x="2274" y="4287"/>
                  </a:cubicBezTo>
                  <a:cubicBezTo>
                    <a:pt x="2393" y="4478"/>
                    <a:pt x="2596" y="4597"/>
                    <a:pt x="2834" y="4597"/>
                  </a:cubicBezTo>
                  <a:lnTo>
                    <a:pt x="3001" y="4597"/>
                  </a:lnTo>
                  <a:cubicBezTo>
                    <a:pt x="3382" y="4597"/>
                    <a:pt x="3727" y="4311"/>
                    <a:pt x="3822" y="3942"/>
                  </a:cubicBezTo>
                  <a:cubicBezTo>
                    <a:pt x="3858" y="3823"/>
                    <a:pt x="3965" y="3728"/>
                    <a:pt x="4108" y="3728"/>
                  </a:cubicBezTo>
                  <a:cubicBezTo>
                    <a:pt x="4239" y="3728"/>
                    <a:pt x="4358" y="3823"/>
                    <a:pt x="4382" y="3942"/>
                  </a:cubicBezTo>
                  <a:cubicBezTo>
                    <a:pt x="4477" y="4311"/>
                    <a:pt x="4822" y="4597"/>
                    <a:pt x="5203" y="4597"/>
                  </a:cubicBezTo>
                  <a:lnTo>
                    <a:pt x="5370" y="4597"/>
                  </a:lnTo>
                  <a:cubicBezTo>
                    <a:pt x="5692" y="4597"/>
                    <a:pt x="5989" y="4347"/>
                    <a:pt x="6037" y="4013"/>
                  </a:cubicBezTo>
                  <a:lnTo>
                    <a:pt x="6108" y="3466"/>
                  </a:lnTo>
                  <a:close/>
                  <a:moveTo>
                    <a:pt x="4977" y="6311"/>
                  </a:moveTo>
                  <a:lnTo>
                    <a:pt x="4977" y="6859"/>
                  </a:lnTo>
                  <a:cubicBezTo>
                    <a:pt x="4977" y="7216"/>
                    <a:pt x="5203" y="7526"/>
                    <a:pt x="5549" y="7645"/>
                  </a:cubicBezTo>
                  <a:lnTo>
                    <a:pt x="5799" y="7740"/>
                  </a:lnTo>
                  <a:lnTo>
                    <a:pt x="5656" y="8062"/>
                  </a:lnTo>
                  <a:cubicBezTo>
                    <a:pt x="5382" y="8669"/>
                    <a:pt x="4775" y="9062"/>
                    <a:pt x="4120" y="9062"/>
                  </a:cubicBezTo>
                  <a:cubicBezTo>
                    <a:pt x="3453" y="9062"/>
                    <a:pt x="2858" y="8669"/>
                    <a:pt x="2584" y="8062"/>
                  </a:cubicBezTo>
                  <a:lnTo>
                    <a:pt x="2441" y="7740"/>
                  </a:lnTo>
                  <a:lnTo>
                    <a:pt x="2691" y="7645"/>
                  </a:lnTo>
                  <a:cubicBezTo>
                    <a:pt x="3036" y="7526"/>
                    <a:pt x="3251" y="7216"/>
                    <a:pt x="3251" y="6859"/>
                  </a:cubicBezTo>
                  <a:lnTo>
                    <a:pt x="3251" y="6311"/>
                  </a:lnTo>
                  <a:cubicBezTo>
                    <a:pt x="3525" y="6407"/>
                    <a:pt x="3822" y="6466"/>
                    <a:pt x="4120" y="6466"/>
                  </a:cubicBezTo>
                  <a:cubicBezTo>
                    <a:pt x="4418" y="6466"/>
                    <a:pt x="4715" y="6407"/>
                    <a:pt x="4977" y="6311"/>
                  </a:cubicBezTo>
                  <a:close/>
                  <a:moveTo>
                    <a:pt x="4084" y="1"/>
                  </a:moveTo>
                  <a:cubicBezTo>
                    <a:pt x="3358" y="1"/>
                    <a:pt x="2620" y="299"/>
                    <a:pt x="2060" y="834"/>
                  </a:cubicBezTo>
                  <a:cubicBezTo>
                    <a:pt x="1489" y="1382"/>
                    <a:pt x="1155" y="2120"/>
                    <a:pt x="1155" y="2882"/>
                  </a:cubicBezTo>
                  <a:cubicBezTo>
                    <a:pt x="1155" y="4025"/>
                    <a:pt x="1024" y="4537"/>
                    <a:pt x="1024" y="4537"/>
                  </a:cubicBezTo>
                  <a:cubicBezTo>
                    <a:pt x="1012" y="4597"/>
                    <a:pt x="1024" y="4656"/>
                    <a:pt x="1072" y="4704"/>
                  </a:cubicBezTo>
                  <a:cubicBezTo>
                    <a:pt x="1096" y="4728"/>
                    <a:pt x="1143" y="4740"/>
                    <a:pt x="1167" y="4740"/>
                  </a:cubicBezTo>
                  <a:cubicBezTo>
                    <a:pt x="1191" y="4740"/>
                    <a:pt x="1203" y="4740"/>
                    <a:pt x="1227" y="4728"/>
                  </a:cubicBezTo>
                  <a:cubicBezTo>
                    <a:pt x="1250" y="4728"/>
                    <a:pt x="1441" y="4656"/>
                    <a:pt x="1739" y="4525"/>
                  </a:cubicBezTo>
                  <a:cubicBezTo>
                    <a:pt x="1822" y="5025"/>
                    <a:pt x="2096" y="5490"/>
                    <a:pt x="2477" y="5847"/>
                  </a:cubicBezTo>
                  <a:cubicBezTo>
                    <a:pt x="2620" y="5966"/>
                    <a:pt x="2751" y="6073"/>
                    <a:pt x="2894" y="6145"/>
                  </a:cubicBezTo>
                  <a:lnTo>
                    <a:pt x="2894" y="6847"/>
                  </a:lnTo>
                  <a:cubicBezTo>
                    <a:pt x="2894" y="7061"/>
                    <a:pt x="2763" y="7264"/>
                    <a:pt x="2560" y="7335"/>
                  </a:cubicBezTo>
                  <a:lnTo>
                    <a:pt x="786" y="7954"/>
                  </a:lnTo>
                  <a:cubicBezTo>
                    <a:pt x="310" y="8121"/>
                    <a:pt x="0" y="8573"/>
                    <a:pt x="0" y="9074"/>
                  </a:cubicBezTo>
                  <a:lnTo>
                    <a:pt x="0" y="10740"/>
                  </a:lnTo>
                  <a:cubicBezTo>
                    <a:pt x="0" y="10836"/>
                    <a:pt x="72" y="10907"/>
                    <a:pt x="155" y="10907"/>
                  </a:cubicBezTo>
                  <a:cubicBezTo>
                    <a:pt x="250" y="10907"/>
                    <a:pt x="322" y="10836"/>
                    <a:pt x="322" y="10740"/>
                  </a:cubicBezTo>
                  <a:lnTo>
                    <a:pt x="322" y="9074"/>
                  </a:lnTo>
                  <a:cubicBezTo>
                    <a:pt x="322" y="8931"/>
                    <a:pt x="358" y="8788"/>
                    <a:pt x="429" y="8669"/>
                  </a:cubicBezTo>
                  <a:lnTo>
                    <a:pt x="596" y="8824"/>
                  </a:lnTo>
                  <a:cubicBezTo>
                    <a:pt x="619" y="8847"/>
                    <a:pt x="667" y="8871"/>
                    <a:pt x="691" y="8871"/>
                  </a:cubicBezTo>
                  <a:cubicBezTo>
                    <a:pt x="739" y="8871"/>
                    <a:pt x="786" y="8847"/>
                    <a:pt x="810" y="8812"/>
                  </a:cubicBezTo>
                  <a:cubicBezTo>
                    <a:pt x="869" y="8728"/>
                    <a:pt x="858" y="8645"/>
                    <a:pt x="798" y="8585"/>
                  </a:cubicBezTo>
                  <a:lnTo>
                    <a:pt x="619" y="8431"/>
                  </a:lnTo>
                  <a:cubicBezTo>
                    <a:pt x="691" y="8359"/>
                    <a:pt x="798" y="8312"/>
                    <a:pt x="893" y="8276"/>
                  </a:cubicBezTo>
                  <a:lnTo>
                    <a:pt x="2096" y="7835"/>
                  </a:lnTo>
                  <a:lnTo>
                    <a:pt x="2239" y="8181"/>
                  </a:lnTo>
                  <a:cubicBezTo>
                    <a:pt x="2572" y="8907"/>
                    <a:pt x="3286" y="9371"/>
                    <a:pt x="4072" y="9371"/>
                  </a:cubicBezTo>
                  <a:cubicBezTo>
                    <a:pt x="4858" y="9371"/>
                    <a:pt x="5572" y="8907"/>
                    <a:pt x="5906" y="8181"/>
                  </a:cubicBezTo>
                  <a:lnTo>
                    <a:pt x="6049" y="7835"/>
                  </a:lnTo>
                  <a:lnTo>
                    <a:pt x="7263" y="8276"/>
                  </a:lnTo>
                  <a:cubicBezTo>
                    <a:pt x="7358" y="8300"/>
                    <a:pt x="7454" y="8359"/>
                    <a:pt x="7525" y="8431"/>
                  </a:cubicBezTo>
                  <a:lnTo>
                    <a:pt x="6751" y="9085"/>
                  </a:lnTo>
                  <a:cubicBezTo>
                    <a:pt x="6561" y="9252"/>
                    <a:pt x="6454" y="9478"/>
                    <a:pt x="6454" y="9728"/>
                  </a:cubicBezTo>
                  <a:lnTo>
                    <a:pt x="6454" y="10752"/>
                  </a:lnTo>
                  <a:cubicBezTo>
                    <a:pt x="6454" y="10848"/>
                    <a:pt x="6525" y="10919"/>
                    <a:pt x="6620" y="10919"/>
                  </a:cubicBezTo>
                  <a:cubicBezTo>
                    <a:pt x="6704" y="10919"/>
                    <a:pt x="6787" y="10848"/>
                    <a:pt x="6787" y="10752"/>
                  </a:cubicBezTo>
                  <a:lnTo>
                    <a:pt x="6787" y="9728"/>
                  </a:lnTo>
                  <a:cubicBezTo>
                    <a:pt x="6787" y="9586"/>
                    <a:pt x="6846" y="9431"/>
                    <a:pt x="6965" y="9324"/>
                  </a:cubicBezTo>
                  <a:lnTo>
                    <a:pt x="7716" y="8669"/>
                  </a:lnTo>
                  <a:cubicBezTo>
                    <a:pt x="7775" y="8788"/>
                    <a:pt x="7823" y="8943"/>
                    <a:pt x="7823" y="9074"/>
                  </a:cubicBezTo>
                  <a:lnTo>
                    <a:pt x="7823" y="10740"/>
                  </a:lnTo>
                  <a:cubicBezTo>
                    <a:pt x="7823" y="10836"/>
                    <a:pt x="7894" y="10907"/>
                    <a:pt x="7989" y="10907"/>
                  </a:cubicBezTo>
                  <a:cubicBezTo>
                    <a:pt x="8073" y="10907"/>
                    <a:pt x="8144" y="10836"/>
                    <a:pt x="8144" y="10740"/>
                  </a:cubicBezTo>
                  <a:lnTo>
                    <a:pt x="8144" y="9074"/>
                  </a:lnTo>
                  <a:cubicBezTo>
                    <a:pt x="8216" y="8585"/>
                    <a:pt x="7882" y="8133"/>
                    <a:pt x="7418" y="7978"/>
                  </a:cubicBezTo>
                  <a:lnTo>
                    <a:pt x="5656" y="7347"/>
                  </a:lnTo>
                  <a:cubicBezTo>
                    <a:pt x="5441" y="7276"/>
                    <a:pt x="5311" y="7085"/>
                    <a:pt x="5311" y="6859"/>
                  </a:cubicBezTo>
                  <a:lnTo>
                    <a:pt x="5311" y="6157"/>
                  </a:lnTo>
                  <a:cubicBezTo>
                    <a:pt x="5453" y="6073"/>
                    <a:pt x="5608" y="5966"/>
                    <a:pt x="5739" y="5835"/>
                  </a:cubicBezTo>
                  <a:cubicBezTo>
                    <a:pt x="6096" y="5490"/>
                    <a:pt x="6346" y="5049"/>
                    <a:pt x="6442" y="4597"/>
                  </a:cubicBezTo>
                  <a:lnTo>
                    <a:pt x="6584" y="4597"/>
                  </a:lnTo>
                  <a:cubicBezTo>
                    <a:pt x="6918" y="4597"/>
                    <a:pt x="7168" y="4323"/>
                    <a:pt x="7168" y="4013"/>
                  </a:cubicBezTo>
                  <a:cubicBezTo>
                    <a:pt x="7168" y="3775"/>
                    <a:pt x="7037" y="3573"/>
                    <a:pt x="6823" y="3478"/>
                  </a:cubicBezTo>
                  <a:lnTo>
                    <a:pt x="6823" y="1870"/>
                  </a:lnTo>
                  <a:cubicBezTo>
                    <a:pt x="6823" y="1025"/>
                    <a:pt x="6144" y="334"/>
                    <a:pt x="5299" y="334"/>
                  </a:cubicBezTo>
                  <a:lnTo>
                    <a:pt x="5251" y="334"/>
                  </a:lnTo>
                  <a:cubicBezTo>
                    <a:pt x="5132" y="203"/>
                    <a:pt x="4965" y="96"/>
                    <a:pt x="4787" y="61"/>
                  </a:cubicBezTo>
                  <a:cubicBezTo>
                    <a:pt x="4668" y="25"/>
                    <a:pt x="4549" y="1"/>
                    <a:pt x="442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" name="Google Shape;1204;p42"/>
            <p:cNvSpPr/>
            <p:nvPr/>
          </p:nvSpPr>
          <p:spPr>
            <a:xfrm>
              <a:off x="8164591" y="303358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85"/>
                    <a:pt x="691" y="485"/>
                  </a:cubicBezTo>
                  <a:cubicBezTo>
                    <a:pt x="941" y="485"/>
                    <a:pt x="1179" y="414"/>
                    <a:pt x="1310" y="271"/>
                  </a:cubicBezTo>
                  <a:cubicBezTo>
                    <a:pt x="1370" y="212"/>
                    <a:pt x="1370" y="104"/>
                    <a:pt x="1310" y="45"/>
                  </a:cubicBezTo>
                  <a:cubicBezTo>
                    <a:pt x="1280" y="15"/>
                    <a:pt x="1242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93" y="164"/>
                    <a:pt x="691" y="164"/>
                  </a:cubicBezTo>
                  <a:cubicBezTo>
                    <a:pt x="477" y="164"/>
                    <a:pt x="346" y="93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" name="Google Shape;1205;p42"/>
            <p:cNvSpPr/>
            <p:nvPr/>
          </p:nvSpPr>
          <p:spPr>
            <a:xfrm>
              <a:off x="8213632" y="2995383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83" y="489"/>
                    <a:pt x="167" y="489"/>
                  </a:cubicBezTo>
                  <a:cubicBezTo>
                    <a:pt x="250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" name="Google Shape;1206;p42"/>
            <p:cNvSpPr/>
            <p:nvPr/>
          </p:nvSpPr>
          <p:spPr>
            <a:xfrm>
              <a:off x="8088401" y="3165758"/>
              <a:ext cx="21511" cy="61998"/>
            </a:xfrm>
            <a:custGeom>
              <a:avLst/>
              <a:gdLst/>
              <a:ahLst/>
              <a:cxnLst/>
              <a:rect l="l" t="t" r="r" b="b"/>
              <a:pathLst>
                <a:path w="679" h="1957" extrusionOk="0">
                  <a:moveTo>
                    <a:pt x="176" y="1"/>
                  </a:moveTo>
                  <a:cubicBezTo>
                    <a:pt x="132" y="1"/>
                    <a:pt x="93" y="19"/>
                    <a:pt x="60" y="52"/>
                  </a:cubicBezTo>
                  <a:cubicBezTo>
                    <a:pt x="0" y="123"/>
                    <a:pt x="12" y="219"/>
                    <a:pt x="72" y="278"/>
                  </a:cubicBezTo>
                  <a:lnTo>
                    <a:pt x="179" y="362"/>
                  </a:lnTo>
                  <a:cubicBezTo>
                    <a:pt x="298" y="469"/>
                    <a:pt x="357" y="600"/>
                    <a:pt x="357" y="766"/>
                  </a:cubicBezTo>
                  <a:lnTo>
                    <a:pt x="357" y="1790"/>
                  </a:lnTo>
                  <a:cubicBezTo>
                    <a:pt x="357" y="1886"/>
                    <a:pt x="429" y="1957"/>
                    <a:pt x="524" y="1957"/>
                  </a:cubicBezTo>
                  <a:cubicBezTo>
                    <a:pt x="607" y="1957"/>
                    <a:pt x="679" y="1886"/>
                    <a:pt x="679" y="1790"/>
                  </a:cubicBezTo>
                  <a:lnTo>
                    <a:pt x="679" y="766"/>
                  </a:lnTo>
                  <a:cubicBezTo>
                    <a:pt x="679" y="528"/>
                    <a:pt x="584" y="290"/>
                    <a:pt x="381" y="123"/>
                  </a:cubicBezTo>
                  <a:lnTo>
                    <a:pt x="286" y="40"/>
                  </a:lnTo>
                  <a:cubicBezTo>
                    <a:pt x="248" y="13"/>
                    <a:pt x="211" y="1"/>
                    <a:pt x="17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7" name="Google Shape;1207;p42"/>
          <p:cNvGrpSpPr/>
          <p:nvPr/>
        </p:nvGrpSpPr>
        <p:grpSpPr>
          <a:xfrm>
            <a:off x="7177875" y="1192351"/>
            <a:ext cx="279513" cy="357255"/>
            <a:chOff x="4897750" y="2415639"/>
            <a:chExt cx="279513" cy="357255"/>
          </a:xfrm>
        </p:grpSpPr>
        <p:sp>
          <p:nvSpPr>
            <p:cNvPr id="1208" name="Google Shape;1208;p42"/>
            <p:cNvSpPr/>
            <p:nvPr/>
          </p:nvSpPr>
          <p:spPr>
            <a:xfrm>
              <a:off x="4964119" y="2715522"/>
              <a:ext cx="10613" cy="55472"/>
            </a:xfrm>
            <a:custGeom>
              <a:avLst/>
              <a:gdLst/>
              <a:ahLst/>
              <a:cxnLst/>
              <a:rect l="l" t="t" r="r" b="b"/>
              <a:pathLst>
                <a:path w="335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63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" name="Google Shape;1209;p42"/>
            <p:cNvSpPr/>
            <p:nvPr/>
          </p:nvSpPr>
          <p:spPr>
            <a:xfrm>
              <a:off x="5098031" y="2715522"/>
              <a:ext cx="10581" cy="55472"/>
            </a:xfrm>
            <a:custGeom>
              <a:avLst/>
              <a:gdLst/>
              <a:ahLst/>
              <a:cxnLst/>
              <a:rect l="l" t="t" r="r" b="b"/>
              <a:pathLst>
                <a:path w="334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51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" name="Google Shape;1210;p42"/>
            <p:cNvSpPr/>
            <p:nvPr/>
          </p:nvSpPr>
          <p:spPr>
            <a:xfrm>
              <a:off x="4897750" y="2415639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787" y="299"/>
                  </a:moveTo>
                  <a:cubicBezTo>
                    <a:pt x="5418" y="299"/>
                    <a:pt x="6013" y="584"/>
                    <a:pt x="6430" y="1061"/>
                  </a:cubicBezTo>
                  <a:cubicBezTo>
                    <a:pt x="6834" y="1549"/>
                    <a:pt x="6989" y="2180"/>
                    <a:pt x="6894" y="2799"/>
                  </a:cubicBezTo>
                  <a:lnTo>
                    <a:pt x="6799" y="3311"/>
                  </a:lnTo>
                  <a:lnTo>
                    <a:pt x="6715" y="3311"/>
                  </a:lnTo>
                  <a:cubicBezTo>
                    <a:pt x="6656" y="3311"/>
                    <a:pt x="6608" y="3299"/>
                    <a:pt x="6573" y="3251"/>
                  </a:cubicBezTo>
                  <a:cubicBezTo>
                    <a:pt x="6549" y="3204"/>
                    <a:pt x="6513" y="3156"/>
                    <a:pt x="6537" y="3097"/>
                  </a:cubicBezTo>
                  <a:lnTo>
                    <a:pt x="6561" y="2882"/>
                  </a:lnTo>
                  <a:cubicBezTo>
                    <a:pt x="6596" y="2585"/>
                    <a:pt x="6501" y="2287"/>
                    <a:pt x="6311" y="2061"/>
                  </a:cubicBezTo>
                  <a:cubicBezTo>
                    <a:pt x="6120" y="1834"/>
                    <a:pt x="5834" y="1715"/>
                    <a:pt x="5537" y="1715"/>
                  </a:cubicBezTo>
                  <a:lnTo>
                    <a:pt x="5465" y="1715"/>
                  </a:lnTo>
                  <a:cubicBezTo>
                    <a:pt x="5370" y="1715"/>
                    <a:pt x="5299" y="1787"/>
                    <a:pt x="5299" y="1882"/>
                  </a:cubicBezTo>
                  <a:cubicBezTo>
                    <a:pt x="5299" y="1965"/>
                    <a:pt x="5370" y="2049"/>
                    <a:pt x="5465" y="2049"/>
                  </a:cubicBezTo>
                  <a:lnTo>
                    <a:pt x="5537" y="2049"/>
                  </a:lnTo>
                  <a:cubicBezTo>
                    <a:pt x="5751" y="2049"/>
                    <a:pt x="5942" y="2132"/>
                    <a:pt x="6072" y="2287"/>
                  </a:cubicBezTo>
                  <a:cubicBezTo>
                    <a:pt x="6203" y="2430"/>
                    <a:pt x="6263" y="2644"/>
                    <a:pt x="6251" y="2835"/>
                  </a:cubicBezTo>
                  <a:lnTo>
                    <a:pt x="6215" y="3061"/>
                  </a:lnTo>
                  <a:cubicBezTo>
                    <a:pt x="6203" y="3204"/>
                    <a:pt x="6251" y="3358"/>
                    <a:pt x="6358" y="3466"/>
                  </a:cubicBezTo>
                  <a:cubicBezTo>
                    <a:pt x="6453" y="3561"/>
                    <a:pt x="6596" y="3644"/>
                    <a:pt x="6739" y="3644"/>
                  </a:cubicBezTo>
                  <a:lnTo>
                    <a:pt x="6965" y="3644"/>
                  </a:lnTo>
                  <a:cubicBezTo>
                    <a:pt x="7037" y="3644"/>
                    <a:pt x="7108" y="3668"/>
                    <a:pt x="7168" y="3728"/>
                  </a:cubicBezTo>
                  <a:cubicBezTo>
                    <a:pt x="7239" y="3787"/>
                    <a:pt x="7251" y="3859"/>
                    <a:pt x="7251" y="3942"/>
                  </a:cubicBezTo>
                  <a:cubicBezTo>
                    <a:pt x="7239" y="4073"/>
                    <a:pt x="7096" y="4192"/>
                    <a:pt x="6954" y="4192"/>
                  </a:cubicBezTo>
                  <a:lnTo>
                    <a:pt x="6870" y="4192"/>
                  </a:lnTo>
                  <a:lnTo>
                    <a:pt x="6870" y="4180"/>
                  </a:lnTo>
                  <a:cubicBezTo>
                    <a:pt x="6870" y="4085"/>
                    <a:pt x="6799" y="4013"/>
                    <a:pt x="6715" y="4013"/>
                  </a:cubicBezTo>
                  <a:cubicBezTo>
                    <a:pt x="6620" y="4013"/>
                    <a:pt x="6549" y="4085"/>
                    <a:pt x="6549" y="4180"/>
                  </a:cubicBezTo>
                  <a:cubicBezTo>
                    <a:pt x="6549" y="5347"/>
                    <a:pt x="5596" y="6287"/>
                    <a:pt x="4418" y="6287"/>
                  </a:cubicBezTo>
                  <a:cubicBezTo>
                    <a:pt x="4395" y="6288"/>
                    <a:pt x="4373" y="6288"/>
                    <a:pt x="4351" y="6288"/>
                  </a:cubicBezTo>
                  <a:cubicBezTo>
                    <a:pt x="3169" y="6288"/>
                    <a:pt x="2251" y="5349"/>
                    <a:pt x="2251" y="4192"/>
                  </a:cubicBezTo>
                  <a:cubicBezTo>
                    <a:pt x="2251" y="4097"/>
                    <a:pt x="2179" y="4025"/>
                    <a:pt x="2084" y="4025"/>
                  </a:cubicBezTo>
                  <a:cubicBezTo>
                    <a:pt x="2001" y="4025"/>
                    <a:pt x="1917" y="4097"/>
                    <a:pt x="1917" y="4192"/>
                  </a:cubicBezTo>
                  <a:lnTo>
                    <a:pt x="1917" y="4204"/>
                  </a:lnTo>
                  <a:lnTo>
                    <a:pt x="1822" y="4204"/>
                  </a:lnTo>
                  <a:cubicBezTo>
                    <a:pt x="1739" y="4204"/>
                    <a:pt x="1667" y="4168"/>
                    <a:pt x="1608" y="4109"/>
                  </a:cubicBezTo>
                  <a:cubicBezTo>
                    <a:pt x="1548" y="4061"/>
                    <a:pt x="1536" y="3978"/>
                    <a:pt x="1536" y="3906"/>
                  </a:cubicBezTo>
                  <a:cubicBezTo>
                    <a:pt x="1548" y="3775"/>
                    <a:pt x="1679" y="3656"/>
                    <a:pt x="1834" y="3656"/>
                  </a:cubicBezTo>
                  <a:lnTo>
                    <a:pt x="2024" y="3656"/>
                  </a:lnTo>
                  <a:cubicBezTo>
                    <a:pt x="2179" y="3656"/>
                    <a:pt x="2310" y="3597"/>
                    <a:pt x="2405" y="3478"/>
                  </a:cubicBezTo>
                  <a:cubicBezTo>
                    <a:pt x="2513" y="3370"/>
                    <a:pt x="2560" y="3216"/>
                    <a:pt x="2548" y="3073"/>
                  </a:cubicBezTo>
                  <a:lnTo>
                    <a:pt x="2513" y="2846"/>
                  </a:lnTo>
                  <a:cubicBezTo>
                    <a:pt x="2489" y="2644"/>
                    <a:pt x="2560" y="2442"/>
                    <a:pt x="2691" y="2299"/>
                  </a:cubicBezTo>
                  <a:cubicBezTo>
                    <a:pt x="2834" y="2144"/>
                    <a:pt x="3024" y="2061"/>
                    <a:pt x="3227" y="2061"/>
                  </a:cubicBezTo>
                  <a:lnTo>
                    <a:pt x="4703" y="2061"/>
                  </a:lnTo>
                  <a:cubicBezTo>
                    <a:pt x="4787" y="2061"/>
                    <a:pt x="4870" y="1989"/>
                    <a:pt x="4870" y="1894"/>
                  </a:cubicBezTo>
                  <a:cubicBezTo>
                    <a:pt x="4870" y="1811"/>
                    <a:pt x="4787" y="1727"/>
                    <a:pt x="4703" y="1727"/>
                  </a:cubicBezTo>
                  <a:lnTo>
                    <a:pt x="3227" y="1727"/>
                  </a:lnTo>
                  <a:cubicBezTo>
                    <a:pt x="2929" y="1727"/>
                    <a:pt x="2643" y="1870"/>
                    <a:pt x="2453" y="2073"/>
                  </a:cubicBezTo>
                  <a:cubicBezTo>
                    <a:pt x="2262" y="2299"/>
                    <a:pt x="2155" y="2596"/>
                    <a:pt x="2203" y="2894"/>
                  </a:cubicBezTo>
                  <a:lnTo>
                    <a:pt x="2227" y="3120"/>
                  </a:lnTo>
                  <a:cubicBezTo>
                    <a:pt x="2227" y="3180"/>
                    <a:pt x="2215" y="3216"/>
                    <a:pt x="2191" y="3263"/>
                  </a:cubicBezTo>
                  <a:cubicBezTo>
                    <a:pt x="2155" y="3311"/>
                    <a:pt x="2096" y="3323"/>
                    <a:pt x="2048" y="3323"/>
                  </a:cubicBezTo>
                  <a:lnTo>
                    <a:pt x="1893" y="3323"/>
                  </a:lnTo>
                  <a:lnTo>
                    <a:pt x="1798" y="2763"/>
                  </a:lnTo>
                  <a:cubicBezTo>
                    <a:pt x="1691" y="2144"/>
                    <a:pt x="1881" y="1525"/>
                    <a:pt x="2274" y="1049"/>
                  </a:cubicBezTo>
                  <a:cubicBezTo>
                    <a:pt x="2679" y="572"/>
                    <a:pt x="3275" y="299"/>
                    <a:pt x="3882" y="299"/>
                  </a:cubicBezTo>
                  <a:close/>
                  <a:moveTo>
                    <a:pt x="5453" y="6395"/>
                  </a:moveTo>
                  <a:lnTo>
                    <a:pt x="5453" y="6954"/>
                  </a:lnTo>
                  <a:lnTo>
                    <a:pt x="5453" y="7073"/>
                  </a:lnTo>
                  <a:lnTo>
                    <a:pt x="4370" y="7692"/>
                  </a:lnTo>
                  <a:lnTo>
                    <a:pt x="3298" y="7073"/>
                  </a:lnTo>
                  <a:lnTo>
                    <a:pt x="3298" y="6954"/>
                  </a:lnTo>
                  <a:lnTo>
                    <a:pt x="3298" y="6395"/>
                  </a:lnTo>
                  <a:cubicBezTo>
                    <a:pt x="3632" y="6561"/>
                    <a:pt x="3989" y="6633"/>
                    <a:pt x="4370" y="6633"/>
                  </a:cubicBezTo>
                  <a:cubicBezTo>
                    <a:pt x="4763" y="6633"/>
                    <a:pt x="5120" y="6537"/>
                    <a:pt x="5453" y="6395"/>
                  </a:cubicBezTo>
                  <a:close/>
                  <a:moveTo>
                    <a:pt x="3215" y="7383"/>
                  </a:moveTo>
                  <a:lnTo>
                    <a:pt x="4108" y="7895"/>
                  </a:lnTo>
                  <a:lnTo>
                    <a:pt x="3644" y="8371"/>
                  </a:lnTo>
                  <a:cubicBezTo>
                    <a:pt x="3608" y="8419"/>
                    <a:pt x="3560" y="8431"/>
                    <a:pt x="3513" y="8431"/>
                  </a:cubicBezTo>
                  <a:cubicBezTo>
                    <a:pt x="3453" y="8431"/>
                    <a:pt x="3405" y="8395"/>
                    <a:pt x="3382" y="8359"/>
                  </a:cubicBezTo>
                  <a:lnTo>
                    <a:pt x="2905" y="7788"/>
                  </a:lnTo>
                  <a:lnTo>
                    <a:pt x="3001" y="7680"/>
                  </a:lnTo>
                  <a:cubicBezTo>
                    <a:pt x="3096" y="7597"/>
                    <a:pt x="3155" y="7502"/>
                    <a:pt x="3215" y="7383"/>
                  </a:cubicBezTo>
                  <a:close/>
                  <a:moveTo>
                    <a:pt x="5537" y="7407"/>
                  </a:moveTo>
                  <a:cubicBezTo>
                    <a:pt x="5584" y="7514"/>
                    <a:pt x="5656" y="7609"/>
                    <a:pt x="5751" y="7704"/>
                  </a:cubicBezTo>
                  <a:lnTo>
                    <a:pt x="5846" y="7788"/>
                  </a:lnTo>
                  <a:lnTo>
                    <a:pt x="5370" y="8359"/>
                  </a:lnTo>
                  <a:cubicBezTo>
                    <a:pt x="5346" y="8395"/>
                    <a:pt x="5287" y="8419"/>
                    <a:pt x="5239" y="8431"/>
                  </a:cubicBezTo>
                  <a:cubicBezTo>
                    <a:pt x="5180" y="8431"/>
                    <a:pt x="5132" y="8419"/>
                    <a:pt x="5108" y="8371"/>
                  </a:cubicBezTo>
                  <a:lnTo>
                    <a:pt x="4644" y="7907"/>
                  </a:lnTo>
                  <a:lnTo>
                    <a:pt x="5537" y="7407"/>
                  </a:lnTo>
                  <a:close/>
                  <a:moveTo>
                    <a:pt x="4394" y="8121"/>
                  </a:moveTo>
                  <a:lnTo>
                    <a:pt x="4727" y="8466"/>
                  </a:lnTo>
                  <a:lnTo>
                    <a:pt x="4656" y="8657"/>
                  </a:lnTo>
                  <a:cubicBezTo>
                    <a:pt x="4632" y="8728"/>
                    <a:pt x="4560" y="8788"/>
                    <a:pt x="4477" y="8788"/>
                  </a:cubicBezTo>
                  <a:lnTo>
                    <a:pt x="4287" y="8788"/>
                  </a:lnTo>
                  <a:cubicBezTo>
                    <a:pt x="4215" y="8788"/>
                    <a:pt x="4144" y="8740"/>
                    <a:pt x="4108" y="8657"/>
                  </a:cubicBezTo>
                  <a:lnTo>
                    <a:pt x="4048" y="8466"/>
                  </a:lnTo>
                  <a:lnTo>
                    <a:pt x="4394" y="8121"/>
                  </a:lnTo>
                  <a:close/>
                  <a:moveTo>
                    <a:pt x="3906" y="1"/>
                  </a:moveTo>
                  <a:cubicBezTo>
                    <a:pt x="3191" y="1"/>
                    <a:pt x="2501" y="322"/>
                    <a:pt x="2036" y="870"/>
                  </a:cubicBezTo>
                  <a:cubicBezTo>
                    <a:pt x="1584" y="1418"/>
                    <a:pt x="1370" y="2132"/>
                    <a:pt x="1489" y="2846"/>
                  </a:cubicBezTo>
                  <a:lnTo>
                    <a:pt x="1584" y="3430"/>
                  </a:lnTo>
                  <a:cubicBezTo>
                    <a:pt x="1393" y="3513"/>
                    <a:pt x="1262" y="3692"/>
                    <a:pt x="1250" y="3906"/>
                  </a:cubicBezTo>
                  <a:cubicBezTo>
                    <a:pt x="1239" y="4073"/>
                    <a:pt x="1298" y="4251"/>
                    <a:pt x="1393" y="4370"/>
                  </a:cubicBezTo>
                  <a:cubicBezTo>
                    <a:pt x="1512" y="4490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2048" y="5240"/>
                    <a:pt x="2441" y="5859"/>
                    <a:pt x="2989" y="6228"/>
                  </a:cubicBezTo>
                  <a:lnTo>
                    <a:pt x="2989" y="6526"/>
                  </a:lnTo>
                  <a:cubicBezTo>
                    <a:pt x="2703" y="6633"/>
                    <a:pt x="1977" y="6930"/>
                    <a:pt x="1536" y="7657"/>
                  </a:cubicBezTo>
                  <a:lnTo>
                    <a:pt x="881" y="7847"/>
                  </a:lnTo>
                  <a:cubicBezTo>
                    <a:pt x="357" y="8002"/>
                    <a:pt x="0" y="8490"/>
                    <a:pt x="0" y="9026"/>
                  </a:cubicBezTo>
                  <a:lnTo>
                    <a:pt x="0" y="11074"/>
                  </a:lnTo>
                  <a:cubicBezTo>
                    <a:pt x="0" y="11169"/>
                    <a:pt x="72" y="11240"/>
                    <a:pt x="167" y="11240"/>
                  </a:cubicBezTo>
                  <a:cubicBezTo>
                    <a:pt x="250" y="11240"/>
                    <a:pt x="334" y="11169"/>
                    <a:pt x="334" y="11074"/>
                  </a:cubicBezTo>
                  <a:lnTo>
                    <a:pt x="334" y="9026"/>
                  </a:lnTo>
                  <a:cubicBezTo>
                    <a:pt x="334" y="8633"/>
                    <a:pt x="596" y="8276"/>
                    <a:pt x="965" y="8180"/>
                  </a:cubicBezTo>
                  <a:lnTo>
                    <a:pt x="1346" y="8073"/>
                  </a:lnTo>
                  <a:lnTo>
                    <a:pt x="1346" y="8073"/>
                  </a:lnTo>
                  <a:cubicBezTo>
                    <a:pt x="1322" y="8121"/>
                    <a:pt x="1310" y="8145"/>
                    <a:pt x="1298" y="8192"/>
                  </a:cubicBezTo>
                  <a:cubicBezTo>
                    <a:pt x="1250" y="8335"/>
                    <a:pt x="1262" y="8514"/>
                    <a:pt x="1358" y="8657"/>
                  </a:cubicBezTo>
                  <a:lnTo>
                    <a:pt x="1548" y="8931"/>
                  </a:lnTo>
                  <a:lnTo>
                    <a:pt x="1084" y="9395"/>
                  </a:lnTo>
                  <a:cubicBezTo>
                    <a:pt x="953" y="9526"/>
                    <a:pt x="905" y="9704"/>
                    <a:pt x="953" y="9883"/>
                  </a:cubicBezTo>
                  <a:lnTo>
                    <a:pt x="1250" y="11133"/>
                  </a:lnTo>
                  <a:cubicBezTo>
                    <a:pt x="1262" y="11217"/>
                    <a:pt x="1346" y="11252"/>
                    <a:pt x="1417" y="11252"/>
                  </a:cubicBezTo>
                  <a:lnTo>
                    <a:pt x="1465" y="11252"/>
                  </a:lnTo>
                  <a:cubicBezTo>
                    <a:pt x="1548" y="11240"/>
                    <a:pt x="1608" y="11157"/>
                    <a:pt x="1584" y="11062"/>
                  </a:cubicBezTo>
                  <a:lnTo>
                    <a:pt x="1286" y="9812"/>
                  </a:lnTo>
                  <a:cubicBezTo>
                    <a:pt x="1262" y="9752"/>
                    <a:pt x="1286" y="9681"/>
                    <a:pt x="1322" y="9633"/>
                  </a:cubicBezTo>
                  <a:lnTo>
                    <a:pt x="1893" y="9073"/>
                  </a:lnTo>
                  <a:cubicBezTo>
                    <a:pt x="1953" y="9014"/>
                    <a:pt x="1953" y="8919"/>
                    <a:pt x="1905" y="8859"/>
                  </a:cubicBezTo>
                  <a:lnTo>
                    <a:pt x="1631" y="8478"/>
                  </a:lnTo>
                  <a:cubicBezTo>
                    <a:pt x="1608" y="8431"/>
                    <a:pt x="1596" y="8371"/>
                    <a:pt x="1620" y="8311"/>
                  </a:cubicBezTo>
                  <a:cubicBezTo>
                    <a:pt x="1905" y="7442"/>
                    <a:pt x="2655" y="7049"/>
                    <a:pt x="3001" y="6907"/>
                  </a:cubicBezTo>
                  <a:lnTo>
                    <a:pt x="3001" y="7014"/>
                  </a:lnTo>
                  <a:cubicBezTo>
                    <a:pt x="3001" y="7204"/>
                    <a:pt x="2929" y="7383"/>
                    <a:pt x="2798" y="7526"/>
                  </a:cubicBezTo>
                  <a:lnTo>
                    <a:pt x="2584" y="7728"/>
                  </a:lnTo>
                  <a:cubicBezTo>
                    <a:pt x="2286" y="8026"/>
                    <a:pt x="2132" y="8419"/>
                    <a:pt x="2132" y="8847"/>
                  </a:cubicBezTo>
                  <a:lnTo>
                    <a:pt x="2132" y="8990"/>
                  </a:lnTo>
                  <a:cubicBezTo>
                    <a:pt x="2132" y="9085"/>
                    <a:pt x="2203" y="9157"/>
                    <a:pt x="2286" y="9157"/>
                  </a:cubicBezTo>
                  <a:cubicBezTo>
                    <a:pt x="2382" y="9157"/>
                    <a:pt x="2453" y="9085"/>
                    <a:pt x="2453" y="8990"/>
                  </a:cubicBezTo>
                  <a:lnTo>
                    <a:pt x="2453" y="8847"/>
                  </a:lnTo>
                  <a:cubicBezTo>
                    <a:pt x="2453" y="8573"/>
                    <a:pt x="2548" y="8311"/>
                    <a:pt x="2703" y="8097"/>
                  </a:cubicBezTo>
                  <a:lnTo>
                    <a:pt x="3155" y="8633"/>
                  </a:lnTo>
                  <a:cubicBezTo>
                    <a:pt x="3239" y="8740"/>
                    <a:pt x="3382" y="8812"/>
                    <a:pt x="3525" y="8812"/>
                  </a:cubicBezTo>
                  <a:lnTo>
                    <a:pt x="3560" y="8812"/>
                  </a:lnTo>
                  <a:cubicBezTo>
                    <a:pt x="3644" y="8812"/>
                    <a:pt x="3739" y="8788"/>
                    <a:pt x="3810" y="8752"/>
                  </a:cubicBezTo>
                  <a:lnTo>
                    <a:pt x="3822" y="8812"/>
                  </a:lnTo>
                  <a:cubicBezTo>
                    <a:pt x="3858" y="8907"/>
                    <a:pt x="3894" y="8978"/>
                    <a:pt x="3977" y="9038"/>
                  </a:cubicBezTo>
                  <a:lnTo>
                    <a:pt x="3715" y="11097"/>
                  </a:lnTo>
                  <a:cubicBezTo>
                    <a:pt x="3703" y="11181"/>
                    <a:pt x="3775" y="11276"/>
                    <a:pt x="3870" y="11276"/>
                  </a:cubicBezTo>
                  <a:lnTo>
                    <a:pt x="3882" y="11276"/>
                  </a:lnTo>
                  <a:cubicBezTo>
                    <a:pt x="3977" y="11276"/>
                    <a:pt x="4037" y="11217"/>
                    <a:pt x="4048" y="11121"/>
                  </a:cubicBezTo>
                  <a:lnTo>
                    <a:pt x="4287" y="9157"/>
                  </a:lnTo>
                  <a:lnTo>
                    <a:pt x="4537" y="9157"/>
                  </a:lnTo>
                  <a:lnTo>
                    <a:pt x="4775" y="11121"/>
                  </a:lnTo>
                  <a:cubicBezTo>
                    <a:pt x="4787" y="11217"/>
                    <a:pt x="4846" y="11276"/>
                    <a:pt x="4941" y="11276"/>
                  </a:cubicBezTo>
                  <a:lnTo>
                    <a:pt x="4953" y="11276"/>
                  </a:lnTo>
                  <a:cubicBezTo>
                    <a:pt x="5049" y="11252"/>
                    <a:pt x="5108" y="11181"/>
                    <a:pt x="5108" y="11097"/>
                  </a:cubicBezTo>
                  <a:lnTo>
                    <a:pt x="4846" y="9038"/>
                  </a:lnTo>
                  <a:cubicBezTo>
                    <a:pt x="4906" y="8978"/>
                    <a:pt x="4965" y="8907"/>
                    <a:pt x="5001" y="8812"/>
                  </a:cubicBezTo>
                  <a:lnTo>
                    <a:pt x="5013" y="8752"/>
                  </a:lnTo>
                  <a:cubicBezTo>
                    <a:pt x="5084" y="8800"/>
                    <a:pt x="5180" y="8812"/>
                    <a:pt x="5263" y="8812"/>
                  </a:cubicBezTo>
                  <a:lnTo>
                    <a:pt x="5299" y="8812"/>
                  </a:lnTo>
                  <a:cubicBezTo>
                    <a:pt x="5441" y="8812"/>
                    <a:pt x="5584" y="8740"/>
                    <a:pt x="5668" y="8633"/>
                  </a:cubicBezTo>
                  <a:lnTo>
                    <a:pt x="6120" y="8097"/>
                  </a:lnTo>
                  <a:cubicBezTo>
                    <a:pt x="6275" y="8311"/>
                    <a:pt x="6370" y="8573"/>
                    <a:pt x="6370" y="8847"/>
                  </a:cubicBezTo>
                  <a:lnTo>
                    <a:pt x="6370" y="8990"/>
                  </a:lnTo>
                  <a:cubicBezTo>
                    <a:pt x="6370" y="9085"/>
                    <a:pt x="6442" y="9157"/>
                    <a:pt x="6537" y="9157"/>
                  </a:cubicBezTo>
                  <a:cubicBezTo>
                    <a:pt x="6620" y="9157"/>
                    <a:pt x="6692" y="9085"/>
                    <a:pt x="6692" y="8990"/>
                  </a:cubicBezTo>
                  <a:lnTo>
                    <a:pt x="6692" y="8847"/>
                  </a:lnTo>
                  <a:cubicBezTo>
                    <a:pt x="6692" y="8431"/>
                    <a:pt x="6537" y="8026"/>
                    <a:pt x="6239" y="7728"/>
                  </a:cubicBezTo>
                  <a:lnTo>
                    <a:pt x="6025" y="7526"/>
                  </a:lnTo>
                  <a:cubicBezTo>
                    <a:pt x="5894" y="7383"/>
                    <a:pt x="5822" y="7204"/>
                    <a:pt x="5822" y="7014"/>
                  </a:cubicBezTo>
                  <a:lnTo>
                    <a:pt x="5822" y="6907"/>
                  </a:lnTo>
                  <a:cubicBezTo>
                    <a:pt x="6180" y="7061"/>
                    <a:pt x="6918" y="7442"/>
                    <a:pt x="7204" y="8311"/>
                  </a:cubicBezTo>
                  <a:cubicBezTo>
                    <a:pt x="7215" y="8371"/>
                    <a:pt x="7215" y="8431"/>
                    <a:pt x="7192" y="8478"/>
                  </a:cubicBezTo>
                  <a:lnTo>
                    <a:pt x="6918" y="8859"/>
                  </a:lnTo>
                  <a:cubicBezTo>
                    <a:pt x="6870" y="8919"/>
                    <a:pt x="6894" y="9014"/>
                    <a:pt x="6930" y="9073"/>
                  </a:cubicBezTo>
                  <a:lnTo>
                    <a:pt x="7501" y="9633"/>
                  </a:lnTo>
                  <a:cubicBezTo>
                    <a:pt x="7549" y="9681"/>
                    <a:pt x="7561" y="9752"/>
                    <a:pt x="7549" y="9812"/>
                  </a:cubicBezTo>
                  <a:lnTo>
                    <a:pt x="7251" y="11062"/>
                  </a:lnTo>
                  <a:cubicBezTo>
                    <a:pt x="7227" y="11157"/>
                    <a:pt x="7275" y="11240"/>
                    <a:pt x="7370" y="11252"/>
                  </a:cubicBezTo>
                  <a:lnTo>
                    <a:pt x="7406" y="11252"/>
                  </a:lnTo>
                  <a:cubicBezTo>
                    <a:pt x="7489" y="11252"/>
                    <a:pt x="7549" y="11217"/>
                    <a:pt x="7573" y="11133"/>
                  </a:cubicBezTo>
                  <a:lnTo>
                    <a:pt x="7870" y="9883"/>
                  </a:lnTo>
                  <a:cubicBezTo>
                    <a:pt x="7918" y="9704"/>
                    <a:pt x="7858" y="9526"/>
                    <a:pt x="7739" y="9395"/>
                  </a:cubicBezTo>
                  <a:lnTo>
                    <a:pt x="7275" y="8931"/>
                  </a:lnTo>
                  <a:lnTo>
                    <a:pt x="7466" y="8657"/>
                  </a:lnTo>
                  <a:cubicBezTo>
                    <a:pt x="7561" y="8514"/>
                    <a:pt x="7573" y="8359"/>
                    <a:pt x="7525" y="8192"/>
                  </a:cubicBezTo>
                  <a:cubicBezTo>
                    <a:pt x="7513" y="8145"/>
                    <a:pt x="7501" y="8121"/>
                    <a:pt x="7489" y="8073"/>
                  </a:cubicBezTo>
                  <a:lnTo>
                    <a:pt x="7489" y="8073"/>
                  </a:lnTo>
                  <a:lnTo>
                    <a:pt x="7858" y="8180"/>
                  </a:lnTo>
                  <a:cubicBezTo>
                    <a:pt x="8228" y="8276"/>
                    <a:pt x="8501" y="8633"/>
                    <a:pt x="8501" y="9026"/>
                  </a:cubicBezTo>
                  <a:lnTo>
                    <a:pt x="8501" y="11074"/>
                  </a:lnTo>
                  <a:cubicBezTo>
                    <a:pt x="8501" y="11169"/>
                    <a:pt x="8573" y="11240"/>
                    <a:pt x="8656" y="11240"/>
                  </a:cubicBezTo>
                  <a:cubicBezTo>
                    <a:pt x="8751" y="11240"/>
                    <a:pt x="8823" y="11169"/>
                    <a:pt x="8823" y="11074"/>
                  </a:cubicBezTo>
                  <a:lnTo>
                    <a:pt x="8823" y="9026"/>
                  </a:lnTo>
                  <a:cubicBezTo>
                    <a:pt x="8763" y="8466"/>
                    <a:pt x="8406" y="7966"/>
                    <a:pt x="7894" y="7823"/>
                  </a:cubicBezTo>
                  <a:lnTo>
                    <a:pt x="7239" y="7633"/>
                  </a:lnTo>
                  <a:cubicBezTo>
                    <a:pt x="6787" y="6895"/>
                    <a:pt x="6072" y="6597"/>
                    <a:pt x="5775" y="6502"/>
                  </a:cubicBezTo>
                  <a:lnTo>
                    <a:pt x="5775" y="6204"/>
                  </a:lnTo>
                  <a:cubicBezTo>
                    <a:pt x="6323" y="5811"/>
                    <a:pt x="6715" y="5216"/>
                    <a:pt x="6799" y="4537"/>
                  </a:cubicBezTo>
                  <a:lnTo>
                    <a:pt x="6906" y="4537"/>
                  </a:lnTo>
                  <a:cubicBezTo>
                    <a:pt x="7239" y="4537"/>
                    <a:pt x="7501" y="4299"/>
                    <a:pt x="7537" y="4001"/>
                  </a:cubicBezTo>
                  <a:cubicBezTo>
                    <a:pt x="7549" y="3835"/>
                    <a:pt x="7489" y="3656"/>
                    <a:pt x="7382" y="3537"/>
                  </a:cubicBezTo>
                  <a:cubicBezTo>
                    <a:pt x="7311" y="3466"/>
                    <a:pt x="7215" y="3406"/>
                    <a:pt x="7132" y="3370"/>
                  </a:cubicBezTo>
                  <a:lnTo>
                    <a:pt x="7215" y="2894"/>
                  </a:lnTo>
                  <a:cubicBezTo>
                    <a:pt x="7358" y="2180"/>
                    <a:pt x="7156" y="1430"/>
                    <a:pt x="6704" y="882"/>
                  </a:cubicBezTo>
                  <a:cubicBezTo>
                    <a:pt x="6239" y="334"/>
                    <a:pt x="5537" y="1"/>
                    <a:pt x="481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" name="Google Shape;1211;p42"/>
            <p:cNvSpPr/>
            <p:nvPr/>
          </p:nvSpPr>
          <p:spPr>
            <a:xfrm>
              <a:off x="4997700" y="25265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" name="Google Shape;1212;p42"/>
            <p:cNvSpPr/>
            <p:nvPr/>
          </p:nvSpPr>
          <p:spPr>
            <a:xfrm>
              <a:off x="5064830" y="25265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1" y="0"/>
                    <a:pt x="15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" name="Google Shape;1213;p42"/>
            <p:cNvSpPr/>
            <p:nvPr/>
          </p:nvSpPr>
          <p:spPr>
            <a:xfrm>
              <a:off x="5013160" y="256586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1"/>
                  </a:moveTo>
                  <a:cubicBezTo>
                    <a:pt x="146" y="1"/>
                    <a:pt x="102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15" y="414"/>
                    <a:pt x="453" y="510"/>
                    <a:pt x="703" y="510"/>
                  </a:cubicBezTo>
                  <a:cubicBezTo>
                    <a:pt x="977" y="510"/>
                    <a:pt x="1215" y="414"/>
                    <a:pt x="1346" y="283"/>
                  </a:cubicBezTo>
                  <a:cubicBezTo>
                    <a:pt x="1453" y="212"/>
                    <a:pt x="1453" y="105"/>
                    <a:pt x="1370" y="45"/>
                  </a:cubicBezTo>
                  <a:cubicBezTo>
                    <a:pt x="1340" y="15"/>
                    <a:pt x="1301" y="1"/>
                    <a:pt x="1260" y="1"/>
                  </a:cubicBezTo>
                  <a:cubicBezTo>
                    <a:pt x="1218" y="1"/>
                    <a:pt x="1173" y="15"/>
                    <a:pt x="1132" y="45"/>
                  </a:cubicBezTo>
                  <a:cubicBezTo>
                    <a:pt x="1072" y="105"/>
                    <a:pt x="929" y="176"/>
                    <a:pt x="715" y="176"/>
                  </a:cubicBezTo>
                  <a:cubicBezTo>
                    <a:pt x="513" y="176"/>
                    <a:pt x="358" y="105"/>
                    <a:pt x="298" y="45"/>
                  </a:cubicBezTo>
                  <a:cubicBezTo>
                    <a:pt x="268" y="15"/>
                    <a:pt x="230" y="1"/>
                    <a:pt x="18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" name="Google Shape;1214;p42"/>
            <p:cNvSpPr/>
            <p:nvPr/>
          </p:nvSpPr>
          <p:spPr>
            <a:xfrm>
              <a:off x="4992030" y="2509570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2"/>
                    <a:pt x="691" y="167"/>
                  </a:cubicBezTo>
                  <a:cubicBezTo>
                    <a:pt x="691" y="84"/>
                    <a:pt x="608" y="1"/>
                    <a:pt x="52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" name="Google Shape;1215;p42"/>
            <p:cNvSpPr/>
            <p:nvPr/>
          </p:nvSpPr>
          <p:spPr>
            <a:xfrm>
              <a:off x="5059191" y="2509570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84"/>
                    <a:pt x="607" y="1"/>
                    <a:pt x="51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6" name="Google Shape;1216;p42"/>
          <p:cNvGrpSpPr/>
          <p:nvPr/>
        </p:nvGrpSpPr>
        <p:grpSpPr>
          <a:xfrm>
            <a:off x="7185420" y="3036299"/>
            <a:ext cx="264433" cy="353454"/>
            <a:chOff x="8054820" y="2416399"/>
            <a:chExt cx="264433" cy="353454"/>
          </a:xfrm>
        </p:grpSpPr>
        <p:sp>
          <p:nvSpPr>
            <p:cNvPr id="1217" name="Google Shape;1217;p42"/>
            <p:cNvSpPr/>
            <p:nvPr/>
          </p:nvSpPr>
          <p:spPr>
            <a:xfrm>
              <a:off x="8148371" y="2538621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" name="Google Shape;1218;p42"/>
            <p:cNvSpPr/>
            <p:nvPr/>
          </p:nvSpPr>
          <p:spPr>
            <a:xfrm>
              <a:off x="8214361" y="2538621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" name="Google Shape;1219;p42"/>
            <p:cNvSpPr/>
            <p:nvPr/>
          </p:nvSpPr>
          <p:spPr>
            <a:xfrm>
              <a:off x="8054820" y="2416399"/>
              <a:ext cx="264433" cy="353454"/>
            </a:xfrm>
            <a:custGeom>
              <a:avLst/>
              <a:gdLst/>
              <a:ahLst/>
              <a:cxnLst/>
              <a:rect l="l" t="t" r="r" b="b"/>
              <a:pathLst>
                <a:path w="8347" h="11157" extrusionOk="0">
                  <a:moveTo>
                    <a:pt x="1703" y="5025"/>
                  </a:moveTo>
                  <a:cubicBezTo>
                    <a:pt x="1787" y="5204"/>
                    <a:pt x="1882" y="5418"/>
                    <a:pt x="1882" y="5573"/>
                  </a:cubicBezTo>
                  <a:cubicBezTo>
                    <a:pt x="1882" y="5680"/>
                    <a:pt x="1787" y="5763"/>
                    <a:pt x="1703" y="5763"/>
                  </a:cubicBezTo>
                  <a:cubicBezTo>
                    <a:pt x="1608" y="5763"/>
                    <a:pt x="1525" y="5668"/>
                    <a:pt x="1525" y="5573"/>
                  </a:cubicBezTo>
                  <a:cubicBezTo>
                    <a:pt x="1525" y="5430"/>
                    <a:pt x="1608" y="5204"/>
                    <a:pt x="1703" y="5025"/>
                  </a:cubicBezTo>
                  <a:close/>
                  <a:moveTo>
                    <a:pt x="6585" y="5025"/>
                  </a:moveTo>
                  <a:cubicBezTo>
                    <a:pt x="6668" y="5204"/>
                    <a:pt x="6763" y="5418"/>
                    <a:pt x="6763" y="5573"/>
                  </a:cubicBezTo>
                  <a:cubicBezTo>
                    <a:pt x="6763" y="5680"/>
                    <a:pt x="6668" y="5763"/>
                    <a:pt x="6585" y="5763"/>
                  </a:cubicBezTo>
                  <a:cubicBezTo>
                    <a:pt x="6490" y="5763"/>
                    <a:pt x="6406" y="5668"/>
                    <a:pt x="6406" y="5573"/>
                  </a:cubicBezTo>
                  <a:cubicBezTo>
                    <a:pt x="6406" y="5430"/>
                    <a:pt x="6490" y="5204"/>
                    <a:pt x="6585" y="5025"/>
                  </a:cubicBezTo>
                  <a:close/>
                  <a:moveTo>
                    <a:pt x="4144" y="322"/>
                  </a:moveTo>
                  <a:cubicBezTo>
                    <a:pt x="6073" y="322"/>
                    <a:pt x="7633" y="1894"/>
                    <a:pt x="7633" y="3823"/>
                  </a:cubicBezTo>
                  <a:cubicBezTo>
                    <a:pt x="7633" y="5847"/>
                    <a:pt x="6478" y="7752"/>
                    <a:pt x="6299" y="8049"/>
                  </a:cubicBezTo>
                  <a:lnTo>
                    <a:pt x="5716" y="7847"/>
                  </a:lnTo>
                  <a:cubicBezTo>
                    <a:pt x="5513" y="7764"/>
                    <a:pt x="5358" y="7561"/>
                    <a:pt x="5358" y="7335"/>
                  </a:cubicBezTo>
                  <a:lnTo>
                    <a:pt x="5358" y="6621"/>
                  </a:lnTo>
                  <a:cubicBezTo>
                    <a:pt x="5692" y="6430"/>
                    <a:pt x="5966" y="6180"/>
                    <a:pt x="6180" y="5859"/>
                  </a:cubicBezTo>
                  <a:cubicBezTo>
                    <a:pt x="6263" y="6001"/>
                    <a:pt x="6418" y="6073"/>
                    <a:pt x="6597" y="6073"/>
                  </a:cubicBezTo>
                  <a:cubicBezTo>
                    <a:pt x="6882" y="6073"/>
                    <a:pt x="7097" y="5847"/>
                    <a:pt x="7097" y="5561"/>
                  </a:cubicBezTo>
                  <a:cubicBezTo>
                    <a:pt x="7097" y="5323"/>
                    <a:pt x="6966" y="5025"/>
                    <a:pt x="6859" y="4823"/>
                  </a:cubicBezTo>
                  <a:cubicBezTo>
                    <a:pt x="7097" y="4751"/>
                    <a:pt x="7275" y="4525"/>
                    <a:pt x="7275" y="4251"/>
                  </a:cubicBezTo>
                  <a:cubicBezTo>
                    <a:pt x="7275" y="3930"/>
                    <a:pt x="7013" y="3656"/>
                    <a:pt x="6680" y="3656"/>
                  </a:cubicBezTo>
                  <a:lnTo>
                    <a:pt x="6597" y="3656"/>
                  </a:lnTo>
                  <a:cubicBezTo>
                    <a:pt x="6597" y="3656"/>
                    <a:pt x="6585" y="3656"/>
                    <a:pt x="6585" y="3644"/>
                  </a:cubicBezTo>
                  <a:lnTo>
                    <a:pt x="6585" y="3120"/>
                  </a:lnTo>
                  <a:cubicBezTo>
                    <a:pt x="6585" y="2453"/>
                    <a:pt x="6049" y="1918"/>
                    <a:pt x="5370" y="1918"/>
                  </a:cubicBezTo>
                  <a:lnTo>
                    <a:pt x="5192" y="1918"/>
                  </a:lnTo>
                  <a:cubicBezTo>
                    <a:pt x="5108" y="1918"/>
                    <a:pt x="5037" y="1989"/>
                    <a:pt x="5037" y="2084"/>
                  </a:cubicBezTo>
                  <a:cubicBezTo>
                    <a:pt x="5037" y="2168"/>
                    <a:pt x="5108" y="2251"/>
                    <a:pt x="5192" y="2251"/>
                  </a:cubicBezTo>
                  <a:lnTo>
                    <a:pt x="5370" y="2251"/>
                  </a:lnTo>
                  <a:cubicBezTo>
                    <a:pt x="5870" y="2251"/>
                    <a:pt x="6251" y="2644"/>
                    <a:pt x="6251" y="3120"/>
                  </a:cubicBezTo>
                  <a:lnTo>
                    <a:pt x="6251" y="3644"/>
                  </a:lnTo>
                  <a:cubicBezTo>
                    <a:pt x="6251" y="3823"/>
                    <a:pt x="6406" y="3989"/>
                    <a:pt x="6597" y="3989"/>
                  </a:cubicBezTo>
                  <a:lnTo>
                    <a:pt x="6680" y="3989"/>
                  </a:lnTo>
                  <a:cubicBezTo>
                    <a:pt x="6835" y="3989"/>
                    <a:pt x="6954" y="4108"/>
                    <a:pt x="6954" y="4251"/>
                  </a:cubicBezTo>
                  <a:cubicBezTo>
                    <a:pt x="6954" y="4406"/>
                    <a:pt x="6835" y="4525"/>
                    <a:pt x="6680" y="4525"/>
                  </a:cubicBezTo>
                  <a:lnTo>
                    <a:pt x="6585" y="4525"/>
                  </a:lnTo>
                  <a:lnTo>
                    <a:pt x="6585" y="4501"/>
                  </a:lnTo>
                  <a:cubicBezTo>
                    <a:pt x="6585" y="4418"/>
                    <a:pt x="6501" y="4346"/>
                    <a:pt x="6418" y="4346"/>
                  </a:cubicBezTo>
                  <a:cubicBezTo>
                    <a:pt x="6323" y="4346"/>
                    <a:pt x="6251" y="4418"/>
                    <a:pt x="6251" y="4501"/>
                  </a:cubicBezTo>
                  <a:cubicBezTo>
                    <a:pt x="6251" y="5668"/>
                    <a:pt x="5311" y="6609"/>
                    <a:pt x="4156" y="6609"/>
                  </a:cubicBezTo>
                  <a:cubicBezTo>
                    <a:pt x="2989" y="6609"/>
                    <a:pt x="2060" y="5668"/>
                    <a:pt x="2060" y="4501"/>
                  </a:cubicBezTo>
                  <a:cubicBezTo>
                    <a:pt x="2060" y="4418"/>
                    <a:pt x="1977" y="4346"/>
                    <a:pt x="1894" y="4346"/>
                  </a:cubicBezTo>
                  <a:cubicBezTo>
                    <a:pt x="1798" y="4346"/>
                    <a:pt x="1727" y="4418"/>
                    <a:pt x="1727" y="4501"/>
                  </a:cubicBezTo>
                  <a:lnTo>
                    <a:pt x="1727" y="4525"/>
                  </a:lnTo>
                  <a:lnTo>
                    <a:pt x="1620" y="4525"/>
                  </a:lnTo>
                  <a:cubicBezTo>
                    <a:pt x="1477" y="4525"/>
                    <a:pt x="1358" y="4406"/>
                    <a:pt x="1358" y="4251"/>
                  </a:cubicBezTo>
                  <a:cubicBezTo>
                    <a:pt x="1358" y="4108"/>
                    <a:pt x="1477" y="3989"/>
                    <a:pt x="1620" y="3989"/>
                  </a:cubicBezTo>
                  <a:lnTo>
                    <a:pt x="1715" y="3989"/>
                  </a:lnTo>
                  <a:cubicBezTo>
                    <a:pt x="1894" y="3989"/>
                    <a:pt x="2060" y="3835"/>
                    <a:pt x="2060" y="3644"/>
                  </a:cubicBezTo>
                  <a:lnTo>
                    <a:pt x="2060" y="3120"/>
                  </a:lnTo>
                  <a:cubicBezTo>
                    <a:pt x="2060" y="2632"/>
                    <a:pt x="2453" y="2251"/>
                    <a:pt x="2930" y="2251"/>
                  </a:cubicBezTo>
                  <a:lnTo>
                    <a:pt x="4501" y="2251"/>
                  </a:lnTo>
                  <a:cubicBezTo>
                    <a:pt x="4585" y="2251"/>
                    <a:pt x="4656" y="2168"/>
                    <a:pt x="4656" y="2084"/>
                  </a:cubicBezTo>
                  <a:cubicBezTo>
                    <a:pt x="4656" y="1989"/>
                    <a:pt x="4585" y="1918"/>
                    <a:pt x="4501" y="1918"/>
                  </a:cubicBezTo>
                  <a:lnTo>
                    <a:pt x="2930" y="1918"/>
                  </a:lnTo>
                  <a:cubicBezTo>
                    <a:pt x="2632" y="1918"/>
                    <a:pt x="2394" y="1679"/>
                    <a:pt x="2394" y="1382"/>
                  </a:cubicBezTo>
                  <a:cubicBezTo>
                    <a:pt x="2394" y="798"/>
                    <a:pt x="3025" y="322"/>
                    <a:pt x="3799" y="322"/>
                  </a:cubicBezTo>
                  <a:close/>
                  <a:moveTo>
                    <a:pt x="2084" y="1310"/>
                  </a:moveTo>
                  <a:lnTo>
                    <a:pt x="2084" y="1406"/>
                  </a:lnTo>
                  <a:cubicBezTo>
                    <a:pt x="2084" y="1679"/>
                    <a:pt x="2203" y="1918"/>
                    <a:pt x="2394" y="2084"/>
                  </a:cubicBezTo>
                  <a:cubicBezTo>
                    <a:pt x="2013" y="2275"/>
                    <a:pt x="1727" y="2692"/>
                    <a:pt x="1727" y="3156"/>
                  </a:cubicBezTo>
                  <a:lnTo>
                    <a:pt x="1727" y="3680"/>
                  </a:lnTo>
                  <a:cubicBezTo>
                    <a:pt x="1727" y="3680"/>
                    <a:pt x="1727" y="3692"/>
                    <a:pt x="1715" y="3692"/>
                  </a:cubicBezTo>
                  <a:lnTo>
                    <a:pt x="1620" y="3692"/>
                  </a:lnTo>
                  <a:cubicBezTo>
                    <a:pt x="1298" y="3692"/>
                    <a:pt x="1025" y="3954"/>
                    <a:pt x="1025" y="4287"/>
                  </a:cubicBezTo>
                  <a:cubicBezTo>
                    <a:pt x="1025" y="4549"/>
                    <a:pt x="1203" y="4775"/>
                    <a:pt x="1441" y="4847"/>
                  </a:cubicBezTo>
                  <a:cubicBezTo>
                    <a:pt x="1346" y="5037"/>
                    <a:pt x="1203" y="5335"/>
                    <a:pt x="1203" y="5597"/>
                  </a:cubicBezTo>
                  <a:cubicBezTo>
                    <a:pt x="1203" y="5870"/>
                    <a:pt x="1429" y="6097"/>
                    <a:pt x="1715" y="6097"/>
                  </a:cubicBezTo>
                  <a:cubicBezTo>
                    <a:pt x="1894" y="6097"/>
                    <a:pt x="2037" y="6013"/>
                    <a:pt x="2132" y="5894"/>
                  </a:cubicBezTo>
                  <a:cubicBezTo>
                    <a:pt x="2334" y="6204"/>
                    <a:pt x="2620" y="6466"/>
                    <a:pt x="2953" y="6656"/>
                  </a:cubicBezTo>
                  <a:lnTo>
                    <a:pt x="2953" y="7347"/>
                  </a:lnTo>
                  <a:cubicBezTo>
                    <a:pt x="2953" y="7573"/>
                    <a:pt x="2799" y="7787"/>
                    <a:pt x="2584" y="7859"/>
                  </a:cubicBezTo>
                  <a:lnTo>
                    <a:pt x="1965" y="8085"/>
                  </a:lnTo>
                  <a:cubicBezTo>
                    <a:pt x="1715" y="7621"/>
                    <a:pt x="834" y="5847"/>
                    <a:pt x="834" y="3882"/>
                  </a:cubicBezTo>
                  <a:cubicBezTo>
                    <a:pt x="834" y="3275"/>
                    <a:pt x="989" y="2727"/>
                    <a:pt x="1263" y="2227"/>
                  </a:cubicBezTo>
                  <a:cubicBezTo>
                    <a:pt x="1477" y="1870"/>
                    <a:pt x="1739" y="1560"/>
                    <a:pt x="2084" y="1310"/>
                  </a:cubicBezTo>
                  <a:close/>
                  <a:moveTo>
                    <a:pt x="3811" y="1"/>
                  </a:moveTo>
                  <a:cubicBezTo>
                    <a:pt x="3346" y="1"/>
                    <a:pt x="2918" y="132"/>
                    <a:pt x="2608" y="382"/>
                  </a:cubicBezTo>
                  <a:cubicBezTo>
                    <a:pt x="2453" y="489"/>
                    <a:pt x="2358" y="620"/>
                    <a:pt x="2263" y="763"/>
                  </a:cubicBezTo>
                  <a:cubicBezTo>
                    <a:pt x="1715" y="1084"/>
                    <a:pt x="1286" y="1537"/>
                    <a:pt x="1001" y="2037"/>
                  </a:cubicBezTo>
                  <a:cubicBezTo>
                    <a:pt x="691" y="2572"/>
                    <a:pt x="524" y="3192"/>
                    <a:pt x="524" y="3858"/>
                  </a:cubicBezTo>
                  <a:cubicBezTo>
                    <a:pt x="524" y="5108"/>
                    <a:pt x="870" y="6251"/>
                    <a:pt x="1144" y="6990"/>
                  </a:cubicBezTo>
                  <a:cubicBezTo>
                    <a:pt x="1358" y="7525"/>
                    <a:pt x="1548" y="7942"/>
                    <a:pt x="1667" y="8156"/>
                  </a:cubicBezTo>
                  <a:lnTo>
                    <a:pt x="810" y="8454"/>
                  </a:lnTo>
                  <a:cubicBezTo>
                    <a:pt x="334" y="8621"/>
                    <a:pt x="1" y="9073"/>
                    <a:pt x="1" y="9597"/>
                  </a:cubicBezTo>
                  <a:lnTo>
                    <a:pt x="1" y="10954"/>
                  </a:lnTo>
                  <a:cubicBezTo>
                    <a:pt x="1" y="11038"/>
                    <a:pt x="72" y="11121"/>
                    <a:pt x="167" y="11121"/>
                  </a:cubicBezTo>
                  <a:cubicBezTo>
                    <a:pt x="251" y="11121"/>
                    <a:pt x="322" y="11038"/>
                    <a:pt x="322" y="10954"/>
                  </a:cubicBezTo>
                  <a:lnTo>
                    <a:pt x="322" y="9633"/>
                  </a:lnTo>
                  <a:cubicBezTo>
                    <a:pt x="322" y="9252"/>
                    <a:pt x="560" y="8918"/>
                    <a:pt x="917" y="8799"/>
                  </a:cubicBezTo>
                  <a:lnTo>
                    <a:pt x="1191" y="8704"/>
                  </a:lnTo>
                  <a:cubicBezTo>
                    <a:pt x="1810" y="9561"/>
                    <a:pt x="2941" y="10097"/>
                    <a:pt x="4180" y="10097"/>
                  </a:cubicBezTo>
                  <a:cubicBezTo>
                    <a:pt x="4727" y="10097"/>
                    <a:pt x="5287" y="10002"/>
                    <a:pt x="5775" y="9788"/>
                  </a:cubicBezTo>
                  <a:cubicBezTo>
                    <a:pt x="5858" y="9764"/>
                    <a:pt x="5894" y="9657"/>
                    <a:pt x="5858" y="9585"/>
                  </a:cubicBezTo>
                  <a:cubicBezTo>
                    <a:pt x="5840" y="9512"/>
                    <a:pt x="5773" y="9481"/>
                    <a:pt x="5711" y="9481"/>
                  </a:cubicBezTo>
                  <a:cubicBezTo>
                    <a:pt x="5692" y="9481"/>
                    <a:pt x="5673" y="9484"/>
                    <a:pt x="5656" y="9490"/>
                  </a:cubicBezTo>
                  <a:cubicBezTo>
                    <a:pt x="5204" y="9680"/>
                    <a:pt x="4704" y="9788"/>
                    <a:pt x="4180" y="9788"/>
                  </a:cubicBezTo>
                  <a:cubicBezTo>
                    <a:pt x="3096" y="9788"/>
                    <a:pt x="2084" y="9347"/>
                    <a:pt x="1513" y="8609"/>
                  </a:cubicBezTo>
                  <a:lnTo>
                    <a:pt x="2727" y="8180"/>
                  </a:lnTo>
                  <a:cubicBezTo>
                    <a:pt x="3061" y="8061"/>
                    <a:pt x="3299" y="7740"/>
                    <a:pt x="3299" y="7383"/>
                  </a:cubicBezTo>
                  <a:lnTo>
                    <a:pt x="3299" y="6823"/>
                  </a:lnTo>
                  <a:cubicBezTo>
                    <a:pt x="3572" y="6930"/>
                    <a:pt x="3870" y="6990"/>
                    <a:pt x="4180" y="6990"/>
                  </a:cubicBezTo>
                  <a:cubicBezTo>
                    <a:pt x="4489" y="6990"/>
                    <a:pt x="4787" y="6930"/>
                    <a:pt x="5061" y="6823"/>
                  </a:cubicBezTo>
                  <a:lnTo>
                    <a:pt x="5061" y="7383"/>
                  </a:lnTo>
                  <a:cubicBezTo>
                    <a:pt x="5061" y="7740"/>
                    <a:pt x="5287" y="8061"/>
                    <a:pt x="5644" y="8180"/>
                  </a:cubicBezTo>
                  <a:lnTo>
                    <a:pt x="6847" y="8609"/>
                  </a:lnTo>
                  <a:cubicBezTo>
                    <a:pt x="6680" y="8823"/>
                    <a:pt x="6478" y="9014"/>
                    <a:pt x="6239" y="9180"/>
                  </a:cubicBezTo>
                  <a:cubicBezTo>
                    <a:pt x="6156" y="9228"/>
                    <a:pt x="6144" y="9323"/>
                    <a:pt x="6192" y="9407"/>
                  </a:cubicBezTo>
                  <a:cubicBezTo>
                    <a:pt x="6216" y="9442"/>
                    <a:pt x="6275" y="9478"/>
                    <a:pt x="6323" y="9478"/>
                  </a:cubicBezTo>
                  <a:cubicBezTo>
                    <a:pt x="6359" y="9478"/>
                    <a:pt x="6382" y="9466"/>
                    <a:pt x="6418" y="9442"/>
                  </a:cubicBezTo>
                  <a:cubicBezTo>
                    <a:pt x="6716" y="9240"/>
                    <a:pt x="6966" y="9002"/>
                    <a:pt x="7156" y="8716"/>
                  </a:cubicBezTo>
                  <a:lnTo>
                    <a:pt x="7430" y="8811"/>
                  </a:lnTo>
                  <a:cubicBezTo>
                    <a:pt x="7787" y="8930"/>
                    <a:pt x="8025" y="9264"/>
                    <a:pt x="8025" y="9645"/>
                  </a:cubicBezTo>
                  <a:lnTo>
                    <a:pt x="8025" y="10990"/>
                  </a:lnTo>
                  <a:cubicBezTo>
                    <a:pt x="8025" y="11085"/>
                    <a:pt x="8097" y="11157"/>
                    <a:pt x="8180" y="11157"/>
                  </a:cubicBezTo>
                  <a:cubicBezTo>
                    <a:pt x="8275" y="11157"/>
                    <a:pt x="8347" y="11085"/>
                    <a:pt x="8347" y="10990"/>
                  </a:cubicBezTo>
                  <a:lnTo>
                    <a:pt x="8347" y="9633"/>
                  </a:lnTo>
                  <a:cubicBezTo>
                    <a:pt x="8323" y="9109"/>
                    <a:pt x="7990" y="8657"/>
                    <a:pt x="7513" y="8478"/>
                  </a:cubicBezTo>
                  <a:lnTo>
                    <a:pt x="6620" y="8168"/>
                  </a:lnTo>
                  <a:cubicBezTo>
                    <a:pt x="6740" y="7978"/>
                    <a:pt x="7013" y="7525"/>
                    <a:pt x="7263" y="6918"/>
                  </a:cubicBezTo>
                  <a:cubicBezTo>
                    <a:pt x="7847" y="5561"/>
                    <a:pt x="7978" y="4489"/>
                    <a:pt x="7978" y="3823"/>
                  </a:cubicBezTo>
                  <a:cubicBezTo>
                    <a:pt x="7978" y="1703"/>
                    <a:pt x="6263" y="1"/>
                    <a:pt x="415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" name="Google Shape;1220;p42"/>
            <p:cNvSpPr/>
            <p:nvPr/>
          </p:nvSpPr>
          <p:spPr>
            <a:xfrm>
              <a:off x="8164972" y="2582371"/>
              <a:ext cx="43782" cy="15492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79" y="0"/>
                  </a:moveTo>
                  <a:cubicBezTo>
                    <a:pt x="140" y="0"/>
                    <a:pt x="101" y="12"/>
                    <a:pt x="72" y="36"/>
                  </a:cubicBezTo>
                  <a:cubicBezTo>
                    <a:pt x="0" y="96"/>
                    <a:pt x="0" y="203"/>
                    <a:pt x="72" y="262"/>
                  </a:cubicBezTo>
                  <a:cubicBezTo>
                    <a:pt x="203" y="393"/>
                    <a:pt x="441" y="489"/>
                    <a:pt x="703" y="489"/>
                  </a:cubicBezTo>
                  <a:cubicBezTo>
                    <a:pt x="965" y="489"/>
                    <a:pt x="1191" y="393"/>
                    <a:pt x="1346" y="262"/>
                  </a:cubicBezTo>
                  <a:cubicBezTo>
                    <a:pt x="1381" y="203"/>
                    <a:pt x="1381" y="120"/>
                    <a:pt x="1322" y="36"/>
                  </a:cubicBezTo>
                  <a:cubicBezTo>
                    <a:pt x="1292" y="12"/>
                    <a:pt x="1250" y="0"/>
                    <a:pt x="1209" y="0"/>
                  </a:cubicBezTo>
                  <a:cubicBezTo>
                    <a:pt x="1167" y="0"/>
                    <a:pt x="1125" y="12"/>
                    <a:pt x="1096" y="36"/>
                  </a:cubicBezTo>
                  <a:cubicBezTo>
                    <a:pt x="1036" y="96"/>
                    <a:pt x="881" y="179"/>
                    <a:pt x="691" y="179"/>
                  </a:cubicBezTo>
                  <a:cubicBezTo>
                    <a:pt x="488" y="179"/>
                    <a:pt x="346" y="96"/>
                    <a:pt x="286" y="36"/>
                  </a:cubicBezTo>
                  <a:cubicBezTo>
                    <a:pt x="256" y="12"/>
                    <a:pt x="218" y="0"/>
                    <a:pt x="17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" name="Google Shape;1221;p42"/>
            <p:cNvSpPr/>
            <p:nvPr/>
          </p:nvSpPr>
          <p:spPr>
            <a:xfrm>
              <a:off x="8141592" y="2519137"/>
              <a:ext cx="18501" cy="13844"/>
            </a:xfrm>
            <a:custGeom>
              <a:avLst/>
              <a:gdLst/>
              <a:ahLst/>
              <a:cxnLst/>
              <a:rect l="l" t="t" r="r" b="b"/>
              <a:pathLst>
                <a:path w="584" h="437" extrusionOk="0">
                  <a:moveTo>
                    <a:pt x="404" y="1"/>
                  </a:moveTo>
                  <a:cubicBezTo>
                    <a:pt x="381" y="1"/>
                    <a:pt x="357" y="7"/>
                    <a:pt x="333" y="20"/>
                  </a:cubicBezTo>
                  <a:lnTo>
                    <a:pt x="119" y="115"/>
                  </a:lnTo>
                  <a:cubicBezTo>
                    <a:pt x="48" y="163"/>
                    <a:pt x="0" y="258"/>
                    <a:pt x="48" y="341"/>
                  </a:cubicBezTo>
                  <a:cubicBezTo>
                    <a:pt x="71" y="401"/>
                    <a:pt x="131" y="437"/>
                    <a:pt x="191" y="437"/>
                  </a:cubicBezTo>
                  <a:cubicBezTo>
                    <a:pt x="226" y="437"/>
                    <a:pt x="238" y="437"/>
                    <a:pt x="274" y="413"/>
                  </a:cubicBezTo>
                  <a:lnTo>
                    <a:pt x="476" y="318"/>
                  </a:lnTo>
                  <a:cubicBezTo>
                    <a:pt x="548" y="270"/>
                    <a:pt x="583" y="163"/>
                    <a:pt x="548" y="91"/>
                  </a:cubicBezTo>
                  <a:cubicBezTo>
                    <a:pt x="522" y="40"/>
                    <a:pt x="465" y="1"/>
                    <a:pt x="40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" name="Google Shape;1222;p42"/>
            <p:cNvSpPr/>
            <p:nvPr/>
          </p:nvSpPr>
          <p:spPr>
            <a:xfrm>
              <a:off x="8211731" y="2518409"/>
              <a:ext cx="18881" cy="13812"/>
            </a:xfrm>
            <a:custGeom>
              <a:avLst/>
              <a:gdLst/>
              <a:ahLst/>
              <a:cxnLst/>
              <a:rect l="l" t="t" r="r" b="b"/>
              <a:pathLst>
                <a:path w="596" h="436" extrusionOk="0">
                  <a:moveTo>
                    <a:pt x="208" y="0"/>
                  </a:moveTo>
                  <a:cubicBezTo>
                    <a:pt x="148" y="0"/>
                    <a:pt x="83" y="39"/>
                    <a:pt x="48" y="91"/>
                  </a:cubicBezTo>
                  <a:cubicBezTo>
                    <a:pt x="1" y="174"/>
                    <a:pt x="48" y="269"/>
                    <a:pt x="120" y="317"/>
                  </a:cubicBezTo>
                  <a:lnTo>
                    <a:pt x="334" y="424"/>
                  </a:lnTo>
                  <a:cubicBezTo>
                    <a:pt x="358" y="436"/>
                    <a:pt x="382" y="436"/>
                    <a:pt x="405" y="436"/>
                  </a:cubicBezTo>
                  <a:cubicBezTo>
                    <a:pt x="465" y="436"/>
                    <a:pt x="524" y="412"/>
                    <a:pt x="560" y="353"/>
                  </a:cubicBezTo>
                  <a:cubicBezTo>
                    <a:pt x="596" y="257"/>
                    <a:pt x="572" y="174"/>
                    <a:pt x="477" y="126"/>
                  </a:cubicBezTo>
                  <a:lnTo>
                    <a:pt x="274" y="19"/>
                  </a:lnTo>
                  <a:cubicBezTo>
                    <a:pt x="255" y="6"/>
                    <a:pt x="232" y="0"/>
                    <a:pt x="20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3" name="Google Shape;1223;p42"/>
          <p:cNvGrpSpPr/>
          <p:nvPr/>
        </p:nvGrpSpPr>
        <p:grpSpPr>
          <a:xfrm>
            <a:off x="4435014" y="1193126"/>
            <a:ext cx="267854" cy="355735"/>
            <a:chOff x="4903389" y="1500214"/>
            <a:chExt cx="267854" cy="355735"/>
          </a:xfrm>
        </p:grpSpPr>
        <p:sp>
          <p:nvSpPr>
            <p:cNvPr id="1224" name="Google Shape;1224;p42"/>
            <p:cNvSpPr/>
            <p:nvPr/>
          </p:nvSpPr>
          <p:spPr>
            <a:xfrm>
              <a:off x="4997700" y="16118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" name="Google Shape;1225;p42"/>
            <p:cNvSpPr/>
            <p:nvPr/>
          </p:nvSpPr>
          <p:spPr>
            <a:xfrm>
              <a:off x="5064830" y="161185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6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" name="Google Shape;1226;p42"/>
            <p:cNvSpPr/>
            <p:nvPr/>
          </p:nvSpPr>
          <p:spPr>
            <a:xfrm>
              <a:off x="5013160" y="1650820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199"/>
                    <a:pt x="60" y="283"/>
                  </a:cubicBezTo>
                  <a:cubicBezTo>
                    <a:pt x="203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29" y="223"/>
                    <a:pt x="1429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" name="Google Shape;1227;p42"/>
            <p:cNvSpPr/>
            <p:nvPr/>
          </p:nvSpPr>
          <p:spPr>
            <a:xfrm>
              <a:off x="4903389" y="1500214"/>
              <a:ext cx="267854" cy="355735"/>
            </a:xfrm>
            <a:custGeom>
              <a:avLst/>
              <a:gdLst/>
              <a:ahLst/>
              <a:cxnLst/>
              <a:rect l="l" t="t" r="r" b="b"/>
              <a:pathLst>
                <a:path w="8455" h="11229" extrusionOk="0">
                  <a:moveTo>
                    <a:pt x="1382" y="3144"/>
                  </a:moveTo>
                  <a:lnTo>
                    <a:pt x="1382" y="3394"/>
                  </a:lnTo>
                  <a:cubicBezTo>
                    <a:pt x="1180" y="3489"/>
                    <a:pt x="1025" y="3691"/>
                    <a:pt x="1025" y="3941"/>
                  </a:cubicBezTo>
                  <a:cubicBezTo>
                    <a:pt x="1025" y="4275"/>
                    <a:pt x="1299" y="4537"/>
                    <a:pt x="1620" y="4537"/>
                  </a:cubicBezTo>
                  <a:lnTo>
                    <a:pt x="1739" y="4537"/>
                  </a:lnTo>
                  <a:cubicBezTo>
                    <a:pt x="1811" y="5073"/>
                    <a:pt x="2073" y="5549"/>
                    <a:pt x="2430" y="5930"/>
                  </a:cubicBezTo>
                  <a:cubicBezTo>
                    <a:pt x="2362" y="5952"/>
                    <a:pt x="2270" y="5961"/>
                    <a:pt x="2172" y="5961"/>
                  </a:cubicBezTo>
                  <a:cubicBezTo>
                    <a:pt x="2116" y="5961"/>
                    <a:pt x="2058" y="5958"/>
                    <a:pt x="2001" y="5954"/>
                  </a:cubicBezTo>
                  <a:cubicBezTo>
                    <a:pt x="1656" y="5894"/>
                    <a:pt x="1370" y="5644"/>
                    <a:pt x="1251" y="5299"/>
                  </a:cubicBezTo>
                  <a:cubicBezTo>
                    <a:pt x="1203" y="5168"/>
                    <a:pt x="1192" y="5037"/>
                    <a:pt x="1203" y="4894"/>
                  </a:cubicBezTo>
                  <a:cubicBezTo>
                    <a:pt x="1215" y="4715"/>
                    <a:pt x="1144" y="4537"/>
                    <a:pt x="989" y="4442"/>
                  </a:cubicBezTo>
                  <a:cubicBezTo>
                    <a:pt x="751" y="4275"/>
                    <a:pt x="620" y="3989"/>
                    <a:pt x="691" y="3703"/>
                  </a:cubicBezTo>
                  <a:cubicBezTo>
                    <a:pt x="751" y="3429"/>
                    <a:pt x="965" y="3203"/>
                    <a:pt x="1251" y="3156"/>
                  </a:cubicBezTo>
                  <a:cubicBezTo>
                    <a:pt x="1299" y="3144"/>
                    <a:pt x="1334" y="3144"/>
                    <a:pt x="1382" y="3144"/>
                  </a:cubicBezTo>
                  <a:close/>
                  <a:moveTo>
                    <a:pt x="7002" y="3144"/>
                  </a:moveTo>
                  <a:cubicBezTo>
                    <a:pt x="7037" y="3144"/>
                    <a:pt x="7085" y="3144"/>
                    <a:pt x="7145" y="3156"/>
                  </a:cubicBezTo>
                  <a:cubicBezTo>
                    <a:pt x="7430" y="3203"/>
                    <a:pt x="7669" y="3441"/>
                    <a:pt x="7716" y="3703"/>
                  </a:cubicBezTo>
                  <a:cubicBezTo>
                    <a:pt x="7776" y="3989"/>
                    <a:pt x="7657" y="4275"/>
                    <a:pt x="7418" y="4442"/>
                  </a:cubicBezTo>
                  <a:cubicBezTo>
                    <a:pt x="7264" y="4537"/>
                    <a:pt x="7180" y="4715"/>
                    <a:pt x="7192" y="4894"/>
                  </a:cubicBezTo>
                  <a:cubicBezTo>
                    <a:pt x="7204" y="5037"/>
                    <a:pt x="7192" y="5168"/>
                    <a:pt x="7145" y="5299"/>
                  </a:cubicBezTo>
                  <a:cubicBezTo>
                    <a:pt x="7037" y="5632"/>
                    <a:pt x="6740" y="5894"/>
                    <a:pt x="6406" y="5954"/>
                  </a:cubicBezTo>
                  <a:cubicBezTo>
                    <a:pt x="6348" y="5966"/>
                    <a:pt x="6290" y="5971"/>
                    <a:pt x="6233" y="5971"/>
                  </a:cubicBezTo>
                  <a:cubicBezTo>
                    <a:pt x="6126" y="5971"/>
                    <a:pt x="6023" y="5953"/>
                    <a:pt x="5930" y="5930"/>
                  </a:cubicBezTo>
                  <a:cubicBezTo>
                    <a:pt x="6287" y="5549"/>
                    <a:pt x="6537" y="5073"/>
                    <a:pt x="6609" y="4537"/>
                  </a:cubicBezTo>
                  <a:lnTo>
                    <a:pt x="6728" y="4537"/>
                  </a:lnTo>
                  <a:cubicBezTo>
                    <a:pt x="7061" y="4537"/>
                    <a:pt x="7323" y="4275"/>
                    <a:pt x="7323" y="3941"/>
                  </a:cubicBezTo>
                  <a:cubicBezTo>
                    <a:pt x="7323" y="3703"/>
                    <a:pt x="7168" y="3501"/>
                    <a:pt x="6966" y="3394"/>
                  </a:cubicBezTo>
                  <a:lnTo>
                    <a:pt x="6966" y="3144"/>
                  </a:lnTo>
                  <a:close/>
                  <a:moveTo>
                    <a:pt x="4216" y="346"/>
                  </a:moveTo>
                  <a:cubicBezTo>
                    <a:pt x="5585" y="346"/>
                    <a:pt x="6680" y="1441"/>
                    <a:pt x="6680" y="2810"/>
                  </a:cubicBezTo>
                  <a:lnTo>
                    <a:pt x="6680" y="3346"/>
                  </a:lnTo>
                  <a:lnTo>
                    <a:pt x="6668" y="3346"/>
                  </a:lnTo>
                  <a:cubicBezTo>
                    <a:pt x="6502" y="3346"/>
                    <a:pt x="6347" y="3322"/>
                    <a:pt x="6192" y="3287"/>
                  </a:cubicBezTo>
                  <a:cubicBezTo>
                    <a:pt x="6180" y="3283"/>
                    <a:pt x="6167" y="3281"/>
                    <a:pt x="6154" y="3281"/>
                  </a:cubicBezTo>
                  <a:cubicBezTo>
                    <a:pt x="6081" y="3281"/>
                    <a:pt x="6008" y="3335"/>
                    <a:pt x="5978" y="3406"/>
                  </a:cubicBezTo>
                  <a:cubicBezTo>
                    <a:pt x="5954" y="3501"/>
                    <a:pt x="6014" y="3584"/>
                    <a:pt x="6097" y="3620"/>
                  </a:cubicBezTo>
                  <a:cubicBezTo>
                    <a:pt x="6299" y="3680"/>
                    <a:pt x="6490" y="3691"/>
                    <a:pt x="6668" y="3691"/>
                  </a:cubicBezTo>
                  <a:lnTo>
                    <a:pt x="6752" y="3691"/>
                  </a:lnTo>
                  <a:cubicBezTo>
                    <a:pt x="6907" y="3691"/>
                    <a:pt x="7026" y="3810"/>
                    <a:pt x="7026" y="3965"/>
                  </a:cubicBezTo>
                  <a:cubicBezTo>
                    <a:pt x="7026" y="4108"/>
                    <a:pt x="6907" y="4227"/>
                    <a:pt x="6752" y="4227"/>
                  </a:cubicBezTo>
                  <a:lnTo>
                    <a:pt x="6656" y="4227"/>
                  </a:lnTo>
                  <a:lnTo>
                    <a:pt x="6656" y="4215"/>
                  </a:lnTo>
                  <a:cubicBezTo>
                    <a:pt x="6656" y="4120"/>
                    <a:pt x="6573" y="4049"/>
                    <a:pt x="6490" y="4049"/>
                  </a:cubicBezTo>
                  <a:cubicBezTo>
                    <a:pt x="6395" y="4049"/>
                    <a:pt x="6323" y="4120"/>
                    <a:pt x="6323" y="4215"/>
                  </a:cubicBezTo>
                  <a:cubicBezTo>
                    <a:pt x="6323" y="5370"/>
                    <a:pt x="5371" y="6323"/>
                    <a:pt x="4216" y="6323"/>
                  </a:cubicBezTo>
                  <a:cubicBezTo>
                    <a:pt x="3037" y="6311"/>
                    <a:pt x="2084" y="5358"/>
                    <a:pt x="2084" y="4203"/>
                  </a:cubicBezTo>
                  <a:cubicBezTo>
                    <a:pt x="2084" y="4108"/>
                    <a:pt x="2013" y="4037"/>
                    <a:pt x="1918" y="4037"/>
                  </a:cubicBezTo>
                  <a:cubicBezTo>
                    <a:pt x="1834" y="4037"/>
                    <a:pt x="1763" y="4108"/>
                    <a:pt x="1763" y="4203"/>
                  </a:cubicBezTo>
                  <a:lnTo>
                    <a:pt x="1763" y="4215"/>
                  </a:lnTo>
                  <a:lnTo>
                    <a:pt x="1656" y="4215"/>
                  </a:lnTo>
                  <a:cubicBezTo>
                    <a:pt x="1501" y="4215"/>
                    <a:pt x="1382" y="4096"/>
                    <a:pt x="1382" y="3941"/>
                  </a:cubicBezTo>
                  <a:cubicBezTo>
                    <a:pt x="1382" y="3799"/>
                    <a:pt x="1501" y="3680"/>
                    <a:pt x="1656" y="3680"/>
                  </a:cubicBezTo>
                  <a:lnTo>
                    <a:pt x="1739" y="3680"/>
                  </a:lnTo>
                  <a:cubicBezTo>
                    <a:pt x="2918" y="3680"/>
                    <a:pt x="3847" y="2667"/>
                    <a:pt x="4180" y="2215"/>
                  </a:cubicBezTo>
                  <a:lnTo>
                    <a:pt x="4216" y="2215"/>
                  </a:lnTo>
                  <a:cubicBezTo>
                    <a:pt x="4418" y="2489"/>
                    <a:pt x="4871" y="2977"/>
                    <a:pt x="5454" y="3322"/>
                  </a:cubicBezTo>
                  <a:cubicBezTo>
                    <a:pt x="5476" y="3337"/>
                    <a:pt x="5502" y="3344"/>
                    <a:pt x="5528" y="3344"/>
                  </a:cubicBezTo>
                  <a:cubicBezTo>
                    <a:pt x="5586" y="3344"/>
                    <a:pt x="5644" y="3312"/>
                    <a:pt x="5668" y="3263"/>
                  </a:cubicBezTo>
                  <a:cubicBezTo>
                    <a:pt x="5716" y="3191"/>
                    <a:pt x="5680" y="3084"/>
                    <a:pt x="5609" y="3037"/>
                  </a:cubicBezTo>
                  <a:cubicBezTo>
                    <a:pt x="5073" y="2727"/>
                    <a:pt x="4680" y="2263"/>
                    <a:pt x="4478" y="2025"/>
                  </a:cubicBezTo>
                  <a:cubicBezTo>
                    <a:pt x="4418" y="1929"/>
                    <a:pt x="4323" y="1894"/>
                    <a:pt x="4216" y="1894"/>
                  </a:cubicBezTo>
                  <a:cubicBezTo>
                    <a:pt x="4109" y="1894"/>
                    <a:pt x="4001" y="1941"/>
                    <a:pt x="3942" y="2025"/>
                  </a:cubicBezTo>
                  <a:cubicBezTo>
                    <a:pt x="2989" y="3227"/>
                    <a:pt x="2096" y="3346"/>
                    <a:pt x="1763" y="3346"/>
                  </a:cubicBezTo>
                  <a:lnTo>
                    <a:pt x="1739" y="3346"/>
                  </a:lnTo>
                  <a:lnTo>
                    <a:pt x="1739" y="2810"/>
                  </a:lnTo>
                  <a:cubicBezTo>
                    <a:pt x="1739" y="1453"/>
                    <a:pt x="2846" y="346"/>
                    <a:pt x="4216" y="346"/>
                  </a:cubicBezTo>
                  <a:close/>
                  <a:moveTo>
                    <a:pt x="5085" y="6477"/>
                  </a:moveTo>
                  <a:lnTo>
                    <a:pt x="5085" y="7359"/>
                  </a:lnTo>
                  <a:cubicBezTo>
                    <a:pt x="5085" y="7847"/>
                    <a:pt x="4692" y="8252"/>
                    <a:pt x="4192" y="8252"/>
                  </a:cubicBezTo>
                  <a:cubicBezTo>
                    <a:pt x="3704" y="8252"/>
                    <a:pt x="3299" y="7847"/>
                    <a:pt x="3299" y="7359"/>
                  </a:cubicBezTo>
                  <a:lnTo>
                    <a:pt x="3299" y="6477"/>
                  </a:lnTo>
                  <a:cubicBezTo>
                    <a:pt x="3573" y="6585"/>
                    <a:pt x="3882" y="6644"/>
                    <a:pt x="4192" y="6644"/>
                  </a:cubicBezTo>
                  <a:cubicBezTo>
                    <a:pt x="4513" y="6644"/>
                    <a:pt x="4811" y="6585"/>
                    <a:pt x="5085" y="6477"/>
                  </a:cubicBezTo>
                  <a:close/>
                  <a:moveTo>
                    <a:pt x="5430" y="7061"/>
                  </a:moveTo>
                  <a:lnTo>
                    <a:pt x="5883" y="7204"/>
                  </a:lnTo>
                  <a:cubicBezTo>
                    <a:pt x="5954" y="7239"/>
                    <a:pt x="6002" y="7299"/>
                    <a:pt x="6002" y="7370"/>
                  </a:cubicBezTo>
                  <a:cubicBezTo>
                    <a:pt x="6014" y="7990"/>
                    <a:pt x="5883" y="8502"/>
                    <a:pt x="5752" y="8799"/>
                  </a:cubicBezTo>
                  <a:cubicBezTo>
                    <a:pt x="5664" y="9003"/>
                    <a:pt x="5465" y="9128"/>
                    <a:pt x="5259" y="9128"/>
                  </a:cubicBezTo>
                  <a:cubicBezTo>
                    <a:pt x="5213" y="9128"/>
                    <a:pt x="5166" y="9122"/>
                    <a:pt x="5121" y="9109"/>
                  </a:cubicBezTo>
                  <a:lnTo>
                    <a:pt x="4240" y="8883"/>
                  </a:lnTo>
                  <a:lnTo>
                    <a:pt x="4168" y="8883"/>
                  </a:lnTo>
                  <a:lnTo>
                    <a:pt x="3287" y="9109"/>
                  </a:lnTo>
                  <a:cubicBezTo>
                    <a:pt x="3247" y="9118"/>
                    <a:pt x="3205" y="9123"/>
                    <a:pt x="3164" y="9123"/>
                  </a:cubicBezTo>
                  <a:cubicBezTo>
                    <a:pt x="2953" y="9123"/>
                    <a:pt x="2748" y="8999"/>
                    <a:pt x="2668" y="8799"/>
                  </a:cubicBezTo>
                  <a:cubicBezTo>
                    <a:pt x="2525" y="8490"/>
                    <a:pt x="2394" y="7990"/>
                    <a:pt x="2430" y="7370"/>
                  </a:cubicBezTo>
                  <a:cubicBezTo>
                    <a:pt x="2430" y="7299"/>
                    <a:pt x="2489" y="7216"/>
                    <a:pt x="2549" y="7204"/>
                  </a:cubicBezTo>
                  <a:lnTo>
                    <a:pt x="2989" y="7061"/>
                  </a:lnTo>
                  <a:lnTo>
                    <a:pt x="2989" y="7359"/>
                  </a:lnTo>
                  <a:cubicBezTo>
                    <a:pt x="2989" y="8025"/>
                    <a:pt x="3537" y="8573"/>
                    <a:pt x="4216" y="8573"/>
                  </a:cubicBezTo>
                  <a:cubicBezTo>
                    <a:pt x="4882" y="8573"/>
                    <a:pt x="5430" y="8025"/>
                    <a:pt x="5430" y="7359"/>
                  </a:cubicBezTo>
                  <a:lnTo>
                    <a:pt x="5430" y="7061"/>
                  </a:lnTo>
                  <a:close/>
                  <a:moveTo>
                    <a:pt x="4204" y="0"/>
                  </a:moveTo>
                  <a:cubicBezTo>
                    <a:pt x="2656" y="0"/>
                    <a:pt x="1406" y="1251"/>
                    <a:pt x="1406" y="2798"/>
                  </a:cubicBezTo>
                  <a:lnTo>
                    <a:pt x="1406" y="2810"/>
                  </a:lnTo>
                  <a:cubicBezTo>
                    <a:pt x="1346" y="2810"/>
                    <a:pt x="1263" y="2810"/>
                    <a:pt x="1203" y="2822"/>
                  </a:cubicBezTo>
                  <a:cubicBezTo>
                    <a:pt x="787" y="2906"/>
                    <a:pt x="453" y="3227"/>
                    <a:pt x="370" y="3644"/>
                  </a:cubicBezTo>
                  <a:cubicBezTo>
                    <a:pt x="287" y="4061"/>
                    <a:pt x="465" y="4477"/>
                    <a:pt x="811" y="4715"/>
                  </a:cubicBezTo>
                  <a:cubicBezTo>
                    <a:pt x="870" y="4751"/>
                    <a:pt x="894" y="4823"/>
                    <a:pt x="882" y="4882"/>
                  </a:cubicBezTo>
                  <a:cubicBezTo>
                    <a:pt x="870" y="5061"/>
                    <a:pt x="882" y="5239"/>
                    <a:pt x="941" y="5418"/>
                  </a:cubicBezTo>
                  <a:cubicBezTo>
                    <a:pt x="1084" y="5858"/>
                    <a:pt x="1477" y="6204"/>
                    <a:pt x="1942" y="6299"/>
                  </a:cubicBezTo>
                  <a:cubicBezTo>
                    <a:pt x="2013" y="6311"/>
                    <a:pt x="2096" y="6311"/>
                    <a:pt x="2180" y="6311"/>
                  </a:cubicBezTo>
                  <a:cubicBezTo>
                    <a:pt x="2370" y="6311"/>
                    <a:pt x="2561" y="6263"/>
                    <a:pt x="2739" y="6180"/>
                  </a:cubicBezTo>
                  <a:cubicBezTo>
                    <a:pt x="2811" y="6239"/>
                    <a:pt x="2894" y="6275"/>
                    <a:pt x="2977" y="6323"/>
                  </a:cubicBezTo>
                  <a:lnTo>
                    <a:pt x="2977" y="6716"/>
                  </a:lnTo>
                  <a:lnTo>
                    <a:pt x="2430" y="6906"/>
                  </a:lnTo>
                  <a:cubicBezTo>
                    <a:pt x="2239" y="6978"/>
                    <a:pt x="2096" y="7156"/>
                    <a:pt x="2084" y="7370"/>
                  </a:cubicBezTo>
                  <a:lnTo>
                    <a:pt x="2084" y="7394"/>
                  </a:lnTo>
                  <a:lnTo>
                    <a:pt x="822" y="7847"/>
                  </a:lnTo>
                  <a:cubicBezTo>
                    <a:pt x="334" y="8025"/>
                    <a:pt x="1" y="8466"/>
                    <a:pt x="1" y="8990"/>
                  </a:cubicBezTo>
                  <a:lnTo>
                    <a:pt x="1" y="11061"/>
                  </a:lnTo>
                  <a:cubicBezTo>
                    <a:pt x="1" y="11145"/>
                    <a:pt x="72" y="11228"/>
                    <a:pt x="168" y="11228"/>
                  </a:cubicBezTo>
                  <a:cubicBezTo>
                    <a:pt x="251" y="11228"/>
                    <a:pt x="334" y="11145"/>
                    <a:pt x="334" y="11061"/>
                  </a:cubicBezTo>
                  <a:lnTo>
                    <a:pt x="334" y="8990"/>
                  </a:lnTo>
                  <a:cubicBezTo>
                    <a:pt x="334" y="8883"/>
                    <a:pt x="346" y="8787"/>
                    <a:pt x="394" y="8680"/>
                  </a:cubicBezTo>
                  <a:lnTo>
                    <a:pt x="1227" y="9395"/>
                  </a:lnTo>
                  <a:cubicBezTo>
                    <a:pt x="1346" y="9490"/>
                    <a:pt x="1418" y="9645"/>
                    <a:pt x="1418" y="9787"/>
                  </a:cubicBezTo>
                  <a:lnTo>
                    <a:pt x="1418" y="11061"/>
                  </a:lnTo>
                  <a:cubicBezTo>
                    <a:pt x="1418" y="11145"/>
                    <a:pt x="1489" y="11228"/>
                    <a:pt x="1584" y="11228"/>
                  </a:cubicBezTo>
                  <a:cubicBezTo>
                    <a:pt x="1668" y="11228"/>
                    <a:pt x="1739" y="11145"/>
                    <a:pt x="1739" y="11061"/>
                  </a:cubicBezTo>
                  <a:lnTo>
                    <a:pt x="1739" y="9787"/>
                  </a:lnTo>
                  <a:cubicBezTo>
                    <a:pt x="1739" y="9537"/>
                    <a:pt x="1644" y="9299"/>
                    <a:pt x="1442" y="9144"/>
                  </a:cubicBezTo>
                  <a:lnTo>
                    <a:pt x="584" y="8394"/>
                  </a:lnTo>
                  <a:cubicBezTo>
                    <a:pt x="668" y="8287"/>
                    <a:pt x="811" y="8204"/>
                    <a:pt x="941" y="8156"/>
                  </a:cubicBezTo>
                  <a:lnTo>
                    <a:pt x="2096" y="7751"/>
                  </a:lnTo>
                  <a:cubicBezTo>
                    <a:pt x="2132" y="8263"/>
                    <a:pt x="2251" y="8680"/>
                    <a:pt x="2370" y="8942"/>
                  </a:cubicBezTo>
                  <a:cubicBezTo>
                    <a:pt x="2508" y="9277"/>
                    <a:pt x="2825" y="9481"/>
                    <a:pt x="3167" y="9481"/>
                  </a:cubicBezTo>
                  <a:cubicBezTo>
                    <a:pt x="3238" y="9481"/>
                    <a:pt x="3310" y="9473"/>
                    <a:pt x="3382" y="9454"/>
                  </a:cubicBezTo>
                  <a:lnTo>
                    <a:pt x="4061" y="9287"/>
                  </a:lnTo>
                  <a:lnTo>
                    <a:pt x="4061" y="9823"/>
                  </a:lnTo>
                  <a:cubicBezTo>
                    <a:pt x="4061" y="9918"/>
                    <a:pt x="4144" y="9990"/>
                    <a:pt x="4228" y="9990"/>
                  </a:cubicBezTo>
                  <a:cubicBezTo>
                    <a:pt x="4311" y="9990"/>
                    <a:pt x="4394" y="9918"/>
                    <a:pt x="4394" y="9823"/>
                  </a:cubicBezTo>
                  <a:lnTo>
                    <a:pt x="4394" y="9287"/>
                  </a:lnTo>
                  <a:lnTo>
                    <a:pt x="5073" y="9454"/>
                  </a:lnTo>
                  <a:cubicBezTo>
                    <a:pt x="5144" y="9466"/>
                    <a:pt x="5228" y="9478"/>
                    <a:pt x="5287" y="9478"/>
                  </a:cubicBezTo>
                  <a:cubicBezTo>
                    <a:pt x="5621" y="9478"/>
                    <a:pt x="5942" y="9275"/>
                    <a:pt x="6085" y="8942"/>
                  </a:cubicBezTo>
                  <a:cubicBezTo>
                    <a:pt x="6204" y="8680"/>
                    <a:pt x="6323" y="8263"/>
                    <a:pt x="6359" y="7751"/>
                  </a:cubicBezTo>
                  <a:lnTo>
                    <a:pt x="7514" y="8156"/>
                  </a:lnTo>
                  <a:cubicBezTo>
                    <a:pt x="7669" y="8204"/>
                    <a:pt x="7788" y="8287"/>
                    <a:pt x="7871" y="8394"/>
                  </a:cubicBezTo>
                  <a:lnTo>
                    <a:pt x="7014" y="9133"/>
                  </a:lnTo>
                  <a:cubicBezTo>
                    <a:pt x="6823" y="9299"/>
                    <a:pt x="6716" y="9537"/>
                    <a:pt x="6716" y="9787"/>
                  </a:cubicBezTo>
                  <a:lnTo>
                    <a:pt x="6716" y="11061"/>
                  </a:lnTo>
                  <a:cubicBezTo>
                    <a:pt x="6716" y="11145"/>
                    <a:pt x="6787" y="11216"/>
                    <a:pt x="6871" y="11216"/>
                  </a:cubicBezTo>
                  <a:cubicBezTo>
                    <a:pt x="6966" y="11216"/>
                    <a:pt x="7037" y="11145"/>
                    <a:pt x="7037" y="11061"/>
                  </a:cubicBezTo>
                  <a:lnTo>
                    <a:pt x="7037" y="9787"/>
                  </a:lnTo>
                  <a:cubicBezTo>
                    <a:pt x="7037" y="9633"/>
                    <a:pt x="7109" y="9478"/>
                    <a:pt x="7228" y="9395"/>
                  </a:cubicBezTo>
                  <a:lnTo>
                    <a:pt x="8061" y="8680"/>
                  </a:lnTo>
                  <a:cubicBezTo>
                    <a:pt x="8097" y="8775"/>
                    <a:pt x="8121" y="8883"/>
                    <a:pt x="8121" y="8990"/>
                  </a:cubicBezTo>
                  <a:lnTo>
                    <a:pt x="8121" y="11061"/>
                  </a:lnTo>
                  <a:cubicBezTo>
                    <a:pt x="8121" y="11145"/>
                    <a:pt x="8204" y="11216"/>
                    <a:pt x="8288" y="11216"/>
                  </a:cubicBezTo>
                  <a:cubicBezTo>
                    <a:pt x="8383" y="11216"/>
                    <a:pt x="8454" y="11145"/>
                    <a:pt x="8454" y="11061"/>
                  </a:cubicBezTo>
                  <a:lnTo>
                    <a:pt x="8454" y="8990"/>
                  </a:lnTo>
                  <a:cubicBezTo>
                    <a:pt x="8395" y="8466"/>
                    <a:pt x="8061" y="8013"/>
                    <a:pt x="7573" y="7847"/>
                  </a:cubicBezTo>
                  <a:lnTo>
                    <a:pt x="6311" y="7394"/>
                  </a:lnTo>
                  <a:lnTo>
                    <a:pt x="6311" y="7370"/>
                  </a:lnTo>
                  <a:cubicBezTo>
                    <a:pt x="6299" y="7156"/>
                    <a:pt x="6168" y="6978"/>
                    <a:pt x="5966" y="6906"/>
                  </a:cubicBezTo>
                  <a:lnTo>
                    <a:pt x="5418" y="6716"/>
                  </a:lnTo>
                  <a:lnTo>
                    <a:pt x="5418" y="6323"/>
                  </a:lnTo>
                  <a:cubicBezTo>
                    <a:pt x="5502" y="6275"/>
                    <a:pt x="5585" y="6216"/>
                    <a:pt x="5656" y="6180"/>
                  </a:cubicBezTo>
                  <a:cubicBezTo>
                    <a:pt x="5835" y="6263"/>
                    <a:pt x="6025" y="6311"/>
                    <a:pt x="6216" y="6311"/>
                  </a:cubicBezTo>
                  <a:cubicBezTo>
                    <a:pt x="6299" y="6311"/>
                    <a:pt x="6383" y="6311"/>
                    <a:pt x="6454" y="6299"/>
                  </a:cubicBezTo>
                  <a:cubicBezTo>
                    <a:pt x="6918" y="6204"/>
                    <a:pt x="7311" y="5858"/>
                    <a:pt x="7454" y="5418"/>
                  </a:cubicBezTo>
                  <a:cubicBezTo>
                    <a:pt x="7514" y="5239"/>
                    <a:pt x="7526" y="5061"/>
                    <a:pt x="7514" y="4882"/>
                  </a:cubicBezTo>
                  <a:cubicBezTo>
                    <a:pt x="7514" y="4823"/>
                    <a:pt x="7549" y="4751"/>
                    <a:pt x="7585" y="4715"/>
                  </a:cubicBezTo>
                  <a:cubicBezTo>
                    <a:pt x="7954" y="4477"/>
                    <a:pt x="8109" y="4061"/>
                    <a:pt x="8026" y="3644"/>
                  </a:cubicBezTo>
                  <a:cubicBezTo>
                    <a:pt x="7930" y="3227"/>
                    <a:pt x="7609" y="2906"/>
                    <a:pt x="7192" y="2822"/>
                  </a:cubicBezTo>
                  <a:cubicBezTo>
                    <a:pt x="7133" y="2810"/>
                    <a:pt x="7061" y="2810"/>
                    <a:pt x="7002" y="2810"/>
                  </a:cubicBezTo>
                  <a:lnTo>
                    <a:pt x="7002" y="2798"/>
                  </a:lnTo>
                  <a:cubicBezTo>
                    <a:pt x="7002" y="1251"/>
                    <a:pt x="5752" y="0"/>
                    <a:pt x="420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" name="Google Shape;1228;p42"/>
            <p:cNvSpPr/>
            <p:nvPr/>
          </p:nvSpPr>
          <p:spPr>
            <a:xfrm>
              <a:off x="5031281" y="182800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0" y="0"/>
                    <a:pt x="1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3" name="Google Shape;1233;p43"/>
          <p:cNvCxnSpPr>
            <a:endCxn id="1234" idx="1"/>
          </p:cNvCxnSpPr>
          <p:nvPr/>
        </p:nvCxnSpPr>
        <p:spPr>
          <a:xfrm rot="5400000" flipH="1">
            <a:off x="1203175" y="2002350"/>
            <a:ext cx="2287800" cy="1226700"/>
          </a:xfrm>
          <a:prstGeom prst="bentConnector4">
            <a:avLst>
              <a:gd name="adj1" fmla="val 23940"/>
              <a:gd name="adj2" fmla="val 119412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234" name="Google Shape;1234;p43"/>
          <p:cNvSpPr txBox="1">
            <a:spLocks noGrp="1"/>
          </p:cNvSpPr>
          <p:nvPr>
            <p:ph type="title"/>
          </p:nvPr>
        </p:nvSpPr>
        <p:spPr>
          <a:xfrm>
            <a:off x="1733725" y="856650"/>
            <a:ext cx="5676600" cy="1230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4,498,300,000</a:t>
            </a:r>
            <a:endParaRPr/>
          </a:p>
        </p:txBody>
      </p:sp>
      <p:sp>
        <p:nvSpPr>
          <p:cNvPr id="1235" name="Google Shape;1235;p43"/>
          <p:cNvSpPr txBox="1">
            <a:spLocks noGrp="1"/>
          </p:cNvSpPr>
          <p:nvPr>
            <p:ph type="body" idx="1"/>
          </p:nvPr>
        </p:nvSpPr>
        <p:spPr>
          <a:xfrm>
            <a:off x="3208075" y="2086950"/>
            <a:ext cx="2727900" cy="7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"/>
              <a:t>Big numbers catch your audience’s attention</a:t>
            </a:r>
            <a:endParaRPr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44"/>
          <p:cNvSpPr/>
          <p:nvPr/>
        </p:nvSpPr>
        <p:spPr>
          <a:xfrm>
            <a:off x="819303" y="2003575"/>
            <a:ext cx="7524000" cy="21252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1" name="Google Shape;1241;p44"/>
          <p:cNvSpPr/>
          <p:nvPr/>
        </p:nvSpPr>
        <p:spPr>
          <a:xfrm>
            <a:off x="952957" y="2111850"/>
            <a:ext cx="7256700" cy="19437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2" name="Google Shape;1242;p4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WARDS</a:t>
            </a:r>
            <a:endParaRPr/>
          </a:p>
        </p:txBody>
      </p:sp>
      <p:graphicFrame>
        <p:nvGraphicFramePr>
          <p:cNvPr id="1243" name="Google Shape;1243;p44"/>
          <p:cNvGraphicFramePr/>
          <p:nvPr/>
        </p:nvGraphicFramePr>
        <p:xfrm>
          <a:off x="819303" y="1415757"/>
          <a:ext cx="7239000" cy="26599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1901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649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ATE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REASON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ESCRIPTION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2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MERCURY</a:t>
                      </a:r>
                      <a:endParaRPr sz="2000">
                        <a:solidFill>
                          <a:schemeClr val="accent2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0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Jupiter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It’s the closest planet to the Sun and the smallest on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1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MARS</a:t>
                      </a:r>
                      <a:endParaRPr sz="2000">
                        <a:solidFill>
                          <a:schemeClr val="accent1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2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Neptun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espite being red, Mars is actually a cold plac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3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VENUS</a:t>
                      </a:r>
                      <a:endParaRPr sz="2000">
                        <a:solidFill>
                          <a:schemeClr val="accent3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6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Saturn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It has a nice name and is the second planet from the Sun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244" name="Google Shape;1244;p44"/>
          <p:cNvGrpSpPr/>
          <p:nvPr/>
        </p:nvGrpSpPr>
        <p:grpSpPr>
          <a:xfrm>
            <a:off x="4932526" y="4128777"/>
            <a:ext cx="936653" cy="1300131"/>
            <a:chOff x="4882900" y="-64350"/>
            <a:chExt cx="2493750" cy="2922300"/>
          </a:xfrm>
        </p:grpSpPr>
        <p:sp>
          <p:nvSpPr>
            <p:cNvPr id="1245" name="Google Shape;1245;p44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" name="Google Shape;1246;p44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" name="Google Shape;1247;p44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" name="Google Shape;1248;p44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" name="Google Shape;1249;p44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4" name="Google Shape;1254;p45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UPCOMING GOALS</a:t>
            </a:r>
            <a:endParaRPr sz="3000"/>
          </a:p>
        </p:txBody>
      </p:sp>
      <p:sp>
        <p:nvSpPr>
          <p:cNvPr id="1255" name="Google Shape;1255;p45"/>
          <p:cNvSpPr txBox="1">
            <a:spLocks noGrp="1"/>
          </p:cNvSpPr>
          <p:nvPr>
            <p:ph type="ctrTitle" idx="2"/>
          </p:nvPr>
        </p:nvSpPr>
        <p:spPr>
          <a:xfrm>
            <a:off x="3623778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256" name="Google Shape;1256;p45"/>
          <p:cNvSpPr txBox="1">
            <a:spLocks noGrp="1"/>
          </p:cNvSpPr>
          <p:nvPr>
            <p:ph type="ctrTitle"/>
          </p:nvPr>
        </p:nvSpPr>
        <p:spPr>
          <a:xfrm>
            <a:off x="1011830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UPITER</a:t>
            </a:r>
            <a:endParaRPr/>
          </a:p>
        </p:txBody>
      </p:sp>
      <p:sp>
        <p:nvSpPr>
          <p:cNvPr id="1257" name="Google Shape;1257;p45"/>
          <p:cNvSpPr txBox="1">
            <a:spLocks noGrp="1"/>
          </p:cNvSpPr>
          <p:nvPr>
            <p:ph type="subTitle" idx="1"/>
          </p:nvPr>
        </p:nvSpPr>
        <p:spPr>
          <a:xfrm>
            <a:off x="1011830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biggest planet in the Solar System</a:t>
            </a:r>
            <a:endParaRPr/>
          </a:p>
        </p:txBody>
      </p:sp>
      <p:sp>
        <p:nvSpPr>
          <p:cNvPr id="1258" name="Google Shape;1258;p45"/>
          <p:cNvSpPr txBox="1">
            <a:spLocks noGrp="1"/>
          </p:cNvSpPr>
          <p:nvPr>
            <p:ph type="subTitle" idx="3"/>
          </p:nvPr>
        </p:nvSpPr>
        <p:spPr>
          <a:xfrm>
            <a:off x="3623778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composed mostly of hydrogen and helium</a:t>
            </a:r>
            <a:endParaRPr/>
          </a:p>
        </p:txBody>
      </p:sp>
      <p:sp>
        <p:nvSpPr>
          <p:cNvPr id="1259" name="Google Shape;1259;p45"/>
          <p:cNvSpPr txBox="1">
            <a:spLocks noGrp="1"/>
          </p:cNvSpPr>
          <p:nvPr>
            <p:ph type="ctrTitle" idx="4"/>
          </p:nvPr>
        </p:nvSpPr>
        <p:spPr>
          <a:xfrm>
            <a:off x="6245198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1260" name="Google Shape;1260;p45"/>
          <p:cNvSpPr txBox="1">
            <a:spLocks noGrp="1"/>
          </p:cNvSpPr>
          <p:nvPr>
            <p:ph type="subTitle" idx="5"/>
          </p:nvPr>
        </p:nvSpPr>
        <p:spPr>
          <a:xfrm>
            <a:off x="6245198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 is the farthest planet from the Sun</a:t>
            </a:r>
            <a:endParaRPr/>
          </a:p>
        </p:txBody>
      </p:sp>
      <p:grpSp>
        <p:nvGrpSpPr>
          <p:cNvPr id="1261" name="Google Shape;1261;p45"/>
          <p:cNvGrpSpPr/>
          <p:nvPr/>
        </p:nvGrpSpPr>
        <p:grpSpPr>
          <a:xfrm>
            <a:off x="3689974" y="2403057"/>
            <a:ext cx="1748907" cy="960537"/>
            <a:chOff x="2534925" y="2231825"/>
            <a:chExt cx="889350" cy="488475"/>
          </a:xfrm>
        </p:grpSpPr>
        <p:sp>
          <p:nvSpPr>
            <p:cNvPr id="1262" name="Google Shape;1262;p45"/>
            <p:cNvSpPr/>
            <p:nvPr/>
          </p:nvSpPr>
          <p:spPr>
            <a:xfrm>
              <a:off x="3334150" y="2674775"/>
              <a:ext cx="90125" cy="21125"/>
            </a:xfrm>
            <a:custGeom>
              <a:avLst/>
              <a:gdLst/>
              <a:ahLst/>
              <a:cxnLst/>
              <a:rect l="l" t="t" r="r" b="b"/>
              <a:pathLst>
                <a:path w="3605" h="845" extrusionOk="0">
                  <a:moveTo>
                    <a:pt x="353" y="0"/>
                  </a:moveTo>
                  <a:cubicBezTo>
                    <a:pt x="164" y="0"/>
                    <a:pt x="13" y="151"/>
                    <a:pt x="0" y="340"/>
                  </a:cubicBezTo>
                  <a:lnTo>
                    <a:pt x="0" y="353"/>
                  </a:lnTo>
                  <a:cubicBezTo>
                    <a:pt x="0" y="542"/>
                    <a:pt x="152" y="706"/>
                    <a:pt x="341" y="706"/>
                  </a:cubicBezTo>
                  <a:lnTo>
                    <a:pt x="3239" y="844"/>
                  </a:lnTo>
                  <a:cubicBezTo>
                    <a:pt x="3428" y="844"/>
                    <a:pt x="3592" y="693"/>
                    <a:pt x="3604" y="504"/>
                  </a:cubicBezTo>
                  <a:lnTo>
                    <a:pt x="3604" y="365"/>
                  </a:lnTo>
                  <a:cubicBezTo>
                    <a:pt x="3604" y="164"/>
                    <a:pt x="3453" y="0"/>
                    <a:pt x="325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" name="Google Shape;1263;p45"/>
            <p:cNvSpPr/>
            <p:nvPr/>
          </p:nvSpPr>
          <p:spPr>
            <a:xfrm>
              <a:off x="2534925" y="2656800"/>
              <a:ext cx="90125" cy="19875"/>
            </a:xfrm>
            <a:custGeom>
              <a:avLst/>
              <a:gdLst/>
              <a:ahLst/>
              <a:cxnLst/>
              <a:rect l="l" t="t" r="r" b="b"/>
              <a:pathLst>
                <a:path w="3605" h="795" extrusionOk="0">
                  <a:moveTo>
                    <a:pt x="319" y="0"/>
                  </a:moveTo>
                  <a:cubicBezTo>
                    <a:pt x="141" y="0"/>
                    <a:pt x="1" y="146"/>
                    <a:pt x="1" y="316"/>
                  </a:cubicBezTo>
                  <a:lnTo>
                    <a:pt x="1" y="769"/>
                  </a:lnTo>
                  <a:lnTo>
                    <a:pt x="1" y="795"/>
                  </a:lnTo>
                  <a:lnTo>
                    <a:pt x="3605" y="795"/>
                  </a:lnTo>
                  <a:lnTo>
                    <a:pt x="3592" y="769"/>
                  </a:lnTo>
                  <a:lnTo>
                    <a:pt x="3592" y="454"/>
                  </a:lnTo>
                  <a:cubicBezTo>
                    <a:pt x="3605" y="278"/>
                    <a:pt x="3466" y="139"/>
                    <a:pt x="3290" y="127"/>
                  </a:cubicBezTo>
                  <a:lnTo>
                    <a:pt x="341" y="1"/>
                  </a:lnTo>
                  <a:cubicBezTo>
                    <a:pt x="334" y="0"/>
                    <a:pt x="326" y="0"/>
                    <a:pt x="31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" name="Google Shape;1264;p45"/>
            <p:cNvSpPr/>
            <p:nvPr/>
          </p:nvSpPr>
          <p:spPr>
            <a:xfrm>
              <a:off x="3327850" y="2589525"/>
              <a:ext cx="90750" cy="31150"/>
            </a:xfrm>
            <a:custGeom>
              <a:avLst/>
              <a:gdLst/>
              <a:ahLst/>
              <a:cxnLst/>
              <a:rect l="l" t="t" r="r" b="b"/>
              <a:pathLst>
                <a:path w="3630" h="1246" extrusionOk="0">
                  <a:moveTo>
                    <a:pt x="3256" y="1"/>
                  </a:moveTo>
                  <a:cubicBezTo>
                    <a:pt x="3234" y="1"/>
                    <a:pt x="3211" y="3"/>
                    <a:pt x="3188" y="8"/>
                  </a:cubicBezTo>
                  <a:lnTo>
                    <a:pt x="290" y="600"/>
                  </a:lnTo>
                  <a:cubicBezTo>
                    <a:pt x="114" y="625"/>
                    <a:pt x="0" y="789"/>
                    <a:pt x="38" y="965"/>
                  </a:cubicBezTo>
                  <a:cubicBezTo>
                    <a:pt x="61" y="1127"/>
                    <a:pt x="200" y="1246"/>
                    <a:pt x="359" y="1246"/>
                  </a:cubicBezTo>
                  <a:cubicBezTo>
                    <a:pt x="373" y="1246"/>
                    <a:pt x="388" y="1245"/>
                    <a:pt x="404" y="1243"/>
                  </a:cubicBezTo>
                  <a:lnTo>
                    <a:pt x="3327" y="802"/>
                  </a:lnTo>
                  <a:cubicBezTo>
                    <a:pt x="3503" y="776"/>
                    <a:pt x="3629" y="600"/>
                    <a:pt x="3592" y="424"/>
                  </a:cubicBezTo>
                  <a:cubicBezTo>
                    <a:pt x="3592" y="373"/>
                    <a:pt x="3579" y="323"/>
                    <a:pt x="3566" y="272"/>
                  </a:cubicBezTo>
                  <a:cubicBezTo>
                    <a:pt x="3544" y="108"/>
                    <a:pt x="3408" y="1"/>
                    <a:pt x="325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" name="Google Shape;1265;p45"/>
            <p:cNvSpPr/>
            <p:nvPr/>
          </p:nvSpPr>
          <p:spPr>
            <a:xfrm>
              <a:off x="2544075" y="2571875"/>
              <a:ext cx="90125" cy="34100"/>
            </a:xfrm>
            <a:custGeom>
              <a:avLst/>
              <a:gdLst/>
              <a:ahLst/>
              <a:cxnLst/>
              <a:rect l="l" t="t" r="r" b="b"/>
              <a:pathLst>
                <a:path w="3605" h="1364" extrusionOk="0">
                  <a:moveTo>
                    <a:pt x="384" y="0"/>
                  </a:moveTo>
                  <a:cubicBezTo>
                    <a:pt x="243" y="0"/>
                    <a:pt x="107" y="96"/>
                    <a:pt x="63" y="248"/>
                  </a:cubicBezTo>
                  <a:lnTo>
                    <a:pt x="38" y="411"/>
                  </a:lnTo>
                  <a:cubicBezTo>
                    <a:pt x="0" y="588"/>
                    <a:pt x="114" y="764"/>
                    <a:pt x="290" y="789"/>
                  </a:cubicBezTo>
                  <a:lnTo>
                    <a:pt x="3188" y="1356"/>
                  </a:lnTo>
                  <a:cubicBezTo>
                    <a:pt x="3210" y="1361"/>
                    <a:pt x="3231" y="1363"/>
                    <a:pt x="3252" y="1363"/>
                  </a:cubicBezTo>
                  <a:cubicBezTo>
                    <a:pt x="3405" y="1363"/>
                    <a:pt x="3544" y="1247"/>
                    <a:pt x="3566" y="1092"/>
                  </a:cubicBezTo>
                  <a:cubicBezTo>
                    <a:pt x="3604" y="928"/>
                    <a:pt x="3503" y="752"/>
                    <a:pt x="3327" y="714"/>
                  </a:cubicBezTo>
                  <a:lnTo>
                    <a:pt x="454" y="8"/>
                  </a:lnTo>
                  <a:cubicBezTo>
                    <a:pt x="431" y="3"/>
                    <a:pt x="408" y="0"/>
                    <a:pt x="384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" name="Google Shape;1266;p45"/>
            <p:cNvSpPr/>
            <p:nvPr/>
          </p:nvSpPr>
          <p:spPr>
            <a:xfrm>
              <a:off x="3308325" y="2507375"/>
              <a:ext cx="87900" cy="45050"/>
            </a:xfrm>
            <a:custGeom>
              <a:avLst/>
              <a:gdLst/>
              <a:ahLst/>
              <a:cxnLst/>
              <a:rect l="l" t="t" r="r" b="b"/>
              <a:pathLst>
                <a:path w="3516" h="1802" extrusionOk="0">
                  <a:moveTo>
                    <a:pt x="3105" y="1"/>
                  </a:moveTo>
                  <a:cubicBezTo>
                    <a:pt x="3061" y="1"/>
                    <a:pt x="3017" y="10"/>
                    <a:pt x="2974" y="30"/>
                  </a:cubicBezTo>
                  <a:lnTo>
                    <a:pt x="240" y="1164"/>
                  </a:lnTo>
                  <a:cubicBezTo>
                    <a:pt x="76" y="1227"/>
                    <a:pt x="0" y="1416"/>
                    <a:pt x="76" y="1580"/>
                  </a:cubicBezTo>
                  <a:cubicBezTo>
                    <a:pt x="115" y="1718"/>
                    <a:pt x="239" y="1802"/>
                    <a:pt x="370" y="1802"/>
                  </a:cubicBezTo>
                  <a:cubicBezTo>
                    <a:pt x="406" y="1802"/>
                    <a:pt x="443" y="1795"/>
                    <a:pt x="479" y="1782"/>
                  </a:cubicBezTo>
                  <a:lnTo>
                    <a:pt x="3264" y="761"/>
                  </a:lnTo>
                  <a:cubicBezTo>
                    <a:pt x="3428" y="698"/>
                    <a:pt x="3516" y="509"/>
                    <a:pt x="3453" y="345"/>
                  </a:cubicBezTo>
                  <a:lnTo>
                    <a:pt x="3390" y="207"/>
                  </a:lnTo>
                  <a:cubicBezTo>
                    <a:pt x="3343" y="76"/>
                    <a:pt x="3228" y="1"/>
                    <a:pt x="310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" name="Google Shape;1267;p45"/>
            <p:cNvSpPr/>
            <p:nvPr/>
          </p:nvSpPr>
          <p:spPr>
            <a:xfrm>
              <a:off x="2569900" y="2490675"/>
              <a:ext cx="86650" cy="47800"/>
            </a:xfrm>
            <a:custGeom>
              <a:avLst/>
              <a:gdLst/>
              <a:ahLst/>
              <a:cxnLst/>
              <a:rect l="l" t="t" r="r" b="b"/>
              <a:pathLst>
                <a:path w="3466" h="1912" extrusionOk="0">
                  <a:moveTo>
                    <a:pt x="433" y="1"/>
                  </a:moveTo>
                  <a:cubicBezTo>
                    <a:pt x="306" y="1"/>
                    <a:pt x="182" y="74"/>
                    <a:pt x="127" y="194"/>
                  </a:cubicBezTo>
                  <a:cubicBezTo>
                    <a:pt x="114" y="232"/>
                    <a:pt x="89" y="282"/>
                    <a:pt x="64" y="333"/>
                  </a:cubicBezTo>
                  <a:cubicBezTo>
                    <a:pt x="1" y="497"/>
                    <a:pt x="76" y="698"/>
                    <a:pt x="240" y="761"/>
                  </a:cubicBezTo>
                  <a:lnTo>
                    <a:pt x="2974" y="1883"/>
                  </a:lnTo>
                  <a:cubicBezTo>
                    <a:pt x="3017" y="1902"/>
                    <a:pt x="3063" y="1912"/>
                    <a:pt x="3108" y="1912"/>
                  </a:cubicBezTo>
                  <a:cubicBezTo>
                    <a:pt x="3234" y="1912"/>
                    <a:pt x="3356" y="1837"/>
                    <a:pt x="3403" y="1706"/>
                  </a:cubicBezTo>
                  <a:cubicBezTo>
                    <a:pt x="3466" y="1555"/>
                    <a:pt x="3403" y="1366"/>
                    <a:pt x="3239" y="1290"/>
                  </a:cubicBezTo>
                  <a:lnTo>
                    <a:pt x="568" y="30"/>
                  </a:lnTo>
                  <a:cubicBezTo>
                    <a:pt x="524" y="10"/>
                    <a:pt x="478" y="1"/>
                    <a:pt x="43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" name="Google Shape;1268;p45"/>
            <p:cNvSpPr/>
            <p:nvPr/>
          </p:nvSpPr>
          <p:spPr>
            <a:xfrm>
              <a:off x="3276175" y="2431275"/>
              <a:ext cx="81625" cy="57700"/>
            </a:xfrm>
            <a:custGeom>
              <a:avLst/>
              <a:gdLst/>
              <a:ahLst/>
              <a:cxnLst/>
              <a:rect l="l" t="t" r="r" b="b"/>
              <a:pathLst>
                <a:path w="3265" h="2308" extrusionOk="0">
                  <a:moveTo>
                    <a:pt x="2817" y="1"/>
                  </a:moveTo>
                  <a:cubicBezTo>
                    <a:pt x="2754" y="1"/>
                    <a:pt x="2691" y="20"/>
                    <a:pt x="2634" y="63"/>
                  </a:cubicBezTo>
                  <a:lnTo>
                    <a:pt x="190" y="1713"/>
                  </a:lnTo>
                  <a:cubicBezTo>
                    <a:pt x="39" y="1801"/>
                    <a:pt x="1" y="2003"/>
                    <a:pt x="102" y="2154"/>
                  </a:cubicBezTo>
                  <a:cubicBezTo>
                    <a:pt x="159" y="2252"/>
                    <a:pt x="263" y="2308"/>
                    <a:pt x="370" y="2308"/>
                  </a:cubicBezTo>
                  <a:cubicBezTo>
                    <a:pt x="429" y="2308"/>
                    <a:pt x="489" y="2291"/>
                    <a:pt x="543" y="2255"/>
                  </a:cubicBezTo>
                  <a:lnTo>
                    <a:pt x="3063" y="718"/>
                  </a:lnTo>
                  <a:cubicBezTo>
                    <a:pt x="3214" y="630"/>
                    <a:pt x="3264" y="428"/>
                    <a:pt x="3176" y="277"/>
                  </a:cubicBezTo>
                  <a:lnTo>
                    <a:pt x="3088" y="151"/>
                  </a:lnTo>
                  <a:cubicBezTo>
                    <a:pt x="3025" y="56"/>
                    <a:pt x="2922" y="1"/>
                    <a:pt x="281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" name="Google Shape;1269;p45"/>
            <p:cNvSpPr/>
            <p:nvPr/>
          </p:nvSpPr>
          <p:spPr>
            <a:xfrm>
              <a:off x="2611475" y="2416250"/>
              <a:ext cx="80050" cy="60225"/>
            </a:xfrm>
            <a:custGeom>
              <a:avLst/>
              <a:gdLst/>
              <a:ahLst/>
              <a:cxnLst/>
              <a:rect l="l" t="t" r="r" b="b"/>
              <a:pathLst>
                <a:path w="3202" h="2409" extrusionOk="0">
                  <a:moveTo>
                    <a:pt x="448" y="1"/>
                  </a:moveTo>
                  <a:cubicBezTo>
                    <a:pt x="352" y="1"/>
                    <a:pt x="256" y="46"/>
                    <a:pt x="190" y="134"/>
                  </a:cubicBezTo>
                  <a:lnTo>
                    <a:pt x="102" y="260"/>
                  </a:lnTo>
                  <a:cubicBezTo>
                    <a:pt x="1" y="412"/>
                    <a:pt x="39" y="613"/>
                    <a:pt x="190" y="714"/>
                  </a:cubicBezTo>
                  <a:lnTo>
                    <a:pt x="2647" y="2352"/>
                  </a:lnTo>
                  <a:cubicBezTo>
                    <a:pt x="2704" y="2390"/>
                    <a:pt x="2768" y="2408"/>
                    <a:pt x="2831" y="2408"/>
                  </a:cubicBezTo>
                  <a:cubicBezTo>
                    <a:pt x="2936" y="2408"/>
                    <a:pt x="3038" y="2358"/>
                    <a:pt x="3101" y="2264"/>
                  </a:cubicBezTo>
                  <a:cubicBezTo>
                    <a:pt x="3202" y="2113"/>
                    <a:pt x="3164" y="1924"/>
                    <a:pt x="3025" y="1810"/>
                  </a:cubicBezTo>
                  <a:lnTo>
                    <a:pt x="644" y="71"/>
                  </a:lnTo>
                  <a:cubicBezTo>
                    <a:pt x="586" y="24"/>
                    <a:pt x="517" y="1"/>
                    <a:pt x="44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" name="Google Shape;1270;p45"/>
            <p:cNvSpPr/>
            <p:nvPr/>
          </p:nvSpPr>
          <p:spPr>
            <a:xfrm>
              <a:off x="3232400" y="2364300"/>
              <a:ext cx="72475" cy="68850"/>
            </a:xfrm>
            <a:custGeom>
              <a:avLst/>
              <a:gdLst/>
              <a:ahLst/>
              <a:cxnLst/>
              <a:rect l="l" t="t" r="r" b="b"/>
              <a:pathLst>
                <a:path w="2899" h="2754" extrusionOk="0">
                  <a:moveTo>
                    <a:pt x="2439" y="1"/>
                  </a:moveTo>
                  <a:cubicBezTo>
                    <a:pt x="2354" y="1"/>
                    <a:pt x="2268" y="32"/>
                    <a:pt x="2205" y="95"/>
                  </a:cubicBezTo>
                  <a:lnTo>
                    <a:pt x="126" y="2187"/>
                  </a:lnTo>
                  <a:cubicBezTo>
                    <a:pt x="0" y="2313"/>
                    <a:pt x="0" y="2515"/>
                    <a:pt x="126" y="2641"/>
                  </a:cubicBezTo>
                  <a:cubicBezTo>
                    <a:pt x="187" y="2715"/>
                    <a:pt x="277" y="2753"/>
                    <a:pt x="366" y="2753"/>
                  </a:cubicBezTo>
                  <a:cubicBezTo>
                    <a:pt x="444" y="2753"/>
                    <a:pt x="521" y="2724"/>
                    <a:pt x="580" y="2666"/>
                  </a:cubicBezTo>
                  <a:lnTo>
                    <a:pt x="2760" y="675"/>
                  </a:lnTo>
                  <a:cubicBezTo>
                    <a:pt x="2899" y="549"/>
                    <a:pt x="2899" y="335"/>
                    <a:pt x="2772" y="209"/>
                  </a:cubicBezTo>
                  <a:cubicBezTo>
                    <a:pt x="2747" y="171"/>
                    <a:pt x="2709" y="133"/>
                    <a:pt x="2672" y="95"/>
                  </a:cubicBezTo>
                  <a:cubicBezTo>
                    <a:pt x="2609" y="32"/>
                    <a:pt x="2524" y="1"/>
                    <a:pt x="243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" name="Google Shape;1271;p45"/>
            <p:cNvSpPr/>
            <p:nvPr/>
          </p:nvSpPr>
          <p:spPr>
            <a:xfrm>
              <a:off x="2667250" y="2351575"/>
              <a:ext cx="70275" cy="70725"/>
            </a:xfrm>
            <a:custGeom>
              <a:avLst/>
              <a:gdLst/>
              <a:ahLst/>
              <a:cxnLst/>
              <a:rect l="l" t="t" r="r" b="b"/>
              <a:pathLst>
                <a:path w="2811" h="2829" extrusionOk="0">
                  <a:moveTo>
                    <a:pt x="455" y="1"/>
                  </a:moveTo>
                  <a:cubicBezTo>
                    <a:pt x="376" y="1"/>
                    <a:pt x="298" y="29"/>
                    <a:pt x="240" y="88"/>
                  </a:cubicBezTo>
                  <a:lnTo>
                    <a:pt x="126" y="201"/>
                  </a:lnTo>
                  <a:cubicBezTo>
                    <a:pt x="0" y="315"/>
                    <a:pt x="0" y="529"/>
                    <a:pt x="126" y="655"/>
                  </a:cubicBezTo>
                  <a:lnTo>
                    <a:pt x="2231" y="2734"/>
                  </a:lnTo>
                  <a:cubicBezTo>
                    <a:pt x="2287" y="2797"/>
                    <a:pt x="2369" y="2828"/>
                    <a:pt x="2453" y="2828"/>
                  </a:cubicBezTo>
                  <a:cubicBezTo>
                    <a:pt x="2536" y="2828"/>
                    <a:pt x="2621" y="2797"/>
                    <a:pt x="2684" y="2734"/>
                  </a:cubicBezTo>
                  <a:cubicBezTo>
                    <a:pt x="2810" y="2620"/>
                    <a:pt x="2810" y="2419"/>
                    <a:pt x="2697" y="2280"/>
                  </a:cubicBezTo>
                  <a:lnTo>
                    <a:pt x="706" y="113"/>
                  </a:lnTo>
                  <a:cubicBezTo>
                    <a:pt x="638" y="39"/>
                    <a:pt x="546" y="1"/>
                    <a:pt x="45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" name="Google Shape;1272;p45"/>
            <p:cNvSpPr/>
            <p:nvPr/>
          </p:nvSpPr>
          <p:spPr>
            <a:xfrm>
              <a:off x="3178200" y="2308875"/>
              <a:ext cx="62400" cy="78050"/>
            </a:xfrm>
            <a:custGeom>
              <a:avLst/>
              <a:gdLst/>
              <a:ahLst/>
              <a:cxnLst/>
              <a:rect l="l" t="t" r="r" b="b"/>
              <a:pathLst>
                <a:path w="2496" h="3122" extrusionOk="0">
                  <a:moveTo>
                    <a:pt x="1997" y="1"/>
                  </a:moveTo>
                  <a:cubicBezTo>
                    <a:pt x="1892" y="1"/>
                    <a:pt x="1790" y="51"/>
                    <a:pt x="1727" y="145"/>
                  </a:cubicBezTo>
                  <a:lnTo>
                    <a:pt x="89" y="2615"/>
                  </a:lnTo>
                  <a:cubicBezTo>
                    <a:pt x="1" y="2753"/>
                    <a:pt x="39" y="2955"/>
                    <a:pt x="177" y="3056"/>
                  </a:cubicBezTo>
                  <a:cubicBezTo>
                    <a:pt x="237" y="3101"/>
                    <a:pt x="304" y="3122"/>
                    <a:pt x="371" y="3122"/>
                  </a:cubicBezTo>
                  <a:cubicBezTo>
                    <a:pt x="472" y="3122"/>
                    <a:pt x="570" y="3072"/>
                    <a:pt x="631" y="2980"/>
                  </a:cubicBezTo>
                  <a:lnTo>
                    <a:pt x="2383" y="599"/>
                  </a:lnTo>
                  <a:cubicBezTo>
                    <a:pt x="2496" y="460"/>
                    <a:pt x="2458" y="258"/>
                    <a:pt x="2307" y="158"/>
                  </a:cubicBezTo>
                  <a:lnTo>
                    <a:pt x="2181" y="57"/>
                  </a:lnTo>
                  <a:cubicBezTo>
                    <a:pt x="2124" y="19"/>
                    <a:pt x="2060" y="1"/>
                    <a:pt x="1997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" name="Google Shape;1273;p45"/>
            <p:cNvSpPr/>
            <p:nvPr/>
          </p:nvSpPr>
          <p:spPr>
            <a:xfrm>
              <a:off x="2733725" y="2298900"/>
              <a:ext cx="60175" cy="79600"/>
            </a:xfrm>
            <a:custGeom>
              <a:avLst/>
              <a:gdLst/>
              <a:ahLst/>
              <a:cxnLst/>
              <a:rect l="l" t="t" r="r" b="b"/>
              <a:pathLst>
                <a:path w="2407" h="3184" extrusionOk="0">
                  <a:moveTo>
                    <a:pt x="498" y="1"/>
                  </a:moveTo>
                  <a:cubicBezTo>
                    <a:pt x="439" y="1"/>
                    <a:pt x="380" y="17"/>
                    <a:pt x="328" y="53"/>
                  </a:cubicBezTo>
                  <a:lnTo>
                    <a:pt x="202" y="141"/>
                  </a:lnTo>
                  <a:cubicBezTo>
                    <a:pt x="51" y="242"/>
                    <a:pt x="0" y="443"/>
                    <a:pt x="114" y="594"/>
                  </a:cubicBezTo>
                  <a:lnTo>
                    <a:pt x="1752" y="3039"/>
                  </a:lnTo>
                  <a:cubicBezTo>
                    <a:pt x="1814" y="3133"/>
                    <a:pt x="1921" y="3183"/>
                    <a:pt x="2027" y="3183"/>
                  </a:cubicBezTo>
                  <a:cubicBezTo>
                    <a:pt x="2090" y="3183"/>
                    <a:pt x="2153" y="3165"/>
                    <a:pt x="2205" y="3127"/>
                  </a:cubicBezTo>
                  <a:cubicBezTo>
                    <a:pt x="2356" y="3026"/>
                    <a:pt x="2407" y="2837"/>
                    <a:pt x="2306" y="2686"/>
                  </a:cubicBezTo>
                  <a:lnTo>
                    <a:pt x="781" y="166"/>
                  </a:lnTo>
                  <a:cubicBezTo>
                    <a:pt x="716" y="59"/>
                    <a:pt x="607" y="1"/>
                    <a:pt x="49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" name="Google Shape;1274;p45"/>
            <p:cNvSpPr/>
            <p:nvPr/>
          </p:nvSpPr>
          <p:spPr>
            <a:xfrm>
              <a:off x="3116150" y="2267350"/>
              <a:ext cx="49800" cy="84650"/>
            </a:xfrm>
            <a:custGeom>
              <a:avLst/>
              <a:gdLst/>
              <a:ahLst/>
              <a:cxnLst/>
              <a:rect l="l" t="t" r="r" b="b"/>
              <a:pathLst>
                <a:path w="1992" h="3386" extrusionOk="0">
                  <a:moveTo>
                    <a:pt x="1483" y="0"/>
                  </a:moveTo>
                  <a:cubicBezTo>
                    <a:pt x="1359" y="0"/>
                    <a:pt x="1244" y="75"/>
                    <a:pt x="1198" y="206"/>
                  </a:cubicBezTo>
                  <a:lnTo>
                    <a:pt x="64" y="2927"/>
                  </a:lnTo>
                  <a:cubicBezTo>
                    <a:pt x="1" y="3091"/>
                    <a:pt x="76" y="3280"/>
                    <a:pt x="240" y="3356"/>
                  </a:cubicBezTo>
                  <a:cubicBezTo>
                    <a:pt x="283" y="3376"/>
                    <a:pt x="328" y="3385"/>
                    <a:pt x="373" y="3385"/>
                  </a:cubicBezTo>
                  <a:cubicBezTo>
                    <a:pt x="496" y="3385"/>
                    <a:pt x="613" y="3313"/>
                    <a:pt x="668" y="3192"/>
                  </a:cubicBezTo>
                  <a:lnTo>
                    <a:pt x="1916" y="521"/>
                  </a:lnTo>
                  <a:cubicBezTo>
                    <a:pt x="1992" y="357"/>
                    <a:pt x="1929" y="155"/>
                    <a:pt x="1765" y="92"/>
                  </a:cubicBezTo>
                  <a:lnTo>
                    <a:pt x="1613" y="29"/>
                  </a:lnTo>
                  <a:cubicBezTo>
                    <a:pt x="1571" y="10"/>
                    <a:pt x="1526" y="0"/>
                    <a:pt x="148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" name="Google Shape;1275;p45"/>
            <p:cNvSpPr/>
            <p:nvPr/>
          </p:nvSpPr>
          <p:spPr>
            <a:xfrm>
              <a:off x="2809950" y="2260450"/>
              <a:ext cx="48225" cy="85700"/>
            </a:xfrm>
            <a:custGeom>
              <a:avLst/>
              <a:gdLst/>
              <a:ahLst/>
              <a:cxnLst/>
              <a:rect l="l" t="t" r="r" b="b"/>
              <a:pathLst>
                <a:path w="1929" h="3428" extrusionOk="0">
                  <a:moveTo>
                    <a:pt x="514" y="1"/>
                  </a:moveTo>
                  <a:cubicBezTo>
                    <a:pt x="473" y="1"/>
                    <a:pt x="431" y="10"/>
                    <a:pt x="391" y="28"/>
                  </a:cubicBezTo>
                  <a:lnTo>
                    <a:pt x="253" y="78"/>
                  </a:lnTo>
                  <a:cubicBezTo>
                    <a:pt x="76" y="141"/>
                    <a:pt x="1" y="330"/>
                    <a:pt x="76" y="507"/>
                  </a:cubicBezTo>
                  <a:lnTo>
                    <a:pt x="1210" y="3229"/>
                  </a:lnTo>
                  <a:cubicBezTo>
                    <a:pt x="1258" y="3354"/>
                    <a:pt x="1380" y="3427"/>
                    <a:pt x="1507" y="3427"/>
                  </a:cubicBezTo>
                  <a:cubicBezTo>
                    <a:pt x="1547" y="3427"/>
                    <a:pt x="1587" y="3420"/>
                    <a:pt x="1626" y="3405"/>
                  </a:cubicBezTo>
                  <a:lnTo>
                    <a:pt x="1928" y="3292"/>
                  </a:lnTo>
                  <a:lnTo>
                    <a:pt x="807" y="217"/>
                  </a:lnTo>
                  <a:cubicBezTo>
                    <a:pt x="759" y="84"/>
                    <a:pt x="640" y="1"/>
                    <a:pt x="51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" name="Google Shape;1276;p45"/>
            <p:cNvSpPr/>
            <p:nvPr/>
          </p:nvSpPr>
          <p:spPr>
            <a:xfrm>
              <a:off x="3048725" y="2241100"/>
              <a:ext cx="35950" cy="88625"/>
            </a:xfrm>
            <a:custGeom>
              <a:avLst/>
              <a:gdLst/>
              <a:ahLst/>
              <a:cxnLst/>
              <a:rect l="l" t="t" r="r" b="b"/>
              <a:pathLst>
                <a:path w="1438" h="3545" extrusionOk="0">
                  <a:moveTo>
                    <a:pt x="916" y="1"/>
                  </a:moveTo>
                  <a:cubicBezTo>
                    <a:pt x="767" y="1"/>
                    <a:pt x="639" y="107"/>
                    <a:pt x="606" y="260"/>
                  </a:cubicBezTo>
                  <a:lnTo>
                    <a:pt x="39" y="3171"/>
                  </a:lnTo>
                  <a:cubicBezTo>
                    <a:pt x="1" y="3335"/>
                    <a:pt x="114" y="3511"/>
                    <a:pt x="291" y="3536"/>
                  </a:cubicBezTo>
                  <a:cubicBezTo>
                    <a:pt x="314" y="3542"/>
                    <a:pt x="338" y="3544"/>
                    <a:pt x="361" y="3544"/>
                  </a:cubicBezTo>
                  <a:cubicBezTo>
                    <a:pt x="502" y="3544"/>
                    <a:pt x="636" y="3450"/>
                    <a:pt x="669" y="3310"/>
                  </a:cubicBezTo>
                  <a:lnTo>
                    <a:pt x="1387" y="437"/>
                  </a:lnTo>
                  <a:cubicBezTo>
                    <a:pt x="1437" y="260"/>
                    <a:pt x="1324" y="84"/>
                    <a:pt x="1148" y="46"/>
                  </a:cubicBezTo>
                  <a:lnTo>
                    <a:pt x="984" y="8"/>
                  </a:lnTo>
                  <a:cubicBezTo>
                    <a:pt x="961" y="3"/>
                    <a:pt x="938" y="1"/>
                    <a:pt x="91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" name="Google Shape;1277;p45"/>
            <p:cNvSpPr/>
            <p:nvPr/>
          </p:nvSpPr>
          <p:spPr>
            <a:xfrm>
              <a:off x="2892475" y="2237650"/>
              <a:ext cx="32475" cy="89225"/>
            </a:xfrm>
            <a:custGeom>
              <a:avLst/>
              <a:gdLst/>
              <a:ahLst/>
              <a:cxnLst/>
              <a:rect l="l" t="t" r="r" b="b"/>
              <a:pathLst>
                <a:path w="1299" h="3569" extrusionOk="0">
                  <a:moveTo>
                    <a:pt x="518" y="1"/>
                  </a:moveTo>
                  <a:cubicBezTo>
                    <a:pt x="497" y="1"/>
                    <a:pt x="476" y="3"/>
                    <a:pt x="455" y="8"/>
                  </a:cubicBezTo>
                  <a:lnTo>
                    <a:pt x="291" y="33"/>
                  </a:lnTo>
                  <a:cubicBezTo>
                    <a:pt x="114" y="71"/>
                    <a:pt x="1" y="234"/>
                    <a:pt x="39" y="411"/>
                  </a:cubicBezTo>
                  <a:lnTo>
                    <a:pt x="618" y="3309"/>
                  </a:lnTo>
                  <a:cubicBezTo>
                    <a:pt x="651" y="3472"/>
                    <a:pt x="786" y="3569"/>
                    <a:pt x="935" y="3569"/>
                  </a:cubicBezTo>
                  <a:cubicBezTo>
                    <a:pt x="960" y="3569"/>
                    <a:pt x="984" y="3566"/>
                    <a:pt x="1009" y="3561"/>
                  </a:cubicBezTo>
                  <a:cubicBezTo>
                    <a:pt x="1173" y="3536"/>
                    <a:pt x="1299" y="3372"/>
                    <a:pt x="1274" y="3196"/>
                  </a:cubicBezTo>
                  <a:lnTo>
                    <a:pt x="820" y="272"/>
                  </a:lnTo>
                  <a:cubicBezTo>
                    <a:pt x="798" y="117"/>
                    <a:pt x="668" y="1"/>
                    <a:pt x="51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" name="Google Shape;1278;p45"/>
            <p:cNvSpPr/>
            <p:nvPr/>
          </p:nvSpPr>
          <p:spPr>
            <a:xfrm>
              <a:off x="2978800" y="2231825"/>
              <a:ext cx="19875" cy="89825"/>
            </a:xfrm>
            <a:custGeom>
              <a:avLst/>
              <a:gdLst/>
              <a:ahLst/>
              <a:cxnLst/>
              <a:rect l="l" t="t" r="r" b="b"/>
              <a:pathLst>
                <a:path w="795" h="3593" extrusionOk="0">
                  <a:moveTo>
                    <a:pt x="306" y="0"/>
                  </a:moveTo>
                  <a:cubicBezTo>
                    <a:pt x="139" y="0"/>
                    <a:pt x="1" y="135"/>
                    <a:pt x="1" y="316"/>
                  </a:cubicBezTo>
                  <a:lnTo>
                    <a:pt x="1" y="3265"/>
                  </a:lnTo>
                  <a:cubicBezTo>
                    <a:pt x="1" y="3441"/>
                    <a:pt x="139" y="3580"/>
                    <a:pt x="316" y="3592"/>
                  </a:cubicBezTo>
                  <a:lnTo>
                    <a:pt x="328" y="3592"/>
                  </a:lnTo>
                  <a:cubicBezTo>
                    <a:pt x="505" y="3592"/>
                    <a:pt x="656" y="3454"/>
                    <a:pt x="656" y="3277"/>
                  </a:cubicBezTo>
                  <a:lnTo>
                    <a:pt x="794" y="329"/>
                  </a:lnTo>
                  <a:cubicBezTo>
                    <a:pt x="794" y="152"/>
                    <a:pt x="656" y="1"/>
                    <a:pt x="479" y="1"/>
                  </a:cubicBezTo>
                  <a:lnTo>
                    <a:pt x="328" y="1"/>
                  </a:lnTo>
                  <a:cubicBezTo>
                    <a:pt x="321" y="1"/>
                    <a:pt x="313" y="0"/>
                    <a:pt x="30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" name="Google Shape;1279;p45"/>
            <p:cNvSpPr/>
            <p:nvPr/>
          </p:nvSpPr>
          <p:spPr>
            <a:xfrm>
              <a:off x="2932775" y="2646625"/>
              <a:ext cx="86700" cy="73675"/>
            </a:xfrm>
            <a:custGeom>
              <a:avLst/>
              <a:gdLst/>
              <a:ahLst/>
              <a:cxnLst/>
              <a:rect l="l" t="t" r="r" b="b"/>
              <a:pathLst>
                <a:path w="3468" h="2947" extrusionOk="0">
                  <a:moveTo>
                    <a:pt x="1937" y="1"/>
                  </a:moveTo>
                  <a:cubicBezTo>
                    <a:pt x="692" y="1"/>
                    <a:pt x="1" y="1493"/>
                    <a:pt x="846" y="2449"/>
                  </a:cubicBezTo>
                  <a:cubicBezTo>
                    <a:pt x="1150" y="2792"/>
                    <a:pt x="1546" y="2947"/>
                    <a:pt x="1936" y="2947"/>
                  </a:cubicBezTo>
                  <a:cubicBezTo>
                    <a:pt x="2662" y="2947"/>
                    <a:pt x="3368" y="2412"/>
                    <a:pt x="3417" y="1567"/>
                  </a:cubicBezTo>
                  <a:cubicBezTo>
                    <a:pt x="3467" y="748"/>
                    <a:pt x="2850" y="55"/>
                    <a:pt x="2043" y="5"/>
                  </a:cubicBezTo>
                  <a:cubicBezTo>
                    <a:pt x="2007" y="2"/>
                    <a:pt x="1972" y="1"/>
                    <a:pt x="193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" name="Google Shape;1280;p45"/>
            <p:cNvSpPr/>
            <p:nvPr/>
          </p:nvSpPr>
          <p:spPr>
            <a:xfrm>
              <a:off x="2970300" y="2433775"/>
              <a:ext cx="26475" cy="263375"/>
            </a:xfrm>
            <a:custGeom>
              <a:avLst/>
              <a:gdLst/>
              <a:ahLst/>
              <a:cxnLst/>
              <a:rect l="l" t="t" r="r" b="b"/>
              <a:pathLst>
                <a:path w="1059" h="10535" extrusionOk="0">
                  <a:moveTo>
                    <a:pt x="1059" y="0"/>
                  </a:moveTo>
                  <a:lnTo>
                    <a:pt x="0" y="10484"/>
                  </a:lnTo>
                  <a:lnTo>
                    <a:pt x="819" y="10535"/>
                  </a:lnTo>
                  <a:lnTo>
                    <a:pt x="1059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" name="Google Shape;1281;p45"/>
          <p:cNvGrpSpPr/>
          <p:nvPr/>
        </p:nvGrpSpPr>
        <p:grpSpPr>
          <a:xfrm>
            <a:off x="6309551" y="2397797"/>
            <a:ext cx="1752594" cy="965797"/>
            <a:chOff x="3672800" y="2231525"/>
            <a:chExt cx="891225" cy="491150"/>
          </a:xfrm>
        </p:grpSpPr>
        <p:sp>
          <p:nvSpPr>
            <p:cNvPr id="1282" name="Google Shape;1282;p45"/>
            <p:cNvSpPr/>
            <p:nvPr/>
          </p:nvSpPr>
          <p:spPr>
            <a:xfrm>
              <a:off x="3672800" y="2657125"/>
              <a:ext cx="90125" cy="19550"/>
            </a:xfrm>
            <a:custGeom>
              <a:avLst/>
              <a:gdLst/>
              <a:ahLst/>
              <a:cxnLst/>
              <a:rect l="l" t="t" r="r" b="b"/>
              <a:pathLst>
                <a:path w="3605" h="782" extrusionOk="0">
                  <a:moveTo>
                    <a:pt x="353" y="0"/>
                  </a:moveTo>
                  <a:cubicBezTo>
                    <a:pt x="164" y="0"/>
                    <a:pt x="13" y="139"/>
                    <a:pt x="13" y="315"/>
                  </a:cubicBezTo>
                  <a:lnTo>
                    <a:pt x="13" y="454"/>
                  </a:lnTo>
                  <a:cubicBezTo>
                    <a:pt x="0" y="630"/>
                    <a:pt x="152" y="782"/>
                    <a:pt x="328" y="782"/>
                  </a:cubicBezTo>
                  <a:lnTo>
                    <a:pt x="3277" y="782"/>
                  </a:lnTo>
                  <a:cubicBezTo>
                    <a:pt x="3453" y="782"/>
                    <a:pt x="3604" y="643"/>
                    <a:pt x="3604" y="467"/>
                  </a:cubicBezTo>
                  <a:cubicBezTo>
                    <a:pt x="3604" y="290"/>
                    <a:pt x="3466" y="139"/>
                    <a:pt x="3289" y="126"/>
                  </a:cubicBezTo>
                  <a:lnTo>
                    <a:pt x="353" y="0"/>
                  </a:ln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" name="Google Shape;1283;p45"/>
            <p:cNvSpPr/>
            <p:nvPr/>
          </p:nvSpPr>
          <p:spPr>
            <a:xfrm>
              <a:off x="4473900" y="2667525"/>
              <a:ext cx="90125" cy="19875"/>
            </a:xfrm>
            <a:custGeom>
              <a:avLst/>
              <a:gdLst/>
              <a:ahLst/>
              <a:cxnLst/>
              <a:rect l="l" t="t" r="r" b="b"/>
              <a:pathLst>
                <a:path w="3605" h="795" extrusionOk="0">
                  <a:moveTo>
                    <a:pt x="3251" y="0"/>
                  </a:moveTo>
                  <a:lnTo>
                    <a:pt x="315" y="126"/>
                  </a:lnTo>
                  <a:cubicBezTo>
                    <a:pt x="139" y="139"/>
                    <a:pt x="0" y="290"/>
                    <a:pt x="0" y="466"/>
                  </a:cubicBezTo>
                  <a:cubicBezTo>
                    <a:pt x="0" y="643"/>
                    <a:pt x="152" y="794"/>
                    <a:pt x="328" y="794"/>
                  </a:cubicBezTo>
                  <a:lnTo>
                    <a:pt x="3277" y="794"/>
                  </a:lnTo>
                  <a:cubicBezTo>
                    <a:pt x="3453" y="781"/>
                    <a:pt x="3604" y="643"/>
                    <a:pt x="3592" y="454"/>
                  </a:cubicBezTo>
                  <a:lnTo>
                    <a:pt x="3592" y="315"/>
                  </a:lnTo>
                  <a:cubicBezTo>
                    <a:pt x="3592" y="139"/>
                    <a:pt x="3440" y="0"/>
                    <a:pt x="325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" name="Google Shape;1284;p45"/>
            <p:cNvSpPr/>
            <p:nvPr/>
          </p:nvSpPr>
          <p:spPr>
            <a:xfrm>
              <a:off x="4466025" y="2589525"/>
              <a:ext cx="90425" cy="31175"/>
            </a:xfrm>
            <a:custGeom>
              <a:avLst/>
              <a:gdLst/>
              <a:ahLst/>
              <a:cxnLst/>
              <a:rect l="l" t="t" r="r" b="b"/>
              <a:pathLst>
                <a:path w="3617" h="1247" extrusionOk="0">
                  <a:moveTo>
                    <a:pt x="3244" y="0"/>
                  </a:moveTo>
                  <a:cubicBezTo>
                    <a:pt x="3222" y="0"/>
                    <a:pt x="3199" y="3"/>
                    <a:pt x="3176" y="8"/>
                  </a:cubicBezTo>
                  <a:lnTo>
                    <a:pt x="278" y="587"/>
                  </a:lnTo>
                  <a:cubicBezTo>
                    <a:pt x="114" y="625"/>
                    <a:pt x="0" y="789"/>
                    <a:pt x="26" y="965"/>
                  </a:cubicBezTo>
                  <a:lnTo>
                    <a:pt x="26" y="978"/>
                  </a:lnTo>
                  <a:cubicBezTo>
                    <a:pt x="48" y="1138"/>
                    <a:pt x="185" y="1246"/>
                    <a:pt x="342" y="1246"/>
                  </a:cubicBezTo>
                  <a:cubicBezTo>
                    <a:pt x="358" y="1246"/>
                    <a:pt x="374" y="1245"/>
                    <a:pt x="391" y="1243"/>
                  </a:cubicBezTo>
                  <a:lnTo>
                    <a:pt x="3314" y="789"/>
                  </a:lnTo>
                  <a:cubicBezTo>
                    <a:pt x="3491" y="764"/>
                    <a:pt x="3617" y="600"/>
                    <a:pt x="3592" y="424"/>
                  </a:cubicBezTo>
                  <a:cubicBezTo>
                    <a:pt x="3579" y="373"/>
                    <a:pt x="3566" y="310"/>
                    <a:pt x="3566" y="260"/>
                  </a:cubicBezTo>
                  <a:cubicBezTo>
                    <a:pt x="3533" y="106"/>
                    <a:pt x="3396" y="0"/>
                    <a:pt x="324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" name="Google Shape;1285;p45"/>
            <p:cNvSpPr/>
            <p:nvPr/>
          </p:nvSpPr>
          <p:spPr>
            <a:xfrm>
              <a:off x="3681925" y="2572075"/>
              <a:ext cx="90125" cy="34200"/>
            </a:xfrm>
            <a:custGeom>
              <a:avLst/>
              <a:gdLst/>
              <a:ahLst/>
              <a:cxnLst/>
              <a:rect l="l" t="t" r="r" b="b"/>
              <a:pathLst>
                <a:path w="3605" h="1368" extrusionOk="0">
                  <a:moveTo>
                    <a:pt x="374" y="1"/>
                  </a:moveTo>
                  <a:cubicBezTo>
                    <a:pt x="237" y="1"/>
                    <a:pt x="106" y="104"/>
                    <a:pt x="64" y="252"/>
                  </a:cubicBezTo>
                  <a:lnTo>
                    <a:pt x="39" y="403"/>
                  </a:lnTo>
                  <a:cubicBezTo>
                    <a:pt x="1" y="580"/>
                    <a:pt x="114" y="756"/>
                    <a:pt x="291" y="781"/>
                  </a:cubicBezTo>
                  <a:lnTo>
                    <a:pt x="3189" y="1361"/>
                  </a:lnTo>
                  <a:cubicBezTo>
                    <a:pt x="3210" y="1366"/>
                    <a:pt x="3231" y="1368"/>
                    <a:pt x="3252" y="1368"/>
                  </a:cubicBezTo>
                  <a:cubicBezTo>
                    <a:pt x="3405" y="1368"/>
                    <a:pt x="3545" y="1252"/>
                    <a:pt x="3567" y="1096"/>
                  </a:cubicBezTo>
                  <a:cubicBezTo>
                    <a:pt x="3605" y="920"/>
                    <a:pt x="3504" y="744"/>
                    <a:pt x="3327" y="706"/>
                  </a:cubicBezTo>
                  <a:lnTo>
                    <a:pt x="454" y="13"/>
                  </a:lnTo>
                  <a:cubicBezTo>
                    <a:pt x="428" y="5"/>
                    <a:pt x="401" y="1"/>
                    <a:pt x="37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" name="Google Shape;1286;p45"/>
            <p:cNvSpPr/>
            <p:nvPr/>
          </p:nvSpPr>
          <p:spPr>
            <a:xfrm>
              <a:off x="4446175" y="2507375"/>
              <a:ext cx="87925" cy="45050"/>
            </a:xfrm>
            <a:custGeom>
              <a:avLst/>
              <a:gdLst/>
              <a:ahLst/>
              <a:cxnLst/>
              <a:rect l="l" t="t" r="r" b="b"/>
              <a:pathLst>
                <a:path w="3517" h="1802" extrusionOk="0">
                  <a:moveTo>
                    <a:pt x="3105" y="1"/>
                  </a:moveTo>
                  <a:cubicBezTo>
                    <a:pt x="3062" y="1"/>
                    <a:pt x="3017" y="10"/>
                    <a:pt x="2974" y="30"/>
                  </a:cubicBezTo>
                  <a:lnTo>
                    <a:pt x="240" y="1164"/>
                  </a:lnTo>
                  <a:cubicBezTo>
                    <a:pt x="76" y="1240"/>
                    <a:pt x="0" y="1416"/>
                    <a:pt x="76" y="1580"/>
                  </a:cubicBezTo>
                  <a:cubicBezTo>
                    <a:pt x="115" y="1718"/>
                    <a:pt x="240" y="1802"/>
                    <a:pt x="370" y="1802"/>
                  </a:cubicBezTo>
                  <a:cubicBezTo>
                    <a:pt x="407" y="1802"/>
                    <a:pt x="444" y="1795"/>
                    <a:pt x="479" y="1782"/>
                  </a:cubicBezTo>
                  <a:lnTo>
                    <a:pt x="3264" y="761"/>
                  </a:lnTo>
                  <a:cubicBezTo>
                    <a:pt x="3428" y="698"/>
                    <a:pt x="3516" y="522"/>
                    <a:pt x="3453" y="345"/>
                  </a:cubicBezTo>
                  <a:cubicBezTo>
                    <a:pt x="3428" y="295"/>
                    <a:pt x="3415" y="257"/>
                    <a:pt x="3390" y="207"/>
                  </a:cubicBezTo>
                  <a:cubicBezTo>
                    <a:pt x="3344" y="76"/>
                    <a:pt x="3228" y="1"/>
                    <a:pt x="310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" name="Google Shape;1287;p45"/>
            <p:cNvSpPr/>
            <p:nvPr/>
          </p:nvSpPr>
          <p:spPr>
            <a:xfrm>
              <a:off x="3707450" y="2490950"/>
              <a:ext cx="86975" cy="47850"/>
            </a:xfrm>
            <a:custGeom>
              <a:avLst/>
              <a:gdLst/>
              <a:ahLst/>
              <a:cxnLst/>
              <a:rect l="l" t="t" r="r" b="b"/>
              <a:pathLst>
                <a:path w="3479" h="1914" extrusionOk="0">
                  <a:moveTo>
                    <a:pt x="431" y="0"/>
                  </a:moveTo>
                  <a:cubicBezTo>
                    <a:pt x="312" y="0"/>
                    <a:pt x="193" y="66"/>
                    <a:pt x="139" y="183"/>
                  </a:cubicBezTo>
                  <a:cubicBezTo>
                    <a:pt x="126" y="234"/>
                    <a:pt x="101" y="284"/>
                    <a:pt x="76" y="334"/>
                  </a:cubicBezTo>
                  <a:cubicBezTo>
                    <a:pt x="0" y="498"/>
                    <a:pt x="89" y="687"/>
                    <a:pt x="252" y="763"/>
                  </a:cubicBezTo>
                  <a:lnTo>
                    <a:pt x="2987" y="1884"/>
                  </a:lnTo>
                  <a:cubicBezTo>
                    <a:pt x="3030" y="1904"/>
                    <a:pt x="3074" y="1913"/>
                    <a:pt x="3118" y="1913"/>
                  </a:cubicBezTo>
                  <a:cubicBezTo>
                    <a:pt x="3241" y="1913"/>
                    <a:pt x="3356" y="1838"/>
                    <a:pt x="3403" y="1708"/>
                  </a:cubicBezTo>
                  <a:cubicBezTo>
                    <a:pt x="3478" y="1544"/>
                    <a:pt x="3415" y="1355"/>
                    <a:pt x="3251" y="1279"/>
                  </a:cubicBezTo>
                  <a:lnTo>
                    <a:pt x="567" y="32"/>
                  </a:lnTo>
                  <a:cubicBezTo>
                    <a:pt x="525" y="10"/>
                    <a:pt x="478" y="0"/>
                    <a:pt x="431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" name="Google Shape;1288;p45"/>
            <p:cNvSpPr/>
            <p:nvPr/>
          </p:nvSpPr>
          <p:spPr>
            <a:xfrm>
              <a:off x="4414050" y="2431425"/>
              <a:ext cx="81600" cy="57650"/>
            </a:xfrm>
            <a:custGeom>
              <a:avLst/>
              <a:gdLst/>
              <a:ahLst/>
              <a:cxnLst/>
              <a:rect l="l" t="t" r="r" b="b"/>
              <a:pathLst>
                <a:path w="3264" h="2306" extrusionOk="0">
                  <a:moveTo>
                    <a:pt x="2818" y="0"/>
                  </a:moveTo>
                  <a:cubicBezTo>
                    <a:pt x="2755" y="0"/>
                    <a:pt x="2691" y="19"/>
                    <a:pt x="2634" y="57"/>
                  </a:cubicBezTo>
                  <a:lnTo>
                    <a:pt x="177" y="1707"/>
                  </a:lnTo>
                  <a:cubicBezTo>
                    <a:pt x="38" y="1808"/>
                    <a:pt x="0" y="1997"/>
                    <a:pt x="101" y="2148"/>
                  </a:cubicBezTo>
                  <a:cubicBezTo>
                    <a:pt x="160" y="2249"/>
                    <a:pt x="269" y="2305"/>
                    <a:pt x="380" y="2305"/>
                  </a:cubicBezTo>
                  <a:cubicBezTo>
                    <a:pt x="436" y="2305"/>
                    <a:pt x="492" y="2291"/>
                    <a:pt x="542" y="2262"/>
                  </a:cubicBezTo>
                  <a:lnTo>
                    <a:pt x="3062" y="724"/>
                  </a:lnTo>
                  <a:cubicBezTo>
                    <a:pt x="3213" y="636"/>
                    <a:pt x="3264" y="435"/>
                    <a:pt x="3163" y="271"/>
                  </a:cubicBezTo>
                  <a:lnTo>
                    <a:pt x="3087" y="145"/>
                  </a:lnTo>
                  <a:cubicBezTo>
                    <a:pt x="3025" y="50"/>
                    <a:pt x="2923" y="0"/>
                    <a:pt x="281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" name="Google Shape;1289;p45"/>
            <p:cNvSpPr/>
            <p:nvPr/>
          </p:nvSpPr>
          <p:spPr>
            <a:xfrm>
              <a:off x="3749350" y="2416200"/>
              <a:ext cx="80025" cy="60275"/>
            </a:xfrm>
            <a:custGeom>
              <a:avLst/>
              <a:gdLst/>
              <a:ahLst/>
              <a:cxnLst/>
              <a:rect l="l" t="t" r="r" b="b"/>
              <a:pathLst>
                <a:path w="3201" h="2411" extrusionOk="0">
                  <a:moveTo>
                    <a:pt x="452" y="0"/>
                  </a:moveTo>
                  <a:cubicBezTo>
                    <a:pt x="351" y="0"/>
                    <a:pt x="250" y="46"/>
                    <a:pt x="189" y="136"/>
                  </a:cubicBezTo>
                  <a:lnTo>
                    <a:pt x="101" y="262"/>
                  </a:lnTo>
                  <a:cubicBezTo>
                    <a:pt x="0" y="414"/>
                    <a:pt x="38" y="615"/>
                    <a:pt x="189" y="716"/>
                  </a:cubicBezTo>
                  <a:lnTo>
                    <a:pt x="2647" y="2354"/>
                  </a:lnTo>
                  <a:cubicBezTo>
                    <a:pt x="2703" y="2392"/>
                    <a:pt x="2768" y="2410"/>
                    <a:pt x="2831" y="2410"/>
                  </a:cubicBezTo>
                  <a:cubicBezTo>
                    <a:pt x="2935" y="2410"/>
                    <a:pt x="3037" y="2360"/>
                    <a:pt x="3100" y="2266"/>
                  </a:cubicBezTo>
                  <a:cubicBezTo>
                    <a:pt x="3201" y="2115"/>
                    <a:pt x="3176" y="1913"/>
                    <a:pt x="3025" y="1812"/>
                  </a:cubicBezTo>
                  <a:lnTo>
                    <a:pt x="643" y="61"/>
                  </a:lnTo>
                  <a:cubicBezTo>
                    <a:pt x="588" y="20"/>
                    <a:pt x="520" y="0"/>
                    <a:pt x="452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" name="Google Shape;1290;p45"/>
            <p:cNvSpPr/>
            <p:nvPr/>
          </p:nvSpPr>
          <p:spPr>
            <a:xfrm>
              <a:off x="4370250" y="2364375"/>
              <a:ext cx="72475" cy="68675"/>
            </a:xfrm>
            <a:custGeom>
              <a:avLst/>
              <a:gdLst/>
              <a:ahLst/>
              <a:cxnLst/>
              <a:rect l="l" t="t" r="r" b="b"/>
              <a:pathLst>
                <a:path w="2899" h="2747" extrusionOk="0">
                  <a:moveTo>
                    <a:pt x="2441" y="1"/>
                  </a:moveTo>
                  <a:cubicBezTo>
                    <a:pt x="2357" y="1"/>
                    <a:pt x="2275" y="36"/>
                    <a:pt x="2218" y="105"/>
                  </a:cubicBezTo>
                  <a:lnTo>
                    <a:pt x="127" y="2197"/>
                  </a:lnTo>
                  <a:cubicBezTo>
                    <a:pt x="1" y="2323"/>
                    <a:pt x="1" y="2524"/>
                    <a:pt x="127" y="2650"/>
                  </a:cubicBezTo>
                  <a:cubicBezTo>
                    <a:pt x="191" y="2715"/>
                    <a:pt x="273" y="2746"/>
                    <a:pt x="355" y="2746"/>
                  </a:cubicBezTo>
                  <a:cubicBezTo>
                    <a:pt x="433" y="2746"/>
                    <a:pt x="513" y="2718"/>
                    <a:pt x="580" y="2663"/>
                  </a:cubicBezTo>
                  <a:lnTo>
                    <a:pt x="2760" y="672"/>
                  </a:lnTo>
                  <a:cubicBezTo>
                    <a:pt x="2899" y="546"/>
                    <a:pt x="2899" y="344"/>
                    <a:pt x="2773" y="218"/>
                  </a:cubicBezTo>
                  <a:lnTo>
                    <a:pt x="2672" y="105"/>
                  </a:lnTo>
                  <a:cubicBezTo>
                    <a:pt x="2609" y="36"/>
                    <a:pt x="2524" y="1"/>
                    <a:pt x="244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" name="Google Shape;1291;p45"/>
            <p:cNvSpPr/>
            <p:nvPr/>
          </p:nvSpPr>
          <p:spPr>
            <a:xfrm>
              <a:off x="3805100" y="2351575"/>
              <a:ext cx="70600" cy="70875"/>
            </a:xfrm>
            <a:custGeom>
              <a:avLst/>
              <a:gdLst/>
              <a:ahLst/>
              <a:cxnLst/>
              <a:rect l="l" t="t" r="r" b="b"/>
              <a:pathLst>
                <a:path w="2824" h="2835" extrusionOk="0">
                  <a:moveTo>
                    <a:pt x="462" y="1"/>
                  </a:moveTo>
                  <a:cubicBezTo>
                    <a:pt x="386" y="1"/>
                    <a:pt x="311" y="29"/>
                    <a:pt x="253" y="88"/>
                  </a:cubicBezTo>
                  <a:lnTo>
                    <a:pt x="139" y="201"/>
                  </a:lnTo>
                  <a:cubicBezTo>
                    <a:pt x="1" y="327"/>
                    <a:pt x="1" y="529"/>
                    <a:pt x="139" y="655"/>
                  </a:cubicBezTo>
                  <a:lnTo>
                    <a:pt x="2231" y="2747"/>
                  </a:lnTo>
                  <a:cubicBezTo>
                    <a:pt x="2291" y="2806"/>
                    <a:pt x="2368" y="2835"/>
                    <a:pt x="2446" y="2835"/>
                  </a:cubicBezTo>
                  <a:cubicBezTo>
                    <a:pt x="2532" y="2835"/>
                    <a:pt x="2619" y="2800"/>
                    <a:pt x="2685" y="2734"/>
                  </a:cubicBezTo>
                  <a:cubicBezTo>
                    <a:pt x="2823" y="2620"/>
                    <a:pt x="2823" y="2419"/>
                    <a:pt x="2710" y="2293"/>
                  </a:cubicBezTo>
                  <a:lnTo>
                    <a:pt x="706" y="113"/>
                  </a:lnTo>
                  <a:cubicBezTo>
                    <a:pt x="639" y="39"/>
                    <a:pt x="550" y="1"/>
                    <a:pt x="4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" name="Google Shape;1292;p45"/>
            <p:cNvSpPr/>
            <p:nvPr/>
          </p:nvSpPr>
          <p:spPr>
            <a:xfrm>
              <a:off x="4315750" y="2309200"/>
              <a:ext cx="62725" cy="77850"/>
            </a:xfrm>
            <a:custGeom>
              <a:avLst/>
              <a:gdLst/>
              <a:ahLst/>
              <a:cxnLst/>
              <a:rect l="l" t="t" r="r" b="b"/>
              <a:pathLst>
                <a:path w="2509" h="3114" extrusionOk="0">
                  <a:moveTo>
                    <a:pt x="2009" y="0"/>
                  </a:moveTo>
                  <a:cubicBezTo>
                    <a:pt x="1905" y="0"/>
                    <a:pt x="1802" y="50"/>
                    <a:pt x="1740" y="145"/>
                  </a:cubicBezTo>
                  <a:lnTo>
                    <a:pt x="102" y="2602"/>
                  </a:lnTo>
                  <a:cubicBezTo>
                    <a:pt x="1" y="2753"/>
                    <a:pt x="39" y="2942"/>
                    <a:pt x="190" y="3043"/>
                  </a:cubicBezTo>
                  <a:cubicBezTo>
                    <a:pt x="253" y="3090"/>
                    <a:pt x="325" y="3113"/>
                    <a:pt x="394" y="3113"/>
                  </a:cubicBezTo>
                  <a:cubicBezTo>
                    <a:pt x="492" y="3113"/>
                    <a:pt x="585" y="3068"/>
                    <a:pt x="643" y="2980"/>
                  </a:cubicBezTo>
                  <a:lnTo>
                    <a:pt x="2395" y="598"/>
                  </a:lnTo>
                  <a:cubicBezTo>
                    <a:pt x="2508" y="447"/>
                    <a:pt x="2470" y="245"/>
                    <a:pt x="2319" y="145"/>
                  </a:cubicBezTo>
                  <a:lnTo>
                    <a:pt x="2193" y="56"/>
                  </a:lnTo>
                  <a:cubicBezTo>
                    <a:pt x="2136" y="18"/>
                    <a:pt x="2072" y="0"/>
                    <a:pt x="200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" name="Google Shape;1293;p45"/>
            <p:cNvSpPr/>
            <p:nvPr/>
          </p:nvSpPr>
          <p:spPr>
            <a:xfrm>
              <a:off x="3871575" y="2298900"/>
              <a:ext cx="60200" cy="79600"/>
            </a:xfrm>
            <a:custGeom>
              <a:avLst/>
              <a:gdLst/>
              <a:ahLst/>
              <a:cxnLst/>
              <a:rect l="l" t="t" r="r" b="b"/>
              <a:pathLst>
                <a:path w="2408" h="3184" extrusionOk="0">
                  <a:moveTo>
                    <a:pt x="498" y="1"/>
                  </a:moveTo>
                  <a:cubicBezTo>
                    <a:pt x="440" y="1"/>
                    <a:pt x="381" y="17"/>
                    <a:pt x="328" y="53"/>
                  </a:cubicBezTo>
                  <a:lnTo>
                    <a:pt x="202" y="141"/>
                  </a:lnTo>
                  <a:cubicBezTo>
                    <a:pt x="51" y="242"/>
                    <a:pt x="0" y="443"/>
                    <a:pt x="114" y="594"/>
                  </a:cubicBezTo>
                  <a:lnTo>
                    <a:pt x="1765" y="3039"/>
                  </a:lnTo>
                  <a:cubicBezTo>
                    <a:pt x="1820" y="3133"/>
                    <a:pt x="1924" y="3183"/>
                    <a:pt x="2028" y="3183"/>
                  </a:cubicBezTo>
                  <a:cubicBezTo>
                    <a:pt x="2091" y="3183"/>
                    <a:pt x="2153" y="3165"/>
                    <a:pt x="2206" y="3127"/>
                  </a:cubicBezTo>
                  <a:cubicBezTo>
                    <a:pt x="2357" y="3026"/>
                    <a:pt x="2407" y="2825"/>
                    <a:pt x="2306" y="2686"/>
                  </a:cubicBezTo>
                  <a:lnTo>
                    <a:pt x="769" y="166"/>
                  </a:lnTo>
                  <a:cubicBezTo>
                    <a:pt x="712" y="59"/>
                    <a:pt x="606" y="1"/>
                    <a:pt x="49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" name="Google Shape;1294;p45"/>
            <p:cNvSpPr/>
            <p:nvPr/>
          </p:nvSpPr>
          <p:spPr>
            <a:xfrm>
              <a:off x="4253700" y="2267350"/>
              <a:ext cx="50100" cy="84650"/>
            </a:xfrm>
            <a:custGeom>
              <a:avLst/>
              <a:gdLst/>
              <a:ahLst/>
              <a:cxnLst/>
              <a:rect l="l" t="t" r="r" b="b"/>
              <a:pathLst>
                <a:path w="2004" h="3386" extrusionOk="0">
                  <a:moveTo>
                    <a:pt x="1487" y="0"/>
                  </a:moveTo>
                  <a:cubicBezTo>
                    <a:pt x="1359" y="0"/>
                    <a:pt x="1244" y="75"/>
                    <a:pt x="1197" y="206"/>
                  </a:cubicBezTo>
                  <a:lnTo>
                    <a:pt x="76" y="2940"/>
                  </a:lnTo>
                  <a:cubicBezTo>
                    <a:pt x="0" y="3104"/>
                    <a:pt x="76" y="3293"/>
                    <a:pt x="240" y="3356"/>
                  </a:cubicBezTo>
                  <a:lnTo>
                    <a:pt x="252" y="3356"/>
                  </a:lnTo>
                  <a:cubicBezTo>
                    <a:pt x="296" y="3376"/>
                    <a:pt x="341" y="3386"/>
                    <a:pt x="385" y="3386"/>
                  </a:cubicBezTo>
                  <a:cubicBezTo>
                    <a:pt x="504" y="3386"/>
                    <a:pt x="616" y="3315"/>
                    <a:pt x="681" y="3205"/>
                  </a:cubicBezTo>
                  <a:lnTo>
                    <a:pt x="1928" y="521"/>
                  </a:lnTo>
                  <a:cubicBezTo>
                    <a:pt x="2004" y="357"/>
                    <a:pt x="1928" y="168"/>
                    <a:pt x="1764" y="92"/>
                  </a:cubicBezTo>
                  <a:lnTo>
                    <a:pt x="1626" y="29"/>
                  </a:lnTo>
                  <a:cubicBezTo>
                    <a:pt x="1580" y="10"/>
                    <a:pt x="1533" y="0"/>
                    <a:pt x="148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" name="Google Shape;1295;p45"/>
            <p:cNvSpPr/>
            <p:nvPr/>
          </p:nvSpPr>
          <p:spPr>
            <a:xfrm>
              <a:off x="3947800" y="2260450"/>
              <a:ext cx="46975" cy="85825"/>
            </a:xfrm>
            <a:custGeom>
              <a:avLst/>
              <a:gdLst/>
              <a:ahLst/>
              <a:cxnLst/>
              <a:rect l="l" t="t" r="r" b="b"/>
              <a:pathLst>
                <a:path w="1879" h="3433" extrusionOk="0">
                  <a:moveTo>
                    <a:pt x="514" y="1"/>
                  </a:moveTo>
                  <a:cubicBezTo>
                    <a:pt x="473" y="1"/>
                    <a:pt x="432" y="10"/>
                    <a:pt x="392" y="28"/>
                  </a:cubicBezTo>
                  <a:lnTo>
                    <a:pt x="253" y="78"/>
                  </a:lnTo>
                  <a:cubicBezTo>
                    <a:pt x="76" y="141"/>
                    <a:pt x="1" y="330"/>
                    <a:pt x="76" y="494"/>
                  </a:cubicBezTo>
                  <a:lnTo>
                    <a:pt x="1211" y="3229"/>
                  </a:lnTo>
                  <a:cubicBezTo>
                    <a:pt x="1258" y="3352"/>
                    <a:pt x="1377" y="3432"/>
                    <a:pt x="1503" y="3432"/>
                  </a:cubicBezTo>
                  <a:cubicBezTo>
                    <a:pt x="1544" y="3432"/>
                    <a:pt x="1586" y="3424"/>
                    <a:pt x="1626" y="3405"/>
                  </a:cubicBezTo>
                  <a:cubicBezTo>
                    <a:pt x="1803" y="3342"/>
                    <a:pt x="1878" y="3153"/>
                    <a:pt x="1815" y="2989"/>
                  </a:cubicBezTo>
                  <a:lnTo>
                    <a:pt x="807" y="217"/>
                  </a:lnTo>
                  <a:cubicBezTo>
                    <a:pt x="760" y="84"/>
                    <a:pt x="640" y="1"/>
                    <a:pt x="51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" name="Google Shape;1296;p45"/>
            <p:cNvSpPr/>
            <p:nvPr/>
          </p:nvSpPr>
          <p:spPr>
            <a:xfrm>
              <a:off x="4186900" y="2241100"/>
              <a:ext cx="35325" cy="88925"/>
            </a:xfrm>
            <a:custGeom>
              <a:avLst/>
              <a:gdLst/>
              <a:ahLst/>
              <a:cxnLst/>
              <a:rect l="l" t="t" r="r" b="b"/>
              <a:pathLst>
                <a:path w="1413" h="3557" extrusionOk="0">
                  <a:moveTo>
                    <a:pt x="904" y="1"/>
                  </a:moveTo>
                  <a:cubicBezTo>
                    <a:pt x="755" y="1"/>
                    <a:pt x="626" y="108"/>
                    <a:pt x="593" y="273"/>
                  </a:cubicBezTo>
                  <a:lnTo>
                    <a:pt x="26" y="3171"/>
                  </a:lnTo>
                  <a:cubicBezTo>
                    <a:pt x="1" y="3335"/>
                    <a:pt x="102" y="3511"/>
                    <a:pt x="278" y="3549"/>
                  </a:cubicBezTo>
                  <a:cubicBezTo>
                    <a:pt x="303" y="3554"/>
                    <a:pt x="328" y="3557"/>
                    <a:pt x="352" y="3557"/>
                  </a:cubicBezTo>
                  <a:cubicBezTo>
                    <a:pt x="498" y="3557"/>
                    <a:pt x="625" y="3461"/>
                    <a:pt x="669" y="3310"/>
                  </a:cubicBezTo>
                  <a:lnTo>
                    <a:pt x="1374" y="437"/>
                  </a:lnTo>
                  <a:cubicBezTo>
                    <a:pt x="1412" y="260"/>
                    <a:pt x="1311" y="84"/>
                    <a:pt x="1135" y="46"/>
                  </a:cubicBezTo>
                  <a:lnTo>
                    <a:pt x="971" y="8"/>
                  </a:lnTo>
                  <a:cubicBezTo>
                    <a:pt x="948" y="3"/>
                    <a:pt x="926" y="1"/>
                    <a:pt x="904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" name="Google Shape;1297;p45"/>
            <p:cNvSpPr/>
            <p:nvPr/>
          </p:nvSpPr>
          <p:spPr>
            <a:xfrm>
              <a:off x="4030025" y="2237750"/>
              <a:ext cx="33100" cy="89125"/>
            </a:xfrm>
            <a:custGeom>
              <a:avLst/>
              <a:gdLst/>
              <a:ahLst/>
              <a:cxnLst/>
              <a:rect l="l" t="t" r="r" b="b"/>
              <a:pathLst>
                <a:path w="1324" h="3565" extrusionOk="0">
                  <a:moveTo>
                    <a:pt x="503" y="0"/>
                  </a:moveTo>
                  <a:cubicBezTo>
                    <a:pt x="487" y="0"/>
                    <a:pt x="471" y="1"/>
                    <a:pt x="454" y="4"/>
                  </a:cubicBezTo>
                  <a:lnTo>
                    <a:pt x="303" y="41"/>
                  </a:lnTo>
                  <a:cubicBezTo>
                    <a:pt x="127" y="67"/>
                    <a:pt x="1" y="243"/>
                    <a:pt x="51" y="419"/>
                  </a:cubicBezTo>
                  <a:lnTo>
                    <a:pt x="643" y="3318"/>
                  </a:lnTo>
                  <a:cubicBezTo>
                    <a:pt x="665" y="3460"/>
                    <a:pt x="801" y="3564"/>
                    <a:pt x="953" y="3564"/>
                  </a:cubicBezTo>
                  <a:cubicBezTo>
                    <a:pt x="975" y="3564"/>
                    <a:pt x="998" y="3562"/>
                    <a:pt x="1021" y="3557"/>
                  </a:cubicBezTo>
                  <a:cubicBezTo>
                    <a:pt x="1198" y="3532"/>
                    <a:pt x="1324" y="3368"/>
                    <a:pt x="1286" y="3192"/>
                  </a:cubicBezTo>
                  <a:lnTo>
                    <a:pt x="832" y="281"/>
                  </a:lnTo>
                  <a:cubicBezTo>
                    <a:pt x="810" y="109"/>
                    <a:pt x="662" y="0"/>
                    <a:pt x="50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" name="Google Shape;1298;p45"/>
            <p:cNvSpPr/>
            <p:nvPr/>
          </p:nvSpPr>
          <p:spPr>
            <a:xfrm>
              <a:off x="4111925" y="2231525"/>
              <a:ext cx="20200" cy="90125"/>
            </a:xfrm>
            <a:custGeom>
              <a:avLst/>
              <a:gdLst/>
              <a:ahLst/>
              <a:cxnLst/>
              <a:rect l="l" t="t" r="r" b="b"/>
              <a:pathLst>
                <a:path w="808" h="3605" extrusionOk="0">
                  <a:moveTo>
                    <a:pt x="329" y="1"/>
                  </a:moveTo>
                  <a:cubicBezTo>
                    <a:pt x="152" y="1"/>
                    <a:pt x="1" y="152"/>
                    <a:pt x="14" y="328"/>
                  </a:cubicBezTo>
                  <a:lnTo>
                    <a:pt x="77" y="3289"/>
                  </a:lnTo>
                  <a:cubicBezTo>
                    <a:pt x="64" y="3466"/>
                    <a:pt x="215" y="3604"/>
                    <a:pt x="404" y="3604"/>
                  </a:cubicBezTo>
                  <a:cubicBezTo>
                    <a:pt x="581" y="3604"/>
                    <a:pt x="732" y="3466"/>
                    <a:pt x="732" y="3289"/>
                  </a:cubicBezTo>
                  <a:lnTo>
                    <a:pt x="795" y="328"/>
                  </a:lnTo>
                  <a:cubicBezTo>
                    <a:pt x="807" y="152"/>
                    <a:pt x="669" y="1"/>
                    <a:pt x="480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" name="Google Shape;1299;p45"/>
            <p:cNvSpPr/>
            <p:nvPr/>
          </p:nvSpPr>
          <p:spPr>
            <a:xfrm>
              <a:off x="4081375" y="2648975"/>
              <a:ext cx="77200" cy="73700"/>
            </a:xfrm>
            <a:custGeom>
              <a:avLst/>
              <a:gdLst/>
              <a:ahLst/>
              <a:cxnLst/>
              <a:rect l="l" t="t" r="r" b="b"/>
              <a:pathLst>
                <a:path w="3088" h="2948" extrusionOk="0">
                  <a:moveTo>
                    <a:pt x="1488" y="1"/>
                  </a:moveTo>
                  <a:cubicBezTo>
                    <a:pt x="729" y="1"/>
                    <a:pt x="1" y="595"/>
                    <a:pt x="1" y="1486"/>
                  </a:cubicBezTo>
                  <a:cubicBezTo>
                    <a:pt x="9" y="2368"/>
                    <a:pt x="732" y="2947"/>
                    <a:pt x="1483" y="2947"/>
                  </a:cubicBezTo>
                  <a:cubicBezTo>
                    <a:pt x="1848" y="2947"/>
                    <a:pt x="2220" y="2811"/>
                    <a:pt x="2521" y="2506"/>
                  </a:cubicBezTo>
                  <a:cubicBezTo>
                    <a:pt x="3088" y="1939"/>
                    <a:pt x="3088" y="1007"/>
                    <a:pt x="2508" y="427"/>
                  </a:cubicBezTo>
                  <a:cubicBezTo>
                    <a:pt x="2210" y="133"/>
                    <a:pt x="1845" y="1"/>
                    <a:pt x="148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" name="Google Shape;1300;p45"/>
            <p:cNvSpPr/>
            <p:nvPr/>
          </p:nvSpPr>
          <p:spPr>
            <a:xfrm>
              <a:off x="4101850" y="2507800"/>
              <a:ext cx="192200" cy="194700"/>
            </a:xfrm>
            <a:custGeom>
              <a:avLst/>
              <a:gdLst/>
              <a:ahLst/>
              <a:cxnLst/>
              <a:rect l="l" t="t" r="r" b="b"/>
              <a:pathLst>
                <a:path w="7688" h="7788" extrusionOk="0">
                  <a:moveTo>
                    <a:pt x="7687" y="1"/>
                  </a:moveTo>
                  <a:lnTo>
                    <a:pt x="1" y="7221"/>
                  </a:lnTo>
                  <a:lnTo>
                    <a:pt x="580" y="7788"/>
                  </a:lnTo>
                  <a:lnTo>
                    <a:pt x="7687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1" name="Google Shape;1301;p45"/>
          <p:cNvGrpSpPr/>
          <p:nvPr/>
        </p:nvGrpSpPr>
        <p:grpSpPr>
          <a:xfrm>
            <a:off x="1076798" y="2389341"/>
            <a:ext cx="1751365" cy="974253"/>
            <a:chOff x="4811600" y="2231525"/>
            <a:chExt cx="890600" cy="495450"/>
          </a:xfrm>
        </p:grpSpPr>
        <p:sp>
          <p:nvSpPr>
            <p:cNvPr id="1302" name="Google Shape;1302;p45"/>
            <p:cNvSpPr/>
            <p:nvPr/>
          </p:nvSpPr>
          <p:spPr>
            <a:xfrm>
              <a:off x="5604200" y="2591000"/>
              <a:ext cx="90750" cy="31025"/>
            </a:xfrm>
            <a:custGeom>
              <a:avLst/>
              <a:gdLst/>
              <a:ahLst/>
              <a:cxnLst/>
              <a:rect l="l" t="t" r="r" b="b"/>
              <a:pathLst>
                <a:path w="3630" h="1241" extrusionOk="0">
                  <a:moveTo>
                    <a:pt x="3267" y="1"/>
                  </a:moveTo>
                  <a:cubicBezTo>
                    <a:pt x="3241" y="1"/>
                    <a:pt x="3215" y="4"/>
                    <a:pt x="3188" y="12"/>
                  </a:cubicBezTo>
                  <a:lnTo>
                    <a:pt x="290" y="591"/>
                  </a:lnTo>
                  <a:cubicBezTo>
                    <a:pt x="114" y="617"/>
                    <a:pt x="0" y="793"/>
                    <a:pt x="38" y="957"/>
                  </a:cubicBezTo>
                  <a:lnTo>
                    <a:pt x="38" y="969"/>
                  </a:lnTo>
                  <a:cubicBezTo>
                    <a:pt x="60" y="1125"/>
                    <a:pt x="190" y="1241"/>
                    <a:pt x="341" y="1241"/>
                  </a:cubicBezTo>
                  <a:cubicBezTo>
                    <a:pt x="361" y="1241"/>
                    <a:pt x="382" y="1239"/>
                    <a:pt x="404" y="1234"/>
                  </a:cubicBezTo>
                  <a:lnTo>
                    <a:pt x="3327" y="793"/>
                  </a:lnTo>
                  <a:cubicBezTo>
                    <a:pt x="3503" y="768"/>
                    <a:pt x="3629" y="591"/>
                    <a:pt x="3592" y="415"/>
                  </a:cubicBezTo>
                  <a:cubicBezTo>
                    <a:pt x="3579" y="365"/>
                    <a:pt x="3579" y="314"/>
                    <a:pt x="3566" y="264"/>
                  </a:cubicBezTo>
                  <a:cubicBezTo>
                    <a:pt x="3534" y="114"/>
                    <a:pt x="3411" y="1"/>
                    <a:pt x="326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" name="Google Shape;1303;p45"/>
            <p:cNvSpPr/>
            <p:nvPr/>
          </p:nvSpPr>
          <p:spPr>
            <a:xfrm>
              <a:off x="4820100" y="2573450"/>
              <a:ext cx="90450" cy="34100"/>
            </a:xfrm>
            <a:custGeom>
              <a:avLst/>
              <a:gdLst/>
              <a:ahLst/>
              <a:cxnLst/>
              <a:rect l="l" t="t" r="r" b="b"/>
              <a:pathLst>
                <a:path w="3618" h="1364" extrusionOk="0">
                  <a:moveTo>
                    <a:pt x="393" y="0"/>
                  </a:moveTo>
                  <a:cubicBezTo>
                    <a:pt x="244" y="0"/>
                    <a:pt x="109" y="96"/>
                    <a:pt x="76" y="248"/>
                  </a:cubicBezTo>
                  <a:cubicBezTo>
                    <a:pt x="64" y="311"/>
                    <a:pt x="51" y="361"/>
                    <a:pt x="39" y="411"/>
                  </a:cubicBezTo>
                  <a:cubicBezTo>
                    <a:pt x="1" y="588"/>
                    <a:pt x="114" y="764"/>
                    <a:pt x="291" y="789"/>
                  </a:cubicBezTo>
                  <a:lnTo>
                    <a:pt x="3201" y="1356"/>
                  </a:lnTo>
                  <a:cubicBezTo>
                    <a:pt x="3223" y="1361"/>
                    <a:pt x="3244" y="1364"/>
                    <a:pt x="3265" y="1364"/>
                  </a:cubicBezTo>
                  <a:cubicBezTo>
                    <a:pt x="3409" y="1364"/>
                    <a:pt x="3546" y="1258"/>
                    <a:pt x="3579" y="1104"/>
                  </a:cubicBezTo>
                  <a:lnTo>
                    <a:pt x="3579" y="1092"/>
                  </a:lnTo>
                  <a:cubicBezTo>
                    <a:pt x="3617" y="928"/>
                    <a:pt x="3504" y="752"/>
                    <a:pt x="3340" y="714"/>
                  </a:cubicBezTo>
                  <a:lnTo>
                    <a:pt x="467" y="8"/>
                  </a:lnTo>
                  <a:cubicBezTo>
                    <a:pt x="442" y="3"/>
                    <a:pt x="417" y="0"/>
                    <a:pt x="39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" name="Google Shape;1304;p45"/>
            <p:cNvSpPr/>
            <p:nvPr/>
          </p:nvSpPr>
          <p:spPr>
            <a:xfrm>
              <a:off x="5584675" y="2508700"/>
              <a:ext cx="87900" cy="45000"/>
            </a:xfrm>
            <a:custGeom>
              <a:avLst/>
              <a:gdLst/>
              <a:ahLst/>
              <a:cxnLst/>
              <a:rect l="l" t="t" r="r" b="b"/>
              <a:pathLst>
                <a:path w="3516" h="1800" extrusionOk="0">
                  <a:moveTo>
                    <a:pt x="3087" y="0"/>
                  </a:moveTo>
                  <a:cubicBezTo>
                    <a:pt x="3045" y="0"/>
                    <a:pt x="3002" y="9"/>
                    <a:pt x="2961" y="28"/>
                  </a:cubicBezTo>
                  <a:lnTo>
                    <a:pt x="239" y="1174"/>
                  </a:lnTo>
                  <a:cubicBezTo>
                    <a:pt x="76" y="1237"/>
                    <a:pt x="0" y="1426"/>
                    <a:pt x="63" y="1590"/>
                  </a:cubicBezTo>
                  <a:cubicBezTo>
                    <a:pt x="112" y="1718"/>
                    <a:pt x="238" y="1799"/>
                    <a:pt x="368" y="1799"/>
                  </a:cubicBezTo>
                  <a:cubicBezTo>
                    <a:pt x="405" y="1799"/>
                    <a:pt x="443" y="1793"/>
                    <a:pt x="479" y="1779"/>
                  </a:cubicBezTo>
                  <a:lnTo>
                    <a:pt x="3251" y="771"/>
                  </a:lnTo>
                  <a:cubicBezTo>
                    <a:pt x="3427" y="708"/>
                    <a:pt x="3516" y="519"/>
                    <a:pt x="3440" y="355"/>
                  </a:cubicBezTo>
                  <a:lnTo>
                    <a:pt x="3390" y="204"/>
                  </a:lnTo>
                  <a:cubicBezTo>
                    <a:pt x="3342" y="81"/>
                    <a:pt x="3216" y="0"/>
                    <a:pt x="3087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" name="Google Shape;1305;p45"/>
            <p:cNvSpPr/>
            <p:nvPr/>
          </p:nvSpPr>
          <p:spPr>
            <a:xfrm>
              <a:off x="4845925" y="2492075"/>
              <a:ext cx="86975" cy="47975"/>
            </a:xfrm>
            <a:custGeom>
              <a:avLst/>
              <a:gdLst/>
              <a:ahLst/>
              <a:cxnLst/>
              <a:rect l="l" t="t" r="r" b="b"/>
              <a:pathLst>
                <a:path w="3479" h="1919" extrusionOk="0">
                  <a:moveTo>
                    <a:pt x="423" y="0"/>
                  </a:moveTo>
                  <a:cubicBezTo>
                    <a:pt x="305" y="0"/>
                    <a:pt x="193" y="72"/>
                    <a:pt x="140" y="189"/>
                  </a:cubicBezTo>
                  <a:cubicBezTo>
                    <a:pt x="114" y="239"/>
                    <a:pt x="102" y="289"/>
                    <a:pt x="77" y="340"/>
                  </a:cubicBezTo>
                  <a:cubicBezTo>
                    <a:pt x="1" y="504"/>
                    <a:pt x="77" y="693"/>
                    <a:pt x="253" y="756"/>
                  </a:cubicBezTo>
                  <a:lnTo>
                    <a:pt x="2987" y="1890"/>
                  </a:lnTo>
                  <a:cubicBezTo>
                    <a:pt x="3027" y="1909"/>
                    <a:pt x="3070" y="1919"/>
                    <a:pt x="3113" y="1919"/>
                  </a:cubicBezTo>
                  <a:cubicBezTo>
                    <a:pt x="3235" y="1919"/>
                    <a:pt x="3357" y="1844"/>
                    <a:pt x="3403" y="1713"/>
                  </a:cubicBezTo>
                  <a:cubicBezTo>
                    <a:pt x="3479" y="1549"/>
                    <a:pt x="3403" y="1360"/>
                    <a:pt x="3252" y="1285"/>
                  </a:cubicBezTo>
                  <a:lnTo>
                    <a:pt x="568" y="37"/>
                  </a:lnTo>
                  <a:cubicBezTo>
                    <a:pt x="521" y="12"/>
                    <a:pt x="471" y="0"/>
                    <a:pt x="42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" name="Google Shape;1306;p45"/>
            <p:cNvSpPr/>
            <p:nvPr/>
          </p:nvSpPr>
          <p:spPr>
            <a:xfrm>
              <a:off x="5552225" y="2432700"/>
              <a:ext cx="81925" cy="57850"/>
            </a:xfrm>
            <a:custGeom>
              <a:avLst/>
              <a:gdLst/>
              <a:ahLst/>
              <a:cxnLst/>
              <a:rect l="l" t="t" r="r" b="b"/>
              <a:pathLst>
                <a:path w="3277" h="2314" extrusionOk="0">
                  <a:moveTo>
                    <a:pt x="2821" y="0"/>
                  </a:moveTo>
                  <a:cubicBezTo>
                    <a:pt x="2759" y="0"/>
                    <a:pt x="2698" y="19"/>
                    <a:pt x="2646" y="56"/>
                  </a:cubicBezTo>
                  <a:lnTo>
                    <a:pt x="189" y="1707"/>
                  </a:lnTo>
                  <a:cubicBezTo>
                    <a:pt x="38" y="1807"/>
                    <a:pt x="0" y="2009"/>
                    <a:pt x="101" y="2160"/>
                  </a:cubicBezTo>
                  <a:cubicBezTo>
                    <a:pt x="158" y="2258"/>
                    <a:pt x="262" y="2314"/>
                    <a:pt x="373" y="2314"/>
                  </a:cubicBezTo>
                  <a:cubicBezTo>
                    <a:pt x="434" y="2314"/>
                    <a:pt x="497" y="2297"/>
                    <a:pt x="555" y="2261"/>
                  </a:cubicBezTo>
                  <a:lnTo>
                    <a:pt x="3075" y="724"/>
                  </a:lnTo>
                  <a:cubicBezTo>
                    <a:pt x="3226" y="636"/>
                    <a:pt x="3276" y="434"/>
                    <a:pt x="3176" y="283"/>
                  </a:cubicBezTo>
                  <a:cubicBezTo>
                    <a:pt x="3150" y="232"/>
                    <a:pt x="3125" y="195"/>
                    <a:pt x="3087" y="157"/>
                  </a:cubicBezTo>
                  <a:cubicBezTo>
                    <a:pt x="3032" y="54"/>
                    <a:pt x="2926" y="0"/>
                    <a:pt x="282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" name="Google Shape;1307;p45"/>
            <p:cNvSpPr/>
            <p:nvPr/>
          </p:nvSpPr>
          <p:spPr>
            <a:xfrm>
              <a:off x="4887825" y="2417825"/>
              <a:ext cx="80050" cy="60225"/>
            </a:xfrm>
            <a:custGeom>
              <a:avLst/>
              <a:gdLst/>
              <a:ahLst/>
              <a:cxnLst/>
              <a:rect l="l" t="t" r="r" b="b"/>
              <a:pathLst>
                <a:path w="3202" h="2409" extrusionOk="0">
                  <a:moveTo>
                    <a:pt x="444" y="1"/>
                  </a:moveTo>
                  <a:cubicBezTo>
                    <a:pt x="346" y="1"/>
                    <a:pt x="249" y="46"/>
                    <a:pt x="190" y="134"/>
                  </a:cubicBezTo>
                  <a:lnTo>
                    <a:pt x="102" y="260"/>
                  </a:lnTo>
                  <a:cubicBezTo>
                    <a:pt x="1" y="412"/>
                    <a:pt x="39" y="613"/>
                    <a:pt x="190" y="714"/>
                  </a:cubicBezTo>
                  <a:lnTo>
                    <a:pt x="2647" y="2352"/>
                  </a:lnTo>
                  <a:cubicBezTo>
                    <a:pt x="2699" y="2390"/>
                    <a:pt x="2762" y="2408"/>
                    <a:pt x="2826" y="2408"/>
                  </a:cubicBezTo>
                  <a:cubicBezTo>
                    <a:pt x="2931" y="2408"/>
                    <a:pt x="3038" y="2358"/>
                    <a:pt x="3101" y="2264"/>
                  </a:cubicBezTo>
                  <a:cubicBezTo>
                    <a:pt x="3202" y="2125"/>
                    <a:pt x="3164" y="1924"/>
                    <a:pt x="3025" y="1823"/>
                  </a:cubicBezTo>
                  <a:lnTo>
                    <a:pt x="644" y="71"/>
                  </a:lnTo>
                  <a:cubicBezTo>
                    <a:pt x="586" y="24"/>
                    <a:pt x="515" y="1"/>
                    <a:pt x="44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" name="Google Shape;1308;p45"/>
            <p:cNvSpPr/>
            <p:nvPr/>
          </p:nvSpPr>
          <p:spPr>
            <a:xfrm>
              <a:off x="5508425" y="2365875"/>
              <a:ext cx="72800" cy="68850"/>
            </a:xfrm>
            <a:custGeom>
              <a:avLst/>
              <a:gdLst/>
              <a:ahLst/>
              <a:cxnLst/>
              <a:rect l="l" t="t" r="r" b="b"/>
              <a:pathLst>
                <a:path w="2912" h="2754" extrusionOk="0">
                  <a:moveTo>
                    <a:pt x="2445" y="1"/>
                  </a:moveTo>
                  <a:cubicBezTo>
                    <a:pt x="2363" y="1"/>
                    <a:pt x="2281" y="32"/>
                    <a:pt x="2218" y="95"/>
                  </a:cubicBezTo>
                  <a:lnTo>
                    <a:pt x="127" y="2187"/>
                  </a:lnTo>
                  <a:cubicBezTo>
                    <a:pt x="1" y="2313"/>
                    <a:pt x="1" y="2515"/>
                    <a:pt x="127" y="2641"/>
                  </a:cubicBezTo>
                  <a:cubicBezTo>
                    <a:pt x="194" y="2715"/>
                    <a:pt x="283" y="2753"/>
                    <a:pt x="371" y="2753"/>
                  </a:cubicBezTo>
                  <a:cubicBezTo>
                    <a:pt x="447" y="2753"/>
                    <a:pt x="522" y="2724"/>
                    <a:pt x="580" y="2666"/>
                  </a:cubicBezTo>
                  <a:lnTo>
                    <a:pt x="2760" y="662"/>
                  </a:lnTo>
                  <a:cubicBezTo>
                    <a:pt x="2899" y="549"/>
                    <a:pt x="2911" y="335"/>
                    <a:pt x="2785" y="209"/>
                  </a:cubicBezTo>
                  <a:lnTo>
                    <a:pt x="2672" y="95"/>
                  </a:lnTo>
                  <a:cubicBezTo>
                    <a:pt x="2609" y="32"/>
                    <a:pt x="2527" y="1"/>
                    <a:pt x="244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" name="Google Shape;1309;p45"/>
            <p:cNvSpPr/>
            <p:nvPr/>
          </p:nvSpPr>
          <p:spPr>
            <a:xfrm>
              <a:off x="4943275" y="2353000"/>
              <a:ext cx="70600" cy="70875"/>
            </a:xfrm>
            <a:custGeom>
              <a:avLst/>
              <a:gdLst/>
              <a:ahLst/>
              <a:cxnLst/>
              <a:rect l="l" t="t" r="r" b="b"/>
              <a:pathLst>
                <a:path w="2824" h="2835" extrusionOk="0">
                  <a:moveTo>
                    <a:pt x="472" y="1"/>
                  </a:moveTo>
                  <a:cubicBezTo>
                    <a:pt x="390" y="1"/>
                    <a:pt x="308" y="32"/>
                    <a:pt x="240" y="94"/>
                  </a:cubicBezTo>
                  <a:lnTo>
                    <a:pt x="127" y="195"/>
                  </a:lnTo>
                  <a:cubicBezTo>
                    <a:pt x="1" y="321"/>
                    <a:pt x="1" y="535"/>
                    <a:pt x="127" y="661"/>
                  </a:cubicBezTo>
                  <a:lnTo>
                    <a:pt x="2231" y="2740"/>
                  </a:lnTo>
                  <a:cubicBezTo>
                    <a:pt x="2288" y="2803"/>
                    <a:pt x="2370" y="2834"/>
                    <a:pt x="2453" y="2834"/>
                  </a:cubicBezTo>
                  <a:cubicBezTo>
                    <a:pt x="2537" y="2834"/>
                    <a:pt x="2622" y="2803"/>
                    <a:pt x="2685" y="2740"/>
                  </a:cubicBezTo>
                  <a:cubicBezTo>
                    <a:pt x="2811" y="2614"/>
                    <a:pt x="2823" y="2412"/>
                    <a:pt x="2697" y="2286"/>
                  </a:cubicBezTo>
                  <a:lnTo>
                    <a:pt x="706" y="106"/>
                  </a:lnTo>
                  <a:cubicBezTo>
                    <a:pt x="642" y="35"/>
                    <a:pt x="557" y="1"/>
                    <a:pt x="472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" name="Google Shape;1310;p45"/>
            <p:cNvSpPr/>
            <p:nvPr/>
          </p:nvSpPr>
          <p:spPr>
            <a:xfrm>
              <a:off x="5454250" y="2310450"/>
              <a:ext cx="62400" cy="77925"/>
            </a:xfrm>
            <a:custGeom>
              <a:avLst/>
              <a:gdLst/>
              <a:ahLst/>
              <a:cxnLst/>
              <a:rect l="l" t="t" r="r" b="b"/>
              <a:pathLst>
                <a:path w="2496" h="3117" extrusionOk="0">
                  <a:moveTo>
                    <a:pt x="2006" y="1"/>
                  </a:moveTo>
                  <a:cubicBezTo>
                    <a:pt x="1904" y="1"/>
                    <a:pt x="1802" y="51"/>
                    <a:pt x="1739" y="145"/>
                  </a:cubicBezTo>
                  <a:lnTo>
                    <a:pt x="101" y="2602"/>
                  </a:lnTo>
                  <a:cubicBezTo>
                    <a:pt x="0" y="2753"/>
                    <a:pt x="38" y="2955"/>
                    <a:pt x="189" y="3056"/>
                  </a:cubicBezTo>
                  <a:cubicBezTo>
                    <a:pt x="245" y="3096"/>
                    <a:pt x="310" y="3116"/>
                    <a:pt x="376" y="3116"/>
                  </a:cubicBezTo>
                  <a:cubicBezTo>
                    <a:pt x="475" y="3116"/>
                    <a:pt x="575" y="3071"/>
                    <a:pt x="643" y="2980"/>
                  </a:cubicBezTo>
                  <a:lnTo>
                    <a:pt x="2382" y="599"/>
                  </a:lnTo>
                  <a:cubicBezTo>
                    <a:pt x="2495" y="460"/>
                    <a:pt x="2470" y="246"/>
                    <a:pt x="2319" y="145"/>
                  </a:cubicBezTo>
                  <a:lnTo>
                    <a:pt x="2180" y="57"/>
                  </a:lnTo>
                  <a:cubicBezTo>
                    <a:pt x="2128" y="19"/>
                    <a:pt x="2067" y="1"/>
                    <a:pt x="200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" name="Google Shape;1311;p45"/>
            <p:cNvSpPr/>
            <p:nvPr/>
          </p:nvSpPr>
          <p:spPr>
            <a:xfrm>
              <a:off x="5010075" y="2300475"/>
              <a:ext cx="60175" cy="79300"/>
            </a:xfrm>
            <a:custGeom>
              <a:avLst/>
              <a:gdLst/>
              <a:ahLst/>
              <a:cxnLst/>
              <a:rect l="l" t="t" r="r" b="b"/>
              <a:pathLst>
                <a:path w="2407" h="3172" extrusionOk="0">
                  <a:moveTo>
                    <a:pt x="500" y="0"/>
                  </a:moveTo>
                  <a:cubicBezTo>
                    <a:pt x="441" y="0"/>
                    <a:pt x="381" y="17"/>
                    <a:pt x="328" y="53"/>
                  </a:cubicBezTo>
                  <a:lnTo>
                    <a:pt x="202" y="128"/>
                  </a:lnTo>
                  <a:cubicBezTo>
                    <a:pt x="50" y="229"/>
                    <a:pt x="0" y="431"/>
                    <a:pt x="113" y="582"/>
                  </a:cubicBezTo>
                  <a:lnTo>
                    <a:pt x="1764" y="3039"/>
                  </a:lnTo>
                  <a:cubicBezTo>
                    <a:pt x="1826" y="3124"/>
                    <a:pt x="1927" y="3172"/>
                    <a:pt x="2027" y="3172"/>
                  </a:cubicBezTo>
                  <a:cubicBezTo>
                    <a:pt x="2090" y="3172"/>
                    <a:pt x="2152" y="3153"/>
                    <a:pt x="2205" y="3115"/>
                  </a:cubicBezTo>
                  <a:cubicBezTo>
                    <a:pt x="2356" y="3026"/>
                    <a:pt x="2407" y="2825"/>
                    <a:pt x="2306" y="2674"/>
                  </a:cubicBezTo>
                  <a:lnTo>
                    <a:pt x="769" y="153"/>
                  </a:lnTo>
                  <a:cubicBezTo>
                    <a:pt x="712" y="56"/>
                    <a:pt x="607" y="0"/>
                    <a:pt x="50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" name="Google Shape;1312;p45"/>
            <p:cNvSpPr/>
            <p:nvPr/>
          </p:nvSpPr>
          <p:spPr>
            <a:xfrm>
              <a:off x="5392175" y="2268775"/>
              <a:ext cx="49800" cy="84550"/>
            </a:xfrm>
            <a:custGeom>
              <a:avLst/>
              <a:gdLst/>
              <a:ahLst/>
              <a:cxnLst/>
              <a:rect l="l" t="t" r="r" b="b"/>
              <a:pathLst>
                <a:path w="1992" h="3382" extrusionOk="0">
                  <a:moveTo>
                    <a:pt x="1495" y="1"/>
                  </a:moveTo>
                  <a:cubicBezTo>
                    <a:pt x="1367" y="1"/>
                    <a:pt x="1246" y="74"/>
                    <a:pt x="1198" y="199"/>
                  </a:cubicBezTo>
                  <a:lnTo>
                    <a:pt x="64" y="2933"/>
                  </a:lnTo>
                  <a:cubicBezTo>
                    <a:pt x="1" y="3097"/>
                    <a:pt x="76" y="3286"/>
                    <a:pt x="240" y="3349"/>
                  </a:cubicBezTo>
                  <a:cubicBezTo>
                    <a:pt x="287" y="3371"/>
                    <a:pt x="335" y="3381"/>
                    <a:pt x="383" y="3381"/>
                  </a:cubicBezTo>
                  <a:cubicBezTo>
                    <a:pt x="502" y="3381"/>
                    <a:pt x="615" y="3315"/>
                    <a:pt x="669" y="3198"/>
                  </a:cubicBezTo>
                  <a:lnTo>
                    <a:pt x="1916" y="527"/>
                  </a:lnTo>
                  <a:cubicBezTo>
                    <a:pt x="1992" y="363"/>
                    <a:pt x="1929" y="161"/>
                    <a:pt x="1765" y="98"/>
                  </a:cubicBezTo>
                  <a:lnTo>
                    <a:pt x="1614" y="23"/>
                  </a:lnTo>
                  <a:cubicBezTo>
                    <a:pt x="1575" y="8"/>
                    <a:pt x="1535" y="1"/>
                    <a:pt x="149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" name="Google Shape;1313;p45"/>
            <p:cNvSpPr/>
            <p:nvPr/>
          </p:nvSpPr>
          <p:spPr>
            <a:xfrm>
              <a:off x="5085975" y="2261900"/>
              <a:ext cx="47275" cy="85675"/>
            </a:xfrm>
            <a:custGeom>
              <a:avLst/>
              <a:gdLst/>
              <a:ahLst/>
              <a:cxnLst/>
              <a:rect l="l" t="t" r="r" b="b"/>
              <a:pathLst>
                <a:path w="1891" h="3427" extrusionOk="0">
                  <a:moveTo>
                    <a:pt x="508" y="0"/>
                  </a:moveTo>
                  <a:cubicBezTo>
                    <a:pt x="470" y="0"/>
                    <a:pt x="430" y="7"/>
                    <a:pt x="391" y="20"/>
                  </a:cubicBezTo>
                  <a:lnTo>
                    <a:pt x="253" y="83"/>
                  </a:lnTo>
                  <a:cubicBezTo>
                    <a:pt x="89" y="146"/>
                    <a:pt x="1" y="335"/>
                    <a:pt x="76" y="499"/>
                  </a:cubicBezTo>
                  <a:lnTo>
                    <a:pt x="1211" y="3234"/>
                  </a:lnTo>
                  <a:cubicBezTo>
                    <a:pt x="1266" y="3354"/>
                    <a:pt x="1383" y="3427"/>
                    <a:pt x="1506" y="3427"/>
                  </a:cubicBezTo>
                  <a:cubicBezTo>
                    <a:pt x="1551" y="3427"/>
                    <a:pt x="1596" y="3418"/>
                    <a:pt x="1639" y="3397"/>
                  </a:cubicBezTo>
                  <a:cubicBezTo>
                    <a:pt x="1803" y="3347"/>
                    <a:pt x="1891" y="3158"/>
                    <a:pt x="1828" y="2994"/>
                  </a:cubicBezTo>
                  <a:lnTo>
                    <a:pt x="807" y="209"/>
                  </a:lnTo>
                  <a:cubicBezTo>
                    <a:pt x="768" y="82"/>
                    <a:pt x="644" y="0"/>
                    <a:pt x="508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" name="Google Shape;1314;p45"/>
            <p:cNvSpPr/>
            <p:nvPr/>
          </p:nvSpPr>
          <p:spPr>
            <a:xfrm>
              <a:off x="5324775" y="2242575"/>
              <a:ext cx="35625" cy="88725"/>
            </a:xfrm>
            <a:custGeom>
              <a:avLst/>
              <a:gdLst/>
              <a:ahLst/>
              <a:cxnLst/>
              <a:rect l="l" t="t" r="r" b="b"/>
              <a:pathLst>
                <a:path w="1425" h="3549" extrusionOk="0">
                  <a:moveTo>
                    <a:pt x="898" y="0"/>
                  </a:moveTo>
                  <a:cubicBezTo>
                    <a:pt x="754" y="0"/>
                    <a:pt x="626" y="104"/>
                    <a:pt x="605" y="252"/>
                  </a:cubicBezTo>
                  <a:lnTo>
                    <a:pt x="38" y="3162"/>
                  </a:lnTo>
                  <a:cubicBezTo>
                    <a:pt x="0" y="3326"/>
                    <a:pt x="114" y="3503"/>
                    <a:pt x="290" y="3540"/>
                  </a:cubicBezTo>
                  <a:lnTo>
                    <a:pt x="303" y="3540"/>
                  </a:lnTo>
                  <a:cubicBezTo>
                    <a:pt x="326" y="3546"/>
                    <a:pt x="349" y="3548"/>
                    <a:pt x="372" y="3548"/>
                  </a:cubicBezTo>
                  <a:cubicBezTo>
                    <a:pt x="513" y="3548"/>
                    <a:pt x="648" y="3453"/>
                    <a:pt x="681" y="3301"/>
                  </a:cubicBezTo>
                  <a:lnTo>
                    <a:pt x="1386" y="428"/>
                  </a:lnTo>
                  <a:cubicBezTo>
                    <a:pt x="1424" y="252"/>
                    <a:pt x="1323" y="75"/>
                    <a:pt x="1147" y="37"/>
                  </a:cubicBezTo>
                  <a:lnTo>
                    <a:pt x="983" y="12"/>
                  </a:lnTo>
                  <a:cubicBezTo>
                    <a:pt x="955" y="4"/>
                    <a:pt x="926" y="0"/>
                    <a:pt x="898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" name="Google Shape;1315;p45"/>
            <p:cNvSpPr/>
            <p:nvPr/>
          </p:nvSpPr>
          <p:spPr>
            <a:xfrm>
              <a:off x="5168825" y="2239225"/>
              <a:ext cx="32475" cy="89225"/>
            </a:xfrm>
            <a:custGeom>
              <a:avLst/>
              <a:gdLst/>
              <a:ahLst/>
              <a:cxnLst/>
              <a:rect l="l" t="t" r="r" b="b"/>
              <a:pathLst>
                <a:path w="1299" h="3569" extrusionOk="0">
                  <a:moveTo>
                    <a:pt x="509" y="1"/>
                  </a:moveTo>
                  <a:cubicBezTo>
                    <a:pt x="487" y="1"/>
                    <a:pt x="465" y="3"/>
                    <a:pt x="442" y="8"/>
                  </a:cubicBezTo>
                  <a:lnTo>
                    <a:pt x="291" y="33"/>
                  </a:lnTo>
                  <a:cubicBezTo>
                    <a:pt x="114" y="58"/>
                    <a:pt x="1" y="234"/>
                    <a:pt x="39" y="411"/>
                  </a:cubicBezTo>
                  <a:lnTo>
                    <a:pt x="618" y="3309"/>
                  </a:lnTo>
                  <a:cubicBezTo>
                    <a:pt x="640" y="3463"/>
                    <a:pt x="777" y="3568"/>
                    <a:pt x="928" y="3568"/>
                  </a:cubicBezTo>
                  <a:cubicBezTo>
                    <a:pt x="951" y="3568"/>
                    <a:pt x="973" y="3566"/>
                    <a:pt x="996" y="3561"/>
                  </a:cubicBezTo>
                  <a:cubicBezTo>
                    <a:pt x="1173" y="3536"/>
                    <a:pt x="1299" y="3372"/>
                    <a:pt x="1261" y="3196"/>
                  </a:cubicBezTo>
                  <a:lnTo>
                    <a:pt x="820" y="272"/>
                  </a:lnTo>
                  <a:cubicBezTo>
                    <a:pt x="798" y="117"/>
                    <a:pt x="668" y="1"/>
                    <a:pt x="50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" name="Google Shape;1316;p45"/>
            <p:cNvSpPr/>
            <p:nvPr/>
          </p:nvSpPr>
          <p:spPr>
            <a:xfrm>
              <a:off x="5252000" y="2231525"/>
              <a:ext cx="19875" cy="90125"/>
            </a:xfrm>
            <a:custGeom>
              <a:avLst/>
              <a:gdLst/>
              <a:ahLst/>
              <a:cxnLst/>
              <a:rect l="l" t="t" r="r" b="b"/>
              <a:pathLst>
                <a:path w="795" h="3605" extrusionOk="0">
                  <a:moveTo>
                    <a:pt x="316" y="1"/>
                  </a:moveTo>
                  <a:cubicBezTo>
                    <a:pt x="139" y="1"/>
                    <a:pt x="1" y="152"/>
                    <a:pt x="1" y="328"/>
                  </a:cubicBezTo>
                  <a:lnTo>
                    <a:pt x="51" y="3289"/>
                  </a:lnTo>
                  <a:cubicBezTo>
                    <a:pt x="51" y="3466"/>
                    <a:pt x="190" y="3604"/>
                    <a:pt x="379" y="3604"/>
                  </a:cubicBezTo>
                  <a:cubicBezTo>
                    <a:pt x="555" y="3604"/>
                    <a:pt x="694" y="3466"/>
                    <a:pt x="706" y="3289"/>
                  </a:cubicBezTo>
                  <a:lnTo>
                    <a:pt x="794" y="328"/>
                  </a:lnTo>
                  <a:cubicBezTo>
                    <a:pt x="794" y="152"/>
                    <a:pt x="656" y="1"/>
                    <a:pt x="47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" name="Google Shape;1317;p45"/>
            <p:cNvSpPr/>
            <p:nvPr/>
          </p:nvSpPr>
          <p:spPr>
            <a:xfrm>
              <a:off x="5218300" y="2653400"/>
              <a:ext cx="95775" cy="73575"/>
            </a:xfrm>
            <a:custGeom>
              <a:avLst/>
              <a:gdLst/>
              <a:ahLst/>
              <a:cxnLst/>
              <a:rect l="l" t="t" r="r" b="b"/>
              <a:pathLst>
                <a:path w="3831" h="2943" extrusionOk="0">
                  <a:moveTo>
                    <a:pt x="1923" y="0"/>
                  </a:moveTo>
                  <a:cubicBezTo>
                    <a:pt x="1629" y="0"/>
                    <a:pt x="1331" y="89"/>
                    <a:pt x="1071" y="275"/>
                  </a:cubicBezTo>
                  <a:cubicBezTo>
                    <a:pt x="0" y="1019"/>
                    <a:pt x="378" y="2695"/>
                    <a:pt x="1676" y="2922"/>
                  </a:cubicBezTo>
                  <a:cubicBezTo>
                    <a:pt x="1762" y="2936"/>
                    <a:pt x="1847" y="2943"/>
                    <a:pt x="1930" y="2943"/>
                  </a:cubicBezTo>
                  <a:cubicBezTo>
                    <a:pt x="3077" y="2943"/>
                    <a:pt x="3830" y="1616"/>
                    <a:pt x="3125" y="628"/>
                  </a:cubicBezTo>
                  <a:cubicBezTo>
                    <a:pt x="2840" y="220"/>
                    <a:pt x="2386" y="0"/>
                    <a:pt x="192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" name="Google Shape;1318;p45"/>
            <p:cNvSpPr/>
            <p:nvPr/>
          </p:nvSpPr>
          <p:spPr>
            <a:xfrm>
              <a:off x="5122200" y="2485750"/>
              <a:ext cx="158175" cy="217850"/>
            </a:xfrm>
            <a:custGeom>
              <a:avLst/>
              <a:gdLst/>
              <a:ahLst/>
              <a:cxnLst/>
              <a:rect l="l" t="t" r="r" b="b"/>
              <a:pathLst>
                <a:path w="6327" h="8714" extrusionOk="0">
                  <a:moveTo>
                    <a:pt x="1" y="0"/>
                  </a:moveTo>
                  <a:lnTo>
                    <a:pt x="5558" y="8569"/>
                  </a:lnTo>
                  <a:cubicBezTo>
                    <a:pt x="5613" y="8663"/>
                    <a:pt x="5717" y="8714"/>
                    <a:pt x="5824" y="8714"/>
                  </a:cubicBezTo>
                  <a:cubicBezTo>
                    <a:pt x="5889" y="8714"/>
                    <a:pt x="5955" y="8695"/>
                    <a:pt x="6012" y="8657"/>
                  </a:cubicBezTo>
                  <a:lnTo>
                    <a:pt x="6138" y="8569"/>
                  </a:lnTo>
                  <a:cubicBezTo>
                    <a:pt x="6289" y="8456"/>
                    <a:pt x="6327" y="8254"/>
                    <a:pt x="6213" y="8103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" name="Google Shape;1319;p45"/>
            <p:cNvSpPr/>
            <p:nvPr/>
          </p:nvSpPr>
          <p:spPr>
            <a:xfrm>
              <a:off x="5612075" y="2674425"/>
              <a:ext cx="90125" cy="19575"/>
            </a:xfrm>
            <a:custGeom>
              <a:avLst/>
              <a:gdLst/>
              <a:ahLst/>
              <a:cxnLst/>
              <a:rect l="l" t="t" r="r" b="b"/>
              <a:pathLst>
                <a:path w="3605" h="783" extrusionOk="0">
                  <a:moveTo>
                    <a:pt x="3288" y="1"/>
                  </a:moveTo>
                  <a:cubicBezTo>
                    <a:pt x="3280" y="1"/>
                    <a:pt x="3272" y="1"/>
                    <a:pt x="3264" y="1"/>
                  </a:cubicBezTo>
                  <a:lnTo>
                    <a:pt x="315" y="127"/>
                  </a:lnTo>
                  <a:cubicBezTo>
                    <a:pt x="139" y="127"/>
                    <a:pt x="0" y="279"/>
                    <a:pt x="0" y="455"/>
                  </a:cubicBezTo>
                  <a:lnTo>
                    <a:pt x="0" y="468"/>
                  </a:lnTo>
                  <a:cubicBezTo>
                    <a:pt x="13" y="644"/>
                    <a:pt x="152" y="783"/>
                    <a:pt x="328" y="783"/>
                  </a:cubicBezTo>
                  <a:lnTo>
                    <a:pt x="3277" y="783"/>
                  </a:lnTo>
                  <a:cubicBezTo>
                    <a:pt x="3466" y="783"/>
                    <a:pt x="3604" y="631"/>
                    <a:pt x="3604" y="442"/>
                  </a:cubicBezTo>
                  <a:lnTo>
                    <a:pt x="3604" y="316"/>
                  </a:lnTo>
                  <a:cubicBezTo>
                    <a:pt x="3604" y="135"/>
                    <a:pt x="3465" y="1"/>
                    <a:pt x="3288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" name="Google Shape;1320;p45"/>
            <p:cNvSpPr/>
            <p:nvPr/>
          </p:nvSpPr>
          <p:spPr>
            <a:xfrm>
              <a:off x="4811600" y="2666250"/>
              <a:ext cx="90125" cy="19575"/>
            </a:xfrm>
            <a:custGeom>
              <a:avLst/>
              <a:gdLst/>
              <a:ahLst/>
              <a:cxnLst/>
              <a:rect l="l" t="t" r="r" b="b"/>
              <a:pathLst>
                <a:path w="3605" h="783" extrusionOk="0">
                  <a:moveTo>
                    <a:pt x="353" y="1"/>
                  </a:moveTo>
                  <a:cubicBezTo>
                    <a:pt x="164" y="1"/>
                    <a:pt x="13" y="139"/>
                    <a:pt x="13" y="316"/>
                  </a:cubicBezTo>
                  <a:lnTo>
                    <a:pt x="13" y="454"/>
                  </a:lnTo>
                  <a:cubicBezTo>
                    <a:pt x="0" y="643"/>
                    <a:pt x="152" y="782"/>
                    <a:pt x="328" y="782"/>
                  </a:cubicBezTo>
                  <a:lnTo>
                    <a:pt x="3277" y="782"/>
                  </a:lnTo>
                  <a:cubicBezTo>
                    <a:pt x="3453" y="782"/>
                    <a:pt x="3604" y="643"/>
                    <a:pt x="3604" y="467"/>
                  </a:cubicBezTo>
                  <a:cubicBezTo>
                    <a:pt x="3604" y="291"/>
                    <a:pt x="3466" y="139"/>
                    <a:pt x="3289" y="127"/>
                  </a:cubicBezTo>
                  <a:lnTo>
                    <a:pt x="353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1" name="Google Shape;1321;p45"/>
          <p:cNvSpPr txBox="1">
            <a:spLocks noGrp="1"/>
          </p:cNvSpPr>
          <p:nvPr>
            <p:ph type="ctrTitle" idx="2"/>
          </p:nvPr>
        </p:nvSpPr>
        <p:spPr>
          <a:xfrm>
            <a:off x="3623779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2"/>
                </a:solidFill>
              </a:rPr>
              <a:t>OCTOBER 14</a:t>
            </a:r>
            <a:endParaRPr sz="1600">
              <a:solidFill>
                <a:schemeClr val="accent2"/>
              </a:solidFill>
            </a:endParaRPr>
          </a:p>
        </p:txBody>
      </p:sp>
      <p:sp>
        <p:nvSpPr>
          <p:cNvPr id="1322" name="Google Shape;1322;p45"/>
          <p:cNvSpPr txBox="1">
            <a:spLocks noGrp="1"/>
          </p:cNvSpPr>
          <p:nvPr>
            <p:ph type="ctrTitle"/>
          </p:nvPr>
        </p:nvSpPr>
        <p:spPr>
          <a:xfrm>
            <a:off x="1011829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1"/>
                </a:solidFill>
              </a:rPr>
              <a:t>JUNE 2</a:t>
            </a:r>
            <a:endParaRPr sz="1600">
              <a:solidFill>
                <a:schemeClr val="accent1"/>
              </a:solidFill>
            </a:endParaRPr>
          </a:p>
        </p:txBody>
      </p:sp>
      <p:sp>
        <p:nvSpPr>
          <p:cNvPr id="1323" name="Google Shape;1323;p45"/>
          <p:cNvSpPr txBox="1">
            <a:spLocks noGrp="1"/>
          </p:cNvSpPr>
          <p:nvPr>
            <p:ph type="ctrTitle" idx="4"/>
          </p:nvPr>
        </p:nvSpPr>
        <p:spPr>
          <a:xfrm>
            <a:off x="6245202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3"/>
                </a:solidFill>
              </a:rPr>
              <a:t>JANUARY 23</a:t>
            </a:r>
            <a:endParaRPr sz="1600"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8" name="Google Shape;1328;p4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NEAK PEEK</a:t>
            </a:r>
            <a:endParaRPr/>
          </a:p>
        </p:txBody>
      </p:sp>
      <p:sp>
        <p:nvSpPr>
          <p:cNvPr id="1329" name="Google Shape;1329;p46"/>
          <p:cNvSpPr txBox="1">
            <a:spLocks noGrp="1"/>
          </p:cNvSpPr>
          <p:nvPr>
            <p:ph type="body" idx="1"/>
          </p:nvPr>
        </p:nvSpPr>
        <p:spPr>
          <a:xfrm>
            <a:off x="2370564" y="3979875"/>
            <a:ext cx="4046700" cy="1296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s on these screens with your own work</a:t>
            </a:r>
            <a:endParaRPr/>
          </a:p>
        </p:txBody>
      </p:sp>
      <p:grpSp>
        <p:nvGrpSpPr>
          <p:cNvPr id="1330" name="Google Shape;1330;p46"/>
          <p:cNvGrpSpPr/>
          <p:nvPr/>
        </p:nvGrpSpPr>
        <p:grpSpPr>
          <a:xfrm>
            <a:off x="2865643" y="1274393"/>
            <a:ext cx="3079859" cy="2420090"/>
            <a:chOff x="1153225" y="1597649"/>
            <a:chExt cx="3842140" cy="3019074"/>
          </a:xfrm>
        </p:grpSpPr>
        <p:grpSp>
          <p:nvGrpSpPr>
            <p:cNvPr id="1331" name="Google Shape;1331;p46"/>
            <p:cNvGrpSpPr/>
            <p:nvPr/>
          </p:nvGrpSpPr>
          <p:grpSpPr>
            <a:xfrm>
              <a:off x="1153225" y="1597649"/>
              <a:ext cx="3842140" cy="3019074"/>
              <a:chOff x="238125" y="1676700"/>
              <a:chExt cx="2045650" cy="1779275"/>
            </a:xfrm>
          </p:grpSpPr>
          <p:sp>
            <p:nvSpPr>
              <p:cNvPr id="1332" name="Google Shape;1332;p46"/>
              <p:cNvSpPr/>
              <p:nvPr/>
            </p:nvSpPr>
            <p:spPr>
              <a:xfrm>
                <a:off x="1006875" y="3190025"/>
                <a:ext cx="508150" cy="247100"/>
              </a:xfrm>
              <a:custGeom>
                <a:avLst/>
                <a:gdLst/>
                <a:ahLst/>
                <a:cxnLst/>
                <a:rect l="l" t="t" r="r" b="b"/>
                <a:pathLst>
                  <a:path w="20326" h="9884" extrusionOk="0">
                    <a:moveTo>
                      <a:pt x="2967" y="0"/>
                    </a:moveTo>
                    <a:lnTo>
                      <a:pt x="0" y="9884"/>
                    </a:lnTo>
                    <a:lnTo>
                      <a:pt x="20325" y="9884"/>
                    </a:lnTo>
                    <a:lnTo>
                      <a:pt x="17359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3" name="Google Shape;1333;p46"/>
              <p:cNvSpPr/>
              <p:nvPr/>
            </p:nvSpPr>
            <p:spPr>
              <a:xfrm>
                <a:off x="1021625" y="3190025"/>
                <a:ext cx="452425" cy="197525"/>
              </a:xfrm>
              <a:custGeom>
                <a:avLst/>
                <a:gdLst/>
                <a:ahLst/>
                <a:cxnLst/>
                <a:rect l="l" t="t" r="r" b="b"/>
                <a:pathLst>
                  <a:path w="18097" h="7901" extrusionOk="0">
                    <a:moveTo>
                      <a:pt x="2377" y="0"/>
                    </a:moveTo>
                    <a:lnTo>
                      <a:pt x="0" y="7901"/>
                    </a:lnTo>
                    <a:cubicBezTo>
                      <a:pt x="6032" y="6753"/>
                      <a:pt x="12064" y="5557"/>
                      <a:pt x="18096" y="4442"/>
                    </a:cubicBezTo>
                    <a:lnTo>
                      <a:pt x="16769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4" name="Google Shape;1334;p46"/>
              <p:cNvSpPr/>
              <p:nvPr/>
            </p:nvSpPr>
            <p:spPr>
              <a:xfrm>
                <a:off x="968750" y="3417450"/>
                <a:ext cx="584375" cy="38525"/>
              </a:xfrm>
              <a:custGeom>
                <a:avLst/>
                <a:gdLst/>
                <a:ahLst/>
                <a:cxnLst/>
                <a:rect l="l" t="t" r="r" b="b"/>
                <a:pathLst>
                  <a:path w="23375" h="1541" extrusionOk="0">
                    <a:moveTo>
                      <a:pt x="492" y="0"/>
                    </a:moveTo>
                    <a:cubicBezTo>
                      <a:pt x="214" y="0"/>
                      <a:pt x="1" y="230"/>
                      <a:pt x="1" y="492"/>
                    </a:cubicBezTo>
                    <a:lnTo>
                      <a:pt x="1" y="1541"/>
                    </a:lnTo>
                    <a:lnTo>
                      <a:pt x="23375" y="1541"/>
                    </a:lnTo>
                    <a:lnTo>
                      <a:pt x="23375" y="492"/>
                    </a:lnTo>
                    <a:cubicBezTo>
                      <a:pt x="23375" y="213"/>
                      <a:pt x="23145" y="0"/>
                      <a:pt x="2288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5" name="Google Shape;1335;p46"/>
              <p:cNvSpPr/>
              <p:nvPr/>
            </p:nvSpPr>
            <p:spPr>
              <a:xfrm>
                <a:off x="238125" y="1777900"/>
                <a:ext cx="2045650" cy="1461300"/>
              </a:xfrm>
              <a:custGeom>
                <a:avLst/>
                <a:gdLst/>
                <a:ahLst/>
                <a:cxnLst/>
                <a:rect l="l" t="t" r="r" b="b"/>
                <a:pathLst>
                  <a:path w="81826" h="58452" extrusionOk="0">
                    <a:moveTo>
                      <a:pt x="1574" y="1"/>
                    </a:moveTo>
                    <a:cubicBezTo>
                      <a:pt x="705" y="1"/>
                      <a:pt x="0" y="689"/>
                      <a:pt x="0" y="1558"/>
                    </a:cubicBezTo>
                    <a:lnTo>
                      <a:pt x="0" y="56895"/>
                    </a:lnTo>
                    <a:cubicBezTo>
                      <a:pt x="0" y="57764"/>
                      <a:pt x="705" y="58452"/>
                      <a:pt x="1574" y="58452"/>
                    </a:cubicBezTo>
                    <a:lnTo>
                      <a:pt x="80252" y="58452"/>
                    </a:lnTo>
                    <a:cubicBezTo>
                      <a:pt x="81121" y="58452"/>
                      <a:pt x="81826" y="57764"/>
                      <a:pt x="81826" y="56895"/>
                    </a:cubicBezTo>
                    <a:lnTo>
                      <a:pt x="81826" y="1558"/>
                    </a:lnTo>
                    <a:cubicBezTo>
                      <a:pt x="81826" y="689"/>
                      <a:pt x="81121" y="1"/>
                      <a:pt x="80252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6" name="Google Shape;1336;p46"/>
              <p:cNvSpPr/>
              <p:nvPr/>
            </p:nvSpPr>
            <p:spPr>
              <a:xfrm>
                <a:off x="238125" y="1676700"/>
                <a:ext cx="2045650" cy="1390400"/>
              </a:xfrm>
              <a:custGeom>
                <a:avLst/>
                <a:gdLst/>
                <a:ahLst/>
                <a:cxnLst/>
                <a:rect l="l" t="t" r="r" b="b"/>
                <a:pathLst>
                  <a:path w="81826" h="55616" extrusionOk="0">
                    <a:moveTo>
                      <a:pt x="2836" y="0"/>
                    </a:moveTo>
                    <a:cubicBezTo>
                      <a:pt x="1279" y="0"/>
                      <a:pt x="0" y="1279"/>
                      <a:pt x="0" y="2836"/>
                    </a:cubicBezTo>
                    <a:lnTo>
                      <a:pt x="0" y="55616"/>
                    </a:lnTo>
                    <a:lnTo>
                      <a:pt x="81826" y="55616"/>
                    </a:lnTo>
                    <a:lnTo>
                      <a:pt x="81826" y="2836"/>
                    </a:lnTo>
                    <a:cubicBezTo>
                      <a:pt x="81826" y="1279"/>
                      <a:pt x="80547" y="0"/>
                      <a:pt x="78973" y="0"/>
                    </a:cubicBez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7" name="Google Shape;1337;p46"/>
              <p:cNvSpPr/>
              <p:nvPr/>
            </p:nvSpPr>
            <p:spPr>
              <a:xfrm>
                <a:off x="346300" y="1773800"/>
                <a:ext cx="1829300" cy="1140050"/>
              </a:xfrm>
              <a:custGeom>
                <a:avLst/>
                <a:gdLst/>
                <a:ahLst/>
                <a:cxnLst/>
                <a:rect l="l" t="t" r="r" b="b"/>
                <a:pathLst>
                  <a:path w="73172" h="45602" extrusionOk="0">
                    <a:moveTo>
                      <a:pt x="426" y="1"/>
                    </a:moveTo>
                    <a:cubicBezTo>
                      <a:pt x="197" y="1"/>
                      <a:pt x="0" y="181"/>
                      <a:pt x="0" y="411"/>
                    </a:cubicBezTo>
                    <a:lnTo>
                      <a:pt x="0" y="45175"/>
                    </a:lnTo>
                    <a:cubicBezTo>
                      <a:pt x="0" y="45405"/>
                      <a:pt x="197" y="45601"/>
                      <a:pt x="426" y="45601"/>
                    </a:cubicBezTo>
                    <a:lnTo>
                      <a:pt x="72745" y="45601"/>
                    </a:lnTo>
                    <a:cubicBezTo>
                      <a:pt x="72975" y="45601"/>
                      <a:pt x="73171" y="45405"/>
                      <a:pt x="73171" y="45175"/>
                    </a:cubicBezTo>
                    <a:lnTo>
                      <a:pt x="73171" y="411"/>
                    </a:lnTo>
                    <a:cubicBezTo>
                      <a:pt x="73171" y="181"/>
                      <a:pt x="72975" y="1"/>
                      <a:pt x="72745" y="1"/>
                    </a:cubicBezTo>
                    <a:close/>
                  </a:path>
                </a:pathLst>
              </a:custGeom>
              <a:solidFill>
                <a:srgbClr val="F4644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8" name="Google Shape;1338;p46"/>
              <p:cNvSpPr/>
              <p:nvPr/>
            </p:nvSpPr>
            <p:spPr>
              <a:xfrm>
                <a:off x="1244550" y="1708650"/>
                <a:ext cx="28700" cy="24925"/>
              </a:xfrm>
              <a:custGeom>
                <a:avLst/>
                <a:gdLst/>
                <a:ahLst/>
                <a:cxnLst/>
                <a:rect l="l" t="t" r="r" b="b"/>
                <a:pathLst>
                  <a:path w="1148" h="997" extrusionOk="0">
                    <a:moveTo>
                      <a:pt x="656" y="1"/>
                    </a:moveTo>
                    <a:cubicBezTo>
                      <a:pt x="213" y="1"/>
                      <a:pt x="0" y="541"/>
                      <a:pt x="312" y="853"/>
                    </a:cubicBezTo>
                    <a:cubicBezTo>
                      <a:pt x="411" y="952"/>
                      <a:pt x="532" y="996"/>
                      <a:pt x="650" y="996"/>
                    </a:cubicBezTo>
                    <a:cubicBezTo>
                      <a:pt x="904" y="996"/>
                      <a:pt x="1147" y="794"/>
                      <a:pt x="1147" y="492"/>
                    </a:cubicBezTo>
                    <a:cubicBezTo>
                      <a:pt x="1147" y="230"/>
                      <a:pt x="934" y="1"/>
                      <a:pt x="656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339" name="Google Shape;1339;p46"/>
            <p:cNvSpPr/>
            <p:nvPr/>
          </p:nvSpPr>
          <p:spPr>
            <a:xfrm>
              <a:off x="3014150" y="4032725"/>
              <a:ext cx="120300" cy="120300"/>
            </a:xfrm>
            <a:prstGeom prst="ellipse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40" name="Google Shape;1340;p4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021739" y="1404936"/>
            <a:ext cx="2767958" cy="155678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41" name="Google Shape;1341;p46"/>
          <p:cNvGrpSpPr/>
          <p:nvPr/>
        </p:nvGrpSpPr>
        <p:grpSpPr>
          <a:xfrm>
            <a:off x="6083689" y="1274479"/>
            <a:ext cx="1822104" cy="2420224"/>
            <a:chOff x="3580725" y="2020075"/>
            <a:chExt cx="1344925" cy="1786275"/>
          </a:xfrm>
        </p:grpSpPr>
        <p:sp>
          <p:nvSpPr>
            <p:cNvPr id="1342" name="Google Shape;1342;p46"/>
            <p:cNvSpPr/>
            <p:nvPr/>
          </p:nvSpPr>
          <p:spPr>
            <a:xfrm>
              <a:off x="3681925" y="2020075"/>
              <a:ext cx="1243725" cy="1786275"/>
            </a:xfrm>
            <a:custGeom>
              <a:avLst/>
              <a:gdLst/>
              <a:ahLst/>
              <a:cxnLst/>
              <a:rect l="l" t="t" r="r" b="b"/>
              <a:pathLst>
                <a:path w="49749" h="71451" extrusionOk="0">
                  <a:moveTo>
                    <a:pt x="1574" y="1"/>
                  </a:moveTo>
                  <a:cubicBezTo>
                    <a:pt x="706" y="1"/>
                    <a:pt x="1" y="706"/>
                    <a:pt x="1" y="1574"/>
                  </a:cubicBezTo>
                  <a:lnTo>
                    <a:pt x="1" y="69877"/>
                  </a:lnTo>
                  <a:cubicBezTo>
                    <a:pt x="1" y="70746"/>
                    <a:pt x="706" y="71451"/>
                    <a:pt x="1574" y="71451"/>
                  </a:cubicBezTo>
                  <a:lnTo>
                    <a:pt x="48175" y="71451"/>
                  </a:lnTo>
                  <a:cubicBezTo>
                    <a:pt x="49044" y="71451"/>
                    <a:pt x="49748" y="70746"/>
                    <a:pt x="49748" y="69877"/>
                  </a:cubicBezTo>
                  <a:lnTo>
                    <a:pt x="49748" y="1574"/>
                  </a:lnTo>
                  <a:cubicBezTo>
                    <a:pt x="49748" y="706"/>
                    <a:pt x="49044" y="1"/>
                    <a:pt x="4817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" name="Google Shape;1343;p46"/>
            <p:cNvSpPr/>
            <p:nvPr/>
          </p:nvSpPr>
          <p:spPr>
            <a:xfrm>
              <a:off x="3580725" y="2020075"/>
              <a:ext cx="1250250" cy="1786275"/>
            </a:xfrm>
            <a:custGeom>
              <a:avLst/>
              <a:gdLst/>
              <a:ahLst/>
              <a:cxnLst/>
              <a:rect l="l" t="t" r="r" b="b"/>
              <a:pathLst>
                <a:path w="50010" h="71451" extrusionOk="0">
                  <a:moveTo>
                    <a:pt x="2527" y="1"/>
                  </a:moveTo>
                  <a:cubicBezTo>
                    <a:pt x="1147" y="1"/>
                    <a:pt x="33" y="1109"/>
                    <a:pt x="0" y="2492"/>
                  </a:cubicBezTo>
                  <a:lnTo>
                    <a:pt x="0" y="68975"/>
                  </a:lnTo>
                  <a:cubicBezTo>
                    <a:pt x="33" y="70358"/>
                    <a:pt x="1147" y="71451"/>
                    <a:pt x="2526" y="71451"/>
                  </a:cubicBezTo>
                  <a:cubicBezTo>
                    <a:pt x="2537" y="71451"/>
                    <a:pt x="2547" y="71451"/>
                    <a:pt x="2557" y="71451"/>
                  </a:cubicBezTo>
                  <a:lnTo>
                    <a:pt x="50010" y="71451"/>
                  </a:lnTo>
                  <a:lnTo>
                    <a:pt x="50010" y="1"/>
                  </a:lnTo>
                  <a:lnTo>
                    <a:pt x="2557" y="1"/>
                  </a:lnTo>
                  <a:cubicBezTo>
                    <a:pt x="2547" y="1"/>
                    <a:pt x="2537" y="1"/>
                    <a:pt x="2527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" name="Google Shape;1344;p46"/>
            <p:cNvSpPr/>
            <p:nvPr/>
          </p:nvSpPr>
          <p:spPr>
            <a:xfrm>
              <a:off x="3680303" y="2113921"/>
              <a:ext cx="1140025" cy="1511564"/>
            </a:xfrm>
            <a:custGeom>
              <a:avLst/>
              <a:gdLst/>
              <a:ahLst/>
              <a:cxnLst/>
              <a:rect l="l" t="t" r="r" b="b"/>
              <a:pathLst>
                <a:path w="45601" h="60944" extrusionOk="0">
                  <a:moveTo>
                    <a:pt x="426" y="1"/>
                  </a:moveTo>
                  <a:cubicBezTo>
                    <a:pt x="197" y="1"/>
                    <a:pt x="0" y="181"/>
                    <a:pt x="0" y="427"/>
                  </a:cubicBezTo>
                  <a:lnTo>
                    <a:pt x="0" y="60534"/>
                  </a:lnTo>
                  <a:cubicBezTo>
                    <a:pt x="0" y="60763"/>
                    <a:pt x="197" y="60943"/>
                    <a:pt x="426" y="60943"/>
                  </a:cubicBezTo>
                  <a:lnTo>
                    <a:pt x="45191" y="60943"/>
                  </a:lnTo>
                  <a:cubicBezTo>
                    <a:pt x="45421" y="60943"/>
                    <a:pt x="45601" y="60763"/>
                    <a:pt x="45601" y="60534"/>
                  </a:cubicBezTo>
                  <a:lnTo>
                    <a:pt x="45601" y="427"/>
                  </a:lnTo>
                  <a:cubicBezTo>
                    <a:pt x="45601" y="181"/>
                    <a:pt x="45421" y="1"/>
                    <a:pt x="45191" y="1"/>
                  </a:cubicBezTo>
                  <a:close/>
                </a:path>
              </a:pathLst>
            </a:custGeom>
            <a:solidFill>
              <a:srgbClr val="F464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" name="Google Shape;1345;p46"/>
            <p:cNvSpPr/>
            <p:nvPr/>
          </p:nvSpPr>
          <p:spPr>
            <a:xfrm>
              <a:off x="4237099" y="2051650"/>
              <a:ext cx="28700" cy="24925"/>
            </a:xfrm>
            <a:custGeom>
              <a:avLst/>
              <a:gdLst/>
              <a:ahLst/>
              <a:cxnLst/>
              <a:rect l="l" t="t" r="r" b="b"/>
              <a:pathLst>
                <a:path w="1148" h="997" extrusionOk="0">
                  <a:moveTo>
                    <a:pt x="492" y="0"/>
                  </a:moveTo>
                  <a:cubicBezTo>
                    <a:pt x="214" y="0"/>
                    <a:pt x="0" y="230"/>
                    <a:pt x="0" y="508"/>
                  </a:cubicBezTo>
                  <a:cubicBezTo>
                    <a:pt x="0" y="798"/>
                    <a:pt x="243" y="996"/>
                    <a:pt x="496" y="996"/>
                  </a:cubicBezTo>
                  <a:cubicBezTo>
                    <a:pt x="615" y="996"/>
                    <a:pt x="737" y="952"/>
                    <a:pt x="836" y="852"/>
                  </a:cubicBezTo>
                  <a:cubicBezTo>
                    <a:pt x="1148" y="541"/>
                    <a:pt x="935" y="0"/>
                    <a:pt x="49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" name="Google Shape;1346;p46"/>
            <p:cNvSpPr/>
            <p:nvPr/>
          </p:nvSpPr>
          <p:spPr>
            <a:xfrm>
              <a:off x="4179825" y="3667150"/>
              <a:ext cx="125000" cy="106825"/>
            </a:xfrm>
            <a:custGeom>
              <a:avLst/>
              <a:gdLst/>
              <a:ahLst/>
              <a:cxnLst/>
              <a:rect l="l" t="t" r="r" b="b"/>
              <a:pathLst>
                <a:path w="5000" h="4273" extrusionOk="0">
                  <a:moveTo>
                    <a:pt x="2869" y="355"/>
                  </a:moveTo>
                  <a:cubicBezTo>
                    <a:pt x="3836" y="355"/>
                    <a:pt x="4639" y="1158"/>
                    <a:pt x="4639" y="2142"/>
                  </a:cubicBezTo>
                  <a:cubicBezTo>
                    <a:pt x="4639" y="3206"/>
                    <a:pt x="3762" y="3917"/>
                    <a:pt x="2850" y="3917"/>
                  </a:cubicBezTo>
                  <a:cubicBezTo>
                    <a:pt x="2413" y="3917"/>
                    <a:pt x="1968" y="3754"/>
                    <a:pt x="1607" y="3387"/>
                  </a:cubicBezTo>
                  <a:cubicBezTo>
                    <a:pt x="492" y="2273"/>
                    <a:pt x="1279" y="355"/>
                    <a:pt x="2869" y="355"/>
                  </a:cubicBezTo>
                  <a:close/>
                  <a:moveTo>
                    <a:pt x="2849" y="1"/>
                  </a:moveTo>
                  <a:cubicBezTo>
                    <a:pt x="2320" y="1"/>
                    <a:pt x="1781" y="197"/>
                    <a:pt x="1344" y="634"/>
                  </a:cubicBezTo>
                  <a:cubicBezTo>
                    <a:pt x="0" y="1978"/>
                    <a:pt x="967" y="4273"/>
                    <a:pt x="2869" y="4273"/>
                  </a:cubicBezTo>
                  <a:cubicBezTo>
                    <a:pt x="4049" y="4273"/>
                    <a:pt x="5000" y="3306"/>
                    <a:pt x="5000" y="2142"/>
                  </a:cubicBezTo>
                  <a:cubicBezTo>
                    <a:pt x="5000" y="847"/>
                    <a:pt x="3946" y="1"/>
                    <a:pt x="2849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47" name="Google Shape;1347;p46"/>
          <p:cNvPicPr preferRelativeResize="0"/>
          <p:nvPr/>
        </p:nvPicPr>
        <p:blipFill rotWithShape="1">
          <a:blip r:embed="rId4">
            <a:alphaModFix/>
          </a:blip>
          <a:srcRect t="108" b="1096"/>
          <a:stretch/>
        </p:blipFill>
        <p:spPr>
          <a:xfrm>
            <a:off x="6208244" y="1382288"/>
            <a:ext cx="1568492" cy="2066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48" name="Google Shape;1348;p46"/>
          <p:cNvGrpSpPr/>
          <p:nvPr/>
        </p:nvGrpSpPr>
        <p:grpSpPr>
          <a:xfrm>
            <a:off x="1238112" y="1274594"/>
            <a:ext cx="1323876" cy="2420329"/>
            <a:chOff x="6417224" y="2247097"/>
            <a:chExt cx="951950" cy="1740368"/>
          </a:xfrm>
        </p:grpSpPr>
        <p:sp>
          <p:nvSpPr>
            <p:cNvPr id="1349" name="Google Shape;1349;p46"/>
            <p:cNvSpPr/>
            <p:nvPr/>
          </p:nvSpPr>
          <p:spPr>
            <a:xfrm>
              <a:off x="6505324" y="2247511"/>
              <a:ext cx="863850" cy="1739954"/>
            </a:xfrm>
            <a:custGeom>
              <a:avLst/>
              <a:gdLst/>
              <a:ahLst/>
              <a:cxnLst/>
              <a:rect l="l" t="t" r="r" b="b"/>
              <a:pathLst>
                <a:path w="34554" h="71434" extrusionOk="0">
                  <a:moveTo>
                    <a:pt x="1575" y="0"/>
                  </a:moveTo>
                  <a:cubicBezTo>
                    <a:pt x="706" y="0"/>
                    <a:pt x="1" y="689"/>
                    <a:pt x="1" y="1557"/>
                  </a:cubicBezTo>
                  <a:lnTo>
                    <a:pt x="1" y="69876"/>
                  </a:lnTo>
                  <a:cubicBezTo>
                    <a:pt x="1" y="70728"/>
                    <a:pt x="706" y="71433"/>
                    <a:pt x="1575" y="71433"/>
                  </a:cubicBezTo>
                  <a:lnTo>
                    <a:pt x="32980" y="71433"/>
                  </a:lnTo>
                  <a:cubicBezTo>
                    <a:pt x="33849" y="71433"/>
                    <a:pt x="34554" y="70728"/>
                    <a:pt x="34554" y="69876"/>
                  </a:cubicBezTo>
                  <a:lnTo>
                    <a:pt x="34554" y="1557"/>
                  </a:lnTo>
                  <a:cubicBezTo>
                    <a:pt x="34554" y="689"/>
                    <a:pt x="33849" y="0"/>
                    <a:pt x="3298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" name="Google Shape;1350;p46"/>
            <p:cNvSpPr/>
            <p:nvPr/>
          </p:nvSpPr>
          <p:spPr>
            <a:xfrm>
              <a:off x="6417224" y="2247097"/>
              <a:ext cx="868375" cy="1740368"/>
            </a:xfrm>
            <a:custGeom>
              <a:avLst/>
              <a:gdLst/>
              <a:ahLst/>
              <a:cxnLst/>
              <a:rect l="l" t="t" r="r" b="b"/>
              <a:pathLst>
                <a:path w="34735" h="71451" extrusionOk="0">
                  <a:moveTo>
                    <a:pt x="1787" y="1"/>
                  </a:moveTo>
                  <a:cubicBezTo>
                    <a:pt x="804" y="1"/>
                    <a:pt x="1" y="1115"/>
                    <a:pt x="1" y="2492"/>
                  </a:cubicBezTo>
                  <a:lnTo>
                    <a:pt x="1" y="68975"/>
                  </a:lnTo>
                  <a:cubicBezTo>
                    <a:pt x="1" y="70336"/>
                    <a:pt x="804" y="71450"/>
                    <a:pt x="1787" y="71450"/>
                  </a:cubicBezTo>
                  <a:lnTo>
                    <a:pt x="34734" y="71450"/>
                  </a:lnTo>
                  <a:lnTo>
                    <a:pt x="34734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" name="Google Shape;1351;p46"/>
            <p:cNvSpPr/>
            <p:nvPr/>
          </p:nvSpPr>
          <p:spPr>
            <a:xfrm>
              <a:off x="6492619" y="2340952"/>
              <a:ext cx="813450" cy="1457323"/>
            </a:xfrm>
            <a:custGeom>
              <a:avLst/>
              <a:gdLst/>
              <a:ahLst/>
              <a:cxnLst/>
              <a:rect l="l" t="t" r="r" b="b"/>
              <a:pathLst>
                <a:path w="32538" h="60944" extrusionOk="0">
                  <a:moveTo>
                    <a:pt x="427" y="0"/>
                  </a:moveTo>
                  <a:cubicBezTo>
                    <a:pt x="198" y="0"/>
                    <a:pt x="1" y="197"/>
                    <a:pt x="1" y="426"/>
                  </a:cubicBezTo>
                  <a:lnTo>
                    <a:pt x="1" y="60533"/>
                  </a:lnTo>
                  <a:cubicBezTo>
                    <a:pt x="1" y="60763"/>
                    <a:pt x="198" y="60943"/>
                    <a:pt x="427" y="60943"/>
                  </a:cubicBezTo>
                  <a:lnTo>
                    <a:pt x="32128" y="60943"/>
                  </a:lnTo>
                  <a:cubicBezTo>
                    <a:pt x="32357" y="60943"/>
                    <a:pt x="32538" y="60763"/>
                    <a:pt x="32538" y="60533"/>
                  </a:cubicBezTo>
                  <a:lnTo>
                    <a:pt x="32538" y="426"/>
                  </a:lnTo>
                  <a:cubicBezTo>
                    <a:pt x="32538" y="197"/>
                    <a:pt x="32357" y="0"/>
                    <a:pt x="32128" y="0"/>
                  </a:cubicBezTo>
                  <a:close/>
                </a:path>
              </a:pathLst>
            </a:custGeom>
            <a:solidFill>
              <a:srgbClr val="F464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" name="Google Shape;1352;p46"/>
            <p:cNvSpPr/>
            <p:nvPr/>
          </p:nvSpPr>
          <p:spPr>
            <a:xfrm>
              <a:off x="6856100" y="3843492"/>
              <a:ext cx="96750" cy="83150"/>
            </a:xfrm>
            <a:custGeom>
              <a:avLst/>
              <a:gdLst/>
              <a:ahLst/>
              <a:cxnLst/>
              <a:rect l="l" t="t" r="r" b="b"/>
              <a:pathLst>
                <a:path w="3870" h="3326" extrusionOk="0">
                  <a:moveTo>
                    <a:pt x="2214" y="358"/>
                  </a:moveTo>
                  <a:lnTo>
                    <a:pt x="2214" y="375"/>
                  </a:lnTo>
                  <a:cubicBezTo>
                    <a:pt x="2935" y="375"/>
                    <a:pt x="3509" y="948"/>
                    <a:pt x="3525" y="1670"/>
                  </a:cubicBezTo>
                  <a:cubicBezTo>
                    <a:pt x="3525" y="2456"/>
                    <a:pt x="2882" y="2973"/>
                    <a:pt x="2212" y="2973"/>
                  </a:cubicBezTo>
                  <a:cubicBezTo>
                    <a:pt x="1890" y="2973"/>
                    <a:pt x="1562" y="2853"/>
                    <a:pt x="1296" y="2587"/>
                  </a:cubicBezTo>
                  <a:cubicBezTo>
                    <a:pt x="476" y="1768"/>
                    <a:pt x="1066" y="358"/>
                    <a:pt x="2214" y="358"/>
                  </a:cubicBezTo>
                  <a:close/>
                  <a:moveTo>
                    <a:pt x="2197" y="1"/>
                  </a:moveTo>
                  <a:cubicBezTo>
                    <a:pt x="1793" y="1"/>
                    <a:pt x="1383" y="152"/>
                    <a:pt x="1050" y="489"/>
                  </a:cubicBezTo>
                  <a:cubicBezTo>
                    <a:pt x="1" y="1538"/>
                    <a:pt x="739" y="3325"/>
                    <a:pt x="2214" y="3325"/>
                  </a:cubicBezTo>
                  <a:cubicBezTo>
                    <a:pt x="3132" y="3325"/>
                    <a:pt x="3869" y="2587"/>
                    <a:pt x="3869" y="1670"/>
                  </a:cubicBezTo>
                  <a:cubicBezTo>
                    <a:pt x="3869" y="669"/>
                    <a:pt x="3048" y="1"/>
                    <a:pt x="2197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" name="Google Shape;1353;p46"/>
            <p:cNvSpPr/>
            <p:nvPr/>
          </p:nvSpPr>
          <p:spPr>
            <a:xfrm>
              <a:off x="6623350" y="3880717"/>
              <a:ext cx="82800" cy="9025"/>
            </a:xfrm>
            <a:custGeom>
              <a:avLst/>
              <a:gdLst/>
              <a:ahLst/>
              <a:cxnLst/>
              <a:rect l="l" t="t" r="r" b="b"/>
              <a:pathLst>
                <a:path w="3312" h="361" extrusionOk="0">
                  <a:moveTo>
                    <a:pt x="1" y="0"/>
                  </a:moveTo>
                  <a:lnTo>
                    <a:pt x="1" y="361"/>
                  </a:lnTo>
                  <a:lnTo>
                    <a:pt x="3312" y="361"/>
                  </a:lnTo>
                  <a:lnTo>
                    <a:pt x="331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" name="Google Shape;1354;p46"/>
            <p:cNvSpPr/>
            <p:nvPr/>
          </p:nvSpPr>
          <p:spPr>
            <a:xfrm>
              <a:off x="7116325" y="3860642"/>
              <a:ext cx="60675" cy="48775"/>
            </a:xfrm>
            <a:custGeom>
              <a:avLst/>
              <a:gdLst/>
              <a:ahLst/>
              <a:cxnLst/>
              <a:rect l="l" t="t" r="r" b="b"/>
              <a:pathLst>
                <a:path w="2427" h="1951" extrusionOk="0">
                  <a:moveTo>
                    <a:pt x="2328" y="0"/>
                  </a:moveTo>
                  <a:lnTo>
                    <a:pt x="328" y="656"/>
                  </a:lnTo>
                  <a:cubicBezTo>
                    <a:pt x="148" y="688"/>
                    <a:pt x="0" y="836"/>
                    <a:pt x="0" y="1033"/>
                  </a:cubicBezTo>
                  <a:cubicBezTo>
                    <a:pt x="0" y="1197"/>
                    <a:pt x="132" y="1328"/>
                    <a:pt x="361" y="1393"/>
                  </a:cubicBezTo>
                  <a:lnTo>
                    <a:pt x="2328" y="1951"/>
                  </a:lnTo>
                  <a:lnTo>
                    <a:pt x="2426" y="1606"/>
                  </a:lnTo>
                  <a:lnTo>
                    <a:pt x="459" y="1049"/>
                  </a:lnTo>
                  <a:cubicBezTo>
                    <a:pt x="427" y="1049"/>
                    <a:pt x="394" y="1033"/>
                    <a:pt x="377" y="1016"/>
                  </a:cubicBezTo>
                  <a:lnTo>
                    <a:pt x="427" y="1000"/>
                  </a:lnTo>
                  <a:lnTo>
                    <a:pt x="2426" y="344"/>
                  </a:lnTo>
                  <a:lnTo>
                    <a:pt x="2328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" name="Google Shape;1355;p46"/>
            <p:cNvSpPr/>
            <p:nvPr/>
          </p:nvSpPr>
          <p:spPr>
            <a:xfrm>
              <a:off x="6785429" y="2287275"/>
              <a:ext cx="238100" cy="14350"/>
            </a:xfrm>
            <a:custGeom>
              <a:avLst/>
              <a:gdLst/>
              <a:ahLst/>
              <a:cxnLst/>
              <a:rect l="l" t="t" r="r" b="b"/>
              <a:pathLst>
                <a:path w="9524" h="574" extrusionOk="0">
                  <a:moveTo>
                    <a:pt x="164" y="0"/>
                  </a:moveTo>
                  <a:cubicBezTo>
                    <a:pt x="82" y="0"/>
                    <a:pt x="0" y="82"/>
                    <a:pt x="0" y="164"/>
                  </a:cubicBezTo>
                  <a:lnTo>
                    <a:pt x="0" y="410"/>
                  </a:lnTo>
                  <a:cubicBezTo>
                    <a:pt x="0" y="492"/>
                    <a:pt x="82" y="574"/>
                    <a:pt x="164" y="574"/>
                  </a:cubicBezTo>
                  <a:lnTo>
                    <a:pt x="9359" y="574"/>
                  </a:lnTo>
                  <a:cubicBezTo>
                    <a:pt x="9458" y="574"/>
                    <a:pt x="9523" y="492"/>
                    <a:pt x="9523" y="410"/>
                  </a:cubicBezTo>
                  <a:lnTo>
                    <a:pt x="9523" y="164"/>
                  </a:lnTo>
                  <a:cubicBezTo>
                    <a:pt x="9523" y="82"/>
                    <a:pt x="9458" y="0"/>
                    <a:pt x="935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56" name="Google Shape;1356;p46"/>
          <p:cNvPicPr preferRelativeResize="0"/>
          <p:nvPr/>
        </p:nvPicPr>
        <p:blipFill rotWithShape="1">
          <a:blip r:embed="rId5">
            <a:alphaModFix/>
          </a:blip>
          <a:srcRect l="-10" b="-4460"/>
          <a:stretch/>
        </p:blipFill>
        <p:spPr>
          <a:xfrm>
            <a:off x="1336535" y="1396283"/>
            <a:ext cx="1144348" cy="212493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" name="Google Shape;1361;p47"/>
          <p:cNvSpPr txBox="1">
            <a:spLocks noGrp="1"/>
          </p:cNvSpPr>
          <p:nvPr>
            <p:ph type="title"/>
          </p:nvPr>
        </p:nvSpPr>
        <p:spPr>
          <a:xfrm>
            <a:off x="2471150" y="1830075"/>
            <a:ext cx="3823200" cy="1121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HANKS</a:t>
            </a:r>
            <a:endParaRPr/>
          </a:p>
        </p:txBody>
      </p:sp>
      <p:sp>
        <p:nvSpPr>
          <p:cNvPr id="1362" name="Google Shape;1362;p47"/>
          <p:cNvSpPr txBox="1">
            <a:spLocks noGrp="1"/>
          </p:cNvSpPr>
          <p:nvPr>
            <p:ph type="subTitle" idx="1"/>
          </p:nvPr>
        </p:nvSpPr>
        <p:spPr>
          <a:xfrm>
            <a:off x="2902550" y="540000"/>
            <a:ext cx="2960400" cy="135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accent2"/>
                </a:solidFill>
              </a:rPr>
              <a:t>Do you have any questions?</a:t>
            </a:r>
            <a:endParaRPr>
              <a:solidFill>
                <a:schemeClr val="accent2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remail@freepik.com </a:t>
            </a: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+91  620 421 83 </a:t>
            </a: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rcompany.com</a:t>
            </a:r>
            <a:endParaRPr/>
          </a:p>
        </p:txBody>
      </p:sp>
      <p:sp>
        <p:nvSpPr>
          <p:cNvPr id="1363" name="Google Shape;1363;p47"/>
          <p:cNvSpPr txBox="1"/>
          <p:nvPr/>
        </p:nvSpPr>
        <p:spPr>
          <a:xfrm>
            <a:off x="3213811" y="4333329"/>
            <a:ext cx="2337900" cy="30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Please keep this slide for attribution</a:t>
            </a:r>
            <a:endParaRPr sz="1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364" name="Google Shape;1364;p47"/>
          <p:cNvSpPr/>
          <p:nvPr/>
        </p:nvSpPr>
        <p:spPr>
          <a:xfrm>
            <a:off x="-65247" y="971445"/>
            <a:ext cx="62397" cy="62143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65" name="Google Shape;1365;p47"/>
          <p:cNvGrpSpPr/>
          <p:nvPr/>
        </p:nvGrpSpPr>
        <p:grpSpPr>
          <a:xfrm>
            <a:off x="7981434" y="-1177061"/>
            <a:ext cx="203789" cy="1274754"/>
            <a:chOff x="2877432" y="975334"/>
            <a:chExt cx="188886" cy="1181531"/>
          </a:xfrm>
        </p:grpSpPr>
        <p:sp>
          <p:nvSpPr>
            <p:cNvPr id="1366" name="Google Shape;1366;p47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" name="Google Shape;1367;p47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" name="Google Shape;1368;p47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69" name="Google Shape;1369;p47"/>
          <p:cNvSpPr/>
          <p:nvPr/>
        </p:nvSpPr>
        <p:spPr>
          <a:xfrm>
            <a:off x="9277943" y="-708433"/>
            <a:ext cx="9132" cy="2718429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0" name="Google Shape;1370;p47"/>
          <p:cNvSpPr/>
          <p:nvPr/>
        </p:nvSpPr>
        <p:spPr>
          <a:xfrm>
            <a:off x="335228" y="-685306"/>
            <a:ext cx="9132" cy="1822332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1" name="Google Shape;1371;p47"/>
          <p:cNvSpPr/>
          <p:nvPr/>
        </p:nvSpPr>
        <p:spPr>
          <a:xfrm>
            <a:off x="3276800" y="3121375"/>
            <a:ext cx="523800" cy="523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2" name="Google Shape;1372;p47"/>
          <p:cNvSpPr/>
          <p:nvPr/>
        </p:nvSpPr>
        <p:spPr>
          <a:xfrm>
            <a:off x="4120850" y="3121375"/>
            <a:ext cx="523800" cy="523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3" name="Google Shape;1373;p47"/>
          <p:cNvSpPr/>
          <p:nvPr/>
        </p:nvSpPr>
        <p:spPr>
          <a:xfrm>
            <a:off x="4964900" y="3121375"/>
            <a:ext cx="523800" cy="523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74" name="Google Shape;1374;p47"/>
          <p:cNvGrpSpPr/>
          <p:nvPr/>
        </p:nvGrpSpPr>
        <p:grpSpPr>
          <a:xfrm>
            <a:off x="3407882" y="3252461"/>
            <a:ext cx="261630" cy="261630"/>
            <a:chOff x="3368074" y="3882537"/>
            <a:chExt cx="215298" cy="215298"/>
          </a:xfrm>
        </p:grpSpPr>
        <p:sp>
          <p:nvSpPr>
            <p:cNvPr id="1375" name="Google Shape;1375;p47"/>
            <p:cNvSpPr/>
            <p:nvPr/>
          </p:nvSpPr>
          <p:spPr>
            <a:xfrm>
              <a:off x="3368074" y="3882537"/>
              <a:ext cx="215298" cy="215298"/>
            </a:xfrm>
            <a:custGeom>
              <a:avLst/>
              <a:gdLst/>
              <a:ahLst/>
              <a:cxnLst/>
              <a:rect l="l" t="t" r="r" b="b"/>
              <a:pathLst>
                <a:path w="6764" h="6764" extrusionOk="0">
                  <a:moveTo>
                    <a:pt x="5335" y="346"/>
                  </a:moveTo>
                  <a:cubicBezTo>
                    <a:pt x="5930" y="346"/>
                    <a:pt x="6418" y="834"/>
                    <a:pt x="6418" y="1429"/>
                  </a:cubicBezTo>
                  <a:lnTo>
                    <a:pt x="6418" y="5335"/>
                  </a:lnTo>
                  <a:cubicBezTo>
                    <a:pt x="6418" y="5930"/>
                    <a:pt x="5930" y="6418"/>
                    <a:pt x="5335" y="6418"/>
                  </a:cubicBezTo>
                  <a:lnTo>
                    <a:pt x="1429" y="6418"/>
                  </a:lnTo>
                  <a:cubicBezTo>
                    <a:pt x="834" y="6418"/>
                    <a:pt x="346" y="5930"/>
                    <a:pt x="346" y="5335"/>
                  </a:cubicBezTo>
                  <a:lnTo>
                    <a:pt x="346" y="1429"/>
                  </a:lnTo>
                  <a:cubicBezTo>
                    <a:pt x="346" y="834"/>
                    <a:pt x="834" y="346"/>
                    <a:pt x="1429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29"/>
                  </a:cubicBezTo>
                  <a:lnTo>
                    <a:pt x="1" y="5335"/>
                  </a:lnTo>
                  <a:cubicBezTo>
                    <a:pt x="1" y="6120"/>
                    <a:pt x="644" y="6763"/>
                    <a:pt x="1429" y="6763"/>
                  </a:cubicBezTo>
                  <a:lnTo>
                    <a:pt x="5335" y="6763"/>
                  </a:lnTo>
                  <a:cubicBezTo>
                    <a:pt x="6121" y="6763"/>
                    <a:pt x="6763" y="6120"/>
                    <a:pt x="6763" y="5335"/>
                  </a:cubicBezTo>
                  <a:lnTo>
                    <a:pt x="6763" y="1429"/>
                  </a:lnTo>
                  <a:cubicBezTo>
                    <a:pt x="6763" y="644"/>
                    <a:pt x="6121" y="1"/>
                    <a:pt x="533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" name="Google Shape;1376;p47"/>
            <p:cNvSpPr/>
            <p:nvPr/>
          </p:nvSpPr>
          <p:spPr>
            <a:xfrm>
              <a:off x="3418143" y="3933656"/>
              <a:ext cx="114811" cy="112742"/>
            </a:xfrm>
            <a:custGeom>
              <a:avLst/>
              <a:gdLst/>
              <a:ahLst/>
              <a:cxnLst/>
              <a:rect l="l" t="t" r="r" b="b"/>
              <a:pathLst>
                <a:path w="3607" h="3542" extrusionOk="0">
                  <a:moveTo>
                    <a:pt x="1822" y="0"/>
                  </a:moveTo>
                  <a:cubicBezTo>
                    <a:pt x="812" y="0"/>
                    <a:pt x="1" y="851"/>
                    <a:pt x="59" y="1859"/>
                  </a:cubicBezTo>
                  <a:cubicBezTo>
                    <a:pt x="95" y="2776"/>
                    <a:pt x="833" y="3502"/>
                    <a:pt x="1726" y="3538"/>
                  </a:cubicBezTo>
                  <a:cubicBezTo>
                    <a:pt x="1764" y="3541"/>
                    <a:pt x="1802" y="3542"/>
                    <a:pt x="1840" y="3542"/>
                  </a:cubicBezTo>
                  <a:cubicBezTo>
                    <a:pt x="2178" y="3542"/>
                    <a:pt x="2494" y="3447"/>
                    <a:pt x="2762" y="3276"/>
                  </a:cubicBezTo>
                  <a:cubicBezTo>
                    <a:pt x="2857" y="3217"/>
                    <a:pt x="2869" y="3086"/>
                    <a:pt x="2797" y="3014"/>
                  </a:cubicBezTo>
                  <a:cubicBezTo>
                    <a:pt x="2761" y="2978"/>
                    <a:pt x="2711" y="2964"/>
                    <a:pt x="2664" y="2964"/>
                  </a:cubicBezTo>
                  <a:cubicBezTo>
                    <a:pt x="2634" y="2964"/>
                    <a:pt x="2606" y="2969"/>
                    <a:pt x="2583" y="2979"/>
                  </a:cubicBezTo>
                  <a:cubicBezTo>
                    <a:pt x="2380" y="3096"/>
                    <a:pt x="2149" y="3185"/>
                    <a:pt x="1897" y="3185"/>
                  </a:cubicBezTo>
                  <a:cubicBezTo>
                    <a:pt x="1868" y="3185"/>
                    <a:pt x="1839" y="3183"/>
                    <a:pt x="1809" y="3181"/>
                  </a:cubicBezTo>
                  <a:cubicBezTo>
                    <a:pt x="1023" y="3169"/>
                    <a:pt x="380" y="2514"/>
                    <a:pt x="392" y="1716"/>
                  </a:cubicBezTo>
                  <a:cubicBezTo>
                    <a:pt x="426" y="948"/>
                    <a:pt x="1028" y="330"/>
                    <a:pt x="1792" y="330"/>
                  </a:cubicBezTo>
                  <a:cubicBezTo>
                    <a:pt x="1833" y="330"/>
                    <a:pt x="1874" y="332"/>
                    <a:pt x="1916" y="335"/>
                  </a:cubicBezTo>
                  <a:cubicBezTo>
                    <a:pt x="2619" y="371"/>
                    <a:pt x="3190" y="943"/>
                    <a:pt x="3250" y="1633"/>
                  </a:cubicBezTo>
                  <a:cubicBezTo>
                    <a:pt x="3285" y="1919"/>
                    <a:pt x="3214" y="2193"/>
                    <a:pt x="3095" y="2431"/>
                  </a:cubicBezTo>
                  <a:cubicBezTo>
                    <a:pt x="3059" y="2490"/>
                    <a:pt x="3059" y="2574"/>
                    <a:pt x="3119" y="2633"/>
                  </a:cubicBezTo>
                  <a:cubicBezTo>
                    <a:pt x="3149" y="2663"/>
                    <a:pt x="3191" y="2678"/>
                    <a:pt x="3234" y="2678"/>
                  </a:cubicBezTo>
                  <a:cubicBezTo>
                    <a:pt x="3295" y="2678"/>
                    <a:pt x="3358" y="2648"/>
                    <a:pt x="3393" y="2586"/>
                  </a:cubicBezTo>
                  <a:cubicBezTo>
                    <a:pt x="3536" y="2324"/>
                    <a:pt x="3607" y="2014"/>
                    <a:pt x="3583" y="1669"/>
                  </a:cubicBezTo>
                  <a:cubicBezTo>
                    <a:pt x="3536" y="764"/>
                    <a:pt x="2797" y="50"/>
                    <a:pt x="1904" y="2"/>
                  </a:cubicBezTo>
                  <a:cubicBezTo>
                    <a:pt x="1877" y="1"/>
                    <a:pt x="1849" y="0"/>
                    <a:pt x="1822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" name="Google Shape;1377;p47"/>
            <p:cNvSpPr/>
            <p:nvPr/>
          </p:nvSpPr>
          <p:spPr>
            <a:xfrm>
              <a:off x="3519298" y="3910197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65" y="1"/>
                  </a:moveTo>
                  <a:cubicBezTo>
                    <a:pt x="203" y="1"/>
                    <a:pt x="0" y="203"/>
                    <a:pt x="0" y="453"/>
                  </a:cubicBezTo>
                  <a:cubicBezTo>
                    <a:pt x="0" y="715"/>
                    <a:pt x="203" y="918"/>
                    <a:pt x="465" y="918"/>
                  </a:cubicBezTo>
                  <a:cubicBezTo>
                    <a:pt x="715" y="918"/>
                    <a:pt x="929" y="715"/>
                    <a:pt x="929" y="453"/>
                  </a:cubicBezTo>
                  <a:cubicBezTo>
                    <a:pt x="929" y="203"/>
                    <a:pt x="715" y="1"/>
                    <a:pt x="46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78" name="Google Shape;1378;p47"/>
          <p:cNvSpPr/>
          <p:nvPr/>
        </p:nvSpPr>
        <p:spPr>
          <a:xfrm>
            <a:off x="5066623" y="3252448"/>
            <a:ext cx="320355" cy="261656"/>
          </a:xfrm>
          <a:custGeom>
            <a:avLst/>
            <a:gdLst/>
            <a:ahLst/>
            <a:cxnLst/>
            <a:rect l="l" t="t" r="r" b="b"/>
            <a:pathLst>
              <a:path w="7144" h="5835" extrusionOk="0">
                <a:moveTo>
                  <a:pt x="4620" y="0"/>
                </a:moveTo>
                <a:cubicBezTo>
                  <a:pt x="3727" y="0"/>
                  <a:pt x="2977" y="691"/>
                  <a:pt x="2905" y="1572"/>
                </a:cubicBezTo>
                <a:cubicBezTo>
                  <a:pt x="2727" y="1548"/>
                  <a:pt x="2358" y="1441"/>
                  <a:pt x="2262" y="1405"/>
                </a:cubicBezTo>
                <a:cubicBezTo>
                  <a:pt x="1643" y="1203"/>
                  <a:pt x="1072" y="810"/>
                  <a:pt x="631" y="322"/>
                </a:cubicBezTo>
                <a:cubicBezTo>
                  <a:pt x="596" y="298"/>
                  <a:pt x="572" y="274"/>
                  <a:pt x="524" y="262"/>
                </a:cubicBezTo>
                <a:cubicBezTo>
                  <a:pt x="517" y="261"/>
                  <a:pt x="509" y="260"/>
                  <a:pt x="501" y="260"/>
                </a:cubicBezTo>
                <a:cubicBezTo>
                  <a:pt x="436" y="260"/>
                  <a:pt x="367" y="304"/>
                  <a:pt x="346" y="357"/>
                </a:cubicBezTo>
                <a:cubicBezTo>
                  <a:pt x="238" y="572"/>
                  <a:pt x="179" y="810"/>
                  <a:pt x="179" y="1048"/>
                </a:cubicBezTo>
                <a:cubicBezTo>
                  <a:pt x="179" y="1393"/>
                  <a:pt x="286" y="1727"/>
                  <a:pt x="476" y="1977"/>
                </a:cubicBezTo>
                <a:cubicBezTo>
                  <a:pt x="466" y="1975"/>
                  <a:pt x="456" y="1974"/>
                  <a:pt x="446" y="1974"/>
                </a:cubicBezTo>
                <a:cubicBezTo>
                  <a:pt x="397" y="1974"/>
                  <a:pt x="349" y="1997"/>
                  <a:pt x="310" y="2036"/>
                </a:cubicBezTo>
                <a:cubicBezTo>
                  <a:pt x="286" y="2060"/>
                  <a:pt x="286" y="2108"/>
                  <a:pt x="274" y="2143"/>
                </a:cubicBezTo>
                <a:lnTo>
                  <a:pt x="274" y="2203"/>
                </a:lnTo>
                <a:cubicBezTo>
                  <a:pt x="274" y="2655"/>
                  <a:pt x="476" y="3072"/>
                  <a:pt x="822" y="3358"/>
                </a:cubicBezTo>
                <a:cubicBezTo>
                  <a:pt x="786" y="3370"/>
                  <a:pt x="774" y="3405"/>
                  <a:pt x="762" y="3417"/>
                </a:cubicBezTo>
                <a:cubicBezTo>
                  <a:pt x="750" y="3465"/>
                  <a:pt x="727" y="3513"/>
                  <a:pt x="750" y="3548"/>
                </a:cubicBezTo>
                <a:cubicBezTo>
                  <a:pt x="893" y="4024"/>
                  <a:pt x="1262" y="4405"/>
                  <a:pt x="1727" y="4548"/>
                </a:cubicBezTo>
                <a:cubicBezTo>
                  <a:pt x="1310" y="4798"/>
                  <a:pt x="834" y="4941"/>
                  <a:pt x="334" y="4941"/>
                </a:cubicBezTo>
                <a:lnTo>
                  <a:pt x="191" y="4941"/>
                </a:lnTo>
                <a:cubicBezTo>
                  <a:pt x="107" y="4941"/>
                  <a:pt x="36" y="5001"/>
                  <a:pt x="12" y="5084"/>
                </a:cubicBezTo>
                <a:cubicBezTo>
                  <a:pt x="0" y="5156"/>
                  <a:pt x="48" y="5239"/>
                  <a:pt x="107" y="5263"/>
                </a:cubicBezTo>
                <a:cubicBezTo>
                  <a:pt x="727" y="5632"/>
                  <a:pt x="1465" y="5834"/>
                  <a:pt x="2191" y="5834"/>
                </a:cubicBezTo>
                <a:cubicBezTo>
                  <a:pt x="3072" y="5834"/>
                  <a:pt x="3905" y="5560"/>
                  <a:pt x="4596" y="5060"/>
                </a:cubicBezTo>
                <a:cubicBezTo>
                  <a:pt x="4691" y="5001"/>
                  <a:pt x="4691" y="4858"/>
                  <a:pt x="4620" y="4786"/>
                </a:cubicBezTo>
                <a:cubicBezTo>
                  <a:pt x="4587" y="4754"/>
                  <a:pt x="4544" y="4735"/>
                  <a:pt x="4499" y="4735"/>
                </a:cubicBezTo>
                <a:cubicBezTo>
                  <a:pt x="4463" y="4735"/>
                  <a:pt x="4426" y="4748"/>
                  <a:pt x="4394" y="4775"/>
                </a:cubicBezTo>
                <a:cubicBezTo>
                  <a:pt x="3763" y="5215"/>
                  <a:pt x="3013" y="5489"/>
                  <a:pt x="2191" y="5489"/>
                </a:cubicBezTo>
                <a:cubicBezTo>
                  <a:pt x="1727" y="5489"/>
                  <a:pt x="1262" y="5394"/>
                  <a:pt x="846" y="5239"/>
                </a:cubicBezTo>
                <a:cubicBezTo>
                  <a:pt x="1369" y="5144"/>
                  <a:pt x="1846" y="4917"/>
                  <a:pt x="2262" y="4584"/>
                </a:cubicBezTo>
                <a:cubicBezTo>
                  <a:pt x="2310" y="4536"/>
                  <a:pt x="2334" y="4477"/>
                  <a:pt x="2322" y="4417"/>
                </a:cubicBezTo>
                <a:cubicBezTo>
                  <a:pt x="2310" y="4346"/>
                  <a:pt x="2239" y="4286"/>
                  <a:pt x="2155" y="4286"/>
                </a:cubicBezTo>
                <a:cubicBezTo>
                  <a:pt x="1739" y="4263"/>
                  <a:pt x="1369" y="4048"/>
                  <a:pt x="1167" y="3691"/>
                </a:cubicBezTo>
                <a:cubicBezTo>
                  <a:pt x="1250" y="3691"/>
                  <a:pt x="1358" y="3667"/>
                  <a:pt x="1441" y="3643"/>
                </a:cubicBezTo>
                <a:cubicBezTo>
                  <a:pt x="1524" y="3632"/>
                  <a:pt x="1584" y="3572"/>
                  <a:pt x="1584" y="3489"/>
                </a:cubicBezTo>
                <a:cubicBezTo>
                  <a:pt x="1596" y="3405"/>
                  <a:pt x="1536" y="3334"/>
                  <a:pt x="1441" y="3298"/>
                </a:cubicBezTo>
                <a:cubicBezTo>
                  <a:pt x="1000" y="3191"/>
                  <a:pt x="667" y="2822"/>
                  <a:pt x="596" y="2381"/>
                </a:cubicBezTo>
                <a:lnTo>
                  <a:pt x="596" y="2381"/>
                </a:lnTo>
                <a:cubicBezTo>
                  <a:pt x="727" y="2405"/>
                  <a:pt x="869" y="2417"/>
                  <a:pt x="1000" y="2417"/>
                </a:cubicBezTo>
                <a:cubicBezTo>
                  <a:pt x="1084" y="2417"/>
                  <a:pt x="1143" y="2358"/>
                  <a:pt x="1167" y="2274"/>
                </a:cubicBezTo>
                <a:cubicBezTo>
                  <a:pt x="1179" y="2203"/>
                  <a:pt x="1131" y="2143"/>
                  <a:pt x="1072" y="2108"/>
                </a:cubicBezTo>
                <a:cubicBezTo>
                  <a:pt x="703" y="1881"/>
                  <a:pt x="476" y="1488"/>
                  <a:pt x="476" y="1048"/>
                </a:cubicBezTo>
                <a:cubicBezTo>
                  <a:pt x="476" y="953"/>
                  <a:pt x="488" y="846"/>
                  <a:pt x="524" y="738"/>
                </a:cubicBezTo>
                <a:cubicBezTo>
                  <a:pt x="965" y="1191"/>
                  <a:pt x="1524" y="1524"/>
                  <a:pt x="2120" y="1727"/>
                </a:cubicBezTo>
                <a:cubicBezTo>
                  <a:pt x="2120" y="1727"/>
                  <a:pt x="2715" y="1905"/>
                  <a:pt x="2929" y="1917"/>
                </a:cubicBezTo>
                <a:lnTo>
                  <a:pt x="3024" y="1917"/>
                </a:lnTo>
                <a:cubicBezTo>
                  <a:pt x="3096" y="1917"/>
                  <a:pt x="3167" y="1869"/>
                  <a:pt x="3191" y="1798"/>
                </a:cubicBezTo>
                <a:cubicBezTo>
                  <a:pt x="3203" y="1786"/>
                  <a:pt x="3203" y="1750"/>
                  <a:pt x="3203" y="1738"/>
                </a:cubicBezTo>
                <a:lnTo>
                  <a:pt x="3203" y="1703"/>
                </a:lnTo>
                <a:cubicBezTo>
                  <a:pt x="3203" y="953"/>
                  <a:pt x="3810" y="334"/>
                  <a:pt x="4572" y="334"/>
                </a:cubicBezTo>
                <a:cubicBezTo>
                  <a:pt x="4941" y="334"/>
                  <a:pt x="5287" y="488"/>
                  <a:pt x="5549" y="750"/>
                </a:cubicBezTo>
                <a:cubicBezTo>
                  <a:pt x="5585" y="787"/>
                  <a:pt x="5621" y="802"/>
                  <a:pt x="5663" y="802"/>
                </a:cubicBezTo>
                <a:cubicBezTo>
                  <a:pt x="5676" y="802"/>
                  <a:pt x="5689" y="801"/>
                  <a:pt x="5703" y="798"/>
                </a:cubicBezTo>
                <a:cubicBezTo>
                  <a:pt x="5882" y="762"/>
                  <a:pt x="6049" y="738"/>
                  <a:pt x="6203" y="679"/>
                </a:cubicBezTo>
                <a:lnTo>
                  <a:pt x="6203" y="679"/>
                </a:lnTo>
                <a:cubicBezTo>
                  <a:pt x="6120" y="762"/>
                  <a:pt x="6013" y="857"/>
                  <a:pt x="5894" y="917"/>
                </a:cubicBezTo>
                <a:cubicBezTo>
                  <a:pt x="5822" y="965"/>
                  <a:pt x="5787" y="1048"/>
                  <a:pt x="5822" y="1143"/>
                </a:cubicBezTo>
                <a:cubicBezTo>
                  <a:pt x="5846" y="1203"/>
                  <a:pt x="5930" y="1250"/>
                  <a:pt x="6001" y="1250"/>
                </a:cubicBezTo>
                <a:cubicBezTo>
                  <a:pt x="6144" y="1227"/>
                  <a:pt x="6287" y="1215"/>
                  <a:pt x="6418" y="1167"/>
                </a:cubicBezTo>
                <a:lnTo>
                  <a:pt x="6418" y="1167"/>
                </a:lnTo>
                <a:cubicBezTo>
                  <a:pt x="6299" y="1286"/>
                  <a:pt x="6168" y="1405"/>
                  <a:pt x="6013" y="1512"/>
                </a:cubicBezTo>
                <a:cubicBezTo>
                  <a:pt x="5965" y="1548"/>
                  <a:pt x="5941" y="1608"/>
                  <a:pt x="5941" y="1655"/>
                </a:cubicBezTo>
                <a:lnTo>
                  <a:pt x="5941" y="1679"/>
                </a:lnTo>
                <a:lnTo>
                  <a:pt x="5941" y="1703"/>
                </a:lnTo>
                <a:lnTo>
                  <a:pt x="5941" y="1727"/>
                </a:lnTo>
                <a:cubicBezTo>
                  <a:pt x="5941" y="2691"/>
                  <a:pt x="5572" y="3572"/>
                  <a:pt x="4977" y="4227"/>
                </a:cubicBezTo>
                <a:cubicBezTo>
                  <a:pt x="4918" y="4298"/>
                  <a:pt x="4918" y="4405"/>
                  <a:pt x="4977" y="4465"/>
                </a:cubicBezTo>
                <a:cubicBezTo>
                  <a:pt x="5011" y="4499"/>
                  <a:pt x="5053" y="4514"/>
                  <a:pt x="5096" y="4514"/>
                </a:cubicBezTo>
                <a:cubicBezTo>
                  <a:pt x="5143" y="4514"/>
                  <a:pt x="5190" y="4496"/>
                  <a:pt x="5227" y="4465"/>
                </a:cubicBezTo>
                <a:cubicBezTo>
                  <a:pt x="5894" y="3715"/>
                  <a:pt x="6263" y="2762"/>
                  <a:pt x="6287" y="1750"/>
                </a:cubicBezTo>
                <a:cubicBezTo>
                  <a:pt x="6596" y="1524"/>
                  <a:pt x="6846" y="1250"/>
                  <a:pt x="7061" y="917"/>
                </a:cubicBezTo>
                <a:cubicBezTo>
                  <a:pt x="7144" y="857"/>
                  <a:pt x="7132" y="750"/>
                  <a:pt x="7061" y="715"/>
                </a:cubicBezTo>
                <a:cubicBezTo>
                  <a:pt x="7029" y="683"/>
                  <a:pt x="6987" y="667"/>
                  <a:pt x="6937" y="667"/>
                </a:cubicBezTo>
                <a:cubicBezTo>
                  <a:pt x="6912" y="667"/>
                  <a:pt x="6886" y="671"/>
                  <a:pt x="6858" y="679"/>
                </a:cubicBezTo>
                <a:cubicBezTo>
                  <a:pt x="6775" y="726"/>
                  <a:pt x="6680" y="750"/>
                  <a:pt x="6596" y="786"/>
                </a:cubicBezTo>
                <a:cubicBezTo>
                  <a:pt x="6680" y="667"/>
                  <a:pt x="6763" y="512"/>
                  <a:pt x="6823" y="369"/>
                </a:cubicBezTo>
                <a:cubicBezTo>
                  <a:pt x="6834" y="310"/>
                  <a:pt x="6834" y="238"/>
                  <a:pt x="6787" y="191"/>
                </a:cubicBezTo>
                <a:cubicBezTo>
                  <a:pt x="6750" y="153"/>
                  <a:pt x="6703" y="135"/>
                  <a:pt x="6659" y="135"/>
                </a:cubicBezTo>
                <a:cubicBezTo>
                  <a:pt x="6632" y="135"/>
                  <a:pt x="6607" y="142"/>
                  <a:pt x="6584" y="155"/>
                </a:cubicBezTo>
                <a:cubicBezTo>
                  <a:pt x="6322" y="310"/>
                  <a:pt x="6061" y="393"/>
                  <a:pt x="5775" y="441"/>
                </a:cubicBezTo>
                <a:cubicBezTo>
                  <a:pt x="5465" y="143"/>
                  <a:pt x="5048" y="0"/>
                  <a:pt x="4620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79" name="Google Shape;1379;p47"/>
          <p:cNvGrpSpPr/>
          <p:nvPr/>
        </p:nvGrpSpPr>
        <p:grpSpPr>
          <a:xfrm>
            <a:off x="4236456" y="3252450"/>
            <a:ext cx="292574" cy="261652"/>
            <a:chOff x="3824739" y="3890112"/>
            <a:chExt cx="208105" cy="186110"/>
          </a:xfrm>
        </p:grpSpPr>
        <p:sp>
          <p:nvSpPr>
            <p:cNvPr id="1380" name="Google Shape;1380;p47"/>
            <p:cNvSpPr/>
            <p:nvPr/>
          </p:nvSpPr>
          <p:spPr>
            <a:xfrm>
              <a:off x="3831933" y="3955682"/>
              <a:ext cx="47809" cy="120540"/>
            </a:xfrm>
            <a:custGeom>
              <a:avLst/>
              <a:gdLst/>
              <a:ahLst/>
              <a:cxnLst/>
              <a:rect l="l" t="t" r="r" b="b"/>
              <a:pathLst>
                <a:path w="1502" h="3787" extrusionOk="0">
                  <a:moveTo>
                    <a:pt x="1168" y="346"/>
                  </a:moveTo>
                  <a:lnTo>
                    <a:pt x="1168" y="3430"/>
                  </a:lnTo>
                  <a:lnTo>
                    <a:pt x="358" y="3430"/>
                  </a:lnTo>
                  <a:lnTo>
                    <a:pt x="358" y="346"/>
                  </a:lnTo>
                  <a:close/>
                  <a:moveTo>
                    <a:pt x="180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72" y="3787"/>
                    <a:pt x="180" y="3787"/>
                  </a:cubicBezTo>
                  <a:lnTo>
                    <a:pt x="1323" y="3787"/>
                  </a:lnTo>
                  <a:cubicBezTo>
                    <a:pt x="1418" y="3787"/>
                    <a:pt x="1501" y="3715"/>
                    <a:pt x="1501" y="3608"/>
                  </a:cubicBezTo>
                  <a:lnTo>
                    <a:pt x="1501" y="179"/>
                  </a:lnTo>
                  <a:cubicBezTo>
                    <a:pt x="1501" y="72"/>
                    <a:pt x="1430" y="1"/>
                    <a:pt x="132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1" name="Google Shape;1381;p47"/>
            <p:cNvSpPr/>
            <p:nvPr/>
          </p:nvSpPr>
          <p:spPr>
            <a:xfrm>
              <a:off x="3824739" y="3890112"/>
              <a:ext cx="55002" cy="55002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70" y="334"/>
                  </a:moveTo>
                  <a:cubicBezTo>
                    <a:pt x="1156" y="334"/>
                    <a:pt x="1394" y="572"/>
                    <a:pt x="1394" y="846"/>
                  </a:cubicBezTo>
                  <a:cubicBezTo>
                    <a:pt x="1394" y="1132"/>
                    <a:pt x="1156" y="1370"/>
                    <a:pt x="870" y="1370"/>
                  </a:cubicBezTo>
                  <a:cubicBezTo>
                    <a:pt x="584" y="1370"/>
                    <a:pt x="346" y="1132"/>
                    <a:pt x="346" y="846"/>
                  </a:cubicBezTo>
                  <a:cubicBezTo>
                    <a:pt x="346" y="572"/>
                    <a:pt x="584" y="334"/>
                    <a:pt x="870" y="334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2" name="Google Shape;1382;p47"/>
            <p:cNvSpPr/>
            <p:nvPr/>
          </p:nvSpPr>
          <p:spPr>
            <a:xfrm>
              <a:off x="3904696" y="3955682"/>
              <a:ext cx="128148" cy="120540"/>
            </a:xfrm>
            <a:custGeom>
              <a:avLst/>
              <a:gdLst/>
              <a:ahLst/>
              <a:cxnLst/>
              <a:rect l="l" t="t" r="r" b="b"/>
              <a:pathLst>
                <a:path w="4026" h="3787" extrusionOk="0">
                  <a:moveTo>
                    <a:pt x="191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84" y="3787"/>
                    <a:pt x="191" y="3787"/>
                  </a:cubicBezTo>
                  <a:lnTo>
                    <a:pt x="1334" y="3787"/>
                  </a:lnTo>
                  <a:cubicBezTo>
                    <a:pt x="1418" y="3787"/>
                    <a:pt x="1513" y="3715"/>
                    <a:pt x="1513" y="3608"/>
                  </a:cubicBezTo>
                  <a:lnTo>
                    <a:pt x="1513" y="2382"/>
                  </a:lnTo>
                  <a:cubicBezTo>
                    <a:pt x="1513" y="1977"/>
                    <a:pt x="1596" y="1501"/>
                    <a:pt x="2037" y="1501"/>
                  </a:cubicBezTo>
                  <a:cubicBezTo>
                    <a:pt x="2347" y="1501"/>
                    <a:pt x="2477" y="1763"/>
                    <a:pt x="2525" y="2060"/>
                  </a:cubicBezTo>
                  <a:cubicBezTo>
                    <a:pt x="2537" y="2156"/>
                    <a:pt x="2608" y="2215"/>
                    <a:pt x="2692" y="2215"/>
                  </a:cubicBezTo>
                  <a:cubicBezTo>
                    <a:pt x="2787" y="2215"/>
                    <a:pt x="2870" y="2120"/>
                    <a:pt x="2847" y="2025"/>
                  </a:cubicBezTo>
                  <a:cubicBezTo>
                    <a:pt x="2763" y="1465"/>
                    <a:pt x="2477" y="1155"/>
                    <a:pt x="2013" y="1155"/>
                  </a:cubicBezTo>
                  <a:cubicBezTo>
                    <a:pt x="1465" y="1155"/>
                    <a:pt x="1156" y="1608"/>
                    <a:pt x="1156" y="2382"/>
                  </a:cubicBezTo>
                  <a:lnTo>
                    <a:pt x="1156" y="3430"/>
                  </a:lnTo>
                  <a:lnTo>
                    <a:pt x="346" y="3430"/>
                  </a:lnTo>
                  <a:lnTo>
                    <a:pt x="346" y="358"/>
                  </a:lnTo>
                  <a:lnTo>
                    <a:pt x="918" y="358"/>
                  </a:lnTo>
                  <a:lnTo>
                    <a:pt x="918" y="572"/>
                  </a:lnTo>
                  <a:cubicBezTo>
                    <a:pt x="918" y="632"/>
                    <a:pt x="930" y="679"/>
                    <a:pt x="977" y="715"/>
                  </a:cubicBezTo>
                  <a:cubicBezTo>
                    <a:pt x="1007" y="733"/>
                    <a:pt x="1043" y="742"/>
                    <a:pt x="1078" y="742"/>
                  </a:cubicBezTo>
                  <a:cubicBezTo>
                    <a:pt x="1114" y="742"/>
                    <a:pt x="1150" y="733"/>
                    <a:pt x="1180" y="715"/>
                  </a:cubicBezTo>
                  <a:cubicBezTo>
                    <a:pt x="1477" y="477"/>
                    <a:pt x="1835" y="358"/>
                    <a:pt x="2227" y="358"/>
                  </a:cubicBezTo>
                  <a:cubicBezTo>
                    <a:pt x="3204" y="358"/>
                    <a:pt x="3656" y="1191"/>
                    <a:pt x="3656" y="2001"/>
                  </a:cubicBezTo>
                  <a:lnTo>
                    <a:pt x="3656" y="3430"/>
                  </a:lnTo>
                  <a:lnTo>
                    <a:pt x="2847" y="3430"/>
                  </a:lnTo>
                  <a:lnTo>
                    <a:pt x="2847" y="2870"/>
                  </a:lnTo>
                  <a:cubicBezTo>
                    <a:pt x="2847" y="2775"/>
                    <a:pt x="2775" y="2703"/>
                    <a:pt x="2692" y="2703"/>
                  </a:cubicBezTo>
                  <a:cubicBezTo>
                    <a:pt x="2597" y="2703"/>
                    <a:pt x="2525" y="2775"/>
                    <a:pt x="2525" y="2870"/>
                  </a:cubicBezTo>
                  <a:lnTo>
                    <a:pt x="2525" y="3596"/>
                  </a:lnTo>
                  <a:cubicBezTo>
                    <a:pt x="2525" y="3691"/>
                    <a:pt x="2597" y="3775"/>
                    <a:pt x="2704" y="3775"/>
                  </a:cubicBezTo>
                  <a:lnTo>
                    <a:pt x="3847" y="3775"/>
                  </a:lnTo>
                  <a:cubicBezTo>
                    <a:pt x="3942" y="3775"/>
                    <a:pt x="4025" y="3703"/>
                    <a:pt x="4025" y="3596"/>
                  </a:cubicBezTo>
                  <a:lnTo>
                    <a:pt x="4025" y="1989"/>
                  </a:lnTo>
                  <a:cubicBezTo>
                    <a:pt x="4025" y="810"/>
                    <a:pt x="3299" y="1"/>
                    <a:pt x="2239" y="1"/>
                  </a:cubicBezTo>
                  <a:cubicBezTo>
                    <a:pt x="1894" y="1"/>
                    <a:pt x="1573" y="84"/>
                    <a:pt x="1275" y="251"/>
                  </a:cubicBezTo>
                  <a:lnTo>
                    <a:pt x="1275" y="179"/>
                  </a:lnTo>
                  <a:cubicBezTo>
                    <a:pt x="1275" y="84"/>
                    <a:pt x="1204" y="1"/>
                    <a:pt x="109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7" name="Google Shape;1387;p4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LTERNATIVE RESOURCES</a:t>
            </a:r>
            <a:endParaRPr/>
          </a:p>
        </p:txBody>
      </p:sp>
      <p:grpSp>
        <p:nvGrpSpPr>
          <p:cNvPr id="1388" name="Google Shape;1388;p48"/>
          <p:cNvGrpSpPr/>
          <p:nvPr/>
        </p:nvGrpSpPr>
        <p:grpSpPr>
          <a:xfrm>
            <a:off x="948567" y="1289119"/>
            <a:ext cx="2775273" cy="1140368"/>
            <a:chOff x="2144000" y="736675"/>
            <a:chExt cx="2165475" cy="889800"/>
          </a:xfrm>
        </p:grpSpPr>
        <p:sp>
          <p:nvSpPr>
            <p:cNvPr id="1389" name="Google Shape;1389;p48"/>
            <p:cNvSpPr/>
            <p:nvPr/>
          </p:nvSpPr>
          <p:spPr>
            <a:xfrm>
              <a:off x="2341825" y="750300"/>
              <a:ext cx="1967025" cy="25"/>
            </a:xfrm>
            <a:custGeom>
              <a:avLst/>
              <a:gdLst/>
              <a:ahLst/>
              <a:cxnLst/>
              <a:rect l="l" t="t" r="r" b="b"/>
              <a:pathLst>
                <a:path w="78681" h="1" extrusionOk="0">
                  <a:moveTo>
                    <a:pt x="1" y="0"/>
                  </a:moveTo>
                  <a:lnTo>
                    <a:pt x="78680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0" name="Google Shape;1390;p48"/>
            <p:cNvSpPr/>
            <p:nvPr/>
          </p:nvSpPr>
          <p:spPr>
            <a:xfrm>
              <a:off x="2341825" y="748100"/>
              <a:ext cx="1967025" cy="4100"/>
            </a:xfrm>
            <a:custGeom>
              <a:avLst/>
              <a:gdLst/>
              <a:ahLst/>
              <a:cxnLst/>
              <a:rect l="l" t="t" r="r" b="b"/>
              <a:pathLst>
                <a:path w="78681" h="164" extrusionOk="0">
                  <a:moveTo>
                    <a:pt x="1" y="0"/>
                  </a:moveTo>
                  <a:lnTo>
                    <a:pt x="1" y="164"/>
                  </a:lnTo>
                  <a:lnTo>
                    <a:pt x="78680" y="164"/>
                  </a:lnTo>
                  <a:lnTo>
                    <a:pt x="78680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1" name="Google Shape;1391;p48"/>
            <p:cNvSpPr/>
            <p:nvPr/>
          </p:nvSpPr>
          <p:spPr>
            <a:xfrm>
              <a:off x="2144300" y="738000"/>
              <a:ext cx="24300" cy="56425"/>
            </a:xfrm>
            <a:custGeom>
              <a:avLst/>
              <a:gdLst/>
              <a:ahLst/>
              <a:cxnLst/>
              <a:rect l="l" t="t" r="r" b="b"/>
              <a:pathLst>
                <a:path w="972" h="2257" extrusionOk="0">
                  <a:moveTo>
                    <a:pt x="1" y="1"/>
                  </a:moveTo>
                  <a:lnTo>
                    <a:pt x="1" y="429"/>
                  </a:lnTo>
                  <a:lnTo>
                    <a:pt x="455" y="429"/>
                  </a:lnTo>
                  <a:lnTo>
                    <a:pt x="455" y="2256"/>
                  </a:lnTo>
                  <a:lnTo>
                    <a:pt x="971" y="2256"/>
                  </a:lnTo>
                  <a:lnTo>
                    <a:pt x="97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2" name="Google Shape;1392;p48"/>
            <p:cNvSpPr/>
            <p:nvPr/>
          </p:nvSpPr>
          <p:spPr>
            <a:xfrm>
              <a:off x="2178325" y="736675"/>
              <a:ext cx="48550" cy="58775"/>
            </a:xfrm>
            <a:custGeom>
              <a:avLst/>
              <a:gdLst/>
              <a:ahLst/>
              <a:cxnLst/>
              <a:rect l="l" t="t" r="r" b="b"/>
              <a:pathLst>
                <a:path w="1942" h="2351" extrusionOk="0">
                  <a:moveTo>
                    <a:pt x="971" y="467"/>
                  </a:moveTo>
                  <a:cubicBezTo>
                    <a:pt x="1097" y="467"/>
                    <a:pt x="1223" y="526"/>
                    <a:pt x="1299" y="646"/>
                  </a:cubicBezTo>
                  <a:cubicBezTo>
                    <a:pt x="1387" y="810"/>
                    <a:pt x="1425" y="999"/>
                    <a:pt x="1412" y="1188"/>
                  </a:cubicBezTo>
                  <a:cubicBezTo>
                    <a:pt x="1425" y="1377"/>
                    <a:pt x="1387" y="1566"/>
                    <a:pt x="1299" y="1742"/>
                  </a:cubicBezTo>
                  <a:cubicBezTo>
                    <a:pt x="1223" y="1856"/>
                    <a:pt x="1097" y="1912"/>
                    <a:pt x="971" y="1912"/>
                  </a:cubicBezTo>
                  <a:cubicBezTo>
                    <a:pt x="845" y="1912"/>
                    <a:pt x="719" y="1856"/>
                    <a:pt x="643" y="1742"/>
                  </a:cubicBezTo>
                  <a:cubicBezTo>
                    <a:pt x="555" y="1566"/>
                    <a:pt x="517" y="1377"/>
                    <a:pt x="530" y="1188"/>
                  </a:cubicBezTo>
                  <a:cubicBezTo>
                    <a:pt x="517" y="999"/>
                    <a:pt x="555" y="810"/>
                    <a:pt x="643" y="646"/>
                  </a:cubicBezTo>
                  <a:cubicBezTo>
                    <a:pt x="719" y="526"/>
                    <a:pt x="845" y="467"/>
                    <a:pt x="971" y="467"/>
                  </a:cubicBezTo>
                  <a:close/>
                  <a:moveTo>
                    <a:pt x="969" y="0"/>
                  </a:moveTo>
                  <a:cubicBezTo>
                    <a:pt x="798" y="0"/>
                    <a:pt x="625" y="48"/>
                    <a:pt x="467" y="142"/>
                  </a:cubicBezTo>
                  <a:cubicBezTo>
                    <a:pt x="316" y="243"/>
                    <a:pt x="202" y="381"/>
                    <a:pt x="127" y="545"/>
                  </a:cubicBezTo>
                  <a:cubicBezTo>
                    <a:pt x="39" y="747"/>
                    <a:pt x="1" y="961"/>
                    <a:pt x="1" y="1175"/>
                  </a:cubicBezTo>
                  <a:cubicBezTo>
                    <a:pt x="1" y="1390"/>
                    <a:pt x="39" y="1604"/>
                    <a:pt x="127" y="1805"/>
                  </a:cubicBezTo>
                  <a:cubicBezTo>
                    <a:pt x="202" y="1969"/>
                    <a:pt x="316" y="2108"/>
                    <a:pt x="467" y="2209"/>
                  </a:cubicBezTo>
                  <a:cubicBezTo>
                    <a:pt x="618" y="2303"/>
                    <a:pt x="791" y="2350"/>
                    <a:pt x="965" y="2350"/>
                  </a:cubicBezTo>
                  <a:cubicBezTo>
                    <a:pt x="1138" y="2350"/>
                    <a:pt x="1311" y="2303"/>
                    <a:pt x="1462" y="2209"/>
                  </a:cubicBezTo>
                  <a:cubicBezTo>
                    <a:pt x="1614" y="2108"/>
                    <a:pt x="1740" y="1969"/>
                    <a:pt x="1815" y="1805"/>
                  </a:cubicBezTo>
                  <a:cubicBezTo>
                    <a:pt x="1904" y="1604"/>
                    <a:pt x="1941" y="1390"/>
                    <a:pt x="1929" y="1175"/>
                  </a:cubicBezTo>
                  <a:cubicBezTo>
                    <a:pt x="1941" y="961"/>
                    <a:pt x="1904" y="747"/>
                    <a:pt x="1815" y="545"/>
                  </a:cubicBezTo>
                  <a:cubicBezTo>
                    <a:pt x="1740" y="381"/>
                    <a:pt x="1614" y="243"/>
                    <a:pt x="1462" y="142"/>
                  </a:cubicBezTo>
                  <a:cubicBezTo>
                    <a:pt x="1311" y="48"/>
                    <a:pt x="1141" y="0"/>
                    <a:pt x="96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3" name="Google Shape;1393;p48"/>
            <p:cNvSpPr/>
            <p:nvPr/>
          </p:nvSpPr>
          <p:spPr>
            <a:xfrm>
              <a:off x="2232825" y="736800"/>
              <a:ext cx="48550" cy="58525"/>
            </a:xfrm>
            <a:custGeom>
              <a:avLst/>
              <a:gdLst/>
              <a:ahLst/>
              <a:cxnLst/>
              <a:rect l="l" t="t" r="r" b="b"/>
              <a:pathLst>
                <a:path w="1942" h="2341" extrusionOk="0">
                  <a:moveTo>
                    <a:pt x="984" y="465"/>
                  </a:moveTo>
                  <a:cubicBezTo>
                    <a:pt x="1110" y="465"/>
                    <a:pt x="1236" y="528"/>
                    <a:pt x="1299" y="641"/>
                  </a:cubicBezTo>
                  <a:cubicBezTo>
                    <a:pt x="1387" y="805"/>
                    <a:pt x="1425" y="994"/>
                    <a:pt x="1412" y="1183"/>
                  </a:cubicBezTo>
                  <a:cubicBezTo>
                    <a:pt x="1425" y="1372"/>
                    <a:pt x="1387" y="1561"/>
                    <a:pt x="1299" y="1737"/>
                  </a:cubicBezTo>
                  <a:lnTo>
                    <a:pt x="1299" y="1725"/>
                  </a:lnTo>
                  <a:cubicBezTo>
                    <a:pt x="1236" y="1838"/>
                    <a:pt x="1110" y="1914"/>
                    <a:pt x="984" y="1914"/>
                  </a:cubicBezTo>
                  <a:cubicBezTo>
                    <a:pt x="858" y="1914"/>
                    <a:pt x="732" y="1838"/>
                    <a:pt x="669" y="1737"/>
                  </a:cubicBezTo>
                  <a:cubicBezTo>
                    <a:pt x="580" y="1561"/>
                    <a:pt x="530" y="1372"/>
                    <a:pt x="555" y="1183"/>
                  </a:cubicBezTo>
                  <a:cubicBezTo>
                    <a:pt x="530" y="994"/>
                    <a:pt x="580" y="805"/>
                    <a:pt x="669" y="641"/>
                  </a:cubicBezTo>
                  <a:cubicBezTo>
                    <a:pt x="732" y="528"/>
                    <a:pt x="858" y="465"/>
                    <a:pt x="984" y="465"/>
                  </a:cubicBezTo>
                  <a:close/>
                  <a:moveTo>
                    <a:pt x="989" y="1"/>
                  </a:moveTo>
                  <a:cubicBezTo>
                    <a:pt x="640" y="1"/>
                    <a:pt x="302" y="198"/>
                    <a:pt x="139" y="540"/>
                  </a:cubicBezTo>
                  <a:cubicBezTo>
                    <a:pt x="39" y="742"/>
                    <a:pt x="1" y="956"/>
                    <a:pt x="13" y="1170"/>
                  </a:cubicBezTo>
                  <a:cubicBezTo>
                    <a:pt x="1" y="1385"/>
                    <a:pt x="39" y="1599"/>
                    <a:pt x="139" y="1800"/>
                  </a:cubicBezTo>
                  <a:cubicBezTo>
                    <a:pt x="202" y="1964"/>
                    <a:pt x="328" y="2103"/>
                    <a:pt x="480" y="2204"/>
                  </a:cubicBezTo>
                  <a:cubicBezTo>
                    <a:pt x="633" y="2296"/>
                    <a:pt x="800" y="2340"/>
                    <a:pt x="965" y="2340"/>
                  </a:cubicBezTo>
                  <a:cubicBezTo>
                    <a:pt x="1315" y="2340"/>
                    <a:pt x="1652" y="2143"/>
                    <a:pt x="1815" y="1800"/>
                  </a:cubicBezTo>
                  <a:cubicBezTo>
                    <a:pt x="1903" y="1599"/>
                    <a:pt x="1941" y="1385"/>
                    <a:pt x="1941" y="1170"/>
                  </a:cubicBezTo>
                  <a:cubicBezTo>
                    <a:pt x="1941" y="956"/>
                    <a:pt x="1903" y="742"/>
                    <a:pt x="1815" y="540"/>
                  </a:cubicBezTo>
                  <a:cubicBezTo>
                    <a:pt x="1740" y="376"/>
                    <a:pt x="1626" y="238"/>
                    <a:pt x="1475" y="137"/>
                  </a:cubicBezTo>
                  <a:cubicBezTo>
                    <a:pt x="1322" y="44"/>
                    <a:pt x="1154" y="1"/>
                    <a:pt x="98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4" name="Google Shape;1394;p48"/>
            <p:cNvSpPr/>
            <p:nvPr/>
          </p:nvSpPr>
          <p:spPr>
            <a:xfrm>
              <a:off x="2342775" y="8886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5" name="Google Shape;1395;p48"/>
            <p:cNvSpPr/>
            <p:nvPr/>
          </p:nvSpPr>
          <p:spPr>
            <a:xfrm>
              <a:off x="2342775" y="886700"/>
              <a:ext cx="1966700" cy="4125"/>
            </a:xfrm>
            <a:custGeom>
              <a:avLst/>
              <a:gdLst/>
              <a:ahLst/>
              <a:cxnLst/>
              <a:rect l="l" t="t" r="r" b="b"/>
              <a:pathLst>
                <a:path w="78668" h="165" extrusionOk="0">
                  <a:moveTo>
                    <a:pt x="0" y="0"/>
                  </a:moveTo>
                  <a:lnTo>
                    <a:pt x="0" y="164"/>
                  </a:lnTo>
                  <a:lnTo>
                    <a:pt x="78668" y="164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6" name="Google Shape;1396;p48"/>
            <p:cNvSpPr/>
            <p:nvPr/>
          </p:nvSpPr>
          <p:spPr>
            <a:xfrm>
              <a:off x="2144950" y="875350"/>
              <a:ext cx="45075" cy="57675"/>
            </a:xfrm>
            <a:custGeom>
              <a:avLst/>
              <a:gdLst/>
              <a:ahLst/>
              <a:cxnLst/>
              <a:rect l="l" t="t" r="r" b="b"/>
              <a:pathLst>
                <a:path w="1803" h="2307" extrusionOk="0">
                  <a:moveTo>
                    <a:pt x="895" y="1"/>
                  </a:moveTo>
                  <a:cubicBezTo>
                    <a:pt x="706" y="1"/>
                    <a:pt x="529" y="39"/>
                    <a:pt x="366" y="114"/>
                  </a:cubicBezTo>
                  <a:cubicBezTo>
                    <a:pt x="214" y="177"/>
                    <a:pt x="88" y="291"/>
                    <a:pt x="0" y="429"/>
                  </a:cubicBezTo>
                  <a:lnTo>
                    <a:pt x="378" y="669"/>
                  </a:lnTo>
                  <a:cubicBezTo>
                    <a:pt x="429" y="593"/>
                    <a:pt x="492" y="543"/>
                    <a:pt x="580" y="505"/>
                  </a:cubicBezTo>
                  <a:cubicBezTo>
                    <a:pt x="655" y="467"/>
                    <a:pt x="756" y="442"/>
                    <a:pt x="844" y="442"/>
                  </a:cubicBezTo>
                  <a:cubicBezTo>
                    <a:pt x="933" y="442"/>
                    <a:pt x="1033" y="467"/>
                    <a:pt x="1109" y="517"/>
                  </a:cubicBezTo>
                  <a:cubicBezTo>
                    <a:pt x="1172" y="568"/>
                    <a:pt x="1210" y="643"/>
                    <a:pt x="1197" y="732"/>
                  </a:cubicBezTo>
                  <a:cubicBezTo>
                    <a:pt x="1197" y="795"/>
                    <a:pt x="1185" y="858"/>
                    <a:pt x="1159" y="921"/>
                  </a:cubicBezTo>
                  <a:cubicBezTo>
                    <a:pt x="1109" y="996"/>
                    <a:pt x="1046" y="1072"/>
                    <a:pt x="970" y="1148"/>
                  </a:cubicBezTo>
                  <a:lnTo>
                    <a:pt x="101" y="1967"/>
                  </a:lnTo>
                  <a:lnTo>
                    <a:pt x="101" y="2307"/>
                  </a:lnTo>
                  <a:lnTo>
                    <a:pt x="1802" y="2307"/>
                  </a:lnTo>
                  <a:lnTo>
                    <a:pt x="1802" y="1878"/>
                  </a:lnTo>
                  <a:lnTo>
                    <a:pt x="832" y="1878"/>
                  </a:lnTo>
                  <a:lnTo>
                    <a:pt x="1348" y="1387"/>
                  </a:lnTo>
                  <a:cubicBezTo>
                    <a:pt x="1474" y="1274"/>
                    <a:pt x="1575" y="1160"/>
                    <a:pt x="1651" y="1022"/>
                  </a:cubicBezTo>
                  <a:cubicBezTo>
                    <a:pt x="1701" y="908"/>
                    <a:pt x="1726" y="795"/>
                    <a:pt x="1726" y="669"/>
                  </a:cubicBezTo>
                  <a:cubicBezTo>
                    <a:pt x="1726" y="543"/>
                    <a:pt x="1689" y="417"/>
                    <a:pt x="1626" y="316"/>
                  </a:cubicBezTo>
                  <a:cubicBezTo>
                    <a:pt x="1550" y="215"/>
                    <a:pt x="1449" y="139"/>
                    <a:pt x="1336" y="89"/>
                  </a:cubicBezTo>
                  <a:cubicBezTo>
                    <a:pt x="1185" y="26"/>
                    <a:pt x="1046" y="1"/>
                    <a:pt x="89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7" name="Google Shape;1397;p48"/>
            <p:cNvSpPr/>
            <p:nvPr/>
          </p:nvSpPr>
          <p:spPr>
            <a:xfrm>
              <a:off x="2194075" y="875600"/>
              <a:ext cx="50750" cy="58450"/>
            </a:xfrm>
            <a:custGeom>
              <a:avLst/>
              <a:gdLst/>
              <a:ahLst/>
              <a:cxnLst/>
              <a:rect l="l" t="t" r="r" b="b"/>
              <a:pathLst>
                <a:path w="2030" h="2338" extrusionOk="0">
                  <a:moveTo>
                    <a:pt x="1015" y="451"/>
                  </a:moveTo>
                  <a:cubicBezTo>
                    <a:pt x="1138" y="451"/>
                    <a:pt x="1261" y="507"/>
                    <a:pt x="1337" y="621"/>
                  </a:cubicBezTo>
                  <a:cubicBezTo>
                    <a:pt x="1425" y="797"/>
                    <a:pt x="1475" y="986"/>
                    <a:pt x="1463" y="1175"/>
                  </a:cubicBezTo>
                  <a:cubicBezTo>
                    <a:pt x="1475" y="1364"/>
                    <a:pt x="1425" y="1553"/>
                    <a:pt x="1337" y="1717"/>
                  </a:cubicBezTo>
                  <a:cubicBezTo>
                    <a:pt x="1261" y="1837"/>
                    <a:pt x="1138" y="1897"/>
                    <a:pt x="1015" y="1897"/>
                  </a:cubicBezTo>
                  <a:cubicBezTo>
                    <a:pt x="892" y="1897"/>
                    <a:pt x="769" y="1837"/>
                    <a:pt x="694" y="1717"/>
                  </a:cubicBezTo>
                  <a:cubicBezTo>
                    <a:pt x="606" y="1553"/>
                    <a:pt x="568" y="1364"/>
                    <a:pt x="580" y="1175"/>
                  </a:cubicBezTo>
                  <a:cubicBezTo>
                    <a:pt x="568" y="986"/>
                    <a:pt x="606" y="797"/>
                    <a:pt x="694" y="621"/>
                  </a:cubicBezTo>
                  <a:cubicBezTo>
                    <a:pt x="769" y="507"/>
                    <a:pt x="892" y="451"/>
                    <a:pt x="1015" y="451"/>
                  </a:cubicBezTo>
                  <a:close/>
                  <a:moveTo>
                    <a:pt x="1015" y="0"/>
                  </a:moveTo>
                  <a:cubicBezTo>
                    <a:pt x="842" y="0"/>
                    <a:pt x="669" y="48"/>
                    <a:pt x="517" y="142"/>
                  </a:cubicBezTo>
                  <a:cubicBezTo>
                    <a:pt x="366" y="230"/>
                    <a:pt x="253" y="369"/>
                    <a:pt x="177" y="533"/>
                  </a:cubicBezTo>
                  <a:cubicBezTo>
                    <a:pt x="1" y="936"/>
                    <a:pt x="1" y="1390"/>
                    <a:pt x="177" y="1793"/>
                  </a:cubicBezTo>
                  <a:cubicBezTo>
                    <a:pt x="253" y="1957"/>
                    <a:pt x="366" y="2095"/>
                    <a:pt x="517" y="2196"/>
                  </a:cubicBezTo>
                  <a:cubicBezTo>
                    <a:pt x="669" y="2291"/>
                    <a:pt x="842" y="2338"/>
                    <a:pt x="1015" y="2338"/>
                  </a:cubicBezTo>
                  <a:cubicBezTo>
                    <a:pt x="1188" y="2338"/>
                    <a:pt x="1362" y="2291"/>
                    <a:pt x="1513" y="2196"/>
                  </a:cubicBezTo>
                  <a:cubicBezTo>
                    <a:pt x="1664" y="2108"/>
                    <a:pt x="1790" y="1969"/>
                    <a:pt x="1853" y="1805"/>
                  </a:cubicBezTo>
                  <a:cubicBezTo>
                    <a:pt x="2030" y="1402"/>
                    <a:pt x="2030" y="949"/>
                    <a:pt x="1853" y="545"/>
                  </a:cubicBezTo>
                  <a:cubicBezTo>
                    <a:pt x="1790" y="381"/>
                    <a:pt x="1664" y="243"/>
                    <a:pt x="1513" y="142"/>
                  </a:cubicBezTo>
                  <a:cubicBezTo>
                    <a:pt x="1362" y="48"/>
                    <a:pt x="1188" y="0"/>
                    <a:pt x="101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8" name="Google Shape;1398;p48"/>
            <p:cNvSpPr/>
            <p:nvPr/>
          </p:nvSpPr>
          <p:spPr>
            <a:xfrm>
              <a:off x="2248900" y="875200"/>
              <a:ext cx="50425" cy="58625"/>
            </a:xfrm>
            <a:custGeom>
              <a:avLst/>
              <a:gdLst/>
              <a:ahLst/>
              <a:cxnLst/>
              <a:rect l="l" t="t" r="r" b="b"/>
              <a:pathLst>
                <a:path w="2017" h="2345" extrusionOk="0">
                  <a:moveTo>
                    <a:pt x="1002" y="467"/>
                  </a:moveTo>
                  <a:cubicBezTo>
                    <a:pt x="1125" y="467"/>
                    <a:pt x="1248" y="523"/>
                    <a:pt x="1323" y="637"/>
                  </a:cubicBezTo>
                  <a:cubicBezTo>
                    <a:pt x="1412" y="813"/>
                    <a:pt x="1462" y="1002"/>
                    <a:pt x="1449" y="1191"/>
                  </a:cubicBezTo>
                  <a:cubicBezTo>
                    <a:pt x="1462" y="1380"/>
                    <a:pt x="1412" y="1569"/>
                    <a:pt x="1323" y="1733"/>
                  </a:cubicBezTo>
                  <a:lnTo>
                    <a:pt x="1336" y="1733"/>
                  </a:lnTo>
                  <a:cubicBezTo>
                    <a:pt x="1260" y="1847"/>
                    <a:pt x="1134" y="1903"/>
                    <a:pt x="1010" y="1903"/>
                  </a:cubicBezTo>
                  <a:cubicBezTo>
                    <a:pt x="886" y="1903"/>
                    <a:pt x="763" y="1847"/>
                    <a:pt x="693" y="1733"/>
                  </a:cubicBezTo>
                  <a:cubicBezTo>
                    <a:pt x="593" y="1569"/>
                    <a:pt x="555" y="1380"/>
                    <a:pt x="567" y="1191"/>
                  </a:cubicBezTo>
                  <a:cubicBezTo>
                    <a:pt x="555" y="1002"/>
                    <a:pt x="593" y="813"/>
                    <a:pt x="681" y="637"/>
                  </a:cubicBezTo>
                  <a:cubicBezTo>
                    <a:pt x="756" y="523"/>
                    <a:pt x="879" y="467"/>
                    <a:pt x="1002" y="467"/>
                  </a:cubicBezTo>
                  <a:close/>
                  <a:moveTo>
                    <a:pt x="1001" y="1"/>
                  </a:moveTo>
                  <a:cubicBezTo>
                    <a:pt x="832" y="1"/>
                    <a:pt x="660" y="47"/>
                    <a:pt x="504" y="145"/>
                  </a:cubicBezTo>
                  <a:cubicBezTo>
                    <a:pt x="353" y="246"/>
                    <a:pt x="240" y="385"/>
                    <a:pt x="164" y="549"/>
                  </a:cubicBezTo>
                  <a:cubicBezTo>
                    <a:pt x="0" y="952"/>
                    <a:pt x="0" y="1406"/>
                    <a:pt x="164" y="1809"/>
                  </a:cubicBezTo>
                  <a:cubicBezTo>
                    <a:pt x="240" y="1973"/>
                    <a:pt x="353" y="2111"/>
                    <a:pt x="504" y="2212"/>
                  </a:cubicBezTo>
                  <a:cubicBezTo>
                    <a:pt x="656" y="2300"/>
                    <a:pt x="829" y="2344"/>
                    <a:pt x="1002" y="2344"/>
                  </a:cubicBezTo>
                  <a:cubicBezTo>
                    <a:pt x="1175" y="2344"/>
                    <a:pt x="1349" y="2300"/>
                    <a:pt x="1500" y="2212"/>
                  </a:cubicBezTo>
                  <a:cubicBezTo>
                    <a:pt x="1651" y="2111"/>
                    <a:pt x="1777" y="1973"/>
                    <a:pt x="1840" y="1809"/>
                  </a:cubicBezTo>
                  <a:cubicBezTo>
                    <a:pt x="2017" y="1406"/>
                    <a:pt x="2017" y="952"/>
                    <a:pt x="1840" y="549"/>
                  </a:cubicBezTo>
                  <a:cubicBezTo>
                    <a:pt x="1687" y="200"/>
                    <a:pt x="1351" y="1"/>
                    <a:pt x="1001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9" name="Google Shape;1399;p48"/>
            <p:cNvSpPr/>
            <p:nvPr/>
          </p:nvSpPr>
          <p:spPr>
            <a:xfrm>
              <a:off x="2342450" y="1027200"/>
              <a:ext cx="1966725" cy="25"/>
            </a:xfrm>
            <a:custGeom>
              <a:avLst/>
              <a:gdLst/>
              <a:ahLst/>
              <a:cxnLst/>
              <a:rect l="l" t="t" r="r" b="b"/>
              <a:pathLst>
                <a:path w="78669" h="1" extrusionOk="0">
                  <a:moveTo>
                    <a:pt x="1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0" name="Google Shape;1400;p48"/>
            <p:cNvSpPr/>
            <p:nvPr/>
          </p:nvSpPr>
          <p:spPr>
            <a:xfrm>
              <a:off x="2342450" y="1025300"/>
              <a:ext cx="1966725" cy="3825"/>
            </a:xfrm>
            <a:custGeom>
              <a:avLst/>
              <a:gdLst/>
              <a:ahLst/>
              <a:cxnLst/>
              <a:rect l="l" t="t" r="r" b="b"/>
              <a:pathLst>
                <a:path w="78669" h="153" extrusionOk="0">
                  <a:moveTo>
                    <a:pt x="1" y="1"/>
                  </a:moveTo>
                  <a:lnTo>
                    <a:pt x="1" y="152"/>
                  </a:lnTo>
                  <a:lnTo>
                    <a:pt x="78668" y="152"/>
                  </a:lnTo>
                  <a:lnTo>
                    <a:pt x="78668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1" name="Google Shape;1401;p48"/>
            <p:cNvSpPr/>
            <p:nvPr/>
          </p:nvSpPr>
          <p:spPr>
            <a:xfrm>
              <a:off x="2144000" y="1015225"/>
              <a:ext cx="45075" cy="57100"/>
            </a:xfrm>
            <a:custGeom>
              <a:avLst/>
              <a:gdLst/>
              <a:ahLst/>
              <a:cxnLst/>
              <a:rect l="l" t="t" r="r" b="b"/>
              <a:pathLst>
                <a:path w="1803" h="2284" extrusionOk="0">
                  <a:moveTo>
                    <a:pt x="126" y="1"/>
                  </a:moveTo>
                  <a:lnTo>
                    <a:pt x="126" y="416"/>
                  </a:lnTo>
                  <a:lnTo>
                    <a:pt x="1084" y="416"/>
                  </a:lnTo>
                  <a:lnTo>
                    <a:pt x="618" y="946"/>
                  </a:lnTo>
                  <a:lnTo>
                    <a:pt x="618" y="1286"/>
                  </a:lnTo>
                  <a:lnTo>
                    <a:pt x="857" y="1286"/>
                  </a:lnTo>
                  <a:cubicBezTo>
                    <a:pt x="1134" y="1286"/>
                    <a:pt x="1273" y="1387"/>
                    <a:pt x="1273" y="1563"/>
                  </a:cubicBezTo>
                  <a:cubicBezTo>
                    <a:pt x="1273" y="1651"/>
                    <a:pt x="1235" y="1740"/>
                    <a:pt x="1160" y="1777"/>
                  </a:cubicBezTo>
                  <a:cubicBezTo>
                    <a:pt x="1086" y="1830"/>
                    <a:pt x="995" y="1856"/>
                    <a:pt x="901" y="1856"/>
                  </a:cubicBezTo>
                  <a:cubicBezTo>
                    <a:pt x="882" y="1856"/>
                    <a:pt x="863" y="1855"/>
                    <a:pt x="845" y="1853"/>
                  </a:cubicBezTo>
                  <a:cubicBezTo>
                    <a:pt x="731" y="1853"/>
                    <a:pt x="618" y="1840"/>
                    <a:pt x="504" y="1803"/>
                  </a:cubicBezTo>
                  <a:cubicBezTo>
                    <a:pt x="391" y="1765"/>
                    <a:pt x="290" y="1714"/>
                    <a:pt x="202" y="1651"/>
                  </a:cubicBezTo>
                  <a:lnTo>
                    <a:pt x="0" y="2042"/>
                  </a:lnTo>
                  <a:cubicBezTo>
                    <a:pt x="114" y="2130"/>
                    <a:pt x="252" y="2193"/>
                    <a:pt x="391" y="2218"/>
                  </a:cubicBezTo>
                  <a:cubicBezTo>
                    <a:pt x="542" y="2269"/>
                    <a:pt x="706" y="2281"/>
                    <a:pt x="870" y="2281"/>
                  </a:cubicBezTo>
                  <a:cubicBezTo>
                    <a:pt x="893" y="2283"/>
                    <a:pt x="915" y="2284"/>
                    <a:pt x="938" y="2284"/>
                  </a:cubicBezTo>
                  <a:cubicBezTo>
                    <a:pt x="1092" y="2284"/>
                    <a:pt x="1244" y="2248"/>
                    <a:pt x="1386" y="2193"/>
                  </a:cubicBezTo>
                  <a:cubicBezTo>
                    <a:pt x="1512" y="2130"/>
                    <a:pt x="1613" y="2042"/>
                    <a:pt x="1701" y="1916"/>
                  </a:cubicBezTo>
                  <a:cubicBezTo>
                    <a:pt x="1764" y="1815"/>
                    <a:pt x="1802" y="1689"/>
                    <a:pt x="1802" y="1563"/>
                  </a:cubicBezTo>
                  <a:cubicBezTo>
                    <a:pt x="1802" y="1399"/>
                    <a:pt x="1752" y="1248"/>
                    <a:pt x="1638" y="1135"/>
                  </a:cubicBezTo>
                  <a:cubicBezTo>
                    <a:pt x="1512" y="1009"/>
                    <a:pt x="1361" y="933"/>
                    <a:pt x="1185" y="908"/>
                  </a:cubicBezTo>
                  <a:lnTo>
                    <a:pt x="1701" y="328"/>
                  </a:lnTo>
                  <a:lnTo>
                    <a:pt x="170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2" name="Google Shape;1402;p48"/>
            <p:cNvSpPr/>
            <p:nvPr/>
          </p:nvSpPr>
          <p:spPr>
            <a:xfrm>
              <a:off x="2193775" y="1013900"/>
              <a:ext cx="50425" cy="58450"/>
            </a:xfrm>
            <a:custGeom>
              <a:avLst/>
              <a:gdLst/>
              <a:ahLst/>
              <a:cxnLst/>
              <a:rect l="l" t="t" r="r" b="b"/>
              <a:pathLst>
                <a:path w="2017" h="2338" extrusionOk="0">
                  <a:moveTo>
                    <a:pt x="1015" y="451"/>
                  </a:moveTo>
                  <a:cubicBezTo>
                    <a:pt x="1137" y="451"/>
                    <a:pt x="1260" y="507"/>
                    <a:pt x="1336" y="621"/>
                  </a:cubicBezTo>
                  <a:cubicBezTo>
                    <a:pt x="1500" y="973"/>
                    <a:pt x="1500" y="1377"/>
                    <a:pt x="1336" y="1730"/>
                  </a:cubicBezTo>
                  <a:cubicBezTo>
                    <a:pt x="1260" y="1843"/>
                    <a:pt x="1137" y="1900"/>
                    <a:pt x="1015" y="1900"/>
                  </a:cubicBezTo>
                  <a:cubicBezTo>
                    <a:pt x="892" y="1900"/>
                    <a:pt x="769" y="1843"/>
                    <a:pt x="693" y="1730"/>
                  </a:cubicBezTo>
                  <a:cubicBezTo>
                    <a:pt x="529" y="1377"/>
                    <a:pt x="529" y="973"/>
                    <a:pt x="693" y="621"/>
                  </a:cubicBezTo>
                  <a:cubicBezTo>
                    <a:pt x="769" y="507"/>
                    <a:pt x="892" y="451"/>
                    <a:pt x="1015" y="451"/>
                  </a:cubicBezTo>
                  <a:close/>
                  <a:moveTo>
                    <a:pt x="1015" y="0"/>
                  </a:moveTo>
                  <a:cubicBezTo>
                    <a:pt x="841" y="0"/>
                    <a:pt x="668" y="47"/>
                    <a:pt x="517" y="142"/>
                  </a:cubicBezTo>
                  <a:cubicBezTo>
                    <a:pt x="366" y="243"/>
                    <a:pt x="240" y="381"/>
                    <a:pt x="177" y="545"/>
                  </a:cubicBezTo>
                  <a:cubicBezTo>
                    <a:pt x="0" y="948"/>
                    <a:pt x="0" y="1402"/>
                    <a:pt x="177" y="1805"/>
                  </a:cubicBezTo>
                  <a:cubicBezTo>
                    <a:pt x="240" y="1969"/>
                    <a:pt x="366" y="2108"/>
                    <a:pt x="517" y="2196"/>
                  </a:cubicBezTo>
                  <a:cubicBezTo>
                    <a:pt x="668" y="2290"/>
                    <a:pt x="841" y="2338"/>
                    <a:pt x="1015" y="2338"/>
                  </a:cubicBezTo>
                  <a:cubicBezTo>
                    <a:pt x="1188" y="2338"/>
                    <a:pt x="1361" y="2290"/>
                    <a:pt x="1512" y="2196"/>
                  </a:cubicBezTo>
                  <a:cubicBezTo>
                    <a:pt x="1664" y="2108"/>
                    <a:pt x="1777" y="1969"/>
                    <a:pt x="1853" y="1805"/>
                  </a:cubicBezTo>
                  <a:cubicBezTo>
                    <a:pt x="2016" y="1402"/>
                    <a:pt x="2016" y="948"/>
                    <a:pt x="1853" y="545"/>
                  </a:cubicBezTo>
                  <a:cubicBezTo>
                    <a:pt x="1777" y="381"/>
                    <a:pt x="1664" y="243"/>
                    <a:pt x="1512" y="142"/>
                  </a:cubicBezTo>
                  <a:cubicBezTo>
                    <a:pt x="1361" y="47"/>
                    <a:pt x="1188" y="0"/>
                    <a:pt x="101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3" name="Google Shape;1403;p48"/>
            <p:cNvSpPr/>
            <p:nvPr/>
          </p:nvSpPr>
          <p:spPr>
            <a:xfrm>
              <a:off x="2248575" y="1013900"/>
              <a:ext cx="50425" cy="58425"/>
            </a:xfrm>
            <a:custGeom>
              <a:avLst/>
              <a:gdLst/>
              <a:ahLst/>
              <a:cxnLst/>
              <a:rect l="l" t="t" r="r" b="b"/>
              <a:pathLst>
                <a:path w="2017" h="2337" extrusionOk="0">
                  <a:moveTo>
                    <a:pt x="1009" y="451"/>
                  </a:moveTo>
                  <a:cubicBezTo>
                    <a:pt x="1135" y="451"/>
                    <a:pt x="1261" y="507"/>
                    <a:pt x="1336" y="621"/>
                  </a:cubicBezTo>
                  <a:cubicBezTo>
                    <a:pt x="1488" y="973"/>
                    <a:pt x="1488" y="1377"/>
                    <a:pt x="1336" y="1730"/>
                  </a:cubicBezTo>
                  <a:cubicBezTo>
                    <a:pt x="1261" y="1843"/>
                    <a:pt x="1135" y="1900"/>
                    <a:pt x="1009" y="1900"/>
                  </a:cubicBezTo>
                  <a:cubicBezTo>
                    <a:pt x="883" y="1900"/>
                    <a:pt x="757" y="1843"/>
                    <a:pt x="681" y="1730"/>
                  </a:cubicBezTo>
                  <a:cubicBezTo>
                    <a:pt x="530" y="1377"/>
                    <a:pt x="530" y="973"/>
                    <a:pt x="681" y="621"/>
                  </a:cubicBezTo>
                  <a:cubicBezTo>
                    <a:pt x="757" y="507"/>
                    <a:pt x="883" y="451"/>
                    <a:pt x="1009" y="451"/>
                  </a:cubicBezTo>
                  <a:close/>
                  <a:moveTo>
                    <a:pt x="1009" y="0"/>
                  </a:moveTo>
                  <a:cubicBezTo>
                    <a:pt x="836" y="0"/>
                    <a:pt x="662" y="47"/>
                    <a:pt x="505" y="142"/>
                  </a:cubicBezTo>
                  <a:cubicBezTo>
                    <a:pt x="354" y="243"/>
                    <a:pt x="240" y="381"/>
                    <a:pt x="165" y="545"/>
                  </a:cubicBezTo>
                  <a:cubicBezTo>
                    <a:pt x="1" y="948"/>
                    <a:pt x="1" y="1402"/>
                    <a:pt x="165" y="1805"/>
                  </a:cubicBezTo>
                  <a:cubicBezTo>
                    <a:pt x="240" y="1969"/>
                    <a:pt x="354" y="2108"/>
                    <a:pt x="505" y="2196"/>
                  </a:cubicBezTo>
                  <a:cubicBezTo>
                    <a:pt x="641" y="2286"/>
                    <a:pt x="797" y="2336"/>
                    <a:pt x="955" y="2336"/>
                  </a:cubicBezTo>
                  <a:cubicBezTo>
                    <a:pt x="973" y="2336"/>
                    <a:pt x="991" y="2336"/>
                    <a:pt x="1009" y="2334"/>
                  </a:cubicBezTo>
                  <a:cubicBezTo>
                    <a:pt x="1019" y="2335"/>
                    <a:pt x="1029" y="2335"/>
                    <a:pt x="1039" y="2335"/>
                  </a:cubicBezTo>
                  <a:cubicBezTo>
                    <a:pt x="1392" y="2335"/>
                    <a:pt x="1706" y="2124"/>
                    <a:pt x="1853" y="1805"/>
                  </a:cubicBezTo>
                  <a:cubicBezTo>
                    <a:pt x="2017" y="1402"/>
                    <a:pt x="2017" y="948"/>
                    <a:pt x="1853" y="545"/>
                  </a:cubicBezTo>
                  <a:cubicBezTo>
                    <a:pt x="1777" y="381"/>
                    <a:pt x="1651" y="243"/>
                    <a:pt x="1513" y="142"/>
                  </a:cubicBezTo>
                  <a:cubicBezTo>
                    <a:pt x="1355" y="47"/>
                    <a:pt x="1182" y="0"/>
                    <a:pt x="100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4" name="Google Shape;1404;p48"/>
            <p:cNvSpPr/>
            <p:nvPr/>
          </p:nvSpPr>
          <p:spPr>
            <a:xfrm>
              <a:off x="2342150" y="11658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1"/>
                  </a:moveTo>
                  <a:lnTo>
                    <a:pt x="78667" y="1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5" name="Google Shape;1405;p48"/>
            <p:cNvSpPr/>
            <p:nvPr/>
          </p:nvSpPr>
          <p:spPr>
            <a:xfrm>
              <a:off x="2342150" y="1163600"/>
              <a:ext cx="1966700" cy="4125"/>
            </a:xfrm>
            <a:custGeom>
              <a:avLst/>
              <a:gdLst/>
              <a:ahLst/>
              <a:cxnLst/>
              <a:rect l="l" t="t" r="r" b="b"/>
              <a:pathLst>
                <a:path w="78668" h="165" extrusionOk="0">
                  <a:moveTo>
                    <a:pt x="0" y="1"/>
                  </a:moveTo>
                  <a:lnTo>
                    <a:pt x="0" y="164"/>
                  </a:lnTo>
                  <a:lnTo>
                    <a:pt x="78667" y="164"/>
                  </a:lnTo>
                  <a:lnTo>
                    <a:pt x="7866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6" name="Google Shape;1406;p48"/>
            <p:cNvSpPr/>
            <p:nvPr/>
          </p:nvSpPr>
          <p:spPr>
            <a:xfrm>
              <a:off x="2145875" y="1152500"/>
              <a:ext cx="50450" cy="58450"/>
            </a:xfrm>
            <a:custGeom>
              <a:avLst/>
              <a:gdLst/>
              <a:ahLst/>
              <a:cxnLst/>
              <a:rect l="l" t="t" r="r" b="b"/>
              <a:pathLst>
                <a:path w="2018" h="2338" extrusionOk="0">
                  <a:moveTo>
                    <a:pt x="1003" y="451"/>
                  </a:moveTo>
                  <a:cubicBezTo>
                    <a:pt x="1126" y="451"/>
                    <a:pt x="1248" y="508"/>
                    <a:pt x="1324" y="621"/>
                  </a:cubicBezTo>
                  <a:cubicBezTo>
                    <a:pt x="1488" y="974"/>
                    <a:pt x="1488" y="1365"/>
                    <a:pt x="1324" y="1717"/>
                  </a:cubicBezTo>
                  <a:cubicBezTo>
                    <a:pt x="1255" y="1837"/>
                    <a:pt x="1132" y="1897"/>
                    <a:pt x="1007" y="1897"/>
                  </a:cubicBezTo>
                  <a:cubicBezTo>
                    <a:pt x="883" y="1897"/>
                    <a:pt x="757" y="1837"/>
                    <a:pt x="681" y="1717"/>
                  </a:cubicBezTo>
                  <a:cubicBezTo>
                    <a:pt x="530" y="1365"/>
                    <a:pt x="530" y="974"/>
                    <a:pt x="681" y="621"/>
                  </a:cubicBezTo>
                  <a:cubicBezTo>
                    <a:pt x="757" y="508"/>
                    <a:pt x="880" y="451"/>
                    <a:pt x="1003" y="451"/>
                  </a:cubicBezTo>
                  <a:close/>
                  <a:moveTo>
                    <a:pt x="1003" y="0"/>
                  </a:moveTo>
                  <a:cubicBezTo>
                    <a:pt x="829" y="0"/>
                    <a:pt x="656" y="48"/>
                    <a:pt x="505" y="142"/>
                  </a:cubicBezTo>
                  <a:cubicBezTo>
                    <a:pt x="354" y="243"/>
                    <a:pt x="240" y="382"/>
                    <a:pt x="165" y="545"/>
                  </a:cubicBezTo>
                  <a:cubicBezTo>
                    <a:pt x="1" y="949"/>
                    <a:pt x="1" y="1390"/>
                    <a:pt x="165" y="1793"/>
                  </a:cubicBezTo>
                  <a:cubicBezTo>
                    <a:pt x="240" y="1957"/>
                    <a:pt x="354" y="2095"/>
                    <a:pt x="505" y="2196"/>
                  </a:cubicBezTo>
                  <a:cubicBezTo>
                    <a:pt x="662" y="2291"/>
                    <a:pt x="836" y="2338"/>
                    <a:pt x="1007" y="2338"/>
                  </a:cubicBezTo>
                  <a:cubicBezTo>
                    <a:pt x="1179" y="2338"/>
                    <a:pt x="1349" y="2291"/>
                    <a:pt x="1500" y="2196"/>
                  </a:cubicBezTo>
                  <a:cubicBezTo>
                    <a:pt x="1652" y="2095"/>
                    <a:pt x="1778" y="1957"/>
                    <a:pt x="1853" y="1793"/>
                  </a:cubicBezTo>
                  <a:cubicBezTo>
                    <a:pt x="2017" y="1390"/>
                    <a:pt x="2017" y="949"/>
                    <a:pt x="1853" y="545"/>
                  </a:cubicBezTo>
                  <a:cubicBezTo>
                    <a:pt x="1778" y="382"/>
                    <a:pt x="1652" y="243"/>
                    <a:pt x="1500" y="142"/>
                  </a:cubicBezTo>
                  <a:cubicBezTo>
                    <a:pt x="1349" y="48"/>
                    <a:pt x="1176" y="0"/>
                    <a:pt x="1003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7" name="Google Shape;1407;p48"/>
            <p:cNvSpPr/>
            <p:nvPr/>
          </p:nvSpPr>
          <p:spPr>
            <a:xfrm>
              <a:off x="2342150" y="13041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1"/>
                  </a:moveTo>
                  <a:lnTo>
                    <a:pt x="78667" y="1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8" name="Google Shape;1408;p48"/>
            <p:cNvSpPr/>
            <p:nvPr/>
          </p:nvSpPr>
          <p:spPr>
            <a:xfrm>
              <a:off x="2342150" y="1302225"/>
              <a:ext cx="1966700" cy="4100"/>
            </a:xfrm>
            <a:custGeom>
              <a:avLst/>
              <a:gdLst/>
              <a:ahLst/>
              <a:cxnLst/>
              <a:rect l="l" t="t" r="r" b="b"/>
              <a:pathLst>
                <a:path w="78668" h="164" extrusionOk="0">
                  <a:moveTo>
                    <a:pt x="0" y="0"/>
                  </a:moveTo>
                  <a:lnTo>
                    <a:pt x="0" y="164"/>
                  </a:lnTo>
                  <a:lnTo>
                    <a:pt x="78667" y="164"/>
                  </a:lnTo>
                  <a:lnTo>
                    <a:pt x="7866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9" name="Google Shape;1409;p48"/>
            <p:cNvSpPr/>
            <p:nvPr/>
          </p:nvSpPr>
          <p:spPr>
            <a:xfrm>
              <a:off x="2144300" y="1292125"/>
              <a:ext cx="24300" cy="56425"/>
            </a:xfrm>
            <a:custGeom>
              <a:avLst/>
              <a:gdLst/>
              <a:ahLst/>
              <a:cxnLst/>
              <a:rect l="l" t="t" r="r" b="b"/>
              <a:pathLst>
                <a:path w="972" h="2257" extrusionOk="0">
                  <a:moveTo>
                    <a:pt x="1" y="1"/>
                  </a:moveTo>
                  <a:lnTo>
                    <a:pt x="1" y="417"/>
                  </a:lnTo>
                  <a:lnTo>
                    <a:pt x="455" y="417"/>
                  </a:lnTo>
                  <a:lnTo>
                    <a:pt x="455" y="2256"/>
                  </a:lnTo>
                  <a:lnTo>
                    <a:pt x="971" y="2256"/>
                  </a:lnTo>
                  <a:lnTo>
                    <a:pt x="97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0" name="Google Shape;1410;p48"/>
            <p:cNvSpPr/>
            <p:nvPr/>
          </p:nvSpPr>
          <p:spPr>
            <a:xfrm>
              <a:off x="2177375" y="1290800"/>
              <a:ext cx="50450" cy="58525"/>
            </a:xfrm>
            <a:custGeom>
              <a:avLst/>
              <a:gdLst/>
              <a:ahLst/>
              <a:cxnLst/>
              <a:rect l="l" t="t" r="r" b="b"/>
              <a:pathLst>
                <a:path w="2018" h="2341" extrusionOk="0">
                  <a:moveTo>
                    <a:pt x="1009" y="454"/>
                  </a:moveTo>
                  <a:cubicBezTo>
                    <a:pt x="1135" y="454"/>
                    <a:pt x="1261" y="514"/>
                    <a:pt x="1337" y="633"/>
                  </a:cubicBezTo>
                  <a:cubicBezTo>
                    <a:pt x="1488" y="974"/>
                    <a:pt x="1488" y="1377"/>
                    <a:pt x="1337" y="1730"/>
                  </a:cubicBezTo>
                  <a:cubicBezTo>
                    <a:pt x="1261" y="1849"/>
                    <a:pt x="1135" y="1909"/>
                    <a:pt x="1009" y="1909"/>
                  </a:cubicBezTo>
                  <a:cubicBezTo>
                    <a:pt x="883" y="1909"/>
                    <a:pt x="757" y="1849"/>
                    <a:pt x="681" y="1730"/>
                  </a:cubicBezTo>
                  <a:cubicBezTo>
                    <a:pt x="530" y="1377"/>
                    <a:pt x="530" y="974"/>
                    <a:pt x="681" y="633"/>
                  </a:cubicBezTo>
                  <a:cubicBezTo>
                    <a:pt x="757" y="514"/>
                    <a:pt x="883" y="454"/>
                    <a:pt x="1009" y="454"/>
                  </a:cubicBezTo>
                  <a:close/>
                  <a:moveTo>
                    <a:pt x="1007" y="0"/>
                  </a:moveTo>
                  <a:cubicBezTo>
                    <a:pt x="836" y="0"/>
                    <a:pt x="663" y="47"/>
                    <a:pt x="505" y="142"/>
                  </a:cubicBezTo>
                  <a:cubicBezTo>
                    <a:pt x="354" y="243"/>
                    <a:pt x="240" y="381"/>
                    <a:pt x="165" y="545"/>
                  </a:cubicBezTo>
                  <a:cubicBezTo>
                    <a:pt x="1" y="948"/>
                    <a:pt x="1" y="1402"/>
                    <a:pt x="165" y="1805"/>
                  </a:cubicBezTo>
                  <a:cubicBezTo>
                    <a:pt x="240" y="1969"/>
                    <a:pt x="354" y="2108"/>
                    <a:pt x="505" y="2209"/>
                  </a:cubicBezTo>
                  <a:cubicBezTo>
                    <a:pt x="663" y="2297"/>
                    <a:pt x="836" y="2341"/>
                    <a:pt x="1007" y="2341"/>
                  </a:cubicBezTo>
                  <a:cubicBezTo>
                    <a:pt x="1179" y="2341"/>
                    <a:pt x="1349" y="2297"/>
                    <a:pt x="1500" y="2209"/>
                  </a:cubicBezTo>
                  <a:cubicBezTo>
                    <a:pt x="1652" y="2108"/>
                    <a:pt x="1778" y="1969"/>
                    <a:pt x="1853" y="1805"/>
                  </a:cubicBezTo>
                  <a:cubicBezTo>
                    <a:pt x="2017" y="1402"/>
                    <a:pt x="2017" y="948"/>
                    <a:pt x="1853" y="545"/>
                  </a:cubicBezTo>
                  <a:cubicBezTo>
                    <a:pt x="1778" y="381"/>
                    <a:pt x="1652" y="243"/>
                    <a:pt x="1500" y="142"/>
                  </a:cubicBezTo>
                  <a:cubicBezTo>
                    <a:pt x="1349" y="47"/>
                    <a:pt x="1179" y="0"/>
                    <a:pt x="1007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1" name="Google Shape;1411;p48"/>
            <p:cNvSpPr/>
            <p:nvPr/>
          </p:nvSpPr>
          <p:spPr>
            <a:xfrm>
              <a:off x="2231875" y="1290925"/>
              <a:ext cx="50450" cy="58575"/>
            </a:xfrm>
            <a:custGeom>
              <a:avLst/>
              <a:gdLst/>
              <a:ahLst/>
              <a:cxnLst/>
              <a:rect l="l" t="t" r="r" b="b"/>
              <a:pathLst>
                <a:path w="2018" h="2343" extrusionOk="0">
                  <a:moveTo>
                    <a:pt x="994" y="451"/>
                  </a:moveTo>
                  <a:cubicBezTo>
                    <a:pt x="1003" y="451"/>
                    <a:pt x="1012" y="451"/>
                    <a:pt x="1022" y="452"/>
                  </a:cubicBezTo>
                  <a:cubicBezTo>
                    <a:pt x="1148" y="452"/>
                    <a:pt x="1274" y="515"/>
                    <a:pt x="1337" y="628"/>
                  </a:cubicBezTo>
                  <a:cubicBezTo>
                    <a:pt x="1500" y="969"/>
                    <a:pt x="1500" y="1372"/>
                    <a:pt x="1337" y="1725"/>
                  </a:cubicBezTo>
                  <a:cubicBezTo>
                    <a:pt x="1274" y="1838"/>
                    <a:pt x="1148" y="1901"/>
                    <a:pt x="1022" y="1901"/>
                  </a:cubicBezTo>
                  <a:cubicBezTo>
                    <a:pt x="896" y="1901"/>
                    <a:pt x="770" y="1838"/>
                    <a:pt x="707" y="1725"/>
                  </a:cubicBezTo>
                  <a:cubicBezTo>
                    <a:pt x="543" y="1372"/>
                    <a:pt x="543" y="969"/>
                    <a:pt x="707" y="628"/>
                  </a:cubicBezTo>
                  <a:cubicBezTo>
                    <a:pt x="765" y="523"/>
                    <a:pt x="878" y="451"/>
                    <a:pt x="994" y="451"/>
                  </a:cubicBezTo>
                  <a:close/>
                  <a:moveTo>
                    <a:pt x="1027" y="1"/>
                  </a:moveTo>
                  <a:cubicBezTo>
                    <a:pt x="678" y="1"/>
                    <a:pt x="340" y="198"/>
                    <a:pt x="177" y="540"/>
                  </a:cubicBezTo>
                  <a:cubicBezTo>
                    <a:pt x="1" y="943"/>
                    <a:pt x="1" y="1397"/>
                    <a:pt x="177" y="1800"/>
                  </a:cubicBezTo>
                  <a:cubicBezTo>
                    <a:pt x="240" y="1964"/>
                    <a:pt x="366" y="2103"/>
                    <a:pt x="518" y="2204"/>
                  </a:cubicBezTo>
                  <a:cubicBezTo>
                    <a:pt x="656" y="2292"/>
                    <a:pt x="833" y="2342"/>
                    <a:pt x="1009" y="2342"/>
                  </a:cubicBezTo>
                  <a:cubicBezTo>
                    <a:pt x="1374" y="2342"/>
                    <a:pt x="1715" y="2128"/>
                    <a:pt x="1853" y="1800"/>
                  </a:cubicBezTo>
                  <a:cubicBezTo>
                    <a:pt x="2017" y="1397"/>
                    <a:pt x="2017" y="943"/>
                    <a:pt x="1853" y="540"/>
                  </a:cubicBezTo>
                  <a:cubicBezTo>
                    <a:pt x="1778" y="376"/>
                    <a:pt x="1664" y="238"/>
                    <a:pt x="1513" y="137"/>
                  </a:cubicBezTo>
                  <a:cubicBezTo>
                    <a:pt x="1360" y="44"/>
                    <a:pt x="1192" y="1"/>
                    <a:pt x="102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2" name="Google Shape;1412;p48"/>
            <p:cNvSpPr/>
            <p:nvPr/>
          </p:nvSpPr>
          <p:spPr>
            <a:xfrm>
              <a:off x="2342775" y="1442725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3" name="Google Shape;1413;p48"/>
            <p:cNvSpPr/>
            <p:nvPr/>
          </p:nvSpPr>
          <p:spPr>
            <a:xfrm>
              <a:off x="2342775" y="1440825"/>
              <a:ext cx="1966700" cy="3800"/>
            </a:xfrm>
            <a:custGeom>
              <a:avLst/>
              <a:gdLst/>
              <a:ahLst/>
              <a:cxnLst/>
              <a:rect l="l" t="t" r="r" b="b"/>
              <a:pathLst>
                <a:path w="78668" h="152" extrusionOk="0">
                  <a:moveTo>
                    <a:pt x="0" y="0"/>
                  </a:moveTo>
                  <a:lnTo>
                    <a:pt x="0" y="152"/>
                  </a:lnTo>
                  <a:lnTo>
                    <a:pt x="78668" y="152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4" name="Google Shape;1414;p48"/>
            <p:cNvSpPr/>
            <p:nvPr/>
          </p:nvSpPr>
          <p:spPr>
            <a:xfrm>
              <a:off x="2144950" y="1429475"/>
              <a:ext cx="45075" cy="57375"/>
            </a:xfrm>
            <a:custGeom>
              <a:avLst/>
              <a:gdLst/>
              <a:ahLst/>
              <a:cxnLst/>
              <a:rect l="l" t="t" r="r" b="b"/>
              <a:pathLst>
                <a:path w="1803" h="2295" extrusionOk="0">
                  <a:moveTo>
                    <a:pt x="895" y="1"/>
                  </a:moveTo>
                  <a:cubicBezTo>
                    <a:pt x="706" y="1"/>
                    <a:pt x="529" y="39"/>
                    <a:pt x="366" y="114"/>
                  </a:cubicBezTo>
                  <a:cubicBezTo>
                    <a:pt x="214" y="177"/>
                    <a:pt x="88" y="291"/>
                    <a:pt x="0" y="429"/>
                  </a:cubicBezTo>
                  <a:lnTo>
                    <a:pt x="378" y="669"/>
                  </a:lnTo>
                  <a:cubicBezTo>
                    <a:pt x="429" y="593"/>
                    <a:pt x="492" y="543"/>
                    <a:pt x="580" y="505"/>
                  </a:cubicBezTo>
                  <a:cubicBezTo>
                    <a:pt x="655" y="467"/>
                    <a:pt x="756" y="442"/>
                    <a:pt x="844" y="442"/>
                  </a:cubicBezTo>
                  <a:cubicBezTo>
                    <a:pt x="933" y="442"/>
                    <a:pt x="1033" y="467"/>
                    <a:pt x="1109" y="517"/>
                  </a:cubicBezTo>
                  <a:cubicBezTo>
                    <a:pt x="1172" y="568"/>
                    <a:pt x="1210" y="643"/>
                    <a:pt x="1210" y="719"/>
                  </a:cubicBezTo>
                  <a:cubicBezTo>
                    <a:pt x="1197" y="782"/>
                    <a:pt x="1185" y="858"/>
                    <a:pt x="1159" y="908"/>
                  </a:cubicBezTo>
                  <a:cubicBezTo>
                    <a:pt x="1109" y="996"/>
                    <a:pt x="1046" y="1072"/>
                    <a:pt x="970" y="1135"/>
                  </a:cubicBezTo>
                  <a:lnTo>
                    <a:pt x="101" y="1954"/>
                  </a:lnTo>
                  <a:lnTo>
                    <a:pt x="101" y="2294"/>
                  </a:lnTo>
                  <a:lnTo>
                    <a:pt x="1802" y="2294"/>
                  </a:lnTo>
                  <a:lnTo>
                    <a:pt x="1802" y="1878"/>
                  </a:lnTo>
                  <a:lnTo>
                    <a:pt x="832" y="1878"/>
                  </a:lnTo>
                  <a:lnTo>
                    <a:pt x="1348" y="1387"/>
                  </a:lnTo>
                  <a:cubicBezTo>
                    <a:pt x="1474" y="1273"/>
                    <a:pt x="1575" y="1160"/>
                    <a:pt x="1651" y="1021"/>
                  </a:cubicBezTo>
                  <a:cubicBezTo>
                    <a:pt x="1701" y="908"/>
                    <a:pt x="1726" y="795"/>
                    <a:pt x="1726" y="669"/>
                  </a:cubicBezTo>
                  <a:cubicBezTo>
                    <a:pt x="1726" y="543"/>
                    <a:pt x="1689" y="417"/>
                    <a:pt x="1626" y="316"/>
                  </a:cubicBezTo>
                  <a:cubicBezTo>
                    <a:pt x="1550" y="215"/>
                    <a:pt x="1449" y="139"/>
                    <a:pt x="1336" y="89"/>
                  </a:cubicBezTo>
                  <a:cubicBezTo>
                    <a:pt x="1185" y="26"/>
                    <a:pt x="1046" y="1"/>
                    <a:pt x="89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5" name="Google Shape;1415;p48"/>
            <p:cNvSpPr/>
            <p:nvPr/>
          </p:nvSpPr>
          <p:spPr>
            <a:xfrm>
              <a:off x="2194400" y="1429650"/>
              <a:ext cx="50425" cy="58225"/>
            </a:xfrm>
            <a:custGeom>
              <a:avLst/>
              <a:gdLst/>
              <a:ahLst/>
              <a:cxnLst/>
              <a:rect l="l" t="t" r="r" b="b"/>
              <a:pathLst>
                <a:path w="2017" h="2329" extrusionOk="0">
                  <a:moveTo>
                    <a:pt x="1002" y="444"/>
                  </a:moveTo>
                  <a:cubicBezTo>
                    <a:pt x="1125" y="444"/>
                    <a:pt x="1248" y="504"/>
                    <a:pt x="1324" y="624"/>
                  </a:cubicBezTo>
                  <a:cubicBezTo>
                    <a:pt x="1487" y="977"/>
                    <a:pt x="1487" y="1367"/>
                    <a:pt x="1324" y="1720"/>
                  </a:cubicBezTo>
                  <a:cubicBezTo>
                    <a:pt x="1248" y="1834"/>
                    <a:pt x="1125" y="1890"/>
                    <a:pt x="1002" y="1890"/>
                  </a:cubicBezTo>
                  <a:cubicBezTo>
                    <a:pt x="879" y="1890"/>
                    <a:pt x="756" y="1834"/>
                    <a:pt x="681" y="1720"/>
                  </a:cubicBezTo>
                  <a:cubicBezTo>
                    <a:pt x="530" y="1367"/>
                    <a:pt x="530" y="977"/>
                    <a:pt x="681" y="624"/>
                  </a:cubicBezTo>
                  <a:cubicBezTo>
                    <a:pt x="756" y="504"/>
                    <a:pt x="879" y="444"/>
                    <a:pt x="1002" y="444"/>
                  </a:cubicBezTo>
                  <a:close/>
                  <a:moveTo>
                    <a:pt x="1002" y="0"/>
                  </a:moveTo>
                  <a:cubicBezTo>
                    <a:pt x="829" y="0"/>
                    <a:pt x="656" y="44"/>
                    <a:pt x="504" y="132"/>
                  </a:cubicBezTo>
                  <a:cubicBezTo>
                    <a:pt x="353" y="233"/>
                    <a:pt x="240" y="372"/>
                    <a:pt x="164" y="536"/>
                  </a:cubicBezTo>
                  <a:cubicBezTo>
                    <a:pt x="0" y="939"/>
                    <a:pt x="0" y="1392"/>
                    <a:pt x="164" y="1796"/>
                  </a:cubicBezTo>
                  <a:cubicBezTo>
                    <a:pt x="240" y="1960"/>
                    <a:pt x="353" y="2098"/>
                    <a:pt x="504" y="2186"/>
                  </a:cubicBezTo>
                  <a:cubicBezTo>
                    <a:pt x="656" y="2281"/>
                    <a:pt x="829" y="2328"/>
                    <a:pt x="1002" y="2328"/>
                  </a:cubicBezTo>
                  <a:cubicBezTo>
                    <a:pt x="1175" y="2328"/>
                    <a:pt x="1349" y="2281"/>
                    <a:pt x="1500" y="2186"/>
                  </a:cubicBezTo>
                  <a:cubicBezTo>
                    <a:pt x="1651" y="2098"/>
                    <a:pt x="1777" y="1960"/>
                    <a:pt x="1840" y="1796"/>
                  </a:cubicBezTo>
                  <a:cubicBezTo>
                    <a:pt x="2017" y="1392"/>
                    <a:pt x="2017" y="939"/>
                    <a:pt x="1840" y="536"/>
                  </a:cubicBezTo>
                  <a:cubicBezTo>
                    <a:pt x="1777" y="372"/>
                    <a:pt x="1651" y="233"/>
                    <a:pt x="1500" y="132"/>
                  </a:cubicBezTo>
                  <a:cubicBezTo>
                    <a:pt x="1349" y="44"/>
                    <a:pt x="1175" y="0"/>
                    <a:pt x="100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6" name="Google Shape;1416;p48"/>
            <p:cNvSpPr/>
            <p:nvPr/>
          </p:nvSpPr>
          <p:spPr>
            <a:xfrm>
              <a:off x="2248900" y="1429650"/>
              <a:ext cx="50425" cy="58150"/>
            </a:xfrm>
            <a:custGeom>
              <a:avLst/>
              <a:gdLst/>
              <a:ahLst/>
              <a:cxnLst/>
              <a:rect l="l" t="t" r="r" b="b"/>
              <a:pathLst>
                <a:path w="2017" h="2326" extrusionOk="0">
                  <a:moveTo>
                    <a:pt x="1002" y="444"/>
                  </a:moveTo>
                  <a:cubicBezTo>
                    <a:pt x="1125" y="444"/>
                    <a:pt x="1248" y="504"/>
                    <a:pt x="1323" y="624"/>
                  </a:cubicBezTo>
                  <a:cubicBezTo>
                    <a:pt x="1487" y="964"/>
                    <a:pt x="1487" y="1367"/>
                    <a:pt x="1323" y="1720"/>
                  </a:cubicBezTo>
                  <a:cubicBezTo>
                    <a:pt x="1248" y="1834"/>
                    <a:pt x="1125" y="1890"/>
                    <a:pt x="1002" y="1890"/>
                  </a:cubicBezTo>
                  <a:cubicBezTo>
                    <a:pt x="879" y="1890"/>
                    <a:pt x="756" y="1834"/>
                    <a:pt x="681" y="1720"/>
                  </a:cubicBezTo>
                  <a:cubicBezTo>
                    <a:pt x="530" y="1367"/>
                    <a:pt x="530" y="964"/>
                    <a:pt x="681" y="624"/>
                  </a:cubicBezTo>
                  <a:cubicBezTo>
                    <a:pt x="756" y="504"/>
                    <a:pt x="879" y="444"/>
                    <a:pt x="1002" y="444"/>
                  </a:cubicBezTo>
                  <a:close/>
                  <a:moveTo>
                    <a:pt x="1002" y="0"/>
                  </a:moveTo>
                  <a:cubicBezTo>
                    <a:pt x="829" y="0"/>
                    <a:pt x="656" y="44"/>
                    <a:pt x="504" y="132"/>
                  </a:cubicBezTo>
                  <a:cubicBezTo>
                    <a:pt x="353" y="233"/>
                    <a:pt x="240" y="372"/>
                    <a:pt x="164" y="536"/>
                  </a:cubicBezTo>
                  <a:cubicBezTo>
                    <a:pt x="0" y="939"/>
                    <a:pt x="0" y="1392"/>
                    <a:pt x="164" y="1796"/>
                  </a:cubicBezTo>
                  <a:cubicBezTo>
                    <a:pt x="240" y="1947"/>
                    <a:pt x="353" y="2098"/>
                    <a:pt x="504" y="2186"/>
                  </a:cubicBezTo>
                  <a:cubicBezTo>
                    <a:pt x="656" y="2287"/>
                    <a:pt x="832" y="2325"/>
                    <a:pt x="1008" y="2325"/>
                  </a:cubicBezTo>
                  <a:cubicBezTo>
                    <a:pt x="1018" y="2325"/>
                    <a:pt x="1028" y="2325"/>
                    <a:pt x="1038" y="2325"/>
                  </a:cubicBezTo>
                  <a:cubicBezTo>
                    <a:pt x="1380" y="2325"/>
                    <a:pt x="1705" y="2114"/>
                    <a:pt x="1840" y="1796"/>
                  </a:cubicBezTo>
                  <a:cubicBezTo>
                    <a:pt x="2017" y="1392"/>
                    <a:pt x="2017" y="939"/>
                    <a:pt x="1840" y="536"/>
                  </a:cubicBezTo>
                  <a:cubicBezTo>
                    <a:pt x="1777" y="372"/>
                    <a:pt x="1651" y="233"/>
                    <a:pt x="1500" y="132"/>
                  </a:cubicBezTo>
                  <a:cubicBezTo>
                    <a:pt x="1349" y="44"/>
                    <a:pt x="1175" y="0"/>
                    <a:pt x="100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7" name="Google Shape;1417;p48"/>
            <p:cNvSpPr/>
            <p:nvPr/>
          </p:nvSpPr>
          <p:spPr>
            <a:xfrm>
              <a:off x="2342450" y="1581325"/>
              <a:ext cx="1966725" cy="25"/>
            </a:xfrm>
            <a:custGeom>
              <a:avLst/>
              <a:gdLst/>
              <a:ahLst/>
              <a:cxnLst/>
              <a:rect l="l" t="t" r="r" b="b"/>
              <a:pathLst>
                <a:path w="78669" h="1" extrusionOk="0">
                  <a:moveTo>
                    <a:pt x="1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8" name="Google Shape;1418;p48"/>
            <p:cNvSpPr/>
            <p:nvPr/>
          </p:nvSpPr>
          <p:spPr>
            <a:xfrm>
              <a:off x="2342450" y="1579125"/>
              <a:ext cx="1966725" cy="4100"/>
            </a:xfrm>
            <a:custGeom>
              <a:avLst/>
              <a:gdLst/>
              <a:ahLst/>
              <a:cxnLst/>
              <a:rect l="l" t="t" r="r" b="b"/>
              <a:pathLst>
                <a:path w="78669" h="164" extrusionOk="0">
                  <a:moveTo>
                    <a:pt x="1" y="0"/>
                  </a:moveTo>
                  <a:lnTo>
                    <a:pt x="1" y="164"/>
                  </a:lnTo>
                  <a:lnTo>
                    <a:pt x="78668" y="164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9" name="Google Shape;1419;p48"/>
            <p:cNvSpPr/>
            <p:nvPr/>
          </p:nvSpPr>
          <p:spPr>
            <a:xfrm>
              <a:off x="2144000" y="1569350"/>
              <a:ext cx="45075" cy="57050"/>
            </a:xfrm>
            <a:custGeom>
              <a:avLst/>
              <a:gdLst/>
              <a:ahLst/>
              <a:cxnLst/>
              <a:rect l="l" t="t" r="r" b="b"/>
              <a:pathLst>
                <a:path w="1803" h="2282" extrusionOk="0">
                  <a:moveTo>
                    <a:pt x="126" y="1"/>
                  </a:moveTo>
                  <a:lnTo>
                    <a:pt x="126" y="416"/>
                  </a:lnTo>
                  <a:lnTo>
                    <a:pt x="1084" y="416"/>
                  </a:lnTo>
                  <a:lnTo>
                    <a:pt x="618" y="946"/>
                  </a:lnTo>
                  <a:lnTo>
                    <a:pt x="618" y="1286"/>
                  </a:lnTo>
                  <a:lnTo>
                    <a:pt x="857" y="1286"/>
                  </a:lnTo>
                  <a:cubicBezTo>
                    <a:pt x="1134" y="1286"/>
                    <a:pt x="1273" y="1374"/>
                    <a:pt x="1273" y="1563"/>
                  </a:cubicBezTo>
                  <a:cubicBezTo>
                    <a:pt x="1273" y="1651"/>
                    <a:pt x="1235" y="1727"/>
                    <a:pt x="1160" y="1777"/>
                  </a:cubicBezTo>
                  <a:cubicBezTo>
                    <a:pt x="1071" y="1828"/>
                    <a:pt x="958" y="1853"/>
                    <a:pt x="845" y="1853"/>
                  </a:cubicBezTo>
                  <a:cubicBezTo>
                    <a:pt x="731" y="1853"/>
                    <a:pt x="618" y="1828"/>
                    <a:pt x="504" y="1802"/>
                  </a:cubicBezTo>
                  <a:cubicBezTo>
                    <a:pt x="391" y="1765"/>
                    <a:pt x="290" y="1714"/>
                    <a:pt x="202" y="1639"/>
                  </a:cubicBezTo>
                  <a:lnTo>
                    <a:pt x="0" y="2042"/>
                  </a:lnTo>
                  <a:cubicBezTo>
                    <a:pt x="114" y="2118"/>
                    <a:pt x="252" y="2181"/>
                    <a:pt x="391" y="2218"/>
                  </a:cubicBezTo>
                  <a:cubicBezTo>
                    <a:pt x="542" y="2256"/>
                    <a:pt x="706" y="2281"/>
                    <a:pt x="870" y="2281"/>
                  </a:cubicBezTo>
                  <a:cubicBezTo>
                    <a:pt x="1046" y="2281"/>
                    <a:pt x="1223" y="2256"/>
                    <a:pt x="1386" y="2181"/>
                  </a:cubicBezTo>
                  <a:cubicBezTo>
                    <a:pt x="1512" y="2130"/>
                    <a:pt x="1613" y="2029"/>
                    <a:pt x="1701" y="1916"/>
                  </a:cubicBezTo>
                  <a:cubicBezTo>
                    <a:pt x="1764" y="1802"/>
                    <a:pt x="1802" y="1676"/>
                    <a:pt x="1802" y="1550"/>
                  </a:cubicBezTo>
                  <a:cubicBezTo>
                    <a:pt x="1802" y="1399"/>
                    <a:pt x="1752" y="1248"/>
                    <a:pt x="1638" y="1122"/>
                  </a:cubicBezTo>
                  <a:cubicBezTo>
                    <a:pt x="1512" y="1009"/>
                    <a:pt x="1361" y="933"/>
                    <a:pt x="1185" y="920"/>
                  </a:cubicBezTo>
                  <a:lnTo>
                    <a:pt x="1701" y="341"/>
                  </a:lnTo>
                  <a:lnTo>
                    <a:pt x="170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0" name="Google Shape;1420;p48"/>
            <p:cNvSpPr/>
            <p:nvPr/>
          </p:nvSpPr>
          <p:spPr>
            <a:xfrm>
              <a:off x="2193775" y="1567925"/>
              <a:ext cx="50425" cy="58550"/>
            </a:xfrm>
            <a:custGeom>
              <a:avLst/>
              <a:gdLst/>
              <a:ahLst/>
              <a:cxnLst/>
              <a:rect l="l" t="t" r="r" b="b"/>
              <a:pathLst>
                <a:path w="2017" h="2342" extrusionOk="0">
                  <a:moveTo>
                    <a:pt x="1015" y="445"/>
                  </a:moveTo>
                  <a:cubicBezTo>
                    <a:pt x="1137" y="445"/>
                    <a:pt x="1260" y="505"/>
                    <a:pt x="1336" y="625"/>
                  </a:cubicBezTo>
                  <a:cubicBezTo>
                    <a:pt x="1500" y="977"/>
                    <a:pt x="1500" y="1381"/>
                    <a:pt x="1336" y="1721"/>
                  </a:cubicBezTo>
                  <a:cubicBezTo>
                    <a:pt x="1260" y="1841"/>
                    <a:pt x="1137" y="1900"/>
                    <a:pt x="1015" y="1900"/>
                  </a:cubicBezTo>
                  <a:cubicBezTo>
                    <a:pt x="892" y="1900"/>
                    <a:pt x="769" y="1841"/>
                    <a:pt x="693" y="1721"/>
                  </a:cubicBezTo>
                  <a:cubicBezTo>
                    <a:pt x="529" y="1381"/>
                    <a:pt x="529" y="977"/>
                    <a:pt x="693" y="625"/>
                  </a:cubicBezTo>
                  <a:cubicBezTo>
                    <a:pt x="769" y="505"/>
                    <a:pt x="892" y="445"/>
                    <a:pt x="1015" y="445"/>
                  </a:cubicBezTo>
                  <a:close/>
                  <a:moveTo>
                    <a:pt x="1015" y="1"/>
                  </a:moveTo>
                  <a:cubicBezTo>
                    <a:pt x="841" y="1"/>
                    <a:pt x="668" y="45"/>
                    <a:pt x="517" y="133"/>
                  </a:cubicBezTo>
                  <a:cubicBezTo>
                    <a:pt x="366" y="234"/>
                    <a:pt x="240" y="373"/>
                    <a:pt x="177" y="536"/>
                  </a:cubicBezTo>
                  <a:cubicBezTo>
                    <a:pt x="0" y="940"/>
                    <a:pt x="0" y="1393"/>
                    <a:pt x="177" y="1796"/>
                  </a:cubicBezTo>
                  <a:cubicBezTo>
                    <a:pt x="240" y="1960"/>
                    <a:pt x="366" y="2099"/>
                    <a:pt x="517" y="2200"/>
                  </a:cubicBezTo>
                  <a:cubicBezTo>
                    <a:pt x="668" y="2294"/>
                    <a:pt x="841" y="2341"/>
                    <a:pt x="1015" y="2341"/>
                  </a:cubicBezTo>
                  <a:cubicBezTo>
                    <a:pt x="1188" y="2341"/>
                    <a:pt x="1361" y="2294"/>
                    <a:pt x="1512" y="2200"/>
                  </a:cubicBezTo>
                  <a:cubicBezTo>
                    <a:pt x="1664" y="2099"/>
                    <a:pt x="1777" y="1960"/>
                    <a:pt x="1853" y="1796"/>
                  </a:cubicBezTo>
                  <a:cubicBezTo>
                    <a:pt x="2016" y="1393"/>
                    <a:pt x="2016" y="940"/>
                    <a:pt x="1853" y="536"/>
                  </a:cubicBezTo>
                  <a:cubicBezTo>
                    <a:pt x="1777" y="373"/>
                    <a:pt x="1664" y="234"/>
                    <a:pt x="1512" y="133"/>
                  </a:cubicBezTo>
                  <a:cubicBezTo>
                    <a:pt x="1361" y="45"/>
                    <a:pt x="1188" y="1"/>
                    <a:pt x="101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1" name="Google Shape;1421;p48"/>
            <p:cNvSpPr/>
            <p:nvPr/>
          </p:nvSpPr>
          <p:spPr>
            <a:xfrm>
              <a:off x="2248575" y="1567925"/>
              <a:ext cx="50425" cy="58475"/>
            </a:xfrm>
            <a:custGeom>
              <a:avLst/>
              <a:gdLst/>
              <a:ahLst/>
              <a:cxnLst/>
              <a:rect l="l" t="t" r="r" b="b"/>
              <a:pathLst>
                <a:path w="2017" h="2339" extrusionOk="0">
                  <a:moveTo>
                    <a:pt x="1009" y="445"/>
                  </a:moveTo>
                  <a:cubicBezTo>
                    <a:pt x="1135" y="445"/>
                    <a:pt x="1261" y="505"/>
                    <a:pt x="1336" y="625"/>
                  </a:cubicBezTo>
                  <a:cubicBezTo>
                    <a:pt x="1488" y="977"/>
                    <a:pt x="1488" y="1381"/>
                    <a:pt x="1336" y="1721"/>
                  </a:cubicBezTo>
                  <a:cubicBezTo>
                    <a:pt x="1261" y="1841"/>
                    <a:pt x="1135" y="1900"/>
                    <a:pt x="1009" y="1900"/>
                  </a:cubicBezTo>
                  <a:cubicBezTo>
                    <a:pt x="883" y="1900"/>
                    <a:pt x="757" y="1841"/>
                    <a:pt x="681" y="1721"/>
                  </a:cubicBezTo>
                  <a:cubicBezTo>
                    <a:pt x="530" y="1381"/>
                    <a:pt x="530" y="977"/>
                    <a:pt x="681" y="625"/>
                  </a:cubicBezTo>
                  <a:cubicBezTo>
                    <a:pt x="757" y="505"/>
                    <a:pt x="883" y="445"/>
                    <a:pt x="1009" y="445"/>
                  </a:cubicBezTo>
                  <a:close/>
                  <a:moveTo>
                    <a:pt x="1009" y="1"/>
                  </a:moveTo>
                  <a:cubicBezTo>
                    <a:pt x="836" y="1"/>
                    <a:pt x="662" y="45"/>
                    <a:pt x="505" y="133"/>
                  </a:cubicBezTo>
                  <a:cubicBezTo>
                    <a:pt x="354" y="234"/>
                    <a:pt x="240" y="373"/>
                    <a:pt x="165" y="536"/>
                  </a:cubicBezTo>
                  <a:cubicBezTo>
                    <a:pt x="1" y="940"/>
                    <a:pt x="1" y="1393"/>
                    <a:pt x="165" y="1796"/>
                  </a:cubicBezTo>
                  <a:cubicBezTo>
                    <a:pt x="240" y="1960"/>
                    <a:pt x="354" y="2099"/>
                    <a:pt x="505" y="2200"/>
                  </a:cubicBezTo>
                  <a:cubicBezTo>
                    <a:pt x="656" y="2288"/>
                    <a:pt x="832" y="2338"/>
                    <a:pt x="1009" y="2338"/>
                  </a:cubicBezTo>
                  <a:cubicBezTo>
                    <a:pt x="1019" y="2339"/>
                    <a:pt x="1029" y="2339"/>
                    <a:pt x="1039" y="2339"/>
                  </a:cubicBezTo>
                  <a:cubicBezTo>
                    <a:pt x="1392" y="2339"/>
                    <a:pt x="1706" y="2127"/>
                    <a:pt x="1853" y="1796"/>
                  </a:cubicBezTo>
                  <a:cubicBezTo>
                    <a:pt x="2017" y="1393"/>
                    <a:pt x="2017" y="940"/>
                    <a:pt x="1853" y="536"/>
                  </a:cubicBezTo>
                  <a:cubicBezTo>
                    <a:pt x="1777" y="373"/>
                    <a:pt x="1651" y="234"/>
                    <a:pt x="1513" y="133"/>
                  </a:cubicBezTo>
                  <a:cubicBezTo>
                    <a:pt x="1355" y="45"/>
                    <a:pt x="1182" y="1"/>
                    <a:pt x="100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2" name="Google Shape;1422;p48"/>
            <p:cNvSpPr/>
            <p:nvPr/>
          </p:nvSpPr>
          <p:spPr>
            <a:xfrm>
              <a:off x="2540600" y="1086425"/>
              <a:ext cx="26800" cy="158175"/>
            </a:xfrm>
            <a:custGeom>
              <a:avLst/>
              <a:gdLst/>
              <a:ahLst/>
              <a:cxnLst/>
              <a:rect l="l" t="t" r="r" b="b"/>
              <a:pathLst>
                <a:path w="1072" h="6327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5797"/>
                  </a:lnTo>
                  <a:cubicBezTo>
                    <a:pt x="1" y="6087"/>
                    <a:pt x="240" y="6326"/>
                    <a:pt x="543" y="6326"/>
                  </a:cubicBezTo>
                  <a:cubicBezTo>
                    <a:pt x="832" y="6326"/>
                    <a:pt x="1072" y="6087"/>
                    <a:pt x="1072" y="5797"/>
                  </a:cubicBezTo>
                  <a:lnTo>
                    <a:pt x="1072" y="542"/>
                  </a:lnTo>
                  <a:cubicBezTo>
                    <a:pt x="1072" y="240"/>
                    <a:pt x="832" y="0"/>
                    <a:pt x="54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3" name="Google Shape;1423;p48"/>
            <p:cNvSpPr/>
            <p:nvPr/>
          </p:nvSpPr>
          <p:spPr>
            <a:xfrm>
              <a:off x="2540600" y="1086425"/>
              <a:ext cx="26800" cy="80350"/>
            </a:xfrm>
            <a:custGeom>
              <a:avLst/>
              <a:gdLst/>
              <a:ahLst/>
              <a:cxnLst/>
              <a:rect l="l" t="t" r="r" b="b"/>
              <a:pathLst>
                <a:path w="1072" h="3214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3214"/>
                  </a:lnTo>
                  <a:lnTo>
                    <a:pt x="1072" y="3214"/>
                  </a:lnTo>
                  <a:lnTo>
                    <a:pt x="1072" y="542"/>
                  </a:lnTo>
                  <a:cubicBezTo>
                    <a:pt x="1072" y="240"/>
                    <a:pt x="832" y="0"/>
                    <a:pt x="54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4" name="Google Shape;1424;p48"/>
            <p:cNvSpPr/>
            <p:nvPr/>
          </p:nvSpPr>
          <p:spPr>
            <a:xfrm>
              <a:off x="2836425" y="955375"/>
              <a:ext cx="26475" cy="420575"/>
            </a:xfrm>
            <a:custGeom>
              <a:avLst/>
              <a:gdLst/>
              <a:ahLst/>
              <a:cxnLst/>
              <a:rect l="l" t="t" r="r" b="b"/>
              <a:pathLst>
                <a:path w="1059" h="16823" extrusionOk="0">
                  <a:moveTo>
                    <a:pt x="529" y="0"/>
                  </a:moveTo>
                  <a:cubicBezTo>
                    <a:pt x="239" y="0"/>
                    <a:pt x="0" y="240"/>
                    <a:pt x="0" y="530"/>
                  </a:cubicBezTo>
                  <a:lnTo>
                    <a:pt x="0" y="16281"/>
                  </a:lnTo>
                  <a:cubicBezTo>
                    <a:pt x="0" y="16583"/>
                    <a:pt x="239" y="16823"/>
                    <a:pt x="529" y="16823"/>
                  </a:cubicBezTo>
                  <a:cubicBezTo>
                    <a:pt x="819" y="16823"/>
                    <a:pt x="1058" y="16583"/>
                    <a:pt x="1058" y="16281"/>
                  </a:cubicBezTo>
                  <a:lnTo>
                    <a:pt x="1058" y="530"/>
                  </a:lnTo>
                  <a:cubicBezTo>
                    <a:pt x="1058" y="240"/>
                    <a:pt x="819" y="0"/>
                    <a:pt x="52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5" name="Google Shape;1425;p48"/>
            <p:cNvSpPr/>
            <p:nvPr/>
          </p:nvSpPr>
          <p:spPr>
            <a:xfrm>
              <a:off x="2836100" y="955050"/>
              <a:ext cx="27125" cy="211725"/>
            </a:xfrm>
            <a:custGeom>
              <a:avLst/>
              <a:gdLst/>
              <a:ahLst/>
              <a:cxnLst/>
              <a:rect l="l" t="t" r="r" b="b"/>
              <a:pathLst>
                <a:path w="1085" h="8469" extrusionOk="0">
                  <a:moveTo>
                    <a:pt x="542" y="1"/>
                  </a:moveTo>
                  <a:cubicBezTo>
                    <a:pt x="252" y="1"/>
                    <a:pt x="0" y="240"/>
                    <a:pt x="13" y="543"/>
                  </a:cubicBezTo>
                  <a:lnTo>
                    <a:pt x="13" y="8469"/>
                  </a:lnTo>
                  <a:lnTo>
                    <a:pt x="1084" y="8469"/>
                  </a:lnTo>
                  <a:lnTo>
                    <a:pt x="1084" y="543"/>
                  </a:lnTo>
                  <a:cubicBezTo>
                    <a:pt x="1084" y="240"/>
                    <a:pt x="845" y="1"/>
                    <a:pt x="542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6" name="Google Shape;1426;p48"/>
            <p:cNvSpPr/>
            <p:nvPr/>
          </p:nvSpPr>
          <p:spPr>
            <a:xfrm>
              <a:off x="3121500" y="895525"/>
              <a:ext cx="26800" cy="539975"/>
            </a:xfrm>
            <a:custGeom>
              <a:avLst/>
              <a:gdLst/>
              <a:ahLst/>
              <a:cxnLst/>
              <a:rect l="l" t="t" r="r" b="b"/>
              <a:pathLst>
                <a:path w="1072" h="21599" extrusionOk="0">
                  <a:moveTo>
                    <a:pt x="530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21069"/>
                  </a:lnTo>
                  <a:cubicBezTo>
                    <a:pt x="1" y="21359"/>
                    <a:pt x="240" y="21598"/>
                    <a:pt x="530" y="21598"/>
                  </a:cubicBezTo>
                  <a:cubicBezTo>
                    <a:pt x="832" y="21598"/>
                    <a:pt x="1059" y="21359"/>
                    <a:pt x="1072" y="21069"/>
                  </a:cubicBezTo>
                  <a:lnTo>
                    <a:pt x="1072" y="542"/>
                  </a:lnTo>
                  <a:cubicBezTo>
                    <a:pt x="1072" y="240"/>
                    <a:pt x="832" y="0"/>
                    <a:pt x="53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7" name="Google Shape;1427;p48"/>
            <p:cNvSpPr/>
            <p:nvPr/>
          </p:nvSpPr>
          <p:spPr>
            <a:xfrm>
              <a:off x="3121500" y="895525"/>
              <a:ext cx="26800" cy="271250"/>
            </a:xfrm>
            <a:custGeom>
              <a:avLst/>
              <a:gdLst/>
              <a:ahLst/>
              <a:cxnLst/>
              <a:rect l="l" t="t" r="r" b="b"/>
              <a:pathLst>
                <a:path w="1072" h="10850" extrusionOk="0">
                  <a:moveTo>
                    <a:pt x="530" y="0"/>
                  </a:moveTo>
                  <a:cubicBezTo>
                    <a:pt x="240" y="0"/>
                    <a:pt x="1" y="240"/>
                    <a:pt x="1" y="530"/>
                  </a:cubicBezTo>
                  <a:lnTo>
                    <a:pt x="1" y="10850"/>
                  </a:lnTo>
                  <a:lnTo>
                    <a:pt x="1072" y="10850"/>
                  </a:lnTo>
                  <a:lnTo>
                    <a:pt x="1072" y="530"/>
                  </a:lnTo>
                  <a:cubicBezTo>
                    <a:pt x="1072" y="240"/>
                    <a:pt x="832" y="0"/>
                    <a:pt x="53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8" name="Google Shape;1428;p48"/>
            <p:cNvSpPr/>
            <p:nvPr/>
          </p:nvSpPr>
          <p:spPr>
            <a:xfrm>
              <a:off x="3832500" y="895525"/>
              <a:ext cx="26825" cy="539975"/>
            </a:xfrm>
            <a:custGeom>
              <a:avLst/>
              <a:gdLst/>
              <a:ahLst/>
              <a:cxnLst/>
              <a:rect l="l" t="t" r="r" b="b"/>
              <a:pathLst>
                <a:path w="1073" h="21599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21069"/>
                  </a:lnTo>
                  <a:cubicBezTo>
                    <a:pt x="1" y="21359"/>
                    <a:pt x="240" y="21598"/>
                    <a:pt x="543" y="21598"/>
                  </a:cubicBezTo>
                  <a:cubicBezTo>
                    <a:pt x="833" y="21598"/>
                    <a:pt x="1072" y="21359"/>
                    <a:pt x="1072" y="21069"/>
                  </a:cubicBezTo>
                  <a:lnTo>
                    <a:pt x="1072" y="542"/>
                  </a:lnTo>
                  <a:cubicBezTo>
                    <a:pt x="1072" y="240"/>
                    <a:pt x="833" y="0"/>
                    <a:pt x="54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9" name="Google Shape;1429;p48"/>
            <p:cNvSpPr/>
            <p:nvPr/>
          </p:nvSpPr>
          <p:spPr>
            <a:xfrm>
              <a:off x="3832500" y="895525"/>
              <a:ext cx="26825" cy="271250"/>
            </a:xfrm>
            <a:custGeom>
              <a:avLst/>
              <a:gdLst/>
              <a:ahLst/>
              <a:cxnLst/>
              <a:rect l="l" t="t" r="r" b="b"/>
              <a:pathLst>
                <a:path w="1073" h="10850" extrusionOk="0">
                  <a:moveTo>
                    <a:pt x="530" y="0"/>
                  </a:moveTo>
                  <a:cubicBezTo>
                    <a:pt x="240" y="0"/>
                    <a:pt x="1" y="240"/>
                    <a:pt x="1" y="530"/>
                  </a:cubicBezTo>
                  <a:lnTo>
                    <a:pt x="1" y="10308"/>
                  </a:lnTo>
                  <a:cubicBezTo>
                    <a:pt x="1" y="10610"/>
                    <a:pt x="240" y="10850"/>
                    <a:pt x="530" y="10850"/>
                  </a:cubicBezTo>
                  <a:cubicBezTo>
                    <a:pt x="833" y="10850"/>
                    <a:pt x="1072" y="10610"/>
                    <a:pt x="1072" y="10308"/>
                  </a:cubicBezTo>
                  <a:lnTo>
                    <a:pt x="1072" y="530"/>
                  </a:lnTo>
                  <a:cubicBezTo>
                    <a:pt x="1072" y="240"/>
                    <a:pt x="833" y="0"/>
                    <a:pt x="53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0" name="Google Shape;1430;p48"/>
            <p:cNvSpPr/>
            <p:nvPr/>
          </p:nvSpPr>
          <p:spPr>
            <a:xfrm>
              <a:off x="3552450" y="953475"/>
              <a:ext cx="26800" cy="424050"/>
            </a:xfrm>
            <a:custGeom>
              <a:avLst/>
              <a:gdLst/>
              <a:ahLst/>
              <a:cxnLst/>
              <a:rect l="l" t="t" r="r" b="b"/>
              <a:pathLst>
                <a:path w="1072" h="16962" extrusionOk="0">
                  <a:moveTo>
                    <a:pt x="543" y="1"/>
                  </a:moveTo>
                  <a:cubicBezTo>
                    <a:pt x="253" y="1"/>
                    <a:pt x="13" y="240"/>
                    <a:pt x="13" y="543"/>
                  </a:cubicBezTo>
                  <a:lnTo>
                    <a:pt x="13" y="16432"/>
                  </a:lnTo>
                  <a:cubicBezTo>
                    <a:pt x="1" y="16722"/>
                    <a:pt x="253" y="16962"/>
                    <a:pt x="543" y="16962"/>
                  </a:cubicBezTo>
                  <a:cubicBezTo>
                    <a:pt x="832" y="16962"/>
                    <a:pt x="1072" y="16722"/>
                    <a:pt x="1072" y="16432"/>
                  </a:cubicBezTo>
                  <a:lnTo>
                    <a:pt x="1072" y="543"/>
                  </a:lnTo>
                  <a:cubicBezTo>
                    <a:pt x="1072" y="240"/>
                    <a:pt x="832" y="1"/>
                    <a:pt x="5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1" name="Google Shape;1431;p48"/>
            <p:cNvSpPr/>
            <p:nvPr/>
          </p:nvSpPr>
          <p:spPr>
            <a:xfrm>
              <a:off x="3552775" y="953475"/>
              <a:ext cx="26800" cy="213300"/>
            </a:xfrm>
            <a:custGeom>
              <a:avLst/>
              <a:gdLst/>
              <a:ahLst/>
              <a:cxnLst/>
              <a:rect l="l" t="t" r="r" b="b"/>
              <a:pathLst>
                <a:path w="1072" h="8532" extrusionOk="0">
                  <a:moveTo>
                    <a:pt x="530" y="1"/>
                  </a:moveTo>
                  <a:cubicBezTo>
                    <a:pt x="240" y="1"/>
                    <a:pt x="0" y="240"/>
                    <a:pt x="0" y="543"/>
                  </a:cubicBezTo>
                  <a:lnTo>
                    <a:pt x="0" y="8532"/>
                  </a:lnTo>
                  <a:lnTo>
                    <a:pt x="1071" y="8532"/>
                  </a:lnTo>
                  <a:lnTo>
                    <a:pt x="1071" y="543"/>
                  </a:lnTo>
                  <a:cubicBezTo>
                    <a:pt x="1071" y="240"/>
                    <a:pt x="832" y="1"/>
                    <a:pt x="530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2" name="Google Shape;1432;p48"/>
            <p:cNvSpPr/>
            <p:nvPr/>
          </p:nvSpPr>
          <p:spPr>
            <a:xfrm>
              <a:off x="3984025" y="953475"/>
              <a:ext cx="26825" cy="424050"/>
            </a:xfrm>
            <a:custGeom>
              <a:avLst/>
              <a:gdLst/>
              <a:ahLst/>
              <a:cxnLst/>
              <a:rect l="l" t="t" r="r" b="b"/>
              <a:pathLst>
                <a:path w="1073" h="16962" extrusionOk="0">
                  <a:moveTo>
                    <a:pt x="543" y="1"/>
                  </a:moveTo>
                  <a:cubicBezTo>
                    <a:pt x="240" y="1"/>
                    <a:pt x="1" y="240"/>
                    <a:pt x="1" y="543"/>
                  </a:cubicBezTo>
                  <a:lnTo>
                    <a:pt x="1" y="16432"/>
                  </a:lnTo>
                  <a:cubicBezTo>
                    <a:pt x="1" y="16722"/>
                    <a:pt x="240" y="16962"/>
                    <a:pt x="543" y="16962"/>
                  </a:cubicBezTo>
                  <a:cubicBezTo>
                    <a:pt x="833" y="16962"/>
                    <a:pt x="1072" y="16722"/>
                    <a:pt x="1072" y="16432"/>
                  </a:cubicBezTo>
                  <a:lnTo>
                    <a:pt x="1072" y="543"/>
                  </a:lnTo>
                  <a:cubicBezTo>
                    <a:pt x="1072" y="240"/>
                    <a:pt x="833" y="1"/>
                    <a:pt x="5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3" name="Google Shape;1433;p48"/>
            <p:cNvSpPr/>
            <p:nvPr/>
          </p:nvSpPr>
          <p:spPr>
            <a:xfrm>
              <a:off x="3984025" y="953475"/>
              <a:ext cx="26825" cy="213300"/>
            </a:xfrm>
            <a:custGeom>
              <a:avLst/>
              <a:gdLst/>
              <a:ahLst/>
              <a:cxnLst/>
              <a:rect l="l" t="t" r="r" b="b"/>
              <a:pathLst>
                <a:path w="1073" h="8532" extrusionOk="0">
                  <a:moveTo>
                    <a:pt x="543" y="1"/>
                  </a:moveTo>
                  <a:cubicBezTo>
                    <a:pt x="240" y="1"/>
                    <a:pt x="1" y="240"/>
                    <a:pt x="1" y="543"/>
                  </a:cubicBezTo>
                  <a:lnTo>
                    <a:pt x="1" y="8532"/>
                  </a:lnTo>
                  <a:lnTo>
                    <a:pt x="1072" y="8532"/>
                  </a:lnTo>
                  <a:lnTo>
                    <a:pt x="1072" y="543"/>
                  </a:lnTo>
                  <a:cubicBezTo>
                    <a:pt x="1072" y="240"/>
                    <a:pt x="833" y="1"/>
                    <a:pt x="543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34" name="Google Shape;1434;p48"/>
          <p:cNvGrpSpPr/>
          <p:nvPr/>
        </p:nvGrpSpPr>
        <p:grpSpPr>
          <a:xfrm>
            <a:off x="4141124" y="1110738"/>
            <a:ext cx="1275737" cy="1275471"/>
            <a:chOff x="238125" y="3745825"/>
            <a:chExt cx="1319000" cy="1318725"/>
          </a:xfrm>
        </p:grpSpPr>
        <p:sp>
          <p:nvSpPr>
            <p:cNvPr id="1435" name="Google Shape;1435;p48"/>
            <p:cNvSpPr/>
            <p:nvPr/>
          </p:nvSpPr>
          <p:spPr>
            <a:xfrm>
              <a:off x="403175" y="3947200"/>
              <a:ext cx="952350" cy="916050"/>
            </a:xfrm>
            <a:custGeom>
              <a:avLst/>
              <a:gdLst/>
              <a:ahLst/>
              <a:cxnLst/>
              <a:rect l="l" t="t" r="r" b="b"/>
              <a:pathLst>
                <a:path w="38094" h="36642" extrusionOk="0">
                  <a:moveTo>
                    <a:pt x="19772" y="767"/>
                  </a:moveTo>
                  <a:cubicBezTo>
                    <a:pt x="29462" y="779"/>
                    <a:pt x="37312" y="8629"/>
                    <a:pt x="37325" y="18320"/>
                  </a:cubicBezTo>
                  <a:cubicBezTo>
                    <a:pt x="37325" y="25426"/>
                    <a:pt x="33040" y="31828"/>
                    <a:pt x="26488" y="34537"/>
                  </a:cubicBezTo>
                  <a:cubicBezTo>
                    <a:pt x="24312" y="35439"/>
                    <a:pt x="22029" y="35877"/>
                    <a:pt x="19765" y="35877"/>
                  </a:cubicBezTo>
                  <a:cubicBezTo>
                    <a:pt x="15198" y="35877"/>
                    <a:pt x="10713" y="34093"/>
                    <a:pt x="7360" y="30731"/>
                  </a:cubicBezTo>
                  <a:cubicBezTo>
                    <a:pt x="2332" y="25716"/>
                    <a:pt x="833" y="18168"/>
                    <a:pt x="3554" y="11603"/>
                  </a:cubicBezTo>
                  <a:cubicBezTo>
                    <a:pt x="6263" y="5051"/>
                    <a:pt x="12665" y="767"/>
                    <a:pt x="19772" y="767"/>
                  </a:cubicBezTo>
                  <a:close/>
                  <a:moveTo>
                    <a:pt x="19767" y="1"/>
                  </a:moveTo>
                  <a:cubicBezTo>
                    <a:pt x="15000" y="1"/>
                    <a:pt x="10315" y="1861"/>
                    <a:pt x="6818" y="5366"/>
                  </a:cubicBezTo>
                  <a:cubicBezTo>
                    <a:pt x="1576" y="10608"/>
                    <a:pt x="1" y="18483"/>
                    <a:pt x="2836" y="25338"/>
                  </a:cubicBezTo>
                  <a:cubicBezTo>
                    <a:pt x="5671" y="32181"/>
                    <a:pt x="12362" y="36641"/>
                    <a:pt x="19772" y="36641"/>
                  </a:cubicBezTo>
                  <a:cubicBezTo>
                    <a:pt x="29878" y="36629"/>
                    <a:pt x="38081" y="28438"/>
                    <a:pt x="38093" y="18320"/>
                  </a:cubicBezTo>
                  <a:cubicBezTo>
                    <a:pt x="38081" y="10910"/>
                    <a:pt x="33620" y="4232"/>
                    <a:pt x="26778" y="1397"/>
                  </a:cubicBezTo>
                  <a:cubicBezTo>
                    <a:pt x="24511" y="457"/>
                    <a:pt x="22129" y="1"/>
                    <a:pt x="19767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6" name="Google Shape;1436;p48"/>
            <p:cNvSpPr/>
            <p:nvPr/>
          </p:nvSpPr>
          <p:spPr>
            <a:xfrm>
              <a:off x="883275" y="4935050"/>
              <a:ext cx="28700" cy="28675"/>
            </a:xfrm>
            <a:custGeom>
              <a:avLst/>
              <a:gdLst/>
              <a:ahLst/>
              <a:cxnLst/>
              <a:rect l="l" t="t" r="r" b="b"/>
              <a:pathLst>
                <a:path w="1148" h="1147" extrusionOk="0">
                  <a:moveTo>
                    <a:pt x="580" y="0"/>
                  </a:moveTo>
                  <a:cubicBezTo>
                    <a:pt x="253" y="0"/>
                    <a:pt x="1" y="265"/>
                    <a:pt x="1" y="580"/>
                  </a:cubicBezTo>
                  <a:cubicBezTo>
                    <a:pt x="1" y="895"/>
                    <a:pt x="253" y="1147"/>
                    <a:pt x="580" y="1147"/>
                  </a:cubicBezTo>
                  <a:cubicBezTo>
                    <a:pt x="895" y="1147"/>
                    <a:pt x="1147" y="895"/>
                    <a:pt x="1147" y="580"/>
                  </a:cubicBezTo>
                  <a:cubicBezTo>
                    <a:pt x="1147" y="265"/>
                    <a:pt x="895" y="0"/>
                    <a:pt x="58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7" name="Google Shape;1437;p48"/>
            <p:cNvSpPr/>
            <p:nvPr/>
          </p:nvSpPr>
          <p:spPr>
            <a:xfrm>
              <a:off x="1018725" y="4917600"/>
              <a:ext cx="31850" cy="28800"/>
            </a:xfrm>
            <a:custGeom>
              <a:avLst/>
              <a:gdLst/>
              <a:ahLst/>
              <a:cxnLst/>
              <a:rect l="l" t="t" r="r" b="b"/>
              <a:pathLst>
                <a:path w="1274" h="1152" extrusionOk="0">
                  <a:moveTo>
                    <a:pt x="638" y="0"/>
                  </a:moveTo>
                  <a:cubicBezTo>
                    <a:pt x="590" y="0"/>
                    <a:pt x="541" y="6"/>
                    <a:pt x="492" y="18"/>
                  </a:cubicBezTo>
                  <a:cubicBezTo>
                    <a:pt x="190" y="93"/>
                    <a:pt x="1" y="421"/>
                    <a:pt x="89" y="723"/>
                  </a:cubicBezTo>
                  <a:cubicBezTo>
                    <a:pt x="152" y="975"/>
                    <a:pt x="379" y="1152"/>
                    <a:pt x="644" y="1152"/>
                  </a:cubicBezTo>
                  <a:cubicBezTo>
                    <a:pt x="694" y="1152"/>
                    <a:pt x="732" y="1152"/>
                    <a:pt x="782" y="1139"/>
                  </a:cubicBezTo>
                  <a:cubicBezTo>
                    <a:pt x="1085" y="1051"/>
                    <a:pt x="1274" y="736"/>
                    <a:pt x="1198" y="434"/>
                  </a:cubicBezTo>
                  <a:cubicBezTo>
                    <a:pt x="1134" y="168"/>
                    <a:pt x="900" y="0"/>
                    <a:pt x="638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8" name="Google Shape;1438;p48"/>
            <p:cNvSpPr/>
            <p:nvPr/>
          </p:nvSpPr>
          <p:spPr>
            <a:xfrm>
              <a:off x="711600" y="4907975"/>
              <a:ext cx="32475" cy="28975"/>
            </a:xfrm>
            <a:custGeom>
              <a:avLst/>
              <a:gdLst/>
              <a:ahLst/>
              <a:cxnLst/>
              <a:rect l="l" t="t" r="r" b="b"/>
              <a:pathLst>
                <a:path w="1299" h="1159" extrusionOk="0">
                  <a:moveTo>
                    <a:pt x="665" y="1"/>
                  </a:moveTo>
                  <a:cubicBezTo>
                    <a:pt x="417" y="1"/>
                    <a:pt x="183" y="156"/>
                    <a:pt x="101" y="403"/>
                  </a:cubicBezTo>
                  <a:cubicBezTo>
                    <a:pt x="0" y="705"/>
                    <a:pt x="164" y="1033"/>
                    <a:pt x="466" y="1134"/>
                  </a:cubicBezTo>
                  <a:cubicBezTo>
                    <a:pt x="529" y="1146"/>
                    <a:pt x="592" y="1159"/>
                    <a:pt x="643" y="1159"/>
                  </a:cubicBezTo>
                  <a:cubicBezTo>
                    <a:pt x="895" y="1159"/>
                    <a:pt x="1109" y="995"/>
                    <a:pt x="1197" y="756"/>
                  </a:cubicBezTo>
                  <a:cubicBezTo>
                    <a:pt x="1298" y="453"/>
                    <a:pt x="1134" y="126"/>
                    <a:pt x="832" y="25"/>
                  </a:cubicBezTo>
                  <a:cubicBezTo>
                    <a:pt x="777" y="9"/>
                    <a:pt x="721" y="1"/>
                    <a:pt x="66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9" name="Google Shape;1439;p48"/>
            <p:cNvSpPr/>
            <p:nvPr/>
          </p:nvSpPr>
          <p:spPr>
            <a:xfrm>
              <a:off x="1175625" y="4848450"/>
              <a:ext cx="32775" cy="28650"/>
            </a:xfrm>
            <a:custGeom>
              <a:avLst/>
              <a:gdLst/>
              <a:ahLst/>
              <a:cxnLst/>
              <a:rect l="l" t="t" r="r" b="b"/>
              <a:pathLst>
                <a:path w="1311" h="1146" extrusionOk="0">
                  <a:moveTo>
                    <a:pt x="657" y="1"/>
                  </a:moveTo>
                  <a:cubicBezTo>
                    <a:pt x="552" y="1"/>
                    <a:pt x="447" y="29"/>
                    <a:pt x="353" y="87"/>
                  </a:cubicBezTo>
                  <a:cubicBezTo>
                    <a:pt x="76" y="264"/>
                    <a:pt x="0" y="616"/>
                    <a:pt x="177" y="881"/>
                  </a:cubicBezTo>
                  <a:cubicBezTo>
                    <a:pt x="290" y="1045"/>
                    <a:pt x="466" y="1146"/>
                    <a:pt x="655" y="1146"/>
                  </a:cubicBezTo>
                  <a:cubicBezTo>
                    <a:pt x="769" y="1146"/>
                    <a:pt x="882" y="1120"/>
                    <a:pt x="970" y="1057"/>
                  </a:cubicBezTo>
                  <a:cubicBezTo>
                    <a:pt x="1235" y="881"/>
                    <a:pt x="1311" y="528"/>
                    <a:pt x="1147" y="264"/>
                  </a:cubicBezTo>
                  <a:cubicBezTo>
                    <a:pt x="1033" y="93"/>
                    <a:pt x="846" y="1"/>
                    <a:pt x="65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0" name="Google Shape;1440;p48"/>
            <p:cNvSpPr/>
            <p:nvPr/>
          </p:nvSpPr>
          <p:spPr>
            <a:xfrm>
              <a:off x="558800" y="4828875"/>
              <a:ext cx="32475" cy="29000"/>
            </a:xfrm>
            <a:custGeom>
              <a:avLst/>
              <a:gdLst/>
              <a:ahLst/>
              <a:cxnLst/>
              <a:rect l="l" t="t" r="r" b="b"/>
              <a:pathLst>
                <a:path w="1299" h="1160" extrusionOk="0">
                  <a:moveTo>
                    <a:pt x="646" y="1"/>
                  </a:moveTo>
                  <a:cubicBezTo>
                    <a:pt x="468" y="1"/>
                    <a:pt x="295" y="82"/>
                    <a:pt x="190" y="240"/>
                  </a:cubicBezTo>
                  <a:cubicBezTo>
                    <a:pt x="1" y="492"/>
                    <a:pt x="51" y="858"/>
                    <a:pt x="303" y="1047"/>
                  </a:cubicBezTo>
                  <a:cubicBezTo>
                    <a:pt x="404" y="1122"/>
                    <a:pt x="530" y="1160"/>
                    <a:pt x="643" y="1160"/>
                  </a:cubicBezTo>
                  <a:cubicBezTo>
                    <a:pt x="832" y="1160"/>
                    <a:pt x="996" y="1072"/>
                    <a:pt x="1110" y="921"/>
                  </a:cubicBezTo>
                  <a:cubicBezTo>
                    <a:pt x="1299" y="669"/>
                    <a:pt x="1248" y="303"/>
                    <a:pt x="996" y="114"/>
                  </a:cubicBezTo>
                  <a:cubicBezTo>
                    <a:pt x="889" y="38"/>
                    <a:pt x="766" y="1"/>
                    <a:pt x="64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1" name="Google Shape;1441;p48"/>
            <p:cNvSpPr/>
            <p:nvPr/>
          </p:nvSpPr>
          <p:spPr>
            <a:xfrm>
              <a:off x="1303825" y="4733350"/>
              <a:ext cx="32475" cy="28775"/>
            </a:xfrm>
            <a:custGeom>
              <a:avLst/>
              <a:gdLst/>
              <a:ahLst/>
              <a:cxnLst/>
              <a:rect l="l" t="t" r="r" b="b"/>
              <a:pathLst>
                <a:path w="1299" h="1151" extrusionOk="0">
                  <a:moveTo>
                    <a:pt x="655" y="0"/>
                  </a:moveTo>
                  <a:cubicBezTo>
                    <a:pt x="485" y="0"/>
                    <a:pt x="317" y="74"/>
                    <a:pt x="202" y="218"/>
                  </a:cubicBezTo>
                  <a:cubicBezTo>
                    <a:pt x="1" y="457"/>
                    <a:pt x="51" y="823"/>
                    <a:pt x="291" y="1024"/>
                  </a:cubicBezTo>
                  <a:cubicBezTo>
                    <a:pt x="391" y="1113"/>
                    <a:pt x="517" y="1150"/>
                    <a:pt x="656" y="1150"/>
                  </a:cubicBezTo>
                  <a:cubicBezTo>
                    <a:pt x="832" y="1150"/>
                    <a:pt x="996" y="1075"/>
                    <a:pt x="1097" y="949"/>
                  </a:cubicBezTo>
                  <a:cubicBezTo>
                    <a:pt x="1299" y="697"/>
                    <a:pt x="1261" y="331"/>
                    <a:pt x="1021" y="130"/>
                  </a:cubicBezTo>
                  <a:cubicBezTo>
                    <a:pt x="913" y="43"/>
                    <a:pt x="783" y="0"/>
                    <a:pt x="65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2" name="Google Shape;1442;p48"/>
            <p:cNvSpPr/>
            <p:nvPr/>
          </p:nvSpPr>
          <p:spPr>
            <a:xfrm>
              <a:off x="438150" y="4706450"/>
              <a:ext cx="32475" cy="28900"/>
            </a:xfrm>
            <a:custGeom>
              <a:avLst/>
              <a:gdLst/>
              <a:ahLst/>
              <a:cxnLst/>
              <a:rect l="l" t="t" r="r" b="b"/>
              <a:pathLst>
                <a:path w="1299" h="1156" extrusionOk="0">
                  <a:moveTo>
                    <a:pt x="644" y="0"/>
                  </a:moveTo>
                  <a:cubicBezTo>
                    <a:pt x="530" y="0"/>
                    <a:pt x="414" y="36"/>
                    <a:pt x="316" y="109"/>
                  </a:cubicBezTo>
                  <a:cubicBezTo>
                    <a:pt x="51" y="286"/>
                    <a:pt x="1" y="651"/>
                    <a:pt x="177" y="916"/>
                  </a:cubicBezTo>
                  <a:cubicBezTo>
                    <a:pt x="290" y="1067"/>
                    <a:pt x="467" y="1155"/>
                    <a:pt x="643" y="1155"/>
                  </a:cubicBezTo>
                  <a:cubicBezTo>
                    <a:pt x="769" y="1155"/>
                    <a:pt x="883" y="1117"/>
                    <a:pt x="983" y="1042"/>
                  </a:cubicBezTo>
                  <a:cubicBezTo>
                    <a:pt x="1235" y="865"/>
                    <a:pt x="1298" y="500"/>
                    <a:pt x="1109" y="248"/>
                  </a:cubicBezTo>
                  <a:cubicBezTo>
                    <a:pt x="1002" y="87"/>
                    <a:pt x="824" y="0"/>
                    <a:pt x="64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3" name="Google Shape;1443;p48"/>
            <p:cNvSpPr/>
            <p:nvPr/>
          </p:nvSpPr>
          <p:spPr>
            <a:xfrm>
              <a:off x="1390150" y="4584700"/>
              <a:ext cx="32775" cy="28725"/>
            </a:xfrm>
            <a:custGeom>
              <a:avLst/>
              <a:gdLst/>
              <a:ahLst/>
              <a:cxnLst/>
              <a:rect l="l" t="t" r="r" b="b"/>
              <a:pathLst>
                <a:path w="1311" h="1149" extrusionOk="0">
                  <a:moveTo>
                    <a:pt x="643" y="1"/>
                  </a:moveTo>
                  <a:cubicBezTo>
                    <a:pt x="413" y="1"/>
                    <a:pt x="201" y="136"/>
                    <a:pt x="114" y="367"/>
                  </a:cubicBezTo>
                  <a:cubicBezTo>
                    <a:pt x="0" y="670"/>
                    <a:pt x="139" y="998"/>
                    <a:pt x="441" y="1111"/>
                  </a:cubicBezTo>
                  <a:cubicBezTo>
                    <a:pt x="504" y="1136"/>
                    <a:pt x="580" y="1149"/>
                    <a:pt x="656" y="1149"/>
                  </a:cubicBezTo>
                  <a:cubicBezTo>
                    <a:pt x="895" y="1149"/>
                    <a:pt x="1109" y="1010"/>
                    <a:pt x="1197" y="783"/>
                  </a:cubicBezTo>
                  <a:cubicBezTo>
                    <a:pt x="1311" y="481"/>
                    <a:pt x="1160" y="153"/>
                    <a:pt x="857" y="40"/>
                  </a:cubicBezTo>
                  <a:cubicBezTo>
                    <a:pt x="786" y="13"/>
                    <a:pt x="714" y="1"/>
                    <a:pt x="6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4" name="Google Shape;1444;p48"/>
            <p:cNvSpPr/>
            <p:nvPr/>
          </p:nvSpPr>
          <p:spPr>
            <a:xfrm>
              <a:off x="361925" y="4552350"/>
              <a:ext cx="32150" cy="28950"/>
            </a:xfrm>
            <a:custGeom>
              <a:avLst/>
              <a:gdLst/>
              <a:ahLst/>
              <a:cxnLst/>
              <a:rect l="l" t="t" r="r" b="b"/>
              <a:pathLst>
                <a:path w="1286" h="1158" extrusionOk="0">
                  <a:moveTo>
                    <a:pt x="626" y="1"/>
                  </a:moveTo>
                  <a:cubicBezTo>
                    <a:pt x="573" y="1"/>
                    <a:pt x="519" y="8"/>
                    <a:pt x="466" y="23"/>
                  </a:cubicBezTo>
                  <a:cubicBezTo>
                    <a:pt x="164" y="124"/>
                    <a:pt x="0" y="452"/>
                    <a:pt x="88" y="754"/>
                  </a:cubicBezTo>
                  <a:cubicBezTo>
                    <a:pt x="164" y="994"/>
                    <a:pt x="391" y="1157"/>
                    <a:pt x="643" y="1157"/>
                  </a:cubicBezTo>
                  <a:cubicBezTo>
                    <a:pt x="693" y="1157"/>
                    <a:pt x="756" y="1145"/>
                    <a:pt x="807" y="1132"/>
                  </a:cubicBezTo>
                  <a:cubicBezTo>
                    <a:pt x="1109" y="1031"/>
                    <a:pt x="1285" y="716"/>
                    <a:pt x="1197" y="414"/>
                  </a:cubicBezTo>
                  <a:cubicBezTo>
                    <a:pt x="1114" y="164"/>
                    <a:pt x="876" y="1"/>
                    <a:pt x="62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5" name="Google Shape;1445;p48"/>
            <p:cNvSpPr/>
            <p:nvPr/>
          </p:nvSpPr>
          <p:spPr>
            <a:xfrm>
              <a:off x="1426700" y="4416200"/>
              <a:ext cx="29625" cy="29000"/>
            </a:xfrm>
            <a:custGeom>
              <a:avLst/>
              <a:gdLst/>
              <a:ahLst/>
              <a:cxnLst/>
              <a:rect l="l" t="t" r="r" b="b"/>
              <a:pathLst>
                <a:path w="1185" h="1160" extrusionOk="0">
                  <a:moveTo>
                    <a:pt x="595" y="0"/>
                  </a:moveTo>
                  <a:cubicBezTo>
                    <a:pt x="289" y="0"/>
                    <a:pt x="25" y="248"/>
                    <a:pt x="13" y="555"/>
                  </a:cubicBezTo>
                  <a:cubicBezTo>
                    <a:pt x="0" y="870"/>
                    <a:pt x="240" y="1135"/>
                    <a:pt x="567" y="1160"/>
                  </a:cubicBezTo>
                  <a:lnTo>
                    <a:pt x="592" y="1160"/>
                  </a:lnTo>
                  <a:cubicBezTo>
                    <a:pt x="895" y="1160"/>
                    <a:pt x="1147" y="920"/>
                    <a:pt x="1159" y="605"/>
                  </a:cubicBezTo>
                  <a:cubicBezTo>
                    <a:pt x="1185" y="290"/>
                    <a:pt x="933" y="26"/>
                    <a:pt x="618" y="1"/>
                  </a:cubicBezTo>
                  <a:cubicBezTo>
                    <a:pt x="610" y="0"/>
                    <a:pt x="602" y="0"/>
                    <a:pt x="595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6" name="Google Shape;1446;p48"/>
            <p:cNvSpPr/>
            <p:nvPr/>
          </p:nvSpPr>
          <p:spPr>
            <a:xfrm>
              <a:off x="338925" y="4382175"/>
              <a:ext cx="29000" cy="29000"/>
            </a:xfrm>
            <a:custGeom>
              <a:avLst/>
              <a:gdLst/>
              <a:ahLst/>
              <a:cxnLst/>
              <a:rect l="l" t="t" r="r" b="b"/>
              <a:pathLst>
                <a:path w="1160" h="1160" extrusionOk="0">
                  <a:moveTo>
                    <a:pt x="580" y="1"/>
                  </a:moveTo>
                  <a:cubicBezTo>
                    <a:pt x="265" y="1"/>
                    <a:pt x="0" y="253"/>
                    <a:pt x="0" y="568"/>
                  </a:cubicBezTo>
                  <a:cubicBezTo>
                    <a:pt x="0" y="883"/>
                    <a:pt x="252" y="1147"/>
                    <a:pt x="567" y="1160"/>
                  </a:cubicBezTo>
                  <a:lnTo>
                    <a:pt x="580" y="1160"/>
                  </a:lnTo>
                  <a:cubicBezTo>
                    <a:pt x="895" y="1160"/>
                    <a:pt x="1147" y="895"/>
                    <a:pt x="1147" y="580"/>
                  </a:cubicBezTo>
                  <a:cubicBezTo>
                    <a:pt x="1160" y="265"/>
                    <a:pt x="895" y="1"/>
                    <a:pt x="580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7" name="Google Shape;1447;p48"/>
            <p:cNvSpPr/>
            <p:nvPr/>
          </p:nvSpPr>
          <p:spPr>
            <a:xfrm>
              <a:off x="1406225" y="4245525"/>
              <a:ext cx="32150" cy="28625"/>
            </a:xfrm>
            <a:custGeom>
              <a:avLst/>
              <a:gdLst/>
              <a:ahLst/>
              <a:cxnLst/>
              <a:rect l="l" t="t" r="r" b="b"/>
              <a:pathLst>
                <a:path w="1286" h="1145" extrusionOk="0">
                  <a:moveTo>
                    <a:pt x="650" y="0"/>
                  </a:moveTo>
                  <a:cubicBezTo>
                    <a:pt x="597" y="0"/>
                    <a:pt x="544" y="8"/>
                    <a:pt x="491" y="23"/>
                  </a:cubicBezTo>
                  <a:cubicBezTo>
                    <a:pt x="189" y="99"/>
                    <a:pt x="0" y="414"/>
                    <a:pt x="88" y="729"/>
                  </a:cubicBezTo>
                  <a:cubicBezTo>
                    <a:pt x="151" y="968"/>
                    <a:pt x="378" y="1145"/>
                    <a:pt x="643" y="1145"/>
                  </a:cubicBezTo>
                  <a:cubicBezTo>
                    <a:pt x="693" y="1145"/>
                    <a:pt x="743" y="1145"/>
                    <a:pt x="794" y="1132"/>
                  </a:cubicBezTo>
                  <a:cubicBezTo>
                    <a:pt x="1109" y="1044"/>
                    <a:pt x="1285" y="716"/>
                    <a:pt x="1197" y="414"/>
                  </a:cubicBezTo>
                  <a:cubicBezTo>
                    <a:pt x="1124" y="164"/>
                    <a:pt x="897" y="0"/>
                    <a:pt x="65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8" name="Google Shape;1448;p48"/>
            <p:cNvSpPr/>
            <p:nvPr/>
          </p:nvSpPr>
          <p:spPr>
            <a:xfrm>
              <a:off x="366950" y="4212875"/>
              <a:ext cx="32175" cy="28825"/>
            </a:xfrm>
            <a:custGeom>
              <a:avLst/>
              <a:gdLst/>
              <a:ahLst/>
              <a:cxnLst/>
              <a:rect l="l" t="t" r="r" b="b"/>
              <a:pathLst>
                <a:path w="1287" h="1153" extrusionOk="0">
                  <a:moveTo>
                    <a:pt x="642" y="0"/>
                  </a:moveTo>
                  <a:cubicBezTo>
                    <a:pt x="403" y="0"/>
                    <a:pt x="181" y="145"/>
                    <a:pt x="102" y="384"/>
                  </a:cubicBezTo>
                  <a:cubicBezTo>
                    <a:pt x="1" y="686"/>
                    <a:pt x="152" y="1014"/>
                    <a:pt x="454" y="1115"/>
                  </a:cubicBezTo>
                  <a:cubicBezTo>
                    <a:pt x="517" y="1140"/>
                    <a:pt x="580" y="1153"/>
                    <a:pt x="643" y="1153"/>
                  </a:cubicBezTo>
                  <a:cubicBezTo>
                    <a:pt x="895" y="1153"/>
                    <a:pt x="1110" y="989"/>
                    <a:pt x="1185" y="762"/>
                  </a:cubicBezTo>
                  <a:cubicBezTo>
                    <a:pt x="1286" y="460"/>
                    <a:pt x="1135" y="132"/>
                    <a:pt x="832" y="31"/>
                  </a:cubicBezTo>
                  <a:cubicBezTo>
                    <a:pt x="769" y="10"/>
                    <a:pt x="705" y="0"/>
                    <a:pt x="64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9" name="Google Shape;1449;p48"/>
            <p:cNvSpPr/>
            <p:nvPr/>
          </p:nvSpPr>
          <p:spPr>
            <a:xfrm>
              <a:off x="1334075" y="4089025"/>
              <a:ext cx="32775" cy="28875"/>
            </a:xfrm>
            <a:custGeom>
              <a:avLst/>
              <a:gdLst/>
              <a:ahLst/>
              <a:cxnLst/>
              <a:rect l="l" t="t" r="r" b="b"/>
              <a:pathLst>
                <a:path w="1311" h="1155" extrusionOk="0">
                  <a:moveTo>
                    <a:pt x="654" y="1"/>
                  </a:moveTo>
                  <a:cubicBezTo>
                    <a:pt x="547" y="1"/>
                    <a:pt x="438" y="31"/>
                    <a:pt x="341" y="96"/>
                  </a:cubicBezTo>
                  <a:cubicBezTo>
                    <a:pt x="76" y="273"/>
                    <a:pt x="0" y="638"/>
                    <a:pt x="189" y="903"/>
                  </a:cubicBezTo>
                  <a:cubicBezTo>
                    <a:pt x="290" y="1054"/>
                    <a:pt x="467" y="1155"/>
                    <a:pt x="668" y="1155"/>
                  </a:cubicBezTo>
                  <a:cubicBezTo>
                    <a:pt x="782" y="1155"/>
                    <a:pt x="883" y="1117"/>
                    <a:pt x="983" y="1054"/>
                  </a:cubicBezTo>
                  <a:cubicBezTo>
                    <a:pt x="1248" y="877"/>
                    <a:pt x="1311" y="525"/>
                    <a:pt x="1135" y="260"/>
                  </a:cubicBezTo>
                  <a:cubicBezTo>
                    <a:pt x="1023" y="92"/>
                    <a:pt x="840" y="1"/>
                    <a:pt x="65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0" name="Google Shape;1450;p48"/>
            <p:cNvSpPr/>
            <p:nvPr/>
          </p:nvSpPr>
          <p:spPr>
            <a:xfrm>
              <a:off x="448225" y="4061375"/>
              <a:ext cx="32475" cy="28800"/>
            </a:xfrm>
            <a:custGeom>
              <a:avLst/>
              <a:gdLst/>
              <a:ahLst/>
              <a:cxnLst/>
              <a:rect l="l" t="t" r="r" b="b"/>
              <a:pathLst>
                <a:path w="1299" h="1152" extrusionOk="0">
                  <a:moveTo>
                    <a:pt x="643" y="0"/>
                  </a:moveTo>
                  <a:cubicBezTo>
                    <a:pt x="470" y="0"/>
                    <a:pt x="300" y="77"/>
                    <a:pt x="190" y="232"/>
                  </a:cubicBezTo>
                  <a:cubicBezTo>
                    <a:pt x="1" y="471"/>
                    <a:pt x="51" y="837"/>
                    <a:pt x="303" y="1026"/>
                  </a:cubicBezTo>
                  <a:cubicBezTo>
                    <a:pt x="404" y="1114"/>
                    <a:pt x="530" y="1152"/>
                    <a:pt x="656" y="1152"/>
                  </a:cubicBezTo>
                  <a:cubicBezTo>
                    <a:pt x="832" y="1152"/>
                    <a:pt x="996" y="1063"/>
                    <a:pt x="1110" y="925"/>
                  </a:cubicBezTo>
                  <a:cubicBezTo>
                    <a:pt x="1299" y="673"/>
                    <a:pt x="1248" y="307"/>
                    <a:pt x="996" y="118"/>
                  </a:cubicBezTo>
                  <a:cubicBezTo>
                    <a:pt x="891" y="40"/>
                    <a:pt x="767" y="0"/>
                    <a:pt x="643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1" name="Google Shape;1451;p48"/>
            <p:cNvSpPr/>
            <p:nvPr/>
          </p:nvSpPr>
          <p:spPr>
            <a:xfrm>
              <a:off x="1217525" y="3962800"/>
              <a:ext cx="32475" cy="28775"/>
            </a:xfrm>
            <a:custGeom>
              <a:avLst/>
              <a:gdLst/>
              <a:ahLst/>
              <a:cxnLst/>
              <a:rect l="l" t="t" r="r" b="b"/>
              <a:pathLst>
                <a:path w="1299" h="1151" extrusionOk="0">
                  <a:moveTo>
                    <a:pt x="642" y="1"/>
                  </a:moveTo>
                  <a:cubicBezTo>
                    <a:pt x="474" y="1"/>
                    <a:pt x="309" y="75"/>
                    <a:pt x="202" y="218"/>
                  </a:cubicBezTo>
                  <a:cubicBezTo>
                    <a:pt x="0" y="470"/>
                    <a:pt x="51" y="836"/>
                    <a:pt x="290" y="1037"/>
                  </a:cubicBezTo>
                  <a:cubicBezTo>
                    <a:pt x="391" y="1113"/>
                    <a:pt x="517" y="1151"/>
                    <a:pt x="655" y="1151"/>
                  </a:cubicBezTo>
                  <a:cubicBezTo>
                    <a:pt x="832" y="1151"/>
                    <a:pt x="996" y="1075"/>
                    <a:pt x="1109" y="936"/>
                  </a:cubicBezTo>
                  <a:cubicBezTo>
                    <a:pt x="1298" y="684"/>
                    <a:pt x="1260" y="319"/>
                    <a:pt x="1008" y="130"/>
                  </a:cubicBezTo>
                  <a:cubicBezTo>
                    <a:pt x="900" y="43"/>
                    <a:pt x="770" y="1"/>
                    <a:pt x="64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2" name="Google Shape;1452;p48"/>
            <p:cNvSpPr/>
            <p:nvPr/>
          </p:nvSpPr>
          <p:spPr>
            <a:xfrm>
              <a:off x="572350" y="3942525"/>
              <a:ext cx="33100" cy="28900"/>
            </a:xfrm>
            <a:custGeom>
              <a:avLst/>
              <a:gdLst/>
              <a:ahLst/>
              <a:cxnLst/>
              <a:rect l="l" t="t" r="r" b="b"/>
              <a:pathLst>
                <a:path w="1324" h="1156" extrusionOk="0">
                  <a:moveTo>
                    <a:pt x="679" y="0"/>
                  </a:moveTo>
                  <a:cubicBezTo>
                    <a:pt x="563" y="0"/>
                    <a:pt x="444" y="36"/>
                    <a:pt x="341" y="109"/>
                  </a:cubicBezTo>
                  <a:cubicBezTo>
                    <a:pt x="76" y="286"/>
                    <a:pt x="1" y="639"/>
                    <a:pt x="190" y="903"/>
                  </a:cubicBezTo>
                  <a:cubicBezTo>
                    <a:pt x="303" y="1067"/>
                    <a:pt x="479" y="1155"/>
                    <a:pt x="668" y="1155"/>
                  </a:cubicBezTo>
                  <a:cubicBezTo>
                    <a:pt x="782" y="1155"/>
                    <a:pt x="895" y="1117"/>
                    <a:pt x="996" y="1054"/>
                  </a:cubicBezTo>
                  <a:cubicBezTo>
                    <a:pt x="1261" y="878"/>
                    <a:pt x="1324" y="513"/>
                    <a:pt x="1147" y="248"/>
                  </a:cubicBezTo>
                  <a:cubicBezTo>
                    <a:pt x="1040" y="87"/>
                    <a:pt x="862" y="0"/>
                    <a:pt x="67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3" name="Google Shape;1453;p48"/>
            <p:cNvSpPr/>
            <p:nvPr/>
          </p:nvSpPr>
          <p:spPr>
            <a:xfrm>
              <a:off x="1067250" y="3879100"/>
              <a:ext cx="32475" cy="28675"/>
            </a:xfrm>
            <a:custGeom>
              <a:avLst/>
              <a:gdLst/>
              <a:ahLst/>
              <a:cxnLst/>
              <a:rect l="l" t="t" r="r" b="b"/>
              <a:pathLst>
                <a:path w="1299" h="1147" extrusionOk="0">
                  <a:moveTo>
                    <a:pt x="646" y="0"/>
                  </a:moveTo>
                  <a:cubicBezTo>
                    <a:pt x="418" y="0"/>
                    <a:pt x="202" y="144"/>
                    <a:pt x="114" y="378"/>
                  </a:cubicBezTo>
                  <a:cubicBezTo>
                    <a:pt x="1" y="681"/>
                    <a:pt x="152" y="1008"/>
                    <a:pt x="454" y="1122"/>
                  </a:cubicBezTo>
                  <a:cubicBezTo>
                    <a:pt x="517" y="1134"/>
                    <a:pt x="580" y="1147"/>
                    <a:pt x="656" y="1147"/>
                  </a:cubicBezTo>
                  <a:cubicBezTo>
                    <a:pt x="895" y="1147"/>
                    <a:pt x="1109" y="996"/>
                    <a:pt x="1198" y="769"/>
                  </a:cubicBezTo>
                  <a:cubicBezTo>
                    <a:pt x="1298" y="479"/>
                    <a:pt x="1147" y="139"/>
                    <a:pt x="845" y="38"/>
                  </a:cubicBezTo>
                  <a:cubicBezTo>
                    <a:pt x="780" y="12"/>
                    <a:pt x="712" y="0"/>
                    <a:pt x="646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4" name="Google Shape;1454;p48"/>
            <p:cNvSpPr/>
            <p:nvPr/>
          </p:nvSpPr>
          <p:spPr>
            <a:xfrm>
              <a:off x="727975" y="3868450"/>
              <a:ext cx="32150" cy="28625"/>
            </a:xfrm>
            <a:custGeom>
              <a:avLst/>
              <a:gdLst/>
              <a:ahLst/>
              <a:cxnLst/>
              <a:rect l="l" t="t" r="r" b="b"/>
              <a:pathLst>
                <a:path w="1286" h="1145" extrusionOk="0">
                  <a:moveTo>
                    <a:pt x="650" y="0"/>
                  </a:moveTo>
                  <a:cubicBezTo>
                    <a:pt x="598" y="0"/>
                    <a:pt x="545" y="7"/>
                    <a:pt x="492" y="23"/>
                  </a:cubicBezTo>
                  <a:cubicBezTo>
                    <a:pt x="177" y="111"/>
                    <a:pt x="0" y="426"/>
                    <a:pt x="101" y="741"/>
                  </a:cubicBezTo>
                  <a:cubicBezTo>
                    <a:pt x="162" y="972"/>
                    <a:pt x="376" y="1145"/>
                    <a:pt x="629" y="1145"/>
                  </a:cubicBezTo>
                  <a:cubicBezTo>
                    <a:pt x="638" y="1145"/>
                    <a:pt x="647" y="1145"/>
                    <a:pt x="656" y="1144"/>
                  </a:cubicBezTo>
                  <a:cubicBezTo>
                    <a:pt x="706" y="1144"/>
                    <a:pt x="756" y="1144"/>
                    <a:pt x="807" y="1132"/>
                  </a:cubicBezTo>
                  <a:cubicBezTo>
                    <a:pt x="1122" y="1044"/>
                    <a:pt x="1286" y="716"/>
                    <a:pt x="1197" y="414"/>
                  </a:cubicBezTo>
                  <a:cubicBezTo>
                    <a:pt x="1125" y="164"/>
                    <a:pt x="897" y="0"/>
                    <a:pt x="65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5" name="Google Shape;1455;p48"/>
            <p:cNvSpPr/>
            <p:nvPr/>
          </p:nvSpPr>
          <p:spPr>
            <a:xfrm>
              <a:off x="899975" y="3846625"/>
              <a:ext cx="29325" cy="28700"/>
            </a:xfrm>
            <a:custGeom>
              <a:avLst/>
              <a:gdLst/>
              <a:ahLst/>
              <a:cxnLst/>
              <a:rect l="l" t="t" r="r" b="b"/>
              <a:pathLst>
                <a:path w="1173" h="1148" extrusionOk="0">
                  <a:moveTo>
                    <a:pt x="583" y="1"/>
                  </a:moveTo>
                  <a:cubicBezTo>
                    <a:pt x="278" y="1"/>
                    <a:pt x="25" y="248"/>
                    <a:pt x="13" y="556"/>
                  </a:cubicBezTo>
                  <a:cubicBezTo>
                    <a:pt x="0" y="871"/>
                    <a:pt x="252" y="1148"/>
                    <a:pt x="567" y="1148"/>
                  </a:cubicBezTo>
                  <a:lnTo>
                    <a:pt x="593" y="1148"/>
                  </a:lnTo>
                  <a:cubicBezTo>
                    <a:pt x="895" y="1148"/>
                    <a:pt x="1147" y="908"/>
                    <a:pt x="1160" y="593"/>
                  </a:cubicBezTo>
                  <a:cubicBezTo>
                    <a:pt x="1172" y="278"/>
                    <a:pt x="920" y="14"/>
                    <a:pt x="605" y="1"/>
                  </a:cubicBezTo>
                  <a:cubicBezTo>
                    <a:pt x="598" y="1"/>
                    <a:pt x="590" y="1"/>
                    <a:pt x="58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6" name="Google Shape;1456;p48"/>
            <p:cNvSpPr/>
            <p:nvPr/>
          </p:nvSpPr>
          <p:spPr>
            <a:xfrm>
              <a:off x="880750" y="5030800"/>
              <a:ext cx="33750" cy="33750"/>
            </a:xfrm>
            <a:custGeom>
              <a:avLst/>
              <a:gdLst/>
              <a:ahLst/>
              <a:cxnLst/>
              <a:rect l="l" t="t" r="r" b="b"/>
              <a:pathLst>
                <a:path w="1350" h="1350" extrusionOk="0">
                  <a:moveTo>
                    <a:pt x="681" y="1"/>
                  </a:moveTo>
                  <a:cubicBezTo>
                    <a:pt x="303" y="1"/>
                    <a:pt x="1" y="303"/>
                    <a:pt x="1" y="681"/>
                  </a:cubicBezTo>
                  <a:cubicBezTo>
                    <a:pt x="1" y="1047"/>
                    <a:pt x="303" y="1349"/>
                    <a:pt x="681" y="1349"/>
                  </a:cubicBezTo>
                  <a:cubicBezTo>
                    <a:pt x="688" y="1349"/>
                    <a:pt x="695" y="1350"/>
                    <a:pt x="702" y="1350"/>
                  </a:cubicBezTo>
                  <a:cubicBezTo>
                    <a:pt x="1058" y="1350"/>
                    <a:pt x="1349" y="1040"/>
                    <a:pt x="1349" y="681"/>
                  </a:cubicBezTo>
                  <a:cubicBezTo>
                    <a:pt x="1349" y="303"/>
                    <a:pt x="1047" y="1"/>
                    <a:pt x="68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7" name="Google Shape;1457;p48"/>
            <p:cNvSpPr/>
            <p:nvPr/>
          </p:nvSpPr>
          <p:spPr>
            <a:xfrm>
              <a:off x="1040800" y="5010050"/>
              <a:ext cx="37500" cy="34025"/>
            </a:xfrm>
            <a:custGeom>
              <a:avLst/>
              <a:gdLst/>
              <a:ahLst/>
              <a:cxnLst/>
              <a:rect l="l" t="t" r="r" b="b"/>
              <a:pathLst>
                <a:path w="1500" h="1361" extrusionOk="0">
                  <a:moveTo>
                    <a:pt x="755" y="0"/>
                  </a:moveTo>
                  <a:cubicBezTo>
                    <a:pt x="698" y="0"/>
                    <a:pt x="639" y="8"/>
                    <a:pt x="580" y="24"/>
                  </a:cubicBezTo>
                  <a:cubicBezTo>
                    <a:pt x="214" y="125"/>
                    <a:pt x="0" y="491"/>
                    <a:pt x="88" y="856"/>
                  </a:cubicBezTo>
                  <a:cubicBezTo>
                    <a:pt x="176" y="1159"/>
                    <a:pt x="441" y="1360"/>
                    <a:pt x="756" y="1360"/>
                  </a:cubicBezTo>
                  <a:cubicBezTo>
                    <a:pt x="806" y="1360"/>
                    <a:pt x="869" y="1360"/>
                    <a:pt x="920" y="1335"/>
                  </a:cubicBezTo>
                  <a:cubicBezTo>
                    <a:pt x="1285" y="1247"/>
                    <a:pt x="1500" y="869"/>
                    <a:pt x="1411" y="516"/>
                  </a:cubicBezTo>
                  <a:cubicBezTo>
                    <a:pt x="1327" y="209"/>
                    <a:pt x="1056" y="0"/>
                    <a:pt x="755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8" name="Google Shape;1458;p48"/>
            <p:cNvSpPr/>
            <p:nvPr/>
          </p:nvSpPr>
          <p:spPr>
            <a:xfrm>
              <a:off x="677875" y="4998800"/>
              <a:ext cx="38475" cy="34250"/>
            </a:xfrm>
            <a:custGeom>
              <a:avLst/>
              <a:gdLst/>
              <a:ahLst/>
              <a:cxnLst/>
              <a:rect l="l" t="t" r="r" b="b"/>
              <a:pathLst>
                <a:path w="1539" h="1370" extrusionOk="0">
                  <a:moveTo>
                    <a:pt x="774" y="1"/>
                  </a:moveTo>
                  <a:cubicBezTo>
                    <a:pt x="488" y="1"/>
                    <a:pt x="218" y="178"/>
                    <a:pt x="127" y="462"/>
                  </a:cubicBezTo>
                  <a:cubicBezTo>
                    <a:pt x="1" y="827"/>
                    <a:pt x="202" y="1205"/>
                    <a:pt x="555" y="1331"/>
                  </a:cubicBezTo>
                  <a:cubicBezTo>
                    <a:pt x="631" y="1344"/>
                    <a:pt x="694" y="1356"/>
                    <a:pt x="769" y="1369"/>
                  </a:cubicBezTo>
                  <a:cubicBezTo>
                    <a:pt x="1072" y="1369"/>
                    <a:pt x="1324" y="1167"/>
                    <a:pt x="1412" y="890"/>
                  </a:cubicBezTo>
                  <a:cubicBezTo>
                    <a:pt x="1538" y="537"/>
                    <a:pt x="1337" y="147"/>
                    <a:pt x="984" y="33"/>
                  </a:cubicBezTo>
                  <a:cubicBezTo>
                    <a:pt x="914" y="11"/>
                    <a:pt x="844" y="1"/>
                    <a:pt x="77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9" name="Google Shape;1459;p48"/>
            <p:cNvSpPr/>
            <p:nvPr/>
          </p:nvSpPr>
          <p:spPr>
            <a:xfrm>
              <a:off x="1226025" y="4928250"/>
              <a:ext cx="38775" cy="34225"/>
            </a:xfrm>
            <a:custGeom>
              <a:avLst/>
              <a:gdLst/>
              <a:ahLst/>
              <a:cxnLst/>
              <a:rect l="l" t="t" r="r" b="b"/>
              <a:pathLst>
                <a:path w="1551" h="1369" extrusionOk="0">
                  <a:moveTo>
                    <a:pt x="774" y="0"/>
                  </a:moveTo>
                  <a:cubicBezTo>
                    <a:pt x="647" y="0"/>
                    <a:pt x="518" y="35"/>
                    <a:pt x="404" y="108"/>
                  </a:cubicBezTo>
                  <a:cubicBezTo>
                    <a:pt x="89" y="310"/>
                    <a:pt x="0" y="738"/>
                    <a:pt x="202" y="1053"/>
                  </a:cubicBezTo>
                  <a:cubicBezTo>
                    <a:pt x="328" y="1242"/>
                    <a:pt x="542" y="1368"/>
                    <a:pt x="782" y="1368"/>
                  </a:cubicBezTo>
                  <a:cubicBezTo>
                    <a:pt x="908" y="1356"/>
                    <a:pt x="1034" y="1331"/>
                    <a:pt x="1147" y="1255"/>
                  </a:cubicBezTo>
                  <a:cubicBezTo>
                    <a:pt x="1462" y="1053"/>
                    <a:pt x="1550" y="625"/>
                    <a:pt x="1349" y="310"/>
                  </a:cubicBezTo>
                  <a:cubicBezTo>
                    <a:pt x="1220" y="109"/>
                    <a:pt x="999" y="0"/>
                    <a:pt x="774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0" name="Google Shape;1460;p48"/>
            <p:cNvSpPr/>
            <p:nvPr/>
          </p:nvSpPr>
          <p:spPr>
            <a:xfrm>
              <a:off x="497700" y="4905725"/>
              <a:ext cx="38125" cy="33750"/>
            </a:xfrm>
            <a:custGeom>
              <a:avLst/>
              <a:gdLst/>
              <a:ahLst/>
              <a:cxnLst/>
              <a:rect l="l" t="t" r="r" b="b"/>
              <a:pathLst>
                <a:path w="1525" h="1350" extrusionOk="0">
                  <a:moveTo>
                    <a:pt x="764" y="1"/>
                  </a:moveTo>
                  <a:cubicBezTo>
                    <a:pt x="557" y="1"/>
                    <a:pt x="351" y="96"/>
                    <a:pt x="214" y="279"/>
                  </a:cubicBezTo>
                  <a:cubicBezTo>
                    <a:pt x="0" y="568"/>
                    <a:pt x="63" y="997"/>
                    <a:pt x="366" y="1224"/>
                  </a:cubicBezTo>
                  <a:cubicBezTo>
                    <a:pt x="479" y="1299"/>
                    <a:pt x="618" y="1350"/>
                    <a:pt x="756" y="1350"/>
                  </a:cubicBezTo>
                  <a:cubicBezTo>
                    <a:pt x="970" y="1350"/>
                    <a:pt x="1172" y="1249"/>
                    <a:pt x="1311" y="1072"/>
                  </a:cubicBezTo>
                  <a:cubicBezTo>
                    <a:pt x="1525" y="770"/>
                    <a:pt x="1462" y="354"/>
                    <a:pt x="1159" y="127"/>
                  </a:cubicBezTo>
                  <a:cubicBezTo>
                    <a:pt x="1039" y="42"/>
                    <a:pt x="901" y="1"/>
                    <a:pt x="76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1" name="Google Shape;1461;p48"/>
            <p:cNvSpPr/>
            <p:nvPr/>
          </p:nvSpPr>
          <p:spPr>
            <a:xfrm>
              <a:off x="1377225" y="4792825"/>
              <a:ext cx="38475" cy="33875"/>
            </a:xfrm>
            <a:custGeom>
              <a:avLst/>
              <a:gdLst/>
              <a:ahLst/>
              <a:cxnLst/>
              <a:rect l="l" t="t" r="r" b="b"/>
              <a:pathLst>
                <a:path w="1539" h="1355" extrusionOk="0">
                  <a:moveTo>
                    <a:pt x="762" y="0"/>
                  </a:moveTo>
                  <a:cubicBezTo>
                    <a:pt x="567" y="0"/>
                    <a:pt x="374" y="84"/>
                    <a:pt x="240" y="246"/>
                  </a:cubicBezTo>
                  <a:cubicBezTo>
                    <a:pt x="1" y="535"/>
                    <a:pt x="51" y="964"/>
                    <a:pt x="341" y="1203"/>
                  </a:cubicBezTo>
                  <a:cubicBezTo>
                    <a:pt x="467" y="1304"/>
                    <a:pt x="618" y="1355"/>
                    <a:pt x="769" y="1355"/>
                  </a:cubicBezTo>
                  <a:cubicBezTo>
                    <a:pt x="971" y="1355"/>
                    <a:pt x="1173" y="1266"/>
                    <a:pt x="1299" y="1115"/>
                  </a:cubicBezTo>
                  <a:cubicBezTo>
                    <a:pt x="1538" y="813"/>
                    <a:pt x="1488" y="384"/>
                    <a:pt x="1198" y="157"/>
                  </a:cubicBezTo>
                  <a:cubicBezTo>
                    <a:pt x="1070" y="52"/>
                    <a:pt x="916" y="0"/>
                    <a:pt x="762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2" name="Google Shape;1462;p48"/>
            <p:cNvSpPr/>
            <p:nvPr/>
          </p:nvSpPr>
          <p:spPr>
            <a:xfrm>
              <a:off x="355300" y="4760850"/>
              <a:ext cx="38150" cy="34025"/>
            </a:xfrm>
            <a:custGeom>
              <a:avLst/>
              <a:gdLst/>
              <a:ahLst/>
              <a:cxnLst/>
              <a:rect l="l" t="t" r="r" b="b"/>
              <a:pathLst>
                <a:path w="1526" h="1361" extrusionOk="0">
                  <a:moveTo>
                    <a:pt x="761" y="0"/>
                  </a:moveTo>
                  <a:cubicBezTo>
                    <a:pt x="623" y="0"/>
                    <a:pt x="485" y="42"/>
                    <a:pt x="366" y="126"/>
                  </a:cubicBezTo>
                  <a:cubicBezTo>
                    <a:pt x="64" y="353"/>
                    <a:pt x="1" y="769"/>
                    <a:pt x="215" y="1071"/>
                  </a:cubicBezTo>
                  <a:cubicBezTo>
                    <a:pt x="341" y="1247"/>
                    <a:pt x="542" y="1361"/>
                    <a:pt x="757" y="1361"/>
                  </a:cubicBezTo>
                  <a:cubicBezTo>
                    <a:pt x="908" y="1361"/>
                    <a:pt x="1034" y="1310"/>
                    <a:pt x="1160" y="1235"/>
                  </a:cubicBezTo>
                  <a:cubicBezTo>
                    <a:pt x="1462" y="1008"/>
                    <a:pt x="1525" y="592"/>
                    <a:pt x="1311" y="290"/>
                  </a:cubicBezTo>
                  <a:cubicBezTo>
                    <a:pt x="1181" y="99"/>
                    <a:pt x="972" y="0"/>
                    <a:pt x="7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3" name="Google Shape;1463;p48"/>
            <p:cNvSpPr/>
            <p:nvPr/>
          </p:nvSpPr>
          <p:spPr>
            <a:xfrm>
              <a:off x="1478975" y="4616950"/>
              <a:ext cx="38475" cy="34275"/>
            </a:xfrm>
            <a:custGeom>
              <a:avLst/>
              <a:gdLst/>
              <a:ahLst/>
              <a:cxnLst/>
              <a:rect l="l" t="t" r="r" b="b"/>
              <a:pathLst>
                <a:path w="1539" h="1371" extrusionOk="0">
                  <a:moveTo>
                    <a:pt x="761" y="0"/>
                  </a:moveTo>
                  <a:cubicBezTo>
                    <a:pt x="489" y="0"/>
                    <a:pt x="233" y="167"/>
                    <a:pt x="127" y="438"/>
                  </a:cubicBezTo>
                  <a:cubicBezTo>
                    <a:pt x="1" y="791"/>
                    <a:pt x="177" y="1182"/>
                    <a:pt x="517" y="1320"/>
                  </a:cubicBezTo>
                  <a:cubicBezTo>
                    <a:pt x="606" y="1346"/>
                    <a:pt x="681" y="1371"/>
                    <a:pt x="769" y="1371"/>
                  </a:cubicBezTo>
                  <a:cubicBezTo>
                    <a:pt x="1047" y="1358"/>
                    <a:pt x="1299" y="1194"/>
                    <a:pt x="1400" y="930"/>
                  </a:cubicBezTo>
                  <a:cubicBezTo>
                    <a:pt x="1538" y="577"/>
                    <a:pt x="1362" y="186"/>
                    <a:pt x="1009" y="48"/>
                  </a:cubicBezTo>
                  <a:cubicBezTo>
                    <a:pt x="927" y="16"/>
                    <a:pt x="843" y="0"/>
                    <a:pt x="761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4" name="Google Shape;1464;p48"/>
            <p:cNvSpPr/>
            <p:nvPr/>
          </p:nvSpPr>
          <p:spPr>
            <a:xfrm>
              <a:off x="264900" y="4578900"/>
              <a:ext cx="38125" cy="34225"/>
            </a:xfrm>
            <a:custGeom>
              <a:avLst/>
              <a:gdLst/>
              <a:ahLst/>
              <a:cxnLst/>
              <a:rect l="l" t="t" r="r" b="b"/>
              <a:pathLst>
                <a:path w="1525" h="1369" extrusionOk="0">
                  <a:moveTo>
                    <a:pt x="761" y="1"/>
                  </a:moveTo>
                  <a:cubicBezTo>
                    <a:pt x="693" y="1"/>
                    <a:pt x="623" y="11"/>
                    <a:pt x="555" y="32"/>
                  </a:cubicBezTo>
                  <a:cubicBezTo>
                    <a:pt x="202" y="146"/>
                    <a:pt x="0" y="524"/>
                    <a:pt x="113" y="889"/>
                  </a:cubicBezTo>
                  <a:cubicBezTo>
                    <a:pt x="202" y="1167"/>
                    <a:pt x="466" y="1368"/>
                    <a:pt x="756" y="1368"/>
                  </a:cubicBezTo>
                  <a:cubicBezTo>
                    <a:pt x="832" y="1368"/>
                    <a:pt x="895" y="1356"/>
                    <a:pt x="958" y="1330"/>
                  </a:cubicBezTo>
                  <a:cubicBezTo>
                    <a:pt x="1323" y="1217"/>
                    <a:pt x="1525" y="839"/>
                    <a:pt x="1411" y="486"/>
                  </a:cubicBezTo>
                  <a:cubicBezTo>
                    <a:pt x="1319" y="190"/>
                    <a:pt x="1053" y="1"/>
                    <a:pt x="761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5" name="Google Shape;1465;p48"/>
            <p:cNvSpPr/>
            <p:nvPr/>
          </p:nvSpPr>
          <p:spPr>
            <a:xfrm>
              <a:off x="1522150" y="4418375"/>
              <a:ext cx="34975" cy="34075"/>
            </a:xfrm>
            <a:custGeom>
              <a:avLst/>
              <a:gdLst/>
              <a:ahLst/>
              <a:cxnLst/>
              <a:rect l="l" t="t" r="r" b="b"/>
              <a:pathLst>
                <a:path w="1399" h="1363" extrusionOk="0">
                  <a:moveTo>
                    <a:pt x="685" y="0"/>
                  </a:moveTo>
                  <a:cubicBezTo>
                    <a:pt x="328" y="0"/>
                    <a:pt x="37" y="282"/>
                    <a:pt x="25" y="644"/>
                  </a:cubicBezTo>
                  <a:cubicBezTo>
                    <a:pt x="0" y="1022"/>
                    <a:pt x="290" y="1337"/>
                    <a:pt x="668" y="1350"/>
                  </a:cubicBezTo>
                  <a:cubicBezTo>
                    <a:pt x="681" y="1363"/>
                    <a:pt x="693" y="1363"/>
                    <a:pt x="693" y="1363"/>
                  </a:cubicBezTo>
                  <a:cubicBezTo>
                    <a:pt x="1059" y="1363"/>
                    <a:pt x="1361" y="1073"/>
                    <a:pt x="1374" y="707"/>
                  </a:cubicBezTo>
                  <a:cubicBezTo>
                    <a:pt x="1399" y="329"/>
                    <a:pt x="1109" y="14"/>
                    <a:pt x="731" y="2"/>
                  </a:cubicBezTo>
                  <a:cubicBezTo>
                    <a:pt x="716" y="1"/>
                    <a:pt x="700" y="0"/>
                    <a:pt x="685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6" name="Google Shape;1466;p48"/>
            <p:cNvSpPr/>
            <p:nvPr/>
          </p:nvSpPr>
          <p:spPr>
            <a:xfrm>
              <a:off x="238125" y="4378075"/>
              <a:ext cx="34025" cy="34050"/>
            </a:xfrm>
            <a:custGeom>
              <a:avLst/>
              <a:gdLst/>
              <a:ahLst/>
              <a:cxnLst/>
              <a:rect l="l" t="t" r="r" b="b"/>
              <a:pathLst>
                <a:path w="1361" h="1362" extrusionOk="0">
                  <a:moveTo>
                    <a:pt x="693" y="1"/>
                  </a:moveTo>
                  <a:cubicBezTo>
                    <a:pt x="315" y="1"/>
                    <a:pt x="0" y="291"/>
                    <a:pt x="0" y="669"/>
                  </a:cubicBezTo>
                  <a:cubicBezTo>
                    <a:pt x="0" y="1047"/>
                    <a:pt x="290" y="1349"/>
                    <a:pt x="668" y="1362"/>
                  </a:cubicBezTo>
                  <a:lnTo>
                    <a:pt x="680" y="1362"/>
                  </a:lnTo>
                  <a:cubicBezTo>
                    <a:pt x="1046" y="1362"/>
                    <a:pt x="1348" y="1059"/>
                    <a:pt x="1361" y="694"/>
                  </a:cubicBezTo>
                  <a:cubicBezTo>
                    <a:pt x="1361" y="316"/>
                    <a:pt x="1058" y="1"/>
                    <a:pt x="693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7" name="Google Shape;1467;p48"/>
            <p:cNvSpPr/>
            <p:nvPr/>
          </p:nvSpPr>
          <p:spPr>
            <a:xfrm>
              <a:off x="1498200" y="4216475"/>
              <a:ext cx="37825" cy="34375"/>
            </a:xfrm>
            <a:custGeom>
              <a:avLst/>
              <a:gdLst/>
              <a:ahLst/>
              <a:cxnLst/>
              <a:rect l="l" t="t" r="r" b="b"/>
              <a:pathLst>
                <a:path w="1513" h="1375" extrusionOk="0">
                  <a:moveTo>
                    <a:pt x="751" y="1"/>
                  </a:moveTo>
                  <a:cubicBezTo>
                    <a:pt x="690" y="1"/>
                    <a:pt x="629" y="9"/>
                    <a:pt x="568" y="26"/>
                  </a:cubicBezTo>
                  <a:cubicBezTo>
                    <a:pt x="215" y="127"/>
                    <a:pt x="0" y="505"/>
                    <a:pt x="101" y="870"/>
                  </a:cubicBezTo>
                  <a:cubicBezTo>
                    <a:pt x="177" y="1160"/>
                    <a:pt x="442" y="1362"/>
                    <a:pt x="757" y="1374"/>
                  </a:cubicBezTo>
                  <a:cubicBezTo>
                    <a:pt x="807" y="1362"/>
                    <a:pt x="870" y="1362"/>
                    <a:pt x="933" y="1349"/>
                  </a:cubicBezTo>
                  <a:cubicBezTo>
                    <a:pt x="1298" y="1236"/>
                    <a:pt x="1513" y="870"/>
                    <a:pt x="1412" y="505"/>
                  </a:cubicBezTo>
                  <a:cubicBezTo>
                    <a:pt x="1328" y="200"/>
                    <a:pt x="1052" y="1"/>
                    <a:pt x="75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8" name="Google Shape;1468;p48"/>
            <p:cNvSpPr/>
            <p:nvPr/>
          </p:nvSpPr>
          <p:spPr>
            <a:xfrm>
              <a:off x="271200" y="4178025"/>
              <a:ext cx="38125" cy="34075"/>
            </a:xfrm>
            <a:custGeom>
              <a:avLst/>
              <a:gdLst/>
              <a:ahLst/>
              <a:cxnLst/>
              <a:rect l="l" t="t" r="r" b="b"/>
              <a:pathLst>
                <a:path w="1525" h="1363" extrusionOk="0">
                  <a:moveTo>
                    <a:pt x="758" y="0"/>
                  </a:moveTo>
                  <a:cubicBezTo>
                    <a:pt x="478" y="0"/>
                    <a:pt x="216" y="176"/>
                    <a:pt x="126" y="455"/>
                  </a:cubicBezTo>
                  <a:cubicBezTo>
                    <a:pt x="0" y="808"/>
                    <a:pt x="189" y="1198"/>
                    <a:pt x="542" y="1324"/>
                  </a:cubicBezTo>
                  <a:cubicBezTo>
                    <a:pt x="605" y="1350"/>
                    <a:pt x="681" y="1362"/>
                    <a:pt x="769" y="1362"/>
                  </a:cubicBezTo>
                  <a:cubicBezTo>
                    <a:pt x="1059" y="1362"/>
                    <a:pt x="1311" y="1173"/>
                    <a:pt x="1411" y="909"/>
                  </a:cubicBezTo>
                  <a:cubicBezTo>
                    <a:pt x="1525" y="543"/>
                    <a:pt x="1336" y="165"/>
                    <a:pt x="983" y="39"/>
                  </a:cubicBezTo>
                  <a:cubicBezTo>
                    <a:pt x="909" y="13"/>
                    <a:pt x="833" y="0"/>
                    <a:pt x="758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9" name="Google Shape;1469;p48"/>
            <p:cNvSpPr/>
            <p:nvPr/>
          </p:nvSpPr>
          <p:spPr>
            <a:xfrm>
              <a:off x="1412825" y="4031775"/>
              <a:ext cx="39100" cy="34150"/>
            </a:xfrm>
            <a:custGeom>
              <a:avLst/>
              <a:gdLst/>
              <a:ahLst/>
              <a:cxnLst/>
              <a:rect l="l" t="t" r="r" b="b"/>
              <a:pathLst>
                <a:path w="1564" h="1366" extrusionOk="0">
                  <a:moveTo>
                    <a:pt x="784" y="1"/>
                  </a:moveTo>
                  <a:cubicBezTo>
                    <a:pt x="654" y="1"/>
                    <a:pt x="521" y="38"/>
                    <a:pt x="404" y="118"/>
                  </a:cubicBezTo>
                  <a:cubicBezTo>
                    <a:pt x="89" y="332"/>
                    <a:pt x="1" y="761"/>
                    <a:pt x="215" y="1063"/>
                  </a:cubicBezTo>
                  <a:cubicBezTo>
                    <a:pt x="341" y="1252"/>
                    <a:pt x="555" y="1365"/>
                    <a:pt x="782" y="1365"/>
                  </a:cubicBezTo>
                  <a:cubicBezTo>
                    <a:pt x="921" y="1365"/>
                    <a:pt x="1047" y="1328"/>
                    <a:pt x="1160" y="1252"/>
                  </a:cubicBezTo>
                  <a:cubicBezTo>
                    <a:pt x="1475" y="1050"/>
                    <a:pt x="1563" y="622"/>
                    <a:pt x="1349" y="307"/>
                  </a:cubicBezTo>
                  <a:cubicBezTo>
                    <a:pt x="1222" y="109"/>
                    <a:pt x="1006" y="1"/>
                    <a:pt x="78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0" name="Google Shape;1470;p48"/>
            <p:cNvSpPr/>
            <p:nvPr/>
          </p:nvSpPr>
          <p:spPr>
            <a:xfrm>
              <a:off x="367275" y="3999475"/>
              <a:ext cx="37825" cy="33675"/>
            </a:xfrm>
            <a:custGeom>
              <a:avLst/>
              <a:gdLst/>
              <a:ahLst/>
              <a:cxnLst/>
              <a:rect l="l" t="t" r="r" b="b"/>
              <a:pathLst>
                <a:path w="1513" h="1347" extrusionOk="0">
                  <a:moveTo>
                    <a:pt x="764" y="0"/>
                  </a:moveTo>
                  <a:cubicBezTo>
                    <a:pt x="561" y="0"/>
                    <a:pt x="361" y="92"/>
                    <a:pt x="227" y="263"/>
                  </a:cubicBezTo>
                  <a:cubicBezTo>
                    <a:pt x="0" y="566"/>
                    <a:pt x="51" y="982"/>
                    <a:pt x="353" y="1208"/>
                  </a:cubicBezTo>
                  <a:cubicBezTo>
                    <a:pt x="467" y="1297"/>
                    <a:pt x="605" y="1347"/>
                    <a:pt x="756" y="1347"/>
                  </a:cubicBezTo>
                  <a:cubicBezTo>
                    <a:pt x="971" y="1347"/>
                    <a:pt x="1172" y="1246"/>
                    <a:pt x="1298" y="1082"/>
                  </a:cubicBezTo>
                  <a:cubicBezTo>
                    <a:pt x="1512" y="780"/>
                    <a:pt x="1462" y="364"/>
                    <a:pt x="1172" y="137"/>
                  </a:cubicBezTo>
                  <a:cubicBezTo>
                    <a:pt x="1048" y="44"/>
                    <a:pt x="906" y="0"/>
                    <a:pt x="76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1" name="Google Shape;1471;p48"/>
            <p:cNvSpPr/>
            <p:nvPr/>
          </p:nvSpPr>
          <p:spPr>
            <a:xfrm>
              <a:off x="1275475" y="3883100"/>
              <a:ext cx="38150" cy="33825"/>
            </a:xfrm>
            <a:custGeom>
              <a:avLst/>
              <a:gdLst/>
              <a:ahLst/>
              <a:cxnLst/>
              <a:rect l="l" t="t" r="r" b="b"/>
              <a:pathLst>
                <a:path w="1526" h="1353" extrusionOk="0">
                  <a:moveTo>
                    <a:pt x="758" y="1"/>
                  </a:moveTo>
                  <a:cubicBezTo>
                    <a:pt x="558" y="1"/>
                    <a:pt x="359" y="88"/>
                    <a:pt x="227" y="256"/>
                  </a:cubicBezTo>
                  <a:cubicBezTo>
                    <a:pt x="1" y="546"/>
                    <a:pt x="51" y="974"/>
                    <a:pt x="341" y="1214"/>
                  </a:cubicBezTo>
                  <a:cubicBezTo>
                    <a:pt x="454" y="1302"/>
                    <a:pt x="606" y="1352"/>
                    <a:pt x="757" y="1352"/>
                  </a:cubicBezTo>
                  <a:cubicBezTo>
                    <a:pt x="958" y="1352"/>
                    <a:pt x="1160" y="1251"/>
                    <a:pt x="1286" y="1088"/>
                  </a:cubicBezTo>
                  <a:cubicBezTo>
                    <a:pt x="1525" y="798"/>
                    <a:pt x="1462" y="369"/>
                    <a:pt x="1173" y="143"/>
                  </a:cubicBezTo>
                  <a:cubicBezTo>
                    <a:pt x="1050" y="47"/>
                    <a:pt x="904" y="1"/>
                    <a:pt x="758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2" name="Google Shape;1472;p48"/>
            <p:cNvSpPr/>
            <p:nvPr/>
          </p:nvSpPr>
          <p:spPr>
            <a:xfrm>
              <a:off x="513750" y="3859050"/>
              <a:ext cx="38775" cy="33925"/>
            </a:xfrm>
            <a:custGeom>
              <a:avLst/>
              <a:gdLst/>
              <a:ahLst/>
              <a:cxnLst/>
              <a:rect l="l" t="t" r="r" b="b"/>
              <a:pathLst>
                <a:path w="1551" h="1357" extrusionOk="0">
                  <a:moveTo>
                    <a:pt x="780" y="0"/>
                  </a:moveTo>
                  <a:cubicBezTo>
                    <a:pt x="647" y="0"/>
                    <a:pt x="512" y="40"/>
                    <a:pt x="391" y="122"/>
                  </a:cubicBezTo>
                  <a:cubicBezTo>
                    <a:pt x="89" y="336"/>
                    <a:pt x="1" y="764"/>
                    <a:pt x="215" y="1067"/>
                  </a:cubicBezTo>
                  <a:cubicBezTo>
                    <a:pt x="341" y="1243"/>
                    <a:pt x="555" y="1357"/>
                    <a:pt x="782" y="1357"/>
                  </a:cubicBezTo>
                  <a:cubicBezTo>
                    <a:pt x="908" y="1357"/>
                    <a:pt x="1047" y="1319"/>
                    <a:pt x="1160" y="1243"/>
                  </a:cubicBezTo>
                  <a:cubicBezTo>
                    <a:pt x="1475" y="1029"/>
                    <a:pt x="1551" y="601"/>
                    <a:pt x="1336" y="298"/>
                  </a:cubicBezTo>
                  <a:cubicBezTo>
                    <a:pt x="1204" y="103"/>
                    <a:pt x="995" y="0"/>
                    <a:pt x="78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3" name="Google Shape;1473;p48"/>
            <p:cNvSpPr/>
            <p:nvPr/>
          </p:nvSpPr>
          <p:spPr>
            <a:xfrm>
              <a:off x="1098125" y="3784200"/>
              <a:ext cx="38150" cy="33800"/>
            </a:xfrm>
            <a:custGeom>
              <a:avLst/>
              <a:gdLst/>
              <a:ahLst/>
              <a:cxnLst/>
              <a:rect l="l" t="t" r="r" b="b"/>
              <a:pathLst>
                <a:path w="1526" h="1352" extrusionOk="0">
                  <a:moveTo>
                    <a:pt x="763" y="0"/>
                  </a:moveTo>
                  <a:cubicBezTo>
                    <a:pt x="485" y="0"/>
                    <a:pt x="225" y="168"/>
                    <a:pt x="126" y="444"/>
                  </a:cubicBezTo>
                  <a:cubicBezTo>
                    <a:pt x="0" y="797"/>
                    <a:pt x="177" y="1188"/>
                    <a:pt x="530" y="1314"/>
                  </a:cubicBezTo>
                  <a:cubicBezTo>
                    <a:pt x="605" y="1339"/>
                    <a:pt x="681" y="1352"/>
                    <a:pt x="756" y="1352"/>
                  </a:cubicBezTo>
                  <a:cubicBezTo>
                    <a:pt x="1046" y="1352"/>
                    <a:pt x="1298" y="1175"/>
                    <a:pt x="1399" y="911"/>
                  </a:cubicBezTo>
                  <a:cubicBezTo>
                    <a:pt x="1525" y="558"/>
                    <a:pt x="1349" y="167"/>
                    <a:pt x="996" y="41"/>
                  </a:cubicBezTo>
                  <a:cubicBezTo>
                    <a:pt x="919" y="14"/>
                    <a:pt x="840" y="0"/>
                    <a:pt x="76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4" name="Google Shape;1474;p48"/>
            <p:cNvSpPr/>
            <p:nvPr/>
          </p:nvSpPr>
          <p:spPr>
            <a:xfrm>
              <a:off x="697425" y="3771525"/>
              <a:ext cx="37825" cy="33875"/>
            </a:xfrm>
            <a:custGeom>
              <a:avLst/>
              <a:gdLst/>
              <a:ahLst/>
              <a:cxnLst/>
              <a:rect l="l" t="t" r="r" b="b"/>
              <a:pathLst>
                <a:path w="1513" h="1355" extrusionOk="0">
                  <a:moveTo>
                    <a:pt x="767" y="1"/>
                  </a:moveTo>
                  <a:cubicBezTo>
                    <a:pt x="701" y="1"/>
                    <a:pt x="634" y="11"/>
                    <a:pt x="567" y="31"/>
                  </a:cubicBezTo>
                  <a:cubicBezTo>
                    <a:pt x="202" y="132"/>
                    <a:pt x="0" y="510"/>
                    <a:pt x="101" y="876"/>
                  </a:cubicBezTo>
                  <a:cubicBezTo>
                    <a:pt x="189" y="1166"/>
                    <a:pt x="454" y="1355"/>
                    <a:pt x="756" y="1355"/>
                  </a:cubicBezTo>
                  <a:cubicBezTo>
                    <a:pt x="819" y="1355"/>
                    <a:pt x="895" y="1355"/>
                    <a:pt x="958" y="1329"/>
                  </a:cubicBezTo>
                  <a:cubicBezTo>
                    <a:pt x="1311" y="1229"/>
                    <a:pt x="1512" y="850"/>
                    <a:pt x="1411" y="485"/>
                  </a:cubicBezTo>
                  <a:cubicBezTo>
                    <a:pt x="1329" y="197"/>
                    <a:pt x="1061" y="1"/>
                    <a:pt x="767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5" name="Google Shape;1475;p48"/>
            <p:cNvSpPr/>
            <p:nvPr/>
          </p:nvSpPr>
          <p:spPr>
            <a:xfrm>
              <a:off x="900600" y="3745825"/>
              <a:ext cx="34375" cy="34050"/>
            </a:xfrm>
            <a:custGeom>
              <a:avLst/>
              <a:gdLst/>
              <a:ahLst/>
              <a:cxnLst/>
              <a:rect l="l" t="t" r="r" b="b"/>
              <a:pathLst>
                <a:path w="1375" h="1362" extrusionOk="0">
                  <a:moveTo>
                    <a:pt x="683" y="1"/>
                  </a:moveTo>
                  <a:cubicBezTo>
                    <a:pt x="316" y="1"/>
                    <a:pt x="26" y="286"/>
                    <a:pt x="13" y="656"/>
                  </a:cubicBezTo>
                  <a:cubicBezTo>
                    <a:pt x="1" y="1034"/>
                    <a:pt x="290" y="1349"/>
                    <a:pt x="668" y="1362"/>
                  </a:cubicBezTo>
                  <a:lnTo>
                    <a:pt x="681" y="1362"/>
                  </a:lnTo>
                  <a:cubicBezTo>
                    <a:pt x="1059" y="1362"/>
                    <a:pt x="1349" y="1072"/>
                    <a:pt x="1362" y="707"/>
                  </a:cubicBezTo>
                  <a:cubicBezTo>
                    <a:pt x="1374" y="329"/>
                    <a:pt x="1084" y="14"/>
                    <a:pt x="706" y="1"/>
                  </a:cubicBezTo>
                  <a:cubicBezTo>
                    <a:pt x="698" y="1"/>
                    <a:pt x="690" y="1"/>
                    <a:pt x="683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76" name="Google Shape;1476;p48"/>
          <p:cNvGrpSpPr/>
          <p:nvPr/>
        </p:nvGrpSpPr>
        <p:grpSpPr>
          <a:xfrm>
            <a:off x="5460093" y="1534281"/>
            <a:ext cx="2985798" cy="942856"/>
            <a:chOff x="238125" y="657975"/>
            <a:chExt cx="2136375" cy="674625"/>
          </a:xfrm>
        </p:grpSpPr>
        <p:sp>
          <p:nvSpPr>
            <p:cNvPr id="1477" name="Google Shape;1477;p48"/>
            <p:cNvSpPr/>
            <p:nvPr/>
          </p:nvSpPr>
          <p:spPr>
            <a:xfrm>
              <a:off x="238125" y="657975"/>
              <a:ext cx="2105475" cy="467800"/>
            </a:xfrm>
            <a:custGeom>
              <a:avLst/>
              <a:gdLst/>
              <a:ahLst/>
              <a:cxnLst/>
              <a:rect l="l" t="t" r="r" b="b"/>
              <a:pathLst>
                <a:path w="84219" h="18712" extrusionOk="0">
                  <a:moveTo>
                    <a:pt x="62798" y="10566"/>
                  </a:moveTo>
                  <a:cubicBezTo>
                    <a:pt x="62057" y="10566"/>
                    <a:pt x="61308" y="10684"/>
                    <a:pt x="60568" y="10800"/>
                  </a:cubicBezTo>
                  <a:cubicBezTo>
                    <a:pt x="59695" y="10965"/>
                    <a:pt x="58788" y="11047"/>
                    <a:pt x="57898" y="11047"/>
                  </a:cubicBezTo>
                  <a:lnTo>
                    <a:pt x="57865" y="11674"/>
                  </a:lnTo>
                  <a:cubicBezTo>
                    <a:pt x="57944" y="11675"/>
                    <a:pt x="58022" y="11676"/>
                    <a:pt x="58100" y="11676"/>
                  </a:cubicBezTo>
                  <a:cubicBezTo>
                    <a:pt x="58961" y="11676"/>
                    <a:pt x="59820" y="11593"/>
                    <a:pt x="60651" y="11426"/>
                  </a:cubicBezTo>
                  <a:cubicBezTo>
                    <a:pt x="61398" y="11309"/>
                    <a:pt x="62111" y="11197"/>
                    <a:pt x="62794" y="11197"/>
                  </a:cubicBezTo>
                  <a:cubicBezTo>
                    <a:pt x="64219" y="11197"/>
                    <a:pt x="65512" y="11685"/>
                    <a:pt x="66716" y="13635"/>
                  </a:cubicBezTo>
                  <a:cubicBezTo>
                    <a:pt x="67886" y="15514"/>
                    <a:pt x="69320" y="16107"/>
                    <a:pt x="70902" y="16107"/>
                  </a:cubicBezTo>
                  <a:cubicBezTo>
                    <a:pt x="72154" y="16107"/>
                    <a:pt x="73489" y="15728"/>
                    <a:pt x="74874" y="15365"/>
                  </a:cubicBezTo>
                  <a:cubicBezTo>
                    <a:pt x="76375" y="14946"/>
                    <a:pt x="77902" y="14522"/>
                    <a:pt x="79428" y="14522"/>
                  </a:cubicBezTo>
                  <a:cubicBezTo>
                    <a:pt x="80902" y="14522"/>
                    <a:pt x="82374" y="14917"/>
                    <a:pt x="83823" y="16091"/>
                  </a:cubicBezTo>
                  <a:lnTo>
                    <a:pt x="84219" y="15596"/>
                  </a:lnTo>
                  <a:cubicBezTo>
                    <a:pt x="82631" y="14312"/>
                    <a:pt x="81004" y="13888"/>
                    <a:pt x="79404" y="13888"/>
                  </a:cubicBezTo>
                  <a:cubicBezTo>
                    <a:pt x="77781" y="13888"/>
                    <a:pt x="76187" y="14324"/>
                    <a:pt x="74693" y="14739"/>
                  </a:cubicBezTo>
                  <a:cubicBezTo>
                    <a:pt x="73349" y="15110"/>
                    <a:pt x="72087" y="15461"/>
                    <a:pt x="70934" y="15461"/>
                  </a:cubicBezTo>
                  <a:cubicBezTo>
                    <a:pt x="69526" y="15461"/>
                    <a:pt x="68283" y="14938"/>
                    <a:pt x="67260" y="13289"/>
                  </a:cubicBezTo>
                  <a:cubicBezTo>
                    <a:pt x="65905" y="11095"/>
                    <a:pt x="64368" y="10566"/>
                    <a:pt x="62798" y="10566"/>
                  </a:cubicBezTo>
                  <a:close/>
                  <a:moveTo>
                    <a:pt x="36540" y="0"/>
                  </a:moveTo>
                  <a:cubicBezTo>
                    <a:pt x="36500" y="0"/>
                    <a:pt x="36461" y="2"/>
                    <a:pt x="36423" y="5"/>
                  </a:cubicBezTo>
                  <a:cubicBezTo>
                    <a:pt x="34924" y="137"/>
                    <a:pt x="34132" y="2790"/>
                    <a:pt x="33127" y="6169"/>
                  </a:cubicBezTo>
                  <a:cubicBezTo>
                    <a:pt x="32649" y="7768"/>
                    <a:pt x="32105" y="9581"/>
                    <a:pt x="31446" y="11245"/>
                  </a:cubicBezTo>
                  <a:cubicBezTo>
                    <a:pt x="30474" y="13684"/>
                    <a:pt x="29715" y="14245"/>
                    <a:pt x="29254" y="14278"/>
                  </a:cubicBezTo>
                  <a:cubicBezTo>
                    <a:pt x="29237" y="14279"/>
                    <a:pt x="29219" y="14280"/>
                    <a:pt x="29202" y="14280"/>
                  </a:cubicBezTo>
                  <a:cubicBezTo>
                    <a:pt x="28345" y="14280"/>
                    <a:pt x="27456" y="12698"/>
                    <a:pt x="26584" y="11179"/>
                  </a:cubicBezTo>
                  <a:cubicBezTo>
                    <a:pt x="26007" y="10190"/>
                    <a:pt x="25430" y="9185"/>
                    <a:pt x="24804" y="8460"/>
                  </a:cubicBezTo>
                  <a:cubicBezTo>
                    <a:pt x="24524" y="8147"/>
                    <a:pt x="24128" y="7965"/>
                    <a:pt x="23716" y="7965"/>
                  </a:cubicBezTo>
                  <a:cubicBezTo>
                    <a:pt x="22365" y="7998"/>
                    <a:pt x="20750" y="9976"/>
                    <a:pt x="19036" y="12069"/>
                  </a:cubicBezTo>
                  <a:cubicBezTo>
                    <a:pt x="17430" y="14043"/>
                    <a:pt x="15627" y="16254"/>
                    <a:pt x="14379" y="16254"/>
                  </a:cubicBezTo>
                  <a:cubicBezTo>
                    <a:pt x="14231" y="16254"/>
                    <a:pt x="14091" y="16223"/>
                    <a:pt x="13960" y="16156"/>
                  </a:cubicBezTo>
                  <a:cubicBezTo>
                    <a:pt x="13613" y="15992"/>
                    <a:pt x="13284" y="15810"/>
                    <a:pt x="12987" y="15646"/>
                  </a:cubicBezTo>
                  <a:cubicBezTo>
                    <a:pt x="11792" y="15014"/>
                    <a:pt x="10837" y="14516"/>
                    <a:pt x="9817" y="14516"/>
                  </a:cubicBezTo>
                  <a:cubicBezTo>
                    <a:pt x="8842" y="14516"/>
                    <a:pt x="7806" y="14973"/>
                    <a:pt x="6444" y="16206"/>
                  </a:cubicBezTo>
                  <a:cubicBezTo>
                    <a:pt x="4723" y="17755"/>
                    <a:pt x="2752" y="18054"/>
                    <a:pt x="1481" y="18054"/>
                  </a:cubicBezTo>
                  <a:cubicBezTo>
                    <a:pt x="683" y="18054"/>
                    <a:pt x="161" y="17936"/>
                    <a:pt x="148" y="17936"/>
                  </a:cubicBezTo>
                  <a:lnTo>
                    <a:pt x="0" y="18546"/>
                  </a:lnTo>
                  <a:cubicBezTo>
                    <a:pt x="511" y="18662"/>
                    <a:pt x="1022" y="18711"/>
                    <a:pt x="1549" y="18711"/>
                  </a:cubicBezTo>
                  <a:cubicBezTo>
                    <a:pt x="3510" y="18711"/>
                    <a:pt x="5406" y="18002"/>
                    <a:pt x="6856" y="16684"/>
                  </a:cubicBezTo>
                  <a:cubicBezTo>
                    <a:pt x="8078" y="15585"/>
                    <a:pt x="8953" y="15161"/>
                    <a:pt x="9804" y="15161"/>
                  </a:cubicBezTo>
                  <a:cubicBezTo>
                    <a:pt x="10676" y="15161"/>
                    <a:pt x="11523" y="15605"/>
                    <a:pt x="12690" y="16222"/>
                  </a:cubicBezTo>
                  <a:cubicBezTo>
                    <a:pt x="12987" y="16371"/>
                    <a:pt x="13317" y="16552"/>
                    <a:pt x="13679" y="16733"/>
                  </a:cubicBezTo>
                  <a:cubicBezTo>
                    <a:pt x="13894" y="16832"/>
                    <a:pt x="14141" y="16898"/>
                    <a:pt x="14388" y="16898"/>
                  </a:cubicBezTo>
                  <a:cubicBezTo>
                    <a:pt x="15921" y="16898"/>
                    <a:pt x="17684" y="14739"/>
                    <a:pt x="19530" y="12465"/>
                  </a:cubicBezTo>
                  <a:cubicBezTo>
                    <a:pt x="21079" y="10586"/>
                    <a:pt x="22678" y="8625"/>
                    <a:pt x="23733" y="8592"/>
                  </a:cubicBezTo>
                  <a:cubicBezTo>
                    <a:pt x="23964" y="8592"/>
                    <a:pt x="24194" y="8707"/>
                    <a:pt x="24343" y="8888"/>
                  </a:cubicBezTo>
                  <a:cubicBezTo>
                    <a:pt x="24919" y="9548"/>
                    <a:pt x="25496" y="10536"/>
                    <a:pt x="26040" y="11492"/>
                  </a:cubicBezTo>
                  <a:cubicBezTo>
                    <a:pt x="27034" y="13239"/>
                    <a:pt x="27996" y="14908"/>
                    <a:pt x="29200" y="14908"/>
                  </a:cubicBezTo>
                  <a:cubicBezTo>
                    <a:pt x="29234" y="14908"/>
                    <a:pt x="29269" y="14907"/>
                    <a:pt x="29303" y="14904"/>
                  </a:cubicBezTo>
                  <a:cubicBezTo>
                    <a:pt x="30259" y="14838"/>
                    <a:pt x="31133" y="13750"/>
                    <a:pt x="32039" y="11476"/>
                  </a:cubicBezTo>
                  <a:cubicBezTo>
                    <a:pt x="32715" y="9795"/>
                    <a:pt x="33259" y="7965"/>
                    <a:pt x="33737" y="6350"/>
                  </a:cubicBezTo>
                  <a:cubicBezTo>
                    <a:pt x="34594" y="3466"/>
                    <a:pt x="35418" y="730"/>
                    <a:pt x="36473" y="648"/>
                  </a:cubicBezTo>
                  <a:cubicBezTo>
                    <a:pt x="36493" y="646"/>
                    <a:pt x="36514" y="645"/>
                    <a:pt x="36535" y="645"/>
                  </a:cubicBezTo>
                  <a:cubicBezTo>
                    <a:pt x="37439" y="645"/>
                    <a:pt x="38736" y="2391"/>
                    <a:pt x="40412" y="5823"/>
                  </a:cubicBezTo>
                  <a:cubicBezTo>
                    <a:pt x="41829" y="8723"/>
                    <a:pt x="43098" y="10190"/>
                    <a:pt x="44400" y="10405"/>
                  </a:cubicBezTo>
                  <a:cubicBezTo>
                    <a:pt x="44517" y="10424"/>
                    <a:pt x="44632" y="10433"/>
                    <a:pt x="44744" y="10433"/>
                  </a:cubicBezTo>
                  <a:cubicBezTo>
                    <a:pt x="45888" y="10433"/>
                    <a:pt x="46831" y="9490"/>
                    <a:pt x="47746" y="8575"/>
                  </a:cubicBezTo>
                  <a:cubicBezTo>
                    <a:pt x="48635" y="7718"/>
                    <a:pt x="49463" y="6891"/>
                    <a:pt x="50378" y="6891"/>
                  </a:cubicBezTo>
                  <a:cubicBezTo>
                    <a:pt x="50412" y="6891"/>
                    <a:pt x="50447" y="6892"/>
                    <a:pt x="50482" y="6894"/>
                  </a:cubicBezTo>
                  <a:cubicBezTo>
                    <a:pt x="51174" y="6944"/>
                    <a:pt x="51899" y="7504"/>
                    <a:pt x="52690" y="8559"/>
                  </a:cubicBezTo>
                  <a:cubicBezTo>
                    <a:pt x="53218" y="9300"/>
                    <a:pt x="53844" y="9943"/>
                    <a:pt x="54569" y="10503"/>
                  </a:cubicBezTo>
                  <a:lnTo>
                    <a:pt x="54948" y="9993"/>
                  </a:lnTo>
                  <a:cubicBezTo>
                    <a:pt x="54272" y="9482"/>
                    <a:pt x="53696" y="8872"/>
                    <a:pt x="53201" y="8196"/>
                  </a:cubicBezTo>
                  <a:cubicBezTo>
                    <a:pt x="52295" y="6960"/>
                    <a:pt x="51421" y="6334"/>
                    <a:pt x="50531" y="6268"/>
                  </a:cubicBezTo>
                  <a:cubicBezTo>
                    <a:pt x="50474" y="6263"/>
                    <a:pt x="50418" y="6261"/>
                    <a:pt x="50362" y="6261"/>
                  </a:cubicBezTo>
                  <a:cubicBezTo>
                    <a:pt x="49201" y="6261"/>
                    <a:pt x="48229" y="7218"/>
                    <a:pt x="47301" y="8130"/>
                  </a:cubicBezTo>
                  <a:cubicBezTo>
                    <a:pt x="46439" y="8992"/>
                    <a:pt x="45619" y="9798"/>
                    <a:pt x="44738" y="9798"/>
                  </a:cubicBezTo>
                  <a:cubicBezTo>
                    <a:pt x="44659" y="9798"/>
                    <a:pt x="44579" y="9792"/>
                    <a:pt x="44499" y="9778"/>
                  </a:cubicBezTo>
                  <a:cubicBezTo>
                    <a:pt x="43428" y="9597"/>
                    <a:pt x="42291" y="8213"/>
                    <a:pt x="40989" y="5559"/>
                  </a:cubicBezTo>
                  <a:cubicBezTo>
                    <a:pt x="38644" y="744"/>
                    <a:pt x="37381" y="0"/>
                    <a:pt x="3654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8" name="Google Shape;1478;p48"/>
            <p:cNvSpPr/>
            <p:nvPr/>
          </p:nvSpPr>
          <p:spPr>
            <a:xfrm>
              <a:off x="1576375" y="885050"/>
              <a:ext cx="117450" cy="100625"/>
            </a:xfrm>
            <a:custGeom>
              <a:avLst/>
              <a:gdLst/>
              <a:ahLst/>
              <a:cxnLst/>
              <a:rect l="l" t="t" r="r" b="b"/>
              <a:pathLst>
                <a:path w="4698" h="4025" extrusionOk="0">
                  <a:moveTo>
                    <a:pt x="2687" y="629"/>
                  </a:moveTo>
                  <a:cubicBezTo>
                    <a:pt x="3445" y="629"/>
                    <a:pt x="4055" y="1256"/>
                    <a:pt x="4055" y="2014"/>
                  </a:cubicBezTo>
                  <a:cubicBezTo>
                    <a:pt x="4055" y="2840"/>
                    <a:pt x="3374" y="3386"/>
                    <a:pt x="2669" y="3386"/>
                  </a:cubicBezTo>
                  <a:cubicBezTo>
                    <a:pt x="2333" y="3386"/>
                    <a:pt x="1991" y="3263"/>
                    <a:pt x="1715" y="2986"/>
                  </a:cubicBezTo>
                  <a:cubicBezTo>
                    <a:pt x="841" y="2113"/>
                    <a:pt x="1451" y="629"/>
                    <a:pt x="2687" y="629"/>
                  </a:cubicBezTo>
                  <a:close/>
                  <a:moveTo>
                    <a:pt x="2669" y="0"/>
                  </a:moveTo>
                  <a:cubicBezTo>
                    <a:pt x="2172" y="0"/>
                    <a:pt x="1665" y="185"/>
                    <a:pt x="1253" y="596"/>
                  </a:cubicBezTo>
                  <a:cubicBezTo>
                    <a:pt x="1" y="1849"/>
                    <a:pt x="891" y="4024"/>
                    <a:pt x="2687" y="4024"/>
                  </a:cubicBezTo>
                  <a:cubicBezTo>
                    <a:pt x="3791" y="4024"/>
                    <a:pt x="4681" y="3118"/>
                    <a:pt x="4698" y="2014"/>
                  </a:cubicBezTo>
                  <a:cubicBezTo>
                    <a:pt x="4698" y="800"/>
                    <a:pt x="3705" y="0"/>
                    <a:pt x="266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9" name="Google Shape;1479;p48"/>
            <p:cNvSpPr/>
            <p:nvPr/>
          </p:nvSpPr>
          <p:spPr>
            <a:xfrm>
              <a:off x="2686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27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59" y="1731"/>
                    <a:pt x="627" y="1731"/>
                  </a:cubicBezTo>
                  <a:cubicBezTo>
                    <a:pt x="512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2" y="198"/>
                    <a:pt x="627" y="198"/>
                  </a:cubicBezTo>
                  <a:close/>
                  <a:moveTo>
                    <a:pt x="627" y="0"/>
                  </a:moveTo>
                  <a:cubicBezTo>
                    <a:pt x="429" y="0"/>
                    <a:pt x="264" y="83"/>
                    <a:pt x="149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49" y="1681"/>
                  </a:cubicBezTo>
                  <a:cubicBezTo>
                    <a:pt x="264" y="1846"/>
                    <a:pt x="429" y="1929"/>
                    <a:pt x="627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0" y="1517"/>
                    <a:pt x="1270" y="1269"/>
                    <a:pt x="1270" y="956"/>
                  </a:cubicBezTo>
                  <a:cubicBezTo>
                    <a:pt x="1270" y="643"/>
                    <a:pt x="1220" y="412"/>
                    <a:pt x="1105" y="247"/>
                  </a:cubicBezTo>
                  <a:cubicBezTo>
                    <a:pt x="1006" y="83"/>
                    <a:pt x="841" y="0"/>
                    <a:pt x="6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0" name="Google Shape;1480;p48"/>
            <p:cNvSpPr/>
            <p:nvPr/>
          </p:nvSpPr>
          <p:spPr>
            <a:xfrm>
              <a:off x="311450" y="1285200"/>
              <a:ext cx="27625" cy="46175"/>
            </a:xfrm>
            <a:custGeom>
              <a:avLst/>
              <a:gdLst/>
              <a:ahLst/>
              <a:cxnLst/>
              <a:rect l="l" t="t" r="r" b="b"/>
              <a:pathLst>
                <a:path w="1105" h="1847" extrusionOk="0">
                  <a:moveTo>
                    <a:pt x="446" y="0"/>
                  </a:moveTo>
                  <a:lnTo>
                    <a:pt x="1" y="99"/>
                  </a:lnTo>
                  <a:lnTo>
                    <a:pt x="1" y="313"/>
                  </a:lnTo>
                  <a:lnTo>
                    <a:pt x="446" y="231"/>
                  </a:lnTo>
                  <a:lnTo>
                    <a:pt x="446" y="1648"/>
                  </a:lnTo>
                  <a:lnTo>
                    <a:pt x="50" y="1648"/>
                  </a:lnTo>
                  <a:lnTo>
                    <a:pt x="50" y="1846"/>
                  </a:lnTo>
                  <a:lnTo>
                    <a:pt x="1105" y="1846"/>
                  </a:lnTo>
                  <a:lnTo>
                    <a:pt x="1105" y="1648"/>
                  </a:lnTo>
                  <a:lnTo>
                    <a:pt x="693" y="1648"/>
                  </a:lnTo>
                  <a:lnTo>
                    <a:pt x="69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1" name="Google Shape;1481;p48"/>
            <p:cNvSpPr/>
            <p:nvPr/>
          </p:nvSpPr>
          <p:spPr>
            <a:xfrm>
              <a:off x="6077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43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59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64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64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0" y="1517"/>
                    <a:pt x="1270" y="1269"/>
                    <a:pt x="1270" y="956"/>
                  </a:cubicBezTo>
                  <a:cubicBezTo>
                    <a:pt x="1270" y="643"/>
                    <a:pt x="1220" y="412"/>
                    <a:pt x="1105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2" name="Google Shape;1482;p48"/>
            <p:cNvSpPr/>
            <p:nvPr/>
          </p:nvSpPr>
          <p:spPr>
            <a:xfrm>
              <a:off x="648500" y="1284375"/>
              <a:ext cx="29275" cy="47000"/>
            </a:xfrm>
            <a:custGeom>
              <a:avLst/>
              <a:gdLst/>
              <a:ahLst/>
              <a:cxnLst/>
              <a:rect l="l" t="t" r="r" b="b"/>
              <a:pathLst>
                <a:path w="1171" h="1880" extrusionOk="0">
                  <a:moveTo>
                    <a:pt x="528" y="0"/>
                  </a:moveTo>
                  <a:cubicBezTo>
                    <a:pt x="462" y="0"/>
                    <a:pt x="379" y="17"/>
                    <a:pt x="297" y="33"/>
                  </a:cubicBezTo>
                  <a:cubicBezTo>
                    <a:pt x="214" y="50"/>
                    <a:pt x="116" y="83"/>
                    <a:pt x="17" y="132"/>
                  </a:cubicBezTo>
                  <a:lnTo>
                    <a:pt x="17" y="379"/>
                  </a:lnTo>
                  <a:cubicBezTo>
                    <a:pt x="116" y="330"/>
                    <a:pt x="198" y="280"/>
                    <a:pt x="297" y="247"/>
                  </a:cubicBezTo>
                  <a:cubicBezTo>
                    <a:pt x="379" y="231"/>
                    <a:pt x="462" y="214"/>
                    <a:pt x="544" y="214"/>
                  </a:cubicBezTo>
                  <a:cubicBezTo>
                    <a:pt x="643" y="214"/>
                    <a:pt x="742" y="247"/>
                    <a:pt x="808" y="313"/>
                  </a:cubicBezTo>
                  <a:cubicBezTo>
                    <a:pt x="874" y="363"/>
                    <a:pt x="907" y="445"/>
                    <a:pt x="907" y="544"/>
                  </a:cubicBezTo>
                  <a:cubicBezTo>
                    <a:pt x="907" y="610"/>
                    <a:pt x="890" y="659"/>
                    <a:pt x="857" y="725"/>
                  </a:cubicBezTo>
                  <a:cubicBezTo>
                    <a:pt x="841" y="791"/>
                    <a:pt x="775" y="874"/>
                    <a:pt x="692" y="956"/>
                  </a:cubicBezTo>
                  <a:cubicBezTo>
                    <a:pt x="659" y="1006"/>
                    <a:pt x="544" y="1121"/>
                    <a:pt x="379" y="1286"/>
                  </a:cubicBezTo>
                  <a:cubicBezTo>
                    <a:pt x="231" y="1451"/>
                    <a:pt x="99" y="1582"/>
                    <a:pt x="0" y="1681"/>
                  </a:cubicBezTo>
                  <a:lnTo>
                    <a:pt x="0" y="1879"/>
                  </a:lnTo>
                  <a:lnTo>
                    <a:pt x="1170" y="1879"/>
                  </a:lnTo>
                  <a:lnTo>
                    <a:pt x="1170" y="1681"/>
                  </a:lnTo>
                  <a:lnTo>
                    <a:pt x="297" y="1681"/>
                  </a:lnTo>
                  <a:cubicBezTo>
                    <a:pt x="495" y="1467"/>
                    <a:pt x="659" y="1302"/>
                    <a:pt x="775" y="1187"/>
                  </a:cubicBezTo>
                  <a:cubicBezTo>
                    <a:pt x="874" y="1088"/>
                    <a:pt x="940" y="1006"/>
                    <a:pt x="973" y="989"/>
                  </a:cubicBezTo>
                  <a:cubicBezTo>
                    <a:pt x="1039" y="890"/>
                    <a:pt x="1088" y="808"/>
                    <a:pt x="1121" y="742"/>
                  </a:cubicBezTo>
                  <a:cubicBezTo>
                    <a:pt x="1154" y="676"/>
                    <a:pt x="1170" y="610"/>
                    <a:pt x="1170" y="528"/>
                  </a:cubicBezTo>
                  <a:cubicBezTo>
                    <a:pt x="1170" y="363"/>
                    <a:pt x="1104" y="247"/>
                    <a:pt x="989" y="149"/>
                  </a:cubicBezTo>
                  <a:cubicBezTo>
                    <a:pt x="874" y="50"/>
                    <a:pt x="725" y="0"/>
                    <a:pt x="52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3" name="Google Shape;1483;p48"/>
            <p:cNvSpPr/>
            <p:nvPr/>
          </p:nvSpPr>
          <p:spPr>
            <a:xfrm>
              <a:off x="9468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64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64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4" name="Google Shape;1484;p48"/>
            <p:cNvSpPr/>
            <p:nvPr/>
          </p:nvSpPr>
          <p:spPr>
            <a:xfrm>
              <a:off x="988000" y="1284375"/>
              <a:ext cx="30100" cy="48225"/>
            </a:xfrm>
            <a:custGeom>
              <a:avLst/>
              <a:gdLst/>
              <a:ahLst/>
              <a:cxnLst/>
              <a:rect l="l" t="t" r="r" b="b"/>
              <a:pathLst>
                <a:path w="1204" h="1929" extrusionOk="0">
                  <a:moveTo>
                    <a:pt x="545" y="0"/>
                  </a:moveTo>
                  <a:cubicBezTo>
                    <a:pt x="479" y="0"/>
                    <a:pt x="396" y="0"/>
                    <a:pt x="314" y="17"/>
                  </a:cubicBezTo>
                  <a:cubicBezTo>
                    <a:pt x="231" y="33"/>
                    <a:pt x="149" y="50"/>
                    <a:pt x="50" y="83"/>
                  </a:cubicBezTo>
                  <a:lnTo>
                    <a:pt x="50" y="297"/>
                  </a:lnTo>
                  <a:cubicBezTo>
                    <a:pt x="149" y="280"/>
                    <a:pt x="231" y="247"/>
                    <a:pt x="314" y="231"/>
                  </a:cubicBezTo>
                  <a:cubicBezTo>
                    <a:pt x="380" y="214"/>
                    <a:pt x="462" y="214"/>
                    <a:pt x="528" y="214"/>
                  </a:cubicBezTo>
                  <a:cubicBezTo>
                    <a:pt x="660" y="214"/>
                    <a:pt x="742" y="231"/>
                    <a:pt x="825" y="297"/>
                  </a:cubicBezTo>
                  <a:cubicBezTo>
                    <a:pt x="891" y="346"/>
                    <a:pt x="924" y="412"/>
                    <a:pt x="924" y="511"/>
                  </a:cubicBezTo>
                  <a:cubicBezTo>
                    <a:pt x="924" y="594"/>
                    <a:pt x="891" y="676"/>
                    <a:pt x="825" y="725"/>
                  </a:cubicBezTo>
                  <a:cubicBezTo>
                    <a:pt x="759" y="775"/>
                    <a:pt x="660" y="791"/>
                    <a:pt x="545" y="791"/>
                  </a:cubicBezTo>
                  <a:lnTo>
                    <a:pt x="314" y="791"/>
                  </a:lnTo>
                  <a:lnTo>
                    <a:pt x="314" y="1006"/>
                  </a:lnTo>
                  <a:lnTo>
                    <a:pt x="528" y="1006"/>
                  </a:lnTo>
                  <a:cubicBezTo>
                    <a:pt x="660" y="1006"/>
                    <a:pt x="775" y="1022"/>
                    <a:pt x="841" y="1088"/>
                  </a:cubicBezTo>
                  <a:cubicBezTo>
                    <a:pt x="924" y="1154"/>
                    <a:pt x="957" y="1236"/>
                    <a:pt x="957" y="1352"/>
                  </a:cubicBezTo>
                  <a:cubicBezTo>
                    <a:pt x="957" y="1467"/>
                    <a:pt x="924" y="1549"/>
                    <a:pt x="841" y="1615"/>
                  </a:cubicBezTo>
                  <a:cubicBezTo>
                    <a:pt x="759" y="1681"/>
                    <a:pt x="643" y="1714"/>
                    <a:pt x="479" y="1714"/>
                  </a:cubicBezTo>
                  <a:cubicBezTo>
                    <a:pt x="396" y="1714"/>
                    <a:pt x="297" y="1698"/>
                    <a:pt x="215" y="1681"/>
                  </a:cubicBezTo>
                  <a:cubicBezTo>
                    <a:pt x="133" y="1665"/>
                    <a:pt x="67" y="1632"/>
                    <a:pt x="1" y="1582"/>
                  </a:cubicBezTo>
                  <a:lnTo>
                    <a:pt x="1" y="1830"/>
                  </a:lnTo>
                  <a:cubicBezTo>
                    <a:pt x="83" y="1863"/>
                    <a:pt x="165" y="1879"/>
                    <a:pt x="248" y="1896"/>
                  </a:cubicBezTo>
                  <a:cubicBezTo>
                    <a:pt x="330" y="1912"/>
                    <a:pt x="413" y="1929"/>
                    <a:pt x="495" y="1929"/>
                  </a:cubicBezTo>
                  <a:cubicBezTo>
                    <a:pt x="726" y="1929"/>
                    <a:pt x="891" y="1879"/>
                    <a:pt x="1023" y="1764"/>
                  </a:cubicBezTo>
                  <a:cubicBezTo>
                    <a:pt x="1154" y="1665"/>
                    <a:pt x="1204" y="1533"/>
                    <a:pt x="1204" y="1352"/>
                  </a:cubicBezTo>
                  <a:cubicBezTo>
                    <a:pt x="1204" y="1236"/>
                    <a:pt x="1171" y="1121"/>
                    <a:pt x="1105" y="1055"/>
                  </a:cubicBezTo>
                  <a:cubicBezTo>
                    <a:pt x="1039" y="973"/>
                    <a:pt x="957" y="907"/>
                    <a:pt x="825" y="890"/>
                  </a:cubicBezTo>
                  <a:cubicBezTo>
                    <a:pt x="940" y="857"/>
                    <a:pt x="1023" y="808"/>
                    <a:pt x="1072" y="742"/>
                  </a:cubicBezTo>
                  <a:cubicBezTo>
                    <a:pt x="1138" y="676"/>
                    <a:pt x="1171" y="577"/>
                    <a:pt x="1171" y="478"/>
                  </a:cubicBezTo>
                  <a:cubicBezTo>
                    <a:pt x="1171" y="330"/>
                    <a:pt x="1105" y="214"/>
                    <a:pt x="1006" y="132"/>
                  </a:cubicBezTo>
                  <a:cubicBezTo>
                    <a:pt x="891" y="50"/>
                    <a:pt x="742" y="0"/>
                    <a:pt x="54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5" name="Google Shape;1485;p48"/>
            <p:cNvSpPr/>
            <p:nvPr/>
          </p:nvSpPr>
          <p:spPr>
            <a:xfrm>
              <a:off x="12859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23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3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81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81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6" name="Google Shape;1486;p48"/>
            <p:cNvSpPr/>
            <p:nvPr/>
          </p:nvSpPr>
          <p:spPr>
            <a:xfrm>
              <a:off x="1325050" y="1285200"/>
              <a:ext cx="33800" cy="46175"/>
            </a:xfrm>
            <a:custGeom>
              <a:avLst/>
              <a:gdLst/>
              <a:ahLst/>
              <a:cxnLst/>
              <a:rect l="l" t="t" r="r" b="b"/>
              <a:pathLst>
                <a:path w="1352" h="1847" extrusionOk="0">
                  <a:moveTo>
                    <a:pt x="841" y="214"/>
                  </a:moveTo>
                  <a:lnTo>
                    <a:pt x="841" y="1203"/>
                  </a:lnTo>
                  <a:lnTo>
                    <a:pt x="215" y="1203"/>
                  </a:lnTo>
                  <a:lnTo>
                    <a:pt x="841" y="214"/>
                  </a:lnTo>
                  <a:close/>
                  <a:moveTo>
                    <a:pt x="775" y="0"/>
                  </a:moveTo>
                  <a:lnTo>
                    <a:pt x="0" y="1170"/>
                  </a:lnTo>
                  <a:lnTo>
                    <a:pt x="0" y="1418"/>
                  </a:lnTo>
                  <a:lnTo>
                    <a:pt x="841" y="1418"/>
                  </a:lnTo>
                  <a:lnTo>
                    <a:pt x="841" y="1846"/>
                  </a:lnTo>
                  <a:lnTo>
                    <a:pt x="1088" y="1846"/>
                  </a:lnTo>
                  <a:lnTo>
                    <a:pt x="1088" y="1418"/>
                  </a:lnTo>
                  <a:lnTo>
                    <a:pt x="1352" y="1418"/>
                  </a:lnTo>
                  <a:lnTo>
                    <a:pt x="1352" y="1203"/>
                  </a:lnTo>
                  <a:lnTo>
                    <a:pt x="1088" y="1203"/>
                  </a:lnTo>
                  <a:lnTo>
                    <a:pt x="108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7" name="Google Shape;1487;p48"/>
            <p:cNvSpPr/>
            <p:nvPr/>
          </p:nvSpPr>
          <p:spPr>
            <a:xfrm>
              <a:off x="16250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40" y="396"/>
                  </a:cubicBezTo>
                  <a:cubicBezTo>
                    <a:pt x="1006" y="511"/>
                    <a:pt x="1039" y="709"/>
                    <a:pt x="1039" y="956"/>
                  </a:cubicBezTo>
                  <a:cubicBezTo>
                    <a:pt x="1039" y="1220"/>
                    <a:pt x="1006" y="1401"/>
                    <a:pt x="940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81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81" y="1846"/>
                    <a:pt x="429" y="1929"/>
                    <a:pt x="643" y="1929"/>
                  </a:cubicBezTo>
                  <a:cubicBezTo>
                    <a:pt x="858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58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8" name="Google Shape;1488;p48"/>
            <p:cNvSpPr/>
            <p:nvPr/>
          </p:nvSpPr>
          <p:spPr>
            <a:xfrm>
              <a:off x="1666200" y="1285200"/>
              <a:ext cx="30100" cy="47400"/>
            </a:xfrm>
            <a:custGeom>
              <a:avLst/>
              <a:gdLst/>
              <a:ahLst/>
              <a:cxnLst/>
              <a:rect l="l" t="t" r="r" b="b"/>
              <a:pathLst>
                <a:path w="1204" h="1896" extrusionOk="0">
                  <a:moveTo>
                    <a:pt x="83" y="0"/>
                  </a:moveTo>
                  <a:lnTo>
                    <a:pt x="83" y="940"/>
                  </a:lnTo>
                  <a:cubicBezTo>
                    <a:pt x="149" y="907"/>
                    <a:pt x="215" y="874"/>
                    <a:pt x="281" y="857"/>
                  </a:cubicBezTo>
                  <a:cubicBezTo>
                    <a:pt x="347" y="841"/>
                    <a:pt x="413" y="841"/>
                    <a:pt x="479" y="841"/>
                  </a:cubicBezTo>
                  <a:cubicBezTo>
                    <a:pt x="627" y="841"/>
                    <a:pt x="742" y="874"/>
                    <a:pt x="825" y="956"/>
                  </a:cubicBezTo>
                  <a:cubicBezTo>
                    <a:pt x="907" y="1022"/>
                    <a:pt x="940" y="1137"/>
                    <a:pt x="940" y="1253"/>
                  </a:cubicBezTo>
                  <a:cubicBezTo>
                    <a:pt x="940" y="1385"/>
                    <a:pt x="907" y="1484"/>
                    <a:pt x="825" y="1566"/>
                  </a:cubicBezTo>
                  <a:cubicBezTo>
                    <a:pt x="742" y="1632"/>
                    <a:pt x="627" y="1681"/>
                    <a:pt x="479" y="1681"/>
                  </a:cubicBezTo>
                  <a:cubicBezTo>
                    <a:pt x="396" y="1681"/>
                    <a:pt x="314" y="1665"/>
                    <a:pt x="231" y="1648"/>
                  </a:cubicBezTo>
                  <a:cubicBezTo>
                    <a:pt x="149" y="1632"/>
                    <a:pt x="67" y="1599"/>
                    <a:pt x="1" y="1549"/>
                  </a:cubicBezTo>
                  <a:lnTo>
                    <a:pt x="1" y="1813"/>
                  </a:lnTo>
                  <a:cubicBezTo>
                    <a:pt x="83" y="1830"/>
                    <a:pt x="165" y="1863"/>
                    <a:pt x="248" y="1863"/>
                  </a:cubicBezTo>
                  <a:cubicBezTo>
                    <a:pt x="330" y="1879"/>
                    <a:pt x="413" y="1896"/>
                    <a:pt x="479" y="1896"/>
                  </a:cubicBezTo>
                  <a:cubicBezTo>
                    <a:pt x="709" y="1896"/>
                    <a:pt x="891" y="1830"/>
                    <a:pt x="1006" y="1731"/>
                  </a:cubicBezTo>
                  <a:cubicBezTo>
                    <a:pt x="1138" y="1615"/>
                    <a:pt x="1204" y="1451"/>
                    <a:pt x="1204" y="1253"/>
                  </a:cubicBezTo>
                  <a:cubicBezTo>
                    <a:pt x="1204" y="1071"/>
                    <a:pt x="1138" y="907"/>
                    <a:pt x="1022" y="791"/>
                  </a:cubicBezTo>
                  <a:cubicBezTo>
                    <a:pt x="891" y="692"/>
                    <a:pt x="726" y="626"/>
                    <a:pt x="528" y="626"/>
                  </a:cubicBezTo>
                  <a:cubicBezTo>
                    <a:pt x="495" y="626"/>
                    <a:pt x="446" y="626"/>
                    <a:pt x="413" y="643"/>
                  </a:cubicBezTo>
                  <a:cubicBezTo>
                    <a:pt x="380" y="643"/>
                    <a:pt x="347" y="659"/>
                    <a:pt x="314" y="659"/>
                  </a:cubicBezTo>
                  <a:lnTo>
                    <a:pt x="314" y="214"/>
                  </a:lnTo>
                  <a:lnTo>
                    <a:pt x="1055" y="214"/>
                  </a:lnTo>
                  <a:lnTo>
                    <a:pt x="105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9" name="Google Shape;1489;p48"/>
            <p:cNvSpPr/>
            <p:nvPr/>
          </p:nvSpPr>
          <p:spPr>
            <a:xfrm>
              <a:off x="19641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40" y="396"/>
                  </a:cubicBezTo>
                  <a:cubicBezTo>
                    <a:pt x="1006" y="511"/>
                    <a:pt x="1039" y="709"/>
                    <a:pt x="1039" y="956"/>
                  </a:cubicBezTo>
                  <a:cubicBezTo>
                    <a:pt x="1039" y="1220"/>
                    <a:pt x="1006" y="1401"/>
                    <a:pt x="940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63" y="1533"/>
                  </a:cubicBezTo>
                  <a:cubicBezTo>
                    <a:pt x="297" y="1401"/>
                    <a:pt x="264" y="1220"/>
                    <a:pt x="264" y="956"/>
                  </a:cubicBezTo>
                  <a:cubicBezTo>
                    <a:pt x="264" y="709"/>
                    <a:pt x="297" y="511"/>
                    <a:pt x="363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45" y="0"/>
                    <a:pt x="281" y="83"/>
                    <a:pt x="165" y="247"/>
                  </a:cubicBezTo>
                  <a:cubicBezTo>
                    <a:pt x="66" y="412"/>
                    <a:pt x="0" y="643"/>
                    <a:pt x="0" y="956"/>
                  </a:cubicBezTo>
                  <a:cubicBezTo>
                    <a:pt x="0" y="1269"/>
                    <a:pt x="66" y="1517"/>
                    <a:pt x="165" y="1681"/>
                  </a:cubicBezTo>
                  <a:cubicBezTo>
                    <a:pt x="281" y="1846"/>
                    <a:pt x="445" y="1929"/>
                    <a:pt x="643" y="1929"/>
                  </a:cubicBezTo>
                  <a:cubicBezTo>
                    <a:pt x="858" y="1929"/>
                    <a:pt x="1006" y="1846"/>
                    <a:pt x="1121" y="1681"/>
                  </a:cubicBezTo>
                  <a:cubicBezTo>
                    <a:pt x="1237" y="1517"/>
                    <a:pt x="1286" y="1269"/>
                    <a:pt x="1286" y="956"/>
                  </a:cubicBezTo>
                  <a:cubicBezTo>
                    <a:pt x="1286" y="643"/>
                    <a:pt x="1237" y="412"/>
                    <a:pt x="1121" y="247"/>
                  </a:cubicBezTo>
                  <a:cubicBezTo>
                    <a:pt x="1006" y="83"/>
                    <a:pt x="858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0" name="Google Shape;1490;p48"/>
            <p:cNvSpPr/>
            <p:nvPr/>
          </p:nvSpPr>
          <p:spPr>
            <a:xfrm>
              <a:off x="2004900" y="1284375"/>
              <a:ext cx="32150" cy="48225"/>
            </a:xfrm>
            <a:custGeom>
              <a:avLst/>
              <a:gdLst/>
              <a:ahLst/>
              <a:cxnLst/>
              <a:rect l="l" t="t" r="r" b="b"/>
              <a:pathLst>
                <a:path w="1286" h="1929" extrusionOk="0">
                  <a:moveTo>
                    <a:pt x="659" y="857"/>
                  </a:moveTo>
                  <a:cubicBezTo>
                    <a:pt x="775" y="857"/>
                    <a:pt x="857" y="907"/>
                    <a:pt x="923" y="973"/>
                  </a:cubicBezTo>
                  <a:cubicBezTo>
                    <a:pt x="989" y="1055"/>
                    <a:pt x="1022" y="1154"/>
                    <a:pt x="1022" y="1286"/>
                  </a:cubicBezTo>
                  <a:cubicBezTo>
                    <a:pt x="1022" y="1418"/>
                    <a:pt x="989" y="1533"/>
                    <a:pt x="923" y="1615"/>
                  </a:cubicBezTo>
                  <a:cubicBezTo>
                    <a:pt x="857" y="1681"/>
                    <a:pt x="775" y="1731"/>
                    <a:pt x="659" y="1731"/>
                  </a:cubicBezTo>
                  <a:cubicBezTo>
                    <a:pt x="544" y="1731"/>
                    <a:pt x="462" y="1681"/>
                    <a:pt x="396" y="1615"/>
                  </a:cubicBezTo>
                  <a:cubicBezTo>
                    <a:pt x="330" y="1533"/>
                    <a:pt x="297" y="1418"/>
                    <a:pt x="297" y="1286"/>
                  </a:cubicBezTo>
                  <a:cubicBezTo>
                    <a:pt x="297" y="1154"/>
                    <a:pt x="330" y="1055"/>
                    <a:pt x="396" y="973"/>
                  </a:cubicBezTo>
                  <a:cubicBezTo>
                    <a:pt x="462" y="907"/>
                    <a:pt x="544" y="857"/>
                    <a:pt x="659" y="857"/>
                  </a:cubicBezTo>
                  <a:close/>
                  <a:moveTo>
                    <a:pt x="775" y="0"/>
                  </a:moveTo>
                  <a:cubicBezTo>
                    <a:pt x="528" y="0"/>
                    <a:pt x="346" y="83"/>
                    <a:pt x="214" y="264"/>
                  </a:cubicBezTo>
                  <a:cubicBezTo>
                    <a:pt x="66" y="429"/>
                    <a:pt x="0" y="676"/>
                    <a:pt x="0" y="956"/>
                  </a:cubicBezTo>
                  <a:cubicBezTo>
                    <a:pt x="0" y="1269"/>
                    <a:pt x="50" y="1517"/>
                    <a:pt x="165" y="1681"/>
                  </a:cubicBezTo>
                  <a:cubicBezTo>
                    <a:pt x="280" y="1846"/>
                    <a:pt x="445" y="1929"/>
                    <a:pt x="659" y="1929"/>
                  </a:cubicBezTo>
                  <a:cubicBezTo>
                    <a:pt x="841" y="1929"/>
                    <a:pt x="1005" y="1863"/>
                    <a:pt x="1104" y="1747"/>
                  </a:cubicBezTo>
                  <a:cubicBezTo>
                    <a:pt x="1220" y="1632"/>
                    <a:pt x="1286" y="1484"/>
                    <a:pt x="1286" y="1286"/>
                  </a:cubicBezTo>
                  <a:cubicBezTo>
                    <a:pt x="1286" y="1104"/>
                    <a:pt x="1220" y="940"/>
                    <a:pt x="1121" y="824"/>
                  </a:cubicBezTo>
                  <a:cubicBezTo>
                    <a:pt x="1005" y="725"/>
                    <a:pt x="857" y="659"/>
                    <a:pt x="676" y="659"/>
                  </a:cubicBezTo>
                  <a:cubicBezTo>
                    <a:pt x="593" y="659"/>
                    <a:pt x="511" y="676"/>
                    <a:pt x="429" y="725"/>
                  </a:cubicBezTo>
                  <a:cubicBezTo>
                    <a:pt x="363" y="758"/>
                    <a:pt x="297" y="808"/>
                    <a:pt x="247" y="890"/>
                  </a:cubicBezTo>
                  <a:cubicBezTo>
                    <a:pt x="264" y="659"/>
                    <a:pt x="313" y="495"/>
                    <a:pt x="396" y="379"/>
                  </a:cubicBezTo>
                  <a:cubicBezTo>
                    <a:pt x="495" y="264"/>
                    <a:pt x="610" y="214"/>
                    <a:pt x="775" y="214"/>
                  </a:cubicBezTo>
                  <a:cubicBezTo>
                    <a:pt x="841" y="214"/>
                    <a:pt x="907" y="214"/>
                    <a:pt x="973" y="231"/>
                  </a:cubicBezTo>
                  <a:cubicBezTo>
                    <a:pt x="1038" y="247"/>
                    <a:pt x="1088" y="280"/>
                    <a:pt x="1154" y="297"/>
                  </a:cubicBezTo>
                  <a:lnTo>
                    <a:pt x="1154" y="83"/>
                  </a:lnTo>
                  <a:cubicBezTo>
                    <a:pt x="1088" y="50"/>
                    <a:pt x="1022" y="33"/>
                    <a:pt x="956" y="17"/>
                  </a:cubicBezTo>
                  <a:cubicBezTo>
                    <a:pt x="890" y="0"/>
                    <a:pt x="824" y="0"/>
                    <a:pt x="77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1" name="Google Shape;1491;p48"/>
            <p:cNvSpPr/>
            <p:nvPr/>
          </p:nvSpPr>
          <p:spPr>
            <a:xfrm>
              <a:off x="23036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27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90" y="511"/>
                    <a:pt x="1023" y="709"/>
                    <a:pt x="1023" y="956"/>
                  </a:cubicBezTo>
                  <a:cubicBezTo>
                    <a:pt x="1023" y="1220"/>
                    <a:pt x="990" y="1401"/>
                    <a:pt x="924" y="1533"/>
                  </a:cubicBezTo>
                  <a:cubicBezTo>
                    <a:pt x="858" y="1665"/>
                    <a:pt x="759" y="1731"/>
                    <a:pt x="627" y="1731"/>
                  </a:cubicBezTo>
                  <a:cubicBezTo>
                    <a:pt x="512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2" y="198"/>
                    <a:pt x="627" y="198"/>
                  </a:cubicBezTo>
                  <a:close/>
                  <a:moveTo>
                    <a:pt x="627" y="0"/>
                  </a:moveTo>
                  <a:cubicBezTo>
                    <a:pt x="429" y="0"/>
                    <a:pt x="265" y="83"/>
                    <a:pt x="149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49" y="1681"/>
                  </a:cubicBezTo>
                  <a:cubicBezTo>
                    <a:pt x="265" y="1846"/>
                    <a:pt x="429" y="1929"/>
                    <a:pt x="627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1" y="1517"/>
                    <a:pt x="1270" y="1269"/>
                    <a:pt x="1270" y="956"/>
                  </a:cubicBezTo>
                  <a:cubicBezTo>
                    <a:pt x="1270" y="643"/>
                    <a:pt x="1221" y="412"/>
                    <a:pt x="1105" y="247"/>
                  </a:cubicBezTo>
                  <a:cubicBezTo>
                    <a:pt x="1006" y="83"/>
                    <a:pt x="841" y="0"/>
                    <a:pt x="6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2" name="Google Shape;1492;p48"/>
            <p:cNvSpPr/>
            <p:nvPr/>
          </p:nvSpPr>
          <p:spPr>
            <a:xfrm>
              <a:off x="2344825" y="1285200"/>
              <a:ext cx="29675" cy="46175"/>
            </a:xfrm>
            <a:custGeom>
              <a:avLst/>
              <a:gdLst/>
              <a:ahLst/>
              <a:cxnLst/>
              <a:rect l="l" t="t" r="r" b="b"/>
              <a:pathLst>
                <a:path w="1187" h="1847" extrusionOk="0">
                  <a:moveTo>
                    <a:pt x="0" y="0"/>
                  </a:moveTo>
                  <a:lnTo>
                    <a:pt x="0" y="214"/>
                  </a:lnTo>
                  <a:lnTo>
                    <a:pt x="890" y="214"/>
                  </a:lnTo>
                  <a:lnTo>
                    <a:pt x="264" y="1846"/>
                  </a:lnTo>
                  <a:lnTo>
                    <a:pt x="511" y="1846"/>
                  </a:lnTo>
                  <a:lnTo>
                    <a:pt x="1187" y="116"/>
                  </a:lnTo>
                  <a:lnTo>
                    <a:pt x="118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93" name="Google Shape;1493;p48"/>
          <p:cNvGrpSpPr/>
          <p:nvPr/>
        </p:nvGrpSpPr>
        <p:grpSpPr>
          <a:xfrm>
            <a:off x="956142" y="2622957"/>
            <a:ext cx="2775360" cy="866564"/>
            <a:chOff x="3115300" y="906125"/>
            <a:chExt cx="1802650" cy="562850"/>
          </a:xfrm>
        </p:grpSpPr>
        <p:sp>
          <p:nvSpPr>
            <p:cNvPr id="1494" name="Google Shape;1494;p48"/>
            <p:cNvSpPr/>
            <p:nvPr/>
          </p:nvSpPr>
          <p:spPr>
            <a:xfrm>
              <a:off x="313755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7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7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199" y="1039"/>
                    <a:pt x="182" y="890"/>
                    <a:pt x="182" y="709"/>
                  </a:cubicBezTo>
                  <a:cubicBezTo>
                    <a:pt x="182" y="511"/>
                    <a:pt x="199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9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5" name="Google Shape;1495;p48"/>
            <p:cNvSpPr/>
            <p:nvPr/>
          </p:nvSpPr>
          <p:spPr>
            <a:xfrm>
              <a:off x="316927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17" y="1220"/>
                  </a:lnTo>
                  <a:lnTo>
                    <a:pt x="17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6" name="Google Shape;1496;p48"/>
            <p:cNvSpPr/>
            <p:nvPr/>
          </p:nvSpPr>
          <p:spPr>
            <a:xfrm>
              <a:off x="330277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63" y="1269"/>
                    <a:pt x="297" y="1220"/>
                    <a:pt x="248" y="1121"/>
                  </a:cubicBezTo>
                  <a:cubicBezTo>
                    <a:pt x="198" y="1039"/>
                    <a:pt x="182" y="890"/>
                    <a:pt x="182" y="709"/>
                  </a:cubicBezTo>
                  <a:cubicBezTo>
                    <a:pt x="182" y="511"/>
                    <a:pt x="198" y="379"/>
                    <a:pt x="248" y="281"/>
                  </a:cubicBezTo>
                  <a:cubicBezTo>
                    <a:pt x="297" y="198"/>
                    <a:pt x="363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11" y="1418"/>
                    <a:pt x="726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26" y="66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7" name="Google Shape;1497;p48"/>
            <p:cNvSpPr/>
            <p:nvPr/>
          </p:nvSpPr>
          <p:spPr>
            <a:xfrm>
              <a:off x="3332850" y="1433525"/>
              <a:ext cx="21450" cy="34625"/>
            </a:xfrm>
            <a:custGeom>
              <a:avLst/>
              <a:gdLst/>
              <a:ahLst/>
              <a:cxnLst/>
              <a:rect l="l" t="t" r="r" b="b"/>
              <a:pathLst>
                <a:path w="858" h="1385" extrusionOk="0">
                  <a:moveTo>
                    <a:pt x="396" y="0"/>
                  </a:moveTo>
                  <a:cubicBezTo>
                    <a:pt x="330" y="0"/>
                    <a:pt x="281" y="0"/>
                    <a:pt x="215" y="17"/>
                  </a:cubicBezTo>
                  <a:cubicBezTo>
                    <a:pt x="149" y="33"/>
                    <a:pt x="83" y="66"/>
                    <a:pt x="1" y="83"/>
                  </a:cubicBezTo>
                  <a:lnTo>
                    <a:pt x="1" y="281"/>
                  </a:lnTo>
                  <a:cubicBezTo>
                    <a:pt x="83" y="231"/>
                    <a:pt x="149" y="198"/>
                    <a:pt x="215" y="182"/>
                  </a:cubicBezTo>
                  <a:cubicBezTo>
                    <a:pt x="281" y="165"/>
                    <a:pt x="330" y="149"/>
                    <a:pt x="396" y="149"/>
                  </a:cubicBezTo>
                  <a:cubicBezTo>
                    <a:pt x="479" y="149"/>
                    <a:pt x="545" y="182"/>
                    <a:pt x="594" y="215"/>
                  </a:cubicBezTo>
                  <a:cubicBezTo>
                    <a:pt x="644" y="264"/>
                    <a:pt x="660" y="330"/>
                    <a:pt x="660" y="396"/>
                  </a:cubicBezTo>
                  <a:cubicBezTo>
                    <a:pt x="660" y="445"/>
                    <a:pt x="660" y="495"/>
                    <a:pt x="627" y="528"/>
                  </a:cubicBezTo>
                  <a:cubicBezTo>
                    <a:pt x="611" y="577"/>
                    <a:pt x="561" y="643"/>
                    <a:pt x="512" y="709"/>
                  </a:cubicBezTo>
                  <a:cubicBezTo>
                    <a:pt x="479" y="742"/>
                    <a:pt x="396" y="824"/>
                    <a:pt x="281" y="940"/>
                  </a:cubicBezTo>
                  <a:cubicBezTo>
                    <a:pt x="166" y="1055"/>
                    <a:pt x="67" y="1154"/>
                    <a:pt x="1" y="1236"/>
                  </a:cubicBezTo>
                  <a:lnTo>
                    <a:pt x="1" y="1385"/>
                  </a:lnTo>
                  <a:lnTo>
                    <a:pt x="858" y="1385"/>
                  </a:lnTo>
                  <a:lnTo>
                    <a:pt x="858" y="1236"/>
                  </a:lnTo>
                  <a:lnTo>
                    <a:pt x="215" y="1236"/>
                  </a:lnTo>
                  <a:cubicBezTo>
                    <a:pt x="363" y="1072"/>
                    <a:pt x="479" y="956"/>
                    <a:pt x="561" y="874"/>
                  </a:cubicBezTo>
                  <a:cubicBezTo>
                    <a:pt x="644" y="791"/>
                    <a:pt x="693" y="742"/>
                    <a:pt x="710" y="726"/>
                  </a:cubicBezTo>
                  <a:cubicBezTo>
                    <a:pt x="759" y="660"/>
                    <a:pt x="792" y="594"/>
                    <a:pt x="825" y="544"/>
                  </a:cubicBezTo>
                  <a:cubicBezTo>
                    <a:pt x="841" y="495"/>
                    <a:pt x="858" y="445"/>
                    <a:pt x="858" y="379"/>
                  </a:cubicBezTo>
                  <a:cubicBezTo>
                    <a:pt x="858" y="264"/>
                    <a:pt x="808" y="182"/>
                    <a:pt x="726" y="99"/>
                  </a:cubicBezTo>
                  <a:cubicBezTo>
                    <a:pt x="644" y="33"/>
                    <a:pt x="528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8" name="Google Shape;1498;p48"/>
            <p:cNvSpPr/>
            <p:nvPr/>
          </p:nvSpPr>
          <p:spPr>
            <a:xfrm>
              <a:off x="345192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44" y="198"/>
                    <a:pt x="677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7" y="1121"/>
                  </a:cubicBezTo>
                  <a:cubicBezTo>
                    <a:pt x="644" y="1220"/>
                    <a:pt x="561" y="1269"/>
                    <a:pt x="462" y="1269"/>
                  </a:cubicBezTo>
                  <a:cubicBezTo>
                    <a:pt x="380" y="1269"/>
                    <a:pt x="298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8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9" y="1352"/>
                    <a:pt x="314" y="1418"/>
                    <a:pt x="462" y="1418"/>
                  </a:cubicBezTo>
                  <a:cubicBezTo>
                    <a:pt x="627" y="1418"/>
                    <a:pt x="743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3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9" name="Google Shape;1499;p48"/>
            <p:cNvSpPr/>
            <p:nvPr/>
          </p:nvSpPr>
          <p:spPr>
            <a:xfrm>
              <a:off x="3482025" y="1433525"/>
              <a:ext cx="22675" cy="35450"/>
            </a:xfrm>
            <a:custGeom>
              <a:avLst/>
              <a:gdLst/>
              <a:ahLst/>
              <a:cxnLst/>
              <a:rect l="l" t="t" r="r" b="b"/>
              <a:pathLst>
                <a:path w="907" h="1418" extrusionOk="0">
                  <a:moveTo>
                    <a:pt x="412" y="0"/>
                  </a:moveTo>
                  <a:cubicBezTo>
                    <a:pt x="363" y="0"/>
                    <a:pt x="297" y="0"/>
                    <a:pt x="247" y="17"/>
                  </a:cubicBezTo>
                  <a:cubicBezTo>
                    <a:pt x="181" y="17"/>
                    <a:pt x="115" y="33"/>
                    <a:pt x="49" y="50"/>
                  </a:cubicBezTo>
                  <a:lnTo>
                    <a:pt x="49" y="215"/>
                  </a:lnTo>
                  <a:cubicBezTo>
                    <a:pt x="115" y="198"/>
                    <a:pt x="181" y="182"/>
                    <a:pt x="231" y="165"/>
                  </a:cubicBezTo>
                  <a:cubicBezTo>
                    <a:pt x="297" y="165"/>
                    <a:pt x="346" y="149"/>
                    <a:pt x="396" y="149"/>
                  </a:cubicBezTo>
                  <a:cubicBezTo>
                    <a:pt x="494" y="149"/>
                    <a:pt x="560" y="165"/>
                    <a:pt x="610" y="215"/>
                  </a:cubicBezTo>
                  <a:cubicBezTo>
                    <a:pt x="659" y="248"/>
                    <a:pt x="692" y="297"/>
                    <a:pt x="692" y="363"/>
                  </a:cubicBezTo>
                  <a:cubicBezTo>
                    <a:pt x="692" y="445"/>
                    <a:pt x="659" y="495"/>
                    <a:pt x="610" y="528"/>
                  </a:cubicBezTo>
                  <a:cubicBezTo>
                    <a:pt x="560" y="561"/>
                    <a:pt x="494" y="577"/>
                    <a:pt x="412" y="577"/>
                  </a:cubicBezTo>
                  <a:lnTo>
                    <a:pt x="231" y="577"/>
                  </a:lnTo>
                  <a:lnTo>
                    <a:pt x="231" y="726"/>
                  </a:lnTo>
                  <a:lnTo>
                    <a:pt x="396" y="726"/>
                  </a:lnTo>
                  <a:cubicBezTo>
                    <a:pt x="494" y="726"/>
                    <a:pt x="577" y="759"/>
                    <a:pt x="626" y="808"/>
                  </a:cubicBezTo>
                  <a:cubicBezTo>
                    <a:pt x="692" y="841"/>
                    <a:pt x="709" y="907"/>
                    <a:pt x="709" y="989"/>
                  </a:cubicBezTo>
                  <a:cubicBezTo>
                    <a:pt x="709" y="1072"/>
                    <a:pt x="692" y="1138"/>
                    <a:pt x="626" y="1187"/>
                  </a:cubicBezTo>
                  <a:cubicBezTo>
                    <a:pt x="560" y="1236"/>
                    <a:pt x="478" y="1253"/>
                    <a:pt x="363" y="1253"/>
                  </a:cubicBezTo>
                  <a:cubicBezTo>
                    <a:pt x="297" y="1253"/>
                    <a:pt x="231" y="1253"/>
                    <a:pt x="165" y="1236"/>
                  </a:cubicBezTo>
                  <a:cubicBezTo>
                    <a:pt x="115" y="1220"/>
                    <a:pt x="49" y="1204"/>
                    <a:pt x="0" y="1171"/>
                  </a:cubicBezTo>
                  <a:lnTo>
                    <a:pt x="0" y="1352"/>
                  </a:lnTo>
                  <a:cubicBezTo>
                    <a:pt x="66" y="1368"/>
                    <a:pt x="132" y="1385"/>
                    <a:pt x="198" y="1401"/>
                  </a:cubicBezTo>
                  <a:cubicBezTo>
                    <a:pt x="247" y="1401"/>
                    <a:pt x="313" y="1418"/>
                    <a:pt x="363" y="1418"/>
                  </a:cubicBezTo>
                  <a:cubicBezTo>
                    <a:pt x="544" y="1418"/>
                    <a:pt x="676" y="1368"/>
                    <a:pt x="758" y="1302"/>
                  </a:cubicBezTo>
                  <a:cubicBezTo>
                    <a:pt x="857" y="1220"/>
                    <a:pt x="906" y="1121"/>
                    <a:pt x="906" y="989"/>
                  </a:cubicBezTo>
                  <a:cubicBezTo>
                    <a:pt x="906" y="907"/>
                    <a:pt x="874" y="824"/>
                    <a:pt x="824" y="775"/>
                  </a:cubicBezTo>
                  <a:cubicBezTo>
                    <a:pt x="775" y="709"/>
                    <a:pt x="709" y="676"/>
                    <a:pt x="626" y="643"/>
                  </a:cubicBezTo>
                  <a:cubicBezTo>
                    <a:pt x="692" y="627"/>
                    <a:pt x="758" y="594"/>
                    <a:pt x="808" y="544"/>
                  </a:cubicBezTo>
                  <a:cubicBezTo>
                    <a:pt x="841" y="495"/>
                    <a:pt x="874" y="429"/>
                    <a:pt x="874" y="346"/>
                  </a:cubicBezTo>
                  <a:cubicBezTo>
                    <a:pt x="874" y="248"/>
                    <a:pt x="824" y="165"/>
                    <a:pt x="742" y="99"/>
                  </a:cubicBezTo>
                  <a:cubicBezTo>
                    <a:pt x="659" y="33"/>
                    <a:pt x="560" y="0"/>
                    <a:pt x="41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0" name="Google Shape;1500;p48"/>
            <p:cNvSpPr/>
            <p:nvPr/>
          </p:nvSpPr>
          <p:spPr>
            <a:xfrm>
              <a:off x="361180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61" y="149"/>
                    <a:pt x="643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43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1" name="Google Shape;1501;p48"/>
            <p:cNvSpPr/>
            <p:nvPr/>
          </p:nvSpPr>
          <p:spPr>
            <a:xfrm>
              <a:off x="3640650" y="1433925"/>
              <a:ext cx="24750" cy="34225"/>
            </a:xfrm>
            <a:custGeom>
              <a:avLst/>
              <a:gdLst/>
              <a:ahLst/>
              <a:cxnLst/>
              <a:rect l="l" t="t" r="r" b="b"/>
              <a:pathLst>
                <a:path w="990" h="1369" extrusionOk="0">
                  <a:moveTo>
                    <a:pt x="610" y="166"/>
                  </a:moveTo>
                  <a:lnTo>
                    <a:pt x="610" y="891"/>
                  </a:lnTo>
                  <a:lnTo>
                    <a:pt x="149" y="891"/>
                  </a:lnTo>
                  <a:lnTo>
                    <a:pt x="610" y="166"/>
                  </a:lnTo>
                  <a:close/>
                  <a:moveTo>
                    <a:pt x="561" y="1"/>
                  </a:moveTo>
                  <a:lnTo>
                    <a:pt x="0" y="874"/>
                  </a:lnTo>
                  <a:lnTo>
                    <a:pt x="0" y="1056"/>
                  </a:lnTo>
                  <a:lnTo>
                    <a:pt x="610" y="1056"/>
                  </a:lnTo>
                  <a:lnTo>
                    <a:pt x="610" y="1369"/>
                  </a:lnTo>
                  <a:lnTo>
                    <a:pt x="808" y="1369"/>
                  </a:lnTo>
                  <a:lnTo>
                    <a:pt x="808" y="1056"/>
                  </a:lnTo>
                  <a:lnTo>
                    <a:pt x="989" y="1056"/>
                  </a:lnTo>
                  <a:lnTo>
                    <a:pt x="989" y="891"/>
                  </a:lnTo>
                  <a:lnTo>
                    <a:pt x="808" y="891"/>
                  </a:lnTo>
                  <a:lnTo>
                    <a:pt x="808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2" name="Google Shape;1502;p48"/>
            <p:cNvSpPr/>
            <p:nvPr/>
          </p:nvSpPr>
          <p:spPr>
            <a:xfrm>
              <a:off x="375065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63" y="1269"/>
                    <a:pt x="297" y="1220"/>
                    <a:pt x="248" y="1121"/>
                  </a:cubicBezTo>
                  <a:cubicBezTo>
                    <a:pt x="198" y="1039"/>
                    <a:pt x="182" y="890"/>
                    <a:pt x="182" y="709"/>
                  </a:cubicBezTo>
                  <a:cubicBezTo>
                    <a:pt x="182" y="511"/>
                    <a:pt x="198" y="379"/>
                    <a:pt x="248" y="281"/>
                  </a:cubicBezTo>
                  <a:cubicBezTo>
                    <a:pt x="297" y="198"/>
                    <a:pt x="363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11" y="1418"/>
                    <a:pt x="726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26" y="66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3" name="Google Shape;1503;p48"/>
            <p:cNvSpPr/>
            <p:nvPr/>
          </p:nvSpPr>
          <p:spPr>
            <a:xfrm>
              <a:off x="3780725" y="1433925"/>
              <a:ext cx="22275" cy="35050"/>
            </a:xfrm>
            <a:custGeom>
              <a:avLst/>
              <a:gdLst/>
              <a:ahLst/>
              <a:cxnLst/>
              <a:rect l="l" t="t" r="r" b="b"/>
              <a:pathLst>
                <a:path w="891" h="1402" extrusionOk="0">
                  <a:moveTo>
                    <a:pt x="67" y="1"/>
                  </a:moveTo>
                  <a:lnTo>
                    <a:pt x="67" y="693"/>
                  </a:lnTo>
                  <a:cubicBezTo>
                    <a:pt x="116" y="660"/>
                    <a:pt x="166" y="644"/>
                    <a:pt x="215" y="644"/>
                  </a:cubicBezTo>
                  <a:cubicBezTo>
                    <a:pt x="265" y="627"/>
                    <a:pt x="314" y="627"/>
                    <a:pt x="363" y="627"/>
                  </a:cubicBezTo>
                  <a:cubicBezTo>
                    <a:pt x="462" y="627"/>
                    <a:pt x="545" y="644"/>
                    <a:pt x="611" y="710"/>
                  </a:cubicBezTo>
                  <a:cubicBezTo>
                    <a:pt x="660" y="759"/>
                    <a:pt x="693" y="841"/>
                    <a:pt x="693" y="924"/>
                  </a:cubicBezTo>
                  <a:cubicBezTo>
                    <a:pt x="693" y="1023"/>
                    <a:pt x="660" y="1105"/>
                    <a:pt x="611" y="1155"/>
                  </a:cubicBezTo>
                  <a:cubicBezTo>
                    <a:pt x="545" y="1220"/>
                    <a:pt x="462" y="1237"/>
                    <a:pt x="363" y="1237"/>
                  </a:cubicBezTo>
                  <a:cubicBezTo>
                    <a:pt x="298" y="1237"/>
                    <a:pt x="232" y="1237"/>
                    <a:pt x="166" y="1220"/>
                  </a:cubicBezTo>
                  <a:cubicBezTo>
                    <a:pt x="116" y="1204"/>
                    <a:pt x="50" y="1188"/>
                    <a:pt x="1" y="1155"/>
                  </a:cubicBezTo>
                  <a:lnTo>
                    <a:pt x="1" y="1336"/>
                  </a:lnTo>
                  <a:cubicBezTo>
                    <a:pt x="67" y="1352"/>
                    <a:pt x="133" y="1369"/>
                    <a:pt x="182" y="1385"/>
                  </a:cubicBezTo>
                  <a:cubicBezTo>
                    <a:pt x="248" y="1385"/>
                    <a:pt x="298" y="1402"/>
                    <a:pt x="363" y="1402"/>
                  </a:cubicBezTo>
                  <a:cubicBezTo>
                    <a:pt x="528" y="1402"/>
                    <a:pt x="660" y="1352"/>
                    <a:pt x="742" y="1270"/>
                  </a:cubicBezTo>
                  <a:cubicBezTo>
                    <a:pt x="841" y="1188"/>
                    <a:pt x="891" y="1072"/>
                    <a:pt x="891" y="924"/>
                  </a:cubicBezTo>
                  <a:cubicBezTo>
                    <a:pt x="891" y="792"/>
                    <a:pt x="841" y="677"/>
                    <a:pt x="742" y="594"/>
                  </a:cubicBezTo>
                  <a:cubicBezTo>
                    <a:pt x="660" y="512"/>
                    <a:pt x="545" y="462"/>
                    <a:pt x="396" y="462"/>
                  </a:cubicBezTo>
                  <a:cubicBezTo>
                    <a:pt x="363" y="462"/>
                    <a:pt x="330" y="479"/>
                    <a:pt x="314" y="479"/>
                  </a:cubicBezTo>
                  <a:cubicBezTo>
                    <a:pt x="281" y="479"/>
                    <a:pt x="248" y="479"/>
                    <a:pt x="232" y="495"/>
                  </a:cubicBezTo>
                  <a:lnTo>
                    <a:pt x="232" y="166"/>
                  </a:lnTo>
                  <a:lnTo>
                    <a:pt x="775" y="166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4" name="Google Shape;1504;p48"/>
            <p:cNvSpPr/>
            <p:nvPr/>
          </p:nvSpPr>
          <p:spPr>
            <a:xfrm>
              <a:off x="3905175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61" y="149"/>
                    <a:pt x="626" y="198"/>
                    <a:pt x="676" y="281"/>
                  </a:cubicBezTo>
                  <a:cubicBezTo>
                    <a:pt x="725" y="379"/>
                    <a:pt x="758" y="511"/>
                    <a:pt x="758" y="709"/>
                  </a:cubicBezTo>
                  <a:cubicBezTo>
                    <a:pt x="758" y="890"/>
                    <a:pt x="725" y="1039"/>
                    <a:pt x="676" y="1121"/>
                  </a:cubicBezTo>
                  <a:cubicBezTo>
                    <a:pt x="626" y="1220"/>
                    <a:pt x="561" y="1269"/>
                    <a:pt x="462" y="1269"/>
                  </a:cubicBezTo>
                  <a:cubicBezTo>
                    <a:pt x="379" y="1269"/>
                    <a:pt x="297" y="1220"/>
                    <a:pt x="247" y="1121"/>
                  </a:cubicBezTo>
                  <a:cubicBezTo>
                    <a:pt x="198" y="1039"/>
                    <a:pt x="181" y="890"/>
                    <a:pt x="181" y="709"/>
                  </a:cubicBezTo>
                  <a:cubicBezTo>
                    <a:pt x="181" y="511"/>
                    <a:pt x="198" y="379"/>
                    <a:pt x="247" y="281"/>
                  </a:cubicBezTo>
                  <a:cubicBezTo>
                    <a:pt x="297" y="198"/>
                    <a:pt x="379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3" y="0"/>
                    <a:pt x="198" y="66"/>
                    <a:pt x="116" y="182"/>
                  </a:cubicBezTo>
                  <a:cubicBezTo>
                    <a:pt x="33" y="297"/>
                    <a:pt x="0" y="478"/>
                    <a:pt x="0" y="709"/>
                  </a:cubicBezTo>
                  <a:cubicBezTo>
                    <a:pt x="0" y="940"/>
                    <a:pt x="33" y="1105"/>
                    <a:pt x="116" y="1236"/>
                  </a:cubicBezTo>
                  <a:cubicBezTo>
                    <a:pt x="198" y="1352"/>
                    <a:pt x="313" y="1418"/>
                    <a:pt x="462" y="1418"/>
                  </a:cubicBezTo>
                  <a:cubicBezTo>
                    <a:pt x="626" y="1418"/>
                    <a:pt x="742" y="1352"/>
                    <a:pt x="808" y="1236"/>
                  </a:cubicBezTo>
                  <a:cubicBezTo>
                    <a:pt x="890" y="1105"/>
                    <a:pt x="940" y="940"/>
                    <a:pt x="940" y="709"/>
                  </a:cubicBezTo>
                  <a:cubicBezTo>
                    <a:pt x="940" y="478"/>
                    <a:pt x="890" y="297"/>
                    <a:pt x="808" y="182"/>
                  </a:cubicBezTo>
                  <a:cubicBezTo>
                    <a:pt x="742" y="66"/>
                    <a:pt x="626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5" name="Google Shape;1505;p48"/>
            <p:cNvSpPr/>
            <p:nvPr/>
          </p:nvSpPr>
          <p:spPr>
            <a:xfrm>
              <a:off x="393482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95" y="627"/>
                  </a:moveTo>
                  <a:cubicBezTo>
                    <a:pt x="578" y="627"/>
                    <a:pt x="644" y="660"/>
                    <a:pt x="693" y="709"/>
                  </a:cubicBezTo>
                  <a:cubicBezTo>
                    <a:pt x="742" y="775"/>
                    <a:pt x="759" y="857"/>
                    <a:pt x="759" y="940"/>
                  </a:cubicBezTo>
                  <a:cubicBezTo>
                    <a:pt x="759" y="1039"/>
                    <a:pt x="742" y="1121"/>
                    <a:pt x="693" y="1187"/>
                  </a:cubicBezTo>
                  <a:cubicBezTo>
                    <a:pt x="644" y="1236"/>
                    <a:pt x="578" y="1269"/>
                    <a:pt x="495" y="1269"/>
                  </a:cubicBezTo>
                  <a:cubicBezTo>
                    <a:pt x="413" y="1269"/>
                    <a:pt x="347" y="1236"/>
                    <a:pt x="297" y="1187"/>
                  </a:cubicBezTo>
                  <a:cubicBezTo>
                    <a:pt x="248" y="1121"/>
                    <a:pt x="232" y="1039"/>
                    <a:pt x="232" y="940"/>
                  </a:cubicBezTo>
                  <a:cubicBezTo>
                    <a:pt x="232" y="857"/>
                    <a:pt x="248" y="775"/>
                    <a:pt x="297" y="709"/>
                  </a:cubicBezTo>
                  <a:cubicBezTo>
                    <a:pt x="347" y="660"/>
                    <a:pt x="413" y="627"/>
                    <a:pt x="495" y="627"/>
                  </a:cubicBezTo>
                  <a:close/>
                  <a:moveTo>
                    <a:pt x="578" y="0"/>
                  </a:moveTo>
                  <a:cubicBezTo>
                    <a:pt x="396" y="0"/>
                    <a:pt x="264" y="66"/>
                    <a:pt x="166" y="198"/>
                  </a:cubicBezTo>
                  <a:cubicBezTo>
                    <a:pt x="50" y="314"/>
                    <a:pt x="1" y="495"/>
                    <a:pt x="1" y="709"/>
                  </a:cubicBezTo>
                  <a:cubicBezTo>
                    <a:pt x="1" y="940"/>
                    <a:pt x="50" y="1105"/>
                    <a:pt x="133" y="1236"/>
                  </a:cubicBezTo>
                  <a:cubicBezTo>
                    <a:pt x="215" y="1352"/>
                    <a:pt x="330" y="1418"/>
                    <a:pt x="495" y="1418"/>
                  </a:cubicBezTo>
                  <a:cubicBezTo>
                    <a:pt x="627" y="1418"/>
                    <a:pt x="742" y="1368"/>
                    <a:pt x="825" y="1286"/>
                  </a:cubicBezTo>
                  <a:cubicBezTo>
                    <a:pt x="907" y="1204"/>
                    <a:pt x="940" y="1088"/>
                    <a:pt x="940" y="940"/>
                  </a:cubicBezTo>
                  <a:cubicBezTo>
                    <a:pt x="940" y="808"/>
                    <a:pt x="907" y="693"/>
                    <a:pt x="825" y="610"/>
                  </a:cubicBezTo>
                  <a:cubicBezTo>
                    <a:pt x="742" y="528"/>
                    <a:pt x="644" y="478"/>
                    <a:pt x="512" y="478"/>
                  </a:cubicBezTo>
                  <a:cubicBezTo>
                    <a:pt x="446" y="478"/>
                    <a:pt x="380" y="495"/>
                    <a:pt x="330" y="528"/>
                  </a:cubicBezTo>
                  <a:cubicBezTo>
                    <a:pt x="264" y="561"/>
                    <a:pt x="232" y="594"/>
                    <a:pt x="182" y="643"/>
                  </a:cubicBezTo>
                  <a:cubicBezTo>
                    <a:pt x="199" y="478"/>
                    <a:pt x="232" y="363"/>
                    <a:pt x="297" y="281"/>
                  </a:cubicBezTo>
                  <a:cubicBezTo>
                    <a:pt x="363" y="198"/>
                    <a:pt x="462" y="149"/>
                    <a:pt x="578" y="149"/>
                  </a:cubicBezTo>
                  <a:cubicBezTo>
                    <a:pt x="627" y="149"/>
                    <a:pt x="677" y="165"/>
                    <a:pt x="726" y="165"/>
                  </a:cubicBezTo>
                  <a:cubicBezTo>
                    <a:pt x="759" y="182"/>
                    <a:pt x="808" y="198"/>
                    <a:pt x="858" y="215"/>
                  </a:cubicBezTo>
                  <a:lnTo>
                    <a:pt x="858" y="50"/>
                  </a:lnTo>
                  <a:cubicBezTo>
                    <a:pt x="808" y="33"/>
                    <a:pt x="759" y="17"/>
                    <a:pt x="709" y="17"/>
                  </a:cubicBezTo>
                  <a:cubicBezTo>
                    <a:pt x="660" y="0"/>
                    <a:pt x="611" y="0"/>
                    <a:pt x="5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6" name="Google Shape;1506;p48"/>
            <p:cNvSpPr/>
            <p:nvPr/>
          </p:nvSpPr>
          <p:spPr>
            <a:xfrm>
              <a:off x="409140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43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43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7" name="Google Shape;1507;p48"/>
            <p:cNvSpPr/>
            <p:nvPr/>
          </p:nvSpPr>
          <p:spPr>
            <a:xfrm>
              <a:off x="4121900" y="1433925"/>
              <a:ext cx="21850" cy="34225"/>
            </a:xfrm>
            <a:custGeom>
              <a:avLst/>
              <a:gdLst/>
              <a:ahLst/>
              <a:cxnLst/>
              <a:rect l="l" t="t" r="r" b="b"/>
              <a:pathLst>
                <a:path w="874" h="1369" extrusionOk="0">
                  <a:moveTo>
                    <a:pt x="0" y="1"/>
                  </a:moveTo>
                  <a:lnTo>
                    <a:pt x="0" y="166"/>
                  </a:lnTo>
                  <a:lnTo>
                    <a:pt x="659" y="166"/>
                  </a:lnTo>
                  <a:lnTo>
                    <a:pt x="182" y="1369"/>
                  </a:lnTo>
                  <a:lnTo>
                    <a:pt x="379" y="1369"/>
                  </a:lnTo>
                  <a:lnTo>
                    <a:pt x="874" y="83"/>
                  </a:lnTo>
                  <a:lnTo>
                    <a:pt x="87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8" name="Google Shape;1508;p48"/>
            <p:cNvSpPr/>
            <p:nvPr/>
          </p:nvSpPr>
          <p:spPr>
            <a:xfrm>
              <a:off x="4233975" y="1433525"/>
              <a:ext cx="23900" cy="35450"/>
            </a:xfrm>
            <a:custGeom>
              <a:avLst/>
              <a:gdLst/>
              <a:ahLst/>
              <a:cxnLst/>
              <a:rect l="l" t="t" r="r" b="b"/>
              <a:pathLst>
                <a:path w="956" h="1418" extrusionOk="0">
                  <a:moveTo>
                    <a:pt x="478" y="149"/>
                  </a:moveTo>
                  <a:cubicBezTo>
                    <a:pt x="577" y="149"/>
                    <a:pt x="643" y="198"/>
                    <a:pt x="692" y="281"/>
                  </a:cubicBezTo>
                  <a:cubicBezTo>
                    <a:pt x="742" y="379"/>
                    <a:pt x="758" y="511"/>
                    <a:pt x="758" y="709"/>
                  </a:cubicBezTo>
                  <a:cubicBezTo>
                    <a:pt x="758" y="890"/>
                    <a:pt x="742" y="1039"/>
                    <a:pt x="692" y="1121"/>
                  </a:cubicBezTo>
                  <a:cubicBezTo>
                    <a:pt x="643" y="1220"/>
                    <a:pt x="577" y="1269"/>
                    <a:pt x="478" y="1269"/>
                  </a:cubicBezTo>
                  <a:cubicBezTo>
                    <a:pt x="379" y="1269"/>
                    <a:pt x="313" y="1220"/>
                    <a:pt x="264" y="1121"/>
                  </a:cubicBezTo>
                  <a:cubicBezTo>
                    <a:pt x="214" y="1039"/>
                    <a:pt x="198" y="890"/>
                    <a:pt x="198" y="709"/>
                  </a:cubicBezTo>
                  <a:cubicBezTo>
                    <a:pt x="198" y="511"/>
                    <a:pt x="214" y="379"/>
                    <a:pt x="264" y="281"/>
                  </a:cubicBezTo>
                  <a:cubicBezTo>
                    <a:pt x="313" y="198"/>
                    <a:pt x="379" y="149"/>
                    <a:pt x="478" y="149"/>
                  </a:cubicBezTo>
                  <a:close/>
                  <a:moveTo>
                    <a:pt x="478" y="0"/>
                  </a:moveTo>
                  <a:cubicBezTo>
                    <a:pt x="330" y="0"/>
                    <a:pt x="214" y="66"/>
                    <a:pt x="132" y="182"/>
                  </a:cubicBezTo>
                  <a:cubicBezTo>
                    <a:pt x="50" y="297"/>
                    <a:pt x="0" y="478"/>
                    <a:pt x="0" y="709"/>
                  </a:cubicBezTo>
                  <a:cubicBezTo>
                    <a:pt x="0" y="940"/>
                    <a:pt x="50" y="1105"/>
                    <a:pt x="132" y="1236"/>
                  </a:cubicBezTo>
                  <a:cubicBezTo>
                    <a:pt x="214" y="1352"/>
                    <a:pt x="330" y="1418"/>
                    <a:pt x="478" y="1418"/>
                  </a:cubicBezTo>
                  <a:cubicBezTo>
                    <a:pt x="626" y="1418"/>
                    <a:pt x="742" y="1352"/>
                    <a:pt x="824" y="1236"/>
                  </a:cubicBezTo>
                  <a:cubicBezTo>
                    <a:pt x="907" y="1105"/>
                    <a:pt x="956" y="940"/>
                    <a:pt x="956" y="709"/>
                  </a:cubicBezTo>
                  <a:cubicBezTo>
                    <a:pt x="956" y="478"/>
                    <a:pt x="907" y="297"/>
                    <a:pt x="824" y="182"/>
                  </a:cubicBezTo>
                  <a:cubicBezTo>
                    <a:pt x="742" y="66"/>
                    <a:pt x="626" y="0"/>
                    <a:pt x="4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9" name="Google Shape;1509;p48"/>
            <p:cNvSpPr/>
            <p:nvPr/>
          </p:nvSpPr>
          <p:spPr>
            <a:xfrm>
              <a:off x="426405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44" y="149"/>
                    <a:pt x="610" y="165"/>
                    <a:pt x="643" y="198"/>
                  </a:cubicBezTo>
                  <a:cubicBezTo>
                    <a:pt x="692" y="248"/>
                    <a:pt x="725" y="297"/>
                    <a:pt x="725" y="363"/>
                  </a:cubicBezTo>
                  <a:cubicBezTo>
                    <a:pt x="725" y="445"/>
                    <a:pt x="692" y="495"/>
                    <a:pt x="643" y="528"/>
                  </a:cubicBezTo>
                  <a:cubicBezTo>
                    <a:pt x="610" y="577"/>
                    <a:pt x="544" y="594"/>
                    <a:pt x="462" y="594"/>
                  </a:cubicBezTo>
                  <a:cubicBezTo>
                    <a:pt x="379" y="594"/>
                    <a:pt x="330" y="577"/>
                    <a:pt x="280" y="528"/>
                  </a:cubicBezTo>
                  <a:cubicBezTo>
                    <a:pt x="231" y="495"/>
                    <a:pt x="214" y="445"/>
                    <a:pt x="214" y="363"/>
                  </a:cubicBezTo>
                  <a:cubicBezTo>
                    <a:pt x="214" y="297"/>
                    <a:pt x="231" y="248"/>
                    <a:pt x="280" y="198"/>
                  </a:cubicBezTo>
                  <a:cubicBezTo>
                    <a:pt x="330" y="165"/>
                    <a:pt x="379" y="149"/>
                    <a:pt x="462" y="149"/>
                  </a:cubicBezTo>
                  <a:close/>
                  <a:moveTo>
                    <a:pt x="462" y="742"/>
                  </a:moveTo>
                  <a:cubicBezTo>
                    <a:pt x="561" y="742"/>
                    <a:pt x="627" y="759"/>
                    <a:pt x="676" y="808"/>
                  </a:cubicBezTo>
                  <a:cubicBezTo>
                    <a:pt x="725" y="857"/>
                    <a:pt x="742" y="923"/>
                    <a:pt x="742" y="1006"/>
                  </a:cubicBezTo>
                  <a:cubicBezTo>
                    <a:pt x="742" y="1088"/>
                    <a:pt x="725" y="1154"/>
                    <a:pt x="676" y="1187"/>
                  </a:cubicBezTo>
                  <a:cubicBezTo>
                    <a:pt x="627" y="1236"/>
                    <a:pt x="561" y="1269"/>
                    <a:pt x="462" y="1269"/>
                  </a:cubicBezTo>
                  <a:cubicBezTo>
                    <a:pt x="379" y="1269"/>
                    <a:pt x="313" y="1236"/>
                    <a:pt x="264" y="1187"/>
                  </a:cubicBezTo>
                  <a:cubicBezTo>
                    <a:pt x="214" y="1154"/>
                    <a:pt x="182" y="1088"/>
                    <a:pt x="182" y="1006"/>
                  </a:cubicBezTo>
                  <a:cubicBezTo>
                    <a:pt x="182" y="923"/>
                    <a:pt x="214" y="857"/>
                    <a:pt x="264" y="808"/>
                  </a:cubicBezTo>
                  <a:cubicBezTo>
                    <a:pt x="313" y="759"/>
                    <a:pt x="379" y="742"/>
                    <a:pt x="462" y="742"/>
                  </a:cubicBezTo>
                  <a:close/>
                  <a:moveTo>
                    <a:pt x="462" y="0"/>
                  </a:moveTo>
                  <a:cubicBezTo>
                    <a:pt x="330" y="0"/>
                    <a:pt x="231" y="33"/>
                    <a:pt x="149" y="99"/>
                  </a:cubicBezTo>
                  <a:cubicBezTo>
                    <a:pt x="66" y="149"/>
                    <a:pt x="33" y="248"/>
                    <a:pt x="33" y="346"/>
                  </a:cubicBezTo>
                  <a:cubicBezTo>
                    <a:pt x="33" y="429"/>
                    <a:pt x="50" y="495"/>
                    <a:pt x="99" y="544"/>
                  </a:cubicBezTo>
                  <a:cubicBezTo>
                    <a:pt x="149" y="610"/>
                    <a:pt x="198" y="643"/>
                    <a:pt x="280" y="660"/>
                  </a:cubicBezTo>
                  <a:cubicBezTo>
                    <a:pt x="198" y="676"/>
                    <a:pt x="116" y="726"/>
                    <a:pt x="66" y="775"/>
                  </a:cubicBezTo>
                  <a:cubicBezTo>
                    <a:pt x="17" y="841"/>
                    <a:pt x="0" y="907"/>
                    <a:pt x="0" y="1006"/>
                  </a:cubicBezTo>
                  <a:cubicBezTo>
                    <a:pt x="0" y="1138"/>
                    <a:pt x="33" y="1236"/>
                    <a:pt x="116" y="1302"/>
                  </a:cubicBezTo>
                  <a:cubicBezTo>
                    <a:pt x="198" y="1368"/>
                    <a:pt x="313" y="1418"/>
                    <a:pt x="462" y="1418"/>
                  </a:cubicBezTo>
                  <a:cubicBezTo>
                    <a:pt x="610" y="1418"/>
                    <a:pt x="725" y="1368"/>
                    <a:pt x="808" y="1302"/>
                  </a:cubicBezTo>
                  <a:cubicBezTo>
                    <a:pt x="890" y="1236"/>
                    <a:pt x="940" y="1138"/>
                    <a:pt x="940" y="1006"/>
                  </a:cubicBezTo>
                  <a:cubicBezTo>
                    <a:pt x="940" y="907"/>
                    <a:pt x="907" y="841"/>
                    <a:pt x="857" y="775"/>
                  </a:cubicBezTo>
                  <a:cubicBezTo>
                    <a:pt x="808" y="726"/>
                    <a:pt x="742" y="676"/>
                    <a:pt x="643" y="660"/>
                  </a:cubicBezTo>
                  <a:cubicBezTo>
                    <a:pt x="725" y="643"/>
                    <a:pt x="791" y="610"/>
                    <a:pt x="841" y="544"/>
                  </a:cubicBezTo>
                  <a:cubicBezTo>
                    <a:pt x="874" y="495"/>
                    <a:pt x="907" y="429"/>
                    <a:pt x="907" y="346"/>
                  </a:cubicBezTo>
                  <a:cubicBezTo>
                    <a:pt x="907" y="248"/>
                    <a:pt x="857" y="149"/>
                    <a:pt x="791" y="99"/>
                  </a:cubicBezTo>
                  <a:cubicBezTo>
                    <a:pt x="709" y="33"/>
                    <a:pt x="594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0" name="Google Shape;1510;p48"/>
            <p:cNvSpPr/>
            <p:nvPr/>
          </p:nvSpPr>
          <p:spPr>
            <a:xfrm>
              <a:off x="4393825" y="1433525"/>
              <a:ext cx="23925" cy="35450"/>
            </a:xfrm>
            <a:custGeom>
              <a:avLst/>
              <a:gdLst/>
              <a:ahLst/>
              <a:cxnLst/>
              <a:rect l="l" t="t" r="r" b="b"/>
              <a:pathLst>
                <a:path w="957" h="1418" extrusionOk="0">
                  <a:moveTo>
                    <a:pt x="479" y="149"/>
                  </a:moveTo>
                  <a:cubicBezTo>
                    <a:pt x="578" y="149"/>
                    <a:pt x="644" y="198"/>
                    <a:pt x="693" y="281"/>
                  </a:cubicBezTo>
                  <a:cubicBezTo>
                    <a:pt x="742" y="379"/>
                    <a:pt x="759" y="511"/>
                    <a:pt x="759" y="709"/>
                  </a:cubicBezTo>
                  <a:cubicBezTo>
                    <a:pt x="759" y="890"/>
                    <a:pt x="742" y="1039"/>
                    <a:pt x="693" y="1121"/>
                  </a:cubicBezTo>
                  <a:cubicBezTo>
                    <a:pt x="644" y="1220"/>
                    <a:pt x="578" y="1269"/>
                    <a:pt x="479" y="1269"/>
                  </a:cubicBezTo>
                  <a:cubicBezTo>
                    <a:pt x="380" y="1269"/>
                    <a:pt x="314" y="1220"/>
                    <a:pt x="264" y="1121"/>
                  </a:cubicBezTo>
                  <a:cubicBezTo>
                    <a:pt x="215" y="1039"/>
                    <a:pt x="199" y="890"/>
                    <a:pt x="199" y="709"/>
                  </a:cubicBezTo>
                  <a:cubicBezTo>
                    <a:pt x="199" y="511"/>
                    <a:pt x="215" y="379"/>
                    <a:pt x="264" y="281"/>
                  </a:cubicBezTo>
                  <a:cubicBezTo>
                    <a:pt x="314" y="198"/>
                    <a:pt x="380" y="149"/>
                    <a:pt x="479" y="149"/>
                  </a:cubicBezTo>
                  <a:close/>
                  <a:moveTo>
                    <a:pt x="479" y="0"/>
                  </a:moveTo>
                  <a:cubicBezTo>
                    <a:pt x="330" y="0"/>
                    <a:pt x="215" y="66"/>
                    <a:pt x="133" y="182"/>
                  </a:cubicBezTo>
                  <a:cubicBezTo>
                    <a:pt x="50" y="297"/>
                    <a:pt x="1" y="478"/>
                    <a:pt x="1" y="709"/>
                  </a:cubicBezTo>
                  <a:cubicBezTo>
                    <a:pt x="1" y="940"/>
                    <a:pt x="50" y="1105"/>
                    <a:pt x="133" y="1236"/>
                  </a:cubicBezTo>
                  <a:cubicBezTo>
                    <a:pt x="215" y="1352"/>
                    <a:pt x="330" y="1418"/>
                    <a:pt x="479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57" y="940"/>
                    <a:pt x="957" y="709"/>
                  </a:cubicBezTo>
                  <a:cubicBezTo>
                    <a:pt x="957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1" name="Google Shape;1511;p48"/>
            <p:cNvSpPr/>
            <p:nvPr/>
          </p:nvSpPr>
          <p:spPr>
            <a:xfrm>
              <a:off x="442350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44" y="149"/>
                    <a:pt x="610" y="165"/>
                    <a:pt x="660" y="231"/>
                  </a:cubicBezTo>
                  <a:cubicBezTo>
                    <a:pt x="709" y="281"/>
                    <a:pt x="726" y="363"/>
                    <a:pt x="726" y="462"/>
                  </a:cubicBezTo>
                  <a:cubicBezTo>
                    <a:pt x="726" y="561"/>
                    <a:pt x="709" y="643"/>
                    <a:pt x="660" y="693"/>
                  </a:cubicBezTo>
                  <a:cubicBezTo>
                    <a:pt x="610" y="759"/>
                    <a:pt x="544" y="775"/>
                    <a:pt x="462" y="775"/>
                  </a:cubicBezTo>
                  <a:cubicBezTo>
                    <a:pt x="379" y="775"/>
                    <a:pt x="314" y="759"/>
                    <a:pt x="264" y="693"/>
                  </a:cubicBezTo>
                  <a:cubicBezTo>
                    <a:pt x="215" y="643"/>
                    <a:pt x="198" y="561"/>
                    <a:pt x="198" y="462"/>
                  </a:cubicBezTo>
                  <a:cubicBezTo>
                    <a:pt x="198" y="363"/>
                    <a:pt x="215" y="281"/>
                    <a:pt x="264" y="231"/>
                  </a:cubicBezTo>
                  <a:cubicBezTo>
                    <a:pt x="314" y="165"/>
                    <a:pt x="379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30" y="0"/>
                    <a:pt x="215" y="33"/>
                    <a:pt x="132" y="132"/>
                  </a:cubicBezTo>
                  <a:cubicBezTo>
                    <a:pt x="50" y="215"/>
                    <a:pt x="0" y="314"/>
                    <a:pt x="0" y="462"/>
                  </a:cubicBezTo>
                  <a:cubicBezTo>
                    <a:pt x="0" y="610"/>
                    <a:pt x="50" y="709"/>
                    <a:pt x="132" y="808"/>
                  </a:cubicBezTo>
                  <a:cubicBezTo>
                    <a:pt x="198" y="874"/>
                    <a:pt x="314" y="923"/>
                    <a:pt x="445" y="923"/>
                  </a:cubicBezTo>
                  <a:cubicBezTo>
                    <a:pt x="511" y="923"/>
                    <a:pt x="577" y="907"/>
                    <a:pt x="627" y="874"/>
                  </a:cubicBezTo>
                  <a:cubicBezTo>
                    <a:pt x="676" y="857"/>
                    <a:pt x="726" y="808"/>
                    <a:pt x="759" y="759"/>
                  </a:cubicBezTo>
                  <a:lnTo>
                    <a:pt x="759" y="759"/>
                  </a:lnTo>
                  <a:cubicBezTo>
                    <a:pt x="759" y="923"/>
                    <a:pt x="709" y="1055"/>
                    <a:pt x="660" y="1138"/>
                  </a:cubicBezTo>
                  <a:cubicBezTo>
                    <a:pt x="594" y="1220"/>
                    <a:pt x="495" y="1253"/>
                    <a:pt x="379" y="1253"/>
                  </a:cubicBezTo>
                  <a:cubicBezTo>
                    <a:pt x="330" y="1253"/>
                    <a:pt x="281" y="1253"/>
                    <a:pt x="231" y="1236"/>
                  </a:cubicBezTo>
                  <a:cubicBezTo>
                    <a:pt x="182" y="1220"/>
                    <a:pt x="132" y="1204"/>
                    <a:pt x="99" y="1187"/>
                  </a:cubicBezTo>
                  <a:lnTo>
                    <a:pt x="99" y="1352"/>
                  </a:lnTo>
                  <a:cubicBezTo>
                    <a:pt x="149" y="1368"/>
                    <a:pt x="198" y="1385"/>
                    <a:pt x="248" y="1401"/>
                  </a:cubicBezTo>
                  <a:cubicBezTo>
                    <a:pt x="281" y="1401"/>
                    <a:pt x="330" y="1418"/>
                    <a:pt x="379" y="1418"/>
                  </a:cubicBezTo>
                  <a:cubicBezTo>
                    <a:pt x="561" y="1418"/>
                    <a:pt x="693" y="1352"/>
                    <a:pt x="792" y="1220"/>
                  </a:cubicBezTo>
                  <a:cubicBezTo>
                    <a:pt x="890" y="1088"/>
                    <a:pt x="940" y="923"/>
                    <a:pt x="940" y="709"/>
                  </a:cubicBezTo>
                  <a:cubicBezTo>
                    <a:pt x="940" y="478"/>
                    <a:pt x="907" y="297"/>
                    <a:pt x="824" y="182"/>
                  </a:cubicBezTo>
                  <a:cubicBezTo>
                    <a:pt x="742" y="66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2" name="Google Shape;1512;p48"/>
            <p:cNvSpPr/>
            <p:nvPr/>
          </p:nvSpPr>
          <p:spPr>
            <a:xfrm>
              <a:off x="4534750" y="1433925"/>
              <a:ext cx="20200" cy="34225"/>
            </a:xfrm>
            <a:custGeom>
              <a:avLst/>
              <a:gdLst/>
              <a:ahLst/>
              <a:cxnLst/>
              <a:rect l="l" t="t" r="r" b="b"/>
              <a:pathLst>
                <a:path w="808" h="1369" extrusionOk="0">
                  <a:moveTo>
                    <a:pt x="330" y="1"/>
                  </a:moveTo>
                  <a:lnTo>
                    <a:pt x="0" y="67"/>
                  </a:lnTo>
                  <a:lnTo>
                    <a:pt x="0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3" y="1220"/>
                  </a:lnTo>
                  <a:lnTo>
                    <a:pt x="33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1" y="1220"/>
                  </a:lnTo>
                  <a:lnTo>
                    <a:pt x="51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3" name="Google Shape;1513;p48"/>
            <p:cNvSpPr/>
            <p:nvPr/>
          </p:nvSpPr>
          <p:spPr>
            <a:xfrm>
              <a:off x="4562350" y="1433525"/>
              <a:ext cx="23925" cy="35450"/>
            </a:xfrm>
            <a:custGeom>
              <a:avLst/>
              <a:gdLst/>
              <a:ahLst/>
              <a:cxnLst/>
              <a:rect l="l" t="t" r="r" b="b"/>
              <a:pathLst>
                <a:path w="957" h="1418" extrusionOk="0">
                  <a:moveTo>
                    <a:pt x="479" y="149"/>
                  </a:moveTo>
                  <a:cubicBezTo>
                    <a:pt x="577" y="149"/>
                    <a:pt x="643" y="198"/>
                    <a:pt x="693" y="281"/>
                  </a:cubicBezTo>
                  <a:cubicBezTo>
                    <a:pt x="742" y="379"/>
                    <a:pt x="759" y="511"/>
                    <a:pt x="759" y="709"/>
                  </a:cubicBezTo>
                  <a:cubicBezTo>
                    <a:pt x="759" y="890"/>
                    <a:pt x="742" y="1039"/>
                    <a:pt x="693" y="1121"/>
                  </a:cubicBezTo>
                  <a:cubicBezTo>
                    <a:pt x="643" y="1220"/>
                    <a:pt x="577" y="1269"/>
                    <a:pt x="479" y="1269"/>
                  </a:cubicBezTo>
                  <a:cubicBezTo>
                    <a:pt x="380" y="1269"/>
                    <a:pt x="314" y="1220"/>
                    <a:pt x="264" y="1121"/>
                  </a:cubicBezTo>
                  <a:cubicBezTo>
                    <a:pt x="215" y="1039"/>
                    <a:pt x="198" y="890"/>
                    <a:pt x="198" y="709"/>
                  </a:cubicBezTo>
                  <a:cubicBezTo>
                    <a:pt x="198" y="511"/>
                    <a:pt x="215" y="379"/>
                    <a:pt x="264" y="281"/>
                  </a:cubicBezTo>
                  <a:cubicBezTo>
                    <a:pt x="314" y="198"/>
                    <a:pt x="380" y="149"/>
                    <a:pt x="479" y="149"/>
                  </a:cubicBezTo>
                  <a:close/>
                  <a:moveTo>
                    <a:pt x="479" y="0"/>
                  </a:moveTo>
                  <a:cubicBezTo>
                    <a:pt x="330" y="0"/>
                    <a:pt x="215" y="66"/>
                    <a:pt x="132" y="182"/>
                  </a:cubicBezTo>
                  <a:cubicBezTo>
                    <a:pt x="50" y="297"/>
                    <a:pt x="1" y="478"/>
                    <a:pt x="1" y="709"/>
                  </a:cubicBezTo>
                  <a:cubicBezTo>
                    <a:pt x="1" y="940"/>
                    <a:pt x="50" y="1105"/>
                    <a:pt x="132" y="1236"/>
                  </a:cubicBezTo>
                  <a:cubicBezTo>
                    <a:pt x="215" y="1352"/>
                    <a:pt x="330" y="1418"/>
                    <a:pt x="479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56" y="940"/>
                    <a:pt x="956" y="709"/>
                  </a:cubicBezTo>
                  <a:cubicBezTo>
                    <a:pt x="956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4" name="Google Shape;1514;p48"/>
            <p:cNvSpPr/>
            <p:nvPr/>
          </p:nvSpPr>
          <p:spPr>
            <a:xfrm>
              <a:off x="4689250" y="1433925"/>
              <a:ext cx="20625" cy="34225"/>
            </a:xfrm>
            <a:custGeom>
              <a:avLst/>
              <a:gdLst/>
              <a:ahLst/>
              <a:cxnLst/>
              <a:rect l="l" t="t" r="r" b="b"/>
              <a:pathLst>
                <a:path w="825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4" y="1220"/>
                  </a:lnTo>
                  <a:lnTo>
                    <a:pt x="34" y="1369"/>
                  </a:lnTo>
                  <a:lnTo>
                    <a:pt x="825" y="1369"/>
                  </a:lnTo>
                  <a:lnTo>
                    <a:pt x="825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5" name="Google Shape;1515;p48"/>
            <p:cNvSpPr/>
            <p:nvPr/>
          </p:nvSpPr>
          <p:spPr>
            <a:xfrm>
              <a:off x="471932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14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14" y="182"/>
                  </a:lnTo>
                  <a:lnTo>
                    <a:pt x="314" y="1220"/>
                  </a:lnTo>
                  <a:lnTo>
                    <a:pt x="17" y="1220"/>
                  </a:lnTo>
                  <a:lnTo>
                    <a:pt x="17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495" y="1220"/>
                  </a:lnTo>
                  <a:lnTo>
                    <a:pt x="49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6" name="Google Shape;1516;p48"/>
            <p:cNvSpPr/>
            <p:nvPr/>
          </p:nvSpPr>
          <p:spPr>
            <a:xfrm>
              <a:off x="485447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4" y="1220"/>
                  </a:lnTo>
                  <a:lnTo>
                    <a:pt x="34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7" name="Google Shape;1517;p48"/>
            <p:cNvSpPr/>
            <p:nvPr/>
          </p:nvSpPr>
          <p:spPr>
            <a:xfrm>
              <a:off x="4882500" y="1433525"/>
              <a:ext cx="21850" cy="34625"/>
            </a:xfrm>
            <a:custGeom>
              <a:avLst/>
              <a:gdLst/>
              <a:ahLst/>
              <a:cxnLst/>
              <a:rect l="l" t="t" r="r" b="b"/>
              <a:pathLst>
                <a:path w="874" h="1385" extrusionOk="0">
                  <a:moveTo>
                    <a:pt x="396" y="0"/>
                  </a:moveTo>
                  <a:cubicBezTo>
                    <a:pt x="347" y="0"/>
                    <a:pt x="281" y="0"/>
                    <a:pt x="215" y="17"/>
                  </a:cubicBezTo>
                  <a:cubicBezTo>
                    <a:pt x="149" y="33"/>
                    <a:pt x="83" y="66"/>
                    <a:pt x="17" y="83"/>
                  </a:cubicBezTo>
                  <a:lnTo>
                    <a:pt x="17" y="281"/>
                  </a:lnTo>
                  <a:cubicBezTo>
                    <a:pt x="83" y="231"/>
                    <a:pt x="149" y="198"/>
                    <a:pt x="215" y="182"/>
                  </a:cubicBezTo>
                  <a:cubicBezTo>
                    <a:pt x="281" y="165"/>
                    <a:pt x="347" y="149"/>
                    <a:pt x="396" y="149"/>
                  </a:cubicBezTo>
                  <a:cubicBezTo>
                    <a:pt x="478" y="149"/>
                    <a:pt x="544" y="182"/>
                    <a:pt x="594" y="215"/>
                  </a:cubicBezTo>
                  <a:cubicBezTo>
                    <a:pt x="643" y="264"/>
                    <a:pt x="676" y="330"/>
                    <a:pt x="676" y="396"/>
                  </a:cubicBezTo>
                  <a:cubicBezTo>
                    <a:pt x="676" y="445"/>
                    <a:pt x="660" y="495"/>
                    <a:pt x="643" y="528"/>
                  </a:cubicBezTo>
                  <a:cubicBezTo>
                    <a:pt x="610" y="577"/>
                    <a:pt x="577" y="643"/>
                    <a:pt x="511" y="709"/>
                  </a:cubicBezTo>
                  <a:cubicBezTo>
                    <a:pt x="478" y="742"/>
                    <a:pt x="412" y="824"/>
                    <a:pt x="281" y="940"/>
                  </a:cubicBezTo>
                  <a:cubicBezTo>
                    <a:pt x="165" y="1055"/>
                    <a:pt x="66" y="1154"/>
                    <a:pt x="0" y="1236"/>
                  </a:cubicBezTo>
                  <a:lnTo>
                    <a:pt x="0" y="1385"/>
                  </a:lnTo>
                  <a:lnTo>
                    <a:pt x="874" y="1385"/>
                  </a:lnTo>
                  <a:lnTo>
                    <a:pt x="874" y="1236"/>
                  </a:lnTo>
                  <a:lnTo>
                    <a:pt x="231" y="1236"/>
                  </a:lnTo>
                  <a:cubicBezTo>
                    <a:pt x="379" y="1072"/>
                    <a:pt x="495" y="956"/>
                    <a:pt x="561" y="874"/>
                  </a:cubicBezTo>
                  <a:cubicBezTo>
                    <a:pt x="643" y="791"/>
                    <a:pt x="693" y="742"/>
                    <a:pt x="709" y="726"/>
                  </a:cubicBezTo>
                  <a:cubicBezTo>
                    <a:pt x="775" y="660"/>
                    <a:pt x="808" y="594"/>
                    <a:pt x="824" y="544"/>
                  </a:cubicBezTo>
                  <a:cubicBezTo>
                    <a:pt x="857" y="495"/>
                    <a:pt x="857" y="445"/>
                    <a:pt x="857" y="379"/>
                  </a:cubicBezTo>
                  <a:cubicBezTo>
                    <a:pt x="857" y="264"/>
                    <a:pt x="824" y="182"/>
                    <a:pt x="742" y="99"/>
                  </a:cubicBezTo>
                  <a:cubicBezTo>
                    <a:pt x="643" y="33"/>
                    <a:pt x="544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8" name="Google Shape;1518;p48"/>
            <p:cNvSpPr/>
            <p:nvPr/>
          </p:nvSpPr>
          <p:spPr>
            <a:xfrm>
              <a:off x="3423500" y="1176825"/>
              <a:ext cx="96450" cy="168125"/>
            </a:xfrm>
            <a:custGeom>
              <a:avLst/>
              <a:gdLst/>
              <a:ahLst/>
              <a:cxnLst/>
              <a:rect l="l" t="t" r="r" b="b"/>
              <a:pathLst>
                <a:path w="3858" h="6725" extrusionOk="0">
                  <a:moveTo>
                    <a:pt x="281" y="1"/>
                  </a:moveTo>
                  <a:cubicBezTo>
                    <a:pt x="133" y="1"/>
                    <a:pt x="1" y="116"/>
                    <a:pt x="17" y="281"/>
                  </a:cubicBezTo>
                  <a:cubicBezTo>
                    <a:pt x="17" y="429"/>
                    <a:pt x="133" y="545"/>
                    <a:pt x="281" y="545"/>
                  </a:cubicBezTo>
                  <a:lnTo>
                    <a:pt x="3577" y="545"/>
                  </a:lnTo>
                  <a:cubicBezTo>
                    <a:pt x="3725" y="545"/>
                    <a:pt x="3841" y="429"/>
                    <a:pt x="3857" y="281"/>
                  </a:cubicBezTo>
                  <a:cubicBezTo>
                    <a:pt x="3857" y="116"/>
                    <a:pt x="3725" y="1"/>
                    <a:pt x="3577" y="1"/>
                  </a:cubicBezTo>
                  <a:close/>
                  <a:moveTo>
                    <a:pt x="281" y="2061"/>
                  </a:moveTo>
                  <a:cubicBezTo>
                    <a:pt x="133" y="2061"/>
                    <a:pt x="1" y="2176"/>
                    <a:pt x="17" y="2341"/>
                  </a:cubicBezTo>
                  <a:cubicBezTo>
                    <a:pt x="17" y="2489"/>
                    <a:pt x="133" y="2605"/>
                    <a:pt x="281" y="2605"/>
                  </a:cubicBezTo>
                  <a:lnTo>
                    <a:pt x="3577" y="2605"/>
                  </a:lnTo>
                  <a:cubicBezTo>
                    <a:pt x="3725" y="2605"/>
                    <a:pt x="3857" y="2489"/>
                    <a:pt x="3857" y="2341"/>
                  </a:cubicBezTo>
                  <a:cubicBezTo>
                    <a:pt x="3857" y="2176"/>
                    <a:pt x="3725" y="2061"/>
                    <a:pt x="3577" y="2061"/>
                  </a:cubicBezTo>
                  <a:close/>
                  <a:moveTo>
                    <a:pt x="281" y="4121"/>
                  </a:moveTo>
                  <a:cubicBezTo>
                    <a:pt x="133" y="4121"/>
                    <a:pt x="1" y="4236"/>
                    <a:pt x="17" y="4401"/>
                  </a:cubicBezTo>
                  <a:cubicBezTo>
                    <a:pt x="17" y="4549"/>
                    <a:pt x="133" y="4665"/>
                    <a:pt x="281" y="4665"/>
                  </a:cubicBezTo>
                  <a:lnTo>
                    <a:pt x="3577" y="4665"/>
                  </a:lnTo>
                  <a:cubicBezTo>
                    <a:pt x="3725" y="4665"/>
                    <a:pt x="3857" y="4549"/>
                    <a:pt x="3857" y="4401"/>
                  </a:cubicBezTo>
                  <a:cubicBezTo>
                    <a:pt x="3857" y="4236"/>
                    <a:pt x="3725" y="4121"/>
                    <a:pt x="3577" y="4121"/>
                  </a:cubicBezTo>
                  <a:close/>
                  <a:moveTo>
                    <a:pt x="281" y="6181"/>
                  </a:moveTo>
                  <a:cubicBezTo>
                    <a:pt x="133" y="6181"/>
                    <a:pt x="1" y="6296"/>
                    <a:pt x="17" y="6445"/>
                  </a:cubicBezTo>
                  <a:cubicBezTo>
                    <a:pt x="17" y="6610"/>
                    <a:pt x="133" y="6725"/>
                    <a:pt x="281" y="6725"/>
                  </a:cubicBezTo>
                  <a:lnTo>
                    <a:pt x="3577" y="6725"/>
                  </a:lnTo>
                  <a:cubicBezTo>
                    <a:pt x="3725" y="6725"/>
                    <a:pt x="3857" y="6610"/>
                    <a:pt x="3857" y="6445"/>
                  </a:cubicBezTo>
                  <a:cubicBezTo>
                    <a:pt x="3857" y="6296"/>
                    <a:pt x="3725" y="6181"/>
                    <a:pt x="3577" y="618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9" name="Google Shape;1519;p48"/>
            <p:cNvSpPr/>
            <p:nvPr/>
          </p:nvSpPr>
          <p:spPr>
            <a:xfrm>
              <a:off x="3115300" y="1125750"/>
              <a:ext cx="96450" cy="219200"/>
            </a:xfrm>
            <a:custGeom>
              <a:avLst/>
              <a:gdLst/>
              <a:ahLst/>
              <a:cxnLst/>
              <a:rect l="l" t="t" r="r" b="b"/>
              <a:pathLst>
                <a:path w="3858" h="8768" extrusionOk="0">
                  <a:moveTo>
                    <a:pt x="281" y="0"/>
                  </a:moveTo>
                  <a:cubicBezTo>
                    <a:pt x="133" y="0"/>
                    <a:pt x="1" y="115"/>
                    <a:pt x="1" y="264"/>
                  </a:cubicBezTo>
                  <a:cubicBezTo>
                    <a:pt x="1" y="429"/>
                    <a:pt x="133" y="544"/>
                    <a:pt x="281" y="544"/>
                  </a:cubicBezTo>
                  <a:lnTo>
                    <a:pt x="3577" y="544"/>
                  </a:lnTo>
                  <a:cubicBezTo>
                    <a:pt x="3726" y="544"/>
                    <a:pt x="3841" y="412"/>
                    <a:pt x="3841" y="264"/>
                  </a:cubicBezTo>
                  <a:lnTo>
                    <a:pt x="3857" y="264"/>
                  </a:lnTo>
                  <a:cubicBezTo>
                    <a:pt x="3841" y="115"/>
                    <a:pt x="3726" y="0"/>
                    <a:pt x="3577" y="0"/>
                  </a:cubicBezTo>
                  <a:close/>
                  <a:moveTo>
                    <a:pt x="281" y="2044"/>
                  </a:moveTo>
                  <a:cubicBezTo>
                    <a:pt x="133" y="2044"/>
                    <a:pt x="1" y="2159"/>
                    <a:pt x="1" y="2324"/>
                  </a:cubicBezTo>
                  <a:cubicBezTo>
                    <a:pt x="1" y="2472"/>
                    <a:pt x="133" y="2588"/>
                    <a:pt x="281" y="2588"/>
                  </a:cubicBezTo>
                  <a:lnTo>
                    <a:pt x="3577" y="2588"/>
                  </a:lnTo>
                  <a:cubicBezTo>
                    <a:pt x="3726" y="2588"/>
                    <a:pt x="3841" y="2472"/>
                    <a:pt x="3841" y="2324"/>
                  </a:cubicBezTo>
                  <a:lnTo>
                    <a:pt x="3857" y="2324"/>
                  </a:lnTo>
                  <a:cubicBezTo>
                    <a:pt x="3857" y="2159"/>
                    <a:pt x="3726" y="2044"/>
                    <a:pt x="3577" y="2044"/>
                  </a:cubicBezTo>
                  <a:close/>
                  <a:moveTo>
                    <a:pt x="281" y="4104"/>
                  </a:moveTo>
                  <a:cubicBezTo>
                    <a:pt x="133" y="4104"/>
                    <a:pt x="1" y="4219"/>
                    <a:pt x="1" y="4384"/>
                  </a:cubicBezTo>
                  <a:cubicBezTo>
                    <a:pt x="1" y="4532"/>
                    <a:pt x="133" y="4664"/>
                    <a:pt x="281" y="4664"/>
                  </a:cubicBezTo>
                  <a:lnTo>
                    <a:pt x="3577" y="4664"/>
                  </a:lnTo>
                  <a:cubicBezTo>
                    <a:pt x="3726" y="4648"/>
                    <a:pt x="3841" y="4532"/>
                    <a:pt x="3841" y="4384"/>
                  </a:cubicBezTo>
                  <a:lnTo>
                    <a:pt x="3857" y="4384"/>
                  </a:lnTo>
                  <a:cubicBezTo>
                    <a:pt x="3857" y="4219"/>
                    <a:pt x="3726" y="4104"/>
                    <a:pt x="3577" y="4104"/>
                  </a:cubicBezTo>
                  <a:close/>
                  <a:moveTo>
                    <a:pt x="281" y="6164"/>
                  </a:moveTo>
                  <a:cubicBezTo>
                    <a:pt x="133" y="6164"/>
                    <a:pt x="1" y="6279"/>
                    <a:pt x="1" y="6444"/>
                  </a:cubicBezTo>
                  <a:cubicBezTo>
                    <a:pt x="1" y="6592"/>
                    <a:pt x="133" y="6708"/>
                    <a:pt x="281" y="6708"/>
                  </a:cubicBezTo>
                  <a:lnTo>
                    <a:pt x="3577" y="6708"/>
                  </a:lnTo>
                  <a:cubicBezTo>
                    <a:pt x="3726" y="6708"/>
                    <a:pt x="3841" y="6592"/>
                    <a:pt x="3841" y="6444"/>
                  </a:cubicBezTo>
                  <a:lnTo>
                    <a:pt x="3857" y="6444"/>
                  </a:lnTo>
                  <a:cubicBezTo>
                    <a:pt x="3857" y="6279"/>
                    <a:pt x="3726" y="6164"/>
                    <a:pt x="3577" y="6164"/>
                  </a:cubicBezTo>
                  <a:close/>
                  <a:moveTo>
                    <a:pt x="281" y="8224"/>
                  </a:moveTo>
                  <a:cubicBezTo>
                    <a:pt x="133" y="8224"/>
                    <a:pt x="1" y="8339"/>
                    <a:pt x="1" y="8488"/>
                  </a:cubicBezTo>
                  <a:cubicBezTo>
                    <a:pt x="1" y="8653"/>
                    <a:pt x="133" y="8768"/>
                    <a:pt x="281" y="8768"/>
                  </a:cubicBezTo>
                  <a:lnTo>
                    <a:pt x="3577" y="8768"/>
                  </a:lnTo>
                  <a:cubicBezTo>
                    <a:pt x="3726" y="8768"/>
                    <a:pt x="3841" y="8636"/>
                    <a:pt x="3841" y="8488"/>
                  </a:cubicBezTo>
                  <a:cubicBezTo>
                    <a:pt x="3841" y="8339"/>
                    <a:pt x="3726" y="8224"/>
                    <a:pt x="3577" y="8224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0" name="Google Shape;1520;p48"/>
            <p:cNvSpPr/>
            <p:nvPr/>
          </p:nvSpPr>
          <p:spPr>
            <a:xfrm>
              <a:off x="3732125" y="1060650"/>
              <a:ext cx="96025" cy="284300"/>
            </a:xfrm>
            <a:custGeom>
              <a:avLst/>
              <a:gdLst/>
              <a:ahLst/>
              <a:cxnLst/>
              <a:rect l="l" t="t" r="r" b="b"/>
              <a:pathLst>
                <a:path w="3841" h="11372" extrusionOk="0">
                  <a:moveTo>
                    <a:pt x="280" y="0"/>
                  </a:moveTo>
                  <a:cubicBezTo>
                    <a:pt x="115" y="0"/>
                    <a:pt x="0" y="115"/>
                    <a:pt x="0" y="264"/>
                  </a:cubicBezTo>
                  <a:cubicBezTo>
                    <a:pt x="0" y="412"/>
                    <a:pt x="115" y="544"/>
                    <a:pt x="280" y="544"/>
                  </a:cubicBezTo>
                  <a:lnTo>
                    <a:pt x="3576" y="544"/>
                  </a:lnTo>
                  <a:cubicBezTo>
                    <a:pt x="3725" y="544"/>
                    <a:pt x="3840" y="429"/>
                    <a:pt x="3840" y="264"/>
                  </a:cubicBezTo>
                  <a:cubicBezTo>
                    <a:pt x="3840" y="115"/>
                    <a:pt x="3725" y="0"/>
                    <a:pt x="3576" y="0"/>
                  </a:cubicBezTo>
                  <a:close/>
                  <a:moveTo>
                    <a:pt x="280" y="2159"/>
                  </a:moveTo>
                  <a:cubicBezTo>
                    <a:pt x="115" y="2159"/>
                    <a:pt x="0" y="2291"/>
                    <a:pt x="0" y="2439"/>
                  </a:cubicBezTo>
                  <a:cubicBezTo>
                    <a:pt x="0" y="2588"/>
                    <a:pt x="132" y="2719"/>
                    <a:pt x="280" y="2719"/>
                  </a:cubicBezTo>
                  <a:lnTo>
                    <a:pt x="3576" y="2719"/>
                  </a:lnTo>
                  <a:cubicBezTo>
                    <a:pt x="3725" y="2703"/>
                    <a:pt x="3840" y="2588"/>
                    <a:pt x="3840" y="2439"/>
                  </a:cubicBezTo>
                  <a:cubicBezTo>
                    <a:pt x="3840" y="2291"/>
                    <a:pt x="3725" y="2159"/>
                    <a:pt x="3576" y="2159"/>
                  </a:cubicBezTo>
                  <a:close/>
                  <a:moveTo>
                    <a:pt x="253" y="4333"/>
                  </a:moveTo>
                  <a:cubicBezTo>
                    <a:pt x="103" y="4333"/>
                    <a:pt x="0" y="4458"/>
                    <a:pt x="0" y="4598"/>
                  </a:cubicBezTo>
                  <a:cubicBezTo>
                    <a:pt x="0" y="4747"/>
                    <a:pt x="115" y="4878"/>
                    <a:pt x="280" y="4878"/>
                  </a:cubicBezTo>
                  <a:lnTo>
                    <a:pt x="3576" y="4878"/>
                  </a:lnTo>
                  <a:cubicBezTo>
                    <a:pt x="3725" y="4878"/>
                    <a:pt x="3840" y="4747"/>
                    <a:pt x="3840" y="4598"/>
                  </a:cubicBezTo>
                  <a:cubicBezTo>
                    <a:pt x="3840" y="4458"/>
                    <a:pt x="3738" y="4333"/>
                    <a:pt x="3602" y="4333"/>
                  </a:cubicBezTo>
                  <a:cubicBezTo>
                    <a:pt x="3593" y="4333"/>
                    <a:pt x="3585" y="4334"/>
                    <a:pt x="3576" y="4335"/>
                  </a:cubicBezTo>
                  <a:lnTo>
                    <a:pt x="280" y="4335"/>
                  </a:lnTo>
                  <a:cubicBezTo>
                    <a:pt x="271" y="4334"/>
                    <a:pt x="262" y="4333"/>
                    <a:pt x="253" y="4333"/>
                  </a:cubicBezTo>
                  <a:close/>
                  <a:moveTo>
                    <a:pt x="280" y="6494"/>
                  </a:moveTo>
                  <a:cubicBezTo>
                    <a:pt x="115" y="6494"/>
                    <a:pt x="0" y="6609"/>
                    <a:pt x="0" y="6774"/>
                  </a:cubicBezTo>
                  <a:cubicBezTo>
                    <a:pt x="0" y="6922"/>
                    <a:pt x="115" y="7037"/>
                    <a:pt x="280" y="7037"/>
                  </a:cubicBezTo>
                  <a:lnTo>
                    <a:pt x="3576" y="7037"/>
                  </a:lnTo>
                  <a:cubicBezTo>
                    <a:pt x="3725" y="7037"/>
                    <a:pt x="3840" y="6922"/>
                    <a:pt x="3840" y="6774"/>
                  </a:cubicBezTo>
                  <a:cubicBezTo>
                    <a:pt x="3840" y="6609"/>
                    <a:pt x="3725" y="6494"/>
                    <a:pt x="3576" y="6494"/>
                  </a:cubicBezTo>
                  <a:close/>
                  <a:moveTo>
                    <a:pt x="280" y="8653"/>
                  </a:moveTo>
                  <a:cubicBezTo>
                    <a:pt x="115" y="8653"/>
                    <a:pt x="0" y="8784"/>
                    <a:pt x="0" y="8933"/>
                  </a:cubicBezTo>
                  <a:cubicBezTo>
                    <a:pt x="0" y="9081"/>
                    <a:pt x="115" y="9213"/>
                    <a:pt x="280" y="9213"/>
                  </a:cubicBezTo>
                  <a:lnTo>
                    <a:pt x="3576" y="9213"/>
                  </a:lnTo>
                  <a:cubicBezTo>
                    <a:pt x="3725" y="9213"/>
                    <a:pt x="3840" y="9081"/>
                    <a:pt x="3840" y="8933"/>
                  </a:cubicBezTo>
                  <a:cubicBezTo>
                    <a:pt x="3840" y="8784"/>
                    <a:pt x="3725" y="8653"/>
                    <a:pt x="3576" y="8653"/>
                  </a:cubicBezTo>
                  <a:close/>
                  <a:moveTo>
                    <a:pt x="280" y="10828"/>
                  </a:moveTo>
                  <a:cubicBezTo>
                    <a:pt x="115" y="10828"/>
                    <a:pt x="0" y="10943"/>
                    <a:pt x="0" y="11092"/>
                  </a:cubicBezTo>
                  <a:cubicBezTo>
                    <a:pt x="0" y="11257"/>
                    <a:pt x="115" y="11372"/>
                    <a:pt x="280" y="11372"/>
                  </a:cubicBezTo>
                  <a:lnTo>
                    <a:pt x="3576" y="11372"/>
                  </a:lnTo>
                  <a:cubicBezTo>
                    <a:pt x="3725" y="11372"/>
                    <a:pt x="3840" y="11257"/>
                    <a:pt x="3840" y="11092"/>
                  </a:cubicBezTo>
                  <a:cubicBezTo>
                    <a:pt x="3840" y="10943"/>
                    <a:pt x="3725" y="10828"/>
                    <a:pt x="3576" y="10828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1" name="Google Shape;1521;p48"/>
            <p:cNvSpPr/>
            <p:nvPr/>
          </p:nvSpPr>
          <p:spPr>
            <a:xfrm>
              <a:off x="3882925" y="1279825"/>
              <a:ext cx="96425" cy="65125"/>
            </a:xfrm>
            <a:custGeom>
              <a:avLst/>
              <a:gdLst/>
              <a:ahLst/>
              <a:cxnLst/>
              <a:rect l="l" t="t" r="r" b="b"/>
              <a:pathLst>
                <a:path w="3857" h="2605" extrusionOk="0">
                  <a:moveTo>
                    <a:pt x="280" y="1"/>
                  </a:moveTo>
                  <a:cubicBezTo>
                    <a:pt x="116" y="1"/>
                    <a:pt x="0" y="116"/>
                    <a:pt x="0" y="281"/>
                  </a:cubicBezTo>
                  <a:cubicBezTo>
                    <a:pt x="0" y="429"/>
                    <a:pt x="116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045"/>
                  </a:moveTo>
                  <a:cubicBezTo>
                    <a:pt x="132" y="2045"/>
                    <a:pt x="0" y="2176"/>
                    <a:pt x="0" y="2325"/>
                  </a:cubicBezTo>
                  <a:cubicBezTo>
                    <a:pt x="0" y="2473"/>
                    <a:pt x="116" y="2605"/>
                    <a:pt x="280" y="2605"/>
                  </a:cubicBezTo>
                  <a:lnTo>
                    <a:pt x="3577" y="2605"/>
                  </a:lnTo>
                  <a:cubicBezTo>
                    <a:pt x="3725" y="2605"/>
                    <a:pt x="3857" y="2473"/>
                    <a:pt x="3857" y="2325"/>
                  </a:cubicBezTo>
                  <a:cubicBezTo>
                    <a:pt x="3857" y="2176"/>
                    <a:pt x="3725" y="2045"/>
                    <a:pt x="3577" y="2045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2" name="Google Shape;1522;p48"/>
            <p:cNvSpPr/>
            <p:nvPr/>
          </p:nvSpPr>
          <p:spPr>
            <a:xfrm>
              <a:off x="3272700" y="1009125"/>
              <a:ext cx="96450" cy="335825"/>
            </a:xfrm>
            <a:custGeom>
              <a:avLst/>
              <a:gdLst/>
              <a:ahLst/>
              <a:cxnLst/>
              <a:rect l="l" t="t" r="r" b="b"/>
              <a:pathLst>
                <a:path w="3858" h="13433" extrusionOk="0">
                  <a:moveTo>
                    <a:pt x="281" y="1"/>
                  </a:moveTo>
                  <a:cubicBezTo>
                    <a:pt x="132" y="1"/>
                    <a:pt x="17" y="116"/>
                    <a:pt x="17" y="265"/>
                  </a:cubicBezTo>
                  <a:cubicBezTo>
                    <a:pt x="1" y="429"/>
                    <a:pt x="132" y="545"/>
                    <a:pt x="281" y="545"/>
                  </a:cubicBezTo>
                  <a:lnTo>
                    <a:pt x="3577" y="545"/>
                  </a:lnTo>
                  <a:cubicBezTo>
                    <a:pt x="3725" y="545"/>
                    <a:pt x="3857" y="429"/>
                    <a:pt x="3857" y="265"/>
                  </a:cubicBezTo>
                  <a:cubicBezTo>
                    <a:pt x="3857" y="116"/>
                    <a:pt x="3725" y="1"/>
                    <a:pt x="3577" y="1"/>
                  </a:cubicBezTo>
                  <a:close/>
                  <a:moveTo>
                    <a:pt x="281" y="2143"/>
                  </a:moveTo>
                  <a:cubicBezTo>
                    <a:pt x="132" y="2143"/>
                    <a:pt x="17" y="2275"/>
                    <a:pt x="17" y="2424"/>
                  </a:cubicBezTo>
                  <a:cubicBezTo>
                    <a:pt x="17" y="2572"/>
                    <a:pt x="132" y="2687"/>
                    <a:pt x="281" y="2687"/>
                  </a:cubicBezTo>
                  <a:lnTo>
                    <a:pt x="3577" y="2687"/>
                  </a:lnTo>
                  <a:cubicBezTo>
                    <a:pt x="3585" y="2688"/>
                    <a:pt x="3594" y="2689"/>
                    <a:pt x="3602" y="2689"/>
                  </a:cubicBezTo>
                  <a:cubicBezTo>
                    <a:pt x="3740" y="2689"/>
                    <a:pt x="3857" y="2563"/>
                    <a:pt x="3857" y="2424"/>
                  </a:cubicBezTo>
                  <a:cubicBezTo>
                    <a:pt x="3857" y="2275"/>
                    <a:pt x="3725" y="2143"/>
                    <a:pt x="3577" y="2143"/>
                  </a:cubicBezTo>
                  <a:close/>
                  <a:moveTo>
                    <a:pt x="3602" y="4301"/>
                  </a:moveTo>
                  <a:cubicBezTo>
                    <a:pt x="3594" y="4301"/>
                    <a:pt x="3585" y="4302"/>
                    <a:pt x="3577" y="4302"/>
                  </a:cubicBezTo>
                  <a:lnTo>
                    <a:pt x="281" y="4302"/>
                  </a:lnTo>
                  <a:cubicBezTo>
                    <a:pt x="132" y="4302"/>
                    <a:pt x="17" y="4418"/>
                    <a:pt x="17" y="4566"/>
                  </a:cubicBezTo>
                  <a:cubicBezTo>
                    <a:pt x="17" y="4714"/>
                    <a:pt x="132" y="4846"/>
                    <a:pt x="281" y="4846"/>
                  </a:cubicBezTo>
                  <a:lnTo>
                    <a:pt x="3577" y="4846"/>
                  </a:lnTo>
                  <a:cubicBezTo>
                    <a:pt x="3725" y="4846"/>
                    <a:pt x="3857" y="4714"/>
                    <a:pt x="3857" y="4566"/>
                  </a:cubicBezTo>
                  <a:cubicBezTo>
                    <a:pt x="3857" y="4426"/>
                    <a:pt x="3740" y="4301"/>
                    <a:pt x="3602" y="4301"/>
                  </a:cubicBezTo>
                  <a:close/>
                  <a:moveTo>
                    <a:pt x="281" y="6445"/>
                  </a:moveTo>
                  <a:cubicBezTo>
                    <a:pt x="132" y="6445"/>
                    <a:pt x="17" y="6560"/>
                    <a:pt x="17" y="6709"/>
                  </a:cubicBezTo>
                  <a:cubicBezTo>
                    <a:pt x="1" y="6873"/>
                    <a:pt x="132" y="6989"/>
                    <a:pt x="281" y="6989"/>
                  </a:cubicBezTo>
                  <a:lnTo>
                    <a:pt x="3577" y="6989"/>
                  </a:lnTo>
                  <a:cubicBezTo>
                    <a:pt x="3725" y="6989"/>
                    <a:pt x="3857" y="6873"/>
                    <a:pt x="3857" y="6709"/>
                  </a:cubicBezTo>
                  <a:cubicBezTo>
                    <a:pt x="3857" y="6560"/>
                    <a:pt x="3725" y="6445"/>
                    <a:pt x="3577" y="6445"/>
                  </a:cubicBezTo>
                  <a:close/>
                  <a:moveTo>
                    <a:pt x="281" y="8588"/>
                  </a:moveTo>
                  <a:cubicBezTo>
                    <a:pt x="132" y="8588"/>
                    <a:pt x="17" y="8719"/>
                    <a:pt x="17" y="8868"/>
                  </a:cubicBezTo>
                  <a:cubicBezTo>
                    <a:pt x="17" y="9016"/>
                    <a:pt x="132" y="9131"/>
                    <a:pt x="281" y="9131"/>
                  </a:cubicBezTo>
                  <a:lnTo>
                    <a:pt x="3577" y="9131"/>
                  </a:lnTo>
                  <a:cubicBezTo>
                    <a:pt x="3725" y="9131"/>
                    <a:pt x="3857" y="9016"/>
                    <a:pt x="3857" y="8868"/>
                  </a:cubicBezTo>
                  <a:cubicBezTo>
                    <a:pt x="3857" y="8719"/>
                    <a:pt x="3725" y="8588"/>
                    <a:pt x="3577" y="8588"/>
                  </a:cubicBezTo>
                  <a:close/>
                  <a:moveTo>
                    <a:pt x="281" y="10730"/>
                  </a:moveTo>
                  <a:cubicBezTo>
                    <a:pt x="132" y="10730"/>
                    <a:pt x="17" y="10862"/>
                    <a:pt x="17" y="11010"/>
                  </a:cubicBezTo>
                  <a:cubicBezTo>
                    <a:pt x="17" y="11159"/>
                    <a:pt x="132" y="11290"/>
                    <a:pt x="281" y="11290"/>
                  </a:cubicBezTo>
                  <a:lnTo>
                    <a:pt x="3577" y="11290"/>
                  </a:lnTo>
                  <a:cubicBezTo>
                    <a:pt x="3725" y="11290"/>
                    <a:pt x="3857" y="11159"/>
                    <a:pt x="3857" y="11010"/>
                  </a:cubicBezTo>
                  <a:cubicBezTo>
                    <a:pt x="3857" y="10862"/>
                    <a:pt x="3725" y="10730"/>
                    <a:pt x="3577" y="10730"/>
                  </a:cubicBezTo>
                  <a:close/>
                  <a:moveTo>
                    <a:pt x="281" y="12889"/>
                  </a:moveTo>
                  <a:cubicBezTo>
                    <a:pt x="132" y="12889"/>
                    <a:pt x="1" y="13004"/>
                    <a:pt x="17" y="13153"/>
                  </a:cubicBezTo>
                  <a:cubicBezTo>
                    <a:pt x="17" y="13318"/>
                    <a:pt x="132" y="13433"/>
                    <a:pt x="281" y="13433"/>
                  </a:cubicBezTo>
                  <a:lnTo>
                    <a:pt x="3577" y="13433"/>
                  </a:lnTo>
                  <a:cubicBezTo>
                    <a:pt x="3725" y="13433"/>
                    <a:pt x="3857" y="13301"/>
                    <a:pt x="3857" y="13153"/>
                  </a:cubicBezTo>
                  <a:cubicBezTo>
                    <a:pt x="3857" y="13004"/>
                    <a:pt x="3725" y="12889"/>
                    <a:pt x="3577" y="1288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3" name="Google Shape;1523;p48"/>
            <p:cNvSpPr/>
            <p:nvPr/>
          </p:nvSpPr>
          <p:spPr>
            <a:xfrm>
              <a:off x="3581300" y="906125"/>
              <a:ext cx="96050" cy="438825"/>
            </a:xfrm>
            <a:custGeom>
              <a:avLst/>
              <a:gdLst/>
              <a:ahLst/>
              <a:cxnLst/>
              <a:rect l="l" t="t" r="r" b="b"/>
              <a:pathLst>
                <a:path w="3842" h="17553" extrusionOk="0">
                  <a:moveTo>
                    <a:pt x="281" y="1"/>
                  </a:moveTo>
                  <a:cubicBezTo>
                    <a:pt x="116" y="1"/>
                    <a:pt x="1" y="132"/>
                    <a:pt x="1" y="281"/>
                  </a:cubicBezTo>
                  <a:cubicBezTo>
                    <a:pt x="1" y="429"/>
                    <a:pt x="116" y="561"/>
                    <a:pt x="281" y="561"/>
                  </a:cubicBezTo>
                  <a:lnTo>
                    <a:pt x="3577" y="561"/>
                  </a:lnTo>
                  <a:cubicBezTo>
                    <a:pt x="3726" y="561"/>
                    <a:pt x="3841" y="429"/>
                    <a:pt x="3841" y="281"/>
                  </a:cubicBezTo>
                  <a:cubicBezTo>
                    <a:pt x="3841" y="132"/>
                    <a:pt x="3726" y="1"/>
                    <a:pt x="3577" y="1"/>
                  </a:cubicBezTo>
                  <a:close/>
                  <a:moveTo>
                    <a:pt x="281" y="2127"/>
                  </a:moveTo>
                  <a:cubicBezTo>
                    <a:pt x="116" y="2127"/>
                    <a:pt x="1" y="2259"/>
                    <a:pt x="1" y="2407"/>
                  </a:cubicBezTo>
                  <a:cubicBezTo>
                    <a:pt x="1" y="2555"/>
                    <a:pt x="116" y="2687"/>
                    <a:pt x="281" y="2687"/>
                  </a:cubicBezTo>
                  <a:lnTo>
                    <a:pt x="3577" y="2687"/>
                  </a:lnTo>
                  <a:cubicBezTo>
                    <a:pt x="3726" y="2687"/>
                    <a:pt x="3841" y="2555"/>
                    <a:pt x="3841" y="2407"/>
                  </a:cubicBezTo>
                  <a:cubicBezTo>
                    <a:pt x="3841" y="2259"/>
                    <a:pt x="3726" y="2127"/>
                    <a:pt x="3577" y="2127"/>
                  </a:cubicBezTo>
                  <a:close/>
                  <a:moveTo>
                    <a:pt x="281" y="4253"/>
                  </a:moveTo>
                  <a:cubicBezTo>
                    <a:pt x="116" y="4253"/>
                    <a:pt x="1" y="4385"/>
                    <a:pt x="1" y="4533"/>
                  </a:cubicBezTo>
                  <a:cubicBezTo>
                    <a:pt x="1" y="4681"/>
                    <a:pt x="116" y="4797"/>
                    <a:pt x="281" y="4813"/>
                  </a:cubicBezTo>
                  <a:lnTo>
                    <a:pt x="3577" y="4813"/>
                  </a:lnTo>
                  <a:cubicBezTo>
                    <a:pt x="3726" y="4797"/>
                    <a:pt x="3841" y="4681"/>
                    <a:pt x="3841" y="4533"/>
                  </a:cubicBezTo>
                  <a:cubicBezTo>
                    <a:pt x="3841" y="4385"/>
                    <a:pt x="3726" y="4253"/>
                    <a:pt x="3577" y="4253"/>
                  </a:cubicBezTo>
                  <a:close/>
                  <a:moveTo>
                    <a:pt x="281" y="6379"/>
                  </a:moveTo>
                  <a:cubicBezTo>
                    <a:pt x="116" y="6379"/>
                    <a:pt x="1" y="6511"/>
                    <a:pt x="1" y="6659"/>
                  </a:cubicBezTo>
                  <a:cubicBezTo>
                    <a:pt x="1" y="6807"/>
                    <a:pt x="116" y="6923"/>
                    <a:pt x="281" y="6923"/>
                  </a:cubicBezTo>
                  <a:lnTo>
                    <a:pt x="3577" y="6923"/>
                  </a:lnTo>
                  <a:cubicBezTo>
                    <a:pt x="3726" y="6923"/>
                    <a:pt x="3841" y="6807"/>
                    <a:pt x="3841" y="6659"/>
                  </a:cubicBezTo>
                  <a:cubicBezTo>
                    <a:pt x="3841" y="6511"/>
                    <a:pt x="3726" y="6379"/>
                    <a:pt x="3577" y="6379"/>
                  </a:cubicBezTo>
                  <a:close/>
                  <a:moveTo>
                    <a:pt x="281" y="8505"/>
                  </a:moveTo>
                  <a:cubicBezTo>
                    <a:pt x="116" y="8505"/>
                    <a:pt x="1" y="8637"/>
                    <a:pt x="1" y="8785"/>
                  </a:cubicBezTo>
                  <a:cubicBezTo>
                    <a:pt x="1" y="8933"/>
                    <a:pt x="116" y="9049"/>
                    <a:pt x="281" y="9049"/>
                  </a:cubicBezTo>
                  <a:lnTo>
                    <a:pt x="3577" y="9049"/>
                  </a:lnTo>
                  <a:cubicBezTo>
                    <a:pt x="3726" y="9049"/>
                    <a:pt x="3841" y="8933"/>
                    <a:pt x="3841" y="8785"/>
                  </a:cubicBezTo>
                  <a:cubicBezTo>
                    <a:pt x="3841" y="8637"/>
                    <a:pt x="3726" y="8505"/>
                    <a:pt x="3577" y="8505"/>
                  </a:cubicBezTo>
                  <a:close/>
                  <a:moveTo>
                    <a:pt x="281" y="10631"/>
                  </a:moveTo>
                  <a:cubicBezTo>
                    <a:pt x="116" y="10631"/>
                    <a:pt x="1" y="10746"/>
                    <a:pt x="1" y="10911"/>
                  </a:cubicBezTo>
                  <a:cubicBezTo>
                    <a:pt x="1" y="11059"/>
                    <a:pt x="116" y="11175"/>
                    <a:pt x="281" y="11175"/>
                  </a:cubicBezTo>
                  <a:lnTo>
                    <a:pt x="3577" y="11175"/>
                  </a:lnTo>
                  <a:cubicBezTo>
                    <a:pt x="3726" y="11175"/>
                    <a:pt x="3841" y="11059"/>
                    <a:pt x="3841" y="10911"/>
                  </a:cubicBezTo>
                  <a:cubicBezTo>
                    <a:pt x="3841" y="10746"/>
                    <a:pt x="3726" y="10631"/>
                    <a:pt x="3577" y="10631"/>
                  </a:cubicBezTo>
                  <a:close/>
                  <a:moveTo>
                    <a:pt x="281" y="12757"/>
                  </a:moveTo>
                  <a:cubicBezTo>
                    <a:pt x="116" y="12757"/>
                    <a:pt x="1" y="12872"/>
                    <a:pt x="1" y="13037"/>
                  </a:cubicBezTo>
                  <a:cubicBezTo>
                    <a:pt x="1" y="13185"/>
                    <a:pt x="116" y="13301"/>
                    <a:pt x="281" y="13301"/>
                  </a:cubicBezTo>
                  <a:lnTo>
                    <a:pt x="3577" y="13301"/>
                  </a:lnTo>
                  <a:cubicBezTo>
                    <a:pt x="3726" y="13301"/>
                    <a:pt x="3841" y="13185"/>
                    <a:pt x="3841" y="13037"/>
                  </a:cubicBezTo>
                  <a:cubicBezTo>
                    <a:pt x="3841" y="12872"/>
                    <a:pt x="3726" y="12757"/>
                    <a:pt x="3577" y="12757"/>
                  </a:cubicBezTo>
                  <a:close/>
                  <a:moveTo>
                    <a:pt x="281" y="14883"/>
                  </a:moveTo>
                  <a:cubicBezTo>
                    <a:pt x="116" y="14883"/>
                    <a:pt x="1" y="14998"/>
                    <a:pt x="1" y="15147"/>
                  </a:cubicBezTo>
                  <a:cubicBezTo>
                    <a:pt x="1" y="15312"/>
                    <a:pt x="116" y="15427"/>
                    <a:pt x="281" y="15427"/>
                  </a:cubicBezTo>
                  <a:lnTo>
                    <a:pt x="3577" y="15427"/>
                  </a:lnTo>
                  <a:cubicBezTo>
                    <a:pt x="3726" y="15427"/>
                    <a:pt x="3841" y="15312"/>
                    <a:pt x="3841" y="15147"/>
                  </a:cubicBezTo>
                  <a:cubicBezTo>
                    <a:pt x="3841" y="14998"/>
                    <a:pt x="3726" y="14883"/>
                    <a:pt x="3577" y="14883"/>
                  </a:cubicBezTo>
                  <a:close/>
                  <a:moveTo>
                    <a:pt x="281" y="17009"/>
                  </a:moveTo>
                  <a:cubicBezTo>
                    <a:pt x="116" y="17009"/>
                    <a:pt x="1" y="17124"/>
                    <a:pt x="1" y="17273"/>
                  </a:cubicBezTo>
                  <a:cubicBezTo>
                    <a:pt x="1" y="17438"/>
                    <a:pt x="116" y="17553"/>
                    <a:pt x="281" y="17553"/>
                  </a:cubicBezTo>
                  <a:lnTo>
                    <a:pt x="3577" y="17553"/>
                  </a:lnTo>
                  <a:cubicBezTo>
                    <a:pt x="3726" y="17553"/>
                    <a:pt x="3841" y="17438"/>
                    <a:pt x="3841" y="17273"/>
                  </a:cubicBezTo>
                  <a:cubicBezTo>
                    <a:pt x="3841" y="17124"/>
                    <a:pt x="3726" y="17009"/>
                    <a:pt x="3577" y="1700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4" name="Google Shape;1524;p48"/>
            <p:cNvSpPr/>
            <p:nvPr/>
          </p:nvSpPr>
          <p:spPr>
            <a:xfrm>
              <a:off x="4362525" y="1176825"/>
              <a:ext cx="96025" cy="168125"/>
            </a:xfrm>
            <a:custGeom>
              <a:avLst/>
              <a:gdLst/>
              <a:ahLst/>
              <a:cxnLst/>
              <a:rect l="l" t="t" r="r" b="b"/>
              <a:pathLst>
                <a:path w="3841" h="6725" extrusionOk="0">
                  <a:moveTo>
                    <a:pt x="280" y="1"/>
                  </a:moveTo>
                  <a:cubicBezTo>
                    <a:pt x="132" y="1"/>
                    <a:pt x="0" y="116"/>
                    <a:pt x="0" y="281"/>
                  </a:cubicBezTo>
                  <a:cubicBezTo>
                    <a:pt x="0" y="429"/>
                    <a:pt x="132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061"/>
                  </a:moveTo>
                  <a:cubicBezTo>
                    <a:pt x="132" y="2061"/>
                    <a:pt x="0" y="2176"/>
                    <a:pt x="0" y="2341"/>
                  </a:cubicBezTo>
                  <a:cubicBezTo>
                    <a:pt x="0" y="2489"/>
                    <a:pt x="132" y="2605"/>
                    <a:pt x="280" y="2605"/>
                  </a:cubicBezTo>
                  <a:lnTo>
                    <a:pt x="3577" y="2605"/>
                  </a:lnTo>
                  <a:cubicBezTo>
                    <a:pt x="3725" y="2605"/>
                    <a:pt x="3840" y="2489"/>
                    <a:pt x="3840" y="2341"/>
                  </a:cubicBezTo>
                  <a:cubicBezTo>
                    <a:pt x="3840" y="2176"/>
                    <a:pt x="3725" y="2061"/>
                    <a:pt x="3577" y="2061"/>
                  </a:cubicBezTo>
                  <a:close/>
                  <a:moveTo>
                    <a:pt x="280" y="4121"/>
                  </a:moveTo>
                  <a:cubicBezTo>
                    <a:pt x="132" y="4121"/>
                    <a:pt x="0" y="4236"/>
                    <a:pt x="0" y="4401"/>
                  </a:cubicBezTo>
                  <a:cubicBezTo>
                    <a:pt x="0" y="4549"/>
                    <a:pt x="132" y="4665"/>
                    <a:pt x="280" y="4665"/>
                  </a:cubicBezTo>
                  <a:lnTo>
                    <a:pt x="3577" y="4665"/>
                  </a:lnTo>
                  <a:cubicBezTo>
                    <a:pt x="3725" y="4665"/>
                    <a:pt x="3840" y="4549"/>
                    <a:pt x="3840" y="4401"/>
                  </a:cubicBezTo>
                  <a:cubicBezTo>
                    <a:pt x="3840" y="4236"/>
                    <a:pt x="3725" y="4121"/>
                    <a:pt x="3577" y="4121"/>
                  </a:cubicBezTo>
                  <a:close/>
                  <a:moveTo>
                    <a:pt x="280" y="6181"/>
                  </a:moveTo>
                  <a:cubicBezTo>
                    <a:pt x="132" y="6181"/>
                    <a:pt x="0" y="6296"/>
                    <a:pt x="0" y="6445"/>
                  </a:cubicBezTo>
                  <a:cubicBezTo>
                    <a:pt x="0" y="6610"/>
                    <a:pt x="132" y="6725"/>
                    <a:pt x="280" y="6725"/>
                  </a:cubicBezTo>
                  <a:lnTo>
                    <a:pt x="3577" y="6725"/>
                  </a:lnTo>
                  <a:cubicBezTo>
                    <a:pt x="3725" y="6725"/>
                    <a:pt x="3840" y="6610"/>
                    <a:pt x="3840" y="6445"/>
                  </a:cubicBezTo>
                  <a:cubicBezTo>
                    <a:pt x="3840" y="6296"/>
                    <a:pt x="3725" y="6181"/>
                    <a:pt x="3577" y="618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5" name="Google Shape;1525;p48"/>
            <p:cNvSpPr/>
            <p:nvPr/>
          </p:nvSpPr>
          <p:spPr>
            <a:xfrm>
              <a:off x="4054325" y="1125325"/>
              <a:ext cx="96025" cy="219625"/>
            </a:xfrm>
            <a:custGeom>
              <a:avLst/>
              <a:gdLst/>
              <a:ahLst/>
              <a:cxnLst/>
              <a:rect l="l" t="t" r="r" b="b"/>
              <a:pathLst>
                <a:path w="3841" h="8785" extrusionOk="0">
                  <a:moveTo>
                    <a:pt x="264" y="1"/>
                  </a:moveTo>
                  <a:cubicBezTo>
                    <a:pt x="116" y="1"/>
                    <a:pt x="0" y="132"/>
                    <a:pt x="17" y="281"/>
                  </a:cubicBezTo>
                  <a:cubicBezTo>
                    <a:pt x="17" y="446"/>
                    <a:pt x="132" y="561"/>
                    <a:pt x="281" y="561"/>
                  </a:cubicBezTo>
                  <a:lnTo>
                    <a:pt x="3577" y="561"/>
                  </a:lnTo>
                  <a:cubicBezTo>
                    <a:pt x="3725" y="561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60" y="1"/>
                  </a:cubicBezTo>
                  <a:close/>
                  <a:moveTo>
                    <a:pt x="264" y="2061"/>
                  </a:moveTo>
                  <a:cubicBezTo>
                    <a:pt x="116" y="2061"/>
                    <a:pt x="0" y="2176"/>
                    <a:pt x="0" y="2341"/>
                  </a:cubicBezTo>
                  <a:cubicBezTo>
                    <a:pt x="0" y="2489"/>
                    <a:pt x="116" y="2605"/>
                    <a:pt x="264" y="2605"/>
                  </a:cubicBezTo>
                  <a:lnTo>
                    <a:pt x="3560" y="2605"/>
                  </a:lnTo>
                  <a:cubicBezTo>
                    <a:pt x="3709" y="2605"/>
                    <a:pt x="3840" y="2489"/>
                    <a:pt x="3840" y="2341"/>
                  </a:cubicBezTo>
                  <a:cubicBezTo>
                    <a:pt x="3840" y="2176"/>
                    <a:pt x="3725" y="2061"/>
                    <a:pt x="3560" y="2061"/>
                  </a:cubicBezTo>
                  <a:close/>
                  <a:moveTo>
                    <a:pt x="264" y="4121"/>
                  </a:moveTo>
                  <a:cubicBezTo>
                    <a:pt x="116" y="4121"/>
                    <a:pt x="0" y="4236"/>
                    <a:pt x="0" y="4401"/>
                  </a:cubicBezTo>
                  <a:cubicBezTo>
                    <a:pt x="0" y="4549"/>
                    <a:pt x="116" y="4665"/>
                    <a:pt x="264" y="4665"/>
                  </a:cubicBezTo>
                  <a:lnTo>
                    <a:pt x="3560" y="4665"/>
                  </a:lnTo>
                  <a:cubicBezTo>
                    <a:pt x="3709" y="4665"/>
                    <a:pt x="3840" y="4549"/>
                    <a:pt x="3840" y="4401"/>
                  </a:cubicBezTo>
                  <a:cubicBezTo>
                    <a:pt x="3840" y="4236"/>
                    <a:pt x="3725" y="4121"/>
                    <a:pt x="3560" y="4121"/>
                  </a:cubicBezTo>
                  <a:close/>
                  <a:moveTo>
                    <a:pt x="264" y="6181"/>
                  </a:moveTo>
                  <a:cubicBezTo>
                    <a:pt x="116" y="6181"/>
                    <a:pt x="0" y="6296"/>
                    <a:pt x="0" y="6461"/>
                  </a:cubicBezTo>
                  <a:cubicBezTo>
                    <a:pt x="0" y="6609"/>
                    <a:pt x="116" y="6725"/>
                    <a:pt x="264" y="6725"/>
                  </a:cubicBezTo>
                  <a:lnTo>
                    <a:pt x="3560" y="6725"/>
                  </a:lnTo>
                  <a:cubicBezTo>
                    <a:pt x="3725" y="6725"/>
                    <a:pt x="3840" y="6609"/>
                    <a:pt x="3840" y="6461"/>
                  </a:cubicBezTo>
                  <a:cubicBezTo>
                    <a:pt x="3840" y="6296"/>
                    <a:pt x="3725" y="6181"/>
                    <a:pt x="3560" y="6181"/>
                  </a:cubicBezTo>
                  <a:close/>
                  <a:moveTo>
                    <a:pt x="281" y="8225"/>
                  </a:moveTo>
                  <a:cubicBezTo>
                    <a:pt x="132" y="8225"/>
                    <a:pt x="0" y="8356"/>
                    <a:pt x="17" y="8505"/>
                  </a:cubicBezTo>
                  <a:cubicBezTo>
                    <a:pt x="0" y="8653"/>
                    <a:pt x="116" y="8785"/>
                    <a:pt x="264" y="8785"/>
                  </a:cubicBezTo>
                  <a:lnTo>
                    <a:pt x="3560" y="8785"/>
                  </a:lnTo>
                  <a:cubicBezTo>
                    <a:pt x="3725" y="8785"/>
                    <a:pt x="3840" y="8653"/>
                    <a:pt x="3840" y="8505"/>
                  </a:cubicBezTo>
                  <a:cubicBezTo>
                    <a:pt x="3840" y="8356"/>
                    <a:pt x="3725" y="8241"/>
                    <a:pt x="3577" y="8225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6" name="Google Shape;1526;p48"/>
            <p:cNvSpPr/>
            <p:nvPr/>
          </p:nvSpPr>
          <p:spPr>
            <a:xfrm>
              <a:off x="4670725" y="1060650"/>
              <a:ext cx="96425" cy="284300"/>
            </a:xfrm>
            <a:custGeom>
              <a:avLst/>
              <a:gdLst/>
              <a:ahLst/>
              <a:cxnLst/>
              <a:rect l="l" t="t" r="r" b="b"/>
              <a:pathLst>
                <a:path w="3857" h="11372" extrusionOk="0">
                  <a:moveTo>
                    <a:pt x="280" y="0"/>
                  </a:moveTo>
                  <a:cubicBezTo>
                    <a:pt x="132" y="0"/>
                    <a:pt x="0" y="115"/>
                    <a:pt x="0" y="264"/>
                  </a:cubicBezTo>
                  <a:cubicBezTo>
                    <a:pt x="0" y="412"/>
                    <a:pt x="132" y="544"/>
                    <a:pt x="280" y="544"/>
                  </a:cubicBezTo>
                  <a:lnTo>
                    <a:pt x="3577" y="544"/>
                  </a:lnTo>
                  <a:cubicBezTo>
                    <a:pt x="3725" y="544"/>
                    <a:pt x="3857" y="429"/>
                    <a:pt x="3857" y="264"/>
                  </a:cubicBezTo>
                  <a:cubicBezTo>
                    <a:pt x="3857" y="115"/>
                    <a:pt x="3725" y="0"/>
                    <a:pt x="3577" y="0"/>
                  </a:cubicBezTo>
                  <a:close/>
                  <a:moveTo>
                    <a:pt x="280" y="2159"/>
                  </a:moveTo>
                  <a:cubicBezTo>
                    <a:pt x="132" y="2159"/>
                    <a:pt x="17" y="2291"/>
                    <a:pt x="17" y="2439"/>
                  </a:cubicBezTo>
                  <a:cubicBezTo>
                    <a:pt x="17" y="2588"/>
                    <a:pt x="148" y="2719"/>
                    <a:pt x="297" y="2719"/>
                  </a:cubicBezTo>
                  <a:lnTo>
                    <a:pt x="3593" y="2719"/>
                  </a:lnTo>
                  <a:cubicBezTo>
                    <a:pt x="3741" y="2703"/>
                    <a:pt x="3857" y="2588"/>
                    <a:pt x="3857" y="2439"/>
                  </a:cubicBezTo>
                  <a:cubicBezTo>
                    <a:pt x="3857" y="2291"/>
                    <a:pt x="3725" y="2159"/>
                    <a:pt x="3577" y="2159"/>
                  </a:cubicBezTo>
                  <a:close/>
                  <a:moveTo>
                    <a:pt x="255" y="4333"/>
                  </a:moveTo>
                  <a:cubicBezTo>
                    <a:pt x="117" y="4333"/>
                    <a:pt x="0" y="4458"/>
                    <a:pt x="0" y="4598"/>
                  </a:cubicBezTo>
                  <a:cubicBezTo>
                    <a:pt x="0" y="4747"/>
                    <a:pt x="132" y="4878"/>
                    <a:pt x="280" y="4878"/>
                  </a:cubicBezTo>
                  <a:lnTo>
                    <a:pt x="3577" y="4878"/>
                  </a:lnTo>
                  <a:cubicBezTo>
                    <a:pt x="3725" y="4878"/>
                    <a:pt x="3857" y="4747"/>
                    <a:pt x="3857" y="4598"/>
                  </a:cubicBezTo>
                  <a:cubicBezTo>
                    <a:pt x="3857" y="4458"/>
                    <a:pt x="3739" y="4333"/>
                    <a:pt x="3602" y="4333"/>
                  </a:cubicBezTo>
                  <a:cubicBezTo>
                    <a:pt x="3593" y="4333"/>
                    <a:pt x="3585" y="4334"/>
                    <a:pt x="3577" y="4335"/>
                  </a:cubicBezTo>
                  <a:lnTo>
                    <a:pt x="280" y="4335"/>
                  </a:lnTo>
                  <a:cubicBezTo>
                    <a:pt x="272" y="4334"/>
                    <a:pt x="263" y="4333"/>
                    <a:pt x="255" y="4333"/>
                  </a:cubicBezTo>
                  <a:close/>
                  <a:moveTo>
                    <a:pt x="280" y="6494"/>
                  </a:moveTo>
                  <a:cubicBezTo>
                    <a:pt x="132" y="6494"/>
                    <a:pt x="0" y="6609"/>
                    <a:pt x="0" y="6774"/>
                  </a:cubicBezTo>
                  <a:cubicBezTo>
                    <a:pt x="0" y="6922"/>
                    <a:pt x="132" y="7037"/>
                    <a:pt x="280" y="7037"/>
                  </a:cubicBezTo>
                  <a:lnTo>
                    <a:pt x="3577" y="7037"/>
                  </a:lnTo>
                  <a:cubicBezTo>
                    <a:pt x="3725" y="7037"/>
                    <a:pt x="3857" y="6922"/>
                    <a:pt x="3857" y="6774"/>
                  </a:cubicBezTo>
                  <a:cubicBezTo>
                    <a:pt x="3857" y="6609"/>
                    <a:pt x="3725" y="6494"/>
                    <a:pt x="3577" y="6494"/>
                  </a:cubicBezTo>
                  <a:close/>
                  <a:moveTo>
                    <a:pt x="280" y="8653"/>
                  </a:moveTo>
                  <a:cubicBezTo>
                    <a:pt x="132" y="8653"/>
                    <a:pt x="0" y="8784"/>
                    <a:pt x="0" y="8933"/>
                  </a:cubicBezTo>
                  <a:cubicBezTo>
                    <a:pt x="0" y="9081"/>
                    <a:pt x="132" y="9213"/>
                    <a:pt x="280" y="9213"/>
                  </a:cubicBezTo>
                  <a:lnTo>
                    <a:pt x="3577" y="9213"/>
                  </a:lnTo>
                  <a:cubicBezTo>
                    <a:pt x="3725" y="9213"/>
                    <a:pt x="3857" y="9081"/>
                    <a:pt x="3857" y="8933"/>
                  </a:cubicBezTo>
                  <a:cubicBezTo>
                    <a:pt x="3857" y="8784"/>
                    <a:pt x="3725" y="8653"/>
                    <a:pt x="3577" y="8653"/>
                  </a:cubicBezTo>
                  <a:close/>
                  <a:moveTo>
                    <a:pt x="280" y="10828"/>
                  </a:moveTo>
                  <a:cubicBezTo>
                    <a:pt x="132" y="10828"/>
                    <a:pt x="0" y="10943"/>
                    <a:pt x="0" y="11092"/>
                  </a:cubicBezTo>
                  <a:cubicBezTo>
                    <a:pt x="0" y="11257"/>
                    <a:pt x="132" y="11372"/>
                    <a:pt x="280" y="11372"/>
                  </a:cubicBezTo>
                  <a:lnTo>
                    <a:pt x="3577" y="11372"/>
                  </a:lnTo>
                  <a:cubicBezTo>
                    <a:pt x="3725" y="11372"/>
                    <a:pt x="3857" y="11257"/>
                    <a:pt x="3857" y="11092"/>
                  </a:cubicBezTo>
                  <a:cubicBezTo>
                    <a:pt x="3857" y="10943"/>
                    <a:pt x="3725" y="10828"/>
                    <a:pt x="3577" y="10828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7" name="Google Shape;1527;p48"/>
            <p:cNvSpPr/>
            <p:nvPr/>
          </p:nvSpPr>
          <p:spPr>
            <a:xfrm>
              <a:off x="4821925" y="1279825"/>
              <a:ext cx="96025" cy="65125"/>
            </a:xfrm>
            <a:custGeom>
              <a:avLst/>
              <a:gdLst/>
              <a:ahLst/>
              <a:cxnLst/>
              <a:rect l="l" t="t" r="r" b="b"/>
              <a:pathLst>
                <a:path w="3841" h="2605" extrusionOk="0">
                  <a:moveTo>
                    <a:pt x="264" y="1"/>
                  </a:moveTo>
                  <a:cubicBezTo>
                    <a:pt x="116" y="1"/>
                    <a:pt x="1" y="116"/>
                    <a:pt x="1" y="281"/>
                  </a:cubicBezTo>
                  <a:cubicBezTo>
                    <a:pt x="1" y="429"/>
                    <a:pt x="116" y="545"/>
                    <a:pt x="264" y="545"/>
                  </a:cubicBezTo>
                  <a:lnTo>
                    <a:pt x="3561" y="545"/>
                  </a:lnTo>
                  <a:cubicBezTo>
                    <a:pt x="3709" y="545"/>
                    <a:pt x="3841" y="429"/>
                    <a:pt x="3841" y="281"/>
                  </a:cubicBezTo>
                  <a:cubicBezTo>
                    <a:pt x="3841" y="116"/>
                    <a:pt x="3709" y="1"/>
                    <a:pt x="3561" y="1"/>
                  </a:cubicBezTo>
                  <a:close/>
                  <a:moveTo>
                    <a:pt x="281" y="2045"/>
                  </a:moveTo>
                  <a:cubicBezTo>
                    <a:pt x="116" y="2045"/>
                    <a:pt x="1" y="2176"/>
                    <a:pt x="1" y="2325"/>
                  </a:cubicBezTo>
                  <a:cubicBezTo>
                    <a:pt x="1" y="2473"/>
                    <a:pt x="116" y="2605"/>
                    <a:pt x="264" y="2605"/>
                  </a:cubicBezTo>
                  <a:lnTo>
                    <a:pt x="3561" y="2605"/>
                  </a:lnTo>
                  <a:cubicBezTo>
                    <a:pt x="3725" y="2605"/>
                    <a:pt x="3841" y="2473"/>
                    <a:pt x="3841" y="2325"/>
                  </a:cubicBezTo>
                  <a:cubicBezTo>
                    <a:pt x="3841" y="2176"/>
                    <a:pt x="3725" y="2045"/>
                    <a:pt x="3577" y="2045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8" name="Google Shape;1528;p48"/>
            <p:cNvSpPr/>
            <p:nvPr/>
          </p:nvSpPr>
          <p:spPr>
            <a:xfrm>
              <a:off x="4211725" y="1009125"/>
              <a:ext cx="96425" cy="335825"/>
            </a:xfrm>
            <a:custGeom>
              <a:avLst/>
              <a:gdLst/>
              <a:ahLst/>
              <a:cxnLst/>
              <a:rect l="l" t="t" r="r" b="b"/>
              <a:pathLst>
                <a:path w="3857" h="13433" extrusionOk="0">
                  <a:moveTo>
                    <a:pt x="280" y="1"/>
                  </a:moveTo>
                  <a:cubicBezTo>
                    <a:pt x="132" y="1"/>
                    <a:pt x="0" y="116"/>
                    <a:pt x="0" y="265"/>
                  </a:cubicBezTo>
                  <a:cubicBezTo>
                    <a:pt x="0" y="429"/>
                    <a:pt x="132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57" y="429"/>
                    <a:pt x="3857" y="265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143"/>
                  </a:moveTo>
                  <a:cubicBezTo>
                    <a:pt x="132" y="2143"/>
                    <a:pt x="0" y="2275"/>
                    <a:pt x="0" y="2424"/>
                  </a:cubicBezTo>
                  <a:cubicBezTo>
                    <a:pt x="0" y="2572"/>
                    <a:pt x="132" y="2687"/>
                    <a:pt x="280" y="2687"/>
                  </a:cubicBezTo>
                  <a:lnTo>
                    <a:pt x="3577" y="2687"/>
                  </a:lnTo>
                  <a:cubicBezTo>
                    <a:pt x="3725" y="2687"/>
                    <a:pt x="3840" y="2572"/>
                    <a:pt x="3857" y="2424"/>
                  </a:cubicBezTo>
                  <a:cubicBezTo>
                    <a:pt x="3857" y="2275"/>
                    <a:pt x="3725" y="2143"/>
                    <a:pt x="3577" y="2143"/>
                  </a:cubicBezTo>
                  <a:close/>
                  <a:moveTo>
                    <a:pt x="280" y="4302"/>
                  </a:moveTo>
                  <a:cubicBezTo>
                    <a:pt x="132" y="4302"/>
                    <a:pt x="0" y="4418"/>
                    <a:pt x="0" y="4566"/>
                  </a:cubicBezTo>
                  <a:cubicBezTo>
                    <a:pt x="0" y="4714"/>
                    <a:pt x="132" y="4846"/>
                    <a:pt x="280" y="4846"/>
                  </a:cubicBezTo>
                  <a:lnTo>
                    <a:pt x="3577" y="4846"/>
                  </a:lnTo>
                  <a:cubicBezTo>
                    <a:pt x="3725" y="4846"/>
                    <a:pt x="3857" y="4714"/>
                    <a:pt x="3857" y="4566"/>
                  </a:cubicBezTo>
                  <a:cubicBezTo>
                    <a:pt x="3840" y="4418"/>
                    <a:pt x="3725" y="4302"/>
                    <a:pt x="3577" y="4302"/>
                  </a:cubicBezTo>
                  <a:close/>
                  <a:moveTo>
                    <a:pt x="280" y="6445"/>
                  </a:moveTo>
                  <a:cubicBezTo>
                    <a:pt x="132" y="6445"/>
                    <a:pt x="0" y="6560"/>
                    <a:pt x="0" y="6709"/>
                  </a:cubicBezTo>
                  <a:cubicBezTo>
                    <a:pt x="0" y="6873"/>
                    <a:pt x="132" y="6989"/>
                    <a:pt x="280" y="6989"/>
                  </a:cubicBezTo>
                  <a:lnTo>
                    <a:pt x="3577" y="6989"/>
                  </a:lnTo>
                  <a:cubicBezTo>
                    <a:pt x="3725" y="6989"/>
                    <a:pt x="3857" y="6873"/>
                    <a:pt x="3857" y="6709"/>
                  </a:cubicBezTo>
                  <a:cubicBezTo>
                    <a:pt x="3840" y="6560"/>
                    <a:pt x="3725" y="6445"/>
                    <a:pt x="3577" y="6445"/>
                  </a:cubicBezTo>
                  <a:close/>
                  <a:moveTo>
                    <a:pt x="280" y="8588"/>
                  </a:moveTo>
                  <a:cubicBezTo>
                    <a:pt x="132" y="8588"/>
                    <a:pt x="0" y="8719"/>
                    <a:pt x="0" y="8868"/>
                  </a:cubicBezTo>
                  <a:cubicBezTo>
                    <a:pt x="0" y="9016"/>
                    <a:pt x="132" y="9131"/>
                    <a:pt x="280" y="9131"/>
                  </a:cubicBezTo>
                  <a:lnTo>
                    <a:pt x="3577" y="9131"/>
                  </a:lnTo>
                  <a:cubicBezTo>
                    <a:pt x="3725" y="9131"/>
                    <a:pt x="3840" y="9016"/>
                    <a:pt x="3857" y="8868"/>
                  </a:cubicBezTo>
                  <a:cubicBezTo>
                    <a:pt x="3857" y="8719"/>
                    <a:pt x="3725" y="8588"/>
                    <a:pt x="3577" y="8588"/>
                  </a:cubicBezTo>
                  <a:close/>
                  <a:moveTo>
                    <a:pt x="280" y="10730"/>
                  </a:moveTo>
                  <a:cubicBezTo>
                    <a:pt x="132" y="10730"/>
                    <a:pt x="0" y="10862"/>
                    <a:pt x="0" y="11010"/>
                  </a:cubicBezTo>
                  <a:cubicBezTo>
                    <a:pt x="0" y="11159"/>
                    <a:pt x="132" y="11290"/>
                    <a:pt x="280" y="11290"/>
                  </a:cubicBezTo>
                  <a:lnTo>
                    <a:pt x="3577" y="11290"/>
                  </a:lnTo>
                  <a:cubicBezTo>
                    <a:pt x="3725" y="11290"/>
                    <a:pt x="3857" y="11159"/>
                    <a:pt x="3857" y="11010"/>
                  </a:cubicBezTo>
                  <a:cubicBezTo>
                    <a:pt x="3840" y="10862"/>
                    <a:pt x="3725" y="10730"/>
                    <a:pt x="3577" y="10730"/>
                  </a:cubicBezTo>
                  <a:close/>
                  <a:moveTo>
                    <a:pt x="280" y="12889"/>
                  </a:moveTo>
                  <a:cubicBezTo>
                    <a:pt x="132" y="12889"/>
                    <a:pt x="0" y="13004"/>
                    <a:pt x="0" y="13153"/>
                  </a:cubicBezTo>
                  <a:cubicBezTo>
                    <a:pt x="0" y="13318"/>
                    <a:pt x="132" y="13433"/>
                    <a:pt x="280" y="13433"/>
                  </a:cubicBezTo>
                  <a:lnTo>
                    <a:pt x="3577" y="13433"/>
                  </a:lnTo>
                  <a:cubicBezTo>
                    <a:pt x="3725" y="13433"/>
                    <a:pt x="3857" y="13301"/>
                    <a:pt x="3857" y="13153"/>
                  </a:cubicBezTo>
                  <a:cubicBezTo>
                    <a:pt x="3840" y="13004"/>
                    <a:pt x="3725" y="12889"/>
                    <a:pt x="3577" y="1288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9" name="Google Shape;1529;p48"/>
            <p:cNvSpPr/>
            <p:nvPr/>
          </p:nvSpPr>
          <p:spPr>
            <a:xfrm>
              <a:off x="4520325" y="906125"/>
              <a:ext cx="96025" cy="438825"/>
            </a:xfrm>
            <a:custGeom>
              <a:avLst/>
              <a:gdLst/>
              <a:ahLst/>
              <a:cxnLst/>
              <a:rect l="l" t="t" r="r" b="b"/>
              <a:pathLst>
                <a:path w="3841" h="17553" extrusionOk="0">
                  <a:moveTo>
                    <a:pt x="264" y="1"/>
                  </a:moveTo>
                  <a:cubicBezTo>
                    <a:pt x="116" y="1"/>
                    <a:pt x="0" y="132"/>
                    <a:pt x="0" y="281"/>
                  </a:cubicBezTo>
                  <a:cubicBezTo>
                    <a:pt x="0" y="429"/>
                    <a:pt x="116" y="561"/>
                    <a:pt x="264" y="561"/>
                  </a:cubicBezTo>
                  <a:lnTo>
                    <a:pt x="3560" y="561"/>
                  </a:lnTo>
                  <a:cubicBezTo>
                    <a:pt x="3725" y="561"/>
                    <a:pt x="3841" y="429"/>
                    <a:pt x="3841" y="281"/>
                  </a:cubicBezTo>
                  <a:cubicBezTo>
                    <a:pt x="3841" y="132"/>
                    <a:pt x="3725" y="1"/>
                    <a:pt x="3560" y="1"/>
                  </a:cubicBezTo>
                  <a:close/>
                  <a:moveTo>
                    <a:pt x="264" y="2127"/>
                  </a:moveTo>
                  <a:cubicBezTo>
                    <a:pt x="116" y="2127"/>
                    <a:pt x="0" y="2259"/>
                    <a:pt x="0" y="2407"/>
                  </a:cubicBezTo>
                  <a:cubicBezTo>
                    <a:pt x="0" y="2555"/>
                    <a:pt x="116" y="2687"/>
                    <a:pt x="264" y="2687"/>
                  </a:cubicBezTo>
                  <a:lnTo>
                    <a:pt x="3560" y="2687"/>
                  </a:lnTo>
                  <a:cubicBezTo>
                    <a:pt x="3725" y="2687"/>
                    <a:pt x="3841" y="2555"/>
                    <a:pt x="3841" y="2407"/>
                  </a:cubicBezTo>
                  <a:cubicBezTo>
                    <a:pt x="3841" y="2259"/>
                    <a:pt x="3725" y="2127"/>
                    <a:pt x="3560" y="2127"/>
                  </a:cubicBezTo>
                  <a:close/>
                  <a:moveTo>
                    <a:pt x="264" y="4253"/>
                  </a:moveTo>
                  <a:cubicBezTo>
                    <a:pt x="116" y="4253"/>
                    <a:pt x="0" y="4385"/>
                    <a:pt x="0" y="4533"/>
                  </a:cubicBezTo>
                  <a:cubicBezTo>
                    <a:pt x="0" y="4681"/>
                    <a:pt x="116" y="4797"/>
                    <a:pt x="264" y="4813"/>
                  </a:cubicBezTo>
                  <a:lnTo>
                    <a:pt x="3560" y="4813"/>
                  </a:lnTo>
                  <a:cubicBezTo>
                    <a:pt x="3725" y="4797"/>
                    <a:pt x="3841" y="4681"/>
                    <a:pt x="3841" y="4533"/>
                  </a:cubicBezTo>
                  <a:cubicBezTo>
                    <a:pt x="3841" y="4385"/>
                    <a:pt x="3725" y="4253"/>
                    <a:pt x="3560" y="4253"/>
                  </a:cubicBezTo>
                  <a:close/>
                  <a:moveTo>
                    <a:pt x="264" y="6379"/>
                  </a:moveTo>
                  <a:cubicBezTo>
                    <a:pt x="116" y="6379"/>
                    <a:pt x="0" y="6511"/>
                    <a:pt x="0" y="6659"/>
                  </a:cubicBezTo>
                  <a:cubicBezTo>
                    <a:pt x="0" y="6807"/>
                    <a:pt x="116" y="6923"/>
                    <a:pt x="264" y="6923"/>
                  </a:cubicBezTo>
                  <a:lnTo>
                    <a:pt x="3560" y="6923"/>
                  </a:lnTo>
                  <a:cubicBezTo>
                    <a:pt x="3725" y="6923"/>
                    <a:pt x="3841" y="6807"/>
                    <a:pt x="3841" y="6659"/>
                  </a:cubicBezTo>
                  <a:cubicBezTo>
                    <a:pt x="3841" y="6511"/>
                    <a:pt x="3725" y="6379"/>
                    <a:pt x="3560" y="6379"/>
                  </a:cubicBezTo>
                  <a:close/>
                  <a:moveTo>
                    <a:pt x="264" y="8505"/>
                  </a:moveTo>
                  <a:cubicBezTo>
                    <a:pt x="116" y="8505"/>
                    <a:pt x="0" y="8637"/>
                    <a:pt x="0" y="8785"/>
                  </a:cubicBezTo>
                  <a:cubicBezTo>
                    <a:pt x="0" y="8933"/>
                    <a:pt x="116" y="9049"/>
                    <a:pt x="264" y="9049"/>
                  </a:cubicBezTo>
                  <a:lnTo>
                    <a:pt x="3560" y="9049"/>
                  </a:lnTo>
                  <a:cubicBezTo>
                    <a:pt x="3725" y="9049"/>
                    <a:pt x="3841" y="8933"/>
                    <a:pt x="3841" y="8785"/>
                  </a:cubicBezTo>
                  <a:cubicBezTo>
                    <a:pt x="3841" y="8637"/>
                    <a:pt x="3725" y="8505"/>
                    <a:pt x="3560" y="8505"/>
                  </a:cubicBezTo>
                  <a:close/>
                  <a:moveTo>
                    <a:pt x="264" y="10631"/>
                  </a:moveTo>
                  <a:cubicBezTo>
                    <a:pt x="116" y="10631"/>
                    <a:pt x="0" y="10746"/>
                    <a:pt x="0" y="10911"/>
                  </a:cubicBezTo>
                  <a:cubicBezTo>
                    <a:pt x="0" y="11059"/>
                    <a:pt x="116" y="11175"/>
                    <a:pt x="264" y="11175"/>
                  </a:cubicBezTo>
                  <a:lnTo>
                    <a:pt x="3560" y="11175"/>
                  </a:lnTo>
                  <a:cubicBezTo>
                    <a:pt x="3725" y="11175"/>
                    <a:pt x="3841" y="11059"/>
                    <a:pt x="3841" y="10911"/>
                  </a:cubicBezTo>
                  <a:cubicBezTo>
                    <a:pt x="3841" y="10746"/>
                    <a:pt x="3725" y="10631"/>
                    <a:pt x="3560" y="10631"/>
                  </a:cubicBezTo>
                  <a:close/>
                  <a:moveTo>
                    <a:pt x="264" y="12757"/>
                  </a:moveTo>
                  <a:cubicBezTo>
                    <a:pt x="116" y="12757"/>
                    <a:pt x="0" y="12872"/>
                    <a:pt x="0" y="13037"/>
                  </a:cubicBezTo>
                  <a:cubicBezTo>
                    <a:pt x="0" y="13185"/>
                    <a:pt x="116" y="13301"/>
                    <a:pt x="264" y="13301"/>
                  </a:cubicBezTo>
                  <a:lnTo>
                    <a:pt x="3560" y="13301"/>
                  </a:lnTo>
                  <a:cubicBezTo>
                    <a:pt x="3725" y="13301"/>
                    <a:pt x="3841" y="13185"/>
                    <a:pt x="3841" y="13037"/>
                  </a:cubicBezTo>
                  <a:cubicBezTo>
                    <a:pt x="3841" y="12872"/>
                    <a:pt x="3725" y="12757"/>
                    <a:pt x="3560" y="12757"/>
                  </a:cubicBezTo>
                  <a:close/>
                  <a:moveTo>
                    <a:pt x="264" y="14883"/>
                  </a:moveTo>
                  <a:cubicBezTo>
                    <a:pt x="116" y="14883"/>
                    <a:pt x="0" y="14998"/>
                    <a:pt x="0" y="15147"/>
                  </a:cubicBezTo>
                  <a:cubicBezTo>
                    <a:pt x="0" y="15312"/>
                    <a:pt x="116" y="15427"/>
                    <a:pt x="264" y="15427"/>
                  </a:cubicBezTo>
                  <a:lnTo>
                    <a:pt x="3560" y="15427"/>
                  </a:lnTo>
                  <a:cubicBezTo>
                    <a:pt x="3725" y="15427"/>
                    <a:pt x="3841" y="15312"/>
                    <a:pt x="3841" y="15147"/>
                  </a:cubicBezTo>
                  <a:cubicBezTo>
                    <a:pt x="3841" y="14998"/>
                    <a:pt x="3725" y="14883"/>
                    <a:pt x="3560" y="14883"/>
                  </a:cubicBezTo>
                  <a:close/>
                  <a:moveTo>
                    <a:pt x="264" y="17009"/>
                  </a:moveTo>
                  <a:cubicBezTo>
                    <a:pt x="116" y="17009"/>
                    <a:pt x="0" y="17124"/>
                    <a:pt x="0" y="17273"/>
                  </a:cubicBezTo>
                  <a:cubicBezTo>
                    <a:pt x="0" y="17438"/>
                    <a:pt x="116" y="17553"/>
                    <a:pt x="264" y="17553"/>
                  </a:cubicBezTo>
                  <a:lnTo>
                    <a:pt x="3560" y="17553"/>
                  </a:lnTo>
                  <a:cubicBezTo>
                    <a:pt x="3725" y="17553"/>
                    <a:pt x="3841" y="17438"/>
                    <a:pt x="3841" y="17273"/>
                  </a:cubicBezTo>
                  <a:cubicBezTo>
                    <a:pt x="3841" y="17124"/>
                    <a:pt x="3725" y="17009"/>
                    <a:pt x="3560" y="17009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30" name="Google Shape;1530;p48"/>
          <p:cNvGrpSpPr/>
          <p:nvPr/>
        </p:nvGrpSpPr>
        <p:grpSpPr>
          <a:xfrm>
            <a:off x="3908794" y="3031128"/>
            <a:ext cx="1783614" cy="1537747"/>
            <a:chOff x="5496475" y="713700"/>
            <a:chExt cx="1382325" cy="1191775"/>
          </a:xfrm>
        </p:grpSpPr>
        <p:sp>
          <p:nvSpPr>
            <p:cNvPr id="1531" name="Google Shape;1531;p48"/>
            <p:cNvSpPr/>
            <p:nvPr/>
          </p:nvSpPr>
          <p:spPr>
            <a:xfrm>
              <a:off x="5754750" y="713700"/>
              <a:ext cx="929150" cy="929150"/>
            </a:xfrm>
            <a:custGeom>
              <a:avLst/>
              <a:gdLst/>
              <a:ahLst/>
              <a:cxnLst/>
              <a:rect l="l" t="t" r="r" b="b"/>
              <a:pathLst>
                <a:path w="37166" h="37166" extrusionOk="0">
                  <a:moveTo>
                    <a:pt x="18575" y="1"/>
                  </a:moveTo>
                  <a:cubicBezTo>
                    <a:pt x="8324" y="1"/>
                    <a:pt x="1" y="8324"/>
                    <a:pt x="1" y="18592"/>
                  </a:cubicBezTo>
                  <a:cubicBezTo>
                    <a:pt x="1" y="28859"/>
                    <a:pt x="8324" y="37166"/>
                    <a:pt x="18575" y="37166"/>
                  </a:cubicBezTo>
                  <a:cubicBezTo>
                    <a:pt x="28843" y="37166"/>
                    <a:pt x="37166" y="28859"/>
                    <a:pt x="37166" y="18592"/>
                  </a:cubicBezTo>
                  <a:cubicBezTo>
                    <a:pt x="37166" y="8324"/>
                    <a:pt x="28843" y="1"/>
                    <a:pt x="18575" y="1"/>
                  </a:cubicBezTo>
                  <a:close/>
                </a:path>
              </a:pathLst>
            </a:custGeom>
            <a:solidFill>
              <a:srgbClr val="00284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2" name="Google Shape;1532;p48"/>
            <p:cNvSpPr/>
            <p:nvPr/>
          </p:nvSpPr>
          <p:spPr>
            <a:xfrm rot="1576680">
              <a:off x="6293477" y="878587"/>
              <a:ext cx="454816" cy="417565"/>
            </a:xfrm>
            <a:custGeom>
              <a:avLst/>
              <a:gdLst/>
              <a:ahLst/>
              <a:cxnLst/>
              <a:rect l="l" t="t" r="r" b="b"/>
              <a:pathLst>
                <a:path w="19597" h="18279" extrusionOk="0">
                  <a:moveTo>
                    <a:pt x="9362" y="1"/>
                  </a:moveTo>
                  <a:lnTo>
                    <a:pt x="0" y="18279"/>
                  </a:lnTo>
                  <a:lnTo>
                    <a:pt x="0" y="18279"/>
                  </a:lnTo>
                  <a:lnTo>
                    <a:pt x="19597" y="12115"/>
                  </a:lnTo>
                  <a:cubicBezTo>
                    <a:pt x="17932" y="6874"/>
                    <a:pt x="14257" y="2506"/>
                    <a:pt x="93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3" name="Google Shape;1533;p48"/>
            <p:cNvSpPr/>
            <p:nvPr/>
          </p:nvSpPr>
          <p:spPr>
            <a:xfrm>
              <a:off x="5732541" y="713702"/>
              <a:ext cx="656800" cy="554100"/>
            </a:xfrm>
            <a:custGeom>
              <a:avLst/>
              <a:gdLst/>
              <a:ahLst/>
              <a:cxnLst/>
              <a:rect l="l" t="t" r="r" b="b"/>
              <a:pathLst>
                <a:path w="26272" h="22164" extrusionOk="0">
                  <a:moveTo>
                    <a:pt x="19533" y="0"/>
                  </a:moveTo>
                  <a:cubicBezTo>
                    <a:pt x="15242" y="0"/>
                    <a:pt x="11004" y="1485"/>
                    <a:pt x="7598" y="4331"/>
                  </a:cubicBezTo>
                  <a:cubicBezTo>
                    <a:pt x="2406" y="8682"/>
                    <a:pt x="0" y="15522"/>
                    <a:pt x="1302" y="22163"/>
                  </a:cubicBezTo>
                  <a:lnTo>
                    <a:pt x="19530" y="18571"/>
                  </a:lnTo>
                  <a:lnTo>
                    <a:pt x="26271" y="1265"/>
                  </a:lnTo>
                  <a:cubicBezTo>
                    <a:pt x="24087" y="416"/>
                    <a:pt x="21803" y="0"/>
                    <a:pt x="1953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4" name="Google Shape;1534;p48"/>
            <p:cNvSpPr/>
            <p:nvPr/>
          </p:nvSpPr>
          <p:spPr>
            <a:xfrm>
              <a:off x="5765332" y="1173513"/>
              <a:ext cx="829529" cy="484097"/>
            </a:xfrm>
            <a:custGeom>
              <a:avLst/>
              <a:gdLst/>
              <a:ahLst/>
              <a:cxnLst/>
              <a:rect l="l" t="t" r="r" b="b"/>
              <a:pathLst>
                <a:path w="36523" h="20657" extrusionOk="0">
                  <a:moveTo>
                    <a:pt x="20272" y="0"/>
                  </a:moveTo>
                  <a:lnTo>
                    <a:pt x="1" y="3989"/>
                  </a:lnTo>
                  <a:cubicBezTo>
                    <a:pt x="1566" y="11916"/>
                    <a:pt x="7598" y="18212"/>
                    <a:pt x="15460" y="20091"/>
                  </a:cubicBezTo>
                  <a:cubicBezTo>
                    <a:pt x="17054" y="20472"/>
                    <a:pt x="18663" y="20657"/>
                    <a:pt x="20257" y="20657"/>
                  </a:cubicBezTo>
                  <a:cubicBezTo>
                    <a:pt x="26523" y="20657"/>
                    <a:pt x="32555" y="17795"/>
                    <a:pt x="36523" y="12724"/>
                  </a:cubicBezTo>
                  <a:lnTo>
                    <a:pt x="20272" y="0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5" name="Google Shape;1535;p48"/>
            <p:cNvSpPr/>
            <p:nvPr/>
          </p:nvSpPr>
          <p:spPr>
            <a:xfrm>
              <a:off x="6772875" y="1814650"/>
              <a:ext cx="105925" cy="90775"/>
            </a:xfrm>
            <a:custGeom>
              <a:avLst/>
              <a:gdLst/>
              <a:ahLst/>
              <a:cxnLst/>
              <a:rect l="l" t="t" r="r" b="b"/>
              <a:pathLst>
                <a:path w="4237" h="3631" extrusionOk="0">
                  <a:moveTo>
                    <a:pt x="2424" y="0"/>
                  </a:moveTo>
                  <a:cubicBezTo>
                    <a:pt x="808" y="0"/>
                    <a:pt x="1" y="1962"/>
                    <a:pt x="1138" y="3099"/>
                  </a:cubicBezTo>
                  <a:cubicBezTo>
                    <a:pt x="1505" y="3466"/>
                    <a:pt x="1958" y="3630"/>
                    <a:pt x="2403" y="3630"/>
                  </a:cubicBezTo>
                  <a:cubicBezTo>
                    <a:pt x="3337" y="3630"/>
                    <a:pt x="4237" y="2907"/>
                    <a:pt x="4237" y="1813"/>
                  </a:cubicBezTo>
                  <a:cubicBezTo>
                    <a:pt x="4237" y="808"/>
                    <a:pt x="3429" y="0"/>
                    <a:pt x="2424" y="0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6" name="Google Shape;1536;p48"/>
            <p:cNvSpPr/>
            <p:nvPr/>
          </p:nvSpPr>
          <p:spPr>
            <a:xfrm>
              <a:off x="5921625" y="1814650"/>
              <a:ext cx="105925" cy="90775"/>
            </a:xfrm>
            <a:custGeom>
              <a:avLst/>
              <a:gdLst/>
              <a:ahLst/>
              <a:cxnLst/>
              <a:rect l="l" t="t" r="r" b="b"/>
              <a:pathLst>
                <a:path w="4237" h="3631" extrusionOk="0">
                  <a:moveTo>
                    <a:pt x="2424" y="0"/>
                  </a:moveTo>
                  <a:cubicBezTo>
                    <a:pt x="808" y="0"/>
                    <a:pt x="1" y="1962"/>
                    <a:pt x="1138" y="3099"/>
                  </a:cubicBezTo>
                  <a:cubicBezTo>
                    <a:pt x="1511" y="3466"/>
                    <a:pt x="1965" y="3630"/>
                    <a:pt x="2411" y="3630"/>
                  </a:cubicBezTo>
                  <a:cubicBezTo>
                    <a:pt x="3345" y="3630"/>
                    <a:pt x="4237" y="2907"/>
                    <a:pt x="4237" y="1813"/>
                  </a:cubicBezTo>
                  <a:cubicBezTo>
                    <a:pt x="4237" y="808"/>
                    <a:pt x="3429" y="0"/>
                    <a:pt x="242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7" name="Google Shape;1537;p48"/>
            <p:cNvSpPr/>
            <p:nvPr/>
          </p:nvSpPr>
          <p:spPr>
            <a:xfrm>
              <a:off x="6362500" y="1814650"/>
              <a:ext cx="90675" cy="90675"/>
            </a:xfrm>
            <a:custGeom>
              <a:avLst/>
              <a:gdLst/>
              <a:ahLst/>
              <a:cxnLst/>
              <a:rect l="l" t="t" r="r" b="b"/>
              <a:pathLst>
                <a:path w="3627" h="3627" extrusionOk="0">
                  <a:moveTo>
                    <a:pt x="1814" y="0"/>
                  </a:moveTo>
                  <a:cubicBezTo>
                    <a:pt x="808" y="0"/>
                    <a:pt x="1" y="808"/>
                    <a:pt x="1" y="1813"/>
                  </a:cubicBezTo>
                  <a:cubicBezTo>
                    <a:pt x="1" y="2819"/>
                    <a:pt x="808" y="3626"/>
                    <a:pt x="1814" y="3626"/>
                  </a:cubicBezTo>
                  <a:cubicBezTo>
                    <a:pt x="2819" y="3626"/>
                    <a:pt x="3627" y="2819"/>
                    <a:pt x="3627" y="1813"/>
                  </a:cubicBezTo>
                  <a:cubicBezTo>
                    <a:pt x="3627" y="808"/>
                    <a:pt x="2819" y="0"/>
                    <a:pt x="1814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8" name="Google Shape;1538;p48"/>
            <p:cNvSpPr/>
            <p:nvPr/>
          </p:nvSpPr>
          <p:spPr>
            <a:xfrm>
              <a:off x="5496475" y="1814600"/>
              <a:ext cx="106675" cy="90875"/>
            </a:xfrm>
            <a:custGeom>
              <a:avLst/>
              <a:gdLst/>
              <a:ahLst/>
              <a:cxnLst/>
              <a:rect l="l" t="t" r="r" b="b"/>
              <a:pathLst>
                <a:path w="4267" h="3635" extrusionOk="0">
                  <a:moveTo>
                    <a:pt x="2390" y="1"/>
                  </a:moveTo>
                  <a:cubicBezTo>
                    <a:pt x="827" y="1"/>
                    <a:pt x="0" y="1885"/>
                    <a:pt x="1086" y="3051"/>
                  </a:cubicBezTo>
                  <a:cubicBezTo>
                    <a:pt x="1461" y="3454"/>
                    <a:pt x="1936" y="3634"/>
                    <a:pt x="2402" y="3634"/>
                  </a:cubicBezTo>
                  <a:cubicBezTo>
                    <a:pt x="3312" y="3634"/>
                    <a:pt x="4190" y="2949"/>
                    <a:pt x="4234" y="1881"/>
                  </a:cubicBezTo>
                  <a:cubicBezTo>
                    <a:pt x="4267" y="876"/>
                    <a:pt x="3476" y="35"/>
                    <a:pt x="2470" y="2"/>
                  </a:cubicBezTo>
                  <a:cubicBezTo>
                    <a:pt x="2443" y="1"/>
                    <a:pt x="2417" y="1"/>
                    <a:pt x="2390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39" name="Google Shape;1539;p48"/>
          <p:cNvGrpSpPr/>
          <p:nvPr/>
        </p:nvGrpSpPr>
        <p:grpSpPr>
          <a:xfrm>
            <a:off x="752273" y="3682988"/>
            <a:ext cx="2994768" cy="866597"/>
            <a:chOff x="4976025" y="4294225"/>
            <a:chExt cx="2405050" cy="695950"/>
          </a:xfrm>
        </p:grpSpPr>
        <p:sp>
          <p:nvSpPr>
            <p:cNvPr id="1540" name="Google Shape;1540;p48"/>
            <p:cNvSpPr/>
            <p:nvPr/>
          </p:nvSpPr>
          <p:spPr>
            <a:xfrm>
              <a:off x="4976025" y="48385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1" name="Google Shape;1541;p48"/>
            <p:cNvSpPr/>
            <p:nvPr/>
          </p:nvSpPr>
          <p:spPr>
            <a:xfrm>
              <a:off x="4976025" y="47890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2" name="Google Shape;1542;p48"/>
            <p:cNvSpPr/>
            <p:nvPr/>
          </p:nvSpPr>
          <p:spPr>
            <a:xfrm>
              <a:off x="4976025" y="47396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3" name="Google Shape;1543;p48"/>
            <p:cNvSpPr/>
            <p:nvPr/>
          </p:nvSpPr>
          <p:spPr>
            <a:xfrm>
              <a:off x="4976025" y="464075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4" name="Google Shape;1544;p48"/>
            <p:cNvSpPr/>
            <p:nvPr/>
          </p:nvSpPr>
          <p:spPr>
            <a:xfrm>
              <a:off x="4976025" y="46901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5" name="Google Shape;1545;p48"/>
            <p:cNvSpPr/>
            <p:nvPr/>
          </p:nvSpPr>
          <p:spPr>
            <a:xfrm>
              <a:off x="4976025" y="45913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6" name="Google Shape;1546;p48"/>
            <p:cNvSpPr/>
            <p:nvPr/>
          </p:nvSpPr>
          <p:spPr>
            <a:xfrm>
              <a:off x="4976025" y="454185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7" name="Google Shape;1547;p48"/>
            <p:cNvSpPr/>
            <p:nvPr/>
          </p:nvSpPr>
          <p:spPr>
            <a:xfrm>
              <a:off x="4976025" y="44924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8" name="Google Shape;1548;p48"/>
            <p:cNvSpPr/>
            <p:nvPr/>
          </p:nvSpPr>
          <p:spPr>
            <a:xfrm>
              <a:off x="4976025" y="44429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9" name="Google Shape;1549;p48"/>
            <p:cNvSpPr/>
            <p:nvPr/>
          </p:nvSpPr>
          <p:spPr>
            <a:xfrm>
              <a:off x="4976025" y="43931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0" name="Google Shape;1550;p48"/>
            <p:cNvSpPr/>
            <p:nvPr/>
          </p:nvSpPr>
          <p:spPr>
            <a:xfrm>
              <a:off x="4976025" y="43436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1" name="Google Shape;1551;p48"/>
            <p:cNvSpPr/>
            <p:nvPr/>
          </p:nvSpPr>
          <p:spPr>
            <a:xfrm>
              <a:off x="4976025" y="42942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2" name="Google Shape;1552;p48"/>
            <p:cNvSpPr/>
            <p:nvPr/>
          </p:nvSpPr>
          <p:spPr>
            <a:xfrm>
              <a:off x="51313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43" y="199"/>
                  </a:moveTo>
                  <a:cubicBezTo>
                    <a:pt x="758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8" y="1731"/>
                    <a:pt x="643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0" y="1418"/>
                    <a:pt x="247" y="1220"/>
                    <a:pt x="247" y="973"/>
                  </a:cubicBezTo>
                  <a:cubicBezTo>
                    <a:pt x="247" y="709"/>
                    <a:pt x="280" y="528"/>
                    <a:pt x="346" y="396"/>
                  </a:cubicBezTo>
                  <a:cubicBezTo>
                    <a:pt x="412" y="264"/>
                    <a:pt x="511" y="199"/>
                    <a:pt x="643" y="199"/>
                  </a:cubicBezTo>
                  <a:close/>
                  <a:moveTo>
                    <a:pt x="643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49" y="413"/>
                    <a:pt x="0" y="660"/>
                    <a:pt x="0" y="973"/>
                  </a:cubicBezTo>
                  <a:cubicBezTo>
                    <a:pt x="0" y="1286"/>
                    <a:pt x="49" y="1517"/>
                    <a:pt x="165" y="1682"/>
                  </a:cubicBezTo>
                  <a:cubicBezTo>
                    <a:pt x="264" y="1847"/>
                    <a:pt x="429" y="1929"/>
                    <a:pt x="643" y="1929"/>
                  </a:cubicBezTo>
                  <a:cubicBezTo>
                    <a:pt x="841" y="1929"/>
                    <a:pt x="1005" y="1847"/>
                    <a:pt x="1104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4" y="248"/>
                  </a:cubicBezTo>
                  <a:cubicBezTo>
                    <a:pt x="1005" y="83"/>
                    <a:pt x="841" y="1"/>
                    <a:pt x="64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3" name="Google Shape;1553;p48"/>
            <p:cNvSpPr/>
            <p:nvPr/>
          </p:nvSpPr>
          <p:spPr>
            <a:xfrm>
              <a:off x="5174625" y="4942750"/>
              <a:ext cx="27225" cy="46600"/>
            </a:xfrm>
            <a:custGeom>
              <a:avLst/>
              <a:gdLst/>
              <a:ahLst/>
              <a:cxnLst/>
              <a:rect l="l" t="t" r="r" b="b"/>
              <a:pathLst>
                <a:path w="1089" h="1864" extrusionOk="0">
                  <a:moveTo>
                    <a:pt x="429" y="1"/>
                  </a:moveTo>
                  <a:lnTo>
                    <a:pt x="1" y="100"/>
                  </a:lnTo>
                  <a:lnTo>
                    <a:pt x="1" y="330"/>
                  </a:lnTo>
                  <a:lnTo>
                    <a:pt x="446" y="231"/>
                  </a:lnTo>
                  <a:lnTo>
                    <a:pt x="446" y="1649"/>
                  </a:lnTo>
                  <a:lnTo>
                    <a:pt x="34" y="1649"/>
                  </a:lnTo>
                  <a:lnTo>
                    <a:pt x="34" y="1863"/>
                  </a:lnTo>
                  <a:lnTo>
                    <a:pt x="1088" y="1863"/>
                  </a:lnTo>
                  <a:lnTo>
                    <a:pt x="1088" y="1649"/>
                  </a:lnTo>
                  <a:lnTo>
                    <a:pt x="693" y="1649"/>
                  </a:lnTo>
                  <a:lnTo>
                    <a:pt x="69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4" name="Google Shape;1554;p48"/>
            <p:cNvSpPr/>
            <p:nvPr/>
          </p:nvSpPr>
          <p:spPr>
            <a:xfrm>
              <a:off x="5470475" y="4941925"/>
              <a:ext cx="32150" cy="48250"/>
            </a:xfrm>
            <a:custGeom>
              <a:avLst/>
              <a:gdLst/>
              <a:ahLst/>
              <a:cxnLst/>
              <a:rect l="l" t="t" r="r" b="b"/>
              <a:pathLst>
                <a:path w="1286" h="1930" extrusionOk="0">
                  <a:moveTo>
                    <a:pt x="643" y="199"/>
                  </a:moveTo>
                  <a:cubicBezTo>
                    <a:pt x="775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75" y="1731"/>
                    <a:pt x="643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0" y="1418"/>
                    <a:pt x="247" y="1220"/>
                    <a:pt x="247" y="973"/>
                  </a:cubicBezTo>
                  <a:cubicBezTo>
                    <a:pt x="247" y="709"/>
                    <a:pt x="280" y="528"/>
                    <a:pt x="346" y="396"/>
                  </a:cubicBezTo>
                  <a:cubicBezTo>
                    <a:pt x="412" y="264"/>
                    <a:pt x="511" y="199"/>
                    <a:pt x="643" y="199"/>
                  </a:cubicBezTo>
                  <a:close/>
                  <a:moveTo>
                    <a:pt x="643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49" y="413"/>
                    <a:pt x="0" y="660"/>
                    <a:pt x="0" y="973"/>
                  </a:cubicBezTo>
                  <a:cubicBezTo>
                    <a:pt x="0" y="1286"/>
                    <a:pt x="49" y="1517"/>
                    <a:pt x="165" y="1682"/>
                  </a:cubicBezTo>
                  <a:cubicBezTo>
                    <a:pt x="264" y="1847"/>
                    <a:pt x="429" y="1929"/>
                    <a:pt x="643" y="1929"/>
                  </a:cubicBezTo>
                  <a:cubicBezTo>
                    <a:pt x="841" y="1929"/>
                    <a:pt x="1005" y="1847"/>
                    <a:pt x="1121" y="1682"/>
                  </a:cubicBezTo>
                  <a:cubicBezTo>
                    <a:pt x="1220" y="1517"/>
                    <a:pt x="1286" y="1286"/>
                    <a:pt x="1286" y="973"/>
                  </a:cubicBezTo>
                  <a:cubicBezTo>
                    <a:pt x="1286" y="660"/>
                    <a:pt x="1220" y="413"/>
                    <a:pt x="1121" y="248"/>
                  </a:cubicBezTo>
                  <a:cubicBezTo>
                    <a:pt x="1005" y="83"/>
                    <a:pt x="841" y="1"/>
                    <a:pt x="64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5" name="Google Shape;1555;p48"/>
            <p:cNvSpPr/>
            <p:nvPr/>
          </p:nvSpPr>
          <p:spPr>
            <a:xfrm>
              <a:off x="5511250" y="4941925"/>
              <a:ext cx="29275" cy="47425"/>
            </a:xfrm>
            <a:custGeom>
              <a:avLst/>
              <a:gdLst/>
              <a:ahLst/>
              <a:cxnLst/>
              <a:rect l="l" t="t" r="r" b="b"/>
              <a:pathLst>
                <a:path w="1171" h="1897" extrusionOk="0">
                  <a:moveTo>
                    <a:pt x="545" y="1"/>
                  </a:moveTo>
                  <a:cubicBezTo>
                    <a:pt x="462" y="1"/>
                    <a:pt x="380" y="17"/>
                    <a:pt x="297" y="34"/>
                  </a:cubicBezTo>
                  <a:cubicBezTo>
                    <a:pt x="215" y="67"/>
                    <a:pt x="116" y="83"/>
                    <a:pt x="17" y="133"/>
                  </a:cubicBezTo>
                  <a:lnTo>
                    <a:pt x="17" y="380"/>
                  </a:lnTo>
                  <a:cubicBezTo>
                    <a:pt x="116" y="330"/>
                    <a:pt x="198" y="281"/>
                    <a:pt x="297" y="264"/>
                  </a:cubicBezTo>
                  <a:cubicBezTo>
                    <a:pt x="380" y="232"/>
                    <a:pt x="462" y="215"/>
                    <a:pt x="545" y="215"/>
                  </a:cubicBezTo>
                  <a:cubicBezTo>
                    <a:pt x="660" y="215"/>
                    <a:pt x="742" y="248"/>
                    <a:pt x="808" y="314"/>
                  </a:cubicBezTo>
                  <a:cubicBezTo>
                    <a:pt x="874" y="380"/>
                    <a:pt x="924" y="446"/>
                    <a:pt x="924" y="545"/>
                  </a:cubicBezTo>
                  <a:cubicBezTo>
                    <a:pt x="924" y="611"/>
                    <a:pt x="907" y="677"/>
                    <a:pt x="874" y="742"/>
                  </a:cubicBezTo>
                  <a:cubicBezTo>
                    <a:pt x="841" y="792"/>
                    <a:pt x="775" y="874"/>
                    <a:pt x="693" y="973"/>
                  </a:cubicBezTo>
                  <a:cubicBezTo>
                    <a:pt x="660" y="1006"/>
                    <a:pt x="561" y="1122"/>
                    <a:pt x="396" y="1286"/>
                  </a:cubicBezTo>
                  <a:cubicBezTo>
                    <a:pt x="231" y="1451"/>
                    <a:pt x="100" y="1583"/>
                    <a:pt x="1" y="1682"/>
                  </a:cubicBezTo>
                  <a:lnTo>
                    <a:pt x="1" y="1896"/>
                  </a:lnTo>
                  <a:lnTo>
                    <a:pt x="1171" y="1896"/>
                  </a:lnTo>
                  <a:lnTo>
                    <a:pt x="1171" y="1682"/>
                  </a:lnTo>
                  <a:lnTo>
                    <a:pt x="297" y="1682"/>
                  </a:lnTo>
                  <a:cubicBezTo>
                    <a:pt x="512" y="1468"/>
                    <a:pt x="660" y="1319"/>
                    <a:pt x="775" y="1204"/>
                  </a:cubicBezTo>
                  <a:cubicBezTo>
                    <a:pt x="874" y="1089"/>
                    <a:pt x="940" y="1023"/>
                    <a:pt x="973" y="990"/>
                  </a:cubicBezTo>
                  <a:cubicBezTo>
                    <a:pt x="1039" y="907"/>
                    <a:pt x="1088" y="825"/>
                    <a:pt x="1121" y="759"/>
                  </a:cubicBezTo>
                  <a:cubicBezTo>
                    <a:pt x="1154" y="677"/>
                    <a:pt x="1171" y="611"/>
                    <a:pt x="1171" y="528"/>
                  </a:cubicBezTo>
                  <a:cubicBezTo>
                    <a:pt x="1171" y="380"/>
                    <a:pt x="1105" y="248"/>
                    <a:pt x="990" y="149"/>
                  </a:cubicBezTo>
                  <a:cubicBezTo>
                    <a:pt x="874" y="50"/>
                    <a:pt x="726" y="1"/>
                    <a:pt x="54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6" name="Google Shape;1556;p48"/>
            <p:cNvSpPr/>
            <p:nvPr/>
          </p:nvSpPr>
          <p:spPr>
            <a:xfrm>
              <a:off x="58095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24" y="396"/>
                  </a:cubicBezTo>
                  <a:cubicBezTo>
                    <a:pt x="990" y="528"/>
                    <a:pt x="1023" y="709"/>
                    <a:pt x="1023" y="973"/>
                  </a:cubicBezTo>
                  <a:cubicBezTo>
                    <a:pt x="1023" y="1220"/>
                    <a:pt x="990" y="1418"/>
                    <a:pt x="924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47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7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29" y="1"/>
                    <a:pt x="281" y="83"/>
                    <a:pt x="166" y="248"/>
                  </a:cubicBezTo>
                  <a:cubicBezTo>
                    <a:pt x="50" y="413"/>
                    <a:pt x="1" y="660"/>
                    <a:pt x="1" y="973"/>
                  </a:cubicBezTo>
                  <a:cubicBezTo>
                    <a:pt x="1" y="1286"/>
                    <a:pt x="50" y="1517"/>
                    <a:pt x="166" y="1682"/>
                  </a:cubicBezTo>
                  <a:cubicBezTo>
                    <a:pt x="281" y="1847"/>
                    <a:pt x="429" y="1929"/>
                    <a:pt x="644" y="1929"/>
                  </a:cubicBezTo>
                  <a:cubicBezTo>
                    <a:pt x="842" y="1929"/>
                    <a:pt x="1006" y="1847"/>
                    <a:pt x="1122" y="1682"/>
                  </a:cubicBezTo>
                  <a:cubicBezTo>
                    <a:pt x="1221" y="1517"/>
                    <a:pt x="1287" y="1286"/>
                    <a:pt x="1287" y="973"/>
                  </a:cubicBezTo>
                  <a:cubicBezTo>
                    <a:pt x="1287" y="660"/>
                    <a:pt x="1221" y="413"/>
                    <a:pt x="1122" y="248"/>
                  </a:cubicBezTo>
                  <a:cubicBezTo>
                    <a:pt x="1006" y="83"/>
                    <a:pt x="842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7" name="Google Shape;1557;p48"/>
            <p:cNvSpPr/>
            <p:nvPr/>
          </p:nvSpPr>
          <p:spPr>
            <a:xfrm>
              <a:off x="5850775" y="4941925"/>
              <a:ext cx="30500" cy="48250"/>
            </a:xfrm>
            <a:custGeom>
              <a:avLst/>
              <a:gdLst/>
              <a:ahLst/>
              <a:cxnLst/>
              <a:rect l="l" t="t" r="r" b="b"/>
              <a:pathLst>
                <a:path w="1220" h="1930" extrusionOk="0">
                  <a:moveTo>
                    <a:pt x="544" y="1"/>
                  </a:moveTo>
                  <a:cubicBezTo>
                    <a:pt x="478" y="1"/>
                    <a:pt x="396" y="17"/>
                    <a:pt x="313" y="34"/>
                  </a:cubicBezTo>
                  <a:cubicBezTo>
                    <a:pt x="231" y="34"/>
                    <a:pt x="148" y="67"/>
                    <a:pt x="50" y="83"/>
                  </a:cubicBezTo>
                  <a:lnTo>
                    <a:pt x="50" y="314"/>
                  </a:lnTo>
                  <a:cubicBezTo>
                    <a:pt x="148" y="281"/>
                    <a:pt x="231" y="248"/>
                    <a:pt x="313" y="248"/>
                  </a:cubicBezTo>
                  <a:cubicBezTo>
                    <a:pt x="396" y="232"/>
                    <a:pt x="462" y="215"/>
                    <a:pt x="527" y="215"/>
                  </a:cubicBezTo>
                  <a:cubicBezTo>
                    <a:pt x="659" y="215"/>
                    <a:pt x="758" y="248"/>
                    <a:pt x="824" y="297"/>
                  </a:cubicBezTo>
                  <a:cubicBezTo>
                    <a:pt x="890" y="347"/>
                    <a:pt x="923" y="413"/>
                    <a:pt x="923" y="512"/>
                  </a:cubicBezTo>
                  <a:cubicBezTo>
                    <a:pt x="923" y="611"/>
                    <a:pt x="890" y="677"/>
                    <a:pt x="824" y="726"/>
                  </a:cubicBezTo>
                  <a:cubicBezTo>
                    <a:pt x="758" y="775"/>
                    <a:pt x="659" y="808"/>
                    <a:pt x="544" y="808"/>
                  </a:cubicBezTo>
                  <a:lnTo>
                    <a:pt x="313" y="808"/>
                  </a:lnTo>
                  <a:lnTo>
                    <a:pt x="313" y="1006"/>
                  </a:lnTo>
                  <a:lnTo>
                    <a:pt x="527" y="1006"/>
                  </a:lnTo>
                  <a:cubicBezTo>
                    <a:pt x="659" y="1006"/>
                    <a:pt x="775" y="1039"/>
                    <a:pt x="841" y="1105"/>
                  </a:cubicBezTo>
                  <a:cubicBezTo>
                    <a:pt x="923" y="1154"/>
                    <a:pt x="956" y="1237"/>
                    <a:pt x="956" y="1352"/>
                  </a:cubicBezTo>
                  <a:cubicBezTo>
                    <a:pt x="956" y="1468"/>
                    <a:pt x="923" y="1566"/>
                    <a:pt x="841" y="1632"/>
                  </a:cubicBezTo>
                  <a:cubicBezTo>
                    <a:pt x="758" y="1682"/>
                    <a:pt x="643" y="1715"/>
                    <a:pt x="478" y="1715"/>
                  </a:cubicBezTo>
                  <a:cubicBezTo>
                    <a:pt x="396" y="1715"/>
                    <a:pt x="313" y="1715"/>
                    <a:pt x="214" y="1682"/>
                  </a:cubicBezTo>
                  <a:cubicBezTo>
                    <a:pt x="132" y="1665"/>
                    <a:pt x="66" y="1632"/>
                    <a:pt x="0" y="1599"/>
                  </a:cubicBezTo>
                  <a:lnTo>
                    <a:pt x="0" y="1830"/>
                  </a:lnTo>
                  <a:cubicBezTo>
                    <a:pt x="82" y="1863"/>
                    <a:pt x="165" y="1896"/>
                    <a:pt x="247" y="1913"/>
                  </a:cubicBezTo>
                  <a:cubicBezTo>
                    <a:pt x="330" y="1913"/>
                    <a:pt x="412" y="1929"/>
                    <a:pt x="495" y="1929"/>
                  </a:cubicBezTo>
                  <a:cubicBezTo>
                    <a:pt x="725" y="1929"/>
                    <a:pt x="907" y="1880"/>
                    <a:pt x="1022" y="1781"/>
                  </a:cubicBezTo>
                  <a:cubicBezTo>
                    <a:pt x="1154" y="1682"/>
                    <a:pt x="1220" y="1534"/>
                    <a:pt x="1220" y="1352"/>
                  </a:cubicBezTo>
                  <a:cubicBezTo>
                    <a:pt x="1220" y="1237"/>
                    <a:pt x="1187" y="1138"/>
                    <a:pt x="1104" y="1056"/>
                  </a:cubicBezTo>
                  <a:cubicBezTo>
                    <a:pt x="1038" y="973"/>
                    <a:pt x="956" y="924"/>
                    <a:pt x="824" y="891"/>
                  </a:cubicBezTo>
                  <a:cubicBezTo>
                    <a:pt x="940" y="874"/>
                    <a:pt x="1022" y="825"/>
                    <a:pt x="1088" y="742"/>
                  </a:cubicBezTo>
                  <a:cubicBezTo>
                    <a:pt x="1137" y="677"/>
                    <a:pt x="1170" y="594"/>
                    <a:pt x="1170" y="495"/>
                  </a:cubicBezTo>
                  <a:cubicBezTo>
                    <a:pt x="1170" y="347"/>
                    <a:pt x="1121" y="232"/>
                    <a:pt x="1005" y="133"/>
                  </a:cubicBezTo>
                  <a:cubicBezTo>
                    <a:pt x="890" y="50"/>
                    <a:pt x="742" y="1"/>
                    <a:pt x="5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8" name="Google Shape;1558;p48"/>
            <p:cNvSpPr/>
            <p:nvPr/>
          </p:nvSpPr>
          <p:spPr>
            <a:xfrm>
              <a:off x="61486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40" y="396"/>
                  </a:cubicBezTo>
                  <a:cubicBezTo>
                    <a:pt x="1006" y="528"/>
                    <a:pt x="1039" y="709"/>
                    <a:pt x="1039" y="973"/>
                  </a:cubicBezTo>
                  <a:cubicBezTo>
                    <a:pt x="1039" y="1220"/>
                    <a:pt x="1006" y="1418"/>
                    <a:pt x="940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47" y="1534"/>
                  </a:cubicBezTo>
                  <a:cubicBezTo>
                    <a:pt x="281" y="1418"/>
                    <a:pt x="265" y="1220"/>
                    <a:pt x="265" y="973"/>
                  </a:cubicBezTo>
                  <a:cubicBezTo>
                    <a:pt x="265" y="709"/>
                    <a:pt x="281" y="528"/>
                    <a:pt x="347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29" y="1"/>
                    <a:pt x="281" y="83"/>
                    <a:pt x="166" y="248"/>
                  </a:cubicBezTo>
                  <a:cubicBezTo>
                    <a:pt x="67" y="413"/>
                    <a:pt x="1" y="660"/>
                    <a:pt x="1" y="973"/>
                  </a:cubicBezTo>
                  <a:cubicBezTo>
                    <a:pt x="1" y="1286"/>
                    <a:pt x="67" y="1517"/>
                    <a:pt x="166" y="1682"/>
                  </a:cubicBezTo>
                  <a:cubicBezTo>
                    <a:pt x="281" y="1847"/>
                    <a:pt x="429" y="1929"/>
                    <a:pt x="644" y="1929"/>
                  </a:cubicBezTo>
                  <a:cubicBezTo>
                    <a:pt x="858" y="1929"/>
                    <a:pt x="1006" y="1847"/>
                    <a:pt x="1122" y="1682"/>
                  </a:cubicBezTo>
                  <a:cubicBezTo>
                    <a:pt x="1237" y="1517"/>
                    <a:pt x="1286" y="1286"/>
                    <a:pt x="1286" y="973"/>
                  </a:cubicBezTo>
                  <a:cubicBezTo>
                    <a:pt x="1286" y="660"/>
                    <a:pt x="1237" y="413"/>
                    <a:pt x="1122" y="248"/>
                  </a:cubicBezTo>
                  <a:cubicBezTo>
                    <a:pt x="1006" y="83"/>
                    <a:pt x="858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9" name="Google Shape;1559;p48"/>
            <p:cNvSpPr/>
            <p:nvPr/>
          </p:nvSpPr>
          <p:spPr>
            <a:xfrm>
              <a:off x="6188225" y="4942750"/>
              <a:ext cx="33800" cy="46600"/>
            </a:xfrm>
            <a:custGeom>
              <a:avLst/>
              <a:gdLst/>
              <a:ahLst/>
              <a:cxnLst/>
              <a:rect l="l" t="t" r="r" b="b"/>
              <a:pathLst>
                <a:path w="1352" h="1864" extrusionOk="0">
                  <a:moveTo>
                    <a:pt x="824" y="231"/>
                  </a:moveTo>
                  <a:lnTo>
                    <a:pt x="824" y="1220"/>
                  </a:lnTo>
                  <a:lnTo>
                    <a:pt x="198" y="1220"/>
                  </a:lnTo>
                  <a:lnTo>
                    <a:pt x="824" y="231"/>
                  </a:lnTo>
                  <a:close/>
                  <a:moveTo>
                    <a:pt x="758" y="1"/>
                  </a:moveTo>
                  <a:lnTo>
                    <a:pt x="0" y="1187"/>
                  </a:lnTo>
                  <a:lnTo>
                    <a:pt x="0" y="1418"/>
                  </a:lnTo>
                  <a:lnTo>
                    <a:pt x="824" y="1418"/>
                  </a:lnTo>
                  <a:lnTo>
                    <a:pt x="824" y="1863"/>
                  </a:lnTo>
                  <a:lnTo>
                    <a:pt x="1071" y="1863"/>
                  </a:lnTo>
                  <a:lnTo>
                    <a:pt x="1071" y="1418"/>
                  </a:lnTo>
                  <a:lnTo>
                    <a:pt x="1352" y="1418"/>
                  </a:lnTo>
                  <a:lnTo>
                    <a:pt x="1352" y="1220"/>
                  </a:lnTo>
                  <a:lnTo>
                    <a:pt x="1071" y="1220"/>
                  </a:lnTo>
                  <a:lnTo>
                    <a:pt x="107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0" name="Google Shape;1560;p48"/>
            <p:cNvSpPr/>
            <p:nvPr/>
          </p:nvSpPr>
          <p:spPr>
            <a:xfrm>
              <a:off x="64877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40" y="396"/>
                  </a:cubicBezTo>
                  <a:cubicBezTo>
                    <a:pt x="1006" y="528"/>
                    <a:pt x="1039" y="709"/>
                    <a:pt x="1039" y="973"/>
                  </a:cubicBezTo>
                  <a:cubicBezTo>
                    <a:pt x="1039" y="1220"/>
                    <a:pt x="1006" y="1418"/>
                    <a:pt x="940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64" y="1534"/>
                  </a:cubicBezTo>
                  <a:cubicBezTo>
                    <a:pt x="298" y="1418"/>
                    <a:pt x="265" y="1220"/>
                    <a:pt x="265" y="973"/>
                  </a:cubicBezTo>
                  <a:cubicBezTo>
                    <a:pt x="265" y="709"/>
                    <a:pt x="298" y="528"/>
                    <a:pt x="364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46" y="1"/>
                    <a:pt x="281" y="83"/>
                    <a:pt x="166" y="248"/>
                  </a:cubicBezTo>
                  <a:cubicBezTo>
                    <a:pt x="67" y="413"/>
                    <a:pt x="1" y="660"/>
                    <a:pt x="1" y="973"/>
                  </a:cubicBezTo>
                  <a:cubicBezTo>
                    <a:pt x="1" y="1286"/>
                    <a:pt x="67" y="1517"/>
                    <a:pt x="166" y="1682"/>
                  </a:cubicBezTo>
                  <a:cubicBezTo>
                    <a:pt x="281" y="1847"/>
                    <a:pt x="446" y="1929"/>
                    <a:pt x="644" y="1929"/>
                  </a:cubicBezTo>
                  <a:cubicBezTo>
                    <a:pt x="858" y="1929"/>
                    <a:pt x="1006" y="1847"/>
                    <a:pt x="1122" y="1682"/>
                  </a:cubicBezTo>
                  <a:cubicBezTo>
                    <a:pt x="1237" y="1517"/>
                    <a:pt x="1286" y="1286"/>
                    <a:pt x="1286" y="973"/>
                  </a:cubicBezTo>
                  <a:cubicBezTo>
                    <a:pt x="1286" y="660"/>
                    <a:pt x="1237" y="413"/>
                    <a:pt x="1122" y="248"/>
                  </a:cubicBezTo>
                  <a:cubicBezTo>
                    <a:pt x="1006" y="83"/>
                    <a:pt x="858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1" name="Google Shape;1561;p48"/>
            <p:cNvSpPr/>
            <p:nvPr/>
          </p:nvSpPr>
          <p:spPr>
            <a:xfrm>
              <a:off x="6528975" y="4942750"/>
              <a:ext cx="30100" cy="47425"/>
            </a:xfrm>
            <a:custGeom>
              <a:avLst/>
              <a:gdLst/>
              <a:ahLst/>
              <a:cxnLst/>
              <a:rect l="l" t="t" r="r" b="b"/>
              <a:pathLst>
                <a:path w="1204" h="1897" extrusionOk="0">
                  <a:moveTo>
                    <a:pt x="82" y="1"/>
                  </a:moveTo>
                  <a:lnTo>
                    <a:pt x="82" y="940"/>
                  </a:lnTo>
                  <a:cubicBezTo>
                    <a:pt x="148" y="907"/>
                    <a:pt x="214" y="891"/>
                    <a:pt x="280" y="874"/>
                  </a:cubicBezTo>
                  <a:cubicBezTo>
                    <a:pt x="346" y="858"/>
                    <a:pt x="412" y="841"/>
                    <a:pt x="478" y="841"/>
                  </a:cubicBezTo>
                  <a:cubicBezTo>
                    <a:pt x="626" y="841"/>
                    <a:pt x="742" y="891"/>
                    <a:pt x="824" y="957"/>
                  </a:cubicBezTo>
                  <a:cubicBezTo>
                    <a:pt x="907" y="1039"/>
                    <a:pt x="956" y="1138"/>
                    <a:pt x="956" y="1270"/>
                  </a:cubicBezTo>
                  <a:cubicBezTo>
                    <a:pt x="956" y="1402"/>
                    <a:pt x="907" y="1501"/>
                    <a:pt x="824" y="1566"/>
                  </a:cubicBezTo>
                  <a:cubicBezTo>
                    <a:pt x="742" y="1649"/>
                    <a:pt x="626" y="1682"/>
                    <a:pt x="478" y="1682"/>
                  </a:cubicBezTo>
                  <a:cubicBezTo>
                    <a:pt x="396" y="1682"/>
                    <a:pt x="313" y="1682"/>
                    <a:pt x="231" y="1649"/>
                  </a:cubicBezTo>
                  <a:cubicBezTo>
                    <a:pt x="148" y="1632"/>
                    <a:pt x="82" y="1599"/>
                    <a:pt x="0" y="1566"/>
                  </a:cubicBezTo>
                  <a:lnTo>
                    <a:pt x="0" y="1814"/>
                  </a:lnTo>
                  <a:cubicBezTo>
                    <a:pt x="82" y="1847"/>
                    <a:pt x="165" y="1863"/>
                    <a:pt x="247" y="1880"/>
                  </a:cubicBezTo>
                  <a:cubicBezTo>
                    <a:pt x="330" y="1896"/>
                    <a:pt x="412" y="1896"/>
                    <a:pt x="494" y="1896"/>
                  </a:cubicBezTo>
                  <a:cubicBezTo>
                    <a:pt x="709" y="1896"/>
                    <a:pt x="890" y="1847"/>
                    <a:pt x="1022" y="1731"/>
                  </a:cubicBezTo>
                  <a:cubicBezTo>
                    <a:pt x="1137" y="1616"/>
                    <a:pt x="1203" y="1468"/>
                    <a:pt x="1203" y="1270"/>
                  </a:cubicBezTo>
                  <a:cubicBezTo>
                    <a:pt x="1203" y="1072"/>
                    <a:pt x="1137" y="924"/>
                    <a:pt x="1022" y="808"/>
                  </a:cubicBezTo>
                  <a:cubicBezTo>
                    <a:pt x="907" y="693"/>
                    <a:pt x="742" y="644"/>
                    <a:pt x="527" y="644"/>
                  </a:cubicBezTo>
                  <a:lnTo>
                    <a:pt x="412" y="644"/>
                  </a:lnTo>
                  <a:cubicBezTo>
                    <a:pt x="379" y="644"/>
                    <a:pt x="346" y="660"/>
                    <a:pt x="313" y="676"/>
                  </a:cubicBezTo>
                  <a:lnTo>
                    <a:pt x="313" y="215"/>
                  </a:lnTo>
                  <a:lnTo>
                    <a:pt x="1071" y="215"/>
                  </a:lnTo>
                  <a:lnTo>
                    <a:pt x="107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2" name="Google Shape;1562;p48"/>
            <p:cNvSpPr/>
            <p:nvPr/>
          </p:nvSpPr>
          <p:spPr>
            <a:xfrm>
              <a:off x="68272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27" y="199"/>
                  </a:moveTo>
                  <a:cubicBezTo>
                    <a:pt x="759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9" y="1731"/>
                    <a:pt x="627" y="1731"/>
                  </a:cubicBezTo>
                  <a:cubicBezTo>
                    <a:pt x="511" y="1731"/>
                    <a:pt x="412" y="1665"/>
                    <a:pt x="347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7" y="396"/>
                  </a:cubicBezTo>
                  <a:cubicBezTo>
                    <a:pt x="412" y="264"/>
                    <a:pt x="511" y="199"/>
                    <a:pt x="627" y="199"/>
                  </a:cubicBezTo>
                  <a:close/>
                  <a:moveTo>
                    <a:pt x="627" y="1"/>
                  </a:moveTo>
                  <a:cubicBezTo>
                    <a:pt x="429" y="1"/>
                    <a:pt x="264" y="83"/>
                    <a:pt x="149" y="248"/>
                  </a:cubicBezTo>
                  <a:cubicBezTo>
                    <a:pt x="50" y="413"/>
                    <a:pt x="0" y="660"/>
                    <a:pt x="0" y="973"/>
                  </a:cubicBezTo>
                  <a:cubicBezTo>
                    <a:pt x="0" y="1286"/>
                    <a:pt x="50" y="1517"/>
                    <a:pt x="149" y="1682"/>
                  </a:cubicBezTo>
                  <a:cubicBezTo>
                    <a:pt x="264" y="1847"/>
                    <a:pt x="429" y="1929"/>
                    <a:pt x="627" y="1929"/>
                  </a:cubicBezTo>
                  <a:cubicBezTo>
                    <a:pt x="841" y="1929"/>
                    <a:pt x="1006" y="1847"/>
                    <a:pt x="1105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5" y="248"/>
                  </a:cubicBezTo>
                  <a:cubicBezTo>
                    <a:pt x="1006" y="83"/>
                    <a:pt x="841" y="1"/>
                    <a:pt x="6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3" name="Google Shape;1563;p48"/>
            <p:cNvSpPr/>
            <p:nvPr/>
          </p:nvSpPr>
          <p:spPr>
            <a:xfrm>
              <a:off x="68676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60" y="874"/>
                  </a:moveTo>
                  <a:cubicBezTo>
                    <a:pt x="775" y="874"/>
                    <a:pt x="858" y="907"/>
                    <a:pt x="923" y="990"/>
                  </a:cubicBezTo>
                  <a:cubicBezTo>
                    <a:pt x="989" y="1056"/>
                    <a:pt x="1022" y="1171"/>
                    <a:pt x="1022" y="1303"/>
                  </a:cubicBezTo>
                  <a:cubicBezTo>
                    <a:pt x="1022" y="1435"/>
                    <a:pt x="989" y="1534"/>
                    <a:pt x="923" y="1616"/>
                  </a:cubicBezTo>
                  <a:cubicBezTo>
                    <a:pt x="858" y="1698"/>
                    <a:pt x="775" y="1731"/>
                    <a:pt x="660" y="1731"/>
                  </a:cubicBezTo>
                  <a:cubicBezTo>
                    <a:pt x="544" y="1731"/>
                    <a:pt x="462" y="1698"/>
                    <a:pt x="396" y="1616"/>
                  </a:cubicBezTo>
                  <a:cubicBezTo>
                    <a:pt x="330" y="1534"/>
                    <a:pt x="297" y="1435"/>
                    <a:pt x="297" y="1303"/>
                  </a:cubicBezTo>
                  <a:cubicBezTo>
                    <a:pt x="297" y="1171"/>
                    <a:pt x="330" y="1056"/>
                    <a:pt x="396" y="990"/>
                  </a:cubicBezTo>
                  <a:cubicBezTo>
                    <a:pt x="462" y="907"/>
                    <a:pt x="544" y="874"/>
                    <a:pt x="660" y="874"/>
                  </a:cubicBezTo>
                  <a:close/>
                  <a:moveTo>
                    <a:pt x="775" y="1"/>
                  </a:moveTo>
                  <a:cubicBezTo>
                    <a:pt x="544" y="1"/>
                    <a:pt x="347" y="100"/>
                    <a:pt x="215" y="264"/>
                  </a:cubicBezTo>
                  <a:cubicBezTo>
                    <a:pt x="66" y="446"/>
                    <a:pt x="1" y="677"/>
                    <a:pt x="1" y="973"/>
                  </a:cubicBezTo>
                  <a:cubicBezTo>
                    <a:pt x="1" y="1286"/>
                    <a:pt x="66" y="1517"/>
                    <a:pt x="165" y="1682"/>
                  </a:cubicBezTo>
                  <a:cubicBezTo>
                    <a:pt x="281" y="1847"/>
                    <a:pt x="446" y="1929"/>
                    <a:pt x="660" y="1929"/>
                  </a:cubicBezTo>
                  <a:cubicBezTo>
                    <a:pt x="858" y="1929"/>
                    <a:pt x="1006" y="1863"/>
                    <a:pt x="1105" y="1748"/>
                  </a:cubicBezTo>
                  <a:cubicBezTo>
                    <a:pt x="1220" y="1649"/>
                    <a:pt x="1286" y="1484"/>
                    <a:pt x="1286" y="1303"/>
                  </a:cubicBezTo>
                  <a:cubicBezTo>
                    <a:pt x="1286" y="1105"/>
                    <a:pt x="1220" y="957"/>
                    <a:pt x="1121" y="841"/>
                  </a:cubicBezTo>
                  <a:cubicBezTo>
                    <a:pt x="1006" y="726"/>
                    <a:pt x="858" y="677"/>
                    <a:pt x="676" y="677"/>
                  </a:cubicBezTo>
                  <a:cubicBezTo>
                    <a:pt x="594" y="677"/>
                    <a:pt x="511" y="693"/>
                    <a:pt x="429" y="726"/>
                  </a:cubicBezTo>
                  <a:cubicBezTo>
                    <a:pt x="363" y="759"/>
                    <a:pt x="297" y="825"/>
                    <a:pt x="248" y="891"/>
                  </a:cubicBezTo>
                  <a:cubicBezTo>
                    <a:pt x="264" y="660"/>
                    <a:pt x="314" y="495"/>
                    <a:pt x="396" y="380"/>
                  </a:cubicBezTo>
                  <a:cubicBezTo>
                    <a:pt x="495" y="281"/>
                    <a:pt x="610" y="215"/>
                    <a:pt x="775" y="215"/>
                  </a:cubicBezTo>
                  <a:cubicBezTo>
                    <a:pt x="841" y="215"/>
                    <a:pt x="907" y="232"/>
                    <a:pt x="973" y="248"/>
                  </a:cubicBezTo>
                  <a:cubicBezTo>
                    <a:pt x="1039" y="264"/>
                    <a:pt x="1105" y="281"/>
                    <a:pt x="1154" y="314"/>
                  </a:cubicBezTo>
                  <a:lnTo>
                    <a:pt x="1154" y="83"/>
                  </a:lnTo>
                  <a:cubicBezTo>
                    <a:pt x="1088" y="50"/>
                    <a:pt x="1022" y="34"/>
                    <a:pt x="956" y="34"/>
                  </a:cubicBezTo>
                  <a:cubicBezTo>
                    <a:pt x="891" y="17"/>
                    <a:pt x="841" y="1"/>
                    <a:pt x="77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4" name="Google Shape;1564;p48"/>
            <p:cNvSpPr/>
            <p:nvPr/>
          </p:nvSpPr>
          <p:spPr>
            <a:xfrm>
              <a:off x="71663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27" y="199"/>
                  </a:moveTo>
                  <a:cubicBezTo>
                    <a:pt x="759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9" y="1731"/>
                    <a:pt x="627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6" y="396"/>
                  </a:cubicBezTo>
                  <a:cubicBezTo>
                    <a:pt x="412" y="264"/>
                    <a:pt x="511" y="199"/>
                    <a:pt x="627" y="199"/>
                  </a:cubicBezTo>
                  <a:close/>
                  <a:moveTo>
                    <a:pt x="627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50" y="413"/>
                    <a:pt x="0" y="660"/>
                    <a:pt x="0" y="973"/>
                  </a:cubicBezTo>
                  <a:cubicBezTo>
                    <a:pt x="0" y="1286"/>
                    <a:pt x="50" y="1517"/>
                    <a:pt x="165" y="1682"/>
                  </a:cubicBezTo>
                  <a:cubicBezTo>
                    <a:pt x="264" y="1847"/>
                    <a:pt x="429" y="1929"/>
                    <a:pt x="627" y="1929"/>
                  </a:cubicBezTo>
                  <a:cubicBezTo>
                    <a:pt x="841" y="1929"/>
                    <a:pt x="1006" y="1847"/>
                    <a:pt x="1105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5" y="248"/>
                  </a:cubicBezTo>
                  <a:cubicBezTo>
                    <a:pt x="1006" y="83"/>
                    <a:pt x="841" y="1"/>
                    <a:pt x="6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5" name="Google Shape;1565;p48"/>
            <p:cNvSpPr/>
            <p:nvPr/>
          </p:nvSpPr>
          <p:spPr>
            <a:xfrm>
              <a:off x="7207575" y="4942750"/>
              <a:ext cx="29700" cy="46600"/>
            </a:xfrm>
            <a:custGeom>
              <a:avLst/>
              <a:gdLst/>
              <a:ahLst/>
              <a:cxnLst/>
              <a:rect l="l" t="t" r="r" b="b"/>
              <a:pathLst>
                <a:path w="1188" h="1864" extrusionOk="0">
                  <a:moveTo>
                    <a:pt x="0" y="1"/>
                  </a:moveTo>
                  <a:lnTo>
                    <a:pt x="0" y="215"/>
                  </a:lnTo>
                  <a:lnTo>
                    <a:pt x="890" y="215"/>
                  </a:lnTo>
                  <a:lnTo>
                    <a:pt x="264" y="1863"/>
                  </a:lnTo>
                  <a:lnTo>
                    <a:pt x="528" y="1863"/>
                  </a:lnTo>
                  <a:lnTo>
                    <a:pt x="1187" y="116"/>
                  </a:lnTo>
                  <a:lnTo>
                    <a:pt x="118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6" name="Google Shape;1566;p48"/>
            <p:cNvSpPr/>
            <p:nvPr/>
          </p:nvSpPr>
          <p:spPr>
            <a:xfrm>
              <a:off x="5105000" y="4338000"/>
              <a:ext cx="2145050" cy="480975"/>
            </a:xfrm>
            <a:custGeom>
              <a:avLst/>
              <a:gdLst/>
              <a:ahLst/>
              <a:cxnLst/>
              <a:rect l="l" t="t" r="r" b="b"/>
              <a:pathLst>
                <a:path w="85802" h="19239" extrusionOk="0">
                  <a:moveTo>
                    <a:pt x="38327" y="8620"/>
                  </a:moveTo>
                  <a:cubicBezTo>
                    <a:pt x="38216" y="8620"/>
                    <a:pt x="38105" y="8690"/>
                    <a:pt x="38088" y="8830"/>
                  </a:cubicBezTo>
                  <a:lnTo>
                    <a:pt x="38088" y="10413"/>
                  </a:lnTo>
                  <a:cubicBezTo>
                    <a:pt x="38105" y="10561"/>
                    <a:pt x="38216" y="10635"/>
                    <a:pt x="38327" y="10635"/>
                  </a:cubicBezTo>
                  <a:cubicBezTo>
                    <a:pt x="38438" y="10635"/>
                    <a:pt x="38550" y="10561"/>
                    <a:pt x="38566" y="10413"/>
                  </a:cubicBezTo>
                  <a:lnTo>
                    <a:pt x="38566" y="8830"/>
                  </a:lnTo>
                  <a:cubicBezTo>
                    <a:pt x="38550" y="8690"/>
                    <a:pt x="38438" y="8620"/>
                    <a:pt x="38327" y="8620"/>
                  </a:cubicBezTo>
                  <a:close/>
                  <a:moveTo>
                    <a:pt x="71842" y="8493"/>
                  </a:moveTo>
                  <a:cubicBezTo>
                    <a:pt x="71730" y="8493"/>
                    <a:pt x="71619" y="8567"/>
                    <a:pt x="71611" y="8715"/>
                  </a:cubicBezTo>
                  <a:lnTo>
                    <a:pt x="71611" y="10511"/>
                  </a:lnTo>
                  <a:cubicBezTo>
                    <a:pt x="71619" y="10652"/>
                    <a:pt x="71730" y="10722"/>
                    <a:pt x="71842" y="10722"/>
                  </a:cubicBezTo>
                  <a:cubicBezTo>
                    <a:pt x="71953" y="10722"/>
                    <a:pt x="72064" y="10652"/>
                    <a:pt x="72072" y="10511"/>
                  </a:cubicBezTo>
                  <a:lnTo>
                    <a:pt x="72072" y="8715"/>
                  </a:lnTo>
                  <a:cubicBezTo>
                    <a:pt x="72064" y="8567"/>
                    <a:pt x="71953" y="8493"/>
                    <a:pt x="71842" y="8493"/>
                  </a:cubicBezTo>
                  <a:close/>
                  <a:moveTo>
                    <a:pt x="13952" y="8480"/>
                  </a:moveTo>
                  <a:cubicBezTo>
                    <a:pt x="13832" y="8480"/>
                    <a:pt x="13713" y="8558"/>
                    <a:pt x="13713" y="8715"/>
                  </a:cubicBezTo>
                  <a:lnTo>
                    <a:pt x="13713" y="10511"/>
                  </a:lnTo>
                  <a:cubicBezTo>
                    <a:pt x="13721" y="10668"/>
                    <a:pt x="13840" y="10746"/>
                    <a:pt x="13958" y="10746"/>
                  </a:cubicBezTo>
                  <a:cubicBezTo>
                    <a:pt x="14075" y="10746"/>
                    <a:pt x="14190" y="10668"/>
                    <a:pt x="14190" y="10511"/>
                  </a:cubicBezTo>
                  <a:lnTo>
                    <a:pt x="14190" y="8715"/>
                  </a:lnTo>
                  <a:cubicBezTo>
                    <a:pt x="14190" y="8558"/>
                    <a:pt x="14071" y="8480"/>
                    <a:pt x="13952" y="8480"/>
                  </a:cubicBezTo>
                  <a:close/>
                  <a:moveTo>
                    <a:pt x="58127" y="8031"/>
                  </a:moveTo>
                  <a:cubicBezTo>
                    <a:pt x="58014" y="8031"/>
                    <a:pt x="57898" y="8105"/>
                    <a:pt x="57882" y="8254"/>
                  </a:cubicBezTo>
                  <a:lnTo>
                    <a:pt x="57882" y="10989"/>
                  </a:lnTo>
                  <a:cubicBezTo>
                    <a:pt x="57898" y="11129"/>
                    <a:pt x="58014" y="11200"/>
                    <a:pt x="58127" y="11200"/>
                  </a:cubicBezTo>
                  <a:cubicBezTo>
                    <a:pt x="58240" y="11200"/>
                    <a:pt x="58352" y="11129"/>
                    <a:pt x="58360" y="10989"/>
                  </a:cubicBezTo>
                  <a:lnTo>
                    <a:pt x="58360" y="8254"/>
                  </a:lnTo>
                  <a:cubicBezTo>
                    <a:pt x="58352" y="8105"/>
                    <a:pt x="58240" y="8031"/>
                    <a:pt x="58127" y="8031"/>
                  </a:cubicBezTo>
                  <a:close/>
                  <a:moveTo>
                    <a:pt x="70317" y="8031"/>
                  </a:moveTo>
                  <a:cubicBezTo>
                    <a:pt x="70206" y="8031"/>
                    <a:pt x="70095" y="8105"/>
                    <a:pt x="70078" y="8254"/>
                  </a:cubicBezTo>
                  <a:lnTo>
                    <a:pt x="70078" y="10989"/>
                  </a:lnTo>
                  <a:cubicBezTo>
                    <a:pt x="70095" y="11129"/>
                    <a:pt x="70206" y="11200"/>
                    <a:pt x="70317" y="11200"/>
                  </a:cubicBezTo>
                  <a:cubicBezTo>
                    <a:pt x="70428" y="11200"/>
                    <a:pt x="70540" y="11129"/>
                    <a:pt x="70556" y="10989"/>
                  </a:cubicBezTo>
                  <a:lnTo>
                    <a:pt x="70556" y="8254"/>
                  </a:lnTo>
                  <a:cubicBezTo>
                    <a:pt x="70540" y="8105"/>
                    <a:pt x="70428" y="8031"/>
                    <a:pt x="70317" y="8031"/>
                  </a:cubicBezTo>
                  <a:close/>
                  <a:moveTo>
                    <a:pt x="73366" y="8031"/>
                  </a:moveTo>
                  <a:cubicBezTo>
                    <a:pt x="73255" y="8031"/>
                    <a:pt x="73144" y="8105"/>
                    <a:pt x="73127" y="8254"/>
                  </a:cubicBezTo>
                  <a:lnTo>
                    <a:pt x="73127" y="10989"/>
                  </a:lnTo>
                  <a:cubicBezTo>
                    <a:pt x="73144" y="11129"/>
                    <a:pt x="73255" y="11200"/>
                    <a:pt x="73366" y="11200"/>
                  </a:cubicBezTo>
                  <a:cubicBezTo>
                    <a:pt x="73477" y="11200"/>
                    <a:pt x="73589" y="11129"/>
                    <a:pt x="73605" y="10989"/>
                  </a:cubicBezTo>
                  <a:lnTo>
                    <a:pt x="73605" y="8254"/>
                  </a:lnTo>
                  <a:cubicBezTo>
                    <a:pt x="73589" y="8105"/>
                    <a:pt x="73477" y="8031"/>
                    <a:pt x="73366" y="8031"/>
                  </a:cubicBezTo>
                  <a:close/>
                  <a:moveTo>
                    <a:pt x="239" y="8031"/>
                  </a:moveTo>
                  <a:cubicBezTo>
                    <a:pt x="128" y="8031"/>
                    <a:pt x="17" y="8105"/>
                    <a:pt x="0" y="8254"/>
                  </a:cubicBezTo>
                  <a:lnTo>
                    <a:pt x="0" y="11006"/>
                  </a:lnTo>
                  <a:cubicBezTo>
                    <a:pt x="17" y="11146"/>
                    <a:pt x="128" y="11216"/>
                    <a:pt x="239" y="11216"/>
                  </a:cubicBezTo>
                  <a:cubicBezTo>
                    <a:pt x="350" y="11216"/>
                    <a:pt x="462" y="11146"/>
                    <a:pt x="478" y="11006"/>
                  </a:cubicBezTo>
                  <a:lnTo>
                    <a:pt x="478" y="10989"/>
                  </a:lnTo>
                  <a:lnTo>
                    <a:pt x="478" y="8254"/>
                  </a:lnTo>
                  <a:cubicBezTo>
                    <a:pt x="462" y="8105"/>
                    <a:pt x="350" y="8031"/>
                    <a:pt x="239" y="8031"/>
                  </a:cubicBezTo>
                  <a:close/>
                  <a:moveTo>
                    <a:pt x="12435" y="8031"/>
                  </a:moveTo>
                  <a:cubicBezTo>
                    <a:pt x="12324" y="8031"/>
                    <a:pt x="12213" y="8105"/>
                    <a:pt x="12196" y="8254"/>
                  </a:cubicBezTo>
                  <a:lnTo>
                    <a:pt x="12196" y="11006"/>
                  </a:lnTo>
                  <a:cubicBezTo>
                    <a:pt x="12213" y="11146"/>
                    <a:pt x="12324" y="11216"/>
                    <a:pt x="12435" y="11216"/>
                  </a:cubicBezTo>
                  <a:cubicBezTo>
                    <a:pt x="12546" y="11216"/>
                    <a:pt x="12658" y="11146"/>
                    <a:pt x="12674" y="11006"/>
                  </a:cubicBezTo>
                  <a:lnTo>
                    <a:pt x="12674" y="10989"/>
                  </a:lnTo>
                  <a:lnTo>
                    <a:pt x="12674" y="8254"/>
                  </a:lnTo>
                  <a:cubicBezTo>
                    <a:pt x="12658" y="8105"/>
                    <a:pt x="12546" y="8031"/>
                    <a:pt x="12435" y="8031"/>
                  </a:cubicBezTo>
                  <a:close/>
                  <a:moveTo>
                    <a:pt x="52033" y="8031"/>
                  </a:moveTo>
                  <a:cubicBezTo>
                    <a:pt x="51920" y="8031"/>
                    <a:pt x="51809" y="8105"/>
                    <a:pt x="51800" y="8254"/>
                  </a:cubicBezTo>
                  <a:lnTo>
                    <a:pt x="51800" y="11006"/>
                  </a:lnTo>
                  <a:cubicBezTo>
                    <a:pt x="51809" y="11146"/>
                    <a:pt x="51920" y="11216"/>
                    <a:pt x="52033" y="11216"/>
                  </a:cubicBezTo>
                  <a:cubicBezTo>
                    <a:pt x="52147" y="11216"/>
                    <a:pt x="52262" y="11146"/>
                    <a:pt x="52278" y="11006"/>
                  </a:cubicBezTo>
                  <a:lnTo>
                    <a:pt x="52278" y="8254"/>
                  </a:lnTo>
                  <a:cubicBezTo>
                    <a:pt x="52262" y="8105"/>
                    <a:pt x="52147" y="8031"/>
                    <a:pt x="52033" y="8031"/>
                  </a:cubicBezTo>
                  <a:close/>
                  <a:moveTo>
                    <a:pt x="85562" y="8019"/>
                  </a:moveTo>
                  <a:cubicBezTo>
                    <a:pt x="85443" y="8019"/>
                    <a:pt x="85323" y="8097"/>
                    <a:pt x="85323" y="8254"/>
                  </a:cubicBezTo>
                  <a:lnTo>
                    <a:pt x="85323" y="10989"/>
                  </a:lnTo>
                  <a:cubicBezTo>
                    <a:pt x="85323" y="11146"/>
                    <a:pt x="85443" y="11224"/>
                    <a:pt x="85562" y="11224"/>
                  </a:cubicBezTo>
                  <a:cubicBezTo>
                    <a:pt x="85682" y="11224"/>
                    <a:pt x="85801" y="11146"/>
                    <a:pt x="85801" y="10989"/>
                  </a:cubicBezTo>
                  <a:lnTo>
                    <a:pt x="85801" y="8254"/>
                  </a:lnTo>
                  <a:cubicBezTo>
                    <a:pt x="85801" y="8097"/>
                    <a:pt x="85682" y="8019"/>
                    <a:pt x="85562" y="8019"/>
                  </a:cubicBezTo>
                  <a:close/>
                  <a:moveTo>
                    <a:pt x="36796" y="8019"/>
                  </a:moveTo>
                  <a:cubicBezTo>
                    <a:pt x="36679" y="8019"/>
                    <a:pt x="36564" y="8097"/>
                    <a:pt x="36572" y="8254"/>
                  </a:cubicBezTo>
                  <a:lnTo>
                    <a:pt x="36572" y="11006"/>
                  </a:lnTo>
                  <a:cubicBezTo>
                    <a:pt x="36572" y="11162"/>
                    <a:pt x="36687" y="11241"/>
                    <a:pt x="36803" y="11241"/>
                  </a:cubicBezTo>
                  <a:cubicBezTo>
                    <a:pt x="36918" y="11241"/>
                    <a:pt x="37033" y="11162"/>
                    <a:pt x="37033" y="11006"/>
                  </a:cubicBezTo>
                  <a:lnTo>
                    <a:pt x="37033" y="8254"/>
                  </a:lnTo>
                  <a:cubicBezTo>
                    <a:pt x="37033" y="8097"/>
                    <a:pt x="36914" y="8019"/>
                    <a:pt x="36796" y="8019"/>
                  </a:cubicBezTo>
                  <a:close/>
                  <a:moveTo>
                    <a:pt x="39843" y="8019"/>
                  </a:moveTo>
                  <a:cubicBezTo>
                    <a:pt x="39724" y="8019"/>
                    <a:pt x="39604" y="8097"/>
                    <a:pt x="39604" y="8254"/>
                  </a:cubicBezTo>
                  <a:lnTo>
                    <a:pt x="39604" y="11006"/>
                  </a:lnTo>
                  <a:cubicBezTo>
                    <a:pt x="39604" y="11162"/>
                    <a:pt x="39724" y="11241"/>
                    <a:pt x="39843" y="11241"/>
                  </a:cubicBezTo>
                  <a:cubicBezTo>
                    <a:pt x="39963" y="11241"/>
                    <a:pt x="40082" y="11162"/>
                    <a:pt x="40082" y="11006"/>
                  </a:cubicBezTo>
                  <a:lnTo>
                    <a:pt x="40082" y="8254"/>
                  </a:lnTo>
                  <a:cubicBezTo>
                    <a:pt x="40082" y="8097"/>
                    <a:pt x="39963" y="8019"/>
                    <a:pt x="39843" y="8019"/>
                  </a:cubicBezTo>
                  <a:close/>
                  <a:moveTo>
                    <a:pt x="53562" y="7615"/>
                  </a:moveTo>
                  <a:cubicBezTo>
                    <a:pt x="53449" y="7615"/>
                    <a:pt x="53333" y="7685"/>
                    <a:pt x="53317" y="7825"/>
                  </a:cubicBezTo>
                  <a:lnTo>
                    <a:pt x="53317" y="11401"/>
                  </a:lnTo>
                  <a:cubicBezTo>
                    <a:pt x="53333" y="11550"/>
                    <a:pt x="53449" y="11624"/>
                    <a:pt x="53562" y="11624"/>
                  </a:cubicBezTo>
                  <a:cubicBezTo>
                    <a:pt x="53675" y="11624"/>
                    <a:pt x="53786" y="11550"/>
                    <a:pt x="53795" y="11401"/>
                  </a:cubicBezTo>
                  <a:lnTo>
                    <a:pt x="53795" y="7825"/>
                  </a:lnTo>
                  <a:cubicBezTo>
                    <a:pt x="53786" y="7685"/>
                    <a:pt x="53675" y="7615"/>
                    <a:pt x="53562" y="7615"/>
                  </a:cubicBezTo>
                  <a:close/>
                  <a:moveTo>
                    <a:pt x="56611" y="7615"/>
                  </a:moveTo>
                  <a:cubicBezTo>
                    <a:pt x="56498" y="7615"/>
                    <a:pt x="56382" y="7685"/>
                    <a:pt x="56366" y="7825"/>
                  </a:cubicBezTo>
                  <a:lnTo>
                    <a:pt x="56366" y="11401"/>
                  </a:lnTo>
                  <a:cubicBezTo>
                    <a:pt x="56382" y="11550"/>
                    <a:pt x="56498" y="11624"/>
                    <a:pt x="56611" y="11624"/>
                  </a:cubicBezTo>
                  <a:cubicBezTo>
                    <a:pt x="56724" y="11624"/>
                    <a:pt x="56835" y="11550"/>
                    <a:pt x="56844" y="11401"/>
                  </a:cubicBezTo>
                  <a:lnTo>
                    <a:pt x="56844" y="7825"/>
                  </a:lnTo>
                  <a:cubicBezTo>
                    <a:pt x="56835" y="7685"/>
                    <a:pt x="56724" y="7615"/>
                    <a:pt x="56611" y="7615"/>
                  </a:cubicBezTo>
                  <a:close/>
                  <a:moveTo>
                    <a:pt x="29180" y="7520"/>
                  </a:moveTo>
                  <a:cubicBezTo>
                    <a:pt x="29069" y="7520"/>
                    <a:pt x="28958" y="7594"/>
                    <a:pt x="28941" y="7743"/>
                  </a:cubicBezTo>
                  <a:lnTo>
                    <a:pt x="28941" y="11500"/>
                  </a:lnTo>
                  <a:cubicBezTo>
                    <a:pt x="28958" y="11649"/>
                    <a:pt x="29069" y="11723"/>
                    <a:pt x="29180" y="11723"/>
                  </a:cubicBezTo>
                  <a:cubicBezTo>
                    <a:pt x="29291" y="11723"/>
                    <a:pt x="29403" y="11649"/>
                    <a:pt x="29419" y="11500"/>
                  </a:cubicBezTo>
                  <a:lnTo>
                    <a:pt x="29419" y="7743"/>
                  </a:lnTo>
                  <a:cubicBezTo>
                    <a:pt x="29403" y="7594"/>
                    <a:pt x="29291" y="7520"/>
                    <a:pt x="29180" y="7520"/>
                  </a:cubicBezTo>
                  <a:close/>
                  <a:moveTo>
                    <a:pt x="35278" y="7520"/>
                  </a:moveTo>
                  <a:cubicBezTo>
                    <a:pt x="35167" y="7520"/>
                    <a:pt x="35056" y="7594"/>
                    <a:pt x="35039" y="7743"/>
                  </a:cubicBezTo>
                  <a:lnTo>
                    <a:pt x="35039" y="11500"/>
                  </a:lnTo>
                  <a:cubicBezTo>
                    <a:pt x="35056" y="11649"/>
                    <a:pt x="35167" y="11723"/>
                    <a:pt x="35278" y="11723"/>
                  </a:cubicBezTo>
                  <a:cubicBezTo>
                    <a:pt x="35389" y="11723"/>
                    <a:pt x="35501" y="11649"/>
                    <a:pt x="35517" y="11500"/>
                  </a:cubicBezTo>
                  <a:lnTo>
                    <a:pt x="35517" y="7743"/>
                  </a:lnTo>
                  <a:cubicBezTo>
                    <a:pt x="35501" y="7594"/>
                    <a:pt x="35389" y="7520"/>
                    <a:pt x="35278" y="7520"/>
                  </a:cubicBezTo>
                  <a:close/>
                  <a:moveTo>
                    <a:pt x="55088" y="7088"/>
                  </a:moveTo>
                  <a:cubicBezTo>
                    <a:pt x="54977" y="7088"/>
                    <a:pt x="54866" y="7158"/>
                    <a:pt x="54849" y="7298"/>
                  </a:cubicBezTo>
                  <a:lnTo>
                    <a:pt x="54849" y="11929"/>
                  </a:lnTo>
                  <a:cubicBezTo>
                    <a:pt x="54866" y="12077"/>
                    <a:pt x="54977" y="12151"/>
                    <a:pt x="55088" y="12151"/>
                  </a:cubicBezTo>
                  <a:cubicBezTo>
                    <a:pt x="55200" y="12151"/>
                    <a:pt x="55311" y="12077"/>
                    <a:pt x="55327" y="11929"/>
                  </a:cubicBezTo>
                  <a:lnTo>
                    <a:pt x="55327" y="7298"/>
                  </a:lnTo>
                  <a:cubicBezTo>
                    <a:pt x="55311" y="7158"/>
                    <a:pt x="55200" y="7088"/>
                    <a:pt x="55088" y="7088"/>
                  </a:cubicBezTo>
                  <a:close/>
                  <a:moveTo>
                    <a:pt x="15474" y="6910"/>
                  </a:moveTo>
                  <a:cubicBezTo>
                    <a:pt x="15361" y="6910"/>
                    <a:pt x="15245" y="6985"/>
                    <a:pt x="15229" y="7133"/>
                  </a:cubicBezTo>
                  <a:lnTo>
                    <a:pt x="15229" y="12110"/>
                  </a:lnTo>
                  <a:cubicBezTo>
                    <a:pt x="15245" y="12258"/>
                    <a:pt x="15361" y="12333"/>
                    <a:pt x="15474" y="12333"/>
                  </a:cubicBezTo>
                  <a:cubicBezTo>
                    <a:pt x="15587" y="12333"/>
                    <a:pt x="15699" y="12258"/>
                    <a:pt x="15707" y="12110"/>
                  </a:cubicBezTo>
                  <a:lnTo>
                    <a:pt x="15707" y="7133"/>
                  </a:lnTo>
                  <a:cubicBezTo>
                    <a:pt x="15699" y="6985"/>
                    <a:pt x="15587" y="6910"/>
                    <a:pt x="15474" y="6910"/>
                  </a:cubicBezTo>
                  <a:close/>
                  <a:moveTo>
                    <a:pt x="27664" y="6910"/>
                  </a:moveTo>
                  <a:cubicBezTo>
                    <a:pt x="27553" y="6910"/>
                    <a:pt x="27441" y="6985"/>
                    <a:pt x="27425" y="7133"/>
                  </a:cubicBezTo>
                  <a:lnTo>
                    <a:pt x="27425" y="12110"/>
                  </a:lnTo>
                  <a:cubicBezTo>
                    <a:pt x="27441" y="12258"/>
                    <a:pt x="27553" y="12333"/>
                    <a:pt x="27664" y="12333"/>
                  </a:cubicBezTo>
                  <a:cubicBezTo>
                    <a:pt x="27775" y="12333"/>
                    <a:pt x="27886" y="12258"/>
                    <a:pt x="27903" y="12110"/>
                  </a:cubicBezTo>
                  <a:lnTo>
                    <a:pt x="27903" y="7133"/>
                  </a:lnTo>
                  <a:cubicBezTo>
                    <a:pt x="27886" y="6985"/>
                    <a:pt x="27775" y="6910"/>
                    <a:pt x="27664" y="6910"/>
                  </a:cubicBezTo>
                  <a:close/>
                  <a:moveTo>
                    <a:pt x="68795" y="6449"/>
                  </a:moveTo>
                  <a:cubicBezTo>
                    <a:pt x="68681" y="6449"/>
                    <a:pt x="68570" y="6523"/>
                    <a:pt x="68562" y="6671"/>
                  </a:cubicBezTo>
                  <a:lnTo>
                    <a:pt x="68562" y="12572"/>
                  </a:lnTo>
                  <a:cubicBezTo>
                    <a:pt x="68570" y="12720"/>
                    <a:pt x="68681" y="12794"/>
                    <a:pt x="68795" y="12794"/>
                  </a:cubicBezTo>
                  <a:cubicBezTo>
                    <a:pt x="68908" y="12794"/>
                    <a:pt x="69023" y="12720"/>
                    <a:pt x="69040" y="12572"/>
                  </a:cubicBezTo>
                  <a:lnTo>
                    <a:pt x="69040" y="6671"/>
                  </a:lnTo>
                  <a:cubicBezTo>
                    <a:pt x="69023" y="6523"/>
                    <a:pt x="68908" y="6449"/>
                    <a:pt x="68795" y="6449"/>
                  </a:cubicBezTo>
                  <a:close/>
                  <a:moveTo>
                    <a:pt x="74888" y="6449"/>
                  </a:moveTo>
                  <a:cubicBezTo>
                    <a:pt x="74775" y="6449"/>
                    <a:pt x="74660" y="6523"/>
                    <a:pt x="74643" y="6671"/>
                  </a:cubicBezTo>
                  <a:lnTo>
                    <a:pt x="74643" y="12572"/>
                  </a:lnTo>
                  <a:cubicBezTo>
                    <a:pt x="74660" y="12720"/>
                    <a:pt x="74775" y="12794"/>
                    <a:pt x="74888" y="12794"/>
                  </a:cubicBezTo>
                  <a:cubicBezTo>
                    <a:pt x="75002" y="12794"/>
                    <a:pt x="75113" y="12720"/>
                    <a:pt x="75121" y="12572"/>
                  </a:cubicBezTo>
                  <a:lnTo>
                    <a:pt x="75121" y="6671"/>
                  </a:lnTo>
                  <a:cubicBezTo>
                    <a:pt x="75113" y="6523"/>
                    <a:pt x="75002" y="6449"/>
                    <a:pt x="74888" y="6449"/>
                  </a:cubicBezTo>
                  <a:close/>
                  <a:moveTo>
                    <a:pt x="84036" y="6449"/>
                  </a:moveTo>
                  <a:cubicBezTo>
                    <a:pt x="83922" y="6449"/>
                    <a:pt x="83807" y="6523"/>
                    <a:pt x="83790" y="6671"/>
                  </a:cubicBezTo>
                  <a:lnTo>
                    <a:pt x="83790" y="12572"/>
                  </a:lnTo>
                  <a:cubicBezTo>
                    <a:pt x="83807" y="12720"/>
                    <a:pt x="83922" y="12794"/>
                    <a:pt x="84036" y="12794"/>
                  </a:cubicBezTo>
                  <a:cubicBezTo>
                    <a:pt x="84149" y="12794"/>
                    <a:pt x="84260" y="12720"/>
                    <a:pt x="84268" y="12572"/>
                  </a:cubicBezTo>
                  <a:lnTo>
                    <a:pt x="84268" y="6671"/>
                  </a:lnTo>
                  <a:cubicBezTo>
                    <a:pt x="84260" y="6523"/>
                    <a:pt x="84149" y="6449"/>
                    <a:pt x="84036" y="6449"/>
                  </a:cubicBezTo>
                  <a:close/>
                  <a:moveTo>
                    <a:pt x="1766" y="6449"/>
                  </a:moveTo>
                  <a:cubicBezTo>
                    <a:pt x="1652" y="6449"/>
                    <a:pt x="1541" y="6523"/>
                    <a:pt x="1533" y="6671"/>
                  </a:cubicBezTo>
                  <a:lnTo>
                    <a:pt x="1533" y="12588"/>
                  </a:lnTo>
                  <a:cubicBezTo>
                    <a:pt x="1541" y="12728"/>
                    <a:pt x="1652" y="12798"/>
                    <a:pt x="1766" y="12798"/>
                  </a:cubicBezTo>
                  <a:cubicBezTo>
                    <a:pt x="1879" y="12798"/>
                    <a:pt x="1994" y="12728"/>
                    <a:pt x="2011" y="12588"/>
                  </a:cubicBezTo>
                  <a:lnTo>
                    <a:pt x="2011" y="12572"/>
                  </a:lnTo>
                  <a:lnTo>
                    <a:pt x="2011" y="6671"/>
                  </a:lnTo>
                  <a:cubicBezTo>
                    <a:pt x="1994" y="6523"/>
                    <a:pt x="1879" y="6449"/>
                    <a:pt x="1766" y="6449"/>
                  </a:cubicBezTo>
                  <a:close/>
                  <a:moveTo>
                    <a:pt x="41366" y="6449"/>
                  </a:moveTo>
                  <a:cubicBezTo>
                    <a:pt x="41253" y="6449"/>
                    <a:pt x="41137" y="6523"/>
                    <a:pt x="41121" y="6671"/>
                  </a:cubicBezTo>
                  <a:lnTo>
                    <a:pt x="41121" y="12588"/>
                  </a:lnTo>
                  <a:cubicBezTo>
                    <a:pt x="41137" y="12728"/>
                    <a:pt x="41253" y="12798"/>
                    <a:pt x="41366" y="12798"/>
                  </a:cubicBezTo>
                  <a:cubicBezTo>
                    <a:pt x="41479" y="12798"/>
                    <a:pt x="41590" y="12728"/>
                    <a:pt x="41599" y="12588"/>
                  </a:cubicBezTo>
                  <a:lnTo>
                    <a:pt x="41599" y="6671"/>
                  </a:lnTo>
                  <a:cubicBezTo>
                    <a:pt x="41590" y="6523"/>
                    <a:pt x="41479" y="6449"/>
                    <a:pt x="41366" y="6449"/>
                  </a:cubicBezTo>
                  <a:close/>
                  <a:moveTo>
                    <a:pt x="50515" y="6449"/>
                  </a:moveTo>
                  <a:cubicBezTo>
                    <a:pt x="50404" y="6449"/>
                    <a:pt x="50292" y="6523"/>
                    <a:pt x="50284" y="6671"/>
                  </a:cubicBezTo>
                  <a:lnTo>
                    <a:pt x="50284" y="12588"/>
                  </a:lnTo>
                  <a:cubicBezTo>
                    <a:pt x="50292" y="12728"/>
                    <a:pt x="50404" y="12798"/>
                    <a:pt x="50515" y="12798"/>
                  </a:cubicBezTo>
                  <a:cubicBezTo>
                    <a:pt x="50626" y="12798"/>
                    <a:pt x="50737" y="12728"/>
                    <a:pt x="50746" y="12588"/>
                  </a:cubicBezTo>
                  <a:lnTo>
                    <a:pt x="50746" y="6671"/>
                  </a:lnTo>
                  <a:cubicBezTo>
                    <a:pt x="50737" y="6523"/>
                    <a:pt x="50626" y="6449"/>
                    <a:pt x="50515" y="6449"/>
                  </a:cubicBezTo>
                  <a:close/>
                  <a:moveTo>
                    <a:pt x="59654" y="6424"/>
                  </a:moveTo>
                  <a:cubicBezTo>
                    <a:pt x="59534" y="6424"/>
                    <a:pt x="59415" y="6507"/>
                    <a:pt x="59415" y="6671"/>
                  </a:cubicBezTo>
                  <a:lnTo>
                    <a:pt x="59415" y="12572"/>
                  </a:lnTo>
                  <a:cubicBezTo>
                    <a:pt x="59415" y="12728"/>
                    <a:pt x="59534" y="12806"/>
                    <a:pt x="59654" y="12806"/>
                  </a:cubicBezTo>
                  <a:cubicBezTo>
                    <a:pt x="59773" y="12806"/>
                    <a:pt x="59893" y="12728"/>
                    <a:pt x="59893" y="12572"/>
                  </a:cubicBezTo>
                  <a:lnTo>
                    <a:pt x="59893" y="6671"/>
                  </a:lnTo>
                  <a:cubicBezTo>
                    <a:pt x="59893" y="6507"/>
                    <a:pt x="59773" y="6424"/>
                    <a:pt x="59654" y="6424"/>
                  </a:cubicBezTo>
                  <a:close/>
                  <a:moveTo>
                    <a:pt x="10911" y="6424"/>
                  </a:moveTo>
                  <a:cubicBezTo>
                    <a:pt x="10795" y="6424"/>
                    <a:pt x="10680" y="6507"/>
                    <a:pt x="10680" y="6671"/>
                  </a:cubicBezTo>
                  <a:lnTo>
                    <a:pt x="10680" y="12588"/>
                  </a:lnTo>
                  <a:cubicBezTo>
                    <a:pt x="10680" y="12745"/>
                    <a:pt x="10795" y="12823"/>
                    <a:pt x="10911" y="12823"/>
                  </a:cubicBezTo>
                  <a:cubicBezTo>
                    <a:pt x="11026" y="12823"/>
                    <a:pt x="11141" y="12745"/>
                    <a:pt x="11141" y="12588"/>
                  </a:cubicBezTo>
                  <a:lnTo>
                    <a:pt x="11141" y="12572"/>
                  </a:lnTo>
                  <a:lnTo>
                    <a:pt x="11141" y="6671"/>
                  </a:lnTo>
                  <a:cubicBezTo>
                    <a:pt x="11141" y="6507"/>
                    <a:pt x="11026" y="6424"/>
                    <a:pt x="10911" y="6424"/>
                  </a:cubicBezTo>
                  <a:close/>
                  <a:moveTo>
                    <a:pt x="30756" y="5823"/>
                  </a:moveTo>
                  <a:cubicBezTo>
                    <a:pt x="30643" y="5823"/>
                    <a:pt x="30532" y="5897"/>
                    <a:pt x="30523" y="6045"/>
                  </a:cubicBezTo>
                  <a:lnTo>
                    <a:pt x="30408" y="13198"/>
                  </a:lnTo>
                  <a:cubicBezTo>
                    <a:pt x="30424" y="13338"/>
                    <a:pt x="30540" y="13408"/>
                    <a:pt x="30653" y="13408"/>
                  </a:cubicBezTo>
                  <a:cubicBezTo>
                    <a:pt x="30766" y="13408"/>
                    <a:pt x="30878" y="13338"/>
                    <a:pt x="30886" y="13198"/>
                  </a:cubicBezTo>
                  <a:lnTo>
                    <a:pt x="31001" y="6045"/>
                  </a:lnTo>
                  <a:cubicBezTo>
                    <a:pt x="30985" y="5897"/>
                    <a:pt x="30869" y="5823"/>
                    <a:pt x="30756" y="5823"/>
                  </a:cubicBezTo>
                  <a:close/>
                  <a:moveTo>
                    <a:pt x="33803" y="5823"/>
                  </a:moveTo>
                  <a:cubicBezTo>
                    <a:pt x="33692" y="5823"/>
                    <a:pt x="33581" y="5897"/>
                    <a:pt x="33572" y="6045"/>
                  </a:cubicBezTo>
                  <a:lnTo>
                    <a:pt x="33457" y="13198"/>
                  </a:lnTo>
                  <a:cubicBezTo>
                    <a:pt x="33473" y="13338"/>
                    <a:pt x="33585" y="13408"/>
                    <a:pt x="33696" y="13408"/>
                  </a:cubicBezTo>
                  <a:cubicBezTo>
                    <a:pt x="33807" y="13408"/>
                    <a:pt x="33918" y="13338"/>
                    <a:pt x="33935" y="13198"/>
                  </a:cubicBezTo>
                  <a:lnTo>
                    <a:pt x="34034" y="6045"/>
                  </a:lnTo>
                  <a:cubicBezTo>
                    <a:pt x="34026" y="5897"/>
                    <a:pt x="33914" y="5823"/>
                    <a:pt x="33803" y="5823"/>
                  </a:cubicBezTo>
                  <a:close/>
                  <a:moveTo>
                    <a:pt x="61170" y="5604"/>
                  </a:moveTo>
                  <a:cubicBezTo>
                    <a:pt x="61059" y="5604"/>
                    <a:pt x="60947" y="5674"/>
                    <a:pt x="60931" y="5814"/>
                  </a:cubicBezTo>
                  <a:lnTo>
                    <a:pt x="60931" y="13412"/>
                  </a:lnTo>
                  <a:cubicBezTo>
                    <a:pt x="60947" y="13560"/>
                    <a:pt x="61059" y="13635"/>
                    <a:pt x="61170" y="13635"/>
                  </a:cubicBezTo>
                  <a:cubicBezTo>
                    <a:pt x="61281" y="13635"/>
                    <a:pt x="61392" y="13560"/>
                    <a:pt x="61409" y="13412"/>
                  </a:cubicBezTo>
                  <a:lnTo>
                    <a:pt x="61409" y="5814"/>
                  </a:lnTo>
                  <a:cubicBezTo>
                    <a:pt x="61392" y="5674"/>
                    <a:pt x="61281" y="5604"/>
                    <a:pt x="61170" y="5604"/>
                  </a:cubicBezTo>
                  <a:close/>
                  <a:moveTo>
                    <a:pt x="67274" y="5604"/>
                  </a:moveTo>
                  <a:cubicBezTo>
                    <a:pt x="67161" y="5604"/>
                    <a:pt x="67046" y="5674"/>
                    <a:pt x="67029" y="5814"/>
                  </a:cubicBezTo>
                  <a:lnTo>
                    <a:pt x="67029" y="13412"/>
                  </a:lnTo>
                  <a:cubicBezTo>
                    <a:pt x="67046" y="13560"/>
                    <a:pt x="67161" y="13635"/>
                    <a:pt x="67274" y="13635"/>
                  </a:cubicBezTo>
                  <a:cubicBezTo>
                    <a:pt x="67387" y="13635"/>
                    <a:pt x="67499" y="13560"/>
                    <a:pt x="67507" y="13412"/>
                  </a:cubicBezTo>
                  <a:lnTo>
                    <a:pt x="67507" y="5814"/>
                  </a:lnTo>
                  <a:cubicBezTo>
                    <a:pt x="67499" y="5674"/>
                    <a:pt x="67387" y="5604"/>
                    <a:pt x="67274" y="5604"/>
                  </a:cubicBezTo>
                  <a:close/>
                  <a:moveTo>
                    <a:pt x="76415" y="5604"/>
                  </a:moveTo>
                  <a:cubicBezTo>
                    <a:pt x="76304" y="5604"/>
                    <a:pt x="76193" y="5674"/>
                    <a:pt x="76176" y="5814"/>
                  </a:cubicBezTo>
                  <a:lnTo>
                    <a:pt x="76176" y="13412"/>
                  </a:lnTo>
                  <a:cubicBezTo>
                    <a:pt x="76193" y="13560"/>
                    <a:pt x="76304" y="13635"/>
                    <a:pt x="76415" y="13635"/>
                  </a:cubicBezTo>
                  <a:cubicBezTo>
                    <a:pt x="76526" y="13635"/>
                    <a:pt x="76638" y="13560"/>
                    <a:pt x="76654" y="13412"/>
                  </a:cubicBezTo>
                  <a:lnTo>
                    <a:pt x="76654" y="5814"/>
                  </a:lnTo>
                  <a:cubicBezTo>
                    <a:pt x="76638" y="5674"/>
                    <a:pt x="76526" y="5604"/>
                    <a:pt x="76415" y="5604"/>
                  </a:cubicBezTo>
                  <a:close/>
                  <a:moveTo>
                    <a:pt x="82513" y="5604"/>
                  </a:moveTo>
                  <a:cubicBezTo>
                    <a:pt x="82402" y="5604"/>
                    <a:pt x="82291" y="5674"/>
                    <a:pt x="82274" y="5814"/>
                  </a:cubicBezTo>
                  <a:lnTo>
                    <a:pt x="82274" y="13412"/>
                  </a:lnTo>
                  <a:cubicBezTo>
                    <a:pt x="82291" y="13560"/>
                    <a:pt x="82402" y="13635"/>
                    <a:pt x="82513" y="13635"/>
                  </a:cubicBezTo>
                  <a:cubicBezTo>
                    <a:pt x="82624" y="13635"/>
                    <a:pt x="82736" y="13560"/>
                    <a:pt x="82752" y="13412"/>
                  </a:cubicBezTo>
                  <a:lnTo>
                    <a:pt x="82752" y="5814"/>
                  </a:lnTo>
                  <a:cubicBezTo>
                    <a:pt x="82736" y="5674"/>
                    <a:pt x="82624" y="5604"/>
                    <a:pt x="82513" y="5604"/>
                  </a:cubicBezTo>
                  <a:close/>
                  <a:moveTo>
                    <a:pt x="3288" y="5604"/>
                  </a:moveTo>
                  <a:cubicBezTo>
                    <a:pt x="3177" y="5604"/>
                    <a:pt x="3066" y="5674"/>
                    <a:pt x="3049" y="5814"/>
                  </a:cubicBezTo>
                  <a:lnTo>
                    <a:pt x="3049" y="13429"/>
                  </a:lnTo>
                  <a:cubicBezTo>
                    <a:pt x="3066" y="13577"/>
                    <a:pt x="3177" y="13651"/>
                    <a:pt x="3288" y="13651"/>
                  </a:cubicBezTo>
                  <a:cubicBezTo>
                    <a:pt x="3399" y="13651"/>
                    <a:pt x="3511" y="13577"/>
                    <a:pt x="3527" y="13429"/>
                  </a:cubicBezTo>
                  <a:lnTo>
                    <a:pt x="3527" y="13412"/>
                  </a:lnTo>
                  <a:lnTo>
                    <a:pt x="3527" y="5814"/>
                  </a:lnTo>
                  <a:cubicBezTo>
                    <a:pt x="3511" y="5674"/>
                    <a:pt x="3399" y="5604"/>
                    <a:pt x="3288" y="5604"/>
                  </a:cubicBezTo>
                  <a:close/>
                  <a:moveTo>
                    <a:pt x="9386" y="5604"/>
                  </a:moveTo>
                  <a:cubicBezTo>
                    <a:pt x="9275" y="5604"/>
                    <a:pt x="9164" y="5674"/>
                    <a:pt x="9147" y="5814"/>
                  </a:cubicBezTo>
                  <a:lnTo>
                    <a:pt x="9147" y="13429"/>
                  </a:lnTo>
                  <a:cubicBezTo>
                    <a:pt x="9164" y="13577"/>
                    <a:pt x="9275" y="13651"/>
                    <a:pt x="9386" y="13651"/>
                  </a:cubicBezTo>
                  <a:cubicBezTo>
                    <a:pt x="9497" y="13651"/>
                    <a:pt x="9609" y="13577"/>
                    <a:pt x="9625" y="13429"/>
                  </a:cubicBezTo>
                  <a:lnTo>
                    <a:pt x="9625" y="13412"/>
                  </a:lnTo>
                  <a:lnTo>
                    <a:pt x="9625" y="5814"/>
                  </a:lnTo>
                  <a:cubicBezTo>
                    <a:pt x="9609" y="5674"/>
                    <a:pt x="9497" y="5604"/>
                    <a:pt x="9386" y="5604"/>
                  </a:cubicBezTo>
                  <a:close/>
                  <a:moveTo>
                    <a:pt x="42886" y="5604"/>
                  </a:moveTo>
                  <a:cubicBezTo>
                    <a:pt x="42773" y="5604"/>
                    <a:pt x="42662" y="5674"/>
                    <a:pt x="42653" y="5814"/>
                  </a:cubicBezTo>
                  <a:lnTo>
                    <a:pt x="42653" y="13429"/>
                  </a:lnTo>
                  <a:cubicBezTo>
                    <a:pt x="42662" y="13577"/>
                    <a:pt x="42773" y="13651"/>
                    <a:pt x="42886" y="13651"/>
                  </a:cubicBezTo>
                  <a:cubicBezTo>
                    <a:pt x="43000" y="13651"/>
                    <a:pt x="43115" y="13577"/>
                    <a:pt x="43131" y="13429"/>
                  </a:cubicBezTo>
                  <a:lnTo>
                    <a:pt x="43131" y="5814"/>
                  </a:lnTo>
                  <a:cubicBezTo>
                    <a:pt x="43115" y="5674"/>
                    <a:pt x="43000" y="5604"/>
                    <a:pt x="42886" y="5604"/>
                  </a:cubicBezTo>
                  <a:close/>
                  <a:moveTo>
                    <a:pt x="48990" y="5604"/>
                  </a:moveTo>
                  <a:cubicBezTo>
                    <a:pt x="48879" y="5604"/>
                    <a:pt x="48768" y="5674"/>
                    <a:pt x="48751" y="5814"/>
                  </a:cubicBezTo>
                  <a:lnTo>
                    <a:pt x="48751" y="13429"/>
                  </a:lnTo>
                  <a:cubicBezTo>
                    <a:pt x="48768" y="13577"/>
                    <a:pt x="48879" y="13651"/>
                    <a:pt x="48990" y="13651"/>
                  </a:cubicBezTo>
                  <a:cubicBezTo>
                    <a:pt x="49102" y="13651"/>
                    <a:pt x="49213" y="13577"/>
                    <a:pt x="49229" y="13429"/>
                  </a:cubicBezTo>
                  <a:lnTo>
                    <a:pt x="49229" y="5814"/>
                  </a:lnTo>
                  <a:cubicBezTo>
                    <a:pt x="49213" y="5674"/>
                    <a:pt x="49102" y="5604"/>
                    <a:pt x="48990" y="5604"/>
                  </a:cubicBezTo>
                  <a:close/>
                  <a:moveTo>
                    <a:pt x="65752" y="5077"/>
                  </a:moveTo>
                  <a:cubicBezTo>
                    <a:pt x="65640" y="5077"/>
                    <a:pt x="65529" y="5147"/>
                    <a:pt x="65513" y="5287"/>
                  </a:cubicBezTo>
                  <a:lnTo>
                    <a:pt x="65513" y="13940"/>
                  </a:lnTo>
                  <a:cubicBezTo>
                    <a:pt x="65529" y="14088"/>
                    <a:pt x="65640" y="14162"/>
                    <a:pt x="65752" y="14162"/>
                  </a:cubicBezTo>
                  <a:cubicBezTo>
                    <a:pt x="65863" y="14162"/>
                    <a:pt x="65974" y="14088"/>
                    <a:pt x="65991" y="13940"/>
                  </a:cubicBezTo>
                  <a:lnTo>
                    <a:pt x="65991" y="5287"/>
                  </a:lnTo>
                  <a:cubicBezTo>
                    <a:pt x="65974" y="5147"/>
                    <a:pt x="65863" y="5077"/>
                    <a:pt x="65752" y="5077"/>
                  </a:cubicBezTo>
                  <a:close/>
                  <a:moveTo>
                    <a:pt x="77937" y="5077"/>
                  </a:moveTo>
                  <a:cubicBezTo>
                    <a:pt x="77824" y="5077"/>
                    <a:pt x="77709" y="5147"/>
                    <a:pt x="77692" y="5287"/>
                  </a:cubicBezTo>
                  <a:lnTo>
                    <a:pt x="77692" y="13940"/>
                  </a:lnTo>
                  <a:cubicBezTo>
                    <a:pt x="77709" y="14088"/>
                    <a:pt x="77824" y="14162"/>
                    <a:pt x="77937" y="14162"/>
                  </a:cubicBezTo>
                  <a:cubicBezTo>
                    <a:pt x="78051" y="14162"/>
                    <a:pt x="78162" y="14088"/>
                    <a:pt x="78170" y="13940"/>
                  </a:cubicBezTo>
                  <a:lnTo>
                    <a:pt x="78170" y="5287"/>
                  </a:lnTo>
                  <a:cubicBezTo>
                    <a:pt x="78162" y="5147"/>
                    <a:pt x="78051" y="5077"/>
                    <a:pt x="77937" y="5077"/>
                  </a:cubicBezTo>
                  <a:close/>
                  <a:moveTo>
                    <a:pt x="80986" y="5077"/>
                  </a:moveTo>
                  <a:cubicBezTo>
                    <a:pt x="80873" y="5077"/>
                    <a:pt x="80758" y="5147"/>
                    <a:pt x="80741" y="5287"/>
                  </a:cubicBezTo>
                  <a:lnTo>
                    <a:pt x="80741" y="13940"/>
                  </a:lnTo>
                  <a:cubicBezTo>
                    <a:pt x="80758" y="14088"/>
                    <a:pt x="80873" y="14162"/>
                    <a:pt x="80986" y="14162"/>
                  </a:cubicBezTo>
                  <a:cubicBezTo>
                    <a:pt x="81100" y="14162"/>
                    <a:pt x="81211" y="14088"/>
                    <a:pt x="81219" y="13940"/>
                  </a:cubicBezTo>
                  <a:lnTo>
                    <a:pt x="81219" y="5287"/>
                  </a:lnTo>
                  <a:cubicBezTo>
                    <a:pt x="81211" y="5147"/>
                    <a:pt x="81100" y="5077"/>
                    <a:pt x="80986" y="5077"/>
                  </a:cubicBezTo>
                  <a:close/>
                  <a:moveTo>
                    <a:pt x="62694" y="5052"/>
                  </a:moveTo>
                  <a:cubicBezTo>
                    <a:pt x="62579" y="5052"/>
                    <a:pt x="62464" y="5130"/>
                    <a:pt x="62464" y="5287"/>
                  </a:cubicBezTo>
                  <a:lnTo>
                    <a:pt x="62464" y="13940"/>
                  </a:lnTo>
                  <a:cubicBezTo>
                    <a:pt x="62464" y="14096"/>
                    <a:pt x="62583" y="14174"/>
                    <a:pt x="62701" y="14174"/>
                  </a:cubicBezTo>
                  <a:cubicBezTo>
                    <a:pt x="62818" y="14174"/>
                    <a:pt x="62933" y="14096"/>
                    <a:pt x="62925" y="13940"/>
                  </a:cubicBezTo>
                  <a:lnTo>
                    <a:pt x="62925" y="5287"/>
                  </a:lnTo>
                  <a:cubicBezTo>
                    <a:pt x="62925" y="5130"/>
                    <a:pt x="62810" y="5052"/>
                    <a:pt x="62694" y="5052"/>
                  </a:cubicBezTo>
                  <a:close/>
                  <a:moveTo>
                    <a:pt x="4813" y="5077"/>
                  </a:moveTo>
                  <a:cubicBezTo>
                    <a:pt x="4701" y="5077"/>
                    <a:pt x="4590" y="5147"/>
                    <a:pt x="4582" y="5287"/>
                  </a:cubicBezTo>
                  <a:lnTo>
                    <a:pt x="4582" y="13956"/>
                  </a:lnTo>
                  <a:cubicBezTo>
                    <a:pt x="4590" y="14104"/>
                    <a:pt x="4701" y="14178"/>
                    <a:pt x="4813" y="14178"/>
                  </a:cubicBezTo>
                  <a:cubicBezTo>
                    <a:pt x="4924" y="14178"/>
                    <a:pt x="5035" y="14104"/>
                    <a:pt x="5043" y="13956"/>
                  </a:cubicBezTo>
                  <a:lnTo>
                    <a:pt x="5043" y="13940"/>
                  </a:lnTo>
                  <a:lnTo>
                    <a:pt x="5043" y="5287"/>
                  </a:lnTo>
                  <a:cubicBezTo>
                    <a:pt x="5035" y="5147"/>
                    <a:pt x="4924" y="5077"/>
                    <a:pt x="4813" y="5077"/>
                  </a:cubicBezTo>
                  <a:close/>
                  <a:moveTo>
                    <a:pt x="7864" y="5077"/>
                  </a:moveTo>
                  <a:cubicBezTo>
                    <a:pt x="7750" y="5077"/>
                    <a:pt x="7639" y="5147"/>
                    <a:pt x="7631" y="5287"/>
                  </a:cubicBezTo>
                  <a:lnTo>
                    <a:pt x="7631" y="13956"/>
                  </a:lnTo>
                  <a:cubicBezTo>
                    <a:pt x="7639" y="14104"/>
                    <a:pt x="7750" y="14178"/>
                    <a:pt x="7864" y="14178"/>
                  </a:cubicBezTo>
                  <a:cubicBezTo>
                    <a:pt x="7977" y="14178"/>
                    <a:pt x="8092" y="14104"/>
                    <a:pt x="8109" y="13956"/>
                  </a:cubicBezTo>
                  <a:lnTo>
                    <a:pt x="8109" y="13940"/>
                  </a:lnTo>
                  <a:lnTo>
                    <a:pt x="8109" y="5287"/>
                  </a:lnTo>
                  <a:cubicBezTo>
                    <a:pt x="8092" y="5147"/>
                    <a:pt x="7977" y="5077"/>
                    <a:pt x="7864" y="5077"/>
                  </a:cubicBezTo>
                  <a:close/>
                  <a:moveTo>
                    <a:pt x="44409" y="5077"/>
                  </a:moveTo>
                  <a:cubicBezTo>
                    <a:pt x="44297" y="5077"/>
                    <a:pt x="44186" y="5147"/>
                    <a:pt x="44170" y="5287"/>
                  </a:cubicBezTo>
                  <a:lnTo>
                    <a:pt x="44170" y="13956"/>
                  </a:lnTo>
                  <a:cubicBezTo>
                    <a:pt x="44186" y="14104"/>
                    <a:pt x="44297" y="14178"/>
                    <a:pt x="44409" y="14178"/>
                  </a:cubicBezTo>
                  <a:cubicBezTo>
                    <a:pt x="44520" y="14178"/>
                    <a:pt x="44631" y="14104"/>
                    <a:pt x="44648" y="13956"/>
                  </a:cubicBezTo>
                  <a:lnTo>
                    <a:pt x="44648" y="5287"/>
                  </a:lnTo>
                  <a:cubicBezTo>
                    <a:pt x="44631" y="5147"/>
                    <a:pt x="44520" y="5077"/>
                    <a:pt x="44409" y="5077"/>
                  </a:cubicBezTo>
                  <a:close/>
                  <a:moveTo>
                    <a:pt x="47466" y="5077"/>
                  </a:moveTo>
                  <a:cubicBezTo>
                    <a:pt x="47355" y="5077"/>
                    <a:pt x="47243" y="5147"/>
                    <a:pt x="47235" y="5287"/>
                  </a:cubicBezTo>
                  <a:lnTo>
                    <a:pt x="47235" y="13956"/>
                  </a:lnTo>
                  <a:cubicBezTo>
                    <a:pt x="47243" y="14104"/>
                    <a:pt x="47355" y="14178"/>
                    <a:pt x="47466" y="14178"/>
                  </a:cubicBezTo>
                  <a:cubicBezTo>
                    <a:pt x="47577" y="14178"/>
                    <a:pt x="47688" y="14104"/>
                    <a:pt x="47697" y="13956"/>
                  </a:cubicBezTo>
                  <a:lnTo>
                    <a:pt x="47697" y="5287"/>
                  </a:lnTo>
                  <a:cubicBezTo>
                    <a:pt x="47688" y="5147"/>
                    <a:pt x="47577" y="5077"/>
                    <a:pt x="47466" y="5077"/>
                  </a:cubicBezTo>
                  <a:close/>
                  <a:moveTo>
                    <a:pt x="32229" y="4982"/>
                  </a:moveTo>
                  <a:cubicBezTo>
                    <a:pt x="32118" y="4982"/>
                    <a:pt x="32007" y="5056"/>
                    <a:pt x="31990" y="5205"/>
                  </a:cubicBezTo>
                  <a:lnTo>
                    <a:pt x="31990" y="14038"/>
                  </a:lnTo>
                  <a:cubicBezTo>
                    <a:pt x="32007" y="14178"/>
                    <a:pt x="32118" y="14249"/>
                    <a:pt x="32229" y="14249"/>
                  </a:cubicBezTo>
                  <a:cubicBezTo>
                    <a:pt x="32340" y="14249"/>
                    <a:pt x="32452" y="14178"/>
                    <a:pt x="32468" y="14038"/>
                  </a:cubicBezTo>
                  <a:lnTo>
                    <a:pt x="32468" y="5205"/>
                  </a:lnTo>
                  <a:cubicBezTo>
                    <a:pt x="32452" y="5056"/>
                    <a:pt x="32340" y="4982"/>
                    <a:pt x="32229" y="4982"/>
                  </a:cubicBezTo>
                  <a:close/>
                  <a:moveTo>
                    <a:pt x="64225" y="4224"/>
                  </a:moveTo>
                  <a:cubicBezTo>
                    <a:pt x="64112" y="4224"/>
                    <a:pt x="63997" y="4298"/>
                    <a:pt x="63980" y="4446"/>
                  </a:cubicBezTo>
                  <a:lnTo>
                    <a:pt x="63980" y="14797"/>
                  </a:lnTo>
                  <a:cubicBezTo>
                    <a:pt x="63997" y="14937"/>
                    <a:pt x="64112" y="15007"/>
                    <a:pt x="64225" y="15007"/>
                  </a:cubicBezTo>
                  <a:cubicBezTo>
                    <a:pt x="64338" y="15007"/>
                    <a:pt x="64450" y="14937"/>
                    <a:pt x="64458" y="14797"/>
                  </a:cubicBezTo>
                  <a:lnTo>
                    <a:pt x="64458" y="4446"/>
                  </a:lnTo>
                  <a:cubicBezTo>
                    <a:pt x="64450" y="4298"/>
                    <a:pt x="64338" y="4224"/>
                    <a:pt x="64225" y="4224"/>
                  </a:cubicBezTo>
                  <a:close/>
                  <a:moveTo>
                    <a:pt x="79464" y="4224"/>
                  </a:moveTo>
                  <a:cubicBezTo>
                    <a:pt x="79353" y="4224"/>
                    <a:pt x="79242" y="4298"/>
                    <a:pt x="79225" y="4446"/>
                  </a:cubicBezTo>
                  <a:lnTo>
                    <a:pt x="79225" y="14797"/>
                  </a:lnTo>
                  <a:cubicBezTo>
                    <a:pt x="79242" y="14937"/>
                    <a:pt x="79353" y="15007"/>
                    <a:pt x="79464" y="15007"/>
                  </a:cubicBezTo>
                  <a:cubicBezTo>
                    <a:pt x="79575" y="15007"/>
                    <a:pt x="79687" y="14937"/>
                    <a:pt x="79703" y="14797"/>
                  </a:cubicBezTo>
                  <a:lnTo>
                    <a:pt x="79703" y="4446"/>
                  </a:lnTo>
                  <a:cubicBezTo>
                    <a:pt x="79687" y="4298"/>
                    <a:pt x="79575" y="4224"/>
                    <a:pt x="79464" y="4224"/>
                  </a:cubicBezTo>
                  <a:close/>
                  <a:moveTo>
                    <a:pt x="6337" y="4224"/>
                  </a:moveTo>
                  <a:cubicBezTo>
                    <a:pt x="6226" y="4224"/>
                    <a:pt x="6115" y="4298"/>
                    <a:pt x="6098" y="4446"/>
                  </a:cubicBezTo>
                  <a:lnTo>
                    <a:pt x="6098" y="14813"/>
                  </a:lnTo>
                  <a:cubicBezTo>
                    <a:pt x="6115" y="14953"/>
                    <a:pt x="6226" y="15023"/>
                    <a:pt x="6337" y="15023"/>
                  </a:cubicBezTo>
                  <a:cubicBezTo>
                    <a:pt x="6448" y="15023"/>
                    <a:pt x="6560" y="14953"/>
                    <a:pt x="6576" y="14813"/>
                  </a:cubicBezTo>
                  <a:lnTo>
                    <a:pt x="6576" y="14797"/>
                  </a:lnTo>
                  <a:lnTo>
                    <a:pt x="6576" y="4446"/>
                  </a:lnTo>
                  <a:cubicBezTo>
                    <a:pt x="6560" y="4298"/>
                    <a:pt x="6448" y="4224"/>
                    <a:pt x="6337" y="4224"/>
                  </a:cubicBezTo>
                  <a:close/>
                  <a:moveTo>
                    <a:pt x="45941" y="4224"/>
                  </a:moveTo>
                  <a:cubicBezTo>
                    <a:pt x="45830" y="4224"/>
                    <a:pt x="45719" y="4298"/>
                    <a:pt x="45702" y="4446"/>
                  </a:cubicBezTo>
                  <a:lnTo>
                    <a:pt x="45702" y="14813"/>
                  </a:lnTo>
                  <a:cubicBezTo>
                    <a:pt x="45719" y="14953"/>
                    <a:pt x="45830" y="15023"/>
                    <a:pt x="45941" y="15023"/>
                  </a:cubicBezTo>
                  <a:cubicBezTo>
                    <a:pt x="46053" y="15023"/>
                    <a:pt x="46164" y="14953"/>
                    <a:pt x="46180" y="14813"/>
                  </a:cubicBezTo>
                  <a:lnTo>
                    <a:pt x="46180" y="4446"/>
                  </a:lnTo>
                  <a:cubicBezTo>
                    <a:pt x="46164" y="4298"/>
                    <a:pt x="46053" y="4224"/>
                    <a:pt x="45941" y="4224"/>
                  </a:cubicBezTo>
                  <a:close/>
                  <a:moveTo>
                    <a:pt x="26131" y="4010"/>
                  </a:moveTo>
                  <a:cubicBezTo>
                    <a:pt x="26020" y="4010"/>
                    <a:pt x="25909" y="4084"/>
                    <a:pt x="25892" y="4232"/>
                  </a:cubicBezTo>
                  <a:lnTo>
                    <a:pt x="25892" y="14978"/>
                  </a:lnTo>
                  <a:cubicBezTo>
                    <a:pt x="25909" y="15126"/>
                    <a:pt x="26020" y="15200"/>
                    <a:pt x="26131" y="15200"/>
                  </a:cubicBezTo>
                  <a:cubicBezTo>
                    <a:pt x="26242" y="15200"/>
                    <a:pt x="26354" y="15126"/>
                    <a:pt x="26370" y="14978"/>
                  </a:cubicBezTo>
                  <a:lnTo>
                    <a:pt x="26370" y="4232"/>
                  </a:lnTo>
                  <a:cubicBezTo>
                    <a:pt x="26354" y="4084"/>
                    <a:pt x="26242" y="4010"/>
                    <a:pt x="26131" y="4010"/>
                  </a:cubicBezTo>
                  <a:close/>
                  <a:moveTo>
                    <a:pt x="17001" y="4026"/>
                  </a:moveTo>
                  <a:cubicBezTo>
                    <a:pt x="16889" y="4026"/>
                    <a:pt x="16778" y="4100"/>
                    <a:pt x="16762" y="4249"/>
                  </a:cubicBezTo>
                  <a:lnTo>
                    <a:pt x="16762" y="14994"/>
                  </a:lnTo>
                  <a:cubicBezTo>
                    <a:pt x="16778" y="15143"/>
                    <a:pt x="16889" y="15217"/>
                    <a:pt x="17001" y="15217"/>
                  </a:cubicBezTo>
                  <a:cubicBezTo>
                    <a:pt x="17112" y="15217"/>
                    <a:pt x="17223" y="15143"/>
                    <a:pt x="17240" y="14994"/>
                  </a:cubicBezTo>
                  <a:lnTo>
                    <a:pt x="17240" y="4249"/>
                  </a:lnTo>
                  <a:cubicBezTo>
                    <a:pt x="17223" y="4100"/>
                    <a:pt x="17112" y="4026"/>
                    <a:pt x="17001" y="4026"/>
                  </a:cubicBezTo>
                  <a:close/>
                  <a:moveTo>
                    <a:pt x="24615" y="2477"/>
                  </a:moveTo>
                  <a:cubicBezTo>
                    <a:pt x="24504" y="2477"/>
                    <a:pt x="24392" y="2551"/>
                    <a:pt x="24376" y="2699"/>
                  </a:cubicBezTo>
                  <a:lnTo>
                    <a:pt x="24376" y="16527"/>
                  </a:lnTo>
                  <a:cubicBezTo>
                    <a:pt x="24392" y="16667"/>
                    <a:pt x="24504" y="16737"/>
                    <a:pt x="24615" y="16737"/>
                  </a:cubicBezTo>
                  <a:cubicBezTo>
                    <a:pt x="24726" y="16737"/>
                    <a:pt x="24837" y="16667"/>
                    <a:pt x="24854" y="16527"/>
                  </a:cubicBezTo>
                  <a:lnTo>
                    <a:pt x="24854" y="2699"/>
                  </a:lnTo>
                  <a:cubicBezTo>
                    <a:pt x="24837" y="2551"/>
                    <a:pt x="24726" y="2477"/>
                    <a:pt x="24615" y="2477"/>
                  </a:cubicBezTo>
                  <a:close/>
                  <a:moveTo>
                    <a:pt x="18523" y="2489"/>
                  </a:moveTo>
                  <a:cubicBezTo>
                    <a:pt x="18410" y="2489"/>
                    <a:pt x="18294" y="2559"/>
                    <a:pt x="18278" y="2699"/>
                  </a:cubicBezTo>
                  <a:lnTo>
                    <a:pt x="18278" y="16527"/>
                  </a:lnTo>
                  <a:cubicBezTo>
                    <a:pt x="18294" y="16675"/>
                    <a:pt x="18410" y="16750"/>
                    <a:pt x="18523" y="16750"/>
                  </a:cubicBezTo>
                  <a:cubicBezTo>
                    <a:pt x="18636" y="16750"/>
                    <a:pt x="18748" y="16675"/>
                    <a:pt x="18756" y="16527"/>
                  </a:cubicBezTo>
                  <a:lnTo>
                    <a:pt x="18756" y="2699"/>
                  </a:lnTo>
                  <a:cubicBezTo>
                    <a:pt x="18748" y="2559"/>
                    <a:pt x="18636" y="2489"/>
                    <a:pt x="18523" y="2489"/>
                  </a:cubicBezTo>
                  <a:close/>
                  <a:moveTo>
                    <a:pt x="23088" y="1538"/>
                  </a:moveTo>
                  <a:cubicBezTo>
                    <a:pt x="22975" y="1538"/>
                    <a:pt x="22860" y="1612"/>
                    <a:pt x="22843" y="1760"/>
                  </a:cubicBezTo>
                  <a:lnTo>
                    <a:pt x="22843" y="17483"/>
                  </a:lnTo>
                  <a:cubicBezTo>
                    <a:pt x="22860" y="17623"/>
                    <a:pt x="22975" y="17693"/>
                    <a:pt x="23088" y="17693"/>
                  </a:cubicBezTo>
                  <a:cubicBezTo>
                    <a:pt x="23202" y="17693"/>
                    <a:pt x="23313" y="17623"/>
                    <a:pt x="23321" y="17483"/>
                  </a:cubicBezTo>
                  <a:lnTo>
                    <a:pt x="23321" y="1760"/>
                  </a:lnTo>
                  <a:cubicBezTo>
                    <a:pt x="23313" y="1612"/>
                    <a:pt x="23202" y="1538"/>
                    <a:pt x="23088" y="1538"/>
                  </a:cubicBezTo>
                  <a:close/>
                  <a:moveTo>
                    <a:pt x="20043" y="1538"/>
                  </a:moveTo>
                  <a:cubicBezTo>
                    <a:pt x="19930" y="1538"/>
                    <a:pt x="19819" y="1612"/>
                    <a:pt x="19811" y="1760"/>
                  </a:cubicBezTo>
                  <a:lnTo>
                    <a:pt x="19811" y="17483"/>
                  </a:lnTo>
                  <a:cubicBezTo>
                    <a:pt x="19819" y="17631"/>
                    <a:pt x="19930" y="17705"/>
                    <a:pt x="20043" y="17705"/>
                  </a:cubicBezTo>
                  <a:cubicBezTo>
                    <a:pt x="20157" y="17705"/>
                    <a:pt x="20272" y="17631"/>
                    <a:pt x="20289" y="17483"/>
                  </a:cubicBezTo>
                  <a:lnTo>
                    <a:pt x="20289" y="1760"/>
                  </a:lnTo>
                  <a:cubicBezTo>
                    <a:pt x="20272" y="1612"/>
                    <a:pt x="20157" y="1538"/>
                    <a:pt x="20043" y="1538"/>
                  </a:cubicBezTo>
                  <a:close/>
                  <a:moveTo>
                    <a:pt x="21566" y="1"/>
                  </a:moveTo>
                  <a:cubicBezTo>
                    <a:pt x="21455" y="1"/>
                    <a:pt x="21343" y="71"/>
                    <a:pt x="21327" y="211"/>
                  </a:cubicBezTo>
                  <a:lnTo>
                    <a:pt x="21327" y="19016"/>
                  </a:lnTo>
                  <a:cubicBezTo>
                    <a:pt x="21343" y="19164"/>
                    <a:pt x="21455" y="19238"/>
                    <a:pt x="21566" y="19238"/>
                  </a:cubicBezTo>
                  <a:cubicBezTo>
                    <a:pt x="21677" y="19238"/>
                    <a:pt x="21788" y="19164"/>
                    <a:pt x="21805" y="19016"/>
                  </a:cubicBezTo>
                  <a:lnTo>
                    <a:pt x="21805" y="211"/>
                  </a:lnTo>
                  <a:cubicBezTo>
                    <a:pt x="21788" y="71"/>
                    <a:pt x="21677" y="1"/>
                    <a:pt x="2156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67" name="Google Shape;1567;p48"/>
          <p:cNvGrpSpPr/>
          <p:nvPr/>
        </p:nvGrpSpPr>
        <p:grpSpPr>
          <a:xfrm>
            <a:off x="6044762" y="3020260"/>
            <a:ext cx="2069811" cy="1553187"/>
            <a:chOff x="3139200" y="4215125"/>
            <a:chExt cx="1046575" cy="785350"/>
          </a:xfrm>
        </p:grpSpPr>
        <p:sp>
          <p:nvSpPr>
            <p:cNvPr id="1568" name="Google Shape;1568;p48"/>
            <p:cNvSpPr/>
            <p:nvPr/>
          </p:nvSpPr>
          <p:spPr>
            <a:xfrm>
              <a:off x="3273525" y="4573575"/>
              <a:ext cx="315225" cy="77325"/>
            </a:xfrm>
            <a:custGeom>
              <a:avLst/>
              <a:gdLst/>
              <a:ahLst/>
              <a:cxnLst/>
              <a:rect l="l" t="t" r="r" b="b"/>
              <a:pathLst>
                <a:path w="12609" h="3093" extrusionOk="0">
                  <a:moveTo>
                    <a:pt x="2061" y="1"/>
                  </a:moveTo>
                  <a:cubicBezTo>
                    <a:pt x="693" y="1"/>
                    <a:pt x="1" y="1665"/>
                    <a:pt x="973" y="2638"/>
                  </a:cubicBezTo>
                  <a:cubicBezTo>
                    <a:pt x="1287" y="2952"/>
                    <a:pt x="1672" y="3092"/>
                    <a:pt x="2049" y="3092"/>
                  </a:cubicBezTo>
                  <a:cubicBezTo>
                    <a:pt x="2840" y="3092"/>
                    <a:pt x="3599" y="2476"/>
                    <a:pt x="3610" y="1550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560" y="1"/>
                  </a:moveTo>
                  <a:cubicBezTo>
                    <a:pt x="5192" y="1"/>
                    <a:pt x="4500" y="1665"/>
                    <a:pt x="5472" y="2638"/>
                  </a:cubicBezTo>
                  <a:cubicBezTo>
                    <a:pt x="5786" y="2952"/>
                    <a:pt x="6173" y="3092"/>
                    <a:pt x="6552" y="3092"/>
                  </a:cubicBezTo>
                  <a:cubicBezTo>
                    <a:pt x="7347" y="3092"/>
                    <a:pt x="8109" y="2476"/>
                    <a:pt x="8109" y="1550"/>
                  </a:cubicBezTo>
                  <a:cubicBezTo>
                    <a:pt x="8109" y="693"/>
                    <a:pt x="7417" y="1"/>
                    <a:pt x="6560" y="1"/>
                  </a:cubicBezTo>
                  <a:close/>
                  <a:moveTo>
                    <a:pt x="11076" y="1"/>
                  </a:moveTo>
                  <a:cubicBezTo>
                    <a:pt x="9691" y="1"/>
                    <a:pt x="9016" y="1665"/>
                    <a:pt x="9988" y="2638"/>
                  </a:cubicBezTo>
                  <a:cubicBezTo>
                    <a:pt x="10297" y="2952"/>
                    <a:pt x="10680" y="3092"/>
                    <a:pt x="11057" y="3092"/>
                  </a:cubicBezTo>
                  <a:cubicBezTo>
                    <a:pt x="11846" y="3092"/>
                    <a:pt x="12609" y="2476"/>
                    <a:pt x="12609" y="1550"/>
                  </a:cubicBezTo>
                  <a:cubicBezTo>
                    <a:pt x="12609" y="693"/>
                    <a:pt x="11933" y="1"/>
                    <a:pt x="1107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9" name="Google Shape;1569;p48"/>
            <p:cNvSpPr/>
            <p:nvPr/>
          </p:nvSpPr>
          <p:spPr>
            <a:xfrm>
              <a:off x="3273525" y="4312775"/>
              <a:ext cx="653500" cy="77300"/>
            </a:xfrm>
            <a:custGeom>
              <a:avLst/>
              <a:gdLst/>
              <a:ahLst/>
              <a:cxnLst/>
              <a:rect l="l" t="t" r="r" b="b"/>
              <a:pathLst>
                <a:path w="26140" h="3092" extrusionOk="0">
                  <a:moveTo>
                    <a:pt x="2061" y="0"/>
                  </a:moveTo>
                  <a:cubicBezTo>
                    <a:pt x="693" y="0"/>
                    <a:pt x="1" y="1665"/>
                    <a:pt x="973" y="2637"/>
                  </a:cubicBezTo>
                  <a:cubicBezTo>
                    <a:pt x="1287" y="2951"/>
                    <a:pt x="1674" y="3092"/>
                    <a:pt x="2053" y="3092"/>
                  </a:cubicBezTo>
                  <a:cubicBezTo>
                    <a:pt x="2847" y="3092"/>
                    <a:pt x="3610" y="2475"/>
                    <a:pt x="3610" y="1549"/>
                  </a:cubicBezTo>
                  <a:cubicBezTo>
                    <a:pt x="3610" y="692"/>
                    <a:pt x="2918" y="0"/>
                    <a:pt x="2061" y="0"/>
                  </a:cubicBezTo>
                  <a:close/>
                  <a:moveTo>
                    <a:pt x="6560" y="0"/>
                  </a:moveTo>
                  <a:cubicBezTo>
                    <a:pt x="5192" y="0"/>
                    <a:pt x="4500" y="1665"/>
                    <a:pt x="5472" y="2637"/>
                  </a:cubicBezTo>
                  <a:cubicBezTo>
                    <a:pt x="5786" y="2951"/>
                    <a:pt x="6173" y="3092"/>
                    <a:pt x="6552" y="3092"/>
                  </a:cubicBezTo>
                  <a:cubicBezTo>
                    <a:pt x="7347" y="3092"/>
                    <a:pt x="8109" y="2475"/>
                    <a:pt x="8109" y="1549"/>
                  </a:cubicBezTo>
                  <a:cubicBezTo>
                    <a:pt x="8109" y="692"/>
                    <a:pt x="7417" y="0"/>
                    <a:pt x="6560" y="0"/>
                  </a:cubicBezTo>
                  <a:close/>
                  <a:moveTo>
                    <a:pt x="11076" y="0"/>
                  </a:moveTo>
                  <a:cubicBezTo>
                    <a:pt x="9691" y="0"/>
                    <a:pt x="9016" y="1665"/>
                    <a:pt x="9988" y="2637"/>
                  </a:cubicBezTo>
                  <a:cubicBezTo>
                    <a:pt x="10302" y="2951"/>
                    <a:pt x="10687" y="3092"/>
                    <a:pt x="11064" y="3092"/>
                  </a:cubicBezTo>
                  <a:cubicBezTo>
                    <a:pt x="11853" y="3092"/>
                    <a:pt x="12609" y="2475"/>
                    <a:pt x="12609" y="1549"/>
                  </a:cubicBezTo>
                  <a:cubicBezTo>
                    <a:pt x="12609" y="692"/>
                    <a:pt x="11933" y="0"/>
                    <a:pt x="11076" y="0"/>
                  </a:cubicBezTo>
                  <a:close/>
                  <a:moveTo>
                    <a:pt x="15575" y="0"/>
                  </a:moveTo>
                  <a:cubicBezTo>
                    <a:pt x="14207" y="0"/>
                    <a:pt x="13515" y="1665"/>
                    <a:pt x="14487" y="2637"/>
                  </a:cubicBezTo>
                  <a:cubicBezTo>
                    <a:pt x="14802" y="2951"/>
                    <a:pt x="15188" y="3092"/>
                    <a:pt x="15567" y="3092"/>
                  </a:cubicBezTo>
                  <a:cubicBezTo>
                    <a:pt x="16362" y="3092"/>
                    <a:pt x="17124" y="2475"/>
                    <a:pt x="17124" y="1549"/>
                  </a:cubicBezTo>
                  <a:cubicBezTo>
                    <a:pt x="17124" y="692"/>
                    <a:pt x="16432" y="0"/>
                    <a:pt x="15592" y="0"/>
                  </a:cubicBezTo>
                  <a:close/>
                  <a:moveTo>
                    <a:pt x="20091" y="0"/>
                  </a:moveTo>
                  <a:cubicBezTo>
                    <a:pt x="18707" y="0"/>
                    <a:pt x="18031" y="1665"/>
                    <a:pt x="19003" y="2637"/>
                  </a:cubicBezTo>
                  <a:cubicBezTo>
                    <a:pt x="19317" y="2951"/>
                    <a:pt x="19702" y="3092"/>
                    <a:pt x="20079" y="3092"/>
                  </a:cubicBezTo>
                  <a:cubicBezTo>
                    <a:pt x="20869" y="3092"/>
                    <a:pt x="21624" y="2475"/>
                    <a:pt x="21624" y="1549"/>
                  </a:cubicBezTo>
                  <a:cubicBezTo>
                    <a:pt x="21624" y="692"/>
                    <a:pt x="20948" y="0"/>
                    <a:pt x="20091" y="0"/>
                  </a:cubicBezTo>
                  <a:close/>
                  <a:moveTo>
                    <a:pt x="24590" y="0"/>
                  </a:moveTo>
                  <a:cubicBezTo>
                    <a:pt x="23222" y="0"/>
                    <a:pt x="22530" y="1665"/>
                    <a:pt x="23503" y="2637"/>
                  </a:cubicBezTo>
                  <a:cubicBezTo>
                    <a:pt x="23817" y="2951"/>
                    <a:pt x="24203" y="3092"/>
                    <a:pt x="24582" y="3092"/>
                  </a:cubicBezTo>
                  <a:cubicBezTo>
                    <a:pt x="25377" y="3092"/>
                    <a:pt x="26140" y="2475"/>
                    <a:pt x="26140" y="1549"/>
                  </a:cubicBezTo>
                  <a:cubicBezTo>
                    <a:pt x="26140" y="692"/>
                    <a:pt x="25447" y="0"/>
                    <a:pt x="24590" y="0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0" name="Google Shape;1570;p48"/>
            <p:cNvSpPr/>
            <p:nvPr/>
          </p:nvSpPr>
          <p:spPr>
            <a:xfrm>
              <a:off x="3273525" y="4721900"/>
              <a:ext cx="540600" cy="77325"/>
            </a:xfrm>
            <a:custGeom>
              <a:avLst/>
              <a:gdLst/>
              <a:ahLst/>
              <a:cxnLst/>
              <a:rect l="l" t="t" r="r" b="b"/>
              <a:pathLst>
                <a:path w="21624" h="3093" extrusionOk="0">
                  <a:moveTo>
                    <a:pt x="2061" y="1"/>
                  </a:moveTo>
                  <a:cubicBezTo>
                    <a:pt x="693" y="1"/>
                    <a:pt x="1" y="1665"/>
                    <a:pt x="973" y="2638"/>
                  </a:cubicBezTo>
                  <a:cubicBezTo>
                    <a:pt x="1287" y="2952"/>
                    <a:pt x="1674" y="3092"/>
                    <a:pt x="2053" y="3092"/>
                  </a:cubicBezTo>
                  <a:cubicBezTo>
                    <a:pt x="2847" y="3092"/>
                    <a:pt x="3610" y="2476"/>
                    <a:pt x="3610" y="1550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560" y="1"/>
                  </a:moveTo>
                  <a:cubicBezTo>
                    <a:pt x="5192" y="1"/>
                    <a:pt x="4500" y="1665"/>
                    <a:pt x="5472" y="2638"/>
                  </a:cubicBezTo>
                  <a:cubicBezTo>
                    <a:pt x="5786" y="2952"/>
                    <a:pt x="6173" y="3092"/>
                    <a:pt x="6552" y="3092"/>
                  </a:cubicBezTo>
                  <a:cubicBezTo>
                    <a:pt x="7347" y="3092"/>
                    <a:pt x="8109" y="2476"/>
                    <a:pt x="8109" y="1550"/>
                  </a:cubicBezTo>
                  <a:cubicBezTo>
                    <a:pt x="8109" y="693"/>
                    <a:pt x="7417" y="1"/>
                    <a:pt x="6560" y="1"/>
                  </a:cubicBezTo>
                  <a:close/>
                  <a:moveTo>
                    <a:pt x="11076" y="1"/>
                  </a:moveTo>
                  <a:cubicBezTo>
                    <a:pt x="9691" y="1"/>
                    <a:pt x="9016" y="1665"/>
                    <a:pt x="9988" y="2638"/>
                  </a:cubicBezTo>
                  <a:cubicBezTo>
                    <a:pt x="10302" y="2952"/>
                    <a:pt x="10687" y="3092"/>
                    <a:pt x="11064" y="3092"/>
                  </a:cubicBezTo>
                  <a:cubicBezTo>
                    <a:pt x="11853" y="3092"/>
                    <a:pt x="12609" y="2476"/>
                    <a:pt x="12609" y="1550"/>
                  </a:cubicBezTo>
                  <a:cubicBezTo>
                    <a:pt x="12609" y="693"/>
                    <a:pt x="11933" y="1"/>
                    <a:pt x="11076" y="1"/>
                  </a:cubicBezTo>
                  <a:close/>
                  <a:moveTo>
                    <a:pt x="15575" y="1"/>
                  </a:moveTo>
                  <a:cubicBezTo>
                    <a:pt x="14207" y="1"/>
                    <a:pt x="13515" y="1665"/>
                    <a:pt x="14487" y="2638"/>
                  </a:cubicBezTo>
                  <a:cubicBezTo>
                    <a:pt x="14802" y="2952"/>
                    <a:pt x="15188" y="3092"/>
                    <a:pt x="15567" y="3092"/>
                  </a:cubicBezTo>
                  <a:cubicBezTo>
                    <a:pt x="16362" y="3092"/>
                    <a:pt x="17124" y="2476"/>
                    <a:pt x="17124" y="1550"/>
                  </a:cubicBezTo>
                  <a:cubicBezTo>
                    <a:pt x="17124" y="693"/>
                    <a:pt x="16432" y="1"/>
                    <a:pt x="15592" y="1"/>
                  </a:cubicBezTo>
                  <a:close/>
                  <a:moveTo>
                    <a:pt x="20091" y="1"/>
                  </a:moveTo>
                  <a:cubicBezTo>
                    <a:pt x="18707" y="1"/>
                    <a:pt x="18031" y="1665"/>
                    <a:pt x="19003" y="2638"/>
                  </a:cubicBezTo>
                  <a:cubicBezTo>
                    <a:pt x="19317" y="2952"/>
                    <a:pt x="19702" y="3092"/>
                    <a:pt x="20079" y="3092"/>
                  </a:cubicBezTo>
                  <a:cubicBezTo>
                    <a:pt x="20869" y="3092"/>
                    <a:pt x="21624" y="2476"/>
                    <a:pt x="21624" y="1550"/>
                  </a:cubicBezTo>
                  <a:cubicBezTo>
                    <a:pt x="21624" y="693"/>
                    <a:pt x="20948" y="1"/>
                    <a:pt x="2009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1" name="Google Shape;1571;p48"/>
            <p:cNvSpPr/>
            <p:nvPr/>
          </p:nvSpPr>
          <p:spPr>
            <a:xfrm>
              <a:off x="3273525" y="4443375"/>
              <a:ext cx="902375" cy="77300"/>
            </a:xfrm>
            <a:custGeom>
              <a:avLst/>
              <a:gdLst/>
              <a:ahLst/>
              <a:cxnLst/>
              <a:rect l="l" t="t" r="r" b="b"/>
              <a:pathLst>
                <a:path w="36095" h="3092" extrusionOk="0">
                  <a:moveTo>
                    <a:pt x="2061" y="1"/>
                  </a:moveTo>
                  <a:cubicBezTo>
                    <a:pt x="693" y="1"/>
                    <a:pt x="1" y="1649"/>
                    <a:pt x="973" y="2638"/>
                  </a:cubicBezTo>
                  <a:cubicBezTo>
                    <a:pt x="1286" y="2951"/>
                    <a:pt x="1670" y="3092"/>
                    <a:pt x="2047" y="3092"/>
                  </a:cubicBezTo>
                  <a:cubicBezTo>
                    <a:pt x="2839" y="3092"/>
                    <a:pt x="3599" y="2471"/>
                    <a:pt x="3610" y="1533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692" y="1"/>
                  </a:moveTo>
                  <a:cubicBezTo>
                    <a:pt x="5324" y="1"/>
                    <a:pt x="4632" y="1665"/>
                    <a:pt x="5604" y="2638"/>
                  </a:cubicBezTo>
                  <a:cubicBezTo>
                    <a:pt x="5918" y="2951"/>
                    <a:pt x="6303" y="3092"/>
                    <a:pt x="6682" y="3092"/>
                  </a:cubicBezTo>
                  <a:cubicBezTo>
                    <a:pt x="7477" y="3092"/>
                    <a:pt x="8241" y="2471"/>
                    <a:pt x="8241" y="1533"/>
                  </a:cubicBezTo>
                  <a:cubicBezTo>
                    <a:pt x="8241" y="693"/>
                    <a:pt x="7549" y="1"/>
                    <a:pt x="6708" y="1"/>
                  </a:cubicBezTo>
                  <a:close/>
                  <a:moveTo>
                    <a:pt x="11340" y="1"/>
                  </a:moveTo>
                  <a:cubicBezTo>
                    <a:pt x="9955" y="1"/>
                    <a:pt x="9263" y="1649"/>
                    <a:pt x="10235" y="2638"/>
                  </a:cubicBezTo>
                  <a:cubicBezTo>
                    <a:pt x="10549" y="2951"/>
                    <a:pt x="10934" y="3092"/>
                    <a:pt x="11313" y="3092"/>
                  </a:cubicBezTo>
                  <a:cubicBezTo>
                    <a:pt x="12108" y="3092"/>
                    <a:pt x="12872" y="2471"/>
                    <a:pt x="12872" y="1533"/>
                  </a:cubicBezTo>
                  <a:cubicBezTo>
                    <a:pt x="12872" y="693"/>
                    <a:pt x="12197" y="1"/>
                    <a:pt x="11340" y="1"/>
                  </a:cubicBezTo>
                  <a:close/>
                  <a:moveTo>
                    <a:pt x="15971" y="1"/>
                  </a:moveTo>
                  <a:cubicBezTo>
                    <a:pt x="14603" y="1"/>
                    <a:pt x="13911" y="1665"/>
                    <a:pt x="14883" y="2638"/>
                  </a:cubicBezTo>
                  <a:cubicBezTo>
                    <a:pt x="15197" y="2951"/>
                    <a:pt x="15582" y="3092"/>
                    <a:pt x="15961" y="3092"/>
                  </a:cubicBezTo>
                  <a:cubicBezTo>
                    <a:pt x="16756" y="3092"/>
                    <a:pt x="17520" y="2471"/>
                    <a:pt x="17520" y="1533"/>
                  </a:cubicBezTo>
                  <a:cubicBezTo>
                    <a:pt x="17520" y="693"/>
                    <a:pt x="16844" y="1"/>
                    <a:pt x="16004" y="1"/>
                  </a:cubicBezTo>
                  <a:close/>
                  <a:moveTo>
                    <a:pt x="20618" y="1"/>
                  </a:moveTo>
                  <a:cubicBezTo>
                    <a:pt x="19251" y="1"/>
                    <a:pt x="18558" y="1649"/>
                    <a:pt x="19531" y="2638"/>
                  </a:cubicBezTo>
                  <a:cubicBezTo>
                    <a:pt x="19844" y="2951"/>
                    <a:pt x="20230" y="3092"/>
                    <a:pt x="20608" y="3092"/>
                  </a:cubicBezTo>
                  <a:cubicBezTo>
                    <a:pt x="21404" y="3092"/>
                    <a:pt x="22168" y="2471"/>
                    <a:pt x="22168" y="1533"/>
                  </a:cubicBezTo>
                  <a:cubicBezTo>
                    <a:pt x="22168" y="693"/>
                    <a:pt x="21475" y="1"/>
                    <a:pt x="20635" y="1"/>
                  </a:cubicBezTo>
                  <a:close/>
                  <a:moveTo>
                    <a:pt x="25266" y="1"/>
                  </a:moveTo>
                  <a:cubicBezTo>
                    <a:pt x="23882" y="1"/>
                    <a:pt x="23206" y="1665"/>
                    <a:pt x="24178" y="2638"/>
                  </a:cubicBezTo>
                  <a:cubicBezTo>
                    <a:pt x="24492" y="2951"/>
                    <a:pt x="24876" y="3092"/>
                    <a:pt x="25252" y="3092"/>
                  </a:cubicBezTo>
                  <a:cubicBezTo>
                    <a:pt x="26042" y="3092"/>
                    <a:pt x="26799" y="2471"/>
                    <a:pt x="26799" y="1533"/>
                  </a:cubicBezTo>
                  <a:cubicBezTo>
                    <a:pt x="26799" y="693"/>
                    <a:pt x="26123" y="1"/>
                    <a:pt x="25266" y="1"/>
                  </a:cubicBezTo>
                  <a:close/>
                  <a:moveTo>
                    <a:pt x="29897" y="1"/>
                  </a:moveTo>
                  <a:cubicBezTo>
                    <a:pt x="28529" y="1"/>
                    <a:pt x="27837" y="1649"/>
                    <a:pt x="28810" y="2638"/>
                  </a:cubicBezTo>
                  <a:cubicBezTo>
                    <a:pt x="29123" y="2951"/>
                    <a:pt x="29509" y="3092"/>
                    <a:pt x="29887" y="3092"/>
                  </a:cubicBezTo>
                  <a:cubicBezTo>
                    <a:pt x="30682" y="3092"/>
                    <a:pt x="31447" y="2471"/>
                    <a:pt x="31447" y="1533"/>
                  </a:cubicBezTo>
                  <a:cubicBezTo>
                    <a:pt x="31447" y="693"/>
                    <a:pt x="30771" y="1"/>
                    <a:pt x="29914" y="1"/>
                  </a:cubicBezTo>
                  <a:close/>
                  <a:moveTo>
                    <a:pt x="34545" y="1"/>
                  </a:moveTo>
                  <a:cubicBezTo>
                    <a:pt x="33177" y="1"/>
                    <a:pt x="32485" y="1665"/>
                    <a:pt x="33457" y="2638"/>
                  </a:cubicBezTo>
                  <a:cubicBezTo>
                    <a:pt x="33771" y="2951"/>
                    <a:pt x="34156" y="3092"/>
                    <a:pt x="34535" y="3092"/>
                  </a:cubicBezTo>
                  <a:cubicBezTo>
                    <a:pt x="35330" y="3092"/>
                    <a:pt x="36094" y="2471"/>
                    <a:pt x="36094" y="1533"/>
                  </a:cubicBezTo>
                  <a:cubicBezTo>
                    <a:pt x="36094" y="693"/>
                    <a:pt x="35402" y="1"/>
                    <a:pt x="345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2" name="Google Shape;1572;p48"/>
            <p:cNvSpPr/>
            <p:nvPr/>
          </p:nvSpPr>
          <p:spPr>
            <a:xfrm>
              <a:off x="3139200" y="4881775"/>
              <a:ext cx="1046575" cy="3725"/>
            </a:xfrm>
            <a:custGeom>
              <a:avLst/>
              <a:gdLst/>
              <a:ahLst/>
              <a:cxnLst/>
              <a:rect l="l" t="t" r="r" b="b"/>
              <a:pathLst>
                <a:path w="41863" h="149" extrusionOk="0">
                  <a:moveTo>
                    <a:pt x="1" y="1"/>
                  </a:moveTo>
                  <a:lnTo>
                    <a:pt x="1" y="149"/>
                  </a:lnTo>
                  <a:lnTo>
                    <a:pt x="41863" y="149"/>
                  </a:lnTo>
                  <a:lnTo>
                    <a:pt x="4186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3" name="Google Shape;1573;p48"/>
            <p:cNvSpPr/>
            <p:nvPr/>
          </p:nvSpPr>
          <p:spPr>
            <a:xfrm>
              <a:off x="3182050" y="4215125"/>
              <a:ext cx="4150" cy="721475"/>
            </a:xfrm>
            <a:custGeom>
              <a:avLst/>
              <a:gdLst/>
              <a:ahLst/>
              <a:cxnLst/>
              <a:rect l="l" t="t" r="r" b="b"/>
              <a:pathLst>
                <a:path w="166" h="28859" extrusionOk="0">
                  <a:moveTo>
                    <a:pt x="1" y="0"/>
                  </a:moveTo>
                  <a:lnTo>
                    <a:pt x="1" y="28859"/>
                  </a:lnTo>
                  <a:lnTo>
                    <a:pt x="166" y="28859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4" name="Google Shape;1574;p48"/>
            <p:cNvSpPr/>
            <p:nvPr/>
          </p:nvSpPr>
          <p:spPr>
            <a:xfrm>
              <a:off x="3293300" y="4966250"/>
              <a:ext cx="22700" cy="34225"/>
            </a:xfrm>
            <a:custGeom>
              <a:avLst/>
              <a:gdLst/>
              <a:ahLst/>
              <a:cxnLst/>
              <a:rect l="l" t="t" r="r" b="b"/>
              <a:pathLst>
                <a:path w="908" h="1369" extrusionOk="0">
                  <a:moveTo>
                    <a:pt x="462" y="132"/>
                  </a:moveTo>
                  <a:cubicBezTo>
                    <a:pt x="545" y="132"/>
                    <a:pt x="627" y="181"/>
                    <a:pt x="660" y="280"/>
                  </a:cubicBezTo>
                  <a:cubicBezTo>
                    <a:pt x="709" y="363"/>
                    <a:pt x="742" y="495"/>
                    <a:pt x="742" y="676"/>
                  </a:cubicBezTo>
                  <a:cubicBezTo>
                    <a:pt x="742" y="857"/>
                    <a:pt x="709" y="1006"/>
                    <a:pt x="660" y="1088"/>
                  </a:cubicBezTo>
                  <a:cubicBezTo>
                    <a:pt x="627" y="1187"/>
                    <a:pt x="545" y="1220"/>
                    <a:pt x="462" y="1220"/>
                  </a:cubicBezTo>
                  <a:cubicBezTo>
                    <a:pt x="363" y="1220"/>
                    <a:pt x="297" y="1187"/>
                    <a:pt x="248" y="1088"/>
                  </a:cubicBezTo>
                  <a:cubicBezTo>
                    <a:pt x="198" y="1006"/>
                    <a:pt x="182" y="857"/>
                    <a:pt x="182" y="676"/>
                  </a:cubicBezTo>
                  <a:cubicBezTo>
                    <a:pt x="182" y="495"/>
                    <a:pt x="198" y="363"/>
                    <a:pt x="248" y="280"/>
                  </a:cubicBezTo>
                  <a:cubicBezTo>
                    <a:pt x="297" y="181"/>
                    <a:pt x="363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8" y="1319"/>
                    <a:pt x="314" y="1368"/>
                    <a:pt x="462" y="1368"/>
                  </a:cubicBezTo>
                  <a:cubicBezTo>
                    <a:pt x="610" y="1368"/>
                    <a:pt x="726" y="1319"/>
                    <a:pt x="792" y="1187"/>
                  </a:cubicBezTo>
                  <a:cubicBezTo>
                    <a:pt x="874" y="1071"/>
                    <a:pt x="907" y="907"/>
                    <a:pt x="907" y="676"/>
                  </a:cubicBezTo>
                  <a:cubicBezTo>
                    <a:pt x="907" y="462"/>
                    <a:pt x="874" y="297"/>
                    <a:pt x="792" y="181"/>
                  </a:cubicBezTo>
                  <a:cubicBezTo>
                    <a:pt x="726" y="50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5" name="Google Shape;1575;p48"/>
            <p:cNvSpPr/>
            <p:nvPr/>
          </p:nvSpPr>
          <p:spPr>
            <a:xfrm>
              <a:off x="3324200" y="4966650"/>
              <a:ext cx="19800" cy="33400"/>
            </a:xfrm>
            <a:custGeom>
              <a:avLst/>
              <a:gdLst/>
              <a:ahLst/>
              <a:cxnLst/>
              <a:rect l="l" t="t" r="r" b="b"/>
              <a:pathLst>
                <a:path w="792" h="1336" extrusionOk="0">
                  <a:moveTo>
                    <a:pt x="314" y="1"/>
                  </a:moveTo>
                  <a:lnTo>
                    <a:pt x="1" y="67"/>
                  </a:lnTo>
                  <a:lnTo>
                    <a:pt x="1" y="231"/>
                  </a:lnTo>
                  <a:lnTo>
                    <a:pt x="314" y="165"/>
                  </a:lnTo>
                  <a:lnTo>
                    <a:pt x="314" y="1171"/>
                  </a:lnTo>
                  <a:lnTo>
                    <a:pt x="17" y="1171"/>
                  </a:lnTo>
                  <a:lnTo>
                    <a:pt x="17" y="1336"/>
                  </a:lnTo>
                  <a:lnTo>
                    <a:pt x="792" y="1336"/>
                  </a:lnTo>
                  <a:lnTo>
                    <a:pt x="792" y="1171"/>
                  </a:lnTo>
                  <a:lnTo>
                    <a:pt x="495" y="1171"/>
                  </a:lnTo>
                  <a:lnTo>
                    <a:pt x="49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6" name="Google Shape;1576;p48"/>
            <p:cNvSpPr/>
            <p:nvPr/>
          </p:nvSpPr>
          <p:spPr>
            <a:xfrm>
              <a:off x="3535575" y="4966250"/>
              <a:ext cx="23100" cy="34225"/>
            </a:xfrm>
            <a:custGeom>
              <a:avLst/>
              <a:gdLst/>
              <a:ahLst/>
              <a:cxnLst/>
              <a:rect l="l" t="t" r="r" b="b"/>
              <a:pathLst>
                <a:path w="924" h="1369" extrusionOk="0">
                  <a:moveTo>
                    <a:pt x="462" y="132"/>
                  </a:moveTo>
                  <a:cubicBezTo>
                    <a:pt x="561" y="132"/>
                    <a:pt x="627" y="181"/>
                    <a:pt x="676" y="280"/>
                  </a:cubicBezTo>
                  <a:cubicBezTo>
                    <a:pt x="726" y="363"/>
                    <a:pt x="742" y="495"/>
                    <a:pt x="742" y="676"/>
                  </a:cubicBezTo>
                  <a:cubicBezTo>
                    <a:pt x="742" y="857"/>
                    <a:pt x="726" y="1006"/>
                    <a:pt x="676" y="1088"/>
                  </a:cubicBezTo>
                  <a:cubicBezTo>
                    <a:pt x="627" y="1187"/>
                    <a:pt x="561" y="1220"/>
                    <a:pt x="462" y="1220"/>
                  </a:cubicBezTo>
                  <a:cubicBezTo>
                    <a:pt x="380" y="1220"/>
                    <a:pt x="297" y="1187"/>
                    <a:pt x="248" y="1088"/>
                  </a:cubicBezTo>
                  <a:cubicBezTo>
                    <a:pt x="215" y="1006"/>
                    <a:pt x="182" y="857"/>
                    <a:pt x="182" y="676"/>
                  </a:cubicBezTo>
                  <a:cubicBezTo>
                    <a:pt x="182" y="495"/>
                    <a:pt x="215" y="363"/>
                    <a:pt x="248" y="280"/>
                  </a:cubicBezTo>
                  <a:cubicBezTo>
                    <a:pt x="297" y="181"/>
                    <a:pt x="380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50"/>
                    <a:pt x="116" y="181"/>
                  </a:cubicBezTo>
                  <a:cubicBezTo>
                    <a:pt x="50" y="297"/>
                    <a:pt x="1" y="462"/>
                    <a:pt x="1" y="676"/>
                  </a:cubicBezTo>
                  <a:cubicBezTo>
                    <a:pt x="1" y="907"/>
                    <a:pt x="50" y="1071"/>
                    <a:pt x="116" y="1187"/>
                  </a:cubicBezTo>
                  <a:cubicBezTo>
                    <a:pt x="198" y="1319"/>
                    <a:pt x="314" y="1368"/>
                    <a:pt x="462" y="1368"/>
                  </a:cubicBezTo>
                  <a:cubicBezTo>
                    <a:pt x="610" y="1368"/>
                    <a:pt x="726" y="1319"/>
                    <a:pt x="808" y="1187"/>
                  </a:cubicBezTo>
                  <a:cubicBezTo>
                    <a:pt x="874" y="1071"/>
                    <a:pt x="924" y="907"/>
                    <a:pt x="924" y="676"/>
                  </a:cubicBezTo>
                  <a:cubicBezTo>
                    <a:pt x="924" y="462"/>
                    <a:pt x="874" y="297"/>
                    <a:pt x="808" y="181"/>
                  </a:cubicBezTo>
                  <a:cubicBezTo>
                    <a:pt x="726" y="50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7" name="Google Shape;1577;p48"/>
            <p:cNvSpPr/>
            <p:nvPr/>
          </p:nvSpPr>
          <p:spPr>
            <a:xfrm>
              <a:off x="3564825" y="4966250"/>
              <a:ext cx="21050" cy="33800"/>
            </a:xfrm>
            <a:custGeom>
              <a:avLst/>
              <a:gdLst/>
              <a:ahLst/>
              <a:cxnLst/>
              <a:rect l="l" t="t" r="r" b="b"/>
              <a:pathLst>
                <a:path w="842" h="1352" extrusionOk="0">
                  <a:moveTo>
                    <a:pt x="380" y="0"/>
                  </a:moveTo>
                  <a:cubicBezTo>
                    <a:pt x="330" y="0"/>
                    <a:pt x="281" y="0"/>
                    <a:pt x="215" y="17"/>
                  </a:cubicBezTo>
                  <a:cubicBezTo>
                    <a:pt x="149" y="33"/>
                    <a:pt x="83" y="50"/>
                    <a:pt x="17" y="83"/>
                  </a:cubicBezTo>
                  <a:lnTo>
                    <a:pt x="17" y="264"/>
                  </a:lnTo>
                  <a:cubicBezTo>
                    <a:pt x="83" y="231"/>
                    <a:pt x="149" y="198"/>
                    <a:pt x="215" y="181"/>
                  </a:cubicBezTo>
                  <a:cubicBezTo>
                    <a:pt x="281" y="165"/>
                    <a:pt x="330" y="149"/>
                    <a:pt x="396" y="149"/>
                  </a:cubicBezTo>
                  <a:cubicBezTo>
                    <a:pt x="462" y="149"/>
                    <a:pt x="528" y="165"/>
                    <a:pt x="578" y="214"/>
                  </a:cubicBezTo>
                  <a:cubicBezTo>
                    <a:pt x="627" y="264"/>
                    <a:pt x="660" y="313"/>
                    <a:pt x="660" y="379"/>
                  </a:cubicBezTo>
                  <a:cubicBezTo>
                    <a:pt x="660" y="429"/>
                    <a:pt x="643" y="478"/>
                    <a:pt x="627" y="511"/>
                  </a:cubicBezTo>
                  <a:cubicBezTo>
                    <a:pt x="594" y="561"/>
                    <a:pt x="561" y="610"/>
                    <a:pt x="495" y="676"/>
                  </a:cubicBezTo>
                  <a:cubicBezTo>
                    <a:pt x="479" y="709"/>
                    <a:pt x="396" y="791"/>
                    <a:pt x="281" y="907"/>
                  </a:cubicBezTo>
                  <a:cubicBezTo>
                    <a:pt x="166" y="1022"/>
                    <a:pt x="67" y="1121"/>
                    <a:pt x="1" y="1187"/>
                  </a:cubicBezTo>
                  <a:lnTo>
                    <a:pt x="1" y="1352"/>
                  </a:lnTo>
                  <a:lnTo>
                    <a:pt x="841" y="1352"/>
                  </a:lnTo>
                  <a:lnTo>
                    <a:pt x="841" y="1187"/>
                  </a:lnTo>
                  <a:lnTo>
                    <a:pt x="215" y="1187"/>
                  </a:lnTo>
                  <a:cubicBezTo>
                    <a:pt x="363" y="1038"/>
                    <a:pt x="479" y="940"/>
                    <a:pt x="561" y="857"/>
                  </a:cubicBezTo>
                  <a:cubicBezTo>
                    <a:pt x="627" y="775"/>
                    <a:pt x="676" y="725"/>
                    <a:pt x="693" y="709"/>
                  </a:cubicBezTo>
                  <a:cubicBezTo>
                    <a:pt x="742" y="643"/>
                    <a:pt x="792" y="577"/>
                    <a:pt x="808" y="528"/>
                  </a:cubicBezTo>
                  <a:cubicBezTo>
                    <a:pt x="825" y="478"/>
                    <a:pt x="841" y="429"/>
                    <a:pt x="841" y="379"/>
                  </a:cubicBezTo>
                  <a:cubicBezTo>
                    <a:pt x="841" y="264"/>
                    <a:pt x="792" y="165"/>
                    <a:pt x="709" y="99"/>
                  </a:cubicBezTo>
                  <a:cubicBezTo>
                    <a:pt x="627" y="33"/>
                    <a:pt x="528" y="0"/>
                    <a:pt x="38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8" name="Google Shape;1578;p48"/>
            <p:cNvSpPr/>
            <p:nvPr/>
          </p:nvSpPr>
          <p:spPr>
            <a:xfrm>
              <a:off x="3778250" y="4966250"/>
              <a:ext cx="22700" cy="34225"/>
            </a:xfrm>
            <a:custGeom>
              <a:avLst/>
              <a:gdLst/>
              <a:ahLst/>
              <a:cxnLst/>
              <a:rect l="l" t="t" r="r" b="b"/>
              <a:pathLst>
                <a:path w="908" h="1369" extrusionOk="0">
                  <a:moveTo>
                    <a:pt x="446" y="132"/>
                  </a:moveTo>
                  <a:cubicBezTo>
                    <a:pt x="545" y="132"/>
                    <a:pt x="611" y="181"/>
                    <a:pt x="660" y="280"/>
                  </a:cubicBezTo>
                  <a:cubicBezTo>
                    <a:pt x="710" y="363"/>
                    <a:pt x="726" y="495"/>
                    <a:pt x="726" y="676"/>
                  </a:cubicBezTo>
                  <a:cubicBezTo>
                    <a:pt x="726" y="857"/>
                    <a:pt x="710" y="1006"/>
                    <a:pt x="660" y="1088"/>
                  </a:cubicBezTo>
                  <a:cubicBezTo>
                    <a:pt x="611" y="1187"/>
                    <a:pt x="545" y="1220"/>
                    <a:pt x="446" y="1220"/>
                  </a:cubicBezTo>
                  <a:cubicBezTo>
                    <a:pt x="364" y="1220"/>
                    <a:pt x="298" y="1187"/>
                    <a:pt x="248" y="1088"/>
                  </a:cubicBezTo>
                  <a:cubicBezTo>
                    <a:pt x="199" y="1006"/>
                    <a:pt x="182" y="857"/>
                    <a:pt x="182" y="676"/>
                  </a:cubicBezTo>
                  <a:cubicBezTo>
                    <a:pt x="182" y="495"/>
                    <a:pt x="199" y="363"/>
                    <a:pt x="248" y="280"/>
                  </a:cubicBezTo>
                  <a:cubicBezTo>
                    <a:pt x="298" y="181"/>
                    <a:pt x="364" y="132"/>
                    <a:pt x="446" y="132"/>
                  </a:cubicBezTo>
                  <a:close/>
                  <a:moveTo>
                    <a:pt x="446" y="0"/>
                  </a:moveTo>
                  <a:cubicBezTo>
                    <a:pt x="298" y="0"/>
                    <a:pt x="199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9" y="1319"/>
                    <a:pt x="298" y="1368"/>
                    <a:pt x="446" y="1368"/>
                  </a:cubicBezTo>
                  <a:cubicBezTo>
                    <a:pt x="594" y="1368"/>
                    <a:pt x="710" y="1319"/>
                    <a:pt x="792" y="1187"/>
                  </a:cubicBezTo>
                  <a:cubicBezTo>
                    <a:pt x="874" y="1071"/>
                    <a:pt x="907" y="907"/>
                    <a:pt x="907" y="676"/>
                  </a:cubicBezTo>
                  <a:cubicBezTo>
                    <a:pt x="907" y="462"/>
                    <a:pt x="874" y="297"/>
                    <a:pt x="792" y="181"/>
                  </a:cubicBezTo>
                  <a:cubicBezTo>
                    <a:pt x="710" y="50"/>
                    <a:pt x="594" y="0"/>
                    <a:pt x="4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9" name="Google Shape;1579;p48"/>
            <p:cNvSpPr/>
            <p:nvPr/>
          </p:nvSpPr>
          <p:spPr>
            <a:xfrm>
              <a:off x="3807525" y="4966250"/>
              <a:ext cx="21850" cy="34225"/>
            </a:xfrm>
            <a:custGeom>
              <a:avLst/>
              <a:gdLst/>
              <a:ahLst/>
              <a:cxnLst/>
              <a:rect l="l" t="t" r="r" b="b"/>
              <a:pathLst>
                <a:path w="874" h="1369" extrusionOk="0">
                  <a:moveTo>
                    <a:pt x="396" y="0"/>
                  </a:moveTo>
                  <a:cubicBezTo>
                    <a:pt x="346" y="0"/>
                    <a:pt x="280" y="0"/>
                    <a:pt x="231" y="17"/>
                  </a:cubicBezTo>
                  <a:cubicBezTo>
                    <a:pt x="165" y="17"/>
                    <a:pt x="99" y="33"/>
                    <a:pt x="33" y="50"/>
                  </a:cubicBezTo>
                  <a:lnTo>
                    <a:pt x="33" y="214"/>
                  </a:lnTo>
                  <a:cubicBezTo>
                    <a:pt x="99" y="198"/>
                    <a:pt x="165" y="181"/>
                    <a:pt x="231" y="165"/>
                  </a:cubicBezTo>
                  <a:cubicBezTo>
                    <a:pt x="280" y="149"/>
                    <a:pt x="330" y="149"/>
                    <a:pt x="379" y="149"/>
                  </a:cubicBezTo>
                  <a:cubicBezTo>
                    <a:pt x="478" y="149"/>
                    <a:pt x="544" y="165"/>
                    <a:pt x="593" y="198"/>
                  </a:cubicBezTo>
                  <a:cubicBezTo>
                    <a:pt x="643" y="247"/>
                    <a:pt x="659" y="297"/>
                    <a:pt x="659" y="363"/>
                  </a:cubicBezTo>
                  <a:cubicBezTo>
                    <a:pt x="659" y="429"/>
                    <a:pt x="643" y="478"/>
                    <a:pt x="593" y="511"/>
                  </a:cubicBezTo>
                  <a:cubicBezTo>
                    <a:pt x="544" y="544"/>
                    <a:pt x="478" y="561"/>
                    <a:pt x="396" y="561"/>
                  </a:cubicBezTo>
                  <a:lnTo>
                    <a:pt x="231" y="561"/>
                  </a:lnTo>
                  <a:lnTo>
                    <a:pt x="231" y="709"/>
                  </a:lnTo>
                  <a:lnTo>
                    <a:pt x="379" y="709"/>
                  </a:lnTo>
                  <a:cubicBezTo>
                    <a:pt x="478" y="709"/>
                    <a:pt x="560" y="725"/>
                    <a:pt x="610" y="775"/>
                  </a:cubicBezTo>
                  <a:cubicBezTo>
                    <a:pt x="659" y="824"/>
                    <a:pt x="692" y="874"/>
                    <a:pt x="692" y="956"/>
                  </a:cubicBezTo>
                  <a:cubicBezTo>
                    <a:pt x="692" y="1038"/>
                    <a:pt x="659" y="1104"/>
                    <a:pt x="610" y="1154"/>
                  </a:cubicBezTo>
                  <a:cubicBezTo>
                    <a:pt x="544" y="1203"/>
                    <a:pt x="462" y="1220"/>
                    <a:pt x="346" y="1220"/>
                  </a:cubicBezTo>
                  <a:cubicBezTo>
                    <a:pt x="280" y="1220"/>
                    <a:pt x="214" y="1203"/>
                    <a:pt x="165" y="1203"/>
                  </a:cubicBezTo>
                  <a:cubicBezTo>
                    <a:pt x="99" y="1187"/>
                    <a:pt x="50" y="1154"/>
                    <a:pt x="0" y="1137"/>
                  </a:cubicBezTo>
                  <a:lnTo>
                    <a:pt x="0" y="1302"/>
                  </a:lnTo>
                  <a:cubicBezTo>
                    <a:pt x="66" y="1319"/>
                    <a:pt x="115" y="1335"/>
                    <a:pt x="181" y="1352"/>
                  </a:cubicBezTo>
                  <a:cubicBezTo>
                    <a:pt x="247" y="1368"/>
                    <a:pt x="297" y="1368"/>
                    <a:pt x="346" y="1368"/>
                  </a:cubicBezTo>
                  <a:cubicBezTo>
                    <a:pt x="511" y="1368"/>
                    <a:pt x="643" y="1335"/>
                    <a:pt x="742" y="1269"/>
                  </a:cubicBezTo>
                  <a:cubicBezTo>
                    <a:pt x="824" y="1187"/>
                    <a:pt x="874" y="1088"/>
                    <a:pt x="874" y="956"/>
                  </a:cubicBezTo>
                  <a:cubicBezTo>
                    <a:pt x="874" y="874"/>
                    <a:pt x="841" y="808"/>
                    <a:pt x="791" y="742"/>
                  </a:cubicBezTo>
                  <a:cubicBezTo>
                    <a:pt x="742" y="692"/>
                    <a:pt x="676" y="643"/>
                    <a:pt x="593" y="626"/>
                  </a:cubicBezTo>
                  <a:cubicBezTo>
                    <a:pt x="676" y="610"/>
                    <a:pt x="725" y="577"/>
                    <a:pt x="775" y="528"/>
                  </a:cubicBezTo>
                  <a:cubicBezTo>
                    <a:pt x="824" y="478"/>
                    <a:pt x="841" y="412"/>
                    <a:pt x="841" y="346"/>
                  </a:cubicBezTo>
                  <a:cubicBezTo>
                    <a:pt x="841" y="231"/>
                    <a:pt x="791" y="149"/>
                    <a:pt x="725" y="83"/>
                  </a:cubicBezTo>
                  <a:cubicBezTo>
                    <a:pt x="643" y="33"/>
                    <a:pt x="528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0" name="Google Shape;1580;p48"/>
            <p:cNvSpPr/>
            <p:nvPr/>
          </p:nvSpPr>
          <p:spPr>
            <a:xfrm>
              <a:off x="4020525" y="4966250"/>
              <a:ext cx="23100" cy="34225"/>
            </a:xfrm>
            <a:custGeom>
              <a:avLst/>
              <a:gdLst/>
              <a:ahLst/>
              <a:cxnLst/>
              <a:rect l="l" t="t" r="r" b="b"/>
              <a:pathLst>
                <a:path w="924" h="1369" extrusionOk="0">
                  <a:moveTo>
                    <a:pt x="462" y="132"/>
                  </a:moveTo>
                  <a:cubicBezTo>
                    <a:pt x="545" y="132"/>
                    <a:pt x="627" y="181"/>
                    <a:pt x="660" y="280"/>
                  </a:cubicBezTo>
                  <a:cubicBezTo>
                    <a:pt x="710" y="363"/>
                    <a:pt x="743" y="495"/>
                    <a:pt x="743" y="676"/>
                  </a:cubicBezTo>
                  <a:cubicBezTo>
                    <a:pt x="743" y="857"/>
                    <a:pt x="710" y="1006"/>
                    <a:pt x="660" y="1088"/>
                  </a:cubicBezTo>
                  <a:cubicBezTo>
                    <a:pt x="627" y="1187"/>
                    <a:pt x="545" y="1220"/>
                    <a:pt x="462" y="1220"/>
                  </a:cubicBezTo>
                  <a:cubicBezTo>
                    <a:pt x="363" y="1220"/>
                    <a:pt x="298" y="1187"/>
                    <a:pt x="248" y="1088"/>
                  </a:cubicBezTo>
                  <a:cubicBezTo>
                    <a:pt x="199" y="1006"/>
                    <a:pt x="182" y="857"/>
                    <a:pt x="182" y="676"/>
                  </a:cubicBezTo>
                  <a:cubicBezTo>
                    <a:pt x="182" y="495"/>
                    <a:pt x="199" y="363"/>
                    <a:pt x="248" y="280"/>
                  </a:cubicBezTo>
                  <a:cubicBezTo>
                    <a:pt x="298" y="181"/>
                    <a:pt x="363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9" y="1319"/>
                    <a:pt x="314" y="1368"/>
                    <a:pt x="462" y="1368"/>
                  </a:cubicBezTo>
                  <a:cubicBezTo>
                    <a:pt x="611" y="1368"/>
                    <a:pt x="726" y="1319"/>
                    <a:pt x="792" y="1187"/>
                  </a:cubicBezTo>
                  <a:cubicBezTo>
                    <a:pt x="874" y="1071"/>
                    <a:pt x="924" y="907"/>
                    <a:pt x="924" y="676"/>
                  </a:cubicBezTo>
                  <a:cubicBezTo>
                    <a:pt x="924" y="462"/>
                    <a:pt x="874" y="297"/>
                    <a:pt x="792" y="181"/>
                  </a:cubicBezTo>
                  <a:cubicBezTo>
                    <a:pt x="726" y="50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1" name="Google Shape;1581;p48"/>
            <p:cNvSpPr/>
            <p:nvPr/>
          </p:nvSpPr>
          <p:spPr>
            <a:xfrm>
              <a:off x="4048550" y="4966650"/>
              <a:ext cx="24325" cy="33400"/>
            </a:xfrm>
            <a:custGeom>
              <a:avLst/>
              <a:gdLst/>
              <a:ahLst/>
              <a:cxnLst/>
              <a:rect l="l" t="t" r="r" b="b"/>
              <a:pathLst>
                <a:path w="973" h="1336" extrusionOk="0">
                  <a:moveTo>
                    <a:pt x="594" y="165"/>
                  </a:moveTo>
                  <a:lnTo>
                    <a:pt x="594" y="874"/>
                  </a:lnTo>
                  <a:lnTo>
                    <a:pt x="149" y="874"/>
                  </a:lnTo>
                  <a:lnTo>
                    <a:pt x="594" y="165"/>
                  </a:lnTo>
                  <a:close/>
                  <a:moveTo>
                    <a:pt x="561" y="1"/>
                  </a:moveTo>
                  <a:lnTo>
                    <a:pt x="1" y="841"/>
                  </a:lnTo>
                  <a:lnTo>
                    <a:pt x="1" y="1022"/>
                  </a:lnTo>
                  <a:lnTo>
                    <a:pt x="594" y="1022"/>
                  </a:lnTo>
                  <a:lnTo>
                    <a:pt x="594" y="1336"/>
                  </a:lnTo>
                  <a:lnTo>
                    <a:pt x="775" y="1336"/>
                  </a:lnTo>
                  <a:lnTo>
                    <a:pt x="775" y="1022"/>
                  </a:lnTo>
                  <a:lnTo>
                    <a:pt x="973" y="1022"/>
                  </a:lnTo>
                  <a:lnTo>
                    <a:pt x="973" y="874"/>
                  </a:lnTo>
                  <a:lnTo>
                    <a:pt x="775" y="874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6" name="Google Shape;1586;p49"/>
          <p:cNvSpPr txBox="1">
            <a:spLocks noGrp="1"/>
          </p:cNvSpPr>
          <p:nvPr>
            <p:ph type="body" idx="1"/>
          </p:nvPr>
        </p:nvSpPr>
        <p:spPr>
          <a:xfrm>
            <a:off x="597375" y="1438008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Did you like the resources on this template? Get them for free at our other websites.</a:t>
            </a:r>
            <a:endParaRPr sz="1400"/>
          </a:p>
          <a:p>
            <a:pPr marL="0" lvl="0" indent="0" algn="l" rtl="0">
              <a:spcBef>
                <a:spcPts val="160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VECTORS</a:t>
            </a:r>
            <a:endParaRPr sz="18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Advent Pro Medium"/>
              <a:ea typeface="Advent Pro Medium"/>
              <a:cs typeface="Advent Pro Medium"/>
              <a:sym typeface="Advent Pro Medium"/>
            </a:endParaRPr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3"/>
              </a:rPr>
              <a:t>Abstract pixel rain blue background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4"/>
              </a:rPr>
              <a:t>Dashboard element collection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5"/>
              </a:rPr>
              <a:t>Red and blue neon fingerprint background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6"/>
              </a:rPr>
              <a:t>Dashboard element collection template</a:t>
            </a:r>
            <a:endParaRPr sz="1400"/>
          </a:p>
        </p:txBody>
      </p:sp>
      <p:sp>
        <p:nvSpPr>
          <p:cNvPr id="1587" name="Google Shape;1587;p49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ESOURCES</a:t>
            </a:r>
            <a:endParaRPr/>
          </a:p>
        </p:txBody>
      </p:sp>
      <p:sp>
        <p:nvSpPr>
          <p:cNvPr id="1588" name="Google Shape;1588;p49"/>
          <p:cNvSpPr txBox="1">
            <a:spLocks noGrp="1"/>
          </p:cNvSpPr>
          <p:nvPr>
            <p:ph type="body" idx="2"/>
          </p:nvPr>
        </p:nvSpPr>
        <p:spPr>
          <a:xfrm>
            <a:off x="4690125" y="2069712"/>
            <a:ext cx="3908700" cy="19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PHOTOS</a:t>
            </a:r>
            <a:endParaRPr sz="18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Advent Pro Medium"/>
              <a:ea typeface="Advent Pro Medium"/>
              <a:cs typeface="Advent Pro Medium"/>
              <a:sym typeface="Advent Pro Medium"/>
            </a:endParaRPr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7"/>
              </a:rPr>
              <a:t>Female colleagues discussing work at office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8"/>
              </a:rPr>
              <a:t>Close-up confident adult woman posing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9"/>
              </a:rPr>
              <a:t>Portrait of beautiful adult woman smiling</a:t>
            </a:r>
            <a:endParaRPr sz="1400"/>
          </a:p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endParaRPr sz="1400"/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3" name="Google Shape;1593;p50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structions for use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4" name="Google Shape;1594;p50"/>
          <p:cNvSpPr txBox="1">
            <a:spLocks noGrp="1"/>
          </p:cNvSpPr>
          <p:nvPr>
            <p:ph type="body" idx="4294967295"/>
          </p:nvPr>
        </p:nvSpPr>
        <p:spPr>
          <a:xfrm>
            <a:off x="1220500" y="129987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 order to use this template, you must credit </a:t>
            </a:r>
            <a:r>
              <a:rPr lang="en" b="1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S</a:t>
            </a:r>
            <a:r>
              <a:rPr lang="en" sz="1200" b="1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desgo</a:t>
            </a:r>
            <a:r>
              <a:rPr lang="en" sz="12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y keeping the </a:t>
            </a:r>
            <a:r>
              <a:rPr lang="en" sz="1200" b="1">
                <a:solidFill>
                  <a:srgbClr val="869FB2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anks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slide.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100" b="1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You are allowed to:</a:t>
            </a:r>
            <a:endParaRPr sz="1100" b="1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Modify this templat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Use it for both personal and commercial projects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100" b="1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You are not allowed to:</a:t>
            </a:r>
            <a:endParaRPr sz="1100" b="1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Sublicense, sell or rent any of Slidesgo Content (or a modified version of Slidesgo Content)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Distribute Slidesgo Content unless it has been expressly authorized by Slidesgo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Include Slidesgo Content in an online or offline database or fil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Offer Slidesgo templates (or modified versions of Slidesgo templates) for download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Acquire the copyright of Slidesgo Content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1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5" name="Google Shape;1595;p50"/>
          <p:cNvSpPr txBox="1">
            <a:spLocks noGrp="1"/>
          </p:cNvSpPr>
          <p:nvPr>
            <p:ph type="body" idx="4294967295"/>
          </p:nvPr>
        </p:nvSpPr>
        <p:spPr>
          <a:xfrm>
            <a:off x="1048350" y="412442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or more information about editing slides, please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ead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ur FAQs or visit Slidesgo School: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lidesgo.com/faqs</a:t>
            </a:r>
            <a:r>
              <a:rPr lang="en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and</a:t>
            </a:r>
            <a:r>
              <a:rPr lang="en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lidesgo.com/slidesgo-school</a:t>
            </a:r>
            <a:endParaRPr sz="1200" u="sng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Der Einzelhändler kann die Information nutzen, um diese Kunden mit </a:t>
            </a:r>
            <a:r>
              <a:rPr lang="de-DE" sz="1400" b="1" dirty="0">
                <a:solidFill>
                  <a:srgbClr val="FF9973"/>
                </a:solidFill>
              </a:rPr>
              <a:t>Angeboten</a:t>
            </a:r>
            <a:r>
              <a:rPr lang="de-DE" sz="1400" dirty="0"/>
              <a:t> für Milch zu kontaktieren</a:t>
            </a:r>
          </a:p>
          <a:p>
            <a:pPr marL="285750" indent="-285750"/>
            <a:r>
              <a:rPr lang="de-DE" sz="1400" dirty="0"/>
              <a:t>Auf diese Weise kann der Einzelhändler die </a:t>
            </a:r>
            <a:r>
              <a:rPr lang="de-DE" sz="1400" b="1" dirty="0">
                <a:solidFill>
                  <a:srgbClr val="FF9973"/>
                </a:solidFill>
              </a:rPr>
              <a:t>Kundenbindung und die Verkaufszahlen erhöhen</a:t>
            </a:r>
            <a:endParaRPr lang="de-DE" sz="1400" b="1" dirty="0"/>
          </a:p>
          <a:p>
            <a:pPr marL="285750" indent="-285750"/>
            <a:r>
              <a:rPr lang="de-DE" sz="1400" dirty="0">
                <a:sym typeface="Wingdings" panose="05000000000000000000" pitchFamily="2" charset="2"/>
              </a:rPr>
              <a:t> Die </a:t>
            </a:r>
            <a:r>
              <a:rPr lang="de-DE" sz="1400" dirty="0"/>
              <a:t>Market Basket Analysis ermöglicht es dem Einzelhändler, </a:t>
            </a:r>
            <a:r>
              <a:rPr lang="de-DE" sz="1400" b="1" dirty="0">
                <a:solidFill>
                  <a:srgbClr val="E898AC"/>
                </a:solidFill>
              </a:rPr>
              <a:t>Kundenkaufmuster</a:t>
            </a:r>
            <a:r>
              <a:rPr lang="de-DE" sz="1400" b="1" dirty="0"/>
              <a:t> </a:t>
            </a:r>
            <a:r>
              <a:rPr lang="de-DE" sz="1400" b="1" dirty="0">
                <a:solidFill>
                  <a:srgbClr val="E898AC"/>
                </a:solidFill>
              </a:rPr>
              <a:t>zu</a:t>
            </a:r>
            <a:r>
              <a:rPr lang="de-DE" sz="1400" b="1" dirty="0"/>
              <a:t> </a:t>
            </a:r>
            <a:r>
              <a:rPr lang="de-DE" sz="1400" b="1" dirty="0">
                <a:solidFill>
                  <a:srgbClr val="E898AC"/>
                </a:solidFill>
              </a:rPr>
              <a:t>identifizieren</a:t>
            </a:r>
            <a:r>
              <a:rPr lang="de-DE" sz="1400" b="1" dirty="0"/>
              <a:t> </a:t>
            </a:r>
            <a:r>
              <a:rPr lang="de-DE" sz="1400" dirty="0"/>
              <a:t>und personalisierte Marketing- und Verkaufsstrategien zu entwickeln, um die </a:t>
            </a:r>
            <a:r>
              <a:rPr lang="de-DE" sz="1400" b="1" dirty="0">
                <a:solidFill>
                  <a:srgbClr val="E898AC"/>
                </a:solidFill>
              </a:rPr>
              <a:t>Umsätze zu steigern</a:t>
            </a:r>
          </a:p>
          <a:p>
            <a:pPr marL="285750" indent="-285750"/>
            <a:r>
              <a:rPr lang="de-DE" sz="1400" dirty="0">
                <a:solidFill>
                  <a:schemeClr val="bg1"/>
                </a:solidFill>
              </a:rPr>
              <a:t>Identifikation von </a:t>
            </a:r>
            <a:r>
              <a:rPr lang="de-DE" sz="1400" b="1" dirty="0">
                <a:solidFill>
                  <a:schemeClr val="bg1"/>
                </a:solidFill>
              </a:rPr>
              <a:t>Best Practices </a:t>
            </a:r>
            <a:r>
              <a:rPr lang="de-DE" sz="1400" dirty="0">
                <a:solidFill>
                  <a:schemeClr val="bg1"/>
                </a:solidFill>
              </a:rPr>
              <a:t>im Markt mit den </a:t>
            </a:r>
            <a:r>
              <a:rPr lang="de-DE" sz="1400" dirty="0" err="1">
                <a:solidFill>
                  <a:schemeClr val="bg1"/>
                </a:solidFill>
              </a:rPr>
              <a:t>jew</a:t>
            </a:r>
            <a:r>
              <a:rPr lang="de-DE" sz="1400" dirty="0">
                <a:solidFill>
                  <a:schemeClr val="bg1"/>
                </a:solidFill>
              </a:rPr>
              <a:t>. Algorithmen</a:t>
            </a:r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5A4A9AFB-B4DD-68A3-27DB-6EB563CA2BA8}"/>
              </a:ext>
            </a:extLst>
          </p:cNvPr>
          <p:cNvGrpSpPr/>
          <p:nvPr/>
        </p:nvGrpSpPr>
        <p:grpSpPr>
          <a:xfrm>
            <a:off x="5953396" y="1193218"/>
            <a:ext cx="874400" cy="2792320"/>
            <a:chOff x="3861131" y="998675"/>
            <a:chExt cx="1226338" cy="3916203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AE4A4133-963A-57F2-1311-C6F10AF1D81C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95E90112-17C8-E90F-6E6E-24E1046039D1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5127BC9F-F683-3AB0-691D-0C54859303E7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5A87E250-9610-B10C-A1B8-FBD2D4341DB0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1F9EAC18-CDAE-36E9-E847-BF3D86F96C92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5132DA64-7FEF-3133-24B7-72FD1E2383EB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lussdiagramm: Alternativer Prozess 15">
              <a:extLst>
                <a:ext uri="{FF2B5EF4-FFF2-40B4-BE49-F238E27FC236}">
                  <a16:creationId xmlns:a16="http://schemas.microsoft.com/office/drawing/2014/main" id="{BE06C474-AC8A-01AE-D87E-FF449E9F4E2C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lussdiagramm: Alternativer Prozess 16">
              <a:extLst>
                <a:ext uri="{FF2B5EF4-FFF2-40B4-BE49-F238E27FC236}">
                  <a16:creationId xmlns:a16="http://schemas.microsoft.com/office/drawing/2014/main" id="{A38830EA-AE6F-AF25-158D-4483972EC112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lussdiagramm: Alternativer Prozess 17">
              <a:extLst>
                <a:ext uri="{FF2B5EF4-FFF2-40B4-BE49-F238E27FC236}">
                  <a16:creationId xmlns:a16="http://schemas.microsoft.com/office/drawing/2014/main" id="{9F37D4DA-7A3C-EB10-4BE1-6CE316DBE475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Flussdiagramm: Alternativer Prozess 18">
              <a:extLst>
                <a:ext uri="{FF2B5EF4-FFF2-40B4-BE49-F238E27FC236}">
                  <a16:creationId xmlns:a16="http://schemas.microsoft.com/office/drawing/2014/main" id="{E2B7899E-B445-162A-CE09-C3841DC6BD4F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Flussdiagramm: Alternativer Prozess 19">
              <a:extLst>
                <a:ext uri="{FF2B5EF4-FFF2-40B4-BE49-F238E27FC236}">
                  <a16:creationId xmlns:a16="http://schemas.microsoft.com/office/drawing/2014/main" id="{48EC8068-F6C7-4ED9-9FDA-E33DE0C1D7B0}"/>
                </a:ext>
              </a:extLst>
            </p:cNvPr>
            <p:cNvSpPr/>
            <p:nvPr/>
          </p:nvSpPr>
          <p:spPr>
            <a:xfrm rot="2700000">
              <a:off x="3861131" y="3201480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lussdiagramm: Alternativer Prozess 20">
              <a:extLst>
                <a:ext uri="{FF2B5EF4-FFF2-40B4-BE49-F238E27FC236}">
                  <a16:creationId xmlns:a16="http://schemas.microsoft.com/office/drawing/2014/main" id="{44D49399-B20A-D0E2-1B5C-6BAF7BEDCA18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Flussdiagramm: Alternativer Prozess 21">
              <a:extLst>
                <a:ext uri="{FF2B5EF4-FFF2-40B4-BE49-F238E27FC236}">
                  <a16:creationId xmlns:a16="http://schemas.microsoft.com/office/drawing/2014/main" id="{FB75070E-C498-B99F-E3DF-8D47586DB7C1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Flussdiagramm: Alternativer Prozess 22">
              <a:extLst>
                <a:ext uri="{FF2B5EF4-FFF2-40B4-BE49-F238E27FC236}">
                  <a16:creationId xmlns:a16="http://schemas.microsoft.com/office/drawing/2014/main" id="{35BB0FDE-22A7-49A7-EA13-2F63EE9151BB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lussdiagramm: Alternativer Prozess 23">
              <a:extLst>
                <a:ext uri="{FF2B5EF4-FFF2-40B4-BE49-F238E27FC236}">
                  <a16:creationId xmlns:a16="http://schemas.microsoft.com/office/drawing/2014/main" id="{26BDC765-7E9C-53FC-1B73-6DE178A9830A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lussdiagramm: Alternativer Prozess 24">
              <a:extLst>
                <a:ext uri="{FF2B5EF4-FFF2-40B4-BE49-F238E27FC236}">
                  <a16:creationId xmlns:a16="http://schemas.microsoft.com/office/drawing/2014/main" id="{8E89ED16-C062-CA5D-B103-AC664FEAFD2A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lussdiagramm: Alternativer Prozess 25">
              <a:extLst>
                <a:ext uri="{FF2B5EF4-FFF2-40B4-BE49-F238E27FC236}">
                  <a16:creationId xmlns:a16="http://schemas.microsoft.com/office/drawing/2014/main" id="{EACF3D2A-141B-0BFD-38F9-7E0896226CFC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Flussdiagramm: Alternativer Prozess 26">
              <a:extLst>
                <a:ext uri="{FF2B5EF4-FFF2-40B4-BE49-F238E27FC236}">
                  <a16:creationId xmlns:a16="http://schemas.microsoft.com/office/drawing/2014/main" id="{E0C50A92-4810-EBB2-6821-BDB67BE55096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Flussdiagramm: Alternativer Prozess 27">
              <a:extLst>
                <a:ext uri="{FF2B5EF4-FFF2-40B4-BE49-F238E27FC236}">
                  <a16:creationId xmlns:a16="http://schemas.microsoft.com/office/drawing/2014/main" id="{2C156EF3-75DB-A9B8-6B7F-B0BBF07DDF86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" name="Flussdiagramm: Alternativer Prozess 28">
              <a:extLst>
                <a:ext uri="{FF2B5EF4-FFF2-40B4-BE49-F238E27FC236}">
                  <a16:creationId xmlns:a16="http://schemas.microsoft.com/office/drawing/2014/main" id="{7E7AA929-95DB-983D-2BA9-95910EB20203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0" name="Google Shape;9903;p58">
              <a:extLst>
                <a:ext uri="{FF2B5EF4-FFF2-40B4-BE49-F238E27FC236}">
                  <a16:creationId xmlns:a16="http://schemas.microsoft.com/office/drawing/2014/main" id="{2B8148AC-F7CF-C2B9-93F5-2907F054A843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497" name="Google Shape;9904;p58">
                <a:extLst>
                  <a:ext uri="{FF2B5EF4-FFF2-40B4-BE49-F238E27FC236}">
                    <a16:creationId xmlns:a16="http://schemas.microsoft.com/office/drawing/2014/main" id="{7875495D-4697-F5A0-637B-9501950A6804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8" name="Google Shape;9905;p58">
                <a:extLst>
                  <a:ext uri="{FF2B5EF4-FFF2-40B4-BE49-F238E27FC236}">
                    <a16:creationId xmlns:a16="http://schemas.microsoft.com/office/drawing/2014/main" id="{74D1AC29-23F2-0E0B-9724-C10FB170DA9F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9" name="Google Shape;9906;p58">
                <a:extLst>
                  <a:ext uri="{FF2B5EF4-FFF2-40B4-BE49-F238E27FC236}">
                    <a16:creationId xmlns:a16="http://schemas.microsoft.com/office/drawing/2014/main" id="{53382D5D-A986-F1ED-4222-B2F11A69E37A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31" name="Picture 4" descr="Market Basket Analysis">
              <a:extLst>
                <a:ext uri="{FF2B5EF4-FFF2-40B4-BE49-F238E27FC236}">
                  <a16:creationId xmlns:a16="http://schemas.microsoft.com/office/drawing/2014/main" id="{54BB7AE5-B1BA-FE97-6749-E9BDF0D92F5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80" name="Google Shape;11111;p60">
              <a:extLst>
                <a:ext uri="{FF2B5EF4-FFF2-40B4-BE49-F238E27FC236}">
                  <a16:creationId xmlns:a16="http://schemas.microsoft.com/office/drawing/2014/main" id="{4B6A228C-9E42-B1FA-9960-C9EC09E15E38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492" name="Google Shape;11112;p60">
                <a:extLst>
                  <a:ext uri="{FF2B5EF4-FFF2-40B4-BE49-F238E27FC236}">
                    <a16:creationId xmlns:a16="http://schemas.microsoft.com/office/drawing/2014/main" id="{09839FFA-F30D-4AF5-9F0C-A75B50D72E79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3" name="Google Shape;11113;p60">
                <a:extLst>
                  <a:ext uri="{FF2B5EF4-FFF2-40B4-BE49-F238E27FC236}">
                    <a16:creationId xmlns:a16="http://schemas.microsoft.com/office/drawing/2014/main" id="{D8E3B672-4A6C-09A0-B077-2A1CD29E67D5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4" name="Google Shape;11114;p60">
                <a:extLst>
                  <a:ext uri="{FF2B5EF4-FFF2-40B4-BE49-F238E27FC236}">
                    <a16:creationId xmlns:a16="http://schemas.microsoft.com/office/drawing/2014/main" id="{56BD855F-77CC-3634-995C-EDD41098806E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5" name="Google Shape;11115;p60">
                <a:extLst>
                  <a:ext uri="{FF2B5EF4-FFF2-40B4-BE49-F238E27FC236}">
                    <a16:creationId xmlns:a16="http://schemas.microsoft.com/office/drawing/2014/main" id="{8C796C14-FE3F-7D70-85E8-87FFBFB71E81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6" name="Google Shape;11116;p60">
                <a:extLst>
                  <a:ext uri="{FF2B5EF4-FFF2-40B4-BE49-F238E27FC236}">
                    <a16:creationId xmlns:a16="http://schemas.microsoft.com/office/drawing/2014/main" id="{E6225579-045A-FC8E-431F-52A2454E3E25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81" name="Google Shape;13596;p64">
              <a:extLst>
                <a:ext uri="{FF2B5EF4-FFF2-40B4-BE49-F238E27FC236}">
                  <a16:creationId xmlns:a16="http://schemas.microsoft.com/office/drawing/2014/main" id="{3391DC79-56B2-0553-0178-AE9AA076F570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490" name="Google Shape;13597;p64">
                <a:extLst>
                  <a:ext uri="{FF2B5EF4-FFF2-40B4-BE49-F238E27FC236}">
                    <a16:creationId xmlns:a16="http://schemas.microsoft.com/office/drawing/2014/main" id="{6060C19F-9932-1435-9C62-CF802BFDDA1C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1" name="Google Shape;13598;p64">
                <a:extLst>
                  <a:ext uri="{FF2B5EF4-FFF2-40B4-BE49-F238E27FC236}">
                    <a16:creationId xmlns:a16="http://schemas.microsoft.com/office/drawing/2014/main" id="{0ED4AD56-611D-755F-76AD-917D647FAF03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82" name="Google Shape;13305;p64">
              <a:extLst>
                <a:ext uri="{FF2B5EF4-FFF2-40B4-BE49-F238E27FC236}">
                  <a16:creationId xmlns:a16="http://schemas.microsoft.com/office/drawing/2014/main" id="{ADDE2A25-6463-27D7-BA56-CB078D74F06C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485" name="Google Shape;13306;p64">
                <a:extLst>
                  <a:ext uri="{FF2B5EF4-FFF2-40B4-BE49-F238E27FC236}">
                    <a16:creationId xmlns:a16="http://schemas.microsoft.com/office/drawing/2014/main" id="{FA524D26-717A-5C3E-46D2-2EF5CE43E9CB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6" name="Google Shape;13307;p64">
                <a:extLst>
                  <a:ext uri="{FF2B5EF4-FFF2-40B4-BE49-F238E27FC236}">
                    <a16:creationId xmlns:a16="http://schemas.microsoft.com/office/drawing/2014/main" id="{F44DA66B-232D-A406-C933-EE1CE2F7CEE7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7" name="Google Shape;13308;p64">
                <a:extLst>
                  <a:ext uri="{FF2B5EF4-FFF2-40B4-BE49-F238E27FC236}">
                    <a16:creationId xmlns:a16="http://schemas.microsoft.com/office/drawing/2014/main" id="{2B036EC8-3F62-A657-C43A-078EF4591CA9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8" name="Google Shape;13309;p64">
                <a:extLst>
                  <a:ext uri="{FF2B5EF4-FFF2-40B4-BE49-F238E27FC236}">
                    <a16:creationId xmlns:a16="http://schemas.microsoft.com/office/drawing/2014/main" id="{704FA96E-FFC1-5967-E2E1-B642FF53DFEA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9" name="Google Shape;13310;p64">
                <a:extLst>
                  <a:ext uri="{FF2B5EF4-FFF2-40B4-BE49-F238E27FC236}">
                    <a16:creationId xmlns:a16="http://schemas.microsoft.com/office/drawing/2014/main" id="{9FE9C66F-D43F-AB15-1BE2-E270971EE3D2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83" name="Grafik 482" descr="Money outline">
              <a:extLst>
                <a:ext uri="{FF2B5EF4-FFF2-40B4-BE49-F238E27FC236}">
                  <a16:creationId xmlns:a16="http://schemas.microsoft.com/office/drawing/2014/main" id="{43FFE90A-D275-E93A-6B76-8E9CB2337C0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484" name="Grafik 483" descr="Mandala outline">
              <a:extLst>
                <a:ext uri="{FF2B5EF4-FFF2-40B4-BE49-F238E27FC236}">
                  <a16:creationId xmlns:a16="http://schemas.microsoft.com/office/drawing/2014/main" id="{4F34E655-33A9-F25B-02F3-10EEA4A61D1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  <p:cxnSp>
        <p:nvCxnSpPr>
          <p:cNvPr id="500" name="Gerade Verbindung mit Pfeil 499">
            <a:extLst>
              <a:ext uri="{FF2B5EF4-FFF2-40B4-BE49-F238E27FC236}">
                <a16:creationId xmlns:a16="http://schemas.microsoft.com/office/drawing/2014/main" id="{B6DB3C62-F55E-CFBC-5FD7-063265EA2DB5}"/>
              </a:ext>
            </a:extLst>
          </p:cNvPr>
          <p:cNvCxnSpPr/>
          <p:nvPr/>
        </p:nvCxnSpPr>
        <p:spPr>
          <a:xfrm flipH="1">
            <a:off x="4005558" y="2196818"/>
            <a:ext cx="1857463" cy="0"/>
          </a:xfrm>
          <a:prstGeom prst="straightConnector1">
            <a:avLst/>
          </a:prstGeom>
          <a:ln>
            <a:solidFill>
              <a:srgbClr val="FF997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1" name="Gerade Verbindung mit Pfeil 500">
            <a:extLst>
              <a:ext uri="{FF2B5EF4-FFF2-40B4-BE49-F238E27FC236}">
                <a16:creationId xmlns:a16="http://schemas.microsoft.com/office/drawing/2014/main" id="{7DC0A370-3007-654D-1B0B-B963E4FCCC2B}"/>
              </a:ext>
            </a:extLst>
          </p:cNvPr>
          <p:cNvCxnSpPr/>
          <p:nvPr/>
        </p:nvCxnSpPr>
        <p:spPr>
          <a:xfrm flipH="1">
            <a:off x="3996117" y="3765325"/>
            <a:ext cx="1857463" cy="0"/>
          </a:xfrm>
          <a:prstGeom prst="straightConnector1">
            <a:avLst/>
          </a:prstGeom>
          <a:ln>
            <a:solidFill>
              <a:srgbClr val="E898A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37386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00" name="Google Shape;1600;p51"/>
          <p:cNvGrpSpPr/>
          <p:nvPr/>
        </p:nvGrpSpPr>
        <p:grpSpPr>
          <a:xfrm>
            <a:off x="2583563" y="3498875"/>
            <a:ext cx="3976875" cy="754200"/>
            <a:chOff x="2052655" y="3498875"/>
            <a:chExt cx="3976875" cy="754200"/>
          </a:xfrm>
        </p:grpSpPr>
        <p:sp>
          <p:nvSpPr>
            <p:cNvPr id="1601" name="Google Shape;1601;p51"/>
            <p:cNvSpPr/>
            <p:nvPr/>
          </p:nvSpPr>
          <p:spPr>
            <a:xfrm>
              <a:off x="311448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E898AC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2" name="Google Shape;1602;p51"/>
            <p:cNvSpPr/>
            <p:nvPr/>
          </p:nvSpPr>
          <p:spPr>
            <a:xfrm>
              <a:off x="417630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00CFCC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3" name="Google Shape;1603;p51"/>
            <p:cNvSpPr/>
            <p:nvPr/>
          </p:nvSpPr>
          <p:spPr>
            <a:xfrm>
              <a:off x="523812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FF997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4" name="Google Shape;1604;p51"/>
            <p:cNvSpPr/>
            <p:nvPr/>
          </p:nvSpPr>
          <p:spPr>
            <a:xfrm>
              <a:off x="2052655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002845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5" name="Google Shape;1605;p51"/>
            <p:cNvSpPr txBox="1"/>
            <p:nvPr/>
          </p:nvSpPr>
          <p:spPr>
            <a:xfrm>
              <a:off x="3114480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e898ac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6" name="Google Shape;1606;p51"/>
            <p:cNvSpPr txBox="1"/>
            <p:nvPr/>
          </p:nvSpPr>
          <p:spPr>
            <a:xfrm>
              <a:off x="4176305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00cfcc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7" name="Google Shape;1607;p51"/>
            <p:cNvSpPr txBox="1"/>
            <p:nvPr/>
          </p:nvSpPr>
          <p:spPr>
            <a:xfrm>
              <a:off x="5238130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ff9973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8" name="Google Shape;1608;p51"/>
            <p:cNvSpPr txBox="1"/>
            <p:nvPr/>
          </p:nvSpPr>
          <p:spPr>
            <a:xfrm>
              <a:off x="2052655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002845</a:t>
              </a:r>
              <a:endParaRPr sz="1000">
                <a:solidFill>
                  <a:srgbClr val="FFFFFF"/>
                </a:solidFill>
              </a:endParaRPr>
            </a:p>
          </p:txBody>
        </p:sp>
      </p:grpSp>
      <p:sp>
        <p:nvSpPr>
          <p:cNvPr id="1609" name="Google Shape;1609;p51"/>
          <p:cNvSpPr txBox="1">
            <a:spLocks noGrp="1"/>
          </p:cNvSpPr>
          <p:nvPr>
            <p:ph type="title" idx="4294967295"/>
          </p:nvPr>
        </p:nvSpPr>
        <p:spPr>
          <a:xfrm>
            <a:off x="1048350" y="95440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onts &amp; colors used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0" name="Google Shape;1610;p51"/>
          <p:cNvSpPr txBox="1">
            <a:spLocks noGrp="1"/>
          </p:cNvSpPr>
          <p:nvPr>
            <p:ph type="body" idx="4294967295"/>
          </p:nvPr>
        </p:nvSpPr>
        <p:spPr>
          <a:xfrm>
            <a:off x="1068100" y="145787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is presentation has been made using the following fonts: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1" name="Google Shape;1611;p51"/>
          <p:cNvSpPr txBox="1">
            <a:spLocks noGrp="1"/>
          </p:cNvSpPr>
          <p:nvPr>
            <p:ph type="body" idx="4294967295"/>
          </p:nvPr>
        </p:nvSpPr>
        <p:spPr>
          <a:xfrm>
            <a:off x="1068100" y="1919049"/>
            <a:ext cx="7047300" cy="125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hare Tech</a:t>
            </a:r>
            <a:endParaRPr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">
                <a:solidFill>
                  <a:schemeClr val="lt1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nts.google.com/specimen/Share+Tech</a:t>
            </a: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aven Pro</a:t>
            </a:r>
            <a:endParaRPr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">
                <a:solidFill>
                  <a:schemeClr val="lt1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nts.google.com/specimen/Maven+Pro</a:t>
            </a: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6" name="Google Shape;1616;p52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Use our editable graphic resources..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7" name="Google Shape;1617;p52"/>
          <p:cNvSpPr txBox="1">
            <a:spLocks noGrp="1"/>
          </p:cNvSpPr>
          <p:nvPr>
            <p:ph type="body" idx="4294967295"/>
          </p:nvPr>
        </p:nvSpPr>
        <p:spPr>
          <a:xfrm>
            <a:off x="1068100" y="1534076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 easily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resize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ese resources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without losing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quality. To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change the color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, just ungroup the resource and click on the object you want to change. Then, click on the paint bucket and select the color you want.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G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oup the resource again when you’re don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618" name="Google Shape;1618;p52"/>
          <p:cNvGrpSpPr/>
          <p:nvPr/>
        </p:nvGrpSpPr>
        <p:grpSpPr>
          <a:xfrm>
            <a:off x="5156078" y="3085736"/>
            <a:ext cx="474294" cy="551291"/>
            <a:chOff x="4727025" y="1332775"/>
            <a:chExt cx="59900" cy="69625"/>
          </a:xfrm>
        </p:grpSpPr>
        <p:sp>
          <p:nvSpPr>
            <p:cNvPr id="1619" name="Google Shape;1619;p52"/>
            <p:cNvSpPr/>
            <p:nvPr/>
          </p:nvSpPr>
          <p:spPr>
            <a:xfrm>
              <a:off x="4727025" y="1332775"/>
              <a:ext cx="36450" cy="33200"/>
            </a:xfrm>
            <a:custGeom>
              <a:avLst/>
              <a:gdLst/>
              <a:ahLst/>
              <a:cxnLst/>
              <a:rect l="l" t="t" r="r" b="b"/>
              <a:pathLst>
                <a:path w="1458" h="1328" extrusionOk="0">
                  <a:moveTo>
                    <a:pt x="1047" y="1"/>
                  </a:moveTo>
                  <a:lnTo>
                    <a:pt x="1047" y="188"/>
                  </a:lnTo>
                  <a:cubicBezTo>
                    <a:pt x="484" y="289"/>
                    <a:pt x="51" y="758"/>
                    <a:pt x="1" y="1328"/>
                  </a:cubicBezTo>
                  <a:lnTo>
                    <a:pt x="477" y="1328"/>
                  </a:lnTo>
                  <a:cubicBezTo>
                    <a:pt x="527" y="1018"/>
                    <a:pt x="751" y="765"/>
                    <a:pt x="1047" y="679"/>
                  </a:cubicBezTo>
                  <a:lnTo>
                    <a:pt x="1047" y="845"/>
                  </a:lnTo>
                  <a:lnTo>
                    <a:pt x="1458" y="433"/>
                  </a:lnTo>
                  <a:lnTo>
                    <a:pt x="104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0" name="Google Shape;1620;p52"/>
            <p:cNvSpPr/>
            <p:nvPr/>
          </p:nvSpPr>
          <p:spPr>
            <a:xfrm>
              <a:off x="4750475" y="1369025"/>
              <a:ext cx="36450" cy="33375"/>
            </a:xfrm>
            <a:custGeom>
              <a:avLst/>
              <a:gdLst/>
              <a:ahLst/>
              <a:cxnLst/>
              <a:rect l="l" t="t" r="r" b="b"/>
              <a:pathLst>
                <a:path w="1458" h="1335" extrusionOk="0">
                  <a:moveTo>
                    <a:pt x="974" y="0"/>
                  </a:moveTo>
                  <a:cubicBezTo>
                    <a:pt x="931" y="311"/>
                    <a:pt x="707" y="570"/>
                    <a:pt x="404" y="657"/>
                  </a:cubicBezTo>
                  <a:lnTo>
                    <a:pt x="404" y="491"/>
                  </a:lnTo>
                  <a:lnTo>
                    <a:pt x="0" y="902"/>
                  </a:lnTo>
                  <a:lnTo>
                    <a:pt x="404" y="1335"/>
                  </a:lnTo>
                  <a:lnTo>
                    <a:pt x="404" y="1140"/>
                  </a:lnTo>
                  <a:cubicBezTo>
                    <a:pt x="967" y="1039"/>
                    <a:pt x="1400" y="577"/>
                    <a:pt x="14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1" name="Google Shape;1621;p52"/>
          <p:cNvGrpSpPr/>
          <p:nvPr/>
        </p:nvGrpSpPr>
        <p:grpSpPr>
          <a:xfrm>
            <a:off x="5769734" y="2314340"/>
            <a:ext cx="555653" cy="557031"/>
            <a:chOff x="4820425" y="1329900"/>
            <a:chExt cx="70175" cy="70350"/>
          </a:xfrm>
        </p:grpSpPr>
        <p:sp>
          <p:nvSpPr>
            <p:cNvPr id="1622" name="Google Shape;1622;p52"/>
            <p:cNvSpPr/>
            <p:nvPr/>
          </p:nvSpPr>
          <p:spPr>
            <a:xfrm>
              <a:off x="4862975" y="1335475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1" y="1"/>
                  </a:moveTo>
                  <a:lnTo>
                    <a:pt x="1" y="491"/>
                  </a:lnTo>
                  <a:cubicBezTo>
                    <a:pt x="217" y="585"/>
                    <a:pt x="376" y="765"/>
                    <a:pt x="441" y="989"/>
                  </a:cubicBezTo>
                  <a:lnTo>
                    <a:pt x="275" y="989"/>
                  </a:lnTo>
                  <a:lnTo>
                    <a:pt x="679" y="1386"/>
                  </a:lnTo>
                  <a:lnTo>
                    <a:pt x="1104" y="989"/>
                  </a:lnTo>
                  <a:lnTo>
                    <a:pt x="917" y="989"/>
                  </a:lnTo>
                  <a:cubicBezTo>
                    <a:pt x="830" y="513"/>
                    <a:pt x="470" y="12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3" name="Google Shape;1623;p52"/>
            <p:cNvSpPr/>
            <p:nvPr/>
          </p:nvSpPr>
          <p:spPr>
            <a:xfrm>
              <a:off x="4820425" y="1360000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426" y="1"/>
                  </a:moveTo>
                  <a:lnTo>
                    <a:pt x="1" y="397"/>
                  </a:lnTo>
                  <a:lnTo>
                    <a:pt x="188" y="397"/>
                  </a:lnTo>
                  <a:cubicBezTo>
                    <a:pt x="275" y="873"/>
                    <a:pt x="628" y="1263"/>
                    <a:pt x="1097" y="1386"/>
                  </a:cubicBezTo>
                  <a:lnTo>
                    <a:pt x="1104" y="895"/>
                  </a:lnTo>
                  <a:cubicBezTo>
                    <a:pt x="888" y="801"/>
                    <a:pt x="729" y="621"/>
                    <a:pt x="664" y="397"/>
                  </a:cubicBezTo>
                  <a:lnTo>
                    <a:pt x="830" y="397"/>
                  </a:lnTo>
                  <a:lnTo>
                    <a:pt x="42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4" name="Google Shape;1624;p52"/>
            <p:cNvSpPr/>
            <p:nvPr/>
          </p:nvSpPr>
          <p:spPr>
            <a:xfrm>
              <a:off x="4850375" y="1372800"/>
              <a:ext cx="34625" cy="27450"/>
            </a:xfrm>
            <a:custGeom>
              <a:avLst/>
              <a:gdLst/>
              <a:ahLst/>
              <a:cxnLst/>
              <a:rect l="l" t="t" r="r" b="b"/>
              <a:pathLst>
                <a:path w="1385" h="1098" extrusionOk="0">
                  <a:moveTo>
                    <a:pt x="894" y="1"/>
                  </a:moveTo>
                  <a:cubicBezTo>
                    <a:pt x="801" y="210"/>
                    <a:pt x="620" y="369"/>
                    <a:pt x="397" y="434"/>
                  </a:cubicBezTo>
                  <a:lnTo>
                    <a:pt x="397" y="275"/>
                  </a:lnTo>
                  <a:lnTo>
                    <a:pt x="0" y="672"/>
                  </a:lnTo>
                  <a:lnTo>
                    <a:pt x="397" y="1097"/>
                  </a:lnTo>
                  <a:lnTo>
                    <a:pt x="397" y="910"/>
                  </a:lnTo>
                  <a:cubicBezTo>
                    <a:pt x="873" y="823"/>
                    <a:pt x="1262" y="470"/>
                    <a:pt x="138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5" name="Google Shape;1625;p52"/>
            <p:cNvSpPr/>
            <p:nvPr/>
          </p:nvSpPr>
          <p:spPr>
            <a:xfrm>
              <a:off x="4825850" y="1329900"/>
              <a:ext cx="34625" cy="27975"/>
            </a:xfrm>
            <a:custGeom>
              <a:avLst/>
              <a:gdLst/>
              <a:ahLst/>
              <a:cxnLst/>
              <a:rect l="l" t="t" r="r" b="b"/>
              <a:pathLst>
                <a:path w="1385" h="1119" extrusionOk="0">
                  <a:moveTo>
                    <a:pt x="988" y="0"/>
                  </a:moveTo>
                  <a:lnTo>
                    <a:pt x="988" y="188"/>
                  </a:lnTo>
                  <a:cubicBezTo>
                    <a:pt x="505" y="274"/>
                    <a:pt x="123" y="635"/>
                    <a:pt x="0" y="1118"/>
                  </a:cubicBezTo>
                  <a:lnTo>
                    <a:pt x="491" y="1118"/>
                  </a:lnTo>
                  <a:cubicBezTo>
                    <a:pt x="584" y="895"/>
                    <a:pt x="765" y="729"/>
                    <a:pt x="995" y="664"/>
                  </a:cubicBezTo>
                  <a:lnTo>
                    <a:pt x="995" y="830"/>
                  </a:lnTo>
                  <a:lnTo>
                    <a:pt x="1385" y="426"/>
                  </a:lnTo>
                  <a:lnTo>
                    <a:pt x="98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6" name="Google Shape;1626;p52"/>
          <p:cNvGrpSpPr/>
          <p:nvPr/>
        </p:nvGrpSpPr>
        <p:grpSpPr>
          <a:xfrm>
            <a:off x="6396103" y="2318845"/>
            <a:ext cx="582574" cy="533871"/>
            <a:chOff x="4903200" y="1331525"/>
            <a:chExt cx="73575" cy="67425"/>
          </a:xfrm>
        </p:grpSpPr>
        <p:sp>
          <p:nvSpPr>
            <p:cNvPr id="1627" name="Google Shape;1627;p52"/>
            <p:cNvSpPr/>
            <p:nvPr/>
          </p:nvSpPr>
          <p:spPr>
            <a:xfrm>
              <a:off x="4903200" y="1331525"/>
              <a:ext cx="73575" cy="67425"/>
            </a:xfrm>
            <a:custGeom>
              <a:avLst/>
              <a:gdLst/>
              <a:ahLst/>
              <a:cxnLst/>
              <a:rect l="l" t="t" r="r" b="b"/>
              <a:pathLst>
                <a:path w="2943" h="2697" extrusionOk="0">
                  <a:moveTo>
                    <a:pt x="1652" y="0"/>
                  </a:moveTo>
                  <a:lnTo>
                    <a:pt x="1652" y="173"/>
                  </a:lnTo>
                  <a:cubicBezTo>
                    <a:pt x="534" y="195"/>
                    <a:pt x="0" y="1551"/>
                    <a:pt x="794" y="2330"/>
                  </a:cubicBezTo>
                  <a:cubicBezTo>
                    <a:pt x="1051" y="2583"/>
                    <a:pt x="1366" y="2696"/>
                    <a:pt x="1674" y="2696"/>
                  </a:cubicBezTo>
                  <a:cubicBezTo>
                    <a:pt x="2323" y="2696"/>
                    <a:pt x="2943" y="2194"/>
                    <a:pt x="2943" y="1435"/>
                  </a:cubicBezTo>
                  <a:lnTo>
                    <a:pt x="2503" y="1435"/>
                  </a:lnTo>
                  <a:cubicBezTo>
                    <a:pt x="2503" y="1928"/>
                    <a:pt x="2093" y="2259"/>
                    <a:pt x="1668" y="2259"/>
                  </a:cubicBezTo>
                  <a:cubicBezTo>
                    <a:pt x="1470" y="2259"/>
                    <a:pt x="1269" y="2187"/>
                    <a:pt x="1104" y="2027"/>
                  </a:cubicBezTo>
                  <a:cubicBezTo>
                    <a:pt x="577" y="1515"/>
                    <a:pt x="923" y="628"/>
                    <a:pt x="1652" y="613"/>
                  </a:cubicBezTo>
                  <a:lnTo>
                    <a:pt x="1652" y="765"/>
                  </a:lnTo>
                  <a:lnTo>
                    <a:pt x="2020" y="390"/>
                  </a:lnTo>
                  <a:lnTo>
                    <a:pt x="165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8" name="Google Shape;1628;p52"/>
            <p:cNvSpPr/>
            <p:nvPr/>
          </p:nvSpPr>
          <p:spPr>
            <a:xfrm>
              <a:off x="4930250" y="1353150"/>
              <a:ext cx="29775" cy="32475"/>
            </a:xfrm>
            <a:custGeom>
              <a:avLst/>
              <a:gdLst/>
              <a:ahLst/>
              <a:cxnLst/>
              <a:rect l="l" t="t" r="r" b="b"/>
              <a:pathLst>
                <a:path w="1191" h="1299" extrusionOk="0">
                  <a:moveTo>
                    <a:pt x="592" y="1"/>
                  </a:moveTo>
                  <a:cubicBezTo>
                    <a:pt x="274" y="1"/>
                    <a:pt x="15" y="246"/>
                    <a:pt x="0" y="570"/>
                  </a:cubicBezTo>
                  <a:lnTo>
                    <a:pt x="447" y="570"/>
                  </a:lnTo>
                  <a:cubicBezTo>
                    <a:pt x="447" y="479"/>
                    <a:pt x="519" y="416"/>
                    <a:pt x="597" y="416"/>
                  </a:cubicBezTo>
                  <a:cubicBezTo>
                    <a:pt x="624" y="416"/>
                    <a:pt x="652" y="424"/>
                    <a:pt x="678" y="441"/>
                  </a:cubicBezTo>
                  <a:cubicBezTo>
                    <a:pt x="779" y="506"/>
                    <a:pt x="765" y="657"/>
                    <a:pt x="656" y="707"/>
                  </a:cubicBezTo>
                  <a:lnTo>
                    <a:pt x="656" y="534"/>
                  </a:lnTo>
                  <a:lnTo>
                    <a:pt x="289" y="902"/>
                  </a:lnTo>
                  <a:lnTo>
                    <a:pt x="656" y="1299"/>
                  </a:lnTo>
                  <a:lnTo>
                    <a:pt x="656" y="1155"/>
                  </a:lnTo>
                  <a:cubicBezTo>
                    <a:pt x="959" y="1126"/>
                    <a:pt x="1190" y="873"/>
                    <a:pt x="1190" y="570"/>
                  </a:cubicBezTo>
                  <a:cubicBezTo>
                    <a:pt x="1176" y="246"/>
                    <a:pt x="916" y="1"/>
                    <a:pt x="5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9" name="Google Shape;1629;p52"/>
          <p:cNvGrpSpPr/>
          <p:nvPr/>
        </p:nvGrpSpPr>
        <p:grpSpPr>
          <a:xfrm>
            <a:off x="5755581" y="3078709"/>
            <a:ext cx="583960" cy="565345"/>
            <a:chOff x="4815575" y="1416800"/>
            <a:chExt cx="73750" cy="71400"/>
          </a:xfrm>
        </p:grpSpPr>
        <p:sp>
          <p:nvSpPr>
            <p:cNvPr id="1630" name="Google Shape;1630;p52"/>
            <p:cNvSpPr/>
            <p:nvPr/>
          </p:nvSpPr>
          <p:spPr>
            <a:xfrm>
              <a:off x="4815575" y="1416800"/>
              <a:ext cx="43100" cy="52150"/>
            </a:xfrm>
            <a:custGeom>
              <a:avLst/>
              <a:gdLst/>
              <a:ahLst/>
              <a:cxnLst/>
              <a:rect l="l" t="t" r="r" b="b"/>
              <a:pathLst>
                <a:path w="1724" h="2086" extrusionOk="0">
                  <a:moveTo>
                    <a:pt x="1327" y="1"/>
                  </a:moveTo>
                  <a:lnTo>
                    <a:pt x="1327" y="181"/>
                  </a:lnTo>
                  <a:cubicBezTo>
                    <a:pt x="469" y="361"/>
                    <a:pt x="0" y="1299"/>
                    <a:pt x="375" y="2085"/>
                  </a:cubicBezTo>
                  <a:lnTo>
                    <a:pt x="772" y="1818"/>
                  </a:lnTo>
                  <a:cubicBezTo>
                    <a:pt x="729" y="1717"/>
                    <a:pt x="707" y="1609"/>
                    <a:pt x="707" y="1501"/>
                  </a:cubicBezTo>
                  <a:cubicBezTo>
                    <a:pt x="714" y="1111"/>
                    <a:pt x="959" y="772"/>
                    <a:pt x="1327" y="657"/>
                  </a:cubicBezTo>
                  <a:lnTo>
                    <a:pt x="1327" y="823"/>
                  </a:lnTo>
                  <a:lnTo>
                    <a:pt x="1724" y="426"/>
                  </a:lnTo>
                  <a:lnTo>
                    <a:pt x="13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1" name="Google Shape;1631;p52"/>
            <p:cNvSpPr/>
            <p:nvPr/>
          </p:nvSpPr>
          <p:spPr>
            <a:xfrm>
              <a:off x="4861725" y="1421125"/>
              <a:ext cx="27600" cy="51250"/>
            </a:xfrm>
            <a:custGeom>
              <a:avLst/>
              <a:gdLst/>
              <a:ahLst/>
              <a:cxnLst/>
              <a:rect l="l" t="t" r="r" b="b"/>
              <a:pathLst>
                <a:path w="1104" h="2050" extrusionOk="0">
                  <a:moveTo>
                    <a:pt x="0" y="1"/>
                  </a:moveTo>
                  <a:lnTo>
                    <a:pt x="0" y="477"/>
                  </a:lnTo>
                  <a:cubicBezTo>
                    <a:pt x="375" y="592"/>
                    <a:pt x="635" y="938"/>
                    <a:pt x="635" y="1328"/>
                  </a:cubicBezTo>
                  <a:cubicBezTo>
                    <a:pt x="635" y="1429"/>
                    <a:pt x="621" y="1530"/>
                    <a:pt x="585" y="1624"/>
                  </a:cubicBezTo>
                  <a:lnTo>
                    <a:pt x="404" y="1494"/>
                  </a:lnTo>
                  <a:lnTo>
                    <a:pt x="513" y="2049"/>
                  </a:lnTo>
                  <a:lnTo>
                    <a:pt x="1089" y="1963"/>
                  </a:lnTo>
                  <a:lnTo>
                    <a:pt x="981" y="1883"/>
                  </a:lnTo>
                  <a:cubicBezTo>
                    <a:pt x="1061" y="1710"/>
                    <a:pt x="1104" y="1523"/>
                    <a:pt x="1104" y="1328"/>
                  </a:cubicBezTo>
                  <a:cubicBezTo>
                    <a:pt x="1104" y="679"/>
                    <a:pt x="635" y="12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2" name="Google Shape;1632;p52"/>
            <p:cNvSpPr/>
            <p:nvPr/>
          </p:nvSpPr>
          <p:spPr>
            <a:xfrm>
              <a:off x="4829450" y="1467825"/>
              <a:ext cx="49250" cy="20375"/>
            </a:xfrm>
            <a:custGeom>
              <a:avLst/>
              <a:gdLst/>
              <a:ahLst/>
              <a:cxnLst/>
              <a:rect l="l" t="t" r="r" b="b"/>
              <a:pathLst>
                <a:path w="1970" h="815" extrusionOk="0">
                  <a:moveTo>
                    <a:pt x="109" y="1"/>
                  </a:moveTo>
                  <a:lnTo>
                    <a:pt x="0" y="556"/>
                  </a:lnTo>
                  <a:lnTo>
                    <a:pt x="137" y="462"/>
                  </a:lnTo>
                  <a:cubicBezTo>
                    <a:pt x="394" y="698"/>
                    <a:pt x="720" y="815"/>
                    <a:pt x="1045" y="815"/>
                  </a:cubicBezTo>
                  <a:cubicBezTo>
                    <a:pt x="1378" y="815"/>
                    <a:pt x="1710" y="692"/>
                    <a:pt x="1969" y="448"/>
                  </a:cubicBezTo>
                  <a:lnTo>
                    <a:pt x="1969" y="441"/>
                  </a:lnTo>
                  <a:lnTo>
                    <a:pt x="1573" y="174"/>
                  </a:lnTo>
                  <a:cubicBezTo>
                    <a:pt x="1418" y="292"/>
                    <a:pt x="1232" y="352"/>
                    <a:pt x="1046" y="352"/>
                  </a:cubicBezTo>
                  <a:cubicBezTo>
                    <a:pt x="868" y="352"/>
                    <a:pt x="689" y="297"/>
                    <a:pt x="534" y="188"/>
                  </a:cubicBezTo>
                  <a:lnTo>
                    <a:pt x="678" y="95"/>
                  </a:lnTo>
                  <a:lnTo>
                    <a:pt x="10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33" name="Google Shape;1633;p52"/>
          <p:cNvGrpSpPr/>
          <p:nvPr/>
        </p:nvGrpSpPr>
        <p:grpSpPr>
          <a:xfrm>
            <a:off x="6390362" y="3108896"/>
            <a:ext cx="589898" cy="504970"/>
            <a:chOff x="4902475" y="1418875"/>
            <a:chExt cx="74500" cy="63775"/>
          </a:xfrm>
        </p:grpSpPr>
        <p:sp>
          <p:nvSpPr>
            <p:cNvPr id="1634" name="Google Shape;1634;p52"/>
            <p:cNvSpPr/>
            <p:nvPr/>
          </p:nvSpPr>
          <p:spPr>
            <a:xfrm>
              <a:off x="4902475" y="1418875"/>
              <a:ext cx="74500" cy="63775"/>
            </a:xfrm>
            <a:custGeom>
              <a:avLst/>
              <a:gdLst/>
              <a:ahLst/>
              <a:cxnLst/>
              <a:rect l="l" t="t" r="r" b="b"/>
              <a:pathLst>
                <a:path w="2980" h="2551" extrusionOk="0">
                  <a:moveTo>
                    <a:pt x="1703" y="444"/>
                  </a:moveTo>
                  <a:cubicBezTo>
                    <a:pt x="2164" y="444"/>
                    <a:pt x="2539" y="819"/>
                    <a:pt x="2539" y="1281"/>
                  </a:cubicBezTo>
                  <a:cubicBezTo>
                    <a:pt x="2539" y="1784"/>
                    <a:pt x="2126" y="2118"/>
                    <a:pt x="1695" y="2118"/>
                  </a:cubicBezTo>
                  <a:cubicBezTo>
                    <a:pt x="1490" y="2118"/>
                    <a:pt x="1281" y="2042"/>
                    <a:pt x="1111" y="1872"/>
                  </a:cubicBezTo>
                  <a:cubicBezTo>
                    <a:pt x="585" y="1346"/>
                    <a:pt x="960" y="444"/>
                    <a:pt x="1703" y="444"/>
                  </a:cubicBezTo>
                  <a:close/>
                  <a:moveTo>
                    <a:pt x="1697" y="0"/>
                  </a:moveTo>
                  <a:cubicBezTo>
                    <a:pt x="1383" y="0"/>
                    <a:pt x="1063" y="118"/>
                    <a:pt x="801" y="379"/>
                  </a:cubicBezTo>
                  <a:cubicBezTo>
                    <a:pt x="0" y="1180"/>
                    <a:pt x="570" y="2550"/>
                    <a:pt x="1703" y="2550"/>
                  </a:cubicBezTo>
                  <a:cubicBezTo>
                    <a:pt x="2409" y="2550"/>
                    <a:pt x="2979" y="1980"/>
                    <a:pt x="2979" y="1281"/>
                  </a:cubicBezTo>
                  <a:cubicBezTo>
                    <a:pt x="2979" y="510"/>
                    <a:pt x="2353" y="0"/>
                    <a:pt x="16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5" name="Google Shape;1635;p52"/>
            <p:cNvSpPr/>
            <p:nvPr/>
          </p:nvSpPr>
          <p:spPr>
            <a:xfrm>
              <a:off x="4916350" y="1418975"/>
              <a:ext cx="59725" cy="63675"/>
            </a:xfrm>
            <a:custGeom>
              <a:avLst/>
              <a:gdLst/>
              <a:ahLst/>
              <a:cxnLst/>
              <a:rect l="l" t="t" r="r" b="b"/>
              <a:pathLst>
                <a:path w="2389" h="2547" extrusionOk="0">
                  <a:moveTo>
                    <a:pt x="1148" y="0"/>
                  </a:moveTo>
                  <a:cubicBezTo>
                    <a:pt x="765" y="0"/>
                    <a:pt x="397" y="173"/>
                    <a:pt x="159" y="476"/>
                  </a:cubicBezTo>
                  <a:lnTo>
                    <a:pt x="1" y="354"/>
                  </a:lnTo>
                  <a:lnTo>
                    <a:pt x="116" y="967"/>
                  </a:lnTo>
                  <a:lnTo>
                    <a:pt x="700" y="909"/>
                  </a:lnTo>
                  <a:lnTo>
                    <a:pt x="498" y="750"/>
                  </a:lnTo>
                  <a:cubicBezTo>
                    <a:pt x="669" y="541"/>
                    <a:pt x="910" y="441"/>
                    <a:pt x="1149" y="441"/>
                  </a:cubicBezTo>
                  <a:cubicBezTo>
                    <a:pt x="1454" y="441"/>
                    <a:pt x="1755" y="605"/>
                    <a:pt x="1905" y="916"/>
                  </a:cubicBezTo>
                  <a:cubicBezTo>
                    <a:pt x="2165" y="1472"/>
                    <a:pt x="1768" y="2106"/>
                    <a:pt x="1148" y="2106"/>
                  </a:cubicBezTo>
                  <a:lnTo>
                    <a:pt x="1148" y="2546"/>
                  </a:lnTo>
                  <a:cubicBezTo>
                    <a:pt x="1840" y="2532"/>
                    <a:pt x="2388" y="1962"/>
                    <a:pt x="2388" y="1277"/>
                  </a:cubicBezTo>
                  <a:cubicBezTo>
                    <a:pt x="2388" y="584"/>
                    <a:pt x="1840" y="22"/>
                    <a:pt x="11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36" name="Google Shape;1636;p52"/>
          <p:cNvGrpSpPr/>
          <p:nvPr/>
        </p:nvGrpSpPr>
        <p:grpSpPr>
          <a:xfrm>
            <a:off x="5765577" y="3826000"/>
            <a:ext cx="563967" cy="567127"/>
            <a:chOff x="4818100" y="1507675"/>
            <a:chExt cx="71225" cy="71625"/>
          </a:xfrm>
        </p:grpSpPr>
        <p:sp>
          <p:nvSpPr>
            <p:cNvPr id="1637" name="Google Shape;1637;p52"/>
            <p:cNvSpPr/>
            <p:nvPr/>
          </p:nvSpPr>
          <p:spPr>
            <a:xfrm>
              <a:off x="4818100" y="1507675"/>
              <a:ext cx="46000" cy="56300"/>
            </a:xfrm>
            <a:custGeom>
              <a:avLst/>
              <a:gdLst/>
              <a:ahLst/>
              <a:cxnLst/>
              <a:rect l="l" t="t" r="r" b="b"/>
              <a:pathLst>
                <a:path w="1840" h="2252" extrusionOk="0">
                  <a:moveTo>
                    <a:pt x="1457" y="1"/>
                  </a:moveTo>
                  <a:lnTo>
                    <a:pt x="1457" y="159"/>
                  </a:lnTo>
                  <a:cubicBezTo>
                    <a:pt x="606" y="188"/>
                    <a:pt x="0" y="989"/>
                    <a:pt x="195" y="1818"/>
                  </a:cubicBezTo>
                  <a:cubicBezTo>
                    <a:pt x="188" y="1818"/>
                    <a:pt x="188" y="1825"/>
                    <a:pt x="188" y="1833"/>
                  </a:cubicBezTo>
                  <a:lnTo>
                    <a:pt x="195" y="1869"/>
                  </a:lnTo>
                  <a:cubicBezTo>
                    <a:pt x="195" y="1876"/>
                    <a:pt x="202" y="1883"/>
                    <a:pt x="202" y="1898"/>
                  </a:cubicBezTo>
                  <a:cubicBezTo>
                    <a:pt x="202" y="1905"/>
                    <a:pt x="209" y="1912"/>
                    <a:pt x="209" y="1919"/>
                  </a:cubicBezTo>
                  <a:cubicBezTo>
                    <a:pt x="209" y="1934"/>
                    <a:pt x="216" y="1948"/>
                    <a:pt x="224" y="1955"/>
                  </a:cubicBezTo>
                  <a:lnTo>
                    <a:pt x="231" y="1977"/>
                  </a:lnTo>
                  <a:cubicBezTo>
                    <a:pt x="245" y="2013"/>
                    <a:pt x="260" y="2056"/>
                    <a:pt x="274" y="2092"/>
                  </a:cubicBezTo>
                  <a:lnTo>
                    <a:pt x="281" y="2100"/>
                  </a:lnTo>
                  <a:cubicBezTo>
                    <a:pt x="289" y="2114"/>
                    <a:pt x="296" y="2128"/>
                    <a:pt x="303" y="2143"/>
                  </a:cubicBezTo>
                  <a:lnTo>
                    <a:pt x="317" y="2157"/>
                  </a:lnTo>
                  <a:cubicBezTo>
                    <a:pt x="317" y="2172"/>
                    <a:pt x="325" y="2186"/>
                    <a:pt x="332" y="2201"/>
                  </a:cubicBezTo>
                  <a:lnTo>
                    <a:pt x="346" y="2215"/>
                  </a:lnTo>
                  <a:cubicBezTo>
                    <a:pt x="353" y="2229"/>
                    <a:pt x="361" y="2237"/>
                    <a:pt x="368" y="2251"/>
                  </a:cubicBezTo>
                  <a:lnTo>
                    <a:pt x="743" y="1970"/>
                  </a:lnTo>
                  <a:lnTo>
                    <a:pt x="721" y="1934"/>
                  </a:lnTo>
                  <a:lnTo>
                    <a:pt x="700" y="1898"/>
                  </a:lnTo>
                  <a:lnTo>
                    <a:pt x="692" y="1883"/>
                  </a:lnTo>
                  <a:cubicBezTo>
                    <a:pt x="685" y="1862"/>
                    <a:pt x="678" y="1847"/>
                    <a:pt x="671" y="1825"/>
                  </a:cubicBezTo>
                  <a:cubicBezTo>
                    <a:pt x="671" y="1818"/>
                    <a:pt x="664" y="1811"/>
                    <a:pt x="664" y="1804"/>
                  </a:cubicBezTo>
                  <a:cubicBezTo>
                    <a:pt x="664" y="1797"/>
                    <a:pt x="656" y="1782"/>
                    <a:pt x="649" y="1775"/>
                  </a:cubicBezTo>
                  <a:lnTo>
                    <a:pt x="642" y="1732"/>
                  </a:lnTo>
                  <a:lnTo>
                    <a:pt x="635" y="1703"/>
                  </a:lnTo>
                  <a:lnTo>
                    <a:pt x="628" y="1667"/>
                  </a:lnTo>
                  <a:lnTo>
                    <a:pt x="628" y="1645"/>
                  </a:lnTo>
                  <a:cubicBezTo>
                    <a:pt x="628" y="1638"/>
                    <a:pt x="620" y="1609"/>
                    <a:pt x="620" y="1587"/>
                  </a:cubicBezTo>
                  <a:lnTo>
                    <a:pt x="620" y="1573"/>
                  </a:lnTo>
                  <a:lnTo>
                    <a:pt x="620" y="1508"/>
                  </a:lnTo>
                  <a:cubicBezTo>
                    <a:pt x="620" y="1039"/>
                    <a:pt x="988" y="650"/>
                    <a:pt x="1457" y="628"/>
                  </a:cubicBezTo>
                  <a:lnTo>
                    <a:pt x="1457" y="809"/>
                  </a:lnTo>
                  <a:lnTo>
                    <a:pt x="1839" y="419"/>
                  </a:lnTo>
                  <a:lnTo>
                    <a:pt x="145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8" name="Google Shape;1638;p52"/>
            <p:cNvSpPr/>
            <p:nvPr/>
          </p:nvSpPr>
          <p:spPr>
            <a:xfrm>
              <a:off x="4869825" y="1519575"/>
              <a:ext cx="19500" cy="23825"/>
            </a:xfrm>
            <a:custGeom>
              <a:avLst/>
              <a:gdLst/>
              <a:ahLst/>
              <a:cxnLst/>
              <a:rect l="l" t="t" r="r" b="b"/>
              <a:pathLst>
                <a:path w="780" h="953" extrusionOk="0">
                  <a:moveTo>
                    <a:pt x="304" y="1"/>
                  </a:moveTo>
                  <a:lnTo>
                    <a:pt x="1" y="354"/>
                  </a:lnTo>
                  <a:cubicBezTo>
                    <a:pt x="181" y="506"/>
                    <a:pt x="289" y="722"/>
                    <a:pt x="311" y="953"/>
                  </a:cubicBezTo>
                  <a:lnTo>
                    <a:pt x="780" y="953"/>
                  </a:lnTo>
                  <a:cubicBezTo>
                    <a:pt x="751" y="585"/>
                    <a:pt x="585" y="239"/>
                    <a:pt x="30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9" name="Google Shape;1639;p52"/>
            <p:cNvSpPr/>
            <p:nvPr/>
          </p:nvSpPr>
          <p:spPr>
            <a:xfrm>
              <a:off x="4857575" y="1547700"/>
              <a:ext cx="31575" cy="31600"/>
            </a:xfrm>
            <a:custGeom>
              <a:avLst/>
              <a:gdLst/>
              <a:ahLst/>
              <a:cxnLst/>
              <a:rect l="l" t="t" r="r" b="b"/>
              <a:pathLst>
                <a:path w="1263" h="1264" extrusionOk="0">
                  <a:moveTo>
                    <a:pt x="801" y="1"/>
                  </a:moveTo>
                  <a:cubicBezTo>
                    <a:pt x="758" y="419"/>
                    <a:pt x="426" y="751"/>
                    <a:pt x="1" y="794"/>
                  </a:cubicBezTo>
                  <a:lnTo>
                    <a:pt x="1" y="1263"/>
                  </a:lnTo>
                  <a:cubicBezTo>
                    <a:pt x="679" y="1213"/>
                    <a:pt x="1219" y="679"/>
                    <a:pt x="12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0" name="Google Shape;1640;p52"/>
            <p:cNvSpPr/>
            <p:nvPr/>
          </p:nvSpPr>
          <p:spPr>
            <a:xfrm>
              <a:off x="4829800" y="1560150"/>
              <a:ext cx="23650" cy="18950"/>
            </a:xfrm>
            <a:custGeom>
              <a:avLst/>
              <a:gdLst/>
              <a:ahLst/>
              <a:cxnLst/>
              <a:rect l="l" t="t" r="r" b="b"/>
              <a:pathLst>
                <a:path w="946" h="758" extrusionOk="0">
                  <a:moveTo>
                    <a:pt x="376" y="1"/>
                  </a:moveTo>
                  <a:lnTo>
                    <a:pt x="1" y="282"/>
                  </a:lnTo>
                  <a:cubicBezTo>
                    <a:pt x="239" y="563"/>
                    <a:pt x="578" y="736"/>
                    <a:pt x="946" y="758"/>
                  </a:cubicBezTo>
                  <a:lnTo>
                    <a:pt x="946" y="289"/>
                  </a:lnTo>
                  <a:cubicBezTo>
                    <a:pt x="722" y="267"/>
                    <a:pt x="520" y="166"/>
                    <a:pt x="3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1" name="Google Shape;1641;p52"/>
          <p:cNvGrpSpPr/>
          <p:nvPr/>
        </p:nvGrpSpPr>
        <p:grpSpPr>
          <a:xfrm>
            <a:off x="5079075" y="3829461"/>
            <a:ext cx="628301" cy="588505"/>
            <a:chOff x="4721450" y="1509475"/>
            <a:chExt cx="79350" cy="74325"/>
          </a:xfrm>
        </p:grpSpPr>
        <p:sp>
          <p:nvSpPr>
            <p:cNvPr id="1642" name="Google Shape;1642;p52"/>
            <p:cNvSpPr/>
            <p:nvPr/>
          </p:nvSpPr>
          <p:spPr>
            <a:xfrm>
              <a:off x="4729025" y="1509475"/>
              <a:ext cx="27050" cy="26725"/>
            </a:xfrm>
            <a:custGeom>
              <a:avLst/>
              <a:gdLst/>
              <a:ahLst/>
              <a:cxnLst/>
              <a:rect l="l" t="t" r="r" b="b"/>
              <a:pathLst>
                <a:path w="1082" h="1069" extrusionOk="0">
                  <a:moveTo>
                    <a:pt x="440" y="1"/>
                  </a:moveTo>
                  <a:lnTo>
                    <a:pt x="570" y="224"/>
                  </a:lnTo>
                  <a:cubicBezTo>
                    <a:pt x="296" y="405"/>
                    <a:pt x="94" y="672"/>
                    <a:pt x="0" y="989"/>
                  </a:cubicBezTo>
                  <a:lnTo>
                    <a:pt x="188" y="809"/>
                  </a:lnTo>
                  <a:lnTo>
                    <a:pt x="462" y="1068"/>
                  </a:lnTo>
                  <a:cubicBezTo>
                    <a:pt x="527" y="888"/>
                    <a:pt x="649" y="737"/>
                    <a:pt x="808" y="628"/>
                  </a:cubicBezTo>
                  <a:lnTo>
                    <a:pt x="923" y="823"/>
                  </a:lnTo>
                  <a:lnTo>
                    <a:pt x="1082" y="188"/>
                  </a:lnTo>
                  <a:lnTo>
                    <a:pt x="44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3" name="Google Shape;1643;p52"/>
            <p:cNvSpPr/>
            <p:nvPr/>
          </p:nvSpPr>
          <p:spPr>
            <a:xfrm>
              <a:off x="4721450" y="1533275"/>
              <a:ext cx="32300" cy="42600"/>
            </a:xfrm>
            <a:custGeom>
              <a:avLst/>
              <a:gdLst/>
              <a:ahLst/>
              <a:cxnLst/>
              <a:rect l="l" t="t" r="r" b="b"/>
              <a:pathLst>
                <a:path w="1292" h="1704" extrusionOk="0">
                  <a:moveTo>
                    <a:pt x="491" y="1"/>
                  </a:moveTo>
                  <a:lnTo>
                    <a:pt x="0" y="455"/>
                  </a:lnTo>
                  <a:lnTo>
                    <a:pt x="238" y="455"/>
                  </a:lnTo>
                  <a:cubicBezTo>
                    <a:pt x="253" y="1025"/>
                    <a:pt x="635" y="1530"/>
                    <a:pt x="1183" y="1703"/>
                  </a:cubicBezTo>
                  <a:lnTo>
                    <a:pt x="1024" y="1530"/>
                  </a:lnTo>
                  <a:lnTo>
                    <a:pt x="1291" y="1256"/>
                  </a:lnTo>
                  <a:cubicBezTo>
                    <a:pt x="952" y="1133"/>
                    <a:pt x="721" y="816"/>
                    <a:pt x="707" y="455"/>
                  </a:cubicBezTo>
                  <a:lnTo>
                    <a:pt x="945" y="455"/>
                  </a:lnTo>
                  <a:lnTo>
                    <a:pt x="49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4" name="Google Shape;1644;p52"/>
            <p:cNvSpPr/>
            <p:nvPr/>
          </p:nvSpPr>
          <p:spPr>
            <a:xfrm>
              <a:off x="4750650" y="1551675"/>
              <a:ext cx="42950" cy="32125"/>
            </a:xfrm>
            <a:custGeom>
              <a:avLst/>
              <a:gdLst/>
              <a:ahLst/>
              <a:cxnLst/>
              <a:rect l="l" t="t" r="r" b="b"/>
              <a:pathLst>
                <a:path w="1718" h="1285" extrusionOk="0">
                  <a:moveTo>
                    <a:pt x="1256" y="1"/>
                  </a:moveTo>
                  <a:cubicBezTo>
                    <a:pt x="1126" y="332"/>
                    <a:pt x="808" y="556"/>
                    <a:pt x="448" y="570"/>
                  </a:cubicBezTo>
                  <a:lnTo>
                    <a:pt x="448" y="340"/>
                  </a:lnTo>
                  <a:lnTo>
                    <a:pt x="1" y="794"/>
                  </a:lnTo>
                  <a:lnTo>
                    <a:pt x="448" y="1284"/>
                  </a:lnTo>
                  <a:lnTo>
                    <a:pt x="448" y="1032"/>
                  </a:lnTo>
                  <a:cubicBezTo>
                    <a:pt x="1039" y="1025"/>
                    <a:pt x="1551" y="635"/>
                    <a:pt x="1717" y="73"/>
                  </a:cubicBezTo>
                  <a:lnTo>
                    <a:pt x="1717" y="73"/>
                  </a:lnTo>
                  <a:lnTo>
                    <a:pt x="1515" y="260"/>
                  </a:lnTo>
                  <a:lnTo>
                    <a:pt x="12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5" name="Google Shape;1645;p52"/>
            <p:cNvSpPr/>
            <p:nvPr/>
          </p:nvSpPr>
          <p:spPr>
            <a:xfrm>
              <a:off x="4761300" y="1510025"/>
              <a:ext cx="39500" cy="44375"/>
            </a:xfrm>
            <a:custGeom>
              <a:avLst/>
              <a:gdLst/>
              <a:ahLst/>
              <a:cxnLst/>
              <a:rect l="l" t="t" r="r" b="b"/>
              <a:pathLst>
                <a:path w="1580" h="1775" extrusionOk="0">
                  <a:moveTo>
                    <a:pt x="13" y="0"/>
                  </a:moveTo>
                  <a:cubicBezTo>
                    <a:pt x="9" y="0"/>
                    <a:pt x="5" y="0"/>
                    <a:pt x="0" y="0"/>
                  </a:cubicBezTo>
                  <a:lnTo>
                    <a:pt x="0" y="462"/>
                  </a:lnTo>
                  <a:cubicBezTo>
                    <a:pt x="476" y="462"/>
                    <a:pt x="873" y="844"/>
                    <a:pt x="880" y="1328"/>
                  </a:cubicBezTo>
                  <a:lnTo>
                    <a:pt x="635" y="1328"/>
                  </a:lnTo>
                  <a:lnTo>
                    <a:pt x="1089" y="1775"/>
                  </a:lnTo>
                  <a:lnTo>
                    <a:pt x="1580" y="1328"/>
                  </a:lnTo>
                  <a:lnTo>
                    <a:pt x="1349" y="1328"/>
                  </a:lnTo>
                  <a:cubicBezTo>
                    <a:pt x="1335" y="589"/>
                    <a:pt x="743" y="0"/>
                    <a:pt x="1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6" name="Google Shape;1646;p52"/>
          <p:cNvGrpSpPr/>
          <p:nvPr/>
        </p:nvGrpSpPr>
        <p:grpSpPr>
          <a:xfrm>
            <a:off x="6424608" y="3814027"/>
            <a:ext cx="557038" cy="562772"/>
            <a:chOff x="4906800" y="1507500"/>
            <a:chExt cx="70350" cy="71075"/>
          </a:xfrm>
        </p:grpSpPr>
        <p:sp>
          <p:nvSpPr>
            <p:cNvPr id="1647" name="Google Shape;1647;p52"/>
            <p:cNvSpPr/>
            <p:nvPr/>
          </p:nvSpPr>
          <p:spPr>
            <a:xfrm>
              <a:off x="4916000" y="1507500"/>
              <a:ext cx="30850" cy="24000"/>
            </a:xfrm>
            <a:custGeom>
              <a:avLst/>
              <a:gdLst/>
              <a:ahLst/>
              <a:cxnLst/>
              <a:rect l="l" t="t" r="r" b="b"/>
              <a:pathLst>
                <a:path w="1234" h="960" extrusionOk="0">
                  <a:moveTo>
                    <a:pt x="837" y="1"/>
                  </a:moveTo>
                  <a:lnTo>
                    <a:pt x="837" y="202"/>
                  </a:lnTo>
                  <a:cubicBezTo>
                    <a:pt x="484" y="282"/>
                    <a:pt x="181" y="498"/>
                    <a:pt x="0" y="808"/>
                  </a:cubicBezTo>
                  <a:lnTo>
                    <a:pt x="455" y="960"/>
                  </a:lnTo>
                  <a:cubicBezTo>
                    <a:pt x="556" y="837"/>
                    <a:pt x="686" y="736"/>
                    <a:pt x="837" y="686"/>
                  </a:cubicBezTo>
                  <a:lnTo>
                    <a:pt x="837" y="823"/>
                  </a:lnTo>
                  <a:lnTo>
                    <a:pt x="1234" y="426"/>
                  </a:lnTo>
                  <a:lnTo>
                    <a:pt x="83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8" name="Google Shape;1648;p52"/>
            <p:cNvSpPr/>
            <p:nvPr/>
          </p:nvSpPr>
          <p:spPr>
            <a:xfrm>
              <a:off x="4906800" y="1533825"/>
              <a:ext cx="19675" cy="32475"/>
            </a:xfrm>
            <a:custGeom>
              <a:avLst/>
              <a:gdLst/>
              <a:ahLst/>
              <a:cxnLst/>
              <a:rect l="l" t="t" r="r" b="b"/>
              <a:pathLst>
                <a:path w="787" h="1299" extrusionOk="0">
                  <a:moveTo>
                    <a:pt x="527" y="1"/>
                  </a:moveTo>
                  <a:lnTo>
                    <a:pt x="1" y="246"/>
                  </a:lnTo>
                  <a:lnTo>
                    <a:pt x="181" y="303"/>
                  </a:lnTo>
                  <a:cubicBezTo>
                    <a:pt x="181" y="347"/>
                    <a:pt x="174" y="390"/>
                    <a:pt x="174" y="433"/>
                  </a:cubicBezTo>
                  <a:cubicBezTo>
                    <a:pt x="174" y="751"/>
                    <a:pt x="289" y="1061"/>
                    <a:pt x="498" y="1299"/>
                  </a:cubicBezTo>
                  <a:lnTo>
                    <a:pt x="787" y="909"/>
                  </a:lnTo>
                  <a:cubicBezTo>
                    <a:pt x="693" y="772"/>
                    <a:pt x="650" y="614"/>
                    <a:pt x="642" y="455"/>
                  </a:cubicBezTo>
                  <a:lnTo>
                    <a:pt x="642" y="455"/>
                  </a:lnTo>
                  <a:lnTo>
                    <a:pt x="787" y="498"/>
                  </a:lnTo>
                  <a:lnTo>
                    <a:pt x="5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9" name="Google Shape;1649;p52"/>
            <p:cNvSpPr/>
            <p:nvPr/>
          </p:nvSpPr>
          <p:spPr>
            <a:xfrm>
              <a:off x="4926625" y="1561950"/>
              <a:ext cx="30675" cy="16625"/>
            </a:xfrm>
            <a:custGeom>
              <a:avLst/>
              <a:gdLst/>
              <a:ahLst/>
              <a:cxnLst/>
              <a:rect l="l" t="t" r="r" b="b"/>
              <a:pathLst>
                <a:path w="1227" h="665" extrusionOk="0">
                  <a:moveTo>
                    <a:pt x="556" y="1"/>
                  </a:moveTo>
                  <a:lnTo>
                    <a:pt x="1" y="87"/>
                  </a:lnTo>
                  <a:lnTo>
                    <a:pt x="66" y="664"/>
                  </a:lnTo>
                  <a:lnTo>
                    <a:pt x="181" y="513"/>
                  </a:lnTo>
                  <a:cubicBezTo>
                    <a:pt x="347" y="585"/>
                    <a:pt x="526" y="621"/>
                    <a:pt x="704" y="621"/>
                  </a:cubicBezTo>
                  <a:cubicBezTo>
                    <a:pt x="883" y="621"/>
                    <a:pt x="1061" y="585"/>
                    <a:pt x="1227" y="513"/>
                  </a:cubicBezTo>
                  <a:lnTo>
                    <a:pt x="946" y="123"/>
                  </a:lnTo>
                  <a:cubicBezTo>
                    <a:pt x="866" y="149"/>
                    <a:pt x="785" y="161"/>
                    <a:pt x="704" y="161"/>
                  </a:cubicBezTo>
                  <a:cubicBezTo>
                    <a:pt x="623" y="161"/>
                    <a:pt x="542" y="149"/>
                    <a:pt x="462" y="123"/>
                  </a:cubicBezTo>
                  <a:lnTo>
                    <a:pt x="5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0" name="Google Shape;1650;p52"/>
            <p:cNvSpPr/>
            <p:nvPr/>
          </p:nvSpPr>
          <p:spPr>
            <a:xfrm>
              <a:off x="4957475" y="1541400"/>
              <a:ext cx="19675" cy="27800"/>
            </a:xfrm>
            <a:custGeom>
              <a:avLst/>
              <a:gdLst/>
              <a:ahLst/>
              <a:cxnLst/>
              <a:rect l="l" t="t" r="r" b="b"/>
              <a:pathLst>
                <a:path w="787" h="1112" extrusionOk="0">
                  <a:moveTo>
                    <a:pt x="779" y="0"/>
                  </a:moveTo>
                  <a:lnTo>
                    <a:pt x="318" y="145"/>
                  </a:lnTo>
                  <a:cubicBezTo>
                    <a:pt x="318" y="303"/>
                    <a:pt x="274" y="455"/>
                    <a:pt x="188" y="592"/>
                  </a:cubicBezTo>
                  <a:lnTo>
                    <a:pt x="80" y="448"/>
                  </a:lnTo>
                  <a:lnTo>
                    <a:pt x="0" y="1003"/>
                  </a:lnTo>
                  <a:lnTo>
                    <a:pt x="570" y="1111"/>
                  </a:lnTo>
                  <a:lnTo>
                    <a:pt x="469" y="981"/>
                  </a:lnTo>
                  <a:cubicBezTo>
                    <a:pt x="671" y="743"/>
                    <a:pt x="786" y="440"/>
                    <a:pt x="786" y="130"/>
                  </a:cubicBezTo>
                  <a:cubicBezTo>
                    <a:pt x="786" y="87"/>
                    <a:pt x="786" y="44"/>
                    <a:pt x="7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1" name="Google Shape;1651;p52"/>
            <p:cNvSpPr/>
            <p:nvPr/>
          </p:nvSpPr>
          <p:spPr>
            <a:xfrm>
              <a:off x="4951325" y="1512550"/>
              <a:ext cx="24925" cy="26350"/>
            </a:xfrm>
            <a:custGeom>
              <a:avLst/>
              <a:gdLst/>
              <a:ahLst/>
              <a:cxnLst/>
              <a:rect l="l" t="t" r="r" b="b"/>
              <a:pathLst>
                <a:path w="997" h="1054" extrusionOk="0">
                  <a:moveTo>
                    <a:pt x="1" y="0"/>
                  </a:moveTo>
                  <a:lnTo>
                    <a:pt x="1" y="476"/>
                  </a:lnTo>
                  <a:cubicBezTo>
                    <a:pt x="145" y="534"/>
                    <a:pt x="282" y="628"/>
                    <a:pt x="376" y="751"/>
                  </a:cubicBezTo>
                  <a:lnTo>
                    <a:pt x="210" y="801"/>
                  </a:lnTo>
                  <a:lnTo>
                    <a:pt x="715" y="1053"/>
                  </a:lnTo>
                  <a:lnTo>
                    <a:pt x="996" y="549"/>
                  </a:lnTo>
                  <a:lnTo>
                    <a:pt x="996" y="549"/>
                  </a:lnTo>
                  <a:lnTo>
                    <a:pt x="838" y="599"/>
                  </a:lnTo>
                  <a:cubicBezTo>
                    <a:pt x="650" y="296"/>
                    <a:pt x="347" y="7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52" name="Google Shape;1652;p52"/>
          <p:cNvGrpSpPr/>
          <p:nvPr/>
        </p:nvGrpSpPr>
        <p:grpSpPr>
          <a:xfrm>
            <a:off x="4462216" y="2340963"/>
            <a:ext cx="517934" cy="517934"/>
            <a:chOff x="3736598" y="2170606"/>
            <a:chExt cx="404889" cy="404889"/>
          </a:xfrm>
        </p:grpSpPr>
        <p:sp>
          <p:nvSpPr>
            <p:cNvPr id="1653" name="Google Shape;1653;p52"/>
            <p:cNvSpPr/>
            <p:nvPr/>
          </p:nvSpPr>
          <p:spPr>
            <a:xfrm>
              <a:off x="3950281" y="2170846"/>
              <a:ext cx="191206" cy="231947"/>
            </a:xfrm>
            <a:custGeom>
              <a:avLst/>
              <a:gdLst/>
              <a:ahLst/>
              <a:cxnLst/>
              <a:rect l="l" t="t" r="r" b="b"/>
              <a:pathLst>
                <a:path w="8781" h="10652" extrusionOk="0">
                  <a:moveTo>
                    <a:pt x="23" y="1"/>
                  </a:moveTo>
                  <a:lnTo>
                    <a:pt x="1435" y="2583"/>
                  </a:lnTo>
                  <a:lnTo>
                    <a:pt x="0" y="5246"/>
                  </a:lnTo>
                  <a:cubicBezTo>
                    <a:pt x="1997" y="5498"/>
                    <a:pt x="3512" y="7186"/>
                    <a:pt x="3547" y="9217"/>
                  </a:cubicBezTo>
                  <a:lnTo>
                    <a:pt x="6187" y="10652"/>
                  </a:lnTo>
                  <a:lnTo>
                    <a:pt x="8780" y="9217"/>
                  </a:lnTo>
                  <a:cubicBezTo>
                    <a:pt x="8746" y="4305"/>
                    <a:pt x="4913" y="276"/>
                    <a:pt x="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4" name="Google Shape;1654;p52"/>
            <p:cNvSpPr/>
            <p:nvPr/>
          </p:nvSpPr>
          <p:spPr>
            <a:xfrm>
              <a:off x="3737099" y="2170606"/>
              <a:ext cx="231947" cy="191446"/>
            </a:xfrm>
            <a:custGeom>
              <a:avLst/>
              <a:gdLst/>
              <a:ahLst/>
              <a:cxnLst/>
              <a:rect l="l" t="t" r="r" b="b"/>
              <a:pathLst>
                <a:path w="10652" h="8792" extrusionOk="0">
                  <a:moveTo>
                    <a:pt x="9216" y="0"/>
                  </a:moveTo>
                  <a:cubicBezTo>
                    <a:pt x="4304" y="35"/>
                    <a:pt x="276" y="3868"/>
                    <a:pt x="0" y="8769"/>
                  </a:cubicBezTo>
                  <a:lnTo>
                    <a:pt x="2583" y="7346"/>
                  </a:lnTo>
                  <a:lnTo>
                    <a:pt x="5245" y="8792"/>
                  </a:lnTo>
                  <a:cubicBezTo>
                    <a:pt x="5498" y="6783"/>
                    <a:pt x="7185" y="5268"/>
                    <a:pt x="9216" y="5234"/>
                  </a:cubicBezTo>
                  <a:lnTo>
                    <a:pt x="10651" y="2594"/>
                  </a:lnTo>
                  <a:lnTo>
                    <a:pt x="921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5" name="Google Shape;1655;p52"/>
            <p:cNvSpPr/>
            <p:nvPr/>
          </p:nvSpPr>
          <p:spPr>
            <a:xfrm>
              <a:off x="3909539" y="2384027"/>
              <a:ext cx="231686" cy="191468"/>
            </a:xfrm>
            <a:custGeom>
              <a:avLst/>
              <a:gdLst/>
              <a:ahLst/>
              <a:cxnLst/>
              <a:rect l="l" t="t" r="r" b="b"/>
              <a:pathLst>
                <a:path w="10640" h="8793" extrusionOk="0">
                  <a:moveTo>
                    <a:pt x="5395" y="1"/>
                  </a:moveTo>
                  <a:cubicBezTo>
                    <a:pt x="5142" y="1998"/>
                    <a:pt x="3455" y="3513"/>
                    <a:pt x="1435" y="3559"/>
                  </a:cubicBezTo>
                  <a:lnTo>
                    <a:pt x="0" y="6187"/>
                  </a:lnTo>
                  <a:lnTo>
                    <a:pt x="1424" y="8792"/>
                  </a:lnTo>
                  <a:cubicBezTo>
                    <a:pt x="6324" y="8758"/>
                    <a:pt x="10364" y="4913"/>
                    <a:pt x="10640" y="24"/>
                  </a:cubicBezTo>
                  <a:lnTo>
                    <a:pt x="10640" y="24"/>
                  </a:lnTo>
                  <a:lnTo>
                    <a:pt x="8058" y="1436"/>
                  </a:lnTo>
                  <a:lnTo>
                    <a:pt x="539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6" name="Google Shape;1656;p52"/>
            <p:cNvSpPr/>
            <p:nvPr/>
          </p:nvSpPr>
          <p:spPr>
            <a:xfrm>
              <a:off x="3736598" y="2343307"/>
              <a:ext cx="191707" cy="231686"/>
            </a:xfrm>
            <a:custGeom>
              <a:avLst/>
              <a:gdLst/>
              <a:ahLst/>
              <a:cxnLst/>
              <a:rect l="l" t="t" r="r" b="b"/>
              <a:pathLst>
                <a:path w="8804" h="10640" extrusionOk="0">
                  <a:moveTo>
                    <a:pt x="2606" y="0"/>
                  </a:moveTo>
                  <a:lnTo>
                    <a:pt x="0" y="1435"/>
                  </a:lnTo>
                  <a:cubicBezTo>
                    <a:pt x="46" y="6335"/>
                    <a:pt x="3880" y="10364"/>
                    <a:pt x="8769" y="10639"/>
                  </a:cubicBezTo>
                  <a:lnTo>
                    <a:pt x="7357" y="8057"/>
                  </a:lnTo>
                  <a:lnTo>
                    <a:pt x="8803" y="5394"/>
                  </a:lnTo>
                  <a:cubicBezTo>
                    <a:pt x="6795" y="5142"/>
                    <a:pt x="5280" y="3455"/>
                    <a:pt x="5245" y="1435"/>
                  </a:cubicBezTo>
                  <a:lnTo>
                    <a:pt x="260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57" name="Google Shape;1657;p52"/>
          <p:cNvGrpSpPr/>
          <p:nvPr/>
        </p:nvGrpSpPr>
        <p:grpSpPr>
          <a:xfrm>
            <a:off x="3729277" y="2341061"/>
            <a:ext cx="586986" cy="517740"/>
            <a:chOff x="3161917" y="2170682"/>
            <a:chExt cx="458870" cy="404737"/>
          </a:xfrm>
        </p:grpSpPr>
        <p:sp>
          <p:nvSpPr>
            <p:cNvPr id="1658" name="Google Shape;1658;p52"/>
            <p:cNvSpPr/>
            <p:nvPr/>
          </p:nvSpPr>
          <p:spPr>
            <a:xfrm>
              <a:off x="3161917" y="2170682"/>
              <a:ext cx="277174" cy="291676"/>
            </a:xfrm>
            <a:custGeom>
              <a:avLst/>
              <a:gdLst/>
              <a:ahLst/>
              <a:cxnLst/>
              <a:rect l="l" t="t" r="r" b="b"/>
              <a:pathLst>
                <a:path w="12729" h="13395" extrusionOk="0">
                  <a:moveTo>
                    <a:pt x="11294" y="0"/>
                  </a:moveTo>
                  <a:cubicBezTo>
                    <a:pt x="4442" y="46"/>
                    <a:pt x="0" y="7242"/>
                    <a:pt x="3019" y="13394"/>
                  </a:cubicBezTo>
                  <a:lnTo>
                    <a:pt x="4522" y="10915"/>
                  </a:lnTo>
                  <a:lnTo>
                    <a:pt x="7598" y="10835"/>
                  </a:lnTo>
                  <a:cubicBezTo>
                    <a:pt x="6531" y="8195"/>
                    <a:pt x="8436" y="5291"/>
                    <a:pt x="11294" y="5234"/>
                  </a:cubicBezTo>
                  <a:lnTo>
                    <a:pt x="12729" y="2606"/>
                  </a:lnTo>
                  <a:lnTo>
                    <a:pt x="1129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9" name="Google Shape;1659;p52"/>
            <p:cNvSpPr/>
            <p:nvPr/>
          </p:nvSpPr>
          <p:spPr>
            <a:xfrm>
              <a:off x="3420326" y="2170922"/>
              <a:ext cx="200461" cy="302934"/>
            </a:xfrm>
            <a:custGeom>
              <a:avLst/>
              <a:gdLst/>
              <a:ahLst/>
              <a:cxnLst/>
              <a:rect l="l" t="t" r="r" b="b"/>
              <a:pathLst>
                <a:path w="9206" h="13912" extrusionOk="0">
                  <a:moveTo>
                    <a:pt x="24" y="1"/>
                  </a:moveTo>
                  <a:lnTo>
                    <a:pt x="1447" y="2583"/>
                  </a:lnTo>
                  <a:lnTo>
                    <a:pt x="1" y="5246"/>
                  </a:lnTo>
                  <a:cubicBezTo>
                    <a:pt x="2893" y="5602"/>
                    <a:pt x="4488" y="8815"/>
                    <a:pt x="3008" y="11329"/>
                  </a:cubicBezTo>
                  <a:lnTo>
                    <a:pt x="4557" y="13854"/>
                  </a:lnTo>
                  <a:lnTo>
                    <a:pt x="7564" y="13911"/>
                  </a:lnTo>
                  <a:cubicBezTo>
                    <a:pt x="9171" y="11122"/>
                    <a:pt x="9206" y="7691"/>
                    <a:pt x="7679" y="4856"/>
                  </a:cubicBezTo>
                  <a:cubicBezTo>
                    <a:pt x="6141" y="2021"/>
                    <a:pt x="3237" y="184"/>
                    <a:pt x="2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0" name="Google Shape;1660;p52"/>
            <p:cNvSpPr/>
            <p:nvPr/>
          </p:nvSpPr>
          <p:spPr>
            <a:xfrm>
              <a:off x="3233645" y="2417594"/>
              <a:ext cx="344393" cy="157825"/>
            </a:xfrm>
            <a:custGeom>
              <a:avLst/>
              <a:gdLst/>
              <a:ahLst/>
              <a:cxnLst/>
              <a:rect l="l" t="t" r="r" b="b"/>
              <a:pathLst>
                <a:path w="15816" h="7248" extrusionOk="0">
                  <a:moveTo>
                    <a:pt x="4557" y="1"/>
                  </a:moveTo>
                  <a:lnTo>
                    <a:pt x="1515" y="81"/>
                  </a:lnTo>
                  <a:lnTo>
                    <a:pt x="0" y="2583"/>
                  </a:lnTo>
                  <a:cubicBezTo>
                    <a:pt x="1607" y="5372"/>
                    <a:pt x="4545" y="7140"/>
                    <a:pt x="7770" y="7243"/>
                  </a:cubicBezTo>
                  <a:cubicBezTo>
                    <a:pt x="7870" y="7246"/>
                    <a:pt x="7970" y="7248"/>
                    <a:pt x="8070" y="7248"/>
                  </a:cubicBezTo>
                  <a:cubicBezTo>
                    <a:pt x="11183" y="7248"/>
                    <a:pt x="14092" y="5691"/>
                    <a:pt x="15816" y="3088"/>
                  </a:cubicBezTo>
                  <a:lnTo>
                    <a:pt x="12832" y="3019"/>
                  </a:lnTo>
                  <a:lnTo>
                    <a:pt x="11260" y="471"/>
                  </a:lnTo>
                  <a:cubicBezTo>
                    <a:pt x="10437" y="1506"/>
                    <a:pt x="9252" y="2011"/>
                    <a:pt x="8072" y="2011"/>
                  </a:cubicBezTo>
                  <a:cubicBezTo>
                    <a:pt x="6699" y="2011"/>
                    <a:pt x="5334" y="1328"/>
                    <a:pt x="455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61" name="Google Shape;1661;p52"/>
          <p:cNvGrpSpPr/>
          <p:nvPr/>
        </p:nvGrpSpPr>
        <p:grpSpPr>
          <a:xfrm>
            <a:off x="3752299" y="3102400"/>
            <a:ext cx="540943" cy="517963"/>
            <a:chOff x="3179914" y="2889488"/>
            <a:chExt cx="422876" cy="404911"/>
          </a:xfrm>
        </p:grpSpPr>
        <p:sp>
          <p:nvSpPr>
            <p:cNvPr id="1662" name="Google Shape;1662;p52"/>
            <p:cNvSpPr/>
            <p:nvPr/>
          </p:nvSpPr>
          <p:spPr>
            <a:xfrm>
              <a:off x="3402328" y="2889749"/>
              <a:ext cx="163726" cy="157477"/>
            </a:xfrm>
            <a:custGeom>
              <a:avLst/>
              <a:gdLst/>
              <a:ahLst/>
              <a:cxnLst/>
              <a:rect l="l" t="t" r="r" b="b"/>
              <a:pathLst>
                <a:path w="7519" h="7232" extrusionOk="0">
                  <a:moveTo>
                    <a:pt x="24" y="0"/>
                  </a:moveTo>
                  <a:lnTo>
                    <a:pt x="1447" y="2583"/>
                  </a:lnTo>
                  <a:lnTo>
                    <a:pt x="1" y="5257"/>
                  </a:lnTo>
                  <a:cubicBezTo>
                    <a:pt x="1252" y="5418"/>
                    <a:pt x="2365" y="6141"/>
                    <a:pt x="2996" y="7231"/>
                  </a:cubicBezTo>
                  <a:lnTo>
                    <a:pt x="5958" y="7151"/>
                  </a:lnTo>
                  <a:lnTo>
                    <a:pt x="7518" y="4580"/>
                  </a:lnTo>
                  <a:cubicBezTo>
                    <a:pt x="5946" y="1894"/>
                    <a:pt x="3134" y="184"/>
                    <a:pt x="2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3" name="Google Shape;1663;p52"/>
            <p:cNvSpPr/>
            <p:nvPr/>
          </p:nvSpPr>
          <p:spPr>
            <a:xfrm>
              <a:off x="3467807" y="3000956"/>
              <a:ext cx="134983" cy="191707"/>
            </a:xfrm>
            <a:custGeom>
              <a:avLst/>
              <a:gdLst/>
              <a:ahLst/>
              <a:cxnLst/>
              <a:rect l="l" t="t" r="r" b="b"/>
              <a:pathLst>
                <a:path w="6199" h="8804" extrusionOk="0">
                  <a:moveTo>
                    <a:pt x="4798" y="1"/>
                  </a:moveTo>
                  <a:lnTo>
                    <a:pt x="3249" y="2549"/>
                  </a:lnTo>
                  <a:lnTo>
                    <a:pt x="242" y="2629"/>
                  </a:lnTo>
                  <a:cubicBezTo>
                    <a:pt x="724" y="3800"/>
                    <a:pt x="644" y="5131"/>
                    <a:pt x="1" y="6221"/>
                  </a:cubicBezTo>
                  <a:lnTo>
                    <a:pt x="1550" y="8746"/>
                  </a:lnTo>
                  <a:lnTo>
                    <a:pt x="4557" y="8804"/>
                  </a:lnTo>
                  <a:cubicBezTo>
                    <a:pt x="6107" y="6095"/>
                    <a:pt x="6199" y="2790"/>
                    <a:pt x="47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4" name="Google Shape;1664;p52"/>
            <p:cNvSpPr/>
            <p:nvPr/>
          </p:nvSpPr>
          <p:spPr>
            <a:xfrm>
              <a:off x="3222637" y="2889488"/>
              <a:ext cx="198457" cy="149224"/>
            </a:xfrm>
            <a:custGeom>
              <a:avLst/>
              <a:gdLst/>
              <a:ahLst/>
              <a:cxnLst/>
              <a:rect l="l" t="t" r="r" b="b"/>
              <a:pathLst>
                <a:path w="9114" h="6853" extrusionOk="0">
                  <a:moveTo>
                    <a:pt x="7690" y="1"/>
                  </a:moveTo>
                  <a:cubicBezTo>
                    <a:pt x="4592" y="24"/>
                    <a:pt x="1711" y="1585"/>
                    <a:pt x="1" y="4156"/>
                  </a:cubicBezTo>
                  <a:lnTo>
                    <a:pt x="2904" y="4225"/>
                  </a:lnTo>
                  <a:lnTo>
                    <a:pt x="4511" y="6853"/>
                  </a:lnTo>
                  <a:cubicBezTo>
                    <a:pt x="5257" y="5854"/>
                    <a:pt x="6428" y="5258"/>
                    <a:pt x="7679" y="5235"/>
                  </a:cubicBezTo>
                  <a:lnTo>
                    <a:pt x="9114" y="2606"/>
                  </a:lnTo>
                  <a:lnTo>
                    <a:pt x="769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5" name="Google Shape;1665;p52"/>
            <p:cNvSpPr/>
            <p:nvPr/>
          </p:nvSpPr>
          <p:spPr>
            <a:xfrm>
              <a:off x="3179914" y="2991462"/>
              <a:ext cx="133960" cy="190205"/>
            </a:xfrm>
            <a:custGeom>
              <a:avLst/>
              <a:gdLst/>
              <a:ahLst/>
              <a:cxnLst/>
              <a:rect l="l" t="t" r="r" b="b"/>
              <a:pathLst>
                <a:path w="6152" h="8735" extrusionOk="0">
                  <a:moveTo>
                    <a:pt x="1641" y="1"/>
                  </a:moveTo>
                  <a:cubicBezTo>
                    <a:pt x="103" y="2686"/>
                    <a:pt x="0" y="5957"/>
                    <a:pt x="1366" y="8735"/>
                  </a:cubicBezTo>
                  <a:lnTo>
                    <a:pt x="2869" y="6244"/>
                  </a:lnTo>
                  <a:lnTo>
                    <a:pt x="5957" y="6164"/>
                  </a:lnTo>
                  <a:cubicBezTo>
                    <a:pt x="5486" y="5016"/>
                    <a:pt x="5555" y="3731"/>
                    <a:pt x="6152" y="2640"/>
                  </a:cubicBezTo>
                  <a:lnTo>
                    <a:pt x="4568" y="58"/>
                  </a:lnTo>
                  <a:lnTo>
                    <a:pt x="164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6" name="Google Shape;1666;p52"/>
            <p:cNvSpPr/>
            <p:nvPr/>
          </p:nvSpPr>
          <p:spPr>
            <a:xfrm>
              <a:off x="3215887" y="3136661"/>
              <a:ext cx="162725" cy="157477"/>
            </a:xfrm>
            <a:custGeom>
              <a:avLst/>
              <a:gdLst/>
              <a:ahLst/>
              <a:cxnLst/>
              <a:rect l="l" t="t" r="r" b="b"/>
              <a:pathLst>
                <a:path w="7473" h="7232" extrusionOk="0">
                  <a:moveTo>
                    <a:pt x="4546" y="1"/>
                  </a:moveTo>
                  <a:lnTo>
                    <a:pt x="1516" y="81"/>
                  </a:lnTo>
                  <a:lnTo>
                    <a:pt x="1" y="2583"/>
                  </a:lnTo>
                  <a:cubicBezTo>
                    <a:pt x="1550" y="5280"/>
                    <a:pt x="4339" y="7025"/>
                    <a:pt x="7438" y="7232"/>
                  </a:cubicBezTo>
                  <a:lnTo>
                    <a:pt x="6026" y="4649"/>
                  </a:lnTo>
                  <a:lnTo>
                    <a:pt x="7472" y="1964"/>
                  </a:lnTo>
                  <a:cubicBezTo>
                    <a:pt x="6256" y="1791"/>
                    <a:pt x="5177" y="1068"/>
                    <a:pt x="45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7" name="Google Shape;1667;p52"/>
            <p:cNvSpPr/>
            <p:nvPr/>
          </p:nvSpPr>
          <p:spPr>
            <a:xfrm>
              <a:off x="3359605" y="3146677"/>
              <a:ext cx="200439" cy="147722"/>
            </a:xfrm>
            <a:custGeom>
              <a:avLst/>
              <a:gdLst/>
              <a:ahLst/>
              <a:cxnLst/>
              <a:rect l="l" t="t" r="r" b="b"/>
              <a:pathLst>
                <a:path w="9205" h="6784" extrusionOk="0">
                  <a:moveTo>
                    <a:pt x="4649" y="0"/>
                  </a:moveTo>
                  <a:cubicBezTo>
                    <a:pt x="3880" y="976"/>
                    <a:pt x="2697" y="1549"/>
                    <a:pt x="1446" y="1549"/>
                  </a:cubicBezTo>
                  <a:lnTo>
                    <a:pt x="1435" y="1549"/>
                  </a:lnTo>
                  <a:lnTo>
                    <a:pt x="0" y="4189"/>
                  </a:lnTo>
                  <a:lnTo>
                    <a:pt x="1435" y="6783"/>
                  </a:lnTo>
                  <a:lnTo>
                    <a:pt x="1446" y="6783"/>
                  </a:lnTo>
                  <a:cubicBezTo>
                    <a:pt x="1458" y="6783"/>
                    <a:pt x="1469" y="6783"/>
                    <a:pt x="1481" y="6783"/>
                  </a:cubicBezTo>
                  <a:cubicBezTo>
                    <a:pt x="4589" y="6783"/>
                    <a:pt x="7490" y="5224"/>
                    <a:pt x="9205" y="2628"/>
                  </a:cubicBezTo>
                  <a:lnTo>
                    <a:pt x="6221" y="2559"/>
                  </a:lnTo>
                  <a:lnTo>
                    <a:pt x="46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68" name="Google Shape;1668;p52"/>
          <p:cNvGrpSpPr/>
          <p:nvPr/>
        </p:nvGrpSpPr>
        <p:grpSpPr>
          <a:xfrm>
            <a:off x="4453093" y="3102358"/>
            <a:ext cx="536180" cy="518047"/>
            <a:chOff x="3729467" y="2889422"/>
            <a:chExt cx="419153" cy="404977"/>
          </a:xfrm>
        </p:grpSpPr>
        <p:sp>
          <p:nvSpPr>
            <p:cNvPr id="1669" name="Google Shape;1669;p52"/>
            <p:cNvSpPr/>
            <p:nvPr/>
          </p:nvSpPr>
          <p:spPr>
            <a:xfrm>
              <a:off x="4014137" y="2974913"/>
              <a:ext cx="134482" cy="178707"/>
            </a:xfrm>
            <a:custGeom>
              <a:avLst/>
              <a:gdLst/>
              <a:ahLst/>
              <a:cxnLst/>
              <a:rect l="l" t="t" r="r" b="b"/>
              <a:pathLst>
                <a:path w="6176" h="8207" extrusionOk="0">
                  <a:moveTo>
                    <a:pt x="4121" y="0"/>
                  </a:moveTo>
                  <a:lnTo>
                    <a:pt x="2973" y="2732"/>
                  </a:lnTo>
                  <a:lnTo>
                    <a:pt x="0" y="3260"/>
                  </a:lnTo>
                  <a:cubicBezTo>
                    <a:pt x="391" y="3891"/>
                    <a:pt x="586" y="4625"/>
                    <a:pt x="586" y="5372"/>
                  </a:cubicBezTo>
                  <a:cubicBezTo>
                    <a:pt x="586" y="5658"/>
                    <a:pt x="563" y="5945"/>
                    <a:pt x="494" y="6232"/>
                  </a:cubicBezTo>
                  <a:lnTo>
                    <a:pt x="2743" y="8206"/>
                  </a:lnTo>
                  <a:lnTo>
                    <a:pt x="5613" y="7392"/>
                  </a:lnTo>
                  <a:cubicBezTo>
                    <a:pt x="6175" y="4832"/>
                    <a:pt x="5636" y="2146"/>
                    <a:pt x="4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0" name="Google Shape;1670;p52"/>
            <p:cNvSpPr/>
            <p:nvPr/>
          </p:nvSpPr>
          <p:spPr>
            <a:xfrm>
              <a:off x="3741225" y="3095375"/>
              <a:ext cx="148963" cy="173460"/>
            </a:xfrm>
            <a:custGeom>
              <a:avLst/>
              <a:gdLst/>
              <a:ahLst/>
              <a:cxnLst/>
              <a:rect l="l" t="t" r="r" b="b"/>
              <a:pathLst>
                <a:path w="6841" h="7966" extrusionOk="0">
                  <a:moveTo>
                    <a:pt x="2215" y="0"/>
                  </a:moveTo>
                  <a:lnTo>
                    <a:pt x="0" y="1963"/>
                  </a:lnTo>
                  <a:cubicBezTo>
                    <a:pt x="597" y="4511"/>
                    <a:pt x="2250" y="6691"/>
                    <a:pt x="4534" y="7965"/>
                  </a:cubicBezTo>
                  <a:lnTo>
                    <a:pt x="4373" y="5027"/>
                  </a:lnTo>
                  <a:lnTo>
                    <a:pt x="6841" y="3248"/>
                  </a:lnTo>
                  <a:cubicBezTo>
                    <a:pt x="5980" y="2686"/>
                    <a:pt x="5360" y="1814"/>
                    <a:pt x="5108" y="804"/>
                  </a:cubicBezTo>
                  <a:lnTo>
                    <a:pt x="22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1" name="Google Shape;1671;p52"/>
            <p:cNvSpPr/>
            <p:nvPr/>
          </p:nvSpPr>
          <p:spPr>
            <a:xfrm>
              <a:off x="3949660" y="2889684"/>
              <a:ext cx="146219" cy="145980"/>
            </a:xfrm>
            <a:custGeom>
              <a:avLst/>
              <a:gdLst/>
              <a:ahLst/>
              <a:cxnLst/>
              <a:rect l="l" t="t" r="r" b="b"/>
              <a:pathLst>
                <a:path w="6715" h="6704" extrusionOk="0">
                  <a:moveTo>
                    <a:pt x="12" y="0"/>
                  </a:moveTo>
                  <a:lnTo>
                    <a:pt x="1435" y="2583"/>
                  </a:lnTo>
                  <a:lnTo>
                    <a:pt x="0" y="5257"/>
                  </a:lnTo>
                  <a:cubicBezTo>
                    <a:pt x="1022" y="5383"/>
                    <a:pt x="1963" y="5900"/>
                    <a:pt x="2629" y="6703"/>
                  </a:cubicBezTo>
                  <a:lnTo>
                    <a:pt x="5567" y="6187"/>
                  </a:lnTo>
                  <a:lnTo>
                    <a:pt x="6714" y="3432"/>
                  </a:lnTo>
                  <a:cubicBezTo>
                    <a:pt x="5062" y="1401"/>
                    <a:pt x="2629" y="150"/>
                    <a:pt x="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2" name="Google Shape;1672;p52"/>
            <p:cNvSpPr/>
            <p:nvPr/>
          </p:nvSpPr>
          <p:spPr>
            <a:xfrm>
              <a:off x="3847947" y="3172089"/>
              <a:ext cx="167210" cy="122310"/>
            </a:xfrm>
            <a:custGeom>
              <a:avLst/>
              <a:gdLst/>
              <a:ahLst/>
              <a:cxnLst/>
              <a:rect l="l" t="t" r="r" b="b"/>
              <a:pathLst>
                <a:path w="7679" h="5617" extrusionOk="0">
                  <a:moveTo>
                    <a:pt x="2433" y="1"/>
                  </a:moveTo>
                  <a:lnTo>
                    <a:pt x="0" y="1757"/>
                  </a:lnTo>
                  <a:lnTo>
                    <a:pt x="149" y="4718"/>
                  </a:lnTo>
                  <a:cubicBezTo>
                    <a:pt x="1415" y="5317"/>
                    <a:pt x="2781" y="5616"/>
                    <a:pt x="4148" y="5616"/>
                  </a:cubicBezTo>
                  <a:cubicBezTo>
                    <a:pt x="5347" y="5616"/>
                    <a:pt x="6546" y="5386"/>
                    <a:pt x="7678" y="4924"/>
                  </a:cubicBezTo>
                  <a:lnTo>
                    <a:pt x="5280" y="3203"/>
                  </a:lnTo>
                  <a:lnTo>
                    <a:pt x="5417" y="173"/>
                  </a:lnTo>
                  <a:lnTo>
                    <a:pt x="5417" y="173"/>
                  </a:lnTo>
                  <a:cubicBezTo>
                    <a:pt x="5016" y="311"/>
                    <a:pt x="4591" y="379"/>
                    <a:pt x="4155" y="379"/>
                  </a:cubicBezTo>
                  <a:cubicBezTo>
                    <a:pt x="3558" y="379"/>
                    <a:pt x="2973" y="253"/>
                    <a:pt x="24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3" name="Google Shape;1673;p52"/>
            <p:cNvSpPr/>
            <p:nvPr/>
          </p:nvSpPr>
          <p:spPr>
            <a:xfrm>
              <a:off x="3974658" y="3122616"/>
              <a:ext cx="158457" cy="151206"/>
            </a:xfrm>
            <a:custGeom>
              <a:avLst/>
              <a:gdLst/>
              <a:ahLst/>
              <a:cxnLst/>
              <a:rect l="l" t="t" r="r" b="b"/>
              <a:pathLst>
                <a:path w="7277" h="6944" extrusionOk="0">
                  <a:moveTo>
                    <a:pt x="2158" y="0"/>
                  </a:moveTo>
                  <a:cubicBezTo>
                    <a:pt x="1790" y="964"/>
                    <a:pt x="1079" y="1768"/>
                    <a:pt x="149" y="2227"/>
                  </a:cubicBezTo>
                  <a:lnTo>
                    <a:pt x="0" y="5222"/>
                  </a:lnTo>
                  <a:lnTo>
                    <a:pt x="2422" y="6944"/>
                  </a:lnTo>
                  <a:cubicBezTo>
                    <a:pt x="4775" y="5785"/>
                    <a:pt x="6542" y="3696"/>
                    <a:pt x="7277" y="1171"/>
                  </a:cubicBezTo>
                  <a:lnTo>
                    <a:pt x="7277" y="1171"/>
                  </a:lnTo>
                  <a:lnTo>
                    <a:pt x="4430" y="1986"/>
                  </a:lnTo>
                  <a:lnTo>
                    <a:pt x="215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4" name="Google Shape;1674;p52"/>
            <p:cNvSpPr/>
            <p:nvPr/>
          </p:nvSpPr>
          <p:spPr>
            <a:xfrm>
              <a:off x="3729467" y="2966660"/>
              <a:ext cx="138990" cy="158718"/>
            </a:xfrm>
            <a:custGeom>
              <a:avLst/>
              <a:gdLst/>
              <a:ahLst/>
              <a:cxnLst/>
              <a:rect l="l" t="t" r="r" b="b"/>
              <a:pathLst>
                <a:path w="6383" h="7289" extrusionOk="0">
                  <a:moveTo>
                    <a:pt x="2296" y="0"/>
                  </a:moveTo>
                  <a:cubicBezTo>
                    <a:pt x="678" y="2055"/>
                    <a:pt x="1" y="4706"/>
                    <a:pt x="425" y="7288"/>
                  </a:cubicBezTo>
                  <a:lnTo>
                    <a:pt x="2618" y="5337"/>
                  </a:lnTo>
                  <a:lnTo>
                    <a:pt x="5556" y="6152"/>
                  </a:lnTo>
                  <a:cubicBezTo>
                    <a:pt x="5544" y="6026"/>
                    <a:pt x="5533" y="5888"/>
                    <a:pt x="5533" y="5751"/>
                  </a:cubicBezTo>
                  <a:cubicBezTo>
                    <a:pt x="5533" y="4855"/>
                    <a:pt x="5831" y="3983"/>
                    <a:pt x="6382" y="3271"/>
                  </a:cubicBezTo>
                  <a:lnTo>
                    <a:pt x="5211" y="505"/>
                  </a:lnTo>
                  <a:lnTo>
                    <a:pt x="229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5" name="Google Shape;1675;p52"/>
            <p:cNvSpPr/>
            <p:nvPr/>
          </p:nvSpPr>
          <p:spPr>
            <a:xfrm>
              <a:off x="3787716" y="2889422"/>
              <a:ext cx="180449" cy="139229"/>
            </a:xfrm>
            <a:custGeom>
              <a:avLst/>
              <a:gdLst/>
              <a:ahLst/>
              <a:cxnLst/>
              <a:rect l="l" t="t" r="r" b="b"/>
              <a:pathLst>
                <a:path w="8287" h="6394" extrusionOk="0">
                  <a:moveTo>
                    <a:pt x="6863" y="1"/>
                  </a:moveTo>
                  <a:cubicBezTo>
                    <a:pt x="4235" y="12"/>
                    <a:pt x="1756" y="1137"/>
                    <a:pt x="0" y="3088"/>
                  </a:cubicBezTo>
                  <a:lnTo>
                    <a:pt x="2904" y="3593"/>
                  </a:lnTo>
                  <a:lnTo>
                    <a:pt x="4086" y="6394"/>
                  </a:lnTo>
                  <a:cubicBezTo>
                    <a:pt x="4820" y="5671"/>
                    <a:pt x="5819" y="5258"/>
                    <a:pt x="6852" y="5235"/>
                  </a:cubicBezTo>
                  <a:lnTo>
                    <a:pt x="8287" y="2606"/>
                  </a:lnTo>
                  <a:lnTo>
                    <a:pt x="686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76" name="Google Shape;1676;p52"/>
          <p:cNvGrpSpPr/>
          <p:nvPr/>
        </p:nvGrpSpPr>
        <p:grpSpPr>
          <a:xfrm>
            <a:off x="1990126" y="3445787"/>
            <a:ext cx="965351" cy="134611"/>
            <a:chOff x="4411970" y="2962952"/>
            <a:chExt cx="706544" cy="104212"/>
          </a:xfrm>
        </p:grpSpPr>
        <p:sp>
          <p:nvSpPr>
            <p:cNvPr id="1677" name="Google Shape;1677;p52"/>
            <p:cNvSpPr/>
            <p:nvPr/>
          </p:nvSpPr>
          <p:spPr>
            <a:xfrm>
              <a:off x="4583864" y="2962952"/>
              <a:ext cx="534651" cy="104077"/>
            </a:xfrm>
            <a:custGeom>
              <a:avLst/>
              <a:gdLst/>
              <a:ahLst/>
              <a:cxnLst/>
              <a:rect l="l" t="t" r="r" b="b"/>
              <a:pathLst>
                <a:path w="11841" h="2305" extrusionOk="0">
                  <a:moveTo>
                    <a:pt x="1155" y="0"/>
                  </a:moveTo>
                  <a:lnTo>
                    <a:pt x="0" y="2304"/>
                  </a:lnTo>
                  <a:lnTo>
                    <a:pt x="11410" y="2304"/>
                  </a:lnTo>
                  <a:lnTo>
                    <a:pt x="11840" y="1153"/>
                  </a:lnTo>
                  <a:lnTo>
                    <a:pt x="114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8" name="Google Shape;1678;p52"/>
            <p:cNvSpPr/>
            <p:nvPr/>
          </p:nvSpPr>
          <p:spPr>
            <a:xfrm>
              <a:off x="4411970" y="2963088"/>
              <a:ext cx="124124" cy="104077"/>
            </a:xfrm>
            <a:custGeom>
              <a:avLst/>
              <a:gdLst/>
              <a:ahLst/>
              <a:cxnLst/>
              <a:rect l="l" t="t" r="r" b="b"/>
              <a:pathLst>
                <a:path w="2749" h="2305" extrusionOk="0">
                  <a:moveTo>
                    <a:pt x="2749" y="0"/>
                  </a:moveTo>
                  <a:lnTo>
                    <a:pt x="177" y="2"/>
                  </a:lnTo>
                  <a:cubicBezTo>
                    <a:pt x="79" y="2"/>
                    <a:pt x="1" y="79"/>
                    <a:pt x="1" y="176"/>
                  </a:cubicBezTo>
                  <a:lnTo>
                    <a:pt x="1" y="2130"/>
                  </a:lnTo>
                  <a:cubicBezTo>
                    <a:pt x="1" y="2226"/>
                    <a:pt x="79" y="2305"/>
                    <a:pt x="177" y="2305"/>
                  </a:cubicBezTo>
                  <a:lnTo>
                    <a:pt x="1522" y="2305"/>
                  </a:lnTo>
                  <a:lnTo>
                    <a:pt x="27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9" name="Google Shape;1679;p52"/>
            <p:cNvSpPr/>
            <p:nvPr/>
          </p:nvSpPr>
          <p:spPr>
            <a:xfrm>
              <a:off x="4496946" y="2963133"/>
              <a:ext cx="79920" cy="104031"/>
            </a:xfrm>
            <a:custGeom>
              <a:avLst/>
              <a:gdLst/>
              <a:ahLst/>
              <a:cxnLst/>
              <a:rect l="l" t="t" r="r" b="b"/>
              <a:pathLst>
                <a:path w="1770" h="2304" extrusionOk="0">
                  <a:moveTo>
                    <a:pt x="1227" y="1"/>
                  </a:moveTo>
                  <a:lnTo>
                    <a:pt x="0" y="2304"/>
                  </a:lnTo>
                  <a:lnTo>
                    <a:pt x="542" y="2304"/>
                  </a:lnTo>
                  <a:lnTo>
                    <a:pt x="177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0" name="Google Shape;1680;p52"/>
            <p:cNvSpPr/>
            <p:nvPr/>
          </p:nvSpPr>
          <p:spPr>
            <a:xfrm>
              <a:off x="4537628" y="2963133"/>
              <a:ext cx="79965" cy="104031"/>
            </a:xfrm>
            <a:custGeom>
              <a:avLst/>
              <a:gdLst/>
              <a:ahLst/>
              <a:cxnLst/>
              <a:rect l="l" t="t" r="r" b="b"/>
              <a:pathLst>
                <a:path w="1771" h="2304" extrusionOk="0">
                  <a:moveTo>
                    <a:pt x="1229" y="1"/>
                  </a:moveTo>
                  <a:lnTo>
                    <a:pt x="1" y="2304"/>
                  </a:lnTo>
                  <a:lnTo>
                    <a:pt x="544" y="2304"/>
                  </a:lnTo>
                  <a:lnTo>
                    <a:pt x="177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1" name="Google Shape;1681;p52"/>
          <p:cNvGrpSpPr/>
          <p:nvPr/>
        </p:nvGrpSpPr>
        <p:grpSpPr>
          <a:xfrm>
            <a:off x="1990126" y="3041077"/>
            <a:ext cx="960158" cy="289172"/>
            <a:chOff x="4411970" y="2726085"/>
            <a:chExt cx="643107" cy="193659"/>
          </a:xfrm>
        </p:grpSpPr>
        <p:sp>
          <p:nvSpPr>
            <p:cNvPr id="1682" name="Google Shape;1682;p52"/>
            <p:cNvSpPr/>
            <p:nvPr/>
          </p:nvSpPr>
          <p:spPr>
            <a:xfrm>
              <a:off x="4411970" y="2726085"/>
              <a:ext cx="118796" cy="193659"/>
            </a:xfrm>
            <a:custGeom>
              <a:avLst/>
              <a:gdLst/>
              <a:ahLst/>
              <a:cxnLst/>
              <a:rect l="l" t="t" r="r" b="b"/>
              <a:pathLst>
                <a:path w="2631" h="4289" extrusionOk="0">
                  <a:moveTo>
                    <a:pt x="450" y="0"/>
                  </a:moveTo>
                  <a:cubicBezTo>
                    <a:pt x="357" y="0"/>
                    <a:pt x="264" y="35"/>
                    <a:pt x="193" y="106"/>
                  </a:cubicBezTo>
                  <a:lnTo>
                    <a:pt x="1" y="298"/>
                  </a:lnTo>
                  <a:lnTo>
                    <a:pt x="1591" y="1886"/>
                  </a:lnTo>
                  <a:cubicBezTo>
                    <a:pt x="1732" y="2029"/>
                    <a:pt x="1732" y="2258"/>
                    <a:pt x="1591" y="2401"/>
                  </a:cubicBezTo>
                  <a:lnTo>
                    <a:pt x="1" y="3991"/>
                  </a:lnTo>
                  <a:lnTo>
                    <a:pt x="193" y="4183"/>
                  </a:lnTo>
                  <a:cubicBezTo>
                    <a:pt x="264" y="4253"/>
                    <a:pt x="357" y="4288"/>
                    <a:pt x="450" y="4288"/>
                  </a:cubicBezTo>
                  <a:cubicBezTo>
                    <a:pt x="543" y="4288"/>
                    <a:pt x="636" y="4253"/>
                    <a:pt x="707" y="4183"/>
                  </a:cubicBezTo>
                  <a:lnTo>
                    <a:pt x="2488" y="2401"/>
                  </a:lnTo>
                  <a:cubicBezTo>
                    <a:pt x="2630" y="2260"/>
                    <a:pt x="2630" y="2029"/>
                    <a:pt x="2488" y="1888"/>
                  </a:cubicBezTo>
                  <a:lnTo>
                    <a:pt x="707" y="106"/>
                  </a:lnTo>
                  <a:cubicBezTo>
                    <a:pt x="636" y="35"/>
                    <a:pt x="543" y="0"/>
                    <a:pt x="4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3" name="Google Shape;1683;p52"/>
            <p:cNvSpPr/>
            <p:nvPr/>
          </p:nvSpPr>
          <p:spPr>
            <a:xfrm>
              <a:off x="4426058" y="2791601"/>
              <a:ext cx="36167" cy="62627"/>
            </a:xfrm>
            <a:custGeom>
              <a:avLst/>
              <a:gdLst/>
              <a:ahLst/>
              <a:cxnLst/>
              <a:rect l="l" t="t" r="r" b="b"/>
              <a:pathLst>
                <a:path w="801" h="1387" extrusionOk="0">
                  <a:moveTo>
                    <a:pt x="176" y="0"/>
                  </a:moveTo>
                  <a:cubicBezTo>
                    <a:pt x="87" y="0"/>
                    <a:pt x="1" y="69"/>
                    <a:pt x="1" y="173"/>
                  </a:cubicBezTo>
                  <a:lnTo>
                    <a:pt x="1" y="1214"/>
                  </a:lnTo>
                  <a:cubicBezTo>
                    <a:pt x="1" y="1318"/>
                    <a:pt x="87" y="1386"/>
                    <a:pt x="176" y="1386"/>
                  </a:cubicBezTo>
                  <a:cubicBezTo>
                    <a:pt x="218" y="1386"/>
                    <a:pt x="262" y="1371"/>
                    <a:pt x="297" y="1335"/>
                  </a:cubicBezTo>
                  <a:lnTo>
                    <a:pt x="627" y="1006"/>
                  </a:lnTo>
                  <a:cubicBezTo>
                    <a:pt x="800" y="834"/>
                    <a:pt x="800" y="554"/>
                    <a:pt x="627" y="381"/>
                  </a:cubicBezTo>
                  <a:lnTo>
                    <a:pt x="297" y="51"/>
                  </a:lnTo>
                  <a:cubicBezTo>
                    <a:pt x="262" y="16"/>
                    <a:pt x="218" y="0"/>
                    <a:pt x="1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4" name="Google Shape;1684;p52"/>
            <p:cNvSpPr/>
            <p:nvPr/>
          </p:nvSpPr>
          <p:spPr>
            <a:xfrm>
              <a:off x="4456806" y="2743875"/>
              <a:ext cx="598271" cy="157989"/>
            </a:xfrm>
            <a:custGeom>
              <a:avLst/>
              <a:gdLst/>
              <a:ahLst/>
              <a:cxnLst/>
              <a:rect l="l" t="t" r="r" b="b"/>
              <a:pathLst>
                <a:path w="13250" h="3499" extrusionOk="0">
                  <a:moveTo>
                    <a:pt x="1" y="0"/>
                  </a:moveTo>
                  <a:lnTo>
                    <a:pt x="1495" y="1494"/>
                  </a:lnTo>
                  <a:cubicBezTo>
                    <a:pt x="1635" y="1635"/>
                    <a:pt x="1635" y="1866"/>
                    <a:pt x="1495" y="2007"/>
                  </a:cubicBezTo>
                  <a:lnTo>
                    <a:pt x="2" y="3499"/>
                  </a:lnTo>
                  <a:lnTo>
                    <a:pt x="11527" y="3499"/>
                  </a:lnTo>
                  <a:lnTo>
                    <a:pt x="13250" y="1750"/>
                  </a:lnTo>
                  <a:lnTo>
                    <a:pt x="1152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5" name="Google Shape;1685;p52"/>
          <p:cNvGrpSpPr/>
          <p:nvPr/>
        </p:nvGrpSpPr>
        <p:grpSpPr>
          <a:xfrm>
            <a:off x="998624" y="3295400"/>
            <a:ext cx="811503" cy="252584"/>
            <a:chOff x="4411970" y="4340222"/>
            <a:chExt cx="779467" cy="242683"/>
          </a:xfrm>
        </p:grpSpPr>
        <p:sp>
          <p:nvSpPr>
            <p:cNvPr id="1686" name="Google Shape;1686;p52"/>
            <p:cNvSpPr/>
            <p:nvPr/>
          </p:nvSpPr>
          <p:spPr>
            <a:xfrm>
              <a:off x="4411970" y="4340222"/>
              <a:ext cx="121370" cy="121370"/>
            </a:xfrm>
            <a:custGeom>
              <a:avLst/>
              <a:gdLst/>
              <a:ahLst/>
              <a:cxnLst/>
              <a:rect l="l" t="t" r="r" b="b"/>
              <a:pathLst>
                <a:path w="2688" h="2688" extrusionOk="0">
                  <a:moveTo>
                    <a:pt x="2688" y="1"/>
                  </a:moveTo>
                  <a:cubicBezTo>
                    <a:pt x="1205" y="1"/>
                    <a:pt x="1" y="1203"/>
                    <a:pt x="1" y="2688"/>
                  </a:cubicBezTo>
                  <a:lnTo>
                    <a:pt x="379" y="2688"/>
                  </a:lnTo>
                  <a:cubicBezTo>
                    <a:pt x="379" y="1411"/>
                    <a:pt x="1413" y="379"/>
                    <a:pt x="2688" y="379"/>
                  </a:cubicBezTo>
                  <a:lnTo>
                    <a:pt x="268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7" name="Google Shape;1687;p52"/>
            <p:cNvSpPr/>
            <p:nvPr/>
          </p:nvSpPr>
          <p:spPr>
            <a:xfrm>
              <a:off x="4457032" y="4385284"/>
              <a:ext cx="152661" cy="152615"/>
            </a:xfrm>
            <a:custGeom>
              <a:avLst/>
              <a:gdLst/>
              <a:ahLst/>
              <a:cxnLst/>
              <a:rect l="l" t="t" r="r" b="b"/>
              <a:pathLst>
                <a:path w="3381" h="3380" extrusionOk="0">
                  <a:moveTo>
                    <a:pt x="1690" y="0"/>
                  </a:moveTo>
                  <a:cubicBezTo>
                    <a:pt x="756" y="0"/>
                    <a:pt x="0" y="756"/>
                    <a:pt x="0" y="1690"/>
                  </a:cubicBezTo>
                  <a:cubicBezTo>
                    <a:pt x="0" y="2623"/>
                    <a:pt x="756" y="3379"/>
                    <a:pt x="1690" y="3379"/>
                  </a:cubicBezTo>
                  <a:cubicBezTo>
                    <a:pt x="2623" y="3379"/>
                    <a:pt x="3381" y="2623"/>
                    <a:pt x="3381" y="1690"/>
                  </a:cubicBezTo>
                  <a:cubicBezTo>
                    <a:pt x="3381" y="756"/>
                    <a:pt x="2623" y="0"/>
                    <a:pt x="169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8" name="Google Shape;1688;p52"/>
            <p:cNvSpPr/>
            <p:nvPr/>
          </p:nvSpPr>
          <p:spPr>
            <a:xfrm>
              <a:off x="4533392" y="4383749"/>
              <a:ext cx="658046" cy="199155"/>
            </a:xfrm>
            <a:custGeom>
              <a:avLst/>
              <a:gdLst/>
              <a:ahLst/>
              <a:cxnLst/>
              <a:rect l="l" t="t" r="r" b="b"/>
              <a:pathLst>
                <a:path w="16511" h="4997" extrusionOk="0">
                  <a:moveTo>
                    <a:pt x="4619" y="1"/>
                  </a:moveTo>
                  <a:cubicBezTo>
                    <a:pt x="3342" y="1"/>
                    <a:pt x="2309" y="1035"/>
                    <a:pt x="2309" y="2310"/>
                  </a:cubicBezTo>
                  <a:cubicBezTo>
                    <a:pt x="2309" y="3586"/>
                    <a:pt x="1275" y="4619"/>
                    <a:pt x="0" y="4619"/>
                  </a:cubicBezTo>
                  <a:lnTo>
                    <a:pt x="0" y="4997"/>
                  </a:lnTo>
                  <a:cubicBezTo>
                    <a:pt x="482" y="4997"/>
                    <a:pt x="958" y="4867"/>
                    <a:pt x="1373" y="4619"/>
                  </a:cubicBezTo>
                  <a:lnTo>
                    <a:pt x="14185" y="4619"/>
                  </a:lnTo>
                  <a:cubicBezTo>
                    <a:pt x="15472" y="4619"/>
                    <a:pt x="16510" y="3567"/>
                    <a:pt x="16494" y="2279"/>
                  </a:cubicBezTo>
                  <a:cubicBezTo>
                    <a:pt x="16478" y="1006"/>
                    <a:pt x="15399" y="1"/>
                    <a:pt x="141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9" name="Google Shape;1689;p52"/>
          <p:cNvGrpSpPr/>
          <p:nvPr/>
        </p:nvGrpSpPr>
        <p:grpSpPr>
          <a:xfrm>
            <a:off x="1990126" y="2709308"/>
            <a:ext cx="965160" cy="216230"/>
            <a:chOff x="4411970" y="2468674"/>
            <a:chExt cx="747317" cy="167425"/>
          </a:xfrm>
        </p:grpSpPr>
        <p:sp>
          <p:nvSpPr>
            <p:cNvPr id="1690" name="Google Shape;1690;p52"/>
            <p:cNvSpPr/>
            <p:nvPr/>
          </p:nvSpPr>
          <p:spPr>
            <a:xfrm>
              <a:off x="4411970" y="2468674"/>
              <a:ext cx="216235" cy="167425"/>
            </a:xfrm>
            <a:custGeom>
              <a:avLst/>
              <a:gdLst/>
              <a:ahLst/>
              <a:cxnLst/>
              <a:rect l="l" t="t" r="r" b="b"/>
              <a:pathLst>
                <a:path w="4789" h="3708" extrusionOk="0">
                  <a:moveTo>
                    <a:pt x="1" y="0"/>
                  </a:moveTo>
                  <a:lnTo>
                    <a:pt x="1" y="3707"/>
                  </a:lnTo>
                  <a:lnTo>
                    <a:pt x="3381" y="3707"/>
                  </a:lnTo>
                  <a:lnTo>
                    <a:pt x="4789" y="1853"/>
                  </a:lnTo>
                  <a:lnTo>
                    <a:pt x="338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1" name="Google Shape;1691;p52"/>
            <p:cNvSpPr/>
            <p:nvPr/>
          </p:nvSpPr>
          <p:spPr>
            <a:xfrm>
              <a:off x="4564629" y="2468674"/>
              <a:ext cx="594658" cy="167425"/>
            </a:xfrm>
            <a:custGeom>
              <a:avLst/>
              <a:gdLst/>
              <a:ahLst/>
              <a:cxnLst/>
              <a:rect l="l" t="t" r="r" b="b"/>
              <a:pathLst>
                <a:path w="13170" h="3708" extrusionOk="0">
                  <a:moveTo>
                    <a:pt x="0" y="0"/>
                  </a:moveTo>
                  <a:lnTo>
                    <a:pt x="1408" y="1853"/>
                  </a:lnTo>
                  <a:lnTo>
                    <a:pt x="0" y="3707"/>
                  </a:lnTo>
                  <a:lnTo>
                    <a:pt x="13169" y="3707"/>
                  </a:lnTo>
                  <a:lnTo>
                    <a:pt x="1316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92" name="Google Shape;1692;p52"/>
          <p:cNvSpPr/>
          <p:nvPr/>
        </p:nvSpPr>
        <p:spPr>
          <a:xfrm>
            <a:off x="996874" y="3014089"/>
            <a:ext cx="810618" cy="192983"/>
          </a:xfrm>
          <a:custGeom>
            <a:avLst/>
            <a:gdLst/>
            <a:ahLst/>
            <a:cxnLst/>
            <a:rect l="l" t="t" r="r" b="b"/>
            <a:pathLst>
              <a:path w="17936" h="4270" extrusionOk="0">
                <a:moveTo>
                  <a:pt x="2303" y="1110"/>
                </a:moveTo>
                <a:cubicBezTo>
                  <a:pt x="2883" y="1110"/>
                  <a:pt x="3355" y="1569"/>
                  <a:pt x="3355" y="2135"/>
                </a:cubicBezTo>
                <a:cubicBezTo>
                  <a:pt x="3353" y="2716"/>
                  <a:pt x="2883" y="3187"/>
                  <a:pt x="2303" y="3187"/>
                </a:cubicBezTo>
                <a:cubicBezTo>
                  <a:pt x="1722" y="3187"/>
                  <a:pt x="1251" y="2716"/>
                  <a:pt x="1251" y="2135"/>
                </a:cubicBezTo>
                <a:cubicBezTo>
                  <a:pt x="1251" y="1569"/>
                  <a:pt x="1722" y="1110"/>
                  <a:pt x="2303" y="1110"/>
                </a:cubicBezTo>
                <a:close/>
                <a:moveTo>
                  <a:pt x="2304" y="0"/>
                </a:moveTo>
                <a:cubicBezTo>
                  <a:pt x="1748" y="0"/>
                  <a:pt x="1201" y="218"/>
                  <a:pt x="793" y="626"/>
                </a:cubicBezTo>
                <a:cubicBezTo>
                  <a:pt x="183" y="1236"/>
                  <a:pt x="0" y="2154"/>
                  <a:pt x="330" y="2951"/>
                </a:cubicBezTo>
                <a:cubicBezTo>
                  <a:pt x="662" y="3749"/>
                  <a:pt x="1438" y="4269"/>
                  <a:pt x="2303" y="4269"/>
                </a:cubicBezTo>
                <a:cubicBezTo>
                  <a:pt x="3481" y="4269"/>
                  <a:pt x="4436" y="3313"/>
                  <a:pt x="4436" y="2135"/>
                </a:cubicBezTo>
                <a:lnTo>
                  <a:pt x="4436" y="3254"/>
                </a:lnTo>
                <a:cubicBezTo>
                  <a:pt x="4436" y="3814"/>
                  <a:pt x="4891" y="4269"/>
                  <a:pt x="5451" y="4269"/>
                </a:cubicBezTo>
                <a:lnTo>
                  <a:pt x="17600" y="4269"/>
                </a:lnTo>
                <a:cubicBezTo>
                  <a:pt x="17785" y="4269"/>
                  <a:pt x="17935" y="4119"/>
                  <a:pt x="17935" y="3936"/>
                </a:cubicBezTo>
                <a:lnTo>
                  <a:pt x="17935" y="333"/>
                </a:lnTo>
                <a:cubicBezTo>
                  <a:pt x="17934" y="149"/>
                  <a:pt x="17785" y="0"/>
                  <a:pt x="17602" y="0"/>
                </a:cubicBezTo>
                <a:lnTo>
                  <a:pt x="5451" y="0"/>
                </a:lnTo>
                <a:cubicBezTo>
                  <a:pt x="4891" y="0"/>
                  <a:pt x="4437" y="453"/>
                  <a:pt x="4437" y="1014"/>
                </a:cubicBezTo>
                <a:lnTo>
                  <a:pt x="4437" y="2133"/>
                </a:lnTo>
                <a:cubicBezTo>
                  <a:pt x="4436" y="1270"/>
                  <a:pt x="3915" y="492"/>
                  <a:pt x="3118" y="162"/>
                </a:cubicBezTo>
                <a:cubicBezTo>
                  <a:pt x="2855" y="53"/>
                  <a:pt x="2578" y="0"/>
                  <a:pt x="2304" y="0"/>
                </a:cubicBezTo>
                <a:close/>
              </a:path>
            </a:pathLst>
          </a:custGeom>
          <a:noFill/>
          <a:ln w="9525" cap="flat" cmpd="sng">
            <a:solidFill>
              <a:srgbClr val="445D7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693" name="Google Shape;1693;p52"/>
          <p:cNvGrpSpPr/>
          <p:nvPr/>
        </p:nvGrpSpPr>
        <p:grpSpPr>
          <a:xfrm>
            <a:off x="997692" y="2334687"/>
            <a:ext cx="1959041" cy="208784"/>
            <a:chOff x="6336019" y="3733725"/>
            <a:chExt cx="2566206" cy="351310"/>
          </a:xfrm>
        </p:grpSpPr>
        <p:sp>
          <p:nvSpPr>
            <p:cNvPr id="1694" name="Google Shape;1694;p52"/>
            <p:cNvSpPr/>
            <p:nvPr/>
          </p:nvSpPr>
          <p:spPr>
            <a:xfrm>
              <a:off x="6336019" y="3733735"/>
              <a:ext cx="1881300" cy="351300"/>
            </a:xfrm>
            <a:prstGeom prst="homePlate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5" name="Google Shape;1695;p52"/>
            <p:cNvSpPr/>
            <p:nvPr/>
          </p:nvSpPr>
          <p:spPr>
            <a:xfrm>
              <a:off x="80985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6" name="Google Shape;1696;p52"/>
            <p:cNvSpPr/>
            <p:nvPr/>
          </p:nvSpPr>
          <p:spPr>
            <a:xfrm>
              <a:off x="83271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7" name="Google Shape;1697;p52"/>
            <p:cNvSpPr/>
            <p:nvPr/>
          </p:nvSpPr>
          <p:spPr>
            <a:xfrm>
              <a:off x="85557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98" name="Google Shape;1698;p52"/>
          <p:cNvGrpSpPr/>
          <p:nvPr/>
        </p:nvGrpSpPr>
        <p:grpSpPr>
          <a:xfrm>
            <a:off x="1990126" y="3950602"/>
            <a:ext cx="946551" cy="153200"/>
            <a:chOff x="4404545" y="3301592"/>
            <a:chExt cx="782403" cy="129272"/>
          </a:xfrm>
        </p:grpSpPr>
        <p:sp>
          <p:nvSpPr>
            <p:cNvPr id="1699" name="Google Shape;1699;p52"/>
            <p:cNvSpPr/>
            <p:nvPr/>
          </p:nvSpPr>
          <p:spPr>
            <a:xfrm>
              <a:off x="4404545" y="3301592"/>
              <a:ext cx="782403" cy="129272"/>
            </a:xfrm>
            <a:custGeom>
              <a:avLst/>
              <a:gdLst/>
              <a:ahLst/>
              <a:cxnLst/>
              <a:rect l="l" t="t" r="r" b="b"/>
              <a:pathLst>
                <a:path w="17328" h="2863" extrusionOk="0">
                  <a:moveTo>
                    <a:pt x="1432" y="1"/>
                  </a:moveTo>
                  <a:cubicBezTo>
                    <a:pt x="641" y="1"/>
                    <a:pt x="1" y="641"/>
                    <a:pt x="2" y="1431"/>
                  </a:cubicBezTo>
                  <a:cubicBezTo>
                    <a:pt x="1" y="2222"/>
                    <a:pt x="641" y="2861"/>
                    <a:pt x="1432" y="2862"/>
                  </a:cubicBezTo>
                  <a:lnTo>
                    <a:pt x="15897" y="2862"/>
                  </a:lnTo>
                  <a:cubicBezTo>
                    <a:pt x="16687" y="2861"/>
                    <a:pt x="17327" y="2222"/>
                    <a:pt x="17327" y="1431"/>
                  </a:cubicBezTo>
                  <a:cubicBezTo>
                    <a:pt x="17327" y="641"/>
                    <a:pt x="16687" y="1"/>
                    <a:pt x="158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0" name="Google Shape;1700;p52"/>
            <p:cNvSpPr/>
            <p:nvPr/>
          </p:nvSpPr>
          <p:spPr>
            <a:xfrm>
              <a:off x="4420869" y="3318308"/>
              <a:ext cx="92621" cy="95856"/>
            </a:xfrm>
            <a:custGeom>
              <a:avLst/>
              <a:gdLst/>
              <a:ahLst/>
              <a:cxnLst/>
              <a:rect l="l" t="t" r="r" b="b"/>
              <a:pathLst>
                <a:path w="2664" h="2563" extrusionOk="0">
                  <a:moveTo>
                    <a:pt x="1382" y="1"/>
                  </a:moveTo>
                  <a:cubicBezTo>
                    <a:pt x="864" y="1"/>
                    <a:pt x="398" y="313"/>
                    <a:pt x="199" y="792"/>
                  </a:cubicBezTo>
                  <a:cubicBezTo>
                    <a:pt x="0" y="1270"/>
                    <a:pt x="109" y="1821"/>
                    <a:pt x="476" y="2188"/>
                  </a:cubicBezTo>
                  <a:cubicBezTo>
                    <a:pt x="721" y="2433"/>
                    <a:pt x="1048" y="2563"/>
                    <a:pt x="1381" y="2563"/>
                  </a:cubicBezTo>
                  <a:cubicBezTo>
                    <a:pt x="1547" y="2563"/>
                    <a:pt x="1713" y="2531"/>
                    <a:pt x="1872" y="2465"/>
                  </a:cubicBezTo>
                  <a:cubicBezTo>
                    <a:pt x="2351" y="2268"/>
                    <a:pt x="2663" y="1800"/>
                    <a:pt x="2663" y="1282"/>
                  </a:cubicBezTo>
                  <a:cubicBezTo>
                    <a:pt x="2663" y="574"/>
                    <a:pt x="2090" y="1"/>
                    <a:pt x="138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01" name="Google Shape;1701;p52"/>
          <p:cNvGrpSpPr/>
          <p:nvPr/>
        </p:nvGrpSpPr>
        <p:grpSpPr>
          <a:xfrm>
            <a:off x="1990126" y="3695937"/>
            <a:ext cx="962257" cy="139127"/>
            <a:chOff x="4411970" y="3131459"/>
            <a:chExt cx="710520" cy="117397"/>
          </a:xfrm>
        </p:grpSpPr>
        <p:sp>
          <p:nvSpPr>
            <p:cNvPr id="1702" name="Google Shape;1702;p52"/>
            <p:cNvSpPr/>
            <p:nvPr/>
          </p:nvSpPr>
          <p:spPr>
            <a:xfrm>
              <a:off x="4411970" y="3131459"/>
              <a:ext cx="710520" cy="117397"/>
            </a:xfrm>
            <a:custGeom>
              <a:avLst/>
              <a:gdLst/>
              <a:ahLst/>
              <a:cxnLst/>
              <a:rect l="l" t="t" r="r" b="b"/>
              <a:pathLst>
                <a:path w="15736" h="2600" extrusionOk="0">
                  <a:moveTo>
                    <a:pt x="201" y="1"/>
                  </a:moveTo>
                  <a:cubicBezTo>
                    <a:pt x="90" y="1"/>
                    <a:pt x="1" y="90"/>
                    <a:pt x="1" y="201"/>
                  </a:cubicBezTo>
                  <a:lnTo>
                    <a:pt x="1" y="2400"/>
                  </a:lnTo>
                  <a:cubicBezTo>
                    <a:pt x="1" y="2510"/>
                    <a:pt x="90" y="2600"/>
                    <a:pt x="201" y="2600"/>
                  </a:cubicBezTo>
                  <a:lnTo>
                    <a:pt x="15537" y="2600"/>
                  </a:lnTo>
                  <a:cubicBezTo>
                    <a:pt x="15646" y="2600"/>
                    <a:pt x="15735" y="2510"/>
                    <a:pt x="15735" y="2400"/>
                  </a:cubicBezTo>
                  <a:lnTo>
                    <a:pt x="15735" y="201"/>
                  </a:lnTo>
                  <a:cubicBezTo>
                    <a:pt x="15735" y="90"/>
                    <a:pt x="15646" y="1"/>
                    <a:pt x="1553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3" name="Google Shape;1703;p52"/>
            <p:cNvSpPr/>
            <p:nvPr/>
          </p:nvSpPr>
          <p:spPr>
            <a:xfrm>
              <a:off x="4411970" y="3131459"/>
              <a:ext cx="168012" cy="117397"/>
            </a:xfrm>
            <a:custGeom>
              <a:avLst/>
              <a:gdLst/>
              <a:ahLst/>
              <a:cxnLst/>
              <a:rect l="l" t="t" r="r" b="b"/>
              <a:pathLst>
                <a:path w="3721" h="2600" extrusionOk="0">
                  <a:moveTo>
                    <a:pt x="201" y="1"/>
                  </a:moveTo>
                  <a:cubicBezTo>
                    <a:pt x="90" y="1"/>
                    <a:pt x="1" y="90"/>
                    <a:pt x="1" y="201"/>
                  </a:cubicBezTo>
                  <a:lnTo>
                    <a:pt x="1" y="2400"/>
                  </a:lnTo>
                  <a:cubicBezTo>
                    <a:pt x="1" y="2510"/>
                    <a:pt x="90" y="2600"/>
                    <a:pt x="201" y="2600"/>
                  </a:cubicBezTo>
                  <a:lnTo>
                    <a:pt x="3721" y="2600"/>
                  </a:lnTo>
                  <a:lnTo>
                    <a:pt x="2925" y="1693"/>
                  </a:lnTo>
                  <a:lnTo>
                    <a:pt x="29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04" name="Google Shape;1704;p52" descr="Timeline background shape"/>
          <p:cNvSpPr/>
          <p:nvPr/>
        </p:nvSpPr>
        <p:spPr>
          <a:xfrm>
            <a:off x="1990126" y="4219341"/>
            <a:ext cx="960300" cy="153000"/>
          </a:xfrm>
          <a:prstGeom prst="homePlate">
            <a:avLst>
              <a:gd name="adj" fmla="val 50000"/>
            </a:avLst>
          </a:prstGeom>
          <a:noFill/>
          <a:ln w="9525" cap="flat" cmpd="sng">
            <a:solidFill>
              <a:srgbClr val="667E9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05" name="Google Shape;1705;p52"/>
          <p:cNvGrpSpPr/>
          <p:nvPr/>
        </p:nvGrpSpPr>
        <p:grpSpPr>
          <a:xfrm>
            <a:off x="990271" y="3621603"/>
            <a:ext cx="823838" cy="458988"/>
            <a:chOff x="4411970" y="1801825"/>
            <a:chExt cx="734586" cy="409262"/>
          </a:xfrm>
        </p:grpSpPr>
        <p:sp>
          <p:nvSpPr>
            <p:cNvPr id="1706" name="Google Shape;1706;p52"/>
            <p:cNvSpPr/>
            <p:nvPr/>
          </p:nvSpPr>
          <p:spPr>
            <a:xfrm>
              <a:off x="4411970" y="1801825"/>
              <a:ext cx="734586" cy="409262"/>
            </a:xfrm>
            <a:custGeom>
              <a:avLst/>
              <a:gdLst/>
              <a:ahLst/>
              <a:cxnLst/>
              <a:rect l="l" t="t" r="r" b="b"/>
              <a:pathLst>
                <a:path w="16269" h="9064" extrusionOk="0">
                  <a:moveTo>
                    <a:pt x="428" y="0"/>
                  </a:moveTo>
                  <a:cubicBezTo>
                    <a:pt x="193" y="0"/>
                    <a:pt x="2" y="191"/>
                    <a:pt x="2" y="428"/>
                  </a:cubicBezTo>
                  <a:lnTo>
                    <a:pt x="2" y="6900"/>
                  </a:lnTo>
                  <a:cubicBezTo>
                    <a:pt x="1" y="7136"/>
                    <a:pt x="193" y="7328"/>
                    <a:pt x="428" y="7328"/>
                  </a:cubicBezTo>
                  <a:lnTo>
                    <a:pt x="12834" y="7328"/>
                  </a:lnTo>
                  <a:lnTo>
                    <a:pt x="13836" y="9064"/>
                  </a:lnTo>
                  <a:lnTo>
                    <a:pt x="14839" y="7328"/>
                  </a:lnTo>
                  <a:lnTo>
                    <a:pt x="15839" y="7328"/>
                  </a:lnTo>
                  <a:cubicBezTo>
                    <a:pt x="16076" y="7328"/>
                    <a:pt x="16269" y="7137"/>
                    <a:pt x="16269" y="6900"/>
                  </a:cubicBezTo>
                  <a:lnTo>
                    <a:pt x="16269" y="428"/>
                  </a:lnTo>
                  <a:cubicBezTo>
                    <a:pt x="16267" y="191"/>
                    <a:pt x="16076" y="0"/>
                    <a:pt x="158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7" name="Google Shape;1707;p52"/>
            <p:cNvSpPr/>
            <p:nvPr/>
          </p:nvSpPr>
          <p:spPr>
            <a:xfrm>
              <a:off x="4411970" y="1801825"/>
              <a:ext cx="184087" cy="330923"/>
            </a:xfrm>
            <a:custGeom>
              <a:avLst/>
              <a:gdLst/>
              <a:ahLst/>
              <a:cxnLst/>
              <a:rect l="l" t="t" r="r" b="b"/>
              <a:pathLst>
                <a:path w="4077" h="7329" extrusionOk="0">
                  <a:moveTo>
                    <a:pt x="428" y="0"/>
                  </a:moveTo>
                  <a:cubicBezTo>
                    <a:pt x="193" y="0"/>
                    <a:pt x="2" y="191"/>
                    <a:pt x="2" y="428"/>
                  </a:cubicBezTo>
                  <a:lnTo>
                    <a:pt x="2" y="6900"/>
                  </a:lnTo>
                  <a:cubicBezTo>
                    <a:pt x="1" y="7136"/>
                    <a:pt x="193" y="7328"/>
                    <a:pt x="428" y="7328"/>
                  </a:cubicBezTo>
                  <a:lnTo>
                    <a:pt x="4076" y="7328"/>
                  </a:lnTo>
                  <a:lnTo>
                    <a:pt x="407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08" name="Google Shape;1708;p52"/>
          <p:cNvGrpSpPr/>
          <p:nvPr/>
        </p:nvGrpSpPr>
        <p:grpSpPr>
          <a:xfrm>
            <a:off x="3095243" y="2339173"/>
            <a:ext cx="521514" cy="521514"/>
            <a:chOff x="5681300" y="2527788"/>
            <a:chExt cx="805800" cy="805800"/>
          </a:xfrm>
        </p:grpSpPr>
        <p:sp>
          <p:nvSpPr>
            <p:cNvPr id="1709" name="Google Shape;1709;p52"/>
            <p:cNvSpPr/>
            <p:nvPr/>
          </p:nvSpPr>
          <p:spPr>
            <a:xfrm>
              <a:off x="5681300" y="2527788"/>
              <a:ext cx="805800" cy="805800"/>
            </a:xfrm>
            <a:prstGeom prst="ellipse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0" name="Google Shape;1710;p52"/>
            <p:cNvSpPr/>
            <p:nvPr/>
          </p:nvSpPr>
          <p:spPr>
            <a:xfrm>
              <a:off x="5681300" y="2527788"/>
              <a:ext cx="805800" cy="805800"/>
            </a:xfrm>
            <a:prstGeom prst="pie">
              <a:avLst>
                <a:gd name="adj1" fmla="val 0"/>
                <a:gd name="adj2" fmla="val 16200000"/>
              </a:avLst>
            </a:pr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11" name="Google Shape;1711;p52"/>
          <p:cNvGrpSpPr/>
          <p:nvPr/>
        </p:nvGrpSpPr>
        <p:grpSpPr>
          <a:xfrm>
            <a:off x="3089483" y="3094865"/>
            <a:ext cx="533033" cy="533033"/>
            <a:chOff x="4049800" y="640400"/>
            <a:chExt cx="858900" cy="858900"/>
          </a:xfrm>
        </p:grpSpPr>
        <p:sp>
          <p:nvSpPr>
            <p:cNvPr id="1712" name="Google Shape;1712;p52"/>
            <p:cNvSpPr/>
            <p:nvPr/>
          </p:nvSpPr>
          <p:spPr>
            <a:xfrm>
              <a:off x="4049800" y="640400"/>
              <a:ext cx="858900" cy="858900"/>
            </a:xfrm>
            <a:prstGeom prst="donut">
              <a:avLst>
                <a:gd name="adj" fmla="val 25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3" name="Google Shape;1713;p52"/>
            <p:cNvSpPr/>
            <p:nvPr/>
          </p:nvSpPr>
          <p:spPr>
            <a:xfrm>
              <a:off x="4049800" y="640400"/>
              <a:ext cx="858900" cy="858900"/>
            </a:xfrm>
            <a:prstGeom prst="blockArc">
              <a:avLst>
                <a:gd name="adj1" fmla="val 7914150"/>
                <a:gd name="adj2" fmla="val 0"/>
                <a:gd name="adj3" fmla="val 25000"/>
              </a:avLst>
            </a:prstGeom>
            <a:solidFill>
              <a:srgbClr val="667E92"/>
            </a:solidFill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14" name="Google Shape;1714;p52"/>
          <p:cNvGrpSpPr/>
          <p:nvPr/>
        </p:nvGrpSpPr>
        <p:grpSpPr>
          <a:xfrm>
            <a:off x="3014966" y="3772543"/>
            <a:ext cx="682068" cy="682068"/>
            <a:chOff x="5080188" y="927900"/>
            <a:chExt cx="961200" cy="961200"/>
          </a:xfrm>
        </p:grpSpPr>
        <p:sp>
          <p:nvSpPr>
            <p:cNvPr id="1715" name="Google Shape;1715;p52"/>
            <p:cNvSpPr/>
            <p:nvPr/>
          </p:nvSpPr>
          <p:spPr>
            <a:xfrm>
              <a:off x="5201900" y="1050116"/>
              <a:ext cx="716700" cy="716700"/>
            </a:xfrm>
            <a:prstGeom prst="donut">
              <a:avLst>
                <a:gd name="adj" fmla="val 4716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6" name="Google Shape;1716;p52"/>
            <p:cNvSpPr/>
            <p:nvPr/>
          </p:nvSpPr>
          <p:spPr>
            <a:xfrm>
              <a:off x="5269594" y="1117818"/>
              <a:ext cx="581100" cy="581100"/>
            </a:xfrm>
            <a:prstGeom prst="donut">
              <a:avLst>
                <a:gd name="adj" fmla="val 5814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7" name="Google Shape;1717;p52"/>
            <p:cNvSpPr/>
            <p:nvPr/>
          </p:nvSpPr>
          <p:spPr>
            <a:xfrm>
              <a:off x="5339279" y="1187526"/>
              <a:ext cx="441900" cy="441600"/>
            </a:xfrm>
            <a:prstGeom prst="donut">
              <a:avLst>
                <a:gd name="adj" fmla="val 7648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8" name="Google Shape;1718;p52"/>
            <p:cNvSpPr/>
            <p:nvPr/>
          </p:nvSpPr>
          <p:spPr>
            <a:xfrm>
              <a:off x="5414892" y="1263155"/>
              <a:ext cx="290700" cy="290700"/>
            </a:xfrm>
            <a:prstGeom prst="donut">
              <a:avLst>
                <a:gd name="adj" fmla="val 10182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9" name="Google Shape;1719;p52"/>
            <p:cNvSpPr/>
            <p:nvPr/>
          </p:nvSpPr>
          <p:spPr>
            <a:xfrm rot="-3809958">
              <a:off x="5202435" y="1050148"/>
              <a:ext cx="716705" cy="716705"/>
            </a:xfrm>
            <a:prstGeom prst="blockArc">
              <a:avLst>
                <a:gd name="adj1" fmla="val 5266439"/>
                <a:gd name="adj2" fmla="val 19995741"/>
                <a:gd name="adj3" fmla="val 4692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0" name="Google Shape;1720;p52"/>
            <p:cNvSpPr/>
            <p:nvPr/>
          </p:nvSpPr>
          <p:spPr>
            <a:xfrm rot="-3906059">
              <a:off x="5269616" y="1117617"/>
              <a:ext cx="581445" cy="581445"/>
            </a:xfrm>
            <a:prstGeom prst="blockArc">
              <a:avLst>
                <a:gd name="adj1" fmla="val 3085776"/>
                <a:gd name="adj2" fmla="val 20100839"/>
                <a:gd name="adj3" fmla="val 5564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1" name="Google Shape;1721;p52"/>
            <p:cNvSpPr/>
            <p:nvPr/>
          </p:nvSpPr>
          <p:spPr>
            <a:xfrm rot="-4222340">
              <a:off x="5339825" y="1187386"/>
              <a:ext cx="442087" cy="442087"/>
            </a:xfrm>
            <a:prstGeom prst="blockArc">
              <a:avLst>
                <a:gd name="adj1" fmla="val 8884448"/>
                <a:gd name="adj2" fmla="val 20414899"/>
                <a:gd name="adj3" fmla="val 7688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2" name="Google Shape;1722;p52"/>
            <p:cNvSpPr/>
            <p:nvPr/>
          </p:nvSpPr>
          <p:spPr>
            <a:xfrm rot="-4538880">
              <a:off x="5414922" y="1262925"/>
              <a:ext cx="290465" cy="290465"/>
            </a:xfrm>
            <a:prstGeom prst="blockArc">
              <a:avLst>
                <a:gd name="adj1" fmla="val 6490304"/>
                <a:gd name="adj2" fmla="val 20700625"/>
                <a:gd name="adj3" fmla="val 10156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23" name="Google Shape;1723;p52"/>
          <p:cNvGrpSpPr/>
          <p:nvPr/>
        </p:nvGrpSpPr>
        <p:grpSpPr>
          <a:xfrm>
            <a:off x="4478465" y="3869234"/>
            <a:ext cx="505650" cy="504006"/>
            <a:chOff x="6039282" y="1042577"/>
            <a:chExt cx="734315" cy="731929"/>
          </a:xfrm>
        </p:grpSpPr>
        <p:sp>
          <p:nvSpPr>
            <p:cNvPr id="1724" name="Google Shape;1724;p52"/>
            <p:cNvSpPr/>
            <p:nvPr/>
          </p:nvSpPr>
          <p:spPr>
            <a:xfrm>
              <a:off x="6045348" y="1300071"/>
              <a:ext cx="131951" cy="65352"/>
            </a:xfrm>
            <a:custGeom>
              <a:avLst/>
              <a:gdLst/>
              <a:ahLst/>
              <a:cxnLst/>
              <a:rect l="l" t="t" r="r" b="b"/>
              <a:pathLst>
                <a:path w="1414" h="701" extrusionOk="0">
                  <a:moveTo>
                    <a:pt x="108" y="0"/>
                  </a:moveTo>
                  <a:lnTo>
                    <a:pt x="51" y="224"/>
                  </a:lnTo>
                  <a:cubicBezTo>
                    <a:pt x="29" y="303"/>
                    <a:pt x="7" y="375"/>
                    <a:pt x="0" y="455"/>
                  </a:cubicBezTo>
                  <a:lnTo>
                    <a:pt x="1342" y="700"/>
                  </a:lnTo>
                  <a:cubicBezTo>
                    <a:pt x="1349" y="650"/>
                    <a:pt x="1363" y="599"/>
                    <a:pt x="1378" y="549"/>
                  </a:cubicBezTo>
                  <a:lnTo>
                    <a:pt x="1414" y="397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5" name="Google Shape;1725;p52"/>
            <p:cNvSpPr/>
            <p:nvPr/>
          </p:nvSpPr>
          <p:spPr>
            <a:xfrm>
              <a:off x="6080342" y="1201250"/>
              <a:ext cx="127938" cy="96863"/>
            </a:xfrm>
            <a:custGeom>
              <a:avLst/>
              <a:gdLst/>
              <a:ahLst/>
              <a:cxnLst/>
              <a:rect l="l" t="t" r="r" b="b"/>
              <a:pathLst>
                <a:path w="1371" h="1039" extrusionOk="0">
                  <a:moveTo>
                    <a:pt x="245" y="0"/>
                  </a:moveTo>
                  <a:cubicBezTo>
                    <a:pt x="159" y="137"/>
                    <a:pt x="72" y="267"/>
                    <a:pt x="0" y="404"/>
                  </a:cubicBezTo>
                  <a:lnTo>
                    <a:pt x="1219" y="1039"/>
                  </a:lnTo>
                  <a:cubicBezTo>
                    <a:pt x="1262" y="945"/>
                    <a:pt x="1320" y="866"/>
                    <a:pt x="1371" y="772"/>
                  </a:cubicBezTo>
                  <a:lnTo>
                    <a:pt x="245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6" name="Google Shape;1726;p52"/>
            <p:cNvSpPr/>
            <p:nvPr/>
          </p:nvSpPr>
          <p:spPr>
            <a:xfrm>
              <a:off x="6144918" y="1121167"/>
              <a:ext cx="112541" cy="119145"/>
            </a:xfrm>
            <a:custGeom>
              <a:avLst/>
              <a:gdLst/>
              <a:ahLst/>
              <a:cxnLst/>
              <a:rect l="l" t="t" r="r" b="b"/>
              <a:pathLst>
                <a:path w="1206" h="1278" extrusionOk="0">
                  <a:moveTo>
                    <a:pt x="347" y="1"/>
                  </a:moveTo>
                  <a:cubicBezTo>
                    <a:pt x="224" y="95"/>
                    <a:pt x="116" y="210"/>
                    <a:pt x="1" y="318"/>
                  </a:cubicBezTo>
                  <a:lnTo>
                    <a:pt x="974" y="1278"/>
                  </a:lnTo>
                  <a:cubicBezTo>
                    <a:pt x="1046" y="1205"/>
                    <a:pt x="1126" y="1133"/>
                    <a:pt x="1205" y="1068"/>
                  </a:cubicBezTo>
                  <a:lnTo>
                    <a:pt x="347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7" name="Google Shape;1727;p52"/>
            <p:cNvSpPr/>
            <p:nvPr/>
          </p:nvSpPr>
          <p:spPr>
            <a:xfrm>
              <a:off x="6232449" y="1066723"/>
              <a:ext cx="86879" cy="130518"/>
            </a:xfrm>
            <a:custGeom>
              <a:avLst/>
              <a:gdLst/>
              <a:ahLst/>
              <a:cxnLst/>
              <a:rect l="l" t="t" r="r" b="b"/>
              <a:pathLst>
                <a:path w="931" h="1400" extrusionOk="0">
                  <a:moveTo>
                    <a:pt x="426" y="1"/>
                  </a:moveTo>
                  <a:cubicBezTo>
                    <a:pt x="354" y="22"/>
                    <a:pt x="282" y="58"/>
                    <a:pt x="209" y="94"/>
                  </a:cubicBezTo>
                  <a:lnTo>
                    <a:pt x="0" y="195"/>
                  </a:lnTo>
                  <a:lnTo>
                    <a:pt x="649" y="1400"/>
                  </a:lnTo>
                  <a:lnTo>
                    <a:pt x="786" y="1335"/>
                  </a:lnTo>
                  <a:cubicBezTo>
                    <a:pt x="830" y="1306"/>
                    <a:pt x="880" y="1285"/>
                    <a:pt x="931" y="1270"/>
                  </a:cubicBezTo>
                  <a:lnTo>
                    <a:pt x="426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8" name="Google Shape;1728;p52"/>
            <p:cNvSpPr/>
            <p:nvPr/>
          </p:nvSpPr>
          <p:spPr>
            <a:xfrm>
              <a:off x="6335379" y="1042577"/>
              <a:ext cx="53284" cy="130518"/>
            </a:xfrm>
            <a:custGeom>
              <a:avLst/>
              <a:gdLst/>
              <a:ahLst/>
              <a:cxnLst/>
              <a:rect l="l" t="t" r="r" b="b"/>
              <a:pathLst>
                <a:path w="571" h="1400" extrusionOk="0">
                  <a:moveTo>
                    <a:pt x="470" y="0"/>
                  </a:moveTo>
                  <a:cubicBezTo>
                    <a:pt x="390" y="0"/>
                    <a:pt x="311" y="7"/>
                    <a:pt x="239" y="22"/>
                  </a:cubicBezTo>
                  <a:lnTo>
                    <a:pt x="1" y="58"/>
                  </a:lnTo>
                  <a:lnTo>
                    <a:pt x="268" y="1399"/>
                  </a:lnTo>
                  <a:lnTo>
                    <a:pt x="419" y="1378"/>
                  </a:lnTo>
                  <a:cubicBezTo>
                    <a:pt x="470" y="1370"/>
                    <a:pt x="520" y="1363"/>
                    <a:pt x="571" y="1363"/>
                  </a:cubicBezTo>
                  <a:lnTo>
                    <a:pt x="47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9" name="Google Shape;1729;p52"/>
            <p:cNvSpPr/>
            <p:nvPr/>
          </p:nvSpPr>
          <p:spPr>
            <a:xfrm>
              <a:off x="6431682" y="1043229"/>
              <a:ext cx="56550" cy="131824"/>
            </a:xfrm>
            <a:custGeom>
              <a:avLst/>
              <a:gdLst/>
              <a:ahLst/>
              <a:cxnLst/>
              <a:rect l="l" t="t" r="r" b="b"/>
              <a:pathLst>
                <a:path w="606" h="1414" extrusionOk="0">
                  <a:moveTo>
                    <a:pt x="144" y="0"/>
                  </a:moveTo>
                  <a:lnTo>
                    <a:pt x="0" y="1356"/>
                  </a:lnTo>
                  <a:cubicBezTo>
                    <a:pt x="101" y="1378"/>
                    <a:pt x="202" y="1385"/>
                    <a:pt x="303" y="1414"/>
                  </a:cubicBezTo>
                  <a:lnTo>
                    <a:pt x="606" y="80"/>
                  </a:lnTo>
                  <a:cubicBezTo>
                    <a:pt x="454" y="36"/>
                    <a:pt x="296" y="22"/>
                    <a:pt x="14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0" name="Google Shape;1730;p52"/>
            <p:cNvSpPr/>
            <p:nvPr/>
          </p:nvSpPr>
          <p:spPr>
            <a:xfrm>
              <a:off x="6500924" y="1070731"/>
              <a:ext cx="89678" cy="130612"/>
            </a:xfrm>
            <a:custGeom>
              <a:avLst/>
              <a:gdLst/>
              <a:ahLst/>
              <a:cxnLst/>
              <a:rect l="l" t="t" r="r" b="b"/>
              <a:pathLst>
                <a:path w="961" h="1401" extrusionOk="0">
                  <a:moveTo>
                    <a:pt x="542" y="1"/>
                  </a:moveTo>
                  <a:lnTo>
                    <a:pt x="1" y="1256"/>
                  </a:lnTo>
                  <a:lnTo>
                    <a:pt x="138" y="1321"/>
                  </a:lnTo>
                  <a:cubicBezTo>
                    <a:pt x="181" y="1343"/>
                    <a:pt x="232" y="1371"/>
                    <a:pt x="275" y="1400"/>
                  </a:cubicBezTo>
                  <a:lnTo>
                    <a:pt x="960" y="210"/>
                  </a:lnTo>
                  <a:cubicBezTo>
                    <a:pt x="895" y="174"/>
                    <a:pt x="823" y="131"/>
                    <a:pt x="751" y="102"/>
                  </a:cubicBezTo>
                  <a:lnTo>
                    <a:pt x="54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1" name="Google Shape;1731;p52"/>
            <p:cNvSpPr/>
            <p:nvPr/>
          </p:nvSpPr>
          <p:spPr>
            <a:xfrm>
              <a:off x="6561580" y="1127973"/>
              <a:ext cx="114501" cy="117746"/>
            </a:xfrm>
            <a:custGeom>
              <a:avLst/>
              <a:gdLst/>
              <a:ahLst/>
              <a:cxnLst/>
              <a:rect l="l" t="t" r="r" b="b"/>
              <a:pathLst>
                <a:path w="1227" h="1263" extrusionOk="0">
                  <a:moveTo>
                    <a:pt x="887" y="0"/>
                  </a:moveTo>
                  <a:lnTo>
                    <a:pt x="0" y="1046"/>
                  </a:lnTo>
                  <a:cubicBezTo>
                    <a:pt x="79" y="1111"/>
                    <a:pt x="152" y="1183"/>
                    <a:pt x="224" y="1262"/>
                  </a:cubicBezTo>
                  <a:lnTo>
                    <a:pt x="1226" y="332"/>
                  </a:lnTo>
                  <a:cubicBezTo>
                    <a:pt x="1118" y="209"/>
                    <a:pt x="1003" y="101"/>
                    <a:pt x="8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2" name="Google Shape;1732;p52"/>
            <p:cNvSpPr/>
            <p:nvPr/>
          </p:nvSpPr>
          <p:spPr>
            <a:xfrm>
              <a:off x="6636887" y="1310792"/>
              <a:ext cx="132697" cy="61996"/>
            </a:xfrm>
            <a:custGeom>
              <a:avLst/>
              <a:gdLst/>
              <a:ahLst/>
              <a:cxnLst/>
              <a:rect l="l" t="t" r="r" b="b"/>
              <a:pathLst>
                <a:path w="1422" h="665" extrusionOk="0">
                  <a:moveTo>
                    <a:pt x="1321" y="1"/>
                  </a:moveTo>
                  <a:lnTo>
                    <a:pt x="1" y="361"/>
                  </a:lnTo>
                  <a:lnTo>
                    <a:pt x="44" y="506"/>
                  </a:lnTo>
                  <a:cubicBezTo>
                    <a:pt x="51" y="556"/>
                    <a:pt x="59" y="614"/>
                    <a:pt x="66" y="664"/>
                  </a:cubicBezTo>
                  <a:lnTo>
                    <a:pt x="1422" y="462"/>
                  </a:lnTo>
                  <a:cubicBezTo>
                    <a:pt x="1407" y="383"/>
                    <a:pt x="1400" y="304"/>
                    <a:pt x="1378" y="232"/>
                  </a:cubicBezTo>
                  <a:lnTo>
                    <a:pt x="13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3" name="Google Shape;1733;p52"/>
            <p:cNvSpPr/>
            <p:nvPr/>
          </p:nvSpPr>
          <p:spPr>
            <a:xfrm>
              <a:off x="6642953" y="1415020"/>
              <a:ext cx="130645" cy="47826"/>
            </a:xfrm>
            <a:custGeom>
              <a:avLst/>
              <a:gdLst/>
              <a:ahLst/>
              <a:cxnLst/>
              <a:rect l="l" t="t" r="r" b="b"/>
              <a:pathLst>
                <a:path w="1400" h="513" extrusionOk="0">
                  <a:moveTo>
                    <a:pt x="30" y="1"/>
                  </a:moveTo>
                  <a:cubicBezTo>
                    <a:pt x="30" y="109"/>
                    <a:pt x="15" y="210"/>
                    <a:pt x="1" y="311"/>
                  </a:cubicBezTo>
                  <a:lnTo>
                    <a:pt x="1357" y="513"/>
                  </a:lnTo>
                  <a:cubicBezTo>
                    <a:pt x="1378" y="354"/>
                    <a:pt x="1393" y="203"/>
                    <a:pt x="1400" y="44"/>
                  </a:cubicBezTo>
                  <a:lnTo>
                    <a:pt x="3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4" name="Google Shape;1734;p52"/>
            <p:cNvSpPr/>
            <p:nvPr/>
          </p:nvSpPr>
          <p:spPr>
            <a:xfrm>
              <a:off x="6622143" y="1485687"/>
              <a:ext cx="131951" cy="81388"/>
            </a:xfrm>
            <a:custGeom>
              <a:avLst/>
              <a:gdLst/>
              <a:ahLst/>
              <a:cxnLst/>
              <a:rect l="l" t="t" r="r" b="b"/>
              <a:pathLst>
                <a:path w="1414" h="873" extrusionOk="0">
                  <a:moveTo>
                    <a:pt x="123" y="0"/>
                  </a:moveTo>
                  <a:lnTo>
                    <a:pt x="65" y="144"/>
                  </a:lnTo>
                  <a:cubicBezTo>
                    <a:pt x="51" y="195"/>
                    <a:pt x="22" y="238"/>
                    <a:pt x="0" y="281"/>
                  </a:cubicBezTo>
                  <a:lnTo>
                    <a:pt x="1234" y="873"/>
                  </a:lnTo>
                  <a:cubicBezTo>
                    <a:pt x="1270" y="801"/>
                    <a:pt x="1306" y="736"/>
                    <a:pt x="1335" y="664"/>
                  </a:cubicBezTo>
                  <a:lnTo>
                    <a:pt x="1414" y="440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5" name="Google Shape;1735;p52"/>
            <p:cNvSpPr/>
            <p:nvPr/>
          </p:nvSpPr>
          <p:spPr>
            <a:xfrm>
              <a:off x="6582390" y="1548895"/>
              <a:ext cx="121219" cy="108983"/>
            </a:xfrm>
            <a:custGeom>
              <a:avLst/>
              <a:gdLst/>
              <a:ahLst/>
              <a:cxnLst/>
              <a:rect l="l" t="t" r="r" b="b"/>
              <a:pathLst>
                <a:path w="1299" h="1169" extrusionOk="0">
                  <a:moveTo>
                    <a:pt x="195" y="0"/>
                  </a:moveTo>
                  <a:lnTo>
                    <a:pt x="102" y="123"/>
                  </a:lnTo>
                  <a:lnTo>
                    <a:pt x="1" y="238"/>
                  </a:lnTo>
                  <a:lnTo>
                    <a:pt x="1003" y="1168"/>
                  </a:lnTo>
                  <a:lnTo>
                    <a:pt x="1155" y="988"/>
                  </a:lnTo>
                  <a:lnTo>
                    <a:pt x="1299" y="801"/>
                  </a:lnTo>
                  <a:lnTo>
                    <a:pt x="19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6" name="Google Shape;1736;p52"/>
            <p:cNvSpPr/>
            <p:nvPr/>
          </p:nvSpPr>
          <p:spPr>
            <a:xfrm>
              <a:off x="6526586" y="1599238"/>
              <a:ext cx="100316" cy="126510"/>
            </a:xfrm>
            <a:custGeom>
              <a:avLst/>
              <a:gdLst/>
              <a:ahLst/>
              <a:cxnLst/>
              <a:rect l="l" t="t" r="r" b="b"/>
              <a:pathLst>
                <a:path w="1075" h="1357" extrusionOk="0">
                  <a:moveTo>
                    <a:pt x="252" y="1"/>
                  </a:moveTo>
                  <a:cubicBezTo>
                    <a:pt x="209" y="37"/>
                    <a:pt x="173" y="66"/>
                    <a:pt x="130" y="95"/>
                  </a:cubicBezTo>
                  <a:lnTo>
                    <a:pt x="0" y="174"/>
                  </a:lnTo>
                  <a:lnTo>
                    <a:pt x="685" y="1357"/>
                  </a:lnTo>
                  <a:lnTo>
                    <a:pt x="880" y="1234"/>
                  </a:lnTo>
                  <a:cubicBezTo>
                    <a:pt x="952" y="1191"/>
                    <a:pt x="1010" y="1141"/>
                    <a:pt x="1075" y="1097"/>
                  </a:cubicBezTo>
                  <a:lnTo>
                    <a:pt x="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7" name="Google Shape;1737;p52"/>
            <p:cNvSpPr/>
            <p:nvPr/>
          </p:nvSpPr>
          <p:spPr>
            <a:xfrm>
              <a:off x="6459957" y="1632893"/>
              <a:ext cx="70735" cy="132570"/>
            </a:xfrm>
            <a:custGeom>
              <a:avLst/>
              <a:gdLst/>
              <a:ahLst/>
              <a:cxnLst/>
              <a:rect l="l" t="t" r="r" b="b"/>
              <a:pathLst>
                <a:path w="758" h="1422" extrusionOk="0">
                  <a:moveTo>
                    <a:pt x="296" y="1"/>
                  </a:moveTo>
                  <a:cubicBezTo>
                    <a:pt x="195" y="37"/>
                    <a:pt x="101" y="73"/>
                    <a:pt x="0" y="94"/>
                  </a:cubicBezTo>
                  <a:lnTo>
                    <a:pt x="303" y="1421"/>
                  </a:lnTo>
                  <a:cubicBezTo>
                    <a:pt x="454" y="1393"/>
                    <a:pt x="606" y="1342"/>
                    <a:pt x="757" y="1292"/>
                  </a:cubicBezTo>
                  <a:lnTo>
                    <a:pt x="29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8" name="Google Shape;1738;p52"/>
            <p:cNvSpPr/>
            <p:nvPr/>
          </p:nvSpPr>
          <p:spPr>
            <a:xfrm>
              <a:off x="6379145" y="1646318"/>
              <a:ext cx="43859" cy="128188"/>
            </a:xfrm>
            <a:custGeom>
              <a:avLst/>
              <a:gdLst/>
              <a:ahLst/>
              <a:cxnLst/>
              <a:rect l="l" t="t" r="r" b="b"/>
              <a:pathLst>
                <a:path w="470" h="1375" extrusionOk="0">
                  <a:moveTo>
                    <a:pt x="102" y="1"/>
                  </a:moveTo>
                  <a:lnTo>
                    <a:pt x="1" y="1364"/>
                  </a:lnTo>
                  <a:cubicBezTo>
                    <a:pt x="113" y="1369"/>
                    <a:pt x="221" y="1374"/>
                    <a:pt x="331" y="1374"/>
                  </a:cubicBezTo>
                  <a:cubicBezTo>
                    <a:pt x="377" y="1374"/>
                    <a:pt x="423" y="1373"/>
                    <a:pt x="469" y="1371"/>
                  </a:cubicBezTo>
                  <a:lnTo>
                    <a:pt x="412" y="1"/>
                  </a:lnTo>
                  <a:cubicBezTo>
                    <a:pt x="361" y="4"/>
                    <a:pt x="309" y="6"/>
                    <a:pt x="257" y="6"/>
                  </a:cubicBezTo>
                  <a:cubicBezTo>
                    <a:pt x="204" y="6"/>
                    <a:pt x="152" y="4"/>
                    <a:pt x="102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9" name="Google Shape;1739;p52"/>
            <p:cNvSpPr/>
            <p:nvPr/>
          </p:nvSpPr>
          <p:spPr>
            <a:xfrm>
              <a:off x="6272109" y="1630842"/>
              <a:ext cx="74187" cy="131917"/>
            </a:xfrm>
            <a:custGeom>
              <a:avLst/>
              <a:gdLst/>
              <a:ahLst/>
              <a:cxnLst/>
              <a:rect l="l" t="t" r="r" b="b"/>
              <a:pathLst>
                <a:path w="795" h="1415" extrusionOk="0">
                  <a:moveTo>
                    <a:pt x="506" y="1"/>
                  </a:moveTo>
                  <a:lnTo>
                    <a:pt x="1" y="1270"/>
                  </a:lnTo>
                  <a:cubicBezTo>
                    <a:pt x="145" y="1328"/>
                    <a:pt x="296" y="1379"/>
                    <a:pt x="448" y="1415"/>
                  </a:cubicBezTo>
                  <a:lnTo>
                    <a:pt x="794" y="95"/>
                  </a:lnTo>
                  <a:cubicBezTo>
                    <a:pt x="693" y="66"/>
                    <a:pt x="599" y="37"/>
                    <a:pt x="5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0" name="Google Shape;1740;p52"/>
            <p:cNvSpPr/>
            <p:nvPr/>
          </p:nvSpPr>
          <p:spPr>
            <a:xfrm>
              <a:off x="6177205" y="1595229"/>
              <a:ext cx="103769" cy="125205"/>
            </a:xfrm>
            <a:custGeom>
              <a:avLst/>
              <a:gdLst/>
              <a:ahLst/>
              <a:cxnLst/>
              <a:rect l="l" t="t" r="r" b="b"/>
              <a:pathLst>
                <a:path w="1112" h="1343" extrusionOk="0">
                  <a:moveTo>
                    <a:pt x="859" y="1"/>
                  </a:moveTo>
                  <a:lnTo>
                    <a:pt x="1" y="1068"/>
                  </a:lnTo>
                  <a:cubicBezTo>
                    <a:pt x="123" y="1169"/>
                    <a:pt x="253" y="1256"/>
                    <a:pt x="390" y="1342"/>
                  </a:cubicBezTo>
                  <a:lnTo>
                    <a:pt x="1112" y="174"/>
                  </a:lnTo>
                  <a:cubicBezTo>
                    <a:pt x="1018" y="123"/>
                    <a:pt x="938" y="66"/>
                    <a:pt x="859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1" name="Google Shape;1741;p52"/>
            <p:cNvSpPr/>
            <p:nvPr/>
          </p:nvSpPr>
          <p:spPr>
            <a:xfrm>
              <a:off x="6103205" y="1542835"/>
              <a:ext cx="123272" cy="106932"/>
            </a:xfrm>
            <a:custGeom>
              <a:avLst/>
              <a:gdLst/>
              <a:ahLst/>
              <a:cxnLst/>
              <a:rect l="l" t="t" r="r" b="b"/>
              <a:pathLst>
                <a:path w="1321" h="1147" extrusionOk="0">
                  <a:moveTo>
                    <a:pt x="1126" y="0"/>
                  </a:moveTo>
                  <a:lnTo>
                    <a:pt x="0" y="772"/>
                  </a:lnTo>
                  <a:lnTo>
                    <a:pt x="137" y="959"/>
                  </a:lnTo>
                  <a:lnTo>
                    <a:pt x="210" y="1053"/>
                  </a:lnTo>
                  <a:lnTo>
                    <a:pt x="289" y="1147"/>
                  </a:lnTo>
                  <a:lnTo>
                    <a:pt x="1320" y="245"/>
                  </a:lnTo>
                  <a:lnTo>
                    <a:pt x="1263" y="188"/>
                  </a:lnTo>
                  <a:lnTo>
                    <a:pt x="1219" y="123"/>
                  </a:lnTo>
                  <a:lnTo>
                    <a:pt x="1126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2" name="Google Shape;1742;p52"/>
            <p:cNvSpPr/>
            <p:nvPr/>
          </p:nvSpPr>
          <p:spPr>
            <a:xfrm>
              <a:off x="6055426" y="1478881"/>
              <a:ext cx="131951" cy="78777"/>
            </a:xfrm>
            <a:custGeom>
              <a:avLst/>
              <a:gdLst/>
              <a:ahLst/>
              <a:cxnLst/>
              <a:rect l="l" t="t" r="r" b="b"/>
              <a:pathLst>
                <a:path w="1414" h="845" extrusionOk="0">
                  <a:moveTo>
                    <a:pt x="1306" y="1"/>
                  </a:moveTo>
                  <a:lnTo>
                    <a:pt x="0" y="405"/>
                  </a:lnTo>
                  <a:cubicBezTo>
                    <a:pt x="51" y="549"/>
                    <a:pt x="101" y="701"/>
                    <a:pt x="166" y="845"/>
                  </a:cubicBezTo>
                  <a:lnTo>
                    <a:pt x="1414" y="282"/>
                  </a:lnTo>
                  <a:cubicBezTo>
                    <a:pt x="1371" y="196"/>
                    <a:pt x="1342" y="95"/>
                    <a:pt x="13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3" name="Google Shape;1743;p52"/>
            <p:cNvSpPr/>
            <p:nvPr/>
          </p:nvSpPr>
          <p:spPr>
            <a:xfrm>
              <a:off x="6039282" y="1408308"/>
              <a:ext cx="129338" cy="43817"/>
            </a:xfrm>
            <a:custGeom>
              <a:avLst/>
              <a:gdLst/>
              <a:ahLst/>
              <a:cxnLst/>
              <a:rect l="l" t="t" r="r" b="b"/>
              <a:pathLst>
                <a:path w="1386" h="470" extrusionOk="0">
                  <a:moveTo>
                    <a:pt x="0" y="1"/>
                  </a:moveTo>
                  <a:cubicBezTo>
                    <a:pt x="7" y="152"/>
                    <a:pt x="7" y="311"/>
                    <a:pt x="29" y="469"/>
                  </a:cubicBezTo>
                  <a:lnTo>
                    <a:pt x="1385" y="304"/>
                  </a:lnTo>
                  <a:cubicBezTo>
                    <a:pt x="1371" y="203"/>
                    <a:pt x="1378" y="102"/>
                    <a:pt x="1363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4" name="Google Shape;1744;p52"/>
            <p:cNvSpPr/>
            <p:nvPr/>
          </p:nvSpPr>
          <p:spPr>
            <a:xfrm>
              <a:off x="6608612" y="1210666"/>
              <a:ext cx="128685" cy="93507"/>
            </a:xfrm>
            <a:custGeom>
              <a:avLst/>
              <a:gdLst/>
              <a:ahLst/>
              <a:cxnLst/>
              <a:rect l="l" t="t" r="r" b="b"/>
              <a:pathLst>
                <a:path w="1379" h="1003" extrusionOk="0">
                  <a:moveTo>
                    <a:pt x="1155" y="0"/>
                  </a:moveTo>
                  <a:lnTo>
                    <a:pt x="1" y="736"/>
                  </a:lnTo>
                  <a:lnTo>
                    <a:pt x="80" y="866"/>
                  </a:lnTo>
                  <a:cubicBezTo>
                    <a:pt x="102" y="909"/>
                    <a:pt x="131" y="959"/>
                    <a:pt x="145" y="1003"/>
                  </a:cubicBezTo>
                  <a:lnTo>
                    <a:pt x="1379" y="411"/>
                  </a:lnTo>
                  <a:cubicBezTo>
                    <a:pt x="1342" y="339"/>
                    <a:pt x="1314" y="267"/>
                    <a:pt x="1278" y="202"/>
                  </a:cubicBezTo>
                  <a:lnTo>
                    <a:pt x="115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45" name="Google Shape;1745;p52"/>
          <p:cNvGrpSpPr/>
          <p:nvPr/>
        </p:nvGrpSpPr>
        <p:grpSpPr>
          <a:xfrm>
            <a:off x="5091067" y="2298862"/>
            <a:ext cx="567744" cy="602136"/>
            <a:chOff x="1825800" y="1651625"/>
            <a:chExt cx="539989" cy="571775"/>
          </a:xfrm>
        </p:grpSpPr>
        <p:sp>
          <p:nvSpPr>
            <p:cNvPr id="1746" name="Google Shape;1746;p52"/>
            <p:cNvSpPr/>
            <p:nvPr/>
          </p:nvSpPr>
          <p:spPr>
            <a:xfrm>
              <a:off x="2093189" y="1651625"/>
              <a:ext cx="272600" cy="287950"/>
            </a:xfrm>
            <a:custGeom>
              <a:avLst/>
              <a:gdLst/>
              <a:ahLst/>
              <a:cxnLst/>
              <a:rect l="l" t="t" r="r" b="b"/>
              <a:pathLst>
                <a:path w="10904" h="11518" extrusionOk="0">
                  <a:moveTo>
                    <a:pt x="2" y="1"/>
                  </a:moveTo>
                  <a:lnTo>
                    <a:pt x="0" y="11518"/>
                  </a:lnTo>
                  <a:lnTo>
                    <a:pt x="10904" y="11518"/>
                  </a:lnTo>
                  <a:cubicBezTo>
                    <a:pt x="10391" y="5596"/>
                    <a:pt x="5836" y="826"/>
                    <a:pt x="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7" name="Google Shape;1747;p52"/>
            <p:cNvSpPr/>
            <p:nvPr/>
          </p:nvSpPr>
          <p:spPr>
            <a:xfrm>
              <a:off x="1825800" y="1967150"/>
              <a:ext cx="231900" cy="233575"/>
            </a:xfrm>
            <a:custGeom>
              <a:avLst/>
              <a:gdLst/>
              <a:ahLst/>
              <a:cxnLst/>
              <a:rect l="l" t="t" r="r" b="b"/>
              <a:pathLst>
                <a:path w="9276" h="9343" extrusionOk="0">
                  <a:moveTo>
                    <a:pt x="0" y="1"/>
                  </a:moveTo>
                  <a:cubicBezTo>
                    <a:pt x="465" y="4930"/>
                    <a:pt x="4350" y="8842"/>
                    <a:pt x="9275" y="9343"/>
                  </a:cubicBezTo>
                  <a:lnTo>
                    <a:pt x="927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8" name="Google Shape;1748;p52"/>
            <p:cNvSpPr/>
            <p:nvPr/>
          </p:nvSpPr>
          <p:spPr>
            <a:xfrm>
              <a:off x="2093189" y="1967150"/>
              <a:ext cx="244350" cy="256250"/>
            </a:xfrm>
            <a:custGeom>
              <a:avLst/>
              <a:gdLst/>
              <a:ahLst/>
              <a:cxnLst/>
              <a:rect l="l" t="t" r="r" b="b"/>
              <a:pathLst>
                <a:path w="9774" h="10250" extrusionOk="0">
                  <a:moveTo>
                    <a:pt x="0" y="1"/>
                  </a:moveTo>
                  <a:lnTo>
                    <a:pt x="0" y="10249"/>
                  </a:lnTo>
                  <a:cubicBezTo>
                    <a:pt x="5200" y="9514"/>
                    <a:pt x="9280" y="5280"/>
                    <a:pt x="97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9" name="Google Shape;1749;p52"/>
            <p:cNvSpPr/>
            <p:nvPr/>
          </p:nvSpPr>
          <p:spPr>
            <a:xfrm>
              <a:off x="1851375" y="1730300"/>
              <a:ext cx="206325" cy="209275"/>
            </a:xfrm>
            <a:custGeom>
              <a:avLst/>
              <a:gdLst/>
              <a:ahLst/>
              <a:cxnLst/>
              <a:rect l="l" t="t" r="r" b="b"/>
              <a:pathLst>
                <a:path w="8253" h="8371" extrusionOk="0">
                  <a:moveTo>
                    <a:pt x="8252" y="1"/>
                  </a:moveTo>
                  <a:cubicBezTo>
                    <a:pt x="3865" y="441"/>
                    <a:pt x="383" y="3959"/>
                    <a:pt x="1" y="8371"/>
                  </a:cubicBezTo>
                  <a:lnTo>
                    <a:pt x="8252" y="8371"/>
                  </a:lnTo>
                  <a:lnTo>
                    <a:pt x="8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50" name="Google Shape;1750;p52"/>
          <p:cNvGrpSpPr/>
          <p:nvPr/>
        </p:nvGrpSpPr>
        <p:grpSpPr>
          <a:xfrm>
            <a:off x="3765995" y="3855579"/>
            <a:ext cx="508123" cy="507955"/>
            <a:chOff x="1897577" y="2802432"/>
            <a:chExt cx="492176" cy="492014"/>
          </a:xfrm>
        </p:grpSpPr>
        <p:sp>
          <p:nvSpPr>
            <p:cNvPr id="1751" name="Google Shape;1751;p52"/>
            <p:cNvSpPr/>
            <p:nvPr/>
          </p:nvSpPr>
          <p:spPr>
            <a:xfrm>
              <a:off x="2067309" y="2802432"/>
              <a:ext cx="152163" cy="136326"/>
            </a:xfrm>
            <a:custGeom>
              <a:avLst/>
              <a:gdLst/>
              <a:ahLst/>
              <a:cxnLst/>
              <a:rect l="l" t="t" r="r" b="b"/>
              <a:pathLst>
                <a:path w="9435" h="8453" extrusionOk="0">
                  <a:moveTo>
                    <a:pt x="4727" y="1"/>
                  </a:moveTo>
                  <a:cubicBezTo>
                    <a:pt x="3131" y="1"/>
                    <a:pt x="1537" y="250"/>
                    <a:pt x="0" y="751"/>
                  </a:cubicBezTo>
                  <a:lnTo>
                    <a:pt x="2502" y="8452"/>
                  </a:lnTo>
                  <a:cubicBezTo>
                    <a:pt x="3225" y="8211"/>
                    <a:pt x="3983" y="8097"/>
                    <a:pt x="4740" y="8097"/>
                  </a:cubicBezTo>
                  <a:cubicBezTo>
                    <a:pt x="5486" y="8097"/>
                    <a:pt x="6221" y="8211"/>
                    <a:pt x="6932" y="8441"/>
                  </a:cubicBezTo>
                  <a:lnTo>
                    <a:pt x="9434" y="740"/>
                  </a:lnTo>
                  <a:cubicBezTo>
                    <a:pt x="7901" y="248"/>
                    <a:pt x="6313" y="1"/>
                    <a:pt x="472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2" name="Google Shape;1752;p52"/>
            <p:cNvSpPr/>
            <p:nvPr/>
          </p:nvSpPr>
          <p:spPr>
            <a:xfrm>
              <a:off x="2179099" y="2814350"/>
              <a:ext cx="163452" cy="166049"/>
            </a:xfrm>
            <a:custGeom>
              <a:avLst/>
              <a:gdLst/>
              <a:ahLst/>
              <a:cxnLst/>
              <a:rect l="l" t="t" r="r" b="b"/>
              <a:pathLst>
                <a:path w="10135" h="10296" extrusionOk="0">
                  <a:moveTo>
                    <a:pt x="2491" y="1"/>
                  </a:moveTo>
                  <a:lnTo>
                    <a:pt x="0" y="7702"/>
                  </a:lnTo>
                  <a:cubicBezTo>
                    <a:pt x="1435" y="8161"/>
                    <a:pt x="2686" y="9079"/>
                    <a:pt x="3581" y="10296"/>
                  </a:cubicBezTo>
                  <a:lnTo>
                    <a:pt x="10135" y="5533"/>
                  </a:lnTo>
                  <a:cubicBezTo>
                    <a:pt x="8230" y="2927"/>
                    <a:pt x="5555" y="988"/>
                    <a:pt x="24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3" name="Google Shape;1753;p52"/>
            <p:cNvSpPr/>
            <p:nvPr/>
          </p:nvSpPr>
          <p:spPr>
            <a:xfrm>
              <a:off x="2236848" y="3048492"/>
              <a:ext cx="152905" cy="144760"/>
            </a:xfrm>
            <a:custGeom>
              <a:avLst/>
              <a:gdLst/>
              <a:ahLst/>
              <a:cxnLst/>
              <a:rect l="l" t="t" r="r" b="b"/>
              <a:pathLst>
                <a:path w="9481" h="8976" extrusionOk="0">
                  <a:moveTo>
                    <a:pt x="1377" y="0"/>
                  </a:moveTo>
                  <a:cubicBezTo>
                    <a:pt x="1377" y="1515"/>
                    <a:pt x="895" y="2996"/>
                    <a:pt x="0" y="4212"/>
                  </a:cubicBezTo>
                  <a:lnTo>
                    <a:pt x="6554" y="8976"/>
                  </a:lnTo>
                  <a:cubicBezTo>
                    <a:pt x="8459" y="6370"/>
                    <a:pt x="9480" y="3225"/>
                    <a:pt x="94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4" name="Google Shape;1754;p52"/>
            <p:cNvSpPr/>
            <p:nvPr/>
          </p:nvSpPr>
          <p:spPr>
            <a:xfrm>
              <a:off x="1944586" y="2814543"/>
              <a:ext cx="163097" cy="166226"/>
            </a:xfrm>
            <a:custGeom>
              <a:avLst/>
              <a:gdLst/>
              <a:ahLst/>
              <a:cxnLst/>
              <a:rect l="l" t="t" r="r" b="b"/>
              <a:pathLst>
                <a:path w="10113" h="10307" extrusionOk="0">
                  <a:moveTo>
                    <a:pt x="7610" y="0"/>
                  </a:moveTo>
                  <a:cubicBezTo>
                    <a:pt x="4557" y="999"/>
                    <a:pt x="1883" y="2938"/>
                    <a:pt x="1" y="5544"/>
                  </a:cubicBezTo>
                  <a:lnTo>
                    <a:pt x="6554" y="10307"/>
                  </a:lnTo>
                  <a:cubicBezTo>
                    <a:pt x="7438" y="9090"/>
                    <a:pt x="8677" y="8172"/>
                    <a:pt x="10112" y="7701"/>
                  </a:cubicBezTo>
                  <a:lnTo>
                    <a:pt x="76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5" name="Google Shape;1755;p52"/>
            <p:cNvSpPr/>
            <p:nvPr/>
          </p:nvSpPr>
          <p:spPr>
            <a:xfrm>
              <a:off x="2236848" y="2903562"/>
              <a:ext cx="152905" cy="144954"/>
            </a:xfrm>
            <a:custGeom>
              <a:avLst/>
              <a:gdLst/>
              <a:ahLst/>
              <a:cxnLst/>
              <a:rect l="l" t="t" r="r" b="b"/>
              <a:pathLst>
                <a:path w="9481" h="8988" extrusionOk="0">
                  <a:moveTo>
                    <a:pt x="6554" y="1"/>
                  </a:moveTo>
                  <a:lnTo>
                    <a:pt x="0" y="4764"/>
                  </a:lnTo>
                  <a:cubicBezTo>
                    <a:pt x="895" y="5992"/>
                    <a:pt x="1377" y="7472"/>
                    <a:pt x="1377" y="8987"/>
                  </a:cubicBezTo>
                  <a:lnTo>
                    <a:pt x="9469" y="8987"/>
                  </a:lnTo>
                  <a:cubicBezTo>
                    <a:pt x="9480" y="5751"/>
                    <a:pt x="8459" y="2606"/>
                    <a:pt x="65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6" name="Google Shape;1756;p52"/>
            <p:cNvSpPr/>
            <p:nvPr/>
          </p:nvSpPr>
          <p:spPr>
            <a:xfrm>
              <a:off x="2179099" y="3116417"/>
              <a:ext cx="163452" cy="166242"/>
            </a:xfrm>
            <a:custGeom>
              <a:avLst/>
              <a:gdLst/>
              <a:ahLst/>
              <a:cxnLst/>
              <a:rect l="l" t="t" r="r" b="b"/>
              <a:pathLst>
                <a:path w="10135" h="10308" extrusionOk="0">
                  <a:moveTo>
                    <a:pt x="3581" y="0"/>
                  </a:moveTo>
                  <a:cubicBezTo>
                    <a:pt x="2686" y="1229"/>
                    <a:pt x="1435" y="2135"/>
                    <a:pt x="0" y="2594"/>
                  </a:cubicBezTo>
                  <a:lnTo>
                    <a:pt x="2502" y="10307"/>
                  </a:lnTo>
                  <a:cubicBezTo>
                    <a:pt x="5567" y="9309"/>
                    <a:pt x="8241" y="7369"/>
                    <a:pt x="10135" y="4764"/>
                  </a:cubicBezTo>
                  <a:lnTo>
                    <a:pt x="358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7" name="Google Shape;1757;p52"/>
            <p:cNvSpPr/>
            <p:nvPr/>
          </p:nvSpPr>
          <p:spPr>
            <a:xfrm>
              <a:off x="1897577" y="2903933"/>
              <a:ext cx="152727" cy="144583"/>
            </a:xfrm>
            <a:custGeom>
              <a:avLst/>
              <a:gdLst/>
              <a:ahLst/>
              <a:cxnLst/>
              <a:rect l="l" t="t" r="r" b="b"/>
              <a:pathLst>
                <a:path w="9470" h="8965" extrusionOk="0">
                  <a:moveTo>
                    <a:pt x="2916" y="1"/>
                  </a:moveTo>
                  <a:cubicBezTo>
                    <a:pt x="1022" y="2606"/>
                    <a:pt x="0" y="5739"/>
                    <a:pt x="12" y="8964"/>
                  </a:cubicBezTo>
                  <a:lnTo>
                    <a:pt x="8103" y="8964"/>
                  </a:lnTo>
                  <a:cubicBezTo>
                    <a:pt x="8103" y="7449"/>
                    <a:pt x="8574" y="5980"/>
                    <a:pt x="9469" y="4764"/>
                  </a:cubicBezTo>
                  <a:lnTo>
                    <a:pt x="291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8" name="Google Shape;1758;p52"/>
            <p:cNvSpPr/>
            <p:nvPr/>
          </p:nvSpPr>
          <p:spPr>
            <a:xfrm>
              <a:off x="2067309" y="3158056"/>
              <a:ext cx="152163" cy="136390"/>
            </a:xfrm>
            <a:custGeom>
              <a:avLst/>
              <a:gdLst/>
              <a:ahLst/>
              <a:cxnLst/>
              <a:rect l="l" t="t" r="r" b="b"/>
              <a:pathLst>
                <a:path w="9435" h="8457" extrusionOk="0">
                  <a:moveTo>
                    <a:pt x="2502" y="1"/>
                  </a:moveTo>
                  <a:lnTo>
                    <a:pt x="0" y="7702"/>
                  </a:lnTo>
                  <a:cubicBezTo>
                    <a:pt x="1541" y="8204"/>
                    <a:pt x="3140" y="8457"/>
                    <a:pt x="4740" y="8457"/>
                  </a:cubicBezTo>
                  <a:cubicBezTo>
                    <a:pt x="6322" y="8457"/>
                    <a:pt x="7905" y="8210"/>
                    <a:pt x="9434" y="7714"/>
                  </a:cubicBezTo>
                  <a:lnTo>
                    <a:pt x="6932" y="12"/>
                  </a:lnTo>
                  <a:cubicBezTo>
                    <a:pt x="6221" y="242"/>
                    <a:pt x="5475" y="357"/>
                    <a:pt x="4740" y="357"/>
                  </a:cubicBezTo>
                  <a:cubicBezTo>
                    <a:pt x="3983" y="357"/>
                    <a:pt x="3225" y="242"/>
                    <a:pt x="25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9" name="Google Shape;1759;p52"/>
            <p:cNvSpPr/>
            <p:nvPr/>
          </p:nvSpPr>
          <p:spPr>
            <a:xfrm>
              <a:off x="1944586" y="3116046"/>
              <a:ext cx="163097" cy="166242"/>
            </a:xfrm>
            <a:custGeom>
              <a:avLst/>
              <a:gdLst/>
              <a:ahLst/>
              <a:cxnLst/>
              <a:rect l="l" t="t" r="r" b="b"/>
              <a:pathLst>
                <a:path w="10113" h="10308" extrusionOk="0">
                  <a:moveTo>
                    <a:pt x="6554" y="1"/>
                  </a:moveTo>
                  <a:lnTo>
                    <a:pt x="1" y="4764"/>
                  </a:lnTo>
                  <a:cubicBezTo>
                    <a:pt x="1883" y="7369"/>
                    <a:pt x="4557" y="9309"/>
                    <a:pt x="7610" y="10307"/>
                  </a:cubicBezTo>
                  <a:lnTo>
                    <a:pt x="10112" y="2606"/>
                  </a:lnTo>
                  <a:cubicBezTo>
                    <a:pt x="8677" y="2135"/>
                    <a:pt x="7438" y="1229"/>
                    <a:pt x="65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0" name="Google Shape;1760;p52"/>
            <p:cNvSpPr/>
            <p:nvPr/>
          </p:nvSpPr>
          <p:spPr>
            <a:xfrm>
              <a:off x="1897577" y="3048492"/>
              <a:ext cx="152727" cy="144390"/>
            </a:xfrm>
            <a:custGeom>
              <a:avLst/>
              <a:gdLst/>
              <a:ahLst/>
              <a:cxnLst/>
              <a:rect l="l" t="t" r="r" b="b"/>
              <a:pathLst>
                <a:path w="9470" h="8953" extrusionOk="0">
                  <a:moveTo>
                    <a:pt x="12" y="0"/>
                  </a:moveTo>
                  <a:cubicBezTo>
                    <a:pt x="0" y="3214"/>
                    <a:pt x="1022" y="6347"/>
                    <a:pt x="2916" y="8953"/>
                  </a:cubicBezTo>
                  <a:lnTo>
                    <a:pt x="9469" y="4190"/>
                  </a:lnTo>
                  <a:cubicBezTo>
                    <a:pt x="8574" y="2973"/>
                    <a:pt x="8103" y="1504"/>
                    <a:pt x="81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1" name="Google Shape;1761;p52"/>
            <p:cNvSpPr/>
            <p:nvPr/>
          </p:nvSpPr>
          <p:spPr>
            <a:xfrm>
              <a:off x="2143379" y="3048492"/>
              <a:ext cx="16" cy="16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2" name="Google Shape;1762;p52"/>
            <p:cNvSpPr/>
            <p:nvPr/>
          </p:nvSpPr>
          <p:spPr>
            <a:xfrm>
              <a:off x="2143379" y="3048492"/>
              <a:ext cx="16" cy="16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63" name="Google Shape;1763;p52"/>
          <p:cNvGrpSpPr/>
          <p:nvPr/>
        </p:nvGrpSpPr>
        <p:grpSpPr>
          <a:xfrm>
            <a:off x="997525" y="4169123"/>
            <a:ext cx="809227" cy="200842"/>
            <a:chOff x="2013045" y="4813233"/>
            <a:chExt cx="921986" cy="228854"/>
          </a:xfrm>
        </p:grpSpPr>
        <p:sp>
          <p:nvSpPr>
            <p:cNvPr id="1764" name="Google Shape;1764;p52"/>
            <p:cNvSpPr/>
            <p:nvPr/>
          </p:nvSpPr>
          <p:spPr>
            <a:xfrm>
              <a:off x="2013045" y="4867370"/>
              <a:ext cx="921986" cy="174718"/>
            </a:xfrm>
            <a:custGeom>
              <a:avLst/>
              <a:gdLst/>
              <a:ahLst/>
              <a:cxnLst/>
              <a:rect l="l" t="t" r="r" b="b"/>
              <a:pathLst>
                <a:path w="138801" h="26303" fill="none" extrusionOk="0">
                  <a:moveTo>
                    <a:pt x="0" y="18153"/>
                  </a:moveTo>
                  <a:lnTo>
                    <a:pt x="0" y="26303"/>
                  </a:lnTo>
                  <a:lnTo>
                    <a:pt x="138800" y="26303"/>
                  </a:lnTo>
                  <a:lnTo>
                    <a:pt x="138800" y="0"/>
                  </a:lnTo>
                  <a:lnTo>
                    <a:pt x="38405" y="0"/>
                  </a:lnTo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5" name="Google Shape;1765;p52"/>
            <p:cNvSpPr/>
            <p:nvPr/>
          </p:nvSpPr>
          <p:spPr>
            <a:xfrm>
              <a:off x="2013045" y="4813233"/>
              <a:ext cx="316628" cy="174718"/>
            </a:xfrm>
            <a:custGeom>
              <a:avLst/>
              <a:gdLst/>
              <a:ahLst/>
              <a:cxnLst/>
              <a:rect l="l" t="t" r="r" b="b"/>
              <a:pathLst>
                <a:path w="47667" h="26303" fill="none" extrusionOk="0">
                  <a:moveTo>
                    <a:pt x="0" y="0"/>
                  </a:moveTo>
                  <a:lnTo>
                    <a:pt x="0" y="26303"/>
                  </a:lnTo>
                  <a:lnTo>
                    <a:pt x="47666" y="26303"/>
                  </a:lnTo>
                  <a:lnTo>
                    <a:pt x="3445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66" name="Google Shape;1766;p52"/>
          <p:cNvGrpSpPr/>
          <p:nvPr/>
        </p:nvGrpSpPr>
        <p:grpSpPr>
          <a:xfrm>
            <a:off x="1005985" y="2656004"/>
            <a:ext cx="792421" cy="269941"/>
            <a:chOff x="1046767" y="4756633"/>
            <a:chExt cx="859646" cy="292841"/>
          </a:xfrm>
        </p:grpSpPr>
        <p:sp>
          <p:nvSpPr>
            <p:cNvPr id="1767" name="Google Shape;1767;p52"/>
            <p:cNvSpPr/>
            <p:nvPr/>
          </p:nvSpPr>
          <p:spPr>
            <a:xfrm>
              <a:off x="1046767" y="4811593"/>
              <a:ext cx="859646" cy="237881"/>
            </a:xfrm>
            <a:custGeom>
              <a:avLst/>
              <a:gdLst/>
              <a:ahLst/>
              <a:cxnLst/>
              <a:rect l="l" t="t" r="r" b="b"/>
              <a:pathLst>
                <a:path w="129416" h="35812" fill="none" extrusionOk="0">
                  <a:moveTo>
                    <a:pt x="31737" y="0"/>
                  </a:moveTo>
                  <a:cubicBezTo>
                    <a:pt x="33960" y="8644"/>
                    <a:pt x="27539" y="17041"/>
                    <a:pt x="18524" y="17041"/>
                  </a:cubicBezTo>
                  <a:cubicBezTo>
                    <a:pt x="9633" y="17041"/>
                    <a:pt x="3088" y="8644"/>
                    <a:pt x="5434" y="0"/>
                  </a:cubicBezTo>
                  <a:lnTo>
                    <a:pt x="2594" y="0"/>
                  </a:lnTo>
                  <a:cubicBezTo>
                    <a:pt x="1236" y="0"/>
                    <a:pt x="1" y="1112"/>
                    <a:pt x="1" y="2594"/>
                  </a:cubicBezTo>
                  <a:lnTo>
                    <a:pt x="1" y="35811"/>
                  </a:lnTo>
                  <a:lnTo>
                    <a:pt x="126823" y="35811"/>
                  </a:lnTo>
                  <a:cubicBezTo>
                    <a:pt x="128304" y="35811"/>
                    <a:pt x="129416" y="34576"/>
                    <a:pt x="129416" y="33218"/>
                  </a:cubicBezTo>
                  <a:lnTo>
                    <a:pt x="12941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8" name="Google Shape;1768;p52"/>
            <p:cNvSpPr/>
            <p:nvPr/>
          </p:nvSpPr>
          <p:spPr>
            <a:xfrm>
              <a:off x="1046767" y="4983846"/>
              <a:ext cx="65628" cy="65628"/>
            </a:xfrm>
            <a:custGeom>
              <a:avLst/>
              <a:gdLst/>
              <a:ahLst/>
              <a:cxnLst/>
              <a:rect l="l" t="t" r="r" b="b"/>
              <a:pathLst>
                <a:path w="9880" h="9880" fill="none" extrusionOk="0">
                  <a:moveTo>
                    <a:pt x="1" y="0"/>
                  </a:moveTo>
                  <a:lnTo>
                    <a:pt x="1" y="9879"/>
                  </a:lnTo>
                  <a:lnTo>
                    <a:pt x="9880" y="9879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9" name="Google Shape;1769;p52"/>
            <p:cNvSpPr/>
            <p:nvPr/>
          </p:nvSpPr>
          <p:spPr>
            <a:xfrm>
              <a:off x="1067279" y="4756633"/>
              <a:ext cx="179640" cy="179646"/>
            </a:xfrm>
            <a:custGeom>
              <a:avLst/>
              <a:gdLst/>
              <a:ahLst/>
              <a:cxnLst/>
              <a:rect l="l" t="t" r="r" b="b"/>
              <a:pathLst>
                <a:path w="27044" h="27045" fill="none" extrusionOk="0">
                  <a:moveTo>
                    <a:pt x="15560" y="1"/>
                  </a:moveTo>
                  <a:cubicBezTo>
                    <a:pt x="5187" y="1"/>
                    <a:pt x="0" y="12473"/>
                    <a:pt x="7286" y="19759"/>
                  </a:cubicBezTo>
                  <a:cubicBezTo>
                    <a:pt x="14572" y="27044"/>
                    <a:pt x="27044" y="21858"/>
                    <a:pt x="27044" y="11609"/>
                  </a:cubicBezTo>
                  <a:cubicBezTo>
                    <a:pt x="27044" y="5187"/>
                    <a:pt x="21857" y="1"/>
                    <a:pt x="155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miter lim="12348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70" name="Google Shape;1770;p52"/>
          <p:cNvSpPr/>
          <p:nvPr/>
        </p:nvSpPr>
        <p:spPr>
          <a:xfrm>
            <a:off x="7439738" y="2350672"/>
            <a:ext cx="185410" cy="94006"/>
          </a:xfrm>
          <a:custGeom>
            <a:avLst/>
            <a:gdLst/>
            <a:ahLst/>
            <a:cxnLst/>
            <a:rect l="l" t="t" r="r" b="b"/>
            <a:pathLst>
              <a:path w="3045" h="1544" extrusionOk="0">
                <a:moveTo>
                  <a:pt x="1645" y="0"/>
                </a:moveTo>
                <a:lnTo>
                  <a:pt x="2143" y="505"/>
                </a:lnTo>
                <a:lnTo>
                  <a:pt x="0" y="505"/>
                </a:lnTo>
                <a:lnTo>
                  <a:pt x="0" y="1046"/>
                </a:lnTo>
                <a:lnTo>
                  <a:pt x="2143" y="1046"/>
                </a:lnTo>
                <a:lnTo>
                  <a:pt x="1645" y="1544"/>
                </a:lnTo>
                <a:lnTo>
                  <a:pt x="2272" y="1544"/>
                </a:lnTo>
                <a:lnTo>
                  <a:pt x="3044" y="772"/>
                </a:lnTo>
                <a:lnTo>
                  <a:pt x="2272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1" name="Google Shape;1771;p52"/>
          <p:cNvSpPr/>
          <p:nvPr/>
        </p:nvSpPr>
        <p:spPr>
          <a:xfrm>
            <a:off x="7139193" y="2333075"/>
            <a:ext cx="171771" cy="129198"/>
          </a:xfrm>
          <a:custGeom>
            <a:avLst/>
            <a:gdLst/>
            <a:ahLst/>
            <a:cxnLst/>
            <a:rect l="l" t="t" r="r" b="b"/>
            <a:pathLst>
              <a:path w="2821" h="2122" extrusionOk="0">
                <a:moveTo>
                  <a:pt x="1761" y="1"/>
                </a:moveTo>
                <a:lnTo>
                  <a:pt x="1400" y="361"/>
                </a:lnTo>
                <a:lnTo>
                  <a:pt x="1847" y="808"/>
                </a:lnTo>
                <a:lnTo>
                  <a:pt x="1" y="808"/>
                </a:lnTo>
                <a:lnTo>
                  <a:pt x="1" y="1321"/>
                </a:lnTo>
                <a:lnTo>
                  <a:pt x="1847" y="1321"/>
                </a:lnTo>
                <a:lnTo>
                  <a:pt x="1400" y="1768"/>
                </a:lnTo>
                <a:lnTo>
                  <a:pt x="1761" y="2121"/>
                </a:lnTo>
                <a:lnTo>
                  <a:pt x="2821" y="1061"/>
                </a:lnTo>
                <a:lnTo>
                  <a:pt x="1761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2" name="Google Shape;1772;p52"/>
          <p:cNvSpPr/>
          <p:nvPr/>
        </p:nvSpPr>
        <p:spPr>
          <a:xfrm>
            <a:off x="7761482" y="2339529"/>
            <a:ext cx="167813" cy="116777"/>
          </a:xfrm>
          <a:custGeom>
            <a:avLst/>
            <a:gdLst/>
            <a:ahLst/>
            <a:cxnLst/>
            <a:rect l="l" t="t" r="r" b="b"/>
            <a:pathLst>
              <a:path w="2756" h="1918" extrusionOk="0">
                <a:moveTo>
                  <a:pt x="1757" y="0"/>
                </a:moveTo>
                <a:cubicBezTo>
                  <a:pt x="1693" y="0"/>
                  <a:pt x="1630" y="25"/>
                  <a:pt x="1580" y="75"/>
                </a:cubicBezTo>
                <a:cubicBezTo>
                  <a:pt x="1479" y="176"/>
                  <a:pt x="1479" y="335"/>
                  <a:pt x="1580" y="436"/>
                </a:cubicBezTo>
                <a:lnTo>
                  <a:pt x="1768" y="623"/>
                </a:lnTo>
                <a:cubicBezTo>
                  <a:pt x="1797" y="652"/>
                  <a:pt x="1775" y="702"/>
                  <a:pt x="1739" y="702"/>
                </a:cubicBezTo>
                <a:lnTo>
                  <a:pt x="253" y="702"/>
                </a:lnTo>
                <a:cubicBezTo>
                  <a:pt x="116" y="702"/>
                  <a:pt x="1" y="818"/>
                  <a:pt x="1" y="962"/>
                </a:cubicBezTo>
                <a:cubicBezTo>
                  <a:pt x="1" y="1099"/>
                  <a:pt x="116" y="1215"/>
                  <a:pt x="253" y="1215"/>
                </a:cubicBezTo>
                <a:lnTo>
                  <a:pt x="1739" y="1215"/>
                </a:lnTo>
                <a:cubicBezTo>
                  <a:pt x="1775" y="1215"/>
                  <a:pt x="1797" y="1265"/>
                  <a:pt x="1768" y="1294"/>
                </a:cubicBezTo>
                <a:lnTo>
                  <a:pt x="1580" y="1481"/>
                </a:lnTo>
                <a:cubicBezTo>
                  <a:pt x="1479" y="1582"/>
                  <a:pt x="1479" y="1741"/>
                  <a:pt x="1580" y="1842"/>
                </a:cubicBezTo>
                <a:cubicBezTo>
                  <a:pt x="1631" y="1892"/>
                  <a:pt x="1696" y="1918"/>
                  <a:pt x="1760" y="1918"/>
                </a:cubicBezTo>
                <a:cubicBezTo>
                  <a:pt x="1825" y="1918"/>
                  <a:pt x="1890" y="1892"/>
                  <a:pt x="1941" y="1842"/>
                </a:cubicBezTo>
                <a:lnTo>
                  <a:pt x="2676" y="1106"/>
                </a:lnTo>
                <a:cubicBezTo>
                  <a:pt x="2756" y="1027"/>
                  <a:pt x="2756" y="897"/>
                  <a:pt x="2676" y="811"/>
                </a:cubicBezTo>
                <a:lnTo>
                  <a:pt x="1941" y="82"/>
                </a:lnTo>
                <a:cubicBezTo>
                  <a:pt x="1889" y="27"/>
                  <a:pt x="1823" y="0"/>
                  <a:pt x="1757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3" name="Google Shape;1773;p52"/>
          <p:cNvSpPr/>
          <p:nvPr/>
        </p:nvSpPr>
        <p:spPr>
          <a:xfrm>
            <a:off x="8056187" y="2333075"/>
            <a:ext cx="163855" cy="129198"/>
          </a:xfrm>
          <a:custGeom>
            <a:avLst/>
            <a:gdLst/>
            <a:ahLst/>
            <a:cxnLst/>
            <a:rect l="l" t="t" r="r" b="b"/>
            <a:pathLst>
              <a:path w="2691" h="2122" extrusionOk="0">
                <a:moveTo>
                  <a:pt x="1630" y="1"/>
                </a:moveTo>
                <a:lnTo>
                  <a:pt x="1630" y="722"/>
                </a:lnTo>
                <a:lnTo>
                  <a:pt x="1630" y="808"/>
                </a:lnTo>
                <a:lnTo>
                  <a:pt x="0" y="808"/>
                </a:lnTo>
                <a:lnTo>
                  <a:pt x="0" y="1321"/>
                </a:lnTo>
                <a:lnTo>
                  <a:pt x="1630" y="1321"/>
                </a:lnTo>
                <a:lnTo>
                  <a:pt x="1630" y="1407"/>
                </a:lnTo>
                <a:lnTo>
                  <a:pt x="1630" y="2121"/>
                </a:lnTo>
                <a:lnTo>
                  <a:pt x="2691" y="1061"/>
                </a:lnTo>
                <a:lnTo>
                  <a:pt x="1630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74" name="Google Shape;1774;p52"/>
          <p:cNvGrpSpPr/>
          <p:nvPr/>
        </p:nvGrpSpPr>
        <p:grpSpPr>
          <a:xfrm>
            <a:off x="7141841" y="2550562"/>
            <a:ext cx="166473" cy="141497"/>
            <a:chOff x="4660325" y="1866850"/>
            <a:chExt cx="68350" cy="58100"/>
          </a:xfrm>
        </p:grpSpPr>
        <p:sp>
          <p:nvSpPr>
            <p:cNvPr id="1775" name="Google Shape;1775;p52"/>
            <p:cNvSpPr/>
            <p:nvPr/>
          </p:nvSpPr>
          <p:spPr>
            <a:xfrm>
              <a:off x="466032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15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6" name="Google Shape;1776;p52"/>
            <p:cNvSpPr/>
            <p:nvPr/>
          </p:nvSpPr>
          <p:spPr>
            <a:xfrm>
              <a:off x="469097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08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77" name="Google Shape;1777;p52"/>
          <p:cNvGrpSpPr/>
          <p:nvPr/>
        </p:nvGrpSpPr>
        <p:grpSpPr>
          <a:xfrm>
            <a:off x="7451186" y="2576286"/>
            <a:ext cx="162515" cy="90049"/>
            <a:chOff x="4791775" y="1877500"/>
            <a:chExt cx="66725" cy="36975"/>
          </a:xfrm>
        </p:grpSpPr>
        <p:sp>
          <p:nvSpPr>
            <p:cNvPr id="1778" name="Google Shape;1778;p52"/>
            <p:cNvSpPr/>
            <p:nvPr/>
          </p:nvSpPr>
          <p:spPr>
            <a:xfrm>
              <a:off x="4791775" y="1877500"/>
              <a:ext cx="36075" cy="36975"/>
            </a:xfrm>
            <a:custGeom>
              <a:avLst/>
              <a:gdLst/>
              <a:ahLst/>
              <a:cxnLst/>
              <a:rect l="l" t="t" r="r" b="b"/>
              <a:pathLst>
                <a:path w="1443" h="1479" extrusionOk="0">
                  <a:moveTo>
                    <a:pt x="0" y="0"/>
                  </a:moveTo>
                  <a:lnTo>
                    <a:pt x="743" y="736"/>
                  </a:lnTo>
                  <a:lnTo>
                    <a:pt x="0" y="1479"/>
                  </a:lnTo>
                  <a:lnTo>
                    <a:pt x="700" y="1479"/>
                  </a:lnTo>
                  <a:lnTo>
                    <a:pt x="1442" y="736"/>
                  </a:lnTo>
                  <a:lnTo>
                    <a:pt x="70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9" name="Google Shape;1779;p52"/>
            <p:cNvSpPr/>
            <p:nvPr/>
          </p:nvSpPr>
          <p:spPr>
            <a:xfrm>
              <a:off x="4822425" y="1877500"/>
              <a:ext cx="36075" cy="36975"/>
            </a:xfrm>
            <a:custGeom>
              <a:avLst/>
              <a:gdLst/>
              <a:ahLst/>
              <a:cxnLst/>
              <a:rect l="l" t="t" r="r" b="b"/>
              <a:pathLst>
                <a:path w="1443" h="1479" extrusionOk="0">
                  <a:moveTo>
                    <a:pt x="0" y="0"/>
                  </a:moveTo>
                  <a:lnTo>
                    <a:pt x="743" y="736"/>
                  </a:lnTo>
                  <a:lnTo>
                    <a:pt x="0" y="1479"/>
                  </a:lnTo>
                  <a:lnTo>
                    <a:pt x="700" y="1479"/>
                  </a:lnTo>
                  <a:lnTo>
                    <a:pt x="1443" y="736"/>
                  </a:lnTo>
                  <a:lnTo>
                    <a:pt x="70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0" name="Google Shape;1780;p52"/>
          <p:cNvGrpSpPr/>
          <p:nvPr/>
        </p:nvGrpSpPr>
        <p:grpSpPr>
          <a:xfrm>
            <a:off x="7772899" y="2576286"/>
            <a:ext cx="144979" cy="90049"/>
            <a:chOff x="4923925" y="1877500"/>
            <a:chExt cx="59525" cy="36975"/>
          </a:xfrm>
        </p:grpSpPr>
        <p:sp>
          <p:nvSpPr>
            <p:cNvPr id="1781" name="Google Shape;1781;p52"/>
            <p:cNvSpPr/>
            <p:nvPr/>
          </p:nvSpPr>
          <p:spPr>
            <a:xfrm>
              <a:off x="4923925" y="1877500"/>
              <a:ext cx="28875" cy="36975"/>
            </a:xfrm>
            <a:custGeom>
              <a:avLst/>
              <a:gdLst/>
              <a:ahLst/>
              <a:cxnLst/>
              <a:rect l="l" t="t" r="r" b="b"/>
              <a:pathLst>
                <a:path w="1155" h="1479" extrusionOk="0">
                  <a:moveTo>
                    <a:pt x="332" y="0"/>
                  </a:moveTo>
                  <a:cubicBezTo>
                    <a:pt x="116" y="0"/>
                    <a:pt x="1" y="260"/>
                    <a:pt x="159" y="419"/>
                  </a:cubicBezTo>
                  <a:lnTo>
                    <a:pt x="433" y="700"/>
                  </a:lnTo>
                  <a:cubicBezTo>
                    <a:pt x="455" y="722"/>
                    <a:pt x="455" y="758"/>
                    <a:pt x="433" y="779"/>
                  </a:cubicBezTo>
                  <a:lnTo>
                    <a:pt x="159" y="1053"/>
                  </a:lnTo>
                  <a:cubicBezTo>
                    <a:pt x="1" y="1212"/>
                    <a:pt x="116" y="1479"/>
                    <a:pt x="332" y="1479"/>
                  </a:cubicBezTo>
                  <a:cubicBezTo>
                    <a:pt x="397" y="1479"/>
                    <a:pt x="462" y="1450"/>
                    <a:pt x="506" y="1407"/>
                  </a:cubicBezTo>
                  <a:lnTo>
                    <a:pt x="1133" y="779"/>
                  </a:lnTo>
                  <a:cubicBezTo>
                    <a:pt x="1155" y="758"/>
                    <a:pt x="1155" y="722"/>
                    <a:pt x="1133" y="700"/>
                  </a:cubicBezTo>
                  <a:lnTo>
                    <a:pt x="506" y="73"/>
                  </a:lnTo>
                  <a:cubicBezTo>
                    <a:pt x="462" y="22"/>
                    <a:pt x="397" y="0"/>
                    <a:pt x="3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2" name="Google Shape;1782;p52"/>
            <p:cNvSpPr/>
            <p:nvPr/>
          </p:nvSpPr>
          <p:spPr>
            <a:xfrm>
              <a:off x="4954575" y="1877500"/>
              <a:ext cx="28875" cy="36975"/>
            </a:xfrm>
            <a:custGeom>
              <a:avLst/>
              <a:gdLst/>
              <a:ahLst/>
              <a:cxnLst/>
              <a:rect l="l" t="t" r="r" b="b"/>
              <a:pathLst>
                <a:path w="1155" h="1479" extrusionOk="0">
                  <a:moveTo>
                    <a:pt x="333" y="0"/>
                  </a:moveTo>
                  <a:cubicBezTo>
                    <a:pt x="116" y="0"/>
                    <a:pt x="1" y="260"/>
                    <a:pt x="159" y="419"/>
                  </a:cubicBezTo>
                  <a:lnTo>
                    <a:pt x="434" y="700"/>
                  </a:lnTo>
                  <a:cubicBezTo>
                    <a:pt x="455" y="722"/>
                    <a:pt x="455" y="758"/>
                    <a:pt x="434" y="779"/>
                  </a:cubicBezTo>
                  <a:lnTo>
                    <a:pt x="159" y="1053"/>
                  </a:lnTo>
                  <a:cubicBezTo>
                    <a:pt x="1" y="1212"/>
                    <a:pt x="116" y="1479"/>
                    <a:pt x="333" y="1479"/>
                  </a:cubicBezTo>
                  <a:cubicBezTo>
                    <a:pt x="397" y="1479"/>
                    <a:pt x="462" y="1450"/>
                    <a:pt x="506" y="1407"/>
                  </a:cubicBezTo>
                  <a:lnTo>
                    <a:pt x="1133" y="779"/>
                  </a:lnTo>
                  <a:cubicBezTo>
                    <a:pt x="1155" y="758"/>
                    <a:pt x="1155" y="722"/>
                    <a:pt x="1133" y="700"/>
                  </a:cubicBezTo>
                  <a:lnTo>
                    <a:pt x="506" y="73"/>
                  </a:lnTo>
                  <a:cubicBezTo>
                    <a:pt x="462" y="22"/>
                    <a:pt x="397" y="0"/>
                    <a:pt x="33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3" name="Google Shape;1783;p52"/>
          <p:cNvGrpSpPr/>
          <p:nvPr/>
        </p:nvGrpSpPr>
        <p:grpSpPr>
          <a:xfrm>
            <a:off x="8067390" y="2558477"/>
            <a:ext cx="141447" cy="125667"/>
            <a:chOff x="5058450" y="1870100"/>
            <a:chExt cx="58075" cy="51600"/>
          </a:xfrm>
        </p:grpSpPr>
        <p:sp>
          <p:nvSpPr>
            <p:cNvPr id="1784" name="Google Shape;1784;p52"/>
            <p:cNvSpPr/>
            <p:nvPr/>
          </p:nvSpPr>
          <p:spPr>
            <a:xfrm>
              <a:off x="5058450" y="1870100"/>
              <a:ext cx="25800" cy="51600"/>
            </a:xfrm>
            <a:custGeom>
              <a:avLst/>
              <a:gdLst/>
              <a:ahLst/>
              <a:cxnLst/>
              <a:rect l="l" t="t" r="r" b="b"/>
              <a:pathLst>
                <a:path w="1032" h="2064" extrusionOk="0">
                  <a:moveTo>
                    <a:pt x="0" y="1"/>
                  </a:moveTo>
                  <a:lnTo>
                    <a:pt x="0" y="621"/>
                  </a:lnTo>
                  <a:lnTo>
                    <a:pt x="0" y="1443"/>
                  </a:lnTo>
                  <a:lnTo>
                    <a:pt x="0" y="2063"/>
                  </a:lnTo>
                  <a:lnTo>
                    <a:pt x="1032" y="103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5" name="Google Shape;1785;p52"/>
            <p:cNvSpPr/>
            <p:nvPr/>
          </p:nvSpPr>
          <p:spPr>
            <a:xfrm>
              <a:off x="5090725" y="1870100"/>
              <a:ext cx="25800" cy="51600"/>
            </a:xfrm>
            <a:custGeom>
              <a:avLst/>
              <a:gdLst/>
              <a:ahLst/>
              <a:cxnLst/>
              <a:rect l="l" t="t" r="r" b="b"/>
              <a:pathLst>
                <a:path w="1032" h="2064" extrusionOk="0">
                  <a:moveTo>
                    <a:pt x="0" y="1"/>
                  </a:moveTo>
                  <a:lnTo>
                    <a:pt x="0" y="621"/>
                  </a:lnTo>
                  <a:lnTo>
                    <a:pt x="0" y="1443"/>
                  </a:lnTo>
                  <a:lnTo>
                    <a:pt x="0" y="2063"/>
                  </a:lnTo>
                  <a:lnTo>
                    <a:pt x="1032" y="103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6" name="Google Shape;1786;p52"/>
          <p:cNvGrpSpPr/>
          <p:nvPr/>
        </p:nvGrpSpPr>
        <p:grpSpPr>
          <a:xfrm>
            <a:off x="7481905" y="2980885"/>
            <a:ext cx="101077" cy="107645"/>
            <a:chOff x="4811425" y="2065025"/>
            <a:chExt cx="41500" cy="44200"/>
          </a:xfrm>
        </p:grpSpPr>
        <p:sp>
          <p:nvSpPr>
            <p:cNvPr id="1787" name="Google Shape;1787;p52"/>
            <p:cNvSpPr/>
            <p:nvPr/>
          </p:nvSpPr>
          <p:spPr>
            <a:xfrm>
              <a:off x="4825300" y="2065025"/>
              <a:ext cx="27625" cy="44200"/>
            </a:xfrm>
            <a:custGeom>
              <a:avLst/>
              <a:gdLst/>
              <a:ahLst/>
              <a:cxnLst/>
              <a:rect l="l" t="t" r="r" b="b"/>
              <a:pathLst>
                <a:path w="1105" h="1768" extrusionOk="0">
                  <a:moveTo>
                    <a:pt x="217" y="0"/>
                  </a:moveTo>
                  <a:lnTo>
                    <a:pt x="1" y="224"/>
                  </a:lnTo>
                  <a:lnTo>
                    <a:pt x="657" y="880"/>
                  </a:lnTo>
                  <a:lnTo>
                    <a:pt x="1" y="1544"/>
                  </a:lnTo>
                  <a:lnTo>
                    <a:pt x="217" y="1767"/>
                  </a:lnTo>
                  <a:lnTo>
                    <a:pt x="1104" y="88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8" name="Google Shape;1788;p52"/>
            <p:cNvSpPr/>
            <p:nvPr/>
          </p:nvSpPr>
          <p:spPr>
            <a:xfrm>
              <a:off x="4811425" y="2072950"/>
              <a:ext cx="19850" cy="28350"/>
            </a:xfrm>
            <a:custGeom>
              <a:avLst/>
              <a:gdLst/>
              <a:ahLst/>
              <a:cxnLst/>
              <a:rect l="l" t="t" r="r" b="b"/>
              <a:pathLst>
                <a:path w="794" h="1134" extrusionOk="0">
                  <a:moveTo>
                    <a:pt x="224" y="1"/>
                  </a:moveTo>
                  <a:lnTo>
                    <a:pt x="0" y="224"/>
                  </a:lnTo>
                  <a:lnTo>
                    <a:pt x="346" y="563"/>
                  </a:lnTo>
                  <a:lnTo>
                    <a:pt x="0" y="909"/>
                  </a:lnTo>
                  <a:lnTo>
                    <a:pt x="224" y="1133"/>
                  </a:lnTo>
                  <a:lnTo>
                    <a:pt x="794" y="563"/>
                  </a:lnTo>
                  <a:lnTo>
                    <a:pt x="224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9" name="Google Shape;1789;p52"/>
          <p:cNvGrpSpPr/>
          <p:nvPr/>
        </p:nvGrpSpPr>
        <p:grpSpPr>
          <a:xfrm>
            <a:off x="7774342" y="2981098"/>
            <a:ext cx="120867" cy="107218"/>
            <a:chOff x="4929875" y="2065025"/>
            <a:chExt cx="49625" cy="44025"/>
          </a:xfrm>
        </p:grpSpPr>
        <p:sp>
          <p:nvSpPr>
            <p:cNvPr id="1790" name="Google Shape;1790;p52"/>
            <p:cNvSpPr/>
            <p:nvPr/>
          </p:nvSpPr>
          <p:spPr>
            <a:xfrm>
              <a:off x="4950075" y="2065025"/>
              <a:ext cx="29425" cy="44025"/>
            </a:xfrm>
            <a:custGeom>
              <a:avLst/>
              <a:gdLst/>
              <a:ahLst/>
              <a:cxnLst/>
              <a:rect l="l" t="t" r="r" b="b"/>
              <a:pathLst>
                <a:path w="1177" h="1761" extrusionOk="0">
                  <a:moveTo>
                    <a:pt x="1" y="0"/>
                  </a:moveTo>
                  <a:lnTo>
                    <a:pt x="729" y="880"/>
                  </a:lnTo>
                  <a:lnTo>
                    <a:pt x="1" y="1760"/>
                  </a:lnTo>
                  <a:lnTo>
                    <a:pt x="1176" y="88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1" name="Google Shape;1791;p52"/>
            <p:cNvSpPr/>
            <p:nvPr/>
          </p:nvSpPr>
          <p:spPr>
            <a:xfrm>
              <a:off x="4929875" y="2065025"/>
              <a:ext cx="29425" cy="44025"/>
            </a:xfrm>
            <a:custGeom>
              <a:avLst/>
              <a:gdLst/>
              <a:ahLst/>
              <a:cxnLst/>
              <a:rect l="l" t="t" r="r" b="b"/>
              <a:pathLst>
                <a:path w="1177" h="1761" extrusionOk="0">
                  <a:moveTo>
                    <a:pt x="1" y="0"/>
                  </a:moveTo>
                  <a:lnTo>
                    <a:pt x="736" y="880"/>
                  </a:lnTo>
                  <a:lnTo>
                    <a:pt x="1" y="1760"/>
                  </a:lnTo>
                  <a:lnTo>
                    <a:pt x="1" y="1760"/>
                  </a:lnTo>
                  <a:lnTo>
                    <a:pt x="1176" y="88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2" name="Google Shape;1792;p52"/>
          <p:cNvGrpSpPr/>
          <p:nvPr/>
        </p:nvGrpSpPr>
        <p:grpSpPr>
          <a:xfrm>
            <a:off x="8103011" y="2984112"/>
            <a:ext cx="70206" cy="101191"/>
            <a:chOff x="5083925" y="2066350"/>
            <a:chExt cx="28825" cy="41550"/>
          </a:xfrm>
        </p:grpSpPr>
        <p:sp>
          <p:nvSpPr>
            <p:cNvPr id="1793" name="Google Shape;1793;p52"/>
            <p:cNvSpPr/>
            <p:nvPr/>
          </p:nvSpPr>
          <p:spPr>
            <a:xfrm>
              <a:off x="5084050" y="2066350"/>
              <a:ext cx="28700" cy="41550"/>
            </a:xfrm>
            <a:custGeom>
              <a:avLst/>
              <a:gdLst/>
              <a:ahLst/>
              <a:cxnLst/>
              <a:rect l="l" t="t" r="r" b="b"/>
              <a:pathLst>
                <a:path w="1148" h="1662" extrusionOk="0">
                  <a:moveTo>
                    <a:pt x="52" y="1"/>
                  </a:moveTo>
                  <a:cubicBezTo>
                    <a:pt x="27" y="1"/>
                    <a:pt x="0" y="24"/>
                    <a:pt x="0" y="56"/>
                  </a:cubicBezTo>
                  <a:lnTo>
                    <a:pt x="0" y="200"/>
                  </a:lnTo>
                  <a:cubicBezTo>
                    <a:pt x="0" y="243"/>
                    <a:pt x="22" y="279"/>
                    <a:pt x="51" y="308"/>
                  </a:cubicBezTo>
                  <a:lnTo>
                    <a:pt x="700" y="791"/>
                  </a:lnTo>
                  <a:cubicBezTo>
                    <a:pt x="729" y="813"/>
                    <a:pt x="729" y="849"/>
                    <a:pt x="700" y="871"/>
                  </a:cubicBezTo>
                  <a:lnTo>
                    <a:pt x="51" y="1354"/>
                  </a:lnTo>
                  <a:cubicBezTo>
                    <a:pt x="22" y="1383"/>
                    <a:pt x="0" y="1419"/>
                    <a:pt x="0" y="1462"/>
                  </a:cubicBezTo>
                  <a:lnTo>
                    <a:pt x="0" y="1613"/>
                  </a:lnTo>
                  <a:cubicBezTo>
                    <a:pt x="0" y="1639"/>
                    <a:pt x="26" y="1661"/>
                    <a:pt x="51" y="1661"/>
                  </a:cubicBezTo>
                  <a:cubicBezTo>
                    <a:pt x="61" y="1661"/>
                    <a:pt x="71" y="1658"/>
                    <a:pt x="80" y="1649"/>
                  </a:cubicBezTo>
                  <a:lnTo>
                    <a:pt x="1111" y="878"/>
                  </a:lnTo>
                  <a:cubicBezTo>
                    <a:pt x="1147" y="856"/>
                    <a:pt x="1147" y="806"/>
                    <a:pt x="1111" y="784"/>
                  </a:cubicBezTo>
                  <a:lnTo>
                    <a:pt x="80" y="12"/>
                  </a:lnTo>
                  <a:cubicBezTo>
                    <a:pt x="72" y="4"/>
                    <a:pt x="62" y="1"/>
                    <a:pt x="5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4" name="Google Shape;1794;p52"/>
            <p:cNvSpPr/>
            <p:nvPr/>
          </p:nvSpPr>
          <p:spPr>
            <a:xfrm>
              <a:off x="5083925" y="2081325"/>
              <a:ext cx="8800" cy="11600"/>
            </a:xfrm>
            <a:custGeom>
              <a:avLst/>
              <a:gdLst/>
              <a:ahLst/>
              <a:cxnLst/>
              <a:rect l="l" t="t" r="r" b="b"/>
              <a:pathLst>
                <a:path w="352" h="464" extrusionOk="0">
                  <a:moveTo>
                    <a:pt x="53" y="0"/>
                  </a:moveTo>
                  <a:cubicBezTo>
                    <a:pt x="25" y="0"/>
                    <a:pt x="0" y="24"/>
                    <a:pt x="5" y="55"/>
                  </a:cubicBezTo>
                  <a:lnTo>
                    <a:pt x="5" y="416"/>
                  </a:lnTo>
                  <a:cubicBezTo>
                    <a:pt x="5" y="442"/>
                    <a:pt x="31" y="464"/>
                    <a:pt x="56" y="464"/>
                  </a:cubicBezTo>
                  <a:cubicBezTo>
                    <a:pt x="66" y="464"/>
                    <a:pt x="76" y="460"/>
                    <a:pt x="85" y="452"/>
                  </a:cubicBezTo>
                  <a:lnTo>
                    <a:pt x="323" y="279"/>
                  </a:lnTo>
                  <a:cubicBezTo>
                    <a:pt x="352" y="257"/>
                    <a:pt x="352" y="207"/>
                    <a:pt x="323" y="185"/>
                  </a:cubicBezTo>
                  <a:lnTo>
                    <a:pt x="85" y="12"/>
                  </a:lnTo>
                  <a:cubicBezTo>
                    <a:pt x="75" y="4"/>
                    <a:pt x="63" y="0"/>
                    <a:pt x="5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5" name="Google Shape;1795;p52"/>
          <p:cNvGrpSpPr/>
          <p:nvPr/>
        </p:nvGrpSpPr>
        <p:grpSpPr>
          <a:xfrm>
            <a:off x="7134565" y="2999759"/>
            <a:ext cx="181026" cy="69896"/>
            <a:chOff x="4659775" y="2072775"/>
            <a:chExt cx="74325" cy="28700"/>
          </a:xfrm>
        </p:grpSpPr>
        <p:sp>
          <p:nvSpPr>
            <p:cNvPr id="1796" name="Google Shape;1796;p52"/>
            <p:cNvSpPr/>
            <p:nvPr/>
          </p:nvSpPr>
          <p:spPr>
            <a:xfrm>
              <a:off x="4659775" y="2072775"/>
              <a:ext cx="38075" cy="28700"/>
            </a:xfrm>
            <a:custGeom>
              <a:avLst/>
              <a:gdLst/>
              <a:ahLst/>
              <a:cxnLst/>
              <a:rect l="l" t="t" r="r" b="b"/>
              <a:pathLst>
                <a:path w="1523" h="1148" extrusionOk="0">
                  <a:moveTo>
                    <a:pt x="1" y="0"/>
                  </a:moveTo>
                  <a:lnTo>
                    <a:pt x="578" y="570"/>
                  </a:lnTo>
                  <a:lnTo>
                    <a:pt x="1" y="1147"/>
                  </a:lnTo>
                  <a:lnTo>
                    <a:pt x="945" y="1147"/>
                  </a:lnTo>
                  <a:lnTo>
                    <a:pt x="1522" y="570"/>
                  </a:lnTo>
                  <a:lnTo>
                    <a:pt x="94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7" name="Google Shape;1797;p52"/>
            <p:cNvSpPr/>
            <p:nvPr/>
          </p:nvSpPr>
          <p:spPr>
            <a:xfrm>
              <a:off x="4691875" y="2072775"/>
              <a:ext cx="24550" cy="28700"/>
            </a:xfrm>
            <a:custGeom>
              <a:avLst/>
              <a:gdLst/>
              <a:ahLst/>
              <a:cxnLst/>
              <a:rect l="l" t="t" r="r" b="b"/>
              <a:pathLst>
                <a:path w="982" h="1148" extrusionOk="0">
                  <a:moveTo>
                    <a:pt x="0" y="0"/>
                  </a:moveTo>
                  <a:lnTo>
                    <a:pt x="570" y="570"/>
                  </a:lnTo>
                  <a:lnTo>
                    <a:pt x="0" y="1147"/>
                  </a:lnTo>
                  <a:lnTo>
                    <a:pt x="411" y="1147"/>
                  </a:lnTo>
                  <a:lnTo>
                    <a:pt x="981" y="570"/>
                  </a:lnTo>
                  <a:lnTo>
                    <a:pt x="4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8" name="Google Shape;1798;p52"/>
            <p:cNvSpPr/>
            <p:nvPr/>
          </p:nvSpPr>
          <p:spPr>
            <a:xfrm>
              <a:off x="4709350" y="2072775"/>
              <a:ext cx="24750" cy="28700"/>
            </a:xfrm>
            <a:custGeom>
              <a:avLst/>
              <a:gdLst/>
              <a:ahLst/>
              <a:cxnLst/>
              <a:rect l="l" t="t" r="r" b="b"/>
              <a:pathLst>
                <a:path w="990" h="1148" extrusionOk="0">
                  <a:moveTo>
                    <a:pt x="1" y="0"/>
                  </a:moveTo>
                  <a:lnTo>
                    <a:pt x="578" y="570"/>
                  </a:lnTo>
                  <a:lnTo>
                    <a:pt x="1" y="1147"/>
                  </a:lnTo>
                  <a:lnTo>
                    <a:pt x="412" y="1147"/>
                  </a:lnTo>
                  <a:lnTo>
                    <a:pt x="989" y="570"/>
                  </a:lnTo>
                  <a:lnTo>
                    <a:pt x="41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9" name="Google Shape;1799;p52"/>
          <p:cNvGrpSpPr/>
          <p:nvPr/>
        </p:nvGrpSpPr>
        <p:grpSpPr>
          <a:xfrm>
            <a:off x="8054421" y="2790324"/>
            <a:ext cx="167387" cy="89197"/>
            <a:chOff x="4662475" y="1976500"/>
            <a:chExt cx="68725" cy="36625"/>
          </a:xfrm>
        </p:grpSpPr>
        <p:sp>
          <p:nvSpPr>
            <p:cNvPr id="1800" name="Google Shape;1800;p52"/>
            <p:cNvSpPr/>
            <p:nvPr/>
          </p:nvSpPr>
          <p:spPr>
            <a:xfrm>
              <a:off x="4690800" y="1976500"/>
              <a:ext cx="40400" cy="36625"/>
            </a:xfrm>
            <a:custGeom>
              <a:avLst/>
              <a:gdLst/>
              <a:ahLst/>
              <a:cxnLst/>
              <a:rect l="l" t="t" r="r" b="b"/>
              <a:pathLst>
                <a:path w="1616" h="1465" extrusionOk="0">
                  <a:moveTo>
                    <a:pt x="887" y="0"/>
                  </a:moveTo>
                  <a:lnTo>
                    <a:pt x="692" y="188"/>
                  </a:lnTo>
                  <a:lnTo>
                    <a:pt x="1104" y="599"/>
                  </a:lnTo>
                  <a:lnTo>
                    <a:pt x="0" y="599"/>
                  </a:lnTo>
                  <a:lnTo>
                    <a:pt x="0" y="866"/>
                  </a:lnTo>
                  <a:lnTo>
                    <a:pt x="1104" y="866"/>
                  </a:lnTo>
                  <a:lnTo>
                    <a:pt x="692" y="1269"/>
                  </a:lnTo>
                  <a:lnTo>
                    <a:pt x="887" y="1464"/>
                  </a:lnTo>
                  <a:lnTo>
                    <a:pt x="1616" y="729"/>
                  </a:lnTo>
                  <a:lnTo>
                    <a:pt x="887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1" name="Google Shape;1801;p52"/>
            <p:cNvSpPr/>
            <p:nvPr/>
          </p:nvSpPr>
          <p:spPr>
            <a:xfrm>
              <a:off x="4674375" y="1991450"/>
              <a:ext cx="10675" cy="6700"/>
            </a:xfrm>
            <a:custGeom>
              <a:avLst/>
              <a:gdLst/>
              <a:ahLst/>
              <a:cxnLst/>
              <a:rect l="l" t="t" r="r" b="b"/>
              <a:pathLst>
                <a:path w="427" h="268" extrusionOk="0">
                  <a:moveTo>
                    <a:pt x="1" y="1"/>
                  </a:moveTo>
                  <a:lnTo>
                    <a:pt x="1" y="268"/>
                  </a:lnTo>
                  <a:lnTo>
                    <a:pt x="426" y="268"/>
                  </a:lnTo>
                  <a:lnTo>
                    <a:pt x="426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2" name="Google Shape;1802;p52"/>
            <p:cNvSpPr/>
            <p:nvPr/>
          </p:nvSpPr>
          <p:spPr>
            <a:xfrm>
              <a:off x="4662475" y="1991450"/>
              <a:ext cx="5625" cy="6700"/>
            </a:xfrm>
            <a:custGeom>
              <a:avLst/>
              <a:gdLst/>
              <a:ahLst/>
              <a:cxnLst/>
              <a:rect l="l" t="t" r="r" b="b"/>
              <a:pathLst>
                <a:path w="225" h="268" extrusionOk="0">
                  <a:moveTo>
                    <a:pt x="1" y="1"/>
                  </a:moveTo>
                  <a:lnTo>
                    <a:pt x="1" y="268"/>
                  </a:lnTo>
                  <a:lnTo>
                    <a:pt x="224" y="268"/>
                  </a:lnTo>
                  <a:lnTo>
                    <a:pt x="224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03" name="Google Shape;1803;p52"/>
          <p:cNvGrpSpPr/>
          <p:nvPr/>
        </p:nvGrpSpPr>
        <p:grpSpPr>
          <a:xfrm>
            <a:off x="7751326" y="2793764"/>
            <a:ext cx="166899" cy="82317"/>
            <a:chOff x="4920150" y="1977875"/>
            <a:chExt cx="68525" cy="33800"/>
          </a:xfrm>
        </p:grpSpPr>
        <p:sp>
          <p:nvSpPr>
            <p:cNvPr id="1804" name="Google Shape;1804;p52"/>
            <p:cNvSpPr/>
            <p:nvPr/>
          </p:nvSpPr>
          <p:spPr>
            <a:xfrm>
              <a:off x="4949175" y="1977875"/>
              <a:ext cx="39500" cy="33800"/>
            </a:xfrm>
            <a:custGeom>
              <a:avLst/>
              <a:gdLst/>
              <a:ahLst/>
              <a:cxnLst/>
              <a:rect l="l" t="t" r="r" b="b"/>
              <a:pathLst>
                <a:path w="1580" h="1352" extrusionOk="0">
                  <a:moveTo>
                    <a:pt x="891" y="1"/>
                  </a:moveTo>
                  <a:cubicBezTo>
                    <a:pt x="859" y="1"/>
                    <a:pt x="828" y="12"/>
                    <a:pt x="801" y="32"/>
                  </a:cubicBezTo>
                  <a:cubicBezTo>
                    <a:pt x="743" y="89"/>
                    <a:pt x="743" y="176"/>
                    <a:pt x="801" y="226"/>
                  </a:cubicBezTo>
                  <a:lnTo>
                    <a:pt x="1039" y="472"/>
                  </a:lnTo>
                  <a:cubicBezTo>
                    <a:pt x="1068" y="493"/>
                    <a:pt x="1046" y="544"/>
                    <a:pt x="1010" y="544"/>
                  </a:cubicBezTo>
                  <a:lnTo>
                    <a:pt x="152" y="544"/>
                  </a:lnTo>
                  <a:cubicBezTo>
                    <a:pt x="147" y="543"/>
                    <a:pt x="143" y="543"/>
                    <a:pt x="139" y="543"/>
                  </a:cubicBezTo>
                  <a:cubicBezTo>
                    <a:pt x="66" y="543"/>
                    <a:pt x="14" y="598"/>
                    <a:pt x="8" y="666"/>
                  </a:cubicBezTo>
                  <a:cubicBezTo>
                    <a:pt x="0" y="746"/>
                    <a:pt x="65" y="811"/>
                    <a:pt x="145" y="811"/>
                  </a:cubicBezTo>
                  <a:lnTo>
                    <a:pt x="1010" y="811"/>
                  </a:lnTo>
                  <a:cubicBezTo>
                    <a:pt x="1046" y="811"/>
                    <a:pt x="1068" y="854"/>
                    <a:pt x="1039" y="883"/>
                  </a:cubicBezTo>
                  <a:lnTo>
                    <a:pt x="808" y="1113"/>
                  </a:lnTo>
                  <a:cubicBezTo>
                    <a:pt x="758" y="1164"/>
                    <a:pt x="751" y="1251"/>
                    <a:pt x="794" y="1308"/>
                  </a:cubicBezTo>
                  <a:cubicBezTo>
                    <a:pt x="823" y="1337"/>
                    <a:pt x="859" y="1351"/>
                    <a:pt x="895" y="1351"/>
                  </a:cubicBezTo>
                  <a:cubicBezTo>
                    <a:pt x="931" y="1351"/>
                    <a:pt x="967" y="1337"/>
                    <a:pt x="996" y="1308"/>
                  </a:cubicBezTo>
                  <a:lnTo>
                    <a:pt x="1522" y="774"/>
                  </a:lnTo>
                  <a:cubicBezTo>
                    <a:pt x="1580" y="717"/>
                    <a:pt x="1573" y="630"/>
                    <a:pt x="1522" y="573"/>
                  </a:cubicBezTo>
                  <a:lnTo>
                    <a:pt x="996" y="46"/>
                  </a:lnTo>
                  <a:cubicBezTo>
                    <a:pt x="965" y="15"/>
                    <a:pt x="928" y="1"/>
                    <a:pt x="89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5" name="Google Shape;1805;p52"/>
            <p:cNvSpPr/>
            <p:nvPr/>
          </p:nvSpPr>
          <p:spPr>
            <a:xfrm>
              <a:off x="4931875" y="1991450"/>
              <a:ext cx="12825" cy="6700"/>
            </a:xfrm>
            <a:custGeom>
              <a:avLst/>
              <a:gdLst/>
              <a:ahLst/>
              <a:cxnLst/>
              <a:rect l="l" t="t" r="r" b="b"/>
              <a:pathLst>
                <a:path w="513" h="268" extrusionOk="0">
                  <a:moveTo>
                    <a:pt x="180" y="1"/>
                  </a:moveTo>
                  <a:cubicBezTo>
                    <a:pt x="0" y="1"/>
                    <a:pt x="0" y="268"/>
                    <a:pt x="180" y="268"/>
                  </a:cubicBezTo>
                  <a:lnTo>
                    <a:pt x="332" y="268"/>
                  </a:lnTo>
                  <a:cubicBezTo>
                    <a:pt x="512" y="268"/>
                    <a:pt x="512" y="1"/>
                    <a:pt x="33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6" name="Google Shape;1806;p52"/>
            <p:cNvSpPr/>
            <p:nvPr/>
          </p:nvSpPr>
          <p:spPr>
            <a:xfrm>
              <a:off x="4920150" y="1991450"/>
              <a:ext cx="9225" cy="6700"/>
            </a:xfrm>
            <a:custGeom>
              <a:avLst/>
              <a:gdLst/>
              <a:ahLst/>
              <a:cxnLst/>
              <a:rect l="l" t="t" r="r" b="b"/>
              <a:pathLst>
                <a:path w="369" h="268" extrusionOk="0">
                  <a:moveTo>
                    <a:pt x="181" y="1"/>
                  </a:moveTo>
                  <a:cubicBezTo>
                    <a:pt x="0" y="1"/>
                    <a:pt x="0" y="268"/>
                    <a:pt x="181" y="268"/>
                  </a:cubicBezTo>
                  <a:lnTo>
                    <a:pt x="195" y="268"/>
                  </a:lnTo>
                  <a:cubicBezTo>
                    <a:pt x="368" y="268"/>
                    <a:pt x="368" y="1"/>
                    <a:pt x="195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07" name="Google Shape;1807;p52"/>
          <p:cNvGrpSpPr/>
          <p:nvPr/>
        </p:nvGrpSpPr>
        <p:grpSpPr>
          <a:xfrm>
            <a:off x="7162483" y="3197682"/>
            <a:ext cx="125190" cy="127859"/>
            <a:chOff x="4676550" y="2160575"/>
            <a:chExt cx="51400" cy="52500"/>
          </a:xfrm>
        </p:grpSpPr>
        <p:sp>
          <p:nvSpPr>
            <p:cNvPr id="1808" name="Google Shape;1808;p52"/>
            <p:cNvSpPr/>
            <p:nvPr/>
          </p:nvSpPr>
          <p:spPr>
            <a:xfrm>
              <a:off x="4676550" y="2160575"/>
              <a:ext cx="27775" cy="52500"/>
            </a:xfrm>
            <a:custGeom>
              <a:avLst/>
              <a:gdLst/>
              <a:ahLst/>
              <a:cxnLst/>
              <a:rect l="l" t="t" r="r" b="b"/>
              <a:pathLst>
                <a:path w="1111" h="2100" extrusionOk="0">
                  <a:moveTo>
                    <a:pt x="0" y="1"/>
                  </a:moveTo>
                  <a:lnTo>
                    <a:pt x="823" y="1047"/>
                  </a:lnTo>
                  <a:lnTo>
                    <a:pt x="0" y="2100"/>
                  </a:lnTo>
                  <a:lnTo>
                    <a:pt x="289" y="2100"/>
                  </a:lnTo>
                  <a:lnTo>
                    <a:pt x="1111" y="1047"/>
                  </a:lnTo>
                  <a:lnTo>
                    <a:pt x="289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9" name="Google Shape;1809;p52"/>
            <p:cNvSpPr/>
            <p:nvPr/>
          </p:nvSpPr>
          <p:spPr>
            <a:xfrm>
              <a:off x="4688275" y="2160575"/>
              <a:ext cx="27975" cy="52500"/>
            </a:xfrm>
            <a:custGeom>
              <a:avLst/>
              <a:gdLst/>
              <a:ahLst/>
              <a:cxnLst/>
              <a:rect l="l" t="t" r="r" b="b"/>
              <a:pathLst>
                <a:path w="1119" h="2100" extrusionOk="0">
                  <a:moveTo>
                    <a:pt x="0" y="1"/>
                  </a:moveTo>
                  <a:lnTo>
                    <a:pt x="822" y="1047"/>
                  </a:lnTo>
                  <a:lnTo>
                    <a:pt x="0" y="2100"/>
                  </a:lnTo>
                  <a:lnTo>
                    <a:pt x="296" y="2100"/>
                  </a:lnTo>
                  <a:lnTo>
                    <a:pt x="1118" y="1047"/>
                  </a:lnTo>
                  <a:lnTo>
                    <a:pt x="296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0" name="Google Shape;1810;p52"/>
            <p:cNvSpPr/>
            <p:nvPr/>
          </p:nvSpPr>
          <p:spPr>
            <a:xfrm>
              <a:off x="4700175" y="2160575"/>
              <a:ext cx="27775" cy="52500"/>
            </a:xfrm>
            <a:custGeom>
              <a:avLst/>
              <a:gdLst/>
              <a:ahLst/>
              <a:cxnLst/>
              <a:rect l="l" t="t" r="r" b="b"/>
              <a:pathLst>
                <a:path w="1111" h="2100" extrusionOk="0">
                  <a:moveTo>
                    <a:pt x="0" y="1"/>
                  </a:moveTo>
                  <a:lnTo>
                    <a:pt x="822" y="1047"/>
                  </a:lnTo>
                  <a:lnTo>
                    <a:pt x="0" y="2100"/>
                  </a:lnTo>
                  <a:lnTo>
                    <a:pt x="289" y="2100"/>
                  </a:lnTo>
                  <a:lnTo>
                    <a:pt x="1111" y="1047"/>
                  </a:lnTo>
                  <a:lnTo>
                    <a:pt x="289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11" name="Google Shape;1811;p52"/>
          <p:cNvGrpSpPr/>
          <p:nvPr/>
        </p:nvGrpSpPr>
        <p:grpSpPr>
          <a:xfrm>
            <a:off x="7459741" y="3204714"/>
            <a:ext cx="145405" cy="113794"/>
            <a:chOff x="4768325" y="2163475"/>
            <a:chExt cx="59700" cy="46725"/>
          </a:xfrm>
        </p:grpSpPr>
        <p:sp>
          <p:nvSpPr>
            <p:cNvPr id="1812" name="Google Shape;1812;p52"/>
            <p:cNvSpPr/>
            <p:nvPr/>
          </p:nvSpPr>
          <p:spPr>
            <a:xfrm>
              <a:off x="4768325" y="2163475"/>
              <a:ext cx="35375" cy="46725"/>
            </a:xfrm>
            <a:custGeom>
              <a:avLst/>
              <a:gdLst/>
              <a:ahLst/>
              <a:cxnLst/>
              <a:rect l="l" t="t" r="r" b="b"/>
              <a:pathLst>
                <a:path w="1415" h="1869" extrusionOk="0">
                  <a:moveTo>
                    <a:pt x="0" y="0"/>
                  </a:moveTo>
                  <a:lnTo>
                    <a:pt x="895" y="931"/>
                  </a:lnTo>
                  <a:lnTo>
                    <a:pt x="0" y="1868"/>
                  </a:lnTo>
                  <a:lnTo>
                    <a:pt x="520" y="1868"/>
                  </a:lnTo>
                  <a:lnTo>
                    <a:pt x="1414" y="931"/>
                  </a:lnTo>
                  <a:lnTo>
                    <a:pt x="52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3" name="Google Shape;1813;p52"/>
            <p:cNvSpPr/>
            <p:nvPr/>
          </p:nvSpPr>
          <p:spPr>
            <a:xfrm>
              <a:off x="4792475" y="2163475"/>
              <a:ext cx="35550" cy="46725"/>
            </a:xfrm>
            <a:custGeom>
              <a:avLst/>
              <a:gdLst/>
              <a:ahLst/>
              <a:cxnLst/>
              <a:rect l="l" t="t" r="r" b="b"/>
              <a:pathLst>
                <a:path w="1422" h="1869" extrusionOk="0">
                  <a:moveTo>
                    <a:pt x="1" y="0"/>
                  </a:moveTo>
                  <a:lnTo>
                    <a:pt x="895" y="931"/>
                  </a:lnTo>
                  <a:lnTo>
                    <a:pt x="1" y="1868"/>
                  </a:lnTo>
                  <a:lnTo>
                    <a:pt x="527" y="1868"/>
                  </a:lnTo>
                  <a:lnTo>
                    <a:pt x="1422" y="931"/>
                  </a:lnTo>
                  <a:lnTo>
                    <a:pt x="52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14" name="Google Shape;1814;p52"/>
          <p:cNvSpPr/>
          <p:nvPr/>
        </p:nvSpPr>
        <p:spPr>
          <a:xfrm>
            <a:off x="7791696" y="3196221"/>
            <a:ext cx="86159" cy="130781"/>
          </a:xfrm>
          <a:custGeom>
            <a:avLst/>
            <a:gdLst/>
            <a:ahLst/>
            <a:cxnLst/>
            <a:rect l="l" t="t" r="r" b="b"/>
            <a:pathLst>
              <a:path w="1415" h="2148" extrusionOk="0">
                <a:moveTo>
                  <a:pt x="308" y="0"/>
                </a:moveTo>
                <a:cubicBezTo>
                  <a:pt x="152" y="0"/>
                  <a:pt x="1" y="123"/>
                  <a:pt x="1" y="308"/>
                </a:cubicBezTo>
                <a:lnTo>
                  <a:pt x="8" y="1844"/>
                </a:lnTo>
                <a:cubicBezTo>
                  <a:pt x="8" y="2026"/>
                  <a:pt x="158" y="2148"/>
                  <a:pt x="316" y="2148"/>
                </a:cubicBezTo>
                <a:cubicBezTo>
                  <a:pt x="390" y="2148"/>
                  <a:pt x="465" y="2121"/>
                  <a:pt x="527" y="2061"/>
                </a:cubicBezTo>
                <a:lnTo>
                  <a:pt x="1292" y="1296"/>
                </a:lnTo>
                <a:cubicBezTo>
                  <a:pt x="1414" y="1181"/>
                  <a:pt x="1414" y="986"/>
                  <a:pt x="1292" y="864"/>
                </a:cubicBezTo>
                <a:lnTo>
                  <a:pt x="520" y="92"/>
                </a:lnTo>
                <a:cubicBezTo>
                  <a:pt x="459" y="29"/>
                  <a:pt x="383" y="0"/>
                  <a:pt x="308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5" name="Google Shape;1815;p52"/>
          <p:cNvSpPr/>
          <p:nvPr/>
        </p:nvSpPr>
        <p:spPr>
          <a:xfrm>
            <a:off x="8064072" y="4203306"/>
            <a:ext cx="148084" cy="162989"/>
          </a:xfrm>
          <a:custGeom>
            <a:avLst/>
            <a:gdLst/>
            <a:ahLst/>
            <a:cxnLst/>
            <a:rect l="l" t="t" r="r" b="b"/>
            <a:pathLst>
              <a:path w="2432" h="2677" extrusionOk="0">
                <a:moveTo>
                  <a:pt x="801" y="1"/>
                </a:moveTo>
                <a:lnTo>
                  <a:pt x="1205" y="751"/>
                </a:lnTo>
                <a:lnTo>
                  <a:pt x="1" y="751"/>
                </a:lnTo>
                <a:lnTo>
                  <a:pt x="1" y="1927"/>
                </a:lnTo>
                <a:lnTo>
                  <a:pt x="1205" y="1927"/>
                </a:lnTo>
                <a:lnTo>
                  <a:pt x="801" y="2677"/>
                </a:lnTo>
                <a:lnTo>
                  <a:pt x="2431" y="1335"/>
                </a:lnTo>
                <a:lnTo>
                  <a:pt x="801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6" name="Google Shape;1816;p52"/>
          <p:cNvSpPr/>
          <p:nvPr/>
        </p:nvSpPr>
        <p:spPr>
          <a:xfrm>
            <a:off x="7165528" y="3431527"/>
            <a:ext cx="119101" cy="163415"/>
          </a:xfrm>
          <a:custGeom>
            <a:avLst/>
            <a:gdLst/>
            <a:ahLst/>
            <a:cxnLst/>
            <a:rect l="l" t="t" r="r" b="b"/>
            <a:pathLst>
              <a:path w="1956" h="2684" extrusionOk="0">
                <a:moveTo>
                  <a:pt x="1" y="0"/>
                </a:moveTo>
                <a:lnTo>
                  <a:pt x="787" y="1342"/>
                </a:lnTo>
                <a:lnTo>
                  <a:pt x="1" y="2683"/>
                </a:lnTo>
                <a:lnTo>
                  <a:pt x="1955" y="1342"/>
                </a:lnTo>
                <a:lnTo>
                  <a:pt x="1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7" name="Google Shape;1817;p52"/>
          <p:cNvSpPr/>
          <p:nvPr/>
        </p:nvSpPr>
        <p:spPr>
          <a:xfrm>
            <a:off x="7133499" y="4219136"/>
            <a:ext cx="183157" cy="131329"/>
          </a:xfrm>
          <a:custGeom>
            <a:avLst/>
            <a:gdLst/>
            <a:ahLst/>
            <a:cxnLst/>
            <a:rect l="l" t="t" r="r" b="b"/>
            <a:pathLst>
              <a:path w="3008" h="2157" extrusionOk="0">
                <a:moveTo>
                  <a:pt x="0" y="0"/>
                </a:moveTo>
                <a:lnTo>
                  <a:pt x="729" y="1075"/>
                </a:lnTo>
                <a:lnTo>
                  <a:pt x="0" y="2157"/>
                </a:lnTo>
                <a:lnTo>
                  <a:pt x="0" y="2157"/>
                </a:lnTo>
                <a:lnTo>
                  <a:pt x="3008" y="1075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8" name="Google Shape;1818;p52"/>
          <p:cNvSpPr/>
          <p:nvPr/>
        </p:nvSpPr>
        <p:spPr>
          <a:xfrm>
            <a:off x="7150823" y="3700780"/>
            <a:ext cx="148511" cy="112515"/>
          </a:xfrm>
          <a:custGeom>
            <a:avLst/>
            <a:gdLst/>
            <a:ahLst/>
            <a:cxnLst/>
            <a:rect l="l" t="t" r="r" b="b"/>
            <a:pathLst>
              <a:path w="2439" h="1848" extrusionOk="0">
                <a:moveTo>
                  <a:pt x="1580" y="1"/>
                </a:moveTo>
                <a:lnTo>
                  <a:pt x="1371" y="203"/>
                </a:lnTo>
                <a:lnTo>
                  <a:pt x="1919" y="780"/>
                </a:lnTo>
                <a:lnTo>
                  <a:pt x="1" y="780"/>
                </a:lnTo>
                <a:lnTo>
                  <a:pt x="1" y="1068"/>
                </a:lnTo>
                <a:lnTo>
                  <a:pt x="1919" y="1068"/>
                </a:lnTo>
                <a:lnTo>
                  <a:pt x="1371" y="1645"/>
                </a:lnTo>
                <a:lnTo>
                  <a:pt x="1580" y="1847"/>
                </a:lnTo>
                <a:lnTo>
                  <a:pt x="2439" y="924"/>
                </a:lnTo>
                <a:lnTo>
                  <a:pt x="1580" y="1"/>
                </a:lnTo>
                <a:close/>
              </a:path>
            </a:pathLst>
          </a:custGeom>
          <a:solidFill>
            <a:srgbClr val="869FB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9" name="Google Shape;1819;p52"/>
          <p:cNvSpPr/>
          <p:nvPr/>
        </p:nvSpPr>
        <p:spPr>
          <a:xfrm>
            <a:off x="7784572" y="3682697"/>
            <a:ext cx="100408" cy="148681"/>
          </a:xfrm>
          <a:custGeom>
            <a:avLst/>
            <a:gdLst/>
            <a:ahLst/>
            <a:cxnLst/>
            <a:rect l="l" t="t" r="r" b="b"/>
            <a:pathLst>
              <a:path w="1649" h="2442" extrusionOk="0">
                <a:moveTo>
                  <a:pt x="501" y="1"/>
                </a:moveTo>
                <a:cubicBezTo>
                  <a:pt x="238" y="1"/>
                  <a:pt x="1" y="336"/>
                  <a:pt x="250" y="590"/>
                </a:cubicBezTo>
                <a:lnTo>
                  <a:pt x="841" y="1232"/>
                </a:lnTo>
                <a:lnTo>
                  <a:pt x="250" y="1874"/>
                </a:lnTo>
                <a:cubicBezTo>
                  <a:pt x="36" y="2126"/>
                  <a:pt x="260" y="2441"/>
                  <a:pt x="516" y="2441"/>
                </a:cubicBezTo>
                <a:cubicBezTo>
                  <a:pt x="596" y="2441"/>
                  <a:pt x="680" y="2410"/>
                  <a:pt x="754" y="2336"/>
                </a:cubicBezTo>
                <a:lnTo>
                  <a:pt x="1555" y="1463"/>
                </a:lnTo>
                <a:cubicBezTo>
                  <a:pt x="1613" y="1405"/>
                  <a:pt x="1641" y="1326"/>
                  <a:pt x="1649" y="1246"/>
                </a:cubicBezTo>
                <a:cubicBezTo>
                  <a:pt x="1649" y="1239"/>
                  <a:pt x="1649" y="1239"/>
                  <a:pt x="1649" y="1232"/>
                </a:cubicBezTo>
                <a:cubicBezTo>
                  <a:pt x="1649" y="1225"/>
                  <a:pt x="1649" y="1225"/>
                  <a:pt x="1649" y="1218"/>
                </a:cubicBezTo>
                <a:cubicBezTo>
                  <a:pt x="1641" y="1138"/>
                  <a:pt x="1613" y="1059"/>
                  <a:pt x="1555" y="1001"/>
                </a:cubicBezTo>
                <a:lnTo>
                  <a:pt x="754" y="129"/>
                </a:lnTo>
                <a:cubicBezTo>
                  <a:pt x="679" y="38"/>
                  <a:pt x="588" y="1"/>
                  <a:pt x="501" y="1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20" name="Google Shape;1820;p52"/>
          <p:cNvGrpSpPr/>
          <p:nvPr/>
        </p:nvGrpSpPr>
        <p:grpSpPr>
          <a:xfrm>
            <a:off x="7476059" y="3459808"/>
            <a:ext cx="112768" cy="106853"/>
            <a:chOff x="4768575" y="2253950"/>
            <a:chExt cx="46300" cy="43875"/>
          </a:xfrm>
        </p:grpSpPr>
        <p:sp>
          <p:nvSpPr>
            <p:cNvPr id="1821" name="Google Shape;1821;p52"/>
            <p:cNvSpPr/>
            <p:nvPr/>
          </p:nvSpPr>
          <p:spPr>
            <a:xfrm>
              <a:off x="4785700" y="2253950"/>
              <a:ext cx="29175" cy="43875"/>
            </a:xfrm>
            <a:custGeom>
              <a:avLst/>
              <a:gdLst/>
              <a:ahLst/>
              <a:cxnLst/>
              <a:rect l="l" t="t" r="r" b="b"/>
              <a:pathLst>
                <a:path w="1167" h="1755" extrusionOk="0">
                  <a:moveTo>
                    <a:pt x="262" y="1"/>
                  </a:moveTo>
                  <a:cubicBezTo>
                    <a:pt x="150" y="1"/>
                    <a:pt x="49" y="149"/>
                    <a:pt x="164" y="247"/>
                  </a:cubicBezTo>
                  <a:lnTo>
                    <a:pt x="770" y="853"/>
                  </a:lnTo>
                  <a:lnTo>
                    <a:pt x="106" y="1517"/>
                  </a:lnTo>
                  <a:cubicBezTo>
                    <a:pt x="1" y="1616"/>
                    <a:pt x="95" y="1754"/>
                    <a:pt x="204" y="1754"/>
                  </a:cubicBezTo>
                  <a:cubicBezTo>
                    <a:pt x="236" y="1754"/>
                    <a:pt x="271" y="1742"/>
                    <a:pt x="301" y="1711"/>
                  </a:cubicBezTo>
                  <a:lnTo>
                    <a:pt x="1166" y="853"/>
                  </a:lnTo>
                  <a:lnTo>
                    <a:pt x="366" y="52"/>
                  </a:lnTo>
                  <a:cubicBezTo>
                    <a:pt x="334" y="16"/>
                    <a:pt x="297" y="1"/>
                    <a:pt x="26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2" name="Google Shape;1822;p52"/>
            <p:cNvSpPr/>
            <p:nvPr/>
          </p:nvSpPr>
          <p:spPr>
            <a:xfrm>
              <a:off x="4768575" y="2253950"/>
              <a:ext cx="29175" cy="43875"/>
            </a:xfrm>
            <a:custGeom>
              <a:avLst/>
              <a:gdLst/>
              <a:ahLst/>
              <a:cxnLst/>
              <a:rect l="l" t="t" r="r" b="b"/>
              <a:pathLst>
                <a:path w="1167" h="1755" extrusionOk="0">
                  <a:moveTo>
                    <a:pt x="261" y="1"/>
                  </a:moveTo>
                  <a:cubicBezTo>
                    <a:pt x="150" y="1"/>
                    <a:pt x="50" y="149"/>
                    <a:pt x="171" y="247"/>
                  </a:cubicBezTo>
                  <a:lnTo>
                    <a:pt x="769" y="853"/>
                  </a:lnTo>
                  <a:lnTo>
                    <a:pt x="106" y="1517"/>
                  </a:lnTo>
                  <a:cubicBezTo>
                    <a:pt x="1" y="1616"/>
                    <a:pt x="95" y="1754"/>
                    <a:pt x="203" y="1754"/>
                  </a:cubicBezTo>
                  <a:cubicBezTo>
                    <a:pt x="236" y="1754"/>
                    <a:pt x="270" y="1742"/>
                    <a:pt x="301" y="1711"/>
                  </a:cubicBezTo>
                  <a:lnTo>
                    <a:pt x="1166" y="853"/>
                  </a:lnTo>
                  <a:lnTo>
                    <a:pt x="365" y="52"/>
                  </a:lnTo>
                  <a:cubicBezTo>
                    <a:pt x="334" y="16"/>
                    <a:pt x="297" y="1"/>
                    <a:pt x="26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23" name="Google Shape;1823;p52"/>
          <p:cNvGrpSpPr/>
          <p:nvPr/>
        </p:nvGrpSpPr>
        <p:grpSpPr>
          <a:xfrm>
            <a:off x="7775682" y="3948834"/>
            <a:ext cx="118187" cy="146246"/>
            <a:chOff x="4960900" y="2433225"/>
            <a:chExt cx="48525" cy="60050"/>
          </a:xfrm>
        </p:grpSpPr>
        <p:sp>
          <p:nvSpPr>
            <p:cNvPr id="1824" name="Google Shape;1824;p52"/>
            <p:cNvSpPr/>
            <p:nvPr/>
          </p:nvSpPr>
          <p:spPr>
            <a:xfrm>
              <a:off x="4974225" y="2433225"/>
              <a:ext cx="35200" cy="60050"/>
            </a:xfrm>
            <a:custGeom>
              <a:avLst/>
              <a:gdLst/>
              <a:ahLst/>
              <a:cxnLst/>
              <a:rect l="l" t="t" r="r" b="b"/>
              <a:pathLst>
                <a:path w="1408" h="2402" extrusionOk="0">
                  <a:moveTo>
                    <a:pt x="102" y="0"/>
                  </a:moveTo>
                  <a:lnTo>
                    <a:pt x="95" y="7"/>
                  </a:lnTo>
                  <a:lnTo>
                    <a:pt x="1112" y="1154"/>
                  </a:lnTo>
                  <a:lnTo>
                    <a:pt x="1" y="2402"/>
                  </a:lnTo>
                  <a:lnTo>
                    <a:pt x="297" y="2402"/>
                  </a:lnTo>
                  <a:lnTo>
                    <a:pt x="1407" y="1154"/>
                  </a:lnTo>
                  <a:lnTo>
                    <a:pt x="383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5" name="Google Shape;1825;p52"/>
            <p:cNvSpPr/>
            <p:nvPr/>
          </p:nvSpPr>
          <p:spPr>
            <a:xfrm>
              <a:off x="4960900" y="2433225"/>
              <a:ext cx="35175" cy="60050"/>
            </a:xfrm>
            <a:custGeom>
              <a:avLst/>
              <a:gdLst/>
              <a:ahLst/>
              <a:cxnLst/>
              <a:rect l="l" t="t" r="r" b="b"/>
              <a:pathLst>
                <a:path w="1407" h="2402" extrusionOk="0">
                  <a:moveTo>
                    <a:pt x="108" y="0"/>
                  </a:moveTo>
                  <a:lnTo>
                    <a:pt x="94" y="7"/>
                  </a:lnTo>
                  <a:lnTo>
                    <a:pt x="1111" y="1154"/>
                  </a:lnTo>
                  <a:lnTo>
                    <a:pt x="0" y="2402"/>
                  </a:lnTo>
                  <a:lnTo>
                    <a:pt x="296" y="2402"/>
                  </a:lnTo>
                  <a:lnTo>
                    <a:pt x="1407" y="1154"/>
                  </a:lnTo>
                  <a:lnTo>
                    <a:pt x="390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26" name="Google Shape;1826;p52"/>
          <p:cNvGrpSpPr/>
          <p:nvPr/>
        </p:nvGrpSpPr>
        <p:grpSpPr>
          <a:xfrm>
            <a:off x="7464247" y="4212895"/>
            <a:ext cx="136394" cy="143810"/>
            <a:chOff x="4854075" y="2527625"/>
            <a:chExt cx="56000" cy="59050"/>
          </a:xfrm>
        </p:grpSpPr>
        <p:sp>
          <p:nvSpPr>
            <p:cNvPr id="1827" name="Google Shape;1827;p52"/>
            <p:cNvSpPr/>
            <p:nvPr/>
          </p:nvSpPr>
          <p:spPr>
            <a:xfrm>
              <a:off x="4872325" y="2527625"/>
              <a:ext cx="37750" cy="59050"/>
            </a:xfrm>
            <a:custGeom>
              <a:avLst/>
              <a:gdLst/>
              <a:ahLst/>
              <a:cxnLst/>
              <a:rect l="l" t="t" r="r" b="b"/>
              <a:pathLst>
                <a:path w="1510" h="2362" extrusionOk="0">
                  <a:moveTo>
                    <a:pt x="305" y="1"/>
                  </a:moveTo>
                  <a:cubicBezTo>
                    <a:pt x="141" y="1"/>
                    <a:pt x="1" y="210"/>
                    <a:pt x="146" y="371"/>
                  </a:cubicBezTo>
                  <a:lnTo>
                    <a:pt x="961" y="1179"/>
                  </a:lnTo>
                  <a:lnTo>
                    <a:pt x="146" y="1994"/>
                  </a:lnTo>
                  <a:cubicBezTo>
                    <a:pt x="0" y="2151"/>
                    <a:pt x="143" y="2361"/>
                    <a:pt x="308" y="2361"/>
                  </a:cubicBezTo>
                  <a:cubicBezTo>
                    <a:pt x="355" y="2361"/>
                    <a:pt x="404" y="2344"/>
                    <a:pt x="449" y="2304"/>
                  </a:cubicBezTo>
                  <a:lnTo>
                    <a:pt x="1423" y="1338"/>
                  </a:lnTo>
                  <a:cubicBezTo>
                    <a:pt x="1509" y="1244"/>
                    <a:pt x="1509" y="1107"/>
                    <a:pt x="1423" y="1013"/>
                  </a:cubicBezTo>
                  <a:lnTo>
                    <a:pt x="1423" y="1020"/>
                  </a:lnTo>
                  <a:lnTo>
                    <a:pt x="449" y="61"/>
                  </a:lnTo>
                  <a:cubicBezTo>
                    <a:pt x="403" y="19"/>
                    <a:pt x="353" y="1"/>
                    <a:pt x="30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8" name="Google Shape;1828;p52"/>
            <p:cNvSpPr/>
            <p:nvPr/>
          </p:nvSpPr>
          <p:spPr>
            <a:xfrm>
              <a:off x="4854075" y="2539100"/>
              <a:ext cx="26075" cy="35875"/>
            </a:xfrm>
            <a:custGeom>
              <a:avLst/>
              <a:gdLst/>
              <a:ahLst/>
              <a:cxnLst/>
              <a:rect l="l" t="t" r="r" b="b"/>
              <a:pathLst>
                <a:path w="1043" h="1435" extrusionOk="0">
                  <a:moveTo>
                    <a:pt x="326" y="1"/>
                  </a:moveTo>
                  <a:cubicBezTo>
                    <a:pt x="152" y="1"/>
                    <a:pt x="1" y="234"/>
                    <a:pt x="177" y="388"/>
                  </a:cubicBezTo>
                  <a:lnTo>
                    <a:pt x="516" y="720"/>
                  </a:lnTo>
                  <a:lnTo>
                    <a:pt x="177" y="1059"/>
                  </a:lnTo>
                  <a:cubicBezTo>
                    <a:pt x="21" y="1215"/>
                    <a:pt x="165" y="1435"/>
                    <a:pt x="336" y="1435"/>
                  </a:cubicBezTo>
                  <a:cubicBezTo>
                    <a:pt x="386" y="1435"/>
                    <a:pt x="439" y="1415"/>
                    <a:pt x="487" y="1369"/>
                  </a:cubicBezTo>
                  <a:lnTo>
                    <a:pt x="977" y="886"/>
                  </a:lnTo>
                  <a:cubicBezTo>
                    <a:pt x="1020" y="843"/>
                    <a:pt x="1042" y="785"/>
                    <a:pt x="1042" y="720"/>
                  </a:cubicBezTo>
                  <a:cubicBezTo>
                    <a:pt x="1042" y="662"/>
                    <a:pt x="1013" y="605"/>
                    <a:pt x="977" y="561"/>
                  </a:cubicBezTo>
                  <a:lnTo>
                    <a:pt x="487" y="78"/>
                  </a:lnTo>
                  <a:cubicBezTo>
                    <a:pt x="437" y="23"/>
                    <a:pt x="380" y="1"/>
                    <a:pt x="3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29" name="Google Shape;1829;p52"/>
          <p:cNvSpPr/>
          <p:nvPr/>
        </p:nvSpPr>
        <p:spPr>
          <a:xfrm>
            <a:off x="7479500" y="3955623"/>
            <a:ext cx="105888" cy="132668"/>
          </a:xfrm>
          <a:custGeom>
            <a:avLst/>
            <a:gdLst/>
            <a:ahLst/>
            <a:cxnLst/>
            <a:rect l="l" t="t" r="r" b="b"/>
            <a:pathLst>
              <a:path w="1739" h="2179" extrusionOk="0">
                <a:moveTo>
                  <a:pt x="1" y="1"/>
                </a:moveTo>
                <a:lnTo>
                  <a:pt x="1" y="2179"/>
                </a:lnTo>
                <a:lnTo>
                  <a:pt x="758" y="2179"/>
                </a:lnTo>
                <a:lnTo>
                  <a:pt x="1739" y="1090"/>
                </a:lnTo>
                <a:lnTo>
                  <a:pt x="758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0" name="Google Shape;1830;p52"/>
          <p:cNvSpPr/>
          <p:nvPr/>
        </p:nvSpPr>
        <p:spPr>
          <a:xfrm>
            <a:off x="8058166" y="3195277"/>
            <a:ext cx="159897" cy="132668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1" name="Google Shape;1831;p52"/>
          <p:cNvSpPr/>
          <p:nvPr/>
        </p:nvSpPr>
        <p:spPr>
          <a:xfrm>
            <a:off x="7157429" y="3955623"/>
            <a:ext cx="135298" cy="132668"/>
          </a:xfrm>
          <a:custGeom>
            <a:avLst/>
            <a:gdLst/>
            <a:ahLst/>
            <a:cxnLst/>
            <a:rect l="l" t="t" r="r" b="b"/>
            <a:pathLst>
              <a:path w="2222" h="2179" extrusionOk="0">
                <a:moveTo>
                  <a:pt x="477" y="1"/>
                </a:moveTo>
                <a:lnTo>
                  <a:pt x="895" y="513"/>
                </a:lnTo>
                <a:lnTo>
                  <a:pt x="1" y="513"/>
                </a:lnTo>
                <a:lnTo>
                  <a:pt x="1" y="1659"/>
                </a:lnTo>
                <a:lnTo>
                  <a:pt x="895" y="1659"/>
                </a:lnTo>
                <a:lnTo>
                  <a:pt x="477" y="2179"/>
                </a:lnTo>
                <a:lnTo>
                  <a:pt x="1234" y="2179"/>
                </a:lnTo>
                <a:lnTo>
                  <a:pt x="2222" y="1090"/>
                </a:lnTo>
                <a:lnTo>
                  <a:pt x="1234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32" name="Google Shape;1832;p52"/>
          <p:cNvGrpSpPr/>
          <p:nvPr/>
        </p:nvGrpSpPr>
        <p:grpSpPr>
          <a:xfrm>
            <a:off x="8088458" y="3676639"/>
            <a:ext cx="99312" cy="160797"/>
            <a:chOff x="5059700" y="2334775"/>
            <a:chExt cx="40775" cy="66025"/>
          </a:xfrm>
        </p:grpSpPr>
        <p:sp>
          <p:nvSpPr>
            <p:cNvPr id="1833" name="Google Shape;1833;p52"/>
            <p:cNvSpPr/>
            <p:nvPr/>
          </p:nvSpPr>
          <p:spPr>
            <a:xfrm>
              <a:off x="5059700" y="2334775"/>
              <a:ext cx="12475" cy="10525"/>
            </a:xfrm>
            <a:custGeom>
              <a:avLst/>
              <a:gdLst/>
              <a:ahLst/>
              <a:cxnLst/>
              <a:rect l="l" t="t" r="r" b="b"/>
              <a:pathLst>
                <a:path w="499" h="421" extrusionOk="0">
                  <a:moveTo>
                    <a:pt x="282" y="0"/>
                  </a:moveTo>
                  <a:cubicBezTo>
                    <a:pt x="94" y="0"/>
                    <a:pt x="1" y="224"/>
                    <a:pt x="138" y="361"/>
                  </a:cubicBezTo>
                  <a:cubicBezTo>
                    <a:pt x="179" y="402"/>
                    <a:pt x="230" y="421"/>
                    <a:pt x="281" y="421"/>
                  </a:cubicBezTo>
                  <a:cubicBezTo>
                    <a:pt x="388" y="421"/>
                    <a:pt x="491" y="337"/>
                    <a:pt x="491" y="209"/>
                  </a:cubicBezTo>
                  <a:cubicBezTo>
                    <a:pt x="498" y="94"/>
                    <a:pt x="397" y="0"/>
                    <a:pt x="282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4" name="Google Shape;1834;p52"/>
            <p:cNvSpPr/>
            <p:nvPr/>
          </p:nvSpPr>
          <p:spPr>
            <a:xfrm>
              <a:off x="5059700" y="2348650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2" y="1"/>
                  </a:moveTo>
                  <a:cubicBezTo>
                    <a:pt x="94" y="1"/>
                    <a:pt x="1" y="224"/>
                    <a:pt x="138" y="361"/>
                  </a:cubicBezTo>
                  <a:cubicBezTo>
                    <a:pt x="179" y="403"/>
                    <a:pt x="230" y="421"/>
                    <a:pt x="281" y="421"/>
                  </a:cubicBezTo>
                  <a:cubicBezTo>
                    <a:pt x="388" y="421"/>
                    <a:pt x="491" y="337"/>
                    <a:pt x="491" y="210"/>
                  </a:cubicBezTo>
                  <a:cubicBezTo>
                    <a:pt x="498" y="94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5" name="Google Shape;1835;p52"/>
            <p:cNvSpPr/>
            <p:nvPr/>
          </p:nvSpPr>
          <p:spPr>
            <a:xfrm>
              <a:off x="5059700" y="2362525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2" y="1"/>
                  </a:moveTo>
                  <a:cubicBezTo>
                    <a:pt x="94" y="1"/>
                    <a:pt x="1" y="224"/>
                    <a:pt x="138" y="361"/>
                  </a:cubicBezTo>
                  <a:cubicBezTo>
                    <a:pt x="179" y="403"/>
                    <a:pt x="230" y="422"/>
                    <a:pt x="281" y="422"/>
                  </a:cubicBezTo>
                  <a:cubicBezTo>
                    <a:pt x="388" y="422"/>
                    <a:pt x="491" y="338"/>
                    <a:pt x="491" y="210"/>
                  </a:cubicBezTo>
                  <a:cubicBezTo>
                    <a:pt x="498" y="95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6" name="Google Shape;1836;p52"/>
            <p:cNvSpPr/>
            <p:nvPr/>
          </p:nvSpPr>
          <p:spPr>
            <a:xfrm>
              <a:off x="5059700" y="2376400"/>
              <a:ext cx="12475" cy="10500"/>
            </a:xfrm>
            <a:custGeom>
              <a:avLst/>
              <a:gdLst/>
              <a:ahLst/>
              <a:cxnLst/>
              <a:rect l="l" t="t" r="r" b="b"/>
              <a:pathLst>
                <a:path w="499" h="420" extrusionOk="0">
                  <a:moveTo>
                    <a:pt x="294" y="1"/>
                  </a:moveTo>
                  <a:cubicBezTo>
                    <a:pt x="290" y="1"/>
                    <a:pt x="286" y="1"/>
                    <a:pt x="282" y="1"/>
                  </a:cubicBezTo>
                  <a:cubicBezTo>
                    <a:pt x="94" y="1"/>
                    <a:pt x="1" y="225"/>
                    <a:pt x="138" y="355"/>
                  </a:cubicBezTo>
                  <a:cubicBezTo>
                    <a:pt x="180" y="400"/>
                    <a:pt x="233" y="420"/>
                    <a:pt x="285" y="420"/>
                  </a:cubicBezTo>
                  <a:cubicBezTo>
                    <a:pt x="390" y="420"/>
                    <a:pt x="491" y="336"/>
                    <a:pt x="491" y="210"/>
                  </a:cubicBezTo>
                  <a:cubicBezTo>
                    <a:pt x="498" y="99"/>
                    <a:pt x="404" y="1"/>
                    <a:pt x="29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7" name="Google Shape;1837;p52"/>
            <p:cNvSpPr/>
            <p:nvPr/>
          </p:nvSpPr>
          <p:spPr>
            <a:xfrm>
              <a:off x="5059700" y="2390125"/>
              <a:ext cx="12475" cy="10675"/>
            </a:xfrm>
            <a:custGeom>
              <a:avLst/>
              <a:gdLst/>
              <a:ahLst/>
              <a:cxnLst/>
              <a:rect l="l" t="t" r="r" b="b"/>
              <a:pathLst>
                <a:path w="499" h="427" extrusionOk="0">
                  <a:moveTo>
                    <a:pt x="282" y="0"/>
                  </a:moveTo>
                  <a:cubicBezTo>
                    <a:pt x="94" y="0"/>
                    <a:pt x="1" y="231"/>
                    <a:pt x="138" y="361"/>
                  </a:cubicBezTo>
                  <a:cubicBezTo>
                    <a:pt x="180" y="406"/>
                    <a:pt x="233" y="426"/>
                    <a:pt x="285" y="426"/>
                  </a:cubicBezTo>
                  <a:cubicBezTo>
                    <a:pt x="390" y="426"/>
                    <a:pt x="491" y="343"/>
                    <a:pt x="491" y="217"/>
                  </a:cubicBezTo>
                  <a:cubicBezTo>
                    <a:pt x="498" y="94"/>
                    <a:pt x="397" y="0"/>
                    <a:pt x="282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8" name="Google Shape;1838;p52"/>
            <p:cNvSpPr/>
            <p:nvPr/>
          </p:nvSpPr>
          <p:spPr>
            <a:xfrm>
              <a:off x="5073950" y="2348650"/>
              <a:ext cx="12275" cy="10550"/>
            </a:xfrm>
            <a:custGeom>
              <a:avLst/>
              <a:gdLst/>
              <a:ahLst/>
              <a:cxnLst/>
              <a:rect l="l" t="t" r="r" b="b"/>
              <a:pathLst>
                <a:path w="491" h="422" extrusionOk="0">
                  <a:moveTo>
                    <a:pt x="282" y="1"/>
                  </a:moveTo>
                  <a:cubicBezTo>
                    <a:pt x="94" y="1"/>
                    <a:pt x="0" y="224"/>
                    <a:pt x="130" y="361"/>
                  </a:cubicBezTo>
                  <a:cubicBezTo>
                    <a:pt x="174" y="403"/>
                    <a:pt x="227" y="421"/>
                    <a:pt x="278" y="421"/>
                  </a:cubicBezTo>
                  <a:cubicBezTo>
                    <a:pt x="387" y="421"/>
                    <a:pt x="491" y="337"/>
                    <a:pt x="491" y="210"/>
                  </a:cubicBezTo>
                  <a:cubicBezTo>
                    <a:pt x="491" y="94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9" name="Google Shape;1839;p52"/>
            <p:cNvSpPr/>
            <p:nvPr/>
          </p:nvSpPr>
          <p:spPr>
            <a:xfrm>
              <a:off x="5073950" y="2362525"/>
              <a:ext cx="12275" cy="10550"/>
            </a:xfrm>
            <a:custGeom>
              <a:avLst/>
              <a:gdLst/>
              <a:ahLst/>
              <a:cxnLst/>
              <a:rect l="l" t="t" r="r" b="b"/>
              <a:pathLst>
                <a:path w="491" h="422" extrusionOk="0">
                  <a:moveTo>
                    <a:pt x="282" y="1"/>
                  </a:moveTo>
                  <a:cubicBezTo>
                    <a:pt x="94" y="1"/>
                    <a:pt x="0" y="224"/>
                    <a:pt x="130" y="361"/>
                  </a:cubicBezTo>
                  <a:cubicBezTo>
                    <a:pt x="174" y="403"/>
                    <a:pt x="227" y="422"/>
                    <a:pt x="278" y="422"/>
                  </a:cubicBezTo>
                  <a:cubicBezTo>
                    <a:pt x="387" y="422"/>
                    <a:pt x="491" y="338"/>
                    <a:pt x="491" y="210"/>
                  </a:cubicBezTo>
                  <a:cubicBezTo>
                    <a:pt x="491" y="95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0" name="Google Shape;1840;p52"/>
            <p:cNvSpPr/>
            <p:nvPr/>
          </p:nvSpPr>
          <p:spPr>
            <a:xfrm>
              <a:off x="5074000" y="2376400"/>
              <a:ext cx="12225" cy="10500"/>
            </a:xfrm>
            <a:custGeom>
              <a:avLst/>
              <a:gdLst/>
              <a:ahLst/>
              <a:cxnLst/>
              <a:rect l="l" t="t" r="r" b="b"/>
              <a:pathLst>
                <a:path w="489" h="420" extrusionOk="0">
                  <a:moveTo>
                    <a:pt x="291" y="1"/>
                  </a:moveTo>
                  <a:cubicBezTo>
                    <a:pt x="287" y="1"/>
                    <a:pt x="284" y="1"/>
                    <a:pt x="280" y="1"/>
                  </a:cubicBezTo>
                  <a:cubicBezTo>
                    <a:pt x="277" y="1"/>
                    <a:pt x="274" y="1"/>
                    <a:pt x="271" y="1"/>
                  </a:cubicBezTo>
                  <a:cubicBezTo>
                    <a:pt x="89" y="1"/>
                    <a:pt x="0" y="227"/>
                    <a:pt x="128" y="355"/>
                  </a:cubicBezTo>
                  <a:cubicBezTo>
                    <a:pt x="173" y="400"/>
                    <a:pt x="228" y="420"/>
                    <a:pt x="281" y="420"/>
                  </a:cubicBezTo>
                  <a:cubicBezTo>
                    <a:pt x="388" y="420"/>
                    <a:pt x="489" y="336"/>
                    <a:pt x="489" y="210"/>
                  </a:cubicBezTo>
                  <a:cubicBezTo>
                    <a:pt x="489" y="99"/>
                    <a:pt x="401" y="1"/>
                    <a:pt x="29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1" name="Google Shape;1841;p52"/>
            <p:cNvSpPr/>
            <p:nvPr/>
          </p:nvSpPr>
          <p:spPr>
            <a:xfrm>
              <a:off x="5088000" y="2362525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9" y="1"/>
                  </a:moveTo>
                  <a:cubicBezTo>
                    <a:pt x="102" y="1"/>
                    <a:pt x="1" y="224"/>
                    <a:pt x="138" y="361"/>
                  </a:cubicBezTo>
                  <a:cubicBezTo>
                    <a:pt x="180" y="403"/>
                    <a:pt x="231" y="422"/>
                    <a:pt x="283" y="422"/>
                  </a:cubicBezTo>
                  <a:cubicBezTo>
                    <a:pt x="392" y="422"/>
                    <a:pt x="499" y="338"/>
                    <a:pt x="499" y="210"/>
                  </a:cubicBezTo>
                  <a:cubicBezTo>
                    <a:pt x="499" y="95"/>
                    <a:pt x="405" y="1"/>
                    <a:pt x="28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42" name="Google Shape;1842;p52"/>
          <p:cNvGrpSpPr/>
          <p:nvPr/>
        </p:nvGrpSpPr>
        <p:grpSpPr>
          <a:xfrm>
            <a:off x="8045622" y="3941771"/>
            <a:ext cx="184984" cy="160371"/>
            <a:chOff x="5037700" y="2430325"/>
            <a:chExt cx="75950" cy="65850"/>
          </a:xfrm>
        </p:grpSpPr>
        <p:sp>
          <p:nvSpPr>
            <p:cNvPr id="1843" name="Google Shape;1843;p52"/>
            <p:cNvSpPr/>
            <p:nvPr/>
          </p:nvSpPr>
          <p:spPr>
            <a:xfrm>
              <a:off x="5059700" y="2430325"/>
              <a:ext cx="53950" cy="65850"/>
            </a:xfrm>
            <a:custGeom>
              <a:avLst/>
              <a:gdLst/>
              <a:ahLst/>
              <a:cxnLst/>
              <a:rect l="l" t="t" r="r" b="b"/>
              <a:pathLst>
                <a:path w="2158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1292" y="2633"/>
                  </a:lnTo>
                  <a:lnTo>
                    <a:pt x="2157" y="1321"/>
                  </a:lnTo>
                  <a:lnTo>
                    <a:pt x="129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4" name="Google Shape;1844;p52"/>
            <p:cNvSpPr/>
            <p:nvPr/>
          </p:nvSpPr>
          <p:spPr>
            <a:xfrm>
              <a:off x="5037700" y="2430325"/>
              <a:ext cx="34100" cy="65850"/>
            </a:xfrm>
            <a:custGeom>
              <a:avLst/>
              <a:gdLst/>
              <a:ahLst/>
              <a:cxnLst/>
              <a:rect l="l" t="t" r="r" b="b"/>
              <a:pathLst>
                <a:path w="1364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498" y="2633"/>
                  </a:lnTo>
                  <a:lnTo>
                    <a:pt x="1364" y="1321"/>
                  </a:lnTo>
                  <a:lnTo>
                    <a:pt x="49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45" name="Google Shape;1845;p52"/>
          <p:cNvGrpSpPr/>
          <p:nvPr/>
        </p:nvGrpSpPr>
        <p:grpSpPr>
          <a:xfrm>
            <a:off x="7465128" y="3708223"/>
            <a:ext cx="173014" cy="97629"/>
            <a:chOff x="4756975" y="2341800"/>
            <a:chExt cx="91975" cy="51925"/>
          </a:xfrm>
        </p:grpSpPr>
        <p:sp>
          <p:nvSpPr>
            <p:cNvPr id="1846" name="Google Shape;1846;p52"/>
            <p:cNvSpPr/>
            <p:nvPr/>
          </p:nvSpPr>
          <p:spPr>
            <a:xfrm>
              <a:off x="4756975" y="2341800"/>
              <a:ext cx="10650" cy="9150"/>
            </a:xfrm>
            <a:custGeom>
              <a:avLst/>
              <a:gdLst/>
              <a:ahLst/>
              <a:cxnLst/>
              <a:rect l="l" t="t" r="r" b="b"/>
              <a:pathLst>
                <a:path w="426" h="366" extrusionOk="0">
                  <a:moveTo>
                    <a:pt x="245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3" y="348"/>
                    <a:pt x="199" y="365"/>
                    <a:pt x="244" y="365"/>
                  </a:cubicBezTo>
                  <a:cubicBezTo>
                    <a:pt x="337" y="365"/>
                    <a:pt x="426" y="293"/>
                    <a:pt x="426" y="181"/>
                  </a:cubicBezTo>
                  <a:cubicBezTo>
                    <a:pt x="426" y="80"/>
                    <a:pt x="346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7" name="Google Shape;1847;p52"/>
            <p:cNvSpPr/>
            <p:nvPr/>
          </p:nvSpPr>
          <p:spPr>
            <a:xfrm>
              <a:off x="4777350" y="2341800"/>
              <a:ext cx="10650" cy="9150"/>
            </a:xfrm>
            <a:custGeom>
              <a:avLst/>
              <a:gdLst/>
              <a:ahLst/>
              <a:cxnLst/>
              <a:rect l="l" t="t" r="r" b="b"/>
              <a:pathLst>
                <a:path w="426" h="366" extrusionOk="0">
                  <a:moveTo>
                    <a:pt x="245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3" y="348"/>
                    <a:pt x="199" y="365"/>
                    <a:pt x="244" y="365"/>
                  </a:cubicBezTo>
                  <a:cubicBezTo>
                    <a:pt x="337" y="365"/>
                    <a:pt x="426" y="293"/>
                    <a:pt x="426" y="181"/>
                  </a:cubicBezTo>
                  <a:cubicBezTo>
                    <a:pt x="426" y="80"/>
                    <a:pt x="339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8" name="Google Shape;1848;p52"/>
            <p:cNvSpPr/>
            <p:nvPr/>
          </p:nvSpPr>
          <p:spPr>
            <a:xfrm>
              <a:off x="4797725" y="2341800"/>
              <a:ext cx="10475" cy="9150"/>
            </a:xfrm>
            <a:custGeom>
              <a:avLst/>
              <a:gdLst/>
              <a:ahLst/>
              <a:cxnLst/>
              <a:rect l="l" t="t" r="r" b="b"/>
              <a:pathLst>
                <a:path w="419" h="366" extrusionOk="0">
                  <a:moveTo>
                    <a:pt x="238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1" y="348"/>
                    <a:pt x="195" y="365"/>
                    <a:pt x="239" y="365"/>
                  </a:cubicBezTo>
                  <a:cubicBezTo>
                    <a:pt x="330" y="365"/>
                    <a:pt x="418" y="293"/>
                    <a:pt x="418" y="181"/>
                  </a:cubicBezTo>
                  <a:cubicBezTo>
                    <a:pt x="418" y="80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9" name="Google Shape;1849;p52"/>
            <p:cNvSpPr/>
            <p:nvPr/>
          </p:nvSpPr>
          <p:spPr>
            <a:xfrm>
              <a:off x="4818100" y="2341800"/>
              <a:ext cx="10475" cy="9150"/>
            </a:xfrm>
            <a:custGeom>
              <a:avLst/>
              <a:gdLst/>
              <a:ahLst/>
              <a:cxnLst/>
              <a:rect l="l" t="t" r="r" b="b"/>
              <a:pathLst>
                <a:path w="419" h="366" extrusionOk="0">
                  <a:moveTo>
                    <a:pt x="238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1" y="348"/>
                    <a:pt x="195" y="365"/>
                    <a:pt x="239" y="365"/>
                  </a:cubicBezTo>
                  <a:cubicBezTo>
                    <a:pt x="330" y="365"/>
                    <a:pt x="418" y="293"/>
                    <a:pt x="418" y="181"/>
                  </a:cubicBezTo>
                  <a:cubicBezTo>
                    <a:pt x="418" y="80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0" name="Google Shape;1850;p52"/>
            <p:cNvSpPr/>
            <p:nvPr/>
          </p:nvSpPr>
          <p:spPr>
            <a:xfrm>
              <a:off x="4768675" y="2352625"/>
              <a:ext cx="8875" cy="9025"/>
            </a:xfrm>
            <a:custGeom>
              <a:avLst/>
              <a:gdLst/>
              <a:ahLst/>
              <a:cxnLst/>
              <a:rect l="l" t="t" r="r" b="b"/>
              <a:pathLst>
                <a:path w="355" h="361" extrusionOk="0">
                  <a:moveTo>
                    <a:pt x="174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74" y="361"/>
                  </a:cubicBezTo>
                  <a:cubicBezTo>
                    <a:pt x="275" y="361"/>
                    <a:pt x="354" y="281"/>
                    <a:pt x="354" y="181"/>
                  </a:cubicBezTo>
                  <a:cubicBezTo>
                    <a:pt x="354" y="87"/>
                    <a:pt x="275" y="0"/>
                    <a:pt x="174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1" name="Google Shape;1851;p52"/>
            <p:cNvSpPr/>
            <p:nvPr/>
          </p:nvSpPr>
          <p:spPr>
            <a:xfrm>
              <a:off x="4787425" y="2352625"/>
              <a:ext cx="10500" cy="9125"/>
            </a:xfrm>
            <a:custGeom>
              <a:avLst/>
              <a:gdLst/>
              <a:ahLst/>
              <a:cxnLst/>
              <a:rect l="l" t="t" r="r" b="b"/>
              <a:pathLst>
                <a:path w="420" h="365" extrusionOk="0">
                  <a:moveTo>
                    <a:pt x="239" y="0"/>
                  </a:moveTo>
                  <a:cubicBezTo>
                    <a:pt x="80" y="0"/>
                    <a:pt x="1" y="195"/>
                    <a:pt x="116" y="310"/>
                  </a:cubicBezTo>
                  <a:cubicBezTo>
                    <a:pt x="152" y="348"/>
                    <a:pt x="196" y="365"/>
                    <a:pt x="240" y="365"/>
                  </a:cubicBezTo>
                  <a:cubicBezTo>
                    <a:pt x="331" y="365"/>
                    <a:pt x="419" y="292"/>
                    <a:pt x="419" y="181"/>
                  </a:cubicBezTo>
                  <a:cubicBezTo>
                    <a:pt x="419" y="87"/>
                    <a:pt x="340" y="0"/>
                    <a:pt x="239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2" name="Google Shape;1852;p52"/>
            <p:cNvSpPr/>
            <p:nvPr/>
          </p:nvSpPr>
          <p:spPr>
            <a:xfrm>
              <a:off x="4809250" y="2352625"/>
              <a:ext cx="9050" cy="9025"/>
            </a:xfrm>
            <a:custGeom>
              <a:avLst/>
              <a:gdLst/>
              <a:ahLst/>
              <a:cxnLst/>
              <a:rect l="l" t="t" r="r" b="b"/>
              <a:pathLst>
                <a:path w="362" h="361" extrusionOk="0">
                  <a:moveTo>
                    <a:pt x="181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81" y="361"/>
                  </a:cubicBezTo>
                  <a:cubicBezTo>
                    <a:pt x="282" y="361"/>
                    <a:pt x="361" y="281"/>
                    <a:pt x="361" y="181"/>
                  </a:cubicBezTo>
                  <a:cubicBezTo>
                    <a:pt x="361" y="87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3" name="Google Shape;1853;p52"/>
            <p:cNvSpPr/>
            <p:nvPr/>
          </p:nvSpPr>
          <p:spPr>
            <a:xfrm>
              <a:off x="4829625" y="2352625"/>
              <a:ext cx="9050" cy="9025"/>
            </a:xfrm>
            <a:custGeom>
              <a:avLst/>
              <a:gdLst/>
              <a:ahLst/>
              <a:cxnLst/>
              <a:rect l="l" t="t" r="r" b="b"/>
              <a:pathLst>
                <a:path w="362" h="361" extrusionOk="0">
                  <a:moveTo>
                    <a:pt x="181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81" y="361"/>
                  </a:cubicBezTo>
                  <a:cubicBezTo>
                    <a:pt x="282" y="361"/>
                    <a:pt x="361" y="281"/>
                    <a:pt x="361" y="181"/>
                  </a:cubicBezTo>
                  <a:cubicBezTo>
                    <a:pt x="361" y="87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4" name="Google Shape;1854;p52"/>
            <p:cNvSpPr/>
            <p:nvPr/>
          </p:nvSpPr>
          <p:spPr>
            <a:xfrm>
              <a:off x="4777350" y="2363250"/>
              <a:ext cx="10650" cy="9025"/>
            </a:xfrm>
            <a:custGeom>
              <a:avLst/>
              <a:gdLst/>
              <a:ahLst/>
              <a:cxnLst/>
              <a:rect l="l" t="t" r="r" b="b"/>
              <a:pathLst>
                <a:path w="426" h="361" extrusionOk="0">
                  <a:moveTo>
                    <a:pt x="245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2" y="345"/>
                    <a:pt x="197" y="361"/>
                    <a:pt x="241" y="361"/>
                  </a:cubicBezTo>
                  <a:cubicBezTo>
                    <a:pt x="335" y="361"/>
                    <a:pt x="426" y="289"/>
                    <a:pt x="426" y="181"/>
                  </a:cubicBezTo>
                  <a:cubicBezTo>
                    <a:pt x="426" y="80"/>
                    <a:pt x="339" y="1"/>
                    <a:pt x="245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5" name="Google Shape;1855;p52"/>
            <p:cNvSpPr/>
            <p:nvPr/>
          </p:nvSpPr>
          <p:spPr>
            <a:xfrm>
              <a:off x="4797725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0" y="345"/>
                    <a:pt x="193" y="361"/>
                    <a:pt x="236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6" name="Google Shape;1856;p52"/>
            <p:cNvSpPr/>
            <p:nvPr/>
          </p:nvSpPr>
          <p:spPr>
            <a:xfrm>
              <a:off x="4818100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0" y="345"/>
                    <a:pt x="193" y="361"/>
                    <a:pt x="236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7" name="Google Shape;1857;p52"/>
            <p:cNvSpPr/>
            <p:nvPr/>
          </p:nvSpPr>
          <p:spPr>
            <a:xfrm>
              <a:off x="4838475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08" y="311"/>
                  </a:cubicBezTo>
                  <a:cubicBezTo>
                    <a:pt x="145" y="345"/>
                    <a:pt x="190" y="361"/>
                    <a:pt x="233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8" name="Google Shape;1858;p52"/>
            <p:cNvSpPr/>
            <p:nvPr/>
          </p:nvSpPr>
          <p:spPr>
            <a:xfrm>
              <a:off x="4768675" y="2374075"/>
              <a:ext cx="8875" cy="9050"/>
            </a:xfrm>
            <a:custGeom>
              <a:avLst/>
              <a:gdLst/>
              <a:ahLst/>
              <a:cxnLst/>
              <a:rect l="l" t="t" r="r" b="b"/>
              <a:pathLst>
                <a:path w="355" h="362" extrusionOk="0">
                  <a:moveTo>
                    <a:pt x="174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74" y="361"/>
                  </a:cubicBezTo>
                  <a:cubicBezTo>
                    <a:pt x="275" y="361"/>
                    <a:pt x="354" y="282"/>
                    <a:pt x="354" y="181"/>
                  </a:cubicBezTo>
                  <a:cubicBezTo>
                    <a:pt x="354" y="80"/>
                    <a:pt x="275" y="0"/>
                    <a:pt x="174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9" name="Google Shape;1859;p52"/>
            <p:cNvSpPr/>
            <p:nvPr/>
          </p:nvSpPr>
          <p:spPr>
            <a:xfrm>
              <a:off x="4787425" y="2374075"/>
              <a:ext cx="10500" cy="9150"/>
            </a:xfrm>
            <a:custGeom>
              <a:avLst/>
              <a:gdLst/>
              <a:ahLst/>
              <a:cxnLst/>
              <a:rect l="l" t="t" r="r" b="b"/>
              <a:pathLst>
                <a:path w="420" h="366" extrusionOk="0">
                  <a:moveTo>
                    <a:pt x="239" y="0"/>
                  </a:moveTo>
                  <a:cubicBezTo>
                    <a:pt x="80" y="0"/>
                    <a:pt x="1" y="195"/>
                    <a:pt x="116" y="311"/>
                  </a:cubicBezTo>
                  <a:cubicBezTo>
                    <a:pt x="152" y="348"/>
                    <a:pt x="196" y="365"/>
                    <a:pt x="240" y="365"/>
                  </a:cubicBezTo>
                  <a:cubicBezTo>
                    <a:pt x="331" y="365"/>
                    <a:pt x="419" y="293"/>
                    <a:pt x="419" y="181"/>
                  </a:cubicBezTo>
                  <a:cubicBezTo>
                    <a:pt x="419" y="80"/>
                    <a:pt x="340" y="0"/>
                    <a:pt x="239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0" name="Google Shape;1860;p52"/>
            <p:cNvSpPr/>
            <p:nvPr/>
          </p:nvSpPr>
          <p:spPr>
            <a:xfrm>
              <a:off x="4809250" y="2374075"/>
              <a:ext cx="9050" cy="9050"/>
            </a:xfrm>
            <a:custGeom>
              <a:avLst/>
              <a:gdLst/>
              <a:ahLst/>
              <a:cxnLst/>
              <a:rect l="l" t="t" r="r" b="b"/>
              <a:pathLst>
                <a:path w="362" h="362" extrusionOk="0">
                  <a:moveTo>
                    <a:pt x="181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81" y="361"/>
                  </a:cubicBezTo>
                  <a:cubicBezTo>
                    <a:pt x="282" y="361"/>
                    <a:pt x="361" y="282"/>
                    <a:pt x="361" y="181"/>
                  </a:cubicBezTo>
                  <a:cubicBezTo>
                    <a:pt x="361" y="80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1" name="Google Shape;1861;p52"/>
            <p:cNvSpPr/>
            <p:nvPr/>
          </p:nvSpPr>
          <p:spPr>
            <a:xfrm>
              <a:off x="4829625" y="2374075"/>
              <a:ext cx="9050" cy="9050"/>
            </a:xfrm>
            <a:custGeom>
              <a:avLst/>
              <a:gdLst/>
              <a:ahLst/>
              <a:cxnLst/>
              <a:rect l="l" t="t" r="r" b="b"/>
              <a:pathLst>
                <a:path w="362" h="362" extrusionOk="0">
                  <a:moveTo>
                    <a:pt x="181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81" y="361"/>
                  </a:cubicBezTo>
                  <a:cubicBezTo>
                    <a:pt x="282" y="361"/>
                    <a:pt x="361" y="282"/>
                    <a:pt x="361" y="181"/>
                  </a:cubicBezTo>
                  <a:cubicBezTo>
                    <a:pt x="361" y="80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2" name="Google Shape;1862;p52"/>
            <p:cNvSpPr/>
            <p:nvPr/>
          </p:nvSpPr>
          <p:spPr>
            <a:xfrm>
              <a:off x="4756975" y="2384725"/>
              <a:ext cx="10650" cy="9000"/>
            </a:xfrm>
            <a:custGeom>
              <a:avLst/>
              <a:gdLst/>
              <a:ahLst/>
              <a:cxnLst/>
              <a:rect l="l" t="t" r="r" b="b"/>
              <a:pathLst>
                <a:path w="426" h="360" extrusionOk="0">
                  <a:moveTo>
                    <a:pt x="245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2" y="344"/>
                    <a:pt x="197" y="360"/>
                    <a:pt x="241" y="360"/>
                  </a:cubicBezTo>
                  <a:cubicBezTo>
                    <a:pt x="335" y="360"/>
                    <a:pt x="426" y="289"/>
                    <a:pt x="426" y="180"/>
                  </a:cubicBezTo>
                  <a:cubicBezTo>
                    <a:pt x="426" y="79"/>
                    <a:pt x="346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3" name="Google Shape;1863;p52"/>
            <p:cNvSpPr/>
            <p:nvPr/>
          </p:nvSpPr>
          <p:spPr>
            <a:xfrm>
              <a:off x="4777350" y="2384725"/>
              <a:ext cx="10650" cy="9000"/>
            </a:xfrm>
            <a:custGeom>
              <a:avLst/>
              <a:gdLst/>
              <a:ahLst/>
              <a:cxnLst/>
              <a:rect l="l" t="t" r="r" b="b"/>
              <a:pathLst>
                <a:path w="426" h="360" extrusionOk="0">
                  <a:moveTo>
                    <a:pt x="245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2" y="344"/>
                    <a:pt x="197" y="360"/>
                    <a:pt x="241" y="360"/>
                  </a:cubicBezTo>
                  <a:cubicBezTo>
                    <a:pt x="335" y="360"/>
                    <a:pt x="426" y="289"/>
                    <a:pt x="426" y="180"/>
                  </a:cubicBezTo>
                  <a:cubicBezTo>
                    <a:pt x="426" y="79"/>
                    <a:pt x="339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4" name="Google Shape;1864;p52"/>
            <p:cNvSpPr/>
            <p:nvPr/>
          </p:nvSpPr>
          <p:spPr>
            <a:xfrm>
              <a:off x="4797725" y="2384725"/>
              <a:ext cx="10475" cy="9000"/>
            </a:xfrm>
            <a:custGeom>
              <a:avLst/>
              <a:gdLst/>
              <a:ahLst/>
              <a:cxnLst/>
              <a:rect l="l" t="t" r="r" b="b"/>
              <a:pathLst>
                <a:path w="419" h="360" extrusionOk="0">
                  <a:moveTo>
                    <a:pt x="238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0" y="344"/>
                    <a:pt x="193" y="360"/>
                    <a:pt x="236" y="360"/>
                  </a:cubicBezTo>
                  <a:cubicBezTo>
                    <a:pt x="328" y="360"/>
                    <a:pt x="418" y="289"/>
                    <a:pt x="418" y="180"/>
                  </a:cubicBezTo>
                  <a:cubicBezTo>
                    <a:pt x="418" y="79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5" name="Google Shape;1865;p52"/>
            <p:cNvSpPr/>
            <p:nvPr/>
          </p:nvSpPr>
          <p:spPr>
            <a:xfrm>
              <a:off x="4818100" y="2384725"/>
              <a:ext cx="10475" cy="9000"/>
            </a:xfrm>
            <a:custGeom>
              <a:avLst/>
              <a:gdLst/>
              <a:ahLst/>
              <a:cxnLst/>
              <a:rect l="l" t="t" r="r" b="b"/>
              <a:pathLst>
                <a:path w="419" h="360" extrusionOk="0">
                  <a:moveTo>
                    <a:pt x="238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0" y="344"/>
                    <a:pt x="193" y="360"/>
                    <a:pt x="236" y="360"/>
                  </a:cubicBezTo>
                  <a:cubicBezTo>
                    <a:pt x="328" y="360"/>
                    <a:pt x="418" y="289"/>
                    <a:pt x="418" y="180"/>
                  </a:cubicBezTo>
                  <a:cubicBezTo>
                    <a:pt x="418" y="79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66" name="Google Shape;1866;p52"/>
          <p:cNvGrpSpPr/>
          <p:nvPr/>
        </p:nvGrpSpPr>
        <p:grpSpPr>
          <a:xfrm>
            <a:off x="7732065" y="4196920"/>
            <a:ext cx="212497" cy="175761"/>
            <a:chOff x="4943575" y="2516350"/>
            <a:chExt cx="98675" cy="81700"/>
          </a:xfrm>
        </p:grpSpPr>
        <p:sp>
          <p:nvSpPr>
            <p:cNvPr id="1867" name="Google Shape;1867;p52"/>
            <p:cNvSpPr/>
            <p:nvPr/>
          </p:nvSpPr>
          <p:spPr>
            <a:xfrm>
              <a:off x="5036450" y="2554750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0"/>
                  </a:moveTo>
                  <a:cubicBezTo>
                    <a:pt x="51" y="0"/>
                    <a:pt x="0" y="101"/>
                    <a:pt x="65" y="166"/>
                  </a:cubicBezTo>
                  <a:cubicBezTo>
                    <a:pt x="83" y="184"/>
                    <a:pt x="106" y="192"/>
                    <a:pt x="129" y="192"/>
                  </a:cubicBezTo>
                  <a:cubicBezTo>
                    <a:pt x="179" y="192"/>
                    <a:pt x="229" y="153"/>
                    <a:pt x="224" y="94"/>
                  </a:cubicBezTo>
                  <a:cubicBezTo>
                    <a:pt x="231" y="44"/>
                    <a:pt x="188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8" name="Google Shape;1868;p52"/>
            <p:cNvSpPr/>
            <p:nvPr/>
          </p:nvSpPr>
          <p:spPr>
            <a:xfrm>
              <a:off x="5028150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23" y="0"/>
                  </a:moveTo>
                  <a:cubicBezTo>
                    <a:pt x="37" y="0"/>
                    <a:pt x="0" y="101"/>
                    <a:pt x="58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9" name="Google Shape;1869;p52"/>
            <p:cNvSpPr/>
            <p:nvPr/>
          </p:nvSpPr>
          <p:spPr>
            <a:xfrm>
              <a:off x="50281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6" y="184"/>
                    <a:pt x="99" y="192"/>
                    <a:pt x="123" y="192"/>
                  </a:cubicBezTo>
                  <a:cubicBezTo>
                    <a:pt x="173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0" name="Google Shape;1870;p52"/>
            <p:cNvSpPr/>
            <p:nvPr/>
          </p:nvSpPr>
          <p:spPr>
            <a:xfrm>
              <a:off x="5028150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23" y="0"/>
                  </a:moveTo>
                  <a:cubicBezTo>
                    <a:pt x="37" y="0"/>
                    <a:pt x="0" y="101"/>
                    <a:pt x="58" y="166"/>
                  </a:cubicBezTo>
                  <a:cubicBezTo>
                    <a:pt x="77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1" name="Google Shape;1871;p52"/>
            <p:cNvSpPr/>
            <p:nvPr/>
          </p:nvSpPr>
          <p:spPr>
            <a:xfrm>
              <a:off x="50197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2" name="Google Shape;1872;p52"/>
            <p:cNvSpPr/>
            <p:nvPr/>
          </p:nvSpPr>
          <p:spPr>
            <a:xfrm>
              <a:off x="5019675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30" y="0"/>
                  </a:moveTo>
                  <a:cubicBezTo>
                    <a:pt x="44" y="0"/>
                    <a:pt x="0" y="101"/>
                    <a:pt x="58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3" name="Google Shape;1873;p52"/>
            <p:cNvSpPr/>
            <p:nvPr/>
          </p:nvSpPr>
          <p:spPr>
            <a:xfrm>
              <a:off x="50196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9" y="184"/>
                    <a:pt x="102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4" name="Google Shape;1874;p52"/>
            <p:cNvSpPr/>
            <p:nvPr/>
          </p:nvSpPr>
          <p:spPr>
            <a:xfrm>
              <a:off x="5019675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30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7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5" name="Google Shape;1875;p52"/>
            <p:cNvSpPr/>
            <p:nvPr/>
          </p:nvSpPr>
          <p:spPr>
            <a:xfrm>
              <a:off x="5019725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5" y="41"/>
                    <a:pt x="184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6" name="Google Shape;1876;p52"/>
            <p:cNvSpPr/>
            <p:nvPr/>
          </p:nvSpPr>
          <p:spPr>
            <a:xfrm>
              <a:off x="501120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7" name="Google Shape;1877;p52"/>
            <p:cNvSpPr/>
            <p:nvPr/>
          </p:nvSpPr>
          <p:spPr>
            <a:xfrm>
              <a:off x="501125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8" name="Google Shape;1878;p52"/>
            <p:cNvSpPr/>
            <p:nvPr/>
          </p:nvSpPr>
          <p:spPr>
            <a:xfrm>
              <a:off x="501120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9" name="Google Shape;1879;p52"/>
            <p:cNvSpPr/>
            <p:nvPr/>
          </p:nvSpPr>
          <p:spPr>
            <a:xfrm>
              <a:off x="501120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58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0" name="Google Shape;1880;p52"/>
            <p:cNvSpPr/>
            <p:nvPr/>
          </p:nvSpPr>
          <p:spPr>
            <a:xfrm>
              <a:off x="501120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2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1" name="Google Shape;1881;p52"/>
            <p:cNvSpPr/>
            <p:nvPr/>
          </p:nvSpPr>
          <p:spPr>
            <a:xfrm>
              <a:off x="501125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2" name="Google Shape;1882;p52"/>
            <p:cNvSpPr/>
            <p:nvPr/>
          </p:nvSpPr>
          <p:spPr>
            <a:xfrm>
              <a:off x="501120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58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3" name="Google Shape;1883;p52"/>
            <p:cNvSpPr/>
            <p:nvPr/>
          </p:nvSpPr>
          <p:spPr>
            <a:xfrm>
              <a:off x="5002725" y="2524100"/>
              <a:ext cx="5750" cy="4775"/>
            </a:xfrm>
            <a:custGeom>
              <a:avLst/>
              <a:gdLst/>
              <a:ahLst/>
              <a:cxnLst/>
              <a:rect l="l" t="t" r="r" b="b"/>
              <a:pathLst>
                <a:path w="230" h="191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4" name="Google Shape;1884;p52"/>
            <p:cNvSpPr/>
            <p:nvPr/>
          </p:nvSpPr>
          <p:spPr>
            <a:xfrm>
              <a:off x="500272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5" name="Google Shape;1885;p52"/>
            <p:cNvSpPr/>
            <p:nvPr/>
          </p:nvSpPr>
          <p:spPr>
            <a:xfrm>
              <a:off x="500277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6" name="Google Shape;1886;p52"/>
            <p:cNvSpPr/>
            <p:nvPr/>
          </p:nvSpPr>
          <p:spPr>
            <a:xfrm>
              <a:off x="500272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7" name="Google Shape;1887;p52"/>
            <p:cNvSpPr/>
            <p:nvPr/>
          </p:nvSpPr>
          <p:spPr>
            <a:xfrm>
              <a:off x="500272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58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8" name="Google Shape;1888;p52"/>
            <p:cNvSpPr/>
            <p:nvPr/>
          </p:nvSpPr>
          <p:spPr>
            <a:xfrm>
              <a:off x="500272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9" name="Google Shape;1889;p52"/>
            <p:cNvSpPr/>
            <p:nvPr/>
          </p:nvSpPr>
          <p:spPr>
            <a:xfrm>
              <a:off x="500277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0" name="Google Shape;1890;p52"/>
            <p:cNvSpPr/>
            <p:nvPr/>
          </p:nvSpPr>
          <p:spPr>
            <a:xfrm>
              <a:off x="500272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58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1" name="Google Shape;1891;p52"/>
            <p:cNvSpPr/>
            <p:nvPr/>
          </p:nvSpPr>
          <p:spPr>
            <a:xfrm>
              <a:off x="5002725" y="2585575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1"/>
                  </a:moveTo>
                  <a:cubicBezTo>
                    <a:pt x="44" y="1"/>
                    <a:pt x="1" y="102"/>
                    <a:pt x="65" y="167"/>
                  </a:cubicBezTo>
                  <a:cubicBezTo>
                    <a:pt x="83" y="184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2" name="Google Shape;1892;p52"/>
            <p:cNvSpPr/>
            <p:nvPr/>
          </p:nvSpPr>
          <p:spPr>
            <a:xfrm>
              <a:off x="4994250" y="25163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3" name="Google Shape;1893;p52"/>
            <p:cNvSpPr/>
            <p:nvPr/>
          </p:nvSpPr>
          <p:spPr>
            <a:xfrm>
              <a:off x="4994250" y="2524100"/>
              <a:ext cx="5750" cy="4775"/>
            </a:xfrm>
            <a:custGeom>
              <a:avLst/>
              <a:gdLst/>
              <a:ahLst/>
              <a:cxnLst/>
              <a:rect l="l" t="t" r="r" b="b"/>
              <a:pathLst>
                <a:path w="230" h="191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4" name="Google Shape;1894;p52"/>
            <p:cNvSpPr/>
            <p:nvPr/>
          </p:nvSpPr>
          <p:spPr>
            <a:xfrm>
              <a:off x="499425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5" name="Google Shape;1895;p52"/>
            <p:cNvSpPr/>
            <p:nvPr/>
          </p:nvSpPr>
          <p:spPr>
            <a:xfrm>
              <a:off x="499430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6" name="Google Shape;1896;p52"/>
            <p:cNvSpPr/>
            <p:nvPr/>
          </p:nvSpPr>
          <p:spPr>
            <a:xfrm>
              <a:off x="499425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7" name="Google Shape;1897;p52"/>
            <p:cNvSpPr/>
            <p:nvPr/>
          </p:nvSpPr>
          <p:spPr>
            <a:xfrm>
              <a:off x="49942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8" name="Google Shape;1898;p52"/>
            <p:cNvSpPr/>
            <p:nvPr/>
          </p:nvSpPr>
          <p:spPr>
            <a:xfrm>
              <a:off x="499425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9" name="Google Shape;1899;p52"/>
            <p:cNvSpPr/>
            <p:nvPr/>
          </p:nvSpPr>
          <p:spPr>
            <a:xfrm>
              <a:off x="499430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0" name="Google Shape;1900;p52"/>
            <p:cNvSpPr/>
            <p:nvPr/>
          </p:nvSpPr>
          <p:spPr>
            <a:xfrm>
              <a:off x="499425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1" name="Google Shape;1901;p52"/>
            <p:cNvSpPr/>
            <p:nvPr/>
          </p:nvSpPr>
          <p:spPr>
            <a:xfrm>
              <a:off x="4994250" y="2585575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1"/>
                  </a:moveTo>
                  <a:cubicBezTo>
                    <a:pt x="44" y="1"/>
                    <a:pt x="1" y="102"/>
                    <a:pt x="65" y="167"/>
                  </a:cubicBezTo>
                  <a:cubicBezTo>
                    <a:pt x="83" y="184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2" name="Google Shape;1902;p52"/>
            <p:cNvSpPr/>
            <p:nvPr/>
          </p:nvSpPr>
          <p:spPr>
            <a:xfrm>
              <a:off x="4994250" y="2593150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1"/>
                  </a:moveTo>
                  <a:cubicBezTo>
                    <a:pt x="44" y="1"/>
                    <a:pt x="1" y="109"/>
                    <a:pt x="65" y="166"/>
                  </a:cubicBezTo>
                  <a:cubicBezTo>
                    <a:pt x="84" y="187"/>
                    <a:pt x="107" y="196"/>
                    <a:pt x="130" y="196"/>
                  </a:cubicBezTo>
                  <a:cubicBezTo>
                    <a:pt x="180" y="196"/>
                    <a:pt x="229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3" name="Google Shape;1903;p52"/>
            <p:cNvSpPr/>
            <p:nvPr/>
          </p:nvSpPr>
          <p:spPr>
            <a:xfrm>
              <a:off x="498577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4" name="Google Shape;1904;p52"/>
            <p:cNvSpPr/>
            <p:nvPr/>
          </p:nvSpPr>
          <p:spPr>
            <a:xfrm>
              <a:off x="49858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5" name="Google Shape;1905;p52"/>
            <p:cNvSpPr/>
            <p:nvPr/>
          </p:nvSpPr>
          <p:spPr>
            <a:xfrm>
              <a:off x="498577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6" name="Google Shape;1906;p52"/>
            <p:cNvSpPr/>
            <p:nvPr/>
          </p:nvSpPr>
          <p:spPr>
            <a:xfrm>
              <a:off x="49857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7" name="Google Shape;1907;p52"/>
            <p:cNvSpPr/>
            <p:nvPr/>
          </p:nvSpPr>
          <p:spPr>
            <a:xfrm>
              <a:off x="498577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8" name="Google Shape;1908;p52"/>
            <p:cNvSpPr/>
            <p:nvPr/>
          </p:nvSpPr>
          <p:spPr>
            <a:xfrm>
              <a:off x="498582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9" name="Google Shape;1909;p52"/>
            <p:cNvSpPr/>
            <p:nvPr/>
          </p:nvSpPr>
          <p:spPr>
            <a:xfrm>
              <a:off x="498577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0" name="Google Shape;1910;p52"/>
            <p:cNvSpPr/>
            <p:nvPr/>
          </p:nvSpPr>
          <p:spPr>
            <a:xfrm>
              <a:off x="497730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1" name="Google Shape;1911;p52"/>
            <p:cNvSpPr/>
            <p:nvPr/>
          </p:nvSpPr>
          <p:spPr>
            <a:xfrm>
              <a:off x="497735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2" name="Google Shape;1912;p52"/>
            <p:cNvSpPr/>
            <p:nvPr/>
          </p:nvSpPr>
          <p:spPr>
            <a:xfrm>
              <a:off x="497730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3" name="Google Shape;1913;p52"/>
            <p:cNvSpPr/>
            <p:nvPr/>
          </p:nvSpPr>
          <p:spPr>
            <a:xfrm>
              <a:off x="497730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4" name="Google Shape;1914;p52"/>
            <p:cNvSpPr/>
            <p:nvPr/>
          </p:nvSpPr>
          <p:spPr>
            <a:xfrm>
              <a:off x="497730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5" name="Google Shape;1915;p52"/>
            <p:cNvSpPr/>
            <p:nvPr/>
          </p:nvSpPr>
          <p:spPr>
            <a:xfrm>
              <a:off x="497735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6" name="Google Shape;1916;p52"/>
            <p:cNvSpPr/>
            <p:nvPr/>
          </p:nvSpPr>
          <p:spPr>
            <a:xfrm>
              <a:off x="497730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7" name="Google Shape;1917;p52"/>
            <p:cNvSpPr/>
            <p:nvPr/>
          </p:nvSpPr>
          <p:spPr>
            <a:xfrm>
              <a:off x="496882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6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8" name="Google Shape;1918;p52"/>
            <p:cNvSpPr/>
            <p:nvPr/>
          </p:nvSpPr>
          <p:spPr>
            <a:xfrm>
              <a:off x="4968875" y="2539400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21" y="1"/>
                  </a:moveTo>
                  <a:cubicBezTo>
                    <a:pt x="46" y="1"/>
                    <a:pt x="1" y="104"/>
                    <a:pt x="64" y="160"/>
                  </a:cubicBezTo>
                  <a:cubicBezTo>
                    <a:pt x="82" y="181"/>
                    <a:pt x="106" y="190"/>
                    <a:pt x="129" y="190"/>
                  </a:cubicBezTo>
                  <a:cubicBezTo>
                    <a:pt x="179" y="190"/>
                    <a:pt x="227" y="149"/>
                    <a:pt x="222" y="95"/>
                  </a:cubicBezTo>
                  <a:cubicBezTo>
                    <a:pt x="222" y="37"/>
                    <a:pt x="186" y="1"/>
                    <a:pt x="128" y="1"/>
                  </a:cubicBezTo>
                  <a:cubicBezTo>
                    <a:pt x="126" y="1"/>
                    <a:pt x="123" y="1"/>
                    <a:pt x="12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9" name="Google Shape;1919;p52"/>
            <p:cNvSpPr/>
            <p:nvPr/>
          </p:nvSpPr>
          <p:spPr>
            <a:xfrm>
              <a:off x="496882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6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0" name="Google Shape;1920;p52"/>
            <p:cNvSpPr/>
            <p:nvPr/>
          </p:nvSpPr>
          <p:spPr>
            <a:xfrm>
              <a:off x="4968825" y="2554750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0"/>
                  </a:moveTo>
                  <a:cubicBezTo>
                    <a:pt x="51" y="0"/>
                    <a:pt x="1" y="101"/>
                    <a:pt x="66" y="166"/>
                  </a:cubicBezTo>
                  <a:cubicBezTo>
                    <a:pt x="84" y="184"/>
                    <a:pt x="107" y="192"/>
                    <a:pt x="130" y="192"/>
                  </a:cubicBezTo>
                  <a:cubicBezTo>
                    <a:pt x="180" y="192"/>
                    <a:pt x="229" y="153"/>
                    <a:pt x="224" y="94"/>
                  </a:cubicBezTo>
                  <a:cubicBezTo>
                    <a:pt x="231" y="44"/>
                    <a:pt x="188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1" name="Google Shape;1921;p52"/>
            <p:cNvSpPr/>
            <p:nvPr/>
          </p:nvSpPr>
          <p:spPr>
            <a:xfrm>
              <a:off x="496882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6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2" name="Google Shape;1922;p52"/>
            <p:cNvSpPr/>
            <p:nvPr/>
          </p:nvSpPr>
          <p:spPr>
            <a:xfrm>
              <a:off x="496887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4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3" name="Google Shape;1923;p52"/>
            <p:cNvSpPr/>
            <p:nvPr/>
          </p:nvSpPr>
          <p:spPr>
            <a:xfrm>
              <a:off x="4968825" y="2577825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1"/>
                  </a:moveTo>
                  <a:cubicBezTo>
                    <a:pt x="51" y="1"/>
                    <a:pt x="1" y="101"/>
                    <a:pt x="66" y="166"/>
                  </a:cubicBezTo>
                  <a:cubicBezTo>
                    <a:pt x="84" y="185"/>
                    <a:pt x="107" y="193"/>
                    <a:pt x="130" y="193"/>
                  </a:cubicBezTo>
                  <a:cubicBezTo>
                    <a:pt x="180" y="193"/>
                    <a:pt x="229" y="154"/>
                    <a:pt x="224" y="94"/>
                  </a:cubicBezTo>
                  <a:cubicBezTo>
                    <a:pt x="231" y="44"/>
                    <a:pt x="188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4" name="Google Shape;1924;p52"/>
            <p:cNvSpPr/>
            <p:nvPr/>
          </p:nvSpPr>
          <p:spPr>
            <a:xfrm>
              <a:off x="4960525" y="2531675"/>
              <a:ext cx="5625" cy="4900"/>
            </a:xfrm>
            <a:custGeom>
              <a:avLst/>
              <a:gdLst/>
              <a:ahLst/>
              <a:cxnLst/>
              <a:rect l="l" t="t" r="r" b="b"/>
              <a:pathLst>
                <a:path w="225" h="196" extrusionOk="0">
                  <a:moveTo>
                    <a:pt x="123" y="0"/>
                  </a:moveTo>
                  <a:cubicBezTo>
                    <a:pt x="37" y="0"/>
                    <a:pt x="1" y="108"/>
                    <a:pt x="59" y="166"/>
                  </a:cubicBezTo>
                  <a:cubicBezTo>
                    <a:pt x="79" y="187"/>
                    <a:pt x="103" y="195"/>
                    <a:pt x="126" y="195"/>
                  </a:cubicBezTo>
                  <a:cubicBezTo>
                    <a:pt x="177" y="195"/>
                    <a:pt x="224" y="153"/>
                    <a:pt x="224" y="94"/>
                  </a:cubicBezTo>
                  <a:cubicBezTo>
                    <a:pt x="217" y="43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5" name="Google Shape;1925;p52"/>
            <p:cNvSpPr/>
            <p:nvPr/>
          </p:nvSpPr>
          <p:spPr>
            <a:xfrm>
              <a:off x="496057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14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5" y="181"/>
                    <a:pt x="99" y="190"/>
                    <a:pt x="122" y="190"/>
                  </a:cubicBezTo>
                  <a:cubicBezTo>
                    <a:pt x="172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1" y="1"/>
                  </a:cubicBezTo>
                  <a:cubicBezTo>
                    <a:pt x="119" y="1"/>
                    <a:pt x="116" y="1"/>
                    <a:pt x="11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6" name="Google Shape;1926;p52"/>
            <p:cNvSpPr/>
            <p:nvPr/>
          </p:nvSpPr>
          <p:spPr>
            <a:xfrm>
              <a:off x="4960525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23" y="0"/>
                  </a:moveTo>
                  <a:cubicBezTo>
                    <a:pt x="37" y="0"/>
                    <a:pt x="1" y="101"/>
                    <a:pt x="59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7" name="Google Shape;1927;p52"/>
            <p:cNvSpPr/>
            <p:nvPr/>
          </p:nvSpPr>
          <p:spPr>
            <a:xfrm>
              <a:off x="496052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7" y="184"/>
                    <a:pt x="100" y="192"/>
                    <a:pt x="123" y="192"/>
                  </a:cubicBezTo>
                  <a:cubicBezTo>
                    <a:pt x="173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8" name="Google Shape;1928;p52"/>
            <p:cNvSpPr/>
            <p:nvPr/>
          </p:nvSpPr>
          <p:spPr>
            <a:xfrm>
              <a:off x="4960525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23" y="0"/>
                  </a:moveTo>
                  <a:cubicBezTo>
                    <a:pt x="37" y="0"/>
                    <a:pt x="1" y="101"/>
                    <a:pt x="59" y="166"/>
                  </a:cubicBezTo>
                  <a:cubicBezTo>
                    <a:pt x="78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9" name="Google Shape;1929;p52"/>
            <p:cNvSpPr/>
            <p:nvPr/>
          </p:nvSpPr>
          <p:spPr>
            <a:xfrm>
              <a:off x="4960575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34" y="1"/>
                  </a:moveTo>
                  <a:cubicBezTo>
                    <a:pt x="130" y="1"/>
                    <a:pt x="126" y="1"/>
                    <a:pt x="121" y="2"/>
                  </a:cubicBezTo>
                  <a:cubicBezTo>
                    <a:pt x="119" y="1"/>
                    <a:pt x="116" y="1"/>
                    <a:pt x="113" y="1"/>
                  </a:cubicBezTo>
                  <a:cubicBezTo>
                    <a:pt x="33" y="1"/>
                    <a:pt x="1" y="104"/>
                    <a:pt x="57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6" y="41"/>
                    <a:pt x="184" y="1"/>
                    <a:pt x="13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0" name="Google Shape;1930;p52"/>
            <p:cNvSpPr/>
            <p:nvPr/>
          </p:nvSpPr>
          <p:spPr>
            <a:xfrm>
              <a:off x="496052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7" y="185"/>
                    <a:pt x="100" y="193"/>
                    <a:pt x="123" y="193"/>
                  </a:cubicBezTo>
                  <a:cubicBezTo>
                    <a:pt x="173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23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1" name="Google Shape;1931;p52"/>
            <p:cNvSpPr/>
            <p:nvPr/>
          </p:nvSpPr>
          <p:spPr>
            <a:xfrm>
              <a:off x="4952050" y="2531675"/>
              <a:ext cx="5625" cy="4900"/>
            </a:xfrm>
            <a:custGeom>
              <a:avLst/>
              <a:gdLst/>
              <a:ahLst/>
              <a:cxnLst/>
              <a:rect l="l" t="t" r="r" b="b"/>
              <a:pathLst>
                <a:path w="225" h="196" extrusionOk="0">
                  <a:moveTo>
                    <a:pt x="131" y="0"/>
                  </a:moveTo>
                  <a:cubicBezTo>
                    <a:pt x="44" y="0"/>
                    <a:pt x="1" y="108"/>
                    <a:pt x="59" y="166"/>
                  </a:cubicBezTo>
                  <a:cubicBezTo>
                    <a:pt x="79" y="187"/>
                    <a:pt x="103" y="195"/>
                    <a:pt x="126" y="195"/>
                  </a:cubicBezTo>
                  <a:cubicBezTo>
                    <a:pt x="177" y="195"/>
                    <a:pt x="224" y="153"/>
                    <a:pt x="224" y="94"/>
                  </a:cubicBezTo>
                  <a:cubicBezTo>
                    <a:pt x="217" y="43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2" name="Google Shape;1932;p52"/>
            <p:cNvSpPr/>
            <p:nvPr/>
          </p:nvSpPr>
          <p:spPr>
            <a:xfrm>
              <a:off x="495210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2" y="190"/>
                    <a:pt x="125" y="190"/>
                  </a:cubicBezTo>
                  <a:cubicBezTo>
                    <a:pt x="176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9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3" name="Google Shape;1933;p52"/>
            <p:cNvSpPr/>
            <p:nvPr/>
          </p:nvSpPr>
          <p:spPr>
            <a:xfrm>
              <a:off x="4952050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31" y="0"/>
                  </a:moveTo>
                  <a:cubicBezTo>
                    <a:pt x="44" y="0"/>
                    <a:pt x="1" y="101"/>
                    <a:pt x="59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4" name="Google Shape;1934;p52"/>
            <p:cNvSpPr/>
            <p:nvPr/>
          </p:nvSpPr>
          <p:spPr>
            <a:xfrm>
              <a:off x="49520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5" name="Google Shape;1935;p52"/>
            <p:cNvSpPr/>
            <p:nvPr/>
          </p:nvSpPr>
          <p:spPr>
            <a:xfrm>
              <a:off x="4952050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8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6" name="Google Shape;1936;p52"/>
            <p:cNvSpPr/>
            <p:nvPr/>
          </p:nvSpPr>
          <p:spPr>
            <a:xfrm>
              <a:off x="4952100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40" y="1"/>
                  </a:moveTo>
                  <a:cubicBezTo>
                    <a:pt x="136" y="1"/>
                    <a:pt x="132" y="1"/>
                    <a:pt x="129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6" y="41"/>
                    <a:pt x="184" y="1"/>
                    <a:pt x="14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7" name="Google Shape;1937;p52"/>
            <p:cNvSpPr/>
            <p:nvPr/>
          </p:nvSpPr>
          <p:spPr>
            <a:xfrm>
              <a:off x="495205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8" name="Google Shape;1938;p52"/>
            <p:cNvSpPr/>
            <p:nvPr/>
          </p:nvSpPr>
          <p:spPr>
            <a:xfrm>
              <a:off x="494357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1" y="0"/>
                  </a:moveTo>
                  <a:cubicBezTo>
                    <a:pt x="44" y="0"/>
                    <a:pt x="1" y="108"/>
                    <a:pt x="66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9" name="Google Shape;1939;p52"/>
            <p:cNvSpPr/>
            <p:nvPr/>
          </p:nvSpPr>
          <p:spPr>
            <a:xfrm>
              <a:off x="49436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1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2" y="190"/>
                    <a:pt x="125" y="190"/>
                  </a:cubicBezTo>
                  <a:cubicBezTo>
                    <a:pt x="176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9" y="1"/>
                  </a:cubicBezTo>
                  <a:cubicBezTo>
                    <a:pt x="126" y="1"/>
                    <a:pt x="123" y="1"/>
                    <a:pt x="12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0" name="Google Shape;1940;p52"/>
            <p:cNvSpPr/>
            <p:nvPr/>
          </p:nvSpPr>
          <p:spPr>
            <a:xfrm>
              <a:off x="494357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1" y="0"/>
                  </a:moveTo>
                  <a:cubicBezTo>
                    <a:pt x="44" y="0"/>
                    <a:pt x="1" y="101"/>
                    <a:pt x="66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1" name="Google Shape;1941;p52"/>
            <p:cNvSpPr/>
            <p:nvPr/>
          </p:nvSpPr>
          <p:spPr>
            <a:xfrm>
              <a:off x="49435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2" name="Google Shape;1942;p52"/>
            <p:cNvSpPr/>
            <p:nvPr/>
          </p:nvSpPr>
          <p:spPr>
            <a:xfrm>
              <a:off x="494357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1" y="0"/>
                  </a:moveTo>
                  <a:cubicBezTo>
                    <a:pt x="44" y="0"/>
                    <a:pt x="1" y="101"/>
                    <a:pt x="66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30" y="148"/>
                    <a:pt x="224" y="87"/>
                  </a:cubicBezTo>
                  <a:cubicBezTo>
                    <a:pt x="224" y="37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3" name="Google Shape;1943;p52"/>
            <p:cNvSpPr/>
            <p:nvPr/>
          </p:nvSpPr>
          <p:spPr>
            <a:xfrm>
              <a:off x="494362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40" y="1"/>
                  </a:moveTo>
                  <a:cubicBezTo>
                    <a:pt x="136" y="1"/>
                    <a:pt x="132" y="1"/>
                    <a:pt x="129" y="2"/>
                  </a:cubicBezTo>
                  <a:cubicBezTo>
                    <a:pt x="126" y="1"/>
                    <a:pt x="123" y="1"/>
                    <a:pt x="121" y="1"/>
                  </a:cubicBezTo>
                  <a:cubicBezTo>
                    <a:pt x="39" y="1"/>
                    <a:pt x="1" y="104"/>
                    <a:pt x="64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4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4" name="Google Shape;1944;p52"/>
            <p:cNvSpPr/>
            <p:nvPr/>
          </p:nvSpPr>
          <p:spPr>
            <a:xfrm>
              <a:off x="494357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45" name="Google Shape;1945;p52"/>
          <p:cNvSpPr/>
          <p:nvPr/>
        </p:nvSpPr>
        <p:spPr>
          <a:xfrm>
            <a:off x="7747607" y="3426066"/>
            <a:ext cx="174337" cy="174337"/>
          </a:xfrm>
          <a:custGeom>
            <a:avLst/>
            <a:gdLst/>
            <a:ahLst/>
            <a:cxnLst/>
            <a:rect l="l" t="t" r="r" b="b"/>
            <a:pathLst>
              <a:path w="208163" h="208163" extrusionOk="0">
                <a:moveTo>
                  <a:pt x="79632" y="48546"/>
                </a:moveTo>
                <a:cubicBezTo>
                  <a:pt x="80399" y="48546"/>
                  <a:pt x="81191" y="48783"/>
                  <a:pt x="81877" y="49126"/>
                </a:cubicBezTo>
                <a:lnTo>
                  <a:pt x="158203" y="101306"/>
                </a:lnTo>
                <a:cubicBezTo>
                  <a:pt x="159036" y="101861"/>
                  <a:pt x="159591" y="102971"/>
                  <a:pt x="159591" y="104081"/>
                </a:cubicBezTo>
                <a:cubicBezTo>
                  <a:pt x="159591" y="105191"/>
                  <a:pt x="159036" y="106302"/>
                  <a:pt x="158203" y="106857"/>
                </a:cubicBezTo>
                <a:lnTo>
                  <a:pt x="81877" y="159036"/>
                </a:lnTo>
                <a:cubicBezTo>
                  <a:pt x="81045" y="159314"/>
                  <a:pt x="80489" y="159591"/>
                  <a:pt x="79934" y="159591"/>
                </a:cubicBezTo>
                <a:cubicBezTo>
                  <a:pt x="79379" y="159591"/>
                  <a:pt x="78547" y="159591"/>
                  <a:pt x="78269" y="159314"/>
                </a:cubicBezTo>
                <a:cubicBezTo>
                  <a:pt x="77159" y="158481"/>
                  <a:pt x="76326" y="157371"/>
                  <a:pt x="76326" y="156260"/>
                </a:cubicBezTo>
                <a:lnTo>
                  <a:pt x="76326" y="52179"/>
                </a:lnTo>
                <a:cubicBezTo>
                  <a:pt x="76326" y="50792"/>
                  <a:pt x="77159" y="49681"/>
                  <a:pt x="78269" y="48849"/>
                </a:cubicBezTo>
                <a:cubicBezTo>
                  <a:pt x="78693" y="48637"/>
                  <a:pt x="79158" y="48546"/>
                  <a:pt x="79632" y="48546"/>
                </a:cubicBezTo>
                <a:close/>
                <a:moveTo>
                  <a:pt x="104081" y="0"/>
                </a:moveTo>
                <a:cubicBezTo>
                  <a:pt x="46628" y="0"/>
                  <a:pt x="0" y="46628"/>
                  <a:pt x="0" y="104081"/>
                </a:cubicBezTo>
                <a:cubicBezTo>
                  <a:pt x="0" y="161534"/>
                  <a:pt x="46628" y="208162"/>
                  <a:pt x="104081" y="208162"/>
                </a:cubicBezTo>
                <a:cubicBezTo>
                  <a:pt x="161534" y="208162"/>
                  <a:pt x="208162" y="161534"/>
                  <a:pt x="208162" y="104081"/>
                </a:cubicBezTo>
                <a:cubicBezTo>
                  <a:pt x="208162" y="46628"/>
                  <a:pt x="161534" y="0"/>
                  <a:pt x="104081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6" name="Google Shape;1946;p52"/>
          <p:cNvSpPr/>
          <p:nvPr/>
        </p:nvSpPr>
        <p:spPr>
          <a:xfrm>
            <a:off x="8063864" y="3454885"/>
            <a:ext cx="148500" cy="116700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869FB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7" name="Google Shape;1947;p52"/>
          <p:cNvSpPr/>
          <p:nvPr/>
        </p:nvSpPr>
        <p:spPr>
          <a:xfrm>
            <a:off x="7165978" y="2775822"/>
            <a:ext cx="118200" cy="11820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8" name="Google Shape;1948;p52"/>
          <p:cNvSpPr/>
          <p:nvPr/>
        </p:nvSpPr>
        <p:spPr>
          <a:xfrm flipH="1">
            <a:off x="7473344" y="2775822"/>
            <a:ext cx="118200" cy="11820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53" name="Google Shape;1953;p53"/>
          <p:cNvGrpSpPr/>
          <p:nvPr/>
        </p:nvGrpSpPr>
        <p:grpSpPr>
          <a:xfrm>
            <a:off x="3642951" y="1176740"/>
            <a:ext cx="2078182" cy="1366558"/>
            <a:chOff x="235800" y="830650"/>
            <a:chExt cx="6978450" cy="4588844"/>
          </a:xfrm>
        </p:grpSpPr>
        <p:sp>
          <p:nvSpPr>
            <p:cNvPr id="1954" name="Google Shape;1954;p53"/>
            <p:cNvSpPr/>
            <p:nvPr/>
          </p:nvSpPr>
          <p:spPr>
            <a:xfrm>
              <a:off x="235800" y="1224769"/>
              <a:ext cx="2592225" cy="4194725"/>
            </a:xfrm>
            <a:custGeom>
              <a:avLst/>
              <a:gdLst/>
              <a:ahLst/>
              <a:cxnLst/>
              <a:rect l="l" t="t" r="r" b="b"/>
              <a:pathLst>
                <a:path w="103689" h="167789" extrusionOk="0">
                  <a:moveTo>
                    <a:pt x="13807" y="0"/>
                  </a:moveTo>
                  <a:cubicBezTo>
                    <a:pt x="11526" y="0"/>
                    <a:pt x="9194" y="921"/>
                    <a:pt x="7431" y="2357"/>
                  </a:cubicBezTo>
                  <a:cubicBezTo>
                    <a:pt x="6418" y="3183"/>
                    <a:pt x="7559" y="5231"/>
                    <a:pt x="8433" y="6203"/>
                  </a:cubicBezTo>
                  <a:cubicBezTo>
                    <a:pt x="9308" y="7175"/>
                    <a:pt x="10393" y="8259"/>
                    <a:pt x="10189" y="9549"/>
                  </a:cubicBezTo>
                  <a:cubicBezTo>
                    <a:pt x="9355" y="9975"/>
                    <a:pt x="8287" y="10084"/>
                    <a:pt x="7292" y="10084"/>
                  </a:cubicBezTo>
                  <a:cubicBezTo>
                    <a:pt x="7024" y="10084"/>
                    <a:pt x="6762" y="10076"/>
                    <a:pt x="6511" y="10065"/>
                  </a:cubicBezTo>
                  <a:cubicBezTo>
                    <a:pt x="6102" y="10046"/>
                    <a:pt x="5686" y="9992"/>
                    <a:pt x="5277" y="9992"/>
                  </a:cubicBezTo>
                  <a:cubicBezTo>
                    <a:pt x="4990" y="9992"/>
                    <a:pt x="4705" y="10019"/>
                    <a:pt x="4430" y="10104"/>
                  </a:cubicBezTo>
                  <a:cubicBezTo>
                    <a:pt x="3763" y="10310"/>
                    <a:pt x="3182" y="11034"/>
                    <a:pt x="3440" y="11683"/>
                  </a:cubicBezTo>
                  <a:cubicBezTo>
                    <a:pt x="2981" y="12481"/>
                    <a:pt x="2431" y="12899"/>
                    <a:pt x="2962" y="13650"/>
                  </a:cubicBezTo>
                  <a:cubicBezTo>
                    <a:pt x="3377" y="14235"/>
                    <a:pt x="4081" y="14716"/>
                    <a:pt x="4076" y="15434"/>
                  </a:cubicBezTo>
                  <a:cubicBezTo>
                    <a:pt x="4071" y="16003"/>
                    <a:pt x="3591" y="16462"/>
                    <a:pt x="3082" y="16719"/>
                  </a:cubicBezTo>
                  <a:cubicBezTo>
                    <a:pt x="2572" y="16973"/>
                    <a:pt x="2000" y="17102"/>
                    <a:pt x="1518" y="17408"/>
                  </a:cubicBezTo>
                  <a:cubicBezTo>
                    <a:pt x="13" y="18366"/>
                    <a:pt x="0" y="20519"/>
                    <a:pt x="159" y="22295"/>
                  </a:cubicBezTo>
                  <a:cubicBezTo>
                    <a:pt x="1133" y="23491"/>
                    <a:pt x="1285" y="25550"/>
                    <a:pt x="817" y="27017"/>
                  </a:cubicBezTo>
                  <a:cubicBezTo>
                    <a:pt x="639" y="27577"/>
                    <a:pt x="351" y="28172"/>
                    <a:pt x="552" y="28724"/>
                  </a:cubicBezTo>
                  <a:cubicBezTo>
                    <a:pt x="782" y="29356"/>
                    <a:pt x="1526" y="29605"/>
                    <a:pt x="2177" y="29773"/>
                  </a:cubicBezTo>
                  <a:cubicBezTo>
                    <a:pt x="2891" y="29958"/>
                    <a:pt x="3669" y="30130"/>
                    <a:pt x="4408" y="30130"/>
                  </a:cubicBezTo>
                  <a:cubicBezTo>
                    <a:pt x="5109" y="30130"/>
                    <a:pt x="5775" y="29975"/>
                    <a:pt x="6314" y="29528"/>
                  </a:cubicBezTo>
                  <a:cubicBezTo>
                    <a:pt x="7583" y="28478"/>
                    <a:pt x="9157" y="28121"/>
                    <a:pt x="10834" y="28121"/>
                  </a:cubicBezTo>
                  <a:cubicBezTo>
                    <a:pt x="13016" y="28121"/>
                    <a:pt x="15374" y="28725"/>
                    <a:pt x="17464" y="29196"/>
                  </a:cubicBezTo>
                  <a:cubicBezTo>
                    <a:pt x="18740" y="29482"/>
                    <a:pt x="20083" y="29952"/>
                    <a:pt x="20830" y="31028"/>
                  </a:cubicBezTo>
                  <a:cubicBezTo>
                    <a:pt x="21824" y="32461"/>
                    <a:pt x="21400" y="34451"/>
                    <a:pt x="20580" y="35993"/>
                  </a:cubicBezTo>
                  <a:cubicBezTo>
                    <a:pt x="19762" y="37533"/>
                    <a:pt x="18587" y="38903"/>
                    <a:pt x="18068" y="40567"/>
                  </a:cubicBezTo>
                  <a:cubicBezTo>
                    <a:pt x="17582" y="42129"/>
                    <a:pt x="17717" y="43806"/>
                    <a:pt x="17859" y="45436"/>
                  </a:cubicBezTo>
                  <a:cubicBezTo>
                    <a:pt x="18032" y="47441"/>
                    <a:pt x="18242" y="49554"/>
                    <a:pt x="19405" y="51198"/>
                  </a:cubicBezTo>
                  <a:cubicBezTo>
                    <a:pt x="20624" y="52922"/>
                    <a:pt x="21392" y="55494"/>
                    <a:pt x="21294" y="57601"/>
                  </a:cubicBezTo>
                  <a:cubicBezTo>
                    <a:pt x="21216" y="59294"/>
                    <a:pt x="20619" y="60958"/>
                    <a:pt x="20775" y="62645"/>
                  </a:cubicBezTo>
                  <a:cubicBezTo>
                    <a:pt x="21057" y="65704"/>
                    <a:pt x="23699" y="67999"/>
                    <a:pt x="26397" y="69471"/>
                  </a:cubicBezTo>
                  <a:cubicBezTo>
                    <a:pt x="29219" y="71013"/>
                    <a:pt x="31651" y="73637"/>
                    <a:pt x="32623" y="76701"/>
                  </a:cubicBezTo>
                  <a:cubicBezTo>
                    <a:pt x="33112" y="78241"/>
                    <a:pt x="33257" y="79868"/>
                    <a:pt x="33688" y="81425"/>
                  </a:cubicBezTo>
                  <a:cubicBezTo>
                    <a:pt x="34432" y="84119"/>
                    <a:pt x="36051" y="86565"/>
                    <a:pt x="38239" y="88307"/>
                  </a:cubicBezTo>
                  <a:cubicBezTo>
                    <a:pt x="39834" y="89575"/>
                    <a:pt x="42451" y="90023"/>
                    <a:pt x="44455" y="90388"/>
                  </a:cubicBezTo>
                  <a:cubicBezTo>
                    <a:pt x="45495" y="90578"/>
                    <a:pt x="46617" y="90728"/>
                    <a:pt x="47400" y="91437"/>
                  </a:cubicBezTo>
                  <a:cubicBezTo>
                    <a:pt x="47762" y="91764"/>
                    <a:pt x="48023" y="92187"/>
                    <a:pt x="48369" y="92530"/>
                  </a:cubicBezTo>
                  <a:cubicBezTo>
                    <a:pt x="50044" y="94188"/>
                    <a:pt x="53127" y="93507"/>
                    <a:pt x="54821" y="95145"/>
                  </a:cubicBezTo>
                  <a:cubicBezTo>
                    <a:pt x="55259" y="95566"/>
                    <a:pt x="55558" y="96107"/>
                    <a:pt x="55941" y="96579"/>
                  </a:cubicBezTo>
                  <a:cubicBezTo>
                    <a:pt x="56887" y="97736"/>
                    <a:pt x="58370" y="98428"/>
                    <a:pt x="59861" y="98428"/>
                  </a:cubicBezTo>
                  <a:cubicBezTo>
                    <a:pt x="60003" y="98428"/>
                    <a:pt x="60145" y="98421"/>
                    <a:pt x="60286" y="98409"/>
                  </a:cubicBezTo>
                  <a:lnTo>
                    <a:pt x="60286" y="98409"/>
                  </a:lnTo>
                  <a:cubicBezTo>
                    <a:pt x="59905" y="99653"/>
                    <a:pt x="61397" y="101114"/>
                    <a:pt x="60936" y="102330"/>
                  </a:cubicBezTo>
                  <a:cubicBezTo>
                    <a:pt x="60565" y="103312"/>
                    <a:pt x="59445" y="103741"/>
                    <a:pt x="58674" y="104452"/>
                  </a:cubicBezTo>
                  <a:cubicBezTo>
                    <a:pt x="57337" y="105685"/>
                    <a:pt x="57129" y="107795"/>
                    <a:pt x="57705" y="109521"/>
                  </a:cubicBezTo>
                  <a:cubicBezTo>
                    <a:pt x="58282" y="111246"/>
                    <a:pt x="59498" y="112671"/>
                    <a:pt x="60717" y="114022"/>
                  </a:cubicBezTo>
                  <a:cubicBezTo>
                    <a:pt x="62978" y="116530"/>
                    <a:pt x="65696" y="117746"/>
                    <a:pt x="68148" y="120066"/>
                  </a:cubicBezTo>
                  <a:cubicBezTo>
                    <a:pt x="70420" y="122216"/>
                    <a:pt x="70937" y="125696"/>
                    <a:pt x="70438" y="128784"/>
                  </a:cubicBezTo>
                  <a:cubicBezTo>
                    <a:pt x="69938" y="131872"/>
                    <a:pt x="68585" y="134744"/>
                    <a:pt x="67620" y="137718"/>
                  </a:cubicBezTo>
                  <a:cubicBezTo>
                    <a:pt x="65814" y="143276"/>
                    <a:pt x="65376" y="149382"/>
                    <a:pt x="67102" y="154963"/>
                  </a:cubicBezTo>
                  <a:cubicBezTo>
                    <a:pt x="68828" y="160546"/>
                    <a:pt x="72869" y="165522"/>
                    <a:pt x="78283" y="167717"/>
                  </a:cubicBezTo>
                  <a:cubicBezTo>
                    <a:pt x="78404" y="167766"/>
                    <a:pt x="78530" y="167788"/>
                    <a:pt x="78658" y="167788"/>
                  </a:cubicBezTo>
                  <a:cubicBezTo>
                    <a:pt x="79167" y="167788"/>
                    <a:pt x="79705" y="167444"/>
                    <a:pt x="80056" y="167066"/>
                  </a:cubicBezTo>
                  <a:cubicBezTo>
                    <a:pt x="80495" y="166591"/>
                    <a:pt x="80589" y="165833"/>
                    <a:pt x="80281" y="165265"/>
                  </a:cubicBezTo>
                  <a:cubicBezTo>
                    <a:pt x="79304" y="163467"/>
                    <a:pt x="77566" y="161932"/>
                    <a:pt x="76298" y="160326"/>
                  </a:cubicBezTo>
                  <a:cubicBezTo>
                    <a:pt x="75898" y="159821"/>
                    <a:pt x="75478" y="159248"/>
                    <a:pt x="75530" y="158607"/>
                  </a:cubicBezTo>
                  <a:cubicBezTo>
                    <a:pt x="75589" y="157886"/>
                    <a:pt x="76208" y="157367"/>
                    <a:pt x="76666" y="156807"/>
                  </a:cubicBezTo>
                  <a:cubicBezTo>
                    <a:pt x="77361" y="155947"/>
                    <a:pt x="77729" y="154867"/>
                    <a:pt x="77704" y="153762"/>
                  </a:cubicBezTo>
                  <a:cubicBezTo>
                    <a:pt x="77674" y="152733"/>
                    <a:pt x="77075" y="151726"/>
                    <a:pt x="77111" y="150697"/>
                  </a:cubicBezTo>
                  <a:cubicBezTo>
                    <a:pt x="77146" y="149667"/>
                    <a:pt x="77701" y="148583"/>
                    <a:pt x="78676" y="148251"/>
                  </a:cubicBezTo>
                  <a:cubicBezTo>
                    <a:pt x="79120" y="148100"/>
                    <a:pt x="79614" y="148115"/>
                    <a:pt x="80042" y="147926"/>
                  </a:cubicBezTo>
                  <a:cubicBezTo>
                    <a:pt x="81453" y="147303"/>
                    <a:pt x="81228" y="145153"/>
                    <a:pt x="82249" y="143996"/>
                  </a:cubicBezTo>
                  <a:cubicBezTo>
                    <a:pt x="82722" y="143460"/>
                    <a:pt x="83419" y="143193"/>
                    <a:pt x="84064" y="142883"/>
                  </a:cubicBezTo>
                  <a:cubicBezTo>
                    <a:pt x="86792" y="141571"/>
                    <a:pt x="89035" y="138972"/>
                    <a:pt x="89283" y="135957"/>
                  </a:cubicBezTo>
                  <a:cubicBezTo>
                    <a:pt x="89483" y="133544"/>
                    <a:pt x="88605" y="130615"/>
                    <a:pt x="90438" y="129034"/>
                  </a:cubicBezTo>
                  <a:cubicBezTo>
                    <a:pt x="91238" y="128344"/>
                    <a:pt x="92244" y="128199"/>
                    <a:pt x="93314" y="128199"/>
                  </a:cubicBezTo>
                  <a:cubicBezTo>
                    <a:pt x="94087" y="128199"/>
                    <a:pt x="94894" y="128275"/>
                    <a:pt x="95682" y="128275"/>
                  </a:cubicBezTo>
                  <a:cubicBezTo>
                    <a:pt x="96098" y="128275"/>
                    <a:pt x="96509" y="128254"/>
                    <a:pt x="96908" y="128189"/>
                  </a:cubicBezTo>
                  <a:cubicBezTo>
                    <a:pt x="97800" y="128044"/>
                    <a:pt x="98396" y="127214"/>
                    <a:pt x="98814" y="126412"/>
                  </a:cubicBezTo>
                  <a:cubicBezTo>
                    <a:pt x="99231" y="125609"/>
                    <a:pt x="99280" y="124658"/>
                    <a:pt x="99129" y="123766"/>
                  </a:cubicBezTo>
                  <a:cubicBezTo>
                    <a:pt x="98945" y="122668"/>
                    <a:pt x="98473" y="121597"/>
                    <a:pt x="98577" y="120489"/>
                  </a:cubicBezTo>
                  <a:cubicBezTo>
                    <a:pt x="98723" y="118930"/>
                    <a:pt x="99942" y="117730"/>
                    <a:pt x="100886" y="116480"/>
                  </a:cubicBezTo>
                  <a:cubicBezTo>
                    <a:pt x="102003" y="114998"/>
                    <a:pt x="102797" y="113297"/>
                    <a:pt x="103214" y="111488"/>
                  </a:cubicBezTo>
                  <a:cubicBezTo>
                    <a:pt x="103689" y="109429"/>
                    <a:pt x="102371" y="106997"/>
                    <a:pt x="100524" y="105970"/>
                  </a:cubicBezTo>
                  <a:cubicBezTo>
                    <a:pt x="98677" y="104943"/>
                    <a:pt x="96462" y="104915"/>
                    <a:pt x="94350" y="104853"/>
                  </a:cubicBezTo>
                  <a:cubicBezTo>
                    <a:pt x="92237" y="104794"/>
                    <a:pt x="89999" y="104633"/>
                    <a:pt x="88273" y="103414"/>
                  </a:cubicBezTo>
                  <a:cubicBezTo>
                    <a:pt x="86692" y="102296"/>
                    <a:pt x="85799" y="100469"/>
                    <a:pt x="84550" y="98991"/>
                  </a:cubicBezTo>
                  <a:cubicBezTo>
                    <a:pt x="82441" y="96497"/>
                    <a:pt x="79375" y="95057"/>
                    <a:pt x="76410" y="93690"/>
                  </a:cubicBezTo>
                  <a:cubicBezTo>
                    <a:pt x="75559" y="93298"/>
                    <a:pt x="74630" y="92901"/>
                    <a:pt x="73720" y="92901"/>
                  </a:cubicBezTo>
                  <a:cubicBezTo>
                    <a:pt x="73431" y="92901"/>
                    <a:pt x="73144" y="92941"/>
                    <a:pt x="72862" y="93034"/>
                  </a:cubicBezTo>
                  <a:cubicBezTo>
                    <a:pt x="72400" y="93185"/>
                    <a:pt x="71985" y="93473"/>
                    <a:pt x="71508" y="93564"/>
                  </a:cubicBezTo>
                  <a:cubicBezTo>
                    <a:pt x="71390" y="93586"/>
                    <a:pt x="71274" y="93597"/>
                    <a:pt x="71159" y="93597"/>
                  </a:cubicBezTo>
                  <a:cubicBezTo>
                    <a:pt x="70006" y="93597"/>
                    <a:pt x="69033" y="92520"/>
                    <a:pt x="67966" y="91944"/>
                  </a:cubicBezTo>
                  <a:cubicBezTo>
                    <a:pt x="67424" y="91651"/>
                    <a:pt x="66830" y="91518"/>
                    <a:pt x="66231" y="91518"/>
                  </a:cubicBezTo>
                  <a:cubicBezTo>
                    <a:pt x="64138" y="91518"/>
                    <a:pt x="61986" y="93147"/>
                    <a:pt x="61817" y="95293"/>
                  </a:cubicBezTo>
                  <a:cubicBezTo>
                    <a:pt x="61476" y="95410"/>
                    <a:pt x="61056" y="95468"/>
                    <a:pt x="60611" y="95468"/>
                  </a:cubicBezTo>
                  <a:cubicBezTo>
                    <a:pt x="59413" y="95468"/>
                    <a:pt x="58031" y="95047"/>
                    <a:pt x="57510" y="94228"/>
                  </a:cubicBezTo>
                  <a:cubicBezTo>
                    <a:pt x="56995" y="93419"/>
                    <a:pt x="56789" y="92287"/>
                    <a:pt x="55904" y="91918"/>
                  </a:cubicBezTo>
                  <a:cubicBezTo>
                    <a:pt x="55432" y="91722"/>
                    <a:pt x="54840" y="91796"/>
                    <a:pt x="54455" y="91458"/>
                  </a:cubicBezTo>
                  <a:cubicBezTo>
                    <a:pt x="53818" y="90898"/>
                    <a:pt x="54313" y="89881"/>
                    <a:pt x="54428" y="89040"/>
                  </a:cubicBezTo>
                  <a:cubicBezTo>
                    <a:pt x="54609" y="87696"/>
                    <a:pt x="53607" y="86419"/>
                    <a:pt x="52383" y="85834"/>
                  </a:cubicBezTo>
                  <a:cubicBezTo>
                    <a:pt x="51161" y="85249"/>
                    <a:pt x="49761" y="85202"/>
                    <a:pt x="48407" y="85159"/>
                  </a:cubicBezTo>
                  <a:cubicBezTo>
                    <a:pt x="47051" y="85115"/>
                    <a:pt x="45649" y="85054"/>
                    <a:pt x="44436" y="84447"/>
                  </a:cubicBezTo>
                  <a:cubicBezTo>
                    <a:pt x="42077" y="83264"/>
                    <a:pt x="41111" y="80063"/>
                    <a:pt x="42146" y="77635"/>
                  </a:cubicBezTo>
                  <a:cubicBezTo>
                    <a:pt x="43156" y="75267"/>
                    <a:pt x="45760" y="73783"/>
                    <a:pt x="48337" y="73783"/>
                  </a:cubicBezTo>
                  <a:cubicBezTo>
                    <a:pt x="48401" y="73783"/>
                    <a:pt x="48464" y="73784"/>
                    <a:pt x="48528" y="73786"/>
                  </a:cubicBezTo>
                  <a:cubicBezTo>
                    <a:pt x="51112" y="73862"/>
                    <a:pt x="53842" y="75749"/>
                    <a:pt x="53870" y="78335"/>
                  </a:cubicBezTo>
                  <a:cubicBezTo>
                    <a:pt x="53875" y="78746"/>
                    <a:pt x="54287" y="78928"/>
                    <a:pt x="54735" y="78928"/>
                  </a:cubicBezTo>
                  <a:cubicBezTo>
                    <a:pt x="55004" y="78928"/>
                    <a:pt x="55285" y="78863"/>
                    <a:pt x="55498" y="78741"/>
                  </a:cubicBezTo>
                  <a:cubicBezTo>
                    <a:pt x="56067" y="78416"/>
                    <a:pt x="56365" y="77760"/>
                    <a:pt x="56505" y="77119"/>
                  </a:cubicBezTo>
                  <a:cubicBezTo>
                    <a:pt x="56645" y="76478"/>
                    <a:pt x="56664" y="75812"/>
                    <a:pt x="56860" y="75186"/>
                  </a:cubicBezTo>
                  <a:cubicBezTo>
                    <a:pt x="57310" y="73749"/>
                    <a:pt x="58757" y="72690"/>
                    <a:pt x="60261" y="72690"/>
                  </a:cubicBezTo>
                  <a:cubicBezTo>
                    <a:pt x="60273" y="72690"/>
                    <a:pt x="60285" y="72690"/>
                    <a:pt x="60297" y="72690"/>
                  </a:cubicBezTo>
                  <a:cubicBezTo>
                    <a:pt x="60306" y="72690"/>
                    <a:pt x="60314" y="72690"/>
                    <a:pt x="60323" y="72690"/>
                  </a:cubicBezTo>
                  <a:cubicBezTo>
                    <a:pt x="61893" y="72690"/>
                    <a:pt x="62998" y="71122"/>
                    <a:pt x="64116" y="70013"/>
                  </a:cubicBezTo>
                  <a:cubicBezTo>
                    <a:pt x="65241" y="68896"/>
                    <a:pt x="65913" y="67214"/>
                    <a:pt x="65469" y="65693"/>
                  </a:cubicBezTo>
                  <a:cubicBezTo>
                    <a:pt x="65229" y="64873"/>
                    <a:pt x="64683" y="64046"/>
                    <a:pt x="64956" y="63238"/>
                  </a:cubicBezTo>
                  <a:cubicBezTo>
                    <a:pt x="65170" y="62604"/>
                    <a:pt x="65822" y="62237"/>
                    <a:pt x="66438" y="61978"/>
                  </a:cubicBezTo>
                  <a:cubicBezTo>
                    <a:pt x="67992" y="61328"/>
                    <a:pt x="69657" y="60995"/>
                    <a:pt x="71338" y="60995"/>
                  </a:cubicBezTo>
                  <a:cubicBezTo>
                    <a:pt x="71514" y="60995"/>
                    <a:pt x="71689" y="60998"/>
                    <a:pt x="71865" y="61005"/>
                  </a:cubicBezTo>
                  <a:cubicBezTo>
                    <a:pt x="71916" y="61008"/>
                    <a:pt x="71966" y="61009"/>
                    <a:pt x="72016" y="61009"/>
                  </a:cubicBezTo>
                  <a:cubicBezTo>
                    <a:pt x="73530" y="61009"/>
                    <a:pt x="74333" y="60016"/>
                    <a:pt x="75129" y="58671"/>
                  </a:cubicBezTo>
                  <a:cubicBezTo>
                    <a:pt x="75724" y="57667"/>
                    <a:pt x="75988" y="56400"/>
                    <a:pt x="76935" y="55719"/>
                  </a:cubicBezTo>
                  <a:cubicBezTo>
                    <a:pt x="77461" y="55341"/>
                    <a:pt x="78061" y="55227"/>
                    <a:pt x="78697" y="55227"/>
                  </a:cubicBezTo>
                  <a:cubicBezTo>
                    <a:pt x="79669" y="55227"/>
                    <a:pt x="80723" y="55493"/>
                    <a:pt x="81724" y="55493"/>
                  </a:cubicBezTo>
                  <a:cubicBezTo>
                    <a:pt x="81835" y="55493"/>
                    <a:pt x="81945" y="55490"/>
                    <a:pt x="82055" y="55483"/>
                  </a:cubicBezTo>
                  <a:cubicBezTo>
                    <a:pt x="84597" y="55311"/>
                    <a:pt x="86582" y="52458"/>
                    <a:pt x="85860" y="50015"/>
                  </a:cubicBezTo>
                  <a:cubicBezTo>
                    <a:pt x="85517" y="48852"/>
                    <a:pt x="84704" y="47901"/>
                    <a:pt x="84043" y="46884"/>
                  </a:cubicBezTo>
                  <a:cubicBezTo>
                    <a:pt x="83131" y="45481"/>
                    <a:pt x="82492" y="43918"/>
                    <a:pt x="82159" y="42277"/>
                  </a:cubicBezTo>
                  <a:cubicBezTo>
                    <a:pt x="81854" y="40773"/>
                    <a:pt x="81767" y="39118"/>
                    <a:pt x="80776" y="37947"/>
                  </a:cubicBezTo>
                  <a:cubicBezTo>
                    <a:pt x="79227" y="38020"/>
                    <a:pt x="77350" y="37975"/>
                    <a:pt x="75971" y="38686"/>
                  </a:cubicBezTo>
                  <a:cubicBezTo>
                    <a:pt x="75699" y="37108"/>
                    <a:pt x="75398" y="35461"/>
                    <a:pt x="74423" y="34192"/>
                  </a:cubicBezTo>
                  <a:cubicBezTo>
                    <a:pt x="73732" y="33291"/>
                    <a:pt x="72587" y="32657"/>
                    <a:pt x="71488" y="32657"/>
                  </a:cubicBezTo>
                  <a:cubicBezTo>
                    <a:pt x="71039" y="32657"/>
                    <a:pt x="70597" y="32763"/>
                    <a:pt x="70198" y="32999"/>
                  </a:cubicBezTo>
                  <a:cubicBezTo>
                    <a:pt x="68851" y="33794"/>
                    <a:pt x="68559" y="35642"/>
                    <a:pt x="68807" y="37187"/>
                  </a:cubicBezTo>
                  <a:cubicBezTo>
                    <a:pt x="69057" y="38731"/>
                    <a:pt x="69698" y="40227"/>
                    <a:pt x="69655" y="41791"/>
                  </a:cubicBezTo>
                  <a:cubicBezTo>
                    <a:pt x="69615" y="43336"/>
                    <a:pt x="68552" y="45042"/>
                    <a:pt x="67017" y="45042"/>
                  </a:cubicBezTo>
                  <a:cubicBezTo>
                    <a:pt x="66998" y="45042"/>
                    <a:pt x="66979" y="45041"/>
                    <a:pt x="66960" y="45041"/>
                  </a:cubicBezTo>
                  <a:cubicBezTo>
                    <a:pt x="66146" y="45019"/>
                    <a:pt x="65416" y="44522"/>
                    <a:pt x="64843" y="43941"/>
                  </a:cubicBezTo>
                  <a:cubicBezTo>
                    <a:pt x="64022" y="43112"/>
                    <a:pt x="63372" y="42052"/>
                    <a:pt x="62317" y="41553"/>
                  </a:cubicBezTo>
                  <a:cubicBezTo>
                    <a:pt x="61507" y="41171"/>
                    <a:pt x="60577" y="41179"/>
                    <a:pt x="59704" y="40982"/>
                  </a:cubicBezTo>
                  <a:cubicBezTo>
                    <a:pt x="56728" y="40316"/>
                    <a:pt x="54688" y="36902"/>
                    <a:pt x="55510" y="33965"/>
                  </a:cubicBezTo>
                  <a:cubicBezTo>
                    <a:pt x="56182" y="31564"/>
                    <a:pt x="58657" y="29882"/>
                    <a:pt x="61117" y="29882"/>
                  </a:cubicBezTo>
                  <a:cubicBezTo>
                    <a:pt x="61664" y="29882"/>
                    <a:pt x="62211" y="29966"/>
                    <a:pt x="62737" y="30143"/>
                  </a:cubicBezTo>
                  <a:cubicBezTo>
                    <a:pt x="66237" y="28861"/>
                    <a:pt x="67660" y="24447"/>
                    <a:pt x="66265" y="20991"/>
                  </a:cubicBezTo>
                  <a:cubicBezTo>
                    <a:pt x="64868" y="17535"/>
                    <a:pt x="61115" y="15389"/>
                    <a:pt x="57392" y="15226"/>
                  </a:cubicBezTo>
                  <a:cubicBezTo>
                    <a:pt x="56302" y="15179"/>
                    <a:pt x="55191" y="15275"/>
                    <a:pt x="54134" y="15007"/>
                  </a:cubicBezTo>
                  <a:cubicBezTo>
                    <a:pt x="51145" y="14251"/>
                    <a:pt x="49582" y="10965"/>
                    <a:pt x="46980" y="9310"/>
                  </a:cubicBezTo>
                  <a:cubicBezTo>
                    <a:pt x="46287" y="8869"/>
                    <a:pt x="45224" y="8778"/>
                    <a:pt x="44079" y="8778"/>
                  </a:cubicBezTo>
                  <a:cubicBezTo>
                    <a:pt x="43277" y="8778"/>
                    <a:pt x="42435" y="8823"/>
                    <a:pt x="41651" y="8823"/>
                  </a:cubicBezTo>
                  <a:cubicBezTo>
                    <a:pt x="40795" y="8823"/>
                    <a:pt x="40007" y="8769"/>
                    <a:pt x="39418" y="8547"/>
                  </a:cubicBezTo>
                  <a:cubicBezTo>
                    <a:pt x="38499" y="8200"/>
                    <a:pt x="37525" y="8023"/>
                    <a:pt x="36546" y="8023"/>
                  </a:cubicBezTo>
                  <a:cubicBezTo>
                    <a:pt x="36275" y="8023"/>
                    <a:pt x="36003" y="8037"/>
                    <a:pt x="35731" y="8064"/>
                  </a:cubicBezTo>
                  <a:cubicBezTo>
                    <a:pt x="34635" y="9104"/>
                    <a:pt x="32585" y="9398"/>
                    <a:pt x="31077" y="9499"/>
                  </a:cubicBezTo>
                  <a:cubicBezTo>
                    <a:pt x="29526" y="7990"/>
                    <a:pt x="27655" y="6585"/>
                    <a:pt x="25725" y="5605"/>
                  </a:cubicBezTo>
                  <a:cubicBezTo>
                    <a:pt x="24435" y="4951"/>
                    <a:pt x="22930" y="4260"/>
                    <a:pt x="22532" y="2870"/>
                  </a:cubicBezTo>
                  <a:cubicBezTo>
                    <a:pt x="22012" y="1053"/>
                    <a:pt x="19376" y="125"/>
                    <a:pt x="17200" y="125"/>
                  </a:cubicBezTo>
                  <a:cubicBezTo>
                    <a:pt x="16716" y="125"/>
                    <a:pt x="16254" y="171"/>
                    <a:pt x="15844" y="263"/>
                  </a:cubicBezTo>
                  <a:cubicBezTo>
                    <a:pt x="15181" y="84"/>
                    <a:pt x="14496" y="0"/>
                    <a:pt x="138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5" name="Google Shape;1955;p53"/>
            <p:cNvSpPr/>
            <p:nvPr/>
          </p:nvSpPr>
          <p:spPr>
            <a:xfrm>
              <a:off x="2370225" y="830650"/>
              <a:ext cx="1016975" cy="1158500"/>
            </a:xfrm>
            <a:custGeom>
              <a:avLst/>
              <a:gdLst/>
              <a:ahLst/>
              <a:cxnLst/>
              <a:rect l="l" t="t" r="r" b="b"/>
              <a:pathLst>
                <a:path w="40679" h="46340" extrusionOk="0">
                  <a:moveTo>
                    <a:pt x="15780" y="0"/>
                  </a:moveTo>
                  <a:cubicBezTo>
                    <a:pt x="14989" y="0"/>
                    <a:pt x="14213" y="109"/>
                    <a:pt x="13470" y="421"/>
                  </a:cubicBezTo>
                  <a:cubicBezTo>
                    <a:pt x="9879" y="1928"/>
                    <a:pt x="10933" y="5468"/>
                    <a:pt x="8580" y="7572"/>
                  </a:cubicBezTo>
                  <a:cubicBezTo>
                    <a:pt x="6546" y="9390"/>
                    <a:pt x="2788" y="7963"/>
                    <a:pt x="1150" y="10460"/>
                  </a:cubicBezTo>
                  <a:cubicBezTo>
                    <a:pt x="0" y="12215"/>
                    <a:pt x="1289" y="14606"/>
                    <a:pt x="2962" y="15871"/>
                  </a:cubicBezTo>
                  <a:cubicBezTo>
                    <a:pt x="4636" y="17135"/>
                    <a:pt x="6731" y="17894"/>
                    <a:pt x="8056" y="19522"/>
                  </a:cubicBezTo>
                  <a:cubicBezTo>
                    <a:pt x="10183" y="22136"/>
                    <a:pt x="9577" y="26004"/>
                    <a:pt x="8413" y="29169"/>
                  </a:cubicBezTo>
                  <a:cubicBezTo>
                    <a:pt x="7247" y="32332"/>
                    <a:pt x="5603" y="35532"/>
                    <a:pt x="6005" y="38881"/>
                  </a:cubicBezTo>
                  <a:cubicBezTo>
                    <a:pt x="6193" y="40459"/>
                    <a:pt x="6837" y="41956"/>
                    <a:pt x="7675" y="43307"/>
                  </a:cubicBezTo>
                  <a:cubicBezTo>
                    <a:pt x="8488" y="44615"/>
                    <a:pt x="9597" y="45873"/>
                    <a:pt x="11095" y="46235"/>
                  </a:cubicBezTo>
                  <a:cubicBezTo>
                    <a:pt x="11391" y="46306"/>
                    <a:pt x="11688" y="46339"/>
                    <a:pt x="11983" y="46339"/>
                  </a:cubicBezTo>
                  <a:cubicBezTo>
                    <a:pt x="13586" y="46339"/>
                    <a:pt x="15150" y="45367"/>
                    <a:pt x="16368" y="44250"/>
                  </a:cubicBezTo>
                  <a:cubicBezTo>
                    <a:pt x="17812" y="42927"/>
                    <a:pt x="19065" y="41325"/>
                    <a:pt x="20822" y="40465"/>
                  </a:cubicBezTo>
                  <a:cubicBezTo>
                    <a:pt x="23353" y="39224"/>
                    <a:pt x="26610" y="39686"/>
                    <a:pt x="28815" y="37929"/>
                  </a:cubicBezTo>
                  <a:cubicBezTo>
                    <a:pt x="31544" y="35754"/>
                    <a:pt x="31140" y="31606"/>
                    <a:pt x="31890" y="28199"/>
                  </a:cubicBezTo>
                  <a:cubicBezTo>
                    <a:pt x="33150" y="22476"/>
                    <a:pt x="38102" y="18249"/>
                    <a:pt x="40038" y="12718"/>
                  </a:cubicBezTo>
                  <a:cubicBezTo>
                    <a:pt x="40418" y="11636"/>
                    <a:pt x="40679" y="10499"/>
                    <a:pt x="40652" y="9352"/>
                  </a:cubicBezTo>
                  <a:cubicBezTo>
                    <a:pt x="40569" y="5649"/>
                    <a:pt x="37449" y="2571"/>
                    <a:pt x="33956" y="1339"/>
                  </a:cubicBezTo>
                  <a:cubicBezTo>
                    <a:pt x="31938" y="627"/>
                    <a:pt x="29911" y="457"/>
                    <a:pt x="27871" y="457"/>
                  </a:cubicBezTo>
                  <a:cubicBezTo>
                    <a:pt x="26007" y="457"/>
                    <a:pt x="24132" y="599"/>
                    <a:pt x="22245" y="599"/>
                  </a:cubicBezTo>
                  <a:cubicBezTo>
                    <a:pt x="21785" y="599"/>
                    <a:pt x="21325" y="591"/>
                    <a:pt x="20863" y="570"/>
                  </a:cubicBezTo>
                  <a:cubicBezTo>
                    <a:pt x="19225" y="496"/>
                    <a:pt x="17470" y="0"/>
                    <a:pt x="157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6" name="Google Shape;1956;p53"/>
            <p:cNvSpPr/>
            <p:nvPr/>
          </p:nvSpPr>
          <p:spPr>
            <a:xfrm>
              <a:off x="3143325" y="1089650"/>
              <a:ext cx="4064350" cy="3503975"/>
            </a:xfrm>
            <a:custGeom>
              <a:avLst/>
              <a:gdLst/>
              <a:ahLst/>
              <a:cxnLst/>
              <a:rect l="l" t="t" r="r" b="b"/>
              <a:pathLst>
                <a:path w="162574" h="140159" extrusionOk="0">
                  <a:moveTo>
                    <a:pt x="149391" y="0"/>
                  </a:moveTo>
                  <a:cubicBezTo>
                    <a:pt x="148360" y="0"/>
                    <a:pt x="147330" y="156"/>
                    <a:pt x="146349" y="477"/>
                  </a:cubicBezTo>
                  <a:cubicBezTo>
                    <a:pt x="145329" y="812"/>
                    <a:pt x="144363" y="1309"/>
                    <a:pt x="143326" y="1583"/>
                  </a:cubicBezTo>
                  <a:cubicBezTo>
                    <a:pt x="142494" y="1801"/>
                    <a:pt x="141638" y="1870"/>
                    <a:pt x="140776" y="1870"/>
                  </a:cubicBezTo>
                  <a:cubicBezTo>
                    <a:pt x="140050" y="1870"/>
                    <a:pt x="139319" y="1821"/>
                    <a:pt x="138596" y="1772"/>
                  </a:cubicBezTo>
                  <a:lnTo>
                    <a:pt x="130106" y="1191"/>
                  </a:lnTo>
                  <a:cubicBezTo>
                    <a:pt x="129237" y="1132"/>
                    <a:pt x="128350" y="1076"/>
                    <a:pt x="127469" y="1076"/>
                  </a:cubicBezTo>
                  <a:cubicBezTo>
                    <a:pt x="125783" y="1076"/>
                    <a:pt x="124119" y="1281"/>
                    <a:pt x="122644" y="2056"/>
                  </a:cubicBezTo>
                  <a:cubicBezTo>
                    <a:pt x="119360" y="3782"/>
                    <a:pt x="117499" y="8084"/>
                    <a:pt x="113816" y="8529"/>
                  </a:cubicBezTo>
                  <a:cubicBezTo>
                    <a:pt x="113611" y="8554"/>
                    <a:pt x="113408" y="8566"/>
                    <a:pt x="113207" y="8566"/>
                  </a:cubicBezTo>
                  <a:cubicBezTo>
                    <a:pt x="110853" y="8566"/>
                    <a:pt x="108715" y="6973"/>
                    <a:pt x="106473" y="6087"/>
                  </a:cubicBezTo>
                  <a:cubicBezTo>
                    <a:pt x="105100" y="5543"/>
                    <a:pt x="103627" y="5279"/>
                    <a:pt x="102152" y="5279"/>
                  </a:cubicBezTo>
                  <a:cubicBezTo>
                    <a:pt x="99404" y="5279"/>
                    <a:pt x="96647" y="6196"/>
                    <a:pt x="94512" y="7933"/>
                  </a:cubicBezTo>
                  <a:cubicBezTo>
                    <a:pt x="93279" y="7304"/>
                    <a:pt x="93660" y="5468"/>
                    <a:pt x="93225" y="4153"/>
                  </a:cubicBezTo>
                  <a:cubicBezTo>
                    <a:pt x="92771" y="2782"/>
                    <a:pt x="91297" y="1954"/>
                    <a:pt x="89858" y="1828"/>
                  </a:cubicBezTo>
                  <a:cubicBezTo>
                    <a:pt x="89687" y="1813"/>
                    <a:pt x="89517" y="1806"/>
                    <a:pt x="89348" y="1806"/>
                  </a:cubicBezTo>
                  <a:cubicBezTo>
                    <a:pt x="88082" y="1806"/>
                    <a:pt x="86834" y="2194"/>
                    <a:pt x="85623" y="2590"/>
                  </a:cubicBezTo>
                  <a:cubicBezTo>
                    <a:pt x="82664" y="3556"/>
                    <a:pt x="79224" y="5204"/>
                    <a:pt x="78950" y="8303"/>
                  </a:cubicBezTo>
                  <a:cubicBezTo>
                    <a:pt x="78873" y="9176"/>
                    <a:pt x="79068" y="10104"/>
                    <a:pt x="78702" y="10900"/>
                  </a:cubicBezTo>
                  <a:cubicBezTo>
                    <a:pt x="78178" y="12033"/>
                    <a:pt x="76762" y="12408"/>
                    <a:pt x="75881" y="13291"/>
                  </a:cubicBezTo>
                  <a:cubicBezTo>
                    <a:pt x="74831" y="14345"/>
                    <a:pt x="74664" y="15971"/>
                    <a:pt x="74621" y="17458"/>
                  </a:cubicBezTo>
                  <a:cubicBezTo>
                    <a:pt x="74577" y="18944"/>
                    <a:pt x="74563" y="20541"/>
                    <a:pt x="73703" y="21754"/>
                  </a:cubicBezTo>
                  <a:cubicBezTo>
                    <a:pt x="73148" y="22537"/>
                    <a:pt x="71069" y="23068"/>
                    <a:pt x="69376" y="23068"/>
                  </a:cubicBezTo>
                  <a:cubicBezTo>
                    <a:pt x="68445" y="23068"/>
                    <a:pt x="67630" y="22907"/>
                    <a:pt x="67252" y="22539"/>
                  </a:cubicBezTo>
                  <a:cubicBezTo>
                    <a:pt x="66636" y="21940"/>
                    <a:pt x="65905" y="21693"/>
                    <a:pt x="65124" y="21693"/>
                  </a:cubicBezTo>
                  <a:cubicBezTo>
                    <a:pt x="63293" y="21693"/>
                    <a:pt x="61194" y="23048"/>
                    <a:pt x="59696" y="24392"/>
                  </a:cubicBezTo>
                  <a:lnTo>
                    <a:pt x="53326" y="30110"/>
                  </a:lnTo>
                  <a:cubicBezTo>
                    <a:pt x="51731" y="31541"/>
                    <a:pt x="50013" y="33034"/>
                    <a:pt x="47899" y="33389"/>
                  </a:cubicBezTo>
                  <a:cubicBezTo>
                    <a:pt x="47672" y="33427"/>
                    <a:pt x="47440" y="33446"/>
                    <a:pt x="47206" y="33446"/>
                  </a:cubicBezTo>
                  <a:cubicBezTo>
                    <a:pt x="45267" y="33446"/>
                    <a:pt x="43232" y="32171"/>
                    <a:pt x="43155" y="30259"/>
                  </a:cubicBezTo>
                  <a:cubicBezTo>
                    <a:pt x="43563" y="29875"/>
                    <a:pt x="44085" y="29761"/>
                    <a:pt x="44655" y="29761"/>
                  </a:cubicBezTo>
                  <a:cubicBezTo>
                    <a:pt x="45498" y="29761"/>
                    <a:pt x="46445" y="30012"/>
                    <a:pt x="47276" y="30012"/>
                  </a:cubicBezTo>
                  <a:cubicBezTo>
                    <a:pt x="47872" y="30012"/>
                    <a:pt x="48409" y="29883"/>
                    <a:pt x="48805" y="29438"/>
                  </a:cubicBezTo>
                  <a:cubicBezTo>
                    <a:pt x="49977" y="28121"/>
                    <a:pt x="48243" y="26238"/>
                    <a:pt x="46718" y="25356"/>
                  </a:cubicBezTo>
                  <a:cubicBezTo>
                    <a:pt x="43929" y="23744"/>
                    <a:pt x="41047" y="22101"/>
                    <a:pt x="37854" y="21667"/>
                  </a:cubicBezTo>
                  <a:cubicBezTo>
                    <a:pt x="37395" y="21605"/>
                    <a:pt x="36928" y="21573"/>
                    <a:pt x="36459" y="21573"/>
                  </a:cubicBezTo>
                  <a:cubicBezTo>
                    <a:pt x="33662" y="21573"/>
                    <a:pt x="30804" y="22696"/>
                    <a:pt x="29384" y="25062"/>
                  </a:cubicBezTo>
                  <a:cubicBezTo>
                    <a:pt x="27966" y="27426"/>
                    <a:pt x="28225" y="30512"/>
                    <a:pt x="26820" y="32884"/>
                  </a:cubicBezTo>
                  <a:cubicBezTo>
                    <a:pt x="25941" y="34369"/>
                    <a:pt x="24491" y="35431"/>
                    <a:pt x="23493" y="36839"/>
                  </a:cubicBezTo>
                  <a:cubicBezTo>
                    <a:pt x="22495" y="38247"/>
                    <a:pt x="22067" y="40372"/>
                    <a:pt x="23291" y="41591"/>
                  </a:cubicBezTo>
                  <a:cubicBezTo>
                    <a:pt x="24277" y="42574"/>
                    <a:pt x="25957" y="42576"/>
                    <a:pt x="26934" y="43568"/>
                  </a:cubicBezTo>
                  <a:cubicBezTo>
                    <a:pt x="27686" y="44334"/>
                    <a:pt x="27942" y="45612"/>
                    <a:pt x="28928" y="46032"/>
                  </a:cubicBezTo>
                  <a:cubicBezTo>
                    <a:pt x="29116" y="46112"/>
                    <a:pt x="29308" y="46149"/>
                    <a:pt x="29499" y="46149"/>
                  </a:cubicBezTo>
                  <a:cubicBezTo>
                    <a:pt x="30453" y="46149"/>
                    <a:pt x="31375" y="45228"/>
                    <a:pt x="31599" y="44232"/>
                  </a:cubicBezTo>
                  <a:cubicBezTo>
                    <a:pt x="31870" y="43035"/>
                    <a:pt x="31491" y="41803"/>
                    <a:pt x="31294" y="40594"/>
                  </a:cubicBezTo>
                  <a:cubicBezTo>
                    <a:pt x="30707" y="36976"/>
                    <a:pt x="32524" y="32527"/>
                    <a:pt x="36153" y="32010"/>
                  </a:cubicBezTo>
                  <a:cubicBezTo>
                    <a:pt x="36979" y="32041"/>
                    <a:pt x="37253" y="33221"/>
                    <a:pt x="36881" y="33960"/>
                  </a:cubicBezTo>
                  <a:cubicBezTo>
                    <a:pt x="36512" y="34700"/>
                    <a:pt x="35790" y="35213"/>
                    <a:pt x="35400" y="35941"/>
                  </a:cubicBezTo>
                  <a:cubicBezTo>
                    <a:pt x="34663" y="37314"/>
                    <a:pt x="35518" y="39272"/>
                    <a:pt x="37026" y="39667"/>
                  </a:cubicBezTo>
                  <a:cubicBezTo>
                    <a:pt x="38598" y="40078"/>
                    <a:pt x="41223" y="39748"/>
                    <a:pt x="41017" y="41358"/>
                  </a:cubicBezTo>
                  <a:cubicBezTo>
                    <a:pt x="40797" y="43068"/>
                    <a:pt x="37630" y="41948"/>
                    <a:pt x="36606" y="43336"/>
                  </a:cubicBezTo>
                  <a:cubicBezTo>
                    <a:pt x="36002" y="44155"/>
                    <a:pt x="36537" y="45296"/>
                    <a:pt x="36521" y="46313"/>
                  </a:cubicBezTo>
                  <a:cubicBezTo>
                    <a:pt x="36494" y="48303"/>
                    <a:pt x="34299" y="49599"/>
                    <a:pt x="32313" y="49739"/>
                  </a:cubicBezTo>
                  <a:cubicBezTo>
                    <a:pt x="32097" y="49755"/>
                    <a:pt x="31880" y="49762"/>
                    <a:pt x="31663" y="49762"/>
                  </a:cubicBezTo>
                  <a:cubicBezTo>
                    <a:pt x="30164" y="49762"/>
                    <a:pt x="28664" y="49439"/>
                    <a:pt x="27166" y="49439"/>
                  </a:cubicBezTo>
                  <a:cubicBezTo>
                    <a:pt x="26898" y="49439"/>
                    <a:pt x="26629" y="49449"/>
                    <a:pt x="26361" y="49474"/>
                  </a:cubicBezTo>
                  <a:cubicBezTo>
                    <a:pt x="24379" y="49654"/>
                    <a:pt x="22222" y="51058"/>
                    <a:pt x="22312" y="53044"/>
                  </a:cubicBezTo>
                  <a:cubicBezTo>
                    <a:pt x="19567" y="54331"/>
                    <a:pt x="16715" y="55374"/>
                    <a:pt x="13788" y="56164"/>
                  </a:cubicBezTo>
                  <a:cubicBezTo>
                    <a:pt x="13912" y="58317"/>
                    <a:pt x="17975" y="58517"/>
                    <a:pt x="17960" y="60675"/>
                  </a:cubicBezTo>
                  <a:cubicBezTo>
                    <a:pt x="17949" y="61887"/>
                    <a:pt x="16542" y="62556"/>
                    <a:pt x="15302" y="62556"/>
                  </a:cubicBezTo>
                  <a:cubicBezTo>
                    <a:pt x="15219" y="62556"/>
                    <a:pt x="15137" y="62553"/>
                    <a:pt x="15056" y="62547"/>
                  </a:cubicBezTo>
                  <a:cubicBezTo>
                    <a:pt x="14072" y="62475"/>
                    <a:pt x="13082" y="62160"/>
                    <a:pt x="12113" y="62160"/>
                  </a:cubicBezTo>
                  <a:cubicBezTo>
                    <a:pt x="11810" y="62160"/>
                    <a:pt x="11508" y="62191"/>
                    <a:pt x="11210" y="62270"/>
                  </a:cubicBezTo>
                  <a:cubicBezTo>
                    <a:pt x="9047" y="62839"/>
                    <a:pt x="8290" y="65880"/>
                    <a:pt x="9487" y="67769"/>
                  </a:cubicBezTo>
                  <a:cubicBezTo>
                    <a:pt x="10572" y="69481"/>
                    <a:pt x="12694" y="70258"/>
                    <a:pt x="14741" y="70258"/>
                  </a:cubicBezTo>
                  <a:cubicBezTo>
                    <a:pt x="14954" y="70258"/>
                    <a:pt x="15165" y="70249"/>
                    <a:pt x="15375" y="70233"/>
                  </a:cubicBezTo>
                  <a:cubicBezTo>
                    <a:pt x="16269" y="70162"/>
                    <a:pt x="17225" y="69924"/>
                    <a:pt x="17785" y="69223"/>
                  </a:cubicBezTo>
                  <a:cubicBezTo>
                    <a:pt x="18318" y="68554"/>
                    <a:pt x="18362" y="67634"/>
                    <a:pt x="18586" y="66808"/>
                  </a:cubicBezTo>
                  <a:cubicBezTo>
                    <a:pt x="19089" y="64960"/>
                    <a:pt x="20667" y="63445"/>
                    <a:pt x="22534" y="63019"/>
                  </a:cubicBezTo>
                  <a:cubicBezTo>
                    <a:pt x="23588" y="62778"/>
                    <a:pt x="24878" y="62758"/>
                    <a:pt x="25444" y="61839"/>
                  </a:cubicBezTo>
                  <a:cubicBezTo>
                    <a:pt x="27854" y="63143"/>
                    <a:pt x="29550" y="65685"/>
                    <a:pt x="29826" y="68413"/>
                  </a:cubicBezTo>
                  <a:cubicBezTo>
                    <a:pt x="30020" y="68663"/>
                    <a:pt x="30274" y="68770"/>
                    <a:pt x="30543" y="68770"/>
                  </a:cubicBezTo>
                  <a:cubicBezTo>
                    <a:pt x="31347" y="68770"/>
                    <a:pt x="32287" y="67809"/>
                    <a:pt x="32159" y="66868"/>
                  </a:cubicBezTo>
                  <a:cubicBezTo>
                    <a:pt x="31991" y="65614"/>
                    <a:pt x="30882" y="64743"/>
                    <a:pt x="30003" y="63834"/>
                  </a:cubicBezTo>
                  <a:cubicBezTo>
                    <a:pt x="29122" y="62923"/>
                    <a:pt x="28387" y="61510"/>
                    <a:pt x="29078" y="60448"/>
                  </a:cubicBezTo>
                  <a:lnTo>
                    <a:pt x="29078" y="60448"/>
                  </a:lnTo>
                  <a:cubicBezTo>
                    <a:pt x="33197" y="61658"/>
                    <a:pt x="36527" y="65238"/>
                    <a:pt x="37435" y="69435"/>
                  </a:cubicBezTo>
                  <a:cubicBezTo>
                    <a:pt x="38871" y="69149"/>
                    <a:pt x="39664" y="67205"/>
                    <a:pt x="38838" y="65997"/>
                  </a:cubicBezTo>
                  <a:cubicBezTo>
                    <a:pt x="39003" y="65628"/>
                    <a:pt x="39328" y="65472"/>
                    <a:pt x="39697" y="65472"/>
                  </a:cubicBezTo>
                  <a:cubicBezTo>
                    <a:pt x="40331" y="65472"/>
                    <a:pt x="41094" y="65932"/>
                    <a:pt x="41391" y="66558"/>
                  </a:cubicBezTo>
                  <a:cubicBezTo>
                    <a:pt x="41862" y="67549"/>
                    <a:pt x="41819" y="68770"/>
                    <a:pt x="42492" y="69636"/>
                  </a:cubicBezTo>
                  <a:cubicBezTo>
                    <a:pt x="43175" y="70517"/>
                    <a:pt x="44261" y="70711"/>
                    <a:pt x="45451" y="70711"/>
                  </a:cubicBezTo>
                  <a:cubicBezTo>
                    <a:pt x="46388" y="70711"/>
                    <a:pt x="47390" y="70590"/>
                    <a:pt x="48312" y="70590"/>
                  </a:cubicBezTo>
                  <a:cubicBezTo>
                    <a:pt x="49551" y="70590"/>
                    <a:pt x="50643" y="70808"/>
                    <a:pt x="51235" y="71828"/>
                  </a:cubicBezTo>
                  <a:cubicBezTo>
                    <a:pt x="52336" y="73723"/>
                    <a:pt x="49909" y="75927"/>
                    <a:pt x="47711" y="75927"/>
                  </a:cubicBezTo>
                  <a:cubicBezTo>
                    <a:pt x="47678" y="75927"/>
                    <a:pt x="47645" y="75926"/>
                    <a:pt x="47613" y="75925"/>
                  </a:cubicBezTo>
                  <a:cubicBezTo>
                    <a:pt x="45391" y="75856"/>
                    <a:pt x="43361" y="74585"/>
                    <a:pt x="41147" y="74365"/>
                  </a:cubicBezTo>
                  <a:cubicBezTo>
                    <a:pt x="40897" y="74340"/>
                    <a:pt x="40647" y="74329"/>
                    <a:pt x="40397" y="74329"/>
                  </a:cubicBezTo>
                  <a:cubicBezTo>
                    <a:pt x="38218" y="74329"/>
                    <a:pt x="36082" y="75200"/>
                    <a:pt x="33896" y="75455"/>
                  </a:cubicBezTo>
                  <a:cubicBezTo>
                    <a:pt x="33619" y="75487"/>
                    <a:pt x="33335" y="75503"/>
                    <a:pt x="33048" y="75503"/>
                  </a:cubicBezTo>
                  <a:cubicBezTo>
                    <a:pt x="30807" y="75503"/>
                    <a:pt x="28395" y="74514"/>
                    <a:pt x="27939" y="72388"/>
                  </a:cubicBezTo>
                  <a:cubicBezTo>
                    <a:pt x="27802" y="71741"/>
                    <a:pt x="27855" y="71030"/>
                    <a:pt x="27514" y="70464"/>
                  </a:cubicBezTo>
                  <a:cubicBezTo>
                    <a:pt x="27109" y="69793"/>
                    <a:pt x="26279" y="69553"/>
                    <a:pt x="25473" y="69553"/>
                  </a:cubicBezTo>
                  <a:cubicBezTo>
                    <a:pt x="25313" y="69553"/>
                    <a:pt x="25154" y="69562"/>
                    <a:pt x="24999" y="69580"/>
                  </a:cubicBezTo>
                  <a:cubicBezTo>
                    <a:pt x="21817" y="69942"/>
                    <a:pt x="18598" y="72595"/>
                    <a:pt x="15740" y="72595"/>
                  </a:cubicBezTo>
                  <a:cubicBezTo>
                    <a:pt x="14956" y="72595"/>
                    <a:pt x="14199" y="72395"/>
                    <a:pt x="13478" y="71894"/>
                  </a:cubicBezTo>
                  <a:cubicBezTo>
                    <a:pt x="11337" y="76062"/>
                    <a:pt x="6101" y="77629"/>
                    <a:pt x="3179" y="81294"/>
                  </a:cubicBezTo>
                  <a:cubicBezTo>
                    <a:pt x="0" y="85282"/>
                    <a:pt x="268" y="91440"/>
                    <a:pt x="3354" y="95500"/>
                  </a:cubicBezTo>
                  <a:cubicBezTo>
                    <a:pt x="6050" y="99045"/>
                    <a:pt x="10552" y="100957"/>
                    <a:pt x="15019" y="100957"/>
                  </a:cubicBezTo>
                  <a:cubicBezTo>
                    <a:pt x="15667" y="100957"/>
                    <a:pt x="16314" y="100917"/>
                    <a:pt x="16954" y="100836"/>
                  </a:cubicBezTo>
                  <a:cubicBezTo>
                    <a:pt x="17630" y="100750"/>
                    <a:pt x="18327" y="100626"/>
                    <a:pt x="19005" y="100626"/>
                  </a:cubicBezTo>
                  <a:cubicBezTo>
                    <a:pt x="19489" y="100626"/>
                    <a:pt x="19963" y="100690"/>
                    <a:pt x="20413" y="100875"/>
                  </a:cubicBezTo>
                  <a:cubicBezTo>
                    <a:pt x="21482" y="101317"/>
                    <a:pt x="22166" y="102352"/>
                    <a:pt x="23058" y="103088"/>
                  </a:cubicBezTo>
                  <a:cubicBezTo>
                    <a:pt x="23580" y="103519"/>
                    <a:pt x="24303" y="103823"/>
                    <a:pt x="24961" y="103823"/>
                  </a:cubicBezTo>
                  <a:cubicBezTo>
                    <a:pt x="25427" y="103823"/>
                    <a:pt x="25861" y="103670"/>
                    <a:pt x="26168" y="103301"/>
                  </a:cubicBezTo>
                  <a:lnTo>
                    <a:pt x="26168" y="103301"/>
                  </a:lnTo>
                  <a:cubicBezTo>
                    <a:pt x="25321" y="105399"/>
                    <a:pt x="25557" y="107902"/>
                    <a:pt x="26779" y="109805"/>
                  </a:cubicBezTo>
                  <a:cubicBezTo>
                    <a:pt x="28099" y="111859"/>
                    <a:pt x="30559" y="113484"/>
                    <a:pt x="30509" y="115926"/>
                  </a:cubicBezTo>
                  <a:cubicBezTo>
                    <a:pt x="30482" y="117190"/>
                    <a:pt x="29748" y="118318"/>
                    <a:pt x="29403" y="119536"/>
                  </a:cubicBezTo>
                  <a:cubicBezTo>
                    <a:pt x="27829" y="125109"/>
                    <a:pt x="34415" y="129657"/>
                    <a:pt x="35455" y="135354"/>
                  </a:cubicBezTo>
                  <a:cubicBezTo>
                    <a:pt x="35736" y="136888"/>
                    <a:pt x="35735" y="138735"/>
                    <a:pt x="37029" y="139601"/>
                  </a:cubicBezTo>
                  <a:cubicBezTo>
                    <a:pt x="37625" y="139999"/>
                    <a:pt x="38374" y="140081"/>
                    <a:pt x="39090" y="140127"/>
                  </a:cubicBezTo>
                  <a:cubicBezTo>
                    <a:pt x="39409" y="140148"/>
                    <a:pt x="39736" y="140158"/>
                    <a:pt x="40067" y="140158"/>
                  </a:cubicBezTo>
                  <a:cubicBezTo>
                    <a:pt x="43538" y="140158"/>
                    <a:pt x="47454" y="138962"/>
                    <a:pt x="48151" y="135675"/>
                  </a:cubicBezTo>
                  <a:cubicBezTo>
                    <a:pt x="48366" y="134657"/>
                    <a:pt x="48212" y="133602"/>
                    <a:pt x="48243" y="132560"/>
                  </a:cubicBezTo>
                  <a:cubicBezTo>
                    <a:pt x="48336" y="129451"/>
                    <a:pt x="50239" y="126459"/>
                    <a:pt x="53017" y="125056"/>
                  </a:cubicBezTo>
                  <a:cubicBezTo>
                    <a:pt x="53771" y="124675"/>
                    <a:pt x="54600" y="124390"/>
                    <a:pt x="55202" y="123799"/>
                  </a:cubicBezTo>
                  <a:cubicBezTo>
                    <a:pt x="56528" y="122495"/>
                    <a:pt x="56234" y="120283"/>
                    <a:pt x="55553" y="118553"/>
                  </a:cubicBezTo>
                  <a:cubicBezTo>
                    <a:pt x="54872" y="116821"/>
                    <a:pt x="53881" y="115076"/>
                    <a:pt x="54120" y="113231"/>
                  </a:cubicBezTo>
                  <a:cubicBezTo>
                    <a:pt x="54502" y="110269"/>
                    <a:pt x="57681" y="108706"/>
                    <a:pt x="60090" y="106941"/>
                  </a:cubicBezTo>
                  <a:cubicBezTo>
                    <a:pt x="63716" y="104284"/>
                    <a:pt x="66206" y="100125"/>
                    <a:pt x="66835" y="95675"/>
                  </a:cubicBezTo>
                  <a:lnTo>
                    <a:pt x="66835" y="95675"/>
                  </a:lnTo>
                  <a:cubicBezTo>
                    <a:pt x="65061" y="96232"/>
                    <a:pt x="63075" y="96745"/>
                    <a:pt x="61220" y="96745"/>
                  </a:cubicBezTo>
                  <a:cubicBezTo>
                    <a:pt x="59581" y="96745"/>
                    <a:pt x="58045" y="96344"/>
                    <a:pt x="56849" y="95215"/>
                  </a:cubicBezTo>
                  <a:cubicBezTo>
                    <a:pt x="55965" y="94380"/>
                    <a:pt x="55421" y="93259"/>
                    <a:pt x="54897" y="92162"/>
                  </a:cubicBezTo>
                  <a:lnTo>
                    <a:pt x="50173" y="82291"/>
                  </a:lnTo>
                  <a:cubicBezTo>
                    <a:pt x="49966" y="81857"/>
                    <a:pt x="49755" y="81362"/>
                    <a:pt x="49925" y="80912"/>
                  </a:cubicBezTo>
                  <a:cubicBezTo>
                    <a:pt x="50074" y="80517"/>
                    <a:pt x="50366" y="80356"/>
                    <a:pt x="50717" y="80356"/>
                  </a:cubicBezTo>
                  <a:cubicBezTo>
                    <a:pt x="51453" y="80356"/>
                    <a:pt x="52449" y="81064"/>
                    <a:pt x="52928" y="81807"/>
                  </a:cubicBezTo>
                  <a:cubicBezTo>
                    <a:pt x="55452" y="85724"/>
                    <a:pt x="57718" y="89804"/>
                    <a:pt x="59707" y="94020"/>
                  </a:cubicBezTo>
                  <a:cubicBezTo>
                    <a:pt x="63791" y="93273"/>
                    <a:pt x="67648" y="91596"/>
                    <a:pt x="70980" y="89118"/>
                  </a:cubicBezTo>
                  <a:cubicBezTo>
                    <a:pt x="72037" y="88329"/>
                    <a:pt x="73088" y="87386"/>
                    <a:pt x="73445" y="86117"/>
                  </a:cubicBezTo>
                  <a:cubicBezTo>
                    <a:pt x="73802" y="84846"/>
                    <a:pt x="73146" y="83218"/>
                    <a:pt x="71846" y="82993"/>
                  </a:cubicBezTo>
                  <a:cubicBezTo>
                    <a:pt x="71723" y="82971"/>
                    <a:pt x="71600" y="82963"/>
                    <a:pt x="71476" y="82963"/>
                  </a:cubicBezTo>
                  <a:cubicBezTo>
                    <a:pt x="71093" y="82963"/>
                    <a:pt x="70708" y="83045"/>
                    <a:pt x="70324" y="83086"/>
                  </a:cubicBezTo>
                  <a:cubicBezTo>
                    <a:pt x="70133" y="83106"/>
                    <a:pt x="69943" y="83115"/>
                    <a:pt x="69755" y="83115"/>
                  </a:cubicBezTo>
                  <a:cubicBezTo>
                    <a:pt x="66927" y="83115"/>
                    <a:pt x="64468" y="80925"/>
                    <a:pt x="62588" y="78727"/>
                  </a:cubicBezTo>
                  <a:cubicBezTo>
                    <a:pt x="63132" y="78118"/>
                    <a:pt x="63852" y="77890"/>
                    <a:pt x="64640" y="77890"/>
                  </a:cubicBezTo>
                  <a:cubicBezTo>
                    <a:pt x="65842" y="77890"/>
                    <a:pt x="67201" y="78421"/>
                    <a:pt x="68334" y="78941"/>
                  </a:cubicBezTo>
                  <a:cubicBezTo>
                    <a:pt x="71699" y="80486"/>
                    <a:pt x="75249" y="81588"/>
                    <a:pt x="78895" y="82221"/>
                  </a:cubicBezTo>
                  <a:cubicBezTo>
                    <a:pt x="79803" y="82378"/>
                    <a:pt x="80736" y="82513"/>
                    <a:pt x="81554" y="82936"/>
                  </a:cubicBezTo>
                  <a:cubicBezTo>
                    <a:pt x="82126" y="83232"/>
                    <a:pt x="82622" y="83658"/>
                    <a:pt x="83095" y="84096"/>
                  </a:cubicBezTo>
                  <a:cubicBezTo>
                    <a:pt x="87298" y="87967"/>
                    <a:pt x="90407" y="93013"/>
                    <a:pt x="91975" y="98509"/>
                  </a:cubicBezTo>
                  <a:cubicBezTo>
                    <a:pt x="92104" y="98538"/>
                    <a:pt x="92231" y="98552"/>
                    <a:pt x="92354" y="98552"/>
                  </a:cubicBezTo>
                  <a:cubicBezTo>
                    <a:pt x="93754" y="98552"/>
                    <a:pt x="94717" y="96760"/>
                    <a:pt x="94833" y="95252"/>
                  </a:cubicBezTo>
                  <a:cubicBezTo>
                    <a:pt x="94960" y="93612"/>
                    <a:pt x="94769" y="91722"/>
                    <a:pt x="95948" y="90578"/>
                  </a:cubicBezTo>
                  <a:cubicBezTo>
                    <a:pt x="96875" y="89678"/>
                    <a:pt x="98399" y="89556"/>
                    <a:pt x="99214" y="88552"/>
                  </a:cubicBezTo>
                  <a:cubicBezTo>
                    <a:pt x="100238" y="87289"/>
                    <a:pt x="99703" y="85157"/>
                    <a:pt x="100900" y="84056"/>
                  </a:cubicBezTo>
                  <a:cubicBezTo>
                    <a:pt x="101284" y="83704"/>
                    <a:pt x="101728" y="83552"/>
                    <a:pt x="102190" y="83552"/>
                  </a:cubicBezTo>
                  <a:cubicBezTo>
                    <a:pt x="103537" y="83552"/>
                    <a:pt x="105034" y="84844"/>
                    <a:pt x="105630" y="86240"/>
                  </a:cubicBezTo>
                  <a:cubicBezTo>
                    <a:pt x="106431" y="88116"/>
                    <a:pt x="106723" y="90422"/>
                    <a:pt x="108410" y="91569"/>
                  </a:cubicBezTo>
                  <a:lnTo>
                    <a:pt x="111137" y="91176"/>
                  </a:lnTo>
                  <a:cubicBezTo>
                    <a:pt x="111152" y="95778"/>
                    <a:pt x="112750" y="100362"/>
                    <a:pt x="115602" y="103975"/>
                  </a:cubicBezTo>
                  <a:cubicBezTo>
                    <a:pt x="117157" y="103161"/>
                    <a:pt x="116453" y="100795"/>
                    <a:pt x="115480" y="99330"/>
                  </a:cubicBezTo>
                  <a:cubicBezTo>
                    <a:pt x="114508" y="97866"/>
                    <a:pt x="113554" y="95681"/>
                    <a:pt x="114936" y="94596"/>
                  </a:cubicBezTo>
                  <a:lnTo>
                    <a:pt x="114936" y="94596"/>
                  </a:lnTo>
                  <a:cubicBezTo>
                    <a:pt x="116854" y="94614"/>
                    <a:pt x="117747" y="97259"/>
                    <a:pt x="119611" y="97712"/>
                  </a:cubicBezTo>
                  <a:cubicBezTo>
                    <a:pt x="119777" y="97752"/>
                    <a:pt x="119940" y="97771"/>
                    <a:pt x="120101" y="97771"/>
                  </a:cubicBezTo>
                  <a:cubicBezTo>
                    <a:pt x="121744" y="97771"/>
                    <a:pt x="123089" y="95790"/>
                    <a:pt x="122784" y="94080"/>
                  </a:cubicBezTo>
                  <a:cubicBezTo>
                    <a:pt x="122451" y="92201"/>
                    <a:pt x="120835" y="90820"/>
                    <a:pt x="119169" y="89895"/>
                  </a:cubicBezTo>
                  <a:cubicBezTo>
                    <a:pt x="117675" y="88258"/>
                    <a:pt x="119833" y="85644"/>
                    <a:pt x="122018" y="85274"/>
                  </a:cubicBezTo>
                  <a:cubicBezTo>
                    <a:pt x="122730" y="85153"/>
                    <a:pt x="123464" y="85138"/>
                    <a:pt x="124199" y="85138"/>
                  </a:cubicBezTo>
                  <a:cubicBezTo>
                    <a:pt x="124443" y="85138"/>
                    <a:pt x="124686" y="85140"/>
                    <a:pt x="124930" y="85140"/>
                  </a:cubicBezTo>
                  <a:cubicBezTo>
                    <a:pt x="126201" y="85140"/>
                    <a:pt x="127452" y="85095"/>
                    <a:pt x="128573" y="84531"/>
                  </a:cubicBezTo>
                  <a:cubicBezTo>
                    <a:pt x="130946" y="83339"/>
                    <a:pt x="131739" y="80207"/>
                    <a:pt x="131200" y="77607"/>
                  </a:cubicBezTo>
                  <a:cubicBezTo>
                    <a:pt x="130659" y="75007"/>
                    <a:pt x="129117" y="72748"/>
                    <a:pt x="127857" y="70410"/>
                  </a:cubicBezTo>
                  <a:cubicBezTo>
                    <a:pt x="126781" y="68413"/>
                    <a:pt x="126249" y="65298"/>
                    <a:pt x="128341" y="64420"/>
                  </a:cubicBezTo>
                  <a:cubicBezTo>
                    <a:pt x="128900" y="64186"/>
                    <a:pt x="129528" y="64195"/>
                    <a:pt x="130135" y="64170"/>
                  </a:cubicBezTo>
                  <a:cubicBezTo>
                    <a:pt x="138047" y="63837"/>
                    <a:pt x="144592" y="55459"/>
                    <a:pt x="143005" y="47701"/>
                  </a:cubicBezTo>
                  <a:cubicBezTo>
                    <a:pt x="142706" y="46238"/>
                    <a:pt x="142140" y="44786"/>
                    <a:pt x="141097" y="43719"/>
                  </a:cubicBezTo>
                  <a:cubicBezTo>
                    <a:pt x="139216" y="41800"/>
                    <a:pt x="136024" y="41349"/>
                    <a:pt x="134619" y="39057"/>
                  </a:cubicBezTo>
                  <a:cubicBezTo>
                    <a:pt x="132900" y="36255"/>
                    <a:pt x="135025" y="32537"/>
                    <a:pt x="137778" y="30737"/>
                  </a:cubicBezTo>
                  <a:cubicBezTo>
                    <a:pt x="140529" y="28938"/>
                    <a:pt x="143891" y="28156"/>
                    <a:pt x="146461" y="26105"/>
                  </a:cubicBezTo>
                  <a:cubicBezTo>
                    <a:pt x="147145" y="26087"/>
                    <a:pt x="147512" y="25417"/>
                    <a:pt x="147638" y="24743"/>
                  </a:cubicBezTo>
                  <a:cubicBezTo>
                    <a:pt x="147716" y="24319"/>
                    <a:pt x="147611" y="23887"/>
                    <a:pt x="147608" y="23456"/>
                  </a:cubicBezTo>
                  <a:cubicBezTo>
                    <a:pt x="147598" y="22276"/>
                    <a:pt x="148442" y="21139"/>
                    <a:pt x="149574" y="20805"/>
                  </a:cubicBezTo>
                  <a:cubicBezTo>
                    <a:pt x="149811" y="20736"/>
                    <a:pt x="150056" y="20702"/>
                    <a:pt x="150302" y="20702"/>
                  </a:cubicBezTo>
                  <a:cubicBezTo>
                    <a:pt x="151231" y="20702"/>
                    <a:pt x="152165" y="21179"/>
                    <a:pt x="152664" y="21968"/>
                  </a:cubicBezTo>
                  <a:cubicBezTo>
                    <a:pt x="153442" y="23198"/>
                    <a:pt x="153129" y="24821"/>
                    <a:pt x="152563" y="26163"/>
                  </a:cubicBezTo>
                  <a:cubicBezTo>
                    <a:pt x="151998" y="27505"/>
                    <a:pt x="151199" y="28790"/>
                    <a:pt x="151051" y="30239"/>
                  </a:cubicBezTo>
                  <a:cubicBezTo>
                    <a:pt x="150905" y="31687"/>
                    <a:pt x="151726" y="33391"/>
                    <a:pt x="153173" y="33553"/>
                  </a:cubicBezTo>
                  <a:cubicBezTo>
                    <a:pt x="153252" y="33562"/>
                    <a:pt x="153330" y="33566"/>
                    <a:pt x="153406" y="33566"/>
                  </a:cubicBezTo>
                  <a:cubicBezTo>
                    <a:pt x="155043" y="33566"/>
                    <a:pt x="156090" y="31574"/>
                    <a:pt x="156201" y="29877"/>
                  </a:cubicBezTo>
                  <a:cubicBezTo>
                    <a:pt x="156318" y="28099"/>
                    <a:pt x="155972" y="26160"/>
                    <a:pt x="156925" y="24659"/>
                  </a:cubicBezTo>
                  <a:cubicBezTo>
                    <a:pt x="158377" y="22374"/>
                    <a:pt x="162385" y="21839"/>
                    <a:pt x="162490" y="19133"/>
                  </a:cubicBezTo>
                  <a:cubicBezTo>
                    <a:pt x="162574" y="16945"/>
                    <a:pt x="159821" y="15661"/>
                    <a:pt x="159327" y="13530"/>
                  </a:cubicBezTo>
                  <a:cubicBezTo>
                    <a:pt x="159129" y="12668"/>
                    <a:pt x="159325" y="11773"/>
                    <a:pt x="159405" y="10894"/>
                  </a:cubicBezTo>
                  <a:cubicBezTo>
                    <a:pt x="159709" y="7612"/>
                    <a:pt x="158263" y="4218"/>
                    <a:pt x="155688" y="2163"/>
                  </a:cubicBezTo>
                  <a:cubicBezTo>
                    <a:pt x="153919" y="751"/>
                    <a:pt x="151652" y="0"/>
                    <a:pt x="1493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7" name="Google Shape;1957;p53"/>
            <p:cNvSpPr/>
            <p:nvPr/>
          </p:nvSpPr>
          <p:spPr>
            <a:xfrm>
              <a:off x="6146600" y="3671525"/>
              <a:ext cx="342925" cy="189500"/>
            </a:xfrm>
            <a:custGeom>
              <a:avLst/>
              <a:gdLst/>
              <a:ahLst/>
              <a:cxnLst/>
              <a:rect l="l" t="t" r="r" b="b"/>
              <a:pathLst>
                <a:path w="13717" h="7580" extrusionOk="0">
                  <a:moveTo>
                    <a:pt x="9951" y="0"/>
                  </a:moveTo>
                  <a:cubicBezTo>
                    <a:pt x="6355" y="0"/>
                    <a:pt x="1" y="1281"/>
                    <a:pt x="2486" y="4894"/>
                  </a:cubicBezTo>
                  <a:cubicBezTo>
                    <a:pt x="3169" y="5885"/>
                    <a:pt x="4297" y="6467"/>
                    <a:pt x="5404" y="6938"/>
                  </a:cubicBezTo>
                  <a:cubicBezTo>
                    <a:pt x="6217" y="7282"/>
                    <a:pt x="7136" y="7580"/>
                    <a:pt x="8003" y="7580"/>
                  </a:cubicBezTo>
                  <a:cubicBezTo>
                    <a:pt x="8565" y="7580"/>
                    <a:pt x="9106" y="7454"/>
                    <a:pt x="9581" y="7134"/>
                  </a:cubicBezTo>
                  <a:cubicBezTo>
                    <a:pt x="10406" y="6577"/>
                    <a:pt x="13156" y="2774"/>
                    <a:pt x="13348" y="1948"/>
                  </a:cubicBezTo>
                  <a:cubicBezTo>
                    <a:pt x="13716" y="358"/>
                    <a:pt x="13186" y="447"/>
                    <a:pt x="11597" y="126"/>
                  </a:cubicBezTo>
                  <a:cubicBezTo>
                    <a:pt x="11194" y="44"/>
                    <a:pt x="10620" y="0"/>
                    <a:pt x="99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8" name="Google Shape;1958;p53"/>
            <p:cNvSpPr/>
            <p:nvPr/>
          </p:nvSpPr>
          <p:spPr>
            <a:xfrm>
              <a:off x="5901600" y="3652500"/>
              <a:ext cx="558700" cy="402875"/>
            </a:xfrm>
            <a:custGeom>
              <a:avLst/>
              <a:gdLst/>
              <a:ahLst/>
              <a:cxnLst/>
              <a:rect l="l" t="t" r="r" b="b"/>
              <a:pathLst>
                <a:path w="22348" h="16115" extrusionOk="0">
                  <a:moveTo>
                    <a:pt x="946" y="1"/>
                  </a:moveTo>
                  <a:cubicBezTo>
                    <a:pt x="616" y="1"/>
                    <a:pt x="299" y="66"/>
                    <a:pt x="1" y="208"/>
                  </a:cubicBezTo>
                  <a:cubicBezTo>
                    <a:pt x="742" y="1762"/>
                    <a:pt x="2032" y="3475"/>
                    <a:pt x="2935" y="5119"/>
                  </a:cubicBezTo>
                  <a:cubicBezTo>
                    <a:pt x="6575" y="11745"/>
                    <a:pt x="13987" y="16115"/>
                    <a:pt x="21544" y="16115"/>
                  </a:cubicBezTo>
                  <a:cubicBezTo>
                    <a:pt x="21635" y="16115"/>
                    <a:pt x="21726" y="16114"/>
                    <a:pt x="21817" y="16113"/>
                  </a:cubicBezTo>
                  <a:cubicBezTo>
                    <a:pt x="22347" y="15571"/>
                    <a:pt x="21564" y="14744"/>
                    <a:pt x="20866" y="14448"/>
                  </a:cubicBezTo>
                  <a:cubicBezTo>
                    <a:pt x="18934" y="13634"/>
                    <a:pt x="16857" y="13226"/>
                    <a:pt x="14879" y="12532"/>
                  </a:cubicBezTo>
                  <a:cubicBezTo>
                    <a:pt x="12900" y="11839"/>
                    <a:pt x="10943" y="10790"/>
                    <a:pt x="9769" y="9051"/>
                  </a:cubicBezTo>
                  <a:cubicBezTo>
                    <a:pt x="9280" y="8326"/>
                    <a:pt x="8945" y="7508"/>
                    <a:pt x="8542" y="6731"/>
                  </a:cubicBezTo>
                  <a:cubicBezTo>
                    <a:pt x="7503" y="4729"/>
                    <a:pt x="3759" y="1"/>
                    <a:pt x="9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9" name="Google Shape;1959;p53"/>
            <p:cNvSpPr/>
            <p:nvPr/>
          </p:nvSpPr>
          <p:spPr>
            <a:xfrm>
              <a:off x="6249675" y="4061675"/>
              <a:ext cx="964575" cy="811125"/>
            </a:xfrm>
            <a:custGeom>
              <a:avLst/>
              <a:gdLst/>
              <a:ahLst/>
              <a:cxnLst/>
              <a:rect l="l" t="t" r="r" b="b"/>
              <a:pathLst>
                <a:path w="38583" h="32445" extrusionOk="0">
                  <a:moveTo>
                    <a:pt x="17573" y="0"/>
                  </a:moveTo>
                  <a:cubicBezTo>
                    <a:pt x="14431" y="0"/>
                    <a:pt x="10968" y="2180"/>
                    <a:pt x="9011" y="4369"/>
                  </a:cubicBezTo>
                  <a:cubicBezTo>
                    <a:pt x="8028" y="5468"/>
                    <a:pt x="7111" y="6810"/>
                    <a:pt x="5676" y="7153"/>
                  </a:cubicBezTo>
                  <a:cubicBezTo>
                    <a:pt x="4830" y="7356"/>
                    <a:pt x="3925" y="7164"/>
                    <a:pt x="3076" y="7361"/>
                  </a:cubicBezTo>
                  <a:cubicBezTo>
                    <a:pt x="581" y="7938"/>
                    <a:pt x="1" y="11293"/>
                    <a:pt x="569" y="13791"/>
                  </a:cubicBezTo>
                  <a:cubicBezTo>
                    <a:pt x="1136" y="16289"/>
                    <a:pt x="2307" y="18910"/>
                    <a:pt x="1374" y="21296"/>
                  </a:cubicBezTo>
                  <a:cubicBezTo>
                    <a:pt x="1185" y="21776"/>
                    <a:pt x="913" y="22246"/>
                    <a:pt x="921" y="22762"/>
                  </a:cubicBezTo>
                  <a:cubicBezTo>
                    <a:pt x="932" y="23380"/>
                    <a:pt x="1355" y="23921"/>
                    <a:pt x="1849" y="24293"/>
                  </a:cubicBezTo>
                  <a:cubicBezTo>
                    <a:pt x="2646" y="24890"/>
                    <a:pt x="3559" y="25128"/>
                    <a:pt x="4517" y="25128"/>
                  </a:cubicBezTo>
                  <a:cubicBezTo>
                    <a:pt x="6301" y="25128"/>
                    <a:pt x="8239" y="24301"/>
                    <a:pt x="9868" y="23418"/>
                  </a:cubicBezTo>
                  <a:cubicBezTo>
                    <a:pt x="11665" y="22444"/>
                    <a:pt x="13735" y="21414"/>
                    <a:pt x="15685" y="21414"/>
                  </a:cubicBezTo>
                  <a:cubicBezTo>
                    <a:pt x="16453" y="21414"/>
                    <a:pt x="17203" y="21574"/>
                    <a:pt x="17910" y="21960"/>
                  </a:cubicBezTo>
                  <a:cubicBezTo>
                    <a:pt x="20585" y="23420"/>
                    <a:pt x="20837" y="27119"/>
                    <a:pt x="22486" y="29685"/>
                  </a:cubicBezTo>
                  <a:cubicBezTo>
                    <a:pt x="23522" y="31296"/>
                    <a:pt x="25450" y="32445"/>
                    <a:pt x="27291" y="32445"/>
                  </a:cubicBezTo>
                  <a:cubicBezTo>
                    <a:pt x="28027" y="32445"/>
                    <a:pt x="28749" y="32261"/>
                    <a:pt x="29394" y="31851"/>
                  </a:cubicBezTo>
                  <a:cubicBezTo>
                    <a:pt x="30163" y="31362"/>
                    <a:pt x="30731" y="30624"/>
                    <a:pt x="31285" y="29900"/>
                  </a:cubicBezTo>
                  <a:lnTo>
                    <a:pt x="34684" y="25460"/>
                  </a:lnTo>
                  <a:cubicBezTo>
                    <a:pt x="36183" y="23501"/>
                    <a:pt x="37736" y="21414"/>
                    <a:pt x="38025" y="18965"/>
                  </a:cubicBezTo>
                  <a:cubicBezTo>
                    <a:pt x="38582" y="14235"/>
                    <a:pt x="34390" y="10436"/>
                    <a:pt x="30609" y="7540"/>
                  </a:cubicBezTo>
                  <a:cubicBezTo>
                    <a:pt x="30407" y="6031"/>
                    <a:pt x="30190" y="4479"/>
                    <a:pt x="29421" y="3165"/>
                  </a:cubicBezTo>
                  <a:cubicBezTo>
                    <a:pt x="28683" y="1906"/>
                    <a:pt x="27576" y="1186"/>
                    <a:pt x="26718" y="1186"/>
                  </a:cubicBezTo>
                  <a:cubicBezTo>
                    <a:pt x="25783" y="1186"/>
                    <a:pt x="25141" y="2039"/>
                    <a:pt x="25589" y="3982"/>
                  </a:cubicBezTo>
                  <a:cubicBezTo>
                    <a:pt x="25561" y="3983"/>
                    <a:pt x="25533" y="3983"/>
                    <a:pt x="25505" y="3983"/>
                  </a:cubicBezTo>
                  <a:cubicBezTo>
                    <a:pt x="23077" y="3983"/>
                    <a:pt x="21095" y="399"/>
                    <a:pt x="18382" y="51"/>
                  </a:cubicBezTo>
                  <a:cubicBezTo>
                    <a:pt x="18115" y="17"/>
                    <a:pt x="17846" y="0"/>
                    <a:pt x="17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60" name="Google Shape;1960;p53"/>
          <p:cNvGrpSpPr/>
          <p:nvPr/>
        </p:nvGrpSpPr>
        <p:grpSpPr>
          <a:xfrm>
            <a:off x="738454" y="3007842"/>
            <a:ext cx="2622876" cy="1333540"/>
            <a:chOff x="238125" y="1038125"/>
            <a:chExt cx="7146800" cy="3633625"/>
          </a:xfrm>
        </p:grpSpPr>
        <p:sp>
          <p:nvSpPr>
            <p:cNvPr id="1961" name="Google Shape;1961;p53"/>
            <p:cNvSpPr/>
            <p:nvPr/>
          </p:nvSpPr>
          <p:spPr>
            <a:xfrm>
              <a:off x="62561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2" name="Google Shape;1962;p53"/>
            <p:cNvSpPr/>
            <p:nvPr/>
          </p:nvSpPr>
          <p:spPr>
            <a:xfrm>
              <a:off x="62561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3" name="Google Shape;1963;p53"/>
            <p:cNvSpPr/>
            <p:nvPr/>
          </p:nvSpPr>
          <p:spPr>
            <a:xfrm>
              <a:off x="625615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4" name="Google Shape;1964;p53"/>
            <p:cNvSpPr/>
            <p:nvPr/>
          </p:nvSpPr>
          <p:spPr>
            <a:xfrm>
              <a:off x="63323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5" name="Google Shape;1965;p53"/>
            <p:cNvSpPr/>
            <p:nvPr/>
          </p:nvSpPr>
          <p:spPr>
            <a:xfrm>
              <a:off x="63323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6" name="Google Shape;1966;p53"/>
            <p:cNvSpPr/>
            <p:nvPr/>
          </p:nvSpPr>
          <p:spPr>
            <a:xfrm>
              <a:off x="64083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7" name="Google Shape;1967;p53"/>
            <p:cNvSpPr/>
            <p:nvPr/>
          </p:nvSpPr>
          <p:spPr>
            <a:xfrm>
              <a:off x="64083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8" name="Google Shape;1968;p53"/>
            <p:cNvSpPr/>
            <p:nvPr/>
          </p:nvSpPr>
          <p:spPr>
            <a:xfrm>
              <a:off x="64083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9" name="Google Shape;1969;p53"/>
            <p:cNvSpPr/>
            <p:nvPr/>
          </p:nvSpPr>
          <p:spPr>
            <a:xfrm>
              <a:off x="64845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0" name="Google Shape;1970;p53"/>
            <p:cNvSpPr/>
            <p:nvPr/>
          </p:nvSpPr>
          <p:spPr>
            <a:xfrm>
              <a:off x="64845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1" name="Google Shape;1971;p53"/>
            <p:cNvSpPr/>
            <p:nvPr/>
          </p:nvSpPr>
          <p:spPr>
            <a:xfrm>
              <a:off x="648457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2" name="Google Shape;1972;p53"/>
            <p:cNvSpPr/>
            <p:nvPr/>
          </p:nvSpPr>
          <p:spPr>
            <a:xfrm>
              <a:off x="64845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3" name="Google Shape;1973;p53"/>
            <p:cNvSpPr/>
            <p:nvPr/>
          </p:nvSpPr>
          <p:spPr>
            <a:xfrm>
              <a:off x="64845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4" name="Google Shape;1974;p53"/>
            <p:cNvSpPr/>
            <p:nvPr/>
          </p:nvSpPr>
          <p:spPr>
            <a:xfrm>
              <a:off x="663842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5" name="Google Shape;1975;p53"/>
            <p:cNvSpPr/>
            <p:nvPr/>
          </p:nvSpPr>
          <p:spPr>
            <a:xfrm>
              <a:off x="66384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6" name="Google Shape;1976;p53"/>
            <p:cNvSpPr/>
            <p:nvPr/>
          </p:nvSpPr>
          <p:spPr>
            <a:xfrm>
              <a:off x="6638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7" name="Google Shape;1977;p53"/>
            <p:cNvSpPr/>
            <p:nvPr/>
          </p:nvSpPr>
          <p:spPr>
            <a:xfrm>
              <a:off x="6638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8" name="Google Shape;1978;p53"/>
            <p:cNvSpPr/>
            <p:nvPr/>
          </p:nvSpPr>
          <p:spPr>
            <a:xfrm>
              <a:off x="6638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9" name="Google Shape;1979;p53"/>
            <p:cNvSpPr/>
            <p:nvPr/>
          </p:nvSpPr>
          <p:spPr>
            <a:xfrm>
              <a:off x="67154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0" name="Google Shape;1980;p53"/>
            <p:cNvSpPr/>
            <p:nvPr/>
          </p:nvSpPr>
          <p:spPr>
            <a:xfrm>
              <a:off x="67154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1" name="Google Shape;1981;p53"/>
            <p:cNvSpPr/>
            <p:nvPr/>
          </p:nvSpPr>
          <p:spPr>
            <a:xfrm>
              <a:off x="67154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2" name="Google Shape;1982;p53"/>
            <p:cNvSpPr/>
            <p:nvPr/>
          </p:nvSpPr>
          <p:spPr>
            <a:xfrm>
              <a:off x="64083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3" name="Google Shape;1983;p53"/>
            <p:cNvSpPr/>
            <p:nvPr/>
          </p:nvSpPr>
          <p:spPr>
            <a:xfrm>
              <a:off x="63323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4" name="Google Shape;1984;p53"/>
            <p:cNvSpPr/>
            <p:nvPr/>
          </p:nvSpPr>
          <p:spPr>
            <a:xfrm>
              <a:off x="625615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5" name="Google Shape;1985;p53"/>
            <p:cNvSpPr/>
            <p:nvPr/>
          </p:nvSpPr>
          <p:spPr>
            <a:xfrm>
              <a:off x="59514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6" name="Google Shape;1986;p53"/>
            <p:cNvSpPr/>
            <p:nvPr/>
          </p:nvSpPr>
          <p:spPr>
            <a:xfrm>
              <a:off x="59514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7" name="Google Shape;1987;p53"/>
            <p:cNvSpPr/>
            <p:nvPr/>
          </p:nvSpPr>
          <p:spPr>
            <a:xfrm>
              <a:off x="602750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8" name="Google Shape;1988;p53"/>
            <p:cNvSpPr/>
            <p:nvPr/>
          </p:nvSpPr>
          <p:spPr>
            <a:xfrm>
              <a:off x="602750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5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9" name="Google Shape;1989;p53"/>
            <p:cNvSpPr/>
            <p:nvPr/>
          </p:nvSpPr>
          <p:spPr>
            <a:xfrm>
              <a:off x="60275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0" name="Google Shape;1990;p53"/>
            <p:cNvSpPr/>
            <p:nvPr/>
          </p:nvSpPr>
          <p:spPr>
            <a:xfrm>
              <a:off x="61037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1" name="Google Shape;1991;p53"/>
            <p:cNvSpPr/>
            <p:nvPr/>
          </p:nvSpPr>
          <p:spPr>
            <a:xfrm>
              <a:off x="6103700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2" name="Google Shape;1992;p53"/>
            <p:cNvSpPr/>
            <p:nvPr/>
          </p:nvSpPr>
          <p:spPr>
            <a:xfrm>
              <a:off x="610370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3" name="Google Shape;1993;p53"/>
            <p:cNvSpPr/>
            <p:nvPr/>
          </p:nvSpPr>
          <p:spPr>
            <a:xfrm>
              <a:off x="61037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4" name="Google Shape;1994;p53"/>
            <p:cNvSpPr/>
            <p:nvPr/>
          </p:nvSpPr>
          <p:spPr>
            <a:xfrm>
              <a:off x="6179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5" name="Google Shape;1995;p53"/>
            <p:cNvSpPr/>
            <p:nvPr/>
          </p:nvSpPr>
          <p:spPr>
            <a:xfrm>
              <a:off x="61799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6" name="Google Shape;1996;p53"/>
            <p:cNvSpPr/>
            <p:nvPr/>
          </p:nvSpPr>
          <p:spPr>
            <a:xfrm>
              <a:off x="61799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7" name="Google Shape;1997;p53"/>
            <p:cNvSpPr/>
            <p:nvPr/>
          </p:nvSpPr>
          <p:spPr>
            <a:xfrm>
              <a:off x="61799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8" name="Google Shape;1998;p53"/>
            <p:cNvSpPr/>
            <p:nvPr/>
          </p:nvSpPr>
          <p:spPr>
            <a:xfrm>
              <a:off x="61799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9" name="Google Shape;1999;p53"/>
            <p:cNvSpPr/>
            <p:nvPr/>
          </p:nvSpPr>
          <p:spPr>
            <a:xfrm>
              <a:off x="71703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0" name="Google Shape;2000;p53"/>
            <p:cNvSpPr/>
            <p:nvPr/>
          </p:nvSpPr>
          <p:spPr>
            <a:xfrm>
              <a:off x="68656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1" name="Google Shape;2001;p53"/>
            <p:cNvSpPr/>
            <p:nvPr/>
          </p:nvSpPr>
          <p:spPr>
            <a:xfrm>
              <a:off x="68656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2" name="Google Shape;2002;p53"/>
            <p:cNvSpPr/>
            <p:nvPr/>
          </p:nvSpPr>
          <p:spPr>
            <a:xfrm>
              <a:off x="69418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3" name="Google Shape;2003;p53"/>
            <p:cNvSpPr/>
            <p:nvPr/>
          </p:nvSpPr>
          <p:spPr>
            <a:xfrm>
              <a:off x="67892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4" name="Google Shape;2004;p53"/>
            <p:cNvSpPr/>
            <p:nvPr/>
          </p:nvSpPr>
          <p:spPr>
            <a:xfrm>
              <a:off x="6637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5" name="Google Shape;2005;p53"/>
            <p:cNvSpPr/>
            <p:nvPr/>
          </p:nvSpPr>
          <p:spPr>
            <a:xfrm>
              <a:off x="625615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6" name="Google Shape;2006;p53"/>
            <p:cNvSpPr/>
            <p:nvPr/>
          </p:nvSpPr>
          <p:spPr>
            <a:xfrm>
              <a:off x="64845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7" name="Google Shape;2007;p53"/>
            <p:cNvSpPr/>
            <p:nvPr/>
          </p:nvSpPr>
          <p:spPr>
            <a:xfrm>
              <a:off x="64845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8" name="Google Shape;2008;p53"/>
            <p:cNvSpPr/>
            <p:nvPr/>
          </p:nvSpPr>
          <p:spPr>
            <a:xfrm>
              <a:off x="64083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9" name="Google Shape;2009;p53"/>
            <p:cNvSpPr/>
            <p:nvPr/>
          </p:nvSpPr>
          <p:spPr>
            <a:xfrm>
              <a:off x="64083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0" name="Google Shape;2010;p53"/>
            <p:cNvSpPr/>
            <p:nvPr/>
          </p:nvSpPr>
          <p:spPr>
            <a:xfrm>
              <a:off x="63323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1" name="Google Shape;2011;p53"/>
            <p:cNvSpPr/>
            <p:nvPr/>
          </p:nvSpPr>
          <p:spPr>
            <a:xfrm>
              <a:off x="63323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2" name="Google Shape;2012;p53"/>
            <p:cNvSpPr/>
            <p:nvPr/>
          </p:nvSpPr>
          <p:spPr>
            <a:xfrm>
              <a:off x="70940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3" name="Google Shape;2013;p53"/>
            <p:cNvSpPr/>
            <p:nvPr/>
          </p:nvSpPr>
          <p:spPr>
            <a:xfrm>
              <a:off x="7017875" y="43898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4" name="Google Shape;2014;p53"/>
            <p:cNvSpPr/>
            <p:nvPr/>
          </p:nvSpPr>
          <p:spPr>
            <a:xfrm>
              <a:off x="7017875" y="43136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5" name="Google Shape;2015;p53"/>
            <p:cNvSpPr/>
            <p:nvPr/>
          </p:nvSpPr>
          <p:spPr>
            <a:xfrm>
              <a:off x="69418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6" name="Google Shape;2016;p53"/>
            <p:cNvSpPr/>
            <p:nvPr/>
          </p:nvSpPr>
          <p:spPr>
            <a:xfrm>
              <a:off x="648457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7" name="Google Shape;2017;p53"/>
            <p:cNvSpPr/>
            <p:nvPr/>
          </p:nvSpPr>
          <p:spPr>
            <a:xfrm>
              <a:off x="6560800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8" name="Google Shape;2018;p53"/>
            <p:cNvSpPr/>
            <p:nvPr/>
          </p:nvSpPr>
          <p:spPr>
            <a:xfrm>
              <a:off x="6560800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9" name="Google Shape;2019;p53"/>
            <p:cNvSpPr/>
            <p:nvPr/>
          </p:nvSpPr>
          <p:spPr>
            <a:xfrm>
              <a:off x="656080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0" name="Google Shape;2020;p53"/>
            <p:cNvSpPr/>
            <p:nvPr/>
          </p:nvSpPr>
          <p:spPr>
            <a:xfrm>
              <a:off x="656080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1" name="Google Shape;2021;p53"/>
            <p:cNvSpPr/>
            <p:nvPr/>
          </p:nvSpPr>
          <p:spPr>
            <a:xfrm>
              <a:off x="656080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2" name="Google Shape;2022;p53"/>
            <p:cNvSpPr/>
            <p:nvPr/>
          </p:nvSpPr>
          <p:spPr>
            <a:xfrm>
              <a:off x="65608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3" name="Google Shape;2023;p53"/>
            <p:cNvSpPr/>
            <p:nvPr/>
          </p:nvSpPr>
          <p:spPr>
            <a:xfrm>
              <a:off x="65608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4" name="Google Shape;2024;p53"/>
            <p:cNvSpPr/>
            <p:nvPr/>
          </p:nvSpPr>
          <p:spPr>
            <a:xfrm>
              <a:off x="64845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5" name="Google Shape;2025;p53"/>
            <p:cNvSpPr/>
            <p:nvPr/>
          </p:nvSpPr>
          <p:spPr>
            <a:xfrm>
              <a:off x="64845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6" name="Google Shape;2026;p53"/>
            <p:cNvSpPr/>
            <p:nvPr/>
          </p:nvSpPr>
          <p:spPr>
            <a:xfrm>
              <a:off x="64845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7" name="Google Shape;2027;p53"/>
            <p:cNvSpPr/>
            <p:nvPr/>
          </p:nvSpPr>
          <p:spPr>
            <a:xfrm>
              <a:off x="6408350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8" name="Google Shape;2028;p53"/>
            <p:cNvSpPr/>
            <p:nvPr/>
          </p:nvSpPr>
          <p:spPr>
            <a:xfrm>
              <a:off x="6408350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9" name="Google Shape;2029;p53"/>
            <p:cNvSpPr/>
            <p:nvPr/>
          </p:nvSpPr>
          <p:spPr>
            <a:xfrm>
              <a:off x="6408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0" name="Google Shape;2030;p53"/>
            <p:cNvSpPr/>
            <p:nvPr/>
          </p:nvSpPr>
          <p:spPr>
            <a:xfrm>
              <a:off x="64083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1" name="Google Shape;2031;p53"/>
            <p:cNvSpPr/>
            <p:nvPr/>
          </p:nvSpPr>
          <p:spPr>
            <a:xfrm>
              <a:off x="6332350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2" name="Google Shape;2032;p53"/>
            <p:cNvSpPr/>
            <p:nvPr/>
          </p:nvSpPr>
          <p:spPr>
            <a:xfrm>
              <a:off x="63323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3" name="Google Shape;2033;p53"/>
            <p:cNvSpPr/>
            <p:nvPr/>
          </p:nvSpPr>
          <p:spPr>
            <a:xfrm>
              <a:off x="6332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4" name="Google Shape;2034;p53"/>
            <p:cNvSpPr/>
            <p:nvPr/>
          </p:nvSpPr>
          <p:spPr>
            <a:xfrm>
              <a:off x="63323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5" name="Google Shape;2035;p53"/>
            <p:cNvSpPr/>
            <p:nvPr/>
          </p:nvSpPr>
          <p:spPr>
            <a:xfrm>
              <a:off x="625615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6" name="Google Shape;2036;p53"/>
            <p:cNvSpPr/>
            <p:nvPr/>
          </p:nvSpPr>
          <p:spPr>
            <a:xfrm>
              <a:off x="62561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7" name="Google Shape;2037;p53"/>
            <p:cNvSpPr/>
            <p:nvPr/>
          </p:nvSpPr>
          <p:spPr>
            <a:xfrm>
              <a:off x="62561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8" name="Google Shape;2038;p53"/>
            <p:cNvSpPr/>
            <p:nvPr/>
          </p:nvSpPr>
          <p:spPr>
            <a:xfrm>
              <a:off x="61799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9" name="Google Shape;2039;p53"/>
            <p:cNvSpPr/>
            <p:nvPr/>
          </p:nvSpPr>
          <p:spPr>
            <a:xfrm>
              <a:off x="6179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0" name="Google Shape;2040;p53"/>
            <p:cNvSpPr/>
            <p:nvPr/>
          </p:nvSpPr>
          <p:spPr>
            <a:xfrm>
              <a:off x="61037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1" name="Google Shape;2041;p53"/>
            <p:cNvSpPr/>
            <p:nvPr/>
          </p:nvSpPr>
          <p:spPr>
            <a:xfrm>
              <a:off x="61037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2" name="Google Shape;2042;p53"/>
            <p:cNvSpPr/>
            <p:nvPr/>
          </p:nvSpPr>
          <p:spPr>
            <a:xfrm>
              <a:off x="60275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3" name="Google Shape;2043;p53"/>
            <p:cNvSpPr/>
            <p:nvPr/>
          </p:nvSpPr>
          <p:spPr>
            <a:xfrm>
              <a:off x="60275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6" y="1146"/>
                    <a:pt x="2025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4" name="Google Shape;2044;p53"/>
            <p:cNvSpPr/>
            <p:nvPr/>
          </p:nvSpPr>
          <p:spPr>
            <a:xfrm>
              <a:off x="60275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5" name="Google Shape;2045;p53"/>
            <p:cNvSpPr/>
            <p:nvPr/>
          </p:nvSpPr>
          <p:spPr>
            <a:xfrm>
              <a:off x="59514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6" name="Google Shape;2046;p53"/>
            <p:cNvSpPr/>
            <p:nvPr/>
          </p:nvSpPr>
          <p:spPr>
            <a:xfrm>
              <a:off x="59514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7" name="Google Shape;2047;p53"/>
            <p:cNvSpPr/>
            <p:nvPr/>
          </p:nvSpPr>
          <p:spPr>
            <a:xfrm>
              <a:off x="59514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8" name="Google Shape;2048;p53"/>
            <p:cNvSpPr/>
            <p:nvPr/>
          </p:nvSpPr>
          <p:spPr>
            <a:xfrm>
              <a:off x="5875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9" name="Google Shape;2049;p53"/>
            <p:cNvSpPr/>
            <p:nvPr/>
          </p:nvSpPr>
          <p:spPr>
            <a:xfrm>
              <a:off x="5875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0" name="Google Shape;2050;p53"/>
            <p:cNvSpPr/>
            <p:nvPr/>
          </p:nvSpPr>
          <p:spPr>
            <a:xfrm>
              <a:off x="58752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1" name="Google Shape;2051;p53"/>
            <p:cNvSpPr/>
            <p:nvPr/>
          </p:nvSpPr>
          <p:spPr>
            <a:xfrm>
              <a:off x="58752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2" name="Google Shape;2052;p53"/>
            <p:cNvSpPr/>
            <p:nvPr/>
          </p:nvSpPr>
          <p:spPr>
            <a:xfrm>
              <a:off x="45040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3" name="Google Shape;2053;p53"/>
            <p:cNvSpPr/>
            <p:nvPr/>
          </p:nvSpPr>
          <p:spPr>
            <a:xfrm>
              <a:off x="45040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4" name="Google Shape;2054;p53"/>
            <p:cNvSpPr/>
            <p:nvPr/>
          </p:nvSpPr>
          <p:spPr>
            <a:xfrm>
              <a:off x="45040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5" name="Google Shape;2055;p53"/>
            <p:cNvSpPr/>
            <p:nvPr/>
          </p:nvSpPr>
          <p:spPr>
            <a:xfrm>
              <a:off x="44278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6" name="Google Shape;2056;p53"/>
            <p:cNvSpPr/>
            <p:nvPr/>
          </p:nvSpPr>
          <p:spPr>
            <a:xfrm>
              <a:off x="4427825" y="3856775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7" name="Google Shape;2057;p53"/>
            <p:cNvSpPr/>
            <p:nvPr/>
          </p:nvSpPr>
          <p:spPr>
            <a:xfrm>
              <a:off x="44278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8" name="Google Shape;2058;p53"/>
            <p:cNvSpPr/>
            <p:nvPr/>
          </p:nvSpPr>
          <p:spPr>
            <a:xfrm>
              <a:off x="4351600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9" name="Google Shape;2059;p53"/>
            <p:cNvSpPr/>
            <p:nvPr/>
          </p:nvSpPr>
          <p:spPr>
            <a:xfrm>
              <a:off x="43516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0" name="Google Shape;2060;p53"/>
            <p:cNvSpPr/>
            <p:nvPr/>
          </p:nvSpPr>
          <p:spPr>
            <a:xfrm>
              <a:off x="39709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1" name="Google Shape;2061;p53"/>
            <p:cNvSpPr/>
            <p:nvPr/>
          </p:nvSpPr>
          <p:spPr>
            <a:xfrm>
              <a:off x="39709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2" name="Google Shape;2062;p53"/>
            <p:cNvSpPr/>
            <p:nvPr/>
          </p:nvSpPr>
          <p:spPr>
            <a:xfrm>
              <a:off x="39709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3" name="Google Shape;2063;p53"/>
            <p:cNvSpPr/>
            <p:nvPr/>
          </p:nvSpPr>
          <p:spPr>
            <a:xfrm>
              <a:off x="39709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4" name="Google Shape;2064;p53"/>
            <p:cNvSpPr/>
            <p:nvPr/>
          </p:nvSpPr>
          <p:spPr>
            <a:xfrm>
              <a:off x="39709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5" name="Google Shape;2065;p53"/>
            <p:cNvSpPr/>
            <p:nvPr/>
          </p:nvSpPr>
          <p:spPr>
            <a:xfrm>
              <a:off x="3970950" y="31710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6" name="Google Shape;2066;p53"/>
            <p:cNvSpPr/>
            <p:nvPr/>
          </p:nvSpPr>
          <p:spPr>
            <a:xfrm>
              <a:off x="397095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7" name="Google Shape;2067;p53"/>
            <p:cNvSpPr/>
            <p:nvPr/>
          </p:nvSpPr>
          <p:spPr>
            <a:xfrm>
              <a:off x="397095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8" name="Google Shape;2068;p53"/>
            <p:cNvSpPr/>
            <p:nvPr/>
          </p:nvSpPr>
          <p:spPr>
            <a:xfrm>
              <a:off x="39709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9" name="Google Shape;2069;p53"/>
            <p:cNvSpPr/>
            <p:nvPr/>
          </p:nvSpPr>
          <p:spPr>
            <a:xfrm>
              <a:off x="39709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0" name="Google Shape;2070;p53"/>
            <p:cNvSpPr/>
            <p:nvPr/>
          </p:nvSpPr>
          <p:spPr>
            <a:xfrm>
              <a:off x="397095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1" name="Google Shape;2071;p53"/>
            <p:cNvSpPr/>
            <p:nvPr/>
          </p:nvSpPr>
          <p:spPr>
            <a:xfrm>
              <a:off x="39709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2" name="Google Shape;2072;p53"/>
            <p:cNvSpPr/>
            <p:nvPr/>
          </p:nvSpPr>
          <p:spPr>
            <a:xfrm>
              <a:off x="39709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3" name="Google Shape;2073;p53"/>
            <p:cNvSpPr/>
            <p:nvPr/>
          </p:nvSpPr>
          <p:spPr>
            <a:xfrm>
              <a:off x="3970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4" name="Google Shape;2074;p53"/>
            <p:cNvSpPr/>
            <p:nvPr/>
          </p:nvSpPr>
          <p:spPr>
            <a:xfrm>
              <a:off x="39709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5" name="Google Shape;2075;p53"/>
            <p:cNvSpPr/>
            <p:nvPr/>
          </p:nvSpPr>
          <p:spPr>
            <a:xfrm>
              <a:off x="39709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6" name="Google Shape;2076;p53"/>
            <p:cNvSpPr/>
            <p:nvPr/>
          </p:nvSpPr>
          <p:spPr>
            <a:xfrm>
              <a:off x="40469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7" name="Google Shape;2077;p53"/>
            <p:cNvSpPr/>
            <p:nvPr/>
          </p:nvSpPr>
          <p:spPr>
            <a:xfrm>
              <a:off x="40469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8" name="Google Shape;2078;p53"/>
            <p:cNvSpPr/>
            <p:nvPr/>
          </p:nvSpPr>
          <p:spPr>
            <a:xfrm>
              <a:off x="40469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9" name="Google Shape;2079;p53"/>
            <p:cNvSpPr/>
            <p:nvPr/>
          </p:nvSpPr>
          <p:spPr>
            <a:xfrm>
              <a:off x="40469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0" name="Google Shape;2080;p53"/>
            <p:cNvSpPr/>
            <p:nvPr/>
          </p:nvSpPr>
          <p:spPr>
            <a:xfrm>
              <a:off x="40469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1" name="Google Shape;2081;p53"/>
            <p:cNvSpPr/>
            <p:nvPr/>
          </p:nvSpPr>
          <p:spPr>
            <a:xfrm>
              <a:off x="40469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2" name="Google Shape;2082;p53"/>
            <p:cNvSpPr/>
            <p:nvPr/>
          </p:nvSpPr>
          <p:spPr>
            <a:xfrm>
              <a:off x="40469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3" name="Google Shape;2083;p53"/>
            <p:cNvSpPr/>
            <p:nvPr/>
          </p:nvSpPr>
          <p:spPr>
            <a:xfrm>
              <a:off x="40469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4" name="Google Shape;2084;p53"/>
            <p:cNvSpPr/>
            <p:nvPr/>
          </p:nvSpPr>
          <p:spPr>
            <a:xfrm>
              <a:off x="40469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5" name="Google Shape;2085;p53"/>
            <p:cNvSpPr/>
            <p:nvPr/>
          </p:nvSpPr>
          <p:spPr>
            <a:xfrm>
              <a:off x="40469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6" name="Google Shape;2086;p53"/>
            <p:cNvSpPr/>
            <p:nvPr/>
          </p:nvSpPr>
          <p:spPr>
            <a:xfrm>
              <a:off x="40469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7" name="Google Shape;2087;p53"/>
            <p:cNvSpPr/>
            <p:nvPr/>
          </p:nvSpPr>
          <p:spPr>
            <a:xfrm>
              <a:off x="4046950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8" name="Google Shape;2088;p53"/>
            <p:cNvSpPr/>
            <p:nvPr/>
          </p:nvSpPr>
          <p:spPr>
            <a:xfrm>
              <a:off x="40469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9" name="Google Shape;2089;p53"/>
            <p:cNvSpPr/>
            <p:nvPr/>
          </p:nvSpPr>
          <p:spPr>
            <a:xfrm>
              <a:off x="41231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0" name="Google Shape;2090;p53"/>
            <p:cNvSpPr/>
            <p:nvPr/>
          </p:nvSpPr>
          <p:spPr>
            <a:xfrm>
              <a:off x="41231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1" name="Google Shape;2091;p53"/>
            <p:cNvSpPr/>
            <p:nvPr/>
          </p:nvSpPr>
          <p:spPr>
            <a:xfrm>
              <a:off x="41231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2" name="Google Shape;2092;p53"/>
            <p:cNvSpPr/>
            <p:nvPr/>
          </p:nvSpPr>
          <p:spPr>
            <a:xfrm>
              <a:off x="41231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3" name="Google Shape;2093;p53"/>
            <p:cNvSpPr/>
            <p:nvPr/>
          </p:nvSpPr>
          <p:spPr>
            <a:xfrm>
              <a:off x="41231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4" name="Google Shape;2094;p53"/>
            <p:cNvSpPr/>
            <p:nvPr/>
          </p:nvSpPr>
          <p:spPr>
            <a:xfrm>
              <a:off x="4123175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5" name="Google Shape;2095;p53"/>
            <p:cNvSpPr/>
            <p:nvPr/>
          </p:nvSpPr>
          <p:spPr>
            <a:xfrm>
              <a:off x="41231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6" name="Google Shape;2096;p53"/>
            <p:cNvSpPr/>
            <p:nvPr/>
          </p:nvSpPr>
          <p:spPr>
            <a:xfrm>
              <a:off x="41231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7" name="Google Shape;2097;p53"/>
            <p:cNvSpPr/>
            <p:nvPr/>
          </p:nvSpPr>
          <p:spPr>
            <a:xfrm>
              <a:off x="41231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8" name="Google Shape;2098;p53"/>
            <p:cNvSpPr/>
            <p:nvPr/>
          </p:nvSpPr>
          <p:spPr>
            <a:xfrm>
              <a:off x="41231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9" name="Google Shape;2099;p53"/>
            <p:cNvSpPr/>
            <p:nvPr/>
          </p:nvSpPr>
          <p:spPr>
            <a:xfrm>
              <a:off x="41231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0" name="Google Shape;2100;p53"/>
            <p:cNvSpPr/>
            <p:nvPr/>
          </p:nvSpPr>
          <p:spPr>
            <a:xfrm>
              <a:off x="412317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1" name="Google Shape;2101;p53"/>
            <p:cNvSpPr/>
            <p:nvPr/>
          </p:nvSpPr>
          <p:spPr>
            <a:xfrm>
              <a:off x="41994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2" name="Google Shape;2102;p53"/>
            <p:cNvSpPr/>
            <p:nvPr/>
          </p:nvSpPr>
          <p:spPr>
            <a:xfrm>
              <a:off x="41994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3" name="Google Shape;2103;p53"/>
            <p:cNvSpPr/>
            <p:nvPr/>
          </p:nvSpPr>
          <p:spPr>
            <a:xfrm>
              <a:off x="41994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4" name="Google Shape;2104;p53"/>
            <p:cNvSpPr/>
            <p:nvPr/>
          </p:nvSpPr>
          <p:spPr>
            <a:xfrm>
              <a:off x="41994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5" name="Google Shape;2105;p53"/>
            <p:cNvSpPr/>
            <p:nvPr/>
          </p:nvSpPr>
          <p:spPr>
            <a:xfrm>
              <a:off x="427560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6" name="Google Shape;2106;p53"/>
            <p:cNvSpPr/>
            <p:nvPr/>
          </p:nvSpPr>
          <p:spPr>
            <a:xfrm>
              <a:off x="42756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7" name="Google Shape;2107;p53"/>
            <p:cNvSpPr/>
            <p:nvPr/>
          </p:nvSpPr>
          <p:spPr>
            <a:xfrm>
              <a:off x="42756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8" name="Google Shape;2108;p53"/>
            <p:cNvSpPr/>
            <p:nvPr/>
          </p:nvSpPr>
          <p:spPr>
            <a:xfrm>
              <a:off x="42756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9" name="Google Shape;2109;p53"/>
            <p:cNvSpPr/>
            <p:nvPr/>
          </p:nvSpPr>
          <p:spPr>
            <a:xfrm>
              <a:off x="4275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8"/>
                    <a:pt x="6" y="480"/>
                    <a:pt x="6" y="1065"/>
                  </a:cubicBezTo>
                  <a:cubicBezTo>
                    <a:pt x="0" y="1709"/>
                    <a:pt x="527" y="2137"/>
                    <a:pt x="1075" y="2137"/>
                  </a:cubicBezTo>
                  <a:cubicBezTo>
                    <a:pt x="1337" y="2137"/>
                    <a:pt x="1603" y="2039"/>
                    <a:pt x="1818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0" name="Google Shape;2110;p53"/>
            <p:cNvSpPr/>
            <p:nvPr/>
          </p:nvSpPr>
          <p:spPr>
            <a:xfrm>
              <a:off x="4199400" y="33233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1" name="Google Shape;2111;p53"/>
            <p:cNvSpPr/>
            <p:nvPr/>
          </p:nvSpPr>
          <p:spPr>
            <a:xfrm>
              <a:off x="419940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2" name="Google Shape;2112;p53"/>
            <p:cNvSpPr/>
            <p:nvPr/>
          </p:nvSpPr>
          <p:spPr>
            <a:xfrm>
              <a:off x="4199400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3" name="Google Shape;2113;p53"/>
            <p:cNvSpPr/>
            <p:nvPr/>
          </p:nvSpPr>
          <p:spPr>
            <a:xfrm>
              <a:off x="4199400" y="355192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4" name="Google Shape;2114;p53"/>
            <p:cNvSpPr/>
            <p:nvPr/>
          </p:nvSpPr>
          <p:spPr>
            <a:xfrm>
              <a:off x="419940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5" name="Google Shape;2115;p53"/>
            <p:cNvSpPr/>
            <p:nvPr/>
          </p:nvSpPr>
          <p:spPr>
            <a:xfrm>
              <a:off x="419940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6" name="Google Shape;2116;p53"/>
            <p:cNvSpPr/>
            <p:nvPr/>
          </p:nvSpPr>
          <p:spPr>
            <a:xfrm>
              <a:off x="41231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7" name="Google Shape;2117;p53"/>
            <p:cNvSpPr/>
            <p:nvPr/>
          </p:nvSpPr>
          <p:spPr>
            <a:xfrm>
              <a:off x="41231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8" name="Google Shape;2118;p53"/>
            <p:cNvSpPr/>
            <p:nvPr/>
          </p:nvSpPr>
          <p:spPr>
            <a:xfrm>
              <a:off x="4046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9" name="Google Shape;2119;p53"/>
            <p:cNvSpPr/>
            <p:nvPr/>
          </p:nvSpPr>
          <p:spPr>
            <a:xfrm>
              <a:off x="40469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0" name="Google Shape;2120;p53"/>
            <p:cNvSpPr/>
            <p:nvPr/>
          </p:nvSpPr>
          <p:spPr>
            <a:xfrm>
              <a:off x="40469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1" name="Google Shape;2121;p53"/>
            <p:cNvSpPr/>
            <p:nvPr/>
          </p:nvSpPr>
          <p:spPr>
            <a:xfrm>
              <a:off x="40469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2" name="Google Shape;2122;p53"/>
            <p:cNvSpPr/>
            <p:nvPr/>
          </p:nvSpPr>
          <p:spPr>
            <a:xfrm>
              <a:off x="39709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3" name="Google Shape;2123;p53"/>
            <p:cNvSpPr/>
            <p:nvPr/>
          </p:nvSpPr>
          <p:spPr>
            <a:xfrm>
              <a:off x="35898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4" name="Google Shape;2124;p53"/>
            <p:cNvSpPr/>
            <p:nvPr/>
          </p:nvSpPr>
          <p:spPr>
            <a:xfrm>
              <a:off x="35898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5" name="Google Shape;2125;p53"/>
            <p:cNvSpPr/>
            <p:nvPr/>
          </p:nvSpPr>
          <p:spPr>
            <a:xfrm>
              <a:off x="358987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6" name="Google Shape;2126;p53"/>
            <p:cNvSpPr/>
            <p:nvPr/>
          </p:nvSpPr>
          <p:spPr>
            <a:xfrm>
              <a:off x="358987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7" name="Google Shape;2127;p53"/>
            <p:cNvSpPr/>
            <p:nvPr/>
          </p:nvSpPr>
          <p:spPr>
            <a:xfrm>
              <a:off x="35898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8" name="Google Shape;2128;p53"/>
            <p:cNvSpPr/>
            <p:nvPr/>
          </p:nvSpPr>
          <p:spPr>
            <a:xfrm>
              <a:off x="35898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9" name="Google Shape;2129;p53"/>
            <p:cNvSpPr/>
            <p:nvPr/>
          </p:nvSpPr>
          <p:spPr>
            <a:xfrm>
              <a:off x="35898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0" name="Google Shape;2130;p53"/>
            <p:cNvSpPr/>
            <p:nvPr/>
          </p:nvSpPr>
          <p:spPr>
            <a:xfrm>
              <a:off x="32852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1" name="Google Shape;2131;p53"/>
            <p:cNvSpPr/>
            <p:nvPr/>
          </p:nvSpPr>
          <p:spPr>
            <a:xfrm>
              <a:off x="32852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2" name="Google Shape;2132;p53"/>
            <p:cNvSpPr/>
            <p:nvPr/>
          </p:nvSpPr>
          <p:spPr>
            <a:xfrm>
              <a:off x="32852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3" name="Google Shape;2133;p53"/>
            <p:cNvSpPr/>
            <p:nvPr/>
          </p:nvSpPr>
          <p:spPr>
            <a:xfrm>
              <a:off x="33614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4" name="Google Shape;2134;p53"/>
            <p:cNvSpPr/>
            <p:nvPr/>
          </p:nvSpPr>
          <p:spPr>
            <a:xfrm>
              <a:off x="33614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5" name="Google Shape;2135;p53"/>
            <p:cNvSpPr/>
            <p:nvPr/>
          </p:nvSpPr>
          <p:spPr>
            <a:xfrm>
              <a:off x="33614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6" name="Google Shape;2136;p53"/>
            <p:cNvSpPr/>
            <p:nvPr/>
          </p:nvSpPr>
          <p:spPr>
            <a:xfrm>
              <a:off x="336145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7" name="Google Shape;2137;p53"/>
            <p:cNvSpPr/>
            <p:nvPr/>
          </p:nvSpPr>
          <p:spPr>
            <a:xfrm>
              <a:off x="33614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8" name="Google Shape;2138;p53"/>
            <p:cNvSpPr/>
            <p:nvPr/>
          </p:nvSpPr>
          <p:spPr>
            <a:xfrm>
              <a:off x="34374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9" name="Google Shape;2139;p53"/>
            <p:cNvSpPr/>
            <p:nvPr/>
          </p:nvSpPr>
          <p:spPr>
            <a:xfrm>
              <a:off x="34374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0" name="Google Shape;2140;p53"/>
            <p:cNvSpPr/>
            <p:nvPr/>
          </p:nvSpPr>
          <p:spPr>
            <a:xfrm>
              <a:off x="34374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1" name="Google Shape;2141;p53"/>
            <p:cNvSpPr/>
            <p:nvPr/>
          </p:nvSpPr>
          <p:spPr>
            <a:xfrm>
              <a:off x="34374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2" name="Google Shape;2142;p53"/>
            <p:cNvSpPr/>
            <p:nvPr/>
          </p:nvSpPr>
          <p:spPr>
            <a:xfrm>
              <a:off x="34374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3" name="Google Shape;2143;p53"/>
            <p:cNvSpPr/>
            <p:nvPr/>
          </p:nvSpPr>
          <p:spPr>
            <a:xfrm>
              <a:off x="34374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4" name="Google Shape;2144;p53"/>
            <p:cNvSpPr/>
            <p:nvPr/>
          </p:nvSpPr>
          <p:spPr>
            <a:xfrm>
              <a:off x="34374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5" name="Google Shape;2145;p53"/>
            <p:cNvSpPr/>
            <p:nvPr/>
          </p:nvSpPr>
          <p:spPr>
            <a:xfrm>
              <a:off x="35136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6" name="Google Shape;2146;p53"/>
            <p:cNvSpPr/>
            <p:nvPr/>
          </p:nvSpPr>
          <p:spPr>
            <a:xfrm>
              <a:off x="35136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7" name="Google Shape;2147;p53"/>
            <p:cNvSpPr/>
            <p:nvPr/>
          </p:nvSpPr>
          <p:spPr>
            <a:xfrm>
              <a:off x="35136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8" name="Google Shape;2148;p53"/>
            <p:cNvSpPr/>
            <p:nvPr/>
          </p:nvSpPr>
          <p:spPr>
            <a:xfrm>
              <a:off x="35136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9" name="Google Shape;2149;p53"/>
            <p:cNvSpPr/>
            <p:nvPr/>
          </p:nvSpPr>
          <p:spPr>
            <a:xfrm>
              <a:off x="35136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0" name="Google Shape;2150;p53"/>
            <p:cNvSpPr/>
            <p:nvPr/>
          </p:nvSpPr>
          <p:spPr>
            <a:xfrm>
              <a:off x="35136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1" name="Google Shape;2151;p53"/>
            <p:cNvSpPr/>
            <p:nvPr/>
          </p:nvSpPr>
          <p:spPr>
            <a:xfrm>
              <a:off x="35136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2" name="Google Shape;2152;p53"/>
            <p:cNvSpPr/>
            <p:nvPr/>
          </p:nvSpPr>
          <p:spPr>
            <a:xfrm>
              <a:off x="35136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3" name="Google Shape;2153;p53"/>
            <p:cNvSpPr/>
            <p:nvPr/>
          </p:nvSpPr>
          <p:spPr>
            <a:xfrm>
              <a:off x="35898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4" name="Google Shape;2154;p53"/>
            <p:cNvSpPr/>
            <p:nvPr/>
          </p:nvSpPr>
          <p:spPr>
            <a:xfrm>
              <a:off x="366610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5" name="Google Shape;2155;p53"/>
            <p:cNvSpPr/>
            <p:nvPr/>
          </p:nvSpPr>
          <p:spPr>
            <a:xfrm>
              <a:off x="366610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6" name="Google Shape;2156;p53"/>
            <p:cNvSpPr/>
            <p:nvPr/>
          </p:nvSpPr>
          <p:spPr>
            <a:xfrm>
              <a:off x="36661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7" name="Google Shape;2157;p53"/>
            <p:cNvSpPr/>
            <p:nvPr/>
          </p:nvSpPr>
          <p:spPr>
            <a:xfrm>
              <a:off x="36661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8" name="Google Shape;2158;p53"/>
            <p:cNvSpPr/>
            <p:nvPr/>
          </p:nvSpPr>
          <p:spPr>
            <a:xfrm>
              <a:off x="36661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9" name="Google Shape;2159;p53"/>
            <p:cNvSpPr/>
            <p:nvPr/>
          </p:nvSpPr>
          <p:spPr>
            <a:xfrm>
              <a:off x="36661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0" name="Google Shape;2160;p53"/>
            <p:cNvSpPr/>
            <p:nvPr/>
          </p:nvSpPr>
          <p:spPr>
            <a:xfrm>
              <a:off x="36661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1" name="Google Shape;2161;p53"/>
            <p:cNvSpPr/>
            <p:nvPr/>
          </p:nvSpPr>
          <p:spPr>
            <a:xfrm>
              <a:off x="37423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2" name="Google Shape;2162;p53"/>
            <p:cNvSpPr/>
            <p:nvPr/>
          </p:nvSpPr>
          <p:spPr>
            <a:xfrm>
              <a:off x="37423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3" name="Google Shape;2163;p53"/>
            <p:cNvSpPr/>
            <p:nvPr/>
          </p:nvSpPr>
          <p:spPr>
            <a:xfrm>
              <a:off x="37423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4" name="Google Shape;2164;p53"/>
            <p:cNvSpPr/>
            <p:nvPr/>
          </p:nvSpPr>
          <p:spPr>
            <a:xfrm>
              <a:off x="37423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5" name="Google Shape;2165;p53"/>
            <p:cNvSpPr/>
            <p:nvPr/>
          </p:nvSpPr>
          <p:spPr>
            <a:xfrm>
              <a:off x="3742300" y="30186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6" name="Google Shape;2166;p53"/>
            <p:cNvSpPr/>
            <p:nvPr/>
          </p:nvSpPr>
          <p:spPr>
            <a:xfrm>
              <a:off x="37423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7" name="Google Shape;2167;p53"/>
            <p:cNvSpPr/>
            <p:nvPr/>
          </p:nvSpPr>
          <p:spPr>
            <a:xfrm>
              <a:off x="374230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5"/>
                    <a:pt x="528" y="2131"/>
                    <a:pt x="1076" y="2131"/>
                  </a:cubicBezTo>
                  <a:cubicBezTo>
                    <a:pt x="1335" y="2131"/>
                    <a:pt x="1599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8" name="Google Shape;2168;p53"/>
            <p:cNvSpPr/>
            <p:nvPr/>
          </p:nvSpPr>
          <p:spPr>
            <a:xfrm>
              <a:off x="37423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9" name="Google Shape;2169;p53"/>
            <p:cNvSpPr/>
            <p:nvPr/>
          </p:nvSpPr>
          <p:spPr>
            <a:xfrm>
              <a:off x="38185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0" name="Google Shape;2170;p53"/>
            <p:cNvSpPr/>
            <p:nvPr/>
          </p:nvSpPr>
          <p:spPr>
            <a:xfrm>
              <a:off x="38185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1" name="Google Shape;2171;p53"/>
            <p:cNvSpPr/>
            <p:nvPr/>
          </p:nvSpPr>
          <p:spPr>
            <a:xfrm>
              <a:off x="38185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2" name="Google Shape;2172;p53"/>
            <p:cNvSpPr/>
            <p:nvPr/>
          </p:nvSpPr>
          <p:spPr>
            <a:xfrm>
              <a:off x="38185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3" name="Google Shape;2173;p53"/>
            <p:cNvSpPr/>
            <p:nvPr/>
          </p:nvSpPr>
          <p:spPr>
            <a:xfrm>
              <a:off x="38185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4" name="Google Shape;2174;p53"/>
            <p:cNvSpPr/>
            <p:nvPr/>
          </p:nvSpPr>
          <p:spPr>
            <a:xfrm>
              <a:off x="38185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5" name="Google Shape;2175;p53"/>
            <p:cNvSpPr/>
            <p:nvPr/>
          </p:nvSpPr>
          <p:spPr>
            <a:xfrm>
              <a:off x="38185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6" name="Google Shape;2176;p53"/>
            <p:cNvSpPr/>
            <p:nvPr/>
          </p:nvSpPr>
          <p:spPr>
            <a:xfrm>
              <a:off x="381852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7" name="Google Shape;2177;p53"/>
            <p:cNvSpPr/>
            <p:nvPr/>
          </p:nvSpPr>
          <p:spPr>
            <a:xfrm>
              <a:off x="38185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8" name="Google Shape;2178;p53"/>
            <p:cNvSpPr/>
            <p:nvPr/>
          </p:nvSpPr>
          <p:spPr>
            <a:xfrm>
              <a:off x="38185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9" name="Google Shape;2179;p53"/>
            <p:cNvSpPr/>
            <p:nvPr/>
          </p:nvSpPr>
          <p:spPr>
            <a:xfrm>
              <a:off x="38947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0" name="Google Shape;2180;p53"/>
            <p:cNvSpPr/>
            <p:nvPr/>
          </p:nvSpPr>
          <p:spPr>
            <a:xfrm>
              <a:off x="38947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1" name="Google Shape;2181;p53"/>
            <p:cNvSpPr/>
            <p:nvPr/>
          </p:nvSpPr>
          <p:spPr>
            <a:xfrm>
              <a:off x="3894725" y="385677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2" name="Google Shape;2182;p53"/>
            <p:cNvSpPr/>
            <p:nvPr/>
          </p:nvSpPr>
          <p:spPr>
            <a:xfrm>
              <a:off x="38947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3" name="Google Shape;2183;p53"/>
            <p:cNvSpPr/>
            <p:nvPr/>
          </p:nvSpPr>
          <p:spPr>
            <a:xfrm>
              <a:off x="38947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4" name="Google Shape;2184;p53"/>
            <p:cNvSpPr/>
            <p:nvPr/>
          </p:nvSpPr>
          <p:spPr>
            <a:xfrm>
              <a:off x="38947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5" name="Google Shape;2185;p53"/>
            <p:cNvSpPr/>
            <p:nvPr/>
          </p:nvSpPr>
          <p:spPr>
            <a:xfrm>
              <a:off x="3894725" y="355192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6" name="Google Shape;2186;p53"/>
            <p:cNvSpPr/>
            <p:nvPr/>
          </p:nvSpPr>
          <p:spPr>
            <a:xfrm>
              <a:off x="38947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7" name="Google Shape;2187;p53"/>
            <p:cNvSpPr/>
            <p:nvPr/>
          </p:nvSpPr>
          <p:spPr>
            <a:xfrm>
              <a:off x="38947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8" name="Google Shape;2188;p53"/>
            <p:cNvSpPr/>
            <p:nvPr/>
          </p:nvSpPr>
          <p:spPr>
            <a:xfrm>
              <a:off x="389460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9" name="Google Shape;2189;p53"/>
            <p:cNvSpPr/>
            <p:nvPr/>
          </p:nvSpPr>
          <p:spPr>
            <a:xfrm>
              <a:off x="38947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0" name="Google Shape;2190;p53"/>
            <p:cNvSpPr/>
            <p:nvPr/>
          </p:nvSpPr>
          <p:spPr>
            <a:xfrm>
              <a:off x="38947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1" name="Google Shape;2191;p53"/>
            <p:cNvSpPr/>
            <p:nvPr/>
          </p:nvSpPr>
          <p:spPr>
            <a:xfrm>
              <a:off x="38947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2" name="Google Shape;2192;p53"/>
            <p:cNvSpPr/>
            <p:nvPr/>
          </p:nvSpPr>
          <p:spPr>
            <a:xfrm>
              <a:off x="38947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3" name="Google Shape;2193;p53"/>
            <p:cNvSpPr/>
            <p:nvPr/>
          </p:nvSpPr>
          <p:spPr>
            <a:xfrm>
              <a:off x="38947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4" name="Google Shape;2194;p53"/>
            <p:cNvSpPr/>
            <p:nvPr/>
          </p:nvSpPr>
          <p:spPr>
            <a:xfrm>
              <a:off x="38947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5" name="Google Shape;2195;p53"/>
            <p:cNvSpPr/>
            <p:nvPr/>
          </p:nvSpPr>
          <p:spPr>
            <a:xfrm>
              <a:off x="38185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6" name="Google Shape;2196;p53"/>
            <p:cNvSpPr/>
            <p:nvPr/>
          </p:nvSpPr>
          <p:spPr>
            <a:xfrm>
              <a:off x="3742300" y="2866425"/>
              <a:ext cx="62225" cy="53225"/>
            </a:xfrm>
            <a:custGeom>
              <a:avLst/>
              <a:gdLst/>
              <a:ahLst/>
              <a:cxnLst/>
              <a:rect l="l" t="t" r="r" b="b"/>
              <a:pathLst>
                <a:path w="2489" h="2129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1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7" name="Google Shape;2197;p53"/>
            <p:cNvSpPr/>
            <p:nvPr/>
          </p:nvSpPr>
          <p:spPr>
            <a:xfrm>
              <a:off x="36661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8" name="Google Shape;2198;p53"/>
            <p:cNvSpPr/>
            <p:nvPr/>
          </p:nvSpPr>
          <p:spPr>
            <a:xfrm>
              <a:off x="450405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9" name="Google Shape;2199;p53"/>
            <p:cNvSpPr/>
            <p:nvPr/>
          </p:nvSpPr>
          <p:spPr>
            <a:xfrm>
              <a:off x="4504050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0" name="Google Shape;2200;p53"/>
            <p:cNvSpPr/>
            <p:nvPr/>
          </p:nvSpPr>
          <p:spPr>
            <a:xfrm>
              <a:off x="45040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1" name="Google Shape;2201;p53"/>
            <p:cNvSpPr/>
            <p:nvPr/>
          </p:nvSpPr>
          <p:spPr>
            <a:xfrm>
              <a:off x="44278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2" name="Google Shape;2202;p53"/>
            <p:cNvSpPr/>
            <p:nvPr/>
          </p:nvSpPr>
          <p:spPr>
            <a:xfrm>
              <a:off x="44278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3" name="Google Shape;2203;p53"/>
            <p:cNvSpPr/>
            <p:nvPr/>
          </p:nvSpPr>
          <p:spPr>
            <a:xfrm>
              <a:off x="44278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4" name="Google Shape;2204;p53"/>
            <p:cNvSpPr/>
            <p:nvPr/>
          </p:nvSpPr>
          <p:spPr>
            <a:xfrm>
              <a:off x="442782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5" name="Google Shape;2205;p53"/>
            <p:cNvSpPr/>
            <p:nvPr/>
          </p:nvSpPr>
          <p:spPr>
            <a:xfrm>
              <a:off x="442782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6" name="Google Shape;2206;p53"/>
            <p:cNvSpPr/>
            <p:nvPr/>
          </p:nvSpPr>
          <p:spPr>
            <a:xfrm>
              <a:off x="43516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7" name="Google Shape;2207;p53"/>
            <p:cNvSpPr/>
            <p:nvPr/>
          </p:nvSpPr>
          <p:spPr>
            <a:xfrm>
              <a:off x="43516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8" name="Google Shape;2208;p53"/>
            <p:cNvSpPr/>
            <p:nvPr/>
          </p:nvSpPr>
          <p:spPr>
            <a:xfrm>
              <a:off x="43516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9" name="Google Shape;2209;p53"/>
            <p:cNvSpPr/>
            <p:nvPr/>
          </p:nvSpPr>
          <p:spPr>
            <a:xfrm>
              <a:off x="435160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0" name="Google Shape;2210;p53"/>
            <p:cNvSpPr/>
            <p:nvPr/>
          </p:nvSpPr>
          <p:spPr>
            <a:xfrm>
              <a:off x="435160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1" name="Google Shape;2211;p53"/>
            <p:cNvSpPr/>
            <p:nvPr/>
          </p:nvSpPr>
          <p:spPr>
            <a:xfrm>
              <a:off x="42756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2" name="Google Shape;2212;p53"/>
            <p:cNvSpPr/>
            <p:nvPr/>
          </p:nvSpPr>
          <p:spPr>
            <a:xfrm>
              <a:off x="42756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3" name="Google Shape;2213;p53"/>
            <p:cNvSpPr/>
            <p:nvPr/>
          </p:nvSpPr>
          <p:spPr>
            <a:xfrm>
              <a:off x="42756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4" name="Google Shape;2214;p53"/>
            <p:cNvSpPr/>
            <p:nvPr/>
          </p:nvSpPr>
          <p:spPr>
            <a:xfrm>
              <a:off x="427560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5" name="Google Shape;2215;p53"/>
            <p:cNvSpPr/>
            <p:nvPr/>
          </p:nvSpPr>
          <p:spPr>
            <a:xfrm>
              <a:off x="42756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6" name="Google Shape;2216;p53"/>
            <p:cNvSpPr/>
            <p:nvPr/>
          </p:nvSpPr>
          <p:spPr>
            <a:xfrm>
              <a:off x="42756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7" name="Google Shape;2217;p53"/>
            <p:cNvSpPr/>
            <p:nvPr/>
          </p:nvSpPr>
          <p:spPr>
            <a:xfrm>
              <a:off x="42756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8" name="Google Shape;2218;p53"/>
            <p:cNvSpPr/>
            <p:nvPr/>
          </p:nvSpPr>
          <p:spPr>
            <a:xfrm>
              <a:off x="42756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9" name="Google Shape;2219;p53"/>
            <p:cNvSpPr/>
            <p:nvPr/>
          </p:nvSpPr>
          <p:spPr>
            <a:xfrm>
              <a:off x="41994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0" name="Google Shape;2220;p53"/>
            <p:cNvSpPr/>
            <p:nvPr/>
          </p:nvSpPr>
          <p:spPr>
            <a:xfrm>
              <a:off x="41994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1" name="Google Shape;2221;p53"/>
            <p:cNvSpPr/>
            <p:nvPr/>
          </p:nvSpPr>
          <p:spPr>
            <a:xfrm>
              <a:off x="41994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2" name="Google Shape;2222;p53"/>
            <p:cNvSpPr/>
            <p:nvPr/>
          </p:nvSpPr>
          <p:spPr>
            <a:xfrm>
              <a:off x="41994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3" name="Google Shape;2223;p53"/>
            <p:cNvSpPr/>
            <p:nvPr/>
          </p:nvSpPr>
          <p:spPr>
            <a:xfrm>
              <a:off x="41231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4" name="Google Shape;2224;p53"/>
            <p:cNvSpPr/>
            <p:nvPr/>
          </p:nvSpPr>
          <p:spPr>
            <a:xfrm>
              <a:off x="41231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5" name="Google Shape;2225;p53"/>
            <p:cNvSpPr/>
            <p:nvPr/>
          </p:nvSpPr>
          <p:spPr>
            <a:xfrm>
              <a:off x="41231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6" name="Google Shape;2226;p53"/>
            <p:cNvSpPr/>
            <p:nvPr/>
          </p:nvSpPr>
          <p:spPr>
            <a:xfrm>
              <a:off x="41231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7" name="Google Shape;2227;p53"/>
            <p:cNvSpPr/>
            <p:nvPr/>
          </p:nvSpPr>
          <p:spPr>
            <a:xfrm>
              <a:off x="41231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8" name="Google Shape;2228;p53"/>
            <p:cNvSpPr/>
            <p:nvPr/>
          </p:nvSpPr>
          <p:spPr>
            <a:xfrm>
              <a:off x="40469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9" name="Google Shape;2229;p53"/>
            <p:cNvSpPr/>
            <p:nvPr/>
          </p:nvSpPr>
          <p:spPr>
            <a:xfrm>
              <a:off x="40469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0" name="Google Shape;2230;p53"/>
            <p:cNvSpPr/>
            <p:nvPr/>
          </p:nvSpPr>
          <p:spPr>
            <a:xfrm>
              <a:off x="40469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1" name="Google Shape;2231;p53"/>
            <p:cNvSpPr/>
            <p:nvPr/>
          </p:nvSpPr>
          <p:spPr>
            <a:xfrm>
              <a:off x="39709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2" name="Google Shape;2232;p53"/>
            <p:cNvSpPr/>
            <p:nvPr/>
          </p:nvSpPr>
          <p:spPr>
            <a:xfrm>
              <a:off x="39709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3" name="Google Shape;2233;p53"/>
            <p:cNvSpPr/>
            <p:nvPr/>
          </p:nvSpPr>
          <p:spPr>
            <a:xfrm>
              <a:off x="39709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4" name="Google Shape;2234;p53"/>
            <p:cNvSpPr/>
            <p:nvPr/>
          </p:nvSpPr>
          <p:spPr>
            <a:xfrm>
              <a:off x="38947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5" name="Google Shape;2235;p53"/>
            <p:cNvSpPr/>
            <p:nvPr/>
          </p:nvSpPr>
          <p:spPr>
            <a:xfrm>
              <a:off x="38947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6" name="Google Shape;2236;p53"/>
            <p:cNvSpPr/>
            <p:nvPr/>
          </p:nvSpPr>
          <p:spPr>
            <a:xfrm>
              <a:off x="38947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7" name="Google Shape;2237;p53"/>
            <p:cNvSpPr/>
            <p:nvPr/>
          </p:nvSpPr>
          <p:spPr>
            <a:xfrm>
              <a:off x="38947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8" name="Google Shape;2238;p53"/>
            <p:cNvSpPr/>
            <p:nvPr/>
          </p:nvSpPr>
          <p:spPr>
            <a:xfrm>
              <a:off x="38185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9" name="Google Shape;2239;p53"/>
            <p:cNvSpPr/>
            <p:nvPr/>
          </p:nvSpPr>
          <p:spPr>
            <a:xfrm>
              <a:off x="38185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0" name="Google Shape;2240;p53"/>
            <p:cNvSpPr/>
            <p:nvPr/>
          </p:nvSpPr>
          <p:spPr>
            <a:xfrm>
              <a:off x="38185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1" name="Google Shape;2241;p53"/>
            <p:cNvSpPr/>
            <p:nvPr/>
          </p:nvSpPr>
          <p:spPr>
            <a:xfrm>
              <a:off x="38185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2" name="Google Shape;2242;p53"/>
            <p:cNvSpPr/>
            <p:nvPr/>
          </p:nvSpPr>
          <p:spPr>
            <a:xfrm>
              <a:off x="38185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3" name="Google Shape;2243;p53"/>
            <p:cNvSpPr/>
            <p:nvPr/>
          </p:nvSpPr>
          <p:spPr>
            <a:xfrm>
              <a:off x="381852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4" name="Google Shape;2244;p53"/>
            <p:cNvSpPr/>
            <p:nvPr/>
          </p:nvSpPr>
          <p:spPr>
            <a:xfrm>
              <a:off x="38185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5" name="Google Shape;2245;p53"/>
            <p:cNvSpPr/>
            <p:nvPr/>
          </p:nvSpPr>
          <p:spPr>
            <a:xfrm>
              <a:off x="38185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6" name="Google Shape;2246;p53"/>
            <p:cNvSpPr/>
            <p:nvPr/>
          </p:nvSpPr>
          <p:spPr>
            <a:xfrm>
              <a:off x="3742300" y="37803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7" name="Google Shape;2247;p53"/>
            <p:cNvSpPr/>
            <p:nvPr/>
          </p:nvSpPr>
          <p:spPr>
            <a:xfrm>
              <a:off x="37423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8" name="Google Shape;2248;p53"/>
            <p:cNvSpPr/>
            <p:nvPr/>
          </p:nvSpPr>
          <p:spPr>
            <a:xfrm>
              <a:off x="37423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9" name="Google Shape;2249;p53"/>
            <p:cNvSpPr/>
            <p:nvPr/>
          </p:nvSpPr>
          <p:spPr>
            <a:xfrm>
              <a:off x="37423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0" name="Google Shape;2250;p53"/>
            <p:cNvSpPr/>
            <p:nvPr/>
          </p:nvSpPr>
          <p:spPr>
            <a:xfrm>
              <a:off x="37421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1" name="Google Shape;2251;p53"/>
            <p:cNvSpPr/>
            <p:nvPr/>
          </p:nvSpPr>
          <p:spPr>
            <a:xfrm>
              <a:off x="37423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2" name="Google Shape;2252;p53"/>
            <p:cNvSpPr/>
            <p:nvPr/>
          </p:nvSpPr>
          <p:spPr>
            <a:xfrm>
              <a:off x="366595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3" name="Google Shape;2253;p53"/>
            <p:cNvSpPr/>
            <p:nvPr/>
          </p:nvSpPr>
          <p:spPr>
            <a:xfrm>
              <a:off x="36661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4" name="Google Shape;2254;p53"/>
            <p:cNvSpPr/>
            <p:nvPr/>
          </p:nvSpPr>
          <p:spPr>
            <a:xfrm>
              <a:off x="36661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5" name="Google Shape;2255;p53"/>
            <p:cNvSpPr/>
            <p:nvPr/>
          </p:nvSpPr>
          <p:spPr>
            <a:xfrm>
              <a:off x="35898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6" name="Google Shape;2256;p53"/>
            <p:cNvSpPr/>
            <p:nvPr/>
          </p:nvSpPr>
          <p:spPr>
            <a:xfrm>
              <a:off x="35898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7" name="Google Shape;2257;p53"/>
            <p:cNvSpPr/>
            <p:nvPr/>
          </p:nvSpPr>
          <p:spPr>
            <a:xfrm>
              <a:off x="35898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8" name="Google Shape;2258;p53"/>
            <p:cNvSpPr/>
            <p:nvPr/>
          </p:nvSpPr>
          <p:spPr>
            <a:xfrm>
              <a:off x="35136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9" name="Google Shape;2259;p53"/>
            <p:cNvSpPr/>
            <p:nvPr/>
          </p:nvSpPr>
          <p:spPr>
            <a:xfrm>
              <a:off x="35136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0" name="Google Shape;2260;p53"/>
            <p:cNvSpPr/>
            <p:nvPr/>
          </p:nvSpPr>
          <p:spPr>
            <a:xfrm>
              <a:off x="35136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1" name="Google Shape;2261;p53"/>
            <p:cNvSpPr/>
            <p:nvPr/>
          </p:nvSpPr>
          <p:spPr>
            <a:xfrm>
              <a:off x="34374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2" name="Google Shape;2262;p53"/>
            <p:cNvSpPr/>
            <p:nvPr/>
          </p:nvSpPr>
          <p:spPr>
            <a:xfrm>
              <a:off x="34374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3" name="Google Shape;2263;p53"/>
            <p:cNvSpPr/>
            <p:nvPr/>
          </p:nvSpPr>
          <p:spPr>
            <a:xfrm>
              <a:off x="343745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4" name="Google Shape;2264;p53"/>
            <p:cNvSpPr/>
            <p:nvPr/>
          </p:nvSpPr>
          <p:spPr>
            <a:xfrm>
              <a:off x="34374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5" name="Google Shape;2265;p53"/>
            <p:cNvSpPr/>
            <p:nvPr/>
          </p:nvSpPr>
          <p:spPr>
            <a:xfrm>
              <a:off x="336145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6" name="Google Shape;2266;p53"/>
            <p:cNvSpPr/>
            <p:nvPr/>
          </p:nvSpPr>
          <p:spPr>
            <a:xfrm>
              <a:off x="33614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7" name="Google Shape;2267;p53"/>
            <p:cNvSpPr/>
            <p:nvPr/>
          </p:nvSpPr>
          <p:spPr>
            <a:xfrm>
              <a:off x="33614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8" name="Google Shape;2268;p53"/>
            <p:cNvSpPr/>
            <p:nvPr/>
          </p:nvSpPr>
          <p:spPr>
            <a:xfrm>
              <a:off x="33614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9" name="Google Shape;2269;p53"/>
            <p:cNvSpPr/>
            <p:nvPr/>
          </p:nvSpPr>
          <p:spPr>
            <a:xfrm>
              <a:off x="32852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0" name="Google Shape;2270;p53"/>
            <p:cNvSpPr/>
            <p:nvPr/>
          </p:nvSpPr>
          <p:spPr>
            <a:xfrm>
              <a:off x="32852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1" name="Google Shape;2271;p53"/>
            <p:cNvSpPr/>
            <p:nvPr/>
          </p:nvSpPr>
          <p:spPr>
            <a:xfrm>
              <a:off x="32852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2" name="Google Shape;2272;p53"/>
            <p:cNvSpPr/>
            <p:nvPr/>
          </p:nvSpPr>
          <p:spPr>
            <a:xfrm>
              <a:off x="32852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3" name="Google Shape;2273;p53"/>
            <p:cNvSpPr/>
            <p:nvPr/>
          </p:nvSpPr>
          <p:spPr>
            <a:xfrm>
              <a:off x="3209025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4" name="Google Shape;2274;p53"/>
            <p:cNvSpPr/>
            <p:nvPr/>
          </p:nvSpPr>
          <p:spPr>
            <a:xfrm>
              <a:off x="32090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5" name="Google Shape;2275;p53"/>
            <p:cNvSpPr/>
            <p:nvPr/>
          </p:nvSpPr>
          <p:spPr>
            <a:xfrm>
              <a:off x="32090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6" name="Google Shape;2276;p53"/>
            <p:cNvSpPr/>
            <p:nvPr/>
          </p:nvSpPr>
          <p:spPr>
            <a:xfrm>
              <a:off x="32090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7" name="Google Shape;2277;p53"/>
            <p:cNvSpPr/>
            <p:nvPr/>
          </p:nvSpPr>
          <p:spPr>
            <a:xfrm>
              <a:off x="32090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8" name="Google Shape;2278;p53"/>
            <p:cNvSpPr/>
            <p:nvPr/>
          </p:nvSpPr>
          <p:spPr>
            <a:xfrm>
              <a:off x="41994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9" name="Google Shape;2279;p53"/>
            <p:cNvSpPr/>
            <p:nvPr/>
          </p:nvSpPr>
          <p:spPr>
            <a:xfrm>
              <a:off x="3132800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0" name="Google Shape;2280;p53"/>
            <p:cNvSpPr/>
            <p:nvPr/>
          </p:nvSpPr>
          <p:spPr>
            <a:xfrm>
              <a:off x="305680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1" name="Google Shape;2281;p53"/>
            <p:cNvSpPr/>
            <p:nvPr/>
          </p:nvSpPr>
          <p:spPr>
            <a:xfrm>
              <a:off x="43516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2" name="Google Shape;2282;p53"/>
            <p:cNvSpPr/>
            <p:nvPr/>
          </p:nvSpPr>
          <p:spPr>
            <a:xfrm>
              <a:off x="43516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3" name="Google Shape;2283;p53"/>
            <p:cNvSpPr/>
            <p:nvPr/>
          </p:nvSpPr>
          <p:spPr>
            <a:xfrm>
              <a:off x="43516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4" name="Google Shape;2284;p53"/>
            <p:cNvSpPr/>
            <p:nvPr/>
          </p:nvSpPr>
          <p:spPr>
            <a:xfrm>
              <a:off x="43516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5" name="Google Shape;2285;p53"/>
            <p:cNvSpPr/>
            <p:nvPr/>
          </p:nvSpPr>
          <p:spPr>
            <a:xfrm>
              <a:off x="43516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6" name="Google Shape;2286;p53"/>
            <p:cNvSpPr/>
            <p:nvPr/>
          </p:nvSpPr>
          <p:spPr>
            <a:xfrm>
              <a:off x="43516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7" name="Google Shape;2287;p53"/>
            <p:cNvSpPr/>
            <p:nvPr/>
          </p:nvSpPr>
          <p:spPr>
            <a:xfrm>
              <a:off x="43516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8" name="Google Shape;2288;p53"/>
            <p:cNvSpPr/>
            <p:nvPr/>
          </p:nvSpPr>
          <p:spPr>
            <a:xfrm>
              <a:off x="397095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9" name="Google Shape;2289;p53"/>
            <p:cNvSpPr/>
            <p:nvPr/>
          </p:nvSpPr>
          <p:spPr>
            <a:xfrm>
              <a:off x="39709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0" name="Google Shape;2290;p53"/>
            <p:cNvSpPr/>
            <p:nvPr/>
          </p:nvSpPr>
          <p:spPr>
            <a:xfrm>
              <a:off x="36661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1" name="Google Shape;2291;p53"/>
            <p:cNvSpPr/>
            <p:nvPr/>
          </p:nvSpPr>
          <p:spPr>
            <a:xfrm>
              <a:off x="37423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2" name="Google Shape;2292;p53"/>
            <p:cNvSpPr/>
            <p:nvPr/>
          </p:nvSpPr>
          <p:spPr>
            <a:xfrm>
              <a:off x="37423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3" name="Google Shape;2293;p53"/>
            <p:cNvSpPr/>
            <p:nvPr/>
          </p:nvSpPr>
          <p:spPr>
            <a:xfrm>
              <a:off x="38185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4" name="Google Shape;2294;p53"/>
            <p:cNvSpPr/>
            <p:nvPr/>
          </p:nvSpPr>
          <p:spPr>
            <a:xfrm>
              <a:off x="38947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5" name="Google Shape;2295;p53"/>
            <p:cNvSpPr/>
            <p:nvPr/>
          </p:nvSpPr>
          <p:spPr>
            <a:xfrm>
              <a:off x="38947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6" name="Google Shape;2296;p53"/>
            <p:cNvSpPr/>
            <p:nvPr/>
          </p:nvSpPr>
          <p:spPr>
            <a:xfrm>
              <a:off x="39709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7" name="Google Shape;2297;p53"/>
            <p:cNvSpPr/>
            <p:nvPr/>
          </p:nvSpPr>
          <p:spPr>
            <a:xfrm>
              <a:off x="39709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8" name="Google Shape;2298;p53"/>
            <p:cNvSpPr/>
            <p:nvPr/>
          </p:nvSpPr>
          <p:spPr>
            <a:xfrm>
              <a:off x="40469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9" name="Google Shape;2299;p53"/>
            <p:cNvSpPr/>
            <p:nvPr/>
          </p:nvSpPr>
          <p:spPr>
            <a:xfrm>
              <a:off x="40469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0" name="Google Shape;2300;p53"/>
            <p:cNvSpPr/>
            <p:nvPr/>
          </p:nvSpPr>
          <p:spPr>
            <a:xfrm>
              <a:off x="40469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1" name="Google Shape;2301;p53"/>
            <p:cNvSpPr/>
            <p:nvPr/>
          </p:nvSpPr>
          <p:spPr>
            <a:xfrm>
              <a:off x="40469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2" name="Google Shape;2302;p53"/>
            <p:cNvSpPr/>
            <p:nvPr/>
          </p:nvSpPr>
          <p:spPr>
            <a:xfrm>
              <a:off x="41231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3" name="Google Shape;2303;p53"/>
            <p:cNvSpPr/>
            <p:nvPr/>
          </p:nvSpPr>
          <p:spPr>
            <a:xfrm>
              <a:off x="41231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4" name="Google Shape;2304;p53"/>
            <p:cNvSpPr/>
            <p:nvPr/>
          </p:nvSpPr>
          <p:spPr>
            <a:xfrm>
              <a:off x="41231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5" name="Google Shape;2305;p53"/>
            <p:cNvSpPr/>
            <p:nvPr/>
          </p:nvSpPr>
          <p:spPr>
            <a:xfrm>
              <a:off x="41231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6" name="Google Shape;2306;p53"/>
            <p:cNvSpPr/>
            <p:nvPr/>
          </p:nvSpPr>
          <p:spPr>
            <a:xfrm>
              <a:off x="41231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7" name="Google Shape;2307;p53"/>
            <p:cNvSpPr/>
            <p:nvPr/>
          </p:nvSpPr>
          <p:spPr>
            <a:xfrm>
              <a:off x="41231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8" name="Google Shape;2308;p53"/>
            <p:cNvSpPr/>
            <p:nvPr/>
          </p:nvSpPr>
          <p:spPr>
            <a:xfrm>
              <a:off x="41994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9" name="Google Shape;2309;p53"/>
            <p:cNvSpPr/>
            <p:nvPr/>
          </p:nvSpPr>
          <p:spPr>
            <a:xfrm>
              <a:off x="41994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0" name="Google Shape;2310;p53"/>
            <p:cNvSpPr/>
            <p:nvPr/>
          </p:nvSpPr>
          <p:spPr>
            <a:xfrm>
              <a:off x="41994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1" name="Google Shape;2311;p53"/>
            <p:cNvSpPr/>
            <p:nvPr/>
          </p:nvSpPr>
          <p:spPr>
            <a:xfrm>
              <a:off x="41994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2" name="Google Shape;2312;p53"/>
            <p:cNvSpPr/>
            <p:nvPr/>
          </p:nvSpPr>
          <p:spPr>
            <a:xfrm>
              <a:off x="41994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3" name="Google Shape;2313;p53"/>
            <p:cNvSpPr/>
            <p:nvPr/>
          </p:nvSpPr>
          <p:spPr>
            <a:xfrm>
              <a:off x="41994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4" name="Google Shape;2314;p53"/>
            <p:cNvSpPr/>
            <p:nvPr/>
          </p:nvSpPr>
          <p:spPr>
            <a:xfrm>
              <a:off x="41994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5" name="Google Shape;2315;p53"/>
            <p:cNvSpPr/>
            <p:nvPr/>
          </p:nvSpPr>
          <p:spPr>
            <a:xfrm>
              <a:off x="42756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6" name="Google Shape;2316;p53"/>
            <p:cNvSpPr/>
            <p:nvPr/>
          </p:nvSpPr>
          <p:spPr>
            <a:xfrm>
              <a:off x="42756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7" name="Google Shape;2317;p53"/>
            <p:cNvSpPr/>
            <p:nvPr/>
          </p:nvSpPr>
          <p:spPr>
            <a:xfrm>
              <a:off x="42756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8" name="Google Shape;2318;p53"/>
            <p:cNvSpPr/>
            <p:nvPr/>
          </p:nvSpPr>
          <p:spPr>
            <a:xfrm>
              <a:off x="42756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9" name="Google Shape;2319;p53"/>
            <p:cNvSpPr/>
            <p:nvPr/>
          </p:nvSpPr>
          <p:spPr>
            <a:xfrm>
              <a:off x="42756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0" name="Google Shape;2320;p53"/>
            <p:cNvSpPr/>
            <p:nvPr/>
          </p:nvSpPr>
          <p:spPr>
            <a:xfrm>
              <a:off x="42756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1" name="Google Shape;2321;p53"/>
            <p:cNvSpPr/>
            <p:nvPr/>
          </p:nvSpPr>
          <p:spPr>
            <a:xfrm>
              <a:off x="42756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2" name="Google Shape;2322;p53"/>
            <p:cNvSpPr/>
            <p:nvPr/>
          </p:nvSpPr>
          <p:spPr>
            <a:xfrm>
              <a:off x="42756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3" name="Google Shape;2323;p53"/>
            <p:cNvSpPr/>
            <p:nvPr/>
          </p:nvSpPr>
          <p:spPr>
            <a:xfrm>
              <a:off x="43516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4" name="Google Shape;2324;p53"/>
            <p:cNvSpPr/>
            <p:nvPr/>
          </p:nvSpPr>
          <p:spPr>
            <a:xfrm>
              <a:off x="44278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5" name="Google Shape;2325;p53"/>
            <p:cNvSpPr/>
            <p:nvPr/>
          </p:nvSpPr>
          <p:spPr>
            <a:xfrm>
              <a:off x="44278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6" name="Google Shape;2326;p53"/>
            <p:cNvSpPr/>
            <p:nvPr/>
          </p:nvSpPr>
          <p:spPr>
            <a:xfrm>
              <a:off x="44278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7" name="Google Shape;2327;p53"/>
            <p:cNvSpPr/>
            <p:nvPr/>
          </p:nvSpPr>
          <p:spPr>
            <a:xfrm>
              <a:off x="44278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8" name="Google Shape;2328;p53"/>
            <p:cNvSpPr/>
            <p:nvPr/>
          </p:nvSpPr>
          <p:spPr>
            <a:xfrm>
              <a:off x="44278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9" name="Google Shape;2329;p53"/>
            <p:cNvSpPr/>
            <p:nvPr/>
          </p:nvSpPr>
          <p:spPr>
            <a:xfrm>
              <a:off x="44278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0" name="Google Shape;2330;p53"/>
            <p:cNvSpPr/>
            <p:nvPr/>
          </p:nvSpPr>
          <p:spPr>
            <a:xfrm>
              <a:off x="44278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1" name="Google Shape;2331;p53"/>
            <p:cNvSpPr/>
            <p:nvPr/>
          </p:nvSpPr>
          <p:spPr>
            <a:xfrm>
              <a:off x="44278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2" name="Google Shape;2332;p53"/>
            <p:cNvSpPr/>
            <p:nvPr/>
          </p:nvSpPr>
          <p:spPr>
            <a:xfrm>
              <a:off x="4427825" y="1571400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3" name="Google Shape;2333;p53"/>
            <p:cNvSpPr/>
            <p:nvPr/>
          </p:nvSpPr>
          <p:spPr>
            <a:xfrm>
              <a:off x="43516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4" name="Google Shape;2334;p53"/>
            <p:cNvSpPr/>
            <p:nvPr/>
          </p:nvSpPr>
          <p:spPr>
            <a:xfrm>
              <a:off x="42756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5" name="Google Shape;2335;p53"/>
            <p:cNvSpPr/>
            <p:nvPr/>
          </p:nvSpPr>
          <p:spPr>
            <a:xfrm>
              <a:off x="42756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6" name="Google Shape;2336;p53"/>
            <p:cNvSpPr/>
            <p:nvPr/>
          </p:nvSpPr>
          <p:spPr>
            <a:xfrm>
              <a:off x="41994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7" name="Google Shape;2337;p53"/>
            <p:cNvSpPr/>
            <p:nvPr/>
          </p:nvSpPr>
          <p:spPr>
            <a:xfrm>
              <a:off x="41994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8" name="Google Shape;2338;p53"/>
            <p:cNvSpPr/>
            <p:nvPr/>
          </p:nvSpPr>
          <p:spPr>
            <a:xfrm>
              <a:off x="41994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9" name="Google Shape;2339;p53"/>
            <p:cNvSpPr/>
            <p:nvPr/>
          </p:nvSpPr>
          <p:spPr>
            <a:xfrm>
              <a:off x="41994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0" name="Google Shape;2340;p53"/>
            <p:cNvSpPr/>
            <p:nvPr/>
          </p:nvSpPr>
          <p:spPr>
            <a:xfrm>
              <a:off x="41231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1" name="Google Shape;2341;p53"/>
            <p:cNvSpPr/>
            <p:nvPr/>
          </p:nvSpPr>
          <p:spPr>
            <a:xfrm>
              <a:off x="41231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2" name="Google Shape;2342;p53"/>
            <p:cNvSpPr/>
            <p:nvPr/>
          </p:nvSpPr>
          <p:spPr>
            <a:xfrm>
              <a:off x="41231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3" name="Google Shape;2343;p53"/>
            <p:cNvSpPr/>
            <p:nvPr/>
          </p:nvSpPr>
          <p:spPr>
            <a:xfrm>
              <a:off x="41231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4" name="Google Shape;2344;p53"/>
            <p:cNvSpPr/>
            <p:nvPr/>
          </p:nvSpPr>
          <p:spPr>
            <a:xfrm>
              <a:off x="41231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5" name="Google Shape;2345;p53"/>
            <p:cNvSpPr/>
            <p:nvPr/>
          </p:nvSpPr>
          <p:spPr>
            <a:xfrm>
              <a:off x="41231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6" name="Google Shape;2346;p53"/>
            <p:cNvSpPr/>
            <p:nvPr/>
          </p:nvSpPr>
          <p:spPr>
            <a:xfrm>
              <a:off x="40469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7" name="Google Shape;2347;p53"/>
            <p:cNvSpPr/>
            <p:nvPr/>
          </p:nvSpPr>
          <p:spPr>
            <a:xfrm>
              <a:off x="40469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8" name="Google Shape;2348;p53"/>
            <p:cNvSpPr/>
            <p:nvPr/>
          </p:nvSpPr>
          <p:spPr>
            <a:xfrm>
              <a:off x="40469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9" name="Google Shape;2349;p53"/>
            <p:cNvSpPr/>
            <p:nvPr/>
          </p:nvSpPr>
          <p:spPr>
            <a:xfrm>
              <a:off x="40469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0" name="Google Shape;2350;p53"/>
            <p:cNvSpPr/>
            <p:nvPr/>
          </p:nvSpPr>
          <p:spPr>
            <a:xfrm>
              <a:off x="40469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1" name="Google Shape;2351;p53"/>
            <p:cNvSpPr/>
            <p:nvPr/>
          </p:nvSpPr>
          <p:spPr>
            <a:xfrm>
              <a:off x="40469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2" name="Google Shape;2352;p53"/>
            <p:cNvSpPr/>
            <p:nvPr/>
          </p:nvSpPr>
          <p:spPr>
            <a:xfrm>
              <a:off x="40469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3" name="Google Shape;2353;p53"/>
            <p:cNvSpPr/>
            <p:nvPr/>
          </p:nvSpPr>
          <p:spPr>
            <a:xfrm>
              <a:off x="40469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4" name="Google Shape;2354;p53"/>
            <p:cNvSpPr/>
            <p:nvPr/>
          </p:nvSpPr>
          <p:spPr>
            <a:xfrm>
              <a:off x="39709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5" name="Google Shape;2355;p53"/>
            <p:cNvSpPr/>
            <p:nvPr/>
          </p:nvSpPr>
          <p:spPr>
            <a:xfrm>
              <a:off x="39709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6" name="Google Shape;2356;p53"/>
            <p:cNvSpPr/>
            <p:nvPr/>
          </p:nvSpPr>
          <p:spPr>
            <a:xfrm>
              <a:off x="39709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7" name="Google Shape;2357;p53"/>
            <p:cNvSpPr/>
            <p:nvPr/>
          </p:nvSpPr>
          <p:spPr>
            <a:xfrm>
              <a:off x="39709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8" name="Google Shape;2358;p53"/>
            <p:cNvSpPr/>
            <p:nvPr/>
          </p:nvSpPr>
          <p:spPr>
            <a:xfrm>
              <a:off x="39709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9" name="Google Shape;2359;p53"/>
            <p:cNvSpPr/>
            <p:nvPr/>
          </p:nvSpPr>
          <p:spPr>
            <a:xfrm>
              <a:off x="39709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0" name="Google Shape;2360;p53"/>
            <p:cNvSpPr/>
            <p:nvPr/>
          </p:nvSpPr>
          <p:spPr>
            <a:xfrm>
              <a:off x="39709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1" name="Google Shape;2361;p53"/>
            <p:cNvSpPr/>
            <p:nvPr/>
          </p:nvSpPr>
          <p:spPr>
            <a:xfrm>
              <a:off x="39709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2" name="Google Shape;2362;p53"/>
            <p:cNvSpPr/>
            <p:nvPr/>
          </p:nvSpPr>
          <p:spPr>
            <a:xfrm>
              <a:off x="39709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3" name="Google Shape;2363;p53"/>
            <p:cNvSpPr/>
            <p:nvPr/>
          </p:nvSpPr>
          <p:spPr>
            <a:xfrm>
              <a:off x="38947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4" name="Google Shape;2364;p53"/>
            <p:cNvSpPr/>
            <p:nvPr/>
          </p:nvSpPr>
          <p:spPr>
            <a:xfrm>
              <a:off x="38947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5" name="Google Shape;2365;p53"/>
            <p:cNvSpPr/>
            <p:nvPr/>
          </p:nvSpPr>
          <p:spPr>
            <a:xfrm>
              <a:off x="38947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6" name="Google Shape;2366;p53"/>
            <p:cNvSpPr/>
            <p:nvPr/>
          </p:nvSpPr>
          <p:spPr>
            <a:xfrm>
              <a:off x="38947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7" name="Google Shape;2367;p53"/>
            <p:cNvSpPr/>
            <p:nvPr/>
          </p:nvSpPr>
          <p:spPr>
            <a:xfrm>
              <a:off x="38947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8" name="Google Shape;2368;p53"/>
            <p:cNvSpPr/>
            <p:nvPr/>
          </p:nvSpPr>
          <p:spPr>
            <a:xfrm>
              <a:off x="3894725" y="1571400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9" name="Google Shape;2369;p53"/>
            <p:cNvSpPr/>
            <p:nvPr/>
          </p:nvSpPr>
          <p:spPr>
            <a:xfrm>
              <a:off x="38947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0" name="Google Shape;2370;p53"/>
            <p:cNvSpPr/>
            <p:nvPr/>
          </p:nvSpPr>
          <p:spPr>
            <a:xfrm>
              <a:off x="38947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1" name="Google Shape;2371;p53"/>
            <p:cNvSpPr/>
            <p:nvPr/>
          </p:nvSpPr>
          <p:spPr>
            <a:xfrm>
              <a:off x="38947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2" name="Google Shape;2372;p53"/>
            <p:cNvSpPr/>
            <p:nvPr/>
          </p:nvSpPr>
          <p:spPr>
            <a:xfrm>
              <a:off x="38947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3" name="Google Shape;2373;p53"/>
            <p:cNvSpPr/>
            <p:nvPr/>
          </p:nvSpPr>
          <p:spPr>
            <a:xfrm>
              <a:off x="38185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4" name="Google Shape;2374;p53"/>
            <p:cNvSpPr/>
            <p:nvPr/>
          </p:nvSpPr>
          <p:spPr>
            <a:xfrm>
              <a:off x="38185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5" name="Google Shape;2375;p53"/>
            <p:cNvSpPr/>
            <p:nvPr/>
          </p:nvSpPr>
          <p:spPr>
            <a:xfrm>
              <a:off x="38185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6" name="Google Shape;2376;p53"/>
            <p:cNvSpPr/>
            <p:nvPr/>
          </p:nvSpPr>
          <p:spPr>
            <a:xfrm>
              <a:off x="38185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7" name="Google Shape;2377;p53"/>
            <p:cNvSpPr/>
            <p:nvPr/>
          </p:nvSpPr>
          <p:spPr>
            <a:xfrm>
              <a:off x="38185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8" name="Google Shape;2378;p53"/>
            <p:cNvSpPr/>
            <p:nvPr/>
          </p:nvSpPr>
          <p:spPr>
            <a:xfrm>
              <a:off x="38185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9" name="Google Shape;2379;p53"/>
            <p:cNvSpPr/>
            <p:nvPr/>
          </p:nvSpPr>
          <p:spPr>
            <a:xfrm>
              <a:off x="38185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0" name="Google Shape;2380;p53"/>
            <p:cNvSpPr/>
            <p:nvPr/>
          </p:nvSpPr>
          <p:spPr>
            <a:xfrm>
              <a:off x="38185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1" name="Google Shape;2381;p53"/>
            <p:cNvSpPr/>
            <p:nvPr/>
          </p:nvSpPr>
          <p:spPr>
            <a:xfrm>
              <a:off x="38185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2" name="Google Shape;2382;p53"/>
            <p:cNvSpPr/>
            <p:nvPr/>
          </p:nvSpPr>
          <p:spPr>
            <a:xfrm>
              <a:off x="38185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3" name="Google Shape;2383;p53"/>
            <p:cNvSpPr/>
            <p:nvPr/>
          </p:nvSpPr>
          <p:spPr>
            <a:xfrm>
              <a:off x="38185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4" name="Google Shape;2384;p53"/>
            <p:cNvSpPr/>
            <p:nvPr/>
          </p:nvSpPr>
          <p:spPr>
            <a:xfrm>
              <a:off x="37423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5" name="Google Shape;2385;p53"/>
            <p:cNvSpPr/>
            <p:nvPr/>
          </p:nvSpPr>
          <p:spPr>
            <a:xfrm>
              <a:off x="37423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6" name="Google Shape;2386;p53"/>
            <p:cNvSpPr/>
            <p:nvPr/>
          </p:nvSpPr>
          <p:spPr>
            <a:xfrm>
              <a:off x="37423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5"/>
                    <a:pt x="528" y="2132"/>
                    <a:pt x="1076" y="2132"/>
                  </a:cubicBezTo>
                  <a:cubicBezTo>
                    <a:pt x="1335" y="2132"/>
                    <a:pt x="1599" y="2036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7" name="Google Shape;2387;p53"/>
            <p:cNvSpPr/>
            <p:nvPr/>
          </p:nvSpPr>
          <p:spPr>
            <a:xfrm>
              <a:off x="37423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8" name="Google Shape;2388;p53"/>
            <p:cNvSpPr/>
            <p:nvPr/>
          </p:nvSpPr>
          <p:spPr>
            <a:xfrm>
              <a:off x="37423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9" name="Google Shape;2389;p53"/>
            <p:cNvSpPr/>
            <p:nvPr/>
          </p:nvSpPr>
          <p:spPr>
            <a:xfrm>
              <a:off x="37423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0" name="Google Shape;2390;p53"/>
            <p:cNvSpPr/>
            <p:nvPr/>
          </p:nvSpPr>
          <p:spPr>
            <a:xfrm>
              <a:off x="37423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1" name="Google Shape;2391;p53"/>
            <p:cNvSpPr/>
            <p:nvPr/>
          </p:nvSpPr>
          <p:spPr>
            <a:xfrm>
              <a:off x="37423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2" name="Google Shape;2392;p53"/>
            <p:cNvSpPr/>
            <p:nvPr/>
          </p:nvSpPr>
          <p:spPr>
            <a:xfrm>
              <a:off x="37423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3" name="Google Shape;2393;p53"/>
            <p:cNvSpPr/>
            <p:nvPr/>
          </p:nvSpPr>
          <p:spPr>
            <a:xfrm>
              <a:off x="36661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4" name="Google Shape;2394;p53"/>
            <p:cNvSpPr/>
            <p:nvPr/>
          </p:nvSpPr>
          <p:spPr>
            <a:xfrm>
              <a:off x="36661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5" name="Google Shape;2395;p53"/>
            <p:cNvSpPr/>
            <p:nvPr/>
          </p:nvSpPr>
          <p:spPr>
            <a:xfrm>
              <a:off x="36661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6" name="Google Shape;2396;p53"/>
            <p:cNvSpPr/>
            <p:nvPr/>
          </p:nvSpPr>
          <p:spPr>
            <a:xfrm>
              <a:off x="36661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7" name="Google Shape;2397;p53"/>
            <p:cNvSpPr/>
            <p:nvPr/>
          </p:nvSpPr>
          <p:spPr>
            <a:xfrm>
              <a:off x="366610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8" name="Google Shape;2398;p53"/>
            <p:cNvSpPr/>
            <p:nvPr/>
          </p:nvSpPr>
          <p:spPr>
            <a:xfrm>
              <a:off x="35898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9" name="Google Shape;2399;p53"/>
            <p:cNvSpPr/>
            <p:nvPr/>
          </p:nvSpPr>
          <p:spPr>
            <a:xfrm>
              <a:off x="35898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0" name="Google Shape;2400;p53"/>
            <p:cNvSpPr/>
            <p:nvPr/>
          </p:nvSpPr>
          <p:spPr>
            <a:xfrm>
              <a:off x="35898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1" name="Google Shape;2401;p53"/>
            <p:cNvSpPr/>
            <p:nvPr/>
          </p:nvSpPr>
          <p:spPr>
            <a:xfrm>
              <a:off x="35898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2" name="Google Shape;2402;p53"/>
            <p:cNvSpPr/>
            <p:nvPr/>
          </p:nvSpPr>
          <p:spPr>
            <a:xfrm>
              <a:off x="35898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3" name="Google Shape;2403;p53"/>
            <p:cNvSpPr/>
            <p:nvPr/>
          </p:nvSpPr>
          <p:spPr>
            <a:xfrm>
              <a:off x="35136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4" name="Google Shape;2404;p53"/>
            <p:cNvSpPr/>
            <p:nvPr/>
          </p:nvSpPr>
          <p:spPr>
            <a:xfrm>
              <a:off x="35136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5" name="Google Shape;2405;p53"/>
            <p:cNvSpPr/>
            <p:nvPr/>
          </p:nvSpPr>
          <p:spPr>
            <a:xfrm>
              <a:off x="35136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6" name="Google Shape;2406;p53"/>
            <p:cNvSpPr/>
            <p:nvPr/>
          </p:nvSpPr>
          <p:spPr>
            <a:xfrm>
              <a:off x="35136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7" name="Google Shape;2407;p53"/>
            <p:cNvSpPr/>
            <p:nvPr/>
          </p:nvSpPr>
          <p:spPr>
            <a:xfrm>
              <a:off x="35136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8" name="Google Shape;2408;p53"/>
            <p:cNvSpPr/>
            <p:nvPr/>
          </p:nvSpPr>
          <p:spPr>
            <a:xfrm>
              <a:off x="35136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9" name="Google Shape;2409;p53"/>
            <p:cNvSpPr/>
            <p:nvPr/>
          </p:nvSpPr>
          <p:spPr>
            <a:xfrm>
              <a:off x="35136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0" name="Google Shape;2410;p53"/>
            <p:cNvSpPr/>
            <p:nvPr/>
          </p:nvSpPr>
          <p:spPr>
            <a:xfrm>
              <a:off x="34374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1" name="Google Shape;2411;p53"/>
            <p:cNvSpPr/>
            <p:nvPr/>
          </p:nvSpPr>
          <p:spPr>
            <a:xfrm>
              <a:off x="34374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2" name="Google Shape;2412;p53"/>
            <p:cNvSpPr/>
            <p:nvPr/>
          </p:nvSpPr>
          <p:spPr>
            <a:xfrm>
              <a:off x="34374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3" name="Google Shape;2413;p53"/>
            <p:cNvSpPr/>
            <p:nvPr/>
          </p:nvSpPr>
          <p:spPr>
            <a:xfrm>
              <a:off x="34374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4" name="Google Shape;2414;p53"/>
            <p:cNvSpPr/>
            <p:nvPr/>
          </p:nvSpPr>
          <p:spPr>
            <a:xfrm>
              <a:off x="34374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5" name="Google Shape;2415;p53"/>
            <p:cNvSpPr/>
            <p:nvPr/>
          </p:nvSpPr>
          <p:spPr>
            <a:xfrm>
              <a:off x="34374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6" name="Google Shape;2416;p53"/>
            <p:cNvSpPr/>
            <p:nvPr/>
          </p:nvSpPr>
          <p:spPr>
            <a:xfrm>
              <a:off x="34374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7" name="Google Shape;2417;p53"/>
            <p:cNvSpPr/>
            <p:nvPr/>
          </p:nvSpPr>
          <p:spPr>
            <a:xfrm>
              <a:off x="33614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8" name="Google Shape;2418;p53"/>
            <p:cNvSpPr/>
            <p:nvPr/>
          </p:nvSpPr>
          <p:spPr>
            <a:xfrm>
              <a:off x="33614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9" name="Google Shape;2419;p53"/>
            <p:cNvSpPr/>
            <p:nvPr/>
          </p:nvSpPr>
          <p:spPr>
            <a:xfrm>
              <a:off x="33614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0" name="Google Shape;2420;p53"/>
            <p:cNvSpPr/>
            <p:nvPr/>
          </p:nvSpPr>
          <p:spPr>
            <a:xfrm>
              <a:off x="33614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1" name="Google Shape;2421;p53"/>
            <p:cNvSpPr/>
            <p:nvPr/>
          </p:nvSpPr>
          <p:spPr>
            <a:xfrm>
              <a:off x="32852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2" name="Google Shape;2422;p53"/>
            <p:cNvSpPr/>
            <p:nvPr/>
          </p:nvSpPr>
          <p:spPr>
            <a:xfrm>
              <a:off x="31328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3" name="Google Shape;2423;p53"/>
            <p:cNvSpPr/>
            <p:nvPr/>
          </p:nvSpPr>
          <p:spPr>
            <a:xfrm>
              <a:off x="30568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4" name="Google Shape;2424;p53"/>
            <p:cNvSpPr/>
            <p:nvPr/>
          </p:nvSpPr>
          <p:spPr>
            <a:xfrm>
              <a:off x="3056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5" name="Google Shape;2425;p53"/>
            <p:cNvSpPr/>
            <p:nvPr/>
          </p:nvSpPr>
          <p:spPr>
            <a:xfrm>
              <a:off x="29805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6" name="Google Shape;2426;p53"/>
            <p:cNvSpPr/>
            <p:nvPr/>
          </p:nvSpPr>
          <p:spPr>
            <a:xfrm>
              <a:off x="29805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7" name="Google Shape;2427;p53"/>
            <p:cNvSpPr/>
            <p:nvPr/>
          </p:nvSpPr>
          <p:spPr>
            <a:xfrm>
              <a:off x="29805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8" name="Google Shape;2428;p53"/>
            <p:cNvSpPr/>
            <p:nvPr/>
          </p:nvSpPr>
          <p:spPr>
            <a:xfrm>
              <a:off x="29805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9" name="Google Shape;2429;p53"/>
            <p:cNvSpPr/>
            <p:nvPr/>
          </p:nvSpPr>
          <p:spPr>
            <a:xfrm>
              <a:off x="29805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0" name="Google Shape;2430;p53"/>
            <p:cNvSpPr/>
            <p:nvPr/>
          </p:nvSpPr>
          <p:spPr>
            <a:xfrm>
              <a:off x="29805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1" name="Google Shape;2431;p53"/>
            <p:cNvSpPr/>
            <p:nvPr/>
          </p:nvSpPr>
          <p:spPr>
            <a:xfrm>
              <a:off x="29043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2" name="Google Shape;2432;p53"/>
            <p:cNvSpPr/>
            <p:nvPr/>
          </p:nvSpPr>
          <p:spPr>
            <a:xfrm>
              <a:off x="29043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3" name="Google Shape;2433;p53"/>
            <p:cNvSpPr/>
            <p:nvPr/>
          </p:nvSpPr>
          <p:spPr>
            <a:xfrm>
              <a:off x="29043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4" name="Google Shape;2434;p53"/>
            <p:cNvSpPr/>
            <p:nvPr/>
          </p:nvSpPr>
          <p:spPr>
            <a:xfrm>
              <a:off x="29043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5" name="Google Shape;2435;p53"/>
            <p:cNvSpPr/>
            <p:nvPr/>
          </p:nvSpPr>
          <p:spPr>
            <a:xfrm>
              <a:off x="29043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6" name="Google Shape;2436;p53"/>
            <p:cNvSpPr/>
            <p:nvPr/>
          </p:nvSpPr>
          <p:spPr>
            <a:xfrm>
              <a:off x="29043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7" name="Google Shape;2437;p53"/>
            <p:cNvSpPr/>
            <p:nvPr/>
          </p:nvSpPr>
          <p:spPr>
            <a:xfrm>
              <a:off x="29043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8" name="Google Shape;2438;p53"/>
            <p:cNvSpPr/>
            <p:nvPr/>
          </p:nvSpPr>
          <p:spPr>
            <a:xfrm>
              <a:off x="28281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6" y="1"/>
                  </a:moveTo>
                  <a:cubicBezTo>
                    <a:pt x="1072" y="1"/>
                    <a:pt x="1069" y="1"/>
                    <a:pt x="1066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9" name="Google Shape;2439;p53"/>
            <p:cNvSpPr/>
            <p:nvPr/>
          </p:nvSpPr>
          <p:spPr>
            <a:xfrm>
              <a:off x="28281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0" name="Google Shape;2440;p53"/>
            <p:cNvSpPr/>
            <p:nvPr/>
          </p:nvSpPr>
          <p:spPr>
            <a:xfrm>
              <a:off x="28281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1" name="Google Shape;2441;p53"/>
            <p:cNvSpPr/>
            <p:nvPr/>
          </p:nvSpPr>
          <p:spPr>
            <a:xfrm>
              <a:off x="28281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2" name="Google Shape;2442;p53"/>
            <p:cNvSpPr/>
            <p:nvPr/>
          </p:nvSpPr>
          <p:spPr>
            <a:xfrm>
              <a:off x="28281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3" name="Google Shape;2443;p53"/>
            <p:cNvSpPr/>
            <p:nvPr/>
          </p:nvSpPr>
          <p:spPr>
            <a:xfrm>
              <a:off x="28281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4" name="Google Shape;2444;p53"/>
            <p:cNvSpPr/>
            <p:nvPr/>
          </p:nvSpPr>
          <p:spPr>
            <a:xfrm>
              <a:off x="28281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5" name="Google Shape;2445;p53"/>
            <p:cNvSpPr/>
            <p:nvPr/>
          </p:nvSpPr>
          <p:spPr>
            <a:xfrm>
              <a:off x="282815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6" name="Google Shape;2446;p53"/>
            <p:cNvSpPr/>
            <p:nvPr/>
          </p:nvSpPr>
          <p:spPr>
            <a:xfrm>
              <a:off x="27519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7" name="Google Shape;2447;p53"/>
            <p:cNvSpPr/>
            <p:nvPr/>
          </p:nvSpPr>
          <p:spPr>
            <a:xfrm>
              <a:off x="27519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8" name="Google Shape;2448;p53"/>
            <p:cNvSpPr/>
            <p:nvPr/>
          </p:nvSpPr>
          <p:spPr>
            <a:xfrm>
              <a:off x="27519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9" name="Google Shape;2449;p53"/>
            <p:cNvSpPr/>
            <p:nvPr/>
          </p:nvSpPr>
          <p:spPr>
            <a:xfrm>
              <a:off x="27519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0" name="Google Shape;2450;p53"/>
            <p:cNvSpPr/>
            <p:nvPr/>
          </p:nvSpPr>
          <p:spPr>
            <a:xfrm>
              <a:off x="27519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1" name="Google Shape;2451;p53"/>
            <p:cNvSpPr/>
            <p:nvPr/>
          </p:nvSpPr>
          <p:spPr>
            <a:xfrm>
              <a:off x="275195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2" name="Google Shape;2452;p53"/>
            <p:cNvSpPr/>
            <p:nvPr/>
          </p:nvSpPr>
          <p:spPr>
            <a:xfrm>
              <a:off x="27519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3" name="Google Shape;2453;p53"/>
            <p:cNvSpPr/>
            <p:nvPr/>
          </p:nvSpPr>
          <p:spPr>
            <a:xfrm>
              <a:off x="2751950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4" name="Google Shape;2454;p53"/>
            <p:cNvSpPr/>
            <p:nvPr/>
          </p:nvSpPr>
          <p:spPr>
            <a:xfrm>
              <a:off x="2675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5" name="Google Shape;2455;p53"/>
            <p:cNvSpPr/>
            <p:nvPr/>
          </p:nvSpPr>
          <p:spPr>
            <a:xfrm>
              <a:off x="2675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6" name="Google Shape;2456;p53"/>
            <p:cNvSpPr/>
            <p:nvPr/>
          </p:nvSpPr>
          <p:spPr>
            <a:xfrm>
              <a:off x="2675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7" name="Google Shape;2457;p53"/>
            <p:cNvSpPr/>
            <p:nvPr/>
          </p:nvSpPr>
          <p:spPr>
            <a:xfrm>
              <a:off x="2675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8" name="Google Shape;2458;p53"/>
            <p:cNvSpPr/>
            <p:nvPr/>
          </p:nvSpPr>
          <p:spPr>
            <a:xfrm>
              <a:off x="26759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9" name="Google Shape;2459;p53"/>
            <p:cNvSpPr/>
            <p:nvPr/>
          </p:nvSpPr>
          <p:spPr>
            <a:xfrm>
              <a:off x="26759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0" name="Google Shape;2460;p53"/>
            <p:cNvSpPr/>
            <p:nvPr/>
          </p:nvSpPr>
          <p:spPr>
            <a:xfrm>
              <a:off x="26759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1" name="Google Shape;2461;p53"/>
            <p:cNvSpPr/>
            <p:nvPr/>
          </p:nvSpPr>
          <p:spPr>
            <a:xfrm>
              <a:off x="26759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2" name="Google Shape;2462;p53"/>
            <p:cNvSpPr/>
            <p:nvPr/>
          </p:nvSpPr>
          <p:spPr>
            <a:xfrm>
              <a:off x="25997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3" name="Google Shape;2463;p53"/>
            <p:cNvSpPr/>
            <p:nvPr/>
          </p:nvSpPr>
          <p:spPr>
            <a:xfrm>
              <a:off x="25997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4" name="Google Shape;2464;p53"/>
            <p:cNvSpPr/>
            <p:nvPr/>
          </p:nvSpPr>
          <p:spPr>
            <a:xfrm>
              <a:off x="25997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5" name="Google Shape;2465;p53"/>
            <p:cNvSpPr/>
            <p:nvPr/>
          </p:nvSpPr>
          <p:spPr>
            <a:xfrm>
              <a:off x="25997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6" name="Google Shape;2466;p53"/>
            <p:cNvSpPr/>
            <p:nvPr/>
          </p:nvSpPr>
          <p:spPr>
            <a:xfrm>
              <a:off x="25997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7" name="Google Shape;2467;p53"/>
            <p:cNvSpPr/>
            <p:nvPr/>
          </p:nvSpPr>
          <p:spPr>
            <a:xfrm>
              <a:off x="25997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8" name="Google Shape;2468;p53"/>
            <p:cNvSpPr/>
            <p:nvPr/>
          </p:nvSpPr>
          <p:spPr>
            <a:xfrm>
              <a:off x="259972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9" name="Google Shape;2469;p53"/>
            <p:cNvSpPr/>
            <p:nvPr/>
          </p:nvSpPr>
          <p:spPr>
            <a:xfrm>
              <a:off x="259972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0" name="Google Shape;2470;p53"/>
            <p:cNvSpPr/>
            <p:nvPr/>
          </p:nvSpPr>
          <p:spPr>
            <a:xfrm>
              <a:off x="259972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1" name="Google Shape;2471;p53"/>
            <p:cNvSpPr/>
            <p:nvPr/>
          </p:nvSpPr>
          <p:spPr>
            <a:xfrm>
              <a:off x="25235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2" name="Google Shape;2472;p53"/>
            <p:cNvSpPr/>
            <p:nvPr/>
          </p:nvSpPr>
          <p:spPr>
            <a:xfrm>
              <a:off x="25235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3" name="Google Shape;2473;p53"/>
            <p:cNvSpPr/>
            <p:nvPr/>
          </p:nvSpPr>
          <p:spPr>
            <a:xfrm>
              <a:off x="25235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4" name="Google Shape;2474;p53"/>
            <p:cNvSpPr/>
            <p:nvPr/>
          </p:nvSpPr>
          <p:spPr>
            <a:xfrm>
              <a:off x="2523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5" name="Google Shape;2475;p53"/>
            <p:cNvSpPr/>
            <p:nvPr/>
          </p:nvSpPr>
          <p:spPr>
            <a:xfrm>
              <a:off x="2523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6" name="Google Shape;2476;p53"/>
            <p:cNvSpPr/>
            <p:nvPr/>
          </p:nvSpPr>
          <p:spPr>
            <a:xfrm>
              <a:off x="25235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7" name="Google Shape;2477;p53"/>
            <p:cNvSpPr/>
            <p:nvPr/>
          </p:nvSpPr>
          <p:spPr>
            <a:xfrm>
              <a:off x="25235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8" name="Google Shape;2478;p53"/>
            <p:cNvSpPr/>
            <p:nvPr/>
          </p:nvSpPr>
          <p:spPr>
            <a:xfrm>
              <a:off x="2523500" y="11905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9" name="Google Shape;2479;p53"/>
            <p:cNvSpPr/>
            <p:nvPr/>
          </p:nvSpPr>
          <p:spPr>
            <a:xfrm>
              <a:off x="25235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0" name="Google Shape;2480;p53"/>
            <p:cNvSpPr/>
            <p:nvPr/>
          </p:nvSpPr>
          <p:spPr>
            <a:xfrm>
              <a:off x="25235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1" name="Google Shape;2481;p53"/>
            <p:cNvSpPr/>
            <p:nvPr/>
          </p:nvSpPr>
          <p:spPr>
            <a:xfrm>
              <a:off x="24473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2" name="Google Shape;2482;p53"/>
            <p:cNvSpPr/>
            <p:nvPr/>
          </p:nvSpPr>
          <p:spPr>
            <a:xfrm>
              <a:off x="24473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3" name="Google Shape;2483;p53"/>
            <p:cNvSpPr/>
            <p:nvPr/>
          </p:nvSpPr>
          <p:spPr>
            <a:xfrm>
              <a:off x="24473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4" name="Google Shape;2484;p53"/>
            <p:cNvSpPr/>
            <p:nvPr/>
          </p:nvSpPr>
          <p:spPr>
            <a:xfrm>
              <a:off x="24473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5" name="Google Shape;2485;p53"/>
            <p:cNvSpPr/>
            <p:nvPr/>
          </p:nvSpPr>
          <p:spPr>
            <a:xfrm>
              <a:off x="24473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6" name="Google Shape;2486;p53"/>
            <p:cNvSpPr/>
            <p:nvPr/>
          </p:nvSpPr>
          <p:spPr>
            <a:xfrm>
              <a:off x="24473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7" name="Google Shape;2487;p53"/>
            <p:cNvSpPr/>
            <p:nvPr/>
          </p:nvSpPr>
          <p:spPr>
            <a:xfrm>
              <a:off x="2447300" y="12665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8" name="Google Shape;2488;p53"/>
            <p:cNvSpPr/>
            <p:nvPr/>
          </p:nvSpPr>
          <p:spPr>
            <a:xfrm>
              <a:off x="24473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9" name="Google Shape;2489;p53"/>
            <p:cNvSpPr/>
            <p:nvPr/>
          </p:nvSpPr>
          <p:spPr>
            <a:xfrm>
              <a:off x="2447300" y="11143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0" name="Google Shape;2490;p53"/>
            <p:cNvSpPr/>
            <p:nvPr/>
          </p:nvSpPr>
          <p:spPr>
            <a:xfrm>
              <a:off x="24473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1" name="Google Shape;2491;p53"/>
            <p:cNvSpPr/>
            <p:nvPr/>
          </p:nvSpPr>
          <p:spPr>
            <a:xfrm>
              <a:off x="2371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2" name="Google Shape;2492;p53"/>
            <p:cNvSpPr/>
            <p:nvPr/>
          </p:nvSpPr>
          <p:spPr>
            <a:xfrm>
              <a:off x="2371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3" name="Google Shape;2493;p53"/>
            <p:cNvSpPr/>
            <p:nvPr/>
          </p:nvSpPr>
          <p:spPr>
            <a:xfrm>
              <a:off x="2371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4" name="Google Shape;2494;p53"/>
            <p:cNvSpPr/>
            <p:nvPr/>
          </p:nvSpPr>
          <p:spPr>
            <a:xfrm>
              <a:off x="2371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5" name="Google Shape;2495;p53"/>
            <p:cNvSpPr/>
            <p:nvPr/>
          </p:nvSpPr>
          <p:spPr>
            <a:xfrm>
              <a:off x="2371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6" name="Google Shape;2496;p53"/>
            <p:cNvSpPr/>
            <p:nvPr/>
          </p:nvSpPr>
          <p:spPr>
            <a:xfrm>
              <a:off x="23712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7" name="Google Shape;2497;p53"/>
            <p:cNvSpPr/>
            <p:nvPr/>
          </p:nvSpPr>
          <p:spPr>
            <a:xfrm>
              <a:off x="23712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8" name="Google Shape;2498;p53"/>
            <p:cNvSpPr/>
            <p:nvPr/>
          </p:nvSpPr>
          <p:spPr>
            <a:xfrm>
              <a:off x="23712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9" name="Google Shape;2499;p53"/>
            <p:cNvSpPr/>
            <p:nvPr/>
          </p:nvSpPr>
          <p:spPr>
            <a:xfrm>
              <a:off x="237127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0" name="Google Shape;2500;p53"/>
            <p:cNvSpPr/>
            <p:nvPr/>
          </p:nvSpPr>
          <p:spPr>
            <a:xfrm>
              <a:off x="22950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1" name="Google Shape;2501;p53"/>
            <p:cNvSpPr/>
            <p:nvPr/>
          </p:nvSpPr>
          <p:spPr>
            <a:xfrm>
              <a:off x="22950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2" name="Google Shape;2502;p53"/>
            <p:cNvSpPr/>
            <p:nvPr/>
          </p:nvSpPr>
          <p:spPr>
            <a:xfrm>
              <a:off x="22950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3" name="Google Shape;2503;p53"/>
            <p:cNvSpPr/>
            <p:nvPr/>
          </p:nvSpPr>
          <p:spPr>
            <a:xfrm>
              <a:off x="22950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4" name="Google Shape;2504;p53"/>
            <p:cNvSpPr/>
            <p:nvPr/>
          </p:nvSpPr>
          <p:spPr>
            <a:xfrm>
              <a:off x="22186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9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5" name="Google Shape;2505;p53"/>
            <p:cNvSpPr/>
            <p:nvPr/>
          </p:nvSpPr>
          <p:spPr>
            <a:xfrm>
              <a:off x="22186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6" name="Google Shape;2506;p53"/>
            <p:cNvSpPr/>
            <p:nvPr/>
          </p:nvSpPr>
          <p:spPr>
            <a:xfrm>
              <a:off x="22186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7" name="Google Shape;2507;p53"/>
            <p:cNvSpPr/>
            <p:nvPr/>
          </p:nvSpPr>
          <p:spPr>
            <a:xfrm>
              <a:off x="21424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8" name="Google Shape;2508;p53"/>
            <p:cNvSpPr/>
            <p:nvPr/>
          </p:nvSpPr>
          <p:spPr>
            <a:xfrm>
              <a:off x="214242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9" name="Google Shape;2509;p53"/>
            <p:cNvSpPr/>
            <p:nvPr/>
          </p:nvSpPr>
          <p:spPr>
            <a:xfrm>
              <a:off x="27519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0" name="Google Shape;2510;p53"/>
            <p:cNvSpPr/>
            <p:nvPr/>
          </p:nvSpPr>
          <p:spPr>
            <a:xfrm>
              <a:off x="2751950" y="35519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4" y="2033"/>
                    <a:pt x="1821" y="1814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1" name="Google Shape;2511;p53"/>
            <p:cNvSpPr/>
            <p:nvPr/>
          </p:nvSpPr>
          <p:spPr>
            <a:xfrm>
              <a:off x="2751950" y="3475725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2" name="Google Shape;2512;p53"/>
            <p:cNvSpPr/>
            <p:nvPr/>
          </p:nvSpPr>
          <p:spPr>
            <a:xfrm>
              <a:off x="2675925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3" name="Google Shape;2513;p53"/>
            <p:cNvSpPr/>
            <p:nvPr/>
          </p:nvSpPr>
          <p:spPr>
            <a:xfrm>
              <a:off x="26757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1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4" name="Google Shape;2514;p53"/>
            <p:cNvSpPr/>
            <p:nvPr/>
          </p:nvSpPr>
          <p:spPr>
            <a:xfrm>
              <a:off x="2675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5" name="Google Shape;2515;p53"/>
            <p:cNvSpPr/>
            <p:nvPr/>
          </p:nvSpPr>
          <p:spPr>
            <a:xfrm>
              <a:off x="2675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6" name="Google Shape;2516;p53"/>
            <p:cNvSpPr/>
            <p:nvPr/>
          </p:nvSpPr>
          <p:spPr>
            <a:xfrm>
              <a:off x="26759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7" name="Google Shape;2517;p53"/>
            <p:cNvSpPr/>
            <p:nvPr/>
          </p:nvSpPr>
          <p:spPr>
            <a:xfrm>
              <a:off x="26759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8" name="Google Shape;2518;p53"/>
            <p:cNvSpPr/>
            <p:nvPr/>
          </p:nvSpPr>
          <p:spPr>
            <a:xfrm>
              <a:off x="259972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9" name="Google Shape;2519;p53"/>
            <p:cNvSpPr/>
            <p:nvPr/>
          </p:nvSpPr>
          <p:spPr>
            <a:xfrm>
              <a:off x="2599725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72" y="0"/>
                    <a:pt x="0" y="480"/>
                    <a:pt x="0" y="1073"/>
                  </a:cubicBezTo>
                  <a:cubicBezTo>
                    <a:pt x="0" y="1715"/>
                    <a:pt x="526" y="2139"/>
                    <a:pt x="1073" y="2139"/>
                  </a:cubicBezTo>
                  <a:cubicBezTo>
                    <a:pt x="1336" y="2139"/>
                    <a:pt x="1604" y="2040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0" name="Google Shape;2520;p53"/>
            <p:cNvSpPr/>
            <p:nvPr/>
          </p:nvSpPr>
          <p:spPr>
            <a:xfrm>
              <a:off x="259972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1" name="Google Shape;2521;p53"/>
            <p:cNvSpPr/>
            <p:nvPr/>
          </p:nvSpPr>
          <p:spPr>
            <a:xfrm>
              <a:off x="259972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2" name="Google Shape;2522;p53"/>
            <p:cNvSpPr/>
            <p:nvPr/>
          </p:nvSpPr>
          <p:spPr>
            <a:xfrm>
              <a:off x="259972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3" name="Google Shape;2523;p53"/>
            <p:cNvSpPr/>
            <p:nvPr/>
          </p:nvSpPr>
          <p:spPr>
            <a:xfrm>
              <a:off x="259972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4" name="Google Shape;2524;p53"/>
            <p:cNvSpPr/>
            <p:nvPr/>
          </p:nvSpPr>
          <p:spPr>
            <a:xfrm>
              <a:off x="252350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5" name="Google Shape;2525;p53"/>
            <p:cNvSpPr/>
            <p:nvPr/>
          </p:nvSpPr>
          <p:spPr>
            <a:xfrm>
              <a:off x="252350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6" name="Google Shape;2526;p53"/>
            <p:cNvSpPr/>
            <p:nvPr/>
          </p:nvSpPr>
          <p:spPr>
            <a:xfrm>
              <a:off x="25235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7" name="Google Shape;2527;p53"/>
            <p:cNvSpPr/>
            <p:nvPr/>
          </p:nvSpPr>
          <p:spPr>
            <a:xfrm>
              <a:off x="25235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8" name="Google Shape;2528;p53"/>
            <p:cNvSpPr/>
            <p:nvPr/>
          </p:nvSpPr>
          <p:spPr>
            <a:xfrm>
              <a:off x="2523500" y="362795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8"/>
                    <a:pt x="1" y="488"/>
                    <a:pt x="1" y="1073"/>
                  </a:cubicBezTo>
                  <a:cubicBezTo>
                    <a:pt x="1" y="1715"/>
                    <a:pt x="527" y="2139"/>
                    <a:pt x="1073" y="2139"/>
                  </a:cubicBezTo>
                  <a:cubicBezTo>
                    <a:pt x="1337" y="2139"/>
                    <a:pt x="1605" y="2040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9" name="Google Shape;2529;p53"/>
            <p:cNvSpPr/>
            <p:nvPr/>
          </p:nvSpPr>
          <p:spPr>
            <a:xfrm>
              <a:off x="25235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0" name="Google Shape;2530;p53"/>
            <p:cNvSpPr/>
            <p:nvPr/>
          </p:nvSpPr>
          <p:spPr>
            <a:xfrm>
              <a:off x="25235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1" name="Google Shape;2531;p53"/>
            <p:cNvSpPr/>
            <p:nvPr/>
          </p:nvSpPr>
          <p:spPr>
            <a:xfrm>
              <a:off x="25235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2" name="Google Shape;2532;p53"/>
            <p:cNvSpPr/>
            <p:nvPr/>
          </p:nvSpPr>
          <p:spPr>
            <a:xfrm>
              <a:off x="2447300" y="40852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3" name="Google Shape;2533;p53"/>
            <p:cNvSpPr/>
            <p:nvPr/>
          </p:nvSpPr>
          <p:spPr>
            <a:xfrm>
              <a:off x="2447300" y="4009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39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4" name="Google Shape;2534;p53"/>
            <p:cNvSpPr/>
            <p:nvPr/>
          </p:nvSpPr>
          <p:spPr>
            <a:xfrm>
              <a:off x="2447300" y="3932800"/>
              <a:ext cx="62200" cy="53475"/>
            </a:xfrm>
            <a:custGeom>
              <a:avLst/>
              <a:gdLst/>
              <a:ahLst/>
              <a:cxnLst/>
              <a:rect l="l" t="t" r="r" b="b"/>
              <a:pathLst>
                <a:path w="2488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4" y="2041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5" name="Google Shape;2535;p53"/>
            <p:cNvSpPr/>
            <p:nvPr/>
          </p:nvSpPr>
          <p:spPr>
            <a:xfrm>
              <a:off x="2447300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6" name="Google Shape;2536;p53"/>
            <p:cNvSpPr/>
            <p:nvPr/>
          </p:nvSpPr>
          <p:spPr>
            <a:xfrm>
              <a:off x="2447300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29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7" name="Google Shape;2537;p53"/>
            <p:cNvSpPr/>
            <p:nvPr/>
          </p:nvSpPr>
          <p:spPr>
            <a:xfrm>
              <a:off x="2447300" y="37041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8" name="Google Shape;2538;p53"/>
            <p:cNvSpPr/>
            <p:nvPr/>
          </p:nvSpPr>
          <p:spPr>
            <a:xfrm>
              <a:off x="2447300" y="36279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8" y="2137"/>
                    <a:pt x="1076" y="2137"/>
                  </a:cubicBezTo>
                  <a:cubicBezTo>
                    <a:pt x="1339" y="2137"/>
                    <a:pt x="1605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9" name="Google Shape;2539;p53"/>
            <p:cNvSpPr/>
            <p:nvPr/>
          </p:nvSpPr>
          <p:spPr>
            <a:xfrm>
              <a:off x="2447300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0" name="Google Shape;2540;p53"/>
            <p:cNvSpPr/>
            <p:nvPr/>
          </p:nvSpPr>
          <p:spPr>
            <a:xfrm>
              <a:off x="2447300" y="34757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1" name="Google Shape;2541;p53"/>
            <p:cNvSpPr/>
            <p:nvPr/>
          </p:nvSpPr>
          <p:spPr>
            <a:xfrm>
              <a:off x="2447300" y="33995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2" name="Google Shape;2542;p53"/>
            <p:cNvSpPr/>
            <p:nvPr/>
          </p:nvSpPr>
          <p:spPr>
            <a:xfrm>
              <a:off x="2447300" y="332330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3" name="Google Shape;2543;p53"/>
            <p:cNvSpPr/>
            <p:nvPr/>
          </p:nvSpPr>
          <p:spPr>
            <a:xfrm>
              <a:off x="237127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4" name="Google Shape;2544;p53"/>
            <p:cNvSpPr/>
            <p:nvPr/>
          </p:nvSpPr>
          <p:spPr>
            <a:xfrm>
              <a:off x="237127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5" name="Google Shape;2545;p53"/>
            <p:cNvSpPr/>
            <p:nvPr/>
          </p:nvSpPr>
          <p:spPr>
            <a:xfrm>
              <a:off x="2371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6" name="Google Shape;2546;p53"/>
            <p:cNvSpPr/>
            <p:nvPr/>
          </p:nvSpPr>
          <p:spPr>
            <a:xfrm>
              <a:off x="2371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7" name="Google Shape;2547;p53"/>
            <p:cNvSpPr/>
            <p:nvPr/>
          </p:nvSpPr>
          <p:spPr>
            <a:xfrm>
              <a:off x="237107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8" name="Google Shape;2548;p53"/>
            <p:cNvSpPr/>
            <p:nvPr/>
          </p:nvSpPr>
          <p:spPr>
            <a:xfrm>
              <a:off x="237107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9" name="Google Shape;2549;p53"/>
            <p:cNvSpPr/>
            <p:nvPr/>
          </p:nvSpPr>
          <p:spPr>
            <a:xfrm>
              <a:off x="237107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0" name="Google Shape;2550;p53"/>
            <p:cNvSpPr/>
            <p:nvPr/>
          </p:nvSpPr>
          <p:spPr>
            <a:xfrm>
              <a:off x="237127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1" name="Google Shape;2551;p53"/>
            <p:cNvSpPr/>
            <p:nvPr/>
          </p:nvSpPr>
          <p:spPr>
            <a:xfrm>
              <a:off x="237127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2" name="Google Shape;2552;p53"/>
            <p:cNvSpPr/>
            <p:nvPr/>
          </p:nvSpPr>
          <p:spPr>
            <a:xfrm>
              <a:off x="237107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3" name="Google Shape;2553;p53"/>
            <p:cNvSpPr/>
            <p:nvPr/>
          </p:nvSpPr>
          <p:spPr>
            <a:xfrm>
              <a:off x="23710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4" name="Google Shape;2554;p53"/>
            <p:cNvSpPr/>
            <p:nvPr/>
          </p:nvSpPr>
          <p:spPr>
            <a:xfrm>
              <a:off x="23710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5" name="Google Shape;2555;p53"/>
            <p:cNvSpPr/>
            <p:nvPr/>
          </p:nvSpPr>
          <p:spPr>
            <a:xfrm>
              <a:off x="23710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6" name="Google Shape;2556;p53"/>
            <p:cNvSpPr/>
            <p:nvPr/>
          </p:nvSpPr>
          <p:spPr>
            <a:xfrm>
              <a:off x="23710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7" name="Google Shape;2557;p53"/>
            <p:cNvSpPr/>
            <p:nvPr/>
          </p:nvSpPr>
          <p:spPr>
            <a:xfrm>
              <a:off x="2295075" y="43136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8" name="Google Shape;2558;p53"/>
            <p:cNvSpPr/>
            <p:nvPr/>
          </p:nvSpPr>
          <p:spPr>
            <a:xfrm>
              <a:off x="2295075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9" name="Google Shape;2559;p53"/>
            <p:cNvSpPr/>
            <p:nvPr/>
          </p:nvSpPr>
          <p:spPr>
            <a:xfrm>
              <a:off x="2295075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0" name="Google Shape;2560;p53"/>
            <p:cNvSpPr/>
            <p:nvPr/>
          </p:nvSpPr>
          <p:spPr>
            <a:xfrm>
              <a:off x="2295075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1" name="Google Shape;2561;p53"/>
            <p:cNvSpPr/>
            <p:nvPr/>
          </p:nvSpPr>
          <p:spPr>
            <a:xfrm>
              <a:off x="2295075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2" name="Google Shape;2562;p53"/>
            <p:cNvSpPr/>
            <p:nvPr/>
          </p:nvSpPr>
          <p:spPr>
            <a:xfrm>
              <a:off x="229485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1" y="2139"/>
                    <a:pt x="1078" y="2139"/>
                  </a:cubicBezTo>
                  <a:cubicBezTo>
                    <a:pt x="1342" y="2139"/>
                    <a:pt x="1611" y="2041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3" name="Google Shape;2563;p53"/>
            <p:cNvSpPr/>
            <p:nvPr/>
          </p:nvSpPr>
          <p:spPr>
            <a:xfrm>
              <a:off x="229507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4" name="Google Shape;2564;p53"/>
            <p:cNvSpPr/>
            <p:nvPr/>
          </p:nvSpPr>
          <p:spPr>
            <a:xfrm>
              <a:off x="2294850" y="3780375"/>
              <a:ext cx="62625" cy="53475"/>
            </a:xfrm>
            <a:custGeom>
              <a:avLst/>
              <a:gdLst/>
              <a:ahLst/>
              <a:cxnLst/>
              <a:rect l="l" t="t" r="r" b="b"/>
              <a:pathLst>
                <a:path w="2505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2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505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5" name="Google Shape;2565;p53"/>
            <p:cNvSpPr/>
            <p:nvPr/>
          </p:nvSpPr>
          <p:spPr>
            <a:xfrm>
              <a:off x="229507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6" name="Google Shape;2566;p53"/>
            <p:cNvSpPr/>
            <p:nvPr/>
          </p:nvSpPr>
          <p:spPr>
            <a:xfrm>
              <a:off x="229507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7" name="Google Shape;2567;p53"/>
            <p:cNvSpPr/>
            <p:nvPr/>
          </p:nvSpPr>
          <p:spPr>
            <a:xfrm>
              <a:off x="229507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8" name="Google Shape;2568;p53"/>
            <p:cNvSpPr/>
            <p:nvPr/>
          </p:nvSpPr>
          <p:spPr>
            <a:xfrm>
              <a:off x="229507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9" name="Google Shape;2569;p53"/>
            <p:cNvSpPr/>
            <p:nvPr/>
          </p:nvSpPr>
          <p:spPr>
            <a:xfrm>
              <a:off x="2295075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0" name="Google Shape;2570;p53"/>
            <p:cNvSpPr/>
            <p:nvPr/>
          </p:nvSpPr>
          <p:spPr>
            <a:xfrm>
              <a:off x="22949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4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1" name="Google Shape;2571;p53"/>
            <p:cNvSpPr/>
            <p:nvPr/>
          </p:nvSpPr>
          <p:spPr>
            <a:xfrm>
              <a:off x="229492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2" name="Google Shape;2572;p53"/>
            <p:cNvSpPr/>
            <p:nvPr/>
          </p:nvSpPr>
          <p:spPr>
            <a:xfrm>
              <a:off x="2295075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3" name="Google Shape;2573;p53"/>
            <p:cNvSpPr/>
            <p:nvPr/>
          </p:nvSpPr>
          <p:spPr>
            <a:xfrm>
              <a:off x="22950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4" name="Google Shape;2574;p53"/>
            <p:cNvSpPr/>
            <p:nvPr/>
          </p:nvSpPr>
          <p:spPr>
            <a:xfrm>
              <a:off x="22186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5" name="Google Shape;2575;p53"/>
            <p:cNvSpPr/>
            <p:nvPr/>
          </p:nvSpPr>
          <p:spPr>
            <a:xfrm>
              <a:off x="2218650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6" name="Google Shape;2576;p53"/>
            <p:cNvSpPr/>
            <p:nvPr/>
          </p:nvSpPr>
          <p:spPr>
            <a:xfrm>
              <a:off x="2218650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7" name="Google Shape;2577;p53"/>
            <p:cNvSpPr/>
            <p:nvPr/>
          </p:nvSpPr>
          <p:spPr>
            <a:xfrm>
              <a:off x="2218650" y="41614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8" name="Google Shape;2578;p53"/>
            <p:cNvSpPr/>
            <p:nvPr/>
          </p:nvSpPr>
          <p:spPr>
            <a:xfrm>
              <a:off x="22186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9" name="Google Shape;2579;p53"/>
            <p:cNvSpPr/>
            <p:nvPr/>
          </p:nvSpPr>
          <p:spPr>
            <a:xfrm>
              <a:off x="22186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0" name="Google Shape;2580;p53"/>
            <p:cNvSpPr/>
            <p:nvPr/>
          </p:nvSpPr>
          <p:spPr>
            <a:xfrm>
              <a:off x="221865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1" y="1821"/>
                  </a:cubicBezTo>
                  <a:cubicBezTo>
                    <a:pt x="2488" y="1146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1" name="Google Shape;2581;p53"/>
            <p:cNvSpPr/>
            <p:nvPr/>
          </p:nvSpPr>
          <p:spPr>
            <a:xfrm>
              <a:off x="221865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2" name="Google Shape;2582;p53"/>
            <p:cNvSpPr/>
            <p:nvPr/>
          </p:nvSpPr>
          <p:spPr>
            <a:xfrm>
              <a:off x="221865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3" name="Google Shape;2583;p53"/>
            <p:cNvSpPr/>
            <p:nvPr/>
          </p:nvSpPr>
          <p:spPr>
            <a:xfrm>
              <a:off x="22186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4" name="Google Shape;2584;p53"/>
            <p:cNvSpPr/>
            <p:nvPr/>
          </p:nvSpPr>
          <p:spPr>
            <a:xfrm>
              <a:off x="22186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5" name="Google Shape;2585;p53"/>
            <p:cNvSpPr/>
            <p:nvPr/>
          </p:nvSpPr>
          <p:spPr>
            <a:xfrm>
              <a:off x="221865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6" name="Google Shape;2586;p53"/>
            <p:cNvSpPr/>
            <p:nvPr/>
          </p:nvSpPr>
          <p:spPr>
            <a:xfrm>
              <a:off x="22186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7" name="Google Shape;2587;p53"/>
            <p:cNvSpPr/>
            <p:nvPr/>
          </p:nvSpPr>
          <p:spPr>
            <a:xfrm>
              <a:off x="22186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8" name="Google Shape;2588;p53"/>
            <p:cNvSpPr/>
            <p:nvPr/>
          </p:nvSpPr>
          <p:spPr>
            <a:xfrm>
              <a:off x="22186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9" name="Google Shape;2589;p53"/>
            <p:cNvSpPr/>
            <p:nvPr/>
          </p:nvSpPr>
          <p:spPr>
            <a:xfrm>
              <a:off x="2218650" y="3247075"/>
              <a:ext cx="62425" cy="53500"/>
            </a:xfrm>
            <a:custGeom>
              <a:avLst/>
              <a:gdLst/>
              <a:ahLst/>
              <a:cxnLst/>
              <a:rect l="l" t="t" r="r" b="b"/>
              <a:pathLst>
                <a:path w="2497" h="2140" extrusionOk="0">
                  <a:moveTo>
                    <a:pt x="1074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11"/>
                    <a:pt x="529" y="2140"/>
                    <a:pt x="1079" y="2140"/>
                  </a:cubicBezTo>
                  <a:cubicBezTo>
                    <a:pt x="1339" y="2140"/>
                    <a:pt x="1605" y="2044"/>
                    <a:pt x="1821" y="1830"/>
                  </a:cubicBezTo>
                  <a:cubicBezTo>
                    <a:pt x="2496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0" name="Google Shape;2590;p53"/>
            <p:cNvSpPr/>
            <p:nvPr/>
          </p:nvSpPr>
          <p:spPr>
            <a:xfrm>
              <a:off x="221865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5"/>
                    <a:pt x="528" y="2131"/>
                    <a:pt x="1078" y="2131"/>
                  </a:cubicBezTo>
                  <a:cubicBezTo>
                    <a:pt x="1339" y="2131"/>
                    <a:pt x="1604" y="2036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1" name="Google Shape;2591;p53"/>
            <p:cNvSpPr/>
            <p:nvPr/>
          </p:nvSpPr>
          <p:spPr>
            <a:xfrm>
              <a:off x="22186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2" name="Google Shape;2592;p53"/>
            <p:cNvSpPr/>
            <p:nvPr/>
          </p:nvSpPr>
          <p:spPr>
            <a:xfrm>
              <a:off x="22186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3" name="Google Shape;2593;p53"/>
            <p:cNvSpPr/>
            <p:nvPr/>
          </p:nvSpPr>
          <p:spPr>
            <a:xfrm>
              <a:off x="22186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4" name="Google Shape;2594;p53"/>
            <p:cNvSpPr/>
            <p:nvPr/>
          </p:nvSpPr>
          <p:spPr>
            <a:xfrm>
              <a:off x="2142425" y="46183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5" name="Google Shape;2595;p53"/>
            <p:cNvSpPr/>
            <p:nvPr/>
          </p:nvSpPr>
          <p:spPr>
            <a:xfrm>
              <a:off x="214242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6" name="Google Shape;2596;p53"/>
            <p:cNvSpPr/>
            <p:nvPr/>
          </p:nvSpPr>
          <p:spPr>
            <a:xfrm>
              <a:off x="2142425" y="43136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7" name="Google Shape;2597;p53"/>
            <p:cNvSpPr/>
            <p:nvPr/>
          </p:nvSpPr>
          <p:spPr>
            <a:xfrm>
              <a:off x="214242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8" name="Google Shape;2598;p53"/>
            <p:cNvSpPr/>
            <p:nvPr/>
          </p:nvSpPr>
          <p:spPr>
            <a:xfrm>
              <a:off x="2142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9" name="Google Shape;2599;p53"/>
            <p:cNvSpPr/>
            <p:nvPr/>
          </p:nvSpPr>
          <p:spPr>
            <a:xfrm>
              <a:off x="2142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0" name="Google Shape;2600;p53"/>
            <p:cNvSpPr/>
            <p:nvPr/>
          </p:nvSpPr>
          <p:spPr>
            <a:xfrm>
              <a:off x="2142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1" name="Google Shape;2601;p53"/>
            <p:cNvSpPr/>
            <p:nvPr/>
          </p:nvSpPr>
          <p:spPr>
            <a:xfrm>
              <a:off x="214242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2" name="Google Shape;2602;p53"/>
            <p:cNvSpPr/>
            <p:nvPr/>
          </p:nvSpPr>
          <p:spPr>
            <a:xfrm>
              <a:off x="214242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3" name="Google Shape;2603;p53"/>
            <p:cNvSpPr/>
            <p:nvPr/>
          </p:nvSpPr>
          <p:spPr>
            <a:xfrm>
              <a:off x="21424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4" name="Google Shape;2604;p53"/>
            <p:cNvSpPr/>
            <p:nvPr/>
          </p:nvSpPr>
          <p:spPr>
            <a:xfrm>
              <a:off x="214242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5" name="Google Shape;2605;p53"/>
            <p:cNvSpPr/>
            <p:nvPr/>
          </p:nvSpPr>
          <p:spPr>
            <a:xfrm>
              <a:off x="21424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6" name="Google Shape;2606;p53"/>
            <p:cNvSpPr/>
            <p:nvPr/>
          </p:nvSpPr>
          <p:spPr>
            <a:xfrm>
              <a:off x="214242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7" name="Google Shape;2607;p53"/>
            <p:cNvSpPr/>
            <p:nvPr/>
          </p:nvSpPr>
          <p:spPr>
            <a:xfrm>
              <a:off x="214242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8" name="Google Shape;2608;p53"/>
            <p:cNvSpPr/>
            <p:nvPr/>
          </p:nvSpPr>
          <p:spPr>
            <a:xfrm>
              <a:off x="214242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9" name="Google Shape;2609;p53"/>
            <p:cNvSpPr/>
            <p:nvPr/>
          </p:nvSpPr>
          <p:spPr>
            <a:xfrm>
              <a:off x="21424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0" name="Google Shape;2610;p53"/>
            <p:cNvSpPr/>
            <p:nvPr/>
          </p:nvSpPr>
          <p:spPr>
            <a:xfrm>
              <a:off x="21424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1" name="Google Shape;2611;p53"/>
            <p:cNvSpPr/>
            <p:nvPr/>
          </p:nvSpPr>
          <p:spPr>
            <a:xfrm>
              <a:off x="21424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2" name="Google Shape;2612;p53"/>
            <p:cNvSpPr/>
            <p:nvPr/>
          </p:nvSpPr>
          <p:spPr>
            <a:xfrm>
              <a:off x="21424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3" name="Google Shape;2613;p53"/>
            <p:cNvSpPr/>
            <p:nvPr/>
          </p:nvSpPr>
          <p:spPr>
            <a:xfrm>
              <a:off x="21424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4" name="Google Shape;2614;p53"/>
            <p:cNvSpPr/>
            <p:nvPr/>
          </p:nvSpPr>
          <p:spPr>
            <a:xfrm>
              <a:off x="21424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5" name="Google Shape;2615;p53"/>
            <p:cNvSpPr/>
            <p:nvPr/>
          </p:nvSpPr>
          <p:spPr>
            <a:xfrm>
              <a:off x="21424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6" name="Google Shape;2616;p53"/>
            <p:cNvSpPr/>
            <p:nvPr/>
          </p:nvSpPr>
          <p:spPr>
            <a:xfrm>
              <a:off x="21424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7" name="Google Shape;2617;p53"/>
            <p:cNvSpPr/>
            <p:nvPr/>
          </p:nvSpPr>
          <p:spPr>
            <a:xfrm>
              <a:off x="21424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8" name="Google Shape;2618;p53"/>
            <p:cNvSpPr/>
            <p:nvPr/>
          </p:nvSpPr>
          <p:spPr>
            <a:xfrm>
              <a:off x="21424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9" name="Google Shape;2619;p53"/>
            <p:cNvSpPr/>
            <p:nvPr/>
          </p:nvSpPr>
          <p:spPr>
            <a:xfrm>
              <a:off x="2142425" y="1038125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0" name="Google Shape;2620;p53"/>
            <p:cNvSpPr/>
            <p:nvPr/>
          </p:nvSpPr>
          <p:spPr>
            <a:xfrm>
              <a:off x="2066425" y="46183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1" name="Google Shape;2621;p53"/>
            <p:cNvSpPr/>
            <p:nvPr/>
          </p:nvSpPr>
          <p:spPr>
            <a:xfrm>
              <a:off x="2066425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2" name="Google Shape;2622;p53"/>
            <p:cNvSpPr/>
            <p:nvPr/>
          </p:nvSpPr>
          <p:spPr>
            <a:xfrm>
              <a:off x="2066425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3" name="Google Shape;2623;p53"/>
            <p:cNvSpPr/>
            <p:nvPr/>
          </p:nvSpPr>
          <p:spPr>
            <a:xfrm>
              <a:off x="2066425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4" name="Google Shape;2624;p53"/>
            <p:cNvSpPr/>
            <p:nvPr/>
          </p:nvSpPr>
          <p:spPr>
            <a:xfrm>
              <a:off x="2066425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5" name="Google Shape;2625;p53"/>
            <p:cNvSpPr/>
            <p:nvPr/>
          </p:nvSpPr>
          <p:spPr>
            <a:xfrm>
              <a:off x="206642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6" name="Google Shape;2626;p53"/>
            <p:cNvSpPr/>
            <p:nvPr/>
          </p:nvSpPr>
          <p:spPr>
            <a:xfrm>
              <a:off x="206642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7" name="Google Shape;2627;p53"/>
            <p:cNvSpPr/>
            <p:nvPr/>
          </p:nvSpPr>
          <p:spPr>
            <a:xfrm>
              <a:off x="20664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8" name="Google Shape;2628;p53"/>
            <p:cNvSpPr/>
            <p:nvPr/>
          </p:nvSpPr>
          <p:spPr>
            <a:xfrm>
              <a:off x="20664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9" name="Google Shape;2629;p53"/>
            <p:cNvSpPr/>
            <p:nvPr/>
          </p:nvSpPr>
          <p:spPr>
            <a:xfrm>
              <a:off x="20664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0" name="Google Shape;2630;p53"/>
            <p:cNvSpPr/>
            <p:nvPr/>
          </p:nvSpPr>
          <p:spPr>
            <a:xfrm>
              <a:off x="20664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1" name="Google Shape;2631;p53"/>
            <p:cNvSpPr/>
            <p:nvPr/>
          </p:nvSpPr>
          <p:spPr>
            <a:xfrm>
              <a:off x="2066275" y="3399500"/>
              <a:ext cx="62375" cy="53350"/>
            </a:xfrm>
            <a:custGeom>
              <a:avLst/>
              <a:gdLst/>
              <a:ahLst/>
              <a:cxnLst/>
              <a:rect l="l" t="t" r="r" b="b"/>
              <a:pathLst>
                <a:path w="2495" h="2134" extrusionOk="0">
                  <a:moveTo>
                    <a:pt x="1071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47"/>
                    <a:pt x="2014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2" name="Google Shape;2632;p53"/>
            <p:cNvSpPr/>
            <p:nvPr/>
          </p:nvSpPr>
          <p:spPr>
            <a:xfrm>
              <a:off x="2066275" y="332330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3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3" name="Google Shape;2633;p53"/>
            <p:cNvSpPr/>
            <p:nvPr/>
          </p:nvSpPr>
          <p:spPr>
            <a:xfrm>
              <a:off x="2066275" y="3247075"/>
              <a:ext cx="62375" cy="53450"/>
            </a:xfrm>
            <a:custGeom>
              <a:avLst/>
              <a:gdLst/>
              <a:ahLst/>
              <a:cxnLst/>
              <a:rect l="l" t="t" r="r" b="b"/>
              <a:pathLst>
                <a:path w="2495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3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4" name="Google Shape;2634;p53"/>
            <p:cNvSpPr/>
            <p:nvPr/>
          </p:nvSpPr>
          <p:spPr>
            <a:xfrm>
              <a:off x="20664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5" name="Google Shape;2635;p53"/>
            <p:cNvSpPr/>
            <p:nvPr/>
          </p:nvSpPr>
          <p:spPr>
            <a:xfrm>
              <a:off x="20664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6" name="Google Shape;2636;p53"/>
            <p:cNvSpPr/>
            <p:nvPr/>
          </p:nvSpPr>
          <p:spPr>
            <a:xfrm>
              <a:off x="20664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7" name="Google Shape;2637;p53"/>
            <p:cNvSpPr/>
            <p:nvPr/>
          </p:nvSpPr>
          <p:spPr>
            <a:xfrm>
              <a:off x="20664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8" name="Google Shape;2638;p53"/>
            <p:cNvSpPr/>
            <p:nvPr/>
          </p:nvSpPr>
          <p:spPr>
            <a:xfrm>
              <a:off x="20664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9" name="Google Shape;2639;p53"/>
            <p:cNvSpPr/>
            <p:nvPr/>
          </p:nvSpPr>
          <p:spPr>
            <a:xfrm>
              <a:off x="20664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0" name="Google Shape;2640;p53"/>
            <p:cNvSpPr/>
            <p:nvPr/>
          </p:nvSpPr>
          <p:spPr>
            <a:xfrm>
              <a:off x="20664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1" name="Google Shape;2641;p53"/>
            <p:cNvSpPr/>
            <p:nvPr/>
          </p:nvSpPr>
          <p:spPr>
            <a:xfrm>
              <a:off x="20664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2" name="Google Shape;2642;p53"/>
            <p:cNvSpPr/>
            <p:nvPr/>
          </p:nvSpPr>
          <p:spPr>
            <a:xfrm>
              <a:off x="20664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3" name="Google Shape;2643;p53"/>
            <p:cNvSpPr/>
            <p:nvPr/>
          </p:nvSpPr>
          <p:spPr>
            <a:xfrm>
              <a:off x="20664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4" name="Google Shape;2644;p53"/>
            <p:cNvSpPr/>
            <p:nvPr/>
          </p:nvSpPr>
          <p:spPr>
            <a:xfrm>
              <a:off x="20664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5" name="Google Shape;2645;p53"/>
            <p:cNvSpPr/>
            <p:nvPr/>
          </p:nvSpPr>
          <p:spPr>
            <a:xfrm>
              <a:off x="20664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6" name="Google Shape;2646;p53"/>
            <p:cNvSpPr/>
            <p:nvPr/>
          </p:nvSpPr>
          <p:spPr>
            <a:xfrm>
              <a:off x="20664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7" name="Google Shape;2647;p53"/>
            <p:cNvSpPr/>
            <p:nvPr/>
          </p:nvSpPr>
          <p:spPr>
            <a:xfrm>
              <a:off x="20664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8" name="Google Shape;2648;p53"/>
            <p:cNvSpPr/>
            <p:nvPr/>
          </p:nvSpPr>
          <p:spPr>
            <a:xfrm>
              <a:off x="1990200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9" name="Google Shape;2649;p53"/>
            <p:cNvSpPr/>
            <p:nvPr/>
          </p:nvSpPr>
          <p:spPr>
            <a:xfrm>
              <a:off x="1990200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0" name="Google Shape;2650;p53"/>
            <p:cNvSpPr/>
            <p:nvPr/>
          </p:nvSpPr>
          <p:spPr>
            <a:xfrm>
              <a:off x="199020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1" name="Google Shape;2651;p53"/>
            <p:cNvSpPr/>
            <p:nvPr/>
          </p:nvSpPr>
          <p:spPr>
            <a:xfrm>
              <a:off x="19902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2" name="Google Shape;2652;p53"/>
            <p:cNvSpPr/>
            <p:nvPr/>
          </p:nvSpPr>
          <p:spPr>
            <a:xfrm>
              <a:off x="19902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3" name="Google Shape;2653;p53"/>
            <p:cNvSpPr/>
            <p:nvPr/>
          </p:nvSpPr>
          <p:spPr>
            <a:xfrm>
              <a:off x="19902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4" name="Google Shape;2654;p53"/>
            <p:cNvSpPr/>
            <p:nvPr/>
          </p:nvSpPr>
          <p:spPr>
            <a:xfrm>
              <a:off x="19902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5" name="Google Shape;2655;p53"/>
            <p:cNvSpPr/>
            <p:nvPr/>
          </p:nvSpPr>
          <p:spPr>
            <a:xfrm>
              <a:off x="19900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6" name="Google Shape;2656;p53"/>
            <p:cNvSpPr/>
            <p:nvPr/>
          </p:nvSpPr>
          <p:spPr>
            <a:xfrm>
              <a:off x="199007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7" name="Google Shape;2657;p53"/>
            <p:cNvSpPr/>
            <p:nvPr/>
          </p:nvSpPr>
          <p:spPr>
            <a:xfrm>
              <a:off x="19902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8" name="Google Shape;2658;p53"/>
            <p:cNvSpPr/>
            <p:nvPr/>
          </p:nvSpPr>
          <p:spPr>
            <a:xfrm>
              <a:off x="19902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9" name="Google Shape;2659;p53"/>
            <p:cNvSpPr/>
            <p:nvPr/>
          </p:nvSpPr>
          <p:spPr>
            <a:xfrm>
              <a:off x="19902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0" name="Google Shape;2660;p53"/>
            <p:cNvSpPr/>
            <p:nvPr/>
          </p:nvSpPr>
          <p:spPr>
            <a:xfrm>
              <a:off x="19902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1" name="Google Shape;2661;p53"/>
            <p:cNvSpPr/>
            <p:nvPr/>
          </p:nvSpPr>
          <p:spPr>
            <a:xfrm>
              <a:off x="19902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2" name="Google Shape;2662;p53"/>
            <p:cNvSpPr/>
            <p:nvPr/>
          </p:nvSpPr>
          <p:spPr>
            <a:xfrm>
              <a:off x="19902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3" name="Google Shape;2663;p53"/>
            <p:cNvSpPr/>
            <p:nvPr/>
          </p:nvSpPr>
          <p:spPr>
            <a:xfrm>
              <a:off x="19902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4" name="Google Shape;2664;p53"/>
            <p:cNvSpPr/>
            <p:nvPr/>
          </p:nvSpPr>
          <p:spPr>
            <a:xfrm>
              <a:off x="19902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5" name="Google Shape;2665;p53"/>
            <p:cNvSpPr/>
            <p:nvPr/>
          </p:nvSpPr>
          <p:spPr>
            <a:xfrm>
              <a:off x="19902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6" name="Google Shape;2666;p53"/>
            <p:cNvSpPr/>
            <p:nvPr/>
          </p:nvSpPr>
          <p:spPr>
            <a:xfrm>
              <a:off x="19902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7" name="Google Shape;2667;p53"/>
            <p:cNvSpPr/>
            <p:nvPr/>
          </p:nvSpPr>
          <p:spPr>
            <a:xfrm>
              <a:off x="19902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8" name="Google Shape;2668;p53"/>
            <p:cNvSpPr/>
            <p:nvPr/>
          </p:nvSpPr>
          <p:spPr>
            <a:xfrm>
              <a:off x="19902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9" name="Google Shape;2669;p53"/>
            <p:cNvSpPr/>
            <p:nvPr/>
          </p:nvSpPr>
          <p:spPr>
            <a:xfrm>
              <a:off x="19902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0" name="Google Shape;2670;p53"/>
            <p:cNvSpPr/>
            <p:nvPr/>
          </p:nvSpPr>
          <p:spPr>
            <a:xfrm>
              <a:off x="19902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1" name="Google Shape;2671;p53"/>
            <p:cNvSpPr/>
            <p:nvPr/>
          </p:nvSpPr>
          <p:spPr>
            <a:xfrm>
              <a:off x="19902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2" name="Google Shape;2672;p53"/>
            <p:cNvSpPr/>
            <p:nvPr/>
          </p:nvSpPr>
          <p:spPr>
            <a:xfrm>
              <a:off x="19902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3" name="Google Shape;2673;p53"/>
            <p:cNvSpPr/>
            <p:nvPr/>
          </p:nvSpPr>
          <p:spPr>
            <a:xfrm>
              <a:off x="19902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4" name="Google Shape;2674;p53"/>
            <p:cNvSpPr/>
            <p:nvPr/>
          </p:nvSpPr>
          <p:spPr>
            <a:xfrm>
              <a:off x="19140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5" name="Google Shape;2675;p53"/>
            <p:cNvSpPr/>
            <p:nvPr/>
          </p:nvSpPr>
          <p:spPr>
            <a:xfrm>
              <a:off x="1914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6" name="Google Shape;2676;p53"/>
            <p:cNvSpPr/>
            <p:nvPr/>
          </p:nvSpPr>
          <p:spPr>
            <a:xfrm>
              <a:off x="19140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7" name="Google Shape;2677;p53"/>
            <p:cNvSpPr/>
            <p:nvPr/>
          </p:nvSpPr>
          <p:spPr>
            <a:xfrm>
              <a:off x="191400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8" name="Google Shape;2678;p53"/>
            <p:cNvSpPr/>
            <p:nvPr/>
          </p:nvSpPr>
          <p:spPr>
            <a:xfrm>
              <a:off x="19140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9" name="Google Shape;2679;p53"/>
            <p:cNvSpPr/>
            <p:nvPr/>
          </p:nvSpPr>
          <p:spPr>
            <a:xfrm>
              <a:off x="19140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0" name="Google Shape;2680;p53"/>
            <p:cNvSpPr/>
            <p:nvPr/>
          </p:nvSpPr>
          <p:spPr>
            <a:xfrm>
              <a:off x="19140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1" name="Google Shape;2681;p53"/>
            <p:cNvSpPr/>
            <p:nvPr/>
          </p:nvSpPr>
          <p:spPr>
            <a:xfrm>
              <a:off x="19140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2" name="Google Shape;2682;p53"/>
            <p:cNvSpPr/>
            <p:nvPr/>
          </p:nvSpPr>
          <p:spPr>
            <a:xfrm>
              <a:off x="19140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3" name="Google Shape;2683;p53"/>
            <p:cNvSpPr/>
            <p:nvPr/>
          </p:nvSpPr>
          <p:spPr>
            <a:xfrm>
              <a:off x="19140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4" name="Google Shape;2684;p53"/>
            <p:cNvSpPr/>
            <p:nvPr/>
          </p:nvSpPr>
          <p:spPr>
            <a:xfrm>
              <a:off x="19140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5" name="Google Shape;2685;p53"/>
            <p:cNvSpPr/>
            <p:nvPr/>
          </p:nvSpPr>
          <p:spPr>
            <a:xfrm>
              <a:off x="19140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6" name="Google Shape;2686;p53"/>
            <p:cNvSpPr/>
            <p:nvPr/>
          </p:nvSpPr>
          <p:spPr>
            <a:xfrm>
              <a:off x="19140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7" name="Google Shape;2687;p53"/>
            <p:cNvSpPr/>
            <p:nvPr/>
          </p:nvSpPr>
          <p:spPr>
            <a:xfrm>
              <a:off x="19140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8" name="Google Shape;2688;p53"/>
            <p:cNvSpPr/>
            <p:nvPr/>
          </p:nvSpPr>
          <p:spPr>
            <a:xfrm>
              <a:off x="1914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9" name="Google Shape;2689;p53"/>
            <p:cNvSpPr/>
            <p:nvPr/>
          </p:nvSpPr>
          <p:spPr>
            <a:xfrm>
              <a:off x="1914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0" name="Google Shape;2690;p53"/>
            <p:cNvSpPr/>
            <p:nvPr/>
          </p:nvSpPr>
          <p:spPr>
            <a:xfrm>
              <a:off x="19140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1" name="Google Shape;2691;p53"/>
            <p:cNvSpPr/>
            <p:nvPr/>
          </p:nvSpPr>
          <p:spPr>
            <a:xfrm>
              <a:off x="19140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2" name="Google Shape;2692;p53"/>
            <p:cNvSpPr/>
            <p:nvPr/>
          </p:nvSpPr>
          <p:spPr>
            <a:xfrm>
              <a:off x="18377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3" name="Google Shape;2693;p53"/>
            <p:cNvSpPr/>
            <p:nvPr/>
          </p:nvSpPr>
          <p:spPr>
            <a:xfrm>
              <a:off x="18377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4" name="Google Shape;2694;p53"/>
            <p:cNvSpPr/>
            <p:nvPr/>
          </p:nvSpPr>
          <p:spPr>
            <a:xfrm>
              <a:off x="18377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5" name="Google Shape;2695;p53"/>
            <p:cNvSpPr/>
            <p:nvPr/>
          </p:nvSpPr>
          <p:spPr>
            <a:xfrm>
              <a:off x="18377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6" name="Google Shape;2696;p53"/>
            <p:cNvSpPr/>
            <p:nvPr/>
          </p:nvSpPr>
          <p:spPr>
            <a:xfrm>
              <a:off x="18377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7" name="Google Shape;2697;p53"/>
            <p:cNvSpPr/>
            <p:nvPr/>
          </p:nvSpPr>
          <p:spPr>
            <a:xfrm>
              <a:off x="18377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8" name="Google Shape;2698;p53"/>
            <p:cNvSpPr/>
            <p:nvPr/>
          </p:nvSpPr>
          <p:spPr>
            <a:xfrm>
              <a:off x="18377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9" name="Google Shape;2699;p53"/>
            <p:cNvSpPr/>
            <p:nvPr/>
          </p:nvSpPr>
          <p:spPr>
            <a:xfrm>
              <a:off x="18377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0" name="Google Shape;2700;p53"/>
            <p:cNvSpPr/>
            <p:nvPr/>
          </p:nvSpPr>
          <p:spPr>
            <a:xfrm>
              <a:off x="18377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1" name="Google Shape;2701;p53"/>
            <p:cNvSpPr/>
            <p:nvPr/>
          </p:nvSpPr>
          <p:spPr>
            <a:xfrm>
              <a:off x="18377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2" name="Google Shape;2702;p53"/>
            <p:cNvSpPr/>
            <p:nvPr/>
          </p:nvSpPr>
          <p:spPr>
            <a:xfrm>
              <a:off x="18377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3" name="Google Shape;2703;p53"/>
            <p:cNvSpPr/>
            <p:nvPr/>
          </p:nvSpPr>
          <p:spPr>
            <a:xfrm>
              <a:off x="18377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4" name="Google Shape;2704;p53"/>
            <p:cNvSpPr/>
            <p:nvPr/>
          </p:nvSpPr>
          <p:spPr>
            <a:xfrm>
              <a:off x="18377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5" name="Google Shape;2705;p53"/>
            <p:cNvSpPr/>
            <p:nvPr/>
          </p:nvSpPr>
          <p:spPr>
            <a:xfrm>
              <a:off x="18377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6" name="Google Shape;2706;p53"/>
            <p:cNvSpPr/>
            <p:nvPr/>
          </p:nvSpPr>
          <p:spPr>
            <a:xfrm>
              <a:off x="18377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7" name="Google Shape;2707;p53"/>
            <p:cNvSpPr/>
            <p:nvPr/>
          </p:nvSpPr>
          <p:spPr>
            <a:xfrm>
              <a:off x="18377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8" name="Google Shape;2708;p53"/>
            <p:cNvSpPr/>
            <p:nvPr/>
          </p:nvSpPr>
          <p:spPr>
            <a:xfrm>
              <a:off x="18377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9" name="Google Shape;2709;p53"/>
            <p:cNvSpPr/>
            <p:nvPr/>
          </p:nvSpPr>
          <p:spPr>
            <a:xfrm>
              <a:off x="1837775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0" name="Google Shape;2710;p53"/>
            <p:cNvSpPr/>
            <p:nvPr/>
          </p:nvSpPr>
          <p:spPr>
            <a:xfrm>
              <a:off x="17617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1" name="Google Shape;2711;p53"/>
            <p:cNvSpPr/>
            <p:nvPr/>
          </p:nvSpPr>
          <p:spPr>
            <a:xfrm>
              <a:off x="17617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2" name="Google Shape;2712;p53"/>
            <p:cNvSpPr/>
            <p:nvPr/>
          </p:nvSpPr>
          <p:spPr>
            <a:xfrm>
              <a:off x="17617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3" name="Google Shape;2713;p53"/>
            <p:cNvSpPr/>
            <p:nvPr/>
          </p:nvSpPr>
          <p:spPr>
            <a:xfrm>
              <a:off x="17617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4" name="Google Shape;2714;p53"/>
            <p:cNvSpPr/>
            <p:nvPr/>
          </p:nvSpPr>
          <p:spPr>
            <a:xfrm>
              <a:off x="17617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5" name="Google Shape;2715;p53"/>
            <p:cNvSpPr/>
            <p:nvPr/>
          </p:nvSpPr>
          <p:spPr>
            <a:xfrm>
              <a:off x="17617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6" name="Google Shape;2716;p53"/>
            <p:cNvSpPr/>
            <p:nvPr/>
          </p:nvSpPr>
          <p:spPr>
            <a:xfrm>
              <a:off x="17617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7" name="Google Shape;2717;p53"/>
            <p:cNvSpPr/>
            <p:nvPr/>
          </p:nvSpPr>
          <p:spPr>
            <a:xfrm>
              <a:off x="17617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8" name="Google Shape;2718;p53"/>
            <p:cNvSpPr/>
            <p:nvPr/>
          </p:nvSpPr>
          <p:spPr>
            <a:xfrm>
              <a:off x="17617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9" name="Google Shape;2719;p53"/>
            <p:cNvSpPr/>
            <p:nvPr/>
          </p:nvSpPr>
          <p:spPr>
            <a:xfrm>
              <a:off x="17617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0" name="Google Shape;2720;p53"/>
            <p:cNvSpPr/>
            <p:nvPr/>
          </p:nvSpPr>
          <p:spPr>
            <a:xfrm>
              <a:off x="17617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1" name="Google Shape;2721;p53"/>
            <p:cNvSpPr/>
            <p:nvPr/>
          </p:nvSpPr>
          <p:spPr>
            <a:xfrm>
              <a:off x="17617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2" name="Google Shape;2722;p53"/>
            <p:cNvSpPr/>
            <p:nvPr/>
          </p:nvSpPr>
          <p:spPr>
            <a:xfrm>
              <a:off x="17617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3" name="Google Shape;2723;p53"/>
            <p:cNvSpPr/>
            <p:nvPr/>
          </p:nvSpPr>
          <p:spPr>
            <a:xfrm>
              <a:off x="17617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4" name="Google Shape;2724;p53"/>
            <p:cNvSpPr/>
            <p:nvPr/>
          </p:nvSpPr>
          <p:spPr>
            <a:xfrm>
              <a:off x="17617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5" name="Google Shape;2725;p53"/>
            <p:cNvSpPr/>
            <p:nvPr/>
          </p:nvSpPr>
          <p:spPr>
            <a:xfrm>
              <a:off x="17617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6" name="Google Shape;2726;p53"/>
            <p:cNvSpPr/>
            <p:nvPr/>
          </p:nvSpPr>
          <p:spPr>
            <a:xfrm>
              <a:off x="16855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7" name="Google Shape;2727;p53"/>
            <p:cNvSpPr/>
            <p:nvPr/>
          </p:nvSpPr>
          <p:spPr>
            <a:xfrm>
              <a:off x="16855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8" name="Google Shape;2728;p53"/>
            <p:cNvSpPr/>
            <p:nvPr/>
          </p:nvSpPr>
          <p:spPr>
            <a:xfrm>
              <a:off x="16855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9" name="Google Shape;2729;p53"/>
            <p:cNvSpPr/>
            <p:nvPr/>
          </p:nvSpPr>
          <p:spPr>
            <a:xfrm>
              <a:off x="1685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0" name="Google Shape;2730;p53"/>
            <p:cNvSpPr/>
            <p:nvPr/>
          </p:nvSpPr>
          <p:spPr>
            <a:xfrm>
              <a:off x="16855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1" name="Google Shape;2731;p53"/>
            <p:cNvSpPr/>
            <p:nvPr/>
          </p:nvSpPr>
          <p:spPr>
            <a:xfrm>
              <a:off x="1685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2" name="Google Shape;2732;p53"/>
            <p:cNvSpPr/>
            <p:nvPr/>
          </p:nvSpPr>
          <p:spPr>
            <a:xfrm>
              <a:off x="16855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3" name="Google Shape;2733;p53"/>
            <p:cNvSpPr/>
            <p:nvPr/>
          </p:nvSpPr>
          <p:spPr>
            <a:xfrm>
              <a:off x="168555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4" name="Google Shape;2734;p53"/>
            <p:cNvSpPr/>
            <p:nvPr/>
          </p:nvSpPr>
          <p:spPr>
            <a:xfrm>
              <a:off x="1685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5" name="Google Shape;2735;p53"/>
            <p:cNvSpPr/>
            <p:nvPr/>
          </p:nvSpPr>
          <p:spPr>
            <a:xfrm>
              <a:off x="1685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6" name="Google Shape;2736;p53"/>
            <p:cNvSpPr/>
            <p:nvPr/>
          </p:nvSpPr>
          <p:spPr>
            <a:xfrm>
              <a:off x="16855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7" name="Google Shape;2737;p53"/>
            <p:cNvSpPr/>
            <p:nvPr/>
          </p:nvSpPr>
          <p:spPr>
            <a:xfrm>
              <a:off x="1685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8" name="Google Shape;2738;p53"/>
            <p:cNvSpPr/>
            <p:nvPr/>
          </p:nvSpPr>
          <p:spPr>
            <a:xfrm>
              <a:off x="16855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9" name="Google Shape;2739;p53"/>
            <p:cNvSpPr/>
            <p:nvPr/>
          </p:nvSpPr>
          <p:spPr>
            <a:xfrm>
              <a:off x="1685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0" name="Google Shape;2740;p53"/>
            <p:cNvSpPr/>
            <p:nvPr/>
          </p:nvSpPr>
          <p:spPr>
            <a:xfrm>
              <a:off x="16855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1" name="Google Shape;2741;p53"/>
            <p:cNvSpPr/>
            <p:nvPr/>
          </p:nvSpPr>
          <p:spPr>
            <a:xfrm>
              <a:off x="16855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2" name="Google Shape;2742;p53"/>
            <p:cNvSpPr/>
            <p:nvPr/>
          </p:nvSpPr>
          <p:spPr>
            <a:xfrm>
              <a:off x="16093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3" name="Google Shape;2743;p53"/>
            <p:cNvSpPr/>
            <p:nvPr/>
          </p:nvSpPr>
          <p:spPr>
            <a:xfrm>
              <a:off x="16093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4" name="Google Shape;2744;p53"/>
            <p:cNvSpPr/>
            <p:nvPr/>
          </p:nvSpPr>
          <p:spPr>
            <a:xfrm>
              <a:off x="16093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5" name="Google Shape;2745;p53"/>
            <p:cNvSpPr/>
            <p:nvPr/>
          </p:nvSpPr>
          <p:spPr>
            <a:xfrm>
              <a:off x="16093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6" name="Google Shape;2746;p53"/>
            <p:cNvSpPr/>
            <p:nvPr/>
          </p:nvSpPr>
          <p:spPr>
            <a:xfrm>
              <a:off x="16093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7" name="Google Shape;2747;p53"/>
            <p:cNvSpPr/>
            <p:nvPr/>
          </p:nvSpPr>
          <p:spPr>
            <a:xfrm>
              <a:off x="16093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8" name="Google Shape;2748;p53"/>
            <p:cNvSpPr/>
            <p:nvPr/>
          </p:nvSpPr>
          <p:spPr>
            <a:xfrm>
              <a:off x="16093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9" name="Google Shape;2749;p53"/>
            <p:cNvSpPr/>
            <p:nvPr/>
          </p:nvSpPr>
          <p:spPr>
            <a:xfrm>
              <a:off x="16093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0" name="Google Shape;2750;p53"/>
            <p:cNvSpPr/>
            <p:nvPr/>
          </p:nvSpPr>
          <p:spPr>
            <a:xfrm>
              <a:off x="16093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1" name="Google Shape;2751;p53"/>
            <p:cNvSpPr/>
            <p:nvPr/>
          </p:nvSpPr>
          <p:spPr>
            <a:xfrm>
              <a:off x="16093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2" name="Google Shape;2752;p53"/>
            <p:cNvSpPr/>
            <p:nvPr/>
          </p:nvSpPr>
          <p:spPr>
            <a:xfrm>
              <a:off x="16093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3" name="Google Shape;2753;p53"/>
            <p:cNvSpPr/>
            <p:nvPr/>
          </p:nvSpPr>
          <p:spPr>
            <a:xfrm>
              <a:off x="16093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4" name="Google Shape;2754;p53"/>
            <p:cNvSpPr/>
            <p:nvPr/>
          </p:nvSpPr>
          <p:spPr>
            <a:xfrm>
              <a:off x="16093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5" name="Google Shape;2755;p53"/>
            <p:cNvSpPr/>
            <p:nvPr/>
          </p:nvSpPr>
          <p:spPr>
            <a:xfrm>
              <a:off x="16093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6" name="Google Shape;2756;p53"/>
            <p:cNvSpPr/>
            <p:nvPr/>
          </p:nvSpPr>
          <p:spPr>
            <a:xfrm>
              <a:off x="16093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7" name="Google Shape;2757;p53"/>
            <p:cNvSpPr/>
            <p:nvPr/>
          </p:nvSpPr>
          <p:spPr>
            <a:xfrm>
              <a:off x="16093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8" name="Google Shape;2758;p53"/>
            <p:cNvSpPr/>
            <p:nvPr/>
          </p:nvSpPr>
          <p:spPr>
            <a:xfrm>
              <a:off x="16093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9" name="Google Shape;2759;p53"/>
            <p:cNvSpPr/>
            <p:nvPr/>
          </p:nvSpPr>
          <p:spPr>
            <a:xfrm>
              <a:off x="16093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0" name="Google Shape;2760;p53"/>
            <p:cNvSpPr/>
            <p:nvPr/>
          </p:nvSpPr>
          <p:spPr>
            <a:xfrm>
              <a:off x="15331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1" name="Google Shape;2761;p53"/>
            <p:cNvSpPr/>
            <p:nvPr/>
          </p:nvSpPr>
          <p:spPr>
            <a:xfrm>
              <a:off x="15331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2" name="Google Shape;2762;p53"/>
            <p:cNvSpPr/>
            <p:nvPr/>
          </p:nvSpPr>
          <p:spPr>
            <a:xfrm>
              <a:off x="15331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3" name="Google Shape;2763;p53"/>
            <p:cNvSpPr/>
            <p:nvPr/>
          </p:nvSpPr>
          <p:spPr>
            <a:xfrm>
              <a:off x="15331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4" name="Google Shape;2764;p53"/>
            <p:cNvSpPr/>
            <p:nvPr/>
          </p:nvSpPr>
          <p:spPr>
            <a:xfrm>
              <a:off x="15331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5" name="Google Shape;2765;p53"/>
            <p:cNvSpPr/>
            <p:nvPr/>
          </p:nvSpPr>
          <p:spPr>
            <a:xfrm>
              <a:off x="15331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6" name="Google Shape;2766;p53"/>
            <p:cNvSpPr/>
            <p:nvPr/>
          </p:nvSpPr>
          <p:spPr>
            <a:xfrm>
              <a:off x="15331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7" name="Google Shape;2767;p53"/>
            <p:cNvSpPr/>
            <p:nvPr/>
          </p:nvSpPr>
          <p:spPr>
            <a:xfrm>
              <a:off x="15331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8" name="Google Shape;2768;p53"/>
            <p:cNvSpPr/>
            <p:nvPr/>
          </p:nvSpPr>
          <p:spPr>
            <a:xfrm>
              <a:off x="15331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9" name="Google Shape;2769;p53"/>
            <p:cNvSpPr/>
            <p:nvPr/>
          </p:nvSpPr>
          <p:spPr>
            <a:xfrm>
              <a:off x="15331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0" name="Google Shape;2770;p53"/>
            <p:cNvSpPr/>
            <p:nvPr/>
          </p:nvSpPr>
          <p:spPr>
            <a:xfrm>
              <a:off x="15331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1" name="Google Shape;2771;p53"/>
            <p:cNvSpPr/>
            <p:nvPr/>
          </p:nvSpPr>
          <p:spPr>
            <a:xfrm>
              <a:off x="15331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2" name="Google Shape;2772;p53"/>
            <p:cNvSpPr/>
            <p:nvPr/>
          </p:nvSpPr>
          <p:spPr>
            <a:xfrm>
              <a:off x="15331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3" name="Google Shape;2773;p53"/>
            <p:cNvSpPr/>
            <p:nvPr/>
          </p:nvSpPr>
          <p:spPr>
            <a:xfrm>
              <a:off x="15331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4" name="Google Shape;2774;p53"/>
            <p:cNvSpPr/>
            <p:nvPr/>
          </p:nvSpPr>
          <p:spPr>
            <a:xfrm>
              <a:off x="15331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5" name="Google Shape;2775;p53"/>
            <p:cNvSpPr/>
            <p:nvPr/>
          </p:nvSpPr>
          <p:spPr>
            <a:xfrm>
              <a:off x="15331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6" name="Google Shape;2776;p53"/>
            <p:cNvSpPr/>
            <p:nvPr/>
          </p:nvSpPr>
          <p:spPr>
            <a:xfrm>
              <a:off x="14569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7" name="Google Shape;2777;p53"/>
            <p:cNvSpPr/>
            <p:nvPr/>
          </p:nvSpPr>
          <p:spPr>
            <a:xfrm>
              <a:off x="14569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8" name="Google Shape;2778;p53"/>
            <p:cNvSpPr/>
            <p:nvPr/>
          </p:nvSpPr>
          <p:spPr>
            <a:xfrm>
              <a:off x="14569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9" name="Google Shape;2779;p53"/>
            <p:cNvSpPr/>
            <p:nvPr/>
          </p:nvSpPr>
          <p:spPr>
            <a:xfrm>
              <a:off x="14569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0" name="Google Shape;2780;p53"/>
            <p:cNvSpPr/>
            <p:nvPr/>
          </p:nvSpPr>
          <p:spPr>
            <a:xfrm>
              <a:off x="14569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1" name="Google Shape;2781;p53"/>
            <p:cNvSpPr/>
            <p:nvPr/>
          </p:nvSpPr>
          <p:spPr>
            <a:xfrm>
              <a:off x="14569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2" name="Google Shape;2782;p53"/>
            <p:cNvSpPr/>
            <p:nvPr/>
          </p:nvSpPr>
          <p:spPr>
            <a:xfrm>
              <a:off x="14569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3" name="Google Shape;2783;p53"/>
            <p:cNvSpPr/>
            <p:nvPr/>
          </p:nvSpPr>
          <p:spPr>
            <a:xfrm>
              <a:off x="14569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4" name="Google Shape;2784;p53"/>
            <p:cNvSpPr/>
            <p:nvPr/>
          </p:nvSpPr>
          <p:spPr>
            <a:xfrm>
              <a:off x="145692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5" name="Google Shape;2785;p53"/>
            <p:cNvSpPr/>
            <p:nvPr/>
          </p:nvSpPr>
          <p:spPr>
            <a:xfrm>
              <a:off x="14569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6" name="Google Shape;2786;p53"/>
            <p:cNvSpPr/>
            <p:nvPr/>
          </p:nvSpPr>
          <p:spPr>
            <a:xfrm>
              <a:off x="14569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7" name="Google Shape;2787;p53"/>
            <p:cNvSpPr/>
            <p:nvPr/>
          </p:nvSpPr>
          <p:spPr>
            <a:xfrm>
              <a:off x="14569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8" name="Google Shape;2788;p53"/>
            <p:cNvSpPr/>
            <p:nvPr/>
          </p:nvSpPr>
          <p:spPr>
            <a:xfrm>
              <a:off x="14569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9" name="Google Shape;2789;p53"/>
            <p:cNvSpPr/>
            <p:nvPr/>
          </p:nvSpPr>
          <p:spPr>
            <a:xfrm>
              <a:off x="14569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0" name="Google Shape;2790;p53"/>
            <p:cNvSpPr/>
            <p:nvPr/>
          </p:nvSpPr>
          <p:spPr>
            <a:xfrm>
              <a:off x="14569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1" name="Google Shape;2791;p53"/>
            <p:cNvSpPr/>
            <p:nvPr/>
          </p:nvSpPr>
          <p:spPr>
            <a:xfrm>
              <a:off x="14569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2" name="Google Shape;2792;p53"/>
            <p:cNvSpPr/>
            <p:nvPr/>
          </p:nvSpPr>
          <p:spPr>
            <a:xfrm>
              <a:off x="14569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3" name="Google Shape;2793;p53"/>
            <p:cNvSpPr/>
            <p:nvPr/>
          </p:nvSpPr>
          <p:spPr>
            <a:xfrm>
              <a:off x="14569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4" name="Google Shape;2794;p53"/>
            <p:cNvSpPr/>
            <p:nvPr/>
          </p:nvSpPr>
          <p:spPr>
            <a:xfrm>
              <a:off x="14569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5" name="Google Shape;2795;p53"/>
            <p:cNvSpPr/>
            <p:nvPr/>
          </p:nvSpPr>
          <p:spPr>
            <a:xfrm>
              <a:off x="13809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6" name="Google Shape;2796;p53"/>
            <p:cNvSpPr/>
            <p:nvPr/>
          </p:nvSpPr>
          <p:spPr>
            <a:xfrm>
              <a:off x="13809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7" name="Google Shape;2797;p53"/>
            <p:cNvSpPr/>
            <p:nvPr/>
          </p:nvSpPr>
          <p:spPr>
            <a:xfrm>
              <a:off x="1380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8" name="Google Shape;2798;p53"/>
            <p:cNvSpPr/>
            <p:nvPr/>
          </p:nvSpPr>
          <p:spPr>
            <a:xfrm>
              <a:off x="1380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9" name="Google Shape;2799;p53"/>
            <p:cNvSpPr/>
            <p:nvPr/>
          </p:nvSpPr>
          <p:spPr>
            <a:xfrm>
              <a:off x="1380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0" name="Google Shape;2800;p53"/>
            <p:cNvSpPr/>
            <p:nvPr/>
          </p:nvSpPr>
          <p:spPr>
            <a:xfrm>
              <a:off x="1380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1" name="Google Shape;2801;p53"/>
            <p:cNvSpPr/>
            <p:nvPr/>
          </p:nvSpPr>
          <p:spPr>
            <a:xfrm>
              <a:off x="1380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2" name="Google Shape;2802;p53"/>
            <p:cNvSpPr/>
            <p:nvPr/>
          </p:nvSpPr>
          <p:spPr>
            <a:xfrm>
              <a:off x="1380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3" name="Google Shape;2803;p53"/>
            <p:cNvSpPr/>
            <p:nvPr/>
          </p:nvSpPr>
          <p:spPr>
            <a:xfrm>
              <a:off x="1380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4" name="Google Shape;2804;p53"/>
            <p:cNvSpPr/>
            <p:nvPr/>
          </p:nvSpPr>
          <p:spPr>
            <a:xfrm>
              <a:off x="1380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5" name="Google Shape;2805;p53"/>
            <p:cNvSpPr/>
            <p:nvPr/>
          </p:nvSpPr>
          <p:spPr>
            <a:xfrm>
              <a:off x="1380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6" name="Google Shape;2806;p53"/>
            <p:cNvSpPr/>
            <p:nvPr/>
          </p:nvSpPr>
          <p:spPr>
            <a:xfrm>
              <a:off x="1380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7" name="Google Shape;2807;p53"/>
            <p:cNvSpPr/>
            <p:nvPr/>
          </p:nvSpPr>
          <p:spPr>
            <a:xfrm>
              <a:off x="13809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8" name="Google Shape;2808;p53"/>
            <p:cNvSpPr/>
            <p:nvPr/>
          </p:nvSpPr>
          <p:spPr>
            <a:xfrm>
              <a:off x="1380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9" name="Google Shape;2809;p53"/>
            <p:cNvSpPr/>
            <p:nvPr/>
          </p:nvSpPr>
          <p:spPr>
            <a:xfrm>
              <a:off x="1380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0" name="Google Shape;2810;p53"/>
            <p:cNvSpPr/>
            <p:nvPr/>
          </p:nvSpPr>
          <p:spPr>
            <a:xfrm>
              <a:off x="1380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1" name="Google Shape;2811;p53"/>
            <p:cNvSpPr/>
            <p:nvPr/>
          </p:nvSpPr>
          <p:spPr>
            <a:xfrm>
              <a:off x="1380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2" name="Google Shape;2812;p53"/>
            <p:cNvSpPr/>
            <p:nvPr/>
          </p:nvSpPr>
          <p:spPr>
            <a:xfrm>
              <a:off x="1380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3" name="Google Shape;2813;p53"/>
            <p:cNvSpPr/>
            <p:nvPr/>
          </p:nvSpPr>
          <p:spPr>
            <a:xfrm>
              <a:off x="13047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4" name="Google Shape;2814;p53"/>
            <p:cNvSpPr/>
            <p:nvPr/>
          </p:nvSpPr>
          <p:spPr>
            <a:xfrm>
              <a:off x="13047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5" name="Google Shape;2815;p53"/>
            <p:cNvSpPr/>
            <p:nvPr/>
          </p:nvSpPr>
          <p:spPr>
            <a:xfrm>
              <a:off x="130470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6" name="Google Shape;2816;p53"/>
            <p:cNvSpPr/>
            <p:nvPr/>
          </p:nvSpPr>
          <p:spPr>
            <a:xfrm>
              <a:off x="13047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7" name="Google Shape;2817;p53"/>
            <p:cNvSpPr/>
            <p:nvPr/>
          </p:nvSpPr>
          <p:spPr>
            <a:xfrm>
              <a:off x="13047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8" name="Google Shape;2818;p53"/>
            <p:cNvSpPr/>
            <p:nvPr/>
          </p:nvSpPr>
          <p:spPr>
            <a:xfrm>
              <a:off x="13047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9" name="Google Shape;2819;p53"/>
            <p:cNvSpPr/>
            <p:nvPr/>
          </p:nvSpPr>
          <p:spPr>
            <a:xfrm>
              <a:off x="13047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0" name="Google Shape;2820;p53"/>
            <p:cNvSpPr/>
            <p:nvPr/>
          </p:nvSpPr>
          <p:spPr>
            <a:xfrm>
              <a:off x="13047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1" name="Google Shape;2821;p53"/>
            <p:cNvSpPr/>
            <p:nvPr/>
          </p:nvSpPr>
          <p:spPr>
            <a:xfrm>
              <a:off x="13047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2" name="Google Shape;2822;p53"/>
            <p:cNvSpPr/>
            <p:nvPr/>
          </p:nvSpPr>
          <p:spPr>
            <a:xfrm>
              <a:off x="13047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3" name="Google Shape;2823;p53"/>
            <p:cNvSpPr/>
            <p:nvPr/>
          </p:nvSpPr>
          <p:spPr>
            <a:xfrm>
              <a:off x="13047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4" name="Google Shape;2824;p53"/>
            <p:cNvSpPr/>
            <p:nvPr/>
          </p:nvSpPr>
          <p:spPr>
            <a:xfrm>
              <a:off x="13047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5" name="Google Shape;2825;p53"/>
            <p:cNvSpPr/>
            <p:nvPr/>
          </p:nvSpPr>
          <p:spPr>
            <a:xfrm>
              <a:off x="13047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6" name="Google Shape;2826;p53"/>
            <p:cNvSpPr/>
            <p:nvPr/>
          </p:nvSpPr>
          <p:spPr>
            <a:xfrm>
              <a:off x="13047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7" name="Google Shape;2827;p53"/>
            <p:cNvSpPr/>
            <p:nvPr/>
          </p:nvSpPr>
          <p:spPr>
            <a:xfrm>
              <a:off x="13047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8" name="Google Shape;2828;p53"/>
            <p:cNvSpPr/>
            <p:nvPr/>
          </p:nvSpPr>
          <p:spPr>
            <a:xfrm>
              <a:off x="13047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9" name="Google Shape;2829;p53"/>
            <p:cNvSpPr/>
            <p:nvPr/>
          </p:nvSpPr>
          <p:spPr>
            <a:xfrm>
              <a:off x="130470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0" name="Google Shape;2830;p53"/>
            <p:cNvSpPr/>
            <p:nvPr/>
          </p:nvSpPr>
          <p:spPr>
            <a:xfrm>
              <a:off x="12284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1" name="Google Shape;2831;p53"/>
            <p:cNvSpPr/>
            <p:nvPr/>
          </p:nvSpPr>
          <p:spPr>
            <a:xfrm>
              <a:off x="12284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2" name="Google Shape;2832;p53"/>
            <p:cNvSpPr/>
            <p:nvPr/>
          </p:nvSpPr>
          <p:spPr>
            <a:xfrm>
              <a:off x="12284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3" name="Google Shape;2833;p53"/>
            <p:cNvSpPr/>
            <p:nvPr/>
          </p:nvSpPr>
          <p:spPr>
            <a:xfrm>
              <a:off x="1228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4" name="Google Shape;2834;p53"/>
            <p:cNvSpPr/>
            <p:nvPr/>
          </p:nvSpPr>
          <p:spPr>
            <a:xfrm>
              <a:off x="1228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5" name="Google Shape;2835;p53"/>
            <p:cNvSpPr/>
            <p:nvPr/>
          </p:nvSpPr>
          <p:spPr>
            <a:xfrm>
              <a:off x="1228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6" name="Google Shape;2836;p53"/>
            <p:cNvSpPr/>
            <p:nvPr/>
          </p:nvSpPr>
          <p:spPr>
            <a:xfrm>
              <a:off x="122847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7" name="Google Shape;2837;p53"/>
            <p:cNvSpPr/>
            <p:nvPr/>
          </p:nvSpPr>
          <p:spPr>
            <a:xfrm>
              <a:off x="1228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8" name="Google Shape;2838;p53"/>
            <p:cNvSpPr/>
            <p:nvPr/>
          </p:nvSpPr>
          <p:spPr>
            <a:xfrm>
              <a:off x="1228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9" name="Google Shape;2839;p53"/>
            <p:cNvSpPr/>
            <p:nvPr/>
          </p:nvSpPr>
          <p:spPr>
            <a:xfrm>
              <a:off x="1228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0" name="Google Shape;2840;p53"/>
            <p:cNvSpPr/>
            <p:nvPr/>
          </p:nvSpPr>
          <p:spPr>
            <a:xfrm>
              <a:off x="1228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1" name="Google Shape;2841;p53"/>
            <p:cNvSpPr/>
            <p:nvPr/>
          </p:nvSpPr>
          <p:spPr>
            <a:xfrm>
              <a:off x="1228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2" name="Google Shape;2842;p53"/>
            <p:cNvSpPr/>
            <p:nvPr/>
          </p:nvSpPr>
          <p:spPr>
            <a:xfrm>
              <a:off x="1228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3" name="Google Shape;2843;p53"/>
            <p:cNvSpPr/>
            <p:nvPr/>
          </p:nvSpPr>
          <p:spPr>
            <a:xfrm>
              <a:off x="1228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4" name="Google Shape;2844;p53"/>
            <p:cNvSpPr/>
            <p:nvPr/>
          </p:nvSpPr>
          <p:spPr>
            <a:xfrm>
              <a:off x="1228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5" name="Google Shape;2845;p53"/>
            <p:cNvSpPr/>
            <p:nvPr/>
          </p:nvSpPr>
          <p:spPr>
            <a:xfrm>
              <a:off x="1228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6" name="Google Shape;2846;p53"/>
            <p:cNvSpPr/>
            <p:nvPr/>
          </p:nvSpPr>
          <p:spPr>
            <a:xfrm>
              <a:off x="1228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7" name="Google Shape;2847;p53"/>
            <p:cNvSpPr/>
            <p:nvPr/>
          </p:nvSpPr>
          <p:spPr>
            <a:xfrm>
              <a:off x="12284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8" name="Google Shape;2848;p53"/>
            <p:cNvSpPr/>
            <p:nvPr/>
          </p:nvSpPr>
          <p:spPr>
            <a:xfrm>
              <a:off x="1152275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9" name="Google Shape;2849;p53"/>
            <p:cNvSpPr/>
            <p:nvPr/>
          </p:nvSpPr>
          <p:spPr>
            <a:xfrm>
              <a:off x="1152275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0" name="Google Shape;2850;p53"/>
            <p:cNvSpPr/>
            <p:nvPr/>
          </p:nvSpPr>
          <p:spPr>
            <a:xfrm>
              <a:off x="1152275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1" name="Google Shape;2851;p53"/>
            <p:cNvSpPr/>
            <p:nvPr/>
          </p:nvSpPr>
          <p:spPr>
            <a:xfrm>
              <a:off x="1152275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2" name="Google Shape;2852;p53"/>
            <p:cNvSpPr/>
            <p:nvPr/>
          </p:nvSpPr>
          <p:spPr>
            <a:xfrm>
              <a:off x="11522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3" name="Google Shape;2853;p53"/>
            <p:cNvSpPr/>
            <p:nvPr/>
          </p:nvSpPr>
          <p:spPr>
            <a:xfrm>
              <a:off x="1152275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4" name="Google Shape;2854;p53"/>
            <p:cNvSpPr/>
            <p:nvPr/>
          </p:nvSpPr>
          <p:spPr>
            <a:xfrm>
              <a:off x="1152275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5" name="Google Shape;2855;p53"/>
            <p:cNvSpPr/>
            <p:nvPr/>
          </p:nvSpPr>
          <p:spPr>
            <a:xfrm>
              <a:off x="1152275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6" name="Google Shape;2856;p53"/>
            <p:cNvSpPr/>
            <p:nvPr/>
          </p:nvSpPr>
          <p:spPr>
            <a:xfrm>
              <a:off x="1152275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7" name="Google Shape;2857;p53"/>
            <p:cNvSpPr/>
            <p:nvPr/>
          </p:nvSpPr>
          <p:spPr>
            <a:xfrm>
              <a:off x="1152275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8" name="Google Shape;2858;p53"/>
            <p:cNvSpPr/>
            <p:nvPr/>
          </p:nvSpPr>
          <p:spPr>
            <a:xfrm>
              <a:off x="11522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9" name="Google Shape;2859;p53"/>
            <p:cNvSpPr/>
            <p:nvPr/>
          </p:nvSpPr>
          <p:spPr>
            <a:xfrm>
              <a:off x="11522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0" name="Google Shape;2860;p53"/>
            <p:cNvSpPr/>
            <p:nvPr/>
          </p:nvSpPr>
          <p:spPr>
            <a:xfrm>
              <a:off x="11522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1" name="Google Shape;2861;p53"/>
            <p:cNvSpPr/>
            <p:nvPr/>
          </p:nvSpPr>
          <p:spPr>
            <a:xfrm>
              <a:off x="11522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2" name="Google Shape;2862;p53"/>
            <p:cNvSpPr/>
            <p:nvPr/>
          </p:nvSpPr>
          <p:spPr>
            <a:xfrm>
              <a:off x="1152275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3" name="Google Shape;2863;p53"/>
            <p:cNvSpPr/>
            <p:nvPr/>
          </p:nvSpPr>
          <p:spPr>
            <a:xfrm>
              <a:off x="107605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4" name="Google Shape;2864;p53"/>
            <p:cNvSpPr/>
            <p:nvPr/>
          </p:nvSpPr>
          <p:spPr>
            <a:xfrm>
              <a:off x="10760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5" name="Google Shape;2865;p53"/>
            <p:cNvSpPr/>
            <p:nvPr/>
          </p:nvSpPr>
          <p:spPr>
            <a:xfrm>
              <a:off x="10760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6" name="Google Shape;2866;p53"/>
            <p:cNvSpPr/>
            <p:nvPr/>
          </p:nvSpPr>
          <p:spPr>
            <a:xfrm>
              <a:off x="10760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7" name="Google Shape;2867;p53"/>
            <p:cNvSpPr/>
            <p:nvPr/>
          </p:nvSpPr>
          <p:spPr>
            <a:xfrm>
              <a:off x="10760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8" name="Google Shape;2868;p53"/>
            <p:cNvSpPr/>
            <p:nvPr/>
          </p:nvSpPr>
          <p:spPr>
            <a:xfrm>
              <a:off x="10760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9" name="Google Shape;2869;p53"/>
            <p:cNvSpPr/>
            <p:nvPr/>
          </p:nvSpPr>
          <p:spPr>
            <a:xfrm>
              <a:off x="10760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0" name="Google Shape;2870;p53"/>
            <p:cNvSpPr/>
            <p:nvPr/>
          </p:nvSpPr>
          <p:spPr>
            <a:xfrm>
              <a:off x="10760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1" name="Google Shape;2871;p53"/>
            <p:cNvSpPr/>
            <p:nvPr/>
          </p:nvSpPr>
          <p:spPr>
            <a:xfrm>
              <a:off x="10760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2" name="Google Shape;2872;p53"/>
            <p:cNvSpPr/>
            <p:nvPr/>
          </p:nvSpPr>
          <p:spPr>
            <a:xfrm>
              <a:off x="10760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3" name="Google Shape;2873;p53"/>
            <p:cNvSpPr/>
            <p:nvPr/>
          </p:nvSpPr>
          <p:spPr>
            <a:xfrm>
              <a:off x="10760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4" name="Google Shape;2874;p53"/>
            <p:cNvSpPr/>
            <p:nvPr/>
          </p:nvSpPr>
          <p:spPr>
            <a:xfrm>
              <a:off x="10760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5" name="Google Shape;2875;p53"/>
            <p:cNvSpPr/>
            <p:nvPr/>
          </p:nvSpPr>
          <p:spPr>
            <a:xfrm>
              <a:off x="10760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6" name="Google Shape;2876;p53"/>
            <p:cNvSpPr/>
            <p:nvPr/>
          </p:nvSpPr>
          <p:spPr>
            <a:xfrm>
              <a:off x="10760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7" name="Google Shape;2877;p53"/>
            <p:cNvSpPr/>
            <p:nvPr/>
          </p:nvSpPr>
          <p:spPr>
            <a:xfrm>
              <a:off x="10760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6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8" name="Google Shape;2878;p53"/>
            <p:cNvSpPr/>
            <p:nvPr/>
          </p:nvSpPr>
          <p:spPr>
            <a:xfrm>
              <a:off x="1000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9" name="Google Shape;2879;p53"/>
            <p:cNvSpPr/>
            <p:nvPr/>
          </p:nvSpPr>
          <p:spPr>
            <a:xfrm>
              <a:off x="1000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0" name="Google Shape;2880;p53"/>
            <p:cNvSpPr/>
            <p:nvPr/>
          </p:nvSpPr>
          <p:spPr>
            <a:xfrm>
              <a:off x="1000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1" name="Google Shape;2881;p53"/>
            <p:cNvSpPr/>
            <p:nvPr/>
          </p:nvSpPr>
          <p:spPr>
            <a:xfrm>
              <a:off x="10000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2" name="Google Shape;2882;p53"/>
            <p:cNvSpPr/>
            <p:nvPr/>
          </p:nvSpPr>
          <p:spPr>
            <a:xfrm>
              <a:off x="1000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3" name="Google Shape;2883;p53"/>
            <p:cNvSpPr/>
            <p:nvPr/>
          </p:nvSpPr>
          <p:spPr>
            <a:xfrm>
              <a:off x="1000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4" name="Google Shape;2884;p53"/>
            <p:cNvSpPr/>
            <p:nvPr/>
          </p:nvSpPr>
          <p:spPr>
            <a:xfrm>
              <a:off x="1000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5" name="Google Shape;2885;p53"/>
            <p:cNvSpPr/>
            <p:nvPr/>
          </p:nvSpPr>
          <p:spPr>
            <a:xfrm>
              <a:off x="1000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2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6" name="Google Shape;2886;p53"/>
            <p:cNvSpPr/>
            <p:nvPr/>
          </p:nvSpPr>
          <p:spPr>
            <a:xfrm>
              <a:off x="10000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7" name="Google Shape;2887;p53"/>
            <p:cNvSpPr/>
            <p:nvPr/>
          </p:nvSpPr>
          <p:spPr>
            <a:xfrm>
              <a:off x="923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8" name="Google Shape;2888;p53"/>
            <p:cNvSpPr/>
            <p:nvPr/>
          </p:nvSpPr>
          <p:spPr>
            <a:xfrm>
              <a:off x="923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9" name="Google Shape;2889;p53"/>
            <p:cNvSpPr/>
            <p:nvPr/>
          </p:nvSpPr>
          <p:spPr>
            <a:xfrm>
              <a:off x="923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0" name="Google Shape;2890;p53"/>
            <p:cNvSpPr/>
            <p:nvPr/>
          </p:nvSpPr>
          <p:spPr>
            <a:xfrm>
              <a:off x="923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1" name="Google Shape;2891;p53"/>
            <p:cNvSpPr/>
            <p:nvPr/>
          </p:nvSpPr>
          <p:spPr>
            <a:xfrm>
              <a:off x="923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2" name="Google Shape;2892;p53"/>
            <p:cNvSpPr/>
            <p:nvPr/>
          </p:nvSpPr>
          <p:spPr>
            <a:xfrm>
              <a:off x="923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3" name="Google Shape;2893;p53"/>
            <p:cNvSpPr/>
            <p:nvPr/>
          </p:nvSpPr>
          <p:spPr>
            <a:xfrm>
              <a:off x="923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4" name="Google Shape;2894;p53"/>
            <p:cNvSpPr/>
            <p:nvPr/>
          </p:nvSpPr>
          <p:spPr>
            <a:xfrm>
              <a:off x="847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5" name="Google Shape;2895;p53"/>
            <p:cNvSpPr/>
            <p:nvPr/>
          </p:nvSpPr>
          <p:spPr>
            <a:xfrm>
              <a:off x="8476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6" name="Google Shape;2896;p53"/>
            <p:cNvSpPr/>
            <p:nvPr/>
          </p:nvSpPr>
          <p:spPr>
            <a:xfrm>
              <a:off x="847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7" name="Google Shape;2897;p53"/>
            <p:cNvSpPr/>
            <p:nvPr/>
          </p:nvSpPr>
          <p:spPr>
            <a:xfrm>
              <a:off x="847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8" name="Google Shape;2898;p53"/>
            <p:cNvSpPr/>
            <p:nvPr/>
          </p:nvSpPr>
          <p:spPr>
            <a:xfrm>
              <a:off x="847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9" name="Google Shape;2899;p53"/>
            <p:cNvSpPr/>
            <p:nvPr/>
          </p:nvSpPr>
          <p:spPr>
            <a:xfrm>
              <a:off x="847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0" name="Google Shape;2900;p53"/>
            <p:cNvSpPr/>
            <p:nvPr/>
          </p:nvSpPr>
          <p:spPr>
            <a:xfrm>
              <a:off x="7714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1" name="Google Shape;2901;p53"/>
            <p:cNvSpPr/>
            <p:nvPr/>
          </p:nvSpPr>
          <p:spPr>
            <a:xfrm>
              <a:off x="7714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2" name="Google Shape;2902;p53"/>
            <p:cNvSpPr/>
            <p:nvPr/>
          </p:nvSpPr>
          <p:spPr>
            <a:xfrm>
              <a:off x="7714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3" name="Google Shape;2903;p53"/>
            <p:cNvSpPr/>
            <p:nvPr/>
          </p:nvSpPr>
          <p:spPr>
            <a:xfrm>
              <a:off x="7714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4" name="Google Shape;2904;p53"/>
            <p:cNvSpPr/>
            <p:nvPr/>
          </p:nvSpPr>
          <p:spPr>
            <a:xfrm>
              <a:off x="6952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5" name="Google Shape;2905;p53"/>
            <p:cNvSpPr/>
            <p:nvPr/>
          </p:nvSpPr>
          <p:spPr>
            <a:xfrm>
              <a:off x="6952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6" name="Google Shape;2906;p53"/>
            <p:cNvSpPr/>
            <p:nvPr/>
          </p:nvSpPr>
          <p:spPr>
            <a:xfrm>
              <a:off x="6952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7" name="Google Shape;2907;p53"/>
            <p:cNvSpPr/>
            <p:nvPr/>
          </p:nvSpPr>
          <p:spPr>
            <a:xfrm>
              <a:off x="6952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8" name="Google Shape;2908;p53"/>
            <p:cNvSpPr/>
            <p:nvPr/>
          </p:nvSpPr>
          <p:spPr>
            <a:xfrm>
              <a:off x="6189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9" name="Google Shape;2909;p53"/>
            <p:cNvSpPr/>
            <p:nvPr/>
          </p:nvSpPr>
          <p:spPr>
            <a:xfrm>
              <a:off x="6189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0" name="Google Shape;2910;p53"/>
            <p:cNvSpPr/>
            <p:nvPr/>
          </p:nvSpPr>
          <p:spPr>
            <a:xfrm>
              <a:off x="6189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1" name="Google Shape;2911;p53"/>
            <p:cNvSpPr/>
            <p:nvPr/>
          </p:nvSpPr>
          <p:spPr>
            <a:xfrm>
              <a:off x="6189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2" name="Google Shape;2912;p53"/>
            <p:cNvSpPr/>
            <p:nvPr/>
          </p:nvSpPr>
          <p:spPr>
            <a:xfrm>
              <a:off x="5427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3" name="Google Shape;2913;p53"/>
            <p:cNvSpPr/>
            <p:nvPr/>
          </p:nvSpPr>
          <p:spPr>
            <a:xfrm>
              <a:off x="5427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4" name="Google Shape;2914;p53"/>
            <p:cNvSpPr/>
            <p:nvPr/>
          </p:nvSpPr>
          <p:spPr>
            <a:xfrm>
              <a:off x="5427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5" name="Google Shape;2915;p53"/>
            <p:cNvSpPr/>
            <p:nvPr/>
          </p:nvSpPr>
          <p:spPr>
            <a:xfrm>
              <a:off x="5427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6" name="Google Shape;2916;p53"/>
            <p:cNvSpPr/>
            <p:nvPr/>
          </p:nvSpPr>
          <p:spPr>
            <a:xfrm>
              <a:off x="4665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7" name="Google Shape;2917;p53"/>
            <p:cNvSpPr/>
            <p:nvPr/>
          </p:nvSpPr>
          <p:spPr>
            <a:xfrm>
              <a:off x="4665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8" name="Google Shape;2918;p53"/>
            <p:cNvSpPr/>
            <p:nvPr/>
          </p:nvSpPr>
          <p:spPr>
            <a:xfrm>
              <a:off x="4665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9" name="Google Shape;2919;p53"/>
            <p:cNvSpPr/>
            <p:nvPr/>
          </p:nvSpPr>
          <p:spPr>
            <a:xfrm>
              <a:off x="4665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0" name="Google Shape;2920;p53"/>
            <p:cNvSpPr/>
            <p:nvPr/>
          </p:nvSpPr>
          <p:spPr>
            <a:xfrm>
              <a:off x="390550" y="187605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1" name="Google Shape;2921;p53"/>
            <p:cNvSpPr/>
            <p:nvPr/>
          </p:nvSpPr>
          <p:spPr>
            <a:xfrm>
              <a:off x="390550" y="17998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1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3" y="1150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2" name="Google Shape;2922;p53"/>
            <p:cNvSpPr/>
            <p:nvPr/>
          </p:nvSpPr>
          <p:spPr>
            <a:xfrm>
              <a:off x="3905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39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3" name="Google Shape;2923;p53"/>
            <p:cNvSpPr/>
            <p:nvPr/>
          </p:nvSpPr>
          <p:spPr>
            <a:xfrm>
              <a:off x="3905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4" name="Google Shape;2924;p53"/>
            <p:cNvSpPr/>
            <p:nvPr/>
          </p:nvSpPr>
          <p:spPr>
            <a:xfrm>
              <a:off x="390550" y="157140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5" name="Google Shape;2925;p53"/>
            <p:cNvSpPr/>
            <p:nvPr/>
          </p:nvSpPr>
          <p:spPr>
            <a:xfrm>
              <a:off x="314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6" name="Google Shape;2926;p53"/>
            <p:cNvSpPr/>
            <p:nvPr/>
          </p:nvSpPr>
          <p:spPr>
            <a:xfrm>
              <a:off x="314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7" name="Google Shape;2927;p53"/>
            <p:cNvSpPr/>
            <p:nvPr/>
          </p:nvSpPr>
          <p:spPr>
            <a:xfrm>
              <a:off x="314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8" name="Google Shape;2928;p53"/>
            <p:cNvSpPr/>
            <p:nvPr/>
          </p:nvSpPr>
          <p:spPr>
            <a:xfrm>
              <a:off x="314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9" name="Google Shape;2929;p53"/>
            <p:cNvSpPr/>
            <p:nvPr/>
          </p:nvSpPr>
          <p:spPr>
            <a:xfrm>
              <a:off x="314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0" name="Google Shape;2930;p53"/>
            <p:cNvSpPr/>
            <p:nvPr/>
          </p:nvSpPr>
          <p:spPr>
            <a:xfrm>
              <a:off x="314325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1" name="Google Shape;2931;p53"/>
            <p:cNvSpPr/>
            <p:nvPr/>
          </p:nvSpPr>
          <p:spPr>
            <a:xfrm>
              <a:off x="238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2" name="Google Shape;2932;p53"/>
            <p:cNvSpPr/>
            <p:nvPr/>
          </p:nvSpPr>
          <p:spPr>
            <a:xfrm>
              <a:off x="238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3" name="Google Shape;2933;p53"/>
            <p:cNvSpPr/>
            <p:nvPr/>
          </p:nvSpPr>
          <p:spPr>
            <a:xfrm>
              <a:off x="238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4" name="Google Shape;2934;p53"/>
            <p:cNvSpPr/>
            <p:nvPr/>
          </p:nvSpPr>
          <p:spPr>
            <a:xfrm>
              <a:off x="238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5" name="Google Shape;2935;p53"/>
            <p:cNvSpPr/>
            <p:nvPr/>
          </p:nvSpPr>
          <p:spPr>
            <a:xfrm>
              <a:off x="44278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6" name="Google Shape;2936;p53"/>
            <p:cNvSpPr/>
            <p:nvPr/>
          </p:nvSpPr>
          <p:spPr>
            <a:xfrm>
              <a:off x="44278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7" name="Google Shape;2937;p53"/>
            <p:cNvSpPr/>
            <p:nvPr/>
          </p:nvSpPr>
          <p:spPr>
            <a:xfrm>
              <a:off x="45040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8" name="Google Shape;2938;p53"/>
            <p:cNvSpPr/>
            <p:nvPr/>
          </p:nvSpPr>
          <p:spPr>
            <a:xfrm>
              <a:off x="45040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9" name="Google Shape;2939;p53"/>
            <p:cNvSpPr/>
            <p:nvPr/>
          </p:nvSpPr>
          <p:spPr>
            <a:xfrm>
              <a:off x="45802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0" name="Google Shape;2940;p53"/>
            <p:cNvSpPr/>
            <p:nvPr/>
          </p:nvSpPr>
          <p:spPr>
            <a:xfrm>
              <a:off x="45040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1" name="Google Shape;2941;p53"/>
            <p:cNvSpPr/>
            <p:nvPr/>
          </p:nvSpPr>
          <p:spPr>
            <a:xfrm>
              <a:off x="511335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2" name="Google Shape;2942;p53"/>
            <p:cNvSpPr/>
            <p:nvPr/>
          </p:nvSpPr>
          <p:spPr>
            <a:xfrm>
              <a:off x="511335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3" name="Google Shape;2943;p53"/>
            <p:cNvSpPr/>
            <p:nvPr/>
          </p:nvSpPr>
          <p:spPr>
            <a:xfrm>
              <a:off x="51133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4" name="Google Shape;2944;p53"/>
            <p:cNvSpPr/>
            <p:nvPr/>
          </p:nvSpPr>
          <p:spPr>
            <a:xfrm>
              <a:off x="51133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5" name="Google Shape;2945;p53"/>
            <p:cNvSpPr/>
            <p:nvPr/>
          </p:nvSpPr>
          <p:spPr>
            <a:xfrm>
              <a:off x="511335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6" name="Google Shape;2946;p53"/>
            <p:cNvSpPr/>
            <p:nvPr/>
          </p:nvSpPr>
          <p:spPr>
            <a:xfrm>
              <a:off x="5113350" y="18760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7" name="Google Shape;2947;p53"/>
            <p:cNvSpPr/>
            <p:nvPr/>
          </p:nvSpPr>
          <p:spPr>
            <a:xfrm>
              <a:off x="511335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8" name="Google Shape;2948;p53"/>
            <p:cNvSpPr/>
            <p:nvPr/>
          </p:nvSpPr>
          <p:spPr>
            <a:xfrm>
              <a:off x="511335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9" name="Google Shape;2949;p53"/>
            <p:cNvSpPr/>
            <p:nvPr/>
          </p:nvSpPr>
          <p:spPr>
            <a:xfrm>
              <a:off x="511335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0" name="Google Shape;2950;p53"/>
            <p:cNvSpPr/>
            <p:nvPr/>
          </p:nvSpPr>
          <p:spPr>
            <a:xfrm>
              <a:off x="511335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1" name="Google Shape;2951;p53"/>
            <p:cNvSpPr/>
            <p:nvPr/>
          </p:nvSpPr>
          <p:spPr>
            <a:xfrm>
              <a:off x="511335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83" y="0"/>
                  </a:moveTo>
                  <a:cubicBezTo>
                    <a:pt x="1080" y="0"/>
                    <a:pt x="1077" y="0"/>
                    <a:pt x="1073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8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2" name="Google Shape;2952;p53"/>
            <p:cNvSpPr/>
            <p:nvPr/>
          </p:nvSpPr>
          <p:spPr>
            <a:xfrm>
              <a:off x="511335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3" name="Google Shape;2953;p53"/>
            <p:cNvSpPr/>
            <p:nvPr/>
          </p:nvSpPr>
          <p:spPr>
            <a:xfrm>
              <a:off x="511335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4" name="Google Shape;2954;p53"/>
            <p:cNvSpPr/>
            <p:nvPr/>
          </p:nvSpPr>
          <p:spPr>
            <a:xfrm>
              <a:off x="511335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73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5" name="Google Shape;2955;p53"/>
            <p:cNvSpPr/>
            <p:nvPr/>
          </p:nvSpPr>
          <p:spPr>
            <a:xfrm>
              <a:off x="47324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6" name="Google Shape;2956;p53"/>
            <p:cNvSpPr/>
            <p:nvPr/>
          </p:nvSpPr>
          <p:spPr>
            <a:xfrm>
              <a:off x="47324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7" name="Google Shape;2957;p53"/>
            <p:cNvSpPr/>
            <p:nvPr/>
          </p:nvSpPr>
          <p:spPr>
            <a:xfrm>
              <a:off x="47324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8" name="Google Shape;2958;p53"/>
            <p:cNvSpPr/>
            <p:nvPr/>
          </p:nvSpPr>
          <p:spPr>
            <a:xfrm>
              <a:off x="47324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9" name="Google Shape;2959;p53"/>
            <p:cNvSpPr/>
            <p:nvPr/>
          </p:nvSpPr>
          <p:spPr>
            <a:xfrm>
              <a:off x="47324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0" name="Google Shape;2960;p53"/>
            <p:cNvSpPr/>
            <p:nvPr/>
          </p:nvSpPr>
          <p:spPr>
            <a:xfrm>
              <a:off x="47324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1" name="Google Shape;2961;p53"/>
            <p:cNvSpPr/>
            <p:nvPr/>
          </p:nvSpPr>
          <p:spPr>
            <a:xfrm>
              <a:off x="47324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2" name="Google Shape;2962;p53"/>
            <p:cNvSpPr/>
            <p:nvPr/>
          </p:nvSpPr>
          <p:spPr>
            <a:xfrm>
              <a:off x="47324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3" name="Google Shape;2963;p53"/>
            <p:cNvSpPr/>
            <p:nvPr/>
          </p:nvSpPr>
          <p:spPr>
            <a:xfrm>
              <a:off x="47324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4" name="Google Shape;2964;p53"/>
            <p:cNvSpPr/>
            <p:nvPr/>
          </p:nvSpPr>
          <p:spPr>
            <a:xfrm>
              <a:off x="47324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5" name="Google Shape;2965;p53"/>
            <p:cNvSpPr/>
            <p:nvPr/>
          </p:nvSpPr>
          <p:spPr>
            <a:xfrm>
              <a:off x="47324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6" name="Google Shape;2966;p53"/>
            <p:cNvSpPr/>
            <p:nvPr/>
          </p:nvSpPr>
          <p:spPr>
            <a:xfrm>
              <a:off x="47324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7" name="Google Shape;2967;p53"/>
            <p:cNvSpPr/>
            <p:nvPr/>
          </p:nvSpPr>
          <p:spPr>
            <a:xfrm>
              <a:off x="43516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8" name="Google Shape;2968;p53"/>
            <p:cNvSpPr/>
            <p:nvPr/>
          </p:nvSpPr>
          <p:spPr>
            <a:xfrm>
              <a:off x="43516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9" name="Google Shape;2969;p53"/>
            <p:cNvSpPr/>
            <p:nvPr/>
          </p:nvSpPr>
          <p:spPr>
            <a:xfrm>
              <a:off x="43516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0" name="Google Shape;2970;p53"/>
            <p:cNvSpPr/>
            <p:nvPr/>
          </p:nvSpPr>
          <p:spPr>
            <a:xfrm>
              <a:off x="43516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1" name="Google Shape;2971;p53"/>
            <p:cNvSpPr/>
            <p:nvPr/>
          </p:nvSpPr>
          <p:spPr>
            <a:xfrm>
              <a:off x="44278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2" name="Google Shape;2972;p53"/>
            <p:cNvSpPr/>
            <p:nvPr/>
          </p:nvSpPr>
          <p:spPr>
            <a:xfrm>
              <a:off x="44278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3" name="Google Shape;2973;p53"/>
            <p:cNvSpPr/>
            <p:nvPr/>
          </p:nvSpPr>
          <p:spPr>
            <a:xfrm>
              <a:off x="4504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4" name="Google Shape;2974;p53"/>
            <p:cNvSpPr/>
            <p:nvPr/>
          </p:nvSpPr>
          <p:spPr>
            <a:xfrm>
              <a:off x="4504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5" name="Google Shape;2975;p53"/>
            <p:cNvSpPr/>
            <p:nvPr/>
          </p:nvSpPr>
          <p:spPr>
            <a:xfrm>
              <a:off x="4504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6" name="Google Shape;2976;p53"/>
            <p:cNvSpPr/>
            <p:nvPr/>
          </p:nvSpPr>
          <p:spPr>
            <a:xfrm>
              <a:off x="4504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7" name="Google Shape;2977;p53"/>
            <p:cNvSpPr/>
            <p:nvPr/>
          </p:nvSpPr>
          <p:spPr>
            <a:xfrm>
              <a:off x="45040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8" name="Google Shape;2978;p53"/>
            <p:cNvSpPr/>
            <p:nvPr/>
          </p:nvSpPr>
          <p:spPr>
            <a:xfrm>
              <a:off x="4504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9" name="Google Shape;2979;p53"/>
            <p:cNvSpPr/>
            <p:nvPr/>
          </p:nvSpPr>
          <p:spPr>
            <a:xfrm>
              <a:off x="4504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0" name="Google Shape;2980;p53"/>
            <p:cNvSpPr/>
            <p:nvPr/>
          </p:nvSpPr>
          <p:spPr>
            <a:xfrm>
              <a:off x="4504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1" name="Google Shape;2981;p53"/>
            <p:cNvSpPr/>
            <p:nvPr/>
          </p:nvSpPr>
          <p:spPr>
            <a:xfrm>
              <a:off x="45040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2" name="Google Shape;2982;p53"/>
            <p:cNvSpPr/>
            <p:nvPr/>
          </p:nvSpPr>
          <p:spPr>
            <a:xfrm>
              <a:off x="4504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3" name="Google Shape;2983;p53"/>
            <p:cNvSpPr/>
            <p:nvPr/>
          </p:nvSpPr>
          <p:spPr>
            <a:xfrm>
              <a:off x="45040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4" name="Google Shape;2984;p53"/>
            <p:cNvSpPr/>
            <p:nvPr/>
          </p:nvSpPr>
          <p:spPr>
            <a:xfrm>
              <a:off x="45040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5" name="Google Shape;2985;p53"/>
            <p:cNvSpPr/>
            <p:nvPr/>
          </p:nvSpPr>
          <p:spPr>
            <a:xfrm>
              <a:off x="45802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6" name="Google Shape;2986;p53"/>
            <p:cNvSpPr/>
            <p:nvPr/>
          </p:nvSpPr>
          <p:spPr>
            <a:xfrm>
              <a:off x="45802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7" name="Google Shape;2987;p53"/>
            <p:cNvSpPr/>
            <p:nvPr/>
          </p:nvSpPr>
          <p:spPr>
            <a:xfrm>
              <a:off x="45802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8" name="Google Shape;2988;p53"/>
            <p:cNvSpPr/>
            <p:nvPr/>
          </p:nvSpPr>
          <p:spPr>
            <a:xfrm>
              <a:off x="45802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9" name="Google Shape;2989;p53"/>
            <p:cNvSpPr/>
            <p:nvPr/>
          </p:nvSpPr>
          <p:spPr>
            <a:xfrm>
              <a:off x="45802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0" name="Google Shape;2990;p53"/>
            <p:cNvSpPr/>
            <p:nvPr/>
          </p:nvSpPr>
          <p:spPr>
            <a:xfrm>
              <a:off x="45802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1" name="Google Shape;2991;p53"/>
            <p:cNvSpPr/>
            <p:nvPr/>
          </p:nvSpPr>
          <p:spPr>
            <a:xfrm>
              <a:off x="45802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2" name="Google Shape;2992;p53"/>
            <p:cNvSpPr/>
            <p:nvPr/>
          </p:nvSpPr>
          <p:spPr>
            <a:xfrm>
              <a:off x="45802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3" name="Google Shape;2993;p53"/>
            <p:cNvSpPr/>
            <p:nvPr/>
          </p:nvSpPr>
          <p:spPr>
            <a:xfrm>
              <a:off x="45802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4" name="Google Shape;2994;p53"/>
            <p:cNvSpPr/>
            <p:nvPr/>
          </p:nvSpPr>
          <p:spPr>
            <a:xfrm>
              <a:off x="45802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5" name="Google Shape;2995;p53"/>
            <p:cNvSpPr/>
            <p:nvPr/>
          </p:nvSpPr>
          <p:spPr>
            <a:xfrm>
              <a:off x="45802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6" name="Google Shape;2996;p53"/>
            <p:cNvSpPr/>
            <p:nvPr/>
          </p:nvSpPr>
          <p:spPr>
            <a:xfrm>
              <a:off x="45802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7" name="Google Shape;2997;p53"/>
            <p:cNvSpPr/>
            <p:nvPr/>
          </p:nvSpPr>
          <p:spPr>
            <a:xfrm>
              <a:off x="465647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8" name="Google Shape;2998;p53"/>
            <p:cNvSpPr/>
            <p:nvPr/>
          </p:nvSpPr>
          <p:spPr>
            <a:xfrm>
              <a:off x="46564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9" name="Google Shape;2999;p53"/>
            <p:cNvSpPr/>
            <p:nvPr/>
          </p:nvSpPr>
          <p:spPr>
            <a:xfrm>
              <a:off x="46564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0" name="Google Shape;3000;p53"/>
            <p:cNvSpPr/>
            <p:nvPr/>
          </p:nvSpPr>
          <p:spPr>
            <a:xfrm>
              <a:off x="46564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1" name="Google Shape;3001;p53"/>
            <p:cNvSpPr/>
            <p:nvPr/>
          </p:nvSpPr>
          <p:spPr>
            <a:xfrm>
              <a:off x="465647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2" name="Google Shape;3002;p53"/>
            <p:cNvSpPr/>
            <p:nvPr/>
          </p:nvSpPr>
          <p:spPr>
            <a:xfrm>
              <a:off x="46564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3" name="Google Shape;3003;p53"/>
            <p:cNvSpPr/>
            <p:nvPr/>
          </p:nvSpPr>
          <p:spPr>
            <a:xfrm>
              <a:off x="46564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4" name="Google Shape;3004;p53"/>
            <p:cNvSpPr/>
            <p:nvPr/>
          </p:nvSpPr>
          <p:spPr>
            <a:xfrm>
              <a:off x="46564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5" name="Google Shape;3005;p53"/>
            <p:cNvSpPr/>
            <p:nvPr/>
          </p:nvSpPr>
          <p:spPr>
            <a:xfrm>
              <a:off x="46564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6" name="Google Shape;3006;p53"/>
            <p:cNvSpPr/>
            <p:nvPr/>
          </p:nvSpPr>
          <p:spPr>
            <a:xfrm>
              <a:off x="46564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7" name="Google Shape;3007;p53"/>
            <p:cNvSpPr/>
            <p:nvPr/>
          </p:nvSpPr>
          <p:spPr>
            <a:xfrm>
              <a:off x="46564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8" name="Google Shape;3008;p53"/>
            <p:cNvSpPr/>
            <p:nvPr/>
          </p:nvSpPr>
          <p:spPr>
            <a:xfrm>
              <a:off x="46564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9" name="Google Shape;3009;p53"/>
            <p:cNvSpPr/>
            <p:nvPr/>
          </p:nvSpPr>
          <p:spPr>
            <a:xfrm>
              <a:off x="47324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0" name="Google Shape;3010;p53"/>
            <p:cNvSpPr/>
            <p:nvPr/>
          </p:nvSpPr>
          <p:spPr>
            <a:xfrm>
              <a:off x="47324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1" name="Google Shape;3011;p53"/>
            <p:cNvSpPr/>
            <p:nvPr/>
          </p:nvSpPr>
          <p:spPr>
            <a:xfrm>
              <a:off x="48087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2" name="Google Shape;3012;p53"/>
            <p:cNvSpPr/>
            <p:nvPr/>
          </p:nvSpPr>
          <p:spPr>
            <a:xfrm>
              <a:off x="48087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3" name="Google Shape;3013;p53"/>
            <p:cNvSpPr/>
            <p:nvPr/>
          </p:nvSpPr>
          <p:spPr>
            <a:xfrm>
              <a:off x="48087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4" name="Google Shape;3014;p53"/>
            <p:cNvSpPr/>
            <p:nvPr/>
          </p:nvSpPr>
          <p:spPr>
            <a:xfrm>
              <a:off x="48087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5" name="Google Shape;3015;p53"/>
            <p:cNvSpPr/>
            <p:nvPr/>
          </p:nvSpPr>
          <p:spPr>
            <a:xfrm>
              <a:off x="480870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6" name="Google Shape;3016;p53"/>
            <p:cNvSpPr/>
            <p:nvPr/>
          </p:nvSpPr>
          <p:spPr>
            <a:xfrm>
              <a:off x="4808700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7" name="Google Shape;3017;p53"/>
            <p:cNvSpPr/>
            <p:nvPr/>
          </p:nvSpPr>
          <p:spPr>
            <a:xfrm>
              <a:off x="480870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8" name="Google Shape;3018;p53"/>
            <p:cNvSpPr/>
            <p:nvPr/>
          </p:nvSpPr>
          <p:spPr>
            <a:xfrm>
              <a:off x="480870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9" name="Google Shape;3019;p53"/>
            <p:cNvSpPr/>
            <p:nvPr/>
          </p:nvSpPr>
          <p:spPr>
            <a:xfrm>
              <a:off x="480870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0" name="Google Shape;3020;p53"/>
            <p:cNvSpPr/>
            <p:nvPr/>
          </p:nvSpPr>
          <p:spPr>
            <a:xfrm>
              <a:off x="480870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1" name="Google Shape;3021;p53"/>
            <p:cNvSpPr/>
            <p:nvPr/>
          </p:nvSpPr>
          <p:spPr>
            <a:xfrm>
              <a:off x="48087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2" name="Google Shape;3022;p53"/>
            <p:cNvSpPr/>
            <p:nvPr/>
          </p:nvSpPr>
          <p:spPr>
            <a:xfrm>
              <a:off x="480870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3" name="Google Shape;3023;p53"/>
            <p:cNvSpPr/>
            <p:nvPr/>
          </p:nvSpPr>
          <p:spPr>
            <a:xfrm>
              <a:off x="480870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4" name="Google Shape;3024;p53"/>
            <p:cNvSpPr/>
            <p:nvPr/>
          </p:nvSpPr>
          <p:spPr>
            <a:xfrm>
              <a:off x="480870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5" name="Google Shape;3025;p53"/>
            <p:cNvSpPr/>
            <p:nvPr/>
          </p:nvSpPr>
          <p:spPr>
            <a:xfrm>
              <a:off x="4884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6" name="Google Shape;3026;p53"/>
            <p:cNvSpPr/>
            <p:nvPr/>
          </p:nvSpPr>
          <p:spPr>
            <a:xfrm>
              <a:off x="4884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7" name="Google Shape;3027;p53"/>
            <p:cNvSpPr/>
            <p:nvPr/>
          </p:nvSpPr>
          <p:spPr>
            <a:xfrm>
              <a:off x="4884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8" name="Google Shape;3028;p53"/>
            <p:cNvSpPr/>
            <p:nvPr/>
          </p:nvSpPr>
          <p:spPr>
            <a:xfrm>
              <a:off x="4884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9" name="Google Shape;3029;p53"/>
            <p:cNvSpPr/>
            <p:nvPr/>
          </p:nvSpPr>
          <p:spPr>
            <a:xfrm>
              <a:off x="4884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0" name="Google Shape;3030;p53"/>
            <p:cNvSpPr/>
            <p:nvPr/>
          </p:nvSpPr>
          <p:spPr>
            <a:xfrm>
              <a:off x="488490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1" name="Google Shape;3031;p53"/>
            <p:cNvSpPr/>
            <p:nvPr/>
          </p:nvSpPr>
          <p:spPr>
            <a:xfrm>
              <a:off x="4884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2" name="Google Shape;3032;p53"/>
            <p:cNvSpPr/>
            <p:nvPr/>
          </p:nvSpPr>
          <p:spPr>
            <a:xfrm>
              <a:off x="4884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3" name="Google Shape;3033;p53"/>
            <p:cNvSpPr/>
            <p:nvPr/>
          </p:nvSpPr>
          <p:spPr>
            <a:xfrm>
              <a:off x="4884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4" name="Google Shape;3034;p53"/>
            <p:cNvSpPr/>
            <p:nvPr/>
          </p:nvSpPr>
          <p:spPr>
            <a:xfrm>
              <a:off x="4884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5" name="Google Shape;3035;p53"/>
            <p:cNvSpPr/>
            <p:nvPr/>
          </p:nvSpPr>
          <p:spPr>
            <a:xfrm>
              <a:off x="4884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6" name="Google Shape;3036;p53"/>
            <p:cNvSpPr/>
            <p:nvPr/>
          </p:nvSpPr>
          <p:spPr>
            <a:xfrm>
              <a:off x="4884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7" name="Google Shape;3037;p53"/>
            <p:cNvSpPr/>
            <p:nvPr/>
          </p:nvSpPr>
          <p:spPr>
            <a:xfrm>
              <a:off x="4884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8" name="Google Shape;3038;p53"/>
            <p:cNvSpPr/>
            <p:nvPr/>
          </p:nvSpPr>
          <p:spPr>
            <a:xfrm>
              <a:off x="4884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9" name="Google Shape;3039;p53"/>
            <p:cNvSpPr/>
            <p:nvPr/>
          </p:nvSpPr>
          <p:spPr>
            <a:xfrm>
              <a:off x="4884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0" name="Google Shape;3040;p53"/>
            <p:cNvSpPr/>
            <p:nvPr/>
          </p:nvSpPr>
          <p:spPr>
            <a:xfrm>
              <a:off x="49611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1" name="Google Shape;3041;p53"/>
            <p:cNvSpPr/>
            <p:nvPr/>
          </p:nvSpPr>
          <p:spPr>
            <a:xfrm>
              <a:off x="4961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2" name="Google Shape;3042;p53"/>
            <p:cNvSpPr/>
            <p:nvPr/>
          </p:nvSpPr>
          <p:spPr>
            <a:xfrm>
              <a:off x="4961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3" name="Google Shape;3043;p53"/>
            <p:cNvSpPr/>
            <p:nvPr/>
          </p:nvSpPr>
          <p:spPr>
            <a:xfrm>
              <a:off x="4961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4" name="Google Shape;3044;p53"/>
            <p:cNvSpPr/>
            <p:nvPr/>
          </p:nvSpPr>
          <p:spPr>
            <a:xfrm>
              <a:off x="49611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5" name="Google Shape;3045;p53"/>
            <p:cNvSpPr/>
            <p:nvPr/>
          </p:nvSpPr>
          <p:spPr>
            <a:xfrm>
              <a:off x="4961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6" name="Google Shape;3046;p53"/>
            <p:cNvSpPr/>
            <p:nvPr/>
          </p:nvSpPr>
          <p:spPr>
            <a:xfrm>
              <a:off x="49611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7" name="Google Shape;3047;p53"/>
            <p:cNvSpPr/>
            <p:nvPr/>
          </p:nvSpPr>
          <p:spPr>
            <a:xfrm>
              <a:off x="49611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8" name="Google Shape;3048;p53"/>
            <p:cNvSpPr/>
            <p:nvPr/>
          </p:nvSpPr>
          <p:spPr>
            <a:xfrm>
              <a:off x="49611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9" name="Google Shape;3049;p53"/>
            <p:cNvSpPr/>
            <p:nvPr/>
          </p:nvSpPr>
          <p:spPr>
            <a:xfrm>
              <a:off x="49611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0" name="Google Shape;3050;p53"/>
            <p:cNvSpPr/>
            <p:nvPr/>
          </p:nvSpPr>
          <p:spPr>
            <a:xfrm>
              <a:off x="49611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1" name="Google Shape;3051;p53"/>
            <p:cNvSpPr/>
            <p:nvPr/>
          </p:nvSpPr>
          <p:spPr>
            <a:xfrm>
              <a:off x="49611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2" name="Google Shape;3052;p53"/>
            <p:cNvSpPr/>
            <p:nvPr/>
          </p:nvSpPr>
          <p:spPr>
            <a:xfrm>
              <a:off x="49611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3" name="Google Shape;3053;p53"/>
            <p:cNvSpPr/>
            <p:nvPr/>
          </p:nvSpPr>
          <p:spPr>
            <a:xfrm>
              <a:off x="49611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4" name="Google Shape;3054;p53"/>
            <p:cNvSpPr/>
            <p:nvPr/>
          </p:nvSpPr>
          <p:spPr>
            <a:xfrm>
              <a:off x="50373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5" name="Google Shape;3055;p53"/>
            <p:cNvSpPr/>
            <p:nvPr/>
          </p:nvSpPr>
          <p:spPr>
            <a:xfrm>
              <a:off x="5037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6" name="Google Shape;3056;p53"/>
            <p:cNvSpPr/>
            <p:nvPr/>
          </p:nvSpPr>
          <p:spPr>
            <a:xfrm>
              <a:off x="5037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7" name="Google Shape;3057;p53"/>
            <p:cNvSpPr/>
            <p:nvPr/>
          </p:nvSpPr>
          <p:spPr>
            <a:xfrm>
              <a:off x="5037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8" name="Google Shape;3058;p53"/>
            <p:cNvSpPr/>
            <p:nvPr/>
          </p:nvSpPr>
          <p:spPr>
            <a:xfrm>
              <a:off x="5037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9" name="Google Shape;3059;p53"/>
            <p:cNvSpPr/>
            <p:nvPr/>
          </p:nvSpPr>
          <p:spPr>
            <a:xfrm>
              <a:off x="5037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0" name="Google Shape;3060;p53"/>
            <p:cNvSpPr/>
            <p:nvPr/>
          </p:nvSpPr>
          <p:spPr>
            <a:xfrm>
              <a:off x="50373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1" name="Google Shape;3061;p53"/>
            <p:cNvSpPr/>
            <p:nvPr/>
          </p:nvSpPr>
          <p:spPr>
            <a:xfrm>
              <a:off x="50373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2" name="Google Shape;3062;p53"/>
            <p:cNvSpPr/>
            <p:nvPr/>
          </p:nvSpPr>
          <p:spPr>
            <a:xfrm>
              <a:off x="50373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3" name="Google Shape;3063;p53"/>
            <p:cNvSpPr/>
            <p:nvPr/>
          </p:nvSpPr>
          <p:spPr>
            <a:xfrm>
              <a:off x="50373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4" name="Google Shape;3064;p53"/>
            <p:cNvSpPr/>
            <p:nvPr/>
          </p:nvSpPr>
          <p:spPr>
            <a:xfrm>
              <a:off x="50373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5" name="Google Shape;3065;p53"/>
            <p:cNvSpPr/>
            <p:nvPr/>
          </p:nvSpPr>
          <p:spPr>
            <a:xfrm>
              <a:off x="50373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6" name="Google Shape;3066;p53"/>
            <p:cNvSpPr/>
            <p:nvPr/>
          </p:nvSpPr>
          <p:spPr>
            <a:xfrm>
              <a:off x="50373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7" name="Google Shape;3067;p53"/>
            <p:cNvSpPr/>
            <p:nvPr/>
          </p:nvSpPr>
          <p:spPr>
            <a:xfrm>
              <a:off x="50373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8" name="Google Shape;3068;p53"/>
            <p:cNvSpPr/>
            <p:nvPr/>
          </p:nvSpPr>
          <p:spPr>
            <a:xfrm>
              <a:off x="511335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9" name="Google Shape;3069;p53"/>
            <p:cNvSpPr/>
            <p:nvPr/>
          </p:nvSpPr>
          <p:spPr>
            <a:xfrm>
              <a:off x="511335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8" y="2137"/>
                    <a:pt x="1076" y="2137"/>
                  </a:cubicBezTo>
                  <a:cubicBezTo>
                    <a:pt x="1339" y="2137"/>
                    <a:pt x="1605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0" name="Google Shape;3070;p53"/>
            <p:cNvSpPr/>
            <p:nvPr/>
          </p:nvSpPr>
          <p:spPr>
            <a:xfrm>
              <a:off x="51895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1" name="Google Shape;3071;p53"/>
            <p:cNvSpPr/>
            <p:nvPr/>
          </p:nvSpPr>
          <p:spPr>
            <a:xfrm>
              <a:off x="51895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2" name="Google Shape;3072;p53"/>
            <p:cNvSpPr/>
            <p:nvPr/>
          </p:nvSpPr>
          <p:spPr>
            <a:xfrm>
              <a:off x="5189550" y="157140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51" y="0"/>
                  </a:moveTo>
                  <a:cubicBezTo>
                    <a:pt x="472" y="0"/>
                    <a:pt x="1" y="477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ubicBezTo>
                    <a:pt x="1061" y="1"/>
                    <a:pt x="1056" y="0"/>
                    <a:pt x="105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3" name="Google Shape;3073;p53"/>
            <p:cNvSpPr/>
            <p:nvPr/>
          </p:nvSpPr>
          <p:spPr>
            <a:xfrm>
              <a:off x="5189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8"/>
                    <a:pt x="1068" y="2138"/>
                  </a:cubicBezTo>
                  <a:cubicBezTo>
                    <a:pt x="1329" y="2138"/>
                    <a:pt x="1596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4" name="Google Shape;3074;p53"/>
            <p:cNvSpPr/>
            <p:nvPr/>
          </p:nvSpPr>
          <p:spPr>
            <a:xfrm>
              <a:off x="51895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5" name="Google Shape;3075;p53"/>
            <p:cNvSpPr/>
            <p:nvPr/>
          </p:nvSpPr>
          <p:spPr>
            <a:xfrm>
              <a:off x="51895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6" name="Google Shape;3076;p53"/>
            <p:cNvSpPr/>
            <p:nvPr/>
          </p:nvSpPr>
          <p:spPr>
            <a:xfrm>
              <a:off x="518955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7" name="Google Shape;3077;p53"/>
            <p:cNvSpPr/>
            <p:nvPr/>
          </p:nvSpPr>
          <p:spPr>
            <a:xfrm>
              <a:off x="5189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8" name="Google Shape;3078;p53"/>
            <p:cNvSpPr/>
            <p:nvPr/>
          </p:nvSpPr>
          <p:spPr>
            <a:xfrm>
              <a:off x="5189550" y="20282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9" name="Google Shape;3079;p53"/>
            <p:cNvSpPr/>
            <p:nvPr/>
          </p:nvSpPr>
          <p:spPr>
            <a:xfrm>
              <a:off x="5189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0" name="Google Shape;3080;p53"/>
            <p:cNvSpPr/>
            <p:nvPr/>
          </p:nvSpPr>
          <p:spPr>
            <a:xfrm>
              <a:off x="5189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1" name="Google Shape;3081;p53"/>
            <p:cNvSpPr/>
            <p:nvPr/>
          </p:nvSpPr>
          <p:spPr>
            <a:xfrm>
              <a:off x="5189550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2" name="Google Shape;3082;p53"/>
            <p:cNvSpPr/>
            <p:nvPr/>
          </p:nvSpPr>
          <p:spPr>
            <a:xfrm>
              <a:off x="5189550" y="23331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3" name="Google Shape;3083;p53"/>
            <p:cNvSpPr/>
            <p:nvPr/>
          </p:nvSpPr>
          <p:spPr>
            <a:xfrm>
              <a:off x="5189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4" name="Google Shape;3084;p53"/>
            <p:cNvSpPr/>
            <p:nvPr/>
          </p:nvSpPr>
          <p:spPr>
            <a:xfrm>
              <a:off x="51895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5" name="Google Shape;3085;p53"/>
            <p:cNvSpPr/>
            <p:nvPr/>
          </p:nvSpPr>
          <p:spPr>
            <a:xfrm>
              <a:off x="5189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6" name="Google Shape;3086;p53"/>
            <p:cNvSpPr/>
            <p:nvPr/>
          </p:nvSpPr>
          <p:spPr>
            <a:xfrm>
              <a:off x="51895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5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7" name="Google Shape;3087;p53"/>
            <p:cNvSpPr/>
            <p:nvPr/>
          </p:nvSpPr>
          <p:spPr>
            <a:xfrm>
              <a:off x="51895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8" name="Google Shape;3088;p53"/>
            <p:cNvSpPr/>
            <p:nvPr/>
          </p:nvSpPr>
          <p:spPr>
            <a:xfrm>
              <a:off x="5265775" y="13427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9" name="Google Shape;3089;p53"/>
            <p:cNvSpPr/>
            <p:nvPr/>
          </p:nvSpPr>
          <p:spPr>
            <a:xfrm>
              <a:off x="52657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0" name="Google Shape;3090;p53"/>
            <p:cNvSpPr/>
            <p:nvPr/>
          </p:nvSpPr>
          <p:spPr>
            <a:xfrm>
              <a:off x="52657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1" name="Google Shape;3091;p53"/>
            <p:cNvSpPr/>
            <p:nvPr/>
          </p:nvSpPr>
          <p:spPr>
            <a:xfrm>
              <a:off x="5265775" y="157140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51" y="0"/>
                  </a:moveTo>
                  <a:cubicBezTo>
                    <a:pt x="472" y="0"/>
                    <a:pt x="0" y="477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ubicBezTo>
                    <a:pt x="1060" y="1"/>
                    <a:pt x="1055" y="0"/>
                    <a:pt x="105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2" name="Google Shape;3092;p53"/>
            <p:cNvSpPr/>
            <p:nvPr/>
          </p:nvSpPr>
          <p:spPr>
            <a:xfrm>
              <a:off x="52657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8"/>
                    <a:pt x="1068" y="2138"/>
                  </a:cubicBezTo>
                  <a:cubicBezTo>
                    <a:pt x="1329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3" name="Google Shape;3093;p53"/>
            <p:cNvSpPr/>
            <p:nvPr/>
          </p:nvSpPr>
          <p:spPr>
            <a:xfrm>
              <a:off x="52657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4" name="Google Shape;3094;p53"/>
            <p:cNvSpPr/>
            <p:nvPr/>
          </p:nvSpPr>
          <p:spPr>
            <a:xfrm>
              <a:off x="52657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5" name="Google Shape;3095;p53"/>
            <p:cNvSpPr/>
            <p:nvPr/>
          </p:nvSpPr>
          <p:spPr>
            <a:xfrm>
              <a:off x="5265775" y="18760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6" name="Google Shape;3096;p53"/>
            <p:cNvSpPr/>
            <p:nvPr/>
          </p:nvSpPr>
          <p:spPr>
            <a:xfrm>
              <a:off x="52657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74"/>
                  </a:cubicBezTo>
                  <a:cubicBezTo>
                    <a:pt x="0" y="1712"/>
                    <a:pt x="521" y="2138"/>
                    <a:pt x="1067" y="2138"/>
                  </a:cubicBezTo>
                  <a:cubicBezTo>
                    <a:pt x="1328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7" name="Google Shape;3097;p53"/>
            <p:cNvSpPr/>
            <p:nvPr/>
          </p:nvSpPr>
          <p:spPr>
            <a:xfrm>
              <a:off x="5265775" y="20282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1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8" name="Google Shape;3098;p53"/>
            <p:cNvSpPr/>
            <p:nvPr/>
          </p:nvSpPr>
          <p:spPr>
            <a:xfrm>
              <a:off x="52657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9" name="Google Shape;3099;p53"/>
            <p:cNvSpPr/>
            <p:nvPr/>
          </p:nvSpPr>
          <p:spPr>
            <a:xfrm>
              <a:off x="52657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0" name="Google Shape;3100;p53"/>
            <p:cNvSpPr/>
            <p:nvPr/>
          </p:nvSpPr>
          <p:spPr>
            <a:xfrm>
              <a:off x="5265775" y="225692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1" name="Google Shape;3101;p53"/>
            <p:cNvSpPr/>
            <p:nvPr/>
          </p:nvSpPr>
          <p:spPr>
            <a:xfrm>
              <a:off x="5265775" y="23331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2" name="Google Shape;3102;p53"/>
            <p:cNvSpPr/>
            <p:nvPr/>
          </p:nvSpPr>
          <p:spPr>
            <a:xfrm>
              <a:off x="52657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3" name="Google Shape;3103;p53"/>
            <p:cNvSpPr/>
            <p:nvPr/>
          </p:nvSpPr>
          <p:spPr>
            <a:xfrm>
              <a:off x="5265775" y="24855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4" name="Google Shape;3104;p53"/>
            <p:cNvSpPr/>
            <p:nvPr/>
          </p:nvSpPr>
          <p:spPr>
            <a:xfrm>
              <a:off x="52657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5" name="Google Shape;3105;p53"/>
            <p:cNvSpPr/>
            <p:nvPr/>
          </p:nvSpPr>
          <p:spPr>
            <a:xfrm>
              <a:off x="526577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6" name="Google Shape;3106;p53"/>
            <p:cNvSpPr/>
            <p:nvPr/>
          </p:nvSpPr>
          <p:spPr>
            <a:xfrm>
              <a:off x="53419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7" name="Google Shape;3107;p53"/>
            <p:cNvSpPr/>
            <p:nvPr/>
          </p:nvSpPr>
          <p:spPr>
            <a:xfrm>
              <a:off x="53419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8" name="Google Shape;3108;p53"/>
            <p:cNvSpPr/>
            <p:nvPr/>
          </p:nvSpPr>
          <p:spPr>
            <a:xfrm>
              <a:off x="53419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9" name="Google Shape;3109;p53"/>
            <p:cNvSpPr/>
            <p:nvPr/>
          </p:nvSpPr>
          <p:spPr>
            <a:xfrm>
              <a:off x="5341975" y="1571400"/>
              <a:ext cx="62375" cy="53250"/>
            </a:xfrm>
            <a:custGeom>
              <a:avLst/>
              <a:gdLst/>
              <a:ahLst/>
              <a:cxnLst/>
              <a:rect l="l" t="t" r="r" b="b"/>
              <a:pathLst>
                <a:path w="2495" h="2130" extrusionOk="0">
                  <a:moveTo>
                    <a:pt x="1084" y="1"/>
                  </a:moveTo>
                  <a:cubicBezTo>
                    <a:pt x="1080" y="1"/>
                    <a:pt x="1077" y="1"/>
                    <a:pt x="1074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4" y="1149"/>
                    <a:pt x="2020" y="1"/>
                    <a:pt x="108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0" name="Google Shape;3110;p53"/>
            <p:cNvSpPr/>
            <p:nvPr/>
          </p:nvSpPr>
          <p:spPr>
            <a:xfrm>
              <a:off x="53419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1" name="Google Shape;3111;p53"/>
            <p:cNvSpPr/>
            <p:nvPr/>
          </p:nvSpPr>
          <p:spPr>
            <a:xfrm>
              <a:off x="53419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2" name="Google Shape;3112;p53"/>
            <p:cNvSpPr/>
            <p:nvPr/>
          </p:nvSpPr>
          <p:spPr>
            <a:xfrm>
              <a:off x="53419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3" name="Google Shape;3113;p53"/>
            <p:cNvSpPr/>
            <p:nvPr/>
          </p:nvSpPr>
          <p:spPr>
            <a:xfrm>
              <a:off x="53419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4" name="Google Shape;3114;p53"/>
            <p:cNvSpPr/>
            <p:nvPr/>
          </p:nvSpPr>
          <p:spPr>
            <a:xfrm>
              <a:off x="53419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5" name="Google Shape;3115;p53"/>
            <p:cNvSpPr/>
            <p:nvPr/>
          </p:nvSpPr>
          <p:spPr>
            <a:xfrm>
              <a:off x="53419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6" name="Google Shape;3116;p53"/>
            <p:cNvSpPr/>
            <p:nvPr/>
          </p:nvSpPr>
          <p:spPr>
            <a:xfrm>
              <a:off x="53419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7" name="Google Shape;3117;p53"/>
            <p:cNvSpPr/>
            <p:nvPr/>
          </p:nvSpPr>
          <p:spPr>
            <a:xfrm>
              <a:off x="53419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8" name="Google Shape;3118;p53"/>
            <p:cNvSpPr/>
            <p:nvPr/>
          </p:nvSpPr>
          <p:spPr>
            <a:xfrm>
              <a:off x="53419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9" name="Google Shape;3119;p53"/>
            <p:cNvSpPr/>
            <p:nvPr/>
          </p:nvSpPr>
          <p:spPr>
            <a:xfrm>
              <a:off x="53419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0" name="Google Shape;3120;p53"/>
            <p:cNvSpPr/>
            <p:nvPr/>
          </p:nvSpPr>
          <p:spPr>
            <a:xfrm>
              <a:off x="53419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1" name="Google Shape;3121;p53"/>
            <p:cNvSpPr/>
            <p:nvPr/>
          </p:nvSpPr>
          <p:spPr>
            <a:xfrm>
              <a:off x="53419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2" name="Google Shape;3122;p53"/>
            <p:cNvSpPr/>
            <p:nvPr/>
          </p:nvSpPr>
          <p:spPr>
            <a:xfrm>
              <a:off x="53419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3" name="Google Shape;3123;p53"/>
            <p:cNvSpPr/>
            <p:nvPr/>
          </p:nvSpPr>
          <p:spPr>
            <a:xfrm>
              <a:off x="54182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4" name="Google Shape;3124;p53"/>
            <p:cNvSpPr/>
            <p:nvPr/>
          </p:nvSpPr>
          <p:spPr>
            <a:xfrm>
              <a:off x="54182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5" name="Google Shape;3125;p53"/>
            <p:cNvSpPr/>
            <p:nvPr/>
          </p:nvSpPr>
          <p:spPr>
            <a:xfrm>
              <a:off x="54182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6" name="Google Shape;3126;p53"/>
            <p:cNvSpPr/>
            <p:nvPr/>
          </p:nvSpPr>
          <p:spPr>
            <a:xfrm>
              <a:off x="54182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7" name="Google Shape;3127;p53"/>
            <p:cNvSpPr/>
            <p:nvPr/>
          </p:nvSpPr>
          <p:spPr>
            <a:xfrm>
              <a:off x="54182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8" name="Google Shape;3128;p53"/>
            <p:cNvSpPr/>
            <p:nvPr/>
          </p:nvSpPr>
          <p:spPr>
            <a:xfrm>
              <a:off x="54182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9" name="Google Shape;3129;p53"/>
            <p:cNvSpPr/>
            <p:nvPr/>
          </p:nvSpPr>
          <p:spPr>
            <a:xfrm>
              <a:off x="54182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0" name="Google Shape;3130;p53"/>
            <p:cNvSpPr/>
            <p:nvPr/>
          </p:nvSpPr>
          <p:spPr>
            <a:xfrm>
              <a:off x="54182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1" name="Google Shape;3131;p53"/>
            <p:cNvSpPr/>
            <p:nvPr/>
          </p:nvSpPr>
          <p:spPr>
            <a:xfrm>
              <a:off x="54182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2" name="Google Shape;3132;p53"/>
            <p:cNvSpPr/>
            <p:nvPr/>
          </p:nvSpPr>
          <p:spPr>
            <a:xfrm>
              <a:off x="54182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3" name="Google Shape;3133;p53"/>
            <p:cNvSpPr/>
            <p:nvPr/>
          </p:nvSpPr>
          <p:spPr>
            <a:xfrm>
              <a:off x="54182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4" name="Google Shape;3134;p53"/>
            <p:cNvSpPr/>
            <p:nvPr/>
          </p:nvSpPr>
          <p:spPr>
            <a:xfrm>
              <a:off x="54182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5" name="Google Shape;3135;p53"/>
            <p:cNvSpPr/>
            <p:nvPr/>
          </p:nvSpPr>
          <p:spPr>
            <a:xfrm>
              <a:off x="54182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6" name="Google Shape;3136;p53"/>
            <p:cNvSpPr/>
            <p:nvPr/>
          </p:nvSpPr>
          <p:spPr>
            <a:xfrm>
              <a:off x="54182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7" name="Google Shape;3137;p53"/>
            <p:cNvSpPr/>
            <p:nvPr/>
          </p:nvSpPr>
          <p:spPr>
            <a:xfrm>
              <a:off x="54182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8" name="Google Shape;3138;p53"/>
            <p:cNvSpPr/>
            <p:nvPr/>
          </p:nvSpPr>
          <p:spPr>
            <a:xfrm>
              <a:off x="54182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9" name="Google Shape;3139;p53"/>
            <p:cNvSpPr/>
            <p:nvPr/>
          </p:nvSpPr>
          <p:spPr>
            <a:xfrm>
              <a:off x="54182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0" name="Google Shape;3140;p53"/>
            <p:cNvSpPr/>
            <p:nvPr/>
          </p:nvSpPr>
          <p:spPr>
            <a:xfrm>
              <a:off x="54182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1" name="Google Shape;3141;p53"/>
            <p:cNvSpPr/>
            <p:nvPr/>
          </p:nvSpPr>
          <p:spPr>
            <a:xfrm>
              <a:off x="54944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2" name="Google Shape;3142;p53"/>
            <p:cNvSpPr/>
            <p:nvPr/>
          </p:nvSpPr>
          <p:spPr>
            <a:xfrm>
              <a:off x="54944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3" name="Google Shape;3143;p53"/>
            <p:cNvSpPr/>
            <p:nvPr/>
          </p:nvSpPr>
          <p:spPr>
            <a:xfrm>
              <a:off x="54944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4" name="Google Shape;3144;p53"/>
            <p:cNvSpPr/>
            <p:nvPr/>
          </p:nvSpPr>
          <p:spPr>
            <a:xfrm>
              <a:off x="54944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5" name="Google Shape;3145;p53"/>
            <p:cNvSpPr/>
            <p:nvPr/>
          </p:nvSpPr>
          <p:spPr>
            <a:xfrm>
              <a:off x="54944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6" name="Google Shape;3146;p53"/>
            <p:cNvSpPr/>
            <p:nvPr/>
          </p:nvSpPr>
          <p:spPr>
            <a:xfrm>
              <a:off x="63323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7" name="Google Shape;3147;p53"/>
            <p:cNvSpPr/>
            <p:nvPr/>
          </p:nvSpPr>
          <p:spPr>
            <a:xfrm>
              <a:off x="63323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8" name="Google Shape;3148;p53"/>
            <p:cNvSpPr/>
            <p:nvPr/>
          </p:nvSpPr>
          <p:spPr>
            <a:xfrm>
              <a:off x="64083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9" name="Google Shape;3149;p53"/>
            <p:cNvSpPr/>
            <p:nvPr/>
          </p:nvSpPr>
          <p:spPr>
            <a:xfrm>
              <a:off x="64083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0" name="Google Shape;3150;p53"/>
            <p:cNvSpPr/>
            <p:nvPr/>
          </p:nvSpPr>
          <p:spPr>
            <a:xfrm>
              <a:off x="64845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1" name="Google Shape;3151;p53"/>
            <p:cNvSpPr/>
            <p:nvPr/>
          </p:nvSpPr>
          <p:spPr>
            <a:xfrm>
              <a:off x="64845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2" name="Google Shape;3152;p53"/>
            <p:cNvSpPr/>
            <p:nvPr/>
          </p:nvSpPr>
          <p:spPr>
            <a:xfrm>
              <a:off x="64845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3" name="Google Shape;3153;p53"/>
            <p:cNvSpPr/>
            <p:nvPr/>
          </p:nvSpPr>
          <p:spPr>
            <a:xfrm>
              <a:off x="65608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4" name="Google Shape;3154;p53"/>
            <p:cNvSpPr/>
            <p:nvPr/>
          </p:nvSpPr>
          <p:spPr>
            <a:xfrm>
              <a:off x="65608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5" name="Google Shape;3155;p53"/>
            <p:cNvSpPr/>
            <p:nvPr/>
          </p:nvSpPr>
          <p:spPr>
            <a:xfrm>
              <a:off x="6637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6" name="Google Shape;3156;p53"/>
            <p:cNvSpPr/>
            <p:nvPr/>
          </p:nvSpPr>
          <p:spPr>
            <a:xfrm>
              <a:off x="70940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7" name="Google Shape;3157;p53"/>
            <p:cNvSpPr/>
            <p:nvPr/>
          </p:nvSpPr>
          <p:spPr>
            <a:xfrm>
              <a:off x="67132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8" name="Google Shape;3158;p53"/>
            <p:cNvSpPr/>
            <p:nvPr/>
          </p:nvSpPr>
          <p:spPr>
            <a:xfrm>
              <a:off x="678922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9" name="Google Shape;3159;p53"/>
            <p:cNvSpPr/>
            <p:nvPr/>
          </p:nvSpPr>
          <p:spPr>
            <a:xfrm>
              <a:off x="68656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0" name="Google Shape;3160;p53"/>
            <p:cNvSpPr/>
            <p:nvPr/>
          </p:nvSpPr>
          <p:spPr>
            <a:xfrm>
              <a:off x="701787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1" name="Google Shape;3161;p53"/>
            <p:cNvSpPr/>
            <p:nvPr/>
          </p:nvSpPr>
          <p:spPr>
            <a:xfrm>
              <a:off x="69418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2" name="Google Shape;3162;p53"/>
            <p:cNvSpPr/>
            <p:nvPr/>
          </p:nvSpPr>
          <p:spPr>
            <a:xfrm>
              <a:off x="68656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3" name="Google Shape;3163;p53"/>
            <p:cNvSpPr/>
            <p:nvPr/>
          </p:nvSpPr>
          <p:spPr>
            <a:xfrm>
              <a:off x="67892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4" name="Google Shape;3164;p53"/>
            <p:cNvSpPr/>
            <p:nvPr/>
          </p:nvSpPr>
          <p:spPr>
            <a:xfrm>
              <a:off x="67132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5" name="Google Shape;3165;p53"/>
            <p:cNvSpPr/>
            <p:nvPr/>
          </p:nvSpPr>
          <p:spPr>
            <a:xfrm>
              <a:off x="66370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6" name="Google Shape;3166;p53"/>
            <p:cNvSpPr/>
            <p:nvPr/>
          </p:nvSpPr>
          <p:spPr>
            <a:xfrm>
              <a:off x="66370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7" name="Google Shape;3167;p53"/>
            <p:cNvSpPr/>
            <p:nvPr/>
          </p:nvSpPr>
          <p:spPr>
            <a:xfrm>
              <a:off x="65608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8" name="Google Shape;3168;p53"/>
            <p:cNvSpPr/>
            <p:nvPr/>
          </p:nvSpPr>
          <p:spPr>
            <a:xfrm>
              <a:off x="64845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9" name="Google Shape;3169;p53"/>
            <p:cNvSpPr/>
            <p:nvPr/>
          </p:nvSpPr>
          <p:spPr>
            <a:xfrm>
              <a:off x="64083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0" name="Google Shape;3170;p53"/>
            <p:cNvSpPr/>
            <p:nvPr/>
          </p:nvSpPr>
          <p:spPr>
            <a:xfrm>
              <a:off x="63323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1" name="Google Shape;3171;p53"/>
            <p:cNvSpPr/>
            <p:nvPr/>
          </p:nvSpPr>
          <p:spPr>
            <a:xfrm>
              <a:off x="58752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2" name="Google Shape;3172;p53"/>
            <p:cNvSpPr/>
            <p:nvPr/>
          </p:nvSpPr>
          <p:spPr>
            <a:xfrm>
              <a:off x="58752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3" name="Google Shape;3173;p53"/>
            <p:cNvSpPr/>
            <p:nvPr/>
          </p:nvSpPr>
          <p:spPr>
            <a:xfrm>
              <a:off x="59514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4" name="Google Shape;3174;p53"/>
            <p:cNvSpPr/>
            <p:nvPr/>
          </p:nvSpPr>
          <p:spPr>
            <a:xfrm>
              <a:off x="5951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5" name="Google Shape;3175;p53"/>
            <p:cNvSpPr/>
            <p:nvPr/>
          </p:nvSpPr>
          <p:spPr>
            <a:xfrm>
              <a:off x="5951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6" name="Google Shape;3176;p53"/>
            <p:cNvSpPr/>
            <p:nvPr/>
          </p:nvSpPr>
          <p:spPr>
            <a:xfrm>
              <a:off x="5951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7" name="Google Shape;3177;p53"/>
            <p:cNvSpPr/>
            <p:nvPr/>
          </p:nvSpPr>
          <p:spPr>
            <a:xfrm>
              <a:off x="5951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8" name="Google Shape;3178;p53"/>
            <p:cNvSpPr/>
            <p:nvPr/>
          </p:nvSpPr>
          <p:spPr>
            <a:xfrm>
              <a:off x="5951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9" name="Google Shape;3179;p53"/>
            <p:cNvSpPr/>
            <p:nvPr/>
          </p:nvSpPr>
          <p:spPr>
            <a:xfrm>
              <a:off x="5951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0" name="Google Shape;3180;p53"/>
            <p:cNvSpPr/>
            <p:nvPr/>
          </p:nvSpPr>
          <p:spPr>
            <a:xfrm>
              <a:off x="5951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1" name="Google Shape;3181;p53"/>
            <p:cNvSpPr/>
            <p:nvPr/>
          </p:nvSpPr>
          <p:spPr>
            <a:xfrm>
              <a:off x="5951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2" name="Google Shape;3182;p53"/>
            <p:cNvSpPr/>
            <p:nvPr/>
          </p:nvSpPr>
          <p:spPr>
            <a:xfrm>
              <a:off x="60275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3" name="Google Shape;3183;p53"/>
            <p:cNvSpPr/>
            <p:nvPr/>
          </p:nvSpPr>
          <p:spPr>
            <a:xfrm>
              <a:off x="60275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4" name="Google Shape;3184;p53"/>
            <p:cNvSpPr/>
            <p:nvPr/>
          </p:nvSpPr>
          <p:spPr>
            <a:xfrm>
              <a:off x="60275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5" name="Google Shape;3185;p53"/>
            <p:cNvSpPr/>
            <p:nvPr/>
          </p:nvSpPr>
          <p:spPr>
            <a:xfrm>
              <a:off x="60275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6" name="Google Shape;3186;p53"/>
            <p:cNvSpPr/>
            <p:nvPr/>
          </p:nvSpPr>
          <p:spPr>
            <a:xfrm>
              <a:off x="60275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7" name="Google Shape;3187;p53"/>
            <p:cNvSpPr/>
            <p:nvPr/>
          </p:nvSpPr>
          <p:spPr>
            <a:xfrm>
              <a:off x="60275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8" name="Google Shape;3188;p53"/>
            <p:cNvSpPr/>
            <p:nvPr/>
          </p:nvSpPr>
          <p:spPr>
            <a:xfrm>
              <a:off x="60275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9" name="Google Shape;3189;p53"/>
            <p:cNvSpPr/>
            <p:nvPr/>
          </p:nvSpPr>
          <p:spPr>
            <a:xfrm>
              <a:off x="60275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9" y="481"/>
                    <a:pt x="0" y="1074"/>
                  </a:cubicBezTo>
                  <a:cubicBezTo>
                    <a:pt x="0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0" name="Google Shape;3190;p53"/>
            <p:cNvSpPr/>
            <p:nvPr/>
          </p:nvSpPr>
          <p:spPr>
            <a:xfrm>
              <a:off x="61037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1" name="Google Shape;3191;p53"/>
            <p:cNvSpPr/>
            <p:nvPr/>
          </p:nvSpPr>
          <p:spPr>
            <a:xfrm>
              <a:off x="61037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2" name="Google Shape;3192;p53"/>
            <p:cNvSpPr/>
            <p:nvPr/>
          </p:nvSpPr>
          <p:spPr>
            <a:xfrm>
              <a:off x="61037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3" name="Google Shape;3193;p53"/>
            <p:cNvSpPr/>
            <p:nvPr/>
          </p:nvSpPr>
          <p:spPr>
            <a:xfrm>
              <a:off x="61037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4" name="Google Shape;3194;p53"/>
            <p:cNvSpPr/>
            <p:nvPr/>
          </p:nvSpPr>
          <p:spPr>
            <a:xfrm>
              <a:off x="61037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5" name="Google Shape;3195;p53"/>
            <p:cNvSpPr/>
            <p:nvPr/>
          </p:nvSpPr>
          <p:spPr>
            <a:xfrm>
              <a:off x="61037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6" name="Google Shape;3196;p53"/>
            <p:cNvSpPr/>
            <p:nvPr/>
          </p:nvSpPr>
          <p:spPr>
            <a:xfrm>
              <a:off x="61037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7" name="Google Shape;3197;p53"/>
            <p:cNvSpPr/>
            <p:nvPr/>
          </p:nvSpPr>
          <p:spPr>
            <a:xfrm>
              <a:off x="61037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8" name="Google Shape;3198;p53"/>
            <p:cNvSpPr/>
            <p:nvPr/>
          </p:nvSpPr>
          <p:spPr>
            <a:xfrm>
              <a:off x="6179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9" name="Google Shape;3199;p53"/>
            <p:cNvSpPr/>
            <p:nvPr/>
          </p:nvSpPr>
          <p:spPr>
            <a:xfrm>
              <a:off x="6179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0" name="Google Shape;3200;p53"/>
            <p:cNvSpPr/>
            <p:nvPr/>
          </p:nvSpPr>
          <p:spPr>
            <a:xfrm>
              <a:off x="6179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1" name="Google Shape;3201;p53"/>
            <p:cNvSpPr/>
            <p:nvPr/>
          </p:nvSpPr>
          <p:spPr>
            <a:xfrm>
              <a:off x="62561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2" name="Google Shape;3202;p53"/>
            <p:cNvSpPr/>
            <p:nvPr/>
          </p:nvSpPr>
          <p:spPr>
            <a:xfrm>
              <a:off x="62561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3" name="Google Shape;3203;p53"/>
            <p:cNvSpPr/>
            <p:nvPr/>
          </p:nvSpPr>
          <p:spPr>
            <a:xfrm>
              <a:off x="62561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4" name="Google Shape;3204;p53"/>
            <p:cNvSpPr/>
            <p:nvPr/>
          </p:nvSpPr>
          <p:spPr>
            <a:xfrm>
              <a:off x="62561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5" name="Google Shape;3205;p53"/>
            <p:cNvSpPr/>
            <p:nvPr/>
          </p:nvSpPr>
          <p:spPr>
            <a:xfrm>
              <a:off x="61799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6" name="Google Shape;3206;p53"/>
            <p:cNvSpPr/>
            <p:nvPr/>
          </p:nvSpPr>
          <p:spPr>
            <a:xfrm>
              <a:off x="61799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7" name="Google Shape;3207;p53"/>
            <p:cNvSpPr/>
            <p:nvPr/>
          </p:nvSpPr>
          <p:spPr>
            <a:xfrm>
              <a:off x="61799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8" name="Google Shape;3208;p53"/>
            <p:cNvSpPr/>
            <p:nvPr/>
          </p:nvSpPr>
          <p:spPr>
            <a:xfrm>
              <a:off x="61799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9" name="Google Shape;3209;p53"/>
            <p:cNvSpPr/>
            <p:nvPr/>
          </p:nvSpPr>
          <p:spPr>
            <a:xfrm>
              <a:off x="61799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0" name="Google Shape;3210;p53"/>
            <p:cNvSpPr/>
            <p:nvPr/>
          </p:nvSpPr>
          <p:spPr>
            <a:xfrm>
              <a:off x="61799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1" name="Google Shape;3211;p53"/>
            <p:cNvSpPr/>
            <p:nvPr/>
          </p:nvSpPr>
          <p:spPr>
            <a:xfrm>
              <a:off x="61037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2" name="Google Shape;3212;p53"/>
            <p:cNvSpPr/>
            <p:nvPr/>
          </p:nvSpPr>
          <p:spPr>
            <a:xfrm>
              <a:off x="60275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3" name="Google Shape;3213;p53"/>
            <p:cNvSpPr/>
            <p:nvPr/>
          </p:nvSpPr>
          <p:spPr>
            <a:xfrm>
              <a:off x="60275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4" name="Google Shape;3214;p53"/>
            <p:cNvSpPr/>
            <p:nvPr/>
          </p:nvSpPr>
          <p:spPr>
            <a:xfrm>
              <a:off x="5951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5" name="Google Shape;3215;p53"/>
            <p:cNvSpPr/>
            <p:nvPr/>
          </p:nvSpPr>
          <p:spPr>
            <a:xfrm>
              <a:off x="54944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6" name="Google Shape;3216;p53"/>
            <p:cNvSpPr/>
            <p:nvPr/>
          </p:nvSpPr>
          <p:spPr>
            <a:xfrm>
              <a:off x="54944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7" name="Google Shape;3217;p53"/>
            <p:cNvSpPr/>
            <p:nvPr/>
          </p:nvSpPr>
          <p:spPr>
            <a:xfrm>
              <a:off x="54944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8" name="Google Shape;3218;p53"/>
            <p:cNvSpPr/>
            <p:nvPr/>
          </p:nvSpPr>
          <p:spPr>
            <a:xfrm>
              <a:off x="54944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5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9" name="Google Shape;3219;p53"/>
            <p:cNvSpPr/>
            <p:nvPr/>
          </p:nvSpPr>
          <p:spPr>
            <a:xfrm>
              <a:off x="54944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0" name="Google Shape;3220;p53"/>
            <p:cNvSpPr/>
            <p:nvPr/>
          </p:nvSpPr>
          <p:spPr>
            <a:xfrm>
              <a:off x="54944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1" name="Google Shape;3221;p53"/>
            <p:cNvSpPr/>
            <p:nvPr/>
          </p:nvSpPr>
          <p:spPr>
            <a:xfrm>
              <a:off x="54944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2" name="Google Shape;3222;p53"/>
            <p:cNvSpPr/>
            <p:nvPr/>
          </p:nvSpPr>
          <p:spPr>
            <a:xfrm>
              <a:off x="54944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3" name="Google Shape;3223;p53"/>
            <p:cNvSpPr/>
            <p:nvPr/>
          </p:nvSpPr>
          <p:spPr>
            <a:xfrm>
              <a:off x="54944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4" name="Google Shape;3224;p53"/>
            <p:cNvSpPr/>
            <p:nvPr/>
          </p:nvSpPr>
          <p:spPr>
            <a:xfrm>
              <a:off x="54944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5" name="Google Shape;3225;p53"/>
            <p:cNvSpPr/>
            <p:nvPr/>
          </p:nvSpPr>
          <p:spPr>
            <a:xfrm>
              <a:off x="54944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6" name="Google Shape;3226;p53"/>
            <p:cNvSpPr/>
            <p:nvPr/>
          </p:nvSpPr>
          <p:spPr>
            <a:xfrm>
              <a:off x="54944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2" y="2137"/>
                    <a:pt x="1067" y="2137"/>
                  </a:cubicBezTo>
                  <a:cubicBezTo>
                    <a:pt x="1329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7" name="Google Shape;3227;p53"/>
            <p:cNvSpPr/>
            <p:nvPr/>
          </p:nvSpPr>
          <p:spPr>
            <a:xfrm>
              <a:off x="54944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8" name="Google Shape;3228;p53"/>
            <p:cNvSpPr/>
            <p:nvPr/>
          </p:nvSpPr>
          <p:spPr>
            <a:xfrm>
              <a:off x="54944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9" name="Google Shape;3229;p53"/>
            <p:cNvSpPr/>
            <p:nvPr/>
          </p:nvSpPr>
          <p:spPr>
            <a:xfrm>
              <a:off x="54944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0" name="Google Shape;3230;p53"/>
            <p:cNvSpPr/>
            <p:nvPr/>
          </p:nvSpPr>
          <p:spPr>
            <a:xfrm>
              <a:off x="55706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1" name="Google Shape;3231;p53"/>
            <p:cNvSpPr/>
            <p:nvPr/>
          </p:nvSpPr>
          <p:spPr>
            <a:xfrm>
              <a:off x="55706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2" name="Google Shape;3232;p53"/>
            <p:cNvSpPr/>
            <p:nvPr/>
          </p:nvSpPr>
          <p:spPr>
            <a:xfrm>
              <a:off x="55706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3" name="Google Shape;3233;p53"/>
            <p:cNvSpPr/>
            <p:nvPr/>
          </p:nvSpPr>
          <p:spPr>
            <a:xfrm>
              <a:off x="55706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4" name="Google Shape;3234;p53"/>
            <p:cNvSpPr/>
            <p:nvPr/>
          </p:nvSpPr>
          <p:spPr>
            <a:xfrm>
              <a:off x="5570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5" name="Google Shape;3235;p53"/>
            <p:cNvSpPr/>
            <p:nvPr/>
          </p:nvSpPr>
          <p:spPr>
            <a:xfrm>
              <a:off x="5570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6" name="Google Shape;3236;p53"/>
            <p:cNvSpPr/>
            <p:nvPr/>
          </p:nvSpPr>
          <p:spPr>
            <a:xfrm>
              <a:off x="5570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7" name="Google Shape;3237;p53"/>
            <p:cNvSpPr/>
            <p:nvPr/>
          </p:nvSpPr>
          <p:spPr>
            <a:xfrm>
              <a:off x="5570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8" name="Google Shape;3238;p53"/>
            <p:cNvSpPr/>
            <p:nvPr/>
          </p:nvSpPr>
          <p:spPr>
            <a:xfrm>
              <a:off x="5570625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9" name="Google Shape;3239;p53"/>
            <p:cNvSpPr/>
            <p:nvPr/>
          </p:nvSpPr>
          <p:spPr>
            <a:xfrm>
              <a:off x="5570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0" name="Google Shape;3240;p53"/>
            <p:cNvSpPr/>
            <p:nvPr/>
          </p:nvSpPr>
          <p:spPr>
            <a:xfrm>
              <a:off x="55706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1" name="Google Shape;3241;p53"/>
            <p:cNvSpPr/>
            <p:nvPr/>
          </p:nvSpPr>
          <p:spPr>
            <a:xfrm>
              <a:off x="55706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2" name="Google Shape;3242;p53"/>
            <p:cNvSpPr/>
            <p:nvPr/>
          </p:nvSpPr>
          <p:spPr>
            <a:xfrm>
              <a:off x="55706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3" name="Google Shape;3243;p53"/>
            <p:cNvSpPr/>
            <p:nvPr/>
          </p:nvSpPr>
          <p:spPr>
            <a:xfrm>
              <a:off x="5570625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4" name="Google Shape;3244;p53"/>
            <p:cNvSpPr/>
            <p:nvPr/>
          </p:nvSpPr>
          <p:spPr>
            <a:xfrm>
              <a:off x="55706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5" name="Google Shape;3245;p53"/>
            <p:cNvSpPr/>
            <p:nvPr/>
          </p:nvSpPr>
          <p:spPr>
            <a:xfrm>
              <a:off x="55706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6" name="Google Shape;3246;p53"/>
            <p:cNvSpPr/>
            <p:nvPr/>
          </p:nvSpPr>
          <p:spPr>
            <a:xfrm>
              <a:off x="55706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7" name="Google Shape;3247;p53"/>
            <p:cNvSpPr/>
            <p:nvPr/>
          </p:nvSpPr>
          <p:spPr>
            <a:xfrm>
              <a:off x="55706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8" name="Google Shape;3248;p53"/>
            <p:cNvSpPr/>
            <p:nvPr/>
          </p:nvSpPr>
          <p:spPr>
            <a:xfrm>
              <a:off x="55706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9" name="Google Shape;3249;p53"/>
            <p:cNvSpPr/>
            <p:nvPr/>
          </p:nvSpPr>
          <p:spPr>
            <a:xfrm>
              <a:off x="55706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0" name="Google Shape;3250;p53"/>
            <p:cNvSpPr/>
            <p:nvPr/>
          </p:nvSpPr>
          <p:spPr>
            <a:xfrm>
              <a:off x="55706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1" name="Google Shape;3251;p53"/>
            <p:cNvSpPr/>
            <p:nvPr/>
          </p:nvSpPr>
          <p:spPr>
            <a:xfrm>
              <a:off x="56468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2" name="Google Shape;3252;p53"/>
            <p:cNvSpPr/>
            <p:nvPr/>
          </p:nvSpPr>
          <p:spPr>
            <a:xfrm>
              <a:off x="56468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3" name="Google Shape;3253;p53"/>
            <p:cNvSpPr/>
            <p:nvPr/>
          </p:nvSpPr>
          <p:spPr>
            <a:xfrm>
              <a:off x="5646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4" name="Google Shape;3254;p53"/>
            <p:cNvSpPr/>
            <p:nvPr/>
          </p:nvSpPr>
          <p:spPr>
            <a:xfrm>
              <a:off x="5646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5" name="Google Shape;3255;p53"/>
            <p:cNvSpPr/>
            <p:nvPr/>
          </p:nvSpPr>
          <p:spPr>
            <a:xfrm>
              <a:off x="5646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6" name="Google Shape;3256;p53"/>
            <p:cNvSpPr/>
            <p:nvPr/>
          </p:nvSpPr>
          <p:spPr>
            <a:xfrm>
              <a:off x="5646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7" name="Google Shape;3257;p53"/>
            <p:cNvSpPr/>
            <p:nvPr/>
          </p:nvSpPr>
          <p:spPr>
            <a:xfrm>
              <a:off x="5646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8" name="Google Shape;3258;p53"/>
            <p:cNvSpPr/>
            <p:nvPr/>
          </p:nvSpPr>
          <p:spPr>
            <a:xfrm>
              <a:off x="5646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9" name="Google Shape;3259;p53"/>
            <p:cNvSpPr/>
            <p:nvPr/>
          </p:nvSpPr>
          <p:spPr>
            <a:xfrm>
              <a:off x="5646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0" name="Google Shape;3260;p53"/>
            <p:cNvSpPr/>
            <p:nvPr/>
          </p:nvSpPr>
          <p:spPr>
            <a:xfrm>
              <a:off x="56468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1" name="Google Shape;3261;p53"/>
            <p:cNvSpPr/>
            <p:nvPr/>
          </p:nvSpPr>
          <p:spPr>
            <a:xfrm>
              <a:off x="56468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2" name="Google Shape;3262;p53"/>
            <p:cNvSpPr/>
            <p:nvPr/>
          </p:nvSpPr>
          <p:spPr>
            <a:xfrm>
              <a:off x="56468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3" name="Google Shape;3263;p53"/>
            <p:cNvSpPr/>
            <p:nvPr/>
          </p:nvSpPr>
          <p:spPr>
            <a:xfrm>
              <a:off x="56468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4" name="Google Shape;3264;p53"/>
            <p:cNvSpPr/>
            <p:nvPr/>
          </p:nvSpPr>
          <p:spPr>
            <a:xfrm>
              <a:off x="56468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5" name="Google Shape;3265;p53"/>
            <p:cNvSpPr/>
            <p:nvPr/>
          </p:nvSpPr>
          <p:spPr>
            <a:xfrm>
              <a:off x="56468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6" name="Google Shape;3266;p53"/>
            <p:cNvSpPr/>
            <p:nvPr/>
          </p:nvSpPr>
          <p:spPr>
            <a:xfrm>
              <a:off x="56468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7" name="Google Shape;3267;p53"/>
            <p:cNvSpPr/>
            <p:nvPr/>
          </p:nvSpPr>
          <p:spPr>
            <a:xfrm>
              <a:off x="56468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8" name="Google Shape;3268;p53"/>
            <p:cNvSpPr/>
            <p:nvPr/>
          </p:nvSpPr>
          <p:spPr>
            <a:xfrm>
              <a:off x="57230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9" name="Google Shape;3269;p53"/>
            <p:cNvSpPr/>
            <p:nvPr/>
          </p:nvSpPr>
          <p:spPr>
            <a:xfrm>
              <a:off x="57230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0" name="Google Shape;3270;p53"/>
            <p:cNvSpPr/>
            <p:nvPr/>
          </p:nvSpPr>
          <p:spPr>
            <a:xfrm>
              <a:off x="57230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6" y="1149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1" name="Google Shape;3271;p53"/>
            <p:cNvSpPr/>
            <p:nvPr/>
          </p:nvSpPr>
          <p:spPr>
            <a:xfrm>
              <a:off x="57230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2" name="Google Shape;3272;p53"/>
            <p:cNvSpPr/>
            <p:nvPr/>
          </p:nvSpPr>
          <p:spPr>
            <a:xfrm>
              <a:off x="57230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3" name="Google Shape;3273;p53"/>
            <p:cNvSpPr/>
            <p:nvPr/>
          </p:nvSpPr>
          <p:spPr>
            <a:xfrm>
              <a:off x="57230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4" name="Google Shape;3274;p53"/>
            <p:cNvSpPr/>
            <p:nvPr/>
          </p:nvSpPr>
          <p:spPr>
            <a:xfrm>
              <a:off x="57230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5" name="Google Shape;3275;p53"/>
            <p:cNvSpPr/>
            <p:nvPr/>
          </p:nvSpPr>
          <p:spPr>
            <a:xfrm>
              <a:off x="57230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6" name="Google Shape;3276;p53"/>
            <p:cNvSpPr/>
            <p:nvPr/>
          </p:nvSpPr>
          <p:spPr>
            <a:xfrm>
              <a:off x="57230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7" name="Google Shape;3277;p53"/>
            <p:cNvSpPr/>
            <p:nvPr/>
          </p:nvSpPr>
          <p:spPr>
            <a:xfrm>
              <a:off x="57230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8" name="Google Shape;3278;p53"/>
            <p:cNvSpPr/>
            <p:nvPr/>
          </p:nvSpPr>
          <p:spPr>
            <a:xfrm>
              <a:off x="57230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9" name="Google Shape;3279;p53"/>
            <p:cNvSpPr/>
            <p:nvPr/>
          </p:nvSpPr>
          <p:spPr>
            <a:xfrm>
              <a:off x="5723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0" name="Google Shape;3280;p53"/>
            <p:cNvSpPr/>
            <p:nvPr/>
          </p:nvSpPr>
          <p:spPr>
            <a:xfrm>
              <a:off x="57230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1" name="Google Shape;3281;p53"/>
            <p:cNvSpPr/>
            <p:nvPr/>
          </p:nvSpPr>
          <p:spPr>
            <a:xfrm>
              <a:off x="57228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2" name="Google Shape;3282;p53"/>
            <p:cNvSpPr/>
            <p:nvPr/>
          </p:nvSpPr>
          <p:spPr>
            <a:xfrm>
              <a:off x="57230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3" name="Google Shape;3283;p53"/>
            <p:cNvSpPr/>
            <p:nvPr/>
          </p:nvSpPr>
          <p:spPr>
            <a:xfrm>
              <a:off x="57228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4" name="Google Shape;3284;p53"/>
            <p:cNvSpPr/>
            <p:nvPr/>
          </p:nvSpPr>
          <p:spPr>
            <a:xfrm>
              <a:off x="57992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5" name="Google Shape;3285;p53"/>
            <p:cNvSpPr/>
            <p:nvPr/>
          </p:nvSpPr>
          <p:spPr>
            <a:xfrm>
              <a:off x="5799275" y="14952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0"/>
                    <a:pt x="1067" y="2130"/>
                  </a:cubicBezTo>
                  <a:cubicBezTo>
                    <a:pt x="1329" y="2130"/>
                    <a:pt x="1596" y="2032"/>
                    <a:pt x="1813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6" name="Google Shape;3286;p53"/>
            <p:cNvSpPr/>
            <p:nvPr/>
          </p:nvSpPr>
          <p:spPr>
            <a:xfrm>
              <a:off x="5799275" y="15714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1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7" name="Google Shape;3287;p53"/>
            <p:cNvSpPr/>
            <p:nvPr/>
          </p:nvSpPr>
          <p:spPr>
            <a:xfrm>
              <a:off x="57992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8" name="Google Shape;3288;p53"/>
            <p:cNvSpPr/>
            <p:nvPr/>
          </p:nvSpPr>
          <p:spPr>
            <a:xfrm>
              <a:off x="57992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9" name="Google Shape;3289;p53"/>
            <p:cNvSpPr/>
            <p:nvPr/>
          </p:nvSpPr>
          <p:spPr>
            <a:xfrm>
              <a:off x="5799275" y="17998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1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5" y="1150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0" name="Google Shape;3290;p53"/>
            <p:cNvSpPr/>
            <p:nvPr/>
          </p:nvSpPr>
          <p:spPr>
            <a:xfrm>
              <a:off x="5799275" y="18760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1" name="Google Shape;3291;p53"/>
            <p:cNvSpPr/>
            <p:nvPr/>
          </p:nvSpPr>
          <p:spPr>
            <a:xfrm>
              <a:off x="5799275" y="1952050"/>
              <a:ext cx="62200" cy="53500"/>
            </a:xfrm>
            <a:custGeom>
              <a:avLst/>
              <a:gdLst/>
              <a:ahLst/>
              <a:cxnLst/>
              <a:rect l="l" t="t" r="r" b="b"/>
              <a:pathLst>
                <a:path w="2488" h="2140" extrusionOk="0">
                  <a:moveTo>
                    <a:pt x="1057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6"/>
                    <a:pt x="522" y="2139"/>
                    <a:pt x="1069" y="2139"/>
                  </a:cubicBezTo>
                  <a:cubicBezTo>
                    <a:pt x="1333" y="2139"/>
                    <a:pt x="1602" y="2041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2" name="Google Shape;3292;p53"/>
            <p:cNvSpPr/>
            <p:nvPr/>
          </p:nvSpPr>
          <p:spPr>
            <a:xfrm>
              <a:off x="57992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3" name="Google Shape;3293;p53"/>
            <p:cNvSpPr/>
            <p:nvPr/>
          </p:nvSpPr>
          <p:spPr>
            <a:xfrm>
              <a:off x="5875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4" name="Google Shape;3294;p53"/>
            <p:cNvSpPr/>
            <p:nvPr/>
          </p:nvSpPr>
          <p:spPr>
            <a:xfrm>
              <a:off x="5875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5" name="Google Shape;3295;p53"/>
            <p:cNvSpPr/>
            <p:nvPr/>
          </p:nvSpPr>
          <p:spPr>
            <a:xfrm>
              <a:off x="5875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6" name="Google Shape;3296;p53"/>
            <p:cNvSpPr/>
            <p:nvPr/>
          </p:nvSpPr>
          <p:spPr>
            <a:xfrm>
              <a:off x="5875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7" name="Google Shape;3297;p53"/>
            <p:cNvSpPr/>
            <p:nvPr/>
          </p:nvSpPr>
          <p:spPr>
            <a:xfrm>
              <a:off x="58752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8" name="Google Shape;3298;p53"/>
            <p:cNvSpPr/>
            <p:nvPr/>
          </p:nvSpPr>
          <p:spPr>
            <a:xfrm>
              <a:off x="58752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9" name="Google Shape;3299;p53"/>
            <p:cNvSpPr/>
            <p:nvPr/>
          </p:nvSpPr>
          <p:spPr>
            <a:xfrm>
              <a:off x="587527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0" name="Google Shape;3300;p53"/>
            <p:cNvSpPr/>
            <p:nvPr/>
          </p:nvSpPr>
          <p:spPr>
            <a:xfrm>
              <a:off x="58752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1" name="Google Shape;3301;p53"/>
            <p:cNvSpPr/>
            <p:nvPr/>
          </p:nvSpPr>
          <p:spPr>
            <a:xfrm>
              <a:off x="58752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2" name="Google Shape;3302;p53"/>
            <p:cNvSpPr/>
            <p:nvPr/>
          </p:nvSpPr>
          <p:spPr>
            <a:xfrm>
              <a:off x="58752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3" name="Google Shape;3303;p53"/>
            <p:cNvSpPr/>
            <p:nvPr/>
          </p:nvSpPr>
          <p:spPr>
            <a:xfrm>
              <a:off x="57992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4" name="Google Shape;3304;p53"/>
            <p:cNvSpPr/>
            <p:nvPr/>
          </p:nvSpPr>
          <p:spPr>
            <a:xfrm>
              <a:off x="5799275" y="21807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5" name="Google Shape;3305;p53"/>
            <p:cNvSpPr/>
            <p:nvPr/>
          </p:nvSpPr>
          <p:spPr>
            <a:xfrm>
              <a:off x="5799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3" y="1149"/>
                    <a:pt x="2019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6" name="Google Shape;3306;p53"/>
            <p:cNvSpPr/>
            <p:nvPr/>
          </p:nvSpPr>
          <p:spPr>
            <a:xfrm>
              <a:off x="57992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7" name="Google Shape;3307;p53"/>
            <p:cNvSpPr/>
            <p:nvPr/>
          </p:nvSpPr>
          <p:spPr>
            <a:xfrm>
              <a:off x="57990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8" name="Google Shape;3308;p53"/>
            <p:cNvSpPr/>
            <p:nvPr/>
          </p:nvSpPr>
          <p:spPr>
            <a:xfrm>
              <a:off x="57992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57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9" name="Google Shape;3309;p53"/>
            <p:cNvSpPr/>
            <p:nvPr/>
          </p:nvSpPr>
          <p:spPr>
            <a:xfrm>
              <a:off x="57990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0" name="Google Shape;3310;p53"/>
            <p:cNvSpPr/>
            <p:nvPr/>
          </p:nvSpPr>
          <p:spPr>
            <a:xfrm>
              <a:off x="5799275" y="24093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1" name="Google Shape;3311;p53"/>
            <p:cNvSpPr/>
            <p:nvPr/>
          </p:nvSpPr>
          <p:spPr>
            <a:xfrm>
              <a:off x="57230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2" name="Google Shape;3312;p53"/>
            <p:cNvSpPr/>
            <p:nvPr/>
          </p:nvSpPr>
          <p:spPr>
            <a:xfrm>
              <a:off x="56468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3" name="Google Shape;3313;p53"/>
            <p:cNvSpPr/>
            <p:nvPr/>
          </p:nvSpPr>
          <p:spPr>
            <a:xfrm>
              <a:off x="55706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4" name="Google Shape;3314;p53"/>
            <p:cNvSpPr/>
            <p:nvPr/>
          </p:nvSpPr>
          <p:spPr>
            <a:xfrm>
              <a:off x="54944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5" name="Google Shape;3315;p53"/>
            <p:cNvSpPr/>
            <p:nvPr/>
          </p:nvSpPr>
          <p:spPr>
            <a:xfrm>
              <a:off x="54182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6" name="Google Shape;3316;p53"/>
            <p:cNvSpPr/>
            <p:nvPr/>
          </p:nvSpPr>
          <p:spPr>
            <a:xfrm>
              <a:off x="53419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7" name="Google Shape;3317;p53"/>
            <p:cNvSpPr/>
            <p:nvPr/>
          </p:nvSpPr>
          <p:spPr>
            <a:xfrm>
              <a:off x="60275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8" name="Google Shape;3318;p53"/>
            <p:cNvSpPr/>
            <p:nvPr/>
          </p:nvSpPr>
          <p:spPr>
            <a:xfrm>
              <a:off x="60275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9" name="Google Shape;3319;p53"/>
            <p:cNvSpPr/>
            <p:nvPr/>
          </p:nvSpPr>
          <p:spPr>
            <a:xfrm>
              <a:off x="610370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0" name="Google Shape;3320;p53"/>
            <p:cNvSpPr/>
            <p:nvPr/>
          </p:nvSpPr>
          <p:spPr>
            <a:xfrm>
              <a:off x="61037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1" name="Google Shape;3321;p53"/>
            <p:cNvSpPr/>
            <p:nvPr/>
          </p:nvSpPr>
          <p:spPr>
            <a:xfrm>
              <a:off x="59514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2" name="Google Shape;3322;p53"/>
            <p:cNvSpPr/>
            <p:nvPr/>
          </p:nvSpPr>
          <p:spPr>
            <a:xfrm>
              <a:off x="59514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3" name="Google Shape;3323;p53"/>
            <p:cNvSpPr/>
            <p:nvPr/>
          </p:nvSpPr>
          <p:spPr>
            <a:xfrm>
              <a:off x="587527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4" name="Google Shape;3324;p53"/>
            <p:cNvSpPr/>
            <p:nvPr/>
          </p:nvSpPr>
          <p:spPr>
            <a:xfrm>
              <a:off x="587527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5" name="Google Shape;3325;p53"/>
            <p:cNvSpPr/>
            <p:nvPr/>
          </p:nvSpPr>
          <p:spPr>
            <a:xfrm>
              <a:off x="58752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6" name="Google Shape;3326;p53"/>
            <p:cNvSpPr/>
            <p:nvPr/>
          </p:nvSpPr>
          <p:spPr>
            <a:xfrm>
              <a:off x="5799125" y="3399500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63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47"/>
                    <a:pt x="2014" y="1"/>
                    <a:pt x="106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7" name="Google Shape;3327;p53"/>
            <p:cNvSpPr/>
            <p:nvPr/>
          </p:nvSpPr>
          <p:spPr>
            <a:xfrm>
              <a:off x="57991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8" name="Google Shape;3328;p53"/>
            <p:cNvSpPr/>
            <p:nvPr/>
          </p:nvSpPr>
          <p:spPr>
            <a:xfrm>
              <a:off x="602750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9" name="Google Shape;3329;p53"/>
            <p:cNvSpPr/>
            <p:nvPr/>
          </p:nvSpPr>
          <p:spPr>
            <a:xfrm>
              <a:off x="59514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0" name="Google Shape;3330;p53"/>
            <p:cNvSpPr/>
            <p:nvPr/>
          </p:nvSpPr>
          <p:spPr>
            <a:xfrm>
              <a:off x="58752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1" name="Google Shape;3331;p53"/>
            <p:cNvSpPr/>
            <p:nvPr/>
          </p:nvSpPr>
          <p:spPr>
            <a:xfrm>
              <a:off x="5799050" y="3551925"/>
              <a:ext cx="62375" cy="53300"/>
            </a:xfrm>
            <a:custGeom>
              <a:avLst/>
              <a:gdLst/>
              <a:ahLst/>
              <a:cxnLst/>
              <a:rect l="l" t="t" r="r" b="b"/>
              <a:pathLst>
                <a:path w="2495" h="2132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80"/>
                    <a:pt x="9" y="1066"/>
                  </a:cubicBezTo>
                  <a:cubicBezTo>
                    <a:pt x="9" y="1708"/>
                    <a:pt x="531" y="2131"/>
                    <a:pt x="1078" y="2131"/>
                  </a:cubicBezTo>
                  <a:cubicBezTo>
                    <a:pt x="1342" y="2131"/>
                    <a:pt x="1611" y="2033"/>
                    <a:pt x="1830" y="1814"/>
                  </a:cubicBezTo>
                  <a:cubicBezTo>
                    <a:pt x="2494" y="1141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2" name="Google Shape;3332;p53"/>
            <p:cNvSpPr/>
            <p:nvPr/>
          </p:nvSpPr>
          <p:spPr>
            <a:xfrm>
              <a:off x="5723050" y="35519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6" y="1141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3" name="Google Shape;3333;p53"/>
            <p:cNvSpPr/>
            <p:nvPr/>
          </p:nvSpPr>
          <p:spPr>
            <a:xfrm>
              <a:off x="57230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4" name="Google Shape;3334;p53"/>
            <p:cNvSpPr/>
            <p:nvPr/>
          </p:nvSpPr>
          <p:spPr>
            <a:xfrm>
              <a:off x="56468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5" name="Google Shape;3335;p53"/>
            <p:cNvSpPr/>
            <p:nvPr/>
          </p:nvSpPr>
          <p:spPr>
            <a:xfrm>
              <a:off x="5646700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77" y="1"/>
                    <a:pt x="6" y="480"/>
                    <a:pt x="6" y="1066"/>
                  </a:cubicBezTo>
                  <a:cubicBezTo>
                    <a:pt x="0" y="1709"/>
                    <a:pt x="528" y="2134"/>
                    <a:pt x="1076" y="2134"/>
                  </a:cubicBezTo>
                  <a:cubicBezTo>
                    <a:pt x="1337" y="2134"/>
                    <a:pt x="1603" y="2037"/>
                    <a:pt x="1819" y="1822"/>
                  </a:cubicBezTo>
                  <a:cubicBezTo>
                    <a:pt x="2494" y="1147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6" name="Google Shape;3336;p53"/>
            <p:cNvSpPr/>
            <p:nvPr/>
          </p:nvSpPr>
          <p:spPr>
            <a:xfrm>
              <a:off x="5570475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86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7" name="Google Shape;3337;p53"/>
            <p:cNvSpPr/>
            <p:nvPr/>
          </p:nvSpPr>
          <p:spPr>
            <a:xfrm>
              <a:off x="5570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8" name="Google Shape;3338;p53"/>
            <p:cNvSpPr/>
            <p:nvPr/>
          </p:nvSpPr>
          <p:spPr>
            <a:xfrm>
              <a:off x="54942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3" y="1154"/>
                    <a:pt x="2022" y="8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9" name="Google Shape;3339;p53"/>
            <p:cNvSpPr/>
            <p:nvPr/>
          </p:nvSpPr>
          <p:spPr>
            <a:xfrm>
              <a:off x="5494275" y="3247075"/>
              <a:ext cx="62350" cy="53500"/>
            </a:xfrm>
            <a:custGeom>
              <a:avLst/>
              <a:gdLst/>
              <a:ahLst/>
              <a:cxnLst/>
              <a:rect l="l" t="t" r="r" b="b"/>
              <a:pathLst>
                <a:path w="2494" h="2140" extrusionOk="0">
                  <a:moveTo>
                    <a:pt x="1071" y="1"/>
                  </a:moveTo>
                  <a:cubicBezTo>
                    <a:pt x="485" y="1"/>
                    <a:pt x="6" y="480"/>
                    <a:pt x="6" y="1066"/>
                  </a:cubicBezTo>
                  <a:cubicBezTo>
                    <a:pt x="0" y="1711"/>
                    <a:pt x="527" y="2140"/>
                    <a:pt x="1077" y="2140"/>
                  </a:cubicBezTo>
                  <a:cubicBezTo>
                    <a:pt x="1337" y="2140"/>
                    <a:pt x="1602" y="2044"/>
                    <a:pt x="1819" y="1830"/>
                  </a:cubicBezTo>
                  <a:cubicBezTo>
                    <a:pt x="2493" y="1155"/>
                    <a:pt x="2022" y="9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0" name="Google Shape;3340;p53"/>
            <p:cNvSpPr/>
            <p:nvPr/>
          </p:nvSpPr>
          <p:spPr>
            <a:xfrm>
              <a:off x="5646700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1" name="Google Shape;3341;p53"/>
            <p:cNvSpPr/>
            <p:nvPr/>
          </p:nvSpPr>
          <p:spPr>
            <a:xfrm>
              <a:off x="5570625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2" name="Google Shape;3342;p53"/>
            <p:cNvSpPr/>
            <p:nvPr/>
          </p:nvSpPr>
          <p:spPr>
            <a:xfrm>
              <a:off x="54944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3" name="Google Shape;3343;p53"/>
            <p:cNvSpPr/>
            <p:nvPr/>
          </p:nvSpPr>
          <p:spPr>
            <a:xfrm>
              <a:off x="732252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4" name="Google Shape;3344;p53"/>
            <p:cNvSpPr/>
            <p:nvPr/>
          </p:nvSpPr>
          <p:spPr>
            <a:xfrm>
              <a:off x="7246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5" name="Google Shape;3345;p53"/>
            <p:cNvSpPr/>
            <p:nvPr/>
          </p:nvSpPr>
          <p:spPr>
            <a:xfrm>
              <a:off x="7246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6" name="Google Shape;3346;p53"/>
            <p:cNvSpPr/>
            <p:nvPr/>
          </p:nvSpPr>
          <p:spPr>
            <a:xfrm>
              <a:off x="71703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7" name="Google Shape;3347;p53"/>
            <p:cNvSpPr/>
            <p:nvPr/>
          </p:nvSpPr>
          <p:spPr>
            <a:xfrm>
              <a:off x="71703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8" name="Google Shape;3348;p53"/>
            <p:cNvSpPr/>
            <p:nvPr/>
          </p:nvSpPr>
          <p:spPr>
            <a:xfrm>
              <a:off x="70940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9" name="Google Shape;3349;p53"/>
            <p:cNvSpPr/>
            <p:nvPr/>
          </p:nvSpPr>
          <p:spPr>
            <a:xfrm>
              <a:off x="70940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0" name="Google Shape;3350;p53"/>
            <p:cNvSpPr/>
            <p:nvPr/>
          </p:nvSpPr>
          <p:spPr>
            <a:xfrm>
              <a:off x="70178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8" y="2129"/>
                    <a:pt x="1076" y="2129"/>
                  </a:cubicBezTo>
                  <a:cubicBezTo>
                    <a:pt x="1339" y="2129"/>
                    <a:pt x="1605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1" name="Google Shape;3351;p53"/>
            <p:cNvSpPr/>
            <p:nvPr/>
          </p:nvSpPr>
          <p:spPr>
            <a:xfrm>
              <a:off x="7017875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2" name="Google Shape;3352;p53"/>
            <p:cNvSpPr/>
            <p:nvPr/>
          </p:nvSpPr>
          <p:spPr>
            <a:xfrm>
              <a:off x="69418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3" name="Google Shape;3353;p53"/>
            <p:cNvSpPr/>
            <p:nvPr/>
          </p:nvSpPr>
          <p:spPr>
            <a:xfrm>
              <a:off x="69418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4" name="Google Shape;3354;p53"/>
            <p:cNvSpPr/>
            <p:nvPr/>
          </p:nvSpPr>
          <p:spPr>
            <a:xfrm>
              <a:off x="69418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5" name="Google Shape;3355;p53"/>
            <p:cNvSpPr/>
            <p:nvPr/>
          </p:nvSpPr>
          <p:spPr>
            <a:xfrm>
              <a:off x="69418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6" name="Google Shape;3356;p53"/>
            <p:cNvSpPr/>
            <p:nvPr/>
          </p:nvSpPr>
          <p:spPr>
            <a:xfrm>
              <a:off x="68656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7" name="Google Shape;3357;p53"/>
            <p:cNvSpPr/>
            <p:nvPr/>
          </p:nvSpPr>
          <p:spPr>
            <a:xfrm>
              <a:off x="68656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8" name="Google Shape;3358;p53"/>
            <p:cNvSpPr/>
            <p:nvPr/>
          </p:nvSpPr>
          <p:spPr>
            <a:xfrm>
              <a:off x="68656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9" name="Google Shape;3359;p53"/>
            <p:cNvSpPr/>
            <p:nvPr/>
          </p:nvSpPr>
          <p:spPr>
            <a:xfrm>
              <a:off x="68656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0" name="Google Shape;3360;p53"/>
            <p:cNvSpPr/>
            <p:nvPr/>
          </p:nvSpPr>
          <p:spPr>
            <a:xfrm>
              <a:off x="67892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1" name="Google Shape;3361;p53"/>
            <p:cNvSpPr/>
            <p:nvPr/>
          </p:nvSpPr>
          <p:spPr>
            <a:xfrm>
              <a:off x="67892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2" name="Google Shape;3362;p53"/>
            <p:cNvSpPr/>
            <p:nvPr/>
          </p:nvSpPr>
          <p:spPr>
            <a:xfrm>
              <a:off x="67892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3" name="Google Shape;3363;p53"/>
            <p:cNvSpPr/>
            <p:nvPr/>
          </p:nvSpPr>
          <p:spPr>
            <a:xfrm>
              <a:off x="67892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4" name="Google Shape;3364;p53"/>
            <p:cNvSpPr/>
            <p:nvPr/>
          </p:nvSpPr>
          <p:spPr>
            <a:xfrm>
              <a:off x="67132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5" name="Google Shape;3365;p53"/>
            <p:cNvSpPr/>
            <p:nvPr/>
          </p:nvSpPr>
          <p:spPr>
            <a:xfrm>
              <a:off x="67132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6" name="Google Shape;3366;p53"/>
            <p:cNvSpPr/>
            <p:nvPr/>
          </p:nvSpPr>
          <p:spPr>
            <a:xfrm>
              <a:off x="67132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7" name="Google Shape;3367;p53"/>
            <p:cNvSpPr/>
            <p:nvPr/>
          </p:nvSpPr>
          <p:spPr>
            <a:xfrm>
              <a:off x="67132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8" name="Google Shape;3368;p53"/>
            <p:cNvSpPr/>
            <p:nvPr/>
          </p:nvSpPr>
          <p:spPr>
            <a:xfrm>
              <a:off x="67132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9" name="Google Shape;3369;p53"/>
            <p:cNvSpPr/>
            <p:nvPr/>
          </p:nvSpPr>
          <p:spPr>
            <a:xfrm>
              <a:off x="6637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0" name="Google Shape;3370;p53"/>
            <p:cNvSpPr/>
            <p:nvPr/>
          </p:nvSpPr>
          <p:spPr>
            <a:xfrm>
              <a:off x="66370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1" name="Google Shape;3371;p53"/>
            <p:cNvSpPr/>
            <p:nvPr/>
          </p:nvSpPr>
          <p:spPr>
            <a:xfrm>
              <a:off x="6560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2" name="Google Shape;3372;p53"/>
            <p:cNvSpPr/>
            <p:nvPr/>
          </p:nvSpPr>
          <p:spPr>
            <a:xfrm>
              <a:off x="656080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3" name="Google Shape;3373;p53"/>
            <p:cNvSpPr/>
            <p:nvPr/>
          </p:nvSpPr>
          <p:spPr>
            <a:xfrm>
              <a:off x="656080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4" name="Google Shape;3374;p53"/>
            <p:cNvSpPr/>
            <p:nvPr/>
          </p:nvSpPr>
          <p:spPr>
            <a:xfrm>
              <a:off x="64845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5" name="Google Shape;3375;p53"/>
            <p:cNvSpPr/>
            <p:nvPr/>
          </p:nvSpPr>
          <p:spPr>
            <a:xfrm>
              <a:off x="64845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6" name="Google Shape;3376;p53"/>
            <p:cNvSpPr/>
            <p:nvPr/>
          </p:nvSpPr>
          <p:spPr>
            <a:xfrm>
              <a:off x="64083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7" name="Google Shape;3377;p53"/>
            <p:cNvSpPr/>
            <p:nvPr/>
          </p:nvSpPr>
          <p:spPr>
            <a:xfrm>
              <a:off x="64083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8" name="Google Shape;3378;p53"/>
            <p:cNvSpPr/>
            <p:nvPr/>
          </p:nvSpPr>
          <p:spPr>
            <a:xfrm>
              <a:off x="64083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9" name="Google Shape;3379;p53"/>
            <p:cNvSpPr/>
            <p:nvPr/>
          </p:nvSpPr>
          <p:spPr>
            <a:xfrm>
              <a:off x="64083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0" name="Google Shape;3380;p53"/>
            <p:cNvSpPr/>
            <p:nvPr/>
          </p:nvSpPr>
          <p:spPr>
            <a:xfrm>
              <a:off x="64083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1" name="Google Shape;3381;p53"/>
            <p:cNvSpPr/>
            <p:nvPr/>
          </p:nvSpPr>
          <p:spPr>
            <a:xfrm>
              <a:off x="64083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2" name="Google Shape;3382;p53"/>
            <p:cNvSpPr/>
            <p:nvPr/>
          </p:nvSpPr>
          <p:spPr>
            <a:xfrm>
              <a:off x="64083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3" name="Google Shape;3383;p53"/>
            <p:cNvSpPr/>
            <p:nvPr/>
          </p:nvSpPr>
          <p:spPr>
            <a:xfrm>
              <a:off x="63323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4" name="Google Shape;3384;p53"/>
            <p:cNvSpPr/>
            <p:nvPr/>
          </p:nvSpPr>
          <p:spPr>
            <a:xfrm>
              <a:off x="63323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5" name="Google Shape;3385;p53"/>
            <p:cNvSpPr/>
            <p:nvPr/>
          </p:nvSpPr>
          <p:spPr>
            <a:xfrm>
              <a:off x="63323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6" name="Google Shape;3386;p53"/>
            <p:cNvSpPr/>
            <p:nvPr/>
          </p:nvSpPr>
          <p:spPr>
            <a:xfrm>
              <a:off x="63323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7" name="Google Shape;3387;p53"/>
            <p:cNvSpPr/>
            <p:nvPr/>
          </p:nvSpPr>
          <p:spPr>
            <a:xfrm>
              <a:off x="63323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8" name="Google Shape;3388;p53"/>
            <p:cNvSpPr/>
            <p:nvPr/>
          </p:nvSpPr>
          <p:spPr>
            <a:xfrm>
              <a:off x="63323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9" name="Google Shape;3389;p53"/>
            <p:cNvSpPr/>
            <p:nvPr/>
          </p:nvSpPr>
          <p:spPr>
            <a:xfrm>
              <a:off x="63323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0" name="Google Shape;3390;p53"/>
            <p:cNvSpPr/>
            <p:nvPr/>
          </p:nvSpPr>
          <p:spPr>
            <a:xfrm>
              <a:off x="62561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1" name="Google Shape;3391;p53"/>
            <p:cNvSpPr/>
            <p:nvPr/>
          </p:nvSpPr>
          <p:spPr>
            <a:xfrm>
              <a:off x="62561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2" name="Google Shape;3392;p53"/>
            <p:cNvSpPr/>
            <p:nvPr/>
          </p:nvSpPr>
          <p:spPr>
            <a:xfrm>
              <a:off x="62561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3" name="Google Shape;3393;p53"/>
            <p:cNvSpPr/>
            <p:nvPr/>
          </p:nvSpPr>
          <p:spPr>
            <a:xfrm>
              <a:off x="62561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4" name="Google Shape;3394;p53"/>
            <p:cNvSpPr/>
            <p:nvPr/>
          </p:nvSpPr>
          <p:spPr>
            <a:xfrm>
              <a:off x="62561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5" name="Google Shape;3395;p53"/>
            <p:cNvSpPr/>
            <p:nvPr/>
          </p:nvSpPr>
          <p:spPr>
            <a:xfrm>
              <a:off x="62561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6" name="Google Shape;3396;p53"/>
            <p:cNvSpPr/>
            <p:nvPr/>
          </p:nvSpPr>
          <p:spPr>
            <a:xfrm>
              <a:off x="62561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7" name="Google Shape;3397;p53"/>
            <p:cNvSpPr/>
            <p:nvPr/>
          </p:nvSpPr>
          <p:spPr>
            <a:xfrm>
              <a:off x="62561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8" name="Google Shape;3398;p53"/>
            <p:cNvSpPr/>
            <p:nvPr/>
          </p:nvSpPr>
          <p:spPr>
            <a:xfrm>
              <a:off x="61799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9" name="Google Shape;3399;p53"/>
            <p:cNvSpPr/>
            <p:nvPr/>
          </p:nvSpPr>
          <p:spPr>
            <a:xfrm>
              <a:off x="61799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0" name="Google Shape;3400;p53"/>
            <p:cNvSpPr/>
            <p:nvPr/>
          </p:nvSpPr>
          <p:spPr>
            <a:xfrm>
              <a:off x="61799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1" name="Google Shape;3401;p53"/>
            <p:cNvSpPr/>
            <p:nvPr/>
          </p:nvSpPr>
          <p:spPr>
            <a:xfrm>
              <a:off x="6179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2" name="Google Shape;3402;p53"/>
            <p:cNvSpPr/>
            <p:nvPr/>
          </p:nvSpPr>
          <p:spPr>
            <a:xfrm>
              <a:off x="61037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3" name="Google Shape;3403;p53"/>
            <p:cNvSpPr/>
            <p:nvPr/>
          </p:nvSpPr>
          <p:spPr>
            <a:xfrm>
              <a:off x="61037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4" name="Google Shape;3404;p53"/>
            <p:cNvSpPr/>
            <p:nvPr/>
          </p:nvSpPr>
          <p:spPr>
            <a:xfrm>
              <a:off x="61037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5" name="Google Shape;3405;p53"/>
            <p:cNvSpPr/>
            <p:nvPr/>
          </p:nvSpPr>
          <p:spPr>
            <a:xfrm>
              <a:off x="61037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6" name="Google Shape;3406;p53"/>
            <p:cNvSpPr/>
            <p:nvPr/>
          </p:nvSpPr>
          <p:spPr>
            <a:xfrm>
              <a:off x="61037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7" name="Google Shape;3407;p53"/>
            <p:cNvSpPr/>
            <p:nvPr/>
          </p:nvSpPr>
          <p:spPr>
            <a:xfrm>
              <a:off x="60275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8" name="Google Shape;3408;p53"/>
            <p:cNvSpPr/>
            <p:nvPr/>
          </p:nvSpPr>
          <p:spPr>
            <a:xfrm>
              <a:off x="60275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9" name="Google Shape;3409;p53"/>
            <p:cNvSpPr/>
            <p:nvPr/>
          </p:nvSpPr>
          <p:spPr>
            <a:xfrm>
              <a:off x="5951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0" name="Google Shape;3410;p53"/>
            <p:cNvSpPr/>
            <p:nvPr/>
          </p:nvSpPr>
          <p:spPr>
            <a:xfrm>
              <a:off x="5951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1" name="Google Shape;3411;p53"/>
            <p:cNvSpPr/>
            <p:nvPr/>
          </p:nvSpPr>
          <p:spPr>
            <a:xfrm>
              <a:off x="5951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2" name="Google Shape;3412;p53"/>
            <p:cNvSpPr/>
            <p:nvPr/>
          </p:nvSpPr>
          <p:spPr>
            <a:xfrm>
              <a:off x="5951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3" name="Google Shape;3413;p53"/>
            <p:cNvSpPr/>
            <p:nvPr/>
          </p:nvSpPr>
          <p:spPr>
            <a:xfrm>
              <a:off x="59514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4" name="Google Shape;3414;p53"/>
            <p:cNvSpPr/>
            <p:nvPr/>
          </p:nvSpPr>
          <p:spPr>
            <a:xfrm>
              <a:off x="58752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5" name="Google Shape;3415;p53"/>
            <p:cNvSpPr/>
            <p:nvPr/>
          </p:nvSpPr>
          <p:spPr>
            <a:xfrm>
              <a:off x="58752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6" name="Google Shape;3416;p53"/>
            <p:cNvSpPr/>
            <p:nvPr/>
          </p:nvSpPr>
          <p:spPr>
            <a:xfrm>
              <a:off x="58752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7" name="Google Shape;3417;p53"/>
            <p:cNvSpPr/>
            <p:nvPr/>
          </p:nvSpPr>
          <p:spPr>
            <a:xfrm>
              <a:off x="58752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8" name="Google Shape;3418;p53"/>
            <p:cNvSpPr/>
            <p:nvPr/>
          </p:nvSpPr>
          <p:spPr>
            <a:xfrm>
              <a:off x="58752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9" name="Google Shape;3419;p53"/>
            <p:cNvSpPr/>
            <p:nvPr/>
          </p:nvSpPr>
          <p:spPr>
            <a:xfrm>
              <a:off x="5875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0" name="Google Shape;3420;p53"/>
            <p:cNvSpPr/>
            <p:nvPr/>
          </p:nvSpPr>
          <p:spPr>
            <a:xfrm>
              <a:off x="5875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1" name="Google Shape;3421;p53"/>
            <p:cNvSpPr/>
            <p:nvPr/>
          </p:nvSpPr>
          <p:spPr>
            <a:xfrm>
              <a:off x="57992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2" name="Google Shape;3422;p53"/>
            <p:cNvSpPr/>
            <p:nvPr/>
          </p:nvSpPr>
          <p:spPr>
            <a:xfrm>
              <a:off x="57992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3" name="Google Shape;3423;p53"/>
            <p:cNvSpPr/>
            <p:nvPr/>
          </p:nvSpPr>
          <p:spPr>
            <a:xfrm>
              <a:off x="5799125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4" name="Google Shape;3424;p53"/>
            <p:cNvSpPr/>
            <p:nvPr/>
          </p:nvSpPr>
          <p:spPr>
            <a:xfrm>
              <a:off x="57230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5" name="Google Shape;3425;p53"/>
            <p:cNvSpPr/>
            <p:nvPr/>
          </p:nvSpPr>
          <p:spPr>
            <a:xfrm>
              <a:off x="57230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6" name="Google Shape;3426;p53"/>
            <p:cNvSpPr/>
            <p:nvPr/>
          </p:nvSpPr>
          <p:spPr>
            <a:xfrm>
              <a:off x="57230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7" name="Google Shape;3427;p53"/>
            <p:cNvSpPr/>
            <p:nvPr/>
          </p:nvSpPr>
          <p:spPr>
            <a:xfrm>
              <a:off x="57230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8" name="Google Shape;3428;p53"/>
            <p:cNvSpPr/>
            <p:nvPr/>
          </p:nvSpPr>
          <p:spPr>
            <a:xfrm>
              <a:off x="57230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9" name="Google Shape;3429;p53"/>
            <p:cNvSpPr/>
            <p:nvPr/>
          </p:nvSpPr>
          <p:spPr>
            <a:xfrm>
              <a:off x="5722900" y="119055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46"/>
                    <a:pt x="2014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0" name="Google Shape;3430;p53"/>
            <p:cNvSpPr/>
            <p:nvPr/>
          </p:nvSpPr>
          <p:spPr>
            <a:xfrm>
              <a:off x="56468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1" name="Google Shape;3431;p53"/>
            <p:cNvSpPr/>
            <p:nvPr/>
          </p:nvSpPr>
          <p:spPr>
            <a:xfrm>
              <a:off x="56468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2" name="Google Shape;3432;p53"/>
            <p:cNvSpPr/>
            <p:nvPr/>
          </p:nvSpPr>
          <p:spPr>
            <a:xfrm>
              <a:off x="56468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3" name="Google Shape;3433;p53"/>
            <p:cNvSpPr/>
            <p:nvPr/>
          </p:nvSpPr>
          <p:spPr>
            <a:xfrm>
              <a:off x="56468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4" name="Google Shape;3434;p53"/>
            <p:cNvSpPr/>
            <p:nvPr/>
          </p:nvSpPr>
          <p:spPr>
            <a:xfrm>
              <a:off x="56468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5" name="Google Shape;3435;p53"/>
            <p:cNvSpPr/>
            <p:nvPr/>
          </p:nvSpPr>
          <p:spPr>
            <a:xfrm>
              <a:off x="5646700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6" name="Google Shape;3436;p53"/>
            <p:cNvSpPr/>
            <p:nvPr/>
          </p:nvSpPr>
          <p:spPr>
            <a:xfrm>
              <a:off x="55706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7" name="Google Shape;3437;p53"/>
            <p:cNvSpPr/>
            <p:nvPr/>
          </p:nvSpPr>
          <p:spPr>
            <a:xfrm>
              <a:off x="55706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8" name="Google Shape;3438;p53"/>
            <p:cNvSpPr/>
            <p:nvPr/>
          </p:nvSpPr>
          <p:spPr>
            <a:xfrm>
              <a:off x="55704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6" y="0"/>
                    <a:pt x="6" y="472"/>
                    <a:pt x="6" y="1065"/>
                  </a:cubicBezTo>
                  <a:cubicBezTo>
                    <a:pt x="1" y="1709"/>
                    <a:pt x="524" y="2133"/>
                    <a:pt x="1073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9" name="Google Shape;3439;p53"/>
            <p:cNvSpPr/>
            <p:nvPr/>
          </p:nvSpPr>
          <p:spPr>
            <a:xfrm>
              <a:off x="54944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0" name="Google Shape;3440;p53"/>
            <p:cNvSpPr/>
            <p:nvPr/>
          </p:nvSpPr>
          <p:spPr>
            <a:xfrm>
              <a:off x="54944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1" name="Google Shape;3441;p53"/>
            <p:cNvSpPr/>
            <p:nvPr/>
          </p:nvSpPr>
          <p:spPr>
            <a:xfrm>
              <a:off x="54942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5" y="0"/>
                    <a:pt x="6" y="472"/>
                    <a:pt x="6" y="1065"/>
                  </a:cubicBezTo>
                  <a:cubicBezTo>
                    <a:pt x="0" y="1709"/>
                    <a:pt x="524" y="2133"/>
                    <a:pt x="1072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2" name="Google Shape;3442;p53"/>
            <p:cNvSpPr/>
            <p:nvPr/>
          </p:nvSpPr>
          <p:spPr>
            <a:xfrm>
              <a:off x="541820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3" name="Google Shape;3443;p53"/>
            <p:cNvSpPr/>
            <p:nvPr/>
          </p:nvSpPr>
          <p:spPr>
            <a:xfrm>
              <a:off x="54182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4" name="Google Shape;3444;p53"/>
            <p:cNvSpPr/>
            <p:nvPr/>
          </p:nvSpPr>
          <p:spPr>
            <a:xfrm>
              <a:off x="541820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5" name="Google Shape;3445;p53"/>
            <p:cNvSpPr/>
            <p:nvPr/>
          </p:nvSpPr>
          <p:spPr>
            <a:xfrm>
              <a:off x="5418200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6" name="Google Shape;3446;p53"/>
            <p:cNvSpPr/>
            <p:nvPr/>
          </p:nvSpPr>
          <p:spPr>
            <a:xfrm>
              <a:off x="53419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7" name="Google Shape;3447;p53"/>
            <p:cNvSpPr/>
            <p:nvPr/>
          </p:nvSpPr>
          <p:spPr>
            <a:xfrm>
              <a:off x="53419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8" name="Google Shape;3448;p53"/>
            <p:cNvSpPr/>
            <p:nvPr/>
          </p:nvSpPr>
          <p:spPr>
            <a:xfrm>
              <a:off x="52657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9" name="Google Shape;3449;p53"/>
            <p:cNvSpPr/>
            <p:nvPr/>
          </p:nvSpPr>
          <p:spPr>
            <a:xfrm>
              <a:off x="52657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0" name="Google Shape;3450;p53"/>
            <p:cNvSpPr/>
            <p:nvPr/>
          </p:nvSpPr>
          <p:spPr>
            <a:xfrm>
              <a:off x="52657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0"/>
                    <a:pt x="0" y="480"/>
                    <a:pt x="0" y="1074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1" name="Google Shape;3451;p53"/>
            <p:cNvSpPr/>
            <p:nvPr/>
          </p:nvSpPr>
          <p:spPr>
            <a:xfrm>
              <a:off x="51895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2" name="Google Shape;3452;p53"/>
            <p:cNvSpPr/>
            <p:nvPr/>
          </p:nvSpPr>
          <p:spPr>
            <a:xfrm>
              <a:off x="51895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3" name="Google Shape;3453;p53"/>
            <p:cNvSpPr/>
            <p:nvPr/>
          </p:nvSpPr>
          <p:spPr>
            <a:xfrm>
              <a:off x="5189550" y="13427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4" name="Google Shape;3454;p53"/>
            <p:cNvSpPr/>
            <p:nvPr/>
          </p:nvSpPr>
          <p:spPr>
            <a:xfrm>
              <a:off x="5113350" y="30948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5" name="Google Shape;3455;p53"/>
            <p:cNvSpPr/>
            <p:nvPr/>
          </p:nvSpPr>
          <p:spPr>
            <a:xfrm>
              <a:off x="5113350" y="30186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6" name="Google Shape;3456;p53"/>
            <p:cNvSpPr/>
            <p:nvPr/>
          </p:nvSpPr>
          <p:spPr>
            <a:xfrm>
              <a:off x="5113350" y="29424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7" name="Google Shape;3457;p53"/>
            <p:cNvSpPr/>
            <p:nvPr/>
          </p:nvSpPr>
          <p:spPr>
            <a:xfrm>
              <a:off x="5113350" y="2866425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73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8" name="Google Shape;3458;p53"/>
            <p:cNvSpPr/>
            <p:nvPr/>
          </p:nvSpPr>
          <p:spPr>
            <a:xfrm>
              <a:off x="5113350" y="27902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9" name="Google Shape;3459;p53"/>
            <p:cNvSpPr/>
            <p:nvPr/>
          </p:nvSpPr>
          <p:spPr>
            <a:xfrm>
              <a:off x="5113350" y="2714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0" name="Google Shape;3460;p53"/>
            <p:cNvSpPr/>
            <p:nvPr/>
          </p:nvSpPr>
          <p:spPr>
            <a:xfrm>
              <a:off x="511335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1" name="Google Shape;3461;p53"/>
            <p:cNvSpPr/>
            <p:nvPr/>
          </p:nvSpPr>
          <p:spPr>
            <a:xfrm>
              <a:off x="511335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2" name="Google Shape;3462;p53"/>
            <p:cNvSpPr/>
            <p:nvPr/>
          </p:nvSpPr>
          <p:spPr>
            <a:xfrm>
              <a:off x="50373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3" name="Google Shape;3463;p53"/>
            <p:cNvSpPr/>
            <p:nvPr/>
          </p:nvSpPr>
          <p:spPr>
            <a:xfrm>
              <a:off x="50373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4" name="Google Shape;3464;p53"/>
            <p:cNvSpPr/>
            <p:nvPr/>
          </p:nvSpPr>
          <p:spPr>
            <a:xfrm>
              <a:off x="50373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5" name="Google Shape;3465;p53"/>
            <p:cNvSpPr/>
            <p:nvPr/>
          </p:nvSpPr>
          <p:spPr>
            <a:xfrm>
              <a:off x="50373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6" name="Google Shape;3466;p53"/>
            <p:cNvSpPr/>
            <p:nvPr/>
          </p:nvSpPr>
          <p:spPr>
            <a:xfrm>
              <a:off x="50373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7" name="Google Shape;3467;p53"/>
            <p:cNvSpPr/>
            <p:nvPr/>
          </p:nvSpPr>
          <p:spPr>
            <a:xfrm>
              <a:off x="50373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8" name="Google Shape;3468;p53"/>
            <p:cNvSpPr/>
            <p:nvPr/>
          </p:nvSpPr>
          <p:spPr>
            <a:xfrm>
              <a:off x="50373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9" name="Google Shape;3469;p53"/>
            <p:cNvSpPr/>
            <p:nvPr/>
          </p:nvSpPr>
          <p:spPr>
            <a:xfrm>
              <a:off x="49611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0" name="Google Shape;3470;p53"/>
            <p:cNvSpPr/>
            <p:nvPr/>
          </p:nvSpPr>
          <p:spPr>
            <a:xfrm>
              <a:off x="49611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1" name="Google Shape;3471;p53"/>
            <p:cNvSpPr/>
            <p:nvPr/>
          </p:nvSpPr>
          <p:spPr>
            <a:xfrm>
              <a:off x="49611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2" name="Google Shape;3472;p53"/>
            <p:cNvSpPr/>
            <p:nvPr/>
          </p:nvSpPr>
          <p:spPr>
            <a:xfrm>
              <a:off x="49611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3" name="Google Shape;3473;p53"/>
            <p:cNvSpPr/>
            <p:nvPr/>
          </p:nvSpPr>
          <p:spPr>
            <a:xfrm>
              <a:off x="49611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4" name="Google Shape;3474;p53"/>
            <p:cNvSpPr/>
            <p:nvPr/>
          </p:nvSpPr>
          <p:spPr>
            <a:xfrm>
              <a:off x="49611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5" name="Google Shape;3475;p53"/>
            <p:cNvSpPr/>
            <p:nvPr/>
          </p:nvSpPr>
          <p:spPr>
            <a:xfrm>
              <a:off x="4884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6" name="Google Shape;3476;p53"/>
            <p:cNvSpPr/>
            <p:nvPr/>
          </p:nvSpPr>
          <p:spPr>
            <a:xfrm>
              <a:off x="48849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7" name="Google Shape;3477;p53"/>
            <p:cNvSpPr/>
            <p:nvPr/>
          </p:nvSpPr>
          <p:spPr>
            <a:xfrm>
              <a:off x="48849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8" name="Google Shape;3478;p53"/>
            <p:cNvSpPr/>
            <p:nvPr/>
          </p:nvSpPr>
          <p:spPr>
            <a:xfrm>
              <a:off x="48849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9" name="Google Shape;3479;p53"/>
            <p:cNvSpPr/>
            <p:nvPr/>
          </p:nvSpPr>
          <p:spPr>
            <a:xfrm>
              <a:off x="480870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0" name="Google Shape;3480;p53"/>
            <p:cNvSpPr/>
            <p:nvPr/>
          </p:nvSpPr>
          <p:spPr>
            <a:xfrm>
              <a:off x="480870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1" name="Google Shape;3481;p53"/>
            <p:cNvSpPr/>
            <p:nvPr/>
          </p:nvSpPr>
          <p:spPr>
            <a:xfrm>
              <a:off x="48087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2" name="Google Shape;3482;p53"/>
            <p:cNvSpPr/>
            <p:nvPr/>
          </p:nvSpPr>
          <p:spPr>
            <a:xfrm>
              <a:off x="48087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3" name="Google Shape;3483;p53"/>
            <p:cNvSpPr/>
            <p:nvPr/>
          </p:nvSpPr>
          <p:spPr>
            <a:xfrm>
              <a:off x="48087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4" name="Google Shape;3484;p53"/>
            <p:cNvSpPr/>
            <p:nvPr/>
          </p:nvSpPr>
          <p:spPr>
            <a:xfrm>
              <a:off x="48087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5" name="Google Shape;3485;p53"/>
            <p:cNvSpPr/>
            <p:nvPr/>
          </p:nvSpPr>
          <p:spPr>
            <a:xfrm>
              <a:off x="47324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6" name="Google Shape;3486;p53"/>
            <p:cNvSpPr/>
            <p:nvPr/>
          </p:nvSpPr>
          <p:spPr>
            <a:xfrm>
              <a:off x="47324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7" name="Google Shape;3487;p53"/>
            <p:cNvSpPr/>
            <p:nvPr/>
          </p:nvSpPr>
          <p:spPr>
            <a:xfrm>
              <a:off x="47324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8" name="Google Shape;3488;p53"/>
            <p:cNvSpPr/>
            <p:nvPr/>
          </p:nvSpPr>
          <p:spPr>
            <a:xfrm>
              <a:off x="47324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9" name="Google Shape;3489;p53"/>
            <p:cNvSpPr/>
            <p:nvPr/>
          </p:nvSpPr>
          <p:spPr>
            <a:xfrm>
              <a:off x="47324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0" name="Google Shape;3490;p53"/>
            <p:cNvSpPr/>
            <p:nvPr/>
          </p:nvSpPr>
          <p:spPr>
            <a:xfrm>
              <a:off x="465647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1" name="Google Shape;3491;p53"/>
            <p:cNvSpPr/>
            <p:nvPr/>
          </p:nvSpPr>
          <p:spPr>
            <a:xfrm>
              <a:off x="46564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2" name="Google Shape;3492;p53"/>
            <p:cNvSpPr/>
            <p:nvPr/>
          </p:nvSpPr>
          <p:spPr>
            <a:xfrm>
              <a:off x="46564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3" name="Google Shape;3493;p53"/>
            <p:cNvSpPr/>
            <p:nvPr/>
          </p:nvSpPr>
          <p:spPr>
            <a:xfrm>
              <a:off x="465647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4" name="Google Shape;3494;p53"/>
            <p:cNvSpPr/>
            <p:nvPr/>
          </p:nvSpPr>
          <p:spPr>
            <a:xfrm>
              <a:off x="46564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5" name="Google Shape;3495;p53"/>
            <p:cNvSpPr/>
            <p:nvPr/>
          </p:nvSpPr>
          <p:spPr>
            <a:xfrm>
              <a:off x="46564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6" name="Google Shape;3496;p53"/>
            <p:cNvSpPr/>
            <p:nvPr/>
          </p:nvSpPr>
          <p:spPr>
            <a:xfrm>
              <a:off x="46564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7" name="Google Shape;3497;p53"/>
            <p:cNvSpPr/>
            <p:nvPr/>
          </p:nvSpPr>
          <p:spPr>
            <a:xfrm>
              <a:off x="46564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8" name="Google Shape;3498;p53"/>
            <p:cNvSpPr/>
            <p:nvPr/>
          </p:nvSpPr>
          <p:spPr>
            <a:xfrm>
              <a:off x="45802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9" name="Google Shape;3499;p53"/>
            <p:cNvSpPr/>
            <p:nvPr/>
          </p:nvSpPr>
          <p:spPr>
            <a:xfrm>
              <a:off x="45802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0" name="Google Shape;3500;p53"/>
            <p:cNvSpPr/>
            <p:nvPr/>
          </p:nvSpPr>
          <p:spPr>
            <a:xfrm>
              <a:off x="45802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1" name="Google Shape;3501;p53"/>
            <p:cNvSpPr/>
            <p:nvPr/>
          </p:nvSpPr>
          <p:spPr>
            <a:xfrm>
              <a:off x="45802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2" name="Google Shape;3502;p53"/>
            <p:cNvSpPr/>
            <p:nvPr/>
          </p:nvSpPr>
          <p:spPr>
            <a:xfrm>
              <a:off x="45802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3" name="Google Shape;3503;p53"/>
            <p:cNvSpPr/>
            <p:nvPr/>
          </p:nvSpPr>
          <p:spPr>
            <a:xfrm>
              <a:off x="45802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4" name="Google Shape;3504;p53"/>
            <p:cNvSpPr/>
            <p:nvPr/>
          </p:nvSpPr>
          <p:spPr>
            <a:xfrm>
              <a:off x="45802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5" name="Google Shape;3505;p53"/>
            <p:cNvSpPr/>
            <p:nvPr/>
          </p:nvSpPr>
          <p:spPr>
            <a:xfrm>
              <a:off x="45802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6" name="Google Shape;3506;p53"/>
            <p:cNvSpPr/>
            <p:nvPr/>
          </p:nvSpPr>
          <p:spPr>
            <a:xfrm>
              <a:off x="45040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7" name="Google Shape;3507;p53"/>
            <p:cNvSpPr/>
            <p:nvPr/>
          </p:nvSpPr>
          <p:spPr>
            <a:xfrm>
              <a:off x="45040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8" name="Google Shape;3508;p53"/>
            <p:cNvSpPr/>
            <p:nvPr/>
          </p:nvSpPr>
          <p:spPr>
            <a:xfrm>
              <a:off x="45040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9" name="Google Shape;3509;p53"/>
            <p:cNvSpPr/>
            <p:nvPr/>
          </p:nvSpPr>
          <p:spPr>
            <a:xfrm>
              <a:off x="45040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0" name="Google Shape;3510;p53"/>
            <p:cNvSpPr/>
            <p:nvPr/>
          </p:nvSpPr>
          <p:spPr>
            <a:xfrm>
              <a:off x="45040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1" name="Google Shape;3511;p53"/>
            <p:cNvSpPr/>
            <p:nvPr/>
          </p:nvSpPr>
          <p:spPr>
            <a:xfrm>
              <a:off x="45040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2" name="Google Shape;3512;p53"/>
            <p:cNvSpPr/>
            <p:nvPr/>
          </p:nvSpPr>
          <p:spPr>
            <a:xfrm>
              <a:off x="44278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3" name="Google Shape;3513;p53"/>
            <p:cNvSpPr/>
            <p:nvPr/>
          </p:nvSpPr>
          <p:spPr>
            <a:xfrm>
              <a:off x="44278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6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4" name="Google Shape;3514;p53"/>
            <p:cNvSpPr/>
            <p:nvPr/>
          </p:nvSpPr>
          <p:spPr>
            <a:xfrm>
              <a:off x="44278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5" name="Google Shape;3515;p53"/>
            <p:cNvSpPr/>
            <p:nvPr/>
          </p:nvSpPr>
          <p:spPr>
            <a:xfrm>
              <a:off x="44278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6" name="Google Shape;3516;p53"/>
            <p:cNvSpPr/>
            <p:nvPr/>
          </p:nvSpPr>
          <p:spPr>
            <a:xfrm>
              <a:off x="44278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7" name="Google Shape;3517;p53"/>
            <p:cNvSpPr/>
            <p:nvPr/>
          </p:nvSpPr>
          <p:spPr>
            <a:xfrm>
              <a:off x="44278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8" name="Google Shape;3518;p53"/>
            <p:cNvSpPr/>
            <p:nvPr/>
          </p:nvSpPr>
          <p:spPr>
            <a:xfrm>
              <a:off x="43516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9" name="Google Shape;3519;p53"/>
            <p:cNvSpPr/>
            <p:nvPr/>
          </p:nvSpPr>
          <p:spPr>
            <a:xfrm>
              <a:off x="43516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0" name="Google Shape;3520;p53"/>
            <p:cNvSpPr/>
            <p:nvPr/>
          </p:nvSpPr>
          <p:spPr>
            <a:xfrm>
              <a:off x="43516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1" name="Google Shape;3521;p53"/>
            <p:cNvSpPr/>
            <p:nvPr/>
          </p:nvSpPr>
          <p:spPr>
            <a:xfrm>
              <a:off x="43516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2" name="Google Shape;3522;p53"/>
            <p:cNvSpPr/>
            <p:nvPr/>
          </p:nvSpPr>
          <p:spPr>
            <a:xfrm>
              <a:off x="42756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3" name="Google Shape;3523;p53"/>
            <p:cNvSpPr/>
            <p:nvPr/>
          </p:nvSpPr>
          <p:spPr>
            <a:xfrm>
              <a:off x="42756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4" name="Google Shape;3524;p53"/>
            <p:cNvSpPr/>
            <p:nvPr/>
          </p:nvSpPr>
          <p:spPr>
            <a:xfrm>
              <a:off x="42756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5" name="Google Shape;3525;p53"/>
            <p:cNvSpPr/>
            <p:nvPr/>
          </p:nvSpPr>
          <p:spPr>
            <a:xfrm>
              <a:off x="42756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6" name="Google Shape;3526;p53"/>
            <p:cNvSpPr/>
            <p:nvPr/>
          </p:nvSpPr>
          <p:spPr>
            <a:xfrm>
              <a:off x="42756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7" name="Google Shape;3527;p53"/>
            <p:cNvSpPr/>
            <p:nvPr/>
          </p:nvSpPr>
          <p:spPr>
            <a:xfrm>
              <a:off x="42756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8" name="Google Shape;3528;p53"/>
            <p:cNvSpPr/>
            <p:nvPr/>
          </p:nvSpPr>
          <p:spPr>
            <a:xfrm>
              <a:off x="41994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9" name="Google Shape;3529;p53"/>
            <p:cNvSpPr/>
            <p:nvPr/>
          </p:nvSpPr>
          <p:spPr>
            <a:xfrm>
              <a:off x="41994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0" name="Google Shape;3530;p53"/>
            <p:cNvSpPr/>
            <p:nvPr/>
          </p:nvSpPr>
          <p:spPr>
            <a:xfrm>
              <a:off x="41994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19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1" name="Google Shape;3531;p53"/>
            <p:cNvSpPr/>
            <p:nvPr/>
          </p:nvSpPr>
          <p:spPr>
            <a:xfrm>
              <a:off x="41231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2" name="Google Shape;3532;p53"/>
            <p:cNvSpPr/>
            <p:nvPr/>
          </p:nvSpPr>
          <p:spPr>
            <a:xfrm>
              <a:off x="41231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33" name="Google Shape;3533;p53"/>
          <p:cNvGrpSpPr/>
          <p:nvPr/>
        </p:nvGrpSpPr>
        <p:grpSpPr>
          <a:xfrm>
            <a:off x="5961311" y="1231136"/>
            <a:ext cx="2435960" cy="1297725"/>
            <a:chOff x="233350" y="949250"/>
            <a:chExt cx="7137300" cy="3802300"/>
          </a:xfrm>
        </p:grpSpPr>
        <p:sp>
          <p:nvSpPr>
            <p:cNvPr id="3534" name="Google Shape;3534;p53"/>
            <p:cNvSpPr/>
            <p:nvPr/>
          </p:nvSpPr>
          <p:spPr>
            <a:xfrm>
              <a:off x="4428450" y="2808675"/>
              <a:ext cx="1478900" cy="330100"/>
            </a:xfrm>
            <a:custGeom>
              <a:avLst/>
              <a:gdLst/>
              <a:ahLst/>
              <a:cxnLst/>
              <a:rect l="l" t="t" r="r" b="b"/>
              <a:pathLst>
                <a:path w="59156" h="13204" extrusionOk="0">
                  <a:moveTo>
                    <a:pt x="1" y="0"/>
                  </a:moveTo>
                  <a:lnTo>
                    <a:pt x="1" y="0"/>
                  </a:lnTo>
                  <a:close/>
                  <a:moveTo>
                    <a:pt x="59155" y="13203"/>
                  </a:move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5" name="Google Shape;3535;p53"/>
            <p:cNvSpPr/>
            <p:nvPr/>
          </p:nvSpPr>
          <p:spPr>
            <a:xfrm>
              <a:off x="2909400" y="1076125"/>
              <a:ext cx="4118650" cy="3109225"/>
            </a:xfrm>
            <a:custGeom>
              <a:avLst/>
              <a:gdLst/>
              <a:ahLst/>
              <a:cxnLst/>
              <a:rect l="l" t="t" r="r" b="b"/>
              <a:pathLst>
                <a:path w="164746" h="124369" extrusionOk="0">
                  <a:moveTo>
                    <a:pt x="49520" y="11070"/>
                  </a:moveTo>
                  <a:cubicBezTo>
                    <a:pt x="49737" y="11070"/>
                    <a:pt x="49861" y="11136"/>
                    <a:pt x="49875" y="11358"/>
                  </a:cubicBezTo>
                  <a:cubicBezTo>
                    <a:pt x="49875" y="11575"/>
                    <a:pt x="49818" y="11698"/>
                    <a:pt x="49684" y="11698"/>
                  </a:cubicBezTo>
                  <a:cubicBezTo>
                    <a:pt x="49636" y="11698"/>
                    <a:pt x="49580" y="11683"/>
                    <a:pt x="49512" y="11651"/>
                  </a:cubicBezTo>
                  <a:cubicBezTo>
                    <a:pt x="49305" y="11565"/>
                    <a:pt x="49115" y="11444"/>
                    <a:pt x="48925" y="11323"/>
                  </a:cubicBezTo>
                  <a:lnTo>
                    <a:pt x="49339" y="11081"/>
                  </a:lnTo>
                  <a:cubicBezTo>
                    <a:pt x="49405" y="11074"/>
                    <a:pt x="49465" y="11070"/>
                    <a:pt x="49520" y="11070"/>
                  </a:cubicBezTo>
                  <a:close/>
                  <a:moveTo>
                    <a:pt x="46983" y="11081"/>
                  </a:moveTo>
                  <a:cubicBezTo>
                    <a:pt x="47014" y="11081"/>
                    <a:pt x="47051" y="11087"/>
                    <a:pt x="47093" y="11098"/>
                  </a:cubicBezTo>
                  <a:cubicBezTo>
                    <a:pt x="47369" y="11185"/>
                    <a:pt x="47870" y="11168"/>
                    <a:pt x="47767" y="11686"/>
                  </a:cubicBezTo>
                  <a:cubicBezTo>
                    <a:pt x="47732" y="11893"/>
                    <a:pt x="47888" y="12274"/>
                    <a:pt x="47490" y="12343"/>
                  </a:cubicBezTo>
                  <a:cubicBezTo>
                    <a:pt x="47110" y="12222"/>
                    <a:pt x="46834" y="11893"/>
                    <a:pt x="46799" y="11496"/>
                  </a:cubicBezTo>
                  <a:cubicBezTo>
                    <a:pt x="46784" y="11302"/>
                    <a:pt x="46782" y="11081"/>
                    <a:pt x="46983" y="11081"/>
                  </a:cubicBezTo>
                  <a:close/>
                  <a:moveTo>
                    <a:pt x="38158" y="11530"/>
                  </a:moveTo>
                  <a:cubicBezTo>
                    <a:pt x="38279" y="11530"/>
                    <a:pt x="38417" y="11703"/>
                    <a:pt x="38642" y="11876"/>
                  </a:cubicBezTo>
                  <a:cubicBezTo>
                    <a:pt x="38366" y="12118"/>
                    <a:pt x="38089" y="12360"/>
                    <a:pt x="37778" y="12585"/>
                  </a:cubicBezTo>
                  <a:cubicBezTo>
                    <a:pt x="35549" y="13967"/>
                    <a:pt x="35514" y="15903"/>
                    <a:pt x="37692" y="17268"/>
                  </a:cubicBezTo>
                  <a:cubicBezTo>
                    <a:pt x="38003" y="17458"/>
                    <a:pt x="38227" y="17631"/>
                    <a:pt x="38158" y="18080"/>
                  </a:cubicBezTo>
                  <a:cubicBezTo>
                    <a:pt x="38106" y="18529"/>
                    <a:pt x="37951" y="18599"/>
                    <a:pt x="37553" y="18737"/>
                  </a:cubicBezTo>
                  <a:cubicBezTo>
                    <a:pt x="36568" y="19117"/>
                    <a:pt x="36309" y="19981"/>
                    <a:pt x="36378" y="20949"/>
                  </a:cubicBezTo>
                  <a:cubicBezTo>
                    <a:pt x="36427" y="21679"/>
                    <a:pt x="36279" y="22143"/>
                    <a:pt x="35819" y="22143"/>
                  </a:cubicBezTo>
                  <a:cubicBezTo>
                    <a:pt x="35625" y="22143"/>
                    <a:pt x="35377" y="22061"/>
                    <a:pt x="35065" y="21882"/>
                  </a:cubicBezTo>
                  <a:cubicBezTo>
                    <a:pt x="34913" y="21798"/>
                    <a:pt x="34745" y="21754"/>
                    <a:pt x="34578" y="21754"/>
                  </a:cubicBezTo>
                  <a:cubicBezTo>
                    <a:pt x="34403" y="21754"/>
                    <a:pt x="34230" y="21802"/>
                    <a:pt x="34080" y="21899"/>
                  </a:cubicBezTo>
                  <a:cubicBezTo>
                    <a:pt x="33134" y="22372"/>
                    <a:pt x="32094" y="22613"/>
                    <a:pt x="31041" y="22613"/>
                  </a:cubicBezTo>
                  <a:cubicBezTo>
                    <a:pt x="30747" y="22613"/>
                    <a:pt x="30451" y="22594"/>
                    <a:pt x="30157" y="22556"/>
                  </a:cubicBezTo>
                  <a:cubicBezTo>
                    <a:pt x="29915" y="22521"/>
                    <a:pt x="29759" y="22608"/>
                    <a:pt x="29829" y="22262"/>
                  </a:cubicBezTo>
                  <a:lnTo>
                    <a:pt x="29829" y="22262"/>
                  </a:lnTo>
                  <a:lnTo>
                    <a:pt x="29829" y="22279"/>
                  </a:lnTo>
                  <a:cubicBezTo>
                    <a:pt x="29898" y="21986"/>
                    <a:pt x="29984" y="21882"/>
                    <a:pt x="30364" y="21830"/>
                  </a:cubicBezTo>
                  <a:cubicBezTo>
                    <a:pt x="31505" y="21675"/>
                    <a:pt x="32836" y="21467"/>
                    <a:pt x="33354" y="20361"/>
                  </a:cubicBezTo>
                  <a:cubicBezTo>
                    <a:pt x="33821" y="19342"/>
                    <a:pt x="33872" y="18184"/>
                    <a:pt x="34927" y="17458"/>
                  </a:cubicBezTo>
                  <a:cubicBezTo>
                    <a:pt x="35238" y="17216"/>
                    <a:pt x="34978" y="16836"/>
                    <a:pt x="34667" y="16594"/>
                  </a:cubicBezTo>
                  <a:cubicBezTo>
                    <a:pt x="33216" y="15436"/>
                    <a:pt x="33907" y="14572"/>
                    <a:pt x="35099" y="13846"/>
                  </a:cubicBezTo>
                  <a:cubicBezTo>
                    <a:pt x="35860" y="13380"/>
                    <a:pt x="36724" y="13086"/>
                    <a:pt x="37018" y="12066"/>
                  </a:cubicBezTo>
                  <a:cubicBezTo>
                    <a:pt x="37156" y="11582"/>
                    <a:pt x="37709" y="11548"/>
                    <a:pt x="38158" y="11530"/>
                  </a:cubicBezTo>
                  <a:close/>
                  <a:moveTo>
                    <a:pt x="46802" y="32066"/>
                  </a:moveTo>
                  <a:cubicBezTo>
                    <a:pt x="47245" y="32066"/>
                    <a:pt x="47720" y="32469"/>
                    <a:pt x="47888" y="33080"/>
                  </a:cubicBezTo>
                  <a:cubicBezTo>
                    <a:pt x="48059" y="33754"/>
                    <a:pt x="48393" y="34225"/>
                    <a:pt x="48918" y="34225"/>
                  </a:cubicBezTo>
                  <a:cubicBezTo>
                    <a:pt x="49080" y="34225"/>
                    <a:pt x="49261" y="34181"/>
                    <a:pt x="49460" y="34083"/>
                  </a:cubicBezTo>
                  <a:cubicBezTo>
                    <a:pt x="50103" y="33764"/>
                    <a:pt x="50701" y="33627"/>
                    <a:pt x="51269" y="33627"/>
                  </a:cubicBezTo>
                  <a:cubicBezTo>
                    <a:pt x="52489" y="33627"/>
                    <a:pt x="53566" y="34260"/>
                    <a:pt x="54628" y="35085"/>
                  </a:cubicBezTo>
                  <a:cubicBezTo>
                    <a:pt x="54818" y="35223"/>
                    <a:pt x="55008" y="35396"/>
                    <a:pt x="55163" y="35586"/>
                  </a:cubicBezTo>
                  <a:cubicBezTo>
                    <a:pt x="55543" y="36053"/>
                    <a:pt x="56684" y="36070"/>
                    <a:pt x="56321" y="36917"/>
                  </a:cubicBezTo>
                  <a:lnTo>
                    <a:pt x="56321" y="36934"/>
                  </a:lnTo>
                  <a:cubicBezTo>
                    <a:pt x="56149" y="37350"/>
                    <a:pt x="55751" y="37415"/>
                    <a:pt x="55318" y="37415"/>
                  </a:cubicBezTo>
                  <a:cubicBezTo>
                    <a:pt x="55122" y="37415"/>
                    <a:pt x="54919" y="37401"/>
                    <a:pt x="54727" y="37401"/>
                  </a:cubicBezTo>
                  <a:cubicBezTo>
                    <a:pt x="54620" y="37401"/>
                    <a:pt x="54517" y="37405"/>
                    <a:pt x="54420" y="37418"/>
                  </a:cubicBezTo>
                  <a:cubicBezTo>
                    <a:pt x="54278" y="37432"/>
                    <a:pt x="54136" y="37440"/>
                    <a:pt x="53995" y="37440"/>
                  </a:cubicBezTo>
                  <a:cubicBezTo>
                    <a:pt x="53292" y="37440"/>
                    <a:pt x="52602" y="37262"/>
                    <a:pt x="51983" y="36917"/>
                  </a:cubicBezTo>
                  <a:cubicBezTo>
                    <a:pt x="51332" y="36539"/>
                    <a:pt x="50680" y="36418"/>
                    <a:pt x="50028" y="36418"/>
                  </a:cubicBezTo>
                  <a:cubicBezTo>
                    <a:pt x="48867" y="36418"/>
                    <a:pt x="47706" y="36802"/>
                    <a:pt x="46545" y="36802"/>
                  </a:cubicBezTo>
                  <a:cubicBezTo>
                    <a:pt x="46302" y="36802"/>
                    <a:pt x="46058" y="36785"/>
                    <a:pt x="45814" y="36744"/>
                  </a:cubicBezTo>
                  <a:cubicBezTo>
                    <a:pt x="44881" y="36588"/>
                    <a:pt x="44552" y="36105"/>
                    <a:pt x="44673" y="35241"/>
                  </a:cubicBezTo>
                  <a:cubicBezTo>
                    <a:pt x="44846" y="34083"/>
                    <a:pt x="45537" y="33115"/>
                    <a:pt x="46263" y="32320"/>
                  </a:cubicBezTo>
                  <a:cubicBezTo>
                    <a:pt x="46417" y="32145"/>
                    <a:pt x="46607" y="32066"/>
                    <a:pt x="46802" y="32066"/>
                  </a:cubicBezTo>
                  <a:close/>
                  <a:moveTo>
                    <a:pt x="64554" y="31370"/>
                  </a:moveTo>
                  <a:cubicBezTo>
                    <a:pt x="64860" y="31370"/>
                    <a:pt x="65185" y="31437"/>
                    <a:pt x="65532" y="31594"/>
                  </a:cubicBezTo>
                  <a:cubicBezTo>
                    <a:pt x="65878" y="31767"/>
                    <a:pt x="65930" y="32251"/>
                    <a:pt x="65636" y="32493"/>
                  </a:cubicBezTo>
                  <a:cubicBezTo>
                    <a:pt x="64063" y="34065"/>
                    <a:pt x="64184" y="35085"/>
                    <a:pt x="65895" y="36588"/>
                  </a:cubicBezTo>
                  <a:cubicBezTo>
                    <a:pt x="67243" y="37815"/>
                    <a:pt x="67762" y="39544"/>
                    <a:pt x="68211" y="41237"/>
                  </a:cubicBezTo>
                  <a:cubicBezTo>
                    <a:pt x="68364" y="41802"/>
                    <a:pt x="68057" y="41990"/>
                    <a:pt x="67435" y="41990"/>
                  </a:cubicBezTo>
                  <a:cubicBezTo>
                    <a:pt x="67353" y="41990"/>
                    <a:pt x="67266" y="41986"/>
                    <a:pt x="67174" y="41980"/>
                  </a:cubicBezTo>
                  <a:cubicBezTo>
                    <a:pt x="66517" y="41064"/>
                    <a:pt x="64271" y="41825"/>
                    <a:pt x="64547" y="39146"/>
                  </a:cubicBezTo>
                  <a:lnTo>
                    <a:pt x="64547" y="39146"/>
                  </a:lnTo>
                  <a:lnTo>
                    <a:pt x="64547" y="39181"/>
                  </a:lnTo>
                  <a:cubicBezTo>
                    <a:pt x="64685" y="37885"/>
                    <a:pt x="63113" y="36295"/>
                    <a:pt x="62076" y="35050"/>
                  </a:cubicBezTo>
                  <a:cubicBezTo>
                    <a:pt x="61281" y="34100"/>
                    <a:pt x="61385" y="33288"/>
                    <a:pt x="62076" y="32683"/>
                  </a:cubicBezTo>
                  <a:cubicBezTo>
                    <a:pt x="62786" y="32052"/>
                    <a:pt x="63577" y="31370"/>
                    <a:pt x="64554" y="31370"/>
                  </a:cubicBezTo>
                  <a:close/>
                  <a:moveTo>
                    <a:pt x="30705" y="33465"/>
                  </a:moveTo>
                  <a:cubicBezTo>
                    <a:pt x="30874" y="33465"/>
                    <a:pt x="31043" y="33637"/>
                    <a:pt x="31090" y="33720"/>
                  </a:cubicBezTo>
                  <a:cubicBezTo>
                    <a:pt x="31920" y="35120"/>
                    <a:pt x="33579" y="35258"/>
                    <a:pt x="34719" y="36226"/>
                  </a:cubicBezTo>
                  <a:cubicBezTo>
                    <a:pt x="36205" y="37487"/>
                    <a:pt x="36275" y="39354"/>
                    <a:pt x="37191" y="40822"/>
                  </a:cubicBezTo>
                  <a:cubicBezTo>
                    <a:pt x="37484" y="41289"/>
                    <a:pt x="37571" y="41980"/>
                    <a:pt x="37968" y="42274"/>
                  </a:cubicBezTo>
                  <a:cubicBezTo>
                    <a:pt x="38403" y="42594"/>
                    <a:pt x="39075" y="43217"/>
                    <a:pt x="39556" y="43217"/>
                  </a:cubicBezTo>
                  <a:cubicBezTo>
                    <a:pt x="39725" y="43217"/>
                    <a:pt x="39870" y="43141"/>
                    <a:pt x="39973" y="42948"/>
                  </a:cubicBezTo>
                  <a:cubicBezTo>
                    <a:pt x="40336" y="42274"/>
                    <a:pt x="41234" y="41289"/>
                    <a:pt x="40543" y="40183"/>
                  </a:cubicBezTo>
                  <a:cubicBezTo>
                    <a:pt x="40301" y="39803"/>
                    <a:pt x="39610" y="39215"/>
                    <a:pt x="40284" y="38904"/>
                  </a:cubicBezTo>
                  <a:cubicBezTo>
                    <a:pt x="40592" y="38765"/>
                    <a:pt x="41024" y="38302"/>
                    <a:pt x="41439" y="38302"/>
                  </a:cubicBezTo>
                  <a:cubicBezTo>
                    <a:pt x="41746" y="38302"/>
                    <a:pt x="42043" y="38557"/>
                    <a:pt x="42271" y="39388"/>
                  </a:cubicBezTo>
                  <a:cubicBezTo>
                    <a:pt x="42782" y="41200"/>
                    <a:pt x="43748" y="43327"/>
                    <a:pt x="46038" y="43327"/>
                  </a:cubicBezTo>
                  <a:cubicBezTo>
                    <a:pt x="46150" y="43327"/>
                    <a:pt x="46266" y="43321"/>
                    <a:pt x="46384" y="43311"/>
                  </a:cubicBezTo>
                  <a:cubicBezTo>
                    <a:pt x="46463" y="43304"/>
                    <a:pt x="46542" y="43300"/>
                    <a:pt x="46620" y="43300"/>
                  </a:cubicBezTo>
                  <a:cubicBezTo>
                    <a:pt x="47585" y="43300"/>
                    <a:pt x="48526" y="43802"/>
                    <a:pt x="49487" y="43802"/>
                  </a:cubicBezTo>
                  <a:cubicBezTo>
                    <a:pt x="49955" y="43802"/>
                    <a:pt x="50429" y="43683"/>
                    <a:pt x="50912" y="43328"/>
                  </a:cubicBezTo>
                  <a:cubicBezTo>
                    <a:pt x="51106" y="43191"/>
                    <a:pt x="51242" y="43135"/>
                    <a:pt x="51336" y="43135"/>
                  </a:cubicBezTo>
                  <a:cubicBezTo>
                    <a:pt x="51643" y="43135"/>
                    <a:pt x="51508" y="43736"/>
                    <a:pt x="51534" y="44054"/>
                  </a:cubicBezTo>
                  <a:cubicBezTo>
                    <a:pt x="51845" y="45488"/>
                    <a:pt x="50843" y="46629"/>
                    <a:pt x="50618" y="47942"/>
                  </a:cubicBezTo>
                  <a:cubicBezTo>
                    <a:pt x="50585" y="48144"/>
                    <a:pt x="50240" y="48444"/>
                    <a:pt x="50046" y="48444"/>
                  </a:cubicBezTo>
                  <a:cubicBezTo>
                    <a:pt x="50041" y="48444"/>
                    <a:pt x="50036" y="48444"/>
                    <a:pt x="50031" y="48444"/>
                  </a:cubicBezTo>
                  <a:cubicBezTo>
                    <a:pt x="49523" y="48389"/>
                    <a:pt x="49010" y="48372"/>
                    <a:pt x="48494" y="48372"/>
                  </a:cubicBezTo>
                  <a:cubicBezTo>
                    <a:pt x="47534" y="48372"/>
                    <a:pt x="46564" y="48433"/>
                    <a:pt x="45600" y="48433"/>
                  </a:cubicBezTo>
                  <a:cubicBezTo>
                    <a:pt x="43779" y="48433"/>
                    <a:pt x="41984" y="48215"/>
                    <a:pt x="40336" y="46957"/>
                  </a:cubicBezTo>
                  <a:cubicBezTo>
                    <a:pt x="40033" y="46726"/>
                    <a:pt x="39675" y="46623"/>
                    <a:pt x="39308" y="46623"/>
                  </a:cubicBezTo>
                  <a:cubicBezTo>
                    <a:pt x="38250" y="46623"/>
                    <a:pt x="37116" y="47478"/>
                    <a:pt x="37000" y="48582"/>
                  </a:cubicBezTo>
                  <a:cubicBezTo>
                    <a:pt x="36972" y="48947"/>
                    <a:pt x="36796" y="49426"/>
                    <a:pt x="36527" y="49426"/>
                  </a:cubicBezTo>
                  <a:cubicBezTo>
                    <a:pt x="36465" y="49426"/>
                    <a:pt x="36398" y="49400"/>
                    <a:pt x="36326" y="49342"/>
                  </a:cubicBezTo>
                  <a:cubicBezTo>
                    <a:pt x="35376" y="48582"/>
                    <a:pt x="34045" y="48772"/>
                    <a:pt x="33147" y="47752"/>
                  </a:cubicBezTo>
                  <a:cubicBezTo>
                    <a:pt x="32334" y="46819"/>
                    <a:pt x="30900" y="46785"/>
                    <a:pt x="29673" y="46525"/>
                  </a:cubicBezTo>
                  <a:cubicBezTo>
                    <a:pt x="28913" y="46370"/>
                    <a:pt x="27807" y="46422"/>
                    <a:pt x="28567" y="44953"/>
                  </a:cubicBezTo>
                  <a:cubicBezTo>
                    <a:pt x="28982" y="44158"/>
                    <a:pt x="29034" y="43000"/>
                    <a:pt x="28515" y="42257"/>
                  </a:cubicBezTo>
                  <a:cubicBezTo>
                    <a:pt x="28230" y="41853"/>
                    <a:pt x="27848" y="41722"/>
                    <a:pt x="27412" y="41722"/>
                  </a:cubicBezTo>
                  <a:cubicBezTo>
                    <a:pt x="27028" y="41722"/>
                    <a:pt x="26602" y="41823"/>
                    <a:pt x="26165" y="41928"/>
                  </a:cubicBezTo>
                  <a:cubicBezTo>
                    <a:pt x="25497" y="42091"/>
                    <a:pt x="24818" y="42128"/>
                    <a:pt x="24133" y="42128"/>
                  </a:cubicBezTo>
                  <a:cubicBezTo>
                    <a:pt x="23569" y="42128"/>
                    <a:pt x="23001" y="42103"/>
                    <a:pt x="22432" y="42103"/>
                  </a:cubicBezTo>
                  <a:cubicBezTo>
                    <a:pt x="21707" y="42103"/>
                    <a:pt x="20980" y="42143"/>
                    <a:pt x="20255" y="42326"/>
                  </a:cubicBezTo>
                  <a:cubicBezTo>
                    <a:pt x="19287" y="42585"/>
                    <a:pt x="18319" y="42862"/>
                    <a:pt x="17559" y="43380"/>
                  </a:cubicBezTo>
                  <a:cubicBezTo>
                    <a:pt x="17082" y="43705"/>
                    <a:pt x="16613" y="43798"/>
                    <a:pt x="16149" y="43798"/>
                  </a:cubicBezTo>
                  <a:cubicBezTo>
                    <a:pt x="15538" y="43798"/>
                    <a:pt x="14935" y="43638"/>
                    <a:pt x="14326" y="43638"/>
                  </a:cubicBezTo>
                  <a:cubicBezTo>
                    <a:pt x="14292" y="43638"/>
                    <a:pt x="14258" y="43638"/>
                    <a:pt x="14223" y="43639"/>
                  </a:cubicBezTo>
                  <a:cubicBezTo>
                    <a:pt x="14120" y="43622"/>
                    <a:pt x="14016" y="43570"/>
                    <a:pt x="13930" y="43466"/>
                  </a:cubicBezTo>
                  <a:cubicBezTo>
                    <a:pt x="14043" y="43169"/>
                    <a:pt x="14308" y="43115"/>
                    <a:pt x="14562" y="43115"/>
                  </a:cubicBezTo>
                  <a:cubicBezTo>
                    <a:pt x="14617" y="43115"/>
                    <a:pt x="14672" y="43118"/>
                    <a:pt x="14725" y="43121"/>
                  </a:cubicBezTo>
                  <a:cubicBezTo>
                    <a:pt x="14838" y="43129"/>
                    <a:pt x="14949" y="43134"/>
                    <a:pt x="15058" y="43134"/>
                  </a:cubicBezTo>
                  <a:cubicBezTo>
                    <a:pt x="16723" y="43134"/>
                    <a:pt x="17967" y="42165"/>
                    <a:pt x="18388" y="40771"/>
                  </a:cubicBezTo>
                  <a:cubicBezTo>
                    <a:pt x="18976" y="38921"/>
                    <a:pt x="20808" y="38282"/>
                    <a:pt x="21482" y="37090"/>
                  </a:cubicBezTo>
                  <a:cubicBezTo>
                    <a:pt x="22174" y="35865"/>
                    <a:pt x="22770" y="35535"/>
                    <a:pt x="23579" y="35535"/>
                  </a:cubicBezTo>
                  <a:cubicBezTo>
                    <a:pt x="23899" y="35535"/>
                    <a:pt x="24254" y="35587"/>
                    <a:pt x="24661" y="35655"/>
                  </a:cubicBezTo>
                  <a:cubicBezTo>
                    <a:pt x="24682" y="35658"/>
                    <a:pt x="24703" y="35660"/>
                    <a:pt x="24725" y="35660"/>
                  </a:cubicBezTo>
                  <a:cubicBezTo>
                    <a:pt x="25065" y="35660"/>
                    <a:pt x="25513" y="35293"/>
                    <a:pt x="25854" y="35033"/>
                  </a:cubicBezTo>
                  <a:cubicBezTo>
                    <a:pt x="26267" y="34730"/>
                    <a:pt x="26584" y="34570"/>
                    <a:pt x="26849" y="34570"/>
                  </a:cubicBezTo>
                  <a:cubicBezTo>
                    <a:pt x="27249" y="34570"/>
                    <a:pt x="27529" y="34935"/>
                    <a:pt x="27841" y="35724"/>
                  </a:cubicBezTo>
                  <a:cubicBezTo>
                    <a:pt x="28325" y="36969"/>
                    <a:pt x="29742" y="37574"/>
                    <a:pt x="30952" y="38161"/>
                  </a:cubicBezTo>
                  <a:cubicBezTo>
                    <a:pt x="31712" y="38524"/>
                    <a:pt x="32732" y="38852"/>
                    <a:pt x="32680" y="39716"/>
                  </a:cubicBezTo>
                  <a:cubicBezTo>
                    <a:pt x="32594" y="40753"/>
                    <a:pt x="31488" y="40546"/>
                    <a:pt x="30710" y="40615"/>
                  </a:cubicBezTo>
                  <a:cubicBezTo>
                    <a:pt x="30312" y="40650"/>
                    <a:pt x="29794" y="40598"/>
                    <a:pt x="29673" y="41134"/>
                  </a:cubicBezTo>
                  <a:cubicBezTo>
                    <a:pt x="29552" y="41669"/>
                    <a:pt x="30036" y="41825"/>
                    <a:pt x="30382" y="42032"/>
                  </a:cubicBezTo>
                  <a:cubicBezTo>
                    <a:pt x="30898" y="42336"/>
                    <a:pt x="31474" y="42934"/>
                    <a:pt x="32011" y="42934"/>
                  </a:cubicBezTo>
                  <a:cubicBezTo>
                    <a:pt x="32175" y="42934"/>
                    <a:pt x="32336" y="42878"/>
                    <a:pt x="32490" y="42741"/>
                  </a:cubicBezTo>
                  <a:cubicBezTo>
                    <a:pt x="33354" y="41963"/>
                    <a:pt x="33890" y="40788"/>
                    <a:pt x="34512" y="39751"/>
                  </a:cubicBezTo>
                  <a:cubicBezTo>
                    <a:pt x="34586" y="39617"/>
                    <a:pt x="34289" y="39329"/>
                    <a:pt x="34602" y="39329"/>
                  </a:cubicBezTo>
                  <a:cubicBezTo>
                    <a:pt x="34653" y="39329"/>
                    <a:pt x="34719" y="39337"/>
                    <a:pt x="34806" y="39354"/>
                  </a:cubicBezTo>
                  <a:cubicBezTo>
                    <a:pt x="34890" y="39373"/>
                    <a:pt x="34965" y="39381"/>
                    <a:pt x="35031" y="39381"/>
                  </a:cubicBezTo>
                  <a:cubicBezTo>
                    <a:pt x="35567" y="39381"/>
                    <a:pt x="35557" y="38814"/>
                    <a:pt x="35341" y="38507"/>
                  </a:cubicBezTo>
                  <a:cubicBezTo>
                    <a:pt x="34806" y="37781"/>
                    <a:pt x="34546" y="36658"/>
                    <a:pt x="33561" y="36468"/>
                  </a:cubicBezTo>
                  <a:cubicBezTo>
                    <a:pt x="32248" y="36208"/>
                    <a:pt x="31591" y="35206"/>
                    <a:pt x="30727" y="34411"/>
                  </a:cubicBezTo>
                  <a:cubicBezTo>
                    <a:pt x="30468" y="34169"/>
                    <a:pt x="30278" y="33910"/>
                    <a:pt x="30485" y="33599"/>
                  </a:cubicBezTo>
                  <a:cubicBezTo>
                    <a:pt x="30551" y="33501"/>
                    <a:pt x="30628" y="33465"/>
                    <a:pt x="30705" y="33465"/>
                  </a:cubicBezTo>
                  <a:close/>
                  <a:moveTo>
                    <a:pt x="65829" y="50622"/>
                  </a:moveTo>
                  <a:cubicBezTo>
                    <a:pt x="66138" y="50622"/>
                    <a:pt x="66376" y="50877"/>
                    <a:pt x="66569" y="51209"/>
                  </a:cubicBezTo>
                  <a:cubicBezTo>
                    <a:pt x="67601" y="52923"/>
                    <a:pt x="68767" y="54401"/>
                    <a:pt x="70703" y="54401"/>
                  </a:cubicBezTo>
                  <a:cubicBezTo>
                    <a:pt x="71167" y="54401"/>
                    <a:pt x="71676" y="54316"/>
                    <a:pt x="72237" y="54129"/>
                  </a:cubicBezTo>
                  <a:cubicBezTo>
                    <a:pt x="72263" y="54119"/>
                    <a:pt x="72291" y="54114"/>
                    <a:pt x="72320" y="54114"/>
                  </a:cubicBezTo>
                  <a:cubicBezTo>
                    <a:pt x="72487" y="54114"/>
                    <a:pt x="72701" y="54260"/>
                    <a:pt x="72877" y="54319"/>
                  </a:cubicBezTo>
                  <a:cubicBezTo>
                    <a:pt x="72687" y="54406"/>
                    <a:pt x="72514" y="54527"/>
                    <a:pt x="72358" y="54665"/>
                  </a:cubicBezTo>
                  <a:lnTo>
                    <a:pt x="72358" y="54682"/>
                  </a:lnTo>
                  <a:cubicBezTo>
                    <a:pt x="71675" y="55659"/>
                    <a:pt x="71022" y="56681"/>
                    <a:pt x="69648" y="56681"/>
                  </a:cubicBezTo>
                  <a:cubicBezTo>
                    <a:pt x="69564" y="56681"/>
                    <a:pt x="69476" y="56678"/>
                    <a:pt x="69386" y="56669"/>
                  </a:cubicBezTo>
                  <a:cubicBezTo>
                    <a:pt x="69196" y="56600"/>
                    <a:pt x="68850" y="56549"/>
                    <a:pt x="68850" y="56445"/>
                  </a:cubicBezTo>
                  <a:cubicBezTo>
                    <a:pt x="68660" y="54216"/>
                    <a:pt x="66258" y="53559"/>
                    <a:pt x="65532" y="51727"/>
                  </a:cubicBezTo>
                  <a:cubicBezTo>
                    <a:pt x="65394" y="51381"/>
                    <a:pt x="64945" y="50932"/>
                    <a:pt x="65584" y="50673"/>
                  </a:cubicBezTo>
                  <a:cubicBezTo>
                    <a:pt x="65670" y="50638"/>
                    <a:pt x="65752" y="50622"/>
                    <a:pt x="65829" y="50622"/>
                  </a:cubicBezTo>
                  <a:close/>
                  <a:moveTo>
                    <a:pt x="50497" y="52695"/>
                  </a:moveTo>
                  <a:lnTo>
                    <a:pt x="50497" y="52695"/>
                  </a:lnTo>
                  <a:cubicBezTo>
                    <a:pt x="51016" y="52885"/>
                    <a:pt x="51863" y="52937"/>
                    <a:pt x="52001" y="53265"/>
                  </a:cubicBezTo>
                  <a:cubicBezTo>
                    <a:pt x="53055" y="55840"/>
                    <a:pt x="55734" y="57464"/>
                    <a:pt x="56114" y="60420"/>
                  </a:cubicBezTo>
                  <a:cubicBezTo>
                    <a:pt x="56252" y="61439"/>
                    <a:pt x="57323" y="61802"/>
                    <a:pt x="57859" y="62580"/>
                  </a:cubicBezTo>
                  <a:cubicBezTo>
                    <a:pt x="59294" y="64654"/>
                    <a:pt x="60106" y="66952"/>
                    <a:pt x="60763" y="69337"/>
                  </a:cubicBezTo>
                  <a:cubicBezTo>
                    <a:pt x="58533" y="67643"/>
                    <a:pt x="56615" y="65656"/>
                    <a:pt x="55336" y="63133"/>
                  </a:cubicBezTo>
                  <a:cubicBezTo>
                    <a:pt x="55198" y="62874"/>
                    <a:pt x="55008" y="62614"/>
                    <a:pt x="55008" y="62355"/>
                  </a:cubicBezTo>
                  <a:cubicBezTo>
                    <a:pt x="54990" y="58916"/>
                    <a:pt x="52139" y="56739"/>
                    <a:pt x="51189" y="53697"/>
                  </a:cubicBezTo>
                  <a:cubicBezTo>
                    <a:pt x="51085" y="53334"/>
                    <a:pt x="50739" y="53040"/>
                    <a:pt x="50497" y="52695"/>
                  </a:cubicBezTo>
                  <a:close/>
                  <a:moveTo>
                    <a:pt x="87976" y="1"/>
                  </a:moveTo>
                  <a:cubicBezTo>
                    <a:pt x="87018" y="1"/>
                    <a:pt x="85745" y="1010"/>
                    <a:pt x="84455" y="1127"/>
                  </a:cubicBezTo>
                  <a:cubicBezTo>
                    <a:pt x="83776" y="1176"/>
                    <a:pt x="83111" y="1512"/>
                    <a:pt x="82448" y="1512"/>
                  </a:cubicBezTo>
                  <a:cubicBezTo>
                    <a:pt x="82403" y="1512"/>
                    <a:pt x="82358" y="1511"/>
                    <a:pt x="82313" y="1507"/>
                  </a:cubicBezTo>
                  <a:cubicBezTo>
                    <a:pt x="82281" y="1506"/>
                    <a:pt x="82250" y="1506"/>
                    <a:pt x="82218" y="1506"/>
                  </a:cubicBezTo>
                  <a:cubicBezTo>
                    <a:pt x="80376" y="1506"/>
                    <a:pt x="79245" y="3375"/>
                    <a:pt x="77443" y="3375"/>
                  </a:cubicBezTo>
                  <a:cubicBezTo>
                    <a:pt x="77340" y="3375"/>
                    <a:pt x="77235" y="3369"/>
                    <a:pt x="77128" y="3356"/>
                  </a:cubicBezTo>
                  <a:cubicBezTo>
                    <a:pt x="77026" y="3344"/>
                    <a:pt x="76928" y="3335"/>
                    <a:pt x="76837" y="3335"/>
                  </a:cubicBezTo>
                  <a:cubicBezTo>
                    <a:pt x="76434" y="3335"/>
                    <a:pt x="76136" y="3491"/>
                    <a:pt x="75953" y="4082"/>
                  </a:cubicBezTo>
                  <a:cubicBezTo>
                    <a:pt x="75843" y="4459"/>
                    <a:pt x="75132" y="4980"/>
                    <a:pt x="74758" y="4980"/>
                  </a:cubicBezTo>
                  <a:cubicBezTo>
                    <a:pt x="74720" y="4980"/>
                    <a:pt x="74687" y="4974"/>
                    <a:pt x="74657" y="4964"/>
                  </a:cubicBezTo>
                  <a:cubicBezTo>
                    <a:pt x="73910" y="4715"/>
                    <a:pt x="73366" y="4590"/>
                    <a:pt x="73013" y="4590"/>
                  </a:cubicBezTo>
                  <a:cubicBezTo>
                    <a:pt x="72190" y="4590"/>
                    <a:pt x="72409" y="5268"/>
                    <a:pt x="73534" y="6623"/>
                  </a:cubicBezTo>
                  <a:cubicBezTo>
                    <a:pt x="73585" y="6692"/>
                    <a:pt x="73499" y="6882"/>
                    <a:pt x="73482" y="7003"/>
                  </a:cubicBezTo>
                  <a:cubicBezTo>
                    <a:pt x="73413" y="6968"/>
                    <a:pt x="73292" y="6951"/>
                    <a:pt x="73240" y="6882"/>
                  </a:cubicBezTo>
                  <a:cubicBezTo>
                    <a:pt x="72877" y="6381"/>
                    <a:pt x="72324" y="5914"/>
                    <a:pt x="72220" y="5344"/>
                  </a:cubicBezTo>
                  <a:cubicBezTo>
                    <a:pt x="72065" y="4531"/>
                    <a:pt x="71961" y="3840"/>
                    <a:pt x="71010" y="3650"/>
                  </a:cubicBezTo>
                  <a:cubicBezTo>
                    <a:pt x="70839" y="3615"/>
                    <a:pt x="70680" y="3599"/>
                    <a:pt x="70533" y="3599"/>
                  </a:cubicBezTo>
                  <a:cubicBezTo>
                    <a:pt x="69359" y="3599"/>
                    <a:pt x="68898" y="4626"/>
                    <a:pt x="68315" y="5517"/>
                  </a:cubicBezTo>
                  <a:cubicBezTo>
                    <a:pt x="67865" y="6208"/>
                    <a:pt x="68349" y="6536"/>
                    <a:pt x="68729" y="6934"/>
                  </a:cubicBezTo>
                  <a:cubicBezTo>
                    <a:pt x="68798" y="7003"/>
                    <a:pt x="68850" y="7089"/>
                    <a:pt x="68902" y="7176"/>
                  </a:cubicBezTo>
                  <a:cubicBezTo>
                    <a:pt x="68817" y="7188"/>
                    <a:pt x="68731" y="7200"/>
                    <a:pt x="68645" y="7200"/>
                  </a:cubicBezTo>
                  <a:cubicBezTo>
                    <a:pt x="68610" y="7200"/>
                    <a:pt x="68575" y="7198"/>
                    <a:pt x="68539" y="7193"/>
                  </a:cubicBezTo>
                  <a:cubicBezTo>
                    <a:pt x="67376" y="7024"/>
                    <a:pt x="66212" y="6691"/>
                    <a:pt x="65033" y="6691"/>
                  </a:cubicBezTo>
                  <a:cubicBezTo>
                    <a:pt x="65003" y="6691"/>
                    <a:pt x="64974" y="6691"/>
                    <a:pt x="64945" y="6692"/>
                  </a:cubicBezTo>
                  <a:cubicBezTo>
                    <a:pt x="64584" y="6692"/>
                    <a:pt x="63909" y="6196"/>
                    <a:pt x="63437" y="6196"/>
                  </a:cubicBezTo>
                  <a:cubicBezTo>
                    <a:pt x="63072" y="6196"/>
                    <a:pt x="62827" y="6492"/>
                    <a:pt x="62940" y="7538"/>
                  </a:cubicBezTo>
                  <a:cubicBezTo>
                    <a:pt x="62940" y="7608"/>
                    <a:pt x="62525" y="7711"/>
                    <a:pt x="62283" y="7798"/>
                  </a:cubicBezTo>
                  <a:cubicBezTo>
                    <a:pt x="61879" y="7955"/>
                    <a:pt x="61464" y="8005"/>
                    <a:pt x="61043" y="8005"/>
                  </a:cubicBezTo>
                  <a:cubicBezTo>
                    <a:pt x="60325" y="8005"/>
                    <a:pt x="59591" y="7860"/>
                    <a:pt x="58870" y="7860"/>
                  </a:cubicBezTo>
                  <a:cubicBezTo>
                    <a:pt x="58295" y="7860"/>
                    <a:pt x="57729" y="7952"/>
                    <a:pt x="57185" y="8282"/>
                  </a:cubicBezTo>
                  <a:cubicBezTo>
                    <a:pt x="56736" y="8610"/>
                    <a:pt x="56304" y="8938"/>
                    <a:pt x="55837" y="9267"/>
                  </a:cubicBezTo>
                  <a:cubicBezTo>
                    <a:pt x="55671" y="9381"/>
                    <a:pt x="55417" y="9527"/>
                    <a:pt x="55226" y="9527"/>
                  </a:cubicBezTo>
                  <a:cubicBezTo>
                    <a:pt x="55100" y="9527"/>
                    <a:pt x="55001" y="9463"/>
                    <a:pt x="54973" y="9284"/>
                  </a:cubicBezTo>
                  <a:cubicBezTo>
                    <a:pt x="54819" y="8258"/>
                    <a:pt x="54209" y="8003"/>
                    <a:pt x="53545" y="8003"/>
                  </a:cubicBezTo>
                  <a:cubicBezTo>
                    <a:pt x="53313" y="8003"/>
                    <a:pt x="53075" y="8034"/>
                    <a:pt x="52848" y="8074"/>
                  </a:cubicBezTo>
                  <a:cubicBezTo>
                    <a:pt x="51897" y="8264"/>
                    <a:pt x="52416" y="9232"/>
                    <a:pt x="52295" y="9854"/>
                  </a:cubicBezTo>
                  <a:cubicBezTo>
                    <a:pt x="52156" y="10615"/>
                    <a:pt x="51344" y="10096"/>
                    <a:pt x="50998" y="10545"/>
                  </a:cubicBezTo>
                  <a:cubicBezTo>
                    <a:pt x="50949" y="10609"/>
                    <a:pt x="50910" y="10635"/>
                    <a:pt x="50880" y="10635"/>
                  </a:cubicBezTo>
                  <a:cubicBezTo>
                    <a:pt x="50805" y="10635"/>
                    <a:pt x="50789" y="10469"/>
                    <a:pt x="50826" y="10321"/>
                  </a:cubicBezTo>
                  <a:cubicBezTo>
                    <a:pt x="51033" y="8990"/>
                    <a:pt x="50221" y="8541"/>
                    <a:pt x="49115" y="8161"/>
                  </a:cubicBezTo>
                  <a:cubicBezTo>
                    <a:pt x="46903" y="7400"/>
                    <a:pt x="44535" y="7176"/>
                    <a:pt x="42392" y="6070"/>
                  </a:cubicBezTo>
                  <a:cubicBezTo>
                    <a:pt x="41667" y="5697"/>
                    <a:pt x="40852" y="5536"/>
                    <a:pt x="40032" y="5536"/>
                  </a:cubicBezTo>
                  <a:cubicBezTo>
                    <a:pt x="39367" y="5536"/>
                    <a:pt x="38699" y="5642"/>
                    <a:pt x="38072" y="5828"/>
                  </a:cubicBezTo>
                  <a:cubicBezTo>
                    <a:pt x="36033" y="6432"/>
                    <a:pt x="33838" y="6502"/>
                    <a:pt x="31989" y="7642"/>
                  </a:cubicBezTo>
                  <a:cubicBezTo>
                    <a:pt x="31263" y="8074"/>
                    <a:pt x="29206" y="7296"/>
                    <a:pt x="30226" y="9457"/>
                  </a:cubicBezTo>
                  <a:cubicBezTo>
                    <a:pt x="30278" y="9578"/>
                    <a:pt x="29984" y="9854"/>
                    <a:pt x="29863" y="10079"/>
                  </a:cubicBezTo>
                  <a:cubicBezTo>
                    <a:pt x="28653" y="12412"/>
                    <a:pt x="26234" y="13224"/>
                    <a:pt x="24229" y="14555"/>
                  </a:cubicBezTo>
                  <a:cubicBezTo>
                    <a:pt x="22536" y="15661"/>
                    <a:pt x="23486" y="17112"/>
                    <a:pt x="24022" y="18236"/>
                  </a:cubicBezTo>
                  <a:cubicBezTo>
                    <a:pt x="24328" y="18880"/>
                    <a:pt x="24972" y="19241"/>
                    <a:pt x="25627" y="19241"/>
                  </a:cubicBezTo>
                  <a:cubicBezTo>
                    <a:pt x="26008" y="19241"/>
                    <a:pt x="26393" y="19119"/>
                    <a:pt x="26718" y="18858"/>
                  </a:cubicBezTo>
                  <a:cubicBezTo>
                    <a:pt x="27228" y="18470"/>
                    <a:pt x="27609" y="18306"/>
                    <a:pt x="27903" y="18306"/>
                  </a:cubicBezTo>
                  <a:cubicBezTo>
                    <a:pt x="28524" y="18306"/>
                    <a:pt x="28748" y="19042"/>
                    <a:pt x="28947" y="19946"/>
                  </a:cubicBezTo>
                  <a:cubicBezTo>
                    <a:pt x="28982" y="20223"/>
                    <a:pt x="28999" y="20499"/>
                    <a:pt x="28982" y="20776"/>
                  </a:cubicBezTo>
                  <a:cubicBezTo>
                    <a:pt x="28774" y="20551"/>
                    <a:pt x="28446" y="20396"/>
                    <a:pt x="28342" y="20119"/>
                  </a:cubicBezTo>
                  <a:cubicBezTo>
                    <a:pt x="28124" y="19474"/>
                    <a:pt x="27849" y="19234"/>
                    <a:pt x="27528" y="19234"/>
                  </a:cubicBezTo>
                  <a:cubicBezTo>
                    <a:pt x="27212" y="19234"/>
                    <a:pt x="26853" y="19465"/>
                    <a:pt x="26459" y="19774"/>
                  </a:cubicBezTo>
                  <a:cubicBezTo>
                    <a:pt x="25646" y="20379"/>
                    <a:pt x="25958" y="21260"/>
                    <a:pt x="26130" y="21899"/>
                  </a:cubicBezTo>
                  <a:cubicBezTo>
                    <a:pt x="26459" y="23092"/>
                    <a:pt x="25802" y="23420"/>
                    <a:pt x="24938" y="23627"/>
                  </a:cubicBezTo>
                  <a:cubicBezTo>
                    <a:pt x="23901" y="23852"/>
                    <a:pt x="23072" y="24267"/>
                    <a:pt x="22553" y="25269"/>
                  </a:cubicBezTo>
                  <a:cubicBezTo>
                    <a:pt x="22273" y="25790"/>
                    <a:pt x="21682" y="26043"/>
                    <a:pt x="21157" y="26043"/>
                  </a:cubicBezTo>
                  <a:cubicBezTo>
                    <a:pt x="21003" y="26043"/>
                    <a:pt x="20855" y="26021"/>
                    <a:pt x="20721" y="25978"/>
                  </a:cubicBezTo>
                  <a:cubicBezTo>
                    <a:pt x="20116" y="25788"/>
                    <a:pt x="20963" y="25390"/>
                    <a:pt x="20946" y="24993"/>
                  </a:cubicBezTo>
                  <a:cubicBezTo>
                    <a:pt x="20929" y="24543"/>
                    <a:pt x="20738" y="24129"/>
                    <a:pt x="20410" y="23835"/>
                  </a:cubicBezTo>
                  <a:cubicBezTo>
                    <a:pt x="19477" y="22798"/>
                    <a:pt x="18354" y="21709"/>
                    <a:pt x="18215" y="20327"/>
                  </a:cubicBezTo>
                  <a:cubicBezTo>
                    <a:pt x="18098" y="19205"/>
                    <a:pt x="17332" y="17921"/>
                    <a:pt x="16200" y="17921"/>
                  </a:cubicBezTo>
                  <a:cubicBezTo>
                    <a:pt x="16163" y="17921"/>
                    <a:pt x="16127" y="17922"/>
                    <a:pt x="16090" y="17925"/>
                  </a:cubicBezTo>
                  <a:cubicBezTo>
                    <a:pt x="15105" y="17976"/>
                    <a:pt x="14068" y="18391"/>
                    <a:pt x="13930" y="19221"/>
                  </a:cubicBezTo>
                  <a:cubicBezTo>
                    <a:pt x="13670" y="20430"/>
                    <a:pt x="14137" y="21709"/>
                    <a:pt x="15122" y="22470"/>
                  </a:cubicBezTo>
                  <a:cubicBezTo>
                    <a:pt x="15952" y="23109"/>
                    <a:pt x="15952" y="23161"/>
                    <a:pt x="15589" y="23489"/>
                  </a:cubicBezTo>
                  <a:cubicBezTo>
                    <a:pt x="14448" y="24526"/>
                    <a:pt x="14915" y="26116"/>
                    <a:pt x="14292" y="27377"/>
                  </a:cubicBezTo>
                  <a:cubicBezTo>
                    <a:pt x="14143" y="27687"/>
                    <a:pt x="14420" y="27822"/>
                    <a:pt x="14760" y="27822"/>
                  </a:cubicBezTo>
                  <a:cubicBezTo>
                    <a:pt x="14932" y="27822"/>
                    <a:pt x="15121" y="27787"/>
                    <a:pt x="15278" y="27723"/>
                  </a:cubicBezTo>
                  <a:cubicBezTo>
                    <a:pt x="16510" y="27249"/>
                    <a:pt x="17772" y="26919"/>
                    <a:pt x="19089" y="26919"/>
                  </a:cubicBezTo>
                  <a:cubicBezTo>
                    <a:pt x="19212" y="26919"/>
                    <a:pt x="19336" y="26922"/>
                    <a:pt x="19460" y="26928"/>
                  </a:cubicBezTo>
                  <a:lnTo>
                    <a:pt x="19874" y="26928"/>
                  </a:lnTo>
                  <a:cubicBezTo>
                    <a:pt x="19840" y="26997"/>
                    <a:pt x="19823" y="27136"/>
                    <a:pt x="19753" y="27153"/>
                  </a:cubicBezTo>
                  <a:cubicBezTo>
                    <a:pt x="18630" y="27585"/>
                    <a:pt x="17507" y="28138"/>
                    <a:pt x="16349" y="28414"/>
                  </a:cubicBezTo>
                  <a:cubicBezTo>
                    <a:pt x="15692" y="28570"/>
                    <a:pt x="14915" y="28432"/>
                    <a:pt x="14707" y="29209"/>
                  </a:cubicBezTo>
                  <a:cubicBezTo>
                    <a:pt x="14500" y="30004"/>
                    <a:pt x="15260" y="30194"/>
                    <a:pt x="15813" y="30505"/>
                  </a:cubicBezTo>
                  <a:cubicBezTo>
                    <a:pt x="17161" y="31318"/>
                    <a:pt x="17369" y="32493"/>
                    <a:pt x="16867" y="33910"/>
                  </a:cubicBezTo>
                  <a:cubicBezTo>
                    <a:pt x="16664" y="34503"/>
                    <a:pt x="16349" y="34660"/>
                    <a:pt x="15995" y="34660"/>
                  </a:cubicBezTo>
                  <a:cubicBezTo>
                    <a:pt x="15626" y="34660"/>
                    <a:pt x="15216" y="34489"/>
                    <a:pt x="14846" y="34463"/>
                  </a:cubicBezTo>
                  <a:cubicBezTo>
                    <a:pt x="13916" y="34396"/>
                    <a:pt x="12987" y="34203"/>
                    <a:pt x="12042" y="34203"/>
                  </a:cubicBezTo>
                  <a:cubicBezTo>
                    <a:pt x="12003" y="34203"/>
                    <a:pt x="11964" y="34203"/>
                    <a:pt x="11925" y="34204"/>
                  </a:cubicBezTo>
                  <a:cubicBezTo>
                    <a:pt x="10957" y="34221"/>
                    <a:pt x="9834" y="34446"/>
                    <a:pt x="9989" y="35759"/>
                  </a:cubicBezTo>
                  <a:cubicBezTo>
                    <a:pt x="10128" y="37072"/>
                    <a:pt x="9834" y="38196"/>
                    <a:pt x="9592" y="39440"/>
                  </a:cubicBezTo>
                  <a:cubicBezTo>
                    <a:pt x="9385" y="40425"/>
                    <a:pt x="8693" y="42136"/>
                    <a:pt x="10542" y="42464"/>
                  </a:cubicBezTo>
                  <a:cubicBezTo>
                    <a:pt x="12305" y="42758"/>
                    <a:pt x="12668" y="43173"/>
                    <a:pt x="11735" y="44693"/>
                  </a:cubicBezTo>
                  <a:cubicBezTo>
                    <a:pt x="11389" y="45298"/>
                    <a:pt x="10888" y="45817"/>
                    <a:pt x="10300" y="46180"/>
                  </a:cubicBezTo>
                  <a:cubicBezTo>
                    <a:pt x="9108" y="46871"/>
                    <a:pt x="8175" y="47752"/>
                    <a:pt x="8313" y="49342"/>
                  </a:cubicBezTo>
                  <a:cubicBezTo>
                    <a:pt x="8365" y="49964"/>
                    <a:pt x="8140" y="50707"/>
                    <a:pt x="7535" y="50967"/>
                  </a:cubicBezTo>
                  <a:cubicBezTo>
                    <a:pt x="5168" y="52021"/>
                    <a:pt x="3768" y="53991"/>
                    <a:pt x="2662" y="56168"/>
                  </a:cubicBezTo>
                  <a:cubicBezTo>
                    <a:pt x="1781" y="57931"/>
                    <a:pt x="122" y="59469"/>
                    <a:pt x="1279" y="61888"/>
                  </a:cubicBezTo>
                  <a:cubicBezTo>
                    <a:pt x="1936" y="63236"/>
                    <a:pt x="1573" y="64792"/>
                    <a:pt x="830" y="66209"/>
                  </a:cubicBezTo>
                  <a:cubicBezTo>
                    <a:pt x="1" y="67781"/>
                    <a:pt x="744" y="70477"/>
                    <a:pt x="2126" y="71687"/>
                  </a:cubicBezTo>
                  <a:cubicBezTo>
                    <a:pt x="2420" y="71946"/>
                    <a:pt x="2662" y="72240"/>
                    <a:pt x="2818" y="72586"/>
                  </a:cubicBezTo>
                  <a:cubicBezTo>
                    <a:pt x="4027" y="75040"/>
                    <a:pt x="5462" y="77303"/>
                    <a:pt x="7881" y="78755"/>
                  </a:cubicBezTo>
                  <a:cubicBezTo>
                    <a:pt x="8455" y="79100"/>
                    <a:pt x="9053" y="79742"/>
                    <a:pt x="9645" y="79742"/>
                  </a:cubicBezTo>
                  <a:cubicBezTo>
                    <a:pt x="9766" y="79742"/>
                    <a:pt x="9887" y="79715"/>
                    <a:pt x="10007" y="79654"/>
                  </a:cubicBezTo>
                  <a:cubicBezTo>
                    <a:pt x="12824" y="78254"/>
                    <a:pt x="16142" y="79844"/>
                    <a:pt x="18889" y="77874"/>
                  </a:cubicBezTo>
                  <a:cubicBezTo>
                    <a:pt x="19326" y="77562"/>
                    <a:pt x="19938" y="77352"/>
                    <a:pt x="20558" y="77352"/>
                  </a:cubicBezTo>
                  <a:cubicBezTo>
                    <a:pt x="21313" y="77352"/>
                    <a:pt x="22079" y="77663"/>
                    <a:pt x="22553" y="78479"/>
                  </a:cubicBezTo>
                  <a:cubicBezTo>
                    <a:pt x="23034" y="79313"/>
                    <a:pt x="23538" y="79650"/>
                    <a:pt x="24283" y="79650"/>
                  </a:cubicBezTo>
                  <a:cubicBezTo>
                    <a:pt x="24448" y="79650"/>
                    <a:pt x="24626" y="79633"/>
                    <a:pt x="24817" y="79602"/>
                  </a:cubicBezTo>
                  <a:cubicBezTo>
                    <a:pt x="24994" y="79574"/>
                    <a:pt x="25161" y="79561"/>
                    <a:pt x="25317" y="79561"/>
                  </a:cubicBezTo>
                  <a:cubicBezTo>
                    <a:pt x="26715" y="79561"/>
                    <a:pt x="27271" y="80640"/>
                    <a:pt x="26960" y="82194"/>
                  </a:cubicBezTo>
                  <a:cubicBezTo>
                    <a:pt x="26683" y="83611"/>
                    <a:pt x="25750" y="85218"/>
                    <a:pt x="26545" y="86480"/>
                  </a:cubicBezTo>
                  <a:cubicBezTo>
                    <a:pt x="27461" y="87966"/>
                    <a:pt x="28515" y="89400"/>
                    <a:pt x="29206" y="90973"/>
                  </a:cubicBezTo>
                  <a:cubicBezTo>
                    <a:pt x="30416" y="93721"/>
                    <a:pt x="31298" y="96641"/>
                    <a:pt x="29777" y="99631"/>
                  </a:cubicBezTo>
                  <a:cubicBezTo>
                    <a:pt x="28809" y="101515"/>
                    <a:pt x="28619" y="103502"/>
                    <a:pt x="29535" y="105369"/>
                  </a:cubicBezTo>
                  <a:cubicBezTo>
                    <a:pt x="30503" y="107321"/>
                    <a:pt x="31228" y="109274"/>
                    <a:pt x="31488" y="111469"/>
                  </a:cubicBezTo>
                  <a:cubicBezTo>
                    <a:pt x="31712" y="113456"/>
                    <a:pt x="31695" y="115599"/>
                    <a:pt x="33371" y="117172"/>
                  </a:cubicBezTo>
                  <a:cubicBezTo>
                    <a:pt x="34322" y="118088"/>
                    <a:pt x="34581" y="119436"/>
                    <a:pt x="35013" y="120645"/>
                  </a:cubicBezTo>
                  <a:cubicBezTo>
                    <a:pt x="35393" y="121717"/>
                    <a:pt x="34546" y="123065"/>
                    <a:pt x="35843" y="123998"/>
                  </a:cubicBezTo>
                  <a:cubicBezTo>
                    <a:pt x="36206" y="124270"/>
                    <a:pt x="36549" y="124368"/>
                    <a:pt x="36881" y="124368"/>
                  </a:cubicBezTo>
                  <a:cubicBezTo>
                    <a:pt x="37735" y="124368"/>
                    <a:pt x="38515" y="123721"/>
                    <a:pt x="39372" y="123721"/>
                  </a:cubicBezTo>
                  <a:cubicBezTo>
                    <a:pt x="39388" y="123721"/>
                    <a:pt x="39404" y="123721"/>
                    <a:pt x="39420" y="123721"/>
                  </a:cubicBezTo>
                  <a:cubicBezTo>
                    <a:pt x="39526" y="123724"/>
                    <a:pt x="39630" y="123725"/>
                    <a:pt x="39734" y="123725"/>
                  </a:cubicBezTo>
                  <a:cubicBezTo>
                    <a:pt x="44937" y="123725"/>
                    <a:pt x="47636" y="120353"/>
                    <a:pt x="49754" y="116100"/>
                  </a:cubicBezTo>
                  <a:cubicBezTo>
                    <a:pt x="50186" y="115236"/>
                    <a:pt x="49720" y="113957"/>
                    <a:pt x="50826" y="113508"/>
                  </a:cubicBezTo>
                  <a:cubicBezTo>
                    <a:pt x="52761" y="112713"/>
                    <a:pt x="53193" y="111175"/>
                    <a:pt x="52692" y="109499"/>
                  </a:cubicBezTo>
                  <a:cubicBezTo>
                    <a:pt x="51949" y="107028"/>
                    <a:pt x="53297" y="106112"/>
                    <a:pt x="55181" y="105282"/>
                  </a:cubicBezTo>
                  <a:cubicBezTo>
                    <a:pt x="57773" y="104107"/>
                    <a:pt x="59449" y="98370"/>
                    <a:pt x="57963" y="96071"/>
                  </a:cubicBezTo>
                  <a:cubicBezTo>
                    <a:pt x="56770" y="94239"/>
                    <a:pt x="57099" y="92217"/>
                    <a:pt x="57444" y="90316"/>
                  </a:cubicBezTo>
                  <a:cubicBezTo>
                    <a:pt x="57911" y="87621"/>
                    <a:pt x="59933" y="85823"/>
                    <a:pt x="61851" y="84164"/>
                  </a:cubicBezTo>
                  <a:cubicBezTo>
                    <a:pt x="65601" y="80915"/>
                    <a:pt x="68055" y="76992"/>
                    <a:pt x="69109" y="72171"/>
                  </a:cubicBezTo>
                  <a:cubicBezTo>
                    <a:pt x="69271" y="71459"/>
                    <a:pt x="69266" y="70656"/>
                    <a:pt x="68371" y="70656"/>
                  </a:cubicBezTo>
                  <a:cubicBezTo>
                    <a:pt x="68311" y="70656"/>
                    <a:pt x="68246" y="70660"/>
                    <a:pt x="68176" y="70667"/>
                  </a:cubicBezTo>
                  <a:cubicBezTo>
                    <a:pt x="67157" y="70788"/>
                    <a:pt x="66154" y="71151"/>
                    <a:pt x="65152" y="71462"/>
                  </a:cubicBezTo>
                  <a:cubicBezTo>
                    <a:pt x="63960" y="71826"/>
                    <a:pt x="63201" y="72060"/>
                    <a:pt x="62664" y="72060"/>
                  </a:cubicBezTo>
                  <a:cubicBezTo>
                    <a:pt x="61727" y="72060"/>
                    <a:pt x="61469" y="71346"/>
                    <a:pt x="60772" y="69363"/>
                  </a:cubicBezTo>
                  <a:lnTo>
                    <a:pt x="60772" y="69363"/>
                  </a:lnTo>
                  <a:cubicBezTo>
                    <a:pt x="61180" y="69747"/>
                    <a:pt x="61467" y="70422"/>
                    <a:pt x="62074" y="70422"/>
                  </a:cubicBezTo>
                  <a:cubicBezTo>
                    <a:pt x="62180" y="70422"/>
                    <a:pt x="62295" y="70402"/>
                    <a:pt x="62422" y="70356"/>
                  </a:cubicBezTo>
                  <a:cubicBezTo>
                    <a:pt x="63925" y="69769"/>
                    <a:pt x="65359" y="68957"/>
                    <a:pt x="66897" y="68455"/>
                  </a:cubicBezTo>
                  <a:cubicBezTo>
                    <a:pt x="68660" y="67868"/>
                    <a:pt x="69732" y="66209"/>
                    <a:pt x="71391" y="65639"/>
                  </a:cubicBezTo>
                  <a:cubicBezTo>
                    <a:pt x="73706" y="64844"/>
                    <a:pt x="76713" y="61716"/>
                    <a:pt x="76852" y="59383"/>
                  </a:cubicBezTo>
                  <a:cubicBezTo>
                    <a:pt x="76834" y="59072"/>
                    <a:pt x="76713" y="58778"/>
                    <a:pt x="76506" y="58553"/>
                  </a:cubicBezTo>
                  <a:cubicBezTo>
                    <a:pt x="75918" y="57810"/>
                    <a:pt x="75279" y="57153"/>
                    <a:pt x="74294" y="56894"/>
                  </a:cubicBezTo>
                  <a:cubicBezTo>
                    <a:pt x="73724" y="56739"/>
                    <a:pt x="73378" y="56151"/>
                    <a:pt x="73516" y="55581"/>
                  </a:cubicBezTo>
                  <a:cubicBezTo>
                    <a:pt x="73547" y="55481"/>
                    <a:pt x="73596" y="55443"/>
                    <a:pt x="73658" y="55443"/>
                  </a:cubicBezTo>
                  <a:cubicBezTo>
                    <a:pt x="73842" y="55443"/>
                    <a:pt x="74139" y="55775"/>
                    <a:pt x="74398" y="55788"/>
                  </a:cubicBezTo>
                  <a:cubicBezTo>
                    <a:pt x="75366" y="55855"/>
                    <a:pt x="76333" y="56083"/>
                    <a:pt x="77301" y="56083"/>
                  </a:cubicBezTo>
                  <a:cubicBezTo>
                    <a:pt x="77336" y="56083"/>
                    <a:pt x="77370" y="56083"/>
                    <a:pt x="77405" y="56082"/>
                  </a:cubicBezTo>
                  <a:cubicBezTo>
                    <a:pt x="77727" y="56077"/>
                    <a:pt x="78047" y="56073"/>
                    <a:pt x="78365" y="56073"/>
                  </a:cubicBezTo>
                  <a:cubicBezTo>
                    <a:pt x="81373" y="56073"/>
                    <a:pt x="84145" y="56432"/>
                    <a:pt x="85786" y="59746"/>
                  </a:cubicBezTo>
                  <a:cubicBezTo>
                    <a:pt x="86136" y="60461"/>
                    <a:pt x="86996" y="61297"/>
                    <a:pt x="88011" y="61297"/>
                  </a:cubicBezTo>
                  <a:cubicBezTo>
                    <a:pt x="88148" y="61297"/>
                    <a:pt x="88288" y="61282"/>
                    <a:pt x="88430" y="61249"/>
                  </a:cubicBezTo>
                  <a:cubicBezTo>
                    <a:pt x="88585" y="61214"/>
                    <a:pt x="88707" y="61197"/>
                    <a:pt x="88805" y="61197"/>
                  </a:cubicBezTo>
                  <a:cubicBezTo>
                    <a:pt x="89186" y="61197"/>
                    <a:pt x="89184" y="61451"/>
                    <a:pt x="89225" y="61837"/>
                  </a:cubicBezTo>
                  <a:cubicBezTo>
                    <a:pt x="89830" y="66554"/>
                    <a:pt x="91990" y="70685"/>
                    <a:pt x="94133" y="74832"/>
                  </a:cubicBezTo>
                  <a:cubicBezTo>
                    <a:pt x="94475" y="75487"/>
                    <a:pt x="94875" y="75911"/>
                    <a:pt x="95290" y="75911"/>
                  </a:cubicBezTo>
                  <a:cubicBezTo>
                    <a:pt x="95652" y="75911"/>
                    <a:pt x="96025" y="75588"/>
                    <a:pt x="96380" y="74815"/>
                  </a:cubicBezTo>
                  <a:cubicBezTo>
                    <a:pt x="96622" y="74297"/>
                    <a:pt x="97036" y="73847"/>
                    <a:pt x="97382" y="73381"/>
                  </a:cubicBezTo>
                  <a:lnTo>
                    <a:pt x="97538" y="73225"/>
                  </a:lnTo>
                  <a:cubicBezTo>
                    <a:pt x="98212" y="71618"/>
                    <a:pt x="98056" y="69993"/>
                    <a:pt x="97831" y="68317"/>
                  </a:cubicBezTo>
                  <a:cubicBezTo>
                    <a:pt x="97762" y="67833"/>
                    <a:pt x="97589" y="67211"/>
                    <a:pt x="98194" y="67073"/>
                  </a:cubicBezTo>
                  <a:cubicBezTo>
                    <a:pt x="99784" y="66693"/>
                    <a:pt x="100268" y="65258"/>
                    <a:pt x="101149" y="64187"/>
                  </a:cubicBezTo>
                  <a:cubicBezTo>
                    <a:pt x="102117" y="63029"/>
                    <a:pt x="103137" y="61629"/>
                    <a:pt x="104243" y="60903"/>
                  </a:cubicBezTo>
                  <a:cubicBezTo>
                    <a:pt x="104825" y="60515"/>
                    <a:pt x="105739" y="59942"/>
                    <a:pt x="106690" y="59942"/>
                  </a:cubicBezTo>
                  <a:cubicBezTo>
                    <a:pt x="107432" y="59942"/>
                    <a:pt x="108196" y="60292"/>
                    <a:pt x="108840" y="61353"/>
                  </a:cubicBezTo>
                  <a:cubicBezTo>
                    <a:pt x="109600" y="62632"/>
                    <a:pt x="110965" y="63565"/>
                    <a:pt x="111017" y="65258"/>
                  </a:cubicBezTo>
                  <a:cubicBezTo>
                    <a:pt x="111034" y="65777"/>
                    <a:pt x="110793" y="66433"/>
                    <a:pt x="111536" y="66693"/>
                  </a:cubicBezTo>
                  <a:cubicBezTo>
                    <a:pt x="111822" y="66788"/>
                    <a:pt x="112112" y="66862"/>
                    <a:pt x="112391" y="66862"/>
                  </a:cubicBezTo>
                  <a:cubicBezTo>
                    <a:pt x="112769" y="66862"/>
                    <a:pt x="113129" y="66727"/>
                    <a:pt x="113437" y="66330"/>
                  </a:cubicBezTo>
                  <a:cubicBezTo>
                    <a:pt x="113540" y="66205"/>
                    <a:pt x="113700" y="66031"/>
                    <a:pt x="113856" y="66031"/>
                  </a:cubicBezTo>
                  <a:cubicBezTo>
                    <a:pt x="113960" y="66031"/>
                    <a:pt x="114062" y="66109"/>
                    <a:pt x="114145" y="66330"/>
                  </a:cubicBezTo>
                  <a:cubicBezTo>
                    <a:pt x="114543" y="67470"/>
                    <a:pt x="114802" y="68663"/>
                    <a:pt x="115286" y="69769"/>
                  </a:cubicBezTo>
                  <a:cubicBezTo>
                    <a:pt x="116271" y="72033"/>
                    <a:pt x="114940" y="74677"/>
                    <a:pt x="116858" y="76871"/>
                  </a:cubicBezTo>
                  <a:cubicBezTo>
                    <a:pt x="118241" y="78461"/>
                    <a:pt x="118362" y="80915"/>
                    <a:pt x="119900" y="82540"/>
                  </a:cubicBezTo>
                  <a:cubicBezTo>
                    <a:pt x="120401" y="82799"/>
                    <a:pt x="120885" y="83058"/>
                    <a:pt x="121386" y="83300"/>
                  </a:cubicBezTo>
                  <a:cubicBezTo>
                    <a:pt x="121538" y="83368"/>
                    <a:pt x="121699" y="83403"/>
                    <a:pt x="121846" y="83403"/>
                  </a:cubicBezTo>
                  <a:cubicBezTo>
                    <a:pt x="122184" y="83403"/>
                    <a:pt x="122445" y="83219"/>
                    <a:pt x="122337" y="82834"/>
                  </a:cubicBezTo>
                  <a:cubicBezTo>
                    <a:pt x="121818" y="80915"/>
                    <a:pt x="121991" y="78790"/>
                    <a:pt x="119969" y="77355"/>
                  </a:cubicBezTo>
                  <a:cubicBezTo>
                    <a:pt x="118414" y="76249"/>
                    <a:pt x="117239" y="74521"/>
                    <a:pt x="117463" y="72378"/>
                  </a:cubicBezTo>
                  <a:cubicBezTo>
                    <a:pt x="117528" y="71821"/>
                    <a:pt x="116912" y="70437"/>
                    <a:pt x="117695" y="70437"/>
                  </a:cubicBezTo>
                  <a:cubicBezTo>
                    <a:pt x="117955" y="70437"/>
                    <a:pt x="118371" y="70590"/>
                    <a:pt x="119019" y="70979"/>
                  </a:cubicBezTo>
                  <a:cubicBezTo>
                    <a:pt x="120194" y="71704"/>
                    <a:pt x="121386" y="72655"/>
                    <a:pt x="121749" y="73605"/>
                  </a:cubicBezTo>
                  <a:cubicBezTo>
                    <a:pt x="122096" y="74553"/>
                    <a:pt x="122434" y="74868"/>
                    <a:pt x="122776" y="74868"/>
                  </a:cubicBezTo>
                  <a:cubicBezTo>
                    <a:pt x="123251" y="74868"/>
                    <a:pt x="123732" y="74261"/>
                    <a:pt x="124255" y="73899"/>
                  </a:cubicBezTo>
                  <a:cubicBezTo>
                    <a:pt x="124531" y="73709"/>
                    <a:pt x="124721" y="73363"/>
                    <a:pt x="125015" y="73208"/>
                  </a:cubicBezTo>
                  <a:cubicBezTo>
                    <a:pt x="126743" y="72292"/>
                    <a:pt x="127210" y="70961"/>
                    <a:pt x="126743" y="69043"/>
                  </a:cubicBezTo>
                  <a:cubicBezTo>
                    <a:pt x="126294" y="67159"/>
                    <a:pt x="125292" y="65725"/>
                    <a:pt x="123892" y="64533"/>
                  </a:cubicBezTo>
                  <a:cubicBezTo>
                    <a:pt x="122596" y="63409"/>
                    <a:pt x="122285" y="62459"/>
                    <a:pt x="123546" y="61059"/>
                  </a:cubicBezTo>
                  <a:cubicBezTo>
                    <a:pt x="123952" y="60621"/>
                    <a:pt x="124332" y="60388"/>
                    <a:pt x="124705" y="60388"/>
                  </a:cubicBezTo>
                  <a:cubicBezTo>
                    <a:pt x="124936" y="60388"/>
                    <a:pt x="125164" y="60477"/>
                    <a:pt x="125395" y="60661"/>
                  </a:cubicBezTo>
                  <a:cubicBezTo>
                    <a:pt x="126000" y="61145"/>
                    <a:pt x="125810" y="61750"/>
                    <a:pt x="125119" y="62234"/>
                  </a:cubicBezTo>
                  <a:cubicBezTo>
                    <a:pt x="124618" y="62580"/>
                    <a:pt x="124445" y="63219"/>
                    <a:pt x="125050" y="63651"/>
                  </a:cubicBezTo>
                  <a:cubicBezTo>
                    <a:pt x="125442" y="63952"/>
                    <a:pt x="125858" y="64171"/>
                    <a:pt x="126268" y="64171"/>
                  </a:cubicBezTo>
                  <a:cubicBezTo>
                    <a:pt x="126635" y="64171"/>
                    <a:pt x="126996" y="63996"/>
                    <a:pt x="127331" y="63547"/>
                  </a:cubicBezTo>
                  <a:cubicBezTo>
                    <a:pt x="127694" y="63046"/>
                    <a:pt x="128247" y="62407"/>
                    <a:pt x="127469" y="61940"/>
                  </a:cubicBezTo>
                  <a:cubicBezTo>
                    <a:pt x="126398" y="61318"/>
                    <a:pt x="127037" y="61042"/>
                    <a:pt x="127590" y="60696"/>
                  </a:cubicBezTo>
                  <a:cubicBezTo>
                    <a:pt x="130061" y="59210"/>
                    <a:pt x="133449" y="59106"/>
                    <a:pt x="134693" y="55788"/>
                  </a:cubicBezTo>
                  <a:cubicBezTo>
                    <a:pt x="135298" y="54146"/>
                    <a:pt x="136093" y="52591"/>
                    <a:pt x="135851" y="50725"/>
                  </a:cubicBezTo>
                  <a:cubicBezTo>
                    <a:pt x="135522" y="48288"/>
                    <a:pt x="133932" y="46629"/>
                    <a:pt x="132498" y="44918"/>
                  </a:cubicBezTo>
                  <a:cubicBezTo>
                    <a:pt x="131772" y="44054"/>
                    <a:pt x="131859" y="43622"/>
                    <a:pt x="132775" y="43173"/>
                  </a:cubicBezTo>
                  <a:cubicBezTo>
                    <a:pt x="133120" y="43017"/>
                    <a:pt x="133397" y="42793"/>
                    <a:pt x="133362" y="42378"/>
                  </a:cubicBezTo>
                  <a:cubicBezTo>
                    <a:pt x="133345" y="41980"/>
                    <a:pt x="133051" y="41635"/>
                    <a:pt x="132671" y="41548"/>
                  </a:cubicBezTo>
                  <a:cubicBezTo>
                    <a:pt x="132227" y="41462"/>
                    <a:pt x="131713" y="41297"/>
                    <a:pt x="131292" y="41297"/>
                  </a:cubicBezTo>
                  <a:cubicBezTo>
                    <a:pt x="131122" y="41297"/>
                    <a:pt x="130968" y="41323"/>
                    <a:pt x="130839" y="41393"/>
                  </a:cubicBezTo>
                  <a:cubicBezTo>
                    <a:pt x="130667" y="41486"/>
                    <a:pt x="130517" y="41524"/>
                    <a:pt x="130385" y="41524"/>
                  </a:cubicBezTo>
                  <a:cubicBezTo>
                    <a:pt x="129751" y="41524"/>
                    <a:pt x="129496" y="40648"/>
                    <a:pt x="128935" y="40648"/>
                  </a:cubicBezTo>
                  <a:cubicBezTo>
                    <a:pt x="128871" y="40648"/>
                    <a:pt x="128804" y="40659"/>
                    <a:pt x="128731" y="40684"/>
                  </a:cubicBezTo>
                  <a:cubicBezTo>
                    <a:pt x="129025" y="40425"/>
                    <a:pt x="129336" y="40166"/>
                    <a:pt x="129612" y="39889"/>
                  </a:cubicBezTo>
                  <a:cubicBezTo>
                    <a:pt x="129699" y="39786"/>
                    <a:pt x="129768" y="39647"/>
                    <a:pt x="129802" y="39509"/>
                  </a:cubicBezTo>
                  <a:cubicBezTo>
                    <a:pt x="129896" y="39229"/>
                    <a:pt x="130059" y="38963"/>
                    <a:pt x="130355" y="38963"/>
                  </a:cubicBezTo>
                  <a:cubicBezTo>
                    <a:pt x="130388" y="38963"/>
                    <a:pt x="130423" y="38966"/>
                    <a:pt x="130459" y="38973"/>
                  </a:cubicBezTo>
                  <a:cubicBezTo>
                    <a:pt x="130822" y="39025"/>
                    <a:pt x="130718" y="39405"/>
                    <a:pt x="130753" y="39665"/>
                  </a:cubicBezTo>
                  <a:cubicBezTo>
                    <a:pt x="130885" y="40368"/>
                    <a:pt x="131150" y="40680"/>
                    <a:pt x="131522" y="40680"/>
                  </a:cubicBezTo>
                  <a:cubicBezTo>
                    <a:pt x="131781" y="40680"/>
                    <a:pt x="132092" y="40529"/>
                    <a:pt x="132446" y="40252"/>
                  </a:cubicBezTo>
                  <a:cubicBezTo>
                    <a:pt x="132816" y="39963"/>
                    <a:pt x="133198" y="39825"/>
                    <a:pt x="133552" y="39825"/>
                  </a:cubicBezTo>
                  <a:cubicBezTo>
                    <a:pt x="134190" y="39825"/>
                    <a:pt x="134735" y="40276"/>
                    <a:pt x="134935" y="41099"/>
                  </a:cubicBezTo>
                  <a:cubicBezTo>
                    <a:pt x="135004" y="41410"/>
                    <a:pt x="135246" y="41911"/>
                    <a:pt x="135436" y="41928"/>
                  </a:cubicBezTo>
                  <a:cubicBezTo>
                    <a:pt x="136836" y="42067"/>
                    <a:pt x="137130" y="43259"/>
                    <a:pt x="137441" y="44192"/>
                  </a:cubicBezTo>
                  <a:cubicBezTo>
                    <a:pt x="137757" y="45176"/>
                    <a:pt x="138205" y="45491"/>
                    <a:pt x="138710" y="45491"/>
                  </a:cubicBezTo>
                  <a:cubicBezTo>
                    <a:pt x="139226" y="45491"/>
                    <a:pt x="139803" y="45163"/>
                    <a:pt x="140361" y="44884"/>
                  </a:cubicBezTo>
                  <a:cubicBezTo>
                    <a:pt x="141813" y="44175"/>
                    <a:pt x="140586" y="43363"/>
                    <a:pt x="140327" y="42654"/>
                  </a:cubicBezTo>
                  <a:cubicBezTo>
                    <a:pt x="140188" y="42188"/>
                    <a:pt x="139739" y="41773"/>
                    <a:pt x="139324" y="41479"/>
                  </a:cubicBezTo>
                  <a:cubicBezTo>
                    <a:pt x="137717" y="40356"/>
                    <a:pt x="137648" y="38921"/>
                    <a:pt x="138305" y="37245"/>
                  </a:cubicBezTo>
                  <a:cubicBezTo>
                    <a:pt x="138533" y="36644"/>
                    <a:pt x="138753" y="36160"/>
                    <a:pt x="139216" y="36160"/>
                  </a:cubicBezTo>
                  <a:cubicBezTo>
                    <a:pt x="139418" y="36160"/>
                    <a:pt x="139666" y="36252"/>
                    <a:pt x="139981" y="36468"/>
                  </a:cubicBezTo>
                  <a:cubicBezTo>
                    <a:pt x="140121" y="36569"/>
                    <a:pt x="140268" y="36617"/>
                    <a:pt x="140413" y="36617"/>
                  </a:cubicBezTo>
                  <a:cubicBezTo>
                    <a:pt x="140661" y="36617"/>
                    <a:pt x="140902" y="36477"/>
                    <a:pt x="141087" y="36226"/>
                  </a:cubicBezTo>
                  <a:cubicBezTo>
                    <a:pt x="142573" y="34255"/>
                    <a:pt x="142850" y="29797"/>
                    <a:pt x="141640" y="27706"/>
                  </a:cubicBezTo>
                  <a:cubicBezTo>
                    <a:pt x="141485" y="27447"/>
                    <a:pt x="141104" y="27187"/>
                    <a:pt x="141398" y="26807"/>
                  </a:cubicBezTo>
                  <a:lnTo>
                    <a:pt x="141398" y="26807"/>
                  </a:lnTo>
                  <a:cubicBezTo>
                    <a:pt x="141623" y="26997"/>
                    <a:pt x="141917" y="27153"/>
                    <a:pt x="142072" y="27395"/>
                  </a:cubicBezTo>
                  <a:cubicBezTo>
                    <a:pt x="142988" y="28812"/>
                    <a:pt x="143869" y="30229"/>
                    <a:pt x="144733" y="31663"/>
                  </a:cubicBezTo>
                  <a:cubicBezTo>
                    <a:pt x="144984" y="32062"/>
                    <a:pt x="145261" y="32460"/>
                    <a:pt x="145713" y="32460"/>
                  </a:cubicBezTo>
                  <a:cubicBezTo>
                    <a:pt x="145790" y="32460"/>
                    <a:pt x="145872" y="32449"/>
                    <a:pt x="145960" y="32424"/>
                  </a:cubicBezTo>
                  <a:cubicBezTo>
                    <a:pt x="146323" y="32320"/>
                    <a:pt x="146825" y="32043"/>
                    <a:pt x="146928" y="31750"/>
                  </a:cubicBezTo>
                  <a:cubicBezTo>
                    <a:pt x="147118" y="31197"/>
                    <a:pt x="146496" y="30972"/>
                    <a:pt x="146151" y="30644"/>
                  </a:cubicBezTo>
                  <a:cubicBezTo>
                    <a:pt x="145805" y="30298"/>
                    <a:pt x="144889" y="29935"/>
                    <a:pt x="145511" y="29348"/>
                  </a:cubicBezTo>
                  <a:cubicBezTo>
                    <a:pt x="146220" y="28674"/>
                    <a:pt x="145701" y="28363"/>
                    <a:pt x="145373" y="27982"/>
                  </a:cubicBezTo>
                  <a:cubicBezTo>
                    <a:pt x="144924" y="27464"/>
                    <a:pt x="144353" y="27049"/>
                    <a:pt x="143904" y="26513"/>
                  </a:cubicBezTo>
                  <a:cubicBezTo>
                    <a:pt x="142452" y="24803"/>
                    <a:pt x="140309" y="24008"/>
                    <a:pt x="138927" y="23455"/>
                  </a:cubicBezTo>
                  <a:cubicBezTo>
                    <a:pt x="137233" y="22781"/>
                    <a:pt x="135350" y="23368"/>
                    <a:pt x="133794" y="22349"/>
                  </a:cubicBezTo>
                  <a:cubicBezTo>
                    <a:pt x="133621" y="22228"/>
                    <a:pt x="133120" y="22141"/>
                    <a:pt x="133379" y="21934"/>
                  </a:cubicBezTo>
                  <a:cubicBezTo>
                    <a:pt x="134416" y="21156"/>
                    <a:pt x="134192" y="19843"/>
                    <a:pt x="134814" y="18910"/>
                  </a:cubicBezTo>
                  <a:cubicBezTo>
                    <a:pt x="135183" y="18357"/>
                    <a:pt x="137525" y="17996"/>
                    <a:pt x="139389" y="17996"/>
                  </a:cubicBezTo>
                  <a:cubicBezTo>
                    <a:pt x="140321" y="17996"/>
                    <a:pt x="141133" y="18086"/>
                    <a:pt x="141519" y="18287"/>
                  </a:cubicBezTo>
                  <a:cubicBezTo>
                    <a:pt x="141913" y="18491"/>
                    <a:pt x="142318" y="18567"/>
                    <a:pt x="142722" y="18567"/>
                  </a:cubicBezTo>
                  <a:cubicBezTo>
                    <a:pt x="143310" y="18567"/>
                    <a:pt x="143896" y="18407"/>
                    <a:pt x="144440" y="18253"/>
                  </a:cubicBezTo>
                  <a:cubicBezTo>
                    <a:pt x="145183" y="18028"/>
                    <a:pt x="144301" y="17320"/>
                    <a:pt x="144440" y="16905"/>
                  </a:cubicBezTo>
                  <a:cubicBezTo>
                    <a:pt x="144595" y="16473"/>
                    <a:pt x="144232" y="15764"/>
                    <a:pt x="144803" y="15626"/>
                  </a:cubicBezTo>
                  <a:cubicBezTo>
                    <a:pt x="144894" y="15602"/>
                    <a:pt x="144986" y="15590"/>
                    <a:pt x="145078" y="15590"/>
                  </a:cubicBezTo>
                  <a:cubicBezTo>
                    <a:pt x="145503" y="15590"/>
                    <a:pt x="145922" y="15838"/>
                    <a:pt x="146306" y="16179"/>
                  </a:cubicBezTo>
                  <a:cubicBezTo>
                    <a:pt x="146709" y="16532"/>
                    <a:pt x="147171" y="16997"/>
                    <a:pt x="147617" y="16997"/>
                  </a:cubicBezTo>
                  <a:cubicBezTo>
                    <a:pt x="147935" y="16997"/>
                    <a:pt x="148244" y="16760"/>
                    <a:pt x="148518" y="16075"/>
                  </a:cubicBezTo>
                  <a:cubicBezTo>
                    <a:pt x="148584" y="15900"/>
                    <a:pt x="148692" y="15801"/>
                    <a:pt x="148828" y="15801"/>
                  </a:cubicBezTo>
                  <a:cubicBezTo>
                    <a:pt x="148906" y="15801"/>
                    <a:pt x="148994" y="15833"/>
                    <a:pt x="149088" y="15903"/>
                  </a:cubicBezTo>
                  <a:cubicBezTo>
                    <a:pt x="149348" y="16110"/>
                    <a:pt x="149348" y="16335"/>
                    <a:pt x="149192" y="16646"/>
                  </a:cubicBezTo>
                  <a:cubicBezTo>
                    <a:pt x="148743" y="17596"/>
                    <a:pt x="147965" y="18547"/>
                    <a:pt x="147965" y="19497"/>
                  </a:cubicBezTo>
                  <a:cubicBezTo>
                    <a:pt x="147931" y="21122"/>
                    <a:pt x="148708" y="22677"/>
                    <a:pt x="150022" y="23627"/>
                  </a:cubicBezTo>
                  <a:cubicBezTo>
                    <a:pt x="151231" y="24561"/>
                    <a:pt x="152631" y="25269"/>
                    <a:pt x="153582" y="26513"/>
                  </a:cubicBezTo>
                  <a:cubicBezTo>
                    <a:pt x="153835" y="26852"/>
                    <a:pt x="154112" y="27339"/>
                    <a:pt x="154580" y="27339"/>
                  </a:cubicBezTo>
                  <a:cubicBezTo>
                    <a:pt x="154686" y="27339"/>
                    <a:pt x="154802" y="27314"/>
                    <a:pt x="154930" y="27257"/>
                  </a:cubicBezTo>
                  <a:cubicBezTo>
                    <a:pt x="155621" y="26928"/>
                    <a:pt x="155673" y="26271"/>
                    <a:pt x="155604" y="25615"/>
                  </a:cubicBezTo>
                  <a:cubicBezTo>
                    <a:pt x="155448" y="24025"/>
                    <a:pt x="155863" y="22435"/>
                    <a:pt x="154739" y="20845"/>
                  </a:cubicBezTo>
                  <a:cubicBezTo>
                    <a:pt x="154065" y="19877"/>
                    <a:pt x="153772" y="18823"/>
                    <a:pt x="152406" y="18737"/>
                  </a:cubicBezTo>
                  <a:cubicBezTo>
                    <a:pt x="152044" y="18720"/>
                    <a:pt x="151940" y="18478"/>
                    <a:pt x="151888" y="18201"/>
                  </a:cubicBezTo>
                  <a:cubicBezTo>
                    <a:pt x="151820" y="17931"/>
                    <a:pt x="151918" y="17578"/>
                    <a:pt x="152229" y="17578"/>
                  </a:cubicBezTo>
                  <a:cubicBezTo>
                    <a:pt x="152236" y="17578"/>
                    <a:pt x="152243" y="17579"/>
                    <a:pt x="152251" y="17579"/>
                  </a:cubicBezTo>
                  <a:cubicBezTo>
                    <a:pt x="152284" y="17581"/>
                    <a:pt x="152317" y="17582"/>
                    <a:pt x="152350" y="17582"/>
                  </a:cubicBezTo>
                  <a:cubicBezTo>
                    <a:pt x="153000" y="17582"/>
                    <a:pt x="153628" y="17254"/>
                    <a:pt x="154277" y="17254"/>
                  </a:cubicBezTo>
                  <a:cubicBezTo>
                    <a:pt x="154558" y="17254"/>
                    <a:pt x="154844" y="17316"/>
                    <a:pt x="155137" y="17493"/>
                  </a:cubicBezTo>
                  <a:cubicBezTo>
                    <a:pt x="155393" y="17649"/>
                    <a:pt x="155627" y="17726"/>
                    <a:pt x="155836" y="17726"/>
                  </a:cubicBezTo>
                  <a:cubicBezTo>
                    <a:pt x="156249" y="17726"/>
                    <a:pt x="156566" y="17427"/>
                    <a:pt x="156761" y="16853"/>
                  </a:cubicBezTo>
                  <a:cubicBezTo>
                    <a:pt x="157072" y="15920"/>
                    <a:pt x="157954" y="15505"/>
                    <a:pt x="158662" y="15039"/>
                  </a:cubicBezTo>
                  <a:cubicBezTo>
                    <a:pt x="158771" y="14969"/>
                    <a:pt x="158912" y="14953"/>
                    <a:pt x="159064" y="14953"/>
                  </a:cubicBezTo>
                  <a:cubicBezTo>
                    <a:pt x="159192" y="14953"/>
                    <a:pt x="159327" y="14964"/>
                    <a:pt x="159458" y="14964"/>
                  </a:cubicBezTo>
                  <a:cubicBezTo>
                    <a:pt x="159792" y="14964"/>
                    <a:pt x="160100" y="14892"/>
                    <a:pt x="160183" y="14382"/>
                  </a:cubicBezTo>
                  <a:cubicBezTo>
                    <a:pt x="160304" y="13501"/>
                    <a:pt x="159475" y="13310"/>
                    <a:pt x="158887" y="12965"/>
                  </a:cubicBezTo>
                  <a:cubicBezTo>
                    <a:pt x="158662" y="12827"/>
                    <a:pt x="158334" y="12550"/>
                    <a:pt x="158351" y="12395"/>
                  </a:cubicBezTo>
                  <a:cubicBezTo>
                    <a:pt x="158404" y="12154"/>
                    <a:pt x="158582" y="12097"/>
                    <a:pt x="158776" y="12097"/>
                  </a:cubicBezTo>
                  <a:cubicBezTo>
                    <a:pt x="158903" y="12097"/>
                    <a:pt x="159037" y="12122"/>
                    <a:pt x="159146" y="12135"/>
                  </a:cubicBezTo>
                  <a:cubicBezTo>
                    <a:pt x="160460" y="12308"/>
                    <a:pt x="161652" y="12999"/>
                    <a:pt x="163017" y="12999"/>
                  </a:cubicBezTo>
                  <a:cubicBezTo>
                    <a:pt x="163570" y="12999"/>
                    <a:pt x="163795" y="12913"/>
                    <a:pt x="164002" y="12274"/>
                  </a:cubicBezTo>
                  <a:cubicBezTo>
                    <a:pt x="164745" y="10182"/>
                    <a:pt x="163311" y="10010"/>
                    <a:pt x="161998" y="9923"/>
                  </a:cubicBezTo>
                  <a:cubicBezTo>
                    <a:pt x="160218" y="9820"/>
                    <a:pt x="158438" y="9543"/>
                    <a:pt x="156710" y="9076"/>
                  </a:cubicBezTo>
                  <a:cubicBezTo>
                    <a:pt x="153313" y="8169"/>
                    <a:pt x="149984" y="6872"/>
                    <a:pt x="146431" y="6872"/>
                  </a:cubicBezTo>
                  <a:cubicBezTo>
                    <a:pt x="145249" y="6872"/>
                    <a:pt x="144041" y="7016"/>
                    <a:pt x="142798" y="7366"/>
                  </a:cubicBezTo>
                  <a:cubicBezTo>
                    <a:pt x="142441" y="7468"/>
                    <a:pt x="142044" y="7507"/>
                    <a:pt x="141624" y="7507"/>
                  </a:cubicBezTo>
                  <a:cubicBezTo>
                    <a:pt x="140475" y="7507"/>
                    <a:pt x="139148" y="7211"/>
                    <a:pt x="137959" y="7072"/>
                  </a:cubicBezTo>
                  <a:cubicBezTo>
                    <a:pt x="135760" y="6810"/>
                    <a:pt x="133765" y="5577"/>
                    <a:pt x="131513" y="5577"/>
                  </a:cubicBezTo>
                  <a:cubicBezTo>
                    <a:pt x="131235" y="5577"/>
                    <a:pt x="130953" y="5596"/>
                    <a:pt x="130666" y="5637"/>
                  </a:cubicBezTo>
                  <a:cubicBezTo>
                    <a:pt x="130197" y="5701"/>
                    <a:pt x="129713" y="5752"/>
                    <a:pt x="129231" y="5752"/>
                  </a:cubicBezTo>
                  <a:cubicBezTo>
                    <a:pt x="128525" y="5752"/>
                    <a:pt x="127823" y="5641"/>
                    <a:pt x="127175" y="5292"/>
                  </a:cubicBezTo>
                  <a:cubicBezTo>
                    <a:pt x="124583" y="3857"/>
                    <a:pt x="121352" y="4808"/>
                    <a:pt x="118811" y="3097"/>
                  </a:cubicBezTo>
                  <a:cubicBezTo>
                    <a:pt x="118623" y="2965"/>
                    <a:pt x="118385" y="2894"/>
                    <a:pt x="118144" y="2894"/>
                  </a:cubicBezTo>
                  <a:cubicBezTo>
                    <a:pt x="117786" y="2894"/>
                    <a:pt x="117421" y="3050"/>
                    <a:pt x="117204" y="3391"/>
                  </a:cubicBezTo>
                  <a:cubicBezTo>
                    <a:pt x="116737" y="4117"/>
                    <a:pt x="117601" y="4134"/>
                    <a:pt x="117930" y="4462"/>
                  </a:cubicBezTo>
                  <a:cubicBezTo>
                    <a:pt x="118103" y="4670"/>
                    <a:pt x="118154" y="4946"/>
                    <a:pt x="118068" y="5188"/>
                  </a:cubicBezTo>
                  <a:cubicBezTo>
                    <a:pt x="117958" y="5398"/>
                    <a:pt x="116241" y="5510"/>
                    <a:pt x="114740" y="5510"/>
                  </a:cubicBezTo>
                  <a:cubicBezTo>
                    <a:pt x="113645" y="5510"/>
                    <a:pt x="112664" y="5450"/>
                    <a:pt x="112503" y="5326"/>
                  </a:cubicBezTo>
                  <a:cubicBezTo>
                    <a:pt x="111242" y="4410"/>
                    <a:pt x="109825" y="3719"/>
                    <a:pt x="108321" y="3287"/>
                  </a:cubicBezTo>
                  <a:cubicBezTo>
                    <a:pt x="108108" y="3224"/>
                    <a:pt x="107902" y="3198"/>
                    <a:pt x="107703" y="3198"/>
                  </a:cubicBezTo>
                  <a:cubicBezTo>
                    <a:pt x="106742" y="3198"/>
                    <a:pt x="105934" y="3807"/>
                    <a:pt x="105084" y="3807"/>
                  </a:cubicBezTo>
                  <a:cubicBezTo>
                    <a:pt x="105000" y="3807"/>
                    <a:pt x="104915" y="3801"/>
                    <a:pt x="104830" y="3788"/>
                  </a:cubicBezTo>
                  <a:cubicBezTo>
                    <a:pt x="102083" y="3391"/>
                    <a:pt x="99266" y="3909"/>
                    <a:pt x="96760" y="1559"/>
                  </a:cubicBezTo>
                  <a:cubicBezTo>
                    <a:pt x="95295" y="185"/>
                    <a:pt x="93272" y="50"/>
                    <a:pt x="91223" y="50"/>
                  </a:cubicBezTo>
                  <a:cubicBezTo>
                    <a:pt x="90718" y="50"/>
                    <a:pt x="90212" y="58"/>
                    <a:pt x="89713" y="58"/>
                  </a:cubicBezTo>
                  <a:cubicBezTo>
                    <a:pt x="89152" y="58"/>
                    <a:pt x="88600" y="48"/>
                    <a:pt x="88067" y="4"/>
                  </a:cubicBezTo>
                  <a:cubicBezTo>
                    <a:pt x="88037" y="2"/>
                    <a:pt x="88007" y="1"/>
                    <a:pt x="879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6" name="Google Shape;3536;p53"/>
            <p:cNvSpPr/>
            <p:nvPr/>
          </p:nvSpPr>
          <p:spPr>
            <a:xfrm>
              <a:off x="5913800" y="3523050"/>
              <a:ext cx="1109075" cy="813875"/>
            </a:xfrm>
            <a:custGeom>
              <a:avLst/>
              <a:gdLst/>
              <a:ahLst/>
              <a:cxnLst/>
              <a:rect l="l" t="t" r="r" b="b"/>
              <a:pathLst>
                <a:path w="44363" h="32555" extrusionOk="0">
                  <a:moveTo>
                    <a:pt x="28245" y="1"/>
                  </a:moveTo>
                  <a:cubicBezTo>
                    <a:pt x="27747" y="1"/>
                    <a:pt x="27602" y="373"/>
                    <a:pt x="27634" y="804"/>
                  </a:cubicBezTo>
                  <a:cubicBezTo>
                    <a:pt x="27737" y="2117"/>
                    <a:pt x="27979" y="3482"/>
                    <a:pt x="27996" y="4778"/>
                  </a:cubicBezTo>
                  <a:cubicBezTo>
                    <a:pt x="28014" y="5660"/>
                    <a:pt x="28567" y="7094"/>
                    <a:pt x="27634" y="7267"/>
                  </a:cubicBezTo>
                  <a:cubicBezTo>
                    <a:pt x="27521" y="7286"/>
                    <a:pt x="27406" y="7295"/>
                    <a:pt x="27290" y="7295"/>
                  </a:cubicBezTo>
                  <a:cubicBezTo>
                    <a:pt x="25431" y="7295"/>
                    <a:pt x="23230" y="4918"/>
                    <a:pt x="23555" y="3275"/>
                  </a:cubicBezTo>
                  <a:cubicBezTo>
                    <a:pt x="23754" y="2264"/>
                    <a:pt x="23333" y="1317"/>
                    <a:pt x="22034" y="1317"/>
                  </a:cubicBezTo>
                  <a:cubicBezTo>
                    <a:pt x="21978" y="1317"/>
                    <a:pt x="21920" y="1318"/>
                    <a:pt x="21862" y="1322"/>
                  </a:cubicBezTo>
                  <a:cubicBezTo>
                    <a:pt x="21814" y="1325"/>
                    <a:pt x="21765" y="1327"/>
                    <a:pt x="21716" y="1327"/>
                  </a:cubicBezTo>
                  <a:cubicBezTo>
                    <a:pt x="20777" y="1327"/>
                    <a:pt x="19668" y="752"/>
                    <a:pt x="18692" y="752"/>
                  </a:cubicBezTo>
                  <a:cubicBezTo>
                    <a:pt x="18107" y="752"/>
                    <a:pt x="17570" y="958"/>
                    <a:pt x="17144" y="1616"/>
                  </a:cubicBezTo>
                  <a:cubicBezTo>
                    <a:pt x="16642" y="2376"/>
                    <a:pt x="15295" y="2826"/>
                    <a:pt x="15191" y="4035"/>
                  </a:cubicBezTo>
                  <a:cubicBezTo>
                    <a:pt x="15162" y="4430"/>
                    <a:pt x="15144" y="4616"/>
                    <a:pt x="15002" y="4616"/>
                  </a:cubicBezTo>
                  <a:cubicBezTo>
                    <a:pt x="14889" y="4616"/>
                    <a:pt x="14698" y="4499"/>
                    <a:pt x="14361" y="4277"/>
                  </a:cubicBezTo>
                  <a:cubicBezTo>
                    <a:pt x="13724" y="3844"/>
                    <a:pt x="13113" y="3612"/>
                    <a:pt x="12606" y="3612"/>
                  </a:cubicBezTo>
                  <a:cubicBezTo>
                    <a:pt x="12042" y="3612"/>
                    <a:pt x="11607" y="3900"/>
                    <a:pt x="11406" y="4519"/>
                  </a:cubicBezTo>
                  <a:cubicBezTo>
                    <a:pt x="10784" y="6334"/>
                    <a:pt x="8710" y="7215"/>
                    <a:pt x="8624" y="9392"/>
                  </a:cubicBezTo>
                  <a:cubicBezTo>
                    <a:pt x="8607" y="10153"/>
                    <a:pt x="7933" y="10619"/>
                    <a:pt x="7086" y="10879"/>
                  </a:cubicBezTo>
                  <a:cubicBezTo>
                    <a:pt x="5669" y="11311"/>
                    <a:pt x="4355" y="11864"/>
                    <a:pt x="3007" y="12382"/>
                  </a:cubicBezTo>
                  <a:cubicBezTo>
                    <a:pt x="1003" y="13160"/>
                    <a:pt x="0" y="16910"/>
                    <a:pt x="1538" y="19018"/>
                  </a:cubicBezTo>
                  <a:cubicBezTo>
                    <a:pt x="2835" y="20798"/>
                    <a:pt x="3128" y="22595"/>
                    <a:pt x="3992" y="24375"/>
                  </a:cubicBezTo>
                  <a:cubicBezTo>
                    <a:pt x="4494" y="25360"/>
                    <a:pt x="4424" y="26276"/>
                    <a:pt x="3750" y="26950"/>
                  </a:cubicBezTo>
                  <a:cubicBezTo>
                    <a:pt x="3353" y="27348"/>
                    <a:pt x="3509" y="27797"/>
                    <a:pt x="4148" y="28298"/>
                  </a:cubicBezTo>
                  <a:cubicBezTo>
                    <a:pt x="5020" y="28962"/>
                    <a:pt x="5824" y="29302"/>
                    <a:pt x="6549" y="29302"/>
                  </a:cubicBezTo>
                  <a:cubicBezTo>
                    <a:pt x="7089" y="29302"/>
                    <a:pt x="7586" y="29114"/>
                    <a:pt x="8036" y="28730"/>
                  </a:cubicBezTo>
                  <a:cubicBezTo>
                    <a:pt x="8740" y="28095"/>
                    <a:pt x="9643" y="27747"/>
                    <a:pt x="10576" y="27747"/>
                  </a:cubicBezTo>
                  <a:cubicBezTo>
                    <a:pt x="10811" y="27747"/>
                    <a:pt x="11049" y="27769"/>
                    <a:pt x="11285" y="27814"/>
                  </a:cubicBezTo>
                  <a:cubicBezTo>
                    <a:pt x="11420" y="27836"/>
                    <a:pt x="11551" y="27846"/>
                    <a:pt x="11676" y="27846"/>
                  </a:cubicBezTo>
                  <a:cubicBezTo>
                    <a:pt x="12065" y="27846"/>
                    <a:pt x="12402" y="27743"/>
                    <a:pt x="12650" y="27521"/>
                  </a:cubicBezTo>
                  <a:cubicBezTo>
                    <a:pt x="14551" y="25793"/>
                    <a:pt x="17368" y="25343"/>
                    <a:pt x="20047" y="24790"/>
                  </a:cubicBezTo>
                  <a:cubicBezTo>
                    <a:pt x="20247" y="24746"/>
                    <a:pt x="20464" y="24721"/>
                    <a:pt x="20691" y="24721"/>
                  </a:cubicBezTo>
                  <a:cubicBezTo>
                    <a:pt x="21623" y="24721"/>
                    <a:pt x="22712" y="25150"/>
                    <a:pt x="23365" y="26484"/>
                  </a:cubicBezTo>
                  <a:cubicBezTo>
                    <a:pt x="23667" y="27105"/>
                    <a:pt x="23855" y="28198"/>
                    <a:pt x="25083" y="28198"/>
                  </a:cubicBezTo>
                  <a:cubicBezTo>
                    <a:pt x="25120" y="28198"/>
                    <a:pt x="25158" y="28197"/>
                    <a:pt x="25197" y="28195"/>
                  </a:cubicBezTo>
                  <a:cubicBezTo>
                    <a:pt x="25345" y="28183"/>
                    <a:pt x="25455" y="28022"/>
                    <a:pt x="25593" y="28022"/>
                  </a:cubicBezTo>
                  <a:cubicBezTo>
                    <a:pt x="25664" y="28022"/>
                    <a:pt x="25742" y="28065"/>
                    <a:pt x="25836" y="28195"/>
                  </a:cubicBezTo>
                  <a:cubicBezTo>
                    <a:pt x="25923" y="28298"/>
                    <a:pt x="25767" y="28592"/>
                    <a:pt x="25612" y="28713"/>
                  </a:cubicBezTo>
                  <a:cubicBezTo>
                    <a:pt x="25318" y="28938"/>
                    <a:pt x="24903" y="29128"/>
                    <a:pt x="25283" y="29646"/>
                  </a:cubicBezTo>
                  <a:cubicBezTo>
                    <a:pt x="25508" y="29871"/>
                    <a:pt x="25802" y="30026"/>
                    <a:pt x="26113" y="30078"/>
                  </a:cubicBezTo>
                  <a:cubicBezTo>
                    <a:pt x="26172" y="30086"/>
                    <a:pt x="26229" y="30090"/>
                    <a:pt x="26283" y="30090"/>
                  </a:cubicBezTo>
                  <a:cubicBezTo>
                    <a:pt x="26710" y="30090"/>
                    <a:pt x="27006" y="29856"/>
                    <a:pt x="27098" y="29473"/>
                  </a:cubicBezTo>
                  <a:cubicBezTo>
                    <a:pt x="27115" y="29335"/>
                    <a:pt x="27098" y="29197"/>
                    <a:pt x="27029" y="29076"/>
                  </a:cubicBezTo>
                  <a:cubicBezTo>
                    <a:pt x="26976" y="28903"/>
                    <a:pt x="26992" y="28848"/>
                    <a:pt x="27041" y="28848"/>
                  </a:cubicBezTo>
                  <a:cubicBezTo>
                    <a:pt x="27105" y="28848"/>
                    <a:pt x="27225" y="28941"/>
                    <a:pt x="27322" y="28990"/>
                  </a:cubicBezTo>
                  <a:cubicBezTo>
                    <a:pt x="27824" y="29266"/>
                    <a:pt x="28463" y="29473"/>
                    <a:pt x="28169" y="30113"/>
                  </a:cubicBezTo>
                  <a:cubicBezTo>
                    <a:pt x="27945" y="30597"/>
                    <a:pt x="28117" y="31029"/>
                    <a:pt x="28809" y="31461"/>
                  </a:cubicBezTo>
                  <a:cubicBezTo>
                    <a:pt x="30199" y="32318"/>
                    <a:pt x="31628" y="32554"/>
                    <a:pt x="32898" y="32554"/>
                  </a:cubicBezTo>
                  <a:cubicBezTo>
                    <a:pt x="33522" y="32554"/>
                    <a:pt x="34108" y="32497"/>
                    <a:pt x="34633" y="32429"/>
                  </a:cubicBezTo>
                  <a:cubicBezTo>
                    <a:pt x="36672" y="32135"/>
                    <a:pt x="39299" y="31824"/>
                    <a:pt x="39299" y="29145"/>
                  </a:cubicBezTo>
                  <a:cubicBezTo>
                    <a:pt x="39299" y="28938"/>
                    <a:pt x="39541" y="28799"/>
                    <a:pt x="39592" y="28575"/>
                  </a:cubicBezTo>
                  <a:cubicBezTo>
                    <a:pt x="40024" y="26968"/>
                    <a:pt x="41804" y="26363"/>
                    <a:pt x="42496" y="24998"/>
                  </a:cubicBezTo>
                  <a:cubicBezTo>
                    <a:pt x="44224" y="21559"/>
                    <a:pt x="44362" y="17722"/>
                    <a:pt x="40232" y="13661"/>
                  </a:cubicBezTo>
                  <a:cubicBezTo>
                    <a:pt x="38953" y="12399"/>
                    <a:pt x="38037" y="10671"/>
                    <a:pt x="36309" y="9859"/>
                  </a:cubicBezTo>
                  <a:cubicBezTo>
                    <a:pt x="34494" y="9012"/>
                    <a:pt x="34080" y="7716"/>
                    <a:pt x="33509" y="6472"/>
                  </a:cubicBezTo>
                  <a:cubicBezTo>
                    <a:pt x="33388" y="5608"/>
                    <a:pt x="33008" y="4761"/>
                    <a:pt x="32213" y="4346"/>
                  </a:cubicBezTo>
                  <a:cubicBezTo>
                    <a:pt x="30658" y="3465"/>
                    <a:pt x="30278" y="2100"/>
                    <a:pt x="29414" y="942"/>
                  </a:cubicBezTo>
                  <a:cubicBezTo>
                    <a:pt x="29120" y="544"/>
                    <a:pt x="28947" y="78"/>
                    <a:pt x="28377" y="9"/>
                  </a:cubicBezTo>
                  <a:cubicBezTo>
                    <a:pt x="28330" y="3"/>
                    <a:pt x="28287" y="1"/>
                    <a:pt x="282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7" name="Google Shape;3537;p53"/>
            <p:cNvSpPr/>
            <p:nvPr/>
          </p:nvSpPr>
          <p:spPr>
            <a:xfrm>
              <a:off x="6442175" y="3238700"/>
              <a:ext cx="571625" cy="311800"/>
            </a:xfrm>
            <a:custGeom>
              <a:avLst/>
              <a:gdLst/>
              <a:ahLst/>
              <a:cxnLst/>
              <a:rect l="l" t="t" r="r" b="b"/>
              <a:pathLst>
                <a:path w="22865" h="12472" extrusionOk="0">
                  <a:moveTo>
                    <a:pt x="3070" y="1"/>
                  </a:moveTo>
                  <a:cubicBezTo>
                    <a:pt x="2939" y="1"/>
                    <a:pt x="2792" y="15"/>
                    <a:pt x="2627" y="46"/>
                  </a:cubicBezTo>
                  <a:cubicBezTo>
                    <a:pt x="1833" y="202"/>
                    <a:pt x="830" y="29"/>
                    <a:pt x="415" y="927"/>
                  </a:cubicBezTo>
                  <a:cubicBezTo>
                    <a:pt x="1" y="1826"/>
                    <a:pt x="934" y="1861"/>
                    <a:pt x="1400" y="2189"/>
                  </a:cubicBezTo>
                  <a:cubicBezTo>
                    <a:pt x="1504" y="2258"/>
                    <a:pt x="1366" y="2569"/>
                    <a:pt x="1435" y="2742"/>
                  </a:cubicBezTo>
                  <a:cubicBezTo>
                    <a:pt x="1757" y="3623"/>
                    <a:pt x="1963" y="4886"/>
                    <a:pt x="3062" y="4886"/>
                  </a:cubicBezTo>
                  <a:cubicBezTo>
                    <a:pt x="3084" y="4886"/>
                    <a:pt x="3106" y="4886"/>
                    <a:pt x="3129" y="4885"/>
                  </a:cubicBezTo>
                  <a:cubicBezTo>
                    <a:pt x="3207" y="4880"/>
                    <a:pt x="3284" y="4878"/>
                    <a:pt x="3360" y="4878"/>
                  </a:cubicBezTo>
                  <a:cubicBezTo>
                    <a:pt x="4698" y="4878"/>
                    <a:pt x="5731" y="5570"/>
                    <a:pt x="6810" y="6077"/>
                  </a:cubicBezTo>
                  <a:cubicBezTo>
                    <a:pt x="7328" y="6319"/>
                    <a:pt x="8019" y="7322"/>
                    <a:pt x="7207" y="8203"/>
                  </a:cubicBezTo>
                  <a:cubicBezTo>
                    <a:pt x="6913" y="8531"/>
                    <a:pt x="6948" y="8911"/>
                    <a:pt x="7121" y="9292"/>
                  </a:cubicBezTo>
                  <a:cubicBezTo>
                    <a:pt x="7274" y="9613"/>
                    <a:pt x="7597" y="9810"/>
                    <a:pt x="7934" y="9810"/>
                  </a:cubicBezTo>
                  <a:cubicBezTo>
                    <a:pt x="8014" y="9810"/>
                    <a:pt x="8095" y="9799"/>
                    <a:pt x="8175" y="9775"/>
                  </a:cubicBezTo>
                  <a:cubicBezTo>
                    <a:pt x="8275" y="9755"/>
                    <a:pt x="8368" y="9745"/>
                    <a:pt x="8457" y="9745"/>
                  </a:cubicBezTo>
                  <a:cubicBezTo>
                    <a:pt x="8811" y="9745"/>
                    <a:pt x="9087" y="9900"/>
                    <a:pt x="9419" y="10121"/>
                  </a:cubicBezTo>
                  <a:cubicBezTo>
                    <a:pt x="10079" y="10569"/>
                    <a:pt x="10930" y="10787"/>
                    <a:pt x="11688" y="10787"/>
                  </a:cubicBezTo>
                  <a:cubicBezTo>
                    <a:pt x="12538" y="10787"/>
                    <a:pt x="13270" y="10513"/>
                    <a:pt x="13480" y="9983"/>
                  </a:cubicBezTo>
                  <a:cubicBezTo>
                    <a:pt x="13648" y="9563"/>
                    <a:pt x="13555" y="9014"/>
                    <a:pt x="14230" y="9014"/>
                  </a:cubicBezTo>
                  <a:cubicBezTo>
                    <a:pt x="14250" y="9014"/>
                    <a:pt x="14271" y="9014"/>
                    <a:pt x="14293" y="9015"/>
                  </a:cubicBezTo>
                  <a:cubicBezTo>
                    <a:pt x="15036" y="9050"/>
                    <a:pt x="15381" y="9516"/>
                    <a:pt x="15450" y="10138"/>
                  </a:cubicBezTo>
                  <a:cubicBezTo>
                    <a:pt x="15640" y="11486"/>
                    <a:pt x="16522" y="11953"/>
                    <a:pt x="17697" y="11988"/>
                  </a:cubicBezTo>
                  <a:cubicBezTo>
                    <a:pt x="18224" y="11988"/>
                    <a:pt x="18870" y="12472"/>
                    <a:pt x="19366" y="12472"/>
                  </a:cubicBezTo>
                  <a:cubicBezTo>
                    <a:pt x="19602" y="12472"/>
                    <a:pt x="19804" y="12362"/>
                    <a:pt x="19944" y="12039"/>
                  </a:cubicBezTo>
                  <a:cubicBezTo>
                    <a:pt x="20289" y="11210"/>
                    <a:pt x="19287" y="10398"/>
                    <a:pt x="18596" y="9758"/>
                  </a:cubicBezTo>
                  <a:cubicBezTo>
                    <a:pt x="18164" y="9361"/>
                    <a:pt x="17420" y="8825"/>
                    <a:pt x="17749" y="8272"/>
                  </a:cubicBezTo>
                  <a:cubicBezTo>
                    <a:pt x="17984" y="7884"/>
                    <a:pt x="18253" y="7197"/>
                    <a:pt x="18937" y="7197"/>
                  </a:cubicBezTo>
                  <a:cubicBezTo>
                    <a:pt x="19107" y="7197"/>
                    <a:pt x="19302" y="7239"/>
                    <a:pt x="19529" y="7339"/>
                  </a:cubicBezTo>
                  <a:cubicBezTo>
                    <a:pt x="19732" y="7429"/>
                    <a:pt x="19935" y="7468"/>
                    <a:pt x="20135" y="7468"/>
                  </a:cubicBezTo>
                  <a:cubicBezTo>
                    <a:pt x="20854" y="7468"/>
                    <a:pt x="21544" y="6970"/>
                    <a:pt x="22138" y="6578"/>
                  </a:cubicBezTo>
                  <a:cubicBezTo>
                    <a:pt x="22795" y="6146"/>
                    <a:pt x="22864" y="5248"/>
                    <a:pt x="22311" y="4643"/>
                  </a:cubicBezTo>
                  <a:cubicBezTo>
                    <a:pt x="22115" y="4425"/>
                    <a:pt x="21948" y="4340"/>
                    <a:pt x="21799" y="4340"/>
                  </a:cubicBezTo>
                  <a:cubicBezTo>
                    <a:pt x="21465" y="4340"/>
                    <a:pt x="21227" y="4774"/>
                    <a:pt x="20963" y="5110"/>
                  </a:cubicBezTo>
                  <a:cubicBezTo>
                    <a:pt x="20756" y="5334"/>
                    <a:pt x="20479" y="5472"/>
                    <a:pt x="20168" y="5507"/>
                  </a:cubicBezTo>
                  <a:cubicBezTo>
                    <a:pt x="20112" y="5512"/>
                    <a:pt x="20051" y="5514"/>
                    <a:pt x="19986" y="5514"/>
                  </a:cubicBezTo>
                  <a:cubicBezTo>
                    <a:pt x="18639" y="5514"/>
                    <a:pt x="15548" y="4518"/>
                    <a:pt x="14344" y="3727"/>
                  </a:cubicBezTo>
                  <a:cubicBezTo>
                    <a:pt x="13999" y="3485"/>
                    <a:pt x="13636" y="3295"/>
                    <a:pt x="13238" y="3139"/>
                  </a:cubicBezTo>
                  <a:cubicBezTo>
                    <a:pt x="11925" y="2690"/>
                    <a:pt x="10473" y="2465"/>
                    <a:pt x="9298" y="1774"/>
                  </a:cubicBezTo>
                  <a:cubicBezTo>
                    <a:pt x="8770" y="1458"/>
                    <a:pt x="8301" y="1322"/>
                    <a:pt x="7877" y="1322"/>
                  </a:cubicBezTo>
                  <a:cubicBezTo>
                    <a:pt x="7093" y="1322"/>
                    <a:pt x="6459" y="1787"/>
                    <a:pt x="5876" y="2448"/>
                  </a:cubicBezTo>
                  <a:cubicBezTo>
                    <a:pt x="5497" y="2886"/>
                    <a:pt x="5240" y="3062"/>
                    <a:pt x="5050" y="3062"/>
                  </a:cubicBezTo>
                  <a:cubicBezTo>
                    <a:pt x="4739" y="3062"/>
                    <a:pt x="4614" y="2586"/>
                    <a:pt x="4442" y="2016"/>
                  </a:cubicBezTo>
                  <a:cubicBezTo>
                    <a:pt x="4193" y="1191"/>
                    <a:pt x="4266" y="1"/>
                    <a:pt x="30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8" name="Google Shape;3538;p53"/>
            <p:cNvSpPr/>
            <p:nvPr/>
          </p:nvSpPr>
          <p:spPr>
            <a:xfrm>
              <a:off x="5898675" y="3029225"/>
              <a:ext cx="282150" cy="318450"/>
            </a:xfrm>
            <a:custGeom>
              <a:avLst/>
              <a:gdLst/>
              <a:ahLst/>
              <a:cxnLst/>
              <a:rect l="l" t="t" r="r" b="b"/>
              <a:pathLst>
                <a:path w="11286" h="12738" extrusionOk="0">
                  <a:moveTo>
                    <a:pt x="8163" y="0"/>
                  </a:moveTo>
                  <a:cubicBezTo>
                    <a:pt x="7646" y="0"/>
                    <a:pt x="7307" y="634"/>
                    <a:pt x="7121" y="1115"/>
                  </a:cubicBezTo>
                  <a:cubicBezTo>
                    <a:pt x="6498" y="2618"/>
                    <a:pt x="5081" y="3362"/>
                    <a:pt x="4027" y="4450"/>
                  </a:cubicBezTo>
                  <a:cubicBezTo>
                    <a:pt x="3562" y="4916"/>
                    <a:pt x="2753" y="5709"/>
                    <a:pt x="2170" y="5709"/>
                  </a:cubicBezTo>
                  <a:cubicBezTo>
                    <a:pt x="2125" y="5709"/>
                    <a:pt x="2082" y="5704"/>
                    <a:pt x="2040" y="5695"/>
                  </a:cubicBezTo>
                  <a:cubicBezTo>
                    <a:pt x="1767" y="5631"/>
                    <a:pt x="1536" y="5602"/>
                    <a:pt x="1339" y="5602"/>
                  </a:cubicBezTo>
                  <a:cubicBezTo>
                    <a:pt x="150" y="5602"/>
                    <a:pt x="215" y="6659"/>
                    <a:pt x="52" y="7475"/>
                  </a:cubicBezTo>
                  <a:cubicBezTo>
                    <a:pt x="1" y="9410"/>
                    <a:pt x="1625" y="11518"/>
                    <a:pt x="3267" y="12123"/>
                  </a:cubicBezTo>
                  <a:cubicBezTo>
                    <a:pt x="3638" y="12262"/>
                    <a:pt x="4019" y="12277"/>
                    <a:pt x="4389" y="12277"/>
                  </a:cubicBezTo>
                  <a:cubicBezTo>
                    <a:pt x="4488" y="12277"/>
                    <a:pt x="4586" y="12276"/>
                    <a:pt x="4683" y="12276"/>
                  </a:cubicBezTo>
                  <a:cubicBezTo>
                    <a:pt x="5034" y="12276"/>
                    <a:pt x="5369" y="12290"/>
                    <a:pt x="5669" y="12417"/>
                  </a:cubicBezTo>
                  <a:cubicBezTo>
                    <a:pt x="6156" y="12630"/>
                    <a:pt x="6559" y="12738"/>
                    <a:pt x="6895" y="12738"/>
                  </a:cubicBezTo>
                  <a:cubicBezTo>
                    <a:pt x="7678" y="12738"/>
                    <a:pt x="8093" y="12148"/>
                    <a:pt x="8348" y="10914"/>
                  </a:cubicBezTo>
                  <a:cubicBezTo>
                    <a:pt x="8572" y="9773"/>
                    <a:pt x="9073" y="8235"/>
                    <a:pt x="9937" y="7786"/>
                  </a:cubicBezTo>
                  <a:cubicBezTo>
                    <a:pt x="11268" y="7094"/>
                    <a:pt x="10577" y="6697"/>
                    <a:pt x="10231" y="6023"/>
                  </a:cubicBezTo>
                  <a:cubicBezTo>
                    <a:pt x="9782" y="5124"/>
                    <a:pt x="8797" y="4278"/>
                    <a:pt x="10058" y="3189"/>
                  </a:cubicBezTo>
                  <a:cubicBezTo>
                    <a:pt x="10404" y="2895"/>
                    <a:pt x="11285" y="2618"/>
                    <a:pt x="10853" y="1945"/>
                  </a:cubicBezTo>
                  <a:cubicBezTo>
                    <a:pt x="10266" y="1063"/>
                    <a:pt x="9402" y="286"/>
                    <a:pt x="8348" y="26"/>
                  </a:cubicBezTo>
                  <a:cubicBezTo>
                    <a:pt x="8284" y="9"/>
                    <a:pt x="8222" y="0"/>
                    <a:pt x="81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9" name="Google Shape;3539;p53"/>
            <p:cNvSpPr/>
            <p:nvPr/>
          </p:nvSpPr>
          <p:spPr>
            <a:xfrm>
              <a:off x="5544400" y="3065225"/>
              <a:ext cx="541800" cy="430700"/>
            </a:xfrm>
            <a:custGeom>
              <a:avLst/>
              <a:gdLst/>
              <a:ahLst/>
              <a:cxnLst/>
              <a:rect l="l" t="t" r="r" b="b"/>
              <a:pathLst>
                <a:path w="21672" h="17228" extrusionOk="0">
                  <a:moveTo>
                    <a:pt x="7484" y="4583"/>
                  </a:moveTo>
                  <a:lnTo>
                    <a:pt x="7484" y="4583"/>
                  </a:lnTo>
                  <a:cubicBezTo>
                    <a:pt x="7486" y="4586"/>
                    <a:pt x="7488" y="4589"/>
                    <a:pt x="7491" y="4592"/>
                  </a:cubicBezTo>
                  <a:lnTo>
                    <a:pt x="7491" y="4592"/>
                  </a:lnTo>
                  <a:cubicBezTo>
                    <a:pt x="7494" y="4595"/>
                    <a:pt x="7498" y="4597"/>
                    <a:pt x="7501" y="4600"/>
                  </a:cubicBezTo>
                  <a:lnTo>
                    <a:pt x="7484" y="4583"/>
                  </a:lnTo>
                  <a:close/>
                  <a:moveTo>
                    <a:pt x="1210" y="0"/>
                  </a:moveTo>
                  <a:cubicBezTo>
                    <a:pt x="910" y="0"/>
                    <a:pt x="646" y="84"/>
                    <a:pt x="415" y="314"/>
                  </a:cubicBezTo>
                  <a:cubicBezTo>
                    <a:pt x="1" y="712"/>
                    <a:pt x="260" y="1127"/>
                    <a:pt x="571" y="1403"/>
                  </a:cubicBezTo>
                  <a:cubicBezTo>
                    <a:pt x="1833" y="2561"/>
                    <a:pt x="2939" y="3874"/>
                    <a:pt x="3872" y="5309"/>
                  </a:cubicBezTo>
                  <a:cubicBezTo>
                    <a:pt x="5894" y="8264"/>
                    <a:pt x="6948" y="12014"/>
                    <a:pt x="10663" y="13552"/>
                  </a:cubicBezTo>
                  <a:cubicBezTo>
                    <a:pt x="10715" y="13587"/>
                    <a:pt x="10733" y="13656"/>
                    <a:pt x="10733" y="13725"/>
                  </a:cubicBezTo>
                  <a:cubicBezTo>
                    <a:pt x="10007" y="15522"/>
                    <a:pt x="11579" y="15401"/>
                    <a:pt x="12478" y="15660"/>
                  </a:cubicBezTo>
                  <a:cubicBezTo>
                    <a:pt x="14932" y="16334"/>
                    <a:pt x="17420" y="16801"/>
                    <a:pt x="19961" y="17043"/>
                  </a:cubicBezTo>
                  <a:cubicBezTo>
                    <a:pt x="20276" y="17079"/>
                    <a:pt x="20618" y="17227"/>
                    <a:pt x="20904" y="17227"/>
                  </a:cubicBezTo>
                  <a:cubicBezTo>
                    <a:pt x="21167" y="17227"/>
                    <a:pt x="21382" y="17101"/>
                    <a:pt x="21482" y="16645"/>
                  </a:cubicBezTo>
                  <a:cubicBezTo>
                    <a:pt x="21672" y="15816"/>
                    <a:pt x="20842" y="15626"/>
                    <a:pt x="20306" y="15280"/>
                  </a:cubicBezTo>
                  <a:cubicBezTo>
                    <a:pt x="18129" y="13932"/>
                    <a:pt x="15502" y="14347"/>
                    <a:pt x="13204" y="13448"/>
                  </a:cubicBezTo>
                  <a:cubicBezTo>
                    <a:pt x="13103" y="13410"/>
                    <a:pt x="12986" y="13400"/>
                    <a:pt x="12863" y="13400"/>
                  </a:cubicBezTo>
                  <a:cubicBezTo>
                    <a:pt x="12726" y="13400"/>
                    <a:pt x="12582" y="13412"/>
                    <a:pt x="12448" y="13412"/>
                  </a:cubicBezTo>
                  <a:cubicBezTo>
                    <a:pt x="12162" y="13412"/>
                    <a:pt x="11919" y="13355"/>
                    <a:pt x="11873" y="12999"/>
                  </a:cubicBezTo>
                  <a:cubicBezTo>
                    <a:pt x="11769" y="12221"/>
                    <a:pt x="11614" y="11288"/>
                    <a:pt x="12409" y="10666"/>
                  </a:cubicBezTo>
                  <a:cubicBezTo>
                    <a:pt x="12979" y="10199"/>
                    <a:pt x="12806" y="9836"/>
                    <a:pt x="12478" y="9249"/>
                  </a:cubicBezTo>
                  <a:cubicBezTo>
                    <a:pt x="11908" y="8195"/>
                    <a:pt x="10352" y="8558"/>
                    <a:pt x="10076" y="7849"/>
                  </a:cubicBezTo>
                  <a:cubicBezTo>
                    <a:pt x="9542" y="6419"/>
                    <a:pt x="8354" y="5659"/>
                    <a:pt x="7491" y="4592"/>
                  </a:cubicBezTo>
                  <a:lnTo>
                    <a:pt x="7491" y="4592"/>
                  </a:lnTo>
                  <a:cubicBezTo>
                    <a:pt x="6993" y="4179"/>
                    <a:pt x="6512" y="3733"/>
                    <a:pt x="5980" y="3339"/>
                  </a:cubicBezTo>
                  <a:cubicBezTo>
                    <a:pt x="4563" y="2285"/>
                    <a:pt x="3682" y="522"/>
                    <a:pt x="1763" y="72"/>
                  </a:cubicBezTo>
                  <a:cubicBezTo>
                    <a:pt x="1567" y="28"/>
                    <a:pt x="1383" y="0"/>
                    <a:pt x="12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0" name="Google Shape;3540;p53"/>
            <p:cNvSpPr/>
            <p:nvPr/>
          </p:nvSpPr>
          <p:spPr>
            <a:xfrm>
              <a:off x="4388700" y="3530600"/>
              <a:ext cx="227275" cy="395425"/>
            </a:xfrm>
            <a:custGeom>
              <a:avLst/>
              <a:gdLst/>
              <a:ahLst/>
              <a:cxnLst/>
              <a:rect l="l" t="t" r="r" b="b"/>
              <a:pathLst>
                <a:path w="9091" h="15817" extrusionOk="0">
                  <a:moveTo>
                    <a:pt x="7622" y="0"/>
                  </a:moveTo>
                  <a:cubicBezTo>
                    <a:pt x="7155" y="0"/>
                    <a:pt x="6965" y="363"/>
                    <a:pt x="6740" y="761"/>
                  </a:cubicBezTo>
                  <a:cubicBezTo>
                    <a:pt x="5963" y="2212"/>
                    <a:pt x="5323" y="3802"/>
                    <a:pt x="3405" y="4200"/>
                  </a:cubicBezTo>
                  <a:cubicBezTo>
                    <a:pt x="2645" y="4338"/>
                    <a:pt x="2247" y="4891"/>
                    <a:pt x="2109" y="5738"/>
                  </a:cubicBezTo>
                  <a:cubicBezTo>
                    <a:pt x="1781" y="7587"/>
                    <a:pt x="1971" y="9471"/>
                    <a:pt x="917" y="11285"/>
                  </a:cubicBezTo>
                  <a:cubicBezTo>
                    <a:pt x="1" y="12910"/>
                    <a:pt x="1660" y="15813"/>
                    <a:pt x="3077" y="15813"/>
                  </a:cubicBezTo>
                  <a:cubicBezTo>
                    <a:pt x="3125" y="15815"/>
                    <a:pt x="3172" y="15816"/>
                    <a:pt x="3219" y="15816"/>
                  </a:cubicBezTo>
                  <a:cubicBezTo>
                    <a:pt x="4640" y="15816"/>
                    <a:pt x="5279" y="14808"/>
                    <a:pt x="5496" y="13670"/>
                  </a:cubicBezTo>
                  <a:cubicBezTo>
                    <a:pt x="6049" y="11095"/>
                    <a:pt x="7034" y="8676"/>
                    <a:pt x="8002" y="6256"/>
                  </a:cubicBezTo>
                  <a:cubicBezTo>
                    <a:pt x="8745" y="4373"/>
                    <a:pt x="9091" y="2645"/>
                    <a:pt x="8192" y="778"/>
                  </a:cubicBezTo>
                  <a:cubicBezTo>
                    <a:pt x="8054" y="467"/>
                    <a:pt x="8106" y="18"/>
                    <a:pt x="76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1" name="Google Shape;3541;p53"/>
            <p:cNvSpPr/>
            <p:nvPr/>
          </p:nvSpPr>
          <p:spPr>
            <a:xfrm>
              <a:off x="6438300" y="1893850"/>
              <a:ext cx="267450" cy="418275"/>
            </a:xfrm>
            <a:custGeom>
              <a:avLst/>
              <a:gdLst/>
              <a:ahLst/>
              <a:cxnLst/>
              <a:rect l="l" t="t" r="r" b="b"/>
              <a:pathLst>
                <a:path w="10698" h="16731" extrusionOk="0">
                  <a:moveTo>
                    <a:pt x="4909" y="1"/>
                  </a:moveTo>
                  <a:cubicBezTo>
                    <a:pt x="4667" y="1"/>
                    <a:pt x="4504" y="61"/>
                    <a:pt x="4562" y="216"/>
                  </a:cubicBezTo>
                  <a:cubicBezTo>
                    <a:pt x="5064" y="1633"/>
                    <a:pt x="3992" y="3465"/>
                    <a:pt x="5444" y="4502"/>
                  </a:cubicBezTo>
                  <a:cubicBezTo>
                    <a:pt x="6654" y="5366"/>
                    <a:pt x="6515" y="6627"/>
                    <a:pt x="6913" y="7647"/>
                  </a:cubicBezTo>
                  <a:cubicBezTo>
                    <a:pt x="6804" y="8207"/>
                    <a:pt x="6835" y="9062"/>
                    <a:pt x="6426" y="9062"/>
                  </a:cubicBezTo>
                  <a:cubicBezTo>
                    <a:pt x="6380" y="9062"/>
                    <a:pt x="6330" y="9052"/>
                    <a:pt x="6273" y="9029"/>
                  </a:cubicBezTo>
                  <a:cubicBezTo>
                    <a:pt x="6019" y="8928"/>
                    <a:pt x="5817" y="8884"/>
                    <a:pt x="5657" y="8884"/>
                  </a:cubicBezTo>
                  <a:cubicBezTo>
                    <a:pt x="5131" y="8884"/>
                    <a:pt x="5047" y="9360"/>
                    <a:pt x="4995" y="9876"/>
                  </a:cubicBezTo>
                  <a:cubicBezTo>
                    <a:pt x="4925" y="10533"/>
                    <a:pt x="4614" y="10757"/>
                    <a:pt x="4044" y="10896"/>
                  </a:cubicBezTo>
                  <a:cubicBezTo>
                    <a:pt x="726" y="11673"/>
                    <a:pt x="0" y="13229"/>
                    <a:pt x="1659" y="16028"/>
                  </a:cubicBezTo>
                  <a:cubicBezTo>
                    <a:pt x="1834" y="16314"/>
                    <a:pt x="1935" y="16730"/>
                    <a:pt x="2351" y="16730"/>
                  </a:cubicBezTo>
                  <a:cubicBezTo>
                    <a:pt x="2389" y="16730"/>
                    <a:pt x="2429" y="16727"/>
                    <a:pt x="2471" y="16720"/>
                  </a:cubicBezTo>
                  <a:cubicBezTo>
                    <a:pt x="3007" y="16633"/>
                    <a:pt x="3197" y="16236"/>
                    <a:pt x="3301" y="15752"/>
                  </a:cubicBezTo>
                  <a:cubicBezTo>
                    <a:pt x="3405" y="15251"/>
                    <a:pt x="3301" y="14784"/>
                    <a:pt x="4009" y="14542"/>
                  </a:cubicBezTo>
                  <a:cubicBezTo>
                    <a:pt x="5651" y="13955"/>
                    <a:pt x="7241" y="13194"/>
                    <a:pt x="8866" y="12555"/>
                  </a:cubicBezTo>
                  <a:cubicBezTo>
                    <a:pt x="9298" y="12399"/>
                    <a:pt x="9643" y="12261"/>
                    <a:pt x="9799" y="11829"/>
                  </a:cubicBezTo>
                  <a:cubicBezTo>
                    <a:pt x="10300" y="10308"/>
                    <a:pt x="8866" y="5746"/>
                    <a:pt x="7604" y="4709"/>
                  </a:cubicBezTo>
                  <a:cubicBezTo>
                    <a:pt x="7397" y="4536"/>
                    <a:pt x="6809" y="4571"/>
                    <a:pt x="7016" y="4139"/>
                  </a:cubicBezTo>
                  <a:cubicBezTo>
                    <a:pt x="7082" y="4008"/>
                    <a:pt x="7166" y="3963"/>
                    <a:pt x="7262" y="3963"/>
                  </a:cubicBezTo>
                  <a:cubicBezTo>
                    <a:pt x="7468" y="3963"/>
                    <a:pt x="7725" y="4173"/>
                    <a:pt x="7950" y="4173"/>
                  </a:cubicBezTo>
                  <a:cubicBezTo>
                    <a:pt x="7979" y="4174"/>
                    <a:pt x="8009" y="4175"/>
                    <a:pt x="8039" y="4175"/>
                  </a:cubicBezTo>
                  <a:cubicBezTo>
                    <a:pt x="9008" y="4175"/>
                    <a:pt x="9913" y="3634"/>
                    <a:pt x="10265" y="2946"/>
                  </a:cubicBezTo>
                  <a:cubicBezTo>
                    <a:pt x="10697" y="2117"/>
                    <a:pt x="9695" y="1667"/>
                    <a:pt x="8987" y="1581"/>
                  </a:cubicBezTo>
                  <a:cubicBezTo>
                    <a:pt x="7811" y="1443"/>
                    <a:pt x="6930" y="786"/>
                    <a:pt x="5962" y="250"/>
                  </a:cubicBezTo>
                  <a:cubicBezTo>
                    <a:pt x="5704" y="111"/>
                    <a:pt x="5235" y="1"/>
                    <a:pt x="49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2" name="Google Shape;3542;p53"/>
            <p:cNvSpPr/>
            <p:nvPr/>
          </p:nvSpPr>
          <p:spPr>
            <a:xfrm>
              <a:off x="6901875" y="4220725"/>
              <a:ext cx="468775" cy="354550"/>
            </a:xfrm>
            <a:custGeom>
              <a:avLst/>
              <a:gdLst/>
              <a:ahLst/>
              <a:cxnLst/>
              <a:rect l="l" t="t" r="r" b="b"/>
              <a:pathLst>
                <a:path w="18751" h="14182" extrusionOk="0">
                  <a:moveTo>
                    <a:pt x="15666" y="0"/>
                  </a:moveTo>
                  <a:cubicBezTo>
                    <a:pt x="15588" y="0"/>
                    <a:pt x="15504" y="9"/>
                    <a:pt x="15415" y="28"/>
                  </a:cubicBezTo>
                  <a:cubicBezTo>
                    <a:pt x="14690" y="184"/>
                    <a:pt x="14759" y="772"/>
                    <a:pt x="14897" y="1290"/>
                  </a:cubicBezTo>
                  <a:cubicBezTo>
                    <a:pt x="15294" y="2845"/>
                    <a:pt x="14880" y="4038"/>
                    <a:pt x="13463" y="4850"/>
                  </a:cubicBezTo>
                  <a:cubicBezTo>
                    <a:pt x="13013" y="5109"/>
                    <a:pt x="12823" y="5472"/>
                    <a:pt x="13065" y="5991"/>
                  </a:cubicBezTo>
                  <a:cubicBezTo>
                    <a:pt x="13324" y="6578"/>
                    <a:pt x="12823" y="6803"/>
                    <a:pt x="12512" y="7097"/>
                  </a:cubicBezTo>
                  <a:cubicBezTo>
                    <a:pt x="12410" y="7191"/>
                    <a:pt x="12303" y="7233"/>
                    <a:pt x="12200" y="7233"/>
                  </a:cubicBezTo>
                  <a:cubicBezTo>
                    <a:pt x="12041" y="7233"/>
                    <a:pt x="11891" y="7133"/>
                    <a:pt x="11786" y="6976"/>
                  </a:cubicBezTo>
                  <a:cubicBezTo>
                    <a:pt x="11531" y="6610"/>
                    <a:pt x="11284" y="6477"/>
                    <a:pt x="11039" y="6477"/>
                  </a:cubicBezTo>
                  <a:cubicBezTo>
                    <a:pt x="10705" y="6477"/>
                    <a:pt x="10373" y="6726"/>
                    <a:pt x="10024" y="6976"/>
                  </a:cubicBezTo>
                  <a:cubicBezTo>
                    <a:pt x="8797" y="7891"/>
                    <a:pt x="7811" y="9188"/>
                    <a:pt x="6308" y="9637"/>
                  </a:cubicBezTo>
                  <a:cubicBezTo>
                    <a:pt x="4303" y="10242"/>
                    <a:pt x="2696" y="11572"/>
                    <a:pt x="812" y="12385"/>
                  </a:cubicBezTo>
                  <a:cubicBezTo>
                    <a:pt x="242" y="12627"/>
                    <a:pt x="0" y="13214"/>
                    <a:pt x="692" y="13577"/>
                  </a:cubicBezTo>
                  <a:cubicBezTo>
                    <a:pt x="1262" y="13888"/>
                    <a:pt x="1936" y="13992"/>
                    <a:pt x="2610" y="14182"/>
                  </a:cubicBezTo>
                  <a:cubicBezTo>
                    <a:pt x="3819" y="13854"/>
                    <a:pt x="4943" y="13249"/>
                    <a:pt x="5893" y="12436"/>
                  </a:cubicBezTo>
                  <a:cubicBezTo>
                    <a:pt x="7829" y="10743"/>
                    <a:pt x="10144" y="9447"/>
                    <a:pt x="12357" y="8496"/>
                  </a:cubicBezTo>
                  <a:cubicBezTo>
                    <a:pt x="14396" y="7615"/>
                    <a:pt x="15847" y="6042"/>
                    <a:pt x="17817" y="5213"/>
                  </a:cubicBezTo>
                  <a:cubicBezTo>
                    <a:pt x="18301" y="4988"/>
                    <a:pt x="18751" y="4452"/>
                    <a:pt x="18612" y="3848"/>
                  </a:cubicBezTo>
                  <a:cubicBezTo>
                    <a:pt x="18539" y="3538"/>
                    <a:pt x="18402" y="3442"/>
                    <a:pt x="18239" y="3442"/>
                  </a:cubicBezTo>
                  <a:cubicBezTo>
                    <a:pt x="18019" y="3442"/>
                    <a:pt x="17752" y="3615"/>
                    <a:pt x="17524" y="3675"/>
                  </a:cubicBezTo>
                  <a:cubicBezTo>
                    <a:pt x="17487" y="3682"/>
                    <a:pt x="17451" y="3686"/>
                    <a:pt x="17417" y="3686"/>
                  </a:cubicBezTo>
                  <a:cubicBezTo>
                    <a:pt x="17207" y="3686"/>
                    <a:pt x="17050" y="3554"/>
                    <a:pt x="17109" y="3346"/>
                  </a:cubicBezTo>
                  <a:cubicBezTo>
                    <a:pt x="17385" y="2431"/>
                    <a:pt x="16625" y="1791"/>
                    <a:pt x="16556" y="962"/>
                  </a:cubicBezTo>
                  <a:cubicBezTo>
                    <a:pt x="16526" y="461"/>
                    <a:pt x="16229" y="0"/>
                    <a:pt x="156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3" name="Google Shape;3543;p53"/>
            <p:cNvSpPr/>
            <p:nvPr/>
          </p:nvSpPr>
          <p:spPr>
            <a:xfrm>
              <a:off x="6306100" y="2654825"/>
              <a:ext cx="232875" cy="385425"/>
            </a:xfrm>
            <a:custGeom>
              <a:avLst/>
              <a:gdLst/>
              <a:ahLst/>
              <a:cxnLst/>
              <a:rect l="l" t="t" r="r" b="b"/>
              <a:pathLst>
                <a:path w="9315" h="15417" extrusionOk="0">
                  <a:moveTo>
                    <a:pt x="6907" y="9941"/>
                  </a:moveTo>
                  <a:cubicBezTo>
                    <a:pt x="6738" y="10523"/>
                    <a:pt x="6645" y="11167"/>
                    <a:pt x="5910" y="11304"/>
                  </a:cubicBezTo>
                  <a:cubicBezTo>
                    <a:pt x="5905" y="11305"/>
                    <a:pt x="5899" y="11305"/>
                    <a:pt x="5892" y="11305"/>
                  </a:cubicBezTo>
                  <a:cubicBezTo>
                    <a:pt x="5767" y="11305"/>
                    <a:pt x="5547" y="11146"/>
                    <a:pt x="5547" y="11097"/>
                  </a:cubicBezTo>
                  <a:cubicBezTo>
                    <a:pt x="5616" y="10270"/>
                    <a:pt x="6304" y="10147"/>
                    <a:pt x="6907" y="9941"/>
                  </a:cubicBezTo>
                  <a:close/>
                  <a:moveTo>
                    <a:pt x="2345" y="1"/>
                  </a:moveTo>
                  <a:cubicBezTo>
                    <a:pt x="2049" y="1"/>
                    <a:pt x="1708" y="93"/>
                    <a:pt x="1419" y="93"/>
                  </a:cubicBezTo>
                  <a:cubicBezTo>
                    <a:pt x="1383" y="93"/>
                    <a:pt x="1348" y="92"/>
                    <a:pt x="1313" y="88"/>
                  </a:cubicBezTo>
                  <a:cubicBezTo>
                    <a:pt x="1306" y="88"/>
                    <a:pt x="1299" y="88"/>
                    <a:pt x="1292" y="88"/>
                  </a:cubicBezTo>
                  <a:cubicBezTo>
                    <a:pt x="885" y="88"/>
                    <a:pt x="504" y="561"/>
                    <a:pt x="639" y="883"/>
                  </a:cubicBezTo>
                  <a:cubicBezTo>
                    <a:pt x="1244" y="2283"/>
                    <a:pt x="0" y="3977"/>
                    <a:pt x="1348" y="5273"/>
                  </a:cubicBezTo>
                  <a:cubicBezTo>
                    <a:pt x="1538" y="5446"/>
                    <a:pt x="1383" y="5964"/>
                    <a:pt x="1538" y="6241"/>
                  </a:cubicBezTo>
                  <a:cubicBezTo>
                    <a:pt x="1851" y="6738"/>
                    <a:pt x="1941" y="7889"/>
                    <a:pt x="2501" y="7889"/>
                  </a:cubicBezTo>
                  <a:cubicBezTo>
                    <a:pt x="2623" y="7889"/>
                    <a:pt x="2766" y="7836"/>
                    <a:pt x="2938" y="7710"/>
                  </a:cubicBezTo>
                  <a:cubicBezTo>
                    <a:pt x="3345" y="7411"/>
                    <a:pt x="3664" y="7306"/>
                    <a:pt x="3951" y="7306"/>
                  </a:cubicBezTo>
                  <a:cubicBezTo>
                    <a:pt x="4345" y="7306"/>
                    <a:pt x="4678" y="7505"/>
                    <a:pt x="5098" y="7675"/>
                  </a:cubicBezTo>
                  <a:cubicBezTo>
                    <a:pt x="5375" y="7796"/>
                    <a:pt x="5651" y="7848"/>
                    <a:pt x="5668" y="8176"/>
                  </a:cubicBezTo>
                  <a:cubicBezTo>
                    <a:pt x="5668" y="8297"/>
                    <a:pt x="5547" y="8401"/>
                    <a:pt x="5478" y="8504"/>
                  </a:cubicBezTo>
                  <a:cubicBezTo>
                    <a:pt x="5288" y="8384"/>
                    <a:pt x="5098" y="8263"/>
                    <a:pt x="4908" y="8107"/>
                  </a:cubicBezTo>
                  <a:cubicBezTo>
                    <a:pt x="4670" y="7869"/>
                    <a:pt x="4349" y="7740"/>
                    <a:pt x="4020" y="7740"/>
                  </a:cubicBezTo>
                  <a:cubicBezTo>
                    <a:pt x="3895" y="7740"/>
                    <a:pt x="3770" y="7758"/>
                    <a:pt x="3646" y="7796"/>
                  </a:cubicBezTo>
                  <a:cubicBezTo>
                    <a:pt x="3059" y="7951"/>
                    <a:pt x="3284" y="8470"/>
                    <a:pt x="3249" y="8850"/>
                  </a:cubicBezTo>
                  <a:cubicBezTo>
                    <a:pt x="3180" y="10008"/>
                    <a:pt x="4701" y="11270"/>
                    <a:pt x="4580" y="11408"/>
                  </a:cubicBezTo>
                  <a:cubicBezTo>
                    <a:pt x="3042" y="13170"/>
                    <a:pt x="4251" y="13205"/>
                    <a:pt x="5599" y="13758"/>
                  </a:cubicBezTo>
                  <a:cubicBezTo>
                    <a:pt x="6014" y="13948"/>
                    <a:pt x="6429" y="15244"/>
                    <a:pt x="7379" y="15400"/>
                  </a:cubicBezTo>
                  <a:cubicBezTo>
                    <a:pt x="7454" y="15411"/>
                    <a:pt x="7523" y="15417"/>
                    <a:pt x="7586" y="15417"/>
                  </a:cubicBezTo>
                  <a:cubicBezTo>
                    <a:pt x="8462" y="15417"/>
                    <a:pt x="8316" y="14362"/>
                    <a:pt x="8606" y="13879"/>
                  </a:cubicBezTo>
                  <a:cubicBezTo>
                    <a:pt x="9315" y="12687"/>
                    <a:pt x="8554" y="11529"/>
                    <a:pt x="8105" y="10423"/>
                  </a:cubicBezTo>
                  <a:cubicBezTo>
                    <a:pt x="7967" y="10058"/>
                    <a:pt x="7709" y="9812"/>
                    <a:pt x="7353" y="9812"/>
                  </a:cubicBezTo>
                  <a:cubicBezTo>
                    <a:pt x="7222" y="9812"/>
                    <a:pt x="7078" y="9845"/>
                    <a:pt x="6922" y="9917"/>
                  </a:cubicBezTo>
                  <a:lnTo>
                    <a:pt x="6922" y="9917"/>
                  </a:lnTo>
                  <a:cubicBezTo>
                    <a:pt x="7290" y="9072"/>
                    <a:pt x="8114" y="7913"/>
                    <a:pt x="7103" y="7433"/>
                  </a:cubicBezTo>
                  <a:cubicBezTo>
                    <a:pt x="5789" y="6828"/>
                    <a:pt x="5530" y="5048"/>
                    <a:pt x="3854" y="4927"/>
                  </a:cubicBezTo>
                  <a:cubicBezTo>
                    <a:pt x="3335" y="4893"/>
                    <a:pt x="2886" y="4167"/>
                    <a:pt x="3318" y="3424"/>
                  </a:cubicBezTo>
                  <a:cubicBezTo>
                    <a:pt x="3975" y="2318"/>
                    <a:pt x="3353" y="1298"/>
                    <a:pt x="2955" y="348"/>
                  </a:cubicBezTo>
                  <a:cubicBezTo>
                    <a:pt x="2833" y="73"/>
                    <a:pt x="2607" y="1"/>
                    <a:pt x="23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4" name="Google Shape;3544;p53"/>
            <p:cNvSpPr/>
            <p:nvPr/>
          </p:nvSpPr>
          <p:spPr>
            <a:xfrm>
              <a:off x="6139750" y="3178550"/>
              <a:ext cx="185375" cy="227425"/>
            </a:xfrm>
            <a:custGeom>
              <a:avLst/>
              <a:gdLst/>
              <a:ahLst/>
              <a:cxnLst/>
              <a:rect l="l" t="t" r="r" b="b"/>
              <a:pathLst>
                <a:path w="7415" h="9097" extrusionOk="0">
                  <a:moveTo>
                    <a:pt x="6576" y="0"/>
                  </a:moveTo>
                  <a:cubicBezTo>
                    <a:pt x="6440" y="0"/>
                    <a:pt x="6314" y="46"/>
                    <a:pt x="6222" y="154"/>
                  </a:cubicBezTo>
                  <a:cubicBezTo>
                    <a:pt x="5928" y="483"/>
                    <a:pt x="5611" y="592"/>
                    <a:pt x="5290" y="592"/>
                  </a:cubicBezTo>
                  <a:cubicBezTo>
                    <a:pt x="4988" y="592"/>
                    <a:pt x="4683" y="496"/>
                    <a:pt x="4390" y="396"/>
                  </a:cubicBezTo>
                  <a:cubicBezTo>
                    <a:pt x="3964" y="242"/>
                    <a:pt x="3597" y="173"/>
                    <a:pt x="3279" y="173"/>
                  </a:cubicBezTo>
                  <a:cubicBezTo>
                    <a:pt x="1986" y="173"/>
                    <a:pt x="1492" y="1318"/>
                    <a:pt x="1020" y="2608"/>
                  </a:cubicBezTo>
                  <a:cubicBezTo>
                    <a:pt x="364" y="4353"/>
                    <a:pt x="1" y="6064"/>
                    <a:pt x="796" y="7360"/>
                  </a:cubicBezTo>
                  <a:cubicBezTo>
                    <a:pt x="847" y="8362"/>
                    <a:pt x="761" y="8984"/>
                    <a:pt x="1470" y="9088"/>
                  </a:cubicBezTo>
                  <a:cubicBezTo>
                    <a:pt x="1519" y="9094"/>
                    <a:pt x="1568" y="9097"/>
                    <a:pt x="1614" y="9097"/>
                  </a:cubicBezTo>
                  <a:cubicBezTo>
                    <a:pt x="2117" y="9097"/>
                    <a:pt x="2435" y="8762"/>
                    <a:pt x="2593" y="8224"/>
                  </a:cubicBezTo>
                  <a:cubicBezTo>
                    <a:pt x="2634" y="8075"/>
                    <a:pt x="2578" y="7743"/>
                    <a:pt x="2746" y="7743"/>
                  </a:cubicBezTo>
                  <a:cubicBezTo>
                    <a:pt x="2792" y="7743"/>
                    <a:pt x="2854" y="7768"/>
                    <a:pt x="2938" y="7827"/>
                  </a:cubicBezTo>
                  <a:cubicBezTo>
                    <a:pt x="3173" y="7995"/>
                    <a:pt x="3380" y="8062"/>
                    <a:pt x="3567" y="8062"/>
                  </a:cubicBezTo>
                  <a:cubicBezTo>
                    <a:pt x="4013" y="8062"/>
                    <a:pt x="4340" y="7677"/>
                    <a:pt x="4632" y="7360"/>
                  </a:cubicBezTo>
                  <a:cubicBezTo>
                    <a:pt x="5116" y="6842"/>
                    <a:pt x="4563" y="6358"/>
                    <a:pt x="4373" y="5839"/>
                  </a:cubicBezTo>
                  <a:cubicBezTo>
                    <a:pt x="4183" y="5321"/>
                    <a:pt x="3491" y="4750"/>
                    <a:pt x="4442" y="4249"/>
                  </a:cubicBezTo>
                  <a:cubicBezTo>
                    <a:pt x="4943" y="3990"/>
                    <a:pt x="5790" y="3852"/>
                    <a:pt x="5427" y="3057"/>
                  </a:cubicBezTo>
                  <a:cubicBezTo>
                    <a:pt x="5274" y="2713"/>
                    <a:pt x="5030" y="2616"/>
                    <a:pt x="4752" y="2616"/>
                  </a:cubicBezTo>
                  <a:cubicBezTo>
                    <a:pt x="4400" y="2616"/>
                    <a:pt x="3994" y="2771"/>
                    <a:pt x="3647" y="2780"/>
                  </a:cubicBezTo>
                  <a:cubicBezTo>
                    <a:pt x="3388" y="2815"/>
                    <a:pt x="3129" y="2850"/>
                    <a:pt x="2887" y="2919"/>
                  </a:cubicBezTo>
                  <a:cubicBezTo>
                    <a:pt x="2887" y="2746"/>
                    <a:pt x="2800" y="2487"/>
                    <a:pt x="2887" y="2435"/>
                  </a:cubicBezTo>
                  <a:cubicBezTo>
                    <a:pt x="3111" y="2262"/>
                    <a:pt x="3405" y="2037"/>
                    <a:pt x="3664" y="2037"/>
                  </a:cubicBezTo>
                  <a:cubicBezTo>
                    <a:pt x="4321" y="2055"/>
                    <a:pt x="4995" y="2262"/>
                    <a:pt x="5634" y="2262"/>
                  </a:cubicBezTo>
                  <a:cubicBezTo>
                    <a:pt x="6481" y="2262"/>
                    <a:pt x="6861" y="1553"/>
                    <a:pt x="7242" y="931"/>
                  </a:cubicBezTo>
                  <a:cubicBezTo>
                    <a:pt x="7414" y="689"/>
                    <a:pt x="7328" y="344"/>
                    <a:pt x="7086" y="188"/>
                  </a:cubicBezTo>
                  <a:cubicBezTo>
                    <a:pt x="6932" y="73"/>
                    <a:pt x="6746" y="0"/>
                    <a:pt x="65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5" name="Google Shape;3545;p53"/>
            <p:cNvSpPr/>
            <p:nvPr/>
          </p:nvSpPr>
          <p:spPr>
            <a:xfrm>
              <a:off x="4320000" y="1079225"/>
              <a:ext cx="260125" cy="163000"/>
            </a:xfrm>
            <a:custGeom>
              <a:avLst/>
              <a:gdLst/>
              <a:ahLst/>
              <a:cxnLst/>
              <a:rect l="l" t="t" r="r" b="b"/>
              <a:pathLst>
                <a:path w="10405" h="6520" extrusionOk="0">
                  <a:moveTo>
                    <a:pt x="8970" y="1"/>
                  </a:moveTo>
                  <a:cubicBezTo>
                    <a:pt x="6620" y="778"/>
                    <a:pt x="3786" y="294"/>
                    <a:pt x="1764" y="2576"/>
                  </a:cubicBezTo>
                  <a:cubicBezTo>
                    <a:pt x="502" y="3993"/>
                    <a:pt x="1" y="5410"/>
                    <a:pt x="1038" y="5876"/>
                  </a:cubicBezTo>
                  <a:cubicBezTo>
                    <a:pt x="2057" y="6274"/>
                    <a:pt x="3146" y="6499"/>
                    <a:pt x="4252" y="6516"/>
                  </a:cubicBezTo>
                  <a:cubicBezTo>
                    <a:pt x="4303" y="6518"/>
                    <a:pt x="4355" y="6520"/>
                    <a:pt x="4406" y="6520"/>
                  </a:cubicBezTo>
                  <a:cubicBezTo>
                    <a:pt x="4717" y="6520"/>
                    <a:pt x="5012" y="6455"/>
                    <a:pt x="5116" y="6084"/>
                  </a:cubicBezTo>
                  <a:cubicBezTo>
                    <a:pt x="5237" y="5652"/>
                    <a:pt x="4892" y="5479"/>
                    <a:pt x="4563" y="5323"/>
                  </a:cubicBezTo>
                  <a:cubicBezTo>
                    <a:pt x="3094" y="4598"/>
                    <a:pt x="3630" y="3924"/>
                    <a:pt x="4598" y="3198"/>
                  </a:cubicBezTo>
                  <a:cubicBezTo>
                    <a:pt x="5980" y="2144"/>
                    <a:pt x="7726" y="2126"/>
                    <a:pt x="9264" y="1487"/>
                  </a:cubicBezTo>
                  <a:cubicBezTo>
                    <a:pt x="9696" y="1331"/>
                    <a:pt x="10404" y="1556"/>
                    <a:pt x="10352" y="796"/>
                  </a:cubicBezTo>
                  <a:cubicBezTo>
                    <a:pt x="10301" y="35"/>
                    <a:pt x="9627" y="70"/>
                    <a:pt x="89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6" name="Google Shape;3546;p53"/>
            <p:cNvSpPr/>
            <p:nvPr/>
          </p:nvSpPr>
          <p:spPr>
            <a:xfrm>
              <a:off x="3605850" y="1017225"/>
              <a:ext cx="246275" cy="88775"/>
            </a:xfrm>
            <a:custGeom>
              <a:avLst/>
              <a:gdLst/>
              <a:ahLst/>
              <a:cxnLst/>
              <a:rect l="l" t="t" r="r" b="b"/>
              <a:pathLst>
                <a:path w="9851" h="3551" extrusionOk="0">
                  <a:moveTo>
                    <a:pt x="3896" y="1"/>
                  </a:moveTo>
                  <a:cubicBezTo>
                    <a:pt x="2951" y="1"/>
                    <a:pt x="1998" y="113"/>
                    <a:pt x="1055" y="130"/>
                  </a:cubicBezTo>
                  <a:cubicBezTo>
                    <a:pt x="674" y="130"/>
                    <a:pt x="260" y="217"/>
                    <a:pt x="121" y="649"/>
                  </a:cubicBezTo>
                  <a:cubicBezTo>
                    <a:pt x="0" y="1046"/>
                    <a:pt x="173" y="1461"/>
                    <a:pt x="536" y="1651"/>
                  </a:cubicBezTo>
                  <a:cubicBezTo>
                    <a:pt x="1487" y="2256"/>
                    <a:pt x="2489" y="2792"/>
                    <a:pt x="3474" y="3345"/>
                  </a:cubicBezTo>
                  <a:cubicBezTo>
                    <a:pt x="3715" y="3472"/>
                    <a:pt x="3939" y="3551"/>
                    <a:pt x="4149" y="3551"/>
                  </a:cubicBezTo>
                  <a:cubicBezTo>
                    <a:pt x="4450" y="3551"/>
                    <a:pt x="4723" y="3389"/>
                    <a:pt x="4978" y="2982"/>
                  </a:cubicBezTo>
                  <a:cubicBezTo>
                    <a:pt x="5203" y="2650"/>
                    <a:pt x="5511" y="2104"/>
                    <a:pt x="5931" y="2104"/>
                  </a:cubicBezTo>
                  <a:cubicBezTo>
                    <a:pt x="6058" y="2104"/>
                    <a:pt x="6195" y="2153"/>
                    <a:pt x="6343" y="2273"/>
                  </a:cubicBezTo>
                  <a:cubicBezTo>
                    <a:pt x="6982" y="2809"/>
                    <a:pt x="7673" y="2826"/>
                    <a:pt x="8365" y="2895"/>
                  </a:cubicBezTo>
                  <a:cubicBezTo>
                    <a:pt x="8588" y="2920"/>
                    <a:pt x="8869" y="3004"/>
                    <a:pt x="9118" y="3004"/>
                  </a:cubicBezTo>
                  <a:cubicBezTo>
                    <a:pt x="9390" y="3004"/>
                    <a:pt x="9623" y="2904"/>
                    <a:pt x="9695" y="2515"/>
                  </a:cubicBezTo>
                  <a:cubicBezTo>
                    <a:pt x="9851" y="1789"/>
                    <a:pt x="9142" y="1668"/>
                    <a:pt x="8641" y="1478"/>
                  </a:cubicBezTo>
                  <a:lnTo>
                    <a:pt x="6585" y="493"/>
                  </a:lnTo>
                  <a:cubicBezTo>
                    <a:pt x="5704" y="104"/>
                    <a:pt x="4803" y="1"/>
                    <a:pt x="38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7" name="Google Shape;3547;p53"/>
            <p:cNvSpPr/>
            <p:nvPr/>
          </p:nvSpPr>
          <p:spPr>
            <a:xfrm>
              <a:off x="3161275" y="1612775"/>
              <a:ext cx="115825" cy="115825"/>
            </a:xfrm>
            <a:custGeom>
              <a:avLst/>
              <a:gdLst/>
              <a:ahLst/>
              <a:cxnLst/>
              <a:rect l="l" t="t" r="r" b="b"/>
              <a:pathLst>
                <a:path w="4633" h="4633" extrusionOk="0">
                  <a:moveTo>
                    <a:pt x="2966" y="1"/>
                  </a:moveTo>
                  <a:cubicBezTo>
                    <a:pt x="2951" y="1"/>
                    <a:pt x="2936" y="1"/>
                    <a:pt x="2921" y="1"/>
                  </a:cubicBezTo>
                  <a:cubicBezTo>
                    <a:pt x="1729" y="36"/>
                    <a:pt x="1" y="2421"/>
                    <a:pt x="139" y="3803"/>
                  </a:cubicBezTo>
                  <a:cubicBezTo>
                    <a:pt x="139" y="4252"/>
                    <a:pt x="502" y="4615"/>
                    <a:pt x="951" y="4633"/>
                  </a:cubicBezTo>
                  <a:cubicBezTo>
                    <a:pt x="2956" y="4581"/>
                    <a:pt x="4632" y="3026"/>
                    <a:pt x="4529" y="1297"/>
                  </a:cubicBezTo>
                  <a:cubicBezTo>
                    <a:pt x="4478" y="482"/>
                    <a:pt x="3809" y="1"/>
                    <a:pt x="296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8" name="Google Shape;3548;p53"/>
            <p:cNvSpPr/>
            <p:nvPr/>
          </p:nvSpPr>
          <p:spPr>
            <a:xfrm>
              <a:off x="6082850" y="3458350"/>
              <a:ext cx="215350" cy="82375"/>
            </a:xfrm>
            <a:custGeom>
              <a:avLst/>
              <a:gdLst/>
              <a:ahLst/>
              <a:cxnLst/>
              <a:rect l="l" t="t" r="r" b="b"/>
              <a:pathLst>
                <a:path w="8614" h="3295" extrusionOk="0">
                  <a:moveTo>
                    <a:pt x="8412" y="834"/>
                  </a:moveTo>
                  <a:lnTo>
                    <a:pt x="8412" y="834"/>
                  </a:lnTo>
                  <a:cubicBezTo>
                    <a:pt x="8408" y="835"/>
                    <a:pt x="8404" y="836"/>
                    <a:pt x="8401" y="837"/>
                  </a:cubicBezTo>
                  <a:lnTo>
                    <a:pt x="8401" y="837"/>
                  </a:lnTo>
                  <a:cubicBezTo>
                    <a:pt x="8399" y="842"/>
                    <a:pt x="8396" y="846"/>
                    <a:pt x="8394" y="851"/>
                  </a:cubicBezTo>
                  <a:lnTo>
                    <a:pt x="8412" y="834"/>
                  </a:lnTo>
                  <a:close/>
                  <a:moveTo>
                    <a:pt x="6441" y="1"/>
                  </a:moveTo>
                  <a:cubicBezTo>
                    <a:pt x="5426" y="1"/>
                    <a:pt x="4424" y="103"/>
                    <a:pt x="3504" y="557"/>
                  </a:cubicBezTo>
                  <a:cubicBezTo>
                    <a:pt x="3268" y="683"/>
                    <a:pt x="3156" y="756"/>
                    <a:pt x="3064" y="756"/>
                  </a:cubicBezTo>
                  <a:cubicBezTo>
                    <a:pt x="2968" y="756"/>
                    <a:pt x="2895" y="675"/>
                    <a:pt x="2726" y="488"/>
                  </a:cubicBezTo>
                  <a:cubicBezTo>
                    <a:pt x="2440" y="160"/>
                    <a:pt x="2158" y="41"/>
                    <a:pt x="1882" y="41"/>
                  </a:cubicBezTo>
                  <a:cubicBezTo>
                    <a:pt x="1373" y="41"/>
                    <a:pt x="881" y="443"/>
                    <a:pt x="410" y="678"/>
                  </a:cubicBezTo>
                  <a:cubicBezTo>
                    <a:pt x="0" y="866"/>
                    <a:pt x="164" y="1612"/>
                    <a:pt x="452" y="1612"/>
                  </a:cubicBezTo>
                  <a:cubicBezTo>
                    <a:pt x="455" y="1612"/>
                    <a:pt x="459" y="1612"/>
                    <a:pt x="462" y="1612"/>
                  </a:cubicBezTo>
                  <a:cubicBezTo>
                    <a:pt x="518" y="1607"/>
                    <a:pt x="572" y="1605"/>
                    <a:pt x="625" y="1605"/>
                  </a:cubicBezTo>
                  <a:cubicBezTo>
                    <a:pt x="1895" y="1605"/>
                    <a:pt x="2508" y="2753"/>
                    <a:pt x="3504" y="3184"/>
                  </a:cubicBezTo>
                  <a:cubicBezTo>
                    <a:pt x="3665" y="3259"/>
                    <a:pt x="3818" y="3295"/>
                    <a:pt x="3955" y="3295"/>
                  </a:cubicBezTo>
                  <a:cubicBezTo>
                    <a:pt x="4389" y="3295"/>
                    <a:pt x="4667" y="2934"/>
                    <a:pt x="4575" y="2303"/>
                  </a:cubicBezTo>
                  <a:cubicBezTo>
                    <a:pt x="4523" y="1905"/>
                    <a:pt x="4541" y="1784"/>
                    <a:pt x="4973" y="1698"/>
                  </a:cubicBezTo>
                  <a:cubicBezTo>
                    <a:pt x="6127" y="1457"/>
                    <a:pt x="7264" y="1130"/>
                    <a:pt x="8401" y="837"/>
                  </a:cubicBezTo>
                  <a:lnTo>
                    <a:pt x="8401" y="837"/>
                  </a:lnTo>
                  <a:cubicBezTo>
                    <a:pt x="8535" y="525"/>
                    <a:pt x="8613" y="56"/>
                    <a:pt x="8256" y="56"/>
                  </a:cubicBezTo>
                  <a:cubicBezTo>
                    <a:pt x="7656" y="37"/>
                    <a:pt x="7046" y="1"/>
                    <a:pt x="64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9" name="Google Shape;3549;p53"/>
            <p:cNvSpPr/>
            <p:nvPr/>
          </p:nvSpPr>
          <p:spPr>
            <a:xfrm>
              <a:off x="5726825" y="1103850"/>
              <a:ext cx="262175" cy="54825"/>
            </a:xfrm>
            <a:custGeom>
              <a:avLst/>
              <a:gdLst/>
              <a:ahLst/>
              <a:cxnLst/>
              <a:rect l="l" t="t" r="r" b="b"/>
              <a:pathLst>
                <a:path w="10487" h="2193" extrusionOk="0">
                  <a:moveTo>
                    <a:pt x="2675" y="1"/>
                  </a:moveTo>
                  <a:cubicBezTo>
                    <a:pt x="2260" y="122"/>
                    <a:pt x="1984" y="208"/>
                    <a:pt x="1707" y="260"/>
                  </a:cubicBezTo>
                  <a:cubicBezTo>
                    <a:pt x="1625" y="276"/>
                    <a:pt x="1533" y="281"/>
                    <a:pt x="1436" y="281"/>
                  </a:cubicBezTo>
                  <a:cubicBezTo>
                    <a:pt x="1238" y="281"/>
                    <a:pt x="1018" y="259"/>
                    <a:pt x="814" y="259"/>
                  </a:cubicBezTo>
                  <a:cubicBezTo>
                    <a:pt x="370" y="259"/>
                    <a:pt x="1" y="367"/>
                    <a:pt x="83" y="1055"/>
                  </a:cubicBezTo>
                  <a:cubicBezTo>
                    <a:pt x="160" y="1671"/>
                    <a:pt x="629" y="1783"/>
                    <a:pt x="1147" y="1783"/>
                  </a:cubicBezTo>
                  <a:cubicBezTo>
                    <a:pt x="1443" y="1783"/>
                    <a:pt x="1754" y="1746"/>
                    <a:pt x="2018" y="1746"/>
                  </a:cubicBezTo>
                  <a:cubicBezTo>
                    <a:pt x="3176" y="1729"/>
                    <a:pt x="4334" y="1625"/>
                    <a:pt x="5488" y="1625"/>
                  </a:cubicBezTo>
                  <a:cubicBezTo>
                    <a:pt x="6641" y="1625"/>
                    <a:pt x="7790" y="1729"/>
                    <a:pt x="8931" y="2126"/>
                  </a:cubicBezTo>
                  <a:cubicBezTo>
                    <a:pt x="9064" y="2171"/>
                    <a:pt x="9201" y="2192"/>
                    <a:pt x="9336" y="2192"/>
                  </a:cubicBezTo>
                  <a:cubicBezTo>
                    <a:pt x="9780" y="2192"/>
                    <a:pt x="10194" y="1955"/>
                    <a:pt x="10314" y="1504"/>
                  </a:cubicBezTo>
                  <a:cubicBezTo>
                    <a:pt x="10486" y="813"/>
                    <a:pt x="9761" y="744"/>
                    <a:pt x="9294" y="606"/>
                  </a:cubicBezTo>
                  <a:cubicBezTo>
                    <a:pt x="8746" y="426"/>
                    <a:pt x="8189" y="370"/>
                    <a:pt x="7630" y="370"/>
                  </a:cubicBezTo>
                  <a:cubicBezTo>
                    <a:pt x="6715" y="370"/>
                    <a:pt x="5795" y="519"/>
                    <a:pt x="4900" y="519"/>
                  </a:cubicBezTo>
                  <a:cubicBezTo>
                    <a:pt x="4133" y="519"/>
                    <a:pt x="3384" y="409"/>
                    <a:pt x="267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0" name="Google Shape;3550;p53"/>
            <p:cNvSpPr/>
            <p:nvPr/>
          </p:nvSpPr>
          <p:spPr>
            <a:xfrm>
              <a:off x="6497925" y="4391525"/>
              <a:ext cx="125725" cy="97375"/>
            </a:xfrm>
            <a:custGeom>
              <a:avLst/>
              <a:gdLst/>
              <a:ahLst/>
              <a:cxnLst/>
              <a:rect l="l" t="t" r="r" b="b"/>
              <a:pathLst>
                <a:path w="5029" h="3895" extrusionOk="0">
                  <a:moveTo>
                    <a:pt x="4062" y="0"/>
                  </a:moveTo>
                  <a:cubicBezTo>
                    <a:pt x="3557" y="0"/>
                    <a:pt x="2937" y="491"/>
                    <a:pt x="2445" y="491"/>
                  </a:cubicBezTo>
                  <a:cubicBezTo>
                    <a:pt x="2234" y="491"/>
                    <a:pt x="2046" y="401"/>
                    <a:pt x="1901" y="144"/>
                  </a:cubicBezTo>
                  <a:cubicBezTo>
                    <a:pt x="0" y="403"/>
                    <a:pt x="570" y="1975"/>
                    <a:pt x="225" y="2960"/>
                  </a:cubicBezTo>
                  <a:cubicBezTo>
                    <a:pt x="38" y="3485"/>
                    <a:pt x="566" y="3894"/>
                    <a:pt x="1172" y="3894"/>
                  </a:cubicBezTo>
                  <a:cubicBezTo>
                    <a:pt x="1185" y="3894"/>
                    <a:pt x="1197" y="3894"/>
                    <a:pt x="1210" y="3894"/>
                  </a:cubicBezTo>
                  <a:cubicBezTo>
                    <a:pt x="2298" y="3876"/>
                    <a:pt x="5029" y="1630"/>
                    <a:pt x="4804" y="783"/>
                  </a:cubicBezTo>
                  <a:cubicBezTo>
                    <a:pt x="4638" y="185"/>
                    <a:pt x="4372" y="0"/>
                    <a:pt x="40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1" name="Google Shape;3551;p53"/>
            <p:cNvSpPr/>
            <p:nvPr/>
          </p:nvSpPr>
          <p:spPr>
            <a:xfrm>
              <a:off x="5334875" y="2906300"/>
              <a:ext cx="82100" cy="128050"/>
            </a:xfrm>
            <a:custGeom>
              <a:avLst/>
              <a:gdLst/>
              <a:ahLst/>
              <a:cxnLst/>
              <a:rect l="l" t="t" r="r" b="b"/>
              <a:pathLst>
                <a:path w="3284" h="5122" extrusionOk="0">
                  <a:moveTo>
                    <a:pt x="519" y="1"/>
                  </a:moveTo>
                  <a:lnTo>
                    <a:pt x="380" y="139"/>
                  </a:lnTo>
                  <a:cubicBezTo>
                    <a:pt x="104" y="1452"/>
                    <a:pt x="0" y="2766"/>
                    <a:pt x="380" y="4062"/>
                  </a:cubicBezTo>
                  <a:cubicBezTo>
                    <a:pt x="534" y="4660"/>
                    <a:pt x="796" y="5122"/>
                    <a:pt x="1420" y="5122"/>
                  </a:cubicBezTo>
                  <a:cubicBezTo>
                    <a:pt x="1500" y="5122"/>
                    <a:pt x="1585" y="5114"/>
                    <a:pt x="1676" y="5099"/>
                  </a:cubicBezTo>
                  <a:cubicBezTo>
                    <a:pt x="2471" y="4978"/>
                    <a:pt x="3284" y="4408"/>
                    <a:pt x="3111" y="3734"/>
                  </a:cubicBezTo>
                  <a:cubicBezTo>
                    <a:pt x="2748" y="2213"/>
                    <a:pt x="2108" y="744"/>
                    <a:pt x="5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2" name="Google Shape;3552;p53"/>
            <p:cNvSpPr/>
            <p:nvPr/>
          </p:nvSpPr>
          <p:spPr>
            <a:xfrm>
              <a:off x="4869125" y="997550"/>
              <a:ext cx="160750" cy="66150"/>
            </a:xfrm>
            <a:custGeom>
              <a:avLst/>
              <a:gdLst/>
              <a:ahLst/>
              <a:cxnLst/>
              <a:rect l="l" t="t" r="r" b="b"/>
              <a:pathLst>
                <a:path w="6430" h="2646" extrusionOk="0">
                  <a:moveTo>
                    <a:pt x="1040" y="1"/>
                  </a:moveTo>
                  <a:cubicBezTo>
                    <a:pt x="589" y="1"/>
                    <a:pt x="239" y="358"/>
                    <a:pt x="104" y="814"/>
                  </a:cubicBezTo>
                  <a:cubicBezTo>
                    <a:pt x="1" y="1108"/>
                    <a:pt x="191" y="1419"/>
                    <a:pt x="502" y="1470"/>
                  </a:cubicBezTo>
                  <a:cubicBezTo>
                    <a:pt x="1971" y="1885"/>
                    <a:pt x="3440" y="2283"/>
                    <a:pt x="4736" y="2646"/>
                  </a:cubicBezTo>
                  <a:cubicBezTo>
                    <a:pt x="5427" y="2611"/>
                    <a:pt x="5928" y="2611"/>
                    <a:pt x="6239" y="2127"/>
                  </a:cubicBezTo>
                  <a:cubicBezTo>
                    <a:pt x="6429" y="1851"/>
                    <a:pt x="6308" y="1470"/>
                    <a:pt x="6066" y="1419"/>
                  </a:cubicBezTo>
                  <a:cubicBezTo>
                    <a:pt x="4373" y="1021"/>
                    <a:pt x="2852" y="36"/>
                    <a:pt x="1072" y="2"/>
                  </a:cubicBezTo>
                  <a:cubicBezTo>
                    <a:pt x="1061" y="1"/>
                    <a:pt x="1051" y="1"/>
                    <a:pt x="10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3" name="Google Shape;3553;p53"/>
            <p:cNvSpPr/>
            <p:nvPr/>
          </p:nvSpPr>
          <p:spPr>
            <a:xfrm>
              <a:off x="3763550" y="998475"/>
              <a:ext cx="117975" cy="55725"/>
            </a:xfrm>
            <a:custGeom>
              <a:avLst/>
              <a:gdLst/>
              <a:ahLst/>
              <a:cxnLst/>
              <a:rect l="l" t="t" r="r" b="b"/>
              <a:pathLst>
                <a:path w="4719" h="2229" extrusionOk="0">
                  <a:moveTo>
                    <a:pt x="747" y="0"/>
                  </a:moveTo>
                  <a:cubicBezTo>
                    <a:pt x="407" y="0"/>
                    <a:pt x="65" y="161"/>
                    <a:pt x="18" y="690"/>
                  </a:cubicBezTo>
                  <a:cubicBezTo>
                    <a:pt x="0" y="863"/>
                    <a:pt x="190" y="1053"/>
                    <a:pt x="277" y="1243"/>
                  </a:cubicBezTo>
                  <a:lnTo>
                    <a:pt x="2333" y="2228"/>
                  </a:lnTo>
                  <a:cubicBezTo>
                    <a:pt x="2437" y="2220"/>
                    <a:pt x="2541" y="2220"/>
                    <a:pt x="2644" y="2220"/>
                  </a:cubicBezTo>
                  <a:cubicBezTo>
                    <a:pt x="2748" y="2220"/>
                    <a:pt x="2852" y="2220"/>
                    <a:pt x="2955" y="2211"/>
                  </a:cubicBezTo>
                  <a:cubicBezTo>
                    <a:pt x="3647" y="2142"/>
                    <a:pt x="4718" y="2090"/>
                    <a:pt x="4511" y="1261"/>
                  </a:cubicBezTo>
                  <a:cubicBezTo>
                    <a:pt x="4255" y="308"/>
                    <a:pt x="3582" y="187"/>
                    <a:pt x="2842" y="187"/>
                  </a:cubicBezTo>
                  <a:cubicBezTo>
                    <a:pt x="2589" y="187"/>
                    <a:pt x="2328" y="201"/>
                    <a:pt x="2074" y="201"/>
                  </a:cubicBezTo>
                  <a:cubicBezTo>
                    <a:pt x="1762" y="201"/>
                    <a:pt x="1460" y="180"/>
                    <a:pt x="1193" y="85"/>
                  </a:cubicBezTo>
                  <a:cubicBezTo>
                    <a:pt x="1066" y="36"/>
                    <a:pt x="907" y="0"/>
                    <a:pt x="74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4" name="Google Shape;3554;p53"/>
            <p:cNvSpPr/>
            <p:nvPr/>
          </p:nvSpPr>
          <p:spPr>
            <a:xfrm>
              <a:off x="6244750" y="3463175"/>
              <a:ext cx="127900" cy="76650"/>
            </a:xfrm>
            <a:custGeom>
              <a:avLst/>
              <a:gdLst/>
              <a:ahLst/>
              <a:cxnLst/>
              <a:rect l="l" t="t" r="r" b="b"/>
              <a:pathLst>
                <a:path w="5116" h="3066" extrusionOk="0">
                  <a:moveTo>
                    <a:pt x="4184" y="1"/>
                  </a:moveTo>
                  <a:cubicBezTo>
                    <a:pt x="4093" y="1"/>
                    <a:pt x="4000" y="13"/>
                    <a:pt x="3906" y="36"/>
                  </a:cubicBezTo>
                  <a:cubicBezTo>
                    <a:pt x="3232" y="209"/>
                    <a:pt x="2575" y="416"/>
                    <a:pt x="1918" y="641"/>
                  </a:cubicBezTo>
                  <a:lnTo>
                    <a:pt x="1936" y="641"/>
                  </a:lnTo>
                  <a:cubicBezTo>
                    <a:pt x="1659" y="848"/>
                    <a:pt x="1383" y="1038"/>
                    <a:pt x="1089" y="1194"/>
                  </a:cubicBezTo>
                  <a:cubicBezTo>
                    <a:pt x="432" y="1505"/>
                    <a:pt x="0" y="2093"/>
                    <a:pt x="311" y="2680"/>
                  </a:cubicBezTo>
                  <a:cubicBezTo>
                    <a:pt x="460" y="2964"/>
                    <a:pt x="650" y="3065"/>
                    <a:pt x="856" y="3065"/>
                  </a:cubicBezTo>
                  <a:cubicBezTo>
                    <a:pt x="1178" y="3065"/>
                    <a:pt x="1537" y="2818"/>
                    <a:pt x="1832" y="2628"/>
                  </a:cubicBezTo>
                  <a:cubicBezTo>
                    <a:pt x="2558" y="2093"/>
                    <a:pt x="3370" y="1695"/>
                    <a:pt x="4234" y="1436"/>
                  </a:cubicBezTo>
                  <a:cubicBezTo>
                    <a:pt x="4631" y="1332"/>
                    <a:pt x="5115" y="1108"/>
                    <a:pt x="4994" y="606"/>
                  </a:cubicBezTo>
                  <a:cubicBezTo>
                    <a:pt x="4883" y="203"/>
                    <a:pt x="4559" y="1"/>
                    <a:pt x="41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5" name="Google Shape;3555;p53"/>
            <p:cNvSpPr/>
            <p:nvPr/>
          </p:nvSpPr>
          <p:spPr>
            <a:xfrm>
              <a:off x="6286725" y="2464325"/>
              <a:ext cx="67775" cy="93850"/>
            </a:xfrm>
            <a:custGeom>
              <a:avLst/>
              <a:gdLst/>
              <a:ahLst/>
              <a:cxnLst/>
              <a:rect l="l" t="t" r="r" b="b"/>
              <a:pathLst>
                <a:path w="2711" h="3754" extrusionOk="0">
                  <a:moveTo>
                    <a:pt x="1532" y="0"/>
                  </a:moveTo>
                  <a:cubicBezTo>
                    <a:pt x="1516" y="0"/>
                    <a:pt x="1500" y="0"/>
                    <a:pt x="1484" y="1"/>
                  </a:cubicBezTo>
                  <a:cubicBezTo>
                    <a:pt x="187" y="53"/>
                    <a:pt x="239" y="1332"/>
                    <a:pt x="101" y="2265"/>
                  </a:cubicBezTo>
                  <a:cubicBezTo>
                    <a:pt x="1" y="3066"/>
                    <a:pt x="465" y="3754"/>
                    <a:pt x="1243" y="3754"/>
                  </a:cubicBezTo>
                  <a:cubicBezTo>
                    <a:pt x="1271" y="3754"/>
                    <a:pt x="1299" y="3753"/>
                    <a:pt x="1328" y="3751"/>
                  </a:cubicBezTo>
                  <a:cubicBezTo>
                    <a:pt x="2711" y="3682"/>
                    <a:pt x="1967" y="2403"/>
                    <a:pt x="2313" y="1815"/>
                  </a:cubicBezTo>
                  <a:cubicBezTo>
                    <a:pt x="2228" y="1050"/>
                    <a:pt x="2528" y="0"/>
                    <a:pt x="15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6" name="Google Shape;3556;p53"/>
            <p:cNvSpPr/>
            <p:nvPr/>
          </p:nvSpPr>
          <p:spPr>
            <a:xfrm>
              <a:off x="6279300" y="2861375"/>
              <a:ext cx="75625" cy="97275"/>
            </a:xfrm>
            <a:custGeom>
              <a:avLst/>
              <a:gdLst/>
              <a:ahLst/>
              <a:cxnLst/>
              <a:rect l="l" t="t" r="r" b="b"/>
              <a:pathLst>
                <a:path w="3025" h="3891" extrusionOk="0">
                  <a:moveTo>
                    <a:pt x="2403" y="1"/>
                  </a:moveTo>
                  <a:cubicBezTo>
                    <a:pt x="2178" y="1"/>
                    <a:pt x="1971" y="104"/>
                    <a:pt x="1850" y="277"/>
                  </a:cubicBezTo>
                  <a:cubicBezTo>
                    <a:pt x="1504" y="1193"/>
                    <a:pt x="882" y="1884"/>
                    <a:pt x="277" y="2610"/>
                  </a:cubicBezTo>
                  <a:cubicBezTo>
                    <a:pt x="35" y="2869"/>
                    <a:pt x="1" y="3284"/>
                    <a:pt x="208" y="3578"/>
                  </a:cubicBezTo>
                  <a:cubicBezTo>
                    <a:pt x="326" y="3766"/>
                    <a:pt x="507" y="3890"/>
                    <a:pt x="682" y="3890"/>
                  </a:cubicBezTo>
                  <a:cubicBezTo>
                    <a:pt x="764" y="3890"/>
                    <a:pt x="845" y="3863"/>
                    <a:pt x="916" y="3802"/>
                  </a:cubicBezTo>
                  <a:cubicBezTo>
                    <a:pt x="1815" y="3128"/>
                    <a:pt x="2731" y="2420"/>
                    <a:pt x="3025" y="1452"/>
                  </a:cubicBezTo>
                  <a:cubicBezTo>
                    <a:pt x="2973" y="744"/>
                    <a:pt x="2921" y="225"/>
                    <a:pt x="24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7" name="Google Shape;3557;p53"/>
            <p:cNvSpPr/>
            <p:nvPr/>
          </p:nvSpPr>
          <p:spPr>
            <a:xfrm>
              <a:off x="4145025" y="994975"/>
              <a:ext cx="111500" cy="47325"/>
            </a:xfrm>
            <a:custGeom>
              <a:avLst/>
              <a:gdLst/>
              <a:ahLst/>
              <a:cxnLst/>
              <a:rect l="l" t="t" r="r" b="b"/>
              <a:pathLst>
                <a:path w="4460" h="1893" extrusionOk="0">
                  <a:moveTo>
                    <a:pt x="1539" y="105"/>
                  </a:moveTo>
                  <a:cubicBezTo>
                    <a:pt x="969" y="243"/>
                    <a:pt x="139" y="1"/>
                    <a:pt x="70" y="744"/>
                  </a:cubicBezTo>
                  <a:cubicBezTo>
                    <a:pt x="1" y="1418"/>
                    <a:pt x="813" y="1418"/>
                    <a:pt x="1332" y="1556"/>
                  </a:cubicBezTo>
                  <a:cubicBezTo>
                    <a:pt x="1764" y="1677"/>
                    <a:pt x="2213" y="1764"/>
                    <a:pt x="2645" y="1815"/>
                  </a:cubicBezTo>
                  <a:cubicBezTo>
                    <a:pt x="2898" y="1847"/>
                    <a:pt x="3179" y="1893"/>
                    <a:pt x="3440" y="1893"/>
                  </a:cubicBezTo>
                  <a:cubicBezTo>
                    <a:pt x="3890" y="1893"/>
                    <a:pt x="4279" y="1756"/>
                    <a:pt x="4356" y="1176"/>
                  </a:cubicBezTo>
                  <a:cubicBezTo>
                    <a:pt x="4459" y="346"/>
                    <a:pt x="3561" y="416"/>
                    <a:pt x="2956" y="329"/>
                  </a:cubicBezTo>
                  <a:lnTo>
                    <a:pt x="1539" y="105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8" name="Google Shape;3558;p53"/>
            <p:cNvSpPr/>
            <p:nvPr/>
          </p:nvSpPr>
          <p:spPr>
            <a:xfrm>
              <a:off x="7213625" y="3803350"/>
              <a:ext cx="74075" cy="80050"/>
            </a:xfrm>
            <a:custGeom>
              <a:avLst/>
              <a:gdLst/>
              <a:ahLst/>
              <a:cxnLst/>
              <a:rect l="l" t="t" r="r" b="b"/>
              <a:pathLst>
                <a:path w="2963" h="3202" extrusionOk="0">
                  <a:moveTo>
                    <a:pt x="573" y="1"/>
                  </a:moveTo>
                  <a:cubicBezTo>
                    <a:pt x="233" y="1"/>
                    <a:pt x="0" y="333"/>
                    <a:pt x="59" y="704"/>
                  </a:cubicBezTo>
                  <a:cubicBezTo>
                    <a:pt x="284" y="1965"/>
                    <a:pt x="1096" y="2777"/>
                    <a:pt x="2289" y="3175"/>
                  </a:cubicBezTo>
                  <a:cubicBezTo>
                    <a:pt x="2343" y="3193"/>
                    <a:pt x="2395" y="3202"/>
                    <a:pt x="2445" y="3202"/>
                  </a:cubicBezTo>
                  <a:cubicBezTo>
                    <a:pt x="2729" y="3202"/>
                    <a:pt x="2933" y="2914"/>
                    <a:pt x="2963" y="2414"/>
                  </a:cubicBezTo>
                  <a:cubicBezTo>
                    <a:pt x="2341" y="1619"/>
                    <a:pt x="1960" y="427"/>
                    <a:pt x="751" y="30"/>
                  </a:cubicBezTo>
                  <a:cubicBezTo>
                    <a:pt x="689" y="10"/>
                    <a:pt x="630" y="1"/>
                    <a:pt x="5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9" name="Google Shape;3559;p53"/>
            <p:cNvSpPr/>
            <p:nvPr/>
          </p:nvSpPr>
          <p:spPr>
            <a:xfrm>
              <a:off x="6542025" y="3118350"/>
              <a:ext cx="66075" cy="79800"/>
            </a:xfrm>
            <a:custGeom>
              <a:avLst/>
              <a:gdLst/>
              <a:ahLst/>
              <a:cxnLst/>
              <a:rect l="l" t="t" r="r" b="b"/>
              <a:pathLst>
                <a:path w="2643" h="3192" extrusionOk="0">
                  <a:moveTo>
                    <a:pt x="1295" y="1"/>
                  </a:moveTo>
                  <a:cubicBezTo>
                    <a:pt x="1273" y="1"/>
                    <a:pt x="1250" y="2"/>
                    <a:pt x="1226" y="4"/>
                  </a:cubicBezTo>
                  <a:cubicBezTo>
                    <a:pt x="275" y="108"/>
                    <a:pt x="51" y="954"/>
                    <a:pt x="33" y="1732"/>
                  </a:cubicBezTo>
                  <a:cubicBezTo>
                    <a:pt x="1" y="2354"/>
                    <a:pt x="200" y="3192"/>
                    <a:pt x="910" y="3192"/>
                  </a:cubicBezTo>
                  <a:cubicBezTo>
                    <a:pt x="950" y="3192"/>
                    <a:pt x="992" y="3189"/>
                    <a:pt x="1036" y="3184"/>
                  </a:cubicBezTo>
                  <a:cubicBezTo>
                    <a:pt x="2643" y="2959"/>
                    <a:pt x="1640" y="1767"/>
                    <a:pt x="1640" y="1110"/>
                  </a:cubicBezTo>
                  <a:cubicBezTo>
                    <a:pt x="1740" y="547"/>
                    <a:pt x="1792" y="1"/>
                    <a:pt x="12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0" name="Google Shape;3560;p53"/>
            <p:cNvSpPr/>
            <p:nvPr/>
          </p:nvSpPr>
          <p:spPr>
            <a:xfrm>
              <a:off x="4278100" y="987200"/>
              <a:ext cx="87225" cy="50150"/>
            </a:xfrm>
            <a:custGeom>
              <a:avLst/>
              <a:gdLst/>
              <a:ahLst/>
              <a:cxnLst/>
              <a:rect l="l" t="t" r="r" b="b"/>
              <a:pathLst>
                <a:path w="3489" h="2006" extrusionOk="0">
                  <a:moveTo>
                    <a:pt x="2519" y="46"/>
                  </a:moveTo>
                  <a:cubicBezTo>
                    <a:pt x="2407" y="46"/>
                    <a:pt x="2296" y="60"/>
                    <a:pt x="2195" y="87"/>
                  </a:cubicBezTo>
                  <a:cubicBezTo>
                    <a:pt x="1435" y="312"/>
                    <a:pt x="191" y="1"/>
                    <a:pt x="87" y="1107"/>
                  </a:cubicBezTo>
                  <a:cubicBezTo>
                    <a:pt x="1" y="1798"/>
                    <a:pt x="986" y="1746"/>
                    <a:pt x="1642" y="1781"/>
                  </a:cubicBezTo>
                  <a:cubicBezTo>
                    <a:pt x="2299" y="1556"/>
                    <a:pt x="3422" y="2005"/>
                    <a:pt x="3474" y="813"/>
                  </a:cubicBezTo>
                  <a:cubicBezTo>
                    <a:pt x="3488" y="284"/>
                    <a:pt x="2986" y="46"/>
                    <a:pt x="2519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1" name="Google Shape;3561;p53"/>
            <p:cNvSpPr/>
            <p:nvPr/>
          </p:nvSpPr>
          <p:spPr>
            <a:xfrm>
              <a:off x="6595650" y="1204100"/>
              <a:ext cx="81075" cy="41800"/>
            </a:xfrm>
            <a:custGeom>
              <a:avLst/>
              <a:gdLst/>
              <a:ahLst/>
              <a:cxnLst/>
              <a:rect l="l" t="t" r="r" b="b"/>
              <a:pathLst>
                <a:path w="3243" h="1672" extrusionOk="0">
                  <a:moveTo>
                    <a:pt x="1466" y="121"/>
                  </a:moveTo>
                  <a:cubicBezTo>
                    <a:pt x="1366" y="163"/>
                    <a:pt x="1241" y="173"/>
                    <a:pt x="1106" y="173"/>
                  </a:cubicBezTo>
                  <a:cubicBezTo>
                    <a:pt x="987" y="173"/>
                    <a:pt x="861" y="165"/>
                    <a:pt x="738" y="165"/>
                  </a:cubicBezTo>
                  <a:cubicBezTo>
                    <a:pt x="371" y="165"/>
                    <a:pt x="34" y="234"/>
                    <a:pt x="14" y="778"/>
                  </a:cubicBezTo>
                  <a:cubicBezTo>
                    <a:pt x="0" y="1593"/>
                    <a:pt x="628" y="1660"/>
                    <a:pt x="1232" y="1660"/>
                  </a:cubicBezTo>
                  <a:cubicBezTo>
                    <a:pt x="1352" y="1660"/>
                    <a:pt x="1472" y="1658"/>
                    <a:pt x="1585" y="1658"/>
                  </a:cubicBezTo>
                  <a:cubicBezTo>
                    <a:pt x="1627" y="1658"/>
                    <a:pt x="1668" y="1658"/>
                    <a:pt x="1708" y="1659"/>
                  </a:cubicBezTo>
                  <a:cubicBezTo>
                    <a:pt x="1826" y="1666"/>
                    <a:pt x="1954" y="1672"/>
                    <a:pt x="2085" y="1672"/>
                  </a:cubicBezTo>
                  <a:cubicBezTo>
                    <a:pt x="2644" y="1672"/>
                    <a:pt x="3242" y="1563"/>
                    <a:pt x="3228" y="933"/>
                  </a:cubicBezTo>
                  <a:cubicBezTo>
                    <a:pt x="3194" y="0"/>
                    <a:pt x="2209" y="207"/>
                    <a:pt x="1466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2" name="Google Shape;3562;p53"/>
            <p:cNvSpPr/>
            <p:nvPr/>
          </p:nvSpPr>
          <p:spPr>
            <a:xfrm>
              <a:off x="5040350" y="1034625"/>
              <a:ext cx="81550" cy="46975"/>
            </a:xfrm>
            <a:custGeom>
              <a:avLst/>
              <a:gdLst/>
              <a:ahLst/>
              <a:cxnLst/>
              <a:rect l="l" t="t" r="r" b="b"/>
              <a:pathLst>
                <a:path w="3262" h="1879" extrusionOk="0">
                  <a:moveTo>
                    <a:pt x="1625" y="1"/>
                  </a:moveTo>
                  <a:cubicBezTo>
                    <a:pt x="803" y="1"/>
                    <a:pt x="279" y="461"/>
                    <a:pt x="99" y="1249"/>
                  </a:cubicBezTo>
                  <a:cubicBezTo>
                    <a:pt x="0" y="1616"/>
                    <a:pt x="339" y="1879"/>
                    <a:pt x="645" y="1879"/>
                  </a:cubicBezTo>
                  <a:cubicBezTo>
                    <a:pt x="714" y="1879"/>
                    <a:pt x="781" y="1865"/>
                    <a:pt x="842" y="1837"/>
                  </a:cubicBezTo>
                  <a:cubicBezTo>
                    <a:pt x="1620" y="1474"/>
                    <a:pt x="2829" y="1750"/>
                    <a:pt x="3106" y="800"/>
                  </a:cubicBezTo>
                  <a:cubicBezTo>
                    <a:pt x="3261" y="229"/>
                    <a:pt x="2363" y="22"/>
                    <a:pt x="1758" y="5"/>
                  </a:cubicBezTo>
                  <a:cubicBezTo>
                    <a:pt x="1713" y="2"/>
                    <a:pt x="1668" y="1"/>
                    <a:pt x="16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3" name="Google Shape;3563;p53"/>
            <p:cNvSpPr/>
            <p:nvPr/>
          </p:nvSpPr>
          <p:spPr>
            <a:xfrm>
              <a:off x="6380950" y="3302475"/>
              <a:ext cx="77800" cy="40225"/>
            </a:xfrm>
            <a:custGeom>
              <a:avLst/>
              <a:gdLst/>
              <a:ahLst/>
              <a:cxnLst/>
              <a:rect l="l" t="t" r="r" b="b"/>
              <a:pathLst>
                <a:path w="3112" h="1609" extrusionOk="0">
                  <a:moveTo>
                    <a:pt x="843" y="80"/>
                  </a:moveTo>
                  <a:cubicBezTo>
                    <a:pt x="352" y="80"/>
                    <a:pt x="1" y="466"/>
                    <a:pt x="65" y="882"/>
                  </a:cubicBezTo>
                  <a:cubicBezTo>
                    <a:pt x="161" y="1545"/>
                    <a:pt x="602" y="1578"/>
                    <a:pt x="1054" y="1578"/>
                  </a:cubicBezTo>
                  <a:cubicBezTo>
                    <a:pt x="1103" y="1578"/>
                    <a:pt x="1152" y="1577"/>
                    <a:pt x="1201" y="1577"/>
                  </a:cubicBezTo>
                  <a:cubicBezTo>
                    <a:pt x="1347" y="1577"/>
                    <a:pt x="1491" y="1581"/>
                    <a:pt x="1620" y="1608"/>
                  </a:cubicBezTo>
                  <a:cubicBezTo>
                    <a:pt x="1746" y="1549"/>
                    <a:pt x="1903" y="1535"/>
                    <a:pt x="2065" y="1535"/>
                  </a:cubicBezTo>
                  <a:cubicBezTo>
                    <a:pt x="2212" y="1535"/>
                    <a:pt x="2363" y="1547"/>
                    <a:pt x="2502" y="1547"/>
                  </a:cubicBezTo>
                  <a:cubicBezTo>
                    <a:pt x="2845" y="1547"/>
                    <a:pt x="3112" y="1478"/>
                    <a:pt x="3037" y="1003"/>
                  </a:cubicBezTo>
                  <a:cubicBezTo>
                    <a:pt x="2882" y="1"/>
                    <a:pt x="1741" y="191"/>
                    <a:pt x="963" y="87"/>
                  </a:cubicBezTo>
                  <a:cubicBezTo>
                    <a:pt x="923" y="82"/>
                    <a:pt x="882" y="80"/>
                    <a:pt x="843" y="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4" name="Google Shape;3564;p53"/>
            <p:cNvSpPr/>
            <p:nvPr/>
          </p:nvSpPr>
          <p:spPr>
            <a:xfrm>
              <a:off x="4384825" y="996700"/>
              <a:ext cx="62025" cy="39775"/>
            </a:xfrm>
            <a:custGeom>
              <a:avLst/>
              <a:gdLst/>
              <a:ahLst/>
              <a:cxnLst/>
              <a:rect l="l" t="t" r="r" b="b"/>
              <a:pathLst>
                <a:path w="2481" h="1591" extrusionOk="0">
                  <a:moveTo>
                    <a:pt x="1811" y="155"/>
                  </a:moveTo>
                  <a:cubicBezTo>
                    <a:pt x="1713" y="155"/>
                    <a:pt x="1613" y="168"/>
                    <a:pt x="1521" y="191"/>
                  </a:cubicBezTo>
                  <a:cubicBezTo>
                    <a:pt x="985" y="312"/>
                    <a:pt x="121" y="1"/>
                    <a:pt x="52" y="917"/>
                  </a:cubicBezTo>
                  <a:cubicBezTo>
                    <a:pt x="0" y="1487"/>
                    <a:pt x="536" y="1574"/>
                    <a:pt x="1054" y="1591"/>
                  </a:cubicBezTo>
                  <a:cubicBezTo>
                    <a:pt x="1573" y="1418"/>
                    <a:pt x="2385" y="1556"/>
                    <a:pt x="2454" y="727"/>
                  </a:cubicBezTo>
                  <a:cubicBezTo>
                    <a:pt x="2481" y="311"/>
                    <a:pt x="2153" y="155"/>
                    <a:pt x="1811" y="1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5" name="Google Shape;3565;p53"/>
            <p:cNvSpPr/>
            <p:nvPr/>
          </p:nvSpPr>
          <p:spPr>
            <a:xfrm>
              <a:off x="2100625" y="1004500"/>
              <a:ext cx="520200" cy="95050"/>
            </a:xfrm>
            <a:custGeom>
              <a:avLst/>
              <a:gdLst/>
              <a:ahLst/>
              <a:cxnLst/>
              <a:rect l="l" t="t" r="r" b="b"/>
              <a:pathLst>
                <a:path w="20808" h="3802" extrusionOk="0">
                  <a:moveTo>
                    <a:pt x="20756" y="0"/>
                  </a:moveTo>
                  <a:lnTo>
                    <a:pt x="20738" y="17"/>
                  </a:lnTo>
                  <a:lnTo>
                    <a:pt x="20773" y="17"/>
                  </a:lnTo>
                  <a:lnTo>
                    <a:pt x="20808" y="0"/>
                  </a:lnTo>
                  <a:close/>
                  <a:moveTo>
                    <a:pt x="1" y="3785"/>
                  </a:moveTo>
                  <a:lnTo>
                    <a:pt x="1" y="3802"/>
                  </a:lnTo>
                  <a:lnTo>
                    <a:pt x="18" y="3802"/>
                  </a:lnTo>
                  <a:lnTo>
                    <a:pt x="18" y="3785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6" name="Google Shape;3566;p53"/>
            <p:cNvSpPr/>
            <p:nvPr/>
          </p:nvSpPr>
          <p:spPr>
            <a:xfrm>
              <a:off x="233350" y="949250"/>
              <a:ext cx="3232550" cy="3802300"/>
            </a:xfrm>
            <a:custGeom>
              <a:avLst/>
              <a:gdLst/>
              <a:ahLst/>
              <a:cxnLst/>
              <a:rect l="l" t="t" r="r" b="b"/>
              <a:pathLst>
                <a:path w="129302" h="152092" extrusionOk="0">
                  <a:moveTo>
                    <a:pt x="97270" y="1644"/>
                  </a:moveTo>
                  <a:cubicBezTo>
                    <a:pt x="97347" y="1644"/>
                    <a:pt x="97424" y="1648"/>
                    <a:pt x="97503" y="1657"/>
                  </a:cubicBezTo>
                  <a:cubicBezTo>
                    <a:pt x="97555" y="1674"/>
                    <a:pt x="97607" y="1692"/>
                    <a:pt x="97642" y="1709"/>
                  </a:cubicBezTo>
                  <a:lnTo>
                    <a:pt x="95601" y="2170"/>
                  </a:lnTo>
                  <a:lnTo>
                    <a:pt x="95601" y="2170"/>
                  </a:lnTo>
                  <a:cubicBezTo>
                    <a:pt x="96129" y="1917"/>
                    <a:pt x="96661" y="1644"/>
                    <a:pt x="97270" y="1644"/>
                  </a:cubicBezTo>
                  <a:close/>
                  <a:moveTo>
                    <a:pt x="95473" y="2210"/>
                  </a:moveTo>
                  <a:lnTo>
                    <a:pt x="95447" y="2227"/>
                  </a:lnTo>
                  <a:lnTo>
                    <a:pt x="95429" y="2227"/>
                  </a:lnTo>
                  <a:lnTo>
                    <a:pt x="95464" y="2210"/>
                  </a:lnTo>
                  <a:close/>
                  <a:moveTo>
                    <a:pt x="68358" y="8951"/>
                  </a:moveTo>
                  <a:cubicBezTo>
                    <a:pt x="68553" y="8951"/>
                    <a:pt x="68761" y="9049"/>
                    <a:pt x="68989" y="9313"/>
                  </a:cubicBezTo>
                  <a:cubicBezTo>
                    <a:pt x="69208" y="9280"/>
                    <a:pt x="69420" y="9268"/>
                    <a:pt x="69634" y="9268"/>
                  </a:cubicBezTo>
                  <a:cubicBezTo>
                    <a:pt x="69758" y="9268"/>
                    <a:pt x="69882" y="9272"/>
                    <a:pt x="70008" y="9278"/>
                  </a:cubicBezTo>
                  <a:cubicBezTo>
                    <a:pt x="70061" y="9286"/>
                    <a:pt x="70117" y="9289"/>
                    <a:pt x="70177" y="9289"/>
                  </a:cubicBezTo>
                  <a:cubicBezTo>
                    <a:pt x="70522" y="9289"/>
                    <a:pt x="70965" y="9176"/>
                    <a:pt x="71318" y="9176"/>
                  </a:cubicBezTo>
                  <a:cubicBezTo>
                    <a:pt x="71841" y="9176"/>
                    <a:pt x="72167" y="9425"/>
                    <a:pt x="71685" y="10661"/>
                  </a:cubicBezTo>
                  <a:cubicBezTo>
                    <a:pt x="71581" y="10937"/>
                    <a:pt x="71823" y="11265"/>
                    <a:pt x="72151" y="11386"/>
                  </a:cubicBezTo>
                  <a:cubicBezTo>
                    <a:pt x="72428" y="11438"/>
                    <a:pt x="72722" y="11490"/>
                    <a:pt x="72998" y="11507"/>
                  </a:cubicBezTo>
                  <a:cubicBezTo>
                    <a:pt x="72652" y="11922"/>
                    <a:pt x="72359" y="12406"/>
                    <a:pt x="71927" y="12717"/>
                  </a:cubicBezTo>
                  <a:cubicBezTo>
                    <a:pt x="71831" y="12786"/>
                    <a:pt x="71741" y="12813"/>
                    <a:pt x="71654" y="12813"/>
                  </a:cubicBezTo>
                  <a:cubicBezTo>
                    <a:pt x="71349" y="12813"/>
                    <a:pt x="71090" y="12473"/>
                    <a:pt x="70821" y="12406"/>
                  </a:cubicBezTo>
                  <a:cubicBezTo>
                    <a:pt x="69127" y="11939"/>
                    <a:pt x="69334" y="10488"/>
                    <a:pt x="68989" y="9313"/>
                  </a:cubicBezTo>
                  <a:lnTo>
                    <a:pt x="67330" y="9520"/>
                  </a:lnTo>
                  <a:cubicBezTo>
                    <a:pt x="67668" y="9295"/>
                    <a:pt x="67992" y="8951"/>
                    <a:pt x="68358" y="8951"/>
                  </a:cubicBezTo>
                  <a:close/>
                  <a:moveTo>
                    <a:pt x="51546" y="12467"/>
                  </a:moveTo>
                  <a:cubicBezTo>
                    <a:pt x="51593" y="12467"/>
                    <a:pt x="51647" y="12470"/>
                    <a:pt x="51707" y="12475"/>
                  </a:cubicBezTo>
                  <a:cubicBezTo>
                    <a:pt x="51897" y="12648"/>
                    <a:pt x="52157" y="12890"/>
                    <a:pt x="52433" y="13115"/>
                  </a:cubicBezTo>
                  <a:cubicBezTo>
                    <a:pt x="52260" y="13270"/>
                    <a:pt x="52053" y="13374"/>
                    <a:pt x="51845" y="13460"/>
                  </a:cubicBezTo>
                  <a:cubicBezTo>
                    <a:pt x="51802" y="13467"/>
                    <a:pt x="51764" y="13470"/>
                    <a:pt x="51729" y="13470"/>
                  </a:cubicBezTo>
                  <a:cubicBezTo>
                    <a:pt x="51300" y="13470"/>
                    <a:pt x="51439" y="13007"/>
                    <a:pt x="51327" y="12752"/>
                  </a:cubicBezTo>
                  <a:cubicBezTo>
                    <a:pt x="51225" y="12548"/>
                    <a:pt x="51295" y="12467"/>
                    <a:pt x="51546" y="12467"/>
                  </a:cubicBezTo>
                  <a:close/>
                  <a:moveTo>
                    <a:pt x="55481" y="12549"/>
                  </a:moveTo>
                  <a:cubicBezTo>
                    <a:pt x="55526" y="12549"/>
                    <a:pt x="55570" y="12553"/>
                    <a:pt x="55613" y="12562"/>
                  </a:cubicBezTo>
                  <a:lnTo>
                    <a:pt x="54576" y="13789"/>
                  </a:lnTo>
                  <a:lnTo>
                    <a:pt x="53954" y="13184"/>
                  </a:lnTo>
                  <a:cubicBezTo>
                    <a:pt x="54420" y="12976"/>
                    <a:pt x="54870" y="12752"/>
                    <a:pt x="55336" y="12562"/>
                  </a:cubicBezTo>
                  <a:cubicBezTo>
                    <a:pt x="55388" y="12553"/>
                    <a:pt x="55436" y="12549"/>
                    <a:pt x="55481" y="12549"/>
                  </a:cubicBezTo>
                  <a:close/>
                  <a:moveTo>
                    <a:pt x="116966" y="0"/>
                  </a:moveTo>
                  <a:cubicBezTo>
                    <a:pt x="112339" y="0"/>
                    <a:pt x="107712" y="747"/>
                    <a:pt x="103085" y="1035"/>
                  </a:cubicBezTo>
                  <a:cubicBezTo>
                    <a:pt x="101910" y="1104"/>
                    <a:pt x="100735" y="983"/>
                    <a:pt x="99542" y="1260"/>
                  </a:cubicBezTo>
                  <a:cubicBezTo>
                    <a:pt x="99533" y="1262"/>
                    <a:pt x="99523" y="1263"/>
                    <a:pt x="99512" y="1263"/>
                  </a:cubicBezTo>
                  <a:cubicBezTo>
                    <a:pt x="99194" y="1263"/>
                    <a:pt x="98389" y="307"/>
                    <a:pt x="97503" y="240"/>
                  </a:cubicBezTo>
                  <a:cubicBezTo>
                    <a:pt x="96554" y="172"/>
                    <a:pt x="95607" y="143"/>
                    <a:pt x="94661" y="143"/>
                  </a:cubicBezTo>
                  <a:cubicBezTo>
                    <a:pt x="91541" y="143"/>
                    <a:pt x="88432" y="459"/>
                    <a:pt x="85303" y="724"/>
                  </a:cubicBezTo>
                  <a:cubicBezTo>
                    <a:pt x="83379" y="875"/>
                    <a:pt x="81549" y="1637"/>
                    <a:pt x="79578" y="1637"/>
                  </a:cubicBezTo>
                  <a:cubicBezTo>
                    <a:pt x="79300" y="1637"/>
                    <a:pt x="79020" y="1622"/>
                    <a:pt x="78736" y="1588"/>
                  </a:cubicBezTo>
                  <a:cubicBezTo>
                    <a:pt x="78573" y="1568"/>
                    <a:pt x="78403" y="1557"/>
                    <a:pt x="78229" y="1557"/>
                  </a:cubicBezTo>
                  <a:cubicBezTo>
                    <a:pt x="77349" y="1557"/>
                    <a:pt x="76386" y="1840"/>
                    <a:pt x="75953" y="2677"/>
                  </a:cubicBezTo>
                  <a:cubicBezTo>
                    <a:pt x="75538" y="3489"/>
                    <a:pt x="76333" y="4163"/>
                    <a:pt x="76956" y="4750"/>
                  </a:cubicBezTo>
                  <a:cubicBezTo>
                    <a:pt x="77215" y="4992"/>
                    <a:pt x="77232" y="5511"/>
                    <a:pt x="77370" y="5891"/>
                  </a:cubicBezTo>
                  <a:cubicBezTo>
                    <a:pt x="77348" y="5890"/>
                    <a:pt x="77325" y="5889"/>
                    <a:pt x="77301" y="5889"/>
                  </a:cubicBezTo>
                  <a:cubicBezTo>
                    <a:pt x="77154" y="5889"/>
                    <a:pt x="76988" y="5912"/>
                    <a:pt x="76844" y="5912"/>
                  </a:cubicBezTo>
                  <a:cubicBezTo>
                    <a:pt x="76726" y="5912"/>
                    <a:pt x="76623" y="5896"/>
                    <a:pt x="76558" y="5839"/>
                  </a:cubicBezTo>
                  <a:cubicBezTo>
                    <a:pt x="76285" y="5586"/>
                    <a:pt x="76034" y="5489"/>
                    <a:pt x="75796" y="5489"/>
                  </a:cubicBezTo>
                  <a:cubicBezTo>
                    <a:pt x="75417" y="5489"/>
                    <a:pt x="75070" y="5733"/>
                    <a:pt x="74709" y="5977"/>
                  </a:cubicBezTo>
                  <a:lnTo>
                    <a:pt x="74709" y="5995"/>
                  </a:lnTo>
                  <a:lnTo>
                    <a:pt x="74692" y="5995"/>
                  </a:lnTo>
                  <a:cubicBezTo>
                    <a:pt x="74415" y="6358"/>
                    <a:pt x="73707" y="6479"/>
                    <a:pt x="73897" y="7066"/>
                  </a:cubicBezTo>
                  <a:cubicBezTo>
                    <a:pt x="74104" y="7654"/>
                    <a:pt x="74761" y="7671"/>
                    <a:pt x="75331" y="7723"/>
                  </a:cubicBezTo>
                  <a:lnTo>
                    <a:pt x="75625" y="7723"/>
                  </a:lnTo>
                  <a:lnTo>
                    <a:pt x="77146" y="7982"/>
                  </a:lnTo>
                  <a:cubicBezTo>
                    <a:pt x="76904" y="8068"/>
                    <a:pt x="76662" y="8120"/>
                    <a:pt x="76403" y="8120"/>
                  </a:cubicBezTo>
                  <a:cubicBezTo>
                    <a:pt x="76178" y="8103"/>
                    <a:pt x="75970" y="7930"/>
                    <a:pt x="75729" y="7861"/>
                  </a:cubicBezTo>
                  <a:cubicBezTo>
                    <a:pt x="75594" y="7823"/>
                    <a:pt x="75464" y="7807"/>
                    <a:pt x="75337" y="7807"/>
                  </a:cubicBezTo>
                  <a:cubicBezTo>
                    <a:pt x="74777" y="7807"/>
                    <a:pt x="74273" y="8116"/>
                    <a:pt x="73724" y="8172"/>
                  </a:cubicBezTo>
                  <a:cubicBezTo>
                    <a:pt x="73717" y="8173"/>
                    <a:pt x="73710" y="8174"/>
                    <a:pt x="73702" y="8174"/>
                  </a:cubicBezTo>
                  <a:cubicBezTo>
                    <a:pt x="73450" y="8174"/>
                    <a:pt x="72913" y="7613"/>
                    <a:pt x="72946" y="7394"/>
                  </a:cubicBezTo>
                  <a:cubicBezTo>
                    <a:pt x="73102" y="6479"/>
                    <a:pt x="73810" y="6098"/>
                    <a:pt x="74674" y="5995"/>
                  </a:cubicBezTo>
                  <a:lnTo>
                    <a:pt x="74674" y="5977"/>
                  </a:lnTo>
                  <a:cubicBezTo>
                    <a:pt x="74726" y="5545"/>
                    <a:pt x="74830" y="5113"/>
                    <a:pt x="74951" y="4681"/>
                  </a:cubicBezTo>
                  <a:cubicBezTo>
                    <a:pt x="75072" y="4370"/>
                    <a:pt x="75435" y="4076"/>
                    <a:pt x="75124" y="3748"/>
                  </a:cubicBezTo>
                  <a:cubicBezTo>
                    <a:pt x="74832" y="3467"/>
                    <a:pt x="74483" y="3396"/>
                    <a:pt x="74119" y="3396"/>
                  </a:cubicBezTo>
                  <a:cubicBezTo>
                    <a:pt x="73856" y="3396"/>
                    <a:pt x="73587" y="3433"/>
                    <a:pt x="73326" y="3454"/>
                  </a:cubicBezTo>
                  <a:cubicBezTo>
                    <a:pt x="72946" y="3506"/>
                    <a:pt x="72756" y="3748"/>
                    <a:pt x="72704" y="4180"/>
                  </a:cubicBezTo>
                  <a:cubicBezTo>
                    <a:pt x="72601" y="5252"/>
                    <a:pt x="72134" y="6098"/>
                    <a:pt x="70959" y="6340"/>
                  </a:cubicBezTo>
                  <a:cubicBezTo>
                    <a:pt x="70855" y="6427"/>
                    <a:pt x="70769" y="6513"/>
                    <a:pt x="70665" y="6617"/>
                  </a:cubicBezTo>
                  <a:cubicBezTo>
                    <a:pt x="70786" y="6859"/>
                    <a:pt x="70924" y="7083"/>
                    <a:pt x="71097" y="7291"/>
                  </a:cubicBezTo>
                  <a:cubicBezTo>
                    <a:pt x="71304" y="7412"/>
                    <a:pt x="71546" y="7515"/>
                    <a:pt x="71788" y="7567"/>
                  </a:cubicBezTo>
                  <a:cubicBezTo>
                    <a:pt x="71650" y="7550"/>
                    <a:pt x="71512" y="7541"/>
                    <a:pt x="71374" y="7541"/>
                  </a:cubicBezTo>
                  <a:cubicBezTo>
                    <a:pt x="71235" y="7541"/>
                    <a:pt x="71097" y="7550"/>
                    <a:pt x="70959" y="7567"/>
                  </a:cubicBezTo>
                  <a:cubicBezTo>
                    <a:pt x="70569" y="7671"/>
                    <a:pt x="70173" y="7708"/>
                    <a:pt x="69775" y="7708"/>
                  </a:cubicBezTo>
                  <a:cubicBezTo>
                    <a:pt x="68812" y="7708"/>
                    <a:pt x="67832" y="7494"/>
                    <a:pt x="66868" y="7494"/>
                  </a:cubicBezTo>
                  <a:cubicBezTo>
                    <a:pt x="66108" y="7494"/>
                    <a:pt x="65357" y="7627"/>
                    <a:pt x="64634" y="8103"/>
                  </a:cubicBezTo>
                  <a:cubicBezTo>
                    <a:pt x="64271" y="8345"/>
                    <a:pt x="63580" y="8379"/>
                    <a:pt x="63666" y="8863"/>
                  </a:cubicBezTo>
                  <a:cubicBezTo>
                    <a:pt x="63752" y="9382"/>
                    <a:pt x="64167" y="9900"/>
                    <a:pt x="64547" y="10315"/>
                  </a:cubicBezTo>
                  <a:cubicBezTo>
                    <a:pt x="64666" y="10447"/>
                    <a:pt x="64798" y="10498"/>
                    <a:pt x="64939" y="10498"/>
                  </a:cubicBezTo>
                  <a:cubicBezTo>
                    <a:pt x="65148" y="10498"/>
                    <a:pt x="65375" y="10387"/>
                    <a:pt x="65602" y="10263"/>
                  </a:cubicBezTo>
                  <a:cubicBezTo>
                    <a:pt x="66124" y="9977"/>
                    <a:pt x="66711" y="9789"/>
                    <a:pt x="67269" y="9556"/>
                  </a:cubicBezTo>
                  <a:lnTo>
                    <a:pt x="67269" y="9556"/>
                  </a:lnTo>
                  <a:cubicBezTo>
                    <a:pt x="66173" y="11022"/>
                    <a:pt x="64072" y="10911"/>
                    <a:pt x="62975" y="11974"/>
                  </a:cubicBezTo>
                  <a:cubicBezTo>
                    <a:pt x="62086" y="12850"/>
                    <a:pt x="61268" y="13162"/>
                    <a:pt x="60357" y="13162"/>
                  </a:cubicBezTo>
                  <a:cubicBezTo>
                    <a:pt x="59993" y="13162"/>
                    <a:pt x="59613" y="13112"/>
                    <a:pt x="59207" y="13028"/>
                  </a:cubicBezTo>
                  <a:cubicBezTo>
                    <a:pt x="58430" y="12873"/>
                    <a:pt x="57687" y="12510"/>
                    <a:pt x="56926" y="12233"/>
                  </a:cubicBezTo>
                  <a:cubicBezTo>
                    <a:pt x="57173" y="12050"/>
                    <a:pt x="57402" y="11981"/>
                    <a:pt x="57619" y="11981"/>
                  </a:cubicBezTo>
                  <a:cubicBezTo>
                    <a:pt x="58162" y="11981"/>
                    <a:pt x="58632" y="12416"/>
                    <a:pt x="59138" y="12613"/>
                  </a:cubicBezTo>
                  <a:cubicBezTo>
                    <a:pt x="59332" y="12687"/>
                    <a:pt x="59512" y="12718"/>
                    <a:pt x="59680" y="12718"/>
                  </a:cubicBezTo>
                  <a:cubicBezTo>
                    <a:pt x="60502" y="12718"/>
                    <a:pt x="61062" y="11967"/>
                    <a:pt x="61765" y="11680"/>
                  </a:cubicBezTo>
                  <a:cubicBezTo>
                    <a:pt x="62404" y="11421"/>
                    <a:pt x="61903" y="10851"/>
                    <a:pt x="61661" y="10384"/>
                  </a:cubicBezTo>
                  <a:cubicBezTo>
                    <a:pt x="61454" y="9987"/>
                    <a:pt x="61921" y="9745"/>
                    <a:pt x="62249" y="9537"/>
                  </a:cubicBezTo>
                  <a:cubicBezTo>
                    <a:pt x="62664" y="9295"/>
                    <a:pt x="63441" y="9226"/>
                    <a:pt x="63182" y="8518"/>
                  </a:cubicBezTo>
                  <a:cubicBezTo>
                    <a:pt x="63018" y="8098"/>
                    <a:pt x="62703" y="8030"/>
                    <a:pt x="62354" y="8030"/>
                  </a:cubicBezTo>
                  <a:cubicBezTo>
                    <a:pt x="62187" y="8030"/>
                    <a:pt x="62013" y="8045"/>
                    <a:pt x="61845" y="8045"/>
                  </a:cubicBezTo>
                  <a:cubicBezTo>
                    <a:pt x="61771" y="8045"/>
                    <a:pt x="61698" y="8042"/>
                    <a:pt x="61627" y="8034"/>
                  </a:cubicBezTo>
                  <a:cubicBezTo>
                    <a:pt x="61564" y="8027"/>
                    <a:pt x="61502" y="8024"/>
                    <a:pt x="61440" y="8024"/>
                  </a:cubicBezTo>
                  <a:cubicBezTo>
                    <a:pt x="60620" y="8024"/>
                    <a:pt x="59973" y="8583"/>
                    <a:pt x="59080" y="8583"/>
                  </a:cubicBezTo>
                  <a:cubicBezTo>
                    <a:pt x="59004" y="8583"/>
                    <a:pt x="58925" y="8579"/>
                    <a:pt x="58844" y="8570"/>
                  </a:cubicBezTo>
                  <a:cubicBezTo>
                    <a:pt x="57410" y="8414"/>
                    <a:pt x="56391" y="7671"/>
                    <a:pt x="55181" y="7187"/>
                  </a:cubicBezTo>
                  <a:cubicBezTo>
                    <a:pt x="54440" y="6892"/>
                    <a:pt x="53723" y="6767"/>
                    <a:pt x="53025" y="6767"/>
                  </a:cubicBezTo>
                  <a:cubicBezTo>
                    <a:pt x="51022" y="6767"/>
                    <a:pt x="49177" y="7799"/>
                    <a:pt x="47370" y="8812"/>
                  </a:cubicBezTo>
                  <a:cubicBezTo>
                    <a:pt x="46903" y="9071"/>
                    <a:pt x="46765" y="9434"/>
                    <a:pt x="46972" y="9969"/>
                  </a:cubicBezTo>
                  <a:cubicBezTo>
                    <a:pt x="47155" y="10426"/>
                    <a:pt x="47351" y="10748"/>
                    <a:pt x="47819" y="10748"/>
                  </a:cubicBezTo>
                  <a:cubicBezTo>
                    <a:pt x="47883" y="10748"/>
                    <a:pt x="47952" y="10742"/>
                    <a:pt x="48026" y="10730"/>
                  </a:cubicBezTo>
                  <a:lnTo>
                    <a:pt x="50498" y="10280"/>
                  </a:lnTo>
                  <a:cubicBezTo>
                    <a:pt x="50618" y="10263"/>
                    <a:pt x="50739" y="10229"/>
                    <a:pt x="50878" y="10194"/>
                  </a:cubicBezTo>
                  <a:lnTo>
                    <a:pt x="50878" y="10194"/>
                  </a:lnTo>
                  <a:cubicBezTo>
                    <a:pt x="50878" y="10298"/>
                    <a:pt x="50860" y="10401"/>
                    <a:pt x="50860" y="10505"/>
                  </a:cubicBezTo>
                  <a:cubicBezTo>
                    <a:pt x="50614" y="11663"/>
                    <a:pt x="50148" y="12321"/>
                    <a:pt x="49280" y="12321"/>
                  </a:cubicBezTo>
                  <a:cubicBezTo>
                    <a:pt x="48931" y="12321"/>
                    <a:pt x="48517" y="12214"/>
                    <a:pt x="48026" y="11991"/>
                  </a:cubicBezTo>
                  <a:cubicBezTo>
                    <a:pt x="46374" y="11254"/>
                    <a:pt x="44693" y="10979"/>
                    <a:pt x="42955" y="10979"/>
                  </a:cubicBezTo>
                  <a:cubicBezTo>
                    <a:pt x="42002" y="10979"/>
                    <a:pt x="41033" y="11062"/>
                    <a:pt x="40042" y="11196"/>
                  </a:cubicBezTo>
                  <a:cubicBezTo>
                    <a:pt x="38536" y="11404"/>
                    <a:pt x="37062" y="12285"/>
                    <a:pt x="35569" y="12285"/>
                  </a:cubicBezTo>
                  <a:cubicBezTo>
                    <a:pt x="35195" y="12285"/>
                    <a:pt x="34820" y="12230"/>
                    <a:pt x="34443" y="12095"/>
                  </a:cubicBezTo>
                  <a:cubicBezTo>
                    <a:pt x="32698" y="11490"/>
                    <a:pt x="30900" y="11110"/>
                    <a:pt x="29068" y="10920"/>
                  </a:cubicBezTo>
                  <a:cubicBezTo>
                    <a:pt x="27080" y="10698"/>
                    <a:pt x="25171" y="10202"/>
                    <a:pt x="23146" y="10202"/>
                  </a:cubicBezTo>
                  <a:cubicBezTo>
                    <a:pt x="22337" y="10202"/>
                    <a:pt x="21510" y="10281"/>
                    <a:pt x="20652" y="10488"/>
                  </a:cubicBezTo>
                  <a:cubicBezTo>
                    <a:pt x="18383" y="11055"/>
                    <a:pt x="16215" y="12269"/>
                    <a:pt x="13793" y="12269"/>
                  </a:cubicBezTo>
                  <a:cubicBezTo>
                    <a:pt x="13559" y="12269"/>
                    <a:pt x="13322" y="12258"/>
                    <a:pt x="13083" y="12233"/>
                  </a:cubicBezTo>
                  <a:cubicBezTo>
                    <a:pt x="13049" y="12230"/>
                    <a:pt x="13015" y="12229"/>
                    <a:pt x="12982" y="12229"/>
                  </a:cubicBezTo>
                  <a:cubicBezTo>
                    <a:pt x="12473" y="12229"/>
                    <a:pt x="12176" y="12605"/>
                    <a:pt x="12323" y="13287"/>
                  </a:cubicBezTo>
                  <a:cubicBezTo>
                    <a:pt x="12498" y="14071"/>
                    <a:pt x="12325" y="14707"/>
                    <a:pt x="11687" y="14707"/>
                  </a:cubicBezTo>
                  <a:cubicBezTo>
                    <a:pt x="11510" y="14707"/>
                    <a:pt x="11296" y="14658"/>
                    <a:pt x="11044" y="14549"/>
                  </a:cubicBezTo>
                  <a:cubicBezTo>
                    <a:pt x="10655" y="14378"/>
                    <a:pt x="10292" y="14308"/>
                    <a:pt x="9947" y="14308"/>
                  </a:cubicBezTo>
                  <a:cubicBezTo>
                    <a:pt x="9034" y="14308"/>
                    <a:pt x="8242" y="14801"/>
                    <a:pt x="7415" y="15240"/>
                  </a:cubicBezTo>
                  <a:cubicBezTo>
                    <a:pt x="6965" y="15482"/>
                    <a:pt x="6672" y="15914"/>
                    <a:pt x="6879" y="16467"/>
                  </a:cubicBezTo>
                  <a:cubicBezTo>
                    <a:pt x="7027" y="16886"/>
                    <a:pt x="7334" y="16988"/>
                    <a:pt x="7700" y="16988"/>
                  </a:cubicBezTo>
                  <a:cubicBezTo>
                    <a:pt x="7802" y="16988"/>
                    <a:pt x="7910" y="16980"/>
                    <a:pt x="8020" y="16968"/>
                  </a:cubicBezTo>
                  <a:cubicBezTo>
                    <a:pt x="8305" y="16929"/>
                    <a:pt x="8590" y="16910"/>
                    <a:pt x="8875" y="16910"/>
                  </a:cubicBezTo>
                  <a:cubicBezTo>
                    <a:pt x="8970" y="16910"/>
                    <a:pt x="9065" y="16912"/>
                    <a:pt x="9160" y="16917"/>
                  </a:cubicBezTo>
                  <a:cubicBezTo>
                    <a:pt x="9186" y="16919"/>
                    <a:pt x="9214" y="16920"/>
                    <a:pt x="9242" y="16920"/>
                  </a:cubicBezTo>
                  <a:cubicBezTo>
                    <a:pt x="9458" y="16920"/>
                    <a:pt x="9735" y="16862"/>
                    <a:pt x="9947" y="16862"/>
                  </a:cubicBezTo>
                  <a:cubicBezTo>
                    <a:pt x="10131" y="16862"/>
                    <a:pt x="10266" y="16906"/>
                    <a:pt x="10266" y="17072"/>
                  </a:cubicBezTo>
                  <a:cubicBezTo>
                    <a:pt x="10266" y="17498"/>
                    <a:pt x="9728" y="17637"/>
                    <a:pt x="9291" y="17637"/>
                  </a:cubicBezTo>
                  <a:cubicBezTo>
                    <a:pt x="9214" y="17637"/>
                    <a:pt x="9141" y="17633"/>
                    <a:pt x="9074" y="17625"/>
                  </a:cubicBezTo>
                  <a:cubicBezTo>
                    <a:pt x="8873" y="17604"/>
                    <a:pt x="8677" y="17594"/>
                    <a:pt x="8484" y="17594"/>
                  </a:cubicBezTo>
                  <a:cubicBezTo>
                    <a:pt x="6314" y="17594"/>
                    <a:pt x="4587" y="18859"/>
                    <a:pt x="2714" y="19716"/>
                  </a:cubicBezTo>
                  <a:cubicBezTo>
                    <a:pt x="1193" y="20407"/>
                    <a:pt x="2351" y="21548"/>
                    <a:pt x="2282" y="22429"/>
                  </a:cubicBezTo>
                  <a:cubicBezTo>
                    <a:pt x="2264" y="22814"/>
                    <a:pt x="2455" y="22907"/>
                    <a:pt x="2706" y="22907"/>
                  </a:cubicBezTo>
                  <a:cubicBezTo>
                    <a:pt x="2939" y="22907"/>
                    <a:pt x="3223" y="22827"/>
                    <a:pt x="3440" y="22827"/>
                  </a:cubicBezTo>
                  <a:cubicBezTo>
                    <a:pt x="3665" y="22827"/>
                    <a:pt x="3872" y="22982"/>
                    <a:pt x="4079" y="23069"/>
                  </a:cubicBezTo>
                  <a:cubicBezTo>
                    <a:pt x="3924" y="23242"/>
                    <a:pt x="3751" y="23380"/>
                    <a:pt x="3544" y="23501"/>
                  </a:cubicBezTo>
                  <a:cubicBezTo>
                    <a:pt x="2610" y="23881"/>
                    <a:pt x="1643" y="24192"/>
                    <a:pt x="709" y="24589"/>
                  </a:cubicBezTo>
                  <a:cubicBezTo>
                    <a:pt x="329" y="24745"/>
                    <a:pt x="1" y="25142"/>
                    <a:pt x="226" y="25609"/>
                  </a:cubicBezTo>
                  <a:cubicBezTo>
                    <a:pt x="325" y="25816"/>
                    <a:pt x="462" y="25880"/>
                    <a:pt x="615" y="25880"/>
                  </a:cubicBezTo>
                  <a:cubicBezTo>
                    <a:pt x="807" y="25880"/>
                    <a:pt x="1026" y="25778"/>
                    <a:pt x="1228" y="25730"/>
                  </a:cubicBezTo>
                  <a:cubicBezTo>
                    <a:pt x="2248" y="25454"/>
                    <a:pt x="3354" y="25350"/>
                    <a:pt x="4252" y="24866"/>
                  </a:cubicBezTo>
                  <a:cubicBezTo>
                    <a:pt x="4601" y="24679"/>
                    <a:pt x="4965" y="24620"/>
                    <a:pt x="5336" y="24620"/>
                  </a:cubicBezTo>
                  <a:cubicBezTo>
                    <a:pt x="5952" y="24620"/>
                    <a:pt x="6585" y="24782"/>
                    <a:pt x="7191" y="24782"/>
                  </a:cubicBezTo>
                  <a:cubicBezTo>
                    <a:pt x="7702" y="24782"/>
                    <a:pt x="8195" y="24667"/>
                    <a:pt x="8642" y="24244"/>
                  </a:cubicBezTo>
                  <a:cubicBezTo>
                    <a:pt x="9143" y="23760"/>
                    <a:pt x="9627" y="23276"/>
                    <a:pt x="10128" y="22809"/>
                  </a:cubicBezTo>
                  <a:cubicBezTo>
                    <a:pt x="10518" y="22438"/>
                    <a:pt x="10935" y="22335"/>
                    <a:pt x="11366" y="22335"/>
                  </a:cubicBezTo>
                  <a:cubicBezTo>
                    <a:pt x="11904" y="22335"/>
                    <a:pt x="12465" y="22495"/>
                    <a:pt x="13026" y="22495"/>
                  </a:cubicBezTo>
                  <a:cubicBezTo>
                    <a:pt x="13270" y="22495"/>
                    <a:pt x="13515" y="22465"/>
                    <a:pt x="13757" y="22377"/>
                  </a:cubicBezTo>
                  <a:cubicBezTo>
                    <a:pt x="14876" y="21972"/>
                    <a:pt x="15968" y="21278"/>
                    <a:pt x="17215" y="21278"/>
                  </a:cubicBezTo>
                  <a:cubicBezTo>
                    <a:pt x="17721" y="21278"/>
                    <a:pt x="18252" y="21392"/>
                    <a:pt x="18820" y="21686"/>
                  </a:cubicBezTo>
                  <a:cubicBezTo>
                    <a:pt x="20272" y="22429"/>
                    <a:pt x="22242" y="22343"/>
                    <a:pt x="21966" y="24780"/>
                  </a:cubicBezTo>
                  <a:cubicBezTo>
                    <a:pt x="21914" y="25212"/>
                    <a:pt x="22104" y="25868"/>
                    <a:pt x="22415" y="26127"/>
                  </a:cubicBezTo>
                  <a:cubicBezTo>
                    <a:pt x="23746" y="27251"/>
                    <a:pt x="23659" y="29411"/>
                    <a:pt x="23210" y="29981"/>
                  </a:cubicBezTo>
                  <a:cubicBezTo>
                    <a:pt x="22052" y="31485"/>
                    <a:pt x="22484" y="32573"/>
                    <a:pt x="22985" y="33973"/>
                  </a:cubicBezTo>
                  <a:cubicBezTo>
                    <a:pt x="23124" y="34405"/>
                    <a:pt x="22795" y="35045"/>
                    <a:pt x="22553" y="35529"/>
                  </a:cubicBezTo>
                  <a:cubicBezTo>
                    <a:pt x="21447" y="37844"/>
                    <a:pt x="19356" y="39469"/>
                    <a:pt x="18233" y="41802"/>
                  </a:cubicBezTo>
                  <a:cubicBezTo>
                    <a:pt x="17455" y="43409"/>
                    <a:pt x="17058" y="48783"/>
                    <a:pt x="18354" y="49734"/>
                  </a:cubicBezTo>
                  <a:cubicBezTo>
                    <a:pt x="20220" y="51116"/>
                    <a:pt x="19927" y="52862"/>
                    <a:pt x="20238" y="54659"/>
                  </a:cubicBezTo>
                  <a:cubicBezTo>
                    <a:pt x="20428" y="55748"/>
                    <a:pt x="20410" y="57528"/>
                    <a:pt x="20687" y="57752"/>
                  </a:cubicBezTo>
                  <a:cubicBezTo>
                    <a:pt x="22380" y="59083"/>
                    <a:pt x="22242" y="61364"/>
                    <a:pt x="23625" y="62764"/>
                  </a:cubicBezTo>
                  <a:cubicBezTo>
                    <a:pt x="23915" y="63066"/>
                    <a:pt x="24197" y="63258"/>
                    <a:pt x="24508" y="63258"/>
                  </a:cubicBezTo>
                  <a:cubicBezTo>
                    <a:pt x="24660" y="63258"/>
                    <a:pt x="24820" y="63212"/>
                    <a:pt x="24990" y="63110"/>
                  </a:cubicBezTo>
                  <a:cubicBezTo>
                    <a:pt x="25508" y="62816"/>
                    <a:pt x="25526" y="62246"/>
                    <a:pt x="25197" y="61831"/>
                  </a:cubicBezTo>
                  <a:cubicBezTo>
                    <a:pt x="23607" y="59671"/>
                    <a:pt x="23746" y="56888"/>
                    <a:pt x="22536" y="54590"/>
                  </a:cubicBezTo>
                  <a:cubicBezTo>
                    <a:pt x="22415" y="54348"/>
                    <a:pt x="22605" y="53933"/>
                    <a:pt x="22692" y="53605"/>
                  </a:cubicBezTo>
                  <a:cubicBezTo>
                    <a:pt x="22704" y="53568"/>
                    <a:pt x="22878" y="53539"/>
                    <a:pt x="22981" y="53539"/>
                  </a:cubicBezTo>
                  <a:cubicBezTo>
                    <a:pt x="23021" y="53539"/>
                    <a:pt x="23050" y="53543"/>
                    <a:pt x="23054" y="53553"/>
                  </a:cubicBezTo>
                  <a:cubicBezTo>
                    <a:pt x="23175" y="53812"/>
                    <a:pt x="23366" y="54106"/>
                    <a:pt x="23366" y="54400"/>
                  </a:cubicBezTo>
                  <a:cubicBezTo>
                    <a:pt x="23383" y="56819"/>
                    <a:pt x="24973" y="58617"/>
                    <a:pt x="26027" y="60569"/>
                  </a:cubicBezTo>
                  <a:cubicBezTo>
                    <a:pt x="26977" y="62297"/>
                    <a:pt x="28654" y="63663"/>
                    <a:pt x="27720" y="65978"/>
                  </a:cubicBezTo>
                  <a:cubicBezTo>
                    <a:pt x="27530" y="66445"/>
                    <a:pt x="27928" y="66791"/>
                    <a:pt x="28273" y="67136"/>
                  </a:cubicBezTo>
                  <a:cubicBezTo>
                    <a:pt x="29138" y="68000"/>
                    <a:pt x="30226" y="68536"/>
                    <a:pt x="31246" y="69193"/>
                  </a:cubicBezTo>
                  <a:cubicBezTo>
                    <a:pt x="32910" y="70222"/>
                    <a:pt x="34447" y="71516"/>
                    <a:pt x="36422" y="71516"/>
                  </a:cubicBezTo>
                  <a:cubicBezTo>
                    <a:pt x="36867" y="71516"/>
                    <a:pt x="37334" y="71451"/>
                    <a:pt x="37830" y="71301"/>
                  </a:cubicBezTo>
                  <a:cubicBezTo>
                    <a:pt x="37930" y="71272"/>
                    <a:pt x="38022" y="71258"/>
                    <a:pt x="38107" y="71258"/>
                  </a:cubicBezTo>
                  <a:cubicBezTo>
                    <a:pt x="38527" y="71258"/>
                    <a:pt x="38793" y="71582"/>
                    <a:pt x="39023" y="71941"/>
                  </a:cubicBezTo>
                  <a:cubicBezTo>
                    <a:pt x="39748" y="73098"/>
                    <a:pt x="40768" y="73721"/>
                    <a:pt x="42116" y="74032"/>
                  </a:cubicBezTo>
                  <a:cubicBezTo>
                    <a:pt x="43585" y="74360"/>
                    <a:pt x="45296" y="74775"/>
                    <a:pt x="45745" y="76399"/>
                  </a:cubicBezTo>
                  <a:cubicBezTo>
                    <a:pt x="46194" y="78110"/>
                    <a:pt x="47439" y="79112"/>
                    <a:pt x="48648" y="79907"/>
                  </a:cubicBezTo>
                  <a:cubicBezTo>
                    <a:pt x="49237" y="80296"/>
                    <a:pt x="50039" y="81326"/>
                    <a:pt x="50895" y="81326"/>
                  </a:cubicBezTo>
                  <a:cubicBezTo>
                    <a:pt x="51372" y="81326"/>
                    <a:pt x="51865" y="81007"/>
                    <a:pt x="52347" y="80080"/>
                  </a:cubicBezTo>
                  <a:cubicBezTo>
                    <a:pt x="52462" y="79850"/>
                    <a:pt x="52631" y="79714"/>
                    <a:pt x="52813" y="79714"/>
                  </a:cubicBezTo>
                  <a:cubicBezTo>
                    <a:pt x="53013" y="79714"/>
                    <a:pt x="53228" y="79880"/>
                    <a:pt x="53401" y="80270"/>
                  </a:cubicBezTo>
                  <a:cubicBezTo>
                    <a:pt x="54593" y="83156"/>
                    <a:pt x="53919" y="85697"/>
                    <a:pt x="51621" y="87943"/>
                  </a:cubicBezTo>
                  <a:cubicBezTo>
                    <a:pt x="50498" y="89049"/>
                    <a:pt x="49806" y="90604"/>
                    <a:pt x="50774" y="92194"/>
                  </a:cubicBezTo>
                  <a:cubicBezTo>
                    <a:pt x="51085" y="92730"/>
                    <a:pt x="51068" y="92886"/>
                    <a:pt x="50688" y="93283"/>
                  </a:cubicBezTo>
                  <a:cubicBezTo>
                    <a:pt x="49685" y="94337"/>
                    <a:pt x="49703" y="95875"/>
                    <a:pt x="50567" y="96636"/>
                  </a:cubicBezTo>
                  <a:cubicBezTo>
                    <a:pt x="52208" y="98087"/>
                    <a:pt x="52986" y="99971"/>
                    <a:pt x="53971" y="101803"/>
                  </a:cubicBezTo>
                  <a:cubicBezTo>
                    <a:pt x="55440" y="104516"/>
                    <a:pt x="56771" y="107281"/>
                    <a:pt x="59933" y="108629"/>
                  </a:cubicBezTo>
                  <a:cubicBezTo>
                    <a:pt x="61661" y="109372"/>
                    <a:pt x="62629" y="111014"/>
                    <a:pt x="62664" y="113122"/>
                  </a:cubicBezTo>
                  <a:cubicBezTo>
                    <a:pt x="62716" y="116319"/>
                    <a:pt x="62871" y="119516"/>
                    <a:pt x="63096" y="122713"/>
                  </a:cubicBezTo>
                  <a:cubicBezTo>
                    <a:pt x="63251" y="125115"/>
                    <a:pt x="64426" y="127431"/>
                    <a:pt x="63631" y="129920"/>
                  </a:cubicBezTo>
                  <a:cubicBezTo>
                    <a:pt x="63303" y="130922"/>
                    <a:pt x="63459" y="131907"/>
                    <a:pt x="63839" y="132875"/>
                  </a:cubicBezTo>
                  <a:cubicBezTo>
                    <a:pt x="64323" y="134067"/>
                    <a:pt x="64461" y="135363"/>
                    <a:pt x="64288" y="136642"/>
                  </a:cubicBezTo>
                  <a:cubicBezTo>
                    <a:pt x="64184" y="137593"/>
                    <a:pt x="64582" y="138664"/>
                    <a:pt x="65653" y="139148"/>
                  </a:cubicBezTo>
                  <a:cubicBezTo>
                    <a:pt x="65680" y="139159"/>
                    <a:pt x="65711" y="139163"/>
                    <a:pt x="65743" y="139163"/>
                  </a:cubicBezTo>
                  <a:cubicBezTo>
                    <a:pt x="65886" y="139163"/>
                    <a:pt x="66069" y="139076"/>
                    <a:pt x="66205" y="139076"/>
                  </a:cubicBezTo>
                  <a:cubicBezTo>
                    <a:pt x="66332" y="139076"/>
                    <a:pt x="66419" y="139151"/>
                    <a:pt x="66397" y="139442"/>
                  </a:cubicBezTo>
                  <a:cubicBezTo>
                    <a:pt x="66362" y="139995"/>
                    <a:pt x="67071" y="140565"/>
                    <a:pt x="66293" y="141135"/>
                  </a:cubicBezTo>
                  <a:cubicBezTo>
                    <a:pt x="65895" y="141412"/>
                    <a:pt x="65360" y="142259"/>
                    <a:pt x="65774" y="142414"/>
                  </a:cubicBezTo>
                  <a:cubicBezTo>
                    <a:pt x="66898" y="142846"/>
                    <a:pt x="66500" y="143797"/>
                    <a:pt x="66777" y="144488"/>
                  </a:cubicBezTo>
                  <a:cubicBezTo>
                    <a:pt x="67468" y="146164"/>
                    <a:pt x="68505" y="147668"/>
                    <a:pt x="69801" y="148929"/>
                  </a:cubicBezTo>
                  <a:cubicBezTo>
                    <a:pt x="71823" y="150906"/>
                    <a:pt x="74091" y="152091"/>
                    <a:pt x="76808" y="152091"/>
                  </a:cubicBezTo>
                  <a:cubicBezTo>
                    <a:pt x="77226" y="152091"/>
                    <a:pt x="77656" y="152063"/>
                    <a:pt x="78096" y="152005"/>
                  </a:cubicBezTo>
                  <a:cubicBezTo>
                    <a:pt x="78355" y="151953"/>
                    <a:pt x="78580" y="151781"/>
                    <a:pt x="78718" y="151556"/>
                  </a:cubicBezTo>
                  <a:cubicBezTo>
                    <a:pt x="78874" y="151262"/>
                    <a:pt x="78615" y="151038"/>
                    <a:pt x="78355" y="150882"/>
                  </a:cubicBezTo>
                  <a:cubicBezTo>
                    <a:pt x="77595" y="150415"/>
                    <a:pt x="76835" y="149914"/>
                    <a:pt x="76040" y="149482"/>
                  </a:cubicBezTo>
                  <a:cubicBezTo>
                    <a:pt x="73914" y="148342"/>
                    <a:pt x="73551" y="146648"/>
                    <a:pt x="74899" y="144695"/>
                  </a:cubicBezTo>
                  <a:cubicBezTo>
                    <a:pt x="75608" y="143658"/>
                    <a:pt x="75694" y="142570"/>
                    <a:pt x="74173" y="142017"/>
                  </a:cubicBezTo>
                  <a:cubicBezTo>
                    <a:pt x="73707" y="141861"/>
                    <a:pt x="72929" y="141550"/>
                    <a:pt x="73551" y="140997"/>
                  </a:cubicBezTo>
                  <a:cubicBezTo>
                    <a:pt x="74260" y="140340"/>
                    <a:pt x="74260" y="139597"/>
                    <a:pt x="74415" y="138837"/>
                  </a:cubicBezTo>
                  <a:cubicBezTo>
                    <a:pt x="74605" y="137783"/>
                    <a:pt x="73534" y="136193"/>
                    <a:pt x="75677" y="135985"/>
                  </a:cubicBezTo>
                  <a:cubicBezTo>
                    <a:pt x="75746" y="135985"/>
                    <a:pt x="75850" y="135588"/>
                    <a:pt x="75798" y="135432"/>
                  </a:cubicBezTo>
                  <a:cubicBezTo>
                    <a:pt x="75444" y="134260"/>
                    <a:pt x="75867" y="133923"/>
                    <a:pt x="76900" y="133923"/>
                  </a:cubicBezTo>
                  <a:cubicBezTo>
                    <a:pt x="76978" y="133923"/>
                    <a:pt x="77060" y="133925"/>
                    <a:pt x="77146" y="133929"/>
                  </a:cubicBezTo>
                  <a:cubicBezTo>
                    <a:pt x="77188" y="133931"/>
                    <a:pt x="77231" y="133932"/>
                    <a:pt x="77272" y="133932"/>
                  </a:cubicBezTo>
                  <a:cubicBezTo>
                    <a:pt x="78202" y="133932"/>
                    <a:pt x="78980" y="133388"/>
                    <a:pt x="79427" y="132512"/>
                  </a:cubicBezTo>
                  <a:cubicBezTo>
                    <a:pt x="79859" y="131648"/>
                    <a:pt x="79738" y="130836"/>
                    <a:pt x="79047" y="130110"/>
                  </a:cubicBezTo>
                  <a:cubicBezTo>
                    <a:pt x="78857" y="129902"/>
                    <a:pt x="78822" y="129557"/>
                    <a:pt x="78701" y="129280"/>
                  </a:cubicBezTo>
                  <a:lnTo>
                    <a:pt x="78701" y="129280"/>
                  </a:lnTo>
                  <a:cubicBezTo>
                    <a:pt x="78977" y="129298"/>
                    <a:pt x="79237" y="129332"/>
                    <a:pt x="79513" y="129384"/>
                  </a:cubicBezTo>
                  <a:cubicBezTo>
                    <a:pt x="79669" y="129427"/>
                    <a:pt x="79830" y="129448"/>
                    <a:pt x="79991" y="129448"/>
                  </a:cubicBezTo>
                  <a:cubicBezTo>
                    <a:pt x="80347" y="129448"/>
                    <a:pt x="80702" y="129344"/>
                    <a:pt x="80999" y="129142"/>
                  </a:cubicBezTo>
                  <a:cubicBezTo>
                    <a:pt x="82900" y="128001"/>
                    <a:pt x="83350" y="125841"/>
                    <a:pt x="84473" y="124148"/>
                  </a:cubicBezTo>
                  <a:cubicBezTo>
                    <a:pt x="85216" y="123024"/>
                    <a:pt x="86149" y="121815"/>
                    <a:pt x="85544" y="120225"/>
                  </a:cubicBezTo>
                  <a:cubicBezTo>
                    <a:pt x="85026" y="118808"/>
                    <a:pt x="85959" y="118186"/>
                    <a:pt x="86927" y="117356"/>
                  </a:cubicBezTo>
                  <a:cubicBezTo>
                    <a:pt x="88258" y="116233"/>
                    <a:pt x="90314" y="116371"/>
                    <a:pt x="91230" y="115213"/>
                  </a:cubicBezTo>
                  <a:cubicBezTo>
                    <a:pt x="93096" y="112846"/>
                    <a:pt x="93788" y="109908"/>
                    <a:pt x="93874" y="106866"/>
                  </a:cubicBezTo>
                  <a:cubicBezTo>
                    <a:pt x="93909" y="105743"/>
                    <a:pt x="93563" y="104637"/>
                    <a:pt x="94635" y="103635"/>
                  </a:cubicBezTo>
                  <a:cubicBezTo>
                    <a:pt x="95637" y="102650"/>
                    <a:pt x="96432" y="101492"/>
                    <a:pt x="97002" y="100213"/>
                  </a:cubicBezTo>
                  <a:cubicBezTo>
                    <a:pt x="98350" y="97189"/>
                    <a:pt x="97555" y="95668"/>
                    <a:pt x="93770" y="93404"/>
                  </a:cubicBezTo>
                  <a:cubicBezTo>
                    <a:pt x="92864" y="92866"/>
                    <a:pt x="92012" y="92178"/>
                    <a:pt x="90923" y="92178"/>
                  </a:cubicBezTo>
                  <a:cubicBezTo>
                    <a:pt x="90787" y="92178"/>
                    <a:pt x="90648" y="92189"/>
                    <a:pt x="90504" y="92212"/>
                  </a:cubicBezTo>
                  <a:cubicBezTo>
                    <a:pt x="90375" y="92232"/>
                    <a:pt x="90250" y="92241"/>
                    <a:pt x="90128" y="92241"/>
                  </a:cubicBezTo>
                  <a:cubicBezTo>
                    <a:pt x="89316" y="92241"/>
                    <a:pt x="88640" y="91827"/>
                    <a:pt x="87964" y="91451"/>
                  </a:cubicBezTo>
                  <a:cubicBezTo>
                    <a:pt x="86720" y="90760"/>
                    <a:pt x="85423" y="90190"/>
                    <a:pt x="84076" y="89740"/>
                  </a:cubicBezTo>
                  <a:cubicBezTo>
                    <a:pt x="83419" y="89533"/>
                    <a:pt x="82365" y="89412"/>
                    <a:pt x="82226" y="88306"/>
                  </a:cubicBezTo>
                  <a:cubicBezTo>
                    <a:pt x="81898" y="85511"/>
                    <a:pt x="80349" y="82231"/>
                    <a:pt x="77208" y="82231"/>
                  </a:cubicBezTo>
                  <a:cubicBezTo>
                    <a:pt x="77047" y="82231"/>
                    <a:pt x="76883" y="82240"/>
                    <a:pt x="76714" y="82258"/>
                  </a:cubicBezTo>
                  <a:cubicBezTo>
                    <a:pt x="76610" y="82274"/>
                    <a:pt x="76507" y="82282"/>
                    <a:pt x="76405" y="82282"/>
                  </a:cubicBezTo>
                  <a:cubicBezTo>
                    <a:pt x="75873" y="82282"/>
                    <a:pt x="75365" y="82061"/>
                    <a:pt x="75003" y="81670"/>
                  </a:cubicBezTo>
                  <a:cubicBezTo>
                    <a:pt x="73810" y="80478"/>
                    <a:pt x="72722" y="79147"/>
                    <a:pt x="71356" y="78179"/>
                  </a:cubicBezTo>
                  <a:cubicBezTo>
                    <a:pt x="70652" y="77672"/>
                    <a:pt x="69937" y="76844"/>
                    <a:pt x="68958" y="76844"/>
                  </a:cubicBezTo>
                  <a:cubicBezTo>
                    <a:pt x="68735" y="76844"/>
                    <a:pt x="68499" y="76887"/>
                    <a:pt x="68246" y="76987"/>
                  </a:cubicBezTo>
                  <a:cubicBezTo>
                    <a:pt x="68013" y="77081"/>
                    <a:pt x="67785" y="77113"/>
                    <a:pt x="67562" y="77113"/>
                  </a:cubicBezTo>
                  <a:cubicBezTo>
                    <a:pt x="67089" y="77113"/>
                    <a:pt x="66635" y="76969"/>
                    <a:pt x="66189" y="76969"/>
                  </a:cubicBezTo>
                  <a:cubicBezTo>
                    <a:pt x="64783" y="76969"/>
                    <a:pt x="63941" y="75706"/>
                    <a:pt x="62605" y="75706"/>
                  </a:cubicBezTo>
                  <a:cubicBezTo>
                    <a:pt x="62579" y="75706"/>
                    <a:pt x="62552" y="75707"/>
                    <a:pt x="62525" y="75708"/>
                  </a:cubicBezTo>
                  <a:cubicBezTo>
                    <a:pt x="62280" y="75708"/>
                    <a:pt x="61828" y="76012"/>
                    <a:pt x="61511" y="76012"/>
                  </a:cubicBezTo>
                  <a:cubicBezTo>
                    <a:pt x="61248" y="76012"/>
                    <a:pt x="61077" y="75802"/>
                    <a:pt x="61195" y="75034"/>
                  </a:cubicBezTo>
                  <a:cubicBezTo>
                    <a:pt x="61232" y="74788"/>
                    <a:pt x="60883" y="74612"/>
                    <a:pt x="60617" y="74612"/>
                  </a:cubicBezTo>
                  <a:cubicBezTo>
                    <a:pt x="60509" y="74612"/>
                    <a:pt x="60415" y="74641"/>
                    <a:pt x="60365" y="74706"/>
                  </a:cubicBezTo>
                  <a:cubicBezTo>
                    <a:pt x="59225" y="76088"/>
                    <a:pt x="57099" y="76071"/>
                    <a:pt x="56166" y="77747"/>
                  </a:cubicBezTo>
                  <a:cubicBezTo>
                    <a:pt x="55842" y="78325"/>
                    <a:pt x="55457" y="78771"/>
                    <a:pt x="54917" y="78771"/>
                  </a:cubicBezTo>
                  <a:cubicBezTo>
                    <a:pt x="54649" y="78771"/>
                    <a:pt x="54343" y="78661"/>
                    <a:pt x="53988" y="78404"/>
                  </a:cubicBezTo>
                  <a:cubicBezTo>
                    <a:pt x="53637" y="78125"/>
                    <a:pt x="53206" y="77982"/>
                    <a:pt x="52772" y="77982"/>
                  </a:cubicBezTo>
                  <a:cubicBezTo>
                    <a:pt x="52480" y="77982"/>
                    <a:pt x="52186" y="78047"/>
                    <a:pt x="51915" y="78179"/>
                  </a:cubicBezTo>
                  <a:cubicBezTo>
                    <a:pt x="51373" y="78410"/>
                    <a:pt x="50918" y="78527"/>
                    <a:pt x="50541" y="78527"/>
                  </a:cubicBezTo>
                  <a:cubicBezTo>
                    <a:pt x="49618" y="78527"/>
                    <a:pt x="49166" y="77825"/>
                    <a:pt x="49080" y="76365"/>
                  </a:cubicBezTo>
                  <a:cubicBezTo>
                    <a:pt x="49046" y="75397"/>
                    <a:pt x="49184" y="74446"/>
                    <a:pt x="49478" y="73530"/>
                  </a:cubicBezTo>
                  <a:cubicBezTo>
                    <a:pt x="50012" y="71861"/>
                    <a:pt x="49095" y="70692"/>
                    <a:pt x="47366" y="70692"/>
                  </a:cubicBezTo>
                  <a:cubicBezTo>
                    <a:pt x="47305" y="70692"/>
                    <a:pt x="47243" y="70693"/>
                    <a:pt x="47179" y="70696"/>
                  </a:cubicBezTo>
                  <a:cubicBezTo>
                    <a:pt x="46730" y="70714"/>
                    <a:pt x="46281" y="70765"/>
                    <a:pt x="45814" y="70783"/>
                  </a:cubicBezTo>
                  <a:cubicBezTo>
                    <a:pt x="45755" y="70784"/>
                    <a:pt x="45699" y="70786"/>
                    <a:pt x="45645" y="70786"/>
                  </a:cubicBezTo>
                  <a:cubicBezTo>
                    <a:pt x="45148" y="70786"/>
                    <a:pt x="44886" y="70683"/>
                    <a:pt x="45088" y="69919"/>
                  </a:cubicBezTo>
                  <a:cubicBezTo>
                    <a:pt x="45469" y="68484"/>
                    <a:pt x="46143" y="67240"/>
                    <a:pt x="46886" y="65996"/>
                  </a:cubicBezTo>
                  <a:cubicBezTo>
                    <a:pt x="47214" y="65443"/>
                    <a:pt x="47231" y="64993"/>
                    <a:pt x="46747" y="64613"/>
                  </a:cubicBezTo>
                  <a:cubicBezTo>
                    <a:pt x="46406" y="64334"/>
                    <a:pt x="45929" y="64209"/>
                    <a:pt x="45417" y="64209"/>
                  </a:cubicBezTo>
                  <a:cubicBezTo>
                    <a:pt x="44221" y="64209"/>
                    <a:pt x="42833" y="64889"/>
                    <a:pt x="42531" y="65857"/>
                  </a:cubicBezTo>
                  <a:cubicBezTo>
                    <a:pt x="42161" y="67044"/>
                    <a:pt x="40793" y="67929"/>
                    <a:pt x="39553" y="67929"/>
                  </a:cubicBezTo>
                  <a:cubicBezTo>
                    <a:pt x="39113" y="67929"/>
                    <a:pt x="38689" y="67817"/>
                    <a:pt x="38331" y="67568"/>
                  </a:cubicBezTo>
                  <a:cubicBezTo>
                    <a:pt x="36966" y="66601"/>
                    <a:pt x="35998" y="64872"/>
                    <a:pt x="36517" y="63455"/>
                  </a:cubicBezTo>
                  <a:cubicBezTo>
                    <a:pt x="37571" y="60569"/>
                    <a:pt x="37986" y="56802"/>
                    <a:pt x="41822" y="56093"/>
                  </a:cubicBezTo>
                  <a:cubicBezTo>
                    <a:pt x="44259" y="55627"/>
                    <a:pt x="46696" y="55299"/>
                    <a:pt x="49167" y="55126"/>
                  </a:cubicBezTo>
                  <a:cubicBezTo>
                    <a:pt x="49252" y="55120"/>
                    <a:pt x="49338" y="55117"/>
                    <a:pt x="49425" y="55117"/>
                  </a:cubicBezTo>
                  <a:cubicBezTo>
                    <a:pt x="50819" y="55117"/>
                    <a:pt x="52364" y="55920"/>
                    <a:pt x="51811" y="58133"/>
                  </a:cubicBezTo>
                  <a:cubicBezTo>
                    <a:pt x="51707" y="58582"/>
                    <a:pt x="52087" y="59204"/>
                    <a:pt x="52329" y="59688"/>
                  </a:cubicBezTo>
                  <a:cubicBezTo>
                    <a:pt x="52602" y="60250"/>
                    <a:pt x="52992" y="60846"/>
                    <a:pt x="53666" y="60846"/>
                  </a:cubicBezTo>
                  <a:cubicBezTo>
                    <a:pt x="53675" y="60846"/>
                    <a:pt x="53685" y="60846"/>
                    <a:pt x="53695" y="60846"/>
                  </a:cubicBezTo>
                  <a:cubicBezTo>
                    <a:pt x="54455" y="60811"/>
                    <a:pt x="54628" y="60085"/>
                    <a:pt x="54852" y="59498"/>
                  </a:cubicBezTo>
                  <a:cubicBezTo>
                    <a:pt x="55146" y="58703"/>
                    <a:pt x="55146" y="57822"/>
                    <a:pt x="54887" y="57027"/>
                  </a:cubicBezTo>
                  <a:cubicBezTo>
                    <a:pt x="54127" y="54642"/>
                    <a:pt x="54922" y="53017"/>
                    <a:pt x="57116" y="51894"/>
                  </a:cubicBezTo>
                  <a:cubicBezTo>
                    <a:pt x="58291" y="51307"/>
                    <a:pt x="59328" y="50442"/>
                    <a:pt x="60469" y="49786"/>
                  </a:cubicBezTo>
                  <a:cubicBezTo>
                    <a:pt x="62128" y="48818"/>
                    <a:pt x="61575" y="46641"/>
                    <a:pt x="63096" y="45448"/>
                  </a:cubicBezTo>
                  <a:cubicBezTo>
                    <a:pt x="64720" y="44169"/>
                    <a:pt x="65757" y="42113"/>
                    <a:pt x="68194" y="42061"/>
                  </a:cubicBezTo>
                  <a:cubicBezTo>
                    <a:pt x="68574" y="42044"/>
                    <a:pt x="69006" y="41888"/>
                    <a:pt x="69075" y="41456"/>
                  </a:cubicBezTo>
                  <a:cubicBezTo>
                    <a:pt x="69369" y="39711"/>
                    <a:pt x="70924" y="39417"/>
                    <a:pt x="72151" y="38760"/>
                  </a:cubicBezTo>
                  <a:cubicBezTo>
                    <a:pt x="72321" y="38667"/>
                    <a:pt x="72565" y="38512"/>
                    <a:pt x="72753" y="38512"/>
                  </a:cubicBezTo>
                  <a:cubicBezTo>
                    <a:pt x="72950" y="38512"/>
                    <a:pt x="73086" y="38680"/>
                    <a:pt x="73015" y="39261"/>
                  </a:cubicBezTo>
                  <a:cubicBezTo>
                    <a:pt x="72956" y="39796"/>
                    <a:pt x="73330" y="40078"/>
                    <a:pt x="73743" y="40078"/>
                  </a:cubicBezTo>
                  <a:cubicBezTo>
                    <a:pt x="73931" y="40078"/>
                    <a:pt x="74127" y="40020"/>
                    <a:pt x="74294" y="39901"/>
                  </a:cubicBezTo>
                  <a:cubicBezTo>
                    <a:pt x="75746" y="38898"/>
                    <a:pt x="77457" y="38501"/>
                    <a:pt x="78995" y="37723"/>
                  </a:cubicBezTo>
                  <a:cubicBezTo>
                    <a:pt x="79738" y="37326"/>
                    <a:pt x="80291" y="36773"/>
                    <a:pt x="79790" y="35995"/>
                  </a:cubicBezTo>
                  <a:cubicBezTo>
                    <a:pt x="79597" y="35708"/>
                    <a:pt x="79414" y="35603"/>
                    <a:pt x="79239" y="35603"/>
                  </a:cubicBezTo>
                  <a:cubicBezTo>
                    <a:pt x="78865" y="35603"/>
                    <a:pt x="78524" y="36083"/>
                    <a:pt x="78183" y="36306"/>
                  </a:cubicBezTo>
                  <a:cubicBezTo>
                    <a:pt x="77820" y="36545"/>
                    <a:pt x="77447" y="36741"/>
                    <a:pt x="77083" y="36741"/>
                  </a:cubicBezTo>
                  <a:cubicBezTo>
                    <a:pt x="76789" y="36741"/>
                    <a:pt x="76501" y="36612"/>
                    <a:pt x="76230" y="36272"/>
                  </a:cubicBezTo>
                  <a:cubicBezTo>
                    <a:pt x="75677" y="35563"/>
                    <a:pt x="76126" y="35148"/>
                    <a:pt x="76731" y="34751"/>
                  </a:cubicBezTo>
                  <a:cubicBezTo>
                    <a:pt x="77318" y="34371"/>
                    <a:pt x="77284" y="33818"/>
                    <a:pt x="77025" y="33196"/>
                  </a:cubicBezTo>
                  <a:cubicBezTo>
                    <a:pt x="76921" y="32919"/>
                    <a:pt x="76161" y="33023"/>
                    <a:pt x="76593" y="32643"/>
                  </a:cubicBezTo>
                  <a:cubicBezTo>
                    <a:pt x="76708" y="32536"/>
                    <a:pt x="76805" y="32492"/>
                    <a:pt x="76888" y="32492"/>
                  </a:cubicBezTo>
                  <a:cubicBezTo>
                    <a:pt x="77143" y="32492"/>
                    <a:pt x="77279" y="32892"/>
                    <a:pt x="77474" y="33126"/>
                  </a:cubicBezTo>
                  <a:cubicBezTo>
                    <a:pt x="77830" y="33563"/>
                    <a:pt x="78559" y="33892"/>
                    <a:pt x="79019" y="33892"/>
                  </a:cubicBezTo>
                  <a:cubicBezTo>
                    <a:pt x="79251" y="33892"/>
                    <a:pt x="79415" y="33808"/>
                    <a:pt x="79427" y="33610"/>
                  </a:cubicBezTo>
                  <a:cubicBezTo>
                    <a:pt x="79485" y="32639"/>
                    <a:pt x="79866" y="32465"/>
                    <a:pt x="80317" y="32465"/>
                  </a:cubicBezTo>
                  <a:cubicBezTo>
                    <a:pt x="80569" y="32465"/>
                    <a:pt x="80843" y="32519"/>
                    <a:pt x="81095" y="32519"/>
                  </a:cubicBezTo>
                  <a:cubicBezTo>
                    <a:pt x="81194" y="32519"/>
                    <a:pt x="81290" y="32511"/>
                    <a:pt x="81380" y="32487"/>
                  </a:cubicBezTo>
                  <a:cubicBezTo>
                    <a:pt x="81894" y="32340"/>
                    <a:pt x="82271" y="31830"/>
                    <a:pt x="82830" y="31830"/>
                  </a:cubicBezTo>
                  <a:cubicBezTo>
                    <a:pt x="82928" y="31830"/>
                    <a:pt x="83031" y="31846"/>
                    <a:pt x="83142" y="31882"/>
                  </a:cubicBezTo>
                  <a:cubicBezTo>
                    <a:pt x="82658" y="32470"/>
                    <a:pt x="82192" y="33075"/>
                    <a:pt x="81708" y="33679"/>
                  </a:cubicBezTo>
                  <a:cubicBezTo>
                    <a:pt x="81604" y="33766"/>
                    <a:pt x="81483" y="33835"/>
                    <a:pt x="81362" y="33904"/>
                  </a:cubicBezTo>
                  <a:cubicBezTo>
                    <a:pt x="81034" y="34129"/>
                    <a:pt x="80775" y="34423"/>
                    <a:pt x="80878" y="34872"/>
                  </a:cubicBezTo>
                  <a:cubicBezTo>
                    <a:pt x="80999" y="35304"/>
                    <a:pt x="81380" y="35252"/>
                    <a:pt x="81673" y="35425"/>
                  </a:cubicBezTo>
                  <a:cubicBezTo>
                    <a:pt x="81973" y="35596"/>
                    <a:pt x="82292" y="35648"/>
                    <a:pt x="82615" y="35648"/>
                  </a:cubicBezTo>
                  <a:cubicBezTo>
                    <a:pt x="83130" y="35648"/>
                    <a:pt x="83658" y="35514"/>
                    <a:pt x="84141" y="35514"/>
                  </a:cubicBezTo>
                  <a:cubicBezTo>
                    <a:pt x="84489" y="35514"/>
                    <a:pt x="84814" y="35584"/>
                    <a:pt x="85095" y="35822"/>
                  </a:cubicBezTo>
                  <a:cubicBezTo>
                    <a:pt x="85535" y="36187"/>
                    <a:pt x="85875" y="36332"/>
                    <a:pt x="86134" y="36332"/>
                  </a:cubicBezTo>
                  <a:cubicBezTo>
                    <a:pt x="86710" y="36332"/>
                    <a:pt x="86887" y="35618"/>
                    <a:pt x="86875" y="35010"/>
                  </a:cubicBezTo>
                  <a:cubicBezTo>
                    <a:pt x="86858" y="34215"/>
                    <a:pt x="87601" y="32729"/>
                    <a:pt x="85665" y="32625"/>
                  </a:cubicBezTo>
                  <a:cubicBezTo>
                    <a:pt x="84991" y="32591"/>
                    <a:pt x="85130" y="31986"/>
                    <a:pt x="85596" y="31485"/>
                  </a:cubicBezTo>
                  <a:cubicBezTo>
                    <a:pt x="87186" y="29791"/>
                    <a:pt x="86650" y="27527"/>
                    <a:pt x="84508" y="26767"/>
                  </a:cubicBezTo>
                  <a:cubicBezTo>
                    <a:pt x="84006" y="26594"/>
                    <a:pt x="83557" y="26214"/>
                    <a:pt x="83661" y="25834"/>
                  </a:cubicBezTo>
                  <a:cubicBezTo>
                    <a:pt x="83972" y="24503"/>
                    <a:pt x="83039" y="23432"/>
                    <a:pt x="83090" y="22170"/>
                  </a:cubicBezTo>
                  <a:cubicBezTo>
                    <a:pt x="83108" y="21773"/>
                    <a:pt x="83073" y="21375"/>
                    <a:pt x="82624" y="21220"/>
                  </a:cubicBezTo>
                  <a:cubicBezTo>
                    <a:pt x="82529" y="21188"/>
                    <a:pt x="82437" y="21174"/>
                    <a:pt x="82348" y="21174"/>
                  </a:cubicBezTo>
                  <a:cubicBezTo>
                    <a:pt x="82049" y="21174"/>
                    <a:pt x="81787" y="21339"/>
                    <a:pt x="81587" y="21565"/>
                  </a:cubicBezTo>
                  <a:cubicBezTo>
                    <a:pt x="81086" y="22135"/>
                    <a:pt x="80464" y="22602"/>
                    <a:pt x="79755" y="22913"/>
                  </a:cubicBezTo>
                  <a:cubicBezTo>
                    <a:pt x="79583" y="22995"/>
                    <a:pt x="79411" y="23071"/>
                    <a:pt x="79247" y="23071"/>
                  </a:cubicBezTo>
                  <a:cubicBezTo>
                    <a:pt x="79097" y="23071"/>
                    <a:pt x="78954" y="23008"/>
                    <a:pt x="78822" y="22827"/>
                  </a:cubicBezTo>
                  <a:cubicBezTo>
                    <a:pt x="78563" y="22498"/>
                    <a:pt x="78753" y="22274"/>
                    <a:pt x="78960" y="22015"/>
                  </a:cubicBezTo>
                  <a:cubicBezTo>
                    <a:pt x="79496" y="21254"/>
                    <a:pt x="79254" y="20736"/>
                    <a:pt x="78459" y="20338"/>
                  </a:cubicBezTo>
                  <a:cubicBezTo>
                    <a:pt x="78131" y="20165"/>
                    <a:pt x="77837" y="19941"/>
                    <a:pt x="77578" y="19664"/>
                  </a:cubicBezTo>
                  <a:cubicBezTo>
                    <a:pt x="77168" y="19146"/>
                    <a:pt x="76356" y="18913"/>
                    <a:pt x="75491" y="18913"/>
                  </a:cubicBezTo>
                  <a:cubicBezTo>
                    <a:pt x="74278" y="18913"/>
                    <a:pt x="72961" y="19371"/>
                    <a:pt x="72497" y="20148"/>
                  </a:cubicBezTo>
                  <a:cubicBezTo>
                    <a:pt x="72065" y="20874"/>
                    <a:pt x="71788" y="21824"/>
                    <a:pt x="70803" y="22170"/>
                  </a:cubicBezTo>
                  <a:cubicBezTo>
                    <a:pt x="70354" y="22326"/>
                    <a:pt x="70043" y="22792"/>
                    <a:pt x="70337" y="23276"/>
                  </a:cubicBezTo>
                  <a:cubicBezTo>
                    <a:pt x="71356" y="25004"/>
                    <a:pt x="70043" y="25488"/>
                    <a:pt x="68902" y="26024"/>
                  </a:cubicBezTo>
                  <a:cubicBezTo>
                    <a:pt x="67693" y="26577"/>
                    <a:pt x="66241" y="26801"/>
                    <a:pt x="66345" y="28685"/>
                  </a:cubicBezTo>
                  <a:cubicBezTo>
                    <a:pt x="66379" y="29117"/>
                    <a:pt x="65895" y="29601"/>
                    <a:pt x="65584" y="30016"/>
                  </a:cubicBezTo>
                  <a:cubicBezTo>
                    <a:pt x="65442" y="30197"/>
                    <a:pt x="65232" y="30465"/>
                    <a:pt x="64983" y="30465"/>
                  </a:cubicBezTo>
                  <a:cubicBezTo>
                    <a:pt x="64899" y="30465"/>
                    <a:pt x="64811" y="30435"/>
                    <a:pt x="64720" y="30361"/>
                  </a:cubicBezTo>
                  <a:cubicBezTo>
                    <a:pt x="64409" y="30120"/>
                    <a:pt x="64288" y="29705"/>
                    <a:pt x="64409" y="29342"/>
                  </a:cubicBezTo>
                  <a:cubicBezTo>
                    <a:pt x="64893" y="27596"/>
                    <a:pt x="65083" y="25989"/>
                    <a:pt x="62508" y="25903"/>
                  </a:cubicBezTo>
                  <a:cubicBezTo>
                    <a:pt x="62249" y="25903"/>
                    <a:pt x="61938" y="25644"/>
                    <a:pt x="61748" y="25436"/>
                  </a:cubicBezTo>
                  <a:cubicBezTo>
                    <a:pt x="61084" y="24759"/>
                    <a:pt x="60400" y="24243"/>
                    <a:pt x="59552" y="24243"/>
                  </a:cubicBezTo>
                  <a:cubicBezTo>
                    <a:pt x="59252" y="24243"/>
                    <a:pt x="58932" y="24307"/>
                    <a:pt x="58585" y="24451"/>
                  </a:cubicBezTo>
                  <a:cubicBezTo>
                    <a:pt x="58566" y="24457"/>
                    <a:pt x="58545" y="24459"/>
                    <a:pt x="58523" y="24459"/>
                  </a:cubicBezTo>
                  <a:cubicBezTo>
                    <a:pt x="58409" y="24459"/>
                    <a:pt x="58269" y="24394"/>
                    <a:pt x="58153" y="24365"/>
                  </a:cubicBezTo>
                  <a:cubicBezTo>
                    <a:pt x="58758" y="23501"/>
                    <a:pt x="57687" y="22429"/>
                    <a:pt x="58827" y="21462"/>
                  </a:cubicBezTo>
                  <a:cubicBezTo>
                    <a:pt x="61800" y="18990"/>
                    <a:pt x="65757" y="18558"/>
                    <a:pt x="68781" y="16294"/>
                  </a:cubicBezTo>
                  <a:lnTo>
                    <a:pt x="69455" y="15828"/>
                  </a:lnTo>
                  <a:cubicBezTo>
                    <a:pt x="70337" y="15586"/>
                    <a:pt x="71218" y="15206"/>
                    <a:pt x="72117" y="15119"/>
                  </a:cubicBezTo>
                  <a:cubicBezTo>
                    <a:pt x="74346" y="14912"/>
                    <a:pt x="75331" y="13910"/>
                    <a:pt x="75262" y="11767"/>
                  </a:cubicBezTo>
                  <a:cubicBezTo>
                    <a:pt x="75262" y="11596"/>
                    <a:pt x="75299" y="11543"/>
                    <a:pt x="75353" y="11543"/>
                  </a:cubicBezTo>
                  <a:cubicBezTo>
                    <a:pt x="75441" y="11543"/>
                    <a:pt x="75574" y="11687"/>
                    <a:pt x="75659" y="11698"/>
                  </a:cubicBezTo>
                  <a:cubicBezTo>
                    <a:pt x="76835" y="11749"/>
                    <a:pt x="77733" y="12683"/>
                    <a:pt x="78943" y="12752"/>
                  </a:cubicBezTo>
                  <a:cubicBezTo>
                    <a:pt x="79461" y="12769"/>
                    <a:pt x="79945" y="13391"/>
                    <a:pt x="80412" y="13789"/>
                  </a:cubicBezTo>
                  <a:cubicBezTo>
                    <a:pt x="80395" y="13944"/>
                    <a:pt x="80325" y="14082"/>
                    <a:pt x="80204" y="14203"/>
                  </a:cubicBezTo>
                  <a:cubicBezTo>
                    <a:pt x="79099" y="14649"/>
                    <a:pt x="78211" y="15599"/>
                    <a:pt x="76924" y="15599"/>
                  </a:cubicBezTo>
                  <a:cubicBezTo>
                    <a:pt x="76763" y="15599"/>
                    <a:pt x="76595" y="15584"/>
                    <a:pt x="76420" y="15551"/>
                  </a:cubicBezTo>
                  <a:cubicBezTo>
                    <a:pt x="76325" y="15534"/>
                    <a:pt x="76229" y="15525"/>
                    <a:pt x="76135" y="15525"/>
                  </a:cubicBezTo>
                  <a:cubicBezTo>
                    <a:pt x="75478" y="15525"/>
                    <a:pt x="74895" y="15947"/>
                    <a:pt x="74985" y="16778"/>
                  </a:cubicBezTo>
                  <a:cubicBezTo>
                    <a:pt x="75041" y="17437"/>
                    <a:pt x="75422" y="17620"/>
                    <a:pt x="75866" y="17620"/>
                  </a:cubicBezTo>
                  <a:cubicBezTo>
                    <a:pt x="76109" y="17620"/>
                    <a:pt x="76372" y="17565"/>
                    <a:pt x="76610" y="17504"/>
                  </a:cubicBezTo>
                  <a:cubicBezTo>
                    <a:pt x="76822" y="17451"/>
                    <a:pt x="77015" y="17425"/>
                    <a:pt x="77193" y="17425"/>
                  </a:cubicBezTo>
                  <a:cubicBezTo>
                    <a:pt x="77828" y="17425"/>
                    <a:pt x="78286" y="17750"/>
                    <a:pt x="78839" y="18316"/>
                  </a:cubicBezTo>
                  <a:cubicBezTo>
                    <a:pt x="79617" y="19094"/>
                    <a:pt x="80723" y="19612"/>
                    <a:pt x="81794" y="19993"/>
                  </a:cubicBezTo>
                  <a:cubicBezTo>
                    <a:pt x="81906" y="20034"/>
                    <a:pt x="82005" y="20053"/>
                    <a:pt x="82094" y="20053"/>
                  </a:cubicBezTo>
                  <a:cubicBezTo>
                    <a:pt x="82595" y="20053"/>
                    <a:pt x="82747" y="19445"/>
                    <a:pt x="82762" y="18887"/>
                  </a:cubicBezTo>
                  <a:cubicBezTo>
                    <a:pt x="82805" y="18878"/>
                    <a:pt x="82849" y="18874"/>
                    <a:pt x="82892" y="18874"/>
                  </a:cubicBezTo>
                  <a:cubicBezTo>
                    <a:pt x="82935" y="18874"/>
                    <a:pt x="82978" y="18878"/>
                    <a:pt x="83021" y="18887"/>
                  </a:cubicBezTo>
                  <a:cubicBezTo>
                    <a:pt x="83375" y="18985"/>
                    <a:pt x="83662" y="19030"/>
                    <a:pt x="83892" y="19030"/>
                  </a:cubicBezTo>
                  <a:cubicBezTo>
                    <a:pt x="85038" y="19030"/>
                    <a:pt x="84816" y="17932"/>
                    <a:pt x="84629" y="16882"/>
                  </a:cubicBezTo>
                  <a:cubicBezTo>
                    <a:pt x="84577" y="16588"/>
                    <a:pt x="84404" y="16122"/>
                    <a:pt x="84525" y="16018"/>
                  </a:cubicBezTo>
                  <a:cubicBezTo>
                    <a:pt x="84606" y="15948"/>
                    <a:pt x="84680" y="15920"/>
                    <a:pt x="84749" y="15920"/>
                  </a:cubicBezTo>
                  <a:cubicBezTo>
                    <a:pt x="84985" y="15920"/>
                    <a:pt x="85161" y="16252"/>
                    <a:pt x="85389" y="16346"/>
                  </a:cubicBezTo>
                  <a:cubicBezTo>
                    <a:pt x="85637" y="16436"/>
                    <a:pt x="85876" y="16474"/>
                    <a:pt x="86110" y="16474"/>
                  </a:cubicBezTo>
                  <a:cubicBezTo>
                    <a:pt x="86771" y="16474"/>
                    <a:pt x="87381" y="16174"/>
                    <a:pt x="87981" y="15931"/>
                  </a:cubicBezTo>
                  <a:cubicBezTo>
                    <a:pt x="88344" y="15793"/>
                    <a:pt x="88500" y="15275"/>
                    <a:pt x="88258" y="15033"/>
                  </a:cubicBezTo>
                  <a:cubicBezTo>
                    <a:pt x="87065" y="13754"/>
                    <a:pt x="85976" y="12406"/>
                    <a:pt x="84819" y="11110"/>
                  </a:cubicBezTo>
                  <a:cubicBezTo>
                    <a:pt x="84162" y="10350"/>
                    <a:pt x="83160" y="9779"/>
                    <a:pt x="82537" y="8915"/>
                  </a:cubicBezTo>
                  <a:cubicBezTo>
                    <a:pt x="82209" y="8379"/>
                    <a:pt x="81639" y="8034"/>
                    <a:pt x="81017" y="7999"/>
                  </a:cubicBezTo>
                  <a:cubicBezTo>
                    <a:pt x="80983" y="7995"/>
                    <a:pt x="80950" y="7994"/>
                    <a:pt x="80916" y="7994"/>
                  </a:cubicBezTo>
                  <a:cubicBezTo>
                    <a:pt x="80688" y="7994"/>
                    <a:pt x="80453" y="8074"/>
                    <a:pt x="80228" y="8074"/>
                  </a:cubicBezTo>
                  <a:cubicBezTo>
                    <a:pt x="80056" y="8074"/>
                    <a:pt x="79890" y="8027"/>
                    <a:pt x="79738" y="7861"/>
                  </a:cubicBezTo>
                  <a:cubicBezTo>
                    <a:pt x="80170" y="7757"/>
                    <a:pt x="80602" y="7654"/>
                    <a:pt x="81017" y="7585"/>
                  </a:cubicBezTo>
                  <a:cubicBezTo>
                    <a:pt x="81518" y="7481"/>
                    <a:pt x="82192" y="7567"/>
                    <a:pt x="82226" y="6859"/>
                  </a:cubicBezTo>
                  <a:cubicBezTo>
                    <a:pt x="82278" y="6202"/>
                    <a:pt x="81673" y="6167"/>
                    <a:pt x="81207" y="6046"/>
                  </a:cubicBezTo>
                  <a:cubicBezTo>
                    <a:pt x="81086" y="6012"/>
                    <a:pt x="80948" y="5960"/>
                    <a:pt x="80844" y="5891"/>
                  </a:cubicBezTo>
                  <a:cubicBezTo>
                    <a:pt x="80958" y="5878"/>
                    <a:pt x="81101" y="5837"/>
                    <a:pt x="81223" y="5837"/>
                  </a:cubicBezTo>
                  <a:cubicBezTo>
                    <a:pt x="81267" y="5837"/>
                    <a:pt x="81309" y="5843"/>
                    <a:pt x="81345" y="5856"/>
                  </a:cubicBezTo>
                  <a:cubicBezTo>
                    <a:pt x="81816" y="6065"/>
                    <a:pt x="82272" y="6151"/>
                    <a:pt x="82714" y="6151"/>
                  </a:cubicBezTo>
                  <a:cubicBezTo>
                    <a:pt x="83993" y="6151"/>
                    <a:pt x="85157" y="5437"/>
                    <a:pt x="86236" y="4923"/>
                  </a:cubicBezTo>
                  <a:cubicBezTo>
                    <a:pt x="89182" y="3528"/>
                    <a:pt x="92334" y="3094"/>
                    <a:pt x="95401" y="2235"/>
                  </a:cubicBezTo>
                  <a:lnTo>
                    <a:pt x="95401" y="2235"/>
                  </a:lnTo>
                  <a:cubicBezTo>
                    <a:pt x="93986" y="3267"/>
                    <a:pt x="92263" y="3834"/>
                    <a:pt x="90504" y="3834"/>
                  </a:cubicBezTo>
                  <a:cubicBezTo>
                    <a:pt x="90401" y="3834"/>
                    <a:pt x="90295" y="3831"/>
                    <a:pt x="90191" y="3831"/>
                  </a:cubicBezTo>
                  <a:cubicBezTo>
                    <a:pt x="89827" y="3831"/>
                    <a:pt x="89479" y="3873"/>
                    <a:pt x="89277" y="4249"/>
                  </a:cubicBezTo>
                  <a:cubicBezTo>
                    <a:pt x="89018" y="4802"/>
                    <a:pt x="89467" y="5113"/>
                    <a:pt x="89744" y="5528"/>
                  </a:cubicBezTo>
                  <a:cubicBezTo>
                    <a:pt x="90251" y="6307"/>
                    <a:pt x="90887" y="6586"/>
                    <a:pt x="91608" y="6586"/>
                  </a:cubicBezTo>
                  <a:cubicBezTo>
                    <a:pt x="91943" y="6586"/>
                    <a:pt x="92297" y="6525"/>
                    <a:pt x="92664" y="6427"/>
                  </a:cubicBezTo>
                  <a:cubicBezTo>
                    <a:pt x="93037" y="6322"/>
                    <a:pt x="93404" y="6272"/>
                    <a:pt x="93755" y="6272"/>
                  </a:cubicBezTo>
                  <a:cubicBezTo>
                    <a:pt x="95314" y="6272"/>
                    <a:pt x="96561" y="7243"/>
                    <a:pt x="96518" y="8639"/>
                  </a:cubicBezTo>
                  <a:cubicBezTo>
                    <a:pt x="96501" y="9123"/>
                    <a:pt x="96000" y="9710"/>
                    <a:pt x="96155" y="10073"/>
                  </a:cubicBezTo>
                  <a:cubicBezTo>
                    <a:pt x="96656" y="11300"/>
                    <a:pt x="95758" y="12302"/>
                    <a:pt x="95378" y="13045"/>
                  </a:cubicBezTo>
                  <a:cubicBezTo>
                    <a:pt x="94393" y="15016"/>
                    <a:pt x="93649" y="16709"/>
                    <a:pt x="95412" y="18541"/>
                  </a:cubicBezTo>
                  <a:cubicBezTo>
                    <a:pt x="95602" y="18714"/>
                    <a:pt x="95723" y="18938"/>
                    <a:pt x="95758" y="19180"/>
                  </a:cubicBezTo>
                  <a:cubicBezTo>
                    <a:pt x="95810" y="21358"/>
                    <a:pt x="97901" y="20788"/>
                    <a:pt x="99007" y="21479"/>
                  </a:cubicBezTo>
                  <a:cubicBezTo>
                    <a:pt x="99192" y="21597"/>
                    <a:pt x="99367" y="21648"/>
                    <a:pt x="99531" y="21648"/>
                  </a:cubicBezTo>
                  <a:cubicBezTo>
                    <a:pt x="100207" y="21648"/>
                    <a:pt x="100708" y="20784"/>
                    <a:pt x="101098" y="20200"/>
                  </a:cubicBezTo>
                  <a:cubicBezTo>
                    <a:pt x="102256" y="18472"/>
                    <a:pt x="104088" y="17055"/>
                    <a:pt x="105729" y="16536"/>
                  </a:cubicBezTo>
                  <a:cubicBezTo>
                    <a:pt x="109220" y="15396"/>
                    <a:pt x="112486" y="13547"/>
                    <a:pt x="116254" y="13115"/>
                  </a:cubicBezTo>
                  <a:cubicBezTo>
                    <a:pt x="117965" y="12907"/>
                    <a:pt x="119935" y="12320"/>
                    <a:pt x="120021" y="9883"/>
                  </a:cubicBezTo>
                  <a:cubicBezTo>
                    <a:pt x="120021" y="9693"/>
                    <a:pt x="120349" y="9485"/>
                    <a:pt x="120557" y="9330"/>
                  </a:cubicBezTo>
                  <a:cubicBezTo>
                    <a:pt x="121663" y="8552"/>
                    <a:pt x="123132" y="8034"/>
                    <a:pt x="122631" y="6202"/>
                  </a:cubicBezTo>
                  <a:cubicBezTo>
                    <a:pt x="122594" y="6055"/>
                    <a:pt x="122626" y="6020"/>
                    <a:pt x="122682" y="6020"/>
                  </a:cubicBezTo>
                  <a:cubicBezTo>
                    <a:pt x="122731" y="6020"/>
                    <a:pt x="122799" y="6046"/>
                    <a:pt x="122855" y="6046"/>
                  </a:cubicBezTo>
                  <a:cubicBezTo>
                    <a:pt x="122928" y="6051"/>
                    <a:pt x="122998" y="6053"/>
                    <a:pt x="123064" y="6053"/>
                  </a:cubicBezTo>
                  <a:cubicBezTo>
                    <a:pt x="124269" y="6053"/>
                    <a:pt x="124381" y="5321"/>
                    <a:pt x="123840" y="4387"/>
                  </a:cubicBezTo>
                  <a:cubicBezTo>
                    <a:pt x="123581" y="3921"/>
                    <a:pt x="123875" y="3955"/>
                    <a:pt x="124048" y="3817"/>
                  </a:cubicBezTo>
                  <a:cubicBezTo>
                    <a:pt x="125240" y="2867"/>
                    <a:pt x="126640" y="2728"/>
                    <a:pt x="128092" y="2659"/>
                  </a:cubicBezTo>
                  <a:cubicBezTo>
                    <a:pt x="128575" y="2625"/>
                    <a:pt x="129180" y="2521"/>
                    <a:pt x="129249" y="1934"/>
                  </a:cubicBezTo>
                  <a:cubicBezTo>
                    <a:pt x="129301" y="1363"/>
                    <a:pt x="128714" y="1242"/>
                    <a:pt x="128299" y="1190"/>
                  </a:cubicBezTo>
                  <a:cubicBezTo>
                    <a:pt x="125707" y="948"/>
                    <a:pt x="123132" y="430"/>
                    <a:pt x="120557" y="171"/>
                  </a:cubicBezTo>
                  <a:cubicBezTo>
                    <a:pt x="119360" y="50"/>
                    <a:pt x="118163" y="0"/>
                    <a:pt x="1169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7" name="Google Shape;3567;p53"/>
            <p:cNvSpPr/>
            <p:nvPr/>
          </p:nvSpPr>
          <p:spPr>
            <a:xfrm>
              <a:off x="1581325" y="1051125"/>
              <a:ext cx="283000" cy="91675"/>
            </a:xfrm>
            <a:custGeom>
              <a:avLst/>
              <a:gdLst/>
              <a:ahLst/>
              <a:cxnLst/>
              <a:rect l="l" t="t" r="r" b="b"/>
              <a:pathLst>
                <a:path w="11320" h="3667" extrusionOk="0">
                  <a:moveTo>
                    <a:pt x="6214" y="0"/>
                  </a:moveTo>
                  <a:cubicBezTo>
                    <a:pt x="5926" y="0"/>
                    <a:pt x="5584" y="48"/>
                    <a:pt x="5219" y="71"/>
                  </a:cubicBezTo>
                  <a:cubicBezTo>
                    <a:pt x="5082" y="56"/>
                    <a:pt x="4943" y="49"/>
                    <a:pt x="4804" y="49"/>
                  </a:cubicBezTo>
                  <a:cubicBezTo>
                    <a:pt x="3493" y="49"/>
                    <a:pt x="2115" y="667"/>
                    <a:pt x="709" y="1073"/>
                  </a:cubicBezTo>
                  <a:cubicBezTo>
                    <a:pt x="432" y="1177"/>
                    <a:pt x="208" y="1401"/>
                    <a:pt x="69" y="1678"/>
                  </a:cubicBezTo>
                  <a:cubicBezTo>
                    <a:pt x="0" y="1781"/>
                    <a:pt x="242" y="2213"/>
                    <a:pt x="363" y="2231"/>
                  </a:cubicBezTo>
                  <a:cubicBezTo>
                    <a:pt x="2163" y="2438"/>
                    <a:pt x="3786" y="3667"/>
                    <a:pt x="5640" y="3667"/>
                  </a:cubicBezTo>
                  <a:cubicBezTo>
                    <a:pt x="6100" y="3667"/>
                    <a:pt x="6574" y="3591"/>
                    <a:pt x="7068" y="3406"/>
                  </a:cubicBezTo>
                  <a:cubicBezTo>
                    <a:pt x="7396" y="3281"/>
                    <a:pt x="7767" y="3236"/>
                    <a:pt x="8142" y="3236"/>
                  </a:cubicBezTo>
                  <a:cubicBezTo>
                    <a:pt x="8439" y="3236"/>
                    <a:pt x="8738" y="3264"/>
                    <a:pt x="9021" y="3302"/>
                  </a:cubicBezTo>
                  <a:cubicBezTo>
                    <a:pt x="9277" y="3340"/>
                    <a:pt x="9523" y="3370"/>
                    <a:pt x="9759" y="3370"/>
                  </a:cubicBezTo>
                  <a:cubicBezTo>
                    <a:pt x="10271" y="3370"/>
                    <a:pt x="10728" y="3229"/>
                    <a:pt x="11095" y="2732"/>
                  </a:cubicBezTo>
                  <a:cubicBezTo>
                    <a:pt x="11320" y="2473"/>
                    <a:pt x="11268" y="2075"/>
                    <a:pt x="10991" y="1885"/>
                  </a:cubicBezTo>
                  <a:cubicBezTo>
                    <a:pt x="10479" y="1524"/>
                    <a:pt x="10006" y="1077"/>
                    <a:pt x="9430" y="1077"/>
                  </a:cubicBezTo>
                  <a:cubicBezTo>
                    <a:pt x="9151" y="1077"/>
                    <a:pt x="8847" y="1182"/>
                    <a:pt x="8503" y="1453"/>
                  </a:cubicBezTo>
                  <a:cubicBezTo>
                    <a:pt x="8280" y="1626"/>
                    <a:pt x="7919" y="1737"/>
                    <a:pt x="7612" y="1737"/>
                  </a:cubicBezTo>
                  <a:cubicBezTo>
                    <a:pt x="7277" y="1737"/>
                    <a:pt x="7006" y="1605"/>
                    <a:pt x="7051" y="1280"/>
                  </a:cubicBezTo>
                  <a:cubicBezTo>
                    <a:pt x="7179" y="207"/>
                    <a:pt x="6812" y="0"/>
                    <a:pt x="62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8" name="Google Shape;3568;p53"/>
            <p:cNvSpPr/>
            <p:nvPr/>
          </p:nvSpPr>
          <p:spPr>
            <a:xfrm>
              <a:off x="3144425" y="1319375"/>
              <a:ext cx="213450" cy="95575"/>
            </a:xfrm>
            <a:custGeom>
              <a:avLst/>
              <a:gdLst/>
              <a:ahLst/>
              <a:cxnLst/>
              <a:rect l="l" t="t" r="r" b="b"/>
              <a:pathLst>
                <a:path w="8538" h="3823" extrusionOk="0">
                  <a:moveTo>
                    <a:pt x="6155" y="1"/>
                  </a:moveTo>
                  <a:cubicBezTo>
                    <a:pt x="6054" y="1"/>
                    <a:pt x="5950" y="7"/>
                    <a:pt x="5842" y="20"/>
                  </a:cubicBezTo>
                  <a:cubicBezTo>
                    <a:pt x="4846" y="139"/>
                    <a:pt x="3874" y="469"/>
                    <a:pt x="2859" y="469"/>
                  </a:cubicBezTo>
                  <a:cubicBezTo>
                    <a:pt x="2396" y="469"/>
                    <a:pt x="1923" y="400"/>
                    <a:pt x="1435" y="211"/>
                  </a:cubicBezTo>
                  <a:cubicBezTo>
                    <a:pt x="1292" y="150"/>
                    <a:pt x="1133" y="113"/>
                    <a:pt x="974" y="113"/>
                  </a:cubicBezTo>
                  <a:cubicBezTo>
                    <a:pt x="501" y="113"/>
                    <a:pt x="35" y="441"/>
                    <a:pt x="35" y="1438"/>
                  </a:cubicBezTo>
                  <a:cubicBezTo>
                    <a:pt x="1" y="3771"/>
                    <a:pt x="1573" y="3580"/>
                    <a:pt x="3025" y="3822"/>
                  </a:cubicBezTo>
                  <a:cubicBezTo>
                    <a:pt x="4338" y="3753"/>
                    <a:pt x="5617" y="3408"/>
                    <a:pt x="6792" y="2837"/>
                  </a:cubicBezTo>
                  <a:cubicBezTo>
                    <a:pt x="7415" y="2526"/>
                    <a:pt x="8538" y="2474"/>
                    <a:pt x="8192" y="1541"/>
                  </a:cubicBezTo>
                  <a:cubicBezTo>
                    <a:pt x="7892" y="720"/>
                    <a:pt x="7218" y="1"/>
                    <a:pt x="61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9" name="Google Shape;3569;p53"/>
            <p:cNvSpPr/>
            <p:nvPr/>
          </p:nvSpPr>
          <p:spPr>
            <a:xfrm>
              <a:off x="1453000" y="2509000"/>
              <a:ext cx="263575" cy="113100"/>
            </a:xfrm>
            <a:custGeom>
              <a:avLst/>
              <a:gdLst/>
              <a:ahLst/>
              <a:cxnLst/>
              <a:rect l="l" t="t" r="r" b="b"/>
              <a:pathLst>
                <a:path w="10543" h="4524" extrusionOk="0">
                  <a:moveTo>
                    <a:pt x="3451" y="1"/>
                  </a:moveTo>
                  <a:cubicBezTo>
                    <a:pt x="2445" y="1"/>
                    <a:pt x="1486" y="228"/>
                    <a:pt x="761" y="702"/>
                  </a:cubicBezTo>
                  <a:cubicBezTo>
                    <a:pt x="398" y="927"/>
                    <a:pt x="1" y="1186"/>
                    <a:pt x="243" y="1687"/>
                  </a:cubicBezTo>
                  <a:cubicBezTo>
                    <a:pt x="390" y="1972"/>
                    <a:pt x="609" y="2083"/>
                    <a:pt x="855" y="2083"/>
                  </a:cubicBezTo>
                  <a:cubicBezTo>
                    <a:pt x="1012" y="2083"/>
                    <a:pt x="1180" y="2038"/>
                    <a:pt x="1349" y="1964"/>
                  </a:cubicBezTo>
                  <a:cubicBezTo>
                    <a:pt x="1677" y="1828"/>
                    <a:pt x="1990" y="1776"/>
                    <a:pt x="2298" y="1776"/>
                  </a:cubicBezTo>
                  <a:cubicBezTo>
                    <a:pt x="2932" y="1776"/>
                    <a:pt x="3543" y="1997"/>
                    <a:pt x="4217" y="2171"/>
                  </a:cubicBezTo>
                  <a:cubicBezTo>
                    <a:pt x="5708" y="2540"/>
                    <a:pt x="6405" y="4523"/>
                    <a:pt x="7868" y="4523"/>
                  </a:cubicBezTo>
                  <a:cubicBezTo>
                    <a:pt x="8118" y="4523"/>
                    <a:pt x="8391" y="4465"/>
                    <a:pt x="8693" y="4332"/>
                  </a:cubicBezTo>
                  <a:cubicBezTo>
                    <a:pt x="8824" y="4337"/>
                    <a:pt x="8947" y="4340"/>
                    <a:pt x="9062" y="4340"/>
                  </a:cubicBezTo>
                  <a:cubicBezTo>
                    <a:pt x="10032" y="4340"/>
                    <a:pt x="10475" y="4144"/>
                    <a:pt x="10491" y="3727"/>
                  </a:cubicBezTo>
                  <a:cubicBezTo>
                    <a:pt x="10542" y="2897"/>
                    <a:pt x="9817" y="2724"/>
                    <a:pt x="9264" y="2517"/>
                  </a:cubicBezTo>
                  <a:cubicBezTo>
                    <a:pt x="8711" y="2292"/>
                    <a:pt x="8209" y="1964"/>
                    <a:pt x="7777" y="1567"/>
                  </a:cubicBezTo>
                  <a:cubicBezTo>
                    <a:pt x="6685" y="547"/>
                    <a:pt x="5011" y="1"/>
                    <a:pt x="34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0" name="Google Shape;3570;p53"/>
            <p:cNvSpPr/>
            <p:nvPr/>
          </p:nvSpPr>
          <p:spPr>
            <a:xfrm>
              <a:off x="1880725" y="1020350"/>
              <a:ext cx="162025" cy="112025"/>
            </a:xfrm>
            <a:custGeom>
              <a:avLst/>
              <a:gdLst/>
              <a:ahLst/>
              <a:cxnLst/>
              <a:rect l="l" t="t" r="r" b="b"/>
              <a:pathLst>
                <a:path w="6481" h="4481" extrusionOk="0">
                  <a:moveTo>
                    <a:pt x="4294" y="0"/>
                  </a:moveTo>
                  <a:cubicBezTo>
                    <a:pt x="4062" y="0"/>
                    <a:pt x="3818" y="44"/>
                    <a:pt x="3560" y="144"/>
                  </a:cubicBezTo>
                  <a:cubicBezTo>
                    <a:pt x="3094" y="317"/>
                    <a:pt x="2593" y="541"/>
                    <a:pt x="2886" y="1198"/>
                  </a:cubicBezTo>
                  <a:cubicBezTo>
                    <a:pt x="3042" y="1509"/>
                    <a:pt x="3232" y="1820"/>
                    <a:pt x="3457" y="2114"/>
                  </a:cubicBezTo>
                  <a:cubicBezTo>
                    <a:pt x="3147" y="2260"/>
                    <a:pt x="2851" y="2348"/>
                    <a:pt x="2545" y="2348"/>
                  </a:cubicBezTo>
                  <a:cubicBezTo>
                    <a:pt x="2270" y="2348"/>
                    <a:pt x="1987" y="2277"/>
                    <a:pt x="1677" y="2114"/>
                  </a:cubicBezTo>
                  <a:cubicBezTo>
                    <a:pt x="1531" y="2037"/>
                    <a:pt x="1393" y="2002"/>
                    <a:pt x="1262" y="2002"/>
                  </a:cubicBezTo>
                  <a:cubicBezTo>
                    <a:pt x="867" y="2002"/>
                    <a:pt x="545" y="2320"/>
                    <a:pt x="311" y="2736"/>
                  </a:cubicBezTo>
                  <a:cubicBezTo>
                    <a:pt x="0" y="3289"/>
                    <a:pt x="467" y="3479"/>
                    <a:pt x="813" y="3807"/>
                  </a:cubicBezTo>
                  <a:cubicBezTo>
                    <a:pt x="1327" y="4309"/>
                    <a:pt x="1837" y="4480"/>
                    <a:pt x="2344" y="4480"/>
                  </a:cubicBezTo>
                  <a:cubicBezTo>
                    <a:pt x="3164" y="4480"/>
                    <a:pt x="3976" y="4032"/>
                    <a:pt x="4787" y="3807"/>
                  </a:cubicBezTo>
                  <a:lnTo>
                    <a:pt x="5081" y="3514"/>
                  </a:lnTo>
                  <a:cubicBezTo>
                    <a:pt x="5237" y="2788"/>
                    <a:pt x="5098" y="1924"/>
                    <a:pt x="6204" y="1734"/>
                  </a:cubicBezTo>
                  <a:cubicBezTo>
                    <a:pt x="6464" y="1699"/>
                    <a:pt x="6481" y="1129"/>
                    <a:pt x="6222" y="921"/>
                  </a:cubicBezTo>
                  <a:cubicBezTo>
                    <a:pt x="5644" y="436"/>
                    <a:pt x="5027" y="0"/>
                    <a:pt x="42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1" name="Google Shape;3571;p53"/>
            <p:cNvSpPr/>
            <p:nvPr/>
          </p:nvSpPr>
          <p:spPr>
            <a:xfrm>
              <a:off x="1688900" y="2603450"/>
              <a:ext cx="165050" cy="73950"/>
            </a:xfrm>
            <a:custGeom>
              <a:avLst/>
              <a:gdLst/>
              <a:ahLst/>
              <a:cxnLst/>
              <a:rect l="l" t="t" r="r" b="b"/>
              <a:pathLst>
                <a:path w="6602" h="2958" extrusionOk="0">
                  <a:moveTo>
                    <a:pt x="2842" y="0"/>
                  </a:moveTo>
                  <a:cubicBezTo>
                    <a:pt x="2588" y="0"/>
                    <a:pt x="2332" y="28"/>
                    <a:pt x="2074" y="87"/>
                  </a:cubicBezTo>
                  <a:cubicBezTo>
                    <a:pt x="1452" y="225"/>
                    <a:pt x="1055" y="1331"/>
                    <a:pt x="225" y="1694"/>
                  </a:cubicBezTo>
                  <a:cubicBezTo>
                    <a:pt x="0" y="1798"/>
                    <a:pt x="277" y="2247"/>
                    <a:pt x="536" y="2454"/>
                  </a:cubicBezTo>
                  <a:cubicBezTo>
                    <a:pt x="957" y="2789"/>
                    <a:pt x="2162" y="2958"/>
                    <a:pt x="3373" y="2958"/>
                  </a:cubicBezTo>
                  <a:cubicBezTo>
                    <a:pt x="4599" y="2958"/>
                    <a:pt x="5830" y="2785"/>
                    <a:pt x="6256" y="2437"/>
                  </a:cubicBezTo>
                  <a:cubicBezTo>
                    <a:pt x="6395" y="2282"/>
                    <a:pt x="6515" y="2109"/>
                    <a:pt x="6602" y="1919"/>
                  </a:cubicBezTo>
                  <a:cubicBezTo>
                    <a:pt x="6481" y="1711"/>
                    <a:pt x="6429" y="1469"/>
                    <a:pt x="6291" y="1366"/>
                  </a:cubicBezTo>
                  <a:cubicBezTo>
                    <a:pt x="5231" y="636"/>
                    <a:pt x="4065" y="0"/>
                    <a:pt x="28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2" name="Google Shape;3572;p53"/>
            <p:cNvSpPr/>
            <p:nvPr/>
          </p:nvSpPr>
          <p:spPr>
            <a:xfrm>
              <a:off x="1922200" y="1344925"/>
              <a:ext cx="129625" cy="64525"/>
            </a:xfrm>
            <a:custGeom>
              <a:avLst/>
              <a:gdLst/>
              <a:ahLst/>
              <a:cxnLst/>
              <a:rect l="l" t="t" r="r" b="b"/>
              <a:pathLst>
                <a:path w="5185" h="2581" extrusionOk="0">
                  <a:moveTo>
                    <a:pt x="1901" y="1"/>
                  </a:moveTo>
                  <a:lnTo>
                    <a:pt x="1227" y="467"/>
                  </a:lnTo>
                  <a:cubicBezTo>
                    <a:pt x="934" y="1020"/>
                    <a:pt x="0" y="1383"/>
                    <a:pt x="415" y="2144"/>
                  </a:cubicBezTo>
                  <a:cubicBezTo>
                    <a:pt x="602" y="2475"/>
                    <a:pt x="838" y="2581"/>
                    <a:pt x="1096" y="2581"/>
                  </a:cubicBezTo>
                  <a:cubicBezTo>
                    <a:pt x="1482" y="2581"/>
                    <a:pt x="1915" y="2344"/>
                    <a:pt x="2299" y="2282"/>
                  </a:cubicBezTo>
                  <a:cubicBezTo>
                    <a:pt x="2552" y="2236"/>
                    <a:pt x="2806" y="2213"/>
                    <a:pt x="3064" y="2213"/>
                  </a:cubicBezTo>
                  <a:cubicBezTo>
                    <a:pt x="3194" y="2213"/>
                    <a:pt x="3324" y="2219"/>
                    <a:pt x="3457" y="2230"/>
                  </a:cubicBezTo>
                  <a:cubicBezTo>
                    <a:pt x="3730" y="2245"/>
                    <a:pt x="4039" y="2324"/>
                    <a:pt x="4314" y="2324"/>
                  </a:cubicBezTo>
                  <a:cubicBezTo>
                    <a:pt x="4665" y="2324"/>
                    <a:pt x="4959" y="2195"/>
                    <a:pt x="5047" y="1643"/>
                  </a:cubicBezTo>
                  <a:cubicBezTo>
                    <a:pt x="5185" y="744"/>
                    <a:pt x="4563" y="277"/>
                    <a:pt x="3768" y="122"/>
                  </a:cubicBezTo>
                  <a:cubicBezTo>
                    <a:pt x="3146" y="35"/>
                    <a:pt x="2523" y="1"/>
                    <a:pt x="190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3" name="Google Shape;3573;p53"/>
            <p:cNvSpPr/>
            <p:nvPr/>
          </p:nvSpPr>
          <p:spPr>
            <a:xfrm>
              <a:off x="1787825" y="1030550"/>
              <a:ext cx="94250" cy="44825"/>
            </a:xfrm>
            <a:custGeom>
              <a:avLst/>
              <a:gdLst/>
              <a:ahLst/>
              <a:cxnLst/>
              <a:rect l="l" t="t" r="r" b="b"/>
              <a:pathLst>
                <a:path w="3770" h="1793" extrusionOk="0">
                  <a:moveTo>
                    <a:pt x="2929" y="0"/>
                  </a:moveTo>
                  <a:cubicBezTo>
                    <a:pt x="2800" y="0"/>
                    <a:pt x="2676" y="17"/>
                    <a:pt x="2576" y="47"/>
                  </a:cubicBezTo>
                  <a:cubicBezTo>
                    <a:pt x="2412" y="93"/>
                    <a:pt x="2229" y="105"/>
                    <a:pt x="2039" y="105"/>
                  </a:cubicBezTo>
                  <a:cubicBezTo>
                    <a:pt x="1817" y="105"/>
                    <a:pt x="1584" y="88"/>
                    <a:pt x="1360" y="88"/>
                  </a:cubicBezTo>
                  <a:cubicBezTo>
                    <a:pt x="763" y="88"/>
                    <a:pt x="227" y="208"/>
                    <a:pt x="105" y="1084"/>
                  </a:cubicBezTo>
                  <a:cubicBezTo>
                    <a:pt x="1" y="1792"/>
                    <a:pt x="865" y="1688"/>
                    <a:pt x="1504" y="1740"/>
                  </a:cubicBezTo>
                  <a:cubicBezTo>
                    <a:pt x="2265" y="1568"/>
                    <a:pt x="3405" y="1792"/>
                    <a:pt x="3665" y="652"/>
                  </a:cubicBezTo>
                  <a:cubicBezTo>
                    <a:pt x="3769" y="167"/>
                    <a:pt x="3329" y="0"/>
                    <a:pt x="29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4" name="Google Shape;3574;p53"/>
            <p:cNvSpPr/>
            <p:nvPr/>
          </p:nvSpPr>
          <p:spPr>
            <a:xfrm>
              <a:off x="1870350" y="2639275"/>
              <a:ext cx="59225" cy="44325"/>
            </a:xfrm>
            <a:custGeom>
              <a:avLst/>
              <a:gdLst/>
              <a:ahLst/>
              <a:cxnLst/>
              <a:rect l="l" t="t" r="r" b="b"/>
              <a:pathLst>
                <a:path w="2369" h="1773" extrusionOk="0">
                  <a:moveTo>
                    <a:pt x="922" y="1"/>
                  </a:moveTo>
                  <a:cubicBezTo>
                    <a:pt x="435" y="1"/>
                    <a:pt x="1" y="156"/>
                    <a:pt x="1" y="762"/>
                  </a:cubicBezTo>
                  <a:cubicBezTo>
                    <a:pt x="1" y="1414"/>
                    <a:pt x="337" y="1773"/>
                    <a:pt x="982" y="1773"/>
                  </a:cubicBezTo>
                  <a:cubicBezTo>
                    <a:pt x="1038" y="1773"/>
                    <a:pt x="1097" y="1770"/>
                    <a:pt x="1158" y="1765"/>
                  </a:cubicBezTo>
                  <a:cubicBezTo>
                    <a:pt x="1711" y="1730"/>
                    <a:pt x="2368" y="1678"/>
                    <a:pt x="2299" y="901"/>
                  </a:cubicBezTo>
                  <a:cubicBezTo>
                    <a:pt x="2264" y="175"/>
                    <a:pt x="1642" y="2"/>
                    <a:pt x="1003" y="2"/>
                  </a:cubicBezTo>
                  <a:cubicBezTo>
                    <a:pt x="976" y="1"/>
                    <a:pt x="949" y="1"/>
                    <a:pt x="9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5" name="Google Shape;3575;p53"/>
            <p:cNvSpPr/>
            <p:nvPr/>
          </p:nvSpPr>
          <p:spPr>
            <a:xfrm>
              <a:off x="2264800" y="4630125"/>
              <a:ext cx="62675" cy="39225"/>
            </a:xfrm>
            <a:custGeom>
              <a:avLst/>
              <a:gdLst/>
              <a:ahLst/>
              <a:cxnLst/>
              <a:rect l="l" t="t" r="r" b="b"/>
              <a:pathLst>
                <a:path w="2507" h="1569" extrusionOk="0">
                  <a:moveTo>
                    <a:pt x="1176" y="52"/>
                  </a:moveTo>
                  <a:cubicBezTo>
                    <a:pt x="675" y="87"/>
                    <a:pt x="1" y="1"/>
                    <a:pt x="1" y="813"/>
                  </a:cubicBezTo>
                  <a:cubicBezTo>
                    <a:pt x="1" y="1241"/>
                    <a:pt x="341" y="1568"/>
                    <a:pt x="742" y="1568"/>
                  </a:cubicBezTo>
                  <a:cubicBezTo>
                    <a:pt x="811" y="1568"/>
                    <a:pt x="881" y="1559"/>
                    <a:pt x="951" y="1539"/>
                  </a:cubicBezTo>
                  <a:cubicBezTo>
                    <a:pt x="1077" y="1515"/>
                    <a:pt x="1221" y="1513"/>
                    <a:pt x="1369" y="1513"/>
                  </a:cubicBezTo>
                  <a:cubicBezTo>
                    <a:pt x="1403" y="1513"/>
                    <a:pt x="1437" y="1513"/>
                    <a:pt x="1471" y="1513"/>
                  </a:cubicBezTo>
                  <a:cubicBezTo>
                    <a:pt x="1947" y="1513"/>
                    <a:pt x="2434" y="1491"/>
                    <a:pt x="2472" y="830"/>
                  </a:cubicBezTo>
                  <a:cubicBezTo>
                    <a:pt x="2506" y="52"/>
                    <a:pt x="1781" y="87"/>
                    <a:pt x="1176" y="5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6" name="Google Shape;3576;p53"/>
            <p:cNvSpPr/>
            <p:nvPr/>
          </p:nvSpPr>
          <p:spPr>
            <a:xfrm>
              <a:off x="1604225" y="2645350"/>
              <a:ext cx="56175" cy="38275"/>
            </a:xfrm>
            <a:custGeom>
              <a:avLst/>
              <a:gdLst/>
              <a:ahLst/>
              <a:cxnLst/>
              <a:rect l="l" t="t" r="r" b="b"/>
              <a:pathLst>
                <a:path w="2247" h="1531" extrusionOk="0">
                  <a:moveTo>
                    <a:pt x="1003" y="1"/>
                  </a:moveTo>
                  <a:cubicBezTo>
                    <a:pt x="536" y="35"/>
                    <a:pt x="0" y="1"/>
                    <a:pt x="17" y="554"/>
                  </a:cubicBezTo>
                  <a:cubicBezTo>
                    <a:pt x="17" y="1297"/>
                    <a:pt x="640" y="1452"/>
                    <a:pt x="1262" y="1522"/>
                  </a:cubicBezTo>
                  <a:cubicBezTo>
                    <a:pt x="1319" y="1528"/>
                    <a:pt x="1377" y="1531"/>
                    <a:pt x="1434" y="1531"/>
                  </a:cubicBezTo>
                  <a:cubicBezTo>
                    <a:pt x="1857" y="1531"/>
                    <a:pt x="2247" y="1352"/>
                    <a:pt x="2247" y="865"/>
                  </a:cubicBezTo>
                  <a:cubicBezTo>
                    <a:pt x="2247" y="18"/>
                    <a:pt x="1504" y="139"/>
                    <a:pt x="10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7" name="Google Shape;3577;p53"/>
            <p:cNvSpPr/>
            <p:nvPr/>
          </p:nvSpPr>
          <p:spPr>
            <a:xfrm>
              <a:off x="7045475" y="3384250"/>
              <a:ext cx="47375" cy="53550"/>
            </a:xfrm>
            <a:custGeom>
              <a:avLst/>
              <a:gdLst/>
              <a:ahLst/>
              <a:cxnLst/>
              <a:rect l="l" t="t" r="r" b="b"/>
              <a:pathLst>
                <a:path w="1895" h="2142" extrusionOk="0">
                  <a:moveTo>
                    <a:pt x="416" y="1"/>
                  </a:moveTo>
                  <a:cubicBezTo>
                    <a:pt x="93" y="1"/>
                    <a:pt x="0" y="338"/>
                    <a:pt x="63" y="618"/>
                  </a:cubicBezTo>
                  <a:cubicBezTo>
                    <a:pt x="201" y="1292"/>
                    <a:pt x="339" y="2035"/>
                    <a:pt x="1203" y="2139"/>
                  </a:cubicBezTo>
                  <a:cubicBezTo>
                    <a:pt x="1224" y="2141"/>
                    <a:pt x="1245" y="2142"/>
                    <a:pt x="1265" y="2142"/>
                  </a:cubicBezTo>
                  <a:cubicBezTo>
                    <a:pt x="1645" y="2142"/>
                    <a:pt x="1895" y="1835"/>
                    <a:pt x="1895" y="1327"/>
                  </a:cubicBezTo>
                  <a:cubicBezTo>
                    <a:pt x="1670" y="705"/>
                    <a:pt x="1273" y="169"/>
                    <a:pt x="529" y="13"/>
                  </a:cubicBezTo>
                  <a:cubicBezTo>
                    <a:pt x="489" y="5"/>
                    <a:pt x="451" y="1"/>
                    <a:pt x="41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8" name="Google Shape;3578;p53"/>
            <p:cNvSpPr/>
            <p:nvPr/>
          </p:nvSpPr>
          <p:spPr>
            <a:xfrm>
              <a:off x="4291500" y="1250400"/>
              <a:ext cx="54900" cy="37900"/>
            </a:xfrm>
            <a:custGeom>
              <a:avLst/>
              <a:gdLst/>
              <a:ahLst/>
              <a:cxnLst/>
              <a:rect l="l" t="t" r="r" b="b"/>
              <a:pathLst>
                <a:path w="2196" h="1516" extrusionOk="0">
                  <a:moveTo>
                    <a:pt x="1013" y="0"/>
                  </a:moveTo>
                  <a:cubicBezTo>
                    <a:pt x="676" y="0"/>
                    <a:pt x="369" y="181"/>
                    <a:pt x="190" y="464"/>
                  </a:cubicBezTo>
                  <a:cubicBezTo>
                    <a:pt x="0" y="706"/>
                    <a:pt x="35" y="1034"/>
                    <a:pt x="259" y="1224"/>
                  </a:cubicBezTo>
                  <a:cubicBezTo>
                    <a:pt x="466" y="1444"/>
                    <a:pt x="678" y="1515"/>
                    <a:pt x="892" y="1515"/>
                  </a:cubicBezTo>
                  <a:cubicBezTo>
                    <a:pt x="1233" y="1515"/>
                    <a:pt x="1579" y="1336"/>
                    <a:pt x="1919" y="1293"/>
                  </a:cubicBezTo>
                  <a:cubicBezTo>
                    <a:pt x="2195" y="567"/>
                    <a:pt x="1901" y="153"/>
                    <a:pt x="1175" y="14"/>
                  </a:cubicBezTo>
                  <a:cubicBezTo>
                    <a:pt x="1121" y="5"/>
                    <a:pt x="1066" y="0"/>
                    <a:pt x="101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9" name="Google Shape;3579;p53"/>
            <p:cNvSpPr/>
            <p:nvPr/>
          </p:nvSpPr>
          <p:spPr>
            <a:xfrm>
              <a:off x="6323375" y="3314875"/>
              <a:ext cx="50125" cy="37325"/>
            </a:xfrm>
            <a:custGeom>
              <a:avLst/>
              <a:gdLst/>
              <a:ahLst/>
              <a:cxnLst/>
              <a:rect l="l" t="t" r="r" b="b"/>
              <a:pathLst>
                <a:path w="2005" h="1493" extrusionOk="0">
                  <a:moveTo>
                    <a:pt x="754" y="1"/>
                  </a:moveTo>
                  <a:cubicBezTo>
                    <a:pt x="409" y="1"/>
                    <a:pt x="93" y="129"/>
                    <a:pt x="52" y="542"/>
                  </a:cubicBezTo>
                  <a:cubicBezTo>
                    <a:pt x="0" y="1198"/>
                    <a:pt x="536" y="1371"/>
                    <a:pt x="1106" y="1492"/>
                  </a:cubicBezTo>
                  <a:cubicBezTo>
                    <a:pt x="1504" y="1475"/>
                    <a:pt x="1988" y="1440"/>
                    <a:pt x="1988" y="905"/>
                  </a:cubicBezTo>
                  <a:cubicBezTo>
                    <a:pt x="2005" y="317"/>
                    <a:pt x="1504" y="110"/>
                    <a:pt x="1020" y="23"/>
                  </a:cubicBezTo>
                  <a:cubicBezTo>
                    <a:pt x="932" y="9"/>
                    <a:pt x="842" y="1"/>
                    <a:pt x="7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0" name="Google Shape;3580;p53"/>
            <p:cNvSpPr/>
            <p:nvPr/>
          </p:nvSpPr>
          <p:spPr>
            <a:xfrm>
              <a:off x="6680225" y="1890750"/>
              <a:ext cx="46075" cy="42200"/>
            </a:xfrm>
            <a:custGeom>
              <a:avLst/>
              <a:gdLst/>
              <a:ahLst/>
              <a:cxnLst/>
              <a:rect l="l" t="t" r="r" b="b"/>
              <a:pathLst>
                <a:path w="1843" h="1688" extrusionOk="0">
                  <a:moveTo>
                    <a:pt x="1376" y="1"/>
                  </a:moveTo>
                  <a:cubicBezTo>
                    <a:pt x="1345" y="1"/>
                    <a:pt x="1312" y="4"/>
                    <a:pt x="1280" y="11"/>
                  </a:cubicBezTo>
                  <a:cubicBezTo>
                    <a:pt x="675" y="29"/>
                    <a:pt x="156" y="478"/>
                    <a:pt x="70" y="1083"/>
                  </a:cubicBezTo>
                  <a:cubicBezTo>
                    <a:pt x="1" y="1446"/>
                    <a:pt x="208" y="1670"/>
                    <a:pt x="675" y="1688"/>
                  </a:cubicBezTo>
                  <a:cubicBezTo>
                    <a:pt x="1193" y="1480"/>
                    <a:pt x="1643" y="1135"/>
                    <a:pt x="1781" y="513"/>
                  </a:cubicBezTo>
                  <a:cubicBezTo>
                    <a:pt x="1843" y="250"/>
                    <a:pt x="1642" y="1"/>
                    <a:pt x="13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1" name="Google Shape;3581;p53"/>
            <p:cNvSpPr/>
            <p:nvPr/>
          </p:nvSpPr>
          <p:spPr>
            <a:xfrm>
              <a:off x="3550975" y="1955400"/>
              <a:ext cx="53600" cy="126175"/>
            </a:xfrm>
            <a:custGeom>
              <a:avLst/>
              <a:gdLst/>
              <a:ahLst/>
              <a:cxnLst/>
              <a:rect l="l" t="t" r="r" b="b"/>
              <a:pathLst>
                <a:path w="2144" h="5047" extrusionOk="0">
                  <a:moveTo>
                    <a:pt x="1297" y="0"/>
                  </a:moveTo>
                  <a:cubicBezTo>
                    <a:pt x="778" y="0"/>
                    <a:pt x="260" y="363"/>
                    <a:pt x="364" y="795"/>
                  </a:cubicBezTo>
                  <a:cubicBezTo>
                    <a:pt x="640" y="1850"/>
                    <a:pt x="122" y="2731"/>
                    <a:pt x="1" y="3491"/>
                  </a:cubicBezTo>
                  <a:cubicBezTo>
                    <a:pt x="70" y="4338"/>
                    <a:pt x="1" y="5047"/>
                    <a:pt x="951" y="5047"/>
                  </a:cubicBezTo>
                  <a:cubicBezTo>
                    <a:pt x="1781" y="5047"/>
                    <a:pt x="1971" y="4476"/>
                    <a:pt x="2040" y="3785"/>
                  </a:cubicBezTo>
                  <a:cubicBezTo>
                    <a:pt x="2144" y="2748"/>
                    <a:pt x="1642" y="1746"/>
                    <a:pt x="1936" y="692"/>
                  </a:cubicBezTo>
                  <a:cubicBezTo>
                    <a:pt x="2023" y="381"/>
                    <a:pt x="1712" y="0"/>
                    <a:pt x="12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2" name="Google Shape;3582;p53"/>
            <p:cNvSpPr/>
            <p:nvPr/>
          </p:nvSpPr>
          <p:spPr>
            <a:xfrm>
              <a:off x="3910000" y="2161475"/>
              <a:ext cx="93775" cy="45400"/>
            </a:xfrm>
            <a:custGeom>
              <a:avLst/>
              <a:gdLst/>
              <a:ahLst/>
              <a:cxnLst/>
              <a:rect l="l" t="t" r="r" b="b"/>
              <a:pathLst>
                <a:path w="3751" h="1816" extrusionOk="0">
                  <a:moveTo>
                    <a:pt x="1383" y="1"/>
                  </a:moveTo>
                  <a:cubicBezTo>
                    <a:pt x="778" y="87"/>
                    <a:pt x="1" y="18"/>
                    <a:pt x="122" y="640"/>
                  </a:cubicBezTo>
                  <a:cubicBezTo>
                    <a:pt x="329" y="1625"/>
                    <a:pt x="1297" y="1815"/>
                    <a:pt x="2195" y="1815"/>
                  </a:cubicBezTo>
                  <a:cubicBezTo>
                    <a:pt x="2835" y="1815"/>
                    <a:pt x="3751" y="1712"/>
                    <a:pt x="3613" y="951"/>
                  </a:cubicBezTo>
                  <a:cubicBezTo>
                    <a:pt x="3466" y="240"/>
                    <a:pt x="2970" y="188"/>
                    <a:pt x="2455" y="188"/>
                  </a:cubicBezTo>
                  <a:cubicBezTo>
                    <a:pt x="2366" y="188"/>
                    <a:pt x="2276" y="189"/>
                    <a:pt x="2187" y="189"/>
                  </a:cubicBezTo>
                  <a:cubicBezTo>
                    <a:pt x="1880" y="189"/>
                    <a:pt x="1588" y="170"/>
                    <a:pt x="13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3" name="Google Shape;3583;p53"/>
            <p:cNvSpPr/>
            <p:nvPr/>
          </p:nvSpPr>
          <p:spPr>
            <a:xfrm>
              <a:off x="4125600" y="2173875"/>
              <a:ext cx="50575" cy="37600"/>
            </a:xfrm>
            <a:custGeom>
              <a:avLst/>
              <a:gdLst/>
              <a:ahLst/>
              <a:cxnLst/>
              <a:rect l="l" t="t" r="r" b="b"/>
              <a:pathLst>
                <a:path w="2023" h="1504" extrusionOk="0">
                  <a:moveTo>
                    <a:pt x="1294" y="1"/>
                  </a:moveTo>
                  <a:cubicBezTo>
                    <a:pt x="1249" y="1"/>
                    <a:pt x="1204" y="3"/>
                    <a:pt x="1158" y="6"/>
                  </a:cubicBezTo>
                  <a:cubicBezTo>
                    <a:pt x="691" y="144"/>
                    <a:pt x="0" y="109"/>
                    <a:pt x="17" y="904"/>
                  </a:cubicBezTo>
                  <a:cubicBezTo>
                    <a:pt x="17" y="1352"/>
                    <a:pt x="364" y="1503"/>
                    <a:pt x="748" y="1503"/>
                  </a:cubicBezTo>
                  <a:cubicBezTo>
                    <a:pt x="809" y="1503"/>
                    <a:pt x="872" y="1499"/>
                    <a:pt x="933" y="1492"/>
                  </a:cubicBezTo>
                  <a:cubicBezTo>
                    <a:pt x="1486" y="1440"/>
                    <a:pt x="2022" y="1233"/>
                    <a:pt x="2022" y="593"/>
                  </a:cubicBezTo>
                  <a:cubicBezTo>
                    <a:pt x="2022" y="156"/>
                    <a:pt x="1711" y="1"/>
                    <a:pt x="129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4" name="Google Shape;3584;p53"/>
            <p:cNvSpPr/>
            <p:nvPr/>
          </p:nvSpPr>
          <p:spPr>
            <a:xfrm>
              <a:off x="3415775" y="2038325"/>
              <a:ext cx="44925" cy="38175"/>
            </a:xfrm>
            <a:custGeom>
              <a:avLst/>
              <a:gdLst/>
              <a:ahLst/>
              <a:cxnLst/>
              <a:rect l="l" t="t" r="r" b="b"/>
              <a:pathLst>
                <a:path w="1797" h="1527" extrusionOk="0">
                  <a:moveTo>
                    <a:pt x="812" y="0"/>
                  </a:moveTo>
                  <a:cubicBezTo>
                    <a:pt x="383" y="0"/>
                    <a:pt x="1" y="211"/>
                    <a:pt x="34" y="710"/>
                  </a:cubicBezTo>
                  <a:cubicBezTo>
                    <a:pt x="34" y="1164"/>
                    <a:pt x="400" y="1527"/>
                    <a:pt x="845" y="1527"/>
                  </a:cubicBezTo>
                  <a:cubicBezTo>
                    <a:pt x="874" y="1527"/>
                    <a:pt x="903" y="1525"/>
                    <a:pt x="933" y="1522"/>
                  </a:cubicBezTo>
                  <a:cubicBezTo>
                    <a:pt x="1382" y="1522"/>
                    <a:pt x="1745" y="1315"/>
                    <a:pt x="1797" y="796"/>
                  </a:cubicBezTo>
                  <a:cubicBezTo>
                    <a:pt x="1745" y="226"/>
                    <a:pt x="1330" y="19"/>
                    <a:pt x="864" y="1"/>
                  </a:cubicBezTo>
                  <a:cubicBezTo>
                    <a:pt x="847" y="1"/>
                    <a:pt x="829" y="0"/>
                    <a:pt x="8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85" name="Google Shape;3585;p53"/>
          <p:cNvGrpSpPr/>
          <p:nvPr/>
        </p:nvGrpSpPr>
        <p:grpSpPr>
          <a:xfrm>
            <a:off x="7714435" y="3194726"/>
            <a:ext cx="104231" cy="320340"/>
            <a:chOff x="7564426" y="3224343"/>
            <a:chExt cx="119985" cy="368801"/>
          </a:xfrm>
        </p:grpSpPr>
        <p:sp>
          <p:nvSpPr>
            <p:cNvPr id="3586" name="Google Shape;3586;p53"/>
            <p:cNvSpPr/>
            <p:nvPr/>
          </p:nvSpPr>
          <p:spPr>
            <a:xfrm>
              <a:off x="7564426" y="3224379"/>
              <a:ext cx="119985" cy="368765"/>
            </a:xfrm>
            <a:custGeom>
              <a:avLst/>
              <a:gdLst/>
              <a:ahLst/>
              <a:cxnLst/>
              <a:rect l="l" t="t" r="r" b="b"/>
              <a:pathLst>
                <a:path w="13196" h="40557" extrusionOk="0">
                  <a:moveTo>
                    <a:pt x="2529" y="1"/>
                  </a:moveTo>
                  <a:lnTo>
                    <a:pt x="2547" y="1348"/>
                  </a:lnTo>
                  <a:lnTo>
                    <a:pt x="10244" y="1459"/>
                  </a:lnTo>
                  <a:lnTo>
                    <a:pt x="10227" y="108"/>
                  </a:lnTo>
                  <a:lnTo>
                    <a:pt x="2529" y="1"/>
                  </a:lnTo>
                  <a:close/>
                  <a:moveTo>
                    <a:pt x="3107" y="1850"/>
                  </a:moveTo>
                  <a:lnTo>
                    <a:pt x="556" y="15262"/>
                  </a:lnTo>
                  <a:lnTo>
                    <a:pt x="12617" y="15439"/>
                  </a:lnTo>
                  <a:lnTo>
                    <a:pt x="9489" y="1872"/>
                  </a:lnTo>
                  <a:lnTo>
                    <a:pt x="3107" y="1850"/>
                  </a:lnTo>
                  <a:close/>
                  <a:moveTo>
                    <a:pt x="1" y="15688"/>
                  </a:moveTo>
                  <a:lnTo>
                    <a:pt x="23" y="17035"/>
                  </a:lnTo>
                  <a:lnTo>
                    <a:pt x="13195" y="17226"/>
                  </a:lnTo>
                  <a:lnTo>
                    <a:pt x="13177" y="15879"/>
                  </a:lnTo>
                  <a:lnTo>
                    <a:pt x="1" y="15688"/>
                  </a:lnTo>
                  <a:close/>
                  <a:moveTo>
                    <a:pt x="4658" y="17528"/>
                  </a:moveTo>
                  <a:lnTo>
                    <a:pt x="4658" y="17528"/>
                  </a:lnTo>
                  <a:cubicBezTo>
                    <a:pt x="4685" y="21359"/>
                    <a:pt x="6027" y="32838"/>
                    <a:pt x="6902" y="40557"/>
                  </a:cubicBezTo>
                  <a:cubicBezTo>
                    <a:pt x="6902" y="40557"/>
                    <a:pt x="8813" y="21274"/>
                    <a:pt x="8560" y="17586"/>
                  </a:cubicBezTo>
                  <a:lnTo>
                    <a:pt x="4658" y="17528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7" name="Google Shape;3587;p53"/>
            <p:cNvSpPr/>
            <p:nvPr/>
          </p:nvSpPr>
          <p:spPr>
            <a:xfrm>
              <a:off x="7564426" y="3224343"/>
              <a:ext cx="119985" cy="368801"/>
            </a:xfrm>
            <a:custGeom>
              <a:avLst/>
              <a:gdLst/>
              <a:ahLst/>
              <a:cxnLst/>
              <a:rect l="l" t="t" r="r" b="b"/>
              <a:pathLst>
                <a:path w="13196" h="40561" extrusionOk="0">
                  <a:moveTo>
                    <a:pt x="2529" y="1"/>
                  </a:moveTo>
                  <a:lnTo>
                    <a:pt x="2529" y="5"/>
                  </a:lnTo>
                  <a:lnTo>
                    <a:pt x="2547" y="1352"/>
                  </a:lnTo>
                  <a:lnTo>
                    <a:pt x="10244" y="1463"/>
                  </a:lnTo>
                  <a:lnTo>
                    <a:pt x="10227" y="112"/>
                  </a:lnTo>
                  <a:lnTo>
                    <a:pt x="2529" y="1"/>
                  </a:lnTo>
                  <a:close/>
                  <a:moveTo>
                    <a:pt x="3107" y="1854"/>
                  </a:moveTo>
                  <a:lnTo>
                    <a:pt x="556" y="15266"/>
                  </a:lnTo>
                  <a:lnTo>
                    <a:pt x="12617" y="15443"/>
                  </a:lnTo>
                  <a:lnTo>
                    <a:pt x="9489" y="1876"/>
                  </a:lnTo>
                  <a:lnTo>
                    <a:pt x="3107" y="1854"/>
                  </a:lnTo>
                  <a:close/>
                  <a:moveTo>
                    <a:pt x="1" y="15692"/>
                  </a:moveTo>
                  <a:lnTo>
                    <a:pt x="23" y="17039"/>
                  </a:lnTo>
                  <a:lnTo>
                    <a:pt x="13195" y="17230"/>
                  </a:lnTo>
                  <a:lnTo>
                    <a:pt x="13177" y="15883"/>
                  </a:lnTo>
                  <a:lnTo>
                    <a:pt x="1" y="15692"/>
                  </a:lnTo>
                  <a:close/>
                  <a:moveTo>
                    <a:pt x="4658" y="17532"/>
                  </a:moveTo>
                  <a:lnTo>
                    <a:pt x="4658" y="17532"/>
                  </a:lnTo>
                  <a:cubicBezTo>
                    <a:pt x="4685" y="21363"/>
                    <a:pt x="6027" y="32842"/>
                    <a:pt x="6902" y="40561"/>
                  </a:cubicBezTo>
                  <a:cubicBezTo>
                    <a:pt x="6902" y="40561"/>
                    <a:pt x="8813" y="21278"/>
                    <a:pt x="8560" y="17590"/>
                  </a:cubicBezTo>
                  <a:lnTo>
                    <a:pt x="4658" y="17532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88" name="Google Shape;3588;p53"/>
          <p:cNvGrpSpPr/>
          <p:nvPr/>
        </p:nvGrpSpPr>
        <p:grpSpPr>
          <a:xfrm>
            <a:off x="7413923" y="3188827"/>
            <a:ext cx="189489" cy="332132"/>
            <a:chOff x="8370831" y="3202002"/>
            <a:chExt cx="218129" cy="382376"/>
          </a:xfrm>
        </p:grpSpPr>
        <p:sp>
          <p:nvSpPr>
            <p:cNvPr id="3589" name="Google Shape;3589;p53"/>
            <p:cNvSpPr/>
            <p:nvPr/>
          </p:nvSpPr>
          <p:spPr>
            <a:xfrm>
              <a:off x="8370831" y="3202002"/>
              <a:ext cx="218129" cy="382376"/>
            </a:xfrm>
            <a:custGeom>
              <a:avLst/>
              <a:gdLst/>
              <a:ahLst/>
              <a:cxnLst/>
              <a:rect l="l" t="t" r="r" b="b"/>
              <a:pathLst>
                <a:path w="23990" h="42054" extrusionOk="0">
                  <a:moveTo>
                    <a:pt x="11991" y="0"/>
                  </a:moveTo>
                  <a:cubicBezTo>
                    <a:pt x="11992" y="0"/>
                    <a:pt x="11992" y="0"/>
                    <a:pt x="11993" y="0"/>
                  </a:cubicBezTo>
                  <a:lnTo>
                    <a:pt x="11993" y="0"/>
                  </a:lnTo>
                  <a:cubicBezTo>
                    <a:pt x="11994" y="0"/>
                    <a:pt x="11995" y="0"/>
                    <a:pt x="11995" y="0"/>
                  </a:cubicBezTo>
                  <a:close/>
                  <a:moveTo>
                    <a:pt x="11993" y="0"/>
                  </a:moveTo>
                  <a:cubicBezTo>
                    <a:pt x="5373" y="1"/>
                    <a:pt x="1" y="4974"/>
                    <a:pt x="1" y="11110"/>
                  </a:cubicBezTo>
                  <a:cubicBezTo>
                    <a:pt x="1" y="14754"/>
                    <a:pt x="1894" y="17985"/>
                    <a:pt x="4823" y="20011"/>
                  </a:cubicBezTo>
                  <a:lnTo>
                    <a:pt x="12062" y="42054"/>
                  </a:lnTo>
                  <a:lnTo>
                    <a:pt x="18950" y="20154"/>
                  </a:lnTo>
                  <a:cubicBezTo>
                    <a:pt x="21999" y="18136"/>
                    <a:pt x="23990" y="14843"/>
                    <a:pt x="23990" y="11110"/>
                  </a:cubicBezTo>
                  <a:cubicBezTo>
                    <a:pt x="23990" y="4978"/>
                    <a:pt x="18618" y="1"/>
                    <a:pt x="119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0" name="Google Shape;3590;p53"/>
            <p:cNvSpPr/>
            <p:nvPr/>
          </p:nvSpPr>
          <p:spPr>
            <a:xfrm>
              <a:off x="8397745" y="3226607"/>
              <a:ext cx="164347" cy="152181"/>
            </a:xfrm>
            <a:custGeom>
              <a:avLst/>
              <a:gdLst/>
              <a:ahLst/>
              <a:cxnLst/>
              <a:rect l="l" t="t" r="r" b="b"/>
              <a:pathLst>
                <a:path w="18075" h="16737" extrusionOk="0">
                  <a:moveTo>
                    <a:pt x="9035" y="0"/>
                  </a:moveTo>
                  <a:cubicBezTo>
                    <a:pt x="4045" y="0"/>
                    <a:pt x="1" y="3747"/>
                    <a:pt x="1" y="8368"/>
                  </a:cubicBezTo>
                  <a:cubicBezTo>
                    <a:pt x="1" y="12990"/>
                    <a:pt x="4045" y="16736"/>
                    <a:pt x="9035" y="16736"/>
                  </a:cubicBezTo>
                  <a:cubicBezTo>
                    <a:pt x="14026" y="16736"/>
                    <a:pt x="18075" y="12990"/>
                    <a:pt x="18075" y="8368"/>
                  </a:cubicBezTo>
                  <a:cubicBezTo>
                    <a:pt x="18075" y="3747"/>
                    <a:pt x="14030" y="0"/>
                    <a:pt x="90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1" name="Google Shape;3591;p53"/>
          <p:cNvGrpSpPr/>
          <p:nvPr/>
        </p:nvGrpSpPr>
        <p:grpSpPr>
          <a:xfrm>
            <a:off x="8137312" y="3599959"/>
            <a:ext cx="309429" cy="267000"/>
            <a:chOff x="6742064" y="3750480"/>
            <a:chExt cx="399315" cy="344560"/>
          </a:xfrm>
        </p:grpSpPr>
        <p:sp>
          <p:nvSpPr>
            <p:cNvPr id="3592" name="Google Shape;3592;p53"/>
            <p:cNvSpPr/>
            <p:nvPr/>
          </p:nvSpPr>
          <p:spPr>
            <a:xfrm>
              <a:off x="6742064" y="3750480"/>
              <a:ext cx="399315" cy="344560"/>
            </a:xfrm>
            <a:custGeom>
              <a:avLst/>
              <a:gdLst/>
              <a:ahLst/>
              <a:cxnLst/>
              <a:rect l="l" t="t" r="r" b="b"/>
              <a:pathLst>
                <a:path w="43917" h="37895" extrusionOk="0">
                  <a:moveTo>
                    <a:pt x="37846" y="1"/>
                  </a:moveTo>
                  <a:lnTo>
                    <a:pt x="6071" y="1"/>
                  </a:lnTo>
                  <a:cubicBezTo>
                    <a:pt x="2729" y="1"/>
                    <a:pt x="0" y="2734"/>
                    <a:pt x="0" y="6071"/>
                  </a:cubicBezTo>
                  <a:lnTo>
                    <a:pt x="0" y="18212"/>
                  </a:lnTo>
                  <a:cubicBezTo>
                    <a:pt x="0" y="21550"/>
                    <a:pt x="2729" y="24278"/>
                    <a:pt x="6071" y="24278"/>
                  </a:cubicBezTo>
                  <a:lnTo>
                    <a:pt x="18927" y="24278"/>
                  </a:lnTo>
                  <a:cubicBezTo>
                    <a:pt x="19332" y="24278"/>
                    <a:pt x="19754" y="24705"/>
                    <a:pt x="19821" y="25105"/>
                  </a:cubicBezTo>
                  <a:lnTo>
                    <a:pt x="21958" y="37895"/>
                  </a:lnTo>
                  <a:lnTo>
                    <a:pt x="24096" y="25101"/>
                  </a:lnTo>
                  <a:cubicBezTo>
                    <a:pt x="24162" y="24687"/>
                    <a:pt x="24629" y="24278"/>
                    <a:pt x="25051" y="24278"/>
                  </a:cubicBezTo>
                  <a:lnTo>
                    <a:pt x="37846" y="24278"/>
                  </a:lnTo>
                  <a:cubicBezTo>
                    <a:pt x="41183" y="24278"/>
                    <a:pt x="43916" y="21550"/>
                    <a:pt x="43916" y="18212"/>
                  </a:cubicBezTo>
                  <a:lnTo>
                    <a:pt x="43916" y="6071"/>
                  </a:lnTo>
                  <a:cubicBezTo>
                    <a:pt x="43916" y="2734"/>
                    <a:pt x="41183" y="1"/>
                    <a:pt x="378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3" name="Google Shape;3593;p53"/>
            <p:cNvSpPr/>
            <p:nvPr/>
          </p:nvSpPr>
          <p:spPr>
            <a:xfrm>
              <a:off x="6764168" y="3772584"/>
              <a:ext cx="355108" cy="176549"/>
            </a:xfrm>
            <a:custGeom>
              <a:avLst/>
              <a:gdLst/>
              <a:ahLst/>
              <a:cxnLst/>
              <a:rect l="l" t="t" r="r" b="b"/>
              <a:pathLst>
                <a:path w="39055" h="19417" extrusionOk="0">
                  <a:moveTo>
                    <a:pt x="3755" y="1"/>
                  </a:moveTo>
                  <a:lnTo>
                    <a:pt x="35295" y="1"/>
                  </a:lnTo>
                  <a:cubicBezTo>
                    <a:pt x="37370" y="10"/>
                    <a:pt x="39045" y="1685"/>
                    <a:pt x="39054" y="3756"/>
                  </a:cubicBezTo>
                  <a:lnTo>
                    <a:pt x="39054" y="15666"/>
                  </a:lnTo>
                  <a:cubicBezTo>
                    <a:pt x="39045" y="17737"/>
                    <a:pt x="37370" y="19412"/>
                    <a:pt x="35295" y="19417"/>
                  </a:cubicBezTo>
                  <a:lnTo>
                    <a:pt x="3755" y="19417"/>
                  </a:lnTo>
                  <a:cubicBezTo>
                    <a:pt x="1680" y="19412"/>
                    <a:pt x="5" y="17737"/>
                    <a:pt x="0" y="15666"/>
                  </a:cubicBezTo>
                  <a:lnTo>
                    <a:pt x="0" y="3756"/>
                  </a:lnTo>
                  <a:cubicBezTo>
                    <a:pt x="5" y="1685"/>
                    <a:pt x="1680" y="10"/>
                    <a:pt x="37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4" name="Google Shape;3594;p53"/>
          <p:cNvGrpSpPr/>
          <p:nvPr/>
        </p:nvGrpSpPr>
        <p:grpSpPr>
          <a:xfrm>
            <a:off x="7676331" y="3951006"/>
            <a:ext cx="180437" cy="281608"/>
            <a:chOff x="7248525" y="3739696"/>
            <a:chExt cx="230531" cy="359790"/>
          </a:xfrm>
        </p:grpSpPr>
        <p:sp>
          <p:nvSpPr>
            <p:cNvPr id="3595" name="Google Shape;3595;p53"/>
            <p:cNvSpPr/>
            <p:nvPr/>
          </p:nvSpPr>
          <p:spPr>
            <a:xfrm>
              <a:off x="7248525" y="3739696"/>
              <a:ext cx="230531" cy="359790"/>
            </a:xfrm>
            <a:custGeom>
              <a:avLst/>
              <a:gdLst/>
              <a:ahLst/>
              <a:cxnLst/>
              <a:rect l="l" t="t" r="r" b="b"/>
              <a:pathLst>
                <a:path w="25354" h="39570" extrusionOk="0">
                  <a:moveTo>
                    <a:pt x="19434" y="18"/>
                  </a:moveTo>
                  <a:lnTo>
                    <a:pt x="6338" y="5"/>
                  </a:lnTo>
                  <a:cubicBezTo>
                    <a:pt x="2854" y="0"/>
                    <a:pt x="1" y="2858"/>
                    <a:pt x="1" y="6342"/>
                  </a:cubicBezTo>
                  <a:lnTo>
                    <a:pt x="1" y="19016"/>
                  </a:lnTo>
                  <a:cubicBezTo>
                    <a:pt x="1" y="29006"/>
                    <a:pt x="6280" y="22820"/>
                    <a:pt x="12679" y="39570"/>
                  </a:cubicBezTo>
                  <a:cubicBezTo>
                    <a:pt x="19074" y="22820"/>
                    <a:pt x="25354" y="29006"/>
                    <a:pt x="25354" y="19016"/>
                  </a:cubicBezTo>
                  <a:lnTo>
                    <a:pt x="25354" y="6342"/>
                  </a:lnTo>
                  <a:cubicBezTo>
                    <a:pt x="25354" y="2858"/>
                    <a:pt x="22923" y="18"/>
                    <a:pt x="1943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6" name="Google Shape;3596;p53"/>
            <p:cNvSpPr/>
            <p:nvPr/>
          </p:nvSpPr>
          <p:spPr>
            <a:xfrm>
              <a:off x="7271639" y="3762810"/>
              <a:ext cx="184350" cy="184387"/>
            </a:xfrm>
            <a:custGeom>
              <a:avLst/>
              <a:gdLst/>
              <a:ahLst/>
              <a:cxnLst/>
              <a:rect l="l" t="t" r="r" b="b"/>
              <a:pathLst>
                <a:path w="20275" h="20279" extrusionOk="0">
                  <a:moveTo>
                    <a:pt x="3738" y="0"/>
                  </a:moveTo>
                  <a:lnTo>
                    <a:pt x="16532" y="0"/>
                  </a:lnTo>
                  <a:cubicBezTo>
                    <a:pt x="18594" y="5"/>
                    <a:pt x="20270" y="1680"/>
                    <a:pt x="20274" y="3742"/>
                  </a:cubicBezTo>
                  <a:lnTo>
                    <a:pt x="20274" y="16536"/>
                  </a:lnTo>
                  <a:cubicBezTo>
                    <a:pt x="20270" y="18598"/>
                    <a:pt x="18594" y="20274"/>
                    <a:pt x="16532" y="20278"/>
                  </a:cubicBezTo>
                  <a:lnTo>
                    <a:pt x="3738" y="20278"/>
                  </a:lnTo>
                  <a:cubicBezTo>
                    <a:pt x="1676" y="20274"/>
                    <a:pt x="5" y="18598"/>
                    <a:pt x="1" y="16536"/>
                  </a:cubicBezTo>
                  <a:lnTo>
                    <a:pt x="1" y="3742"/>
                  </a:lnTo>
                  <a:cubicBezTo>
                    <a:pt x="5" y="1680"/>
                    <a:pt x="1676" y="5"/>
                    <a:pt x="37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7" name="Google Shape;3597;p53"/>
          <p:cNvGrpSpPr/>
          <p:nvPr/>
        </p:nvGrpSpPr>
        <p:grpSpPr>
          <a:xfrm>
            <a:off x="7922251" y="3594231"/>
            <a:ext cx="162896" cy="278710"/>
            <a:chOff x="7601242" y="3729267"/>
            <a:chExt cx="222566" cy="380803"/>
          </a:xfrm>
        </p:grpSpPr>
        <p:sp>
          <p:nvSpPr>
            <p:cNvPr id="3598" name="Google Shape;3598;p53"/>
            <p:cNvSpPr/>
            <p:nvPr/>
          </p:nvSpPr>
          <p:spPr>
            <a:xfrm>
              <a:off x="7601242" y="3729267"/>
              <a:ext cx="222566" cy="380803"/>
            </a:xfrm>
            <a:custGeom>
              <a:avLst/>
              <a:gdLst/>
              <a:ahLst/>
              <a:cxnLst/>
              <a:rect l="l" t="t" r="r" b="b"/>
              <a:pathLst>
                <a:path w="24478" h="41881" extrusionOk="0">
                  <a:moveTo>
                    <a:pt x="12239" y="1"/>
                  </a:moveTo>
                  <a:cubicBezTo>
                    <a:pt x="5480" y="1"/>
                    <a:pt x="0" y="5320"/>
                    <a:pt x="0" y="11875"/>
                  </a:cubicBezTo>
                  <a:cubicBezTo>
                    <a:pt x="0" y="17537"/>
                    <a:pt x="4080" y="22270"/>
                    <a:pt x="9537" y="23461"/>
                  </a:cubicBezTo>
                  <a:cubicBezTo>
                    <a:pt x="10235" y="23616"/>
                    <a:pt x="10190" y="24114"/>
                    <a:pt x="10270" y="24825"/>
                  </a:cubicBezTo>
                  <a:lnTo>
                    <a:pt x="12239" y="41881"/>
                  </a:lnTo>
                  <a:lnTo>
                    <a:pt x="14181" y="25065"/>
                  </a:lnTo>
                  <a:cubicBezTo>
                    <a:pt x="14257" y="24385"/>
                    <a:pt x="14230" y="23612"/>
                    <a:pt x="14897" y="23469"/>
                  </a:cubicBezTo>
                  <a:cubicBezTo>
                    <a:pt x="20381" y="22296"/>
                    <a:pt x="24478" y="17550"/>
                    <a:pt x="24478" y="11875"/>
                  </a:cubicBezTo>
                  <a:cubicBezTo>
                    <a:pt x="24478" y="5320"/>
                    <a:pt x="18998" y="1"/>
                    <a:pt x="1223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9" name="Google Shape;3599;p53"/>
            <p:cNvSpPr/>
            <p:nvPr/>
          </p:nvSpPr>
          <p:spPr>
            <a:xfrm>
              <a:off x="7621200" y="3748625"/>
              <a:ext cx="182696" cy="177276"/>
            </a:xfrm>
            <a:custGeom>
              <a:avLst/>
              <a:gdLst/>
              <a:ahLst/>
              <a:cxnLst/>
              <a:rect l="l" t="t" r="r" b="b"/>
              <a:pathLst>
                <a:path w="20093" h="19497" extrusionOk="0">
                  <a:moveTo>
                    <a:pt x="10044" y="19496"/>
                  </a:moveTo>
                  <a:cubicBezTo>
                    <a:pt x="15577" y="19496"/>
                    <a:pt x="20092" y="15119"/>
                    <a:pt x="20092" y="9751"/>
                  </a:cubicBezTo>
                  <a:cubicBezTo>
                    <a:pt x="20092" y="4378"/>
                    <a:pt x="15577" y="0"/>
                    <a:pt x="10044" y="0"/>
                  </a:cubicBezTo>
                  <a:cubicBezTo>
                    <a:pt x="4511" y="0"/>
                    <a:pt x="1" y="4378"/>
                    <a:pt x="1" y="9751"/>
                  </a:cubicBezTo>
                  <a:cubicBezTo>
                    <a:pt x="1" y="15119"/>
                    <a:pt x="4511" y="19496"/>
                    <a:pt x="10044" y="1949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00" name="Google Shape;3600;p53"/>
          <p:cNvSpPr/>
          <p:nvPr/>
        </p:nvSpPr>
        <p:spPr>
          <a:xfrm>
            <a:off x="7888277" y="3206587"/>
            <a:ext cx="230844" cy="296575"/>
          </a:xfrm>
          <a:custGeom>
            <a:avLst/>
            <a:gdLst/>
            <a:ahLst/>
            <a:cxnLst/>
            <a:rect l="l" t="t" r="r" b="b"/>
            <a:pathLst>
              <a:path w="29230" h="37553" extrusionOk="0">
                <a:moveTo>
                  <a:pt x="9655" y="0"/>
                </a:moveTo>
                <a:cubicBezTo>
                  <a:pt x="7693" y="0"/>
                  <a:pt x="5983" y="1692"/>
                  <a:pt x="5974" y="3671"/>
                </a:cubicBezTo>
                <a:cubicBezTo>
                  <a:pt x="5974" y="4182"/>
                  <a:pt x="6085" y="4693"/>
                  <a:pt x="6245" y="5036"/>
                </a:cubicBezTo>
                <a:cubicBezTo>
                  <a:pt x="7169" y="7653"/>
                  <a:pt x="7369" y="9675"/>
                  <a:pt x="6863" y="11515"/>
                </a:cubicBezTo>
                <a:lnTo>
                  <a:pt x="6716" y="11933"/>
                </a:lnTo>
                <a:cubicBezTo>
                  <a:pt x="6089" y="13821"/>
                  <a:pt x="5018" y="16181"/>
                  <a:pt x="1850" y="19345"/>
                </a:cubicBezTo>
                <a:cubicBezTo>
                  <a:pt x="1" y="21194"/>
                  <a:pt x="623" y="24331"/>
                  <a:pt x="3041" y="25340"/>
                </a:cubicBezTo>
                <a:cubicBezTo>
                  <a:pt x="3475" y="25523"/>
                  <a:pt x="3948" y="25620"/>
                  <a:pt x="4422" y="25620"/>
                </a:cubicBezTo>
                <a:cubicBezTo>
                  <a:pt x="4433" y="25620"/>
                  <a:pt x="4443" y="25620"/>
                  <a:pt x="4454" y="25620"/>
                </a:cubicBezTo>
                <a:lnTo>
                  <a:pt x="12866" y="25620"/>
                </a:lnTo>
                <a:lnTo>
                  <a:pt x="14862" y="37552"/>
                </a:lnTo>
                <a:lnTo>
                  <a:pt x="16848" y="25625"/>
                </a:lnTo>
                <a:lnTo>
                  <a:pt x="25243" y="25625"/>
                </a:lnTo>
                <a:cubicBezTo>
                  <a:pt x="25254" y="25625"/>
                  <a:pt x="25264" y="25625"/>
                  <a:pt x="25275" y="25625"/>
                </a:cubicBezTo>
                <a:cubicBezTo>
                  <a:pt x="25753" y="25625"/>
                  <a:pt x="26230" y="25527"/>
                  <a:pt x="26669" y="25345"/>
                </a:cubicBezTo>
                <a:cubicBezTo>
                  <a:pt x="27576" y="24976"/>
                  <a:pt x="28292" y="24256"/>
                  <a:pt x="28660" y="23354"/>
                </a:cubicBezTo>
                <a:cubicBezTo>
                  <a:pt x="29229" y="21980"/>
                  <a:pt x="28914" y="20398"/>
                  <a:pt x="27865" y="19345"/>
                </a:cubicBezTo>
                <a:cubicBezTo>
                  <a:pt x="24701" y="16177"/>
                  <a:pt x="23630" y="13821"/>
                  <a:pt x="22999" y="11933"/>
                </a:cubicBezTo>
                <a:cubicBezTo>
                  <a:pt x="22354" y="9999"/>
                  <a:pt x="22505" y="7880"/>
                  <a:pt x="23443" y="5213"/>
                </a:cubicBezTo>
                <a:cubicBezTo>
                  <a:pt x="23661" y="4733"/>
                  <a:pt x="23772" y="4218"/>
                  <a:pt x="23772" y="3693"/>
                </a:cubicBezTo>
                <a:cubicBezTo>
                  <a:pt x="23759" y="1670"/>
                  <a:pt x="22105" y="27"/>
                  <a:pt x="20100" y="27"/>
                </a:cubicBezTo>
                <a:cubicBezTo>
                  <a:pt x="20098" y="27"/>
                  <a:pt x="20095" y="27"/>
                  <a:pt x="20092" y="27"/>
                </a:cubicBezTo>
                <a:lnTo>
                  <a:pt x="9662" y="0"/>
                </a:lnTo>
                <a:cubicBezTo>
                  <a:pt x="9660" y="0"/>
                  <a:pt x="9657" y="0"/>
                  <a:pt x="9655" y="0"/>
                </a:cubicBezTo>
                <a:close/>
              </a:path>
            </a:pathLst>
          </a:custGeom>
          <a:noFill/>
          <a:ln w="9525" cap="flat" cmpd="sng">
            <a:solidFill>
              <a:srgbClr val="D7DFE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01" name="Google Shape;3601;p53"/>
          <p:cNvGrpSpPr/>
          <p:nvPr/>
        </p:nvGrpSpPr>
        <p:grpSpPr>
          <a:xfrm>
            <a:off x="7411896" y="3595371"/>
            <a:ext cx="193543" cy="275990"/>
            <a:chOff x="8304647" y="3738687"/>
            <a:chExt cx="225076" cy="320956"/>
          </a:xfrm>
        </p:grpSpPr>
        <p:sp>
          <p:nvSpPr>
            <p:cNvPr id="3602" name="Google Shape;3602;p53"/>
            <p:cNvSpPr/>
            <p:nvPr/>
          </p:nvSpPr>
          <p:spPr>
            <a:xfrm>
              <a:off x="8341164" y="3738692"/>
              <a:ext cx="2209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3" name="Google Shape;3603;p53"/>
            <p:cNvSpPr/>
            <p:nvPr/>
          </p:nvSpPr>
          <p:spPr>
            <a:xfrm>
              <a:off x="8337943" y="3738687"/>
              <a:ext cx="191779" cy="86151"/>
            </a:xfrm>
            <a:custGeom>
              <a:avLst/>
              <a:gdLst/>
              <a:ahLst/>
              <a:cxnLst/>
              <a:rect l="l" t="t" r="r" b="b"/>
              <a:pathLst>
                <a:path w="21092" h="9475" extrusionOk="0">
                  <a:moveTo>
                    <a:pt x="1" y="0"/>
                  </a:moveTo>
                  <a:lnTo>
                    <a:pt x="432" y="9475"/>
                  </a:lnTo>
                  <a:lnTo>
                    <a:pt x="21092" y="9475"/>
                  </a:lnTo>
                  <a:lnTo>
                    <a:pt x="17648" y="4524"/>
                  </a:lnTo>
                  <a:lnTo>
                    <a:pt x="2109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4" name="Google Shape;3604;p53"/>
            <p:cNvSpPr/>
            <p:nvPr/>
          </p:nvSpPr>
          <p:spPr>
            <a:xfrm>
              <a:off x="8304647" y="4044004"/>
              <a:ext cx="76341" cy="15639"/>
            </a:xfrm>
            <a:custGeom>
              <a:avLst/>
              <a:gdLst/>
              <a:ahLst/>
              <a:cxnLst/>
              <a:rect l="l" t="t" r="r" b="b"/>
              <a:pathLst>
                <a:path w="8396" h="1720" extrusionOk="0">
                  <a:moveTo>
                    <a:pt x="4200" y="0"/>
                  </a:moveTo>
                  <a:cubicBezTo>
                    <a:pt x="1881" y="0"/>
                    <a:pt x="1" y="382"/>
                    <a:pt x="1" y="862"/>
                  </a:cubicBezTo>
                  <a:cubicBezTo>
                    <a:pt x="1" y="1338"/>
                    <a:pt x="1881" y="1720"/>
                    <a:pt x="4200" y="1720"/>
                  </a:cubicBezTo>
                  <a:cubicBezTo>
                    <a:pt x="6516" y="1720"/>
                    <a:pt x="8395" y="1338"/>
                    <a:pt x="8395" y="862"/>
                  </a:cubicBezTo>
                  <a:cubicBezTo>
                    <a:pt x="8395" y="382"/>
                    <a:pt x="6516" y="0"/>
                    <a:pt x="4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05" name="Google Shape;3605;p53"/>
          <p:cNvGrpSpPr/>
          <p:nvPr/>
        </p:nvGrpSpPr>
        <p:grpSpPr>
          <a:xfrm>
            <a:off x="7684389" y="3595371"/>
            <a:ext cx="178492" cy="275990"/>
            <a:chOff x="8615101" y="3738687"/>
            <a:chExt cx="207573" cy="320956"/>
          </a:xfrm>
        </p:grpSpPr>
        <p:sp>
          <p:nvSpPr>
            <p:cNvPr id="3606" name="Google Shape;3606;p53"/>
            <p:cNvSpPr/>
            <p:nvPr/>
          </p:nvSpPr>
          <p:spPr>
            <a:xfrm>
              <a:off x="8651571" y="3738692"/>
              <a:ext cx="3896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7" name="Google Shape;3607;p53"/>
            <p:cNvSpPr/>
            <p:nvPr/>
          </p:nvSpPr>
          <p:spPr>
            <a:xfrm>
              <a:off x="8615101" y="4044004"/>
              <a:ext cx="76332" cy="15639"/>
            </a:xfrm>
            <a:custGeom>
              <a:avLst/>
              <a:gdLst/>
              <a:ahLst/>
              <a:cxnLst/>
              <a:rect l="l" t="t" r="r" b="b"/>
              <a:pathLst>
                <a:path w="8395" h="1720" extrusionOk="0">
                  <a:moveTo>
                    <a:pt x="4195" y="0"/>
                  </a:moveTo>
                  <a:cubicBezTo>
                    <a:pt x="1875" y="0"/>
                    <a:pt x="0" y="382"/>
                    <a:pt x="0" y="862"/>
                  </a:cubicBezTo>
                  <a:cubicBezTo>
                    <a:pt x="0" y="1338"/>
                    <a:pt x="1875" y="1720"/>
                    <a:pt x="4195" y="1720"/>
                  </a:cubicBezTo>
                  <a:cubicBezTo>
                    <a:pt x="6515" y="1720"/>
                    <a:pt x="8395" y="1338"/>
                    <a:pt x="8395" y="862"/>
                  </a:cubicBezTo>
                  <a:cubicBezTo>
                    <a:pt x="8395" y="382"/>
                    <a:pt x="6515" y="0"/>
                    <a:pt x="41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8" name="Google Shape;3608;p53"/>
            <p:cNvSpPr/>
            <p:nvPr/>
          </p:nvSpPr>
          <p:spPr>
            <a:xfrm>
              <a:off x="8651953" y="3738687"/>
              <a:ext cx="170721" cy="99808"/>
            </a:xfrm>
            <a:custGeom>
              <a:avLst/>
              <a:gdLst/>
              <a:ahLst/>
              <a:cxnLst/>
              <a:rect l="l" t="t" r="r" b="b"/>
              <a:pathLst>
                <a:path w="18776" h="10977" extrusionOk="0">
                  <a:moveTo>
                    <a:pt x="707" y="0"/>
                  </a:moveTo>
                  <a:lnTo>
                    <a:pt x="0" y="10977"/>
                  </a:lnTo>
                  <a:lnTo>
                    <a:pt x="18776" y="4360"/>
                  </a:lnTo>
                  <a:lnTo>
                    <a:pt x="70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09" name="Google Shape;3609;p53"/>
          <p:cNvSpPr/>
          <p:nvPr/>
        </p:nvSpPr>
        <p:spPr>
          <a:xfrm>
            <a:off x="8180828" y="3185254"/>
            <a:ext cx="222397" cy="288694"/>
          </a:xfrm>
          <a:custGeom>
            <a:avLst/>
            <a:gdLst/>
            <a:ahLst/>
            <a:cxnLst/>
            <a:rect l="l" t="t" r="r" b="b"/>
            <a:pathLst>
              <a:path w="2810" h="3648" extrusionOk="0">
                <a:moveTo>
                  <a:pt x="1365" y="241"/>
                </a:moveTo>
                <a:cubicBezTo>
                  <a:pt x="1630" y="241"/>
                  <a:pt x="1899" y="338"/>
                  <a:pt x="2120" y="555"/>
                </a:cubicBezTo>
                <a:cubicBezTo>
                  <a:pt x="2810" y="1245"/>
                  <a:pt x="2329" y="2416"/>
                  <a:pt x="1356" y="2416"/>
                </a:cubicBezTo>
                <a:cubicBezTo>
                  <a:pt x="764" y="2416"/>
                  <a:pt x="272" y="1935"/>
                  <a:pt x="272" y="1344"/>
                </a:cubicBezTo>
                <a:cubicBezTo>
                  <a:pt x="263" y="681"/>
                  <a:pt x="802" y="241"/>
                  <a:pt x="1365" y="241"/>
                </a:cubicBezTo>
                <a:close/>
                <a:moveTo>
                  <a:pt x="1356" y="1"/>
                </a:moveTo>
                <a:cubicBezTo>
                  <a:pt x="604" y="1"/>
                  <a:pt x="0" y="604"/>
                  <a:pt x="0" y="1356"/>
                </a:cubicBezTo>
                <a:cubicBezTo>
                  <a:pt x="0" y="2391"/>
                  <a:pt x="1183" y="3512"/>
                  <a:pt x="1331" y="3648"/>
                </a:cubicBezTo>
                <a:lnTo>
                  <a:pt x="1368" y="3648"/>
                </a:lnTo>
                <a:cubicBezTo>
                  <a:pt x="1528" y="3512"/>
                  <a:pt x="2711" y="2453"/>
                  <a:pt x="2711" y="1356"/>
                </a:cubicBezTo>
                <a:cubicBezTo>
                  <a:pt x="2711" y="604"/>
                  <a:pt x="2095" y="1"/>
                  <a:pt x="1356" y="1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10" name="Google Shape;3610;p53"/>
          <p:cNvGrpSpPr/>
          <p:nvPr/>
        </p:nvGrpSpPr>
        <p:grpSpPr>
          <a:xfrm>
            <a:off x="7909920" y="3998032"/>
            <a:ext cx="187557" cy="187557"/>
            <a:chOff x="8565775" y="671075"/>
            <a:chExt cx="441000" cy="441000"/>
          </a:xfrm>
        </p:grpSpPr>
        <p:sp>
          <p:nvSpPr>
            <p:cNvPr id="3611" name="Google Shape;3611;p53"/>
            <p:cNvSpPr/>
            <p:nvPr/>
          </p:nvSpPr>
          <p:spPr>
            <a:xfrm>
              <a:off x="8565775" y="671075"/>
              <a:ext cx="441000" cy="441000"/>
            </a:xfrm>
            <a:prstGeom prst="ellipse">
              <a:avLst/>
            </a:prstGeom>
            <a:noFill/>
            <a:ln w="19050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2" name="Google Shape;3612;p53"/>
            <p:cNvSpPr/>
            <p:nvPr/>
          </p:nvSpPr>
          <p:spPr>
            <a:xfrm>
              <a:off x="8706625" y="811925"/>
              <a:ext cx="159300" cy="159300"/>
            </a:xfrm>
            <a:prstGeom prst="ellipse">
              <a:avLst/>
            </a:prstGeom>
            <a:noFill/>
            <a:ln w="19050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13" name="Google Shape;3613;p53"/>
          <p:cNvSpPr/>
          <p:nvPr/>
        </p:nvSpPr>
        <p:spPr>
          <a:xfrm>
            <a:off x="8195186" y="3993952"/>
            <a:ext cx="193683" cy="195716"/>
          </a:xfrm>
          <a:custGeom>
            <a:avLst/>
            <a:gdLst/>
            <a:ahLst/>
            <a:cxnLst/>
            <a:rect l="l" t="t" r="r" b="b"/>
            <a:pathLst>
              <a:path w="194168" h="196207" extrusionOk="0">
                <a:moveTo>
                  <a:pt x="11576" y="0"/>
                </a:moveTo>
                <a:cubicBezTo>
                  <a:pt x="8883" y="0"/>
                  <a:pt x="6181" y="987"/>
                  <a:pt x="4103" y="3065"/>
                </a:cubicBezTo>
                <a:cubicBezTo>
                  <a:pt x="1026" y="5799"/>
                  <a:pt x="1" y="10243"/>
                  <a:pt x="1368" y="14004"/>
                </a:cubicBezTo>
                <a:lnTo>
                  <a:pt x="65293" y="189369"/>
                </a:lnTo>
                <a:cubicBezTo>
                  <a:pt x="67002" y="193471"/>
                  <a:pt x="70762" y="196206"/>
                  <a:pt x="74864" y="196206"/>
                </a:cubicBezTo>
                <a:cubicBezTo>
                  <a:pt x="79308" y="196206"/>
                  <a:pt x="83410" y="193813"/>
                  <a:pt x="85120" y="190053"/>
                </a:cubicBezTo>
                <a:lnTo>
                  <a:pt x="114176" y="124077"/>
                </a:lnTo>
                <a:cubicBezTo>
                  <a:pt x="115202" y="121342"/>
                  <a:pt x="117595" y="119291"/>
                  <a:pt x="119988" y="118266"/>
                </a:cubicBezTo>
                <a:lnTo>
                  <a:pt x="187331" y="92286"/>
                </a:lnTo>
                <a:cubicBezTo>
                  <a:pt x="191433" y="90577"/>
                  <a:pt x="193826" y="86816"/>
                  <a:pt x="193826" y="82714"/>
                </a:cubicBezTo>
                <a:cubicBezTo>
                  <a:pt x="194168" y="78270"/>
                  <a:pt x="191433" y="74510"/>
                  <a:pt x="187673" y="72801"/>
                </a:cubicBezTo>
                <a:lnTo>
                  <a:pt x="15384" y="672"/>
                </a:lnTo>
                <a:cubicBezTo>
                  <a:pt x="14163" y="228"/>
                  <a:pt x="12871" y="0"/>
                  <a:pt x="11576" y="0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14" name="Google Shape;3614;p53"/>
          <p:cNvSpPr/>
          <p:nvPr/>
        </p:nvSpPr>
        <p:spPr>
          <a:xfrm flipH="1">
            <a:off x="7419373" y="3960408"/>
            <a:ext cx="178589" cy="262805"/>
          </a:xfrm>
          <a:custGeom>
            <a:avLst/>
            <a:gdLst/>
            <a:ahLst/>
            <a:cxnLst/>
            <a:rect l="l" t="t" r="r" b="b"/>
            <a:pathLst>
              <a:path w="133027" h="195758" extrusionOk="0">
                <a:moveTo>
                  <a:pt x="65846" y="26249"/>
                </a:moveTo>
                <a:cubicBezTo>
                  <a:pt x="87201" y="26249"/>
                  <a:pt x="104108" y="43156"/>
                  <a:pt x="104108" y="64511"/>
                </a:cubicBezTo>
                <a:cubicBezTo>
                  <a:pt x="104108" y="85422"/>
                  <a:pt x="87201" y="102328"/>
                  <a:pt x="65846" y="102328"/>
                </a:cubicBezTo>
                <a:cubicBezTo>
                  <a:pt x="44936" y="102328"/>
                  <a:pt x="28029" y="85422"/>
                  <a:pt x="28029" y="64511"/>
                </a:cubicBezTo>
                <a:cubicBezTo>
                  <a:pt x="28029" y="43156"/>
                  <a:pt x="44936" y="26249"/>
                  <a:pt x="65846" y="26249"/>
                </a:cubicBezTo>
                <a:close/>
                <a:moveTo>
                  <a:pt x="66291" y="0"/>
                </a:moveTo>
                <a:cubicBezTo>
                  <a:pt x="29809" y="0"/>
                  <a:pt x="0" y="29809"/>
                  <a:pt x="0" y="66291"/>
                </a:cubicBezTo>
                <a:cubicBezTo>
                  <a:pt x="0" y="84977"/>
                  <a:pt x="18241" y="118345"/>
                  <a:pt x="18241" y="118345"/>
                </a:cubicBezTo>
                <a:lnTo>
                  <a:pt x="64066" y="195758"/>
                </a:lnTo>
                <a:lnTo>
                  <a:pt x="111671" y="119234"/>
                </a:lnTo>
                <a:cubicBezTo>
                  <a:pt x="111671" y="119234"/>
                  <a:pt x="133027" y="87201"/>
                  <a:pt x="133027" y="66291"/>
                </a:cubicBezTo>
                <a:cubicBezTo>
                  <a:pt x="133027" y="29809"/>
                  <a:pt x="103218" y="0"/>
                  <a:pt x="66291" y="0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15" name="Google Shape;3615;p53"/>
          <p:cNvGrpSpPr/>
          <p:nvPr/>
        </p:nvGrpSpPr>
        <p:grpSpPr>
          <a:xfrm>
            <a:off x="6064392" y="3070557"/>
            <a:ext cx="587865" cy="517731"/>
            <a:chOff x="6000718" y="3070557"/>
            <a:chExt cx="587865" cy="517731"/>
          </a:xfrm>
        </p:grpSpPr>
        <p:sp>
          <p:nvSpPr>
            <p:cNvPr id="3616" name="Google Shape;3616;p53"/>
            <p:cNvSpPr/>
            <p:nvPr/>
          </p:nvSpPr>
          <p:spPr>
            <a:xfrm>
              <a:off x="6161116" y="3104229"/>
              <a:ext cx="410235" cy="449911"/>
            </a:xfrm>
            <a:custGeom>
              <a:avLst/>
              <a:gdLst/>
              <a:ahLst/>
              <a:cxnLst/>
              <a:rect l="l" t="t" r="r" b="b"/>
              <a:pathLst>
                <a:path w="71098" h="78008" extrusionOk="0">
                  <a:moveTo>
                    <a:pt x="36108" y="3531"/>
                  </a:moveTo>
                  <a:lnTo>
                    <a:pt x="36835" y="4631"/>
                  </a:lnTo>
                  <a:cubicBezTo>
                    <a:pt x="36551" y="4826"/>
                    <a:pt x="36268" y="5039"/>
                    <a:pt x="35948" y="5217"/>
                  </a:cubicBezTo>
                  <a:cubicBezTo>
                    <a:pt x="35043" y="5749"/>
                    <a:pt x="34635" y="6459"/>
                    <a:pt x="35132" y="7488"/>
                  </a:cubicBezTo>
                  <a:cubicBezTo>
                    <a:pt x="35486" y="8208"/>
                    <a:pt x="35984" y="8561"/>
                    <a:pt x="36635" y="8561"/>
                  </a:cubicBezTo>
                  <a:cubicBezTo>
                    <a:pt x="36866" y="8561"/>
                    <a:pt x="37116" y="8517"/>
                    <a:pt x="37385" y="8428"/>
                  </a:cubicBezTo>
                  <a:cubicBezTo>
                    <a:pt x="37776" y="8304"/>
                    <a:pt x="38184" y="8198"/>
                    <a:pt x="38752" y="8056"/>
                  </a:cubicBezTo>
                  <a:lnTo>
                    <a:pt x="38752" y="8056"/>
                  </a:lnTo>
                  <a:cubicBezTo>
                    <a:pt x="38412" y="9075"/>
                    <a:pt x="37909" y="9331"/>
                    <a:pt x="37373" y="9331"/>
                  </a:cubicBezTo>
                  <a:cubicBezTo>
                    <a:pt x="36833" y="9331"/>
                    <a:pt x="36258" y="9072"/>
                    <a:pt x="35779" y="9072"/>
                  </a:cubicBezTo>
                  <a:cubicBezTo>
                    <a:pt x="35690" y="9072"/>
                    <a:pt x="35604" y="9081"/>
                    <a:pt x="35522" y="9102"/>
                  </a:cubicBezTo>
                  <a:lnTo>
                    <a:pt x="33162" y="11977"/>
                  </a:lnTo>
                  <a:lnTo>
                    <a:pt x="28585" y="11037"/>
                  </a:lnTo>
                  <a:lnTo>
                    <a:pt x="31832" y="10238"/>
                  </a:lnTo>
                  <a:cubicBezTo>
                    <a:pt x="32825" y="8162"/>
                    <a:pt x="33127" y="7062"/>
                    <a:pt x="32914" y="6228"/>
                  </a:cubicBezTo>
                  <a:lnTo>
                    <a:pt x="36108" y="3531"/>
                  </a:lnTo>
                  <a:close/>
                  <a:moveTo>
                    <a:pt x="38947" y="36232"/>
                  </a:moveTo>
                  <a:lnTo>
                    <a:pt x="38947" y="36232"/>
                  </a:lnTo>
                  <a:cubicBezTo>
                    <a:pt x="40402" y="36374"/>
                    <a:pt x="40561" y="37705"/>
                    <a:pt x="41253" y="38486"/>
                  </a:cubicBezTo>
                  <a:cubicBezTo>
                    <a:pt x="40278" y="40029"/>
                    <a:pt x="42194" y="41076"/>
                    <a:pt x="41963" y="42673"/>
                  </a:cubicBezTo>
                  <a:cubicBezTo>
                    <a:pt x="41786" y="43862"/>
                    <a:pt x="42833" y="45264"/>
                    <a:pt x="43241" y="46648"/>
                  </a:cubicBezTo>
                  <a:cubicBezTo>
                    <a:pt x="43560" y="47641"/>
                    <a:pt x="43507" y="48741"/>
                    <a:pt x="43046" y="49699"/>
                  </a:cubicBezTo>
                  <a:lnTo>
                    <a:pt x="40473" y="45760"/>
                  </a:lnTo>
                  <a:cubicBezTo>
                    <a:pt x="41449" y="42726"/>
                    <a:pt x="39160" y="39728"/>
                    <a:pt x="38947" y="36232"/>
                  </a:cubicBezTo>
                  <a:close/>
                  <a:moveTo>
                    <a:pt x="36430" y="1"/>
                  </a:moveTo>
                  <a:cubicBezTo>
                    <a:pt x="35873" y="1"/>
                    <a:pt x="35316" y="87"/>
                    <a:pt x="34759" y="284"/>
                  </a:cubicBezTo>
                  <a:cubicBezTo>
                    <a:pt x="33659" y="657"/>
                    <a:pt x="32346" y="870"/>
                    <a:pt x="31885" y="2005"/>
                  </a:cubicBezTo>
                  <a:cubicBezTo>
                    <a:pt x="31264" y="3567"/>
                    <a:pt x="29809" y="3549"/>
                    <a:pt x="28656" y="3992"/>
                  </a:cubicBezTo>
                  <a:cubicBezTo>
                    <a:pt x="26331" y="4826"/>
                    <a:pt x="26012" y="5465"/>
                    <a:pt x="27006" y="7683"/>
                  </a:cubicBezTo>
                  <a:lnTo>
                    <a:pt x="29791" y="7736"/>
                  </a:lnTo>
                  <a:lnTo>
                    <a:pt x="29046" y="10327"/>
                  </a:lnTo>
                  <a:lnTo>
                    <a:pt x="28425" y="7736"/>
                  </a:lnTo>
                  <a:lnTo>
                    <a:pt x="26633" y="11143"/>
                  </a:lnTo>
                  <a:cubicBezTo>
                    <a:pt x="25746" y="11374"/>
                    <a:pt x="24734" y="11391"/>
                    <a:pt x="24113" y="11870"/>
                  </a:cubicBezTo>
                  <a:cubicBezTo>
                    <a:pt x="22960" y="12775"/>
                    <a:pt x="21328" y="12509"/>
                    <a:pt x="20352" y="13680"/>
                  </a:cubicBezTo>
                  <a:lnTo>
                    <a:pt x="19695" y="12900"/>
                  </a:lnTo>
                  <a:lnTo>
                    <a:pt x="18808" y="14106"/>
                  </a:lnTo>
                  <a:cubicBezTo>
                    <a:pt x="18523" y="13971"/>
                    <a:pt x="18518" y="13452"/>
                    <a:pt x="18160" y="13452"/>
                  </a:cubicBezTo>
                  <a:cubicBezTo>
                    <a:pt x="18049" y="13452"/>
                    <a:pt x="17905" y="13501"/>
                    <a:pt x="17708" y="13627"/>
                  </a:cubicBezTo>
                  <a:lnTo>
                    <a:pt x="18560" y="17193"/>
                  </a:lnTo>
                  <a:cubicBezTo>
                    <a:pt x="17972" y="17718"/>
                    <a:pt x="17385" y="18062"/>
                    <a:pt x="16823" y="18062"/>
                  </a:cubicBezTo>
                  <a:cubicBezTo>
                    <a:pt x="16435" y="18062"/>
                    <a:pt x="16059" y="17897"/>
                    <a:pt x="15703" y="17513"/>
                  </a:cubicBezTo>
                  <a:cubicBezTo>
                    <a:pt x="14869" y="16626"/>
                    <a:pt x="13929" y="16750"/>
                    <a:pt x="13112" y="16643"/>
                  </a:cubicBezTo>
                  <a:lnTo>
                    <a:pt x="11196" y="21381"/>
                  </a:lnTo>
                  <a:cubicBezTo>
                    <a:pt x="11922" y="22616"/>
                    <a:pt x="12753" y="22986"/>
                    <a:pt x="13632" y="22986"/>
                  </a:cubicBezTo>
                  <a:cubicBezTo>
                    <a:pt x="14835" y="22986"/>
                    <a:pt x="16130" y="22292"/>
                    <a:pt x="17371" y="22179"/>
                  </a:cubicBezTo>
                  <a:lnTo>
                    <a:pt x="17868" y="20618"/>
                  </a:lnTo>
                  <a:cubicBezTo>
                    <a:pt x="19961" y="20600"/>
                    <a:pt x="19961" y="20600"/>
                    <a:pt x="21594" y="18879"/>
                  </a:cubicBezTo>
                  <a:lnTo>
                    <a:pt x="22587" y="19784"/>
                  </a:lnTo>
                  <a:lnTo>
                    <a:pt x="24646" y="19181"/>
                  </a:lnTo>
                  <a:lnTo>
                    <a:pt x="28762" y="24788"/>
                  </a:lnTo>
                  <a:lnTo>
                    <a:pt x="24930" y="23971"/>
                  </a:lnTo>
                  <a:lnTo>
                    <a:pt x="24930" y="23971"/>
                  </a:lnTo>
                  <a:lnTo>
                    <a:pt x="26544" y="25746"/>
                  </a:lnTo>
                  <a:cubicBezTo>
                    <a:pt x="28177" y="25604"/>
                    <a:pt x="29507" y="24930"/>
                    <a:pt x="30182" y="23209"/>
                  </a:cubicBezTo>
                  <a:cubicBezTo>
                    <a:pt x="29738" y="22747"/>
                    <a:pt x="29365" y="22321"/>
                    <a:pt x="28957" y="21949"/>
                  </a:cubicBezTo>
                  <a:cubicBezTo>
                    <a:pt x="28017" y="21150"/>
                    <a:pt x="27165" y="20352"/>
                    <a:pt x="27502" y="18400"/>
                  </a:cubicBezTo>
                  <a:lnTo>
                    <a:pt x="27502" y="18400"/>
                  </a:lnTo>
                  <a:cubicBezTo>
                    <a:pt x="28336" y="19678"/>
                    <a:pt x="28709" y="20902"/>
                    <a:pt x="29472" y="21239"/>
                  </a:cubicBezTo>
                  <a:cubicBezTo>
                    <a:pt x="30678" y="21771"/>
                    <a:pt x="30785" y="22641"/>
                    <a:pt x="30927" y="23617"/>
                  </a:cubicBezTo>
                  <a:cubicBezTo>
                    <a:pt x="31016" y="24255"/>
                    <a:pt x="30874" y="24965"/>
                    <a:pt x="31087" y="25551"/>
                  </a:cubicBezTo>
                  <a:cubicBezTo>
                    <a:pt x="31282" y="26083"/>
                    <a:pt x="31832" y="26473"/>
                    <a:pt x="32187" y="26952"/>
                  </a:cubicBezTo>
                  <a:cubicBezTo>
                    <a:pt x="32275" y="27077"/>
                    <a:pt x="32329" y="27236"/>
                    <a:pt x="32329" y="27396"/>
                  </a:cubicBezTo>
                  <a:lnTo>
                    <a:pt x="34369" y="26225"/>
                  </a:lnTo>
                  <a:cubicBezTo>
                    <a:pt x="33860" y="25322"/>
                    <a:pt x="33670" y="24632"/>
                    <a:pt x="34867" y="24632"/>
                  </a:cubicBezTo>
                  <a:cubicBezTo>
                    <a:pt x="34964" y="24632"/>
                    <a:pt x="35070" y="24636"/>
                    <a:pt x="35185" y="24646"/>
                  </a:cubicBezTo>
                  <a:cubicBezTo>
                    <a:pt x="35416" y="25462"/>
                    <a:pt x="35718" y="26189"/>
                    <a:pt x="35753" y="26917"/>
                  </a:cubicBezTo>
                  <a:cubicBezTo>
                    <a:pt x="35859" y="28390"/>
                    <a:pt x="37013" y="29011"/>
                    <a:pt x="38024" y="29224"/>
                  </a:cubicBezTo>
                  <a:cubicBezTo>
                    <a:pt x="38126" y="29247"/>
                    <a:pt x="38227" y="29254"/>
                    <a:pt x="38330" y="29254"/>
                  </a:cubicBezTo>
                  <a:cubicBezTo>
                    <a:pt x="38476" y="29254"/>
                    <a:pt x="38623" y="29240"/>
                    <a:pt x="38773" y="29240"/>
                  </a:cubicBezTo>
                  <a:cubicBezTo>
                    <a:pt x="39073" y="29240"/>
                    <a:pt x="39384" y="29296"/>
                    <a:pt x="39710" y="29632"/>
                  </a:cubicBezTo>
                  <a:cubicBezTo>
                    <a:pt x="39812" y="29734"/>
                    <a:pt x="39986" y="29769"/>
                    <a:pt x="40202" y="29769"/>
                  </a:cubicBezTo>
                  <a:cubicBezTo>
                    <a:pt x="40620" y="29769"/>
                    <a:pt x="41193" y="29637"/>
                    <a:pt x="41697" y="29614"/>
                  </a:cubicBezTo>
                  <a:lnTo>
                    <a:pt x="41697" y="29614"/>
                  </a:lnTo>
                  <a:cubicBezTo>
                    <a:pt x="41182" y="31175"/>
                    <a:pt x="41608" y="32825"/>
                    <a:pt x="39657" y="33517"/>
                  </a:cubicBezTo>
                  <a:cubicBezTo>
                    <a:pt x="37368" y="32683"/>
                    <a:pt x="34369" y="33198"/>
                    <a:pt x="32488" y="30608"/>
                  </a:cubicBezTo>
                  <a:cubicBezTo>
                    <a:pt x="32240" y="30253"/>
                    <a:pt x="31388" y="30306"/>
                    <a:pt x="30820" y="30217"/>
                  </a:cubicBezTo>
                  <a:cubicBezTo>
                    <a:pt x="30607" y="30217"/>
                    <a:pt x="30395" y="30270"/>
                    <a:pt x="30182" y="30324"/>
                  </a:cubicBezTo>
                  <a:lnTo>
                    <a:pt x="29507" y="32151"/>
                  </a:lnTo>
                  <a:cubicBezTo>
                    <a:pt x="27875" y="31246"/>
                    <a:pt x="26686" y="29969"/>
                    <a:pt x="25373" y="29259"/>
                  </a:cubicBezTo>
                  <a:cubicBezTo>
                    <a:pt x="23918" y="28496"/>
                    <a:pt x="23794" y="27431"/>
                    <a:pt x="23794" y="26456"/>
                  </a:cubicBezTo>
                  <a:cubicBezTo>
                    <a:pt x="23808" y="24745"/>
                    <a:pt x="23906" y="24354"/>
                    <a:pt x="23055" y="24354"/>
                  </a:cubicBezTo>
                  <a:cubicBezTo>
                    <a:pt x="22802" y="24354"/>
                    <a:pt x="22466" y="24388"/>
                    <a:pt x="22020" y="24433"/>
                  </a:cubicBezTo>
                  <a:cubicBezTo>
                    <a:pt x="21712" y="24458"/>
                    <a:pt x="21377" y="24558"/>
                    <a:pt x="21074" y="24558"/>
                  </a:cubicBezTo>
                  <a:cubicBezTo>
                    <a:pt x="20958" y="24558"/>
                    <a:pt x="20846" y="24543"/>
                    <a:pt x="20742" y="24504"/>
                  </a:cubicBezTo>
                  <a:cubicBezTo>
                    <a:pt x="20157" y="24291"/>
                    <a:pt x="19678" y="23670"/>
                    <a:pt x="19092" y="23546"/>
                  </a:cubicBezTo>
                  <a:cubicBezTo>
                    <a:pt x="19019" y="23530"/>
                    <a:pt x="18944" y="23524"/>
                    <a:pt x="18868" y="23524"/>
                  </a:cubicBezTo>
                  <a:cubicBezTo>
                    <a:pt x="18388" y="23524"/>
                    <a:pt x="17849" y="23788"/>
                    <a:pt x="17363" y="23788"/>
                  </a:cubicBezTo>
                  <a:cubicBezTo>
                    <a:pt x="17305" y="23788"/>
                    <a:pt x="17249" y="23784"/>
                    <a:pt x="17193" y="23776"/>
                  </a:cubicBezTo>
                  <a:cubicBezTo>
                    <a:pt x="17025" y="23751"/>
                    <a:pt x="16855" y="23741"/>
                    <a:pt x="16686" y="23741"/>
                  </a:cubicBezTo>
                  <a:cubicBezTo>
                    <a:pt x="15885" y="23741"/>
                    <a:pt x="15077" y="23971"/>
                    <a:pt x="14280" y="23971"/>
                  </a:cubicBezTo>
                  <a:cubicBezTo>
                    <a:pt x="13809" y="23971"/>
                    <a:pt x="13342" y="23890"/>
                    <a:pt x="12882" y="23634"/>
                  </a:cubicBezTo>
                  <a:cubicBezTo>
                    <a:pt x="12688" y="23891"/>
                    <a:pt x="12389" y="23939"/>
                    <a:pt x="12067" y="23939"/>
                  </a:cubicBezTo>
                  <a:cubicBezTo>
                    <a:pt x="11878" y="23939"/>
                    <a:pt x="11682" y="23923"/>
                    <a:pt x="11494" y="23923"/>
                  </a:cubicBezTo>
                  <a:cubicBezTo>
                    <a:pt x="11005" y="23923"/>
                    <a:pt x="10573" y="24032"/>
                    <a:pt x="10486" y="24823"/>
                  </a:cubicBezTo>
                  <a:cubicBezTo>
                    <a:pt x="8943" y="25125"/>
                    <a:pt x="8925" y="26935"/>
                    <a:pt x="7594" y="27644"/>
                  </a:cubicBezTo>
                  <a:cubicBezTo>
                    <a:pt x="6636" y="28159"/>
                    <a:pt x="5270" y="28461"/>
                    <a:pt x="4720" y="29365"/>
                  </a:cubicBezTo>
                  <a:cubicBezTo>
                    <a:pt x="3992" y="30554"/>
                    <a:pt x="2733" y="30874"/>
                    <a:pt x="1899" y="31779"/>
                  </a:cubicBezTo>
                  <a:cubicBezTo>
                    <a:pt x="1420" y="32311"/>
                    <a:pt x="1100" y="33021"/>
                    <a:pt x="692" y="33695"/>
                  </a:cubicBezTo>
                  <a:lnTo>
                    <a:pt x="2058" y="34529"/>
                  </a:lnTo>
                  <a:lnTo>
                    <a:pt x="0" y="40331"/>
                  </a:lnTo>
                  <a:cubicBezTo>
                    <a:pt x="568" y="41839"/>
                    <a:pt x="1828" y="42460"/>
                    <a:pt x="1579" y="43844"/>
                  </a:cubicBezTo>
                  <a:cubicBezTo>
                    <a:pt x="1526" y="44093"/>
                    <a:pt x="4542" y="47659"/>
                    <a:pt x="4720" y="47677"/>
                  </a:cubicBezTo>
                  <a:cubicBezTo>
                    <a:pt x="6407" y="47823"/>
                    <a:pt x="7973" y="48589"/>
                    <a:pt x="9698" y="48589"/>
                  </a:cubicBezTo>
                  <a:cubicBezTo>
                    <a:pt x="10059" y="48589"/>
                    <a:pt x="10428" y="48555"/>
                    <a:pt x="10806" y="48475"/>
                  </a:cubicBezTo>
                  <a:cubicBezTo>
                    <a:pt x="10987" y="48438"/>
                    <a:pt x="11194" y="48420"/>
                    <a:pt x="11413" y="48420"/>
                  </a:cubicBezTo>
                  <a:cubicBezTo>
                    <a:pt x="12352" y="48420"/>
                    <a:pt x="13516" y="48748"/>
                    <a:pt x="13875" y="49309"/>
                  </a:cubicBezTo>
                  <a:cubicBezTo>
                    <a:pt x="14692" y="50587"/>
                    <a:pt x="15916" y="50622"/>
                    <a:pt x="17140" y="51048"/>
                  </a:cubicBezTo>
                  <a:lnTo>
                    <a:pt x="16076" y="56140"/>
                  </a:lnTo>
                  <a:cubicBezTo>
                    <a:pt x="17477" y="57542"/>
                    <a:pt x="16874" y="59405"/>
                    <a:pt x="17513" y="60896"/>
                  </a:cubicBezTo>
                  <a:cubicBezTo>
                    <a:pt x="17939" y="61907"/>
                    <a:pt x="17566" y="62439"/>
                    <a:pt x="17105" y="63291"/>
                  </a:cubicBezTo>
                  <a:cubicBezTo>
                    <a:pt x="16484" y="64409"/>
                    <a:pt x="14922" y="65544"/>
                    <a:pt x="15526" y="66751"/>
                  </a:cubicBezTo>
                  <a:cubicBezTo>
                    <a:pt x="16359" y="68454"/>
                    <a:pt x="16218" y="70264"/>
                    <a:pt x="16218" y="71879"/>
                  </a:cubicBezTo>
                  <a:cubicBezTo>
                    <a:pt x="16218" y="73795"/>
                    <a:pt x="17726" y="75427"/>
                    <a:pt x="16697" y="77361"/>
                  </a:cubicBezTo>
                  <a:cubicBezTo>
                    <a:pt x="17566" y="77539"/>
                    <a:pt x="18134" y="77610"/>
                    <a:pt x="18684" y="77787"/>
                  </a:cubicBezTo>
                  <a:cubicBezTo>
                    <a:pt x="19160" y="77941"/>
                    <a:pt x="19615" y="78007"/>
                    <a:pt x="20054" y="78007"/>
                  </a:cubicBezTo>
                  <a:cubicBezTo>
                    <a:pt x="21942" y="78007"/>
                    <a:pt x="23543" y="76798"/>
                    <a:pt x="25284" y="76208"/>
                  </a:cubicBezTo>
                  <a:cubicBezTo>
                    <a:pt x="25497" y="74416"/>
                    <a:pt x="27183" y="74310"/>
                    <a:pt x="28336" y="73671"/>
                  </a:cubicBezTo>
                  <a:cubicBezTo>
                    <a:pt x="29472" y="73032"/>
                    <a:pt x="29064" y="71826"/>
                    <a:pt x="29436" y="71240"/>
                  </a:cubicBezTo>
                  <a:cubicBezTo>
                    <a:pt x="30359" y="70814"/>
                    <a:pt x="31051" y="70495"/>
                    <a:pt x="31761" y="70175"/>
                  </a:cubicBezTo>
                  <a:cubicBezTo>
                    <a:pt x="32701" y="69750"/>
                    <a:pt x="34032" y="69998"/>
                    <a:pt x="34351" y="68472"/>
                  </a:cubicBezTo>
                  <a:cubicBezTo>
                    <a:pt x="34564" y="67407"/>
                    <a:pt x="35593" y="66680"/>
                    <a:pt x="35682" y="65456"/>
                  </a:cubicBezTo>
                  <a:cubicBezTo>
                    <a:pt x="35789" y="64196"/>
                    <a:pt x="36179" y="62972"/>
                    <a:pt x="36427" y="61783"/>
                  </a:cubicBezTo>
                  <a:cubicBezTo>
                    <a:pt x="38255" y="60576"/>
                    <a:pt x="39869" y="58979"/>
                    <a:pt x="41786" y="58376"/>
                  </a:cubicBezTo>
                  <a:cubicBezTo>
                    <a:pt x="44997" y="57365"/>
                    <a:pt x="46843" y="55306"/>
                    <a:pt x="48156" y="52432"/>
                  </a:cubicBezTo>
                  <a:cubicBezTo>
                    <a:pt x="47847" y="52304"/>
                    <a:pt x="47534" y="52259"/>
                    <a:pt x="47221" y="52259"/>
                  </a:cubicBezTo>
                  <a:cubicBezTo>
                    <a:pt x="46487" y="52259"/>
                    <a:pt x="45750" y="52505"/>
                    <a:pt x="45050" y="52505"/>
                  </a:cubicBezTo>
                  <a:cubicBezTo>
                    <a:pt x="44519" y="52505"/>
                    <a:pt x="44011" y="52363"/>
                    <a:pt x="43542" y="51864"/>
                  </a:cubicBezTo>
                  <a:cubicBezTo>
                    <a:pt x="44838" y="50108"/>
                    <a:pt x="44909" y="50037"/>
                    <a:pt x="46293" y="49859"/>
                  </a:cubicBezTo>
                  <a:cubicBezTo>
                    <a:pt x="49646" y="49451"/>
                    <a:pt x="52822" y="48599"/>
                    <a:pt x="55395" y="46222"/>
                  </a:cubicBezTo>
                  <a:cubicBezTo>
                    <a:pt x="55484" y="45760"/>
                    <a:pt x="55697" y="45281"/>
                    <a:pt x="55643" y="44838"/>
                  </a:cubicBezTo>
                  <a:cubicBezTo>
                    <a:pt x="55519" y="44022"/>
                    <a:pt x="55359" y="43205"/>
                    <a:pt x="55164" y="42389"/>
                  </a:cubicBezTo>
                  <a:lnTo>
                    <a:pt x="54224" y="42886"/>
                  </a:lnTo>
                  <a:lnTo>
                    <a:pt x="53887" y="41254"/>
                  </a:lnTo>
                  <a:lnTo>
                    <a:pt x="53017" y="42655"/>
                  </a:lnTo>
                  <a:cubicBezTo>
                    <a:pt x="51775" y="40810"/>
                    <a:pt x="49327" y="39763"/>
                    <a:pt x="49735" y="36906"/>
                  </a:cubicBezTo>
                  <a:lnTo>
                    <a:pt x="49735" y="36906"/>
                  </a:lnTo>
                  <a:cubicBezTo>
                    <a:pt x="51738" y="37643"/>
                    <a:pt x="51709" y="40841"/>
                    <a:pt x="54224" y="40841"/>
                  </a:cubicBezTo>
                  <a:cubicBezTo>
                    <a:pt x="54315" y="40841"/>
                    <a:pt x="54410" y="40836"/>
                    <a:pt x="54508" y="40828"/>
                  </a:cubicBezTo>
                  <a:cubicBezTo>
                    <a:pt x="55927" y="42620"/>
                    <a:pt x="57968" y="43134"/>
                    <a:pt x="59831" y="43365"/>
                  </a:cubicBezTo>
                  <a:lnTo>
                    <a:pt x="61091" y="47286"/>
                  </a:lnTo>
                  <a:lnTo>
                    <a:pt x="62244" y="46683"/>
                  </a:lnTo>
                  <a:lnTo>
                    <a:pt x="61215" y="57010"/>
                  </a:lnTo>
                  <a:cubicBezTo>
                    <a:pt x="61641" y="57382"/>
                    <a:pt x="62102" y="57613"/>
                    <a:pt x="62208" y="57950"/>
                  </a:cubicBezTo>
                  <a:cubicBezTo>
                    <a:pt x="62350" y="58411"/>
                    <a:pt x="62226" y="58944"/>
                    <a:pt x="62226" y="59547"/>
                  </a:cubicBezTo>
                  <a:cubicBezTo>
                    <a:pt x="64054" y="58323"/>
                    <a:pt x="61783" y="56531"/>
                    <a:pt x="63397" y="55164"/>
                  </a:cubicBezTo>
                  <a:cubicBezTo>
                    <a:pt x="64338" y="54348"/>
                    <a:pt x="63894" y="52503"/>
                    <a:pt x="65420" y="51421"/>
                  </a:cubicBezTo>
                  <a:cubicBezTo>
                    <a:pt x="66236" y="50835"/>
                    <a:pt x="66627" y="49575"/>
                    <a:pt x="67407" y="48670"/>
                  </a:cubicBezTo>
                  <a:cubicBezTo>
                    <a:pt x="71098" y="31370"/>
                    <a:pt x="63805" y="13556"/>
                    <a:pt x="49451" y="3265"/>
                  </a:cubicBezTo>
                  <a:lnTo>
                    <a:pt x="47836" y="4223"/>
                  </a:lnTo>
                  <a:lnTo>
                    <a:pt x="47286" y="3425"/>
                  </a:lnTo>
                  <a:lnTo>
                    <a:pt x="45068" y="5465"/>
                  </a:lnTo>
                  <a:lnTo>
                    <a:pt x="44802" y="2963"/>
                  </a:lnTo>
                  <a:cubicBezTo>
                    <a:pt x="44483" y="4383"/>
                    <a:pt x="44412" y="5554"/>
                    <a:pt x="43383" y="6193"/>
                  </a:cubicBezTo>
                  <a:lnTo>
                    <a:pt x="41094" y="4844"/>
                  </a:lnTo>
                  <a:lnTo>
                    <a:pt x="41253" y="4702"/>
                  </a:lnTo>
                  <a:lnTo>
                    <a:pt x="43436" y="4525"/>
                  </a:lnTo>
                  <a:cubicBezTo>
                    <a:pt x="43312" y="3975"/>
                    <a:pt x="43329" y="3673"/>
                    <a:pt x="43205" y="3567"/>
                  </a:cubicBezTo>
                  <a:cubicBezTo>
                    <a:pt x="41857" y="2502"/>
                    <a:pt x="40153" y="1934"/>
                    <a:pt x="38929" y="657"/>
                  </a:cubicBezTo>
                  <a:cubicBezTo>
                    <a:pt x="38787" y="497"/>
                    <a:pt x="38592" y="390"/>
                    <a:pt x="38379" y="319"/>
                  </a:cubicBezTo>
                  <a:cubicBezTo>
                    <a:pt x="37729" y="119"/>
                    <a:pt x="37080" y="1"/>
                    <a:pt x="364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7" name="Google Shape;3617;p53"/>
            <p:cNvSpPr/>
            <p:nvPr/>
          </p:nvSpPr>
          <p:spPr>
            <a:xfrm>
              <a:off x="6032245" y="3317811"/>
              <a:ext cx="62149" cy="151155"/>
            </a:xfrm>
            <a:custGeom>
              <a:avLst/>
              <a:gdLst/>
              <a:ahLst/>
              <a:cxnLst/>
              <a:rect l="l" t="t" r="r" b="b"/>
              <a:pathLst>
                <a:path w="10771" h="26208" extrusionOk="0">
                  <a:moveTo>
                    <a:pt x="266" y="1"/>
                  </a:moveTo>
                  <a:lnTo>
                    <a:pt x="266" y="1"/>
                  </a:lnTo>
                  <a:cubicBezTo>
                    <a:pt x="0" y="9316"/>
                    <a:pt x="2679" y="18489"/>
                    <a:pt x="7914" y="26208"/>
                  </a:cubicBezTo>
                  <a:lnTo>
                    <a:pt x="9014" y="25995"/>
                  </a:lnTo>
                  <a:cubicBezTo>
                    <a:pt x="9954" y="24078"/>
                    <a:pt x="9617" y="22073"/>
                    <a:pt x="9475" y="20068"/>
                  </a:cubicBezTo>
                  <a:cubicBezTo>
                    <a:pt x="9422" y="19412"/>
                    <a:pt x="9120" y="18347"/>
                    <a:pt x="9386" y="18188"/>
                  </a:cubicBezTo>
                  <a:cubicBezTo>
                    <a:pt x="10753" y="17336"/>
                    <a:pt x="10274" y="15881"/>
                    <a:pt x="10770" y="14834"/>
                  </a:cubicBezTo>
                  <a:cubicBezTo>
                    <a:pt x="9777" y="13415"/>
                    <a:pt x="8890" y="12137"/>
                    <a:pt x="7328" y="11161"/>
                  </a:cubicBezTo>
                  <a:cubicBezTo>
                    <a:pt x="5270" y="9901"/>
                    <a:pt x="3194" y="8216"/>
                    <a:pt x="3247" y="5235"/>
                  </a:cubicBezTo>
                  <a:cubicBezTo>
                    <a:pt x="3265" y="4649"/>
                    <a:pt x="2999" y="3709"/>
                    <a:pt x="2591" y="3514"/>
                  </a:cubicBezTo>
                  <a:cubicBezTo>
                    <a:pt x="1295" y="2893"/>
                    <a:pt x="479" y="1562"/>
                    <a:pt x="408" y="604"/>
                  </a:cubicBezTo>
                  <a:cubicBezTo>
                    <a:pt x="373" y="391"/>
                    <a:pt x="337" y="196"/>
                    <a:pt x="26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8" name="Google Shape;3618;p53"/>
            <p:cNvSpPr/>
            <p:nvPr/>
          </p:nvSpPr>
          <p:spPr>
            <a:xfrm>
              <a:off x="6189159" y="3073176"/>
              <a:ext cx="117131" cy="35868"/>
            </a:xfrm>
            <a:custGeom>
              <a:avLst/>
              <a:gdLst/>
              <a:ahLst/>
              <a:cxnLst/>
              <a:rect l="l" t="t" r="r" b="b"/>
              <a:pathLst>
                <a:path w="20300" h="6219" extrusionOk="0">
                  <a:moveTo>
                    <a:pt x="17629" y="0"/>
                  </a:moveTo>
                  <a:cubicBezTo>
                    <a:pt x="12187" y="0"/>
                    <a:pt x="6775" y="976"/>
                    <a:pt x="1651" y="2882"/>
                  </a:cubicBezTo>
                  <a:cubicBezTo>
                    <a:pt x="1207" y="3344"/>
                    <a:pt x="764" y="3823"/>
                    <a:pt x="302" y="4266"/>
                  </a:cubicBezTo>
                  <a:cubicBezTo>
                    <a:pt x="1" y="4568"/>
                    <a:pt x="231" y="5402"/>
                    <a:pt x="214" y="6218"/>
                  </a:cubicBezTo>
                  <a:cubicBezTo>
                    <a:pt x="1402" y="5473"/>
                    <a:pt x="2201" y="4834"/>
                    <a:pt x="3141" y="4408"/>
                  </a:cubicBezTo>
                  <a:cubicBezTo>
                    <a:pt x="5525" y="3347"/>
                    <a:pt x="8003" y="2632"/>
                    <a:pt x="10607" y="2632"/>
                  </a:cubicBezTo>
                  <a:cubicBezTo>
                    <a:pt x="11182" y="2632"/>
                    <a:pt x="11763" y="2666"/>
                    <a:pt x="12350" y="2740"/>
                  </a:cubicBezTo>
                  <a:cubicBezTo>
                    <a:pt x="12586" y="2362"/>
                    <a:pt x="12876" y="2257"/>
                    <a:pt x="13186" y="2257"/>
                  </a:cubicBezTo>
                  <a:cubicBezTo>
                    <a:pt x="13571" y="2257"/>
                    <a:pt x="13986" y="2419"/>
                    <a:pt x="14364" y="2419"/>
                  </a:cubicBezTo>
                  <a:cubicBezTo>
                    <a:pt x="14550" y="2419"/>
                    <a:pt x="14727" y="2379"/>
                    <a:pt x="14887" y="2261"/>
                  </a:cubicBezTo>
                  <a:cubicBezTo>
                    <a:pt x="16502" y="1072"/>
                    <a:pt x="18472" y="718"/>
                    <a:pt x="20299" y="79"/>
                  </a:cubicBezTo>
                  <a:cubicBezTo>
                    <a:pt x="19409" y="26"/>
                    <a:pt x="18519" y="0"/>
                    <a:pt x="176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9" name="Google Shape;3619;p53"/>
            <p:cNvSpPr/>
            <p:nvPr/>
          </p:nvSpPr>
          <p:spPr>
            <a:xfrm>
              <a:off x="6123036" y="3116815"/>
              <a:ext cx="22734" cy="17095"/>
            </a:xfrm>
            <a:custGeom>
              <a:avLst/>
              <a:gdLst/>
              <a:ahLst/>
              <a:cxnLst/>
              <a:rect l="l" t="t" r="r" b="b"/>
              <a:pathLst>
                <a:path w="3940" h="2964" extrusionOk="0">
                  <a:moveTo>
                    <a:pt x="3940" y="1"/>
                  </a:moveTo>
                  <a:lnTo>
                    <a:pt x="3940" y="1"/>
                  </a:lnTo>
                  <a:cubicBezTo>
                    <a:pt x="2573" y="923"/>
                    <a:pt x="1260" y="1899"/>
                    <a:pt x="1" y="2964"/>
                  </a:cubicBezTo>
                  <a:cubicBezTo>
                    <a:pt x="1651" y="2839"/>
                    <a:pt x="2964" y="2094"/>
                    <a:pt x="3656" y="568"/>
                  </a:cubicBezTo>
                  <a:cubicBezTo>
                    <a:pt x="3744" y="373"/>
                    <a:pt x="3833" y="196"/>
                    <a:pt x="39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0" name="Google Shape;3620;p53"/>
            <p:cNvSpPr/>
            <p:nvPr/>
          </p:nvSpPr>
          <p:spPr>
            <a:xfrm>
              <a:off x="6099493" y="3152223"/>
              <a:ext cx="3999" cy="4205"/>
            </a:xfrm>
            <a:custGeom>
              <a:avLst/>
              <a:gdLst/>
              <a:ahLst/>
              <a:cxnLst/>
              <a:rect l="l" t="t" r="r" b="b"/>
              <a:pathLst>
                <a:path w="693" h="729" extrusionOk="0">
                  <a:moveTo>
                    <a:pt x="693" y="1"/>
                  </a:moveTo>
                  <a:cubicBezTo>
                    <a:pt x="462" y="231"/>
                    <a:pt x="231" y="480"/>
                    <a:pt x="1" y="728"/>
                  </a:cubicBezTo>
                  <a:cubicBezTo>
                    <a:pt x="284" y="533"/>
                    <a:pt x="533" y="285"/>
                    <a:pt x="6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1" name="Google Shape;3621;p53"/>
            <p:cNvSpPr/>
            <p:nvPr/>
          </p:nvSpPr>
          <p:spPr>
            <a:xfrm>
              <a:off x="6350890" y="3500386"/>
              <a:ext cx="45156" cy="42581"/>
            </a:xfrm>
            <a:custGeom>
              <a:avLst/>
              <a:gdLst/>
              <a:ahLst/>
              <a:cxnLst/>
              <a:rect l="l" t="t" r="r" b="b"/>
              <a:pathLst>
                <a:path w="7826" h="7383" extrusionOk="0">
                  <a:moveTo>
                    <a:pt x="7648" y="1"/>
                  </a:moveTo>
                  <a:lnTo>
                    <a:pt x="7648" y="1"/>
                  </a:lnTo>
                  <a:cubicBezTo>
                    <a:pt x="6488" y="417"/>
                    <a:pt x="5728" y="1543"/>
                    <a:pt x="4541" y="1543"/>
                  </a:cubicBezTo>
                  <a:cubicBezTo>
                    <a:pt x="4311" y="1543"/>
                    <a:pt x="4065" y="1501"/>
                    <a:pt x="3797" y="1403"/>
                  </a:cubicBezTo>
                  <a:cubicBezTo>
                    <a:pt x="3766" y="1397"/>
                    <a:pt x="3735" y="1395"/>
                    <a:pt x="3704" y="1395"/>
                  </a:cubicBezTo>
                  <a:cubicBezTo>
                    <a:pt x="3523" y="1395"/>
                    <a:pt x="3348" y="1482"/>
                    <a:pt x="3212" y="1633"/>
                  </a:cubicBezTo>
                  <a:cubicBezTo>
                    <a:pt x="2520" y="3567"/>
                    <a:pt x="142" y="4490"/>
                    <a:pt x="0" y="7045"/>
                  </a:cubicBezTo>
                  <a:lnTo>
                    <a:pt x="1633" y="7382"/>
                  </a:lnTo>
                  <a:cubicBezTo>
                    <a:pt x="2662" y="6353"/>
                    <a:pt x="3655" y="5306"/>
                    <a:pt x="4844" y="4419"/>
                  </a:cubicBezTo>
                  <a:cubicBezTo>
                    <a:pt x="6211" y="3390"/>
                    <a:pt x="7825" y="2219"/>
                    <a:pt x="764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2" name="Google Shape;3622;p53"/>
            <p:cNvSpPr/>
            <p:nvPr/>
          </p:nvSpPr>
          <p:spPr>
            <a:xfrm>
              <a:off x="6263064" y="3138409"/>
              <a:ext cx="28469" cy="38688"/>
            </a:xfrm>
            <a:custGeom>
              <a:avLst/>
              <a:gdLst/>
              <a:ahLst/>
              <a:cxnLst/>
              <a:rect l="l" t="t" r="r" b="b"/>
              <a:pathLst>
                <a:path w="4934" h="6708" extrusionOk="0">
                  <a:moveTo>
                    <a:pt x="2094" y="0"/>
                  </a:moveTo>
                  <a:lnTo>
                    <a:pt x="2094" y="0"/>
                  </a:lnTo>
                  <a:cubicBezTo>
                    <a:pt x="0" y="1420"/>
                    <a:pt x="3052" y="2467"/>
                    <a:pt x="1988" y="4454"/>
                  </a:cubicBezTo>
                  <a:lnTo>
                    <a:pt x="817" y="4756"/>
                  </a:lnTo>
                  <a:cubicBezTo>
                    <a:pt x="1243" y="6707"/>
                    <a:pt x="2822" y="6228"/>
                    <a:pt x="3851" y="6619"/>
                  </a:cubicBezTo>
                  <a:lnTo>
                    <a:pt x="4933" y="5430"/>
                  </a:lnTo>
                  <a:cubicBezTo>
                    <a:pt x="4685" y="3993"/>
                    <a:pt x="2768" y="2875"/>
                    <a:pt x="4206" y="1207"/>
                  </a:cubicBezTo>
                  <a:cubicBezTo>
                    <a:pt x="3883" y="979"/>
                    <a:pt x="3846" y="221"/>
                    <a:pt x="3400" y="221"/>
                  </a:cubicBezTo>
                  <a:cubicBezTo>
                    <a:pt x="3257" y="221"/>
                    <a:pt x="3072" y="299"/>
                    <a:pt x="2822" y="497"/>
                  </a:cubicBezTo>
                  <a:cubicBezTo>
                    <a:pt x="2815" y="502"/>
                    <a:pt x="2807" y="505"/>
                    <a:pt x="2796" y="505"/>
                  </a:cubicBezTo>
                  <a:cubicBezTo>
                    <a:pt x="2667" y="505"/>
                    <a:pt x="2259" y="115"/>
                    <a:pt x="20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3" name="Google Shape;3623;p53"/>
            <p:cNvSpPr/>
            <p:nvPr/>
          </p:nvSpPr>
          <p:spPr>
            <a:xfrm>
              <a:off x="6251907" y="3097504"/>
              <a:ext cx="26011" cy="13686"/>
            </a:xfrm>
            <a:custGeom>
              <a:avLst/>
              <a:gdLst/>
              <a:ahLst/>
              <a:cxnLst/>
              <a:rect l="l" t="t" r="r" b="b"/>
              <a:pathLst>
                <a:path w="4508" h="2373" extrusionOk="0">
                  <a:moveTo>
                    <a:pt x="1606" y="0"/>
                  </a:moveTo>
                  <a:cubicBezTo>
                    <a:pt x="1091" y="0"/>
                    <a:pt x="558" y="171"/>
                    <a:pt x="0" y="723"/>
                  </a:cubicBezTo>
                  <a:cubicBezTo>
                    <a:pt x="430" y="1555"/>
                    <a:pt x="972" y="2195"/>
                    <a:pt x="1679" y="2195"/>
                  </a:cubicBezTo>
                  <a:cubicBezTo>
                    <a:pt x="1906" y="2195"/>
                    <a:pt x="2151" y="2129"/>
                    <a:pt x="2414" y="1982"/>
                  </a:cubicBezTo>
                  <a:cubicBezTo>
                    <a:pt x="2981" y="1663"/>
                    <a:pt x="4507" y="2373"/>
                    <a:pt x="4064" y="456"/>
                  </a:cubicBezTo>
                  <a:lnTo>
                    <a:pt x="4064" y="456"/>
                  </a:lnTo>
                  <a:cubicBezTo>
                    <a:pt x="4046" y="457"/>
                    <a:pt x="4028" y="457"/>
                    <a:pt x="4010" y="457"/>
                  </a:cubicBezTo>
                  <a:cubicBezTo>
                    <a:pt x="3239" y="457"/>
                    <a:pt x="2447" y="0"/>
                    <a:pt x="16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4" name="Google Shape;3624;p53"/>
            <p:cNvSpPr/>
            <p:nvPr/>
          </p:nvSpPr>
          <p:spPr>
            <a:xfrm>
              <a:off x="6251498" y="3152108"/>
              <a:ext cx="21609" cy="17008"/>
            </a:xfrm>
            <a:custGeom>
              <a:avLst/>
              <a:gdLst/>
              <a:ahLst/>
              <a:cxnLst/>
              <a:rect l="l" t="t" r="r" b="b"/>
              <a:pathLst>
                <a:path w="3745" h="2949" extrusionOk="0">
                  <a:moveTo>
                    <a:pt x="1345" y="1"/>
                  </a:moveTo>
                  <a:cubicBezTo>
                    <a:pt x="985" y="1"/>
                    <a:pt x="770" y="142"/>
                    <a:pt x="568" y="429"/>
                  </a:cubicBezTo>
                  <a:cubicBezTo>
                    <a:pt x="213" y="943"/>
                    <a:pt x="249" y="1706"/>
                    <a:pt x="0" y="2948"/>
                  </a:cubicBezTo>
                  <a:lnTo>
                    <a:pt x="3744" y="695"/>
                  </a:lnTo>
                  <a:cubicBezTo>
                    <a:pt x="2515" y="235"/>
                    <a:pt x="1810" y="1"/>
                    <a:pt x="13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5" name="Google Shape;3625;p53"/>
            <p:cNvSpPr/>
            <p:nvPr/>
          </p:nvSpPr>
          <p:spPr>
            <a:xfrm>
              <a:off x="6000718" y="3070557"/>
              <a:ext cx="587865" cy="517731"/>
            </a:xfrm>
            <a:custGeom>
              <a:avLst/>
              <a:gdLst/>
              <a:ahLst/>
              <a:cxnLst/>
              <a:rect l="l" t="t" r="r" b="b"/>
              <a:pathLst>
                <a:path w="101883" h="89767" extrusionOk="0">
                  <a:moveTo>
                    <a:pt x="50267" y="444"/>
                  </a:moveTo>
                  <a:cubicBezTo>
                    <a:pt x="55590" y="462"/>
                    <a:pt x="60878" y="1384"/>
                    <a:pt x="65881" y="3177"/>
                  </a:cubicBezTo>
                  <a:cubicBezTo>
                    <a:pt x="89445" y="11622"/>
                    <a:pt x="101883" y="37138"/>
                    <a:pt x="93614" y="60186"/>
                  </a:cubicBezTo>
                  <a:cubicBezTo>
                    <a:pt x="87173" y="78160"/>
                    <a:pt x="70033" y="89321"/>
                    <a:pt x="51598" y="89321"/>
                  </a:cubicBezTo>
                  <a:cubicBezTo>
                    <a:pt x="46275" y="89321"/>
                    <a:pt x="41005" y="88381"/>
                    <a:pt x="36002" y="86588"/>
                  </a:cubicBezTo>
                  <a:cubicBezTo>
                    <a:pt x="12421" y="78143"/>
                    <a:pt x="0" y="52628"/>
                    <a:pt x="8251" y="29597"/>
                  </a:cubicBezTo>
                  <a:cubicBezTo>
                    <a:pt x="14692" y="11605"/>
                    <a:pt x="31850" y="444"/>
                    <a:pt x="50267" y="444"/>
                  </a:cubicBezTo>
                  <a:close/>
                  <a:moveTo>
                    <a:pt x="50267" y="0"/>
                  </a:moveTo>
                  <a:cubicBezTo>
                    <a:pt x="45672" y="0"/>
                    <a:pt x="41094" y="692"/>
                    <a:pt x="36711" y="2041"/>
                  </a:cubicBezTo>
                  <a:cubicBezTo>
                    <a:pt x="32364" y="3372"/>
                    <a:pt x="28265" y="5359"/>
                    <a:pt x="24504" y="7896"/>
                  </a:cubicBezTo>
                  <a:cubicBezTo>
                    <a:pt x="11640" y="16644"/>
                    <a:pt x="4347" y="31531"/>
                    <a:pt x="5341" y="47056"/>
                  </a:cubicBezTo>
                  <a:cubicBezTo>
                    <a:pt x="5714" y="52858"/>
                    <a:pt x="7222" y="58536"/>
                    <a:pt x="9777" y="63753"/>
                  </a:cubicBezTo>
                  <a:cubicBezTo>
                    <a:pt x="12350" y="69022"/>
                    <a:pt x="15898" y="73760"/>
                    <a:pt x="20245" y="77681"/>
                  </a:cubicBezTo>
                  <a:cubicBezTo>
                    <a:pt x="28930" y="85568"/>
                    <a:pt x="40125" y="89766"/>
                    <a:pt x="51538" y="89766"/>
                  </a:cubicBezTo>
                  <a:cubicBezTo>
                    <a:pt x="56096" y="89766"/>
                    <a:pt x="60690" y="89097"/>
                    <a:pt x="65172" y="87724"/>
                  </a:cubicBezTo>
                  <a:cubicBezTo>
                    <a:pt x="69501" y="86376"/>
                    <a:pt x="73618" y="84406"/>
                    <a:pt x="77361" y="81851"/>
                  </a:cubicBezTo>
                  <a:cubicBezTo>
                    <a:pt x="90225" y="73121"/>
                    <a:pt x="97518" y="58234"/>
                    <a:pt x="96524" y="42709"/>
                  </a:cubicBezTo>
                  <a:cubicBezTo>
                    <a:pt x="96152" y="36907"/>
                    <a:pt x="94643" y="31229"/>
                    <a:pt x="92088" y="26012"/>
                  </a:cubicBezTo>
                  <a:cubicBezTo>
                    <a:pt x="89533" y="20743"/>
                    <a:pt x="85985" y="16005"/>
                    <a:pt x="81620" y="12084"/>
                  </a:cubicBezTo>
                  <a:cubicBezTo>
                    <a:pt x="73032" y="4330"/>
                    <a:pt x="61854" y="36"/>
                    <a:pt x="502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26" name="Google Shape;3626;p53"/>
          <p:cNvGrpSpPr/>
          <p:nvPr/>
        </p:nvGrpSpPr>
        <p:grpSpPr>
          <a:xfrm>
            <a:off x="6079197" y="3714217"/>
            <a:ext cx="557665" cy="516387"/>
            <a:chOff x="6015523" y="3714217"/>
            <a:chExt cx="557665" cy="516387"/>
          </a:xfrm>
        </p:grpSpPr>
        <p:grpSp>
          <p:nvGrpSpPr>
            <p:cNvPr id="3627" name="Google Shape;3627;p53"/>
            <p:cNvGrpSpPr/>
            <p:nvPr/>
          </p:nvGrpSpPr>
          <p:grpSpPr>
            <a:xfrm>
              <a:off x="6036094" y="3716980"/>
              <a:ext cx="529822" cy="510480"/>
              <a:chOff x="3148311" y="-545634"/>
              <a:chExt cx="1006118" cy="969572"/>
            </a:xfrm>
          </p:grpSpPr>
          <p:sp>
            <p:nvSpPr>
              <p:cNvPr id="3628" name="Google Shape;3628;p53"/>
              <p:cNvSpPr/>
              <p:nvPr/>
            </p:nvSpPr>
            <p:spPr>
              <a:xfrm>
                <a:off x="3497808" y="-545634"/>
                <a:ext cx="152012" cy="122083"/>
              </a:xfrm>
              <a:custGeom>
                <a:avLst/>
                <a:gdLst/>
                <a:ahLst/>
                <a:cxnLst/>
                <a:rect l="l" t="t" r="r" b="b"/>
                <a:pathLst>
                  <a:path w="13876" h="11144" extrusionOk="0">
                    <a:moveTo>
                      <a:pt x="11055" y="0"/>
                    </a:moveTo>
                    <a:cubicBezTo>
                      <a:pt x="9600" y="71"/>
                      <a:pt x="8127" y="213"/>
                      <a:pt x="6654" y="426"/>
                    </a:cubicBezTo>
                    <a:cubicBezTo>
                      <a:pt x="4401" y="746"/>
                      <a:pt x="2165" y="1225"/>
                      <a:pt x="1" y="1863"/>
                    </a:cubicBezTo>
                    <a:lnTo>
                      <a:pt x="54" y="2307"/>
                    </a:lnTo>
                    <a:lnTo>
                      <a:pt x="2165" y="2396"/>
                    </a:lnTo>
                    <a:lnTo>
                      <a:pt x="1739" y="4117"/>
                    </a:lnTo>
                    <a:lnTo>
                      <a:pt x="3194" y="4401"/>
                    </a:lnTo>
                    <a:lnTo>
                      <a:pt x="1828" y="5146"/>
                    </a:lnTo>
                    <a:cubicBezTo>
                      <a:pt x="2893" y="6015"/>
                      <a:pt x="1207" y="7417"/>
                      <a:pt x="2538" y="8393"/>
                    </a:cubicBezTo>
                    <a:cubicBezTo>
                      <a:pt x="3088" y="8783"/>
                      <a:pt x="3088" y="9937"/>
                      <a:pt x="3301" y="10611"/>
                    </a:cubicBezTo>
                    <a:lnTo>
                      <a:pt x="6335" y="11143"/>
                    </a:lnTo>
                    <a:cubicBezTo>
                      <a:pt x="6583" y="10611"/>
                      <a:pt x="6832" y="10061"/>
                      <a:pt x="7098" y="9493"/>
                    </a:cubicBezTo>
                    <a:cubicBezTo>
                      <a:pt x="7670" y="8245"/>
                      <a:pt x="7649" y="6456"/>
                      <a:pt x="9632" y="6456"/>
                    </a:cubicBezTo>
                    <a:cubicBezTo>
                      <a:pt x="9679" y="6456"/>
                      <a:pt x="9728" y="6457"/>
                      <a:pt x="9777" y="6459"/>
                    </a:cubicBezTo>
                    <a:cubicBezTo>
                      <a:pt x="10380" y="5217"/>
                      <a:pt x="11410" y="4791"/>
                      <a:pt x="12723" y="4685"/>
                    </a:cubicBezTo>
                    <a:cubicBezTo>
                      <a:pt x="13113" y="4649"/>
                      <a:pt x="13450" y="3939"/>
                      <a:pt x="13876" y="3443"/>
                    </a:cubicBezTo>
                    <a:cubicBezTo>
                      <a:pt x="13166" y="2378"/>
                      <a:pt x="12687" y="1012"/>
                      <a:pt x="11729" y="391"/>
                    </a:cubicBezTo>
                    <a:cubicBezTo>
                      <a:pt x="11516" y="249"/>
                      <a:pt x="11285" y="125"/>
                      <a:pt x="11055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29" name="Google Shape;3629;p53"/>
              <p:cNvSpPr/>
              <p:nvPr/>
            </p:nvSpPr>
            <p:spPr>
              <a:xfrm>
                <a:off x="3779659" y="-441254"/>
                <a:ext cx="74264" cy="69794"/>
              </a:xfrm>
              <a:custGeom>
                <a:avLst/>
                <a:gdLst/>
                <a:ahLst/>
                <a:cxnLst/>
                <a:rect l="l" t="t" r="r" b="b"/>
                <a:pathLst>
                  <a:path w="6779" h="6371" extrusionOk="0">
                    <a:moveTo>
                      <a:pt x="870" y="1"/>
                    </a:moveTo>
                    <a:lnTo>
                      <a:pt x="1" y="1154"/>
                    </a:lnTo>
                    <a:lnTo>
                      <a:pt x="1509" y="2698"/>
                    </a:lnTo>
                    <a:lnTo>
                      <a:pt x="2272" y="3283"/>
                    </a:lnTo>
                    <a:cubicBezTo>
                      <a:pt x="3567" y="3922"/>
                      <a:pt x="3301" y="5625"/>
                      <a:pt x="4436" y="6370"/>
                    </a:cubicBezTo>
                    <a:cubicBezTo>
                      <a:pt x="4880" y="5341"/>
                      <a:pt x="5838" y="5554"/>
                      <a:pt x="6654" y="5377"/>
                    </a:cubicBezTo>
                    <a:cubicBezTo>
                      <a:pt x="6778" y="4117"/>
                      <a:pt x="5732" y="3549"/>
                      <a:pt x="4933" y="3265"/>
                    </a:cubicBezTo>
                    <a:cubicBezTo>
                      <a:pt x="3762" y="2875"/>
                      <a:pt x="2928" y="2360"/>
                      <a:pt x="2325" y="1278"/>
                    </a:cubicBezTo>
                    <a:cubicBezTo>
                      <a:pt x="2023" y="746"/>
                      <a:pt x="1367" y="426"/>
                      <a:pt x="87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0" name="Google Shape;3630;p53"/>
              <p:cNvSpPr/>
              <p:nvPr/>
            </p:nvSpPr>
            <p:spPr>
              <a:xfrm>
                <a:off x="3658562" y="-488295"/>
                <a:ext cx="47632" cy="25284"/>
              </a:xfrm>
              <a:custGeom>
                <a:avLst/>
                <a:gdLst/>
                <a:ahLst/>
                <a:cxnLst/>
                <a:rect l="l" t="t" r="r" b="b"/>
                <a:pathLst>
                  <a:path w="4348" h="2308" extrusionOk="0">
                    <a:moveTo>
                      <a:pt x="3957" y="1"/>
                    </a:moveTo>
                    <a:cubicBezTo>
                      <a:pt x="2680" y="355"/>
                      <a:pt x="1296" y="143"/>
                      <a:pt x="0" y="906"/>
                    </a:cubicBezTo>
                    <a:cubicBezTo>
                      <a:pt x="728" y="1651"/>
                      <a:pt x="728" y="1615"/>
                      <a:pt x="1544" y="1757"/>
                    </a:cubicBezTo>
                    <a:cubicBezTo>
                      <a:pt x="2147" y="1917"/>
                      <a:pt x="2733" y="2094"/>
                      <a:pt x="3318" y="2307"/>
                    </a:cubicBezTo>
                    <a:lnTo>
                      <a:pt x="4348" y="639"/>
                    </a:lnTo>
                    <a:lnTo>
                      <a:pt x="3957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1" name="Google Shape;3631;p53"/>
              <p:cNvSpPr/>
              <p:nvPr/>
            </p:nvSpPr>
            <p:spPr>
              <a:xfrm>
                <a:off x="3773239" y="-411709"/>
                <a:ext cx="34223" cy="31496"/>
              </a:xfrm>
              <a:custGeom>
                <a:avLst/>
                <a:gdLst/>
                <a:ahLst/>
                <a:cxnLst/>
                <a:rect l="l" t="t" r="r" b="b"/>
                <a:pathLst>
                  <a:path w="3124" h="2875" extrusionOk="0">
                    <a:moveTo>
                      <a:pt x="2095" y="1"/>
                    </a:moveTo>
                    <a:lnTo>
                      <a:pt x="1" y="1030"/>
                    </a:lnTo>
                    <a:cubicBezTo>
                      <a:pt x="498" y="1455"/>
                      <a:pt x="782" y="1615"/>
                      <a:pt x="941" y="1864"/>
                    </a:cubicBezTo>
                    <a:cubicBezTo>
                      <a:pt x="1119" y="2112"/>
                      <a:pt x="1154" y="2449"/>
                      <a:pt x="1279" y="2875"/>
                    </a:cubicBezTo>
                    <a:lnTo>
                      <a:pt x="3124" y="2467"/>
                    </a:lnTo>
                    <a:lnTo>
                      <a:pt x="2858" y="586"/>
                    </a:lnTo>
                    <a:lnTo>
                      <a:pt x="2095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2" name="Google Shape;3632;p53"/>
              <p:cNvSpPr/>
              <p:nvPr/>
            </p:nvSpPr>
            <p:spPr>
              <a:xfrm>
                <a:off x="3776942" y="-526397"/>
                <a:ext cx="377487" cy="831956"/>
              </a:xfrm>
              <a:custGeom>
                <a:avLst/>
                <a:gdLst/>
                <a:ahLst/>
                <a:cxnLst/>
                <a:rect l="l" t="t" r="r" b="b"/>
                <a:pathLst>
                  <a:path w="34458" h="75943" extrusionOk="0">
                    <a:moveTo>
                      <a:pt x="8836" y="6211"/>
                    </a:moveTo>
                    <a:cubicBezTo>
                      <a:pt x="10061" y="6371"/>
                      <a:pt x="10061" y="6371"/>
                      <a:pt x="12438" y="9352"/>
                    </a:cubicBezTo>
                    <a:lnTo>
                      <a:pt x="10930" y="10416"/>
                    </a:lnTo>
                    <a:cubicBezTo>
                      <a:pt x="10646" y="10044"/>
                      <a:pt x="9244" y="10079"/>
                      <a:pt x="10309" y="8997"/>
                    </a:cubicBezTo>
                    <a:lnTo>
                      <a:pt x="8836" y="6211"/>
                    </a:lnTo>
                    <a:close/>
                    <a:moveTo>
                      <a:pt x="13237" y="17585"/>
                    </a:moveTo>
                    <a:cubicBezTo>
                      <a:pt x="14213" y="18330"/>
                      <a:pt x="14976" y="19235"/>
                      <a:pt x="15951" y="19572"/>
                    </a:cubicBezTo>
                    <a:cubicBezTo>
                      <a:pt x="17034" y="19945"/>
                      <a:pt x="17548" y="20761"/>
                      <a:pt x="18294" y="21506"/>
                    </a:cubicBezTo>
                    <a:lnTo>
                      <a:pt x="16892" y="22216"/>
                    </a:lnTo>
                    <a:lnTo>
                      <a:pt x="19092" y="23440"/>
                    </a:lnTo>
                    <a:lnTo>
                      <a:pt x="18826" y="19359"/>
                    </a:lnTo>
                    <a:lnTo>
                      <a:pt x="18826" y="19359"/>
                    </a:lnTo>
                    <a:cubicBezTo>
                      <a:pt x="19500" y="20264"/>
                      <a:pt x="19890" y="20867"/>
                      <a:pt x="20352" y="21382"/>
                    </a:cubicBezTo>
                    <a:cubicBezTo>
                      <a:pt x="20813" y="21914"/>
                      <a:pt x="21328" y="22340"/>
                      <a:pt x="22091" y="23050"/>
                    </a:cubicBezTo>
                    <a:lnTo>
                      <a:pt x="22587" y="21346"/>
                    </a:lnTo>
                    <a:lnTo>
                      <a:pt x="25267" y="23742"/>
                    </a:lnTo>
                    <a:lnTo>
                      <a:pt x="26402" y="22713"/>
                    </a:lnTo>
                    <a:lnTo>
                      <a:pt x="27999" y="26261"/>
                    </a:lnTo>
                    <a:cubicBezTo>
                      <a:pt x="27384" y="26597"/>
                      <a:pt x="26823" y="26720"/>
                      <a:pt x="26292" y="26720"/>
                    </a:cubicBezTo>
                    <a:cubicBezTo>
                      <a:pt x="24969" y="26720"/>
                      <a:pt x="23833" y="25957"/>
                      <a:pt x="22516" y="25818"/>
                    </a:cubicBezTo>
                    <a:cubicBezTo>
                      <a:pt x="22516" y="26527"/>
                      <a:pt x="22499" y="27131"/>
                      <a:pt x="22499" y="27787"/>
                    </a:cubicBezTo>
                    <a:cubicBezTo>
                      <a:pt x="22392" y="27787"/>
                      <a:pt x="22270" y="27819"/>
                      <a:pt x="22169" y="27819"/>
                    </a:cubicBezTo>
                    <a:cubicBezTo>
                      <a:pt x="22118" y="27819"/>
                      <a:pt x="22073" y="27811"/>
                      <a:pt x="22037" y="27787"/>
                    </a:cubicBezTo>
                    <a:cubicBezTo>
                      <a:pt x="21133" y="27288"/>
                      <a:pt x="20502" y="26308"/>
                      <a:pt x="19338" y="26308"/>
                    </a:cubicBezTo>
                    <a:cubicBezTo>
                      <a:pt x="19178" y="26308"/>
                      <a:pt x="19008" y="26327"/>
                      <a:pt x="18826" y="26368"/>
                    </a:cubicBezTo>
                    <a:cubicBezTo>
                      <a:pt x="18808" y="26372"/>
                      <a:pt x="18788" y="26375"/>
                      <a:pt x="18768" y="26375"/>
                    </a:cubicBezTo>
                    <a:cubicBezTo>
                      <a:pt x="18417" y="26375"/>
                      <a:pt x="17797" y="25667"/>
                      <a:pt x="17495" y="25197"/>
                    </a:cubicBezTo>
                    <a:cubicBezTo>
                      <a:pt x="16998" y="24416"/>
                      <a:pt x="16661" y="23529"/>
                      <a:pt x="16360" y="22925"/>
                    </a:cubicBezTo>
                    <a:cubicBezTo>
                      <a:pt x="16129" y="22764"/>
                      <a:pt x="15928" y="22701"/>
                      <a:pt x="15748" y="22701"/>
                    </a:cubicBezTo>
                    <a:cubicBezTo>
                      <a:pt x="15114" y="22701"/>
                      <a:pt x="14724" y="23479"/>
                      <a:pt x="14110" y="23479"/>
                    </a:cubicBezTo>
                    <a:cubicBezTo>
                      <a:pt x="13959" y="23479"/>
                      <a:pt x="13794" y="23432"/>
                      <a:pt x="13609" y="23316"/>
                    </a:cubicBezTo>
                    <a:cubicBezTo>
                      <a:pt x="13398" y="23182"/>
                      <a:pt x="13213" y="23127"/>
                      <a:pt x="13048" y="23127"/>
                    </a:cubicBezTo>
                    <a:cubicBezTo>
                      <a:pt x="12310" y="23127"/>
                      <a:pt x="11952" y="24236"/>
                      <a:pt x="11285" y="24540"/>
                    </a:cubicBezTo>
                    <a:cubicBezTo>
                      <a:pt x="10309" y="24984"/>
                      <a:pt x="9475" y="24913"/>
                      <a:pt x="8357" y="25126"/>
                    </a:cubicBezTo>
                    <a:cubicBezTo>
                      <a:pt x="8712" y="23440"/>
                      <a:pt x="10007" y="23263"/>
                      <a:pt x="10877" y="22588"/>
                    </a:cubicBezTo>
                    <a:cubicBezTo>
                      <a:pt x="9333" y="21453"/>
                      <a:pt x="11161" y="20583"/>
                      <a:pt x="11107" y="19732"/>
                    </a:cubicBezTo>
                    <a:cubicBezTo>
                      <a:pt x="10966" y="17815"/>
                      <a:pt x="13183" y="19075"/>
                      <a:pt x="13237" y="17585"/>
                    </a:cubicBezTo>
                    <a:close/>
                    <a:moveTo>
                      <a:pt x="444" y="1"/>
                    </a:moveTo>
                    <a:lnTo>
                      <a:pt x="444" y="1"/>
                    </a:lnTo>
                    <a:cubicBezTo>
                      <a:pt x="373" y="746"/>
                      <a:pt x="0" y="1438"/>
                      <a:pt x="1278" y="1758"/>
                    </a:cubicBezTo>
                    <a:cubicBezTo>
                      <a:pt x="2147" y="1953"/>
                      <a:pt x="2662" y="2929"/>
                      <a:pt x="2857" y="3869"/>
                    </a:cubicBezTo>
                    <a:cubicBezTo>
                      <a:pt x="3034" y="4756"/>
                      <a:pt x="3123" y="5643"/>
                      <a:pt x="3247" y="6530"/>
                    </a:cubicBezTo>
                    <a:lnTo>
                      <a:pt x="3549" y="6140"/>
                    </a:lnTo>
                    <a:lnTo>
                      <a:pt x="5412" y="8145"/>
                    </a:lnTo>
                    <a:lnTo>
                      <a:pt x="6654" y="6903"/>
                    </a:lnTo>
                    <a:lnTo>
                      <a:pt x="8393" y="10505"/>
                    </a:lnTo>
                    <a:lnTo>
                      <a:pt x="6654" y="14426"/>
                    </a:lnTo>
                    <a:lnTo>
                      <a:pt x="5944" y="14036"/>
                    </a:lnTo>
                    <a:cubicBezTo>
                      <a:pt x="5678" y="14338"/>
                      <a:pt x="5447" y="14657"/>
                      <a:pt x="5252" y="14976"/>
                    </a:cubicBezTo>
                    <a:cubicBezTo>
                      <a:pt x="5163" y="15154"/>
                      <a:pt x="5217" y="15402"/>
                      <a:pt x="5199" y="15615"/>
                    </a:cubicBezTo>
                    <a:cubicBezTo>
                      <a:pt x="7346" y="16591"/>
                      <a:pt x="7701" y="17017"/>
                      <a:pt x="8162" y="19004"/>
                    </a:cubicBezTo>
                    <a:lnTo>
                      <a:pt x="4471" y="18827"/>
                    </a:lnTo>
                    <a:lnTo>
                      <a:pt x="4471" y="18827"/>
                    </a:lnTo>
                    <a:cubicBezTo>
                      <a:pt x="4755" y="21754"/>
                      <a:pt x="5057" y="22606"/>
                      <a:pt x="6193" y="24114"/>
                    </a:cubicBezTo>
                    <a:lnTo>
                      <a:pt x="7754" y="24061"/>
                    </a:lnTo>
                    <a:lnTo>
                      <a:pt x="7754" y="24061"/>
                    </a:lnTo>
                    <a:cubicBezTo>
                      <a:pt x="8073" y="25480"/>
                      <a:pt x="7914" y="26740"/>
                      <a:pt x="6920" y="27379"/>
                    </a:cubicBezTo>
                    <a:cubicBezTo>
                      <a:pt x="5518" y="28319"/>
                      <a:pt x="7026" y="29703"/>
                      <a:pt x="5962" y="30857"/>
                    </a:cubicBezTo>
                    <a:cubicBezTo>
                      <a:pt x="4241" y="32720"/>
                      <a:pt x="3850" y="35399"/>
                      <a:pt x="2644" y="37812"/>
                    </a:cubicBezTo>
                    <a:lnTo>
                      <a:pt x="4471" y="38380"/>
                    </a:lnTo>
                    <a:cubicBezTo>
                      <a:pt x="4400" y="39161"/>
                      <a:pt x="4436" y="40012"/>
                      <a:pt x="4259" y="40829"/>
                    </a:cubicBezTo>
                    <a:cubicBezTo>
                      <a:pt x="3939" y="42319"/>
                      <a:pt x="4329" y="43579"/>
                      <a:pt x="5252" y="44732"/>
                    </a:cubicBezTo>
                    <a:cubicBezTo>
                      <a:pt x="5838" y="45460"/>
                      <a:pt x="6370" y="46240"/>
                      <a:pt x="7026" y="46932"/>
                    </a:cubicBezTo>
                    <a:cubicBezTo>
                      <a:pt x="7789" y="47731"/>
                      <a:pt x="9209" y="47678"/>
                      <a:pt x="9670" y="48920"/>
                    </a:cubicBezTo>
                    <a:cubicBezTo>
                      <a:pt x="9723" y="49026"/>
                      <a:pt x="9812" y="49097"/>
                      <a:pt x="9919" y="49132"/>
                    </a:cubicBezTo>
                    <a:cubicBezTo>
                      <a:pt x="10191" y="49213"/>
                      <a:pt x="10478" y="49350"/>
                      <a:pt x="10740" y="49350"/>
                    </a:cubicBezTo>
                    <a:cubicBezTo>
                      <a:pt x="10768" y="49350"/>
                      <a:pt x="10796" y="49349"/>
                      <a:pt x="10824" y="49345"/>
                    </a:cubicBezTo>
                    <a:cubicBezTo>
                      <a:pt x="11569" y="49257"/>
                      <a:pt x="12279" y="49257"/>
                      <a:pt x="12917" y="48547"/>
                    </a:cubicBezTo>
                    <a:cubicBezTo>
                      <a:pt x="12958" y="48500"/>
                      <a:pt x="13033" y="48481"/>
                      <a:pt x="13131" y="48481"/>
                    </a:cubicBezTo>
                    <a:cubicBezTo>
                      <a:pt x="13526" y="48481"/>
                      <a:pt x="14291" y="48790"/>
                      <a:pt x="14670" y="48790"/>
                    </a:cubicBezTo>
                    <a:cubicBezTo>
                      <a:pt x="14764" y="48790"/>
                      <a:pt x="14834" y="48771"/>
                      <a:pt x="14869" y="48724"/>
                    </a:cubicBezTo>
                    <a:cubicBezTo>
                      <a:pt x="15721" y="47642"/>
                      <a:pt x="16892" y="47944"/>
                      <a:pt x="17921" y="47695"/>
                    </a:cubicBezTo>
                    <a:cubicBezTo>
                      <a:pt x="17948" y="47687"/>
                      <a:pt x="17976" y="47684"/>
                      <a:pt x="18005" y="47684"/>
                    </a:cubicBezTo>
                    <a:cubicBezTo>
                      <a:pt x="18165" y="47684"/>
                      <a:pt x="18357" y="47795"/>
                      <a:pt x="18613" y="47855"/>
                    </a:cubicBezTo>
                    <a:cubicBezTo>
                      <a:pt x="18550" y="48716"/>
                      <a:pt x="18847" y="48890"/>
                      <a:pt x="19260" y="48890"/>
                    </a:cubicBezTo>
                    <a:cubicBezTo>
                      <a:pt x="19540" y="48890"/>
                      <a:pt x="19874" y="48810"/>
                      <a:pt x="20185" y="48810"/>
                    </a:cubicBezTo>
                    <a:cubicBezTo>
                      <a:pt x="20457" y="48810"/>
                      <a:pt x="20713" y="48871"/>
                      <a:pt x="20902" y="49097"/>
                    </a:cubicBezTo>
                    <a:cubicBezTo>
                      <a:pt x="20831" y="49558"/>
                      <a:pt x="20902" y="50233"/>
                      <a:pt x="20636" y="50765"/>
                    </a:cubicBezTo>
                    <a:cubicBezTo>
                      <a:pt x="20228" y="51546"/>
                      <a:pt x="21150" y="52592"/>
                      <a:pt x="20068" y="53178"/>
                    </a:cubicBezTo>
                    <a:cubicBezTo>
                      <a:pt x="21771" y="55112"/>
                      <a:pt x="20955" y="57649"/>
                      <a:pt x="21594" y="59424"/>
                    </a:cubicBezTo>
                    <a:cubicBezTo>
                      <a:pt x="20742" y="61713"/>
                      <a:pt x="19589" y="63327"/>
                      <a:pt x="19624" y="65776"/>
                    </a:cubicBezTo>
                    <a:cubicBezTo>
                      <a:pt x="19678" y="68597"/>
                      <a:pt x="18453" y="71436"/>
                      <a:pt x="17406" y="74168"/>
                    </a:cubicBezTo>
                    <a:cubicBezTo>
                      <a:pt x="17247" y="74577"/>
                      <a:pt x="17158" y="75002"/>
                      <a:pt x="16910" y="75943"/>
                    </a:cubicBezTo>
                    <a:cubicBezTo>
                      <a:pt x="28177" y="66379"/>
                      <a:pt x="34458" y="51617"/>
                      <a:pt x="32258" y="36144"/>
                    </a:cubicBezTo>
                    <a:cubicBezTo>
                      <a:pt x="29756" y="18472"/>
                      <a:pt x="16874" y="4756"/>
                      <a:pt x="44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3" name="Google Shape;3633;p53"/>
              <p:cNvSpPr/>
              <p:nvPr/>
            </p:nvSpPr>
            <p:spPr>
              <a:xfrm>
                <a:off x="3352414" y="12491"/>
                <a:ext cx="353584" cy="411448"/>
              </a:xfrm>
              <a:custGeom>
                <a:avLst/>
                <a:gdLst/>
                <a:ahLst/>
                <a:cxnLst/>
                <a:rect l="l" t="t" r="r" b="b"/>
                <a:pathLst>
                  <a:path w="32276" h="37558" extrusionOk="0">
                    <a:moveTo>
                      <a:pt x="3376" y="1"/>
                    </a:moveTo>
                    <a:cubicBezTo>
                      <a:pt x="3358" y="1"/>
                      <a:pt x="3345" y="4"/>
                      <a:pt x="3336" y="12"/>
                    </a:cubicBezTo>
                    <a:cubicBezTo>
                      <a:pt x="905" y="2621"/>
                      <a:pt x="905" y="2621"/>
                      <a:pt x="1243" y="6400"/>
                    </a:cubicBezTo>
                    <a:cubicBezTo>
                      <a:pt x="1260" y="6595"/>
                      <a:pt x="1118" y="6790"/>
                      <a:pt x="1065" y="7003"/>
                    </a:cubicBezTo>
                    <a:cubicBezTo>
                      <a:pt x="693" y="8405"/>
                      <a:pt x="338" y="9807"/>
                      <a:pt x="1" y="11155"/>
                    </a:cubicBezTo>
                    <a:lnTo>
                      <a:pt x="1118" y="14012"/>
                    </a:lnTo>
                    <a:cubicBezTo>
                      <a:pt x="2147" y="15148"/>
                      <a:pt x="3106" y="16283"/>
                      <a:pt x="4188" y="17330"/>
                    </a:cubicBezTo>
                    <a:cubicBezTo>
                      <a:pt x="5271" y="18413"/>
                      <a:pt x="5677" y="20424"/>
                      <a:pt x="7592" y="20424"/>
                    </a:cubicBezTo>
                    <a:cubicBezTo>
                      <a:pt x="7779" y="20424"/>
                      <a:pt x="7980" y="20405"/>
                      <a:pt x="8198" y="20364"/>
                    </a:cubicBezTo>
                    <a:cubicBezTo>
                      <a:pt x="9263" y="21234"/>
                      <a:pt x="10735" y="21553"/>
                      <a:pt x="11179" y="23221"/>
                    </a:cubicBezTo>
                    <a:cubicBezTo>
                      <a:pt x="11587" y="24711"/>
                      <a:pt x="12669" y="26024"/>
                      <a:pt x="13024" y="27515"/>
                    </a:cubicBezTo>
                    <a:cubicBezTo>
                      <a:pt x="13361" y="28863"/>
                      <a:pt x="14461" y="29662"/>
                      <a:pt x="14834" y="30780"/>
                    </a:cubicBezTo>
                    <a:cubicBezTo>
                      <a:pt x="15278" y="32128"/>
                      <a:pt x="15970" y="33246"/>
                      <a:pt x="16573" y="34470"/>
                    </a:cubicBezTo>
                    <a:cubicBezTo>
                      <a:pt x="17070" y="35428"/>
                      <a:pt x="18223" y="35038"/>
                      <a:pt x="18525" y="36191"/>
                    </a:cubicBezTo>
                    <a:cubicBezTo>
                      <a:pt x="18631" y="36564"/>
                      <a:pt x="18844" y="36901"/>
                      <a:pt x="19146" y="37185"/>
                    </a:cubicBezTo>
                    <a:cubicBezTo>
                      <a:pt x="20299" y="37345"/>
                      <a:pt x="21470" y="37469"/>
                      <a:pt x="22659" y="37558"/>
                    </a:cubicBezTo>
                    <a:cubicBezTo>
                      <a:pt x="22559" y="37158"/>
                      <a:pt x="22490" y="36790"/>
                      <a:pt x="21808" y="36790"/>
                    </a:cubicBezTo>
                    <a:cubicBezTo>
                      <a:pt x="21763" y="36790"/>
                      <a:pt x="21716" y="36791"/>
                      <a:pt x="21665" y="36795"/>
                    </a:cubicBezTo>
                    <a:cubicBezTo>
                      <a:pt x="21645" y="36796"/>
                      <a:pt x="21626" y="36796"/>
                      <a:pt x="21608" y="36796"/>
                    </a:cubicBezTo>
                    <a:cubicBezTo>
                      <a:pt x="20725" y="36796"/>
                      <a:pt x="22437" y="35547"/>
                      <a:pt x="21115" y="35251"/>
                    </a:cubicBezTo>
                    <a:cubicBezTo>
                      <a:pt x="20388" y="35073"/>
                      <a:pt x="22109" y="33707"/>
                      <a:pt x="20725" y="33246"/>
                    </a:cubicBezTo>
                    <a:lnTo>
                      <a:pt x="20920" y="32980"/>
                    </a:lnTo>
                    <a:lnTo>
                      <a:pt x="22783" y="32394"/>
                    </a:lnTo>
                    <a:lnTo>
                      <a:pt x="21860" y="30017"/>
                    </a:lnTo>
                    <a:lnTo>
                      <a:pt x="23191" y="29839"/>
                    </a:lnTo>
                    <a:cubicBezTo>
                      <a:pt x="23599" y="29041"/>
                      <a:pt x="24007" y="28313"/>
                      <a:pt x="24380" y="27550"/>
                    </a:cubicBezTo>
                    <a:cubicBezTo>
                      <a:pt x="24646" y="26982"/>
                      <a:pt x="25178" y="26308"/>
                      <a:pt x="25036" y="25829"/>
                    </a:cubicBezTo>
                    <a:cubicBezTo>
                      <a:pt x="24451" y="23718"/>
                      <a:pt x="26083" y="22972"/>
                      <a:pt x="27343" y="22529"/>
                    </a:cubicBezTo>
                    <a:cubicBezTo>
                      <a:pt x="28603" y="22068"/>
                      <a:pt x="29082" y="21482"/>
                      <a:pt x="29242" y="20311"/>
                    </a:cubicBezTo>
                    <a:cubicBezTo>
                      <a:pt x="29419" y="19069"/>
                      <a:pt x="29809" y="17862"/>
                      <a:pt x="29898" y="16620"/>
                    </a:cubicBezTo>
                    <a:cubicBezTo>
                      <a:pt x="29987" y="15467"/>
                      <a:pt x="30005" y="14438"/>
                      <a:pt x="31087" y="13675"/>
                    </a:cubicBezTo>
                    <a:cubicBezTo>
                      <a:pt x="31442" y="13444"/>
                      <a:pt x="31531" y="12788"/>
                      <a:pt x="31655" y="12309"/>
                    </a:cubicBezTo>
                    <a:cubicBezTo>
                      <a:pt x="32276" y="10144"/>
                      <a:pt x="31868" y="9612"/>
                      <a:pt x="29490" y="9133"/>
                    </a:cubicBezTo>
                    <a:cubicBezTo>
                      <a:pt x="29100" y="9062"/>
                      <a:pt x="28816" y="8494"/>
                      <a:pt x="28266" y="7926"/>
                    </a:cubicBezTo>
                    <a:lnTo>
                      <a:pt x="24895" y="8778"/>
                    </a:lnTo>
                    <a:cubicBezTo>
                      <a:pt x="24522" y="7678"/>
                      <a:pt x="23315" y="7678"/>
                      <a:pt x="22215" y="7465"/>
                    </a:cubicBezTo>
                    <a:lnTo>
                      <a:pt x="21647" y="8157"/>
                    </a:lnTo>
                    <a:lnTo>
                      <a:pt x="18063" y="3597"/>
                    </a:lnTo>
                    <a:cubicBezTo>
                      <a:pt x="16840" y="3528"/>
                      <a:pt x="15905" y="3374"/>
                      <a:pt x="15067" y="3374"/>
                    </a:cubicBezTo>
                    <a:cubicBezTo>
                      <a:pt x="14823" y="3374"/>
                      <a:pt x="14587" y="3387"/>
                      <a:pt x="14355" y="3419"/>
                    </a:cubicBezTo>
                    <a:cubicBezTo>
                      <a:pt x="14295" y="3427"/>
                      <a:pt x="14238" y="3430"/>
                      <a:pt x="14183" y="3430"/>
                    </a:cubicBezTo>
                    <a:cubicBezTo>
                      <a:pt x="13092" y="3430"/>
                      <a:pt x="13035" y="1981"/>
                      <a:pt x="11835" y="1964"/>
                    </a:cubicBezTo>
                    <a:cubicBezTo>
                      <a:pt x="11108" y="1964"/>
                      <a:pt x="9901" y="1467"/>
                      <a:pt x="9582" y="438"/>
                    </a:cubicBezTo>
                    <a:cubicBezTo>
                      <a:pt x="8677" y="793"/>
                      <a:pt x="7914" y="1361"/>
                      <a:pt x="7133" y="1361"/>
                    </a:cubicBezTo>
                    <a:cubicBezTo>
                      <a:pt x="7119" y="1361"/>
                      <a:pt x="7105" y="1361"/>
                      <a:pt x="7091" y="1361"/>
                    </a:cubicBezTo>
                    <a:cubicBezTo>
                      <a:pt x="6288" y="1361"/>
                      <a:pt x="5470" y="877"/>
                      <a:pt x="4703" y="616"/>
                    </a:cubicBezTo>
                    <a:lnTo>
                      <a:pt x="4170" y="1184"/>
                    </a:lnTo>
                    <a:lnTo>
                      <a:pt x="3585" y="48"/>
                    </a:lnTo>
                    <a:cubicBezTo>
                      <a:pt x="3517" y="34"/>
                      <a:pt x="3429" y="1"/>
                      <a:pt x="337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4" name="Google Shape;3634;p53"/>
              <p:cNvSpPr/>
              <p:nvPr/>
            </p:nvSpPr>
            <p:spPr>
              <a:xfrm>
                <a:off x="3289631" y="-66747"/>
                <a:ext cx="64547" cy="26511"/>
              </a:xfrm>
              <a:custGeom>
                <a:avLst/>
                <a:gdLst/>
                <a:ahLst/>
                <a:cxnLst/>
                <a:rect l="l" t="t" r="r" b="b"/>
                <a:pathLst>
                  <a:path w="5892" h="2420" extrusionOk="0">
                    <a:moveTo>
                      <a:pt x="2076" y="1"/>
                    </a:moveTo>
                    <a:cubicBezTo>
                      <a:pt x="1454" y="1"/>
                      <a:pt x="791" y="230"/>
                      <a:pt x="0" y="592"/>
                    </a:cubicBezTo>
                    <a:cubicBezTo>
                      <a:pt x="564" y="957"/>
                      <a:pt x="1113" y="1415"/>
                      <a:pt x="1254" y="1415"/>
                    </a:cubicBezTo>
                    <a:cubicBezTo>
                      <a:pt x="1264" y="1415"/>
                      <a:pt x="1272" y="1412"/>
                      <a:pt x="1278" y="1408"/>
                    </a:cubicBezTo>
                    <a:cubicBezTo>
                      <a:pt x="1606" y="1108"/>
                      <a:pt x="1874" y="952"/>
                      <a:pt x="2167" y="952"/>
                    </a:cubicBezTo>
                    <a:cubicBezTo>
                      <a:pt x="2429" y="952"/>
                      <a:pt x="2710" y="1077"/>
                      <a:pt x="3070" y="1337"/>
                    </a:cubicBezTo>
                    <a:cubicBezTo>
                      <a:pt x="3815" y="1869"/>
                      <a:pt x="4773" y="2011"/>
                      <a:pt x="5838" y="2419"/>
                    </a:cubicBezTo>
                    <a:lnTo>
                      <a:pt x="5891" y="1071"/>
                    </a:lnTo>
                    <a:cubicBezTo>
                      <a:pt x="5040" y="893"/>
                      <a:pt x="4170" y="964"/>
                      <a:pt x="3656" y="574"/>
                    </a:cubicBezTo>
                    <a:cubicBezTo>
                      <a:pt x="3121" y="171"/>
                      <a:pt x="2614" y="1"/>
                      <a:pt x="207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5" name="Google Shape;3635;p53"/>
              <p:cNvSpPr/>
              <p:nvPr/>
            </p:nvSpPr>
            <p:spPr>
              <a:xfrm>
                <a:off x="3368156" y="-47247"/>
                <a:ext cx="67855" cy="22556"/>
              </a:xfrm>
              <a:custGeom>
                <a:avLst/>
                <a:gdLst/>
                <a:ahLst/>
                <a:cxnLst/>
                <a:rect l="l" t="t" r="r" b="b"/>
                <a:pathLst>
                  <a:path w="6194" h="2059" extrusionOk="0">
                    <a:moveTo>
                      <a:pt x="6193" y="0"/>
                    </a:moveTo>
                    <a:lnTo>
                      <a:pt x="6193" y="0"/>
                    </a:lnTo>
                    <a:cubicBezTo>
                      <a:pt x="4801" y="195"/>
                      <a:pt x="3970" y="433"/>
                      <a:pt x="3202" y="433"/>
                    </a:cubicBezTo>
                    <a:cubicBezTo>
                      <a:pt x="3128" y="433"/>
                      <a:pt x="3055" y="431"/>
                      <a:pt x="2982" y="426"/>
                    </a:cubicBezTo>
                    <a:cubicBezTo>
                      <a:pt x="2453" y="395"/>
                      <a:pt x="1944" y="74"/>
                      <a:pt x="1353" y="74"/>
                    </a:cubicBezTo>
                    <a:cubicBezTo>
                      <a:pt x="951" y="74"/>
                      <a:pt x="511" y="222"/>
                      <a:pt x="1" y="710"/>
                    </a:cubicBezTo>
                    <a:lnTo>
                      <a:pt x="1473" y="2059"/>
                    </a:lnTo>
                    <a:cubicBezTo>
                      <a:pt x="2432" y="409"/>
                      <a:pt x="4472" y="1526"/>
                      <a:pt x="619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6" name="Google Shape;3636;p53"/>
              <p:cNvSpPr/>
              <p:nvPr/>
            </p:nvSpPr>
            <p:spPr>
              <a:xfrm>
                <a:off x="3466707" y="-328516"/>
                <a:ext cx="37532" cy="23334"/>
              </a:xfrm>
              <a:custGeom>
                <a:avLst/>
                <a:gdLst/>
                <a:ahLst/>
                <a:cxnLst/>
                <a:rect l="l" t="t" r="r" b="b"/>
                <a:pathLst>
                  <a:path w="3426" h="2130" extrusionOk="0">
                    <a:moveTo>
                      <a:pt x="1473" y="1"/>
                    </a:moveTo>
                    <a:lnTo>
                      <a:pt x="1" y="1828"/>
                    </a:lnTo>
                    <a:lnTo>
                      <a:pt x="3372" y="2130"/>
                    </a:lnTo>
                    <a:cubicBezTo>
                      <a:pt x="3407" y="1917"/>
                      <a:pt x="3425" y="1704"/>
                      <a:pt x="3425" y="1509"/>
                    </a:cubicBezTo>
                    <a:cubicBezTo>
                      <a:pt x="3390" y="1172"/>
                      <a:pt x="3301" y="870"/>
                      <a:pt x="3248" y="586"/>
                    </a:cubicBezTo>
                    <a:lnTo>
                      <a:pt x="1473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7" name="Google Shape;3637;p53"/>
              <p:cNvSpPr/>
              <p:nvPr/>
            </p:nvSpPr>
            <p:spPr>
              <a:xfrm>
                <a:off x="3148311" y="-512013"/>
                <a:ext cx="344841" cy="575576"/>
              </a:xfrm>
              <a:custGeom>
                <a:avLst/>
                <a:gdLst/>
                <a:ahLst/>
                <a:cxnLst/>
                <a:rect l="l" t="t" r="r" b="b"/>
                <a:pathLst>
                  <a:path w="31478" h="52540" extrusionOk="0">
                    <a:moveTo>
                      <a:pt x="28337" y="1"/>
                    </a:moveTo>
                    <a:cubicBezTo>
                      <a:pt x="13326" y="5785"/>
                      <a:pt x="2556" y="18986"/>
                      <a:pt x="1" y="34405"/>
                    </a:cubicBezTo>
                    <a:cubicBezTo>
                      <a:pt x="516" y="36961"/>
                      <a:pt x="764" y="39569"/>
                      <a:pt x="1154" y="42159"/>
                    </a:cubicBezTo>
                    <a:cubicBezTo>
                      <a:pt x="1172" y="42266"/>
                      <a:pt x="1438" y="42355"/>
                      <a:pt x="1687" y="42496"/>
                    </a:cubicBezTo>
                    <a:cubicBezTo>
                      <a:pt x="1687" y="41574"/>
                      <a:pt x="1704" y="40704"/>
                      <a:pt x="1704" y="39835"/>
                    </a:cubicBezTo>
                    <a:lnTo>
                      <a:pt x="2112" y="39817"/>
                    </a:lnTo>
                    <a:lnTo>
                      <a:pt x="3905" y="45513"/>
                    </a:lnTo>
                    <a:cubicBezTo>
                      <a:pt x="4490" y="45956"/>
                      <a:pt x="5289" y="46595"/>
                      <a:pt x="6122" y="47145"/>
                    </a:cubicBezTo>
                    <a:cubicBezTo>
                      <a:pt x="6548" y="47465"/>
                      <a:pt x="7045" y="47678"/>
                      <a:pt x="7560" y="47784"/>
                    </a:cubicBezTo>
                    <a:cubicBezTo>
                      <a:pt x="9813" y="48068"/>
                      <a:pt x="12492" y="48884"/>
                      <a:pt x="13557" y="50481"/>
                    </a:cubicBezTo>
                    <a:cubicBezTo>
                      <a:pt x="14515" y="51971"/>
                      <a:pt x="15810" y="52202"/>
                      <a:pt x="16751" y="52539"/>
                    </a:cubicBezTo>
                    <a:lnTo>
                      <a:pt x="18827" y="51652"/>
                    </a:lnTo>
                    <a:cubicBezTo>
                      <a:pt x="18720" y="51475"/>
                      <a:pt x="18632" y="51155"/>
                      <a:pt x="18525" y="51138"/>
                    </a:cubicBezTo>
                    <a:cubicBezTo>
                      <a:pt x="15367" y="50960"/>
                      <a:pt x="15367" y="50978"/>
                      <a:pt x="14905" y="48015"/>
                    </a:cubicBezTo>
                    <a:cubicBezTo>
                      <a:pt x="14870" y="47695"/>
                      <a:pt x="14799" y="47376"/>
                      <a:pt x="14675" y="46755"/>
                    </a:cubicBezTo>
                    <a:lnTo>
                      <a:pt x="11818" y="46152"/>
                    </a:lnTo>
                    <a:lnTo>
                      <a:pt x="12031" y="42461"/>
                    </a:lnTo>
                    <a:cubicBezTo>
                      <a:pt x="12009" y="42460"/>
                      <a:pt x="11988" y="42460"/>
                      <a:pt x="11967" y="42460"/>
                    </a:cubicBezTo>
                    <a:cubicBezTo>
                      <a:pt x="9761" y="42460"/>
                      <a:pt x="10756" y="45214"/>
                      <a:pt x="9157" y="45531"/>
                    </a:cubicBezTo>
                    <a:cubicBezTo>
                      <a:pt x="7577" y="44537"/>
                      <a:pt x="7577" y="44537"/>
                      <a:pt x="6832" y="39036"/>
                    </a:cubicBezTo>
                    <a:cubicBezTo>
                      <a:pt x="7471" y="36162"/>
                      <a:pt x="10807" y="37120"/>
                      <a:pt x="11570" y="34867"/>
                    </a:cubicBezTo>
                    <a:lnTo>
                      <a:pt x="13876" y="35683"/>
                    </a:lnTo>
                    <a:cubicBezTo>
                      <a:pt x="13930" y="37014"/>
                      <a:pt x="14213" y="38274"/>
                      <a:pt x="15651" y="39090"/>
                    </a:cubicBezTo>
                    <a:lnTo>
                      <a:pt x="14870" y="33554"/>
                    </a:lnTo>
                    <a:cubicBezTo>
                      <a:pt x="15012" y="33305"/>
                      <a:pt x="15189" y="33092"/>
                      <a:pt x="15367" y="32880"/>
                    </a:cubicBezTo>
                    <a:cubicBezTo>
                      <a:pt x="16733" y="31584"/>
                      <a:pt x="18720" y="30662"/>
                      <a:pt x="18277" y="28231"/>
                    </a:cubicBezTo>
                    <a:cubicBezTo>
                      <a:pt x="19217" y="27148"/>
                      <a:pt x="19501" y="25569"/>
                      <a:pt x="20903" y="24824"/>
                    </a:cubicBezTo>
                    <a:cubicBezTo>
                      <a:pt x="21169" y="24664"/>
                      <a:pt x="21701" y="24540"/>
                      <a:pt x="21701" y="24416"/>
                    </a:cubicBezTo>
                    <a:cubicBezTo>
                      <a:pt x="21701" y="22606"/>
                      <a:pt x="23298" y="22375"/>
                      <a:pt x="24345" y="21453"/>
                    </a:cubicBezTo>
                    <a:cubicBezTo>
                      <a:pt x="24698" y="21969"/>
                      <a:pt x="25002" y="22149"/>
                      <a:pt x="25280" y="22149"/>
                    </a:cubicBezTo>
                    <a:cubicBezTo>
                      <a:pt x="25925" y="22149"/>
                      <a:pt x="26432" y="21185"/>
                      <a:pt x="27082" y="21185"/>
                    </a:cubicBezTo>
                    <a:cubicBezTo>
                      <a:pt x="27098" y="21185"/>
                      <a:pt x="27114" y="21185"/>
                      <a:pt x="27131" y="21187"/>
                    </a:cubicBezTo>
                    <a:cubicBezTo>
                      <a:pt x="27184" y="21187"/>
                      <a:pt x="27237" y="20867"/>
                      <a:pt x="27255" y="20832"/>
                    </a:cubicBezTo>
                    <a:lnTo>
                      <a:pt x="25250" y="19909"/>
                    </a:lnTo>
                    <a:lnTo>
                      <a:pt x="25835" y="18348"/>
                    </a:lnTo>
                    <a:lnTo>
                      <a:pt x="24274" y="17851"/>
                    </a:lnTo>
                    <a:cubicBezTo>
                      <a:pt x="25161" y="17514"/>
                      <a:pt x="26048" y="17727"/>
                      <a:pt x="26829" y="17531"/>
                    </a:cubicBezTo>
                    <a:cubicBezTo>
                      <a:pt x="27610" y="17336"/>
                      <a:pt x="28266" y="16751"/>
                      <a:pt x="28976" y="16325"/>
                    </a:cubicBezTo>
                    <a:cubicBezTo>
                      <a:pt x="29774" y="15846"/>
                      <a:pt x="30573" y="15349"/>
                      <a:pt x="31478" y="14781"/>
                    </a:cubicBezTo>
                    <a:cubicBezTo>
                      <a:pt x="30466" y="12723"/>
                      <a:pt x="27769" y="12049"/>
                      <a:pt x="27698" y="9565"/>
                    </a:cubicBezTo>
                    <a:lnTo>
                      <a:pt x="25143" y="11836"/>
                    </a:lnTo>
                    <a:cubicBezTo>
                      <a:pt x="25764" y="8571"/>
                      <a:pt x="23600" y="8908"/>
                      <a:pt x="22269" y="8465"/>
                    </a:cubicBezTo>
                    <a:cubicBezTo>
                      <a:pt x="21932" y="8855"/>
                      <a:pt x="21559" y="9032"/>
                      <a:pt x="21027" y="9316"/>
                    </a:cubicBezTo>
                    <a:lnTo>
                      <a:pt x="21825" y="10132"/>
                    </a:lnTo>
                    <a:lnTo>
                      <a:pt x="20353" y="11197"/>
                    </a:lnTo>
                    <a:cubicBezTo>
                      <a:pt x="21772" y="12244"/>
                      <a:pt x="20956" y="13628"/>
                      <a:pt x="20690" y="13734"/>
                    </a:cubicBezTo>
                    <a:cubicBezTo>
                      <a:pt x="18756" y="14444"/>
                      <a:pt x="19217" y="16396"/>
                      <a:pt x="18401" y="17620"/>
                    </a:cubicBezTo>
                    <a:lnTo>
                      <a:pt x="17460" y="16910"/>
                    </a:lnTo>
                    <a:cubicBezTo>
                      <a:pt x="17052" y="16502"/>
                      <a:pt x="17886" y="16360"/>
                      <a:pt x="17851" y="16023"/>
                    </a:cubicBezTo>
                    <a:cubicBezTo>
                      <a:pt x="17833" y="15580"/>
                      <a:pt x="17744" y="15136"/>
                      <a:pt x="17673" y="14639"/>
                    </a:cubicBezTo>
                    <a:lnTo>
                      <a:pt x="14781" y="13805"/>
                    </a:lnTo>
                    <a:cubicBezTo>
                      <a:pt x="14391" y="10558"/>
                      <a:pt x="17727" y="10026"/>
                      <a:pt x="19075" y="8056"/>
                    </a:cubicBezTo>
                    <a:cubicBezTo>
                      <a:pt x="19476" y="8451"/>
                      <a:pt x="19895" y="8555"/>
                      <a:pt x="20323" y="8555"/>
                    </a:cubicBezTo>
                    <a:cubicBezTo>
                      <a:pt x="20808" y="8555"/>
                      <a:pt x="21305" y="8420"/>
                      <a:pt x="21802" y="8420"/>
                    </a:cubicBezTo>
                    <a:cubicBezTo>
                      <a:pt x="21952" y="8420"/>
                      <a:pt x="22102" y="8433"/>
                      <a:pt x="22251" y="8465"/>
                    </a:cubicBezTo>
                    <a:cubicBezTo>
                      <a:pt x="22127" y="7702"/>
                      <a:pt x="22056" y="7152"/>
                      <a:pt x="21967" y="6495"/>
                    </a:cubicBezTo>
                    <a:cubicBezTo>
                      <a:pt x="23198" y="6481"/>
                      <a:pt x="23566" y="4540"/>
                      <a:pt x="24952" y="4540"/>
                    </a:cubicBezTo>
                    <a:cubicBezTo>
                      <a:pt x="25264" y="4540"/>
                      <a:pt x="25629" y="4639"/>
                      <a:pt x="26066" y="4880"/>
                    </a:cubicBezTo>
                    <a:cubicBezTo>
                      <a:pt x="25374" y="5963"/>
                      <a:pt x="24274" y="6335"/>
                      <a:pt x="23458" y="7010"/>
                    </a:cubicBezTo>
                    <a:lnTo>
                      <a:pt x="26243" y="8376"/>
                    </a:lnTo>
                    <a:lnTo>
                      <a:pt x="28089" y="7205"/>
                    </a:lnTo>
                    <a:lnTo>
                      <a:pt x="28160" y="5324"/>
                    </a:lnTo>
                    <a:cubicBezTo>
                      <a:pt x="28332" y="5383"/>
                      <a:pt x="28506" y="5414"/>
                      <a:pt x="28690" y="5414"/>
                    </a:cubicBezTo>
                    <a:cubicBezTo>
                      <a:pt x="29226" y="5414"/>
                      <a:pt x="29853" y="5151"/>
                      <a:pt x="30804" y="4543"/>
                    </a:cubicBezTo>
                    <a:lnTo>
                      <a:pt x="29029" y="3621"/>
                    </a:lnTo>
                    <a:lnTo>
                      <a:pt x="29561" y="2733"/>
                    </a:lnTo>
                    <a:lnTo>
                      <a:pt x="28231" y="1722"/>
                    </a:lnTo>
                    <a:cubicBezTo>
                      <a:pt x="28355" y="1190"/>
                      <a:pt x="28692" y="586"/>
                      <a:pt x="28515" y="232"/>
                    </a:cubicBezTo>
                    <a:cubicBezTo>
                      <a:pt x="28479" y="161"/>
                      <a:pt x="28408" y="72"/>
                      <a:pt x="2833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38" name="Google Shape;3638;p53"/>
            <p:cNvSpPr/>
            <p:nvPr/>
          </p:nvSpPr>
          <p:spPr>
            <a:xfrm>
              <a:off x="6015523" y="3714217"/>
              <a:ext cx="557665" cy="516387"/>
            </a:xfrm>
            <a:custGeom>
              <a:avLst/>
              <a:gdLst/>
              <a:ahLst/>
              <a:cxnLst/>
              <a:rect l="l" t="t" r="r" b="b"/>
              <a:pathLst>
                <a:path w="96649" h="89534" extrusionOk="0">
                  <a:moveTo>
                    <a:pt x="48671" y="444"/>
                  </a:moveTo>
                  <a:cubicBezTo>
                    <a:pt x="70814" y="444"/>
                    <a:pt x="90084" y="16342"/>
                    <a:pt x="93207" y="38415"/>
                  </a:cubicBezTo>
                  <a:cubicBezTo>
                    <a:pt x="96649" y="62635"/>
                    <a:pt x="79314" y="85116"/>
                    <a:pt x="54526" y="88629"/>
                  </a:cubicBezTo>
                  <a:cubicBezTo>
                    <a:pt x="52344" y="88930"/>
                    <a:pt x="50161" y="89090"/>
                    <a:pt x="47961" y="89090"/>
                  </a:cubicBezTo>
                  <a:cubicBezTo>
                    <a:pt x="25817" y="89090"/>
                    <a:pt x="6548" y="73192"/>
                    <a:pt x="3425" y="51119"/>
                  </a:cubicBezTo>
                  <a:cubicBezTo>
                    <a:pt x="1" y="26899"/>
                    <a:pt x="17318" y="4418"/>
                    <a:pt x="42123" y="905"/>
                  </a:cubicBezTo>
                  <a:cubicBezTo>
                    <a:pt x="44288" y="586"/>
                    <a:pt x="46470" y="444"/>
                    <a:pt x="48671" y="444"/>
                  </a:cubicBezTo>
                  <a:close/>
                  <a:moveTo>
                    <a:pt x="48746" y="0"/>
                  </a:moveTo>
                  <a:cubicBezTo>
                    <a:pt x="48721" y="0"/>
                    <a:pt x="48696" y="0"/>
                    <a:pt x="48671" y="0"/>
                  </a:cubicBezTo>
                  <a:cubicBezTo>
                    <a:pt x="46453" y="0"/>
                    <a:pt x="44253" y="160"/>
                    <a:pt x="42052" y="462"/>
                  </a:cubicBezTo>
                  <a:cubicBezTo>
                    <a:pt x="36002" y="1313"/>
                    <a:pt x="30164" y="3336"/>
                    <a:pt x="24895" y="6441"/>
                  </a:cubicBezTo>
                  <a:cubicBezTo>
                    <a:pt x="19838" y="9404"/>
                    <a:pt x="15402" y="13326"/>
                    <a:pt x="11835" y="17974"/>
                  </a:cubicBezTo>
                  <a:cubicBezTo>
                    <a:pt x="8269" y="22570"/>
                    <a:pt x="5643" y="27822"/>
                    <a:pt x="4099" y="33447"/>
                  </a:cubicBezTo>
                  <a:cubicBezTo>
                    <a:pt x="2520" y="39213"/>
                    <a:pt x="2130" y="45246"/>
                    <a:pt x="2981" y="51190"/>
                  </a:cubicBezTo>
                  <a:cubicBezTo>
                    <a:pt x="4507" y="61925"/>
                    <a:pt x="9955" y="71737"/>
                    <a:pt x="18276" y="78728"/>
                  </a:cubicBezTo>
                  <a:cubicBezTo>
                    <a:pt x="26561" y="85703"/>
                    <a:pt x="37054" y="89534"/>
                    <a:pt x="47886" y="89534"/>
                  </a:cubicBezTo>
                  <a:cubicBezTo>
                    <a:pt x="47911" y="89534"/>
                    <a:pt x="47936" y="89534"/>
                    <a:pt x="47961" y="89534"/>
                  </a:cubicBezTo>
                  <a:cubicBezTo>
                    <a:pt x="50179" y="89534"/>
                    <a:pt x="52397" y="89374"/>
                    <a:pt x="54579" y="89072"/>
                  </a:cubicBezTo>
                  <a:cubicBezTo>
                    <a:pt x="60647" y="88221"/>
                    <a:pt x="66467" y="86198"/>
                    <a:pt x="71737" y="83093"/>
                  </a:cubicBezTo>
                  <a:cubicBezTo>
                    <a:pt x="76794" y="80112"/>
                    <a:pt x="81230" y="76208"/>
                    <a:pt x="84796" y="71560"/>
                  </a:cubicBezTo>
                  <a:cubicBezTo>
                    <a:pt x="88363" y="66964"/>
                    <a:pt x="90989" y="61712"/>
                    <a:pt x="92532" y="56105"/>
                  </a:cubicBezTo>
                  <a:cubicBezTo>
                    <a:pt x="94112" y="50321"/>
                    <a:pt x="94502" y="44288"/>
                    <a:pt x="93650" y="38362"/>
                  </a:cubicBezTo>
                  <a:cubicBezTo>
                    <a:pt x="92124" y="27609"/>
                    <a:pt x="86677" y="17797"/>
                    <a:pt x="78355" y="10824"/>
                  </a:cubicBezTo>
                  <a:cubicBezTo>
                    <a:pt x="70071" y="3831"/>
                    <a:pt x="59578" y="0"/>
                    <a:pt x="487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39" name="Google Shape;3639;p53"/>
          <p:cNvGrpSpPr/>
          <p:nvPr/>
        </p:nvGrpSpPr>
        <p:grpSpPr>
          <a:xfrm>
            <a:off x="6707979" y="3073628"/>
            <a:ext cx="576302" cy="511871"/>
            <a:chOff x="6644304" y="3073628"/>
            <a:chExt cx="576302" cy="511871"/>
          </a:xfrm>
        </p:grpSpPr>
        <p:grpSp>
          <p:nvGrpSpPr>
            <p:cNvPr id="3640" name="Google Shape;3640;p53"/>
            <p:cNvGrpSpPr/>
            <p:nvPr/>
          </p:nvGrpSpPr>
          <p:grpSpPr>
            <a:xfrm>
              <a:off x="6712169" y="3073651"/>
              <a:ext cx="481611" cy="506713"/>
              <a:chOff x="1833536" y="-546641"/>
              <a:chExt cx="914567" cy="962419"/>
            </a:xfrm>
          </p:grpSpPr>
          <p:grpSp>
            <p:nvGrpSpPr>
              <p:cNvPr id="3641" name="Google Shape;3641;p53"/>
              <p:cNvGrpSpPr/>
              <p:nvPr/>
            </p:nvGrpSpPr>
            <p:grpSpPr>
              <a:xfrm>
                <a:off x="1833536" y="-524249"/>
                <a:ext cx="914567" cy="940027"/>
                <a:chOff x="1833536" y="-524249"/>
                <a:chExt cx="914567" cy="940027"/>
              </a:xfrm>
            </p:grpSpPr>
            <p:sp>
              <p:nvSpPr>
                <p:cNvPr id="3642" name="Google Shape;3642;p53"/>
                <p:cNvSpPr/>
                <p:nvPr/>
              </p:nvSpPr>
              <p:spPr>
                <a:xfrm>
                  <a:off x="1833536" y="-524249"/>
                  <a:ext cx="453307" cy="5994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79" h="54723" extrusionOk="0">
                      <a:moveTo>
                        <a:pt x="20938" y="3904"/>
                      </a:moveTo>
                      <a:lnTo>
                        <a:pt x="22677" y="6583"/>
                      </a:lnTo>
                      <a:lnTo>
                        <a:pt x="22091" y="7097"/>
                      </a:lnTo>
                      <a:lnTo>
                        <a:pt x="18951" y="4400"/>
                      </a:lnTo>
                      <a:lnTo>
                        <a:pt x="20938" y="3904"/>
                      </a:lnTo>
                      <a:close/>
                      <a:moveTo>
                        <a:pt x="25072" y="0"/>
                      </a:moveTo>
                      <a:lnTo>
                        <a:pt x="25072" y="0"/>
                      </a:lnTo>
                      <a:cubicBezTo>
                        <a:pt x="24433" y="195"/>
                        <a:pt x="23812" y="408"/>
                        <a:pt x="23191" y="621"/>
                      </a:cubicBezTo>
                      <a:lnTo>
                        <a:pt x="23493" y="1047"/>
                      </a:lnTo>
                      <a:lnTo>
                        <a:pt x="21861" y="1136"/>
                      </a:lnTo>
                      <a:cubicBezTo>
                        <a:pt x="20920" y="1491"/>
                        <a:pt x="19980" y="1899"/>
                        <a:pt x="19075" y="2307"/>
                      </a:cubicBezTo>
                      <a:lnTo>
                        <a:pt x="17709" y="4489"/>
                      </a:lnTo>
                      <a:lnTo>
                        <a:pt x="19341" y="6778"/>
                      </a:lnTo>
                      <a:lnTo>
                        <a:pt x="19341" y="6778"/>
                      </a:lnTo>
                      <a:lnTo>
                        <a:pt x="16697" y="6086"/>
                      </a:lnTo>
                      <a:lnTo>
                        <a:pt x="17017" y="4542"/>
                      </a:lnTo>
                      <a:lnTo>
                        <a:pt x="15473" y="4205"/>
                      </a:lnTo>
                      <a:cubicBezTo>
                        <a:pt x="14124" y="4968"/>
                        <a:pt x="12811" y="5820"/>
                        <a:pt x="11552" y="6725"/>
                      </a:cubicBezTo>
                      <a:lnTo>
                        <a:pt x="12581" y="6920"/>
                      </a:lnTo>
                      <a:lnTo>
                        <a:pt x="11836" y="8091"/>
                      </a:lnTo>
                      <a:cubicBezTo>
                        <a:pt x="11392" y="7967"/>
                        <a:pt x="10842" y="7772"/>
                        <a:pt x="10363" y="7612"/>
                      </a:cubicBezTo>
                      <a:cubicBezTo>
                        <a:pt x="6300" y="10753"/>
                        <a:pt x="2804" y="14567"/>
                        <a:pt x="1" y="18897"/>
                      </a:cubicBezTo>
                      <a:cubicBezTo>
                        <a:pt x="356" y="19536"/>
                        <a:pt x="498" y="20299"/>
                        <a:pt x="373" y="21026"/>
                      </a:cubicBezTo>
                      <a:cubicBezTo>
                        <a:pt x="285" y="21895"/>
                        <a:pt x="870" y="22800"/>
                        <a:pt x="977" y="23723"/>
                      </a:cubicBezTo>
                      <a:cubicBezTo>
                        <a:pt x="1101" y="24681"/>
                        <a:pt x="835" y="25710"/>
                        <a:pt x="1048" y="26633"/>
                      </a:cubicBezTo>
                      <a:cubicBezTo>
                        <a:pt x="1580" y="28922"/>
                        <a:pt x="1651" y="28904"/>
                        <a:pt x="1314" y="30696"/>
                      </a:cubicBezTo>
                      <a:cubicBezTo>
                        <a:pt x="1260" y="30998"/>
                        <a:pt x="1243" y="31335"/>
                        <a:pt x="1189" y="31654"/>
                      </a:cubicBezTo>
                      <a:cubicBezTo>
                        <a:pt x="906" y="33943"/>
                        <a:pt x="852" y="36090"/>
                        <a:pt x="2378" y="38184"/>
                      </a:cubicBezTo>
                      <a:cubicBezTo>
                        <a:pt x="3194" y="39302"/>
                        <a:pt x="4490" y="39461"/>
                        <a:pt x="5217" y="40473"/>
                      </a:cubicBezTo>
                      <a:cubicBezTo>
                        <a:pt x="5377" y="41147"/>
                        <a:pt x="5679" y="41821"/>
                        <a:pt x="5679" y="42496"/>
                      </a:cubicBezTo>
                      <a:cubicBezTo>
                        <a:pt x="5679" y="43170"/>
                        <a:pt x="7311" y="43347"/>
                        <a:pt x="6406" y="44146"/>
                      </a:cubicBezTo>
                      <a:lnTo>
                        <a:pt x="8429" y="45122"/>
                      </a:lnTo>
                      <a:lnTo>
                        <a:pt x="8429" y="45122"/>
                      </a:lnTo>
                      <a:lnTo>
                        <a:pt x="8269" y="43170"/>
                      </a:lnTo>
                      <a:lnTo>
                        <a:pt x="8269" y="43170"/>
                      </a:lnTo>
                      <a:cubicBezTo>
                        <a:pt x="8872" y="43613"/>
                        <a:pt x="9298" y="43826"/>
                        <a:pt x="9600" y="44146"/>
                      </a:cubicBezTo>
                      <a:cubicBezTo>
                        <a:pt x="10345" y="44909"/>
                        <a:pt x="10948" y="45849"/>
                        <a:pt x="11765" y="46523"/>
                      </a:cubicBezTo>
                      <a:cubicBezTo>
                        <a:pt x="12652" y="47251"/>
                        <a:pt x="13734" y="47730"/>
                        <a:pt x="13255" y="49167"/>
                      </a:cubicBezTo>
                      <a:cubicBezTo>
                        <a:pt x="15142" y="50239"/>
                        <a:pt x="17068" y="51273"/>
                        <a:pt x="19240" y="51273"/>
                      </a:cubicBezTo>
                      <a:cubicBezTo>
                        <a:pt x="19621" y="51273"/>
                        <a:pt x="20009" y="51241"/>
                        <a:pt x="20406" y="51172"/>
                      </a:cubicBezTo>
                      <a:cubicBezTo>
                        <a:pt x="21066" y="51051"/>
                        <a:pt x="21687" y="50867"/>
                        <a:pt x="22299" y="50867"/>
                      </a:cubicBezTo>
                      <a:cubicBezTo>
                        <a:pt x="22856" y="50867"/>
                        <a:pt x="23406" y="51019"/>
                        <a:pt x="23972" y="51509"/>
                      </a:cubicBezTo>
                      <a:cubicBezTo>
                        <a:pt x="24575" y="52042"/>
                        <a:pt x="25551" y="52219"/>
                        <a:pt x="26403" y="52414"/>
                      </a:cubicBezTo>
                      <a:cubicBezTo>
                        <a:pt x="26412" y="52417"/>
                        <a:pt x="26421" y="52418"/>
                        <a:pt x="26431" y="52418"/>
                      </a:cubicBezTo>
                      <a:cubicBezTo>
                        <a:pt x="26612" y="52418"/>
                        <a:pt x="26911" y="51958"/>
                        <a:pt x="27130" y="51722"/>
                      </a:cubicBezTo>
                      <a:cubicBezTo>
                        <a:pt x="29563" y="53875"/>
                        <a:pt x="30553" y="54722"/>
                        <a:pt x="31970" y="54722"/>
                      </a:cubicBezTo>
                      <a:cubicBezTo>
                        <a:pt x="32888" y="54722"/>
                        <a:pt x="33985" y="54367"/>
                        <a:pt x="35771" y="53780"/>
                      </a:cubicBezTo>
                      <a:cubicBezTo>
                        <a:pt x="35754" y="53674"/>
                        <a:pt x="35736" y="53568"/>
                        <a:pt x="35700" y="53461"/>
                      </a:cubicBezTo>
                      <a:cubicBezTo>
                        <a:pt x="35026" y="53479"/>
                        <a:pt x="34387" y="53550"/>
                        <a:pt x="33731" y="53568"/>
                      </a:cubicBezTo>
                      <a:cubicBezTo>
                        <a:pt x="33590" y="53572"/>
                        <a:pt x="33456" y="53574"/>
                        <a:pt x="33329" y="53574"/>
                      </a:cubicBezTo>
                      <a:cubicBezTo>
                        <a:pt x="31461" y="53574"/>
                        <a:pt x="31079" y="53047"/>
                        <a:pt x="30697" y="50871"/>
                      </a:cubicBezTo>
                      <a:cubicBezTo>
                        <a:pt x="30590" y="50179"/>
                        <a:pt x="30005" y="49575"/>
                        <a:pt x="29650" y="48972"/>
                      </a:cubicBezTo>
                      <a:lnTo>
                        <a:pt x="26030" y="49628"/>
                      </a:lnTo>
                      <a:lnTo>
                        <a:pt x="26030" y="49628"/>
                      </a:lnTo>
                      <a:lnTo>
                        <a:pt x="26385" y="45406"/>
                      </a:lnTo>
                      <a:lnTo>
                        <a:pt x="24167" y="45956"/>
                      </a:lnTo>
                      <a:cubicBezTo>
                        <a:pt x="23812" y="46931"/>
                        <a:pt x="24007" y="48085"/>
                        <a:pt x="22553" y="48564"/>
                      </a:cubicBezTo>
                      <a:cubicBezTo>
                        <a:pt x="22259" y="48659"/>
                        <a:pt x="21992" y="48700"/>
                        <a:pt x="21745" y="48700"/>
                      </a:cubicBezTo>
                      <a:cubicBezTo>
                        <a:pt x="20706" y="48700"/>
                        <a:pt x="20016" y="47976"/>
                        <a:pt x="19199" y="47517"/>
                      </a:cubicBezTo>
                      <a:lnTo>
                        <a:pt x="17851" y="42123"/>
                      </a:lnTo>
                      <a:cubicBezTo>
                        <a:pt x="19459" y="40109"/>
                        <a:pt x="19754" y="39740"/>
                        <a:pt x="21393" y="39740"/>
                      </a:cubicBezTo>
                      <a:cubicBezTo>
                        <a:pt x="21761" y="39740"/>
                        <a:pt x="22197" y="39758"/>
                        <a:pt x="22730" y="39781"/>
                      </a:cubicBezTo>
                      <a:lnTo>
                        <a:pt x="22890" y="38237"/>
                      </a:lnTo>
                      <a:lnTo>
                        <a:pt x="27042" y="38113"/>
                      </a:lnTo>
                      <a:lnTo>
                        <a:pt x="30324" y="41786"/>
                      </a:lnTo>
                      <a:cubicBezTo>
                        <a:pt x="30679" y="39550"/>
                        <a:pt x="29064" y="38290"/>
                        <a:pt x="28532" y="36374"/>
                      </a:cubicBezTo>
                      <a:cubicBezTo>
                        <a:pt x="29366" y="35363"/>
                        <a:pt x="30324" y="34280"/>
                        <a:pt x="31229" y="33163"/>
                      </a:cubicBezTo>
                      <a:cubicBezTo>
                        <a:pt x="32045" y="32133"/>
                        <a:pt x="31974" y="31885"/>
                        <a:pt x="30644" y="30359"/>
                      </a:cubicBezTo>
                      <a:cubicBezTo>
                        <a:pt x="31105" y="29916"/>
                        <a:pt x="31886" y="29490"/>
                        <a:pt x="31957" y="28993"/>
                      </a:cubicBezTo>
                      <a:cubicBezTo>
                        <a:pt x="32152" y="27378"/>
                        <a:pt x="33411" y="26757"/>
                        <a:pt x="34441" y="25906"/>
                      </a:cubicBezTo>
                      <a:lnTo>
                        <a:pt x="34245" y="24273"/>
                      </a:lnTo>
                      <a:lnTo>
                        <a:pt x="36588" y="22996"/>
                      </a:lnTo>
                      <a:lnTo>
                        <a:pt x="37120" y="24096"/>
                      </a:lnTo>
                      <a:lnTo>
                        <a:pt x="40438" y="20849"/>
                      </a:lnTo>
                      <a:lnTo>
                        <a:pt x="40048" y="20387"/>
                      </a:lnTo>
                      <a:lnTo>
                        <a:pt x="38184" y="21700"/>
                      </a:lnTo>
                      <a:lnTo>
                        <a:pt x="36410" y="20547"/>
                      </a:lnTo>
                      <a:cubicBezTo>
                        <a:pt x="37315" y="19429"/>
                        <a:pt x="38309" y="18631"/>
                        <a:pt x="38752" y="17584"/>
                      </a:cubicBezTo>
                      <a:cubicBezTo>
                        <a:pt x="39285" y="16377"/>
                        <a:pt x="40686" y="16271"/>
                        <a:pt x="41378" y="15295"/>
                      </a:cubicBezTo>
                      <a:cubicBezTo>
                        <a:pt x="40314" y="14177"/>
                        <a:pt x="39285" y="13663"/>
                        <a:pt x="37989" y="13521"/>
                      </a:cubicBezTo>
                      <a:cubicBezTo>
                        <a:pt x="37031" y="13467"/>
                        <a:pt x="36162" y="12971"/>
                        <a:pt x="35647" y="12154"/>
                      </a:cubicBezTo>
                      <a:cubicBezTo>
                        <a:pt x="35257" y="11622"/>
                        <a:pt x="34813" y="11161"/>
                        <a:pt x="34281" y="10770"/>
                      </a:cubicBezTo>
                      <a:cubicBezTo>
                        <a:pt x="34068" y="10593"/>
                        <a:pt x="33678" y="10628"/>
                        <a:pt x="33323" y="10557"/>
                      </a:cubicBezTo>
                      <a:lnTo>
                        <a:pt x="32773" y="12509"/>
                      </a:lnTo>
                      <a:cubicBezTo>
                        <a:pt x="31022" y="12013"/>
                        <a:pt x="29978" y="9739"/>
                        <a:pt x="28235" y="9739"/>
                      </a:cubicBezTo>
                      <a:cubicBezTo>
                        <a:pt x="27735" y="9739"/>
                        <a:pt x="27176" y="9927"/>
                        <a:pt x="26527" y="10398"/>
                      </a:cubicBezTo>
                      <a:cubicBezTo>
                        <a:pt x="26793" y="11711"/>
                        <a:pt x="25942" y="13290"/>
                        <a:pt x="27343" y="14479"/>
                      </a:cubicBezTo>
                      <a:cubicBezTo>
                        <a:pt x="27538" y="14638"/>
                        <a:pt x="27609" y="15295"/>
                        <a:pt x="27485" y="15419"/>
                      </a:cubicBezTo>
                      <a:cubicBezTo>
                        <a:pt x="26154" y="16590"/>
                        <a:pt x="27095" y="18169"/>
                        <a:pt x="26935" y="19447"/>
                      </a:cubicBezTo>
                      <a:cubicBezTo>
                        <a:pt x="26757" y="19471"/>
                        <a:pt x="26594" y="19483"/>
                        <a:pt x="26444" y="19483"/>
                      </a:cubicBezTo>
                      <a:cubicBezTo>
                        <a:pt x="24534" y="19483"/>
                        <a:pt x="24803" y="17604"/>
                        <a:pt x="24309" y="16732"/>
                      </a:cubicBezTo>
                      <a:cubicBezTo>
                        <a:pt x="23538" y="16756"/>
                        <a:pt x="22881" y="16829"/>
                        <a:pt x="22272" y="16829"/>
                      </a:cubicBezTo>
                      <a:cubicBezTo>
                        <a:pt x="21985" y="16829"/>
                        <a:pt x="21708" y="16813"/>
                        <a:pt x="21435" y="16768"/>
                      </a:cubicBezTo>
                      <a:cubicBezTo>
                        <a:pt x="20583" y="16626"/>
                        <a:pt x="19767" y="16235"/>
                        <a:pt x="18968" y="15880"/>
                      </a:cubicBezTo>
                      <a:cubicBezTo>
                        <a:pt x="18099" y="15508"/>
                        <a:pt x="17904" y="14745"/>
                        <a:pt x="18117" y="13929"/>
                      </a:cubicBezTo>
                      <a:cubicBezTo>
                        <a:pt x="18489" y="12562"/>
                        <a:pt x="19820" y="11799"/>
                        <a:pt x="20317" y="10433"/>
                      </a:cubicBezTo>
                      <a:cubicBezTo>
                        <a:pt x="20420" y="10159"/>
                        <a:pt x="20643" y="10069"/>
                        <a:pt x="20926" y="10069"/>
                      </a:cubicBezTo>
                      <a:cubicBezTo>
                        <a:pt x="21466" y="10069"/>
                        <a:pt x="22224" y="10398"/>
                        <a:pt x="22783" y="10398"/>
                      </a:cubicBezTo>
                      <a:cubicBezTo>
                        <a:pt x="23422" y="10398"/>
                        <a:pt x="24078" y="10114"/>
                        <a:pt x="25445" y="9777"/>
                      </a:cubicBezTo>
                      <a:lnTo>
                        <a:pt x="22925" y="8836"/>
                      </a:lnTo>
                      <a:cubicBezTo>
                        <a:pt x="23351" y="8002"/>
                        <a:pt x="23759" y="7435"/>
                        <a:pt x="23972" y="6796"/>
                      </a:cubicBezTo>
                      <a:cubicBezTo>
                        <a:pt x="24489" y="5333"/>
                        <a:pt x="24808" y="4715"/>
                        <a:pt x="25467" y="4715"/>
                      </a:cubicBezTo>
                      <a:cubicBezTo>
                        <a:pt x="25870" y="4715"/>
                        <a:pt x="26401" y="4947"/>
                        <a:pt x="27184" y="5359"/>
                      </a:cubicBezTo>
                      <a:cubicBezTo>
                        <a:pt x="27485" y="5518"/>
                        <a:pt x="27787" y="5713"/>
                        <a:pt x="28177" y="5944"/>
                      </a:cubicBezTo>
                      <a:lnTo>
                        <a:pt x="26012" y="8694"/>
                      </a:lnTo>
                      <a:cubicBezTo>
                        <a:pt x="26754" y="8600"/>
                        <a:pt x="27262" y="8535"/>
                        <a:pt x="27696" y="8535"/>
                      </a:cubicBezTo>
                      <a:cubicBezTo>
                        <a:pt x="28642" y="8535"/>
                        <a:pt x="29231" y="8844"/>
                        <a:pt x="31105" y="9830"/>
                      </a:cubicBezTo>
                      <a:lnTo>
                        <a:pt x="32844" y="8304"/>
                      </a:lnTo>
                      <a:lnTo>
                        <a:pt x="31886" y="7346"/>
                      </a:lnTo>
                      <a:lnTo>
                        <a:pt x="32861" y="5341"/>
                      </a:lnTo>
                      <a:lnTo>
                        <a:pt x="25232" y="2005"/>
                      </a:lnTo>
                      <a:lnTo>
                        <a:pt x="21577" y="2733"/>
                      </a:lnTo>
                      <a:lnTo>
                        <a:pt x="21452" y="2218"/>
                      </a:lnTo>
                      <a:lnTo>
                        <a:pt x="24540" y="1437"/>
                      </a:lnTo>
                      <a:lnTo>
                        <a:pt x="2507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3" name="Google Shape;3643;p53"/>
                <p:cNvSpPr/>
                <p:nvPr/>
              </p:nvSpPr>
              <p:spPr>
                <a:xfrm>
                  <a:off x="2215098" y="11844"/>
                  <a:ext cx="361756" cy="4039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022" h="36872" extrusionOk="0">
                      <a:moveTo>
                        <a:pt x="11233" y="0"/>
                      </a:moveTo>
                      <a:cubicBezTo>
                        <a:pt x="10639" y="505"/>
                        <a:pt x="10418" y="1084"/>
                        <a:pt x="9687" y="1084"/>
                      </a:cubicBezTo>
                      <a:cubicBezTo>
                        <a:pt x="9544" y="1084"/>
                        <a:pt x="9381" y="1061"/>
                        <a:pt x="9192" y="1012"/>
                      </a:cubicBezTo>
                      <a:cubicBezTo>
                        <a:pt x="8542" y="845"/>
                        <a:pt x="7805" y="576"/>
                        <a:pt x="7089" y="576"/>
                      </a:cubicBezTo>
                      <a:cubicBezTo>
                        <a:pt x="6437" y="576"/>
                        <a:pt x="5804" y="799"/>
                        <a:pt x="5271" y="1526"/>
                      </a:cubicBezTo>
                      <a:lnTo>
                        <a:pt x="4632" y="231"/>
                      </a:lnTo>
                      <a:cubicBezTo>
                        <a:pt x="3940" y="1030"/>
                        <a:pt x="3780" y="2165"/>
                        <a:pt x="2591" y="2325"/>
                      </a:cubicBezTo>
                      <a:cubicBezTo>
                        <a:pt x="1208" y="2502"/>
                        <a:pt x="2538" y="4649"/>
                        <a:pt x="959" y="4844"/>
                      </a:cubicBezTo>
                      <a:lnTo>
                        <a:pt x="2006" y="8961"/>
                      </a:lnTo>
                      <a:lnTo>
                        <a:pt x="1" y="12190"/>
                      </a:lnTo>
                      <a:cubicBezTo>
                        <a:pt x="1190" y="12935"/>
                        <a:pt x="143" y="14302"/>
                        <a:pt x="640" y="15153"/>
                      </a:cubicBezTo>
                      <a:cubicBezTo>
                        <a:pt x="1882" y="15987"/>
                        <a:pt x="3071" y="16697"/>
                        <a:pt x="4135" y="17531"/>
                      </a:cubicBezTo>
                      <a:cubicBezTo>
                        <a:pt x="5058" y="18276"/>
                        <a:pt x="5732" y="19359"/>
                        <a:pt x="6726" y="19980"/>
                      </a:cubicBezTo>
                      <a:cubicBezTo>
                        <a:pt x="7808" y="20654"/>
                        <a:pt x="9121" y="20973"/>
                        <a:pt x="10044" y="21364"/>
                      </a:cubicBezTo>
                      <a:cubicBezTo>
                        <a:pt x="11250" y="25161"/>
                        <a:pt x="11587" y="28638"/>
                        <a:pt x="10878" y="32152"/>
                      </a:cubicBezTo>
                      <a:cubicBezTo>
                        <a:pt x="11091" y="32506"/>
                        <a:pt x="11623" y="32968"/>
                        <a:pt x="11605" y="33394"/>
                      </a:cubicBezTo>
                      <a:cubicBezTo>
                        <a:pt x="11552" y="34405"/>
                        <a:pt x="11605" y="35416"/>
                        <a:pt x="11783" y="36428"/>
                      </a:cubicBezTo>
                      <a:cubicBezTo>
                        <a:pt x="11800" y="36587"/>
                        <a:pt x="11836" y="36729"/>
                        <a:pt x="11871" y="36871"/>
                      </a:cubicBezTo>
                      <a:cubicBezTo>
                        <a:pt x="12634" y="36712"/>
                        <a:pt x="13379" y="36552"/>
                        <a:pt x="14125" y="36357"/>
                      </a:cubicBezTo>
                      <a:lnTo>
                        <a:pt x="14568" y="36233"/>
                      </a:lnTo>
                      <a:cubicBezTo>
                        <a:pt x="15172" y="34139"/>
                        <a:pt x="15828" y="32045"/>
                        <a:pt x="17798" y="30785"/>
                      </a:cubicBezTo>
                      <a:cubicBezTo>
                        <a:pt x="18543" y="30324"/>
                        <a:pt x="18951" y="29845"/>
                        <a:pt x="19235" y="29117"/>
                      </a:cubicBezTo>
                      <a:cubicBezTo>
                        <a:pt x="19377" y="28763"/>
                        <a:pt x="19465" y="28230"/>
                        <a:pt x="19732" y="28124"/>
                      </a:cubicBezTo>
                      <a:cubicBezTo>
                        <a:pt x="22233" y="27059"/>
                        <a:pt x="23334" y="24930"/>
                        <a:pt x="24008" y="22535"/>
                      </a:cubicBezTo>
                      <a:cubicBezTo>
                        <a:pt x="24345" y="21346"/>
                        <a:pt x="25232" y="20423"/>
                        <a:pt x="26403" y="20051"/>
                      </a:cubicBezTo>
                      <a:cubicBezTo>
                        <a:pt x="28550" y="19447"/>
                        <a:pt x="29065" y="17904"/>
                        <a:pt x="29615" y="16147"/>
                      </a:cubicBezTo>
                      <a:cubicBezTo>
                        <a:pt x="30449" y="13503"/>
                        <a:pt x="30999" y="10735"/>
                        <a:pt x="32844" y="8517"/>
                      </a:cubicBezTo>
                      <a:cubicBezTo>
                        <a:pt x="32933" y="8429"/>
                        <a:pt x="32986" y="8340"/>
                        <a:pt x="33021" y="8216"/>
                      </a:cubicBezTo>
                      <a:cubicBezTo>
                        <a:pt x="33021" y="7683"/>
                        <a:pt x="33021" y="7133"/>
                        <a:pt x="33021" y="6424"/>
                      </a:cubicBezTo>
                      <a:cubicBezTo>
                        <a:pt x="32898" y="6449"/>
                        <a:pt x="32778" y="6461"/>
                        <a:pt x="32662" y="6461"/>
                      </a:cubicBezTo>
                      <a:cubicBezTo>
                        <a:pt x="31610" y="6461"/>
                        <a:pt x="30838" y="5512"/>
                        <a:pt x="29835" y="5512"/>
                      </a:cubicBezTo>
                      <a:cubicBezTo>
                        <a:pt x="29647" y="5512"/>
                        <a:pt x="29450" y="5546"/>
                        <a:pt x="29242" y="5625"/>
                      </a:cubicBezTo>
                      <a:cubicBezTo>
                        <a:pt x="28763" y="5810"/>
                        <a:pt x="28295" y="5881"/>
                        <a:pt x="27833" y="5881"/>
                      </a:cubicBezTo>
                      <a:cubicBezTo>
                        <a:pt x="27010" y="5881"/>
                        <a:pt x="26203" y="5659"/>
                        <a:pt x="25374" y="5465"/>
                      </a:cubicBezTo>
                      <a:cubicBezTo>
                        <a:pt x="25322" y="5454"/>
                        <a:pt x="25270" y="5449"/>
                        <a:pt x="25215" y="5449"/>
                      </a:cubicBezTo>
                      <a:cubicBezTo>
                        <a:pt x="24767" y="5449"/>
                        <a:pt x="24231" y="5812"/>
                        <a:pt x="23582" y="6033"/>
                      </a:cubicBezTo>
                      <a:lnTo>
                        <a:pt x="20637" y="2112"/>
                      </a:lnTo>
                      <a:lnTo>
                        <a:pt x="16467" y="2201"/>
                      </a:lnTo>
                      <a:lnTo>
                        <a:pt x="11233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4" name="Google Shape;3644;p53"/>
                <p:cNvSpPr/>
                <p:nvPr/>
              </p:nvSpPr>
              <p:spPr>
                <a:xfrm>
                  <a:off x="2637874" y="-333183"/>
                  <a:ext cx="110229" cy="2894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62" h="26421" extrusionOk="0">
                      <a:moveTo>
                        <a:pt x="2520" y="1"/>
                      </a:moveTo>
                      <a:lnTo>
                        <a:pt x="2254" y="19"/>
                      </a:lnTo>
                      <a:cubicBezTo>
                        <a:pt x="2077" y="515"/>
                        <a:pt x="2041" y="1474"/>
                        <a:pt x="1545" y="1864"/>
                      </a:cubicBezTo>
                      <a:cubicBezTo>
                        <a:pt x="107" y="3035"/>
                        <a:pt x="214" y="4401"/>
                        <a:pt x="586" y="5927"/>
                      </a:cubicBezTo>
                      <a:cubicBezTo>
                        <a:pt x="746" y="6566"/>
                        <a:pt x="1012" y="7311"/>
                        <a:pt x="835" y="7897"/>
                      </a:cubicBezTo>
                      <a:cubicBezTo>
                        <a:pt x="1" y="10523"/>
                        <a:pt x="799" y="13202"/>
                        <a:pt x="72" y="15917"/>
                      </a:cubicBezTo>
                      <a:lnTo>
                        <a:pt x="1686" y="15846"/>
                      </a:lnTo>
                      <a:cubicBezTo>
                        <a:pt x="1811" y="17177"/>
                        <a:pt x="2698" y="18241"/>
                        <a:pt x="1970" y="19590"/>
                      </a:cubicBezTo>
                      <a:cubicBezTo>
                        <a:pt x="1740" y="20051"/>
                        <a:pt x="2024" y="21293"/>
                        <a:pt x="2414" y="21506"/>
                      </a:cubicBezTo>
                      <a:cubicBezTo>
                        <a:pt x="4596" y="22642"/>
                        <a:pt x="4632" y="25587"/>
                        <a:pt x="6885" y="26421"/>
                      </a:cubicBezTo>
                      <a:lnTo>
                        <a:pt x="10061" y="24079"/>
                      </a:lnTo>
                      <a:cubicBezTo>
                        <a:pt x="9973" y="15491"/>
                        <a:pt x="7364" y="7098"/>
                        <a:pt x="2520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5" name="Google Shape;3645;p53"/>
                <p:cNvSpPr/>
                <p:nvPr/>
              </p:nvSpPr>
              <p:spPr>
                <a:xfrm>
                  <a:off x="2134042" y="-54389"/>
                  <a:ext cx="90203" cy="22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234" h="2026" extrusionOk="0">
                      <a:moveTo>
                        <a:pt x="3405" y="1"/>
                      </a:moveTo>
                      <a:cubicBezTo>
                        <a:pt x="2255" y="1"/>
                        <a:pt x="1201" y="655"/>
                        <a:pt x="1" y="919"/>
                      </a:cubicBezTo>
                      <a:cubicBezTo>
                        <a:pt x="371" y="1711"/>
                        <a:pt x="675" y="1974"/>
                        <a:pt x="943" y="1974"/>
                      </a:cubicBezTo>
                      <a:cubicBezTo>
                        <a:pt x="1419" y="1974"/>
                        <a:pt x="1781" y="1142"/>
                        <a:pt x="2201" y="972"/>
                      </a:cubicBezTo>
                      <a:cubicBezTo>
                        <a:pt x="2266" y="967"/>
                        <a:pt x="2330" y="964"/>
                        <a:pt x="2394" y="964"/>
                      </a:cubicBezTo>
                      <a:cubicBezTo>
                        <a:pt x="3717" y="964"/>
                        <a:pt x="4976" y="2025"/>
                        <a:pt x="6356" y="2025"/>
                      </a:cubicBezTo>
                      <a:cubicBezTo>
                        <a:pt x="6954" y="2025"/>
                        <a:pt x="7575" y="1826"/>
                        <a:pt x="8234" y="1256"/>
                      </a:cubicBezTo>
                      <a:cubicBezTo>
                        <a:pt x="7932" y="936"/>
                        <a:pt x="7684" y="440"/>
                        <a:pt x="7400" y="422"/>
                      </a:cubicBezTo>
                      <a:cubicBezTo>
                        <a:pt x="7374" y="421"/>
                        <a:pt x="7348" y="420"/>
                        <a:pt x="7322" y="420"/>
                      </a:cubicBezTo>
                      <a:cubicBezTo>
                        <a:pt x="6763" y="420"/>
                        <a:pt x="6090" y="679"/>
                        <a:pt x="5591" y="679"/>
                      </a:cubicBezTo>
                      <a:cubicBezTo>
                        <a:pt x="5418" y="679"/>
                        <a:pt x="5266" y="648"/>
                        <a:pt x="5147" y="564"/>
                      </a:cubicBezTo>
                      <a:cubicBezTo>
                        <a:pt x="4527" y="150"/>
                        <a:pt x="3955" y="1"/>
                        <a:pt x="3405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6" name="Google Shape;3646;p53"/>
                <p:cNvSpPr/>
                <p:nvPr/>
              </p:nvSpPr>
              <p:spPr>
                <a:xfrm>
                  <a:off x="2238816" y="-47827"/>
                  <a:ext cx="72325" cy="270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02" h="2467" extrusionOk="0">
                      <a:moveTo>
                        <a:pt x="6601" y="0"/>
                      </a:moveTo>
                      <a:cubicBezTo>
                        <a:pt x="4188" y="231"/>
                        <a:pt x="2254" y="391"/>
                        <a:pt x="338" y="604"/>
                      </a:cubicBezTo>
                      <a:cubicBezTo>
                        <a:pt x="231" y="621"/>
                        <a:pt x="160" y="976"/>
                        <a:pt x="1" y="1384"/>
                      </a:cubicBezTo>
                      <a:lnTo>
                        <a:pt x="1438" y="2467"/>
                      </a:lnTo>
                      <a:cubicBezTo>
                        <a:pt x="2573" y="621"/>
                        <a:pt x="4862" y="1491"/>
                        <a:pt x="6601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3647" name="Google Shape;3647;p53"/>
              <p:cNvSpPr/>
              <p:nvPr/>
            </p:nvSpPr>
            <p:spPr>
              <a:xfrm>
                <a:off x="2128411" y="-546641"/>
                <a:ext cx="194386" cy="108115"/>
              </a:xfrm>
              <a:custGeom>
                <a:avLst/>
                <a:gdLst/>
                <a:ahLst/>
                <a:cxnLst/>
                <a:rect l="l" t="t" r="r" b="b"/>
                <a:pathLst>
                  <a:path w="17744" h="9869" extrusionOk="0">
                    <a:moveTo>
                      <a:pt x="11775" y="1"/>
                    </a:moveTo>
                    <a:cubicBezTo>
                      <a:pt x="7969" y="1"/>
                      <a:pt x="4175" y="474"/>
                      <a:pt x="479" y="1405"/>
                    </a:cubicBezTo>
                    <a:lnTo>
                      <a:pt x="0" y="1530"/>
                    </a:lnTo>
                    <a:cubicBezTo>
                      <a:pt x="266" y="1749"/>
                      <a:pt x="570" y="1886"/>
                      <a:pt x="955" y="1886"/>
                    </a:cubicBezTo>
                    <a:cubicBezTo>
                      <a:pt x="1161" y="1886"/>
                      <a:pt x="1391" y="1847"/>
                      <a:pt x="1651" y="1760"/>
                    </a:cubicBezTo>
                    <a:cubicBezTo>
                      <a:pt x="2029" y="1630"/>
                      <a:pt x="2392" y="1564"/>
                      <a:pt x="2739" y="1564"/>
                    </a:cubicBezTo>
                    <a:cubicBezTo>
                      <a:pt x="3580" y="1564"/>
                      <a:pt x="4337" y="1950"/>
                      <a:pt x="5040" y="2754"/>
                    </a:cubicBezTo>
                    <a:cubicBezTo>
                      <a:pt x="5749" y="3588"/>
                      <a:pt x="7204" y="3428"/>
                      <a:pt x="7967" y="4422"/>
                    </a:cubicBezTo>
                    <a:cubicBezTo>
                      <a:pt x="8017" y="4486"/>
                      <a:pt x="8125" y="4504"/>
                      <a:pt x="8257" y="4504"/>
                    </a:cubicBezTo>
                    <a:cubicBezTo>
                      <a:pt x="8429" y="4504"/>
                      <a:pt x="8642" y="4473"/>
                      <a:pt x="8821" y="4473"/>
                    </a:cubicBezTo>
                    <a:cubicBezTo>
                      <a:pt x="8844" y="4473"/>
                      <a:pt x="8868" y="4474"/>
                      <a:pt x="8890" y="4475"/>
                    </a:cubicBezTo>
                    <a:lnTo>
                      <a:pt x="8233" y="6054"/>
                    </a:lnTo>
                    <a:cubicBezTo>
                      <a:pt x="9475" y="6533"/>
                      <a:pt x="11019" y="6640"/>
                      <a:pt x="11605" y="7420"/>
                    </a:cubicBezTo>
                    <a:cubicBezTo>
                      <a:pt x="13095" y="9479"/>
                      <a:pt x="15065" y="9745"/>
                      <a:pt x="17744" y="9869"/>
                    </a:cubicBezTo>
                    <a:cubicBezTo>
                      <a:pt x="17105" y="8982"/>
                      <a:pt x="16271" y="8325"/>
                      <a:pt x="16342" y="7828"/>
                    </a:cubicBezTo>
                    <a:cubicBezTo>
                      <a:pt x="16502" y="6888"/>
                      <a:pt x="16892" y="6125"/>
                      <a:pt x="15632" y="5717"/>
                    </a:cubicBezTo>
                    <a:lnTo>
                      <a:pt x="16857" y="4706"/>
                    </a:lnTo>
                    <a:lnTo>
                      <a:pt x="16484" y="3215"/>
                    </a:lnTo>
                    <a:cubicBezTo>
                      <a:pt x="16786" y="3073"/>
                      <a:pt x="17123" y="3002"/>
                      <a:pt x="17336" y="2772"/>
                    </a:cubicBezTo>
                    <a:cubicBezTo>
                      <a:pt x="17531" y="2559"/>
                      <a:pt x="17549" y="2222"/>
                      <a:pt x="17744" y="1689"/>
                    </a:cubicBezTo>
                    <a:cubicBezTo>
                      <a:pt x="16928" y="1441"/>
                      <a:pt x="16218" y="1281"/>
                      <a:pt x="15579" y="660"/>
                    </a:cubicBezTo>
                    <a:cubicBezTo>
                      <a:pt x="15384" y="465"/>
                      <a:pt x="15171" y="270"/>
                      <a:pt x="14940" y="110"/>
                    </a:cubicBezTo>
                    <a:cubicBezTo>
                      <a:pt x="13885" y="37"/>
                      <a:pt x="12830" y="1"/>
                      <a:pt x="1177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48" name="Google Shape;3648;p53"/>
              <p:cNvSpPr/>
              <p:nvPr/>
            </p:nvSpPr>
            <p:spPr>
              <a:xfrm>
                <a:off x="2511333" y="-459604"/>
                <a:ext cx="149109" cy="146063"/>
              </a:xfrm>
              <a:custGeom>
                <a:avLst/>
                <a:gdLst/>
                <a:ahLst/>
                <a:cxnLst/>
                <a:rect l="l" t="t" r="r" b="b"/>
                <a:pathLst>
                  <a:path w="13611" h="13333" extrusionOk="0">
                    <a:moveTo>
                      <a:pt x="1947" y="1"/>
                    </a:moveTo>
                    <a:cubicBezTo>
                      <a:pt x="1321" y="1"/>
                      <a:pt x="678" y="263"/>
                      <a:pt x="1" y="842"/>
                    </a:cubicBezTo>
                    <a:lnTo>
                      <a:pt x="1420" y="2634"/>
                    </a:lnTo>
                    <a:lnTo>
                      <a:pt x="5856" y="2829"/>
                    </a:lnTo>
                    <a:lnTo>
                      <a:pt x="5342" y="5224"/>
                    </a:lnTo>
                    <a:lnTo>
                      <a:pt x="8802" y="7105"/>
                    </a:lnTo>
                    <a:lnTo>
                      <a:pt x="7453" y="8702"/>
                    </a:lnTo>
                    <a:lnTo>
                      <a:pt x="9884" y="12925"/>
                    </a:lnTo>
                    <a:lnTo>
                      <a:pt x="12386" y="13333"/>
                    </a:lnTo>
                    <a:cubicBezTo>
                      <a:pt x="11889" y="12109"/>
                      <a:pt x="13610" y="10813"/>
                      <a:pt x="11694" y="9891"/>
                    </a:cubicBezTo>
                    <a:cubicBezTo>
                      <a:pt x="11605" y="9181"/>
                      <a:pt x="11232" y="8436"/>
                      <a:pt x="11179" y="7726"/>
                    </a:cubicBezTo>
                    <a:cubicBezTo>
                      <a:pt x="8713" y="4852"/>
                      <a:pt x="5892" y="2297"/>
                      <a:pt x="2769" y="150"/>
                    </a:cubicBezTo>
                    <a:cubicBezTo>
                      <a:pt x="2497" y="52"/>
                      <a:pt x="2224" y="1"/>
                      <a:pt x="194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49" name="Google Shape;3649;p53"/>
              <p:cNvSpPr/>
              <p:nvPr/>
            </p:nvSpPr>
            <p:spPr>
              <a:xfrm>
                <a:off x="2278079" y="-341148"/>
                <a:ext cx="40051" cy="28001"/>
              </a:xfrm>
              <a:custGeom>
                <a:avLst/>
                <a:gdLst/>
                <a:ahLst/>
                <a:cxnLst/>
                <a:rect l="l" t="t" r="r" b="b"/>
                <a:pathLst>
                  <a:path w="3656" h="2556" extrusionOk="0">
                    <a:moveTo>
                      <a:pt x="498" y="0"/>
                    </a:moveTo>
                    <a:cubicBezTo>
                      <a:pt x="444" y="426"/>
                      <a:pt x="373" y="852"/>
                      <a:pt x="302" y="1278"/>
                    </a:cubicBezTo>
                    <a:cubicBezTo>
                      <a:pt x="231" y="1686"/>
                      <a:pt x="107" y="2076"/>
                      <a:pt x="1" y="2555"/>
                    </a:cubicBezTo>
                    <a:lnTo>
                      <a:pt x="3656" y="2467"/>
                    </a:lnTo>
                    <a:lnTo>
                      <a:pt x="3319" y="1100"/>
                    </a:lnTo>
                    <a:lnTo>
                      <a:pt x="498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50" name="Google Shape;3650;p53"/>
              <p:cNvSpPr/>
              <p:nvPr/>
            </p:nvSpPr>
            <p:spPr>
              <a:xfrm>
                <a:off x="2357973" y="-515102"/>
                <a:ext cx="46077" cy="20902"/>
              </a:xfrm>
              <a:custGeom>
                <a:avLst/>
                <a:gdLst/>
                <a:ahLst/>
                <a:cxnLst/>
                <a:rect l="l" t="t" r="r" b="b"/>
                <a:pathLst>
                  <a:path w="4206" h="1908" extrusionOk="0">
                    <a:moveTo>
                      <a:pt x="2533" y="1"/>
                    </a:moveTo>
                    <a:cubicBezTo>
                      <a:pt x="1985" y="1"/>
                      <a:pt x="1354" y="226"/>
                      <a:pt x="0" y="709"/>
                    </a:cubicBezTo>
                    <a:cubicBezTo>
                      <a:pt x="1204" y="1500"/>
                      <a:pt x="1825" y="1908"/>
                      <a:pt x="2340" y="1908"/>
                    </a:cubicBezTo>
                    <a:cubicBezTo>
                      <a:pt x="2889" y="1908"/>
                      <a:pt x="3319" y="1447"/>
                      <a:pt x="4206" y="496"/>
                    </a:cubicBezTo>
                    <a:cubicBezTo>
                      <a:pt x="3427" y="173"/>
                      <a:pt x="3012" y="1"/>
                      <a:pt x="253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51" name="Google Shape;3651;p53"/>
            <p:cNvSpPr/>
            <p:nvPr/>
          </p:nvSpPr>
          <p:spPr>
            <a:xfrm>
              <a:off x="6644304" y="3073628"/>
              <a:ext cx="576302" cy="511871"/>
            </a:xfrm>
            <a:custGeom>
              <a:avLst/>
              <a:gdLst/>
              <a:ahLst/>
              <a:cxnLst/>
              <a:rect l="l" t="t" r="r" b="b"/>
              <a:pathLst>
                <a:path w="99879" h="88751" extrusionOk="0">
                  <a:moveTo>
                    <a:pt x="50483" y="1"/>
                  </a:moveTo>
                  <a:cubicBezTo>
                    <a:pt x="46751" y="1"/>
                    <a:pt x="42953" y="456"/>
                    <a:pt x="39160" y="1409"/>
                  </a:cubicBezTo>
                  <a:cubicBezTo>
                    <a:pt x="14870" y="7513"/>
                    <a:pt x="1" y="31697"/>
                    <a:pt x="5963" y="55420"/>
                  </a:cubicBezTo>
                  <a:cubicBezTo>
                    <a:pt x="10993" y="75452"/>
                    <a:pt x="29236" y="88750"/>
                    <a:pt x="49406" y="88750"/>
                  </a:cubicBezTo>
                  <a:cubicBezTo>
                    <a:pt x="53141" y="88750"/>
                    <a:pt x="56941" y="88294"/>
                    <a:pt x="60736" y="87341"/>
                  </a:cubicBezTo>
                  <a:cubicBezTo>
                    <a:pt x="85027" y="81237"/>
                    <a:pt x="99878" y="57053"/>
                    <a:pt x="93917" y="33330"/>
                  </a:cubicBezTo>
                  <a:cubicBezTo>
                    <a:pt x="88901" y="13311"/>
                    <a:pt x="70655" y="1"/>
                    <a:pt x="504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52" name="Google Shape;3652;p53"/>
          <p:cNvGrpSpPr/>
          <p:nvPr/>
        </p:nvGrpSpPr>
        <p:grpSpPr>
          <a:xfrm>
            <a:off x="6715725" y="3714143"/>
            <a:ext cx="560636" cy="516497"/>
            <a:chOff x="6652051" y="3714143"/>
            <a:chExt cx="560636" cy="516497"/>
          </a:xfrm>
        </p:grpSpPr>
        <p:grpSp>
          <p:nvGrpSpPr>
            <p:cNvPr id="3653" name="Google Shape;3653;p53"/>
            <p:cNvGrpSpPr/>
            <p:nvPr/>
          </p:nvGrpSpPr>
          <p:grpSpPr>
            <a:xfrm>
              <a:off x="6669657" y="3716715"/>
              <a:ext cx="466768" cy="464314"/>
              <a:chOff x="3139766" y="765669"/>
              <a:chExt cx="886380" cy="881888"/>
            </a:xfrm>
          </p:grpSpPr>
          <p:grpSp>
            <p:nvGrpSpPr>
              <p:cNvPr id="3654" name="Google Shape;3654;p53"/>
              <p:cNvGrpSpPr/>
              <p:nvPr/>
            </p:nvGrpSpPr>
            <p:grpSpPr>
              <a:xfrm>
                <a:off x="3139766" y="765669"/>
                <a:ext cx="886380" cy="881888"/>
                <a:chOff x="3139766" y="765669"/>
                <a:chExt cx="886380" cy="881888"/>
              </a:xfrm>
            </p:grpSpPr>
            <p:sp>
              <p:nvSpPr>
                <p:cNvPr id="3655" name="Google Shape;3655;p53"/>
                <p:cNvSpPr/>
                <p:nvPr/>
              </p:nvSpPr>
              <p:spPr>
                <a:xfrm>
                  <a:off x="3139766" y="765669"/>
                  <a:ext cx="733591" cy="8818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964" h="80501" extrusionOk="0">
                      <a:moveTo>
                        <a:pt x="45863" y="0"/>
                      </a:moveTo>
                      <a:cubicBezTo>
                        <a:pt x="43461" y="0"/>
                        <a:pt x="41054" y="188"/>
                        <a:pt x="38663" y="566"/>
                      </a:cubicBezTo>
                      <a:cubicBezTo>
                        <a:pt x="20352" y="3441"/>
                        <a:pt x="6281" y="16660"/>
                        <a:pt x="1757" y="33161"/>
                      </a:cubicBezTo>
                      <a:lnTo>
                        <a:pt x="4081" y="32487"/>
                      </a:lnTo>
                      <a:lnTo>
                        <a:pt x="4081" y="32487"/>
                      </a:lnTo>
                      <a:cubicBezTo>
                        <a:pt x="4756" y="33871"/>
                        <a:pt x="3939" y="34971"/>
                        <a:pt x="3496" y="36213"/>
                      </a:cubicBezTo>
                      <a:cubicBezTo>
                        <a:pt x="3088" y="37384"/>
                        <a:pt x="2129" y="37207"/>
                        <a:pt x="1384" y="37295"/>
                      </a:cubicBezTo>
                      <a:cubicBezTo>
                        <a:pt x="1207" y="37313"/>
                        <a:pt x="1012" y="37348"/>
                        <a:pt x="816" y="37366"/>
                      </a:cubicBezTo>
                      <a:cubicBezTo>
                        <a:pt x="36" y="41997"/>
                        <a:pt x="0" y="46717"/>
                        <a:pt x="728" y="51348"/>
                      </a:cubicBezTo>
                      <a:cubicBezTo>
                        <a:pt x="2644" y="63591"/>
                        <a:pt x="9528" y="73847"/>
                        <a:pt x="19057" y="80501"/>
                      </a:cubicBezTo>
                      <a:cubicBezTo>
                        <a:pt x="18897" y="80217"/>
                        <a:pt x="18737" y="79950"/>
                        <a:pt x="18560" y="79684"/>
                      </a:cubicBezTo>
                      <a:cubicBezTo>
                        <a:pt x="18099" y="79010"/>
                        <a:pt x="17069" y="77928"/>
                        <a:pt x="17194" y="77768"/>
                      </a:cubicBezTo>
                      <a:cubicBezTo>
                        <a:pt x="18081" y="76703"/>
                        <a:pt x="16094" y="76632"/>
                        <a:pt x="16626" y="75834"/>
                      </a:cubicBezTo>
                      <a:cubicBezTo>
                        <a:pt x="15206" y="74876"/>
                        <a:pt x="14816" y="73652"/>
                        <a:pt x="15277" y="71948"/>
                      </a:cubicBezTo>
                      <a:cubicBezTo>
                        <a:pt x="15455" y="71292"/>
                        <a:pt x="15100" y="70529"/>
                        <a:pt x="14426" y="69854"/>
                      </a:cubicBezTo>
                      <a:cubicBezTo>
                        <a:pt x="13468" y="68896"/>
                        <a:pt x="12811" y="67601"/>
                        <a:pt x="12101" y="66394"/>
                      </a:cubicBezTo>
                      <a:cubicBezTo>
                        <a:pt x="11782" y="65862"/>
                        <a:pt x="11338" y="65152"/>
                        <a:pt x="11463" y="64620"/>
                      </a:cubicBezTo>
                      <a:cubicBezTo>
                        <a:pt x="11871" y="62739"/>
                        <a:pt x="12172" y="60734"/>
                        <a:pt x="13095" y="59102"/>
                      </a:cubicBezTo>
                      <a:cubicBezTo>
                        <a:pt x="14337" y="56919"/>
                        <a:pt x="14284" y="54914"/>
                        <a:pt x="13343" y="51969"/>
                      </a:cubicBezTo>
                      <a:lnTo>
                        <a:pt x="13343" y="51969"/>
                      </a:lnTo>
                      <a:cubicBezTo>
                        <a:pt x="12811" y="53619"/>
                        <a:pt x="11888" y="53229"/>
                        <a:pt x="11090" y="53353"/>
                      </a:cubicBezTo>
                      <a:cubicBezTo>
                        <a:pt x="10814" y="53401"/>
                        <a:pt x="10612" y="53439"/>
                        <a:pt x="10447" y="53439"/>
                      </a:cubicBezTo>
                      <a:cubicBezTo>
                        <a:pt x="9997" y="53439"/>
                        <a:pt x="9823" y="53151"/>
                        <a:pt x="9174" y="51969"/>
                      </a:cubicBezTo>
                      <a:cubicBezTo>
                        <a:pt x="7861" y="50763"/>
                        <a:pt x="6619" y="49485"/>
                        <a:pt x="5447" y="48136"/>
                      </a:cubicBezTo>
                      <a:cubicBezTo>
                        <a:pt x="5270" y="47853"/>
                        <a:pt x="5146" y="47551"/>
                        <a:pt x="5110" y="47214"/>
                      </a:cubicBezTo>
                      <a:cubicBezTo>
                        <a:pt x="4862" y="45759"/>
                        <a:pt x="4649" y="44304"/>
                        <a:pt x="4773" y="42796"/>
                      </a:cubicBezTo>
                      <a:lnTo>
                        <a:pt x="4773" y="42796"/>
                      </a:lnTo>
                      <a:lnTo>
                        <a:pt x="9653" y="51756"/>
                      </a:lnTo>
                      <a:cubicBezTo>
                        <a:pt x="11924" y="50745"/>
                        <a:pt x="13680" y="49201"/>
                        <a:pt x="15650" y="47995"/>
                      </a:cubicBezTo>
                      <a:cubicBezTo>
                        <a:pt x="17034" y="47161"/>
                        <a:pt x="17584" y="45954"/>
                        <a:pt x="18045" y="44606"/>
                      </a:cubicBezTo>
                      <a:cubicBezTo>
                        <a:pt x="18205" y="44109"/>
                        <a:pt x="18329" y="43594"/>
                        <a:pt x="18436" y="43080"/>
                      </a:cubicBezTo>
                      <a:lnTo>
                        <a:pt x="15597" y="40542"/>
                      </a:lnTo>
                      <a:lnTo>
                        <a:pt x="15224" y="41749"/>
                      </a:lnTo>
                      <a:cubicBezTo>
                        <a:pt x="14000" y="41092"/>
                        <a:pt x="12793" y="40507"/>
                        <a:pt x="11640" y="39833"/>
                      </a:cubicBezTo>
                      <a:cubicBezTo>
                        <a:pt x="10593" y="39212"/>
                        <a:pt x="10433" y="38395"/>
                        <a:pt x="11374" y="37082"/>
                      </a:cubicBezTo>
                      <a:lnTo>
                        <a:pt x="11374" y="37082"/>
                      </a:lnTo>
                      <a:cubicBezTo>
                        <a:pt x="12448" y="38789"/>
                        <a:pt x="13681" y="39825"/>
                        <a:pt x="15346" y="39825"/>
                      </a:cubicBezTo>
                      <a:cubicBezTo>
                        <a:pt x="15689" y="39825"/>
                        <a:pt x="16049" y="39781"/>
                        <a:pt x="16431" y="39691"/>
                      </a:cubicBezTo>
                      <a:cubicBezTo>
                        <a:pt x="16437" y="39689"/>
                        <a:pt x="16444" y="39688"/>
                        <a:pt x="16450" y="39688"/>
                      </a:cubicBezTo>
                      <a:cubicBezTo>
                        <a:pt x="16592" y="39688"/>
                        <a:pt x="16795" y="40029"/>
                        <a:pt x="16998" y="40063"/>
                      </a:cubicBezTo>
                      <a:cubicBezTo>
                        <a:pt x="17810" y="40257"/>
                        <a:pt x="18605" y="40492"/>
                        <a:pt x="19428" y="40492"/>
                      </a:cubicBezTo>
                      <a:cubicBezTo>
                        <a:pt x="19811" y="40492"/>
                        <a:pt x="20200" y="40441"/>
                        <a:pt x="20600" y="40312"/>
                      </a:cubicBezTo>
                      <a:cubicBezTo>
                        <a:pt x="21150" y="40152"/>
                        <a:pt x="21718" y="40045"/>
                        <a:pt x="22304" y="40010"/>
                      </a:cubicBezTo>
                      <a:cubicBezTo>
                        <a:pt x="24003" y="41489"/>
                        <a:pt x="25144" y="42940"/>
                        <a:pt x="27015" y="42940"/>
                      </a:cubicBezTo>
                      <a:cubicBezTo>
                        <a:pt x="27253" y="42940"/>
                        <a:pt x="27504" y="42917"/>
                        <a:pt x="27769" y="42867"/>
                      </a:cubicBezTo>
                      <a:cubicBezTo>
                        <a:pt x="27999" y="44251"/>
                        <a:pt x="27875" y="45564"/>
                        <a:pt x="28407" y="46486"/>
                      </a:cubicBezTo>
                      <a:cubicBezTo>
                        <a:pt x="29614" y="48616"/>
                        <a:pt x="31158" y="50532"/>
                        <a:pt x="32701" y="52732"/>
                      </a:cubicBezTo>
                      <a:lnTo>
                        <a:pt x="34600" y="50425"/>
                      </a:lnTo>
                      <a:lnTo>
                        <a:pt x="34103" y="47196"/>
                      </a:lnTo>
                      <a:cubicBezTo>
                        <a:pt x="34972" y="46096"/>
                        <a:pt x="36268" y="45173"/>
                        <a:pt x="36286" y="44251"/>
                      </a:cubicBezTo>
                      <a:cubicBezTo>
                        <a:pt x="36303" y="42707"/>
                        <a:pt x="38503" y="42955"/>
                        <a:pt x="38202" y="41394"/>
                      </a:cubicBezTo>
                      <a:cubicBezTo>
                        <a:pt x="38184" y="41305"/>
                        <a:pt x="39604" y="40986"/>
                        <a:pt x="40313" y="40702"/>
                      </a:cubicBezTo>
                      <a:cubicBezTo>
                        <a:pt x="40650" y="40560"/>
                        <a:pt x="40899" y="40223"/>
                        <a:pt x="41378" y="39797"/>
                      </a:cubicBezTo>
                      <a:lnTo>
                        <a:pt x="44785" y="44978"/>
                      </a:lnTo>
                      <a:lnTo>
                        <a:pt x="46630" y="43914"/>
                      </a:lnTo>
                      <a:cubicBezTo>
                        <a:pt x="47553" y="45102"/>
                        <a:pt x="46754" y="46699"/>
                        <a:pt x="48067" y="47480"/>
                      </a:cubicBezTo>
                      <a:cubicBezTo>
                        <a:pt x="47020" y="50124"/>
                        <a:pt x="48741" y="51508"/>
                        <a:pt x="50445" y="52980"/>
                      </a:cubicBezTo>
                      <a:cubicBezTo>
                        <a:pt x="50764" y="53247"/>
                        <a:pt x="50640" y="54010"/>
                        <a:pt x="50746" y="54684"/>
                      </a:cubicBezTo>
                      <a:cubicBezTo>
                        <a:pt x="49546" y="54279"/>
                        <a:pt x="48739" y="53108"/>
                        <a:pt x="47515" y="53108"/>
                      </a:cubicBezTo>
                      <a:cubicBezTo>
                        <a:pt x="47074" y="53108"/>
                        <a:pt x="46579" y="53260"/>
                        <a:pt x="45991" y="53655"/>
                      </a:cubicBezTo>
                      <a:cubicBezTo>
                        <a:pt x="46130" y="53637"/>
                        <a:pt x="46261" y="53629"/>
                        <a:pt x="46385" y="53629"/>
                      </a:cubicBezTo>
                      <a:cubicBezTo>
                        <a:pt x="47902" y="53629"/>
                        <a:pt x="48314" y="54868"/>
                        <a:pt x="48954" y="55606"/>
                      </a:cubicBezTo>
                      <a:cubicBezTo>
                        <a:pt x="49646" y="56387"/>
                        <a:pt x="51119" y="56937"/>
                        <a:pt x="50782" y="58712"/>
                      </a:cubicBezTo>
                      <a:cubicBezTo>
                        <a:pt x="50925" y="58653"/>
                        <a:pt x="51063" y="58628"/>
                        <a:pt x="51196" y="58628"/>
                      </a:cubicBezTo>
                      <a:cubicBezTo>
                        <a:pt x="52116" y="58628"/>
                        <a:pt x="52822" y="59846"/>
                        <a:pt x="53828" y="59846"/>
                      </a:cubicBezTo>
                      <a:cubicBezTo>
                        <a:pt x="54135" y="59846"/>
                        <a:pt x="54469" y="59733"/>
                        <a:pt x="54845" y="59439"/>
                      </a:cubicBezTo>
                      <a:lnTo>
                        <a:pt x="55431" y="57026"/>
                      </a:lnTo>
                      <a:cubicBezTo>
                        <a:pt x="55147" y="56955"/>
                        <a:pt x="54863" y="56902"/>
                        <a:pt x="54579" y="56849"/>
                      </a:cubicBezTo>
                      <a:cubicBezTo>
                        <a:pt x="53053" y="56760"/>
                        <a:pt x="51385" y="55819"/>
                        <a:pt x="51793" y="55269"/>
                      </a:cubicBezTo>
                      <a:lnTo>
                        <a:pt x="52787" y="54844"/>
                      </a:lnTo>
                      <a:lnTo>
                        <a:pt x="52414" y="52501"/>
                      </a:lnTo>
                      <a:cubicBezTo>
                        <a:pt x="48866" y="49893"/>
                        <a:pt x="48440" y="48917"/>
                        <a:pt x="49770" y="46291"/>
                      </a:cubicBezTo>
                      <a:lnTo>
                        <a:pt x="49770" y="46291"/>
                      </a:lnTo>
                      <a:cubicBezTo>
                        <a:pt x="50462" y="46859"/>
                        <a:pt x="51208" y="47338"/>
                        <a:pt x="51775" y="47977"/>
                      </a:cubicBezTo>
                      <a:cubicBezTo>
                        <a:pt x="52326" y="48562"/>
                        <a:pt x="52698" y="49325"/>
                        <a:pt x="53088" y="49929"/>
                      </a:cubicBezTo>
                      <a:lnTo>
                        <a:pt x="55821" y="46948"/>
                      </a:lnTo>
                      <a:lnTo>
                        <a:pt x="55200" y="42955"/>
                      </a:lnTo>
                      <a:lnTo>
                        <a:pt x="52805" y="41447"/>
                      </a:lnTo>
                      <a:lnTo>
                        <a:pt x="53585" y="38253"/>
                      </a:lnTo>
                      <a:lnTo>
                        <a:pt x="55111" y="39229"/>
                      </a:lnTo>
                      <a:cubicBezTo>
                        <a:pt x="55111" y="40045"/>
                        <a:pt x="55111" y="40542"/>
                        <a:pt x="55111" y="41039"/>
                      </a:cubicBezTo>
                      <a:lnTo>
                        <a:pt x="56300" y="41021"/>
                      </a:lnTo>
                      <a:lnTo>
                        <a:pt x="56034" y="38466"/>
                      </a:lnTo>
                      <a:cubicBezTo>
                        <a:pt x="59778" y="37011"/>
                        <a:pt x="60754" y="35876"/>
                        <a:pt x="62546" y="30925"/>
                      </a:cubicBezTo>
                      <a:lnTo>
                        <a:pt x="59370" y="25407"/>
                      </a:lnTo>
                      <a:lnTo>
                        <a:pt x="60754" y="24609"/>
                      </a:lnTo>
                      <a:cubicBezTo>
                        <a:pt x="60620" y="24079"/>
                        <a:pt x="60336" y="23926"/>
                        <a:pt x="59999" y="23926"/>
                      </a:cubicBezTo>
                      <a:cubicBezTo>
                        <a:pt x="59536" y="23926"/>
                        <a:pt x="58975" y="24215"/>
                        <a:pt x="58567" y="24215"/>
                      </a:cubicBezTo>
                      <a:cubicBezTo>
                        <a:pt x="58326" y="24215"/>
                        <a:pt x="58138" y="24114"/>
                        <a:pt x="58057" y="23792"/>
                      </a:cubicBezTo>
                      <a:lnTo>
                        <a:pt x="59316" y="21344"/>
                      </a:lnTo>
                      <a:lnTo>
                        <a:pt x="60062" y="22692"/>
                      </a:lnTo>
                      <a:lnTo>
                        <a:pt x="61286" y="21858"/>
                      </a:lnTo>
                      <a:lnTo>
                        <a:pt x="63504" y="23775"/>
                      </a:lnTo>
                      <a:lnTo>
                        <a:pt x="64178" y="27040"/>
                      </a:lnTo>
                      <a:cubicBezTo>
                        <a:pt x="64959" y="25993"/>
                        <a:pt x="65598" y="25478"/>
                        <a:pt x="65775" y="24822"/>
                      </a:cubicBezTo>
                      <a:cubicBezTo>
                        <a:pt x="66201" y="23367"/>
                        <a:pt x="64356" y="23225"/>
                        <a:pt x="64089" y="22515"/>
                      </a:cubicBezTo>
                      <a:lnTo>
                        <a:pt x="64444" y="18647"/>
                      </a:lnTo>
                      <a:cubicBezTo>
                        <a:pt x="66520" y="17955"/>
                        <a:pt x="66538" y="17902"/>
                        <a:pt x="66609" y="16305"/>
                      </a:cubicBezTo>
                      <a:cubicBezTo>
                        <a:pt x="66698" y="14229"/>
                        <a:pt x="66840" y="12171"/>
                        <a:pt x="66964" y="10059"/>
                      </a:cubicBezTo>
                      <a:cubicBezTo>
                        <a:pt x="65951" y="8994"/>
                        <a:pt x="64617" y="8884"/>
                        <a:pt x="63235" y="8884"/>
                      </a:cubicBezTo>
                      <a:cubicBezTo>
                        <a:pt x="62876" y="8884"/>
                        <a:pt x="62514" y="8891"/>
                        <a:pt x="62153" y="8891"/>
                      </a:cubicBezTo>
                      <a:cubicBezTo>
                        <a:pt x="62029" y="8891"/>
                        <a:pt x="61906" y="8890"/>
                        <a:pt x="61783" y="8888"/>
                      </a:cubicBezTo>
                      <a:cubicBezTo>
                        <a:pt x="61978" y="8001"/>
                        <a:pt x="62209" y="7362"/>
                        <a:pt x="62262" y="6741"/>
                      </a:cubicBezTo>
                      <a:cubicBezTo>
                        <a:pt x="62297" y="6102"/>
                        <a:pt x="62173" y="5464"/>
                        <a:pt x="62120" y="4701"/>
                      </a:cubicBezTo>
                      <a:lnTo>
                        <a:pt x="65119" y="4239"/>
                      </a:lnTo>
                      <a:cubicBezTo>
                        <a:pt x="59052" y="1427"/>
                        <a:pt x="52479" y="0"/>
                        <a:pt x="45863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6" name="Google Shape;3656;p53"/>
                <p:cNvSpPr/>
                <p:nvPr/>
              </p:nvSpPr>
              <p:spPr>
                <a:xfrm>
                  <a:off x="3787623" y="1419737"/>
                  <a:ext cx="223361" cy="1940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389" h="17709" extrusionOk="0">
                      <a:moveTo>
                        <a:pt x="17567" y="0"/>
                      </a:moveTo>
                      <a:lnTo>
                        <a:pt x="17567" y="0"/>
                      </a:lnTo>
                      <a:cubicBezTo>
                        <a:pt x="17070" y="1331"/>
                        <a:pt x="16644" y="2697"/>
                        <a:pt x="16307" y="4081"/>
                      </a:cubicBezTo>
                      <a:cubicBezTo>
                        <a:pt x="16278" y="4199"/>
                        <a:pt x="16114" y="4268"/>
                        <a:pt x="16100" y="4268"/>
                      </a:cubicBezTo>
                      <a:cubicBezTo>
                        <a:pt x="16097" y="4268"/>
                        <a:pt x="16100" y="4265"/>
                        <a:pt x="16112" y="4259"/>
                      </a:cubicBezTo>
                      <a:lnTo>
                        <a:pt x="13912" y="3034"/>
                      </a:lnTo>
                      <a:lnTo>
                        <a:pt x="14391" y="1437"/>
                      </a:lnTo>
                      <a:lnTo>
                        <a:pt x="12617" y="337"/>
                      </a:lnTo>
                      <a:cubicBezTo>
                        <a:pt x="12563" y="2112"/>
                        <a:pt x="10416" y="1970"/>
                        <a:pt x="10523" y="3655"/>
                      </a:cubicBezTo>
                      <a:cubicBezTo>
                        <a:pt x="10523" y="3709"/>
                        <a:pt x="10239" y="3797"/>
                        <a:pt x="10079" y="3815"/>
                      </a:cubicBezTo>
                      <a:cubicBezTo>
                        <a:pt x="8287" y="4028"/>
                        <a:pt x="8553" y="4418"/>
                        <a:pt x="7276" y="5305"/>
                      </a:cubicBezTo>
                      <a:cubicBezTo>
                        <a:pt x="5785" y="6352"/>
                        <a:pt x="5466" y="8730"/>
                        <a:pt x="3017" y="8765"/>
                      </a:cubicBezTo>
                      <a:cubicBezTo>
                        <a:pt x="2166" y="8783"/>
                        <a:pt x="1154" y="9919"/>
                        <a:pt x="569" y="10770"/>
                      </a:cubicBezTo>
                      <a:cubicBezTo>
                        <a:pt x="178" y="11356"/>
                        <a:pt x="1" y="12705"/>
                        <a:pt x="374" y="13095"/>
                      </a:cubicBezTo>
                      <a:cubicBezTo>
                        <a:pt x="1687" y="14443"/>
                        <a:pt x="746" y="15810"/>
                        <a:pt x="569" y="17708"/>
                      </a:cubicBezTo>
                      <a:cubicBezTo>
                        <a:pt x="3337" y="16519"/>
                        <a:pt x="5839" y="15668"/>
                        <a:pt x="8074" y="14213"/>
                      </a:cubicBezTo>
                      <a:lnTo>
                        <a:pt x="10558" y="15934"/>
                      </a:lnTo>
                      <a:lnTo>
                        <a:pt x="9866" y="17336"/>
                      </a:lnTo>
                      <a:cubicBezTo>
                        <a:pt x="11960" y="17300"/>
                        <a:pt x="13592" y="16998"/>
                        <a:pt x="14710" y="15508"/>
                      </a:cubicBezTo>
                      <a:cubicBezTo>
                        <a:pt x="16094" y="13645"/>
                        <a:pt x="17585" y="11835"/>
                        <a:pt x="18773" y="9866"/>
                      </a:cubicBezTo>
                      <a:cubicBezTo>
                        <a:pt x="19590" y="8482"/>
                        <a:pt x="20388" y="6885"/>
                        <a:pt x="18862" y="5305"/>
                      </a:cubicBezTo>
                      <a:cubicBezTo>
                        <a:pt x="18596" y="5039"/>
                        <a:pt x="18330" y="4330"/>
                        <a:pt x="18472" y="4099"/>
                      </a:cubicBezTo>
                      <a:cubicBezTo>
                        <a:pt x="19732" y="2307"/>
                        <a:pt x="17372" y="1491"/>
                        <a:pt x="1756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7" name="Google Shape;3657;p53"/>
                <p:cNvSpPr/>
                <p:nvPr/>
              </p:nvSpPr>
              <p:spPr>
                <a:xfrm>
                  <a:off x="3757694" y="1303888"/>
                  <a:ext cx="77956" cy="970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16" h="8855" extrusionOk="0">
                      <a:moveTo>
                        <a:pt x="5359" y="0"/>
                      </a:moveTo>
                      <a:cubicBezTo>
                        <a:pt x="4649" y="976"/>
                        <a:pt x="3993" y="1774"/>
                        <a:pt x="3460" y="2644"/>
                      </a:cubicBezTo>
                      <a:cubicBezTo>
                        <a:pt x="2910" y="3513"/>
                        <a:pt x="1455" y="3638"/>
                        <a:pt x="1828" y="5181"/>
                      </a:cubicBezTo>
                      <a:cubicBezTo>
                        <a:pt x="1354" y="4803"/>
                        <a:pt x="1037" y="4660"/>
                        <a:pt x="815" y="4660"/>
                      </a:cubicBezTo>
                      <a:cubicBezTo>
                        <a:pt x="256" y="4660"/>
                        <a:pt x="305" y="5571"/>
                        <a:pt x="1" y="5926"/>
                      </a:cubicBezTo>
                      <a:cubicBezTo>
                        <a:pt x="1136" y="7417"/>
                        <a:pt x="1438" y="7577"/>
                        <a:pt x="5412" y="8854"/>
                      </a:cubicBezTo>
                      <a:cubicBezTo>
                        <a:pt x="5590" y="7896"/>
                        <a:pt x="5625" y="7239"/>
                        <a:pt x="5820" y="6636"/>
                      </a:cubicBezTo>
                      <a:cubicBezTo>
                        <a:pt x="6033" y="6015"/>
                        <a:pt x="6335" y="5430"/>
                        <a:pt x="6708" y="4880"/>
                      </a:cubicBezTo>
                      <a:cubicBezTo>
                        <a:pt x="7116" y="4294"/>
                        <a:pt x="5696" y="4170"/>
                        <a:pt x="6459" y="3354"/>
                      </a:cubicBezTo>
                      <a:cubicBezTo>
                        <a:pt x="6849" y="2928"/>
                        <a:pt x="6637" y="1686"/>
                        <a:pt x="6778" y="1384"/>
                      </a:cubicBezTo>
                      <a:cubicBezTo>
                        <a:pt x="6832" y="1224"/>
                        <a:pt x="6867" y="1047"/>
                        <a:pt x="6885" y="870"/>
                      </a:cubicBezTo>
                      <a:lnTo>
                        <a:pt x="5359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8" name="Google Shape;3658;p53"/>
                <p:cNvSpPr/>
                <p:nvPr/>
              </p:nvSpPr>
              <p:spPr>
                <a:xfrm>
                  <a:off x="3916892" y="1338867"/>
                  <a:ext cx="109254" cy="684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973" h="6247" extrusionOk="0">
                      <a:moveTo>
                        <a:pt x="0" y="1"/>
                      </a:moveTo>
                      <a:lnTo>
                        <a:pt x="266" y="1722"/>
                      </a:lnTo>
                      <a:lnTo>
                        <a:pt x="1668" y="1970"/>
                      </a:lnTo>
                      <a:lnTo>
                        <a:pt x="870" y="3177"/>
                      </a:lnTo>
                      <a:cubicBezTo>
                        <a:pt x="1300" y="3058"/>
                        <a:pt x="1704" y="3001"/>
                        <a:pt x="2079" y="3001"/>
                      </a:cubicBezTo>
                      <a:cubicBezTo>
                        <a:pt x="3221" y="3001"/>
                        <a:pt x="4106" y="3533"/>
                        <a:pt x="4720" y="4508"/>
                      </a:cubicBezTo>
                      <a:cubicBezTo>
                        <a:pt x="5319" y="5452"/>
                        <a:pt x="5558" y="5867"/>
                        <a:pt x="5945" y="5867"/>
                      </a:cubicBezTo>
                      <a:cubicBezTo>
                        <a:pt x="6235" y="5867"/>
                        <a:pt x="6607" y="5635"/>
                        <a:pt x="7275" y="5218"/>
                      </a:cubicBezTo>
                      <a:cubicBezTo>
                        <a:pt x="7453" y="5111"/>
                        <a:pt x="7648" y="5058"/>
                        <a:pt x="7861" y="5022"/>
                      </a:cubicBezTo>
                      <a:lnTo>
                        <a:pt x="9564" y="6247"/>
                      </a:lnTo>
                      <a:lnTo>
                        <a:pt x="9972" y="5679"/>
                      </a:lnTo>
                      <a:cubicBezTo>
                        <a:pt x="9582" y="4809"/>
                        <a:pt x="9262" y="3887"/>
                        <a:pt x="8819" y="3035"/>
                      </a:cubicBezTo>
                      <a:cubicBezTo>
                        <a:pt x="8151" y="1821"/>
                        <a:pt x="7070" y="1194"/>
                        <a:pt x="5857" y="1194"/>
                      </a:cubicBezTo>
                      <a:cubicBezTo>
                        <a:pt x="5138" y="1194"/>
                        <a:pt x="4373" y="1415"/>
                        <a:pt x="3620" y="1864"/>
                      </a:cubicBezTo>
                      <a:cubicBezTo>
                        <a:pt x="3336" y="2024"/>
                        <a:pt x="3052" y="2166"/>
                        <a:pt x="2644" y="2396"/>
                      </a:cubicBezTo>
                      <a:lnTo>
                        <a:pt x="1970" y="462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9" name="Google Shape;3659;p53"/>
                <p:cNvSpPr/>
                <p:nvPr/>
              </p:nvSpPr>
              <p:spPr>
                <a:xfrm>
                  <a:off x="3865184" y="936118"/>
                  <a:ext cx="73103" cy="1345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73" h="12279" extrusionOk="0">
                      <a:moveTo>
                        <a:pt x="6672" y="1"/>
                      </a:moveTo>
                      <a:lnTo>
                        <a:pt x="6672" y="1"/>
                      </a:lnTo>
                      <a:cubicBezTo>
                        <a:pt x="6223" y="198"/>
                        <a:pt x="5784" y="260"/>
                        <a:pt x="5357" y="260"/>
                      </a:cubicBezTo>
                      <a:cubicBezTo>
                        <a:pt x="4670" y="260"/>
                        <a:pt x="4013" y="100"/>
                        <a:pt x="3390" y="89"/>
                      </a:cubicBezTo>
                      <a:lnTo>
                        <a:pt x="3088" y="2786"/>
                      </a:lnTo>
                      <a:lnTo>
                        <a:pt x="4809" y="5164"/>
                      </a:lnTo>
                      <a:lnTo>
                        <a:pt x="1" y="10771"/>
                      </a:lnTo>
                      <a:lnTo>
                        <a:pt x="1083" y="12279"/>
                      </a:lnTo>
                      <a:lnTo>
                        <a:pt x="6388" y="7772"/>
                      </a:lnTo>
                      <a:cubicBezTo>
                        <a:pt x="4454" y="6495"/>
                        <a:pt x="6175" y="3709"/>
                        <a:pt x="4383" y="2502"/>
                      </a:cubicBezTo>
                      <a:lnTo>
                        <a:pt x="667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0" name="Google Shape;3660;p53"/>
                <p:cNvSpPr/>
                <p:nvPr/>
              </p:nvSpPr>
              <p:spPr>
                <a:xfrm>
                  <a:off x="3738260" y="1420756"/>
                  <a:ext cx="79895" cy="16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93" h="1542" extrusionOk="0">
                      <a:moveTo>
                        <a:pt x="4286" y="0"/>
                      </a:moveTo>
                      <a:cubicBezTo>
                        <a:pt x="2949" y="0"/>
                        <a:pt x="1596" y="367"/>
                        <a:pt x="0" y="510"/>
                      </a:cubicBezTo>
                      <a:cubicBezTo>
                        <a:pt x="787" y="973"/>
                        <a:pt x="1302" y="1542"/>
                        <a:pt x="1738" y="1542"/>
                      </a:cubicBezTo>
                      <a:cubicBezTo>
                        <a:pt x="1970" y="1542"/>
                        <a:pt x="2179" y="1380"/>
                        <a:pt x="2396" y="954"/>
                      </a:cubicBezTo>
                      <a:cubicBezTo>
                        <a:pt x="2708" y="1325"/>
                        <a:pt x="3056" y="1432"/>
                        <a:pt x="3417" y="1432"/>
                      </a:cubicBezTo>
                      <a:cubicBezTo>
                        <a:pt x="3816" y="1432"/>
                        <a:pt x="4231" y="1302"/>
                        <a:pt x="4631" y="1256"/>
                      </a:cubicBezTo>
                      <a:cubicBezTo>
                        <a:pt x="5394" y="1149"/>
                        <a:pt x="6157" y="1025"/>
                        <a:pt x="7293" y="830"/>
                      </a:cubicBezTo>
                      <a:cubicBezTo>
                        <a:pt x="6240" y="198"/>
                        <a:pt x="5268" y="0"/>
                        <a:pt x="4286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1" name="Google Shape;3661;p53"/>
                <p:cNvSpPr/>
                <p:nvPr/>
              </p:nvSpPr>
              <p:spPr>
                <a:xfrm>
                  <a:off x="3833886" y="1361610"/>
                  <a:ext cx="29370" cy="412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81" h="3763" extrusionOk="0">
                      <a:moveTo>
                        <a:pt x="2662" y="1"/>
                      </a:moveTo>
                      <a:cubicBezTo>
                        <a:pt x="19" y="675"/>
                        <a:pt x="1" y="764"/>
                        <a:pt x="1012" y="3763"/>
                      </a:cubicBezTo>
                      <a:lnTo>
                        <a:pt x="1491" y="2148"/>
                      </a:lnTo>
                      <a:lnTo>
                        <a:pt x="2201" y="3408"/>
                      </a:lnTo>
                      <a:lnTo>
                        <a:pt x="2680" y="3372"/>
                      </a:lnTo>
                      <a:cubicBezTo>
                        <a:pt x="2574" y="2840"/>
                        <a:pt x="2485" y="2308"/>
                        <a:pt x="2450" y="1758"/>
                      </a:cubicBezTo>
                      <a:cubicBezTo>
                        <a:pt x="2485" y="1172"/>
                        <a:pt x="2556" y="586"/>
                        <a:pt x="2662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2" name="Google Shape;3662;p53"/>
                <p:cNvSpPr/>
                <p:nvPr/>
              </p:nvSpPr>
              <p:spPr>
                <a:xfrm>
                  <a:off x="3852553" y="1272590"/>
                  <a:ext cx="36162" cy="344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01" h="3142" extrusionOk="0">
                      <a:moveTo>
                        <a:pt x="3301" y="0"/>
                      </a:moveTo>
                      <a:lnTo>
                        <a:pt x="0" y="1455"/>
                      </a:lnTo>
                      <a:lnTo>
                        <a:pt x="550" y="2520"/>
                      </a:lnTo>
                      <a:lnTo>
                        <a:pt x="1154" y="1793"/>
                      </a:lnTo>
                      <a:lnTo>
                        <a:pt x="2804" y="3141"/>
                      </a:lnTo>
                      <a:lnTo>
                        <a:pt x="3301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3" name="Google Shape;3663;p53"/>
                <p:cNvSpPr/>
                <p:nvPr/>
              </p:nvSpPr>
              <p:spPr>
                <a:xfrm>
                  <a:off x="3832330" y="1195806"/>
                  <a:ext cx="18481" cy="466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7" h="4260" extrusionOk="0">
                      <a:moveTo>
                        <a:pt x="249" y="1"/>
                      </a:moveTo>
                      <a:cubicBezTo>
                        <a:pt x="1" y="2627"/>
                        <a:pt x="1" y="2627"/>
                        <a:pt x="977" y="4259"/>
                      </a:cubicBezTo>
                      <a:cubicBezTo>
                        <a:pt x="1687" y="1261"/>
                        <a:pt x="1687" y="1261"/>
                        <a:pt x="249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3664" name="Google Shape;3664;p53"/>
              <p:cNvSpPr/>
              <p:nvPr/>
            </p:nvSpPr>
            <p:spPr>
              <a:xfrm>
                <a:off x="3243368" y="1332656"/>
                <a:ext cx="2147" cy="975"/>
              </a:xfrm>
              <a:custGeom>
                <a:avLst/>
                <a:gdLst/>
                <a:ahLst/>
                <a:cxnLst/>
                <a:rect l="l" t="t" r="r" b="b"/>
                <a:pathLst>
                  <a:path w="196" h="89" extrusionOk="0">
                    <a:moveTo>
                      <a:pt x="196" y="0"/>
                    </a:moveTo>
                    <a:lnTo>
                      <a:pt x="1" y="89"/>
                    </a:lnTo>
                    <a:lnTo>
                      <a:pt x="1" y="89"/>
                    </a:lnTo>
                    <a:lnTo>
                      <a:pt x="196" y="18"/>
                    </a:lnTo>
                    <a:lnTo>
                      <a:pt x="196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5" name="Google Shape;3665;p53"/>
              <p:cNvSpPr/>
              <p:nvPr/>
            </p:nvSpPr>
            <p:spPr>
              <a:xfrm>
                <a:off x="3903089" y="838542"/>
                <a:ext cx="31496" cy="31112"/>
              </a:xfrm>
              <a:custGeom>
                <a:avLst/>
                <a:gdLst/>
                <a:ahLst/>
                <a:cxnLst/>
                <a:rect l="l" t="t" r="r" b="b"/>
                <a:pathLst>
                  <a:path w="2875" h="2840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835" y="1029"/>
                      <a:pt x="1739" y="1970"/>
                      <a:pt x="2733" y="2839"/>
                    </a:cubicBezTo>
                    <a:cubicBezTo>
                      <a:pt x="2840" y="2520"/>
                      <a:pt x="2875" y="2201"/>
                      <a:pt x="2822" y="1881"/>
                    </a:cubicBezTo>
                    <a:cubicBezTo>
                      <a:pt x="1899" y="1225"/>
                      <a:pt x="959" y="604"/>
                      <a:pt x="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6" name="Google Shape;3666;p53"/>
              <p:cNvSpPr/>
              <p:nvPr/>
            </p:nvSpPr>
            <p:spPr>
              <a:xfrm>
                <a:off x="3240256" y="1333620"/>
                <a:ext cx="2925" cy="1380"/>
              </a:xfrm>
              <a:custGeom>
                <a:avLst/>
                <a:gdLst/>
                <a:ahLst/>
                <a:cxnLst/>
                <a:rect l="l" t="t" r="r" b="b"/>
                <a:pathLst>
                  <a:path w="267" h="126" extrusionOk="0">
                    <a:moveTo>
                      <a:pt x="267" y="1"/>
                    </a:moveTo>
                    <a:cubicBezTo>
                      <a:pt x="178" y="36"/>
                      <a:pt x="89" y="72"/>
                      <a:pt x="1" y="125"/>
                    </a:cubicBezTo>
                    <a:cubicBezTo>
                      <a:pt x="107" y="90"/>
                      <a:pt x="178" y="36"/>
                      <a:pt x="2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7" name="Google Shape;3667;p53"/>
              <p:cNvSpPr/>
              <p:nvPr/>
            </p:nvSpPr>
            <p:spPr>
              <a:xfrm>
                <a:off x="3334721" y="1524314"/>
                <a:ext cx="58719" cy="88834"/>
              </a:xfrm>
              <a:custGeom>
                <a:avLst/>
                <a:gdLst/>
                <a:ahLst/>
                <a:cxnLst/>
                <a:rect l="l" t="t" r="r" b="b"/>
                <a:pathLst>
                  <a:path w="5360" h="8109" extrusionOk="0">
                    <a:moveTo>
                      <a:pt x="1828" y="0"/>
                    </a:moveTo>
                    <a:lnTo>
                      <a:pt x="1" y="2946"/>
                    </a:lnTo>
                    <a:cubicBezTo>
                      <a:pt x="444" y="3762"/>
                      <a:pt x="1030" y="4738"/>
                      <a:pt x="1527" y="5785"/>
                    </a:cubicBezTo>
                    <a:cubicBezTo>
                      <a:pt x="2308" y="7328"/>
                      <a:pt x="3479" y="8091"/>
                      <a:pt x="5359" y="8109"/>
                    </a:cubicBezTo>
                    <a:cubicBezTo>
                      <a:pt x="4667" y="6689"/>
                      <a:pt x="3993" y="5625"/>
                      <a:pt x="3798" y="4205"/>
                    </a:cubicBezTo>
                    <a:cubicBezTo>
                      <a:pt x="3621" y="2768"/>
                      <a:pt x="2574" y="1491"/>
                      <a:pt x="182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68" name="Google Shape;3668;p53"/>
            <p:cNvSpPr/>
            <p:nvPr/>
          </p:nvSpPr>
          <p:spPr>
            <a:xfrm>
              <a:off x="6652051" y="3714143"/>
              <a:ext cx="560636" cy="516497"/>
            </a:xfrm>
            <a:custGeom>
              <a:avLst/>
              <a:gdLst/>
              <a:ahLst/>
              <a:cxnLst/>
              <a:rect l="l" t="t" r="r" b="b"/>
              <a:pathLst>
                <a:path w="97164" h="89553" extrusionOk="0">
                  <a:moveTo>
                    <a:pt x="48954" y="445"/>
                  </a:moveTo>
                  <a:cubicBezTo>
                    <a:pt x="70832" y="445"/>
                    <a:pt x="89977" y="15970"/>
                    <a:pt x="93384" y="37777"/>
                  </a:cubicBezTo>
                  <a:cubicBezTo>
                    <a:pt x="97163" y="61943"/>
                    <a:pt x="80183" y="84673"/>
                    <a:pt x="55431" y="88541"/>
                  </a:cubicBezTo>
                  <a:cubicBezTo>
                    <a:pt x="53035" y="88913"/>
                    <a:pt x="50622" y="89109"/>
                    <a:pt x="48209" y="89109"/>
                  </a:cubicBezTo>
                  <a:cubicBezTo>
                    <a:pt x="26332" y="89109"/>
                    <a:pt x="7204" y="73583"/>
                    <a:pt x="3780" y="51794"/>
                  </a:cubicBezTo>
                  <a:cubicBezTo>
                    <a:pt x="0" y="27610"/>
                    <a:pt x="16999" y="4880"/>
                    <a:pt x="41733" y="1012"/>
                  </a:cubicBezTo>
                  <a:cubicBezTo>
                    <a:pt x="44128" y="640"/>
                    <a:pt x="46541" y="445"/>
                    <a:pt x="48954" y="445"/>
                  </a:cubicBezTo>
                  <a:close/>
                  <a:moveTo>
                    <a:pt x="48954" y="1"/>
                  </a:moveTo>
                  <a:cubicBezTo>
                    <a:pt x="46524" y="1"/>
                    <a:pt x="44075" y="196"/>
                    <a:pt x="41662" y="569"/>
                  </a:cubicBezTo>
                  <a:cubicBezTo>
                    <a:pt x="35629" y="1509"/>
                    <a:pt x="29827" y="3621"/>
                    <a:pt x="24610" y="6797"/>
                  </a:cubicBezTo>
                  <a:cubicBezTo>
                    <a:pt x="19589" y="9849"/>
                    <a:pt x="15206" y="13823"/>
                    <a:pt x="11711" y="18525"/>
                  </a:cubicBezTo>
                  <a:cubicBezTo>
                    <a:pt x="8216" y="23174"/>
                    <a:pt x="5661" y="28461"/>
                    <a:pt x="4206" y="34086"/>
                  </a:cubicBezTo>
                  <a:cubicBezTo>
                    <a:pt x="1331" y="45247"/>
                    <a:pt x="2946" y="57064"/>
                    <a:pt x="8712" y="67036"/>
                  </a:cubicBezTo>
                  <a:cubicBezTo>
                    <a:pt x="11338" y="71578"/>
                    <a:pt x="14745" y="75623"/>
                    <a:pt x="18791" y="78959"/>
                  </a:cubicBezTo>
                  <a:cubicBezTo>
                    <a:pt x="27059" y="85808"/>
                    <a:pt x="37474" y="89552"/>
                    <a:pt x="48209" y="89552"/>
                  </a:cubicBezTo>
                  <a:cubicBezTo>
                    <a:pt x="50640" y="89552"/>
                    <a:pt x="53089" y="89357"/>
                    <a:pt x="55502" y="88984"/>
                  </a:cubicBezTo>
                  <a:cubicBezTo>
                    <a:pt x="61534" y="88044"/>
                    <a:pt x="67337" y="85932"/>
                    <a:pt x="72571" y="82756"/>
                  </a:cubicBezTo>
                  <a:cubicBezTo>
                    <a:pt x="77575" y="79704"/>
                    <a:pt x="81957" y="75730"/>
                    <a:pt x="85453" y="71028"/>
                  </a:cubicBezTo>
                  <a:cubicBezTo>
                    <a:pt x="88948" y="66379"/>
                    <a:pt x="91503" y="61092"/>
                    <a:pt x="92958" y="55467"/>
                  </a:cubicBezTo>
                  <a:cubicBezTo>
                    <a:pt x="95832" y="44324"/>
                    <a:pt x="94218" y="32489"/>
                    <a:pt x="88451" y="22517"/>
                  </a:cubicBezTo>
                  <a:cubicBezTo>
                    <a:pt x="85825" y="17975"/>
                    <a:pt x="82418" y="13947"/>
                    <a:pt x="78373" y="10594"/>
                  </a:cubicBezTo>
                  <a:cubicBezTo>
                    <a:pt x="70105" y="3745"/>
                    <a:pt x="59689" y="1"/>
                    <a:pt x="489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69" name="Google Shape;3669;p53"/>
          <p:cNvGrpSpPr/>
          <p:nvPr/>
        </p:nvGrpSpPr>
        <p:grpSpPr>
          <a:xfrm>
            <a:off x="625184" y="1201451"/>
            <a:ext cx="2665073" cy="1317140"/>
            <a:chOff x="793334" y="1192826"/>
            <a:chExt cx="2665073" cy="1317140"/>
          </a:xfrm>
        </p:grpSpPr>
        <p:sp>
          <p:nvSpPr>
            <p:cNvPr id="3670" name="Google Shape;3670;p53"/>
            <p:cNvSpPr/>
            <p:nvPr/>
          </p:nvSpPr>
          <p:spPr>
            <a:xfrm>
              <a:off x="2759899" y="20345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1" name="Google Shape;3671;p53"/>
            <p:cNvSpPr/>
            <p:nvPr/>
          </p:nvSpPr>
          <p:spPr>
            <a:xfrm>
              <a:off x="2622291" y="1667631"/>
              <a:ext cx="12573" cy="1765"/>
            </a:xfrm>
            <a:custGeom>
              <a:avLst/>
              <a:gdLst/>
              <a:ahLst/>
              <a:cxnLst/>
              <a:rect l="l" t="t" r="r" b="b"/>
              <a:pathLst>
                <a:path w="926" h="130" extrusionOk="0">
                  <a:moveTo>
                    <a:pt x="925" y="0"/>
                  </a:moveTo>
                  <a:cubicBezTo>
                    <a:pt x="866" y="7"/>
                    <a:pt x="771" y="18"/>
                    <a:pt x="687" y="32"/>
                  </a:cubicBezTo>
                  <a:cubicBezTo>
                    <a:pt x="460" y="67"/>
                    <a:pt x="232" y="91"/>
                    <a:pt x="1" y="102"/>
                  </a:cubicBezTo>
                  <a:lnTo>
                    <a:pt x="60" y="105"/>
                  </a:lnTo>
                  <a:cubicBezTo>
                    <a:pt x="208" y="119"/>
                    <a:pt x="334" y="130"/>
                    <a:pt x="432" y="130"/>
                  </a:cubicBezTo>
                  <a:cubicBezTo>
                    <a:pt x="694" y="130"/>
                    <a:pt x="855" y="53"/>
                    <a:pt x="9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2" name="Google Shape;3672;p53"/>
            <p:cNvSpPr/>
            <p:nvPr/>
          </p:nvSpPr>
          <p:spPr>
            <a:xfrm>
              <a:off x="2265040" y="1528449"/>
              <a:ext cx="1344" cy="109"/>
            </a:xfrm>
            <a:custGeom>
              <a:avLst/>
              <a:gdLst/>
              <a:ahLst/>
              <a:cxnLst/>
              <a:rect l="l" t="t" r="r" b="b"/>
              <a:pathLst>
                <a:path w="99" h="8" extrusionOk="0">
                  <a:moveTo>
                    <a:pt x="1" y="1"/>
                  </a:moveTo>
                  <a:cubicBezTo>
                    <a:pt x="32" y="4"/>
                    <a:pt x="67" y="8"/>
                    <a:pt x="99" y="8"/>
                  </a:cubicBezTo>
                  <a:cubicBezTo>
                    <a:pt x="67" y="1"/>
                    <a:pt x="32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3" name="Google Shape;3673;p53"/>
            <p:cNvSpPr/>
            <p:nvPr/>
          </p:nvSpPr>
          <p:spPr>
            <a:xfrm>
              <a:off x="2494622" y="1668433"/>
              <a:ext cx="8147" cy="2118"/>
            </a:xfrm>
            <a:custGeom>
              <a:avLst/>
              <a:gdLst/>
              <a:ahLst/>
              <a:cxnLst/>
              <a:rect l="l" t="t" r="r" b="b"/>
              <a:pathLst>
                <a:path w="600" h="156" extrusionOk="0">
                  <a:moveTo>
                    <a:pt x="1" y="1"/>
                  </a:moveTo>
                  <a:cubicBezTo>
                    <a:pt x="115" y="69"/>
                    <a:pt x="416" y="156"/>
                    <a:pt x="554" y="156"/>
                  </a:cubicBezTo>
                  <a:cubicBezTo>
                    <a:pt x="572" y="156"/>
                    <a:pt x="588" y="154"/>
                    <a:pt x="599" y="151"/>
                  </a:cubicBezTo>
                  <a:cubicBezTo>
                    <a:pt x="564" y="120"/>
                    <a:pt x="522" y="95"/>
                    <a:pt x="477" y="85"/>
                  </a:cubicBezTo>
                  <a:cubicBezTo>
                    <a:pt x="323" y="29"/>
                    <a:pt x="162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4" name="Google Shape;3674;p53"/>
            <p:cNvSpPr/>
            <p:nvPr/>
          </p:nvSpPr>
          <p:spPr>
            <a:xfrm>
              <a:off x="2304347" y="1661671"/>
              <a:ext cx="30291" cy="17094"/>
            </a:xfrm>
            <a:custGeom>
              <a:avLst/>
              <a:gdLst/>
              <a:ahLst/>
              <a:cxnLst/>
              <a:rect l="l" t="t" r="r" b="b"/>
              <a:pathLst>
                <a:path w="2231" h="1259" extrusionOk="0">
                  <a:moveTo>
                    <a:pt x="2192" y="1"/>
                  </a:moveTo>
                  <a:cubicBezTo>
                    <a:pt x="2051" y="1"/>
                    <a:pt x="1914" y="18"/>
                    <a:pt x="1776" y="47"/>
                  </a:cubicBezTo>
                  <a:cubicBezTo>
                    <a:pt x="1629" y="71"/>
                    <a:pt x="1485" y="113"/>
                    <a:pt x="1349" y="166"/>
                  </a:cubicBezTo>
                  <a:cubicBezTo>
                    <a:pt x="1107" y="278"/>
                    <a:pt x="894" y="359"/>
                    <a:pt x="627" y="383"/>
                  </a:cubicBezTo>
                  <a:cubicBezTo>
                    <a:pt x="407" y="404"/>
                    <a:pt x="36" y="691"/>
                    <a:pt x="1" y="761"/>
                  </a:cubicBezTo>
                  <a:cubicBezTo>
                    <a:pt x="1" y="810"/>
                    <a:pt x="11" y="968"/>
                    <a:pt x="113" y="1062"/>
                  </a:cubicBezTo>
                  <a:cubicBezTo>
                    <a:pt x="174" y="1112"/>
                    <a:pt x="249" y="1139"/>
                    <a:pt x="327" y="1139"/>
                  </a:cubicBezTo>
                  <a:cubicBezTo>
                    <a:pt x="343" y="1139"/>
                    <a:pt x="359" y="1138"/>
                    <a:pt x="375" y="1136"/>
                  </a:cubicBezTo>
                  <a:cubicBezTo>
                    <a:pt x="437" y="1131"/>
                    <a:pt x="494" y="1129"/>
                    <a:pt x="548" y="1129"/>
                  </a:cubicBezTo>
                  <a:cubicBezTo>
                    <a:pt x="781" y="1129"/>
                    <a:pt x="937" y="1172"/>
                    <a:pt x="988" y="1255"/>
                  </a:cubicBezTo>
                  <a:cubicBezTo>
                    <a:pt x="988" y="1255"/>
                    <a:pt x="988" y="1258"/>
                    <a:pt x="988" y="1258"/>
                  </a:cubicBezTo>
                  <a:cubicBezTo>
                    <a:pt x="1020" y="1206"/>
                    <a:pt x="1100" y="1160"/>
                    <a:pt x="1230" y="1160"/>
                  </a:cubicBezTo>
                  <a:cubicBezTo>
                    <a:pt x="1345" y="1160"/>
                    <a:pt x="1415" y="1143"/>
                    <a:pt x="1447" y="1104"/>
                  </a:cubicBezTo>
                  <a:cubicBezTo>
                    <a:pt x="1454" y="1097"/>
                    <a:pt x="1475" y="1073"/>
                    <a:pt x="1464" y="999"/>
                  </a:cubicBezTo>
                  <a:cubicBezTo>
                    <a:pt x="1436" y="835"/>
                    <a:pt x="1594" y="761"/>
                    <a:pt x="1695" y="712"/>
                  </a:cubicBezTo>
                  <a:cubicBezTo>
                    <a:pt x="1727" y="698"/>
                    <a:pt x="1755" y="684"/>
                    <a:pt x="1783" y="667"/>
                  </a:cubicBezTo>
                  <a:cubicBezTo>
                    <a:pt x="1751" y="628"/>
                    <a:pt x="1716" y="593"/>
                    <a:pt x="1678" y="562"/>
                  </a:cubicBezTo>
                  <a:cubicBezTo>
                    <a:pt x="1601" y="495"/>
                    <a:pt x="1541" y="443"/>
                    <a:pt x="1555" y="376"/>
                  </a:cubicBezTo>
                  <a:cubicBezTo>
                    <a:pt x="1562" y="341"/>
                    <a:pt x="1587" y="313"/>
                    <a:pt x="1618" y="306"/>
                  </a:cubicBezTo>
                  <a:cubicBezTo>
                    <a:pt x="1765" y="253"/>
                    <a:pt x="2122" y="92"/>
                    <a:pt x="2231" y="1"/>
                  </a:cubicBezTo>
                  <a:cubicBezTo>
                    <a:pt x="2218" y="1"/>
                    <a:pt x="2205" y="1"/>
                    <a:pt x="21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5" name="Google Shape;3675;p53"/>
            <p:cNvSpPr/>
            <p:nvPr/>
          </p:nvSpPr>
          <p:spPr>
            <a:xfrm>
              <a:off x="2596779" y="1667903"/>
              <a:ext cx="20869" cy="13808"/>
            </a:xfrm>
            <a:custGeom>
              <a:avLst/>
              <a:gdLst/>
              <a:ahLst/>
              <a:cxnLst/>
              <a:rect l="l" t="t" r="r" b="b"/>
              <a:pathLst>
                <a:path w="1537" h="1017" extrusionOk="0">
                  <a:moveTo>
                    <a:pt x="1117" y="1"/>
                  </a:moveTo>
                  <a:cubicBezTo>
                    <a:pt x="1103" y="1"/>
                    <a:pt x="1089" y="1"/>
                    <a:pt x="1075" y="1"/>
                  </a:cubicBezTo>
                  <a:cubicBezTo>
                    <a:pt x="693" y="1"/>
                    <a:pt x="291" y="92"/>
                    <a:pt x="144" y="239"/>
                  </a:cubicBezTo>
                  <a:cubicBezTo>
                    <a:pt x="0" y="383"/>
                    <a:pt x="14" y="792"/>
                    <a:pt x="102" y="960"/>
                  </a:cubicBezTo>
                  <a:cubicBezTo>
                    <a:pt x="119" y="999"/>
                    <a:pt x="140" y="1016"/>
                    <a:pt x="151" y="1016"/>
                  </a:cubicBezTo>
                  <a:lnTo>
                    <a:pt x="161" y="1013"/>
                  </a:lnTo>
                  <a:cubicBezTo>
                    <a:pt x="161" y="995"/>
                    <a:pt x="161" y="974"/>
                    <a:pt x="161" y="957"/>
                  </a:cubicBezTo>
                  <a:cubicBezTo>
                    <a:pt x="154" y="831"/>
                    <a:pt x="140" y="624"/>
                    <a:pt x="406" y="341"/>
                  </a:cubicBezTo>
                  <a:cubicBezTo>
                    <a:pt x="620" y="109"/>
                    <a:pt x="981" y="48"/>
                    <a:pt x="1344" y="48"/>
                  </a:cubicBezTo>
                  <a:cubicBezTo>
                    <a:pt x="1409" y="48"/>
                    <a:pt x="1473" y="50"/>
                    <a:pt x="1537" y="54"/>
                  </a:cubicBezTo>
                  <a:cubicBezTo>
                    <a:pt x="1519" y="50"/>
                    <a:pt x="1505" y="47"/>
                    <a:pt x="1488" y="43"/>
                  </a:cubicBezTo>
                  <a:cubicBezTo>
                    <a:pt x="1365" y="15"/>
                    <a:pt x="1242" y="1"/>
                    <a:pt x="111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6" name="Google Shape;3676;p53"/>
            <p:cNvSpPr/>
            <p:nvPr/>
          </p:nvSpPr>
          <p:spPr>
            <a:xfrm>
              <a:off x="1460410" y="19054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7" name="Google Shape;3677;p53"/>
            <p:cNvSpPr/>
            <p:nvPr/>
          </p:nvSpPr>
          <p:spPr>
            <a:xfrm>
              <a:off x="2393809" y="1664875"/>
              <a:ext cx="58709" cy="92123"/>
            </a:xfrm>
            <a:custGeom>
              <a:avLst/>
              <a:gdLst/>
              <a:ahLst/>
              <a:cxnLst/>
              <a:rect l="l" t="t" r="r" b="b"/>
              <a:pathLst>
                <a:path w="4324" h="6785" extrusionOk="0">
                  <a:moveTo>
                    <a:pt x="2372" y="0"/>
                  </a:moveTo>
                  <a:cubicBezTo>
                    <a:pt x="2056" y="0"/>
                    <a:pt x="1686" y="178"/>
                    <a:pt x="1457" y="378"/>
                  </a:cubicBezTo>
                  <a:lnTo>
                    <a:pt x="1429" y="403"/>
                  </a:lnTo>
                  <a:lnTo>
                    <a:pt x="1432" y="403"/>
                  </a:lnTo>
                  <a:lnTo>
                    <a:pt x="1352" y="455"/>
                  </a:lnTo>
                  <a:lnTo>
                    <a:pt x="1317" y="480"/>
                  </a:lnTo>
                  <a:cubicBezTo>
                    <a:pt x="1208" y="543"/>
                    <a:pt x="1096" y="602"/>
                    <a:pt x="981" y="655"/>
                  </a:cubicBezTo>
                  <a:cubicBezTo>
                    <a:pt x="760" y="760"/>
                    <a:pt x="529" y="868"/>
                    <a:pt x="403" y="1029"/>
                  </a:cubicBezTo>
                  <a:cubicBezTo>
                    <a:pt x="344" y="1099"/>
                    <a:pt x="284" y="1169"/>
                    <a:pt x="221" y="1232"/>
                  </a:cubicBezTo>
                  <a:cubicBezTo>
                    <a:pt x="102" y="1355"/>
                    <a:pt x="0" y="1460"/>
                    <a:pt x="4" y="1558"/>
                  </a:cubicBezTo>
                  <a:cubicBezTo>
                    <a:pt x="7" y="1614"/>
                    <a:pt x="42" y="1670"/>
                    <a:pt x="119" y="1733"/>
                  </a:cubicBezTo>
                  <a:cubicBezTo>
                    <a:pt x="421" y="1992"/>
                    <a:pt x="393" y="2185"/>
                    <a:pt x="368" y="2388"/>
                  </a:cubicBezTo>
                  <a:cubicBezTo>
                    <a:pt x="361" y="2433"/>
                    <a:pt x="354" y="2482"/>
                    <a:pt x="351" y="2531"/>
                  </a:cubicBezTo>
                  <a:cubicBezTo>
                    <a:pt x="344" y="2668"/>
                    <a:pt x="694" y="3109"/>
                    <a:pt x="907" y="3371"/>
                  </a:cubicBezTo>
                  <a:lnTo>
                    <a:pt x="1051" y="3546"/>
                  </a:lnTo>
                  <a:cubicBezTo>
                    <a:pt x="1233" y="3781"/>
                    <a:pt x="1394" y="3977"/>
                    <a:pt x="1457" y="4085"/>
                  </a:cubicBezTo>
                  <a:cubicBezTo>
                    <a:pt x="1632" y="4404"/>
                    <a:pt x="1418" y="4961"/>
                    <a:pt x="1124" y="5325"/>
                  </a:cubicBezTo>
                  <a:cubicBezTo>
                    <a:pt x="1065" y="5402"/>
                    <a:pt x="1033" y="5503"/>
                    <a:pt x="1044" y="5601"/>
                  </a:cubicBezTo>
                  <a:cubicBezTo>
                    <a:pt x="1061" y="5878"/>
                    <a:pt x="1310" y="6186"/>
                    <a:pt x="1639" y="6186"/>
                  </a:cubicBezTo>
                  <a:cubicBezTo>
                    <a:pt x="1922" y="6186"/>
                    <a:pt x="2073" y="6361"/>
                    <a:pt x="2209" y="6519"/>
                  </a:cubicBezTo>
                  <a:cubicBezTo>
                    <a:pt x="2329" y="6662"/>
                    <a:pt x="2435" y="6785"/>
                    <a:pt x="2628" y="6785"/>
                  </a:cubicBezTo>
                  <a:cubicBezTo>
                    <a:pt x="2633" y="6785"/>
                    <a:pt x="2638" y="6785"/>
                    <a:pt x="2644" y="6785"/>
                  </a:cubicBezTo>
                  <a:cubicBezTo>
                    <a:pt x="3158" y="6767"/>
                    <a:pt x="3715" y="6641"/>
                    <a:pt x="3771" y="6557"/>
                  </a:cubicBezTo>
                  <a:cubicBezTo>
                    <a:pt x="3778" y="6543"/>
                    <a:pt x="3785" y="6494"/>
                    <a:pt x="3778" y="6309"/>
                  </a:cubicBezTo>
                  <a:cubicBezTo>
                    <a:pt x="3778" y="6263"/>
                    <a:pt x="3771" y="6217"/>
                    <a:pt x="3771" y="6168"/>
                  </a:cubicBezTo>
                  <a:cubicBezTo>
                    <a:pt x="3757" y="5951"/>
                    <a:pt x="3743" y="5699"/>
                    <a:pt x="3778" y="5556"/>
                  </a:cubicBezTo>
                  <a:cubicBezTo>
                    <a:pt x="3813" y="5412"/>
                    <a:pt x="3781" y="5374"/>
                    <a:pt x="3736" y="5311"/>
                  </a:cubicBezTo>
                  <a:cubicBezTo>
                    <a:pt x="3701" y="5262"/>
                    <a:pt x="3676" y="5206"/>
                    <a:pt x="3662" y="5150"/>
                  </a:cubicBezTo>
                  <a:cubicBezTo>
                    <a:pt x="3654" y="5140"/>
                    <a:pt x="3626" y="5137"/>
                    <a:pt x="3595" y="5137"/>
                  </a:cubicBezTo>
                  <a:cubicBezTo>
                    <a:pt x="3560" y="5137"/>
                    <a:pt x="3520" y="5141"/>
                    <a:pt x="3501" y="5143"/>
                  </a:cubicBezTo>
                  <a:cubicBezTo>
                    <a:pt x="3473" y="5146"/>
                    <a:pt x="3445" y="5150"/>
                    <a:pt x="3421" y="5150"/>
                  </a:cubicBezTo>
                  <a:cubicBezTo>
                    <a:pt x="3376" y="5150"/>
                    <a:pt x="3341" y="5139"/>
                    <a:pt x="3323" y="5101"/>
                  </a:cubicBezTo>
                  <a:cubicBezTo>
                    <a:pt x="3295" y="5038"/>
                    <a:pt x="3347" y="4985"/>
                    <a:pt x="3375" y="4961"/>
                  </a:cubicBezTo>
                  <a:cubicBezTo>
                    <a:pt x="3491" y="4845"/>
                    <a:pt x="3508" y="4768"/>
                    <a:pt x="3501" y="4751"/>
                  </a:cubicBezTo>
                  <a:cubicBezTo>
                    <a:pt x="3498" y="4745"/>
                    <a:pt x="3481" y="4732"/>
                    <a:pt x="3428" y="4732"/>
                  </a:cubicBezTo>
                  <a:cubicBezTo>
                    <a:pt x="3417" y="4732"/>
                    <a:pt x="3406" y="4732"/>
                    <a:pt x="3393" y="4733"/>
                  </a:cubicBezTo>
                  <a:cubicBezTo>
                    <a:pt x="3386" y="4733"/>
                    <a:pt x="3379" y="4733"/>
                    <a:pt x="3373" y="4733"/>
                  </a:cubicBezTo>
                  <a:cubicBezTo>
                    <a:pt x="3288" y="4733"/>
                    <a:pt x="3225" y="4712"/>
                    <a:pt x="3186" y="4663"/>
                  </a:cubicBezTo>
                  <a:cubicBezTo>
                    <a:pt x="3106" y="4562"/>
                    <a:pt x="3155" y="4401"/>
                    <a:pt x="3204" y="4226"/>
                  </a:cubicBezTo>
                  <a:lnTo>
                    <a:pt x="3211" y="4194"/>
                  </a:lnTo>
                  <a:cubicBezTo>
                    <a:pt x="3225" y="4134"/>
                    <a:pt x="3267" y="4078"/>
                    <a:pt x="3323" y="4050"/>
                  </a:cubicBezTo>
                  <a:cubicBezTo>
                    <a:pt x="3351" y="4037"/>
                    <a:pt x="3382" y="4031"/>
                    <a:pt x="3415" y="4031"/>
                  </a:cubicBezTo>
                  <a:cubicBezTo>
                    <a:pt x="3498" y="4031"/>
                    <a:pt x="3593" y="4069"/>
                    <a:pt x="3683" y="4106"/>
                  </a:cubicBezTo>
                  <a:cubicBezTo>
                    <a:pt x="3725" y="4124"/>
                    <a:pt x="3760" y="4138"/>
                    <a:pt x="3799" y="4152"/>
                  </a:cubicBezTo>
                  <a:cubicBezTo>
                    <a:pt x="3817" y="4158"/>
                    <a:pt x="3836" y="4160"/>
                    <a:pt x="3855" y="4160"/>
                  </a:cubicBezTo>
                  <a:cubicBezTo>
                    <a:pt x="3917" y="4160"/>
                    <a:pt x="3981" y="4133"/>
                    <a:pt x="4051" y="4103"/>
                  </a:cubicBezTo>
                  <a:cubicBezTo>
                    <a:pt x="4135" y="4057"/>
                    <a:pt x="4229" y="4033"/>
                    <a:pt x="4324" y="4033"/>
                  </a:cubicBezTo>
                  <a:cubicBezTo>
                    <a:pt x="4296" y="3973"/>
                    <a:pt x="4173" y="3851"/>
                    <a:pt x="4061" y="3840"/>
                  </a:cubicBezTo>
                  <a:cubicBezTo>
                    <a:pt x="3925" y="3830"/>
                    <a:pt x="3897" y="3704"/>
                    <a:pt x="3872" y="3599"/>
                  </a:cubicBezTo>
                  <a:cubicBezTo>
                    <a:pt x="3837" y="3448"/>
                    <a:pt x="3806" y="3354"/>
                    <a:pt x="3641" y="3340"/>
                  </a:cubicBezTo>
                  <a:cubicBezTo>
                    <a:pt x="3628" y="3339"/>
                    <a:pt x="3615" y="3338"/>
                    <a:pt x="3603" y="3338"/>
                  </a:cubicBezTo>
                  <a:cubicBezTo>
                    <a:pt x="3502" y="3338"/>
                    <a:pt x="3464" y="3375"/>
                    <a:pt x="3449" y="3406"/>
                  </a:cubicBezTo>
                  <a:cubicBezTo>
                    <a:pt x="3424" y="3466"/>
                    <a:pt x="3414" y="3532"/>
                    <a:pt x="3414" y="3595"/>
                  </a:cubicBezTo>
                  <a:cubicBezTo>
                    <a:pt x="3414" y="3655"/>
                    <a:pt x="3403" y="3714"/>
                    <a:pt x="3382" y="3770"/>
                  </a:cubicBezTo>
                  <a:cubicBezTo>
                    <a:pt x="3368" y="3805"/>
                    <a:pt x="3333" y="3826"/>
                    <a:pt x="3295" y="3826"/>
                  </a:cubicBezTo>
                  <a:cubicBezTo>
                    <a:pt x="3214" y="3826"/>
                    <a:pt x="3148" y="3714"/>
                    <a:pt x="3106" y="3620"/>
                  </a:cubicBezTo>
                  <a:cubicBezTo>
                    <a:pt x="3025" y="3441"/>
                    <a:pt x="2973" y="3182"/>
                    <a:pt x="3095" y="3039"/>
                  </a:cubicBezTo>
                  <a:cubicBezTo>
                    <a:pt x="3134" y="2990"/>
                    <a:pt x="3151" y="2951"/>
                    <a:pt x="3141" y="2927"/>
                  </a:cubicBezTo>
                  <a:cubicBezTo>
                    <a:pt x="3126" y="2896"/>
                    <a:pt x="3052" y="2869"/>
                    <a:pt x="2942" y="2869"/>
                  </a:cubicBezTo>
                  <a:cubicBezTo>
                    <a:pt x="2925" y="2869"/>
                    <a:pt x="2907" y="2869"/>
                    <a:pt x="2889" y="2871"/>
                  </a:cubicBezTo>
                  <a:cubicBezTo>
                    <a:pt x="2881" y="2871"/>
                    <a:pt x="2873" y="2871"/>
                    <a:pt x="2866" y="2871"/>
                  </a:cubicBezTo>
                  <a:cubicBezTo>
                    <a:pt x="2727" y="2871"/>
                    <a:pt x="2658" y="2779"/>
                    <a:pt x="2609" y="2710"/>
                  </a:cubicBezTo>
                  <a:cubicBezTo>
                    <a:pt x="2564" y="2652"/>
                    <a:pt x="2548" y="2637"/>
                    <a:pt x="2530" y="2637"/>
                  </a:cubicBezTo>
                  <a:cubicBezTo>
                    <a:pt x="2525" y="2637"/>
                    <a:pt x="2520" y="2638"/>
                    <a:pt x="2514" y="2640"/>
                  </a:cubicBezTo>
                  <a:cubicBezTo>
                    <a:pt x="2499" y="2645"/>
                    <a:pt x="2483" y="2648"/>
                    <a:pt x="2467" y="2648"/>
                  </a:cubicBezTo>
                  <a:cubicBezTo>
                    <a:pt x="2435" y="2648"/>
                    <a:pt x="2402" y="2637"/>
                    <a:pt x="2374" y="2619"/>
                  </a:cubicBezTo>
                  <a:cubicBezTo>
                    <a:pt x="2293" y="2559"/>
                    <a:pt x="2251" y="2402"/>
                    <a:pt x="2251" y="2157"/>
                  </a:cubicBezTo>
                  <a:cubicBezTo>
                    <a:pt x="2251" y="2055"/>
                    <a:pt x="2045" y="1866"/>
                    <a:pt x="1898" y="1866"/>
                  </a:cubicBezTo>
                  <a:cubicBezTo>
                    <a:pt x="1895" y="1866"/>
                    <a:pt x="1892" y="1866"/>
                    <a:pt x="1890" y="1866"/>
                  </a:cubicBezTo>
                  <a:cubicBezTo>
                    <a:pt x="1833" y="1866"/>
                    <a:pt x="1781" y="1832"/>
                    <a:pt x="1761" y="1778"/>
                  </a:cubicBezTo>
                  <a:cubicBezTo>
                    <a:pt x="1740" y="1701"/>
                    <a:pt x="1765" y="1621"/>
                    <a:pt x="1828" y="1572"/>
                  </a:cubicBezTo>
                  <a:cubicBezTo>
                    <a:pt x="1877" y="1530"/>
                    <a:pt x="1938" y="1509"/>
                    <a:pt x="2005" y="1509"/>
                  </a:cubicBezTo>
                  <a:cubicBezTo>
                    <a:pt x="2068" y="1509"/>
                    <a:pt x="2137" y="1528"/>
                    <a:pt x="2206" y="1565"/>
                  </a:cubicBezTo>
                  <a:cubicBezTo>
                    <a:pt x="2234" y="1582"/>
                    <a:pt x="2262" y="1596"/>
                    <a:pt x="2297" y="1607"/>
                  </a:cubicBezTo>
                  <a:cubicBezTo>
                    <a:pt x="2276" y="1530"/>
                    <a:pt x="2248" y="1456"/>
                    <a:pt x="2213" y="1383"/>
                  </a:cubicBezTo>
                  <a:lnTo>
                    <a:pt x="2195" y="1344"/>
                  </a:lnTo>
                  <a:cubicBezTo>
                    <a:pt x="2174" y="1299"/>
                    <a:pt x="2181" y="1246"/>
                    <a:pt x="2213" y="1208"/>
                  </a:cubicBezTo>
                  <a:cubicBezTo>
                    <a:pt x="2307" y="1080"/>
                    <a:pt x="2633" y="1003"/>
                    <a:pt x="2850" y="1003"/>
                  </a:cubicBezTo>
                  <a:cubicBezTo>
                    <a:pt x="2884" y="1003"/>
                    <a:pt x="2914" y="1005"/>
                    <a:pt x="2941" y="1008"/>
                  </a:cubicBezTo>
                  <a:cubicBezTo>
                    <a:pt x="3010" y="1018"/>
                    <a:pt x="3076" y="1022"/>
                    <a:pt x="3136" y="1022"/>
                  </a:cubicBezTo>
                  <a:cubicBezTo>
                    <a:pt x="3277" y="1022"/>
                    <a:pt x="3382" y="999"/>
                    <a:pt x="3407" y="970"/>
                  </a:cubicBezTo>
                  <a:cubicBezTo>
                    <a:pt x="3407" y="970"/>
                    <a:pt x="3410" y="966"/>
                    <a:pt x="3407" y="952"/>
                  </a:cubicBezTo>
                  <a:cubicBezTo>
                    <a:pt x="3375" y="875"/>
                    <a:pt x="3386" y="763"/>
                    <a:pt x="3400" y="634"/>
                  </a:cubicBezTo>
                  <a:cubicBezTo>
                    <a:pt x="3414" y="466"/>
                    <a:pt x="3431" y="273"/>
                    <a:pt x="3351" y="158"/>
                  </a:cubicBezTo>
                  <a:cubicBezTo>
                    <a:pt x="3287" y="70"/>
                    <a:pt x="3194" y="55"/>
                    <a:pt x="3048" y="55"/>
                  </a:cubicBezTo>
                  <a:cubicBezTo>
                    <a:pt x="3025" y="55"/>
                    <a:pt x="3001" y="56"/>
                    <a:pt x="2976" y="56"/>
                  </a:cubicBezTo>
                  <a:cubicBezTo>
                    <a:pt x="2944" y="58"/>
                    <a:pt x="2912" y="59"/>
                    <a:pt x="2880" y="59"/>
                  </a:cubicBezTo>
                  <a:cubicBezTo>
                    <a:pt x="2768" y="59"/>
                    <a:pt x="2655" y="46"/>
                    <a:pt x="2546" y="21"/>
                  </a:cubicBezTo>
                  <a:cubicBezTo>
                    <a:pt x="2491" y="7"/>
                    <a:pt x="2432" y="0"/>
                    <a:pt x="23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8" name="Google Shape;3678;p53"/>
            <p:cNvSpPr/>
            <p:nvPr/>
          </p:nvSpPr>
          <p:spPr>
            <a:xfrm>
              <a:off x="3030608" y="2063280"/>
              <a:ext cx="2525" cy="733"/>
            </a:xfrm>
            <a:custGeom>
              <a:avLst/>
              <a:gdLst/>
              <a:ahLst/>
              <a:cxnLst/>
              <a:rect l="l" t="t" r="r" b="b"/>
              <a:pathLst>
                <a:path w="186" h="54" extrusionOk="0">
                  <a:moveTo>
                    <a:pt x="116" y="0"/>
                  </a:moveTo>
                  <a:cubicBezTo>
                    <a:pt x="112" y="0"/>
                    <a:pt x="109" y="1"/>
                    <a:pt x="105" y="1"/>
                  </a:cubicBezTo>
                  <a:cubicBezTo>
                    <a:pt x="77" y="5"/>
                    <a:pt x="42" y="12"/>
                    <a:pt x="0" y="15"/>
                  </a:cubicBezTo>
                  <a:cubicBezTo>
                    <a:pt x="25" y="22"/>
                    <a:pt x="49" y="29"/>
                    <a:pt x="74" y="36"/>
                  </a:cubicBezTo>
                  <a:cubicBezTo>
                    <a:pt x="110" y="49"/>
                    <a:pt x="136" y="53"/>
                    <a:pt x="154" y="53"/>
                  </a:cubicBezTo>
                  <a:cubicBezTo>
                    <a:pt x="174" y="53"/>
                    <a:pt x="184" y="48"/>
                    <a:pt x="186" y="47"/>
                  </a:cubicBezTo>
                  <a:cubicBezTo>
                    <a:pt x="186" y="40"/>
                    <a:pt x="186" y="33"/>
                    <a:pt x="179" y="29"/>
                  </a:cubicBezTo>
                  <a:cubicBezTo>
                    <a:pt x="163" y="11"/>
                    <a:pt x="140" y="0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9" name="Google Shape;3679;p53"/>
            <p:cNvSpPr/>
            <p:nvPr/>
          </p:nvSpPr>
          <p:spPr>
            <a:xfrm>
              <a:off x="2090841" y="1529304"/>
              <a:ext cx="1765" cy="2390"/>
            </a:xfrm>
            <a:custGeom>
              <a:avLst/>
              <a:gdLst/>
              <a:ahLst/>
              <a:cxnLst/>
              <a:rect l="l" t="t" r="r" b="b"/>
              <a:pathLst>
                <a:path w="130" h="176" extrusionOk="0">
                  <a:moveTo>
                    <a:pt x="130" y="1"/>
                  </a:moveTo>
                  <a:cubicBezTo>
                    <a:pt x="104" y="14"/>
                    <a:pt x="74" y="21"/>
                    <a:pt x="43" y="21"/>
                  </a:cubicBezTo>
                  <a:cubicBezTo>
                    <a:pt x="32" y="21"/>
                    <a:pt x="21" y="20"/>
                    <a:pt x="11" y="18"/>
                  </a:cubicBezTo>
                  <a:lnTo>
                    <a:pt x="0" y="15"/>
                  </a:lnTo>
                  <a:lnTo>
                    <a:pt x="0" y="15"/>
                  </a:lnTo>
                  <a:cubicBezTo>
                    <a:pt x="11" y="39"/>
                    <a:pt x="18" y="67"/>
                    <a:pt x="14" y="92"/>
                  </a:cubicBezTo>
                  <a:cubicBezTo>
                    <a:pt x="11" y="123"/>
                    <a:pt x="28" y="155"/>
                    <a:pt x="56" y="169"/>
                  </a:cubicBezTo>
                  <a:cubicBezTo>
                    <a:pt x="65" y="173"/>
                    <a:pt x="75" y="176"/>
                    <a:pt x="85" y="176"/>
                  </a:cubicBezTo>
                  <a:cubicBezTo>
                    <a:pt x="92" y="176"/>
                    <a:pt x="98" y="175"/>
                    <a:pt x="105" y="172"/>
                  </a:cubicBezTo>
                  <a:lnTo>
                    <a:pt x="105" y="162"/>
                  </a:lnTo>
                  <a:cubicBezTo>
                    <a:pt x="91" y="106"/>
                    <a:pt x="102" y="50"/>
                    <a:pt x="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0" name="Google Shape;3680;p53"/>
            <p:cNvSpPr/>
            <p:nvPr/>
          </p:nvSpPr>
          <p:spPr>
            <a:xfrm>
              <a:off x="2245597" y="1718058"/>
              <a:ext cx="14229" cy="4386"/>
            </a:xfrm>
            <a:custGeom>
              <a:avLst/>
              <a:gdLst/>
              <a:ahLst/>
              <a:cxnLst/>
              <a:rect l="l" t="t" r="r" b="b"/>
              <a:pathLst>
                <a:path w="1048" h="323" extrusionOk="0">
                  <a:moveTo>
                    <a:pt x="1048" y="0"/>
                  </a:moveTo>
                  <a:cubicBezTo>
                    <a:pt x="989" y="25"/>
                    <a:pt x="910" y="31"/>
                    <a:pt x="818" y="31"/>
                  </a:cubicBezTo>
                  <a:cubicBezTo>
                    <a:pt x="779" y="31"/>
                    <a:pt x="737" y="29"/>
                    <a:pt x="694" y="28"/>
                  </a:cubicBezTo>
                  <a:lnTo>
                    <a:pt x="578" y="28"/>
                  </a:lnTo>
                  <a:cubicBezTo>
                    <a:pt x="565" y="28"/>
                    <a:pt x="552" y="28"/>
                    <a:pt x="539" y="28"/>
                  </a:cubicBezTo>
                  <a:cubicBezTo>
                    <a:pt x="473" y="28"/>
                    <a:pt x="408" y="35"/>
                    <a:pt x="344" y="53"/>
                  </a:cubicBezTo>
                  <a:cubicBezTo>
                    <a:pt x="274" y="84"/>
                    <a:pt x="211" y="133"/>
                    <a:pt x="162" y="189"/>
                  </a:cubicBezTo>
                  <a:cubicBezTo>
                    <a:pt x="113" y="238"/>
                    <a:pt x="57" y="284"/>
                    <a:pt x="1" y="323"/>
                  </a:cubicBezTo>
                  <a:cubicBezTo>
                    <a:pt x="41" y="319"/>
                    <a:pt x="82" y="318"/>
                    <a:pt x="124" y="318"/>
                  </a:cubicBezTo>
                  <a:cubicBezTo>
                    <a:pt x="166" y="318"/>
                    <a:pt x="209" y="319"/>
                    <a:pt x="253" y="319"/>
                  </a:cubicBezTo>
                  <a:cubicBezTo>
                    <a:pt x="279" y="319"/>
                    <a:pt x="305" y="319"/>
                    <a:pt x="332" y="319"/>
                  </a:cubicBezTo>
                  <a:cubicBezTo>
                    <a:pt x="530" y="319"/>
                    <a:pt x="735" y="316"/>
                    <a:pt x="859" y="270"/>
                  </a:cubicBezTo>
                  <a:cubicBezTo>
                    <a:pt x="1016" y="207"/>
                    <a:pt x="1034" y="105"/>
                    <a:pt x="1048" y="11"/>
                  </a:cubicBezTo>
                  <a:lnTo>
                    <a:pt x="104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1" name="Google Shape;3681;p53"/>
            <p:cNvSpPr/>
            <p:nvPr/>
          </p:nvSpPr>
          <p:spPr>
            <a:xfrm>
              <a:off x="2812146" y="1578590"/>
              <a:ext cx="42742" cy="41805"/>
            </a:xfrm>
            <a:custGeom>
              <a:avLst/>
              <a:gdLst/>
              <a:ahLst/>
              <a:cxnLst/>
              <a:rect l="l" t="t" r="r" b="b"/>
              <a:pathLst>
                <a:path w="3148" h="3079" extrusionOk="0">
                  <a:moveTo>
                    <a:pt x="3071" y="1"/>
                  </a:moveTo>
                  <a:lnTo>
                    <a:pt x="3071" y="1"/>
                  </a:lnTo>
                  <a:cubicBezTo>
                    <a:pt x="3001" y="32"/>
                    <a:pt x="2843" y="348"/>
                    <a:pt x="2749" y="537"/>
                  </a:cubicBezTo>
                  <a:cubicBezTo>
                    <a:pt x="2661" y="715"/>
                    <a:pt x="2556" y="918"/>
                    <a:pt x="2451" y="1086"/>
                  </a:cubicBezTo>
                  <a:cubicBezTo>
                    <a:pt x="2237" y="1429"/>
                    <a:pt x="1908" y="1664"/>
                    <a:pt x="1621" y="1870"/>
                  </a:cubicBezTo>
                  <a:cubicBezTo>
                    <a:pt x="1341" y="2070"/>
                    <a:pt x="1100" y="2241"/>
                    <a:pt x="1002" y="2462"/>
                  </a:cubicBezTo>
                  <a:cubicBezTo>
                    <a:pt x="855" y="2791"/>
                    <a:pt x="438" y="2924"/>
                    <a:pt x="161" y="3015"/>
                  </a:cubicBezTo>
                  <a:cubicBezTo>
                    <a:pt x="105" y="3033"/>
                    <a:pt x="42" y="3054"/>
                    <a:pt x="0" y="3071"/>
                  </a:cubicBezTo>
                  <a:cubicBezTo>
                    <a:pt x="27" y="3076"/>
                    <a:pt x="62" y="3078"/>
                    <a:pt x="104" y="3078"/>
                  </a:cubicBezTo>
                  <a:cubicBezTo>
                    <a:pt x="286" y="3078"/>
                    <a:pt x="593" y="3034"/>
                    <a:pt x="823" y="2931"/>
                  </a:cubicBezTo>
                  <a:cubicBezTo>
                    <a:pt x="963" y="2868"/>
                    <a:pt x="1044" y="2791"/>
                    <a:pt x="1044" y="2728"/>
                  </a:cubicBezTo>
                  <a:cubicBezTo>
                    <a:pt x="1044" y="2494"/>
                    <a:pt x="1345" y="2375"/>
                    <a:pt x="1695" y="2231"/>
                  </a:cubicBezTo>
                  <a:cubicBezTo>
                    <a:pt x="1957" y="2126"/>
                    <a:pt x="2251" y="2007"/>
                    <a:pt x="2447" y="1828"/>
                  </a:cubicBezTo>
                  <a:cubicBezTo>
                    <a:pt x="2868" y="1454"/>
                    <a:pt x="3148" y="190"/>
                    <a:pt x="30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2" name="Google Shape;3682;p53"/>
            <p:cNvSpPr/>
            <p:nvPr/>
          </p:nvSpPr>
          <p:spPr>
            <a:xfrm>
              <a:off x="2563691" y="1451016"/>
              <a:ext cx="3055" cy="2593"/>
            </a:xfrm>
            <a:custGeom>
              <a:avLst/>
              <a:gdLst/>
              <a:ahLst/>
              <a:cxnLst/>
              <a:rect l="l" t="t" r="r" b="b"/>
              <a:pathLst>
                <a:path w="225" h="191" extrusionOk="0">
                  <a:moveTo>
                    <a:pt x="50" y="0"/>
                  </a:moveTo>
                  <a:cubicBezTo>
                    <a:pt x="35" y="0"/>
                    <a:pt x="21" y="10"/>
                    <a:pt x="18" y="25"/>
                  </a:cubicBezTo>
                  <a:cubicBezTo>
                    <a:pt x="0" y="71"/>
                    <a:pt x="7" y="120"/>
                    <a:pt x="42" y="155"/>
                  </a:cubicBezTo>
                  <a:cubicBezTo>
                    <a:pt x="68" y="178"/>
                    <a:pt x="102" y="190"/>
                    <a:pt x="136" y="190"/>
                  </a:cubicBezTo>
                  <a:cubicBezTo>
                    <a:pt x="158" y="190"/>
                    <a:pt x="180" y="185"/>
                    <a:pt x="200" y="176"/>
                  </a:cubicBezTo>
                  <a:lnTo>
                    <a:pt x="224" y="165"/>
                  </a:lnTo>
                  <a:cubicBezTo>
                    <a:pt x="200" y="144"/>
                    <a:pt x="186" y="116"/>
                    <a:pt x="182" y="85"/>
                  </a:cubicBezTo>
                  <a:cubicBezTo>
                    <a:pt x="158" y="39"/>
                    <a:pt x="116" y="8"/>
                    <a:pt x="67" y="1"/>
                  </a:cubicBezTo>
                  <a:lnTo>
                    <a:pt x="56" y="1"/>
                  </a:lnTo>
                  <a:cubicBezTo>
                    <a:pt x="54" y="0"/>
                    <a:pt x="52" y="0"/>
                    <a:pt x="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3" name="Google Shape;3683;p53"/>
            <p:cNvSpPr/>
            <p:nvPr/>
          </p:nvSpPr>
          <p:spPr>
            <a:xfrm>
              <a:off x="2480977" y="1673361"/>
              <a:ext cx="16510" cy="18180"/>
            </a:xfrm>
            <a:custGeom>
              <a:avLst/>
              <a:gdLst/>
              <a:ahLst/>
              <a:cxnLst/>
              <a:rect l="l" t="t" r="r" b="b"/>
              <a:pathLst>
                <a:path w="1216" h="1339" extrusionOk="0">
                  <a:moveTo>
                    <a:pt x="797" y="1"/>
                  </a:moveTo>
                  <a:cubicBezTo>
                    <a:pt x="756" y="1"/>
                    <a:pt x="733" y="36"/>
                    <a:pt x="705" y="138"/>
                  </a:cubicBezTo>
                  <a:cubicBezTo>
                    <a:pt x="691" y="194"/>
                    <a:pt x="677" y="243"/>
                    <a:pt x="628" y="261"/>
                  </a:cubicBezTo>
                  <a:cubicBezTo>
                    <a:pt x="620" y="263"/>
                    <a:pt x="611" y="264"/>
                    <a:pt x="603" y="264"/>
                  </a:cubicBezTo>
                  <a:cubicBezTo>
                    <a:pt x="584" y="264"/>
                    <a:pt x="565" y="259"/>
                    <a:pt x="551" y="247"/>
                  </a:cubicBezTo>
                  <a:lnTo>
                    <a:pt x="526" y="229"/>
                  </a:lnTo>
                  <a:cubicBezTo>
                    <a:pt x="475" y="191"/>
                    <a:pt x="381" y="118"/>
                    <a:pt x="296" y="118"/>
                  </a:cubicBezTo>
                  <a:cubicBezTo>
                    <a:pt x="287" y="118"/>
                    <a:pt x="279" y="119"/>
                    <a:pt x="271" y="121"/>
                  </a:cubicBezTo>
                  <a:cubicBezTo>
                    <a:pt x="215" y="131"/>
                    <a:pt x="169" y="166"/>
                    <a:pt x="141" y="215"/>
                  </a:cubicBezTo>
                  <a:cubicBezTo>
                    <a:pt x="127" y="240"/>
                    <a:pt x="113" y="264"/>
                    <a:pt x="102" y="292"/>
                  </a:cubicBezTo>
                  <a:cubicBezTo>
                    <a:pt x="1" y="551"/>
                    <a:pt x="43" y="978"/>
                    <a:pt x="106" y="1048"/>
                  </a:cubicBezTo>
                  <a:cubicBezTo>
                    <a:pt x="134" y="1010"/>
                    <a:pt x="145" y="835"/>
                    <a:pt x="148" y="737"/>
                  </a:cubicBezTo>
                  <a:cubicBezTo>
                    <a:pt x="159" y="502"/>
                    <a:pt x="173" y="257"/>
                    <a:pt x="348" y="257"/>
                  </a:cubicBezTo>
                  <a:cubicBezTo>
                    <a:pt x="411" y="257"/>
                    <a:pt x="474" y="289"/>
                    <a:pt x="509" y="345"/>
                  </a:cubicBezTo>
                  <a:cubicBezTo>
                    <a:pt x="621" y="506"/>
                    <a:pt x="568" y="859"/>
                    <a:pt x="474" y="1122"/>
                  </a:cubicBezTo>
                  <a:cubicBezTo>
                    <a:pt x="449" y="1185"/>
                    <a:pt x="435" y="1269"/>
                    <a:pt x="488" y="1311"/>
                  </a:cubicBezTo>
                  <a:cubicBezTo>
                    <a:pt x="512" y="1329"/>
                    <a:pt x="548" y="1338"/>
                    <a:pt x="595" y="1338"/>
                  </a:cubicBezTo>
                  <a:cubicBezTo>
                    <a:pt x="703" y="1338"/>
                    <a:pt x="863" y="1286"/>
                    <a:pt x="1037" y="1160"/>
                  </a:cubicBezTo>
                  <a:cubicBezTo>
                    <a:pt x="1104" y="1111"/>
                    <a:pt x="1153" y="1041"/>
                    <a:pt x="1174" y="961"/>
                  </a:cubicBezTo>
                  <a:cubicBezTo>
                    <a:pt x="1216" y="786"/>
                    <a:pt x="1142" y="579"/>
                    <a:pt x="1065" y="453"/>
                  </a:cubicBezTo>
                  <a:cubicBezTo>
                    <a:pt x="1006" y="366"/>
                    <a:pt x="957" y="327"/>
                    <a:pt x="943" y="324"/>
                  </a:cubicBezTo>
                  <a:cubicBezTo>
                    <a:pt x="908" y="324"/>
                    <a:pt x="876" y="310"/>
                    <a:pt x="855" y="285"/>
                  </a:cubicBezTo>
                  <a:cubicBezTo>
                    <a:pt x="813" y="240"/>
                    <a:pt x="824" y="173"/>
                    <a:pt x="831" y="110"/>
                  </a:cubicBezTo>
                  <a:cubicBezTo>
                    <a:pt x="838" y="79"/>
                    <a:pt x="845" y="19"/>
                    <a:pt x="831" y="5"/>
                  </a:cubicBezTo>
                  <a:cubicBezTo>
                    <a:pt x="831" y="5"/>
                    <a:pt x="824" y="2"/>
                    <a:pt x="810" y="2"/>
                  </a:cubicBezTo>
                  <a:cubicBezTo>
                    <a:pt x="805" y="1"/>
                    <a:pt x="801" y="1"/>
                    <a:pt x="7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4" name="Google Shape;3684;p53"/>
            <p:cNvSpPr/>
            <p:nvPr/>
          </p:nvSpPr>
          <p:spPr>
            <a:xfrm>
              <a:off x="2278156" y="2042506"/>
              <a:ext cx="20651" cy="18846"/>
            </a:xfrm>
            <a:custGeom>
              <a:avLst/>
              <a:gdLst/>
              <a:ahLst/>
              <a:cxnLst/>
              <a:rect l="l" t="t" r="r" b="b"/>
              <a:pathLst>
                <a:path w="1521" h="1388" extrusionOk="0">
                  <a:moveTo>
                    <a:pt x="786" y="0"/>
                  </a:moveTo>
                  <a:cubicBezTo>
                    <a:pt x="691" y="0"/>
                    <a:pt x="599" y="10"/>
                    <a:pt x="519" y="33"/>
                  </a:cubicBezTo>
                  <a:cubicBezTo>
                    <a:pt x="396" y="71"/>
                    <a:pt x="256" y="281"/>
                    <a:pt x="148" y="586"/>
                  </a:cubicBezTo>
                  <a:cubicBezTo>
                    <a:pt x="4" y="992"/>
                    <a:pt x="1" y="1314"/>
                    <a:pt x="50" y="1346"/>
                  </a:cubicBezTo>
                  <a:cubicBezTo>
                    <a:pt x="53" y="1346"/>
                    <a:pt x="57" y="1342"/>
                    <a:pt x="64" y="1342"/>
                  </a:cubicBezTo>
                  <a:cubicBezTo>
                    <a:pt x="141" y="1310"/>
                    <a:pt x="224" y="1299"/>
                    <a:pt x="308" y="1299"/>
                  </a:cubicBezTo>
                  <a:cubicBezTo>
                    <a:pt x="439" y="1299"/>
                    <a:pt x="573" y="1327"/>
                    <a:pt x="691" y="1353"/>
                  </a:cubicBezTo>
                  <a:cubicBezTo>
                    <a:pt x="775" y="1377"/>
                    <a:pt x="862" y="1388"/>
                    <a:pt x="950" y="1388"/>
                  </a:cubicBezTo>
                  <a:cubicBezTo>
                    <a:pt x="939" y="1370"/>
                    <a:pt x="922" y="1349"/>
                    <a:pt x="911" y="1335"/>
                  </a:cubicBezTo>
                  <a:cubicBezTo>
                    <a:pt x="866" y="1268"/>
                    <a:pt x="817" y="1202"/>
                    <a:pt x="834" y="1132"/>
                  </a:cubicBezTo>
                  <a:cubicBezTo>
                    <a:pt x="845" y="1097"/>
                    <a:pt x="873" y="1065"/>
                    <a:pt x="911" y="1051"/>
                  </a:cubicBezTo>
                  <a:cubicBezTo>
                    <a:pt x="1034" y="992"/>
                    <a:pt x="1125" y="813"/>
                    <a:pt x="1135" y="593"/>
                  </a:cubicBezTo>
                  <a:lnTo>
                    <a:pt x="1139" y="526"/>
                  </a:lnTo>
                  <a:lnTo>
                    <a:pt x="1139" y="502"/>
                  </a:lnTo>
                  <a:lnTo>
                    <a:pt x="1139" y="491"/>
                  </a:lnTo>
                  <a:cubicBezTo>
                    <a:pt x="1163" y="316"/>
                    <a:pt x="1314" y="264"/>
                    <a:pt x="1419" y="229"/>
                  </a:cubicBezTo>
                  <a:cubicBezTo>
                    <a:pt x="1454" y="218"/>
                    <a:pt x="1489" y="204"/>
                    <a:pt x="1520" y="183"/>
                  </a:cubicBezTo>
                  <a:cubicBezTo>
                    <a:pt x="1496" y="159"/>
                    <a:pt x="1401" y="99"/>
                    <a:pt x="1212" y="54"/>
                  </a:cubicBezTo>
                  <a:cubicBezTo>
                    <a:pt x="1090" y="24"/>
                    <a:pt x="935" y="0"/>
                    <a:pt x="78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5" name="Google Shape;3685;p53"/>
            <p:cNvSpPr/>
            <p:nvPr/>
          </p:nvSpPr>
          <p:spPr>
            <a:xfrm>
              <a:off x="2095159" y="1526222"/>
              <a:ext cx="2009" cy="1344"/>
            </a:xfrm>
            <a:custGeom>
              <a:avLst/>
              <a:gdLst/>
              <a:ahLst/>
              <a:cxnLst/>
              <a:rect l="l" t="t" r="r" b="b"/>
              <a:pathLst>
                <a:path w="148" h="99" extrusionOk="0">
                  <a:moveTo>
                    <a:pt x="123" y="0"/>
                  </a:moveTo>
                  <a:cubicBezTo>
                    <a:pt x="106" y="4"/>
                    <a:pt x="92" y="14"/>
                    <a:pt x="81" y="28"/>
                  </a:cubicBezTo>
                  <a:cubicBezTo>
                    <a:pt x="50" y="53"/>
                    <a:pt x="25" y="77"/>
                    <a:pt x="1" y="98"/>
                  </a:cubicBezTo>
                  <a:cubicBezTo>
                    <a:pt x="43" y="84"/>
                    <a:pt x="88" y="81"/>
                    <a:pt x="134" y="81"/>
                  </a:cubicBezTo>
                  <a:cubicBezTo>
                    <a:pt x="141" y="81"/>
                    <a:pt x="148" y="60"/>
                    <a:pt x="144" y="35"/>
                  </a:cubicBezTo>
                  <a:cubicBezTo>
                    <a:pt x="141" y="21"/>
                    <a:pt x="134" y="7"/>
                    <a:pt x="12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6" name="Google Shape;3686;p53"/>
            <p:cNvSpPr/>
            <p:nvPr/>
          </p:nvSpPr>
          <p:spPr>
            <a:xfrm>
              <a:off x="2217030" y="1745010"/>
              <a:ext cx="1874" cy="394"/>
            </a:xfrm>
            <a:custGeom>
              <a:avLst/>
              <a:gdLst/>
              <a:ahLst/>
              <a:cxnLst/>
              <a:rect l="l" t="t" r="r" b="b"/>
              <a:pathLst>
                <a:path w="138" h="29" extrusionOk="0">
                  <a:moveTo>
                    <a:pt x="48" y="0"/>
                  </a:moveTo>
                  <a:cubicBezTo>
                    <a:pt x="34" y="0"/>
                    <a:pt x="19" y="3"/>
                    <a:pt x="4" y="7"/>
                  </a:cubicBezTo>
                  <a:lnTo>
                    <a:pt x="1" y="7"/>
                  </a:lnTo>
                  <a:cubicBezTo>
                    <a:pt x="46" y="7"/>
                    <a:pt x="92" y="14"/>
                    <a:pt x="137" y="28"/>
                  </a:cubicBezTo>
                  <a:lnTo>
                    <a:pt x="130" y="25"/>
                  </a:lnTo>
                  <a:cubicBezTo>
                    <a:pt x="105" y="9"/>
                    <a:pt x="77" y="0"/>
                    <a:pt x="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7" name="Google Shape;3687;p53"/>
            <p:cNvSpPr/>
            <p:nvPr/>
          </p:nvSpPr>
          <p:spPr>
            <a:xfrm>
              <a:off x="2294517" y="2116096"/>
              <a:ext cx="8377" cy="33360"/>
            </a:xfrm>
            <a:custGeom>
              <a:avLst/>
              <a:gdLst/>
              <a:ahLst/>
              <a:cxnLst/>
              <a:rect l="l" t="t" r="r" b="b"/>
              <a:pathLst>
                <a:path w="617" h="2457" extrusionOk="0">
                  <a:moveTo>
                    <a:pt x="84" y="0"/>
                  </a:moveTo>
                  <a:cubicBezTo>
                    <a:pt x="70" y="0"/>
                    <a:pt x="56" y="7"/>
                    <a:pt x="46" y="14"/>
                  </a:cubicBezTo>
                  <a:cubicBezTo>
                    <a:pt x="11" y="50"/>
                    <a:pt x="0" y="221"/>
                    <a:pt x="193" y="648"/>
                  </a:cubicBezTo>
                  <a:cubicBezTo>
                    <a:pt x="298" y="883"/>
                    <a:pt x="245" y="1058"/>
                    <a:pt x="193" y="1226"/>
                  </a:cubicBezTo>
                  <a:cubicBezTo>
                    <a:pt x="154" y="1348"/>
                    <a:pt x="116" y="1478"/>
                    <a:pt x="137" y="1639"/>
                  </a:cubicBezTo>
                  <a:cubicBezTo>
                    <a:pt x="175" y="1961"/>
                    <a:pt x="448" y="2420"/>
                    <a:pt x="588" y="2455"/>
                  </a:cubicBezTo>
                  <a:cubicBezTo>
                    <a:pt x="591" y="2456"/>
                    <a:pt x="593" y="2457"/>
                    <a:pt x="595" y="2457"/>
                  </a:cubicBezTo>
                  <a:cubicBezTo>
                    <a:pt x="600" y="2457"/>
                    <a:pt x="605" y="2453"/>
                    <a:pt x="609" y="2444"/>
                  </a:cubicBezTo>
                  <a:cubicBezTo>
                    <a:pt x="609" y="2444"/>
                    <a:pt x="616" y="2434"/>
                    <a:pt x="616" y="2395"/>
                  </a:cubicBezTo>
                  <a:cubicBezTo>
                    <a:pt x="609" y="2304"/>
                    <a:pt x="560" y="2157"/>
                    <a:pt x="508" y="1999"/>
                  </a:cubicBezTo>
                  <a:cubicBezTo>
                    <a:pt x="417" y="1719"/>
                    <a:pt x="312" y="1404"/>
                    <a:pt x="385" y="1212"/>
                  </a:cubicBezTo>
                  <a:cubicBezTo>
                    <a:pt x="403" y="1156"/>
                    <a:pt x="410" y="1100"/>
                    <a:pt x="410" y="1044"/>
                  </a:cubicBezTo>
                  <a:cubicBezTo>
                    <a:pt x="417" y="708"/>
                    <a:pt x="266" y="176"/>
                    <a:pt x="123" y="29"/>
                  </a:cubicBezTo>
                  <a:cubicBezTo>
                    <a:pt x="98" y="4"/>
                    <a:pt x="84" y="0"/>
                    <a:pt x="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8" name="Google Shape;3688;p53"/>
            <p:cNvSpPr/>
            <p:nvPr/>
          </p:nvSpPr>
          <p:spPr>
            <a:xfrm>
              <a:off x="2250119" y="1665337"/>
              <a:ext cx="104438" cy="51540"/>
            </a:xfrm>
            <a:custGeom>
              <a:avLst/>
              <a:gdLst/>
              <a:ahLst/>
              <a:cxnLst/>
              <a:rect l="l" t="t" r="r" b="b"/>
              <a:pathLst>
                <a:path w="7692" h="3796" extrusionOk="0">
                  <a:moveTo>
                    <a:pt x="2284" y="1"/>
                  </a:moveTo>
                  <a:cubicBezTo>
                    <a:pt x="2193" y="1"/>
                    <a:pt x="2103" y="19"/>
                    <a:pt x="2017" y="54"/>
                  </a:cubicBezTo>
                  <a:cubicBezTo>
                    <a:pt x="1961" y="75"/>
                    <a:pt x="1901" y="92"/>
                    <a:pt x="1838" y="103"/>
                  </a:cubicBezTo>
                  <a:cubicBezTo>
                    <a:pt x="1761" y="120"/>
                    <a:pt x="1716" y="197"/>
                    <a:pt x="1646" y="323"/>
                  </a:cubicBezTo>
                  <a:cubicBezTo>
                    <a:pt x="1586" y="428"/>
                    <a:pt x="1516" y="551"/>
                    <a:pt x="1397" y="642"/>
                  </a:cubicBezTo>
                  <a:cubicBezTo>
                    <a:pt x="1362" y="670"/>
                    <a:pt x="1327" y="694"/>
                    <a:pt x="1299" y="715"/>
                  </a:cubicBezTo>
                  <a:cubicBezTo>
                    <a:pt x="1163" y="813"/>
                    <a:pt x="1152" y="820"/>
                    <a:pt x="1163" y="995"/>
                  </a:cubicBezTo>
                  <a:lnTo>
                    <a:pt x="1177" y="1153"/>
                  </a:lnTo>
                  <a:lnTo>
                    <a:pt x="1166" y="1142"/>
                  </a:lnTo>
                  <a:cubicBezTo>
                    <a:pt x="1142" y="1363"/>
                    <a:pt x="977" y="1377"/>
                    <a:pt x="844" y="1387"/>
                  </a:cubicBezTo>
                  <a:lnTo>
                    <a:pt x="823" y="1387"/>
                  </a:lnTo>
                  <a:cubicBezTo>
                    <a:pt x="701" y="1401"/>
                    <a:pt x="613" y="1618"/>
                    <a:pt x="606" y="1772"/>
                  </a:cubicBezTo>
                  <a:cubicBezTo>
                    <a:pt x="606" y="1811"/>
                    <a:pt x="606" y="1849"/>
                    <a:pt x="610" y="1888"/>
                  </a:cubicBezTo>
                  <a:cubicBezTo>
                    <a:pt x="613" y="1930"/>
                    <a:pt x="617" y="1968"/>
                    <a:pt x="613" y="2010"/>
                  </a:cubicBezTo>
                  <a:lnTo>
                    <a:pt x="620" y="2010"/>
                  </a:lnTo>
                  <a:lnTo>
                    <a:pt x="606" y="2070"/>
                  </a:lnTo>
                  <a:lnTo>
                    <a:pt x="589" y="2140"/>
                  </a:lnTo>
                  <a:lnTo>
                    <a:pt x="578" y="2137"/>
                  </a:lnTo>
                  <a:cubicBezTo>
                    <a:pt x="550" y="2186"/>
                    <a:pt x="501" y="2221"/>
                    <a:pt x="448" y="2235"/>
                  </a:cubicBezTo>
                  <a:cubicBezTo>
                    <a:pt x="371" y="2259"/>
                    <a:pt x="287" y="2385"/>
                    <a:pt x="221" y="2483"/>
                  </a:cubicBezTo>
                  <a:cubicBezTo>
                    <a:pt x="147" y="2595"/>
                    <a:pt x="88" y="2679"/>
                    <a:pt x="14" y="2704"/>
                  </a:cubicBezTo>
                  <a:cubicBezTo>
                    <a:pt x="0" y="2760"/>
                    <a:pt x="70" y="2959"/>
                    <a:pt x="119" y="2991"/>
                  </a:cubicBezTo>
                  <a:cubicBezTo>
                    <a:pt x="165" y="3005"/>
                    <a:pt x="200" y="3036"/>
                    <a:pt x="214" y="3082"/>
                  </a:cubicBezTo>
                  <a:lnTo>
                    <a:pt x="217" y="3078"/>
                  </a:lnTo>
                  <a:lnTo>
                    <a:pt x="238" y="3152"/>
                  </a:lnTo>
                  <a:lnTo>
                    <a:pt x="242" y="3166"/>
                  </a:lnTo>
                  <a:lnTo>
                    <a:pt x="256" y="3208"/>
                  </a:lnTo>
                  <a:cubicBezTo>
                    <a:pt x="277" y="3288"/>
                    <a:pt x="305" y="3372"/>
                    <a:pt x="357" y="3414"/>
                  </a:cubicBezTo>
                  <a:cubicBezTo>
                    <a:pt x="417" y="3456"/>
                    <a:pt x="476" y="3495"/>
                    <a:pt x="543" y="3523"/>
                  </a:cubicBezTo>
                  <a:cubicBezTo>
                    <a:pt x="673" y="3593"/>
                    <a:pt x="778" y="3649"/>
                    <a:pt x="806" y="3726"/>
                  </a:cubicBezTo>
                  <a:cubicBezTo>
                    <a:pt x="827" y="3717"/>
                    <a:pt x="855" y="3713"/>
                    <a:pt x="896" y="3713"/>
                  </a:cubicBezTo>
                  <a:cubicBezTo>
                    <a:pt x="949" y="3713"/>
                    <a:pt x="1025" y="3719"/>
                    <a:pt x="1138" y="3729"/>
                  </a:cubicBezTo>
                  <a:cubicBezTo>
                    <a:pt x="1261" y="3741"/>
                    <a:pt x="1423" y="3755"/>
                    <a:pt x="1575" y="3755"/>
                  </a:cubicBezTo>
                  <a:cubicBezTo>
                    <a:pt x="1747" y="3755"/>
                    <a:pt x="1906" y="3737"/>
                    <a:pt x="1978" y="3673"/>
                  </a:cubicBezTo>
                  <a:cubicBezTo>
                    <a:pt x="2225" y="3458"/>
                    <a:pt x="2787" y="3133"/>
                    <a:pt x="3445" y="3133"/>
                  </a:cubicBezTo>
                  <a:cubicBezTo>
                    <a:pt x="3525" y="3133"/>
                    <a:pt x="3605" y="3138"/>
                    <a:pt x="3687" y="3148"/>
                  </a:cubicBezTo>
                  <a:cubicBezTo>
                    <a:pt x="4170" y="3211"/>
                    <a:pt x="4282" y="3281"/>
                    <a:pt x="4359" y="3330"/>
                  </a:cubicBezTo>
                  <a:cubicBezTo>
                    <a:pt x="4394" y="3353"/>
                    <a:pt x="4431" y="3367"/>
                    <a:pt x="4471" y="3367"/>
                  </a:cubicBezTo>
                  <a:cubicBezTo>
                    <a:pt x="4479" y="3367"/>
                    <a:pt x="4487" y="3367"/>
                    <a:pt x="4495" y="3365"/>
                  </a:cubicBezTo>
                  <a:cubicBezTo>
                    <a:pt x="4639" y="3365"/>
                    <a:pt x="4716" y="3439"/>
                    <a:pt x="4779" y="3498"/>
                  </a:cubicBezTo>
                  <a:cubicBezTo>
                    <a:pt x="4837" y="3553"/>
                    <a:pt x="4874" y="3587"/>
                    <a:pt x="4952" y="3587"/>
                  </a:cubicBezTo>
                  <a:cubicBezTo>
                    <a:pt x="4959" y="3587"/>
                    <a:pt x="4967" y="3586"/>
                    <a:pt x="4975" y="3586"/>
                  </a:cubicBezTo>
                  <a:cubicBezTo>
                    <a:pt x="4986" y="3585"/>
                    <a:pt x="4997" y="3585"/>
                    <a:pt x="5008" y="3585"/>
                  </a:cubicBezTo>
                  <a:cubicBezTo>
                    <a:pt x="5127" y="3585"/>
                    <a:pt x="5214" y="3636"/>
                    <a:pt x="5297" y="3687"/>
                  </a:cubicBezTo>
                  <a:cubicBezTo>
                    <a:pt x="5392" y="3740"/>
                    <a:pt x="5479" y="3796"/>
                    <a:pt x="5626" y="3796"/>
                  </a:cubicBezTo>
                  <a:cubicBezTo>
                    <a:pt x="5749" y="3792"/>
                    <a:pt x="5871" y="3782"/>
                    <a:pt x="5990" y="3768"/>
                  </a:cubicBezTo>
                  <a:cubicBezTo>
                    <a:pt x="6122" y="3754"/>
                    <a:pt x="6248" y="3741"/>
                    <a:pt x="6360" y="3741"/>
                  </a:cubicBezTo>
                  <a:cubicBezTo>
                    <a:pt x="6451" y="3741"/>
                    <a:pt x="6534" y="3750"/>
                    <a:pt x="6603" y="3775"/>
                  </a:cubicBezTo>
                  <a:cubicBezTo>
                    <a:pt x="6623" y="3782"/>
                    <a:pt x="6650" y="3785"/>
                    <a:pt x="6683" y="3785"/>
                  </a:cubicBezTo>
                  <a:cubicBezTo>
                    <a:pt x="6894" y="3785"/>
                    <a:pt x="7337" y="3646"/>
                    <a:pt x="7552" y="3449"/>
                  </a:cubicBezTo>
                  <a:cubicBezTo>
                    <a:pt x="7601" y="3411"/>
                    <a:pt x="7636" y="3358"/>
                    <a:pt x="7657" y="3299"/>
                  </a:cubicBezTo>
                  <a:cubicBezTo>
                    <a:pt x="7692" y="3162"/>
                    <a:pt x="7667" y="3141"/>
                    <a:pt x="7618" y="3092"/>
                  </a:cubicBezTo>
                  <a:cubicBezTo>
                    <a:pt x="7566" y="3043"/>
                    <a:pt x="7482" y="2966"/>
                    <a:pt x="7447" y="2763"/>
                  </a:cubicBezTo>
                  <a:cubicBezTo>
                    <a:pt x="7415" y="2595"/>
                    <a:pt x="7265" y="2546"/>
                    <a:pt x="7020" y="2480"/>
                  </a:cubicBezTo>
                  <a:cubicBezTo>
                    <a:pt x="6897" y="2448"/>
                    <a:pt x="6778" y="2410"/>
                    <a:pt x="6666" y="2354"/>
                  </a:cubicBezTo>
                  <a:lnTo>
                    <a:pt x="6634" y="2336"/>
                  </a:lnTo>
                  <a:lnTo>
                    <a:pt x="6536" y="2280"/>
                  </a:lnTo>
                  <a:lnTo>
                    <a:pt x="6543" y="2273"/>
                  </a:lnTo>
                  <a:cubicBezTo>
                    <a:pt x="6519" y="2256"/>
                    <a:pt x="6498" y="2235"/>
                    <a:pt x="6477" y="2210"/>
                  </a:cubicBezTo>
                  <a:cubicBezTo>
                    <a:pt x="6109" y="1814"/>
                    <a:pt x="5766" y="1566"/>
                    <a:pt x="5490" y="1496"/>
                  </a:cubicBezTo>
                  <a:cubicBezTo>
                    <a:pt x="5318" y="1457"/>
                    <a:pt x="5175" y="1349"/>
                    <a:pt x="5094" y="1198"/>
                  </a:cubicBezTo>
                  <a:cubicBezTo>
                    <a:pt x="5087" y="1181"/>
                    <a:pt x="5073" y="1163"/>
                    <a:pt x="5063" y="1146"/>
                  </a:cubicBezTo>
                  <a:cubicBezTo>
                    <a:pt x="5031" y="1142"/>
                    <a:pt x="5003" y="1125"/>
                    <a:pt x="4986" y="1100"/>
                  </a:cubicBezTo>
                  <a:cubicBezTo>
                    <a:pt x="4982" y="1104"/>
                    <a:pt x="4979" y="1107"/>
                    <a:pt x="4979" y="1111"/>
                  </a:cubicBezTo>
                  <a:cubicBezTo>
                    <a:pt x="4943" y="1165"/>
                    <a:pt x="4869" y="1175"/>
                    <a:pt x="4765" y="1175"/>
                  </a:cubicBezTo>
                  <a:cubicBezTo>
                    <a:pt x="4736" y="1175"/>
                    <a:pt x="4704" y="1175"/>
                    <a:pt x="4671" y="1174"/>
                  </a:cubicBezTo>
                  <a:cubicBezTo>
                    <a:pt x="4633" y="1173"/>
                    <a:pt x="4593" y="1172"/>
                    <a:pt x="4553" y="1172"/>
                  </a:cubicBezTo>
                  <a:cubicBezTo>
                    <a:pt x="4432" y="1172"/>
                    <a:pt x="4308" y="1182"/>
                    <a:pt x="4229" y="1237"/>
                  </a:cubicBezTo>
                  <a:cubicBezTo>
                    <a:pt x="4135" y="1296"/>
                    <a:pt x="4033" y="1342"/>
                    <a:pt x="3921" y="1366"/>
                  </a:cubicBezTo>
                  <a:cubicBezTo>
                    <a:pt x="3844" y="1384"/>
                    <a:pt x="3774" y="1415"/>
                    <a:pt x="3708" y="1457"/>
                  </a:cubicBezTo>
                  <a:cubicBezTo>
                    <a:pt x="3582" y="1545"/>
                    <a:pt x="3435" y="1611"/>
                    <a:pt x="3319" y="1611"/>
                  </a:cubicBezTo>
                  <a:cubicBezTo>
                    <a:pt x="3315" y="1612"/>
                    <a:pt x="3311" y="1612"/>
                    <a:pt x="3307" y="1612"/>
                  </a:cubicBezTo>
                  <a:cubicBezTo>
                    <a:pt x="3256" y="1612"/>
                    <a:pt x="3208" y="1591"/>
                    <a:pt x="3172" y="1552"/>
                  </a:cubicBezTo>
                  <a:cubicBezTo>
                    <a:pt x="3127" y="1492"/>
                    <a:pt x="3148" y="1408"/>
                    <a:pt x="3165" y="1328"/>
                  </a:cubicBezTo>
                  <a:cubicBezTo>
                    <a:pt x="3190" y="1237"/>
                    <a:pt x="3200" y="1170"/>
                    <a:pt x="3165" y="1146"/>
                  </a:cubicBezTo>
                  <a:cubicBezTo>
                    <a:pt x="3085" y="1100"/>
                    <a:pt x="3001" y="1069"/>
                    <a:pt x="2913" y="1041"/>
                  </a:cubicBezTo>
                  <a:cubicBezTo>
                    <a:pt x="2710" y="971"/>
                    <a:pt x="2605" y="932"/>
                    <a:pt x="2588" y="852"/>
                  </a:cubicBezTo>
                  <a:cubicBezTo>
                    <a:pt x="2570" y="764"/>
                    <a:pt x="2675" y="726"/>
                    <a:pt x="2903" y="642"/>
                  </a:cubicBezTo>
                  <a:cubicBezTo>
                    <a:pt x="3029" y="596"/>
                    <a:pt x="3281" y="502"/>
                    <a:pt x="3316" y="446"/>
                  </a:cubicBezTo>
                  <a:cubicBezTo>
                    <a:pt x="3287" y="420"/>
                    <a:pt x="3146" y="417"/>
                    <a:pt x="3028" y="417"/>
                  </a:cubicBezTo>
                  <a:cubicBezTo>
                    <a:pt x="3002" y="417"/>
                    <a:pt x="2977" y="418"/>
                    <a:pt x="2955" y="418"/>
                  </a:cubicBezTo>
                  <a:cubicBezTo>
                    <a:pt x="2912" y="418"/>
                    <a:pt x="2868" y="419"/>
                    <a:pt x="2825" y="419"/>
                  </a:cubicBezTo>
                  <a:cubicBezTo>
                    <a:pt x="2681" y="419"/>
                    <a:pt x="2544" y="410"/>
                    <a:pt x="2458" y="362"/>
                  </a:cubicBezTo>
                  <a:cubicBezTo>
                    <a:pt x="2416" y="344"/>
                    <a:pt x="2384" y="306"/>
                    <a:pt x="2370" y="260"/>
                  </a:cubicBezTo>
                  <a:cubicBezTo>
                    <a:pt x="2356" y="187"/>
                    <a:pt x="2402" y="124"/>
                    <a:pt x="2440" y="71"/>
                  </a:cubicBezTo>
                  <a:cubicBezTo>
                    <a:pt x="2451" y="57"/>
                    <a:pt x="2461" y="43"/>
                    <a:pt x="2472" y="25"/>
                  </a:cubicBezTo>
                  <a:cubicBezTo>
                    <a:pt x="2458" y="22"/>
                    <a:pt x="2440" y="18"/>
                    <a:pt x="2423" y="15"/>
                  </a:cubicBezTo>
                  <a:cubicBezTo>
                    <a:pt x="2377" y="6"/>
                    <a:pt x="2330" y="1"/>
                    <a:pt x="22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9" name="Google Shape;3689;p53"/>
            <p:cNvSpPr/>
            <p:nvPr/>
          </p:nvSpPr>
          <p:spPr>
            <a:xfrm>
              <a:off x="2259243" y="2070557"/>
              <a:ext cx="13034" cy="35342"/>
            </a:xfrm>
            <a:custGeom>
              <a:avLst/>
              <a:gdLst/>
              <a:ahLst/>
              <a:cxnLst/>
              <a:rect l="l" t="t" r="r" b="b"/>
              <a:pathLst>
                <a:path w="960" h="2603" extrusionOk="0">
                  <a:moveTo>
                    <a:pt x="32" y="1"/>
                  </a:moveTo>
                  <a:lnTo>
                    <a:pt x="32" y="1"/>
                  </a:lnTo>
                  <a:cubicBezTo>
                    <a:pt x="1" y="291"/>
                    <a:pt x="39" y="1061"/>
                    <a:pt x="165" y="1541"/>
                  </a:cubicBezTo>
                  <a:cubicBezTo>
                    <a:pt x="225" y="1769"/>
                    <a:pt x="277" y="1807"/>
                    <a:pt x="288" y="1814"/>
                  </a:cubicBezTo>
                  <a:cubicBezTo>
                    <a:pt x="417" y="1884"/>
                    <a:pt x="526" y="2073"/>
                    <a:pt x="627" y="2252"/>
                  </a:cubicBezTo>
                  <a:cubicBezTo>
                    <a:pt x="655" y="2301"/>
                    <a:pt x="683" y="2350"/>
                    <a:pt x="711" y="2395"/>
                  </a:cubicBezTo>
                  <a:cubicBezTo>
                    <a:pt x="800" y="2536"/>
                    <a:pt x="862" y="2602"/>
                    <a:pt x="912" y="2602"/>
                  </a:cubicBezTo>
                  <a:cubicBezTo>
                    <a:pt x="919" y="2602"/>
                    <a:pt x="925" y="2601"/>
                    <a:pt x="932" y="2598"/>
                  </a:cubicBezTo>
                  <a:cubicBezTo>
                    <a:pt x="949" y="2591"/>
                    <a:pt x="953" y="2584"/>
                    <a:pt x="953" y="2584"/>
                  </a:cubicBezTo>
                  <a:cubicBezTo>
                    <a:pt x="960" y="2560"/>
                    <a:pt x="900" y="2476"/>
                    <a:pt x="872" y="2430"/>
                  </a:cubicBezTo>
                  <a:cubicBezTo>
                    <a:pt x="827" y="2374"/>
                    <a:pt x="792" y="2311"/>
                    <a:pt x="764" y="2245"/>
                  </a:cubicBezTo>
                  <a:cubicBezTo>
                    <a:pt x="746" y="2185"/>
                    <a:pt x="732" y="2126"/>
                    <a:pt x="725" y="2066"/>
                  </a:cubicBezTo>
                  <a:cubicBezTo>
                    <a:pt x="704" y="1905"/>
                    <a:pt x="676" y="1723"/>
                    <a:pt x="491" y="1555"/>
                  </a:cubicBezTo>
                  <a:cubicBezTo>
                    <a:pt x="344" y="1419"/>
                    <a:pt x="249" y="1033"/>
                    <a:pt x="155" y="571"/>
                  </a:cubicBezTo>
                  <a:lnTo>
                    <a:pt x="137" y="477"/>
                  </a:lnTo>
                  <a:lnTo>
                    <a:pt x="127" y="431"/>
                  </a:lnTo>
                  <a:cubicBezTo>
                    <a:pt x="95" y="263"/>
                    <a:pt x="64" y="106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0" name="Google Shape;3690;p53"/>
            <p:cNvSpPr/>
            <p:nvPr/>
          </p:nvSpPr>
          <p:spPr>
            <a:xfrm>
              <a:off x="1664562" y="2045086"/>
              <a:ext cx="3435" cy="4711"/>
            </a:xfrm>
            <a:custGeom>
              <a:avLst/>
              <a:gdLst/>
              <a:ahLst/>
              <a:cxnLst/>
              <a:rect l="l" t="t" r="r" b="b"/>
              <a:pathLst>
                <a:path w="253" h="347" extrusionOk="0">
                  <a:moveTo>
                    <a:pt x="253" y="0"/>
                  </a:moveTo>
                  <a:lnTo>
                    <a:pt x="253" y="0"/>
                  </a:lnTo>
                  <a:cubicBezTo>
                    <a:pt x="239" y="4"/>
                    <a:pt x="221" y="4"/>
                    <a:pt x="207" y="4"/>
                  </a:cubicBezTo>
                  <a:lnTo>
                    <a:pt x="200" y="4"/>
                  </a:lnTo>
                  <a:cubicBezTo>
                    <a:pt x="130" y="4"/>
                    <a:pt x="50" y="77"/>
                    <a:pt x="25" y="161"/>
                  </a:cubicBezTo>
                  <a:cubicBezTo>
                    <a:pt x="0" y="228"/>
                    <a:pt x="32" y="301"/>
                    <a:pt x="99" y="329"/>
                  </a:cubicBezTo>
                  <a:cubicBezTo>
                    <a:pt x="109" y="336"/>
                    <a:pt x="120" y="343"/>
                    <a:pt x="134" y="347"/>
                  </a:cubicBezTo>
                  <a:cubicBezTo>
                    <a:pt x="144" y="319"/>
                    <a:pt x="148" y="291"/>
                    <a:pt x="155" y="263"/>
                  </a:cubicBezTo>
                  <a:cubicBezTo>
                    <a:pt x="165" y="168"/>
                    <a:pt x="197" y="77"/>
                    <a:pt x="2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1" name="Google Shape;3691;p53"/>
            <p:cNvSpPr/>
            <p:nvPr/>
          </p:nvSpPr>
          <p:spPr>
            <a:xfrm>
              <a:off x="1423480" y="1702037"/>
              <a:ext cx="30142" cy="11880"/>
            </a:xfrm>
            <a:custGeom>
              <a:avLst/>
              <a:gdLst/>
              <a:ahLst/>
              <a:cxnLst/>
              <a:rect l="l" t="t" r="r" b="b"/>
              <a:pathLst>
                <a:path w="2220" h="875" extrusionOk="0">
                  <a:moveTo>
                    <a:pt x="2216" y="1"/>
                  </a:moveTo>
                  <a:cubicBezTo>
                    <a:pt x="2178" y="25"/>
                    <a:pt x="2139" y="50"/>
                    <a:pt x="2104" y="78"/>
                  </a:cubicBezTo>
                  <a:cubicBezTo>
                    <a:pt x="2069" y="102"/>
                    <a:pt x="2031" y="134"/>
                    <a:pt x="1982" y="165"/>
                  </a:cubicBezTo>
                  <a:cubicBezTo>
                    <a:pt x="1901" y="222"/>
                    <a:pt x="1831" y="242"/>
                    <a:pt x="1767" y="242"/>
                  </a:cubicBezTo>
                  <a:cubicBezTo>
                    <a:pt x="1692" y="242"/>
                    <a:pt x="1624" y="214"/>
                    <a:pt x="1555" y="186"/>
                  </a:cubicBezTo>
                  <a:cubicBezTo>
                    <a:pt x="1453" y="141"/>
                    <a:pt x="1348" y="113"/>
                    <a:pt x="1236" y="106"/>
                  </a:cubicBezTo>
                  <a:cubicBezTo>
                    <a:pt x="1231" y="105"/>
                    <a:pt x="1225" y="105"/>
                    <a:pt x="1220" y="105"/>
                  </a:cubicBezTo>
                  <a:cubicBezTo>
                    <a:pt x="1054" y="105"/>
                    <a:pt x="849" y="257"/>
                    <a:pt x="686" y="379"/>
                  </a:cubicBezTo>
                  <a:lnTo>
                    <a:pt x="665" y="396"/>
                  </a:lnTo>
                  <a:lnTo>
                    <a:pt x="602" y="442"/>
                  </a:lnTo>
                  <a:lnTo>
                    <a:pt x="560" y="473"/>
                  </a:lnTo>
                  <a:cubicBezTo>
                    <a:pt x="490" y="518"/>
                    <a:pt x="438" y="545"/>
                    <a:pt x="392" y="545"/>
                  </a:cubicBezTo>
                  <a:cubicBezTo>
                    <a:pt x="380" y="545"/>
                    <a:pt x="369" y="543"/>
                    <a:pt x="357" y="540"/>
                  </a:cubicBezTo>
                  <a:cubicBezTo>
                    <a:pt x="326" y="533"/>
                    <a:pt x="298" y="508"/>
                    <a:pt x="287" y="477"/>
                  </a:cubicBezTo>
                  <a:cubicBezTo>
                    <a:pt x="256" y="414"/>
                    <a:pt x="192" y="377"/>
                    <a:pt x="123" y="377"/>
                  </a:cubicBezTo>
                  <a:cubicBezTo>
                    <a:pt x="115" y="377"/>
                    <a:pt x="107" y="378"/>
                    <a:pt x="98" y="379"/>
                  </a:cubicBezTo>
                  <a:cubicBezTo>
                    <a:pt x="11" y="396"/>
                    <a:pt x="0" y="508"/>
                    <a:pt x="0" y="571"/>
                  </a:cubicBezTo>
                  <a:cubicBezTo>
                    <a:pt x="0" y="659"/>
                    <a:pt x="46" y="732"/>
                    <a:pt x="137" y="788"/>
                  </a:cubicBezTo>
                  <a:cubicBezTo>
                    <a:pt x="235" y="846"/>
                    <a:pt x="365" y="874"/>
                    <a:pt x="503" y="874"/>
                  </a:cubicBezTo>
                  <a:cubicBezTo>
                    <a:pt x="668" y="874"/>
                    <a:pt x="845" y="835"/>
                    <a:pt x="994" y="757"/>
                  </a:cubicBezTo>
                  <a:lnTo>
                    <a:pt x="1184" y="659"/>
                  </a:lnTo>
                  <a:cubicBezTo>
                    <a:pt x="1544" y="470"/>
                    <a:pt x="2150" y="158"/>
                    <a:pt x="2220" y="15"/>
                  </a:cubicBezTo>
                  <a:cubicBezTo>
                    <a:pt x="2220" y="11"/>
                    <a:pt x="2220" y="11"/>
                    <a:pt x="2220" y="8"/>
                  </a:cubicBezTo>
                  <a:lnTo>
                    <a:pt x="221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2" name="Google Shape;3692;p53"/>
            <p:cNvSpPr/>
            <p:nvPr/>
          </p:nvSpPr>
          <p:spPr>
            <a:xfrm>
              <a:off x="1110233" y="1631597"/>
              <a:ext cx="22498" cy="29097"/>
            </a:xfrm>
            <a:custGeom>
              <a:avLst/>
              <a:gdLst/>
              <a:ahLst/>
              <a:cxnLst/>
              <a:rect l="l" t="t" r="r" b="b"/>
              <a:pathLst>
                <a:path w="1657" h="2143" extrusionOk="0">
                  <a:moveTo>
                    <a:pt x="207" y="0"/>
                  </a:moveTo>
                  <a:lnTo>
                    <a:pt x="204" y="4"/>
                  </a:lnTo>
                  <a:cubicBezTo>
                    <a:pt x="158" y="34"/>
                    <a:pt x="104" y="51"/>
                    <a:pt x="50" y="51"/>
                  </a:cubicBezTo>
                  <a:cubicBezTo>
                    <a:pt x="33" y="51"/>
                    <a:pt x="17" y="49"/>
                    <a:pt x="1" y="46"/>
                  </a:cubicBezTo>
                  <a:lnTo>
                    <a:pt x="1" y="46"/>
                  </a:lnTo>
                  <a:cubicBezTo>
                    <a:pt x="165" y="221"/>
                    <a:pt x="302" y="417"/>
                    <a:pt x="407" y="631"/>
                  </a:cubicBezTo>
                  <a:cubicBezTo>
                    <a:pt x="428" y="680"/>
                    <a:pt x="543" y="708"/>
                    <a:pt x="648" y="732"/>
                  </a:cubicBezTo>
                  <a:cubicBezTo>
                    <a:pt x="785" y="767"/>
                    <a:pt x="935" y="802"/>
                    <a:pt x="1026" y="900"/>
                  </a:cubicBezTo>
                  <a:cubicBezTo>
                    <a:pt x="1086" y="967"/>
                    <a:pt x="1170" y="981"/>
                    <a:pt x="1236" y="991"/>
                  </a:cubicBezTo>
                  <a:cubicBezTo>
                    <a:pt x="1306" y="1005"/>
                    <a:pt x="1362" y="1016"/>
                    <a:pt x="1387" y="1068"/>
                  </a:cubicBezTo>
                  <a:cubicBezTo>
                    <a:pt x="1405" y="1110"/>
                    <a:pt x="1398" y="1156"/>
                    <a:pt x="1373" y="1194"/>
                  </a:cubicBezTo>
                  <a:cubicBezTo>
                    <a:pt x="1345" y="1257"/>
                    <a:pt x="1327" y="1324"/>
                    <a:pt x="1324" y="1394"/>
                  </a:cubicBezTo>
                  <a:cubicBezTo>
                    <a:pt x="1320" y="1436"/>
                    <a:pt x="1327" y="1478"/>
                    <a:pt x="1352" y="1516"/>
                  </a:cubicBezTo>
                  <a:cubicBezTo>
                    <a:pt x="1355" y="1520"/>
                    <a:pt x="1359" y="1523"/>
                    <a:pt x="1366" y="1523"/>
                  </a:cubicBezTo>
                  <a:cubicBezTo>
                    <a:pt x="1457" y="1523"/>
                    <a:pt x="1534" y="1597"/>
                    <a:pt x="1566" y="1712"/>
                  </a:cubicBezTo>
                  <a:cubicBezTo>
                    <a:pt x="1594" y="1824"/>
                    <a:pt x="1559" y="1936"/>
                    <a:pt x="1471" y="1985"/>
                  </a:cubicBezTo>
                  <a:cubicBezTo>
                    <a:pt x="1433" y="2003"/>
                    <a:pt x="1412" y="2045"/>
                    <a:pt x="1422" y="2087"/>
                  </a:cubicBezTo>
                  <a:cubicBezTo>
                    <a:pt x="1429" y="2122"/>
                    <a:pt x="1461" y="2143"/>
                    <a:pt x="1510" y="2143"/>
                  </a:cubicBezTo>
                  <a:cubicBezTo>
                    <a:pt x="1534" y="2139"/>
                    <a:pt x="1562" y="2125"/>
                    <a:pt x="1576" y="2104"/>
                  </a:cubicBezTo>
                  <a:cubicBezTo>
                    <a:pt x="1639" y="2020"/>
                    <a:pt x="1657" y="1824"/>
                    <a:pt x="1615" y="1667"/>
                  </a:cubicBezTo>
                  <a:cubicBezTo>
                    <a:pt x="1594" y="1579"/>
                    <a:pt x="1590" y="1492"/>
                    <a:pt x="1604" y="1404"/>
                  </a:cubicBezTo>
                  <a:cubicBezTo>
                    <a:pt x="1615" y="1296"/>
                    <a:pt x="1622" y="1222"/>
                    <a:pt x="1534" y="1124"/>
                  </a:cubicBezTo>
                  <a:cubicBezTo>
                    <a:pt x="1520" y="1110"/>
                    <a:pt x="1506" y="1093"/>
                    <a:pt x="1492" y="1075"/>
                  </a:cubicBezTo>
                  <a:lnTo>
                    <a:pt x="1475" y="1047"/>
                  </a:lnTo>
                  <a:lnTo>
                    <a:pt x="1408" y="946"/>
                  </a:lnTo>
                  <a:lnTo>
                    <a:pt x="1419" y="946"/>
                  </a:lnTo>
                  <a:cubicBezTo>
                    <a:pt x="1398" y="904"/>
                    <a:pt x="1376" y="862"/>
                    <a:pt x="1359" y="820"/>
                  </a:cubicBezTo>
                  <a:cubicBezTo>
                    <a:pt x="1279" y="644"/>
                    <a:pt x="1228" y="552"/>
                    <a:pt x="1162" y="552"/>
                  </a:cubicBezTo>
                  <a:cubicBezTo>
                    <a:pt x="1154" y="552"/>
                    <a:pt x="1144" y="554"/>
                    <a:pt x="1135" y="557"/>
                  </a:cubicBezTo>
                  <a:cubicBezTo>
                    <a:pt x="1119" y="563"/>
                    <a:pt x="1103" y="566"/>
                    <a:pt x="1088" y="566"/>
                  </a:cubicBezTo>
                  <a:cubicBezTo>
                    <a:pt x="1024" y="566"/>
                    <a:pt x="970" y="520"/>
                    <a:pt x="925" y="480"/>
                  </a:cubicBezTo>
                  <a:cubicBezTo>
                    <a:pt x="881" y="440"/>
                    <a:pt x="841" y="403"/>
                    <a:pt x="795" y="403"/>
                  </a:cubicBezTo>
                  <a:cubicBezTo>
                    <a:pt x="793" y="403"/>
                    <a:pt x="790" y="403"/>
                    <a:pt x="788" y="403"/>
                  </a:cubicBezTo>
                  <a:cubicBezTo>
                    <a:pt x="757" y="406"/>
                    <a:pt x="722" y="413"/>
                    <a:pt x="683" y="420"/>
                  </a:cubicBezTo>
                  <a:cubicBezTo>
                    <a:pt x="626" y="432"/>
                    <a:pt x="564" y="444"/>
                    <a:pt x="507" y="444"/>
                  </a:cubicBezTo>
                  <a:cubicBezTo>
                    <a:pt x="456" y="444"/>
                    <a:pt x="409" y="434"/>
                    <a:pt x="372" y="406"/>
                  </a:cubicBezTo>
                  <a:cubicBezTo>
                    <a:pt x="333" y="378"/>
                    <a:pt x="309" y="336"/>
                    <a:pt x="305" y="287"/>
                  </a:cubicBezTo>
                  <a:cubicBezTo>
                    <a:pt x="284" y="126"/>
                    <a:pt x="235" y="18"/>
                    <a:pt x="2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3" name="Google Shape;3693;p53"/>
            <p:cNvSpPr/>
            <p:nvPr/>
          </p:nvSpPr>
          <p:spPr>
            <a:xfrm>
              <a:off x="1475522" y="1731935"/>
              <a:ext cx="1059" cy="1914"/>
            </a:xfrm>
            <a:custGeom>
              <a:avLst/>
              <a:gdLst/>
              <a:ahLst/>
              <a:cxnLst/>
              <a:rect l="l" t="t" r="r" b="b"/>
              <a:pathLst>
                <a:path w="78" h="141" extrusionOk="0">
                  <a:moveTo>
                    <a:pt x="78" y="1"/>
                  </a:moveTo>
                  <a:cubicBezTo>
                    <a:pt x="50" y="11"/>
                    <a:pt x="29" y="32"/>
                    <a:pt x="15" y="60"/>
                  </a:cubicBezTo>
                  <a:cubicBezTo>
                    <a:pt x="8" y="85"/>
                    <a:pt x="1" y="113"/>
                    <a:pt x="1" y="141"/>
                  </a:cubicBezTo>
                  <a:cubicBezTo>
                    <a:pt x="25" y="92"/>
                    <a:pt x="50" y="46"/>
                    <a:pt x="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4" name="Google Shape;3694;p53"/>
            <p:cNvSpPr/>
            <p:nvPr/>
          </p:nvSpPr>
          <p:spPr>
            <a:xfrm>
              <a:off x="1389726" y="1671094"/>
              <a:ext cx="58858" cy="39483"/>
            </a:xfrm>
            <a:custGeom>
              <a:avLst/>
              <a:gdLst/>
              <a:ahLst/>
              <a:cxnLst/>
              <a:rect l="l" t="t" r="r" b="b"/>
              <a:pathLst>
                <a:path w="4335" h="2908" extrusionOk="0">
                  <a:moveTo>
                    <a:pt x="2336" y="0"/>
                  </a:moveTo>
                  <a:cubicBezTo>
                    <a:pt x="2281" y="0"/>
                    <a:pt x="2237" y="5"/>
                    <a:pt x="2206" y="15"/>
                  </a:cubicBezTo>
                  <a:cubicBezTo>
                    <a:pt x="2203" y="18"/>
                    <a:pt x="2196" y="18"/>
                    <a:pt x="2189" y="22"/>
                  </a:cubicBezTo>
                  <a:cubicBezTo>
                    <a:pt x="2182" y="162"/>
                    <a:pt x="1979" y="179"/>
                    <a:pt x="1639" y="211"/>
                  </a:cubicBezTo>
                  <a:cubicBezTo>
                    <a:pt x="1425" y="225"/>
                    <a:pt x="1212" y="253"/>
                    <a:pt x="998" y="298"/>
                  </a:cubicBezTo>
                  <a:cubicBezTo>
                    <a:pt x="606" y="389"/>
                    <a:pt x="225" y="750"/>
                    <a:pt x="172" y="869"/>
                  </a:cubicBezTo>
                  <a:cubicBezTo>
                    <a:pt x="221" y="869"/>
                    <a:pt x="263" y="893"/>
                    <a:pt x="291" y="932"/>
                  </a:cubicBezTo>
                  <a:cubicBezTo>
                    <a:pt x="361" y="1026"/>
                    <a:pt x="305" y="1201"/>
                    <a:pt x="228" y="1446"/>
                  </a:cubicBezTo>
                  <a:cubicBezTo>
                    <a:pt x="179" y="1593"/>
                    <a:pt x="137" y="1744"/>
                    <a:pt x="102" y="1895"/>
                  </a:cubicBezTo>
                  <a:cubicBezTo>
                    <a:pt x="1" y="2416"/>
                    <a:pt x="85" y="2784"/>
                    <a:pt x="221" y="2882"/>
                  </a:cubicBezTo>
                  <a:cubicBezTo>
                    <a:pt x="245" y="2899"/>
                    <a:pt x="271" y="2908"/>
                    <a:pt x="300" y="2908"/>
                  </a:cubicBezTo>
                  <a:cubicBezTo>
                    <a:pt x="336" y="2908"/>
                    <a:pt x="375" y="2895"/>
                    <a:pt x="417" y="2868"/>
                  </a:cubicBezTo>
                  <a:cubicBezTo>
                    <a:pt x="778" y="2651"/>
                    <a:pt x="862" y="2483"/>
                    <a:pt x="774" y="2140"/>
                  </a:cubicBezTo>
                  <a:cubicBezTo>
                    <a:pt x="673" y="1727"/>
                    <a:pt x="806" y="1173"/>
                    <a:pt x="925" y="932"/>
                  </a:cubicBezTo>
                  <a:cubicBezTo>
                    <a:pt x="995" y="792"/>
                    <a:pt x="1117" y="757"/>
                    <a:pt x="1226" y="725"/>
                  </a:cubicBezTo>
                  <a:cubicBezTo>
                    <a:pt x="1345" y="690"/>
                    <a:pt x="1439" y="666"/>
                    <a:pt x="1481" y="529"/>
                  </a:cubicBezTo>
                  <a:cubicBezTo>
                    <a:pt x="1523" y="382"/>
                    <a:pt x="1653" y="277"/>
                    <a:pt x="1804" y="260"/>
                  </a:cubicBezTo>
                  <a:cubicBezTo>
                    <a:pt x="1826" y="257"/>
                    <a:pt x="1848" y="255"/>
                    <a:pt x="1871" y="255"/>
                  </a:cubicBezTo>
                  <a:cubicBezTo>
                    <a:pt x="2085" y="255"/>
                    <a:pt x="2305" y="388"/>
                    <a:pt x="2448" y="610"/>
                  </a:cubicBezTo>
                  <a:cubicBezTo>
                    <a:pt x="2644" y="918"/>
                    <a:pt x="2500" y="1149"/>
                    <a:pt x="2374" y="1359"/>
                  </a:cubicBezTo>
                  <a:cubicBezTo>
                    <a:pt x="2311" y="1460"/>
                    <a:pt x="2255" y="1555"/>
                    <a:pt x="2238" y="1649"/>
                  </a:cubicBezTo>
                  <a:lnTo>
                    <a:pt x="2238" y="1660"/>
                  </a:lnTo>
                  <a:cubicBezTo>
                    <a:pt x="2259" y="1649"/>
                    <a:pt x="2283" y="1632"/>
                    <a:pt x="2301" y="1621"/>
                  </a:cubicBezTo>
                  <a:cubicBezTo>
                    <a:pt x="2397" y="1556"/>
                    <a:pt x="2535" y="1465"/>
                    <a:pt x="2678" y="1465"/>
                  </a:cubicBezTo>
                  <a:cubicBezTo>
                    <a:pt x="2711" y="1465"/>
                    <a:pt x="2744" y="1470"/>
                    <a:pt x="2777" y="1481"/>
                  </a:cubicBezTo>
                  <a:cubicBezTo>
                    <a:pt x="2990" y="1551"/>
                    <a:pt x="2983" y="1804"/>
                    <a:pt x="2976" y="1986"/>
                  </a:cubicBezTo>
                  <a:cubicBezTo>
                    <a:pt x="2976" y="2052"/>
                    <a:pt x="2973" y="2161"/>
                    <a:pt x="2990" y="2182"/>
                  </a:cubicBezTo>
                  <a:cubicBezTo>
                    <a:pt x="3067" y="2168"/>
                    <a:pt x="3298" y="1758"/>
                    <a:pt x="3298" y="1397"/>
                  </a:cubicBezTo>
                  <a:cubicBezTo>
                    <a:pt x="3298" y="1173"/>
                    <a:pt x="3368" y="1103"/>
                    <a:pt x="3421" y="1051"/>
                  </a:cubicBezTo>
                  <a:cubicBezTo>
                    <a:pt x="3459" y="1016"/>
                    <a:pt x="3473" y="998"/>
                    <a:pt x="3463" y="918"/>
                  </a:cubicBezTo>
                  <a:cubicBezTo>
                    <a:pt x="3452" y="872"/>
                    <a:pt x="3470" y="820"/>
                    <a:pt x="3512" y="792"/>
                  </a:cubicBezTo>
                  <a:cubicBezTo>
                    <a:pt x="3530" y="780"/>
                    <a:pt x="3549" y="774"/>
                    <a:pt x="3570" y="774"/>
                  </a:cubicBezTo>
                  <a:cubicBezTo>
                    <a:pt x="3629" y="774"/>
                    <a:pt x="3702" y="815"/>
                    <a:pt x="3803" y="869"/>
                  </a:cubicBezTo>
                  <a:cubicBezTo>
                    <a:pt x="3928" y="938"/>
                    <a:pt x="4078" y="1017"/>
                    <a:pt x="4206" y="1017"/>
                  </a:cubicBezTo>
                  <a:cubicBezTo>
                    <a:pt x="4214" y="1017"/>
                    <a:pt x="4222" y="1016"/>
                    <a:pt x="4230" y="1016"/>
                  </a:cubicBezTo>
                  <a:cubicBezTo>
                    <a:pt x="4307" y="1012"/>
                    <a:pt x="4321" y="991"/>
                    <a:pt x="4321" y="991"/>
                  </a:cubicBezTo>
                  <a:cubicBezTo>
                    <a:pt x="4335" y="960"/>
                    <a:pt x="4251" y="827"/>
                    <a:pt x="4191" y="736"/>
                  </a:cubicBezTo>
                  <a:cubicBezTo>
                    <a:pt x="4111" y="617"/>
                    <a:pt x="4037" y="491"/>
                    <a:pt x="3978" y="354"/>
                  </a:cubicBezTo>
                  <a:cubicBezTo>
                    <a:pt x="3907" y="188"/>
                    <a:pt x="3780" y="153"/>
                    <a:pt x="3590" y="153"/>
                  </a:cubicBezTo>
                  <a:cubicBezTo>
                    <a:pt x="3543" y="153"/>
                    <a:pt x="3493" y="155"/>
                    <a:pt x="3438" y="158"/>
                  </a:cubicBezTo>
                  <a:cubicBezTo>
                    <a:pt x="3379" y="161"/>
                    <a:pt x="3319" y="164"/>
                    <a:pt x="3261" y="164"/>
                  </a:cubicBezTo>
                  <a:cubicBezTo>
                    <a:pt x="3170" y="164"/>
                    <a:pt x="3082" y="156"/>
                    <a:pt x="3001" y="127"/>
                  </a:cubicBezTo>
                  <a:cubicBezTo>
                    <a:pt x="2787" y="49"/>
                    <a:pt x="2511" y="0"/>
                    <a:pt x="23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5" name="Google Shape;3695;p53"/>
            <p:cNvSpPr/>
            <p:nvPr/>
          </p:nvSpPr>
          <p:spPr>
            <a:xfrm>
              <a:off x="1309917" y="1312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6" name="Google Shape;3696;p53"/>
            <p:cNvSpPr/>
            <p:nvPr/>
          </p:nvSpPr>
          <p:spPr>
            <a:xfrm>
              <a:off x="1507986" y="1447255"/>
              <a:ext cx="18601" cy="10482"/>
            </a:xfrm>
            <a:custGeom>
              <a:avLst/>
              <a:gdLst/>
              <a:ahLst/>
              <a:cxnLst/>
              <a:rect l="l" t="t" r="r" b="b"/>
              <a:pathLst>
                <a:path w="1370" h="772" extrusionOk="0">
                  <a:moveTo>
                    <a:pt x="716" y="0"/>
                  </a:moveTo>
                  <a:cubicBezTo>
                    <a:pt x="671" y="0"/>
                    <a:pt x="625" y="11"/>
                    <a:pt x="578" y="36"/>
                  </a:cubicBezTo>
                  <a:cubicBezTo>
                    <a:pt x="396" y="127"/>
                    <a:pt x="200" y="183"/>
                    <a:pt x="1" y="197"/>
                  </a:cubicBezTo>
                  <a:cubicBezTo>
                    <a:pt x="214" y="260"/>
                    <a:pt x="410" y="376"/>
                    <a:pt x="568" y="537"/>
                  </a:cubicBezTo>
                  <a:cubicBezTo>
                    <a:pt x="645" y="624"/>
                    <a:pt x="680" y="701"/>
                    <a:pt x="669" y="771"/>
                  </a:cubicBezTo>
                  <a:cubicBezTo>
                    <a:pt x="809" y="771"/>
                    <a:pt x="1268" y="621"/>
                    <a:pt x="1359" y="477"/>
                  </a:cubicBezTo>
                  <a:cubicBezTo>
                    <a:pt x="1370" y="460"/>
                    <a:pt x="1366" y="453"/>
                    <a:pt x="1352" y="439"/>
                  </a:cubicBezTo>
                  <a:cubicBezTo>
                    <a:pt x="1317" y="407"/>
                    <a:pt x="1279" y="372"/>
                    <a:pt x="1237" y="334"/>
                  </a:cubicBezTo>
                  <a:cubicBezTo>
                    <a:pt x="1069" y="169"/>
                    <a:pt x="895" y="0"/>
                    <a:pt x="7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7" name="Google Shape;3697;p53"/>
            <p:cNvSpPr/>
            <p:nvPr/>
          </p:nvSpPr>
          <p:spPr>
            <a:xfrm>
              <a:off x="1328559" y="1417113"/>
              <a:ext cx="4236" cy="937"/>
            </a:xfrm>
            <a:custGeom>
              <a:avLst/>
              <a:gdLst/>
              <a:ahLst/>
              <a:cxnLst/>
              <a:rect l="l" t="t" r="r" b="b"/>
              <a:pathLst>
                <a:path w="312" h="69" extrusionOk="0">
                  <a:moveTo>
                    <a:pt x="52" y="0"/>
                  </a:moveTo>
                  <a:cubicBezTo>
                    <a:pt x="35" y="0"/>
                    <a:pt x="19" y="4"/>
                    <a:pt x="4" y="12"/>
                  </a:cubicBezTo>
                  <a:cubicBezTo>
                    <a:pt x="4" y="16"/>
                    <a:pt x="0" y="23"/>
                    <a:pt x="4" y="30"/>
                  </a:cubicBezTo>
                  <a:cubicBezTo>
                    <a:pt x="4" y="51"/>
                    <a:pt x="7" y="54"/>
                    <a:pt x="11" y="58"/>
                  </a:cubicBezTo>
                  <a:cubicBezTo>
                    <a:pt x="15" y="61"/>
                    <a:pt x="31" y="68"/>
                    <a:pt x="68" y="68"/>
                  </a:cubicBezTo>
                  <a:cubicBezTo>
                    <a:pt x="113" y="68"/>
                    <a:pt x="188" y="58"/>
                    <a:pt x="312" y="16"/>
                  </a:cubicBezTo>
                  <a:cubicBezTo>
                    <a:pt x="270" y="16"/>
                    <a:pt x="224" y="12"/>
                    <a:pt x="182" y="9"/>
                  </a:cubicBezTo>
                  <a:cubicBezTo>
                    <a:pt x="147" y="5"/>
                    <a:pt x="105" y="2"/>
                    <a:pt x="70" y="2"/>
                  </a:cubicBezTo>
                  <a:cubicBezTo>
                    <a:pt x="64" y="1"/>
                    <a:pt x="58" y="0"/>
                    <a:pt x="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8" name="Google Shape;3698;p53"/>
            <p:cNvSpPr/>
            <p:nvPr/>
          </p:nvSpPr>
          <p:spPr>
            <a:xfrm>
              <a:off x="1359407" y="1645812"/>
              <a:ext cx="55247" cy="22335"/>
            </a:xfrm>
            <a:custGeom>
              <a:avLst/>
              <a:gdLst/>
              <a:ahLst/>
              <a:cxnLst/>
              <a:rect l="l" t="t" r="r" b="b"/>
              <a:pathLst>
                <a:path w="4069" h="1645" extrusionOk="0">
                  <a:moveTo>
                    <a:pt x="2059" y="0"/>
                  </a:moveTo>
                  <a:cubicBezTo>
                    <a:pt x="1943" y="0"/>
                    <a:pt x="1814" y="165"/>
                    <a:pt x="1684" y="326"/>
                  </a:cubicBezTo>
                  <a:cubicBezTo>
                    <a:pt x="1617" y="413"/>
                    <a:pt x="1544" y="497"/>
                    <a:pt x="1467" y="578"/>
                  </a:cubicBezTo>
                  <a:lnTo>
                    <a:pt x="1474" y="578"/>
                  </a:lnTo>
                  <a:lnTo>
                    <a:pt x="1386" y="651"/>
                  </a:lnTo>
                  <a:lnTo>
                    <a:pt x="1355" y="676"/>
                  </a:lnTo>
                  <a:cubicBezTo>
                    <a:pt x="1274" y="740"/>
                    <a:pt x="1175" y="778"/>
                    <a:pt x="1071" y="778"/>
                  </a:cubicBezTo>
                  <a:cubicBezTo>
                    <a:pt x="1066" y="778"/>
                    <a:pt x="1062" y="777"/>
                    <a:pt x="1057" y="777"/>
                  </a:cubicBezTo>
                  <a:cubicBezTo>
                    <a:pt x="1048" y="777"/>
                    <a:pt x="1039" y="776"/>
                    <a:pt x="1029" y="776"/>
                  </a:cubicBezTo>
                  <a:cubicBezTo>
                    <a:pt x="700" y="776"/>
                    <a:pt x="106" y="1116"/>
                    <a:pt x="18" y="1316"/>
                  </a:cubicBezTo>
                  <a:cubicBezTo>
                    <a:pt x="0" y="1351"/>
                    <a:pt x="11" y="1362"/>
                    <a:pt x="18" y="1369"/>
                  </a:cubicBezTo>
                  <a:cubicBezTo>
                    <a:pt x="52" y="1404"/>
                    <a:pt x="88" y="1416"/>
                    <a:pt x="132" y="1416"/>
                  </a:cubicBezTo>
                  <a:cubicBezTo>
                    <a:pt x="168" y="1416"/>
                    <a:pt x="209" y="1408"/>
                    <a:pt x="259" y="1397"/>
                  </a:cubicBezTo>
                  <a:cubicBezTo>
                    <a:pt x="314" y="1385"/>
                    <a:pt x="374" y="1373"/>
                    <a:pt x="437" y="1373"/>
                  </a:cubicBezTo>
                  <a:cubicBezTo>
                    <a:pt x="525" y="1373"/>
                    <a:pt x="620" y="1398"/>
                    <a:pt x="718" y="1488"/>
                  </a:cubicBezTo>
                  <a:cubicBezTo>
                    <a:pt x="752" y="1519"/>
                    <a:pt x="795" y="1533"/>
                    <a:pt x="845" y="1533"/>
                  </a:cubicBezTo>
                  <a:cubicBezTo>
                    <a:pt x="1035" y="1533"/>
                    <a:pt x="1320" y="1336"/>
                    <a:pt x="1558" y="1173"/>
                  </a:cubicBezTo>
                  <a:cubicBezTo>
                    <a:pt x="1673" y="1096"/>
                    <a:pt x="1779" y="1022"/>
                    <a:pt x="1877" y="970"/>
                  </a:cubicBezTo>
                  <a:cubicBezTo>
                    <a:pt x="1946" y="932"/>
                    <a:pt x="2002" y="907"/>
                    <a:pt x="2048" y="907"/>
                  </a:cubicBezTo>
                  <a:cubicBezTo>
                    <a:pt x="2070" y="907"/>
                    <a:pt x="2090" y="912"/>
                    <a:pt x="2108" y="924"/>
                  </a:cubicBezTo>
                  <a:cubicBezTo>
                    <a:pt x="2160" y="966"/>
                    <a:pt x="2136" y="1043"/>
                    <a:pt x="2111" y="1120"/>
                  </a:cubicBezTo>
                  <a:cubicBezTo>
                    <a:pt x="2094" y="1162"/>
                    <a:pt x="2083" y="1204"/>
                    <a:pt x="2083" y="1250"/>
                  </a:cubicBezTo>
                  <a:lnTo>
                    <a:pt x="2104" y="1250"/>
                  </a:lnTo>
                  <a:cubicBezTo>
                    <a:pt x="2286" y="1250"/>
                    <a:pt x="2328" y="1337"/>
                    <a:pt x="2367" y="1411"/>
                  </a:cubicBezTo>
                  <a:cubicBezTo>
                    <a:pt x="2402" y="1495"/>
                    <a:pt x="2465" y="1558"/>
                    <a:pt x="2549" y="1597"/>
                  </a:cubicBezTo>
                  <a:cubicBezTo>
                    <a:pt x="2589" y="1617"/>
                    <a:pt x="2633" y="1625"/>
                    <a:pt x="2679" y="1625"/>
                  </a:cubicBezTo>
                  <a:cubicBezTo>
                    <a:pt x="2791" y="1625"/>
                    <a:pt x="2919" y="1574"/>
                    <a:pt x="3053" y="1520"/>
                  </a:cubicBezTo>
                  <a:cubicBezTo>
                    <a:pt x="3207" y="1460"/>
                    <a:pt x="3368" y="1393"/>
                    <a:pt x="3536" y="1393"/>
                  </a:cubicBezTo>
                  <a:cubicBezTo>
                    <a:pt x="3756" y="1393"/>
                    <a:pt x="3851" y="1513"/>
                    <a:pt x="3911" y="1590"/>
                  </a:cubicBezTo>
                  <a:cubicBezTo>
                    <a:pt x="3942" y="1629"/>
                    <a:pt x="3954" y="1645"/>
                    <a:pt x="3969" y="1645"/>
                  </a:cubicBezTo>
                  <a:cubicBezTo>
                    <a:pt x="3979" y="1645"/>
                    <a:pt x="3990" y="1637"/>
                    <a:pt x="4009" y="1625"/>
                  </a:cubicBezTo>
                  <a:cubicBezTo>
                    <a:pt x="4026" y="1614"/>
                    <a:pt x="4044" y="1597"/>
                    <a:pt x="4051" y="1576"/>
                  </a:cubicBezTo>
                  <a:cubicBezTo>
                    <a:pt x="4068" y="1516"/>
                    <a:pt x="4005" y="1414"/>
                    <a:pt x="3939" y="1306"/>
                  </a:cubicBezTo>
                  <a:cubicBezTo>
                    <a:pt x="3855" y="1169"/>
                    <a:pt x="3763" y="1015"/>
                    <a:pt x="3739" y="837"/>
                  </a:cubicBezTo>
                  <a:cubicBezTo>
                    <a:pt x="3721" y="707"/>
                    <a:pt x="3658" y="700"/>
                    <a:pt x="3518" y="700"/>
                  </a:cubicBezTo>
                  <a:cubicBezTo>
                    <a:pt x="3385" y="697"/>
                    <a:pt x="3189" y="690"/>
                    <a:pt x="3158" y="424"/>
                  </a:cubicBezTo>
                  <a:cubicBezTo>
                    <a:pt x="3116" y="88"/>
                    <a:pt x="2419" y="0"/>
                    <a:pt x="20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9" name="Google Shape;3699;p53"/>
            <p:cNvSpPr/>
            <p:nvPr/>
          </p:nvSpPr>
          <p:spPr>
            <a:xfrm>
              <a:off x="1451571" y="1689858"/>
              <a:ext cx="24589" cy="7454"/>
            </a:xfrm>
            <a:custGeom>
              <a:avLst/>
              <a:gdLst/>
              <a:ahLst/>
              <a:cxnLst/>
              <a:rect l="l" t="t" r="r" b="b"/>
              <a:pathLst>
                <a:path w="1811" h="549" extrusionOk="0">
                  <a:moveTo>
                    <a:pt x="1702" y="0"/>
                  </a:moveTo>
                  <a:cubicBezTo>
                    <a:pt x="1664" y="0"/>
                    <a:pt x="1610" y="15"/>
                    <a:pt x="1530" y="40"/>
                  </a:cubicBezTo>
                  <a:cubicBezTo>
                    <a:pt x="1425" y="72"/>
                    <a:pt x="1295" y="111"/>
                    <a:pt x="1148" y="111"/>
                  </a:cubicBezTo>
                  <a:cubicBezTo>
                    <a:pt x="1118" y="111"/>
                    <a:pt x="1088" y="110"/>
                    <a:pt x="1057" y="106"/>
                  </a:cubicBezTo>
                  <a:cubicBezTo>
                    <a:pt x="1023" y="102"/>
                    <a:pt x="986" y="100"/>
                    <a:pt x="946" y="100"/>
                  </a:cubicBezTo>
                  <a:cubicBezTo>
                    <a:pt x="618" y="100"/>
                    <a:pt x="137" y="247"/>
                    <a:pt x="25" y="394"/>
                  </a:cubicBezTo>
                  <a:cubicBezTo>
                    <a:pt x="0" y="429"/>
                    <a:pt x="7" y="446"/>
                    <a:pt x="11" y="453"/>
                  </a:cubicBezTo>
                  <a:cubicBezTo>
                    <a:pt x="38" y="524"/>
                    <a:pt x="58" y="549"/>
                    <a:pt x="130" y="549"/>
                  </a:cubicBezTo>
                  <a:cubicBezTo>
                    <a:pt x="161" y="549"/>
                    <a:pt x="201" y="544"/>
                    <a:pt x="256" y="537"/>
                  </a:cubicBezTo>
                  <a:lnTo>
                    <a:pt x="329" y="523"/>
                  </a:lnTo>
                  <a:lnTo>
                    <a:pt x="336" y="523"/>
                  </a:lnTo>
                  <a:lnTo>
                    <a:pt x="385" y="516"/>
                  </a:lnTo>
                  <a:cubicBezTo>
                    <a:pt x="476" y="506"/>
                    <a:pt x="609" y="488"/>
                    <a:pt x="770" y="481"/>
                  </a:cubicBezTo>
                  <a:cubicBezTo>
                    <a:pt x="1271" y="464"/>
                    <a:pt x="1698" y="334"/>
                    <a:pt x="1789" y="176"/>
                  </a:cubicBezTo>
                  <a:cubicBezTo>
                    <a:pt x="1810" y="134"/>
                    <a:pt x="1810" y="85"/>
                    <a:pt x="1782" y="47"/>
                  </a:cubicBezTo>
                  <a:cubicBezTo>
                    <a:pt x="1779" y="40"/>
                    <a:pt x="1775" y="33"/>
                    <a:pt x="1768" y="29"/>
                  </a:cubicBezTo>
                  <a:cubicBezTo>
                    <a:pt x="1753" y="9"/>
                    <a:pt x="1732" y="0"/>
                    <a:pt x="170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0" name="Google Shape;3700;p53"/>
            <p:cNvSpPr/>
            <p:nvPr/>
          </p:nvSpPr>
          <p:spPr>
            <a:xfrm>
              <a:off x="1051157" y="1420222"/>
              <a:ext cx="5241" cy="3965"/>
            </a:xfrm>
            <a:custGeom>
              <a:avLst/>
              <a:gdLst/>
              <a:ahLst/>
              <a:cxnLst/>
              <a:rect l="l" t="t" r="r" b="b"/>
              <a:pathLst>
                <a:path w="386" h="292" extrusionOk="0">
                  <a:moveTo>
                    <a:pt x="385" y="0"/>
                  </a:moveTo>
                  <a:cubicBezTo>
                    <a:pt x="312" y="49"/>
                    <a:pt x="252" y="88"/>
                    <a:pt x="203" y="112"/>
                  </a:cubicBezTo>
                  <a:cubicBezTo>
                    <a:pt x="123" y="151"/>
                    <a:pt x="53" y="210"/>
                    <a:pt x="0" y="287"/>
                  </a:cubicBezTo>
                  <a:cubicBezTo>
                    <a:pt x="14" y="291"/>
                    <a:pt x="28" y="291"/>
                    <a:pt x="46" y="291"/>
                  </a:cubicBezTo>
                  <a:cubicBezTo>
                    <a:pt x="57" y="291"/>
                    <a:pt x="68" y="292"/>
                    <a:pt x="79" y="292"/>
                  </a:cubicBezTo>
                  <a:cubicBezTo>
                    <a:pt x="188" y="292"/>
                    <a:pt x="281" y="261"/>
                    <a:pt x="322" y="210"/>
                  </a:cubicBezTo>
                  <a:cubicBezTo>
                    <a:pt x="340" y="189"/>
                    <a:pt x="347" y="158"/>
                    <a:pt x="340" y="130"/>
                  </a:cubicBezTo>
                  <a:cubicBezTo>
                    <a:pt x="333" y="84"/>
                    <a:pt x="350" y="35"/>
                    <a:pt x="3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1" name="Google Shape;3701;p53"/>
            <p:cNvSpPr/>
            <p:nvPr/>
          </p:nvSpPr>
          <p:spPr>
            <a:xfrm>
              <a:off x="1513458" y="2479960"/>
              <a:ext cx="11663" cy="15465"/>
            </a:xfrm>
            <a:custGeom>
              <a:avLst/>
              <a:gdLst/>
              <a:ahLst/>
              <a:cxnLst/>
              <a:rect l="l" t="t" r="r" b="b"/>
              <a:pathLst>
                <a:path w="859" h="1139" extrusionOk="0">
                  <a:moveTo>
                    <a:pt x="651" y="0"/>
                  </a:moveTo>
                  <a:cubicBezTo>
                    <a:pt x="630" y="4"/>
                    <a:pt x="609" y="7"/>
                    <a:pt x="588" y="14"/>
                  </a:cubicBezTo>
                  <a:cubicBezTo>
                    <a:pt x="224" y="140"/>
                    <a:pt x="98" y="267"/>
                    <a:pt x="147" y="459"/>
                  </a:cubicBezTo>
                  <a:cubicBezTo>
                    <a:pt x="189" y="610"/>
                    <a:pt x="140" y="774"/>
                    <a:pt x="21" y="872"/>
                  </a:cubicBezTo>
                  <a:lnTo>
                    <a:pt x="0" y="890"/>
                  </a:lnTo>
                  <a:cubicBezTo>
                    <a:pt x="28" y="900"/>
                    <a:pt x="53" y="918"/>
                    <a:pt x="70" y="939"/>
                  </a:cubicBezTo>
                  <a:cubicBezTo>
                    <a:pt x="116" y="991"/>
                    <a:pt x="168" y="1040"/>
                    <a:pt x="221" y="1086"/>
                  </a:cubicBezTo>
                  <a:cubicBezTo>
                    <a:pt x="130" y="862"/>
                    <a:pt x="186" y="757"/>
                    <a:pt x="228" y="715"/>
                  </a:cubicBezTo>
                  <a:cubicBezTo>
                    <a:pt x="259" y="683"/>
                    <a:pt x="301" y="666"/>
                    <a:pt x="347" y="666"/>
                  </a:cubicBezTo>
                  <a:cubicBezTo>
                    <a:pt x="371" y="666"/>
                    <a:pt x="399" y="669"/>
                    <a:pt x="424" y="680"/>
                  </a:cubicBezTo>
                  <a:cubicBezTo>
                    <a:pt x="511" y="715"/>
                    <a:pt x="525" y="830"/>
                    <a:pt x="539" y="956"/>
                  </a:cubicBezTo>
                  <a:cubicBezTo>
                    <a:pt x="546" y="1012"/>
                    <a:pt x="560" y="1121"/>
                    <a:pt x="585" y="1138"/>
                  </a:cubicBezTo>
                  <a:cubicBezTo>
                    <a:pt x="592" y="1135"/>
                    <a:pt x="599" y="1135"/>
                    <a:pt x="602" y="1131"/>
                  </a:cubicBezTo>
                  <a:cubicBezTo>
                    <a:pt x="630" y="1117"/>
                    <a:pt x="637" y="1107"/>
                    <a:pt x="641" y="1103"/>
                  </a:cubicBezTo>
                  <a:cubicBezTo>
                    <a:pt x="644" y="1086"/>
                    <a:pt x="616" y="1040"/>
                    <a:pt x="595" y="1012"/>
                  </a:cubicBezTo>
                  <a:cubicBezTo>
                    <a:pt x="557" y="946"/>
                    <a:pt x="504" y="862"/>
                    <a:pt x="546" y="774"/>
                  </a:cubicBezTo>
                  <a:cubicBezTo>
                    <a:pt x="585" y="687"/>
                    <a:pt x="690" y="655"/>
                    <a:pt x="781" y="627"/>
                  </a:cubicBezTo>
                  <a:cubicBezTo>
                    <a:pt x="806" y="620"/>
                    <a:pt x="837" y="610"/>
                    <a:pt x="858" y="599"/>
                  </a:cubicBezTo>
                  <a:cubicBezTo>
                    <a:pt x="846" y="590"/>
                    <a:pt x="833" y="586"/>
                    <a:pt x="817" y="586"/>
                  </a:cubicBezTo>
                  <a:cubicBezTo>
                    <a:pt x="791" y="586"/>
                    <a:pt x="758" y="597"/>
                    <a:pt x="707" y="617"/>
                  </a:cubicBezTo>
                  <a:cubicBezTo>
                    <a:pt x="657" y="635"/>
                    <a:pt x="597" y="656"/>
                    <a:pt x="535" y="656"/>
                  </a:cubicBezTo>
                  <a:cubicBezTo>
                    <a:pt x="478" y="656"/>
                    <a:pt x="419" y="637"/>
                    <a:pt x="364" y="578"/>
                  </a:cubicBezTo>
                  <a:cubicBezTo>
                    <a:pt x="294" y="505"/>
                    <a:pt x="231" y="424"/>
                    <a:pt x="252" y="340"/>
                  </a:cubicBezTo>
                  <a:cubicBezTo>
                    <a:pt x="270" y="253"/>
                    <a:pt x="350" y="207"/>
                    <a:pt x="469" y="158"/>
                  </a:cubicBezTo>
                  <a:cubicBezTo>
                    <a:pt x="546" y="126"/>
                    <a:pt x="609" y="70"/>
                    <a:pt x="6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2" name="Google Shape;3702;p53"/>
            <p:cNvSpPr/>
            <p:nvPr/>
          </p:nvSpPr>
          <p:spPr>
            <a:xfrm>
              <a:off x="1506995" y="2482186"/>
              <a:ext cx="4956" cy="2743"/>
            </a:xfrm>
            <a:custGeom>
              <a:avLst/>
              <a:gdLst/>
              <a:ahLst/>
              <a:cxnLst/>
              <a:rect l="l" t="t" r="r" b="b"/>
              <a:pathLst>
                <a:path w="365" h="202" extrusionOk="0">
                  <a:moveTo>
                    <a:pt x="323" y="1"/>
                  </a:moveTo>
                  <a:cubicBezTo>
                    <a:pt x="302" y="1"/>
                    <a:pt x="243" y="33"/>
                    <a:pt x="207" y="54"/>
                  </a:cubicBezTo>
                  <a:cubicBezTo>
                    <a:pt x="140" y="96"/>
                    <a:pt x="74" y="127"/>
                    <a:pt x="0" y="152"/>
                  </a:cubicBezTo>
                  <a:cubicBezTo>
                    <a:pt x="11" y="159"/>
                    <a:pt x="21" y="169"/>
                    <a:pt x="32" y="176"/>
                  </a:cubicBezTo>
                  <a:cubicBezTo>
                    <a:pt x="53" y="194"/>
                    <a:pt x="86" y="202"/>
                    <a:pt x="122" y="202"/>
                  </a:cubicBezTo>
                  <a:cubicBezTo>
                    <a:pt x="180" y="202"/>
                    <a:pt x="248" y="181"/>
                    <a:pt x="298" y="145"/>
                  </a:cubicBezTo>
                  <a:cubicBezTo>
                    <a:pt x="350" y="106"/>
                    <a:pt x="364" y="64"/>
                    <a:pt x="343" y="25"/>
                  </a:cubicBezTo>
                  <a:cubicBezTo>
                    <a:pt x="333" y="8"/>
                    <a:pt x="326" y="1"/>
                    <a:pt x="326" y="1"/>
                  </a:cubicBezTo>
                  <a:cubicBezTo>
                    <a:pt x="325" y="1"/>
                    <a:pt x="324" y="1"/>
                    <a:pt x="3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3" name="Google Shape;3703;p53"/>
            <p:cNvSpPr/>
            <p:nvPr/>
          </p:nvSpPr>
          <p:spPr>
            <a:xfrm>
              <a:off x="1039073" y="1557966"/>
              <a:ext cx="1344" cy="4155"/>
            </a:xfrm>
            <a:custGeom>
              <a:avLst/>
              <a:gdLst/>
              <a:ahLst/>
              <a:cxnLst/>
              <a:rect l="l" t="t" r="r" b="b"/>
              <a:pathLst>
                <a:path w="99" h="306" extrusionOk="0">
                  <a:moveTo>
                    <a:pt x="57" y="1"/>
                  </a:moveTo>
                  <a:cubicBezTo>
                    <a:pt x="50" y="1"/>
                    <a:pt x="43" y="4"/>
                    <a:pt x="39" y="11"/>
                  </a:cubicBezTo>
                  <a:cubicBezTo>
                    <a:pt x="4" y="53"/>
                    <a:pt x="1" y="169"/>
                    <a:pt x="64" y="270"/>
                  </a:cubicBezTo>
                  <a:cubicBezTo>
                    <a:pt x="71" y="281"/>
                    <a:pt x="78" y="291"/>
                    <a:pt x="85" y="305"/>
                  </a:cubicBezTo>
                  <a:cubicBezTo>
                    <a:pt x="78" y="253"/>
                    <a:pt x="78" y="200"/>
                    <a:pt x="88" y="148"/>
                  </a:cubicBezTo>
                  <a:cubicBezTo>
                    <a:pt x="99" y="53"/>
                    <a:pt x="99" y="11"/>
                    <a:pt x="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4" name="Google Shape;3704;p53"/>
            <p:cNvSpPr/>
            <p:nvPr/>
          </p:nvSpPr>
          <p:spPr>
            <a:xfrm>
              <a:off x="1493960" y="2432982"/>
              <a:ext cx="1589" cy="1168"/>
            </a:xfrm>
            <a:custGeom>
              <a:avLst/>
              <a:gdLst/>
              <a:ahLst/>
              <a:cxnLst/>
              <a:rect l="l" t="t" r="r" b="b"/>
              <a:pathLst>
                <a:path w="117" h="86" extrusionOk="0">
                  <a:moveTo>
                    <a:pt x="18" y="0"/>
                  </a:moveTo>
                  <a:cubicBezTo>
                    <a:pt x="12" y="0"/>
                    <a:pt x="7" y="1"/>
                    <a:pt x="1" y="2"/>
                  </a:cubicBezTo>
                  <a:cubicBezTo>
                    <a:pt x="43" y="26"/>
                    <a:pt x="78" y="54"/>
                    <a:pt x="113" y="86"/>
                  </a:cubicBezTo>
                  <a:cubicBezTo>
                    <a:pt x="116" y="75"/>
                    <a:pt x="113" y="61"/>
                    <a:pt x="109" y="51"/>
                  </a:cubicBezTo>
                  <a:cubicBezTo>
                    <a:pt x="102" y="30"/>
                    <a:pt x="88" y="12"/>
                    <a:pt x="67" y="9"/>
                  </a:cubicBezTo>
                  <a:cubicBezTo>
                    <a:pt x="52" y="3"/>
                    <a:pt x="35" y="0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5" name="Google Shape;3705;p53"/>
            <p:cNvSpPr/>
            <p:nvPr/>
          </p:nvSpPr>
          <p:spPr>
            <a:xfrm>
              <a:off x="1496866" y="2484630"/>
              <a:ext cx="7006" cy="4331"/>
            </a:xfrm>
            <a:custGeom>
              <a:avLst/>
              <a:gdLst/>
              <a:ahLst/>
              <a:cxnLst/>
              <a:rect l="l" t="t" r="r" b="b"/>
              <a:pathLst>
                <a:path w="516" h="319" extrusionOk="0">
                  <a:moveTo>
                    <a:pt x="479" y="0"/>
                  </a:moveTo>
                  <a:cubicBezTo>
                    <a:pt x="397" y="0"/>
                    <a:pt x="319" y="41"/>
                    <a:pt x="274" y="108"/>
                  </a:cubicBezTo>
                  <a:cubicBezTo>
                    <a:pt x="231" y="159"/>
                    <a:pt x="182" y="217"/>
                    <a:pt x="89" y="217"/>
                  </a:cubicBezTo>
                  <a:cubicBezTo>
                    <a:pt x="67" y="217"/>
                    <a:pt x="42" y="213"/>
                    <a:pt x="15" y="206"/>
                  </a:cubicBezTo>
                  <a:lnTo>
                    <a:pt x="1" y="203"/>
                  </a:lnTo>
                  <a:lnTo>
                    <a:pt x="1" y="203"/>
                  </a:lnTo>
                  <a:cubicBezTo>
                    <a:pt x="46" y="217"/>
                    <a:pt x="88" y="231"/>
                    <a:pt x="137" y="245"/>
                  </a:cubicBezTo>
                  <a:cubicBezTo>
                    <a:pt x="215" y="275"/>
                    <a:pt x="338" y="318"/>
                    <a:pt x="387" y="318"/>
                  </a:cubicBezTo>
                  <a:cubicBezTo>
                    <a:pt x="389" y="318"/>
                    <a:pt x="391" y="318"/>
                    <a:pt x="393" y="318"/>
                  </a:cubicBezTo>
                  <a:cubicBezTo>
                    <a:pt x="386" y="199"/>
                    <a:pt x="428" y="84"/>
                    <a:pt x="515" y="3"/>
                  </a:cubicBezTo>
                  <a:cubicBezTo>
                    <a:pt x="503" y="1"/>
                    <a:pt x="491" y="0"/>
                    <a:pt x="4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6" name="Google Shape;3706;p53"/>
            <p:cNvSpPr/>
            <p:nvPr/>
          </p:nvSpPr>
          <p:spPr>
            <a:xfrm>
              <a:off x="1412930" y="1447825"/>
              <a:ext cx="2200" cy="1643"/>
            </a:xfrm>
            <a:custGeom>
              <a:avLst/>
              <a:gdLst/>
              <a:ahLst/>
              <a:cxnLst/>
              <a:rect l="l" t="t" r="r" b="b"/>
              <a:pathLst>
                <a:path w="162" h="121" extrusionOk="0">
                  <a:moveTo>
                    <a:pt x="58" y="1"/>
                  </a:moveTo>
                  <a:cubicBezTo>
                    <a:pt x="56" y="1"/>
                    <a:pt x="54" y="1"/>
                    <a:pt x="53" y="1"/>
                  </a:cubicBezTo>
                  <a:lnTo>
                    <a:pt x="39" y="1"/>
                  </a:lnTo>
                  <a:cubicBezTo>
                    <a:pt x="25" y="1"/>
                    <a:pt x="7" y="12"/>
                    <a:pt x="0" y="26"/>
                  </a:cubicBezTo>
                  <a:cubicBezTo>
                    <a:pt x="0" y="33"/>
                    <a:pt x="14" y="57"/>
                    <a:pt x="77" y="82"/>
                  </a:cubicBezTo>
                  <a:cubicBezTo>
                    <a:pt x="105" y="92"/>
                    <a:pt x="133" y="106"/>
                    <a:pt x="161" y="120"/>
                  </a:cubicBezTo>
                  <a:cubicBezTo>
                    <a:pt x="133" y="96"/>
                    <a:pt x="109" y="61"/>
                    <a:pt x="91" y="26"/>
                  </a:cubicBezTo>
                  <a:cubicBezTo>
                    <a:pt x="85" y="13"/>
                    <a:pt x="73" y="1"/>
                    <a:pt x="5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7" name="Google Shape;3707;p53"/>
            <p:cNvSpPr/>
            <p:nvPr/>
          </p:nvSpPr>
          <p:spPr>
            <a:xfrm>
              <a:off x="1375700" y="1460860"/>
              <a:ext cx="14419" cy="6721"/>
            </a:xfrm>
            <a:custGeom>
              <a:avLst/>
              <a:gdLst/>
              <a:ahLst/>
              <a:cxnLst/>
              <a:rect l="l" t="t" r="r" b="b"/>
              <a:pathLst>
                <a:path w="1062" h="495" extrusionOk="0">
                  <a:moveTo>
                    <a:pt x="88" y="0"/>
                  </a:moveTo>
                  <a:cubicBezTo>
                    <a:pt x="22" y="0"/>
                    <a:pt x="1" y="14"/>
                    <a:pt x="1" y="18"/>
                  </a:cubicBezTo>
                  <a:cubicBezTo>
                    <a:pt x="1" y="21"/>
                    <a:pt x="8" y="88"/>
                    <a:pt x="141" y="186"/>
                  </a:cubicBezTo>
                  <a:cubicBezTo>
                    <a:pt x="367" y="355"/>
                    <a:pt x="585" y="495"/>
                    <a:pt x="936" y="495"/>
                  </a:cubicBezTo>
                  <a:cubicBezTo>
                    <a:pt x="971" y="495"/>
                    <a:pt x="1007" y="493"/>
                    <a:pt x="1044" y="490"/>
                  </a:cubicBezTo>
                  <a:lnTo>
                    <a:pt x="1062" y="490"/>
                  </a:lnTo>
                  <a:cubicBezTo>
                    <a:pt x="925" y="424"/>
                    <a:pt x="792" y="350"/>
                    <a:pt x="663" y="266"/>
                  </a:cubicBezTo>
                  <a:cubicBezTo>
                    <a:pt x="466" y="147"/>
                    <a:pt x="246" y="14"/>
                    <a:pt x="13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8" name="Google Shape;3708;p53"/>
            <p:cNvSpPr/>
            <p:nvPr/>
          </p:nvSpPr>
          <p:spPr>
            <a:xfrm>
              <a:off x="1518536" y="1659444"/>
              <a:ext cx="3150" cy="2729"/>
            </a:xfrm>
            <a:custGeom>
              <a:avLst/>
              <a:gdLst/>
              <a:ahLst/>
              <a:cxnLst/>
              <a:rect l="l" t="t" r="r" b="b"/>
              <a:pathLst>
                <a:path w="232" h="201" extrusionOk="0">
                  <a:moveTo>
                    <a:pt x="232" y="1"/>
                  </a:moveTo>
                  <a:lnTo>
                    <a:pt x="186" y="36"/>
                  </a:lnTo>
                  <a:cubicBezTo>
                    <a:pt x="130" y="85"/>
                    <a:pt x="57" y="148"/>
                    <a:pt x="1" y="200"/>
                  </a:cubicBezTo>
                  <a:cubicBezTo>
                    <a:pt x="85" y="141"/>
                    <a:pt x="162" y="74"/>
                    <a:pt x="2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9" name="Google Shape;3709;p53"/>
            <p:cNvSpPr/>
            <p:nvPr/>
          </p:nvSpPr>
          <p:spPr>
            <a:xfrm>
              <a:off x="2136230" y="2173135"/>
              <a:ext cx="92123" cy="91879"/>
            </a:xfrm>
            <a:custGeom>
              <a:avLst/>
              <a:gdLst/>
              <a:ahLst/>
              <a:cxnLst/>
              <a:rect l="l" t="t" r="r" b="b"/>
              <a:pathLst>
                <a:path w="6785" h="6767" extrusionOk="0">
                  <a:moveTo>
                    <a:pt x="298" y="1"/>
                  </a:moveTo>
                  <a:cubicBezTo>
                    <a:pt x="242" y="8"/>
                    <a:pt x="189" y="43"/>
                    <a:pt x="168" y="99"/>
                  </a:cubicBezTo>
                  <a:lnTo>
                    <a:pt x="154" y="127"/>
                  </a:lnTo>
                  <a:lnTo>
                    <a:pt x="0" y="169"/>
                  </a:lnTo>
                  <a:cubicBezTo>
                    <a:pt x="11" y="316"/>
                    <a:pt x="133" y="571"/>
                    <a:pt x="294" y="795"/>
                  </a:cubicBezTo>
                  <a:cubicBezTo>
                    <a:pt x="490" y="1054"/>
                    <a:pt x="718" y="1530"/>
                    <a:pt x="841" y="1933"/>
                  </a:cubicBezTo>
                  <a:cubicBezTo>
                    <a:pt x="900" y="2133"/>
                    <a:pt x="1026" y="2350"/>
                    <a:pt x="1145" y="2560"/>
                  </a:cubicBezTo>
                  <a:cubicBezTo>
                    <a:pt x="1254" y="2745"/>
                    <a:pt x="1355" y="2924"/>
                    <a:pt x="1397" y="3071"/>
                  </a:cubicBezTo>
                  <a:cubicBezTo>
                    <a:pt x="1446" y="3235"/>
                    <a:pt x="1429" y="3435"/>
                    <a:pt x="1411" y="3610"/>
                  </a:cubicBezTo>
                  <a:cubicBezTo>
                    <a:pt x="1397" y="3760"/>
                    <a:pt x="1383" y="3907"/>
                    <a:pt x="1418" y="3984"/>
                  </a:cubicBezTo>
                  <a:cubicBezTo>
                    <a:pt x="1516" y="4195"/>
                    <a:pt x="1572" y="4545"/>
                    <a:pt x="1618" y="4860"/>
                  </a:cubicBezTo>
                  <a:cubicBezTo>
                    <a:pt x="1628" y="4919"/>
                    <a:pt x="1635" y="4986"/>
                    <a:pt x="1642" y="5059"/>
                  </a:cubicBezTo>
                  <a:cubicBezTo>
                    <a:pt x="1681" y="5402"/>
                    <a:pt x="1740" y="5924"/>
                    <a:pt x="1971" y="6148"/>
                  </a:cubicBezTo>
                  <a:cubicBezTo>
                    <a:pt x="2097" y="6278"/>
                    <a:pt x="2209" y="6418"/>
                    <a:pt x="2304" y="6568"/>
                  </a:cubicBezTo>
                  <a:cubicBezTo>
                    <a:pt x="2328" y="6572"/>
                    <a:pt x="2353" y="6575"/>
                    <a:pt x="2377" y="6575"/>
                  </a:cubicBezTo>
                  <a:lnTo>
                    <a:pt x="2433" y="6575"/>
                  </a:lnTo>
                  <a:lnTo>
                    <a:pt x="2433" y="6565"/>
                  </a:lnTo>
                  <a:cubicBezTo>
                    <a:pt x="2447" y="6474"/>
                    <a:pt x="2496" y="6397"/>
                    <a:pt x="2570" y="6344"/>
                  </a:cubicBezTo>
                  <a:cubicBezTo>
                    <a:pt x="2573" y="6341"/>
                    <a:pt x="2577" y="6337"/>
                    <a:pt x="2584" y="6334"/>
                  </a:cubicBezTo>
                  <a:cubicBezTo>
                    <a:pt x="2587" y="6330"/>
                    <a:pt x="2598" y="6323"/>
                    <a:pt x="2608" y="6316"/>
                  </a:cubicBezTo>
                  <a:cubicBezTo>
                    <a:pt x="2619" y="6309"/>
                    <a:pt x="2633" y="6306"/>
                    <a:pt x="2647" y="6302"/>
                  </a:cubicBezTo>
                  <a:cubicBezTo>
                    <a:pt x="2657" y="6299"/>
                    <a:pt x="2668" y="6295"/>
                    <a:pt x="2679" y="6295"/>
                  </a:cubicBezTo>
                  <a:lnTo>
                    <a:pt x="2714" y="6295"/>
                  </a:lnTo>
                  <a:cubicBezTo>
                    <a:pt x="2717" y="6293"/>
                    <a:pt x="2721" y="6292"/>
                    <a:pt x="2724" y="6292"/>
                  </a:cubicBezTo>
                  <a:cubicBezTo>
                    <a:pt x="2728" y="6292"/>
                    <a:pt x="2731" y="6293"/>
                    <a:pt x="2735" y="6295"/>
                  </a:cubicBezTo>
                  <a:lnTo>
                    <a:pt x="2742" y="6295"/>
                  </a:lnTo>
                  <a:lnTo>
                    <a:pt x="2763" y="6299"/>
                  </a:lnTo>
                  <a:lnTo>
                    <a:pt x="2770" y="6302"/>
                  </a:lnTo>
                  <a:cubicBezTo>
                    <a:pt x="2777" y="6302"/>
                    <a:pt x="2784" y="6309"/>
                    <a:pt x="2791" y="6313"/>
                  </a:cubicBezTo>
                  <a:cubicBezTo>
                    <a:pt x="2801" y="6316"/>
                    <a:pt x="2808" y="6320"/>
                    <a:pt x="2812" y="6327"/>
                  </a:cubicBezTo>
                  <a:lnTo>
                    <a:pt x="2819" y="6330"/>
                  </a:lnTo>
                  <a:cubicBezTo>
                    <a:pt x="2826" y="6337"/>
                    <a:pt x="2829" y="6341"/>
                    <a:pt x="2836" y="6344"/>
                  </a:cubicBezTo>
                  <a:lnTo>
                    <a:pt x="2840" y="6351"/>
                  </a:lnTo>
                  <a:cubicBezTo>
                    <a:pt x="2847" y="6358"/>
                    <a:pt x="2854" y="6369"/>
                    <a:pt x="2861" y="6376"/>
                  </a:cubicBezTo>
                  <a:cubicBezTo>
                    <a:pt x="2899" y="6435"/>
                    <a:pt x="2927" y="6502"/>
                    <a:pt x="2948" y="6572"/>
                  </a:cubicBezTo>
                  <a:cubicBezTo>
                    <a:pt x="2983" y="6687"/>
                    <a:pt x="3001" y="6736"/>
                    <a:pt x="3099" y="6736"/>
                  </a:cubicBezTo>
                  <a:cubicBezTo>
                    <a:pt x="3169" y="6736"/>
                    <a:pt x="3256" y="6743"/>
                    <a:pt x="3344" y="6750"/>
                  </a:cubicBezTo>
                  <a:cubicBezTo>
                    <a:pt x="3417" y="6756"/>
                    <a:pt x="3527" y="6766"/>
                    <a:pt x="3613" y="6766"/>
                  </a:cubicBezTo>
                  <a:cubicBezTo>
                    <a:pt x="3674" y="6766"/>
                    <a:pt x="3723" y="6761"/>
                    <a:pt x="3739" y="6747"/>
                  </a:cubicBezTo>
                  <a:cubicBezTo>
                    <a:pt x="3781" y="6698"/>
                    <a:pt x="3834" y="6656"/>
                    <a:pt x="3893" y="6624"/>
                  </a:cubicBezTo>
                  <a:cubicBezTo>
                    <a:pt x="3981" y="6568"/>
                    <a:pt x="4082" y="6505"/>
                    <a:pt x="4082" y="6428"/>
                  </a:cubicBezTo>
                  <a:lnTo>
                    <a:pt x="4082" y="2826"/>
                  </a:lnTo>
                  <a:cubicBezTo>
                    <a:pt x="4082" y="2707"/>
                    <a:pt x="4229" y="2700"/>
                    <a:pt x="4369" y="2689"/>
                  </a:cubicBezTo>
                  <a:cubicBezTo>
                    <a:pt x="4474" y="2682"/>
                    <a:pt x="4632" y="2672"/>
                    <a:pt x="4632" y="2616"/>
                  </a:cubicBezTo>
                  <a:lnTo>
                    <a:pt x="4632" y="680"/>
                  </a:lnTo>
                  <a:lnTo>
                    <a:pt x="4695" y="673"/>
                  </a:lnTo>
                  <a:cubicBezTo>
                    <a:pt x="4804" y="666"/>
                    <a:pt x="5112" y="638"/>
                    <a:pt x="5199" y="610"/>
                  </a:cubicBezTo>
                  <a:cubicBezTo>
                    <a:pt x="5227" y="603"/>
                    <a:pt x="5280" y="582"/>
                    <a:pt x="5339" y="557"/>
                  </a:cubicBezTo>
                  <a:cubicBezTo>
                    <a:pt x="5526" y="477"/>
                    <a:pt x="5676" y="419"/>
                    <a:pt x="5779" y="419"/>
                  </a:cubicBezTo>
                  <a:cubicBezTo>
                    <a:pt x="5814" y="419"/>
                    <a:pt x="5844" y="426"/>
                    <a:pt x="5868" y="442"/>
                  </a:cubicBezTo>
                  <a:cubicBezTo>
                    <a:pt x="5913" y="477"/>
                    <a:pt x="5952" y="515"/>
                    <a:pt x="5990" y="561"/>
                  </a:cubicBezTo>
                  <a:cubicBezTo>
                    <a:pt x="6018" y="592"/>
                    <a:pt x="6046" y="624"/>
                    <a:pt x="6081" y="652"/>
                  </a:cubicBezTo>
                  <a:cubicBezTo>
                    <a:pt x="6134" y="589"/>
                    <a:pt x="6312" y="396"/>
                    <a:pt x="6508" y="396"/>
                  </a:cubicBezTo>
                  <a:lnTo>
                    <a:pt x="6568" y="396"/>
                  </a:lnTo>
                  <a:lnTo>
                    <a:pt x="6582" y="393"/>
                  </a:lnTo>
                  <a:lnTo>
                    <a:pt x="6603" y="389"/>
                  </a:lnTo>
                  <a:lnTo>
                    <a:pt x="6620" y="386"/>
                  </a:lnTo>
                  <a:lnTo>
                    <a:pt x="6638" y="386"/>
                  </a:lnTo>
                  <a:lnTo>
                    <a:pt x="6659" y="379"/>
                  </a:lnTo>
                  <a:lnTo>
                    <a:pt x="6676" y="375"/>
                  </a:lnTo>
                  <a:lnTo>
                    <a:pt x="6697" y="372"/>
                  </a:lnTo>
                  <a:lnTo>
                    <a:pt x="6711" y="368"/>
                  </a:lnTo>
                  <a:lnTo>
                    <a:pt x="6743" y="361"/>
                  </a:lnTo>
                  <a:lnTo>
                    <a:pt x="6746" y="361"/>
                  </a:lnTo>
                  <a:lnTo>
                    <a:pt x="6778" y="354"/>
                  </a:lnTo>
                  <a:lnTo>
                    <a:pt x="6785" y="354"/>
                  </a:lnTo>
                  <a:cubicBezTo>
                    <a:pt x="6781" y="347"/>
                    <a:pt x="6778" y="340"/>
                    <a:pt x="6778" y="337"/>
                  </a:cubicBezTo>
                  <a:cubicBezTo>
                    <a:pt x="6774" y="330"/>
                    <a:pt x="6774" y="330"/>
                    <a:pt x="6774" y="326"/>
                  </a:cubicBezTo>
                  <a:cubicBezTo>
                    <a:pt x="6771" y="316"/>
                    <a:pt x="6771" y="305"/>
                    <a:pt x="6767" y="295"/>
                  </a:cubicBezTo>
                  <a:cubicBezTo>
                    <a:pt x="6745" y="288"/>
                    <a:pt x="6700" y="284"/>
                    <a:pt x="6640" y="284"/>
                  </a:cubicBezTo>
                  <a:cubicBezTo>
                    <a:pt x="6579" y="284"/>
                    <a:pt x="6503" y="288"/>
                    <a:pt x="6417" y="295"/>
                  </a:cubicBezTo>
                  <a:lnTo>
                    <a:pt x="6414" y="295"/>
                  </a:lnTo>
                  <a:lnTo>
                    <a:pt x="6372" y="302"/>
                  </a:lnTo>
                  <a:lnTo>
                    <a:pt x="6263" y="312"/>
                  </a:lnTo>
                  <a:lnTo>
                    <a:pt x="6225" y="319"/>
                  </a:lnTo>
                  <a:lnTo>
                    <a:pt x="6211" y="319"/>
                  </a:lnTo>
                  <a:cubicBezTo>
                    <a:pt x="6095" y="333"/>
                    <a:pt x="5969" y="354"/>
                    <a:pt x="5850" y="379"/>
                  </a:cubicBezTo>
                  <a:cubicBezTo>
                    <a:pt x="5777" y="393"/>
                    <a:pt x="5738" y="403"/>
                    <a:pt x="5717" y="410"/>
                  </a:cubicBezTo>
                  <a:lnTo>
                    <a:pt x="5707" y="414"/>
                  </a:lnTo>
                  <a:lnTo>
                    <a:pt x="5679" y="421"/>
                  </a:lnTo>
                  <a:lnTo>
                    <a:pt x="5668" y="424"/>
                  </a:lnTo>
                  <a:lnTo>
                    <a:pt x="5640" y="431"/>
                  </a:lnTo>
                  <a:lnTo>
                    <a:pt x="5630" y="431"/>
                  </a:lnTo>
                  <a:lnTo>
                    <a:pt x="5591" y="442"/>
                  </a:lnTo>
                  <a:lnTo>
                    <a:pt x="5574" y="445"/>
                  </a:lnTo>
                  <a:lnTo>
                    <a:pt x="5539" y="452"/>
                  </a:lnTo>
                  <a:lnTo>
                    <a:pt x="5525" y="456"/>
                  </a:lnTo>
                  <a:lnTo>
                    <a:pt x="5476" y="463"/>
                  </a:lnTo>
                  <a:lnTo>
                    <a:pt x="5458" y="466"/>
                  </a:lnTo>
                  <a:lnTo>
                    <a:pt x="5420" y="473"/>
                  </a:lnTo>
                  <a:lnTo>
                    <a:pt x="5402" y="477"/>
                  </a:lnTo>
                  <a:lnTo>
                    <a:pt x="5346" y="484"/>
                  </a:lnTo>
                  <a:lnTo>
                    <a:pt x="5332" y="484"/>
                  </a:lnTo>
                  <a:lnTo>
                    <a:pt x="5283" y="491"/>
                  </a:lnTo>
                  <a:lnTo>
                    <a:pt x="5266" y="491"/>
                  </a:lnTo>
                  <a:lnTo>
                    <a:pt x="5206" y="494"/>
                  </a:lnTo>
                  <a:lnTo>
                    <a:pt x="5203" y="494"/>
                  </a:lnTo>
                  <a:lnTo>
                    <a:pt x="5147" y="498"/>
                  </a:lnTo>
                  <a:lnTo>
                    <a:pt x="5007" y="498"/>
                  </a:lnTo>
                  <a:cubicBezTo>
                    <a:pt x="4989" y="498"/>
                    <a:pt x="4972" y="498"/>
                    <a:pt x="4954" y="494"/>
                  </a:cubicBezTo>
                  <a:lnTo>
                    <a:pt x="4947" y="494"/>
                  </a:lnTo>
                  <a:cubicBezTo>
                    <a:pt x="4933" y="491"/>
                    <a:pt x="4919" y="491"/>
                    <a:pt x="4905" y="487"/>
                  </a:cubicBezTo>
                  <a:lnTo>
                    <a:pt x="4898" y="487"/>
                  </a:lnTo>
                  <a:cubicBezTo>
                    <a:pt x="4881" y="484"/>
                    <a:pt x="4867" y="480"/>
                    <a:pt x="4853" y="477"/>
                  </a:cubicBezTo>
                  <a:lnTo>
                    <a:pt x="4846" y="473"/>
                  </a:lnTo>
                  <a:cubicBezTo>
                    <a:pt x="4832" y="470"/>
                    <a:pt x="4821" y="466"/>
                    <a:pt x="4811" y="459"/>
                  </a:cubicBezTo>
                  <a:cubicBezTo>
                    <a:pt x="4768" y="439"/>
                    <a:pt x="4635" y="431"/>
                    <a:pt x="4464" y="431"/>
                  </a:cubicBezTo>
                  <a:cubicBezTo>
                    <a:pt x="4218" y="431"/>
                    <a:pt x="3892" y="447"/>
                    <a:pt x="3641" y="466"/>
                  </a:cubicBezTo>
                  <a:lnTo>
                    <a:pt x="3610" y="470"/>
                  </a:lnTo>
                  <a:lnTo>
                    <a:pt x="3417" y="274"/>
                  </a:lnTo>
                  <a:lnTo>
                    <a:pt x="1555" y="274"/>
                  </a:lnTo>
                  <a:cubicBezTo>
                    <a:pt x="1366" y="274"/>
                    <a:pt x="1212" y="249"/>
                    <a:pt x="1026" y="127"/>
                  </a:cubicBezTo>
                  <a:cubicBezTo>
                    <a:pt x="952" y="77"/>
                    <a:pt x="878" y="53"/>
                    <a:pt x="797" y="53"/>
                  </a:cubicBezTo>
                  <a:cubicBezTo>
                    <a:pt x="728" y="53"/>
                    <a:pt x="654" y="70"/>
                    <a:pt x="571" y="106"/>
                  </a:cubicBezTo>
                  <a:cubicBezTo>
                    <a:pt x="529" y="123"/>
                    <a:pt x="495" y="130"/>
                    <a:pt x="466" y="130"/>
                  </a:cubicBezTo>
                  <a:cubicBezTo>
                    <a:pt x="426" y="130"/>
                    <a:pt x="398" y="116"/>
                    <a:pt x="375" y="95"/>
                  </a:cubicBezTo>
                  <a:cubicBezTo>
                    <a:pt x="357" y="78"/>
                    <a:pt x="343" y="57"/>
                    <a:pt x="333" y="36"/>
                  </a:cubicBezTo>
                  <a:cubicBezTo>
                    <a:pt x="319" y="1"/>
                    <a:pt x="315" y="1"/>
                    <a:pt x="2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0" name="Google Shape;3710;p53"/>
            <p:cNvSpPr/>
            <p:nvPr/>
          </p:nvSpPr>
          <p:spPr>
            <a:xfrm>
              <a:off x="2231110" y="2162816"/>
              <a:ext cx="55953" cy="49734"/>
            </a:xfrm>
            <a:custGeom>
              <a:avLst/>
              <a:gdLst/>
              <a:ahLst/>
              <a:cxnLst/>
              <a:rect l="l" t="t" r="r" b="b"/>
              <a:pathLst>
                <a:path w="4121" h="3663" extrusionOk="0">
                  <a:moveTo>
                    <a:pt x="2664" y="1"/>
                  </a:moveTo>
                  <a:lnTo>
                    <a:pt x="2248" y="11"/>
                  </a:lnTo>
                  <a:cubicBezTo>
                    <a:pt x="1999" y="81"/>
                    <a:pt x="1999" y="144"/>
                    <a:pt x="1999" y="221"/>
                  </a:cubicBezTo>
                  <a:cubicBezTo>
                    <a:pt x="1999" y="372"/>
                    <a:pt x="1656" y="610"/>
                    <a:pt x="1449" y="673"/>
                  </a:cubicBezTo>
                  <a:cubicBezTo>
                    <a:pt x="1348" y="704"/>
                    <a:pt x="1222" y="883"/>
                    <a:pt x="1120" y="1023"/>
                  </a:cubicBezTo>
                  <a:cubicBezTo>
                    <a:pt x="1022" y="1163"/>
                    <a:pt x="959" y="1251"/>
                    <a:pt x="893" y="1282"/>
                  </a:cubicBezTo>
                  <a:cubicBezTo>
                    <a:pt x="882" y="1289"/>
                    <a:pt x="868" y="1293"/>
                    <a:pt x="854" y="1296"/>
                  </a:cubicBezTo>
                  <a:lnTo>
                    <a:pt x="847" y="1296"/>
                  </a:lnTo>
                  <a:cubicBezTo>
                    <a:pt x="833" y="1300"/>
                    <a:pt x="816" y="1303"/>
                    <a:pt x="802" y="1303"/>
                  </a:cubicBezTo>
                  <a:lnTo>
                    <a:pt x="739" y="1303"/>
                  </a:lnTo>
                  <a:cubicBezTo>
                    <a:pt x="718" y="1303"/>
                    <a:pt x="697" y="1300"/>
                    <a:pt x="676" y="1296"/>
                  </a:cubicBezTo>
                  <a:lnTo>
                    <a:pt x="662" y="1296"/>
                  </a:lnTo>
                  <a:lnTo>
                    <a:pt x="602" y="1286"/>
                  </a:lnTo>
                  <a:lnTo>
                    <a:pt x="592" y="1286"/>
                  </a:lnTo>
                  <a:lnTo>
                    <a:pt x="518" y="1268"/>
                  </a:lnTo>
                  <a:lnTo>
                    <a:pt x="511" y="1268"/>
                  </a:lnTo>
                  <a:lnTo>
                    <a:pt x="438" y="1251"/>
                  </a:lnTo>
                  <a:lnTo>
                    <a:pt x="420" y="1247"/>
                  </a:lnTo>
                  <a:lnTo>
                    <a:pt x="340" y="1223"/>
                  </a:lnTo>
                  <a:cubicBezTo>
                    <a:pt x="280" y="1205"/>
                    <a:pt x="221" y="1191"/>
                    <a:pt x="161" y="1181"/>
                  </a:cubicBezTo>
                  <a:lnTo>
                    <a:pt x="137" y="1181"/>
                  </a:lnTo>
                  <a:cubicBezTo>
                    <a:pt x="116" y="1181"/>
                    <a:pt x="95" y="1184"/>
                    <a:pt x="77" y="1188"/>
                  </a:cubicBezTo>
                  <a:lnTo>
                    <a:pt x="42" y="1191"/>
                  </a:lnTo>
                  <a:lnTo>
                    <a:pt x="7" y="1198"/>
                  </a:lnTo>
                  <a:lnTo>
                    <a:pt x="0" y="1198"/>
                  </a:lnTo>
                  <a:cubicBezTo>
                    <a:pt x="7" y="1212"/>
                    <a:pt x="18" y="1223"/>
                    <a:pt x="25" y="1233"/>
                  </a:cubicBezTo>
                  <a:lnTo>
                    <a:pt x="32" y="1240"/>
                  </a:lnTo>
                  <a:lnTo>
                    <a:pt x="56" y="1272"/>
                  </a:lnTo>
                  <a:lnTo>
                    <a:pt x="63" y="1279"/>
                  </a:lnTo>
                  <a:lnTo>
                    <a:pt x="88" y="1303"/>
                  </a:lnTo>
                  <a:lnTo>
                    <a:pt x="91" y="1307"/>
                  </a:lnTo>
                  <a:lnTo>
                    <a:pt x="116" y="1331"/>
                  </a:lnTo>
                  <a:lnTo>
                    <a:pt x="123" y="1338"/>
                  </a:lnTo>
                  <a:lnTo>
                    <a:pt x="144" y="1359"/>
                  </a:lnTo>
                  <a:lnTo>
                    <a:pt x="147" y="1363"/>
                  </a:lnTo>
                  <a:lnTo>
                    <a:pt x="168" y="1377"/>
                  </a:lnTo>
                  <a:lnTo>
                    <a:pt x="172" y="1380"/>
                  </a:lnTo>
                  <a:lnTo>
                    <a:pt x="189" y="1394"/>
                  </a:lnTo>
                  <a:lnTo>
                    <a:pt x="193" y="1394"/>
                  </a:lnTo>
                  <a:cubicBezTo>
                    <a:pt x="196" y="1394"/>
                    <a:pt x="200" y="1398"/>
                    <a:pt x="207" y="1398"/>
                  </a:cubicBezTo>
                  <a:cubicBezTo>
                    <a:pt x="287" y="1401"/>
                    <a:pt x="315" y="1503"/>
                    <a:pt x="354" y="1664"/>
                  </a:cubicBezTo>
                  <a:cubicBezTo>
                    <a:pt x="392" y="1807"/>
                    <a:pt x="445" y="2024"/>
                    <a:pt x="529" y="2059"/>
                  </a:cubicBezTo>
                  <a:cubicBezTo>
                    <a:pt x="588" y="2087"/>
                    <a:pt x="1117" y="2318"/>
                    <a:pt x="1117" y="2504"/>
                  </a:cubicBezTo>
                  <a:cubicBezTo>
                    <a:pt x="1117" y="2528"/>
                    <a:pt x="1159" y="2584"/>
                    <a:pt x="1194" y="2626"/>
                  </a:cubicBezTo>
                  <a:cubicBezTo>
                    <a:pt x="1260" y="2707"/>
                    <a:pt x="1334" y="2801"/>
                    <a:pt x="1334" y="2914"/>
                  </a:cubicBezTo>
                  <a:cubicBezTo>
                    <a:pt x="1334" y="2977"/>
                    <a:pt x="1383" y="3061"/>
                    <a:pt x="1453" y="3134"/>
                  </a:cubicBezTo>
                  <a:cubicBezTo>
                    <a:pt x="1505" y="3190"/>
                    <a:pt x="1575" y="3225"/>
                    <a:pt x="1649" y="3232"/>
                  </a:cubicBezTo>
                  <a:cubicBezTo>
                    <a:pt x="1658" y="3232"/>
                    <a:pt x="1667" y="3232"/>
                    <a:pt x="1676" y="3232"/>
                  </a:cubicBezTo>
                  <a:cubicBezTo>
                    <a:pt x="1843" y="3232"/>
                    <a:pt x="1957" y="3264"/>
                    <a:pt x="2027" y="3330"/>
                  </a:cubicBezTo>
                  <a:cubicBezTo>
                    <a:pt x="2031" y="3334"/>
                    <a:pt x="2034" y="3337"/>
                    <a:pt x="2034" y="3341"/>
                  </a:cubicBezTo>
                  <a:cubicBezTo>
                    <a:pt x="2041" y="3348"/>
                    <a:pt x="2048" y="3355"/>
                    <a:pt x="2055" y="3365"/>
                  </a:cubicBezTo>
                  <a:cubicBezTo>
                    <a:pt x="2059" y="3369"/>
                    <a:pt x="2062" y="3372"/>
                    <a:pt x="2066" y="3379"/>
                  </a:cubicBezTo>
                  <a:lnTo>
                    <a:pt x="2087" y="3348"/>
                  </a:lnTo>
                  <a:lnTo>
                    <a:pt x="2101" y="3481"/>
                  </a:lnTo>
                  <a:lnTo>
                    <a:pt x="2104" y="3481"/>
                  </a:lnTo>
                  <a:lnTo>
                    <a:pt x="2104" y="3502"/>
                  </a:lnTo>
                  <a:cubicBezTo>
                    <a:pt x="2145" y="3507"/>
                    <a:pt x="2188" y="3510"/>
                    <a:pt x="2230" y="3510"/>
                  </a:cubicBezTo>
                  <a:cubicBezTo>
                    <a:pt x="2245" y="3510"/>
                    <a:pt x="2261" y="3510"/>
                    <a:pt x="2276" y="3509"/>
                  </a:cubicBezTo>
                  <a:cubicBezTo>
                    <a:pt x="2290" y="3508"/>
                    <a:pt x="2304" y="3508"/>
                    <a:pt x="2318" y="3508"/>
                  </a:cubicBezTo>
                  <a:cubicBezTo>
                    <a:pt x="2388" y="3508"/>
                    <a:pt x="2457" y="3515"/>
                    <a:pt x="2524" y="3530"/>
                  </a:cubicBezTo>
                  <a:lnTo>
                    <a:pt x="2531" y="3533"/>
                  </a:lnTo>
                  <a:cubicBezTo>
                    <a:pt x="2542" y="3537"/>
                    <a:pt x="2552" y="3540"/>
                    <a:pt x="2559" y="3544"/>
                  </a:cubicBezTo>
                  <a:cubicBezTo>
                    <a:pt x="2566" y="3544"/>
                    <a:pt x="2570" y="3547"/>
                    <a:pt x="2573" y="3551"/>
                  </a:cubicBezTo>
                  <a:cubicBezTo>
                    <a:pt x="2577" y="3554"/>
                    <a:pt x="2584" y="3558"/>
                    <a:pt x="2591" y="3565"/>
                  </a:cubicBezTo>
                  <a:cubicBezTo>
                    <a:pt x="2594" y="3568"/>
                    <a:pt x="2598" y="3572"/>
                    <a:pt x="2601" y="3575"/>
                  </a:cubicBezTo>
                  <a:cubicBezTo>
                    <a:pt x="2605" y="3579"/>
                    <a:pt x="2608" y="3582"/>
                    <a:pt x="2612" y="3589"/>
                  </a:cubicBezTo>
                  <a:cubicBezTo>
                    <a:pt x="2643" y="3614"/>
                    <a:pt x="2808" y="3624"/>
                    <a:pt x="2902" y="3631"/>
                  </a:cubicBezTo>
                  <a:cubicBezTo>
                    <a:pt x="2990" y="3635"/>
                    <a:pt x="3081" y="3645"/>
                    <a:pt x="3165" y="3663"/>
                  </a:cubicBezTo>
                  <a:lnTo>
                    <a:pt x="3203" y="3631"/>
                  </a:lnTo>
                  <a:lnTo>
                    <a:pt x="3224" y="3607"/>
                  </a:lnTo>
                  <a:lnTo>
                    <a:pt x="3305" y="3533"/>
                  </a:lnTo>
                  <a:cubicBezTo>
                    <a:pt x="3459" y="3386"/>
                    <a:pt x="3620" y="3236"/>
                    <a:pt x="3683" y="3148"/>
                  </a:cubicBezTo>
                  <a:cubicBezTo>
                    <a:pt x="3749" y="3064"/>
                    <a:pt x="3749" y="2963"/>
                    <a:pt x="3753" y="2861"/>
                  </a:cubicBezTo>
                  <a:cubicBezTo>
                    <a:pt x="3756" y="2763"/>
                    <a:pt x="3760" y="2651"/>
                    <a:pt x="3847" y="2598"/>
                  </a:cubicBezTo>
                  <a:cubicBezTo>
                    <a:pt x="3959" y="2518"/>
                    <a:pt x="4051" y="2413"/>
                    <a:pt x="4121" y="2294"/>
                  </a:cubicBezTo>
                  <a:cubicBezTo>
                    <a:pt x="4065" y="2259"/>
                    <a:pt x="4054" y="2182"/>
                    <a:pt x="4044" y="2112"/>
                  </a:cubicBezTo>
                  <a:cubicBezTo>
                    <a:pt x="4033" y="2031"/>
                    <a:pt x="4019" y="1940"/>
                    <a:pt x="3956" y="1877"/>
                  </a:cubicBezTo>
                  <a:cubicBezTo>
                    <a:pt x="3840" y="1762"/>
                    <a:pt x="3924" y="1660"/>
                    <a:pt x="3984" y="1590"/>
                  </a:cubicBezTo>
                  <a:cubicBezTo>
                    <a:pt x="4040" y="1517"/>
                    <a:pt x="4093" y="1457"/>
                    <a:pt x="4082" y="1352"/>
                  </a:cubicBezTo>
                  <a:cubicBezTo>
                    <a:pt x="4075" y="1216"/>
                    <a:pt x="4075" y="1076"/>
                    <a:pt x="4082" y="936"/>
                  </a:cubicBezTo>
                  <a:cubicBezTo>
                    <a:pt x="4089" y="803"/>
                    <a:pt x="4096" y="599"/>
                    <a:pt x="4079" y="547"/>
                  </a:cubicBezTo>
                  <a:cubicBezTo>
                    <a:pt x="4033" y="533"/>
                    <a:pt x="3988" y="519"/>
                    <a:pt x="3938" y="512"/>
                  </a:cubicBezTo>
                  <a:cubicBezTo>
                    <a:pt x="3798" y="477"/>
                    <a:pt x="3602" y="431"/>
                    <a:pt x="3455" y="337"/>
                  </a:cubicBezTo>
                  <a:cubicBezTo>
                    <a:pt x="3252" y="200"/>
                    <a:pt x="2790" y="176"/>
                    <a:pt x="2783" y="176"/>
                  </a:cubicBezTo>
                  <a:lnTo>
                    <a:pt x="2745" y="176"/>
                  </a:lnTo>
                  <a:lnTo>
                    <a:pt x="266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1" name="Google Shape;3711;p53"/>
            <p:cNvSpPr/>
            <p:nvPr/>
          </p:nvSpPr>
          <p:spPr>
            <a:xfrm>
              <a:off x="2193500" y="2179503"/>
              <a:ext cx="64425" cy="69177"/>
            </a:xfrm>
            <a:custGeom>
              <a:avLst/>
              <a:gdLst/>
              <a:ahLst/>
              <a:cxnLst/>
              <a:rect l="l" t="t" r="r" b="b"/>
              <a:pathLst>
                <a:path w="4745" h="5095" extrusionOk="0">
                  <a:moveTo>
                    <a:pt x="2627" y="1"/>
                  </a:moveTo>
                  <a:cubicBezTo>
                    <a:pt x="2518" y="32"/>
                    <a:pt x="2406" y="53"/>
                    <a:pt x="2294" y="60"/>
                  </a:cubicBezTo>
                  <a:cubicBezTo>
                    <a:pt x="2168" y="60"/>
                    <a:pt x="2021" y="197"/>
                    <a:pt x="1958" y="281"/>
                  </a:cubicBezTo>
                  <a:cubicBezTo>
                    <a:pt x="1940" y="305"/>
                    <a:pt x="1909" y="323"/>
                    <a:pt x="1877" y="323"/>
                  </a:cubicBezTo>
                  <a:cubicBezTo>
                    <a:pt x="1807" y="323"/>
                    <a:pt x="1744" y="260"/>
                    <a:pt x="1678" y="183"/>
                  </a:cubicBezTo>
                  <a:cubicBezTo>
                    <a:pt x="1646" y="148"/>
                    <a:pt x="1615" y="113"/>
                    <a:pt x="1580" y="85"/>
                  </a:cubicBezTo>
                  <a:cubicBezTo>
                    <a:pt x="1575" y="83"/>
                    <a:pt x="1569" y="82"/>
                    <a:pt x="1562" y="82"/>
                  </a:cubicBezTo>
                  <a:cubicBezTo>
                    <a:pt x="1484" y="82"/>
                    <a:pt x="1263" y="176"/>
                    <a:pt x="1174" y="211"/>
                  </a:cubicBezTo>
                  <a:cubicBezTo>
                    <a:pt x="1107" y="239"/>
                    <a:pt x="1055" y="263"/>
                    <a:pt x="1020" y="270"/>
                  </a:cubicBezTo>
                  <a:cubicBezTo>
                    <a:pt x="866" y="302"/>
                    <a:pt x="708" y="323"/>
                    <a:pt x="551" y="333"/>
                  </a:cubicBezTo>
                  <a:lnTo>
                    <a:pt x="551" y="2150"/>
                  </a:lnTo>
                  <a:cubicBezTo>
                    <a:pt x="551" y="2329"/>
                    <a:pt x="326" y="2343"/>
                    <a:pt x="162" y="2353"/>
                  </a:cubicBezTo>
                  <a:cubicBezTo>
                    <a:pt x="109" y="2353"/>
                    <a:pt x="53" y="2360"/>
                    <a:pt x="1" y="2374"/>
                  </a:cubicBezTo>
                  <a:lnTo>
                    <a:pt x="1" y="3922"/>
                  </a:lnTo>
                  <a:lnTo>
                    <a:pt x="8" y="3925"/>
                  </a:lnTo>
                  <a:lnTo>
                    <a:pt x="32" y="3936"/>
                  </a:lnTo>
                  <a:lnTo>
                    <a:pt x="60" y="3950"/>
                  </a:lnTo>
                  <a:lnTo>
                    <a:pt x="81" y="3960"/>
                  </a:lnTo>
                  <a:lnTo>
                    <a:pt x="106" y="3974"/>
                  </a:lnTo>
                  <a:lnTo>
                    <a:pt x="127" y="3985"/>
                  </a:lnTo>
                  <a:lnTo>
                    <a:pt x="148" y="3999"/>
                  </a:lnTo>
                  <a:lnTo>
                    <a:pt x="162" y="4009"/>
                  </a:lnTo>
                  <a:lnTo>
                    <a:pt x="183" y="4023"/>
                  </a:lnTo>
                  <a:lnTo>
                    <a:pt x="193" y="4034"/>
                  </a:lnTo>
                  <a:cubicBezTo>
                    <a:pt x="200" y="4037"/>
                    <a:pt x="204" y="4044"/>
                    <a:pt x="211" y="4048"/>
                  </a:cubicBezTo>
                  <a:lnTo>
                    <a:pt x="221" y="4058"/>
                  </a:lnTo>
                  <a:cubicBezTo>
                    <a:pt x="225" y="4065"/>
                    <a:pt x="228" y="4072"/>
                    <a:pt x="232" y="4076"/>
                  </a:cubicBezTo>
                  <a:lnTo>
                    <a:pt x="239" y="4086"/>
                  </a:lnTo>
                  <a:cubicBezTo>
                    <a:pt x="246" y="4097"/>
                    <a:pt x="249" y="4104"/>
                    <a:pt x="253" y="4114"/>
                  </a:cubicBezTo>
                  <a:lnTo>
                    <a:pt x="260" y="4132"/>
                  </a:lnTo>
                  <a:cubicBezTo>
                    <a:pt x="393" y="4464"/>
                    <a:pt x="466" y="4678"/>
                    <a:pt x="431" y="4772"/>
                  </a:cubicBezTo>
                  <a:cubicBezTo>
                    <a:pt x="417" y="4825"/>
                    <a:pt x="375" y="4867"/>
                    <a:pt x="326" y="4881"/>
                  </a:cubicBezTo>
                  <a:cubicBezTo>
                    <a:pt x="323" y="4909"/>
                    <a:pt x="323" y="4933"/>
                    <a:pt x="319" y="4958"/>
                  </a:cubicBezTo>
                  <a:cubicBezTo>
                    <a:pt x="316" y="4989"/>
                    <a:pt x="309" y="5042"/>
                    <a:pt x="319" y="5052"/>
                  </a:cubicBezTo>
                  <a:cubicBezTo>
                    <a:pt x="319" y="5052"/>
                    <a:pt x="330" y="5059"/>
                    <a:pt x="358" y="5059"/>
                  </a:cubicBezTo>
                  <a:cubicBezTo>
                    <a:pt x="414" y="5059"/>
                    <a:pt x="470" y="5066"/>
                    <a:pt x="526" y="5077"/>
                  </a:cubicBezTo>
                  <a:cubicBezTo>
                    <a:pt x="588" y="5085"/>
                    <a:pt x="653" y="5094"/>
                    <a:pt x="711" y="5094"/>
                  </a:cubicBezTo>
                  <a:cubicBezTo>
                    <a:pt x="774" y="5094"/>
                    <a:pt x="828" y="5084"/>
                    <a:pt x="859" y="5049"/>
                  </a:cubicBezTo>
                  <a:cubicBezTo>
                    <a:pt x="894" y="5007"/>
                    <a:pt x="950" y="4954"/>
                    <a:pt x="1016" y="4891"/>
                  </a:cubicBezTo>
                  <a:cubicBezTo>
                    <a:pt x="1135" y="4779"/>
                    <a:pt x="1335" y="4597"/>
                    <a:pt x="1345" y="4517"/>
                  </a:cubicBezTo>
                  <a:cubicBezTo>
                    <a:pt x="1352" y="4426"/>
                    <a:pt x="1394" y="4209"/>
                    <a:pt x="1541" y="4139"/>
                  </a:cubicBezTo>
                  <a:cubicBezTo>
                    <a:pt x="1571" y="4124"/>
                    <a:pt x="1602" y="4117"/>
                    <a:pt x="1635" y="4117"/>
                  </a:cubicBezTo>
                  <a:cubicBezTo>
                    <a:pt x="1692" y="4117"/>
                    <a:pt x="1754" y="4139"/>
                    <a:pt x="1818" y="4181"/>
                  </a:cubicBezTo>
                  <a:lnTo>
                    <a:pt x="1884" y="4226"/>
                  </a:lnTo>
                  <a:cubicBezTo>
                    <a:pt x="2091" y="4359"/>
                    <a:pt x="2122" y="4380"/>
                    <a:pt x="2427" y="4380"/>
                  </a:cubicBezTo>
                  <a:cubicBezTo>
                    <a:pt x="2784" y="4380"/>
                    <a:pt x="2833" y="4363"/>
                    <a:pt x="2882" y="4188"/>
                  </a:cubicBezTo>
                  <a:cubicBezTo>
                    <a:pt x="2896" y="4128"/>
                    <a:pt x="2907" y="4072"/>
                    <a:pt x="2914" y="4013"/>
                  </a:cubicBezTo>
                  <a:cubicBezTo>
                    <a:pt x="2931" y="3880"/>
                    <a:pt x="2949" y="3733"/>
                    <a:pt x="3155" y="3733"/>
                  </a:cubicBezTo>
                  <a:cubicBezTo>
                    <a:pt x="3344" y="3733"/>
                    <a:pt x="3558" y="3554"/>
                    <a:pt x="3558" y="3459"/>
                  </a:cubicBezTo>
                  <a:cubicBezTo>
                    <a:pt x="3558" y="3284"/>
                    <a:pt x="3673" y="3022"/>
                    <a:pt x="3852" y="3022"/>
                  </a:cubicBezTo>
                  <a:cubicBezTo>
                    <a:pt x="3957" y="3022"/>
                    <a:pt x="4198" y="2875"/>
                    <a:pt x="4223" y="2749"/>
                  </a:cubicBezTo>
                  <a:cubicBezTo>
                    <a:pt x="4251" y="2616"/>
                    <a:pt x="4370" y="2588"/>
                    <a:pt x="4461" y="2570"/>
                  </a:cubicBezTo>
                  <a:cubicBezTo>
                    <a:pt x="4503" y="2567"/>
                    <a:pt x="4541" y="2553"/>
                    <a:pt x="4576" y="2528"/>
                  </a:cubicBezTo>
                  <a:lnTo>
                    <a:pt x="4590" y="2511"/>
                  </a:lnTo>
                  <a:lnTo>
                    <a:pt x="4594" y="2504"/>
                  </a:lnTo>
                  <a:lnTo>
                    <a:pt x="4604" y="2490"/>
                  </a:lnTo>
                  <a:lnTo>
                    <a:pt x="4611" y="2479"/>
                  </a:lnTo>
                  <a:lnTo>
                    <a:pt x="4625" y="2465"/>
                  </a:lnTo>
                  <a:lnTo>
                    <a:pt x="4632" y="2451"/>
                  </a:lnTo>
                  <a:lnTo>
                    <a:pt x="4646" y="2434"/>
                  </a:lnTo>
                  <a:lnTo>
                    <a:pt x="4657" y="2420"/>
                  </a:lnTo>
                  <a:lnTo>
                    <a:pt x="4667" y="2402"/>
                  </a:lnTo>
                  <a:lnTo>
                    <a:pt x="4682" y="2381"/>
                  </a:lnTo>
                  <a:lnTo>
                    <a:pt x="4696" y="2364"/>
                  </a:lnTo>
                  <a:lnTo>
                    <a:pt x="4710" y="2343"/>
                  </a:lnTo>
                  <a:lnTo>
                    <a:pt x="4724" y="2322"/>
                  </a:lnTo>
                  <a:lnTo>
                    <a:pt x="4738" y="2301"/>
                  </a:lnTo>
                  <a:lnTo>
                    <a:pt x="4745" y="2290"/>
                  </a:lnTo>
                  <a:cubicBezTo>
                    <a:pt x="4741" y="2283"/>
                    <a:pt x="4741" y="2280"/>
                    <a:pt x="4741" y="2276"/>
                  </a:cubicBezTo>
                  <a:lnTo>
                    <a:pt x="4741" y="2262"/>
                  </a:lnTo>
                  <a:cubicBezTo>
                    <a:pt x="4741" y="2259"/>
                    <a:pt x="4741" y="2255"/>
                    <a:pt x="4738" y="2252"/>
                  </a:cubicBezTo>
                  <a:cubicBezTo>
                    <a:pt x="4734" y="2245"/>
                    <a:pt x="4734" y="2241"/>
                    <a:pt x="4734" y="2238"/>
                  </a:cubicBezTo>
                  <a:cubicBezTo>
                    <a:pt x="4731" y="2234"/>
                    <a:pt x="4731" y="2231"/>
                    <a:pt x="4727" y="2227"/>
                  </a:cubicBezTo>
                  <a:cubicBezTo>
                    <a:pt x="4724" y="2224"/>
                    <a:pt x="4724" y="2220"/>
                    <a:pt x="4720" y="2217"/>
                  </a:cubicBezTo>
                  <a:cubicBezTo>
                    <a:pt x="4720" y="2213"/>
                    <a:pt x="4717" y="2210"/>
                    <a:pt x="4713" y="2206"/>
                  </a:cubicBezTo>
                  <a:cubicBezTo>
                    <a:pt x="4710" y="2203"/>
                    <a:pt x="4710" y="2199"/>
                    <a:pt x="4706" y="2196"/>
                  </a:cubicBezTo>
                  <a:cubicBezTo>
                    <a:pt x="4666" y="2158"/>
                    <a:pt x="4584" y="2135"/>
                    <a:pt x="4471" y="2135"/>
                  </a:cubicBezTo>
                  <a:cubicBezTo>
                    <a:pt x="4457" y="2135"/>
                    <a:pt x="4442" y="2135"/>
                    <a:pt x="4426" y="2136"/>
                  </a:cubicBezTo>
                  <a:cubicBezTo>
                    <a:pt x="4423" y="2136"/>
                    <a:pt x="4420" y="2136"/>
                    <a:pt x="4417" y="2136"/>
                  </a:cubicBezTo>
                  <a:cubicBezTo>
                    <a:pt x="4328" y="2136"/>
                    <a:pt x="4223" y="2084"/>
                    <a:pt x="4132" y="2000"/>
                  </a:cubicBezTo>
                  <a:cubicBezTo>
                    <a:pt x="4041" y="1909"/>
                    <a:pt x="3974" y="1786"/>
                    <a:pt x="3974" y="1688"/>
                  </a:cubicBezTo>
                  <a:cubicBezTo>
                    <a:pt x="3974" y="1618"/>
                    <a:pt x="3918" y="1548"/>
                    <a:pt x="3862" y="1481"/>
                  </a:cubicBezTo>
                  <a:cubicBezTo>
                    <a:pt x="3806" y="1415"/>
                    <a:pt x="3754" y="1352"/>
                    <a:pt x="3754" y="1275"/>
                  </a:cubicBezTo>
                  <a:cubicBezTo>
                    <a:pt x="3743" y="1226"/>
                    <a:pt x="3516" y="1068"/>
                    <a:pt x="3250" y="953"/>
                  </a:cubicBezTo>
                  <a:cubicBezTo>
                    <a:pt x="3106" y="893"/>
                    <a:pt x="3047" y="659"/>
                    <a:pt x="2998" y="470"/>
                  </a:cubicBezTo>
                  <a:lnTo>
                    <a:pt x="2991" y="445"/>
                  </a:lnTo>
                  <a:cubicBezTo>
                    <a:pt x="2980" y="396"/>
                    <a:pt x="2966" y="347"/>
                    <a:pt x="2949" y="298"/>
                  </a:cubicBezTo>
                  <a:cubicBezTo>
                    <a:pt x="2942" y="298"/>
                    <a:pt x="2935" y="295"/>
                    <a:pt x="2928" y="291"/>
                  </a:cubicBezTo>
                  <a:lnTo>
                    <a:pt x="2921" y="288"/>
                  </a:lnTo>
                  <a:lnTo>
                    <a:pt x="2907" y="281"/>
                  </a:lnTo>
                  <a:lnTo>
                    <a:pt x="2896" y="277"/>
                  </a:lnTo>
                  <a:lnTo>
                    <a:pt x="2882" y="267"/>
                  </a:lnTo>
                  <a:lnTo>
                    <a:pt x="2875" y="260"/>
                  </a:lnTo>
                  <a:lnTo>
                    <a:pt x="2861" y="253"/>
                  </a:lnTo>
                  <a:lnTo>
                    <a:pt x="2851" y="246"/>
                  </a:lnTo>
                  <a:lnTo>
                    <a:pt x="2837" y="232"/>
                  </a:lnTo>
                  <a:lnTo>
                    <a:pt x="2826" y="225"/>
                  </a:lnTo>
                  <a:lnTo>
                    <a:pt x="2812" y="214"/>
                  </a:lnTo>
                  <a:lnTo>
                    <a:pt x="2805" y="204"/>
                  </a:lnTo>
                  <a:lnTo>
                    <a:pt x="2788" y="190"/>
                  </a:lnTo>
                  <a:lnTo>
                    <a:pt x="2781" y="183"/>
                  </a:lnTo>
                  <a:lnTo>
                    <a:pt x="2760" y="158"/>
                  </a:lnTo>
                  <a:lnTo>
                    <a:pt x="2749" y="148"/>
                  </a:lnTo>
                  <a:lnTo>
                    <a:pt x="2735" y="134"/>
                  </a:lnTo>
                  <a:lnTo>
                    <a:pt x="2725" y="123"/>
                  </a:lnTo>
                  <a:lnTo>
                    <a:pt x="2714" y="109"/>
                  </a:lnTo>
                  <a:lnTo>
                    <a:pt x="2704" y="99"/>
                  </a:lnTo>
                  <a:lnTo>
                    <a:pt x="2693" y="85"/>
                  </a:lnTo>
                  <a:lnTo>
                    <a:pt x="2686" y="74"/>
                  </a:lnTo>
                  <a:lnTo>
                    <a:pt x="2676" y="60"/>
                  </a:lnTo>
                  <a:lnTo>
                    <a:pt x="2665" y="50"/>
                  </a:lnTo>
                  <a:lnTo>
                    <a:pt x="2655" y="36"/>
                  </a:lnTo>
                  <a:lnTo>
                    <a:pt x="2648" y="25"/>
                  </a:lnTo>
                  <a:lnTo>
                    <a:pt x="2637" y="8"/>
                  </a:lnTo>
                  <a:lnTo>
                    <a:pt x="263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2" name="Google Shape;3712;p53"/>
            <p:cNvSpPr/>
            <p:nvPr/>
          </p:nvSpPr>
          <p:spPr>
            <a:xfrm>
              <a:off x="2229155" y="217950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1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3" name="Google Shape;3713;p53"/>
            <p:cNvSpPr/>
            <p:nvPr/>
          </p:nvSpPr>
          <p:spPr>
            <a:xfrm>
              <a:off x="2229209" y="217950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4" name="Google Shape;3714;p53"/>
            <p:cNvSpPr/>
            <p:nvPr/>
          </p:nvSpPr>
          <p:spPr>
            <a:xfrm>
              <a:off x="2257776" y="221006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cubicBezTo>
                    <a:pt x="0" y="4"/>
                    <a:pt x="4" y="8"/>
                    <a:pt x="4" y="11"/>
                  </a:cubicBezTo>
                  <a:cubicBezTo>
                    <a:pt x="4" y="8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5" name="Google Shape;3715;p53"/>
            <p:cNvSpPr/>
            <p:nvPr/>
          </p:nvSpPr>
          <p:spPr>
            <a:xfrm>
              <a:off x="2257491" y="2209455"/>
              <a:ext cx="95" cy="149"/>
            </a:xfrm>
            <a:custGeom>
              <a:avLst/>
              <a:gdLst/>
              <a:ahLst/>
              <a:cxnLst/>
              <a:rect l="l" t="t" r="r" b="b"/>
              <a:pathLst>
                <a:path w="7" h="11" extrusionOk="0">
                  <a:moveTo>
                    <a:pt x="7" y="11"/>
                  </a:moveTo>
                  <a:cubicBezTo>
                    <a:pt x="4" y="7"/>
                    <a:pt x="0" y="4"/>
                    <a:pt x="0" y="0"/>
                  </a:cubicBezTo>
                  <a:cubicBezTo>
                    <a:pt x="0" y="4"/>
                    <a:pt x="4" y="7"/>
                    <a:pt x="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6" name="Google Shape;3716;p53"/>
            <p:cNvSpPr/>
            <p:nvPr/>
          </p:nvSpPr>
          <p:spPr>
            <a:xfrm>
              <a:off x="2233106" y="218340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7" name="Google Shape;3717;p53"/>
            <p:cNvSpPr/>
            <p:nvPr/>
          </p:nvSpPr>
          <p:spPr>
            <a:xfrm>
              <a:off x="2257871" y="2210406"/>
              <a:ext cx="0" cy="149"/>
            </a:xfrm>
            <a:custGeom>
              <a:avLst/>
              <a:gdLst/>
              <a:ahLst/>
              <a:cxnLst/>
              <a:rect l="l" t="t" r="r" b="b"/>
              <a:pathLst>
                <a:path h="11" extrusionOk="0">
                  <a:moveTo>
                    <a:pt x="0" y="11"/>
                  </a:moveTo>
                  <a:lnTo>
                    <a:pt x="0" y="11"/>
                  </a:lnTo>
                  <a:lnTo>
                    <a:pt x="0" y="4"/>
                  </a:lnTo>
                  <a:cubicBezTo>
                    <a:pt x="0" y="0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8" name="Google Shape;3718;p53"/>
            <p:cNvSpPr/>
            <p:nvPr/>
          </p:nvSpPr>
          <p:spPr>
            <a:xfrm>
              <a:off x="2249589" y="2206645"/>
              <a:ext cx="3965" cy="1874"/>
            </a:xfrm>
            <a:custGeom>
              <a:avLst/>
              <a:gdLst/>
              <a:ahLst/>
              <a:cxnLst/>
              <a:rect l="l" t="t" r="r" b="b"/>
              <a:pathLst>
                <a:path w="292" h="138" extrusionOk="0">
                  <a:moveTo>
                    <a:pt x="1" y="1"/>
                  </a:moveTo>
                  <a:cubicBezTo>
                    <a:pt x="35" y="33"/>
                    <a:pt x="71" y="60"/>
                    <a:pt x="108" y="82"/>
                  </a:cubicBezTo>
                  <a:lnTo>
                    <a:pt x="108" y="82"/>
                  </a:lnTo>
                  <a:cubicBezTo>
                    <a:pt x="72" y="60"/>
                    <a:pt x="36" y="33"/>
                    <a:pt x="1" y="1"/>
                  </a:cubicBezTo>
                  <a:close/>
                  <a:moveTo>
                    <a:pt x="108" y="82"/>
                  </a:moveTo>
                  <a:cubicBezTo>
                    <a:pt x="168" y="117"/>
                    <a:pt x="228" y="137"/>
                    <a:pt x="283" y="137"/>
                  </a:cubicBezTo>
                  <a:cubicBezTo>
                    <a:pt x="286" y="137"/>
                    <a:pt x="289" y="137"/>
                    <a:pt x="291" y="137"/>
                  </a:cubicBezTo>
                  <a:cubicBezTo>
                    <a:pt x="234" y="137"/>
                    <a:pt x="170" y="118"/>
                    <a:pt x="108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9" name="Google Shape;3719;p53"/>
            <p:cNvSpPr/>
            <p:nvPr/>
          </p:nvSpPr>
          <p:spPr>
            <a:xfrm>
              <a:off x="2257681" y="220974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11"/>
                  </a:moveTo>
                  <a:cubicBezTo>
                    <a:pt x="4" y="7"/>
                    <a:pt x="0" y="4"/>
                    <a:pt x="0" y="0"/>
                  </a:cubicBezTo>
                  <a:cubicBezTo>
                    <a:pt x="0" y="4"/>
                    <a:pt x="4" y="7"/>
                    <a:pt x="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0" name="Google Shape;3720;p53"/>
            <p:cNvSpPr/>
            <p:nvPr/>
          </p:nvSpPr>
          <p:spPr>
            <a:xfrm>
              <a:off x="2229915" y="218050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1" name="Google Shape;3721;p53"/>
            <p:cNvSpPr/>
            <p:nvPr/>
          </p:nvSpPr>
          <p:spPr>
            <a:xfrm>
              <a:off x="2230200" y="2180834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2" name="Google Shape;3722;p53"/>
            <p:cNvSpPr/>
            <p:nvPr/>
          </p:nvSpPr>
          <p:spPr>
            <a:xfrm>
              <a:off x="2229399" y="2179843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3" name="Google Shape;3723;p53"/>
            <p:cNvSpPr/>
            <p:nvPr/>
          </p:nvSpPr>
          <p:spPr>
            <a:xfrm>
              <a:off x="2229684" y="21801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4" name="Google Shape;3724;p53"/>
            <p:cNvSpPr/>
            <p:nvPr/>
          </p:nvSpPr>
          <p:spPr>
            <a:xfrm>
              <a:off x="2230485" y="2181173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5" name="Google Shape;3725;p53"/>
            <p:cNvSpPr/>
            <p:nvPr/>
          </p:nvSpPr>
          <p:spPr>
            <a:xfrm>
              <a:off x="2232156" y="218283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6" name="Google Shape;3726;p53"/>
            <p:cNvSpPr/>
            <p:nvPr/>
          </p:nvSpPr>
          <p:spPr>
            <a:xfrm>
              <a:off x="2231870" y="218254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7" name="Google Shape;3727;p53"/>
            <p:cNvSpPr/>
            <p:nvPr/>
          </p:nvSpPr>
          <p:spPr>
            <a:xfrm>
              <a:off x="2232821" y="218326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8" name="Google Shape;3728;p53"/>
            <p:cNvSpPr/>
            <p:nvPr/>
          </p:nvSpPr>
          <p:spPr>
            <a:xfrm>
              <a:off x="2231205" y="218197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9" name="Google Shape;3729;p53"/>
            <p:cNvSpPr/>
            <p:nvPr/>
          </p:nvSpPr>
          <p:spPr>
            <a:xfrm>
              <a:off x="2231531" y="2182259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0" name="Google Shape;3730;p53"/>
            <p:cNvSpPr/>
            <p:nvPr/>
          </p:nvSpPr>
          <p:spPr>
            <a:xfrm>
              <a:off x="2230771" y="218155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1" name="Google Shape;3731;p53"/>
            <p:cNvSpPr/>
            <p:nvPr/>
          </p:nvSpPr>
          <p:spPr>
            <a:xfrm>
              <a:off x="2232481" y="2183074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2" name="Google Shape;3732;p53"/>
            <p:cNvSpPr/>
            <p:nvPr/>
          </p:nvSpPr>
          <p:spPr>
            <a:xfrm>
              <a:off x="2271462" y="2241294"/>
              <a:ext cx="8133" cy="10523"/>
            </a:xfrm>
            <a:custGeom>
              <a:avLst/>
              <a:gdLst/>
              <a:ahLst/>
              <a:cxnLst/>
              <a:rect l="l" t="t" r="r" b="b"/>
              <a:pathLst>
                <a:path w="599" h="775" extrusionOk="0">
                  <a:moveTo>
                    <a:pt x="308" y="1"/>
                  </a:moveTo>
                  <a:cubicBezTo>
                    <a:pt x="301" y="1"/>
                    <a:pt x="298" y="1"/>
                    <a:pt x="291" y="4"/>
                  </a:cubicBezTo>
                  <a:cubicBezTo>
                    <a:pt x="249" y="25"/>
                    <a:pt x="210" y="53"/>
                    <a:pt x="179" y="88"/>
                  </a:cubicBezTo>
                  <a:cubicBezTo>
                    <a:pt x="98" y="169"/>
                    <a:pt x="11" y="288"/>
                    <a:pt x="0" y="333"/>
                  </a:cubicBezTo>
                  <a:cubicBezTo>
                    <a:pt x="11" y="410"/>
                    <a:pt x="172" y="764"/>
                    <a:pt x="277" y="771"/>
                  </a:cubicBezTo>
                  <a:cubicBezTo>
                    <a:pt x="309" y="773"/>
                    <a:pt x="337" y="774"/>
                    <a:pt x="361" y="774"/>
                  </a:cubicBezTo>
                  <a:cubicBezTo>
                    <a:pt x="493" y="774"/>
                    <a:pt x="508" y="743"/>
                    <a:pt x="511" y="708"/>
                  </a:cubicBezTo>
                  <a:cubicBezTo>
                    <a:pt x="515" y="694"/>
                    <a:pt x="518" y="680"/>
                    <a:pt x="522" y="666"/>
                  </a:cubicBezTo>
                  <a:lnTo>
                    <a:pt x="522" y="662"/>
                  </a:lnTo>
                  <a:cubicBezTo>
                    <a:pt x="525" y="648"/>
                    <a:pt x="529" y="634"/>
                    <a:pt x="536" y="624"/>
                  </a:cubicBezTo>
                  <a:lnTo>
                    <a:pt x="539" y="617"/>
                  </a:lnTo>
                  <a:cubicBezTo>
                    <a:pt x="546" y="603"/>
                    <a:pt x="553" y="592"/>
                    <a:pt x="564" y="582"/>
                  </a:cubicBezTo>
                  <a:lnTo>
                    <a:pt x="567" y="578"/>
                  </a:lnTo>
                  <a:cubicBezTo>
                    <a:pt x="578" y="564"/>
                    <a:pt x="585" y="554"/>
                    <a:pt x="599" y="543"/>
                  </a:cubicBezTo>
                  <a:lnTo>
                    <a:pt x="599" y="540"/>
                  </a:lnTo>
                  <a:cubicBezTo>
                    <a:pt x="588" y="424"/>
                    <a:pt x="567" y="256"/>
                    <a:pt x="557" y="134"/>
                  </a:cubicBezTo>
                  <a:lnTo>
                    <a:pt x="543" y="123"/>
                  </a:lnTo>
                  <a:cubicBezTo>
                    <a:pt x="469" y="71"/>
                    <a:pt x="364" y="1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3" name="Google Shape;3733;p53"/>
            <p:cNvSpPr/>
            <p:nvPr/>
          </p:nvSpPr>
          <p:spPr>
            <a:xfrm>
              <a:off x="2244837" y="2263697"/>
              <a:ext cx="14704" cy="14922"/>
            </a:xfrm>
            <a:custGeom>
              <a:avLst/>
              <a:gdLst/>
              <a:ahLst/>
              <a:cxnLst/>
              <a:rect l="l" t="t" r="r" b="b"/>
              <a:pathLst>
                <a:path w="1083" h="1099" extrusionOk="0">
                  <a:moveTo>
                    <a:pt x="710" y="0"/>
                  </a:moveTo>
                  <a:cubicBezTo>
                    <a:pt x="702" y="0"/>
                    <a:pt x="694" y="1"/>
                    <a:pt x="687" y="3"/>
                  </a:cubicBezTo>
                  <a:cubicBezTo>
                    <a:pt x="676" y="7"/>
                    <a:pt x="666" y="7"/>
                    <a:pt x="655" y="10"/>
                  </a:cubicBezTo>
                  <a:cubicBezTo>
                    <a:pt x="515" y="45"/>
                    <a:pt x="333" y="168"/>
                    <a:pt x="302" y="231"/>
                  </a:cubicBezTo>
                  <a:cubicBezTo>
                    <a:pt x="211" y="385"/>
                    <a:pt x="109" y="539"/>
                    <a:pt x="1" y="686"/>
                  </a:cubicBezTo>
                  <a:lnTo>
                    <a:pt x="281" y="1078"/>
                  </a:lnTo>
                  <a:lnTo>
                    <a:pt x="428" y="1099"/>
                  </a:lnTo>
                  <a:cubicBezTo>
                    <a:pt x="452" y="1043"/>
                    <a:pt x="498" y="941"/>
                    <a:pt x="540" y="850"/>
                  </a:cubicBezTo>
                  <a:cubicBezTo>
                    <a:pt x="577" y="777"/>
                    <a:pt x="650" y="762"/>
                    <a:pt x="722" y="762"/>
                  </a:cubicBezTo>
                  <a:cubicBezTo>
                    <a:pt x="752" y="762"/>
                    <a:pt x="782" y="764"/>
                    <a:pt x="809" y="766"/>
                  </a:cubicBezTo>
                  <a:cubicBezTo>
                    <a:pt x="830" y="766"/>
                    <a:pt x="855" y="773"/>
                    <a:pt x="872" y="773"/>
                  </a:cubicBezTo>
                  <a:lnTo>
                    <a:pt x="890" y="773"/>
                  </a:lnTo>
                  <a:cubicBezTo>
                    <a:pt x="901" y="700"/>
                    <a:pt x="932" y="633"/>
                    <a:pt x="981" y="577"/>
                  </a:cubicBezTo>
                  <a:lnTo>
                    <a:pt x="999" y="549"/>
                  </a:lnTo>
                  <a:cubicBezTo>
                    <a:pt x="1041" y="497"/>
                    <a:pt x="1083" y="437"/>
                    <a:pt x="1083" y="395"/>
                  </a:cubicBezTo>
                  <a:cubicBezTo>
                    <a:pt x="1083" y="353"/>
                    <a:pt x="981" y="259"/>
                    <a:pt x="915" y="199"/>
                  </a:cubicBezTo>
                  <a:cubicBezTo>
                    <a:pt x="886" y="175"/>
                    <a:pt x="858" y="150"/>
                    <a:pt x="830" y="126"/>
                  </a:cubicBezTo>
                  <a:lnTo>
                    <a:pt x="827" y="122"/>
                  </a:lnTo>
                  <a:lnTo>
                    <a:pt x="806" y="101"/>
                  </a:lnTo>
                  <a:lnTo>
                    <a:pt x="795" y="87"/>
                  </a:lnTo>
                  <a:lnTo>
                    <a:pt x="785" y="77"/>
                  </a:lnTo>
                  <a:lnTo>
                    <a:pt x="774" y="63"/>
                  </a:lnTo>
                  <a:lnTo>
                    <a:pt x="764" y="52"/>
                  </a:lnTo>
                  <a:lnTo>
                    <a:pt x="757" y="38"/>
                  </a:lnTo>
                  <a:lnTo>
                    <a:pt x="746" y="28"/>
                  </a:lnTo>
                  <a:cubicBezTo>
                    <a:pt x="746" y="24"/>
                    <a:pt x="743" y="21"/>
                    <a:pt x="739" y="17"/>
                  </a:cubicBezTo>
                  <a:cubicBezTo>
                    <a:pt x="739" y="10"/>
                    <a:pt x="736" y="7"/>
                    <a:pt x="732" y="3"/>
                  </a:cubicBezTo>
                  <a:cubicBezTo>
                    <a:pt x="725" y="1"/>
                    <a:pt x="718" y="0"/>
                    <a:pt x="7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4" name="Google Shape;3734;p53"/>
            <p:cNvSpPr/>
            <p:nvPr/>
          </p:nvSpPr>
          <p:spPr>
            <a:xfrm>
              <a:off x="2168694" y="2212021"/>
              <a:ext cx="116509" cy="102252"/>
            </a:xfrm>
            <a:custGeom>
              <a:avLst/>
              <a:gdLst/>
              <a:ahLst/>
              <a:cxnLst/>
              <a:rect l="l" t="t" r="r" b="b"/>
              <a:pathLst>
                <a:path w="8581" h="7531" extrusionOk="0">
                  <a:moveTo>
                    <a:pt x="6332" y="3675"/>
                  </a:moveTo>
                  <a:cubicBezTo>
                    <a:pt x="6382" y="3675"/>
                    <a:pt x="6431" y="3705"/>
                    <a:pt x="6456" y="3750"/>
                  </a:cubicBezTo>
                  <a:cubicBezTo>
                    <a:pt x="6466" y="3767"/>
                    <a:pt x="6477" y="3785"/>
                    <a:pt x="6491" y="3802"/>
                  </a:cubicBezTo>
                  <a:cubicBezTo>
                    <a:pt x="6530" y="3837"/>
                    <a:pt x="6568" y="3876"/>
                    <a:pt x="6607" y="3911"/>
                  </a:cubicBezTo>
                  <a:cubicBezTo>
                    <a:pt x="6715" y="4005"/>
                    <a:pt x="6817" y="4096"/>
                    <a:pt x="6817" y="4201"/>
                  </a:cubicBezTo>
                  <a:cubicBezTo>
                    <a:pt x="6820" y="4285"/>
                    <a:pt x="6764" y="4359"/>
                    <a:pt x="6708" y="4432"/>
                  </a:cubicBezTo>
                  <a:lnTo>
                    <a:pt x="6712" y="4432"/>
                  </a:lnTo>
                  <a:cubicBezTo>
                    <a:pt x="6670" y="4488"/>
                    <a:pt x="6628" y="4544"/>
                    <a:pt x="6628" y="4586"/>
                  </a:cubicBezTo>
                  <a:cubicBezTo>
                    <a:pt x="6628" y="4621"/>
                    <a:pt x="6614" y="4653"/>
                    <a:pt x="6589" y="4674"/>
                  </a:cubicBezTo>
                  <a:cubicBezTo>
                    <a:pt x="6562" y="4701"/>
                    <a:pt x="6528" y="4708"/>
                    <a:pt x="6489" y="4708"/>
                  </a:cubicBezTo>
                  <a:cubicBezTo>
                    <a:pt x="6462" y="4708"/>
                    <a:pt x="6433" y="4705"/>
                    <a:pt x="6403" y="4702"/>
                  </a:cubicBezTo>
                  <a:cubicBezTo>
                    <a:pt x="6377" y="4700"/>
                    <a:pt x="6346" y="4697"/>
                    <a:pt x="6319" y="4697"/>
                  </a:cubicBezTo>
                  <a:cubicBezTo>
                    <a:pt x="6292" y="4697"/>
                    <a:pt x="6270" y="4700"/>
                    <a:pt x="6263" y="4712"/>
                  </a:cubicBezTo>
                  <a:cubicBezTo>
                    <a:pt x="6221" y="4807"/>
                    <a:pt x="6172" y="4915"/>
                    <a:pt x="6148" y="4968"/>
                  </a:cubicBezTo>
                  <a:lnTo>
                    <a:pt x="6148" y="4975"/>
                  </a:lnTo>
                  <a:lnTo>
                    <a:pt x="6137" y="4999"/>
                  </a:lnTo>
                  <a:lnTo>
                    <a:pt x="6116" y="5048"/>
                  </a:lnTo>
                  <a:lnTo>
                    <a:pt x="5812" y="5003"/>
                  </a:lnTo>
                  <a:lnTo>
                    <a:pt x="5444" y="4492"/>
                  </a:lnTo>
                  <a:lnTo>
                    <a:pt x="5472" y="4453"/>
                  </a:lnTo>
                  <a:cubicBezTo>
                    <a:pt x="5472" y="4450"/>
                    <a:pt x="5728" y="4100"/>
                    <a:pt x="5787" y="3977"/>
                  </a:cubicBezTo>
                  <a:cubicBezTo>
                    <a:pt x="5850" y="3855"/>
                    <a:pt x="6155" y="3676"/>
                    <a:pt x="6316" y="3676"/>
                  </a:cubicBezTo>
                  <a:cubicBezTo>
                    <a:pt x="6321" y="3675"/>
                    <a:pt x="6326" y="3675"/>
                    <a:pt x="6332" y="3675"/>
                  </a:cubicBezTo>
                  <a:close/>
                  <a:moveTo>
                    <a:pt x="6670" y="0"/>
                  </a:moveTo>
                  <a:lnTo>
                    <a:pt x="6663" y="11"/>
                  </a:lnTo>
                  <a:lnTo>
                    <a:pt x="6652" y="21"/>
                  </a:lnTo>
                  <a:lnTo>
                    <a:pt x="6638" y="46"/>
                  </a:lnTo>
                  <a:lnTo>
                    <a:pt x="6628" y="56"/>
                  </a:lnTo>
                  <a:lnTo>
                    <a:pt x="6607" y="91"/>
                  </a:lnTo>
                  <a:lnTo>
                    <a:pt x="6603" y="95"/>
                  </a:lnTo>
                  <a:lnTo>
                    <a:pt x="6582" y="123"/>
                  </a:lnTo>
                  <a:lnTo>
                    <a:pt x="6575" y="133"/>
                  </a:lnTo>
                  <a:lnTo>
                    <a:pt x="6561" y="154"/>
                  </a:lnTo>
                  <a:lnTo>
                    <a:pt x="6554" y="165"/>
                  </a:lnTo>
                  <a:lnTo>
                    <a:pt x="6540" y="182"/>
                  </a:lnTo>
                  <a:lnTo>
                    <a:pt x="6533" y="189"/>
                  </a:lnTo>
                  <a:lnTo>
                    <a:pt x="6516" y="210"/>
                  </a:lnTo>
                  <a:cubicBezTo>
                    <a:pt x="6466" y="270"/>
                    <a:pt x="6393" y="284"/>
                    <a:pt x="6326" y="298"/>
                  </a:cubicBezTo>
                  <a:cubicBezTo>
                    <a:pt x="6232" y="319"/>
                    <a:pt x="6200" y="333"/>
                    <a:pt x="6190" y="375"/>
                  </a:cubicBezTo>
                  <a:cubicBezTo>
                    <a:pt x="6151" y="571"/>
                    <a:pt x="5850" y="753"/>
                    <a:pt x="5689" y="753"/>
                  </a:cubicBezTo>
                  <a:cubicBezTo>
                    <a:pt x="5619" y="753"/>
                    <a:pt x="5528" y="924"/>
                    <a:pt x="5528" y="1057"/>
                  </a:cubicBezTo>
                  <a:cubicBezTo>
                    <a:pt x="5528" y="1243"/>
                    <a:pt x="5238" y="1464"/>
                    <a:pt x="4993" y="1464"/>
                  </a:cubicBezTo>
                  <a:cubicBezTo>
                    <a:pt x="4909" y="1464"/>
                    <a:pt x="4902" y="1485"/>
                    <a:pt x="4881" y="1628"/>
                  </a:cubicBezTo>
                  <a:cubicBezTo>
                    <a:pt x="4877" y="1691"/>
                    <a:pt x="4863" y="1758"/>
                    <a:pt x="4846" y="1821"/>
                  </a:cubicBezTo>
                  <a:cubicBezTo>
                    <a:pt x="4765" y="2101"/>
                    <a:pt x="4611" y="2111"/>
                    <a:pt x="4264" y="2111"/>
                  </a:cubicBezTo>
                  <a:cubicBezTo>
                    <a:pt x="3932" y="2111"/>
                    <a:pt x="3879" y="2083"/>
                    <a:pt x="3648" y="1933"/>
                  </a:cubicBezTo>
                  <a:lnTo>
                    <a:pt x="3582" y="1891"/>
                  </a:lnTo>
                  <a:cubicBezTo>
                    <a:pt x="3541" y="1862"/>
                    <a:pt x="3504" y="1848"/>
                    <a:pt x="3473" y="1848"/>
                  </a:cubicBezTo>
                  <a:cubicBezTo>
                    <a:pt x="3459" y="1848"/>
                    <a:pt x="3447" y="1850"/>
                    <a:pt x="3435" y="1856"/>
                  </a:cubicBezTo>
                  <a:cubicBezTo>
                    <a:pt x="3368" y="1887"/>
                    <a:pt x="3326" y="2017"/>
                    <a:pt x="3312" y="2132"/>
                  </a:cubicBezTo>
                  <a:cubicBezTo>
                    <a:pt x="3298" y="2248"/>
                    <a:pt x="3151" y="2395"/>
                    <a:pt x="2945" y="2587"/>
                  </a:cubicBezTo>
                  <a:cubicBezTo>
                    <a:pt x="2885" y="2643"/>
                    <a:pt x="2826" y="2699"/>
                    <a:pt x="2794" y="2734"/>
                  </a:cubicBezTo>
                  <a:cubicBezTo>
                    <a:pt x="2787" y="2741"/>
                    <a:pt x="2780" y="2748"/>
                    <a:pt x="2773" y="2755"/>
                  </a:cubicBezTo>
                  <a:lnTo>
                    <a:pt x="2763" y="2762"/>
                  </a:lnTo>
                  <a:cubicBezTo>
                    <a:pt x="2759" y="2766"/>
                    <a:pt x="2752" y="2773"/>
                    <a:pt x="2749" y="2776"/>
                  </a:cubicBezTo>
                  <a:lnTo>
                    <a:pt x="2738" y="2780"/>
                  </a:lnTo>
                  <a:lnTo>
                    <a:pt x="2721" y="2790"/>
                  </a:lnTo>
                  <a:lnTo>
                    <a:pt x="2710" y="2797"/>
                  </a:lnTo>
                  <a:lnTo>
                    <a:pt x="2689" y="2804"/>
                  </a:lnTo>
                  <a:lnTo>
                    <a:pt x="2682" y="2808"/>
                  </a:lnTo>
                  <a:lnTo>
                    <a:pt x="2658" y="2811"/>
                  </a:lnTo>
                  <a:lnTo>
                    <a:pt x="2651" y="2811"/>
                  </a:lnTo>
                  <a:cubicBezTo>
                    <a:pt x="2630" y="2818"/>
                    <a:pt x="2609" y="2822"/>
                    <a:pt x="2588" y="2822"/>
                  </a:cubicBezTo>
                  <a:lnTo>
                    <a:pt x="2546" y="2822"/>
                  </a:lnTo>
                  <a:cubicBezTo>
                    <a:pt x="2514" y="2822"/>
                    <a:pt x="2483" y="2818"/>
                    <a:pt x="2451" y="2815"/>
                  </a:cubicBezTo>
                  <a:lnTo>
                    <a:pt x="2444" y="2815"/>
                  </a:lnTo>
                  <a:lnTo>
                    <a:pt x="2399" y="2811"/>
                  </a:lnTo>
                  <a:lnTo>
                    <a:pt x="2392" y="2811"/>
                  </a:lnTo>
                  <a:lnTo>
                    <a:pt x="2346" y="2804"/>
                  </a:lnTo>
                  <a:cubicBezTo>
                    <a:pt x="2297" y="2794"/>
                    <a:pt x="2248" y="2790"/>
                    <a:pt x="2199" y="2787"/>
                  </a:cubicBezTo>
                  <a:cubicBezTo>
                    <a:pt x="2195" y="2787"/>
                    <a:pt x="2190" y="2787"/>
                    <a:pt x="2186" y="2787"/>
                  </a:cubicBezTo>
                  <a:cubicBezTo>
                    <a:pt x="2138" y="2787"/>
                    <a:pt x="2091" y="2770"/>
                    <a:pt x="2059" y="2738"/>
                  </a:cubicBezTo>
                  <a:cubicBezTo>
                    <a:pt x="2010" y="2682"/>
                    <a:pt x="2020" y="2605"/>
                    <a:pt x="2027" y="2542"/>
                  </a:cubicBezTo>
                  <a:cubicBezTo>
                    <a:pt x="2031" y="2521"/>
                    <a:pt x="2034" y="2500"/>
                    <a:pt x="2034" y="2479"/>
                  </a:cubicBezTo>
                  <a:cubicBezTo>
                    <a:pt x="2027" y="2419"/>
                    <a:pt x="2069" y="2367"/>
                    <a:pt x="2125" y="2353"/>
                  </a:cubicBezTo>
                  <a:cubicBezTo>
                    <a:pt x="2146" y="2346"/>
                    <a:pt x="2146" y="2346"/>
                    <a:pt x="2150" y="2332"/>
                  </a:cubicBezTo>
                  <a:cubicBezTo>
                    <a:pt x="2167" y="2283"/>
                    <a:pt x="2108" y="2097"/>
                    <a:pt x="1982" y="1779"/>
                  </a:cubicBezTo>
                  <a:lnTo>
                    <a:pt x="1975" y="1761"/>
                  </a:lnTo>
                  <a:lnTo>
                    <a:pt x="1971" y="1758"/>
                  </a:lnTo>
                  <a:lnTo>
                    <a:pt x="1968" y="1751"/>
                  </a:lnTo>
                  <a:lnTo>
                    <a:pt x="1961" y="1744"/>
                  </a:lnTo>
                  <a:lnTo>
                    <a:pt x="1950" y="1733"/>
                  </a:lnTo>
                  <a:lnTo>
                    <a:pt x="1947" y="1730"/>
                  </a:lnTo>
                  <a:lnTo>
                    <a:pt x="1933" y="1719"/>
                  </a:lnTo>
                  <a:lnTo>
                    <a:pt x="1929" y="1719"/>
                  </a:lnTo>
                  <a:lnTo>
                    <a:pt x="1912" y="1705"/>
                  </a:lnTo>
                  <a:lnTo>
                    <a:pt x="1908" y="1702"/>
                  </a:lnTo>
                  <a:lnTo>
                    <a:pt x="1884" y="1688"/>
                  </a:lnTo>
                  <a:lnTo>
                    <a:pt x="1877" y="1684"/>
                  </a:lnTo>
                  <a:lnTo>
                    <a:pt x="1849" y="1670"/>
                  </a:lnTo>
                  <a:lnTo>
                    <a:pt x="1845" y="1670"/>
                  </a:lnTo>
                  <a:lnTo>
                    <a:pt x="1845" y="3571"/>
                  </a:lnTo>
                  <a:cubicBezTo>
                    <a:pt x="1845" y="3722"/>
                    <a:pt x="1705" y="3809"/>
                    <a:pt x="1593" y="3879"/>
                  </a:cubicBezTo>
                  <a:cubicBezTo>
                    <a:pt x="1551" y="3900"/>
                    <a:pt x="1513" y="3928"/>
                    <a:pt x="1481" y="3963"/>
                  </a:cubicBezTo>
                  <a:cubicBezTo>
                    <a:pt x="1474" y="3970"/>
                    <a:pt x="1471" y="3974"/>
                    <a:pt x="1464" y="3981"/>
                  </a:cubicBezTo>
                  <a:lnTo>
                    <a:pt x="1460" y="3984"/>
                  </a:lnTo>
                  <a:cubicBezTo>
                    <a:pt x="1453" y="3988"/>
                    <a:pt x="1450" y="3995"/>
                    <a:pt x="1446" y="3998"/>
                  </a:cubicBezTo>
                  <a:lnTo>
                    <a:pt x="1439" y="4002"/>
                  </a:lnTo>
                  <a:lnTo>
                    <a:pt x="1422" y="4009"/>
                  </a:lnTo>
                  <a:lnTo>
                    <a:pt x="1415" y="4012"/>
                  </a:lnTo>
                  <a:cubicBezTo>
                    <a:pt x="1397" y="4019"/>
                    <a:pt x="1376" y="4026"/>
                    <a:pt x="1359" y="4030"/>
                  </a:cubicBezTo>
                  <a:lnTo>
                    <a:pt x="1352" y="4030"/>
                  </a:lnTo>
                  <a:lnTo>
                    <a:pt x="1324" y="4033"/>
                  </a:lnTo>
                  <a:lnTo>
                    <a:pt x="1170" y="4033"/>
                  </a:lnTo>
                  <a:cubicBezTo>
                    <a:pt x="1131" y="4033"/>
                    <a:pt x="1093" y="4030"/>
                    <a:pt x="1047" y="4026"/>
                  </a:cubicBezTo>
                  <a:lnTo>
                    <a:pt x="1033" y="4026"/>
                  </a:lnTo>
                  <a:lnTo>
                    <a:pt x="967" y="4019"/>
                  </a:lnTo>
                  <a:cubicBezTo>
                    <a:pt x="879" y="4012"/>
                    <a:pt x="795" y="4005"/>
                    <a:pt x="729" y="4005"/>
                  </a:cubicBezTo>
                  <a:cubicBezTo>
                    <a:pt x="533" y="4005"/>
                    <a:pt x="487" y="3862"/>
                    <a:pt x="452" y="3750"/>
                  </a:cubicBezTo>
                  <a:cubicBezTo>
                    <a:pt x="431" y="3690"/>
                    <a:pt x="400" y="3638"/>
                    <a:pt x="365" y="3592"/>
                  </a:cubicBezTo>
                  <a:cubicBezTo>
                    <a:pt x="348" y="3568"/>
                    <a:pt x="332" y="3560"/>
                    <a:pt x="318" y="3560"/>
                  </a:cubicBezTo>
                  <a:cubicBezTo>
                    <a:pt x="311" y="3560"/>
                    <a:pt x="304" y="3562"/>
                    <a:pt x="298" y="3564"/>
                  </a:cubicBezTo>
                  <a:cubicBezTo>
                    <a:pt x="235" y="3592"/>
                    <a:pt x="189" y="3648"/>
                    <a:pt x="175" y="3715"/>
                  </a:cubicBezTo>
                  <a:cubicBezTo>
                    <a:pt x="175" y="3725"/>
                    <a:pt x="175" y="3736"/>
                    <a:pt x="172" y="3746"/>
                  </a:cubicBezTo>
                  <a:cubicBezTo>
                    <a:pt x="165" y="3771"/>
                    <a:pt x="154" y="3792"/>
                    <a:pt x="137" y="3809"/>
                  </a:cubicBezTo>
                  <a:cubicBezTo>
                    <a:pt x="130" y="3816"/>
                    <a:pt x="119" y="3823"/>
                    <a:pt x="112" y="3827"/>
                  </a:cubicBezTo>
                  <a:lnTo>
                    <a:pt x="102" y="3830"/>
                  </a:lnTo>
                  <a:cubicBezTo>
                    <a:pt x="95" y="3834"/>
                    <a:pt x="88" y="3837"/>
                    <a:pt x="81" y="3837"/>
                  </a:cubicBezTo>
                  <a:lnTo>
                    <a:pt x="70" y="3841"/>
                  </a:lnTo>
                  <a:cubicBezTo>
                    <a:pt x="63" y="3844"/>
                    <a:pt x="53" y="3844"/>
                    <a:pt x="46" y="3844"/>
                  </a:cubicBezTo>
                  <a:lnTo>
                    <a:pt x="0" y="3844"/>
                  </a:lnTo>
                  <a:cubicBezTo>
                    <a:pt x="147" y="4089"/>
                    <a:pt x="263" y="4352"/>
                    <a:pt x="351" y="4625"/>
                  </a:cubicBezTo>
                  <a:cubicBezTo>
                    <a:pt x="424" y="4863"/>
                    <a:pt x="557" y="5097"/>
                    <a:pt x="676" y="5304"/>
                  </a:cubicBezTo>
                  <a:cubicBezTo>
                    <a:pt x="753" y="5430"/>
                    <a:pt x="823" y="5567"/>
                    <a:pt x="876" y="5707"/>
                  </a:cubicBezTo>
                  <a:lnTo>
                    <a:pt x="893" y="5756"/>
                  </a:lnTo>
                  <a:cubicBezTo>
                    <a:pt x="956" y="5952"/>
                    <a:pt x="1012" y="6123"/>
                    <a:pt x="949" y="6225"/>
                  </a:cubicBezTo>
                  <a:cubicBezTo>
                    <a:pt x="921" y="6267"/>
                    <a:pt x="876" y="6295"/>
                    <a:pt x="823" y="6302"/>
                  </a:cubicBezTo>
                  <a:cubicBezTo>
                    <a:pt x="788" y="6305"/>
                    <a:pt x="767" y="6316"/>
                    <a:pt x="760" y="6333"/>
                  </a:cubicBezTo>
                  <a:cubicBezTo>
                    <a:pt x="753" y="6347"/>
                    <a:pt x="736" y="6424"/>
                    <a:pt x="879" y="6645"/>
                  </a:cubicBezTo>
                  <a:cubicBezTo>
                    <a:pt x="949" y="6753"/>
                    <a:pt x="988" y="6879"/>
                    <a:pt x="988" y="7009"/>
                  </a:cubicBezTo>
                  <a:cubicBezTo>
                    <a:pt x="988" y="7079"/>
                    <a:pt x="988" y="7079"/>
                    <a:pt x="1016" y="7086"/>
                  </a:cubicBezTo>
                  <a:cubicBezTo>
                    <a:pt x="1082" y="7096"/>
                    <a:pt x="1142" y="7135"/>
                    <a:pt x="1180" y="7191"/>
                  </a:cubicBezTo>
                  <a:cubicBezTo>
                    <a:pt x="1198" y="7215"/>
                    <a:pt x="1201" y="7219"/>
                    <a:pt x="1233" y="7222"/>
                  </a:cubicBezTo>
                  <a:cubicBezTo>
                    <a:pt x="1376" y="7229"/>
                    <a:pt x="1474" y="7359"/>
                    <a:pt x="1562" y="7471"/>
                  </a:cubicBezTo>
                  <a:lnTo>
                    <a:pt x="1569" y="7481"/>
                  </a:lnTo>
                  <a:cubicBezTo>
                    <a:pt x="1594" y="7514"/>
                    <a:pt x="1635" y="7531"/>
                    <a:pt x="1676" y="7531"/>
                  </a:cubicBezTo>
                  <a:cubicBezTo>
                    <a:pt x="1680" y="7531"/>
                    <a:pt x="1684" y="7531"/>
                    <a:pt x="1688" y="7531"/>
                  </a:cubicBezTo>
                  <a:cubicBezTo>
                    <a:pt x="1740" y="7531"/>
                    <a:pt x="1789" y="7503"/>
                    <a:pt x="1817" y="7460"/>
                  </a:cubicBezTo>
                  <a:cubicBezTo>
                    <a:pt x="1908" y="7327"/>
                    <a:pt x="2143" y="7261"/>
                    <a:pt x="2518" y="7261"/>
                  </a:cubicBezTo>
                  <a:cubicBezTo>
                    <a:pt x="2658" y="7261"/>
                    <a:pt x="2693" y="7233"/>
                    <a:pt x="2756" y="7187"/>
                  </a:cubicBezTo>
                  <a:cubicBezTo>
                    <a:pt x="2826" y="7128"/>
                    <a:pt x="2910" y="7086"/>
                    <a:pt x="3001" y="7061"/>
                  </a:cubicBezTo>
                  <a:cubicBezTo>
                    <a:pt x="3153" y="7017"/>
                    <a:pt x="3317" y="6995"/>
                    <a:pt x="3474" y="6995"/>
                  </a:cubicBezTo>
                  <a:cubicBezTo>
                    <a:pt x="3624" y="6995"/>
                    <a:pt x="3766" y="7015"/>
                    <a:pt x="3883" y="7054"/>
                  </a:cubicBezTo>
                  <a:cubicBezTo>
                    <a:pt x="3941" y="7077"/>
                    <a:pt x="4002" y="7088"/>
                    <a:pt x="4062" y="7088"/>
                  </a:cubicBezTo>
                  <a:cubicBezTo>
                    <a:pt x="4163" y="7088"/>
                    <a:pt x="4265" y="7057"/>
                    <a:pt x="4352" y="6998"/>
                  </a:cubicBezTo>
                  <a:cubicBezTo>
                    <a:pt x="4385" y="6977"/>
                    <a:pt x="4421" y="6969"/>
                    <a:pt x="4458" y="6969"/>
                  </a:cubicBezTo>
                  <a:cubicBezTo>
                    <a:pt x="4498" y="6969"/>
                    <a:pt x="4539" y="6979"/>
                    <a:pt x="4576" y="6988"/>
                  </a:cubicBezTo>
                  <a:cubicBezTo>
                    <a:pt x="4604" y="6995"/>
                    <a:pt x="4632" y="6998"/>
                    <a:pt x="4664" y="6998"/>
                  </a:cubicBezTo>
                  <a:cubicBezTo>
                    <a:pt x="4664" y="6991"/>
                    <a:pt x="4667" y="6981"/>
                    <a:pt x="4667" y="6974"/>
                  </a:cubicBezTo>
                  <a:cubicBezTo>
                    <a:pt x="4685" y="6781"/>
                    <a:pt x="4859" y="6759"/>
                    <a:pt x="5026" y="6759"/>
                  </a:cubicBezTo>
                  <a:cubicBezTo>
                    <a:pt x="5053" y="6759"/>
                    <a:pt x="5079" y="6760"/>
                    <a:pt x="5105" y="6760"/>
                  </a:cubicBezTo>
                  <a:lnTo>
                    <a:pt x="5185" y="6760"/>
                  </a:lnTo>
                  <a:cubicBezTo>
                    <a:pt x="5371" y="6760"/>
                    <a:pt x="5864" y="6442"/>
                    <a:pt x="6263" y="6064"/>
                  </a:cubicBezTo>
                  <a:cubicBezTo>
                    <a:pt x="6673" y="5682"/>
                    <a:pt x="7338" y="4852"/>
                    <a:pt x="7555" y="4488"/>
                  </a:cubicBezTo>
                  <a:cubicBezTo>
                    <a:pt x="7772" y="4121"/>
                    <a:pt x="8108" y="3820"/>
                    <a:pt x="8308" y="3638"/>
                  </a:cubicBezTo>
                  <a:lnTo>
                    <a:pt x="8353" y="3599"/>
                  </a:lnTo>
                  <a:cubicBezTo>
                    <a:pt x="8441" y="3515"/>
                    <a:pt x="8528" y="3224"/>
                    <a:pt x="8581" y="2811"/>
                  </a:cubicBezTo>
                  <a:lnTo>
                    <a:pt x="8581" y="2811"/>
                  </a:lnTo>
                  <a:cubicBezTo>
                    <a:pt x="8472" y="2818"/>
                    <a:pt x="8364" y="2825"/>
                    <a:pt x="8255" y="2843"/>
                  </a:cubicBezTo>
                  <a:lnTo>
                    <a:pt x="8220" y="2846"/>
                  </a:lnTo>
                  <a:lnTo>
                    <a:pt x="8217" y="2853"/>
                  </a:lnTo>
                  <a:cubicBezTo>
                    <a:pt x="8217" y="2860"/>
                    <a:pt x="8213" y="2867"/>
                    <a:pt x="8213" y="2874"/>
                  </a:cubicBezTo>
                  <a:cubicBezTo>
                    <a:pt x="8213" y="2885"/>
                    <a:pt x="8210" y="2895"/>
                    <a:pt x="8206" y="2909"/>
                  </a:cubicBezTo>
                  <a:cubicBezTo>
                    <a:pt x="8206" y="2909"/>
                    <a:pt x="8206" y="2913"/>
                    <a:pt x="8206" y="2916"/>
                  </a:cubicBezTo>
                  <a:cubicBezTo>
                    <a:pt x="8203" y="2923"/>
                    <a:pt x="8199" y="2930"/>
                    <a:pt x="8199" y="2937"/>
                  </a:cubicBezTo>
                  <a:lnTo>
                    <a:pt x="8192" y="2948"/>
                  </a:lnTo>
                  <a:cubicBezTo>
                    <a:pt x="8189" y="2951"/>
                    <a:pt x="8185" y="2958"/>
                    <a:pt x="8182" y="2965"/>
                  </a:cubicBezTo>
                  <a:lnTo>
                    <a:pt x="8178" y="2969"/>
                  </a:lnTo>
                  <a:cubicBezTo>
                    <a:pt x="8175" y="2976"/>
                    <a:pt x="8168" y="2983"/>
                    <a:pt x="8164" y="2990"/>
                  </a:cubicBezTo>
                  <a:lnTo>
                    <a:pt x="8157" y="2993"/>
                  </a:lnTo>
                  <a:cubicBezTo>
                    <a:pt x="8154" y="3000"/>
                    <a:pt x="8147" y="3004"/>
                    <a:pt x="8143" y="3007"/>
                  </a:cubicBezTo>
                  <a:lnTo>
                    <a:pt x="8136" y="3014"/>
                  </a:lnTo>
                  <a:lnTo>
                    <a:pt x="8119" y="3021"/>
                  </a:lnTo>
                  <a:lnTo>
                    <a:pt x="8115" y="3025"/>
                  </a:lnTo>
                  <a:cubicBezTo>
                    <a:pt x="8105" y="3032"/>
                    <a:pt x="8098" y="3035"/>
                    <a:pt x="8091" y="3039"/>
                  </a:cubicBezTo>
                  <a:cubicBezTo>
                    <a:pt x="8080" y="3039"/>
                    <a:pt x="8073" y="3042"/>
                    <a:pt x="8063" y="3046"/>
                  </a:cubicBezTo>
                  <a:lnTo>
                    <a:pt x="8056" y="3046"/>
                  </a:lnTo>
                  <a:lnTo>
                    <a:pt x="8035" y="3049"/>
                  </a:lnTo>
                  <a:lnTo>
                    <a:pt x="8028" y="3049"/>
                  </a:lnTo>
                  <a:lnTo>
                    <a:pt x="8007" y="3053"/>
                  </a:lnTo>
                  <a:lnTo>
                    <a:pt x="8000" y="3053"/>
                  </a:lnTo>
                  <a:lnTo>
                    <a:pt x="7972" y="3056"/>
                  </a:lnTo>
                  <a:lnTo>
                    <a:pt x="7874" y="3056"/>
                  </a:lnTo>
                  <a:lnTo>
                    <a:pt x="7835" y="3053"/>
                  </a:lnTo>
                  <a:cubicBezTo>
                    <a:pt x="7611" y="3039"/>
                    <a:pt x="7436" y="2566"/>
                    <a:pt x="7436" y="2482"/>
                  </a:cubicBezTo>
                  <a:cubicBezTo>
                    <a:pt x="7436" y="2374"/>
                    <a:pt x="7702" y="2020"/>
                    <a:pt x="7874" y="2020"/>
                  </a:cubicBezTo>
                  <a:cubicBezTo>
                    <a:pt x="7888" y="2020"/>
                    <a:pt x="7898" y="2024"/>
                    <a:pt x="7909" y="2024"/>
                  </a:cubicBezTo>
                  <a:lnTo>
                    <a:pt x="7919" y="2027"/>
                  </a:lnTo>
                  <a:lnTo>
                    <a:pt x="7944" y="2034"/>
                  </a:lnTo>
                  <a:lnTo>
                    <a:pt x="7958" y="2038"/>
                  </a:lnTo>
                  <a:lnTo>
                    <a:pt x="7982" y="2048"/>
                  </a:lnTo>
                  <a:lnTo>
                    <a:pt x="7993" y="2052"/>
                  </a:lnTo>
                  <a:cubicBezTo>
                    <a:pt x="8003" y="2055"/>
                    <a:pt x="8017" y="2062"/>
                    <a:pt x="8028" y="2069"/>
                  </a:cubicBezTo>
                  <a:lnTo>
                    <a:pt x="8031" y="2069"/>
                  </a:lnTo>
                  <a:lnTo>
                    <a:pt x="8066" y="2087"/>
                  </a:lnTo>
                  <a:lnTo>
                    <a:pt x="8077" y="2094"/>
                  </a:lnTo>
                  <a:lnTo>
                    <a:pt x="8105" y="2111"/>
                  </a:lnTo>
                  <a:lnTo>
                    <a:pt x="8112" y="2115"/>
                  </a:lnTo>
                  <a:lnTo>
                    <a:pt x="8122" y="2122"/>
                  </a:lnTo>
                  <a:lnTo>
                    <a:pt x="8122" y="2115"/>
                  </a:lnTo>
                  <a:lnTo>
                    <a:pt x="8122" y="2104"/>
                  </a:lnTo>
                  <a:lnTo>
                    <a:pt x="8122" y="2097"/>
                  </a:lnTo>
                  <a:lnTo>
                    <a:pt x="8122" y="2076"/>
                  </a:lnTo>
                  <a:cubicBezTo>
                    <a:pt x="8136" y="1971"/>
                    <a:pt x="8147" y="1807"/>
                    <a:pt x="8150" y="1646"/>
                  </a:cubicBezTo>
                  <a:lnTo>
                    <a:pt x="8150" y="1611"/>
                  </a:lnTo>
                  <a:lnTo>
                    <a:pt x="8150" y="1607"/>
                  </a:lnTo>
                  <a:lnTo>
                    <a:pt x="8150" y="1576"/>
                  </a:lnTo>
                  <a:lnTo>
                    <a:pt x="8150" y="1569"/>
                  </a:lnTo>
                  <a:lnTo>
                    <a:pt x="8150" y="1537"/>
                  </a:lnTo>
                  <a:lnTo>
                    <a:pt x="8150" y="1534"/>
                  </a:lnTo>
                  <a:lnTo>
                    <a:pt x="8150" y="1506"/>
                  </a:lnTo>
                  <a:lnTo>
                    <a:pt x="8150" y="1495"/>
                  </a:lnTo>
                  <a:lnTo>
                    <a:pt x="8150" y="1471"/>
                  </a:lnTo>
                  <a:lnTo>
                    <a:pt x="8150" y="1460"/>
                  </a:lnTo>
                  <a:lnTo>
                    <a:pt x="8150" y="1439"/>
                  </a:lnTo>
                  <a:lnTo>
                    <a:pt x="8150" y="1429"/>
                  </a:lnTo>
                  <a:lnTo>
                    <a:pt x="8150" y="1408"/>
                  </a:lnTo>
                  <a:lnTo>
                    <a:pt x="8150" y="1394"/>
                  </a:lnTo>
                  <a:lnTo>
                    <a:pt x="8150" y="1376"/>
                  </a:lnTo>
                  <a:lnTo>
                    <a:pt x="8150" y="1366"/>
                  </a:lnTo>
                  <a:lnTo>
                    <a:pt x="8150" y="1348"/>
                  </a:lnTo>
                  <a:lnTo>
                    <a:pt x="8150" y="1338"/>
                  </a:lnTo>
                  <a:lnTo>
                    <a:pt x="8150" y="1324"/>
                  </a:lnTo>
                  <a:lnTo>
                    <a:pt x="8150" y="1310"/>
                  </a:lnTo>
                  <a:lnTo>
                    <a:pt x="8150" y="1299"/>
                  </a:lnTo>
                  <a:cubicBezTo>
                    <a:pt x="8150" y="1296"/>
                    <a:pt x="8150" y="1292"/>
                    <a:pt x="8147" y="1289"/>
                  </a:cubicBezTo>
                  <a:lnTo>
                    <a:pt x="8147" y="1275"/>
                  </a:lnTo>
                  <a:lnTo>
                    <a:pt x="8147" y="1268"/>
                  </a:lnTo>
                  <a:lnTo>
                    <a:pt x="8143" y="1257"/>
                  </a:lnTo>
                  <a:lnTo>
                    <a:pt x="8140" y="1246"/>
                  </a:lnTo>
                  <a:lnTo>
                    <a:pt x="8136" y="1239"/>
                  </a:lnTo>
                  <a:lnTo>
                    <a:pt x="8133" y="1232"/>
                  </a:lnTo>
                  <a:lnTo>
                    <a:pt x="8133" y="1225"/>
                  </a:lnTo>
                  <a:cubicBezTo>
                    <a:pt x="8129" y="1222"/>
                    <a:pt x="8129" y="1222"/>
                    <a:pt x="8126" y="1218"/>
                  </a:cubicBezTo>
                  <a:lnTo>
                    <a:pt x="8126" y="1215"/>
                  </a:lnTo>
                  <a:cubicBezTo>
                    <a:pt x="8122" y="1211"/>
                    <a:pt x="8119" y="1208"/>
                    <a:pt x="8119" y="1208"/>
                  </a:cubicBezTo>
                  <a:cubicBezTo>
                    <a:pt x="8003" y="1141"/>
                    <a:pt x="7919" y="823"/>
                    <a:pt x="7821" y="417"/>
                  </a:cubicBezTo>
                  <a:cubicBezTo>
                    <a:pt x="7811" y="378"/>
                    <a:pt x="7804" y="340"/>
                    <a:pt x="7793" y="301"/>
                  </a:cubicBezTo>
                  <a:lnTo>
                    <a:pt x="7793" y="298"/>
                  </a:lnTo>
                  <a:lnTo>
                    <a:pt x="7786" y="266"/>
                  </a:lnTo>
                  <a:lnTo>
                    <a:pt x="7783" y="259"/>
                  </a:lnTo>
                  <a:lnTo>
                    <a:pt x="7779" y="238"/>
                  </a:lnTo>
                  <a:lnTo>
                    <a:pt x="7776" y="224"/>
                  </a:lnTo>
                  <a:lnTo>
                    <a:pt x="7769" y="210"/>
                  </a:lnTo>
                  <a:lnTo>
                    <a:pt x="7765" y="196"/>
                  </a:lnTo>
                  <a:lnTo>
                    <a:pt x="7762" y="186"/>
                  </a:lnTo>
                  <a:lnTo>
                    <a:pt x="7758" y="179"/>
                  </a:lnTo>
                  <a:lnTo>
                    <a:pt x="7758" y="172"/>
                  </a:lnTo>
                  <a:cubicBezTo>
                    <a:pt x="7723" y="151"/>
                    <a:pt x="7604" y="144"/>
                    <a:pt x="7506" y="137"/>
                  </a:cubicBezTo>
                  <a:cubicBezTo>
                    <a:pt x="7296" y="123"/>
                    <a:pt x="7163" y="109"/>
                    <a:pt x="7114" y="35"/>
                  </a:cubicBezTo>
                  <a:cubicBezTo>
                    <a:pt x="7093" y="18"/>
                    <a:pt x="6960" y="18"/>
                    <a:pt x="6887" y="18"/>
                  </a:cubicBezTo>
                  <a:cubicBezTo>
                    <a:pt x="6874" y="18"/>
                    <a:pt x="6861" y="19"/>
                    <a:pt x="6849" y="19"/>
                  </a:cubicBezTo>
                  <a:cubicBezTo>
                    <a:pt x="6788" y="19"/>
                    <a:pt x="6728" y="12"/>
                    <a:pt x="66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5" name="Google Shape;3735;p53"/>
            <p:cNvSpPr/>
            <p:nvPr/>
          </p:nvSpPr>
          <p:spPr>
            <a:xfrm>
              <a:off x="2185707" y="2266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6" name="Google Shape;3736;p53"/>
            <p:cNvSpPr/>
            <p:nvPr/>
          </p:nvSpPr>
          <p:spPr>
            <a:xfrm>
              <a:off x="2169780" y="226402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cubicBezTo>
                    <a:pt x="8" y="7"/>
                    <a:pt x="15" y="4"/>
                    <a:pt x="22" y="0"/>
                  </a:cubicBezTo>
                  <a:cubicBezTo>
                    <a:pt x="15" y="4"/>
                    <a:pt x="8" y="7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7" name="Google Shape;3737;p53"/>
            <p:cNvSpPr/>
            <p:nvPr/>
          </p:nvSpPr>
          <p:spPr>
            <a:xfrm>
              <a:off x="2182435" y="2266725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8" name="Google Shape;3738;p53"/>
            <p:cNvSpPr/>
            <p:nvPr/>
          </p:nvSpPr>
          <p:spPr>
            <a:xfrm>
              <a:off x="2184336" y="2266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9" name="Google Shape;3739;p53"/>
            <p:cNvSpPr/>
            <p:nvPr/>
          </p:nvSpPr>
          <p:spPr>
            <a:xfrm>
              <a:off x="2186236" y="2266779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0" name="Google Shape;3740;p53"/>
            <p:cNvSpPr/>
            <p:nvPr/>
          </p:nvSpPr>
          <p:spPr>
            <a:xfrm>
              <a:off x="2169265" y="2264159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0" y="4"/>
                  </a:moveTo>
                  <a:cubicBezTo>
                    <a:pt x="11" y="4"/>
                    <a:pt x="18" y="1"/>
                    <a:pt x="28" y="1"/>
                  </a:cubicBezTo>
                  <a:cubicBezTo>
                    <a:pt x="18" y="1"/>
                    <a:pt x="11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1" name="Google Shape;3741;p53"/>
            <p:cNvSpPr/>
            <p:nvPr/>
          </p:nvSpPr>
          <p:spPr>
            <a:xfrm>
              <a:off x="2168640" y="2264213"/>
              <a:ext cx="543" cy="41"/>
            </a:xfrm>
            <a:custGeom>
              <a:avLst/>
              <a:gdLst/>
              <a:ahLst/>
              <a:cxnLst/>
              <a:rect l="l" t="t" r="r" b="b"/>
              <a:pathLst>
                <a:path w="40" h="3" extrusionOk="0">
                  <a:moveTo>
                    <a:pt x="1" y="0"/>
                  </a:moveTo>
                  <a:cubicBezTo>
                    <a:pt x="10" y="2"/>
                    <a:pt x="17" y="3"/>
                    <a:pt x="23" y="3"/>
                  </a:cubicBezTo>
                  <a:cubicBezTo>
                    <a:pt x="29" y="3"/>
                    <a:pt x="34" y="2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2" name="Google Shape;3742;p53"/>
            <p:cNvSpPr/>
            <p:nvPr/>
          </p:nvSpPr>
          <p:spPr>
            <a:xfrm>
              <a:off x="2170161" y="2262883"/>
              <a:ext cx="869" cy="1100"/>
            </a:xfrm>
            <a:custGeom>
              <a:avLst/>
              <a:gdLst/>
              <a:ahLst/>
              <a:cxnLst/>
              <a:rect l="l" t="t" r="r" b="b"/>
              <a:pathLst>
                <a:path w="64" h="81" extrusionOk="0">
                  <a:moveTo>
                    <a:pt x="64" y="0"/>
                  </a:moveTo>
                  <a:cubicBezTo>
                    <a:pt x="57" y="25"/>
                    <a:pt x="46" y="46"/>
                    <a:pt x="29" y="63"/>
                  </a:cubicBezTo>
                  <a:cubicBezTo>
                    <a:pt x="18" y="70"/>
                    <a:pt x="11" y="77"/>
                    <a:pt x="1" y="81"/>
                  </a:cubicBezTo>
                  <a:cubicBezTo>
                    <a:pt x="11" y="77"/>
                    <a:pt x="18" y="70"/>
                    <a:pt x="29" y="63"/>
                  </a:cubicBezTo>
                  <a:cubicBezTo>
                    <a:pt x="46" y="46"/>
                    <a:pt x="57" y="25"/>
                    <a:pt x="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3" name="Google Shape;3743;p53"/>
            <p:cNvSpPr/>
            <p:nvPr/>
          </p:nvSpPr>
          <p:spPr>
            <a:xfrm>
              <a:off x="2188178" y="226601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4" name="Google Shape;3744;p53"/>
            <p:cNvSpPr/>
            <p:nvPr/>
          </p:nvSpPr>
          <p:spPr>
            <a:xfrm>
              <a:off x="2187893" y="226625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5" name="Google Shape;3745;p53"/>
            <p:cNvSpPr/>
            <p:nvPr/>
          </p:nvSpPr>
          <p:spPr>
            <a:xfrm>
              <a:off x="2187608" y="22664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6" name="Google Shape;3746;p53"/>
            <p:cNvSpPr/>
            <p:nvPr/>
          </p:nvSpPr>
          <p:spPr>
            <a:xfrm>
              <a:off x="2186712" y="226672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7" name="Google Shape;3747;p53"/>
            <p:cNvSpPr/>
            <p:nvPr/>
          </p:nvSpPr>
          <p:spPr>
            <a:xfrm>
              <a:off x="2259012" y="2212062"/>
              <a:ext cx="14840" cy="2349"/>
            </a:xfrm>
            <a:custGeom>
              <a:avLst/>
              <a:gdLst/>
              <a:ahLst/>
              <a:cxnLst/>
              <a:rect l="l" t="t" r="r" b="b"/>
              <a:pathLst>
                <a:path w="1093" h="173" extrusionOk="0">
                  <a:moveTo>
                    <a:pt x="221" y="15"/>
                  </a:moveTo>
                  <a:cubicBezTo>
                    <a:pt x="221" y="15"/>
                    <a:pt x="221" y="15"/>
                    <a:pt x="221" y="15"/>
                  </a:cubicBezTo>
                  <a:lnTo>
                    <a:pt x="221" y="15"/>
                  </a:lnTo>
                  <a:cubicBezTo>
                    <a:pt x="221" y="15"/>
                    <a:pt x="221" y="15"/>
                    <a:pt x="221" y="15"/>
                  </a:cubicBezTo>
                  <a:lnTo>
                    <a:pt x="221" y="15"/>
                  </a:lnTo>
                  <a:cubicBezTo>
                    <a:pt x="221" y="15"/>
                    <a:pt x="221" y="15"/>
                    <a:pt x="221" y="15"/>
                  </a:cubicBezTo>
                  <a:close/>
                  <a:moveTo>
                    <a:pt x="0" y="1"/>
                  </a:moveTo>
                  <a:cubicBezTo>
                    <a:pt x="51" y="11"/>
                    <a:pt x="105" y="17"/>
                    <a:pt x="158" y="17"/>
                  </a:cubicBezTo>
                  <a:cubicBezTo>
                    <a:pt x="159" y="17"/>
                    <a:pt x="159" y="17"/>
                    <a:pt x="159" y="17"/>
                  </a:cubicBezTo>
                  <a:lnTo>
                    <a:pt x="159" y="17"/>
                  </a:lnTo>
                  <a:cubicBezTo>
                    <a:pt x="160" y="17"/>
                    <a:pt x="160" y="17"/>
                    <a:pt x="161" y="17"/>
                  </a:cubicBezTo>
                  <a:cubicBezTo>
                    <a:pt x="181" y="17"/>
                    <a:pt x="201" y="17"/>
                    <a:pt x="221" y="15"/>
                  </a:cubicBezTo>
                  <a:lnTo>
                    <a:pt x="221" y="15"/>
                  </a:lnTo>
                  <a:cubicBezTo>
                    <a:pt x="219" y="15"/>
                    <a:pt x="218" y="15"/>
                    <a:pt x="217" y="15"/>
                  </a:cubicBezTo>
                  <a:cubicBezTo>
                    <a:pt x="198" y="17"/>
                    <a:pt x="179" y="17"/>
                    <a:pt x="159" y="17"/>
                  </a:cubicBezTo>
                  <a:lnTo>
                    <a:pt x="159" y="17"/>
                  </a:lnTo>
                  <a:cubicBezTo>
                    <a:pt x="105" y="17"/>
                    <a:pt x="51" y="11"/>
                    <a:pt x="0" y="1"/>
                  </a:cubicBezTo>
                  <a:close/>
                  <a:moveTo>
                    <a:pt x="221" y="15"/>
                  </a:moveTo>
                  <a:cubicBezTo>
                    <a:pt x="290" y="15"/>
                    <a:pt x="417" y="18"/>
                    <a:pt x="446" y="34"/>
                  </a:cubicBezTo>
                  <a:lnTo>
                    <a:pt x="446" y="34"/>
                  </a:lnTo>
                  <a:cubicBezTo>
                    <a:pt x="446" y="34"/>
                    <a:pt x="445" y="33"/>
                    <a:pt x="445" y="32"/>
                  </a:cubicBezTo>
                  <a:cubicBezTo>
                    <a:pt x="424" y="15"/>
                    <a:pt x="296" y="15"/>
                    <a:pt x="221" y="15"/>
                  </a:cubicBezTo>
                  <a:close/>
                  <a:moveTo>
                    <a:pt x="446" y="34"/>
                  </a:moveTo>
                  <a:lnTo>
                    <a:pt x="446" y="34"/>
                  </a:lnTo>
                  <a:cubicBezTo>
                    <a:pt x="451" y="41"/>
                    <a:pt x="456" y="47"/>
                    <a:pt x="461" y="53"/>
                  </a:cubicBezTo>
                  <a:lnTo>
                    <a:pt x="461" y="53"/>
                  </a:lnTo>
                  <a:cubicBezTo>
                    <a:pt x="456" y="48"/>
                    <a:pt x="452" y="42"/>
                    <a:pt x="448" y="36"/>
                  </a:cubicBezTo>
                  <a:cubicBezTo>
                    <a:pt x="448" y="35"/>
                    <a:pt x="447" y="35"/>
                    <a:pt x="446" y="34"/>
                  </a:cubicBezTo>
                  <a:close/>
                  <a:moveTo>
                    <a:pt x="461" y="53"/>
                  </a:moveTo>
                  <a:cubicBezTo>
                    <a:pt x="515" y="110"/>
                    <a:pt x="637" y="124"/>
                    <a:pt x="823" y="136"/>
                  </a:cubicBezTo>
                  <a:lnTo>
                    <a:pt x="823" y="136"/>
                  </a:lnTo>
                  <a:cubicBezTo>
                    <a:pt x="641" y="121"/>
                    <a:pt x="519" y="110"/>
                    <a:pt x="461" y="53"/>
                  </a:cubicBezTo>
                  <a:close/>
                  <a:moveTo>
                    <a:pt x="823" y="136"/>
                  </a:moveTo>
                  <a:cubicBezTo>
                    <a:pt x="828" y="136"/>
                    <a:pt x="832" y="137"/>
                    <a:pt x="837" y="137"/>
                  </a:cubicBezTo>
                  <a:cubicBezTo>
                    <a:pt x="869" y="140"/>
                    <a:pt x="904" y="142"/>
                    <a:pt x="937" y="145"/>
                  </a:cubicBezTo>
                  <a:lnTo>
                    <a:pt x="937" y="145"/>
                  </a:lnTo>
                  <a:cubicBezTo>
                    <a:pt x="904" y="141"/>
                    <a:pt x="872" y="139"/>
                    <a:pt x="840" y="137"/>
                  </a:cubicBezTo>
                  <a:cubicBezTo>
                    <a:pt x="834" y="137"/>
                    <a:pt x="829" y="136"/>
                    <a:pt x="823" y="136"/>
                  </a:cubicBezTo>
                  <a:close/>
                  <a:moveTo>
                    <a:pt x="937" y="145"/>
                  </a:moveTo>
                  <a:cubicBezTo>
                    <a:pt x="986" y="150"/>
                    <a:pt x="1036" y="158"/>
                    <a:pt x="1084" y="169"/>
                  </a:cubicBezTo>
                  <a:lnTo>
                    <a:pt x="1084" y="169"/>
                  </a:lnTo>
                  <a:cubicBezTo>
                    <a:pt x="1055" y="157"/>
                    <a:pt x="998" y="150"/>
                    <a:pt x="937" y="145"/>
                  </a:cubicBezTo>
                  <a:close/>
                  <a:moveTo>
                    <a:pt x="1084" y="169"/>
                  </a:moveTo>
                  <a:cubicBezTo>
                    <a:pt x="1086" y="169"/>
                    <a:pt x="1087" y="170"/>
                    <a:pt x="1088" y="170"/>
                  </a:cubicBezTo>
                  <a:lnTo>
                    <a:pt x="1088" y="170"/>
                  </a:lnTo>
                  <a:lnTo>
                    <a:pt x="1085" y="169"/>
                  </a:lnTo>
                  <a:cubicBezTo>
                    <a:pt x="1085" y="169"/>
                    <a:pt x="1085" y="169"/>
                    <a:pt x="1084" y="169"/>
                  </a:cubicBezTo>
                  <a:close/>
                  <a:moveTo>
                    <a:pt x="1088" y="170"/>
                  </a:moveTo>
                  <a:lnTo>
                    <a:pt x="1092" y="172"/>
                  </a:lnTo>
                  <a:cubicBezTo>
                    <a:pt x="1091" y="172"/>
                    <a:pt x="1090" y="171"/>
                    <a:pt x="1088" y="1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8" name="Google Shape;3748;p53"/>
            <p:cNvSpPr/>
            <p:nvPr/>
          </p:nvSpPr>
          <p:spPr>
            <a:xfrm>
              <a:off x="2201728" y="22503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9" name="Google Shape;3749;p53"/>
            <p:cNvSpPr/>
            <p:nvPr/>
          </p:nvSpPr>
          <p:spPr>
            <a:xfrm>
              <a:off x="2193881" y="223488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0" name="Google Shape;3750;p53"/>
            <p:cNvSpPr/>
            <p:nvPr/>
          </p:nvSpPr>
          <p:spPr>
            <a:xfrm>
              <a:off x="2203113" y="22504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1" name="Google Shape;3751;p53"/>
            <p:cNvSpPr/>
            <p:nvPr/>
          </p:nvSpPr>
          <p:spPr>
            <a:xfrm>
              <a:off x="2195021" y="22356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2" name="Google Shape;3752;p53"/>
            <p:cNvSpPr/>
            <p:nvPr/>
          </p:nvSpPr>
          <p:spPr>
            <a:xfrm>
              <a:off x="2195211" y="22359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3" name="Google Shape;3753;p53"/>
            <p:cNvSpPr/>
            <p:nvPr/>
          </p:nvSpPr>
          <p:spPr>
            <a:xfrm>
              <a:off x="2200927" y="2250228"/>
              <a:ext cx="95" cy="14"/>
            </a:xfrm>
            <a:custGeom>
              <a:avLst/>
              <a:gdLst/>
              <a:ahLst/>
              <a:cxnLst/>
              <a:rect l="l" t="t" r="r" b="b"/>
              <a:pathLst>
                <a:path w="7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4" name="Google Shape;3754;p53"/>
            <p:cNvSpPr/>
            <p:nvPr/>
          </p:nvSpPr>
          <p:spPr>
            <a:xfrm>
              <a:off x="2194600" y="22353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5" name="Google Shape;3755;p53"/>
            <p:cNvSpPr/>
            <p:nvPr/>
          </p:nvSpPr>
          <p:spPr>
            <a:xfrm>
              <a:off x="2194315" y="2235117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6" name="Google Shape;3756;p53"/>
            <p:cNvSpPr/>
            <p:nvPr/>
          </p:nvSpPr>
          <p:spPr>
            <a:xfrm>
              <a:off x="2203588" y="22504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7" name="Google Shape;3757;p53"/>
            <p:cNvSpPr/>
            <p:nvPr/>
          </p:nvSpPr>
          <p:spPr>
            <a:xfrm>
              <a:off x="2195116" y="22358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8" name="Google Shape;3758;p53"/>
            <p:cNvSpPr/>
            <p:nvPr/>
          </p:nvSpPr>
          <p:spPr>
            <a:xfrm>
              <a:off x="2194831" y="223549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9" name="Google Shape;3759;p53"/>
            <p:cNvSpPr/>
            <p:nvPr/>
          </p:nvSpPr>
          <p:spPr>
            <a:xfrm>
              <a:off x="2206005" y="224946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0" name="Google Shape;3760;p53"/>
            <p:cNvSpPr/>
            <p:nvPr/>
          </p:nvSpPr>
          <p:spPr>
            <a:xfrm>
              <a:off x="2205625" y="224975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1" name="Google Shape;3761;p53"/>
            <p:cNvSpPr/>
            <p:nvPr/>
          </p:nvSpPr>
          <p:spPr>
            <a:xfrm>
              <a:off x="2258102" y="221329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2" name="Google Shape;3762;p53"/>
            <p:cNvSpPr/>
            <p:nvPr/>
          </p:nvSpPr>
          <p:spPr>
            <a:xfrm>
              <a:off x="2257722" y="2213732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3" name="Google Shape;3763;p53"/>
            <p:cNvSpPr/>
            <p:nvPr/>
          </p:nvSpPr>
          <p:spPr>
            <a:xfrm>
              <a:off x="2257152" y="221453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4" name="Google Shape;3764;p53"/>
            <p:cNvSpPr/>
            <p:nvPr/>
          </p:nvSpPr>
          <p:spPr>
            <a:xfrm>
              <a:off x="2257437" y="2214153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5" name="Google Shape;3765;p53"/>
            <p:cNvSpPr/>
            <p:nvPr/>
          </p:nvSpPr>
          <p:spPr>
            <a:xfrm>
              <a:off x="2258482" y="221268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6" name="Google Shape;3766;p53"/>
            <p:cNvSpPr/>
            <p:nvPr/>
          </p:nvSpPr>
          <p:spPr>
            <a:xfrm>
              <a:off x="2204865" y="225013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7" name="Google Shape;3767;p53"/>
            <p:cNvSpPr/>
            <p:nvPr/>
          </p:nvSpPr>
          <p:spPr>
            <a:xfrm>
              <a:off x="2258822" y="221221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8" name="Google Shape;3768;p53"/>
            <p:cNvSpPr/>
            <p:nvPr/>
          </p:nvSpPr>
          <p:spPr>
            <a:xfrm>
              <a:off x="2193460" y="22346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9" name="Google Shape;3769;p53"/>
            <p:cNvSpPr/>
            <p:nvPr/>
          </p:nvSpPr>
          <p:spPr>
            <a:xfrm>
              <a:off x="2205245" y="224994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0" name="Google Shape;3770;p53"/>
            <p:cNvSpPr/>
            <p:nvPr/>
          </p:nvSpPr>
          <p:spPr>
            <a:xfrm>
              <a:off x="2204485" y="225028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1" name="Google Shape;3771;p53"/>
            <p:cNvSpPr/>
            <p:nvPr/>
          </p:nvSpPr>
          <p:spPr>
            <a:xfrm>
              <a:off x="2278916" y="225289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2" name="Google Shape;3772;p53"/>
            <p:cNvSpPr/>
            <p:nvPr/>
          </p:nvSpPr>
          <p:spPr>
            <a:xfrm>
              <a:off x="2279256" y="225265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cubicBezTo>
                    <a:pt x="4" y="11"/>
                    <a:pt x="11" y="7"/>
                    <a:pt x="14" y="0"/>
                  </a:cubicBezTo>
                  <a:cubicBezTo>
                    <a:pt x="11" y="7"/>
                    <a:pt x="4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3" name="Google Shape;3773;p53"/>
            <p:cNvSpPr/>
            <p:nvPr/>
          </p:nvSpPr>
          <p:spPr>
            <a:xfrm>
              <a:off x="2279772" y="2251994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21"/>
                  </a:moveTo>
                  <a:cubicBezTo>
                    <a:pt x="4" y="14"/>
                    <a:pt x="8" y="7"/>
                    <a:pt x="11" y="0"/>
                  </a:cubicBezTo>
                  <a:cubicBezTo>
                    <a:pt x="8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4" name="Google Shape;3774;p53"/>
            <p:cNvSpPr/>
            <p:nvPr/>
          </p:nvSpPr>
          <p:spPr>
            <a:xfrm>
              <a:off x="2279541" y="2252319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1"/>
                  </a:moveTo>
                  <a:cubicBezTo>
                    <a:pt x="11" y="8"/>
                    <a:pt x="4" y="15"/>
                    <a:pt x="0" y="22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5" name="Google Shape;3775;p53"/>
            <p:cNvSpPr/>
            <p:nvPr/>
          </p:nvSpPr>
          <p:spPr>
            <a:xfrm>
              <a:off x="2276445" y="22536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6" name="Google Shape;3776;p53"/>
            <p:cNvSpPr/>
            <p:nvPr/>
          </p:nvSpPr>
          <p:spPr>
            <a:xfrm>
              <a:off x="2280301" y="22507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7" name="Google Shape;3777;p53"/>
            <p:cNvSpPr/>
            <p:nvPr/>
          </p:nvSpPr>
          <p:spPr>
            <a:xfrm>
              <a:off x="2280111" y="2251043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0" y="32"/>
                  </a:moveTo>
                  <a:cubicBezTo>
                    <a:pt x="4" y="21"/>
                    <a:pt x="7" y="11"/>
                    <a:pt x="7" y="0"/>
                  </a:cubicBezTo>
                  <a:cubicBezTo>
                    <a:pt x="7" y="11"/>
                    <a:pt x="4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8" name="Google Shape;3778;p53"/>
            <p:cNvSpPr/>
            <p:nvPr/>
          </p:nvSpPr>
          <p:spPr>
            <a:xfrm>
              <a:off x="2279962" y="225161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cubicBezTo>
                    <a:pt x="4" y="14"/>
                    <a:pt x="4" y="7"/>
                    <a:pt x="8" y="0"/>
                  </a:cubicBezTo>
                  <a:cubicBezTo>
                    <a:pt x="4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9" name="Google Shape;3779;p53"/>
            <p:cNvSpPr/>
            <p:nvPr/>
          </p:nvSpPr>
          <p:spPr>
            <a:xfrm>
              <a:off x="2278536" y="2253134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1" y="11"/>
                  </a:moveTo>
                  <a:cubicBezTo>
                    <a:pt x="8" y="7"/>
                    <a:pt x="15" y="4"/>
                    <a:pt x="25" y="0"/>
                  </a:cubicBezTo>
                  <a:cubicBezTo>
                    <a:pt x="15" y="4"/>
                    <a:pt x="8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0" name="Google Shape;3780;p53"/>
            <p:cNvSpPr/>
            <p:nvPr/>
          </p:nvSpPr>
          <p:spPr>
            <a:xfrm>
              <a:off x="2276119" y="223958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1" name="Google Shape;3781;p53"/>
            <p:cNvSpPr/>
            <p:nvPr/>
          </p:nvSpPr>
          <p:spPr>
            <a:xfrm>
              <a:off x="2277111" y="223986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2" name="Google Shape;3782;p53"/>
            <p:cNvSpPr/>
            <p:nvPr/>
          </p:nvSpPr>
          <p:spPr>
            <a:xfrm>
              <a:off x="2276595" y="223967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3" name="Google Shape;3783;p53"/>
            <p:cNvSpPr/>
            <p:nvPr/>
          </p:nvSpPr>
          <p:spPr>
            <a:xfrm>
              <a:off x="2277735" y="224015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4" name="Google Shape;3784;p53"/>
            <p:cNvSpPr/>
            <p:nvPr/>
          </p:nvSpPr>
          <p:spPr>
            <a:xfrm>
              <a:off x="2278210" y="2240439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5" name="Google Shape;3785;p53"/>
            <p:cNvSpPr/>
            <p:nvPr/>
          </p:nvSpPr>
          <p:spPr>
            <a:xfrm>
              <a:off x="2278726" y="2240779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6" name="Google Shape;3786;p53"/>
            <p:cNvSpPr/>
            <p:nvPr/>
          </p:nvSpPr>
          <p:spPr>
            <a:xfrm>
              <a:off x="2278210" y="225327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1"/>
                  </a:moveTo>
                  <a:cubicBezTo>
                    <a:pt x="14" y="4"/>
                    <a:pt x="7" y="4"/>
                    <a:pt x="0" y="8"/>
                  </a:cubicBezTo>
                  <a:cubicBezTo>
                    <a:pt x="7" y="4"/>
                    <a:pt x="18" y="4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7" name="Google Shape;3787;p53"/>
            <p:cNvSpPr/>
            <p:nvPr/>
          </p:nvSpPr>
          <p:spPr>
            <a:xfrm>
              <a:off x="2277396" y="2253460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8" name="Google Shape;3788;p53"/>
            <p:cNvSpPr/>
            <p:nvPr/>
          </p:nvSpPr>
          <p:spPr>
            <a:xfrm>
              <a:off x="2276921" y="2253514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1" y="4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9" name="Google Shape;3789;p53"/>
            <p:cNvSpPr/>
            <p:nvPr/>
          </p:nvSpPr>
          <p:spPr>
            <a:xfrm>
              <a:off x="2277776" y="2253419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1" y="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0" name="Google Shape;3790;p53"/>
            <p:cNvSpPr/>
            <p:nvPr/>
          </p:nvSpPr>
          <p:spPr>
            <a:xfrm>
              <a:off x="2276595" y="225360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1" name="Google Shape;3791;p53"/>
            <p:cNvSpPr/>
            <p:nvPr/>
          </p:nvSpPr>
          <p:spPr>
            <a:xfrm>
              <a:off x="2275644" y="22535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2" name="Google Shape;3792;p53"/>
            <p:cNvSpPr/>
            <p:nvPr/>
          </p:nvSpPr>
          <p:spPr>
            <a:xfrm>
              <a:off x="2252019" y="2279556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11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3" name="Google Shape;3793;p53"/>
            <p:cNvSpPr/>
            <p:nvPr/>
          </p:nvSpPr>
          <p:spPr>
            <a:xfrm>
              <a:off x="2252155" y="2275999"/>
              <a:ext cx="1589" cy="3476"/>
            </a:xfrm>
            <a:custGeom>
              <a:avLst/>
              <a:gdLst/>
              <a:ahLst/>
              <a:cxnLst/>
              <a:rect l="l" t="t" r="r" b="b"/>
              <a:pathLst>
                <a:path w="117" h="256" extrusionOk="0">
                  <a:moveTo>
                    <a:pt x="116" y="0"/>
                  </a:moveTo>
                  <a:lnTo>
                    <a:pt x="116" y="0"/>
                  </a:lnTo>
                  <a:cubicBezTo>
                    <a:pt x="71" y="95"/>
                    <a:pt x="25" y="203"/>
                    <a:pt x="1" y="256"/>
                  </a:cubicBezTo>
                  <a:cubicBezTo>
                    <a:pt x="25" y="203"/>
                    <a:pt x="74" y="95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4" name="Google Shape;3794;p53"/>
            <p:cNvSpPr/>
            <p:nvPr/>
          </p:nvSpPr>
          <p:spPr>
            <a:xfrm>
              <a:off x="2256867" y="2263589"/>
              <a:ext cx="1589" cy="1494"/>
            </a:xfrm>
            <a:custGeom>
              <a:avLst/>
              <a:gdLst/>
              <a:ahLst/>
              <a:cxnLst/>
              <a:rect l="l" t="t" r="r" b="b"/>
              <a:pathLst>
                <a:path w="117" h="110" extrusionOk="0">
                  <a:moveTo>
                    <a:pt x="116" y="109"/>
                  </a:moveTo>
                  <a:cubicBezTo>
                    <a:pt x="74" y="74"/>
                    <a:pt x="36" y="39"/>
                    <a:pt x="0" y="1"/>
                  </a:cubicBezTo>
                  <a:cubicBezTo>
                    <a:pt x="36" y="39"/>
                    <a:pt x="74" y="74"/>
                    <a:pt x="116" y="1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5" name="Google Shape;3795;p53"/>
            <p:cNvSpPr/>
            <p:nvPr/>
          </p:nvSpPr>
          <p:spPr>
            <a:xfrm>
              <a:off x="2136461" y="2088588"/>
              <a:ext cx="84819" cy="89883"/>
            </a:xfrm>
            <a:custGeom>
              <a:avLst/>
              <a:gdLst/>
              <a:ahLst/>
              <a:cxnLst/>
              <a:rect l="l" t="t" r="r" b="b"/>
              <a:pathLst>
                <a:path w="6247" h="6620" extrusionOk="0">
                  <a:moveTo>
                    <a:pt x="1218" y="0"/>
                  </a:moveTo>
                  <a:cubicBezTo>
                    <a:pt x="955" y="0"/>
                    <a:pt x="738" y="3"/>
                    <a:pt x="663" y="10"/>
                  </a:cubicBezTo>
                  <a:lnTo>
                    <a:pt x="638" y="10"/>
                  </a:lnTo>
                  <a:lnTo>
                    <a:pt x="628" y="14"/>
                  </a:lnTo>
                  <a:lnTo>
                    <a:pt x="624" y="14"/>
                  </a:lnTo>
                  <a:lnTo>
                    <a:pt x="607" y="21"/>
                  </a:lnTo>
                  <a:lnTo>
                    <a:pt x="603" y="21"/>
                  </a:lnTo>
                  <a:lnTo>
                    <a:pt x="582" y="31"/>
                  </a:lnTo>
                  <a:lnTo>
                    <a:pt x="579" y="35"/>
                  </a:lnTo>
                  <a:lnTo>
                    <a:pt x="550" y="49"/>
                  </a:lnTo>
                  <a:lnTo>
                    <a:pt x="543" y="52"/>
                  </a:lnTo>
                  <a:lnTo>
                    <a:pt x="512" y="70"/>
                  </a:lnTo>
                  <a:lnTo>
                    <a:pt x="505" y="73"/>
                  </a:lnTo>
                  <a:lnTo>
                    <a:pt x="463" y="101"/>
                  </a:lnTo>
                  <a:lnTo>
                    <a:pt x="459" y="105"/>
                  </a:lnTo>
                  <a:lnTo>
                    <a:pt x="414" y="133"/>
                  </a:lnTo>
                  <a:lnTo>
                    <a:pt x="407" y="136"/>
                  </a:lnTo>
                  <a:cubicBezTo>
                    <a:pt x="505" y="469"/>
                    <a:pt x="747" y="969"/>
                    <a:pt x="841" y="1165"/>
                  </a:cubicBezTo>
                  <a:lnTo>
                    <a:pt x="869" y="1225"/>
                  </a:lnTo>
                  <a:cubicBezTo>
                    <a:pt x="922" y="1330"/>
                    <a:pt x="887" y="1428"/>
                    <a:pt x="852" y="1529"/>
                  </a:cubicBezTo>
                  <a:cubicBezTo>
                    <a:pt x="813" y="1624"/>
                    <a:pt x="792" y="1725"/>
                    <a:pt x="789" y="1827"/>
                  </a:cubicBezTo>
                  <a:cubicBezTo>
                    <a:pt x="789" y="1960"/>
                    <a:pt x="869" y="2167"/>
                    <a:pt x="946" y="2363"/>
                  </a:cubicBezTo>
                  <a:cubicBezTo>
                    <a:pt x="1027" y="2573"/>
                    <a:pt x="1111" y="2790"/>
                    <a:pt x="1128" y="2968"/>
                  </a:cubicBezTo>
                  <a:cubicBezTo>
                    <a:pt x="1160" y="3311"/>
                    <a:pt x="967" y="3532"/>
                    <a:pt x="782" y="3745"/>
                  </a:cubicBezTo>
                  <a:lnTo>
                    <a:pt x="726" y="3812"/>
                  </a:lnTo>
                  <a:cubicBezTo>
                    <a:pt x="533" y="4032"/>
                    <a:pt x="344" y="4533"/>
                    <a:pt x="344" y="4817"/>
                  </a:cubicBezTo>
                  <a:cubicBezTo>
                    <a:pt x="344" y="5020"/>
                    <a:pt x="239" y="5212"/>
                    <a:pt x="155" y="5363"/>
                  </a:cubicBezTo>
                  <a:cubicBezTo>
                    <a:pt x="109" y="5450"/>
                    <a:pt x="57" y="5541"/>
                    <a:pt x="60" y="5580"/>
                  </a:cubicBezTo>
                  <a:cubicBezTo>
                    <a:pt x="67" y="5713"/>
                    <a:pt x="32" y="6056"/>
                    <a:pt x="1" y="6252"/>
                  </a:cubicBezTo>
                  <a:lnTo>
                    <a:pt x="46" y="6242"/>
                  </a:lnTo>
                  <a:cubicBezTo>
                    <a:pt x="95" y="6154"/>
                    <a:pt x="186" y="6098"/>
                    <a:pt x="284" y="6094"/>
                  </a:cubicBezTo>
                  <a:cubicBezTo>
                    <a:pt x="354" y="6094"/>
                    <a:pt x="414" y="6136"/>
                    <a:pt x="438" y="6199"/>
                  </a:cubicBezTo>
                  <a:cubicBezTo>
                    <a:pt x="442" y="6210"/>
                    <a:pt x="445" y="6217"/>
                    <a:pt x="452" y="6224"/>
                  </a:cubicBezTo>
                  <a:cubicBezTo>
                    <a:pt x="470" y="6221"/>
                    <a:pt x="487" y="6217"/>
                    <a:pt x="505" y="6210"/>
                  </a:cubicBezTo>
                  <a:cubicBezTo>
                    <a:pt x="604" y="6167"/>
                    <a:pt x="696" y="6146"/>
                    <a:pt x="784" y="6146"/>
                  </a:cubicBezTo>
                  <a:cubicBezTo>
                    <a:pt x="890" y="6146"/>
                    <a:pt x="990" y="6178"/>
                    <a:pt x="1086" y="6242"/>
                  </a:cubicBezTo>
                  <a:cubicBezTo>
                    <a:pt x="1244" y="6347"/>
                    <a:pt x="1373" y="6368"/>
                    <a:pt x="1541" y="6368"/>
                  </a:cubicBezTo>
                  <a:lnTo>
                    <a:pt x="3456" y="6368"/>
                  </a:lnTo>
                  <a:lnTo>
                    <a:pt x="3645" y="6557"/>
                  </a:lnTo>
                  <a:lnTo>
                    <a:pt x="4573" y="6557"/>
                  </a:lnTo>
                  <a:lnTo>
                    <a:pt x="4622" y="6560"/>
                  </a:lnTo>
                  <a:lnTo>
                    <a:pt x="4629" y="6560"/>
                  </a:lnTo>
                  <a:lnTo>
                    <a:pt x="4678" y="6564"/>
                  </a:lnTo>
                  <a:lnTo>
                    <a:pt x="4692" y="6564"/>
                  </a:lnTo>
                  <a:lnTo>
                    <a:pt x="4734" y="6567"/>
                  </a:lnTo>
                  <a:lnTo>
                    <a:pt x="4745" y="6567"/>
                  </a:lnTo>
                  <a:lnTo>
                    <a:pt x="4780" y="6574"/>
                  </a:lnTo>
                  <a:lnTo>
                    <a:pt x="4787" y="6574"/>
                  </a:lnTo>
                  <a:cubicBezTo>
                    <a:pt x="4797" y="6578"/>
                    <a:pt x="4811" y="6578"/>
                    <a:pt x="4818" y="6581"/>
                  </a:cubicBezTo>
                  <a:lnTo>
                    <a:pt x="4825" y="6581"/>
                  </a:lnTo>
                  <a:cubicBezTo>
                    <a:pt x="4836" y="6585"/>
                    <a:pt x="4843" y="6588"/>
                    <a:pt x="4853" y="6592"/>
                  </a:cubicBezTo>
                  <a:cubicBezTo>
                    <a:pt x="4892" y="6611"/>
                    <a:pt x="4963" y="6619"/>
                    <a:pt x="5046" y="6619"/>
                  </a:cubicBezTo>
                  <a:cubicBezTo>
                    <a:pt x="5246" y="6619"/>
                    <a:pt x="5522" y="6574"/>
                    <a:pt x="5648" y="6532"/>
                  </a:cubicBezTo>
                  <a:cubicBezTo>
                    <a:pt x="5662" y="6529"/>
                    <a:pt x="5683" y="6522"/>
                    <a:pt x="5707" y="6518"/>
                  </a:cubicBezTo>
                  <a:lnTo>
                    <a:pt x="5130" y="5709"/>
                  </a:lnTo>
                  <a:lnTo>
                    <a:pt x="5130" y="5688"/>
                  </a:lnTo>
                  <a:lnTo>
                    <a:pt x="5186" y="3801"/>
                  </a:lnTo>
                  <a:lnTo>
                    <a:pt x="6036" y="3829"/>
                  </a:lnTo>
                  <a:lnTo>
                    <a:pt x="6138" y="3728"/>
                  </a:lnTo>
                  <a:lnTo>
                    <a:pt x="6246" y="2716"/>
                  </a:lnTo>
                  <a:lnTo>
                    <a:pt x="6218" y="2716"/>
                  </a:lnTo>
                  <a:cubicBezTo>
                    <a:pt x="6211" y="2720"/>
                    <a:pt x="6201" y="2723"/>
                    <a:pt x="6194" y="2727"/>
                  </a:cubicBezTo>
                  <a:cubicBezTo>
                    <a:pt x="6088" y="2772"/>
                    <a:pt x="5992" y="2783"/>
                    <a:pt x="5897" y="2783"/>
                  </a:cubicBezTo>
                  <a:cubicBezTo>
                    <a:pt x="5859" y="2783"/>
                    <a:pt x="5822" y="2781"/>
                    <a:pt x="5784" y="2779"/>
                  </a:cubicBezTo>
                  <a:lnTo>
                    <a:pt x="5683" y="2779"/>
                  </a:lnTo>
                  <a:cubicBezTo>
                    <a:pt x="5630" y="2783"/>
                    <a:pt x="5581" y="2811"/>
                    <a:pt x="5546" y="2853"/>
                  </a:cubicBezTo>
                  <a:cubicBezTo>
                    <a:pt x="5517" y="2885"/>
                    <a:pt x="5475" y="2928"/>
                    <a:pt x="5412" y="2928"/>
                  </a:cubicBezTo>
                  <a:cubicBezTo>
                    <a:pt x="5400" y="2928"/>
                    <a:pt x="5388" y="2926"/>
                    <a:pt x="5375" y="2923"/>
                  </a:cubicBezTo>
                  <a:cubicBezTo>
                    <a:pt x="5228" y="2888"/>
                    <a:pt x="5280" y="2636"/>
                    <a:pt x="5319" y="2454"/>
                  </a:cubicBezTo>
                  <a:cubicBezTo>
                    <a:pt x="5322" y="2436"/>
                    <a:pt x="5326" y="2422"/>
                    <a:pt x="5329" y="2412"/>
                  </a:cubicBezTo>
                  <a:cubicBezTo>
                    <a:pt x="5343" y="2331"/>
                    <a:pt x="5207" y="2135"/>
                    <a:pt x="5084" y="2037"/>
                  </a:cubicBezTo>
                  <a:cubicBezTo>
                    <a:pt x="4990" y="1963"/>
                    <a:pt x="5025" y="1788"/>
                    <a:pt x="5095" y="1512"/>
                  </a:cubicBezTo>
                  <a:cubicBezTo>
                    <a:pt x="5119" y="1424"/>
                    <a:pt x="5151" y="1288"/>
                    <a:pt x="5147" y="1249"/>
                  </a:cubicBezTo>
                  <a:cubicBezTo>
                    <a:pt x="5060" y="1151"/>
                    <a:pt x="5039" y="938"/>
                    <a:pt x="5035" y="801"/>
                  </a:cubicBezTo>
                  <a:lnTo>
                    <a:pt x="5035" y="773"/>
                  </a:lnTo>
                  <a:cubicBezTo>
                    <a:pt x="5035" y="763"/>
                    <a:pt x="5035" y="752"/>
                    <a:pt x="5032" y="742"/>
                  </a:cubicBezTo>
                  <a:cubicBezTo>
                    <a:pt x="5004" y="742"/>
                    <a:pt x="4972" y="742"/>
                    <a:pt x="4941" y="749"/>
                  </a:cubicBezTo>
                  <a:cubicBezTo>
                    <a:pt x="4874" y="759"/>
                    <a:pt x="4808" y="766"/>
                    <a:pt x="4738" y="766"/>
                  </a:cubicBezTo>
                  <a:cubicBezTo>
                    <a:pt x="4534" y="766"/>
                    <a:pt x="4454" y="689"/>
                    <a:pt x="4426" y="637"/>
                  </a:cubicBezTo>
                  <a:cubicBezTo>
                    <a:pt x="4371" y="624"/>
                    <a:pt x="4287" y="611"/>
                    <a:pt x="4209" y="611"/>
                  </a:cubicBezTo>
                  <a:cubicBezTo>
                    <a:pt x="4154" y="611"/>
                    <a:pt x="4102" y="618"/>
                    <a:pt x="4065" y="637"/>
                  </a:cubicBezTo>
                  <a:cubicBezTo>
                    <a:pt x="4016" y="661"/>
                    <a:pt x="3985" y="798"/>
                    <a:pt x="3967" y="892"/>
                  </a:cubicBezTo>
                  <a:cubicBezTo>
                    <a:pt x="3943" y="1001"/>
                    <a:pt x="3929" y="1081"/>
                    <a:pt x="3873" y="1116"/>
                  </a:cubicBezTo>
                  <a:cubicBezTo>
                    <a:pt x="3858" y="1124"/>
                    <a:pt x="3841" y="1130"/>
                    <a:pt x="3822" y="1130"/>
                  </a:cubicBezTo>
                  <a:cubicBezTo>
                    <a:pt x="3815" y="1130"/>
                    <a:pt x="3807" y="1129"/>
                    <a:pt x="3799" y="1127"/>
                  </a:cubicBezTo>
                  <a:cubicBezTo>
                    <a:pt x="3787" y="1124"/>
                    <a:pt x="3770" y="1122"/>
                    <a:pt x="3748" y="1122"/>
                  </a:cubicBezTo>
                  <a:cubicBezTo>
                    <a:pt x="3640" y="1122"/>
                    <a:pt x="3422" y="1157"/>
                    <a:pt x="3204" y="1221"/>
                  </a:cubicBezTo>
                  <a:cubicBezTo>
                    <a:pt x="3151" y="1237"/>
                    <a:pt x="3104" y="1245"/>
                    <a:pt x="3061" y="1245"/>
                  </a:cubicBezTo>
                  <a:cubicBezTo>
                    <a:pt x="2850" y="1245"/>
                    <a:pt x="2755" y="1065"/>
                    <a:pt x="2665" y="847"/>
                  </a:cubicBezTo>
                  <a:cubicBezTo>
                    <a:pt x="2637" y="766"/>
                    <a:pt x="2584" y="696"/>
                    <a:pt x="2521" y="647"/>
                  </a:cubicBezTo>
                  <a:cubicBezTo>
                    <a:pt x="2451" y="588"/>
                    <a:pt x="2409" y="539"/>
                    <a:pt x="2441" y="392"/>
                  </a:cubicBezTo>
                  <a:cubicBezTo>
                    <a:pt x="2476" y="248"/>
                    <a:pt x="2402" y="80"/>
                    <a:pt x="2371" y="10"/>
                  </a:cubicBezTo>
                  <a:lnTo>
                    <a:pt x="2364" y="10"/>
                  </a:lnTo>
                  <a:cubicBezTo>
                    <a:pt x="2091" y="6"/>
                    <a:pt x="1606" y="0"/>
                    <a:pt x="12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6" name="Google Shape;3796;p53"/>
            <p:cNvSpPr/>
            <p:nvPr/>
          </p:nvSpPr>
          <p:spPr>
            <a:xfrm>
              <a:off x="2193595" y="217727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7" name="Google Shape;3797;p53"/>
            <p:cNvSpPr/>
            <p:nvPr/>
          </p:nvSpPr>
          <p:spPr>
            <a:xfrm>
              <a:off x="2185897" y="217769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8" name="Google Shape;3798;p53"/>
            <p:cNvSpPr/>
            <p:nvPr/>
          </p:nvSpPr>
          <p:spPr>
            <a:xfrm>
              <a:off x="2200113" y="2177372"/>
              <a:ext cx="625" cy="109"/>
            </a:xfrm>
            <a:custGeom>
              <a:avLst/>
              <a:gdLst/>
              <a:ahLst/>
              <a:cxnLst/>
              <a:rect l="l" t="t" r="r" b="b"/>
              <a:pathLst>
                <a:path w="46" h="8" extrusionOk="0">
                  <a:moveTo>
                    <a:pt x="46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9" name="Google Shape;3799;p53"/>
            <p:cNvSpPr/>
            <p:nvPr/>
          </p:nvSpPr>
          <p:spPr>
            <a:xfrm>
              <a:off x="2192889" y="217731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0" name="Google Shape;3800;p53"/>
            <p:cNvSpPr/>
            <p:nvPr/>
          </p:nvSpPr>
          <p:spPr>
            <a:xfrm>
              <a:off x="2197492" y="2177277"/>
              <a:ext cx="774" cy="14"/>
            </a:xfrm>
            <a:custGeom>
              <a:avLst/>
              <a:gdLst/>
              <a:ahLst/>
              <a:cxnLst/>
              <a:rect l="l" t="t" r="r" b="b"/>
              <a:pathLst>
                <a:path w="57" h="1" extrusionOk="0">
                  <a:moveTo>
                    <a:pt x="57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1" name="Google Shape;3801;p53"/>
            <p:cNvSpPr/>
            <p:nvPr/>
          </p:nvSpPr>
          <p:spPr>
            <a:xfrm>
              <a:off x="2198497" y="2177277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49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2" name="Google Shape;3802;p53"/>
            <p:cNvSpPr/>
            <p:nvPr/>
          </p:nvSpPr>
          <p:spPr>
            <a:xfrm>
              <a:off x="2197261" y="2177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3" name="Google Shape;3803;p53"/>
            <p:cNvSpPr/>
            <p:nvPr/>
          </p:nvSpPr>
          <p:spPr>
            <a:xfrm>
              <a:off x="2195401" y="21772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4" name="Google Shape;3804;p53"/>
            <p:cNvSpPr/>
            <p:nvPr/>
          </p:nvSpPr>
          <p:spPr>
            <a:xfrm>
              <a:off x="2136421" y="2173421"/>
              <a:ext cx="679" cy="149"/>
            </a:xfrm>
            <a:custGeom>
              <a:avLst/>
              <a:gdLst/>
              <a:ahLst/>
              <a:cxnLst/>
              <a:rect l="l" t="t" r="r" b="b"/>
              <a:pathLst>
                <a:path w="50" h="11" extrusionOk="0">
                  <a:moveTo>
                    <a:pt x="0" y="11"/>
                  </a:moveTo>
                  <a:lnTo>
                    <a:pt x="4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5" name="Google Shape;3805;p53"/>
            <p:cNvSpPr/>
            <p:nvPr/>
          </p:nvSpPr>
          <p:spPr>
            <a:xfrm>
              <a:off x="2199257" y="2177317"/>
              <a:ext cx="679" cy="68"/>
            </a:xfrm>
            <a:custGeom>
              <a:avLst/>
              <a:gdLst/>
              <a:ahLst/>
              <a:cxnLst/>
              <a:rect l="l" t="t" r="r" b="b"/>
              <a:pathLst>
                <a:path w="50" h="5" extrusionOk="0">
                  <a:moveTo>
                    <a:pt x="49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6" name="Google Shape;3806;p53"/>
            <p:cNvSpPr/>
            <p:nvPr/>
          </p:nvSpPr>
          <p:spPr>
            <a:xfrm>
              <a:off x="2187852" y="217756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7" name="Google Shape;3807;p53"/>
            <p:cNvSpPr/>
            <p:nvPr/>
          </p:nvSpPr>
          <p:spPr>
            <a:xfrm>
              <a:off x="2187323" y="217760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8" name="Google Shape;3808;p53"/>
            <p:cNvSpPr/>
            <p:nvPr/>
          </p:nvSpPr>
          <p:spPr>
            <a:xfrm>
              <a:off x="2186847" y="217760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9" name="Google Shape;3809;p53"/>
            <p:cNvSpPr/>
            <p:nvPr/>
          </p:nvSpPr>
          <p:spPr>
            <a:xfrm>
              <a:off x="2200832" y="2177467"/>
              <a:ext cx="475" cy="109"/>
            </a:xfrm>
            <a:custGeom>
              <a:avLst/>
              <a:gdLst/>
              <a:ahLst/>
              <a:cxnLst/>
              <a:rect l="l" t="t" r="r" b="b"/>
              <a:pathLst>
                <a:path w="35" h="8" extrusionOk="0">
                  <a:moveTo>
                    <a:pt x="3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0" name="Google Shape;3810;p53"/>
            <p:cNvSpPr/>
            <p:nvPr/>
          </p:nvSpPr>
          <p:spPr>
            <a:xfrm>
              <a:off x="2186372" y="217765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1" name="Google Shape;3811;p53"/>
            <p:cNvSpPr/>
            <p:nvPr/>
          </p:nvSpPr>
          <p:spPr>
            <a:xfrm>
              <a:off x="2192075" y="2177317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36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2" name="Google Shape;3812;p53"/>
            <p:cNvSpPr/>
            <p:nvPr/>
          </p:nvSpPr>
          <p:spPr>
            <a:xfrm>
              <a:off x="2191219" y="217737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3" name="Google Shape;3813;p53"/>
            <p:cNvSpPr/>
            <p:nvPr/>
          </p:nvSpPr>
          <p:spPr>
            <a:xfrm>
              <a:off x="2190513" y="217741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4" name="Google Shape;3814;p53"/>
            <p:cNvSpPr/>
            <p:nvPr/>
          </p:nvSpPr>
          <p:spPr>
            <a:xfrm>
              <a:off x="2189223" y="217746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5" name="Google Shape;3815;p53"/>
            <p:cNvSpPr/>
            <p:nvPr/>
          </p:nvSpPr>
          <p:spPr>
            <a:xfrm>
              <a:off x="2188558" y="217750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6" name="Google Shape;3816;p53"/>
            <p:cNvSpPr/>
            <p:nvPr/>
          </p:nvSpPr>
          <p:spPr>
            <a:xfrm>
              <a:off x="2189889" y="217741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7" name="Google Shape;3817;p53"/>
            <p:cNvSpPr/>
            <p:nvPr/>
          </p:nvSpPr>
          <p:spPr>
            <a:xfrm>
              <a:off x="2194695" y="21772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8" name="Google Shape;3818;p53"/>
            <p:cNvSpPr/>
            <p:nvPr/>
          </p:nvSpPr>
          <p:spPr>
            <a:xfrm>
              <a:off x="2195971" y="2177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9" name="Google Shape;3819;p53"/>
            <p:cNvSpPr/>
            <p:nvPr/>
          </p:nvSpPr>
          <p:spPr>
            <a:xfrm>
              <a:off x="2201973" y="2177697"/>
              <a:ext cx="339" cy="163"/>
            </a:xfrm>
            <a:custGeom>
              <a:avLst/>
              <a:gdLst/>
              <a:ahLst/>
              <a:cxnLst/>
              <a:rect l="l" t="t" r="r" b="b"/>
              <a:pathLst>
                <a:path w="25" h="12" extrusionOk="0">
                  <a:moveTo>
                    <a:pt x="25" y="11"/>
                  </a:moveTo>
                  <a:cubicBezTo>
                    <a:pt x="18" y="8"/>
                    <a:pt x="7" y="4"/>
                    <a:pt x="0" y="1"/>
                  </a:cubicBezTo>
                  <a:cubicBezTo>
                    <a:pt x="7" y="4"/>
                    <a:pt x="18" y="8"/>
                    <a:pt x="2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0" name="Google Shape;3820;p53"/>
            <p:cNvSpPr/>
            <p:nvPr/>
          </p:nvSpPr>
          <p:spPr>
            <a:xfrm>
              <a:off x="2201402" y="2177562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7"/>
                  </a:moveTo>
                  <a:cubicBezTo>
                    <a:pt x="25" y="7"/>
                    <a:pt x="14" y="4"/>
                    <a:pt x="0" y="0"/>
                  </a:cubicBezTo>
                  <a:cubicBezTo>
                    <a:pt x="14" y="4"/>
                    <a:pt x="25" y="7"/>
                    <a:pt x="3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1" name="Google Shape;3821;p53"/>
            <p:cNvSpPr/>
            <p:nvPr/>
          </p:nvSpPr>
          <p:spPr>
            <a:xfrm>
              <a:off x="2207865" y="2106307"/>
              <a:ext cx="83624" cy="72463"/>
            </a:xfrm>
            <a:custGeom>
              <a:avLst/>
              <a:gdLst/>
              <a:ahLst/>
              <a:cxnLst/>
              <a:rect l="l" t="t" r="r" b="b"/>
              <a:pathLst>
                <a:path w="6159" h="5337" extrusionOk="0">
                  <a:moveTo>
                    <a:pt x="4380" y="0"/>
                  </a:moveTo>
                  <a:cubicBezTo>
                    <a:pt x="4366" y="7"/>
                    <a:pt x="4352" y="14"/>
                    <a:pt x="4334" y="21"/>
                  </a:cubicBezTo>
                  <a:lnTo>
                    <a:pt x="4327" y="25"/>
                  </a:lnTo>
                  <a:cubicBezTo>
                    <a:pt x="4310" y="32"/>
                    <a:pt x="4296" y="39"/>
                    <a:pt x="4278" y="42"/>
                  </a:cubicBezTo>
                  <a:lnTo>
                    <a:pt x="4264" y="46"/>
                  </a:lnTo>
                  <a:cubicBezTo>
                    <a:pt x="4247" y="53"/>
                    <a:pt x="4229" y="56"/>
                    <a:pt x="4208" y="60"/>
                  </a:cubicBezTo>
                  <a:lnTo>
                    <a:pt x="4194" y="60"/>
                  </a:lnTo>
                  <a:cubicBezTo>
                    <a:pt x="4177" y="63"/>
                    <a:pt x="4156" y="67"/>
                    <a:pt x="4135" y="70"/>
                  </a:cubicBezTo>
                  <a:lnTo>
                    <a:pt x="4121" y="70"/>
                  </a:lnTo>
                  <a:lnTo>
                    <a:pt x="4065" y="74"/>
                  </a:lnTo>
                  <a:lnTo>
                    <a:pt x="4044" y="74"/>
                  </a:lnTo>
                  <a:lnTo>
                    <a:pt x="3981" y="77"/>
                  </a:lnTo>
                  <a:lnTo>
                    <a:pt x="3722" y="77"/>
                  </a:lnTo>
                  <a:cubicBezTo>
                    <a:pt x="3718" y="76"/>
                    <a:pt x="3715" y="76"/>
                    <a:pt x="3712" y="76"/>
                  </a:cubicBezTo>
                  <a:cubicBezTo>
                    <a:pt x="3705" y="76"/>
                    <a:pt x="3698" y="78"/>
                    <a:pt x="3694" y="81"/>
                  </a:cubicBezTo>
                  <a:cubicBezTo>
                    <a:pt x="3687" y="112"/>
                    <a:pt x="3683" y="147"/>
                    <a:pt x="3687" y="179"/>
                  </a:cubicBezTo>
                  <a:cubicBezTo>
                    <a:pt x="3694" y="259"/>
                    <a:pt x="3697" y="361"/>
                    <a:pt x="3616" y="427"/>
                  </a:cubicBezTo>
                  <a:cubicBezTo>
                    <a:pt x="3546" y="480"/>
                    <a:pt x="3515" y="550"/>
                    <a:pt x="3518" y="585"/>
                  </a:cubicBezTo>
                  <a:cubicBezTo>
                    <a:pt x="3518" y="595"/>
                    <a:pt x="3522" y="602"/>
                    <a:pt x="3532" y="606"/>
                  </a:cubicBezTo>
                  <a:cubicBezTo>
                    <a:pt x="3634" y="658"/>
                    <a:pt x="3613" y="830"/>
                    <a:pt x="3574" y="1037"/>
                  </a:cubicBezTo>
                  <a:lnTo>
                    <a:pt x="3567" y="1079"/>
                  </a:lnTo>
                  <a:cubicBezTo>
                    <a:pt x="3557" y="1142"/>
                    <a:pt x="3546" y="1208"/>
                    <a:pt x="3543" y="1271"/>
                  </a:cubicBezTo>
                  <a:cubicBezTo>
                    <a:pt x="3543" y="1348"/>
                    <a:pt x="3504" y="1450"/>
                    <a:pt x="3466" y="1548"/>
                  </a:cubicBezTo>
                  <a:cubicBezTo>
                    <a:pt x="3438" y="1611"/>
                    <a:pt x="3417" y="1670"/>
                    <a:pt x="3406" y="1737"/>
                  </a:cubicBezTo>
                  <a:cubicBezTo>
                    <a:pt x="3445" y="1782"/>
                    <a:pt x="3480" y="1831"/>
                    <a:pt x="3508" y="1887"/>
                  </a:cubicBezTo>
                  <a:cubicBezTo>
                    <a:pt x="3571" y="1989"/>
                    <a:pt x="3655" y="2132"/>
                    <a:pt x="3739" y="2153"/>
                  </a:cubicBezTo>
                  <a:cubicBezTo>
                    <a:pt x="3755" y="2158"/>
                    <a:pt x="3770" y="2160"/>
                    <a:pt x="3784" y="2160"/>
                  </a:cubicBezTo>
                  <a:cubicBezTo>
                    <a:pt x="3848" y="2160"/>
                    <a:pt x="3901" y="2121"/>
                    <a:pt x="3953" y="2087"/>
                  </a:cubicBezTo>
                  <a:cubicBezTo>
                    <a:pt x="3988" y="2055"/>
                    <a:pt x="4033" y="2038"/>
                    <a:pt x="4082" y="2031"/>
                  </a:cubicBezTo>
                  <a:cubicBezTo>
                    <a:pt x="4222" y="2031"/>
                    <a:pt x="4222" y="2248"/>
                    <a:pt x="4222" y="2486"/>
                  </a:cubicBezTo>
                  <a:cubicBezTo>
                    <a:pt x="4226" y="2598"/>
                    <a:pt x="4180" y="2706"/>
                    <a:pt x="4096" y="2780"/>
                  </a:cubicBezTo>
                  <a:lnTo>
                    <a:pt x="4089" y="2783"/>
                  </a:lnTo>
                  <a:lnTo>
                    <a:pt x="4082" y="2787"/>
                  </a:lnTo>
                  <a:lnTo>
                    <a:pt x="4072" y="2790"/>
                  </a:lnTo>
                  <a:lnTo>
                    <a:pt x="4065" y="2790"/>
                  </a:lnTo>
                  <a:lnTo>
                    <a:pt x="4054" y="2797"/>
                  </a:lnTo>
                  <a:lnTo>
                    <a:pt x="4044" y="2797"/>
                  </a:lnTo>
                  <a:lnTo>
                    <a:pt x="4030" y="2804"/>
                  </a:lnTo>
                  <a:lnTo>
                    <a:pt x="4019" y="2804"/>
                  </a:lnTo>
                  <a:lnTo>
                    <a:pt x="3995" y="2811"/>
                  </a:lnTo>
                  <a:lnTo>
                    <a:pt x="3984" y="2811"/>
                  </a:lnTo>
                  <a:lnTo>
                    <a:pt x="3960" y="2818"/>
                  </a:lnTo>
                  <a:lnTo>
                    <a:pt x="3946" y="2822"/>
                  </a:lnTo>
                  <a:lnTo>
                    <a:pt x="3921" y="2826"/>
                  </a:lnTo>
                  <a:lnTo>
                    <a:pt x="3907" y="2826"/>
                  </a:lnTo>
                  <a:lnTo>
                    <a:pt x="3883" y="2829"/>
                  </a:lnTo>
                  <a:lnTo>
                    <a:pt x="3788" y="2829"/>
                  </a:lnTo>
                  <a:lnTo>
                    <a:pt x="3764" y="2826"/>
                  </a:lnTo>
                  <a:lnTo>
                    <a:pt x="3753" y="2826"/>
                  </a:lnTo>
                  <a:cubicBezTo>
                    <a:pt x="3743" y="2826"/>
                    <a:pt x="3732" y="2822"/>
                    <a:pt x="3722" y="2818"/>
                  </a:cubicBezTo>
                  <a:cubicBezTo>
                    <a:pt x="3711" y="2815"/>
                    <a:pt x="3701" y="2811"/>
                    <a:pt x="3694" y="2808"/>
                  </a:cubicBezTo>
                  <a:lnTo>
                    <a:pt x="3683" y="2804"/>
                  </a:lnTo>
                  <a:lnTo>
                    <a:pt x="3662" y="2794"/>
                  </a:lnTo>
                  <a:lnTo>
                    <a:pt x="3655" y="2790"/>
                  </a:lnTo>
                  <a:cubicBezTo>
                    <a:pt x="3645" y="2787"/>
                    <a:pt x="3638" y="2780"/>
                    <a:pt x="3631" y="2773"/>
                  </a:cubicBezTo>
                  <a:cubicBezTo>
                    <a:pt x="3490" y="2661"/>
                    <a:pt x="3392" y="2388"/>
                    <a:pt x="3385" y="2269"/>
                  </a:cubicBezTo>
                  <a:cubicBezTo>
                    <a:pt x="3368" y="2255"/>
                    <a:pt x="3298" y="2230"/>
                    <a:pt x="3039" y="2230"/>
                  </a:cubicBezTo>
                  <a:cubicBezTo>
                    <a:pt x="2923" y="2230"/>
                    <a:pt x="2808" y="2111"/>
                    <a:pt x="2689" y="1880"/>
                  </a:cubicBezTo>
                  <a:cubicBezTo>
                    <a:pt x="2657" y="1891"/>
                    <a:pt x="2633" y="1915"/>
                    <a:pt x="2619" y="1947"/>
                  </a:cubicBezTo>
                  <a:cubicBezTo>
                    <a:pt x="2619" y="2087"/>
                    <a:pt x="2451" y="2087"/>
                    <a:pt x="2314" y="2087"/>
                  </a:cubicBezTo>
                  <a:cubicBezTo>
                    <a:pt x="2244" y="2087"/>
                    <a:pt x="2164" y="2045"/>
                    <a:pt x="2076" y="2003"/>
                  </a:cubicBezTo>
                  <a:cubicBezTo>
                    <a:pt x="2025" y="1977"/>
                    <a:pt x="1928" y="1931"/>
                    <a:pt x="1892" y="1931"/>
                  </a:cubicBezTo>
                  <a:cubicBezTo>
                    <a:pt x="1889" y="1931"/>
                    <a:pt x="1886" y="1932"/>
                    <a:pt x="1884" y="1933"/>
                  </a:cubicBezTo>
                  <a:cubicBezTo>
                    <a:pt x="1863" y="1942"/>
                    <a:pt x="1842" y="1947"/>
                    <a:pt x="1822" y="1947"/>
                  </a:cubicBezTo>
                  <a:cubicBezTo>
                    <a:pt x="1790" y="1947"/>
                    <a:pt x="1759" y="1935"/>
                    <a:pt x="1733" y="1912"/>
                  </a:cubicBezTo>
                  <a:cubicBezTo>
                    <a:pt x="1653" y="1838"/>
                    <a:pt x="1611" y="1733"/>
                    <a:pt x="1614" y="1625"/>
                  </a:cubicBezTo>
                  <a:lnTo>
                    <a:pt x="1614" y="1625"/>
                  </a:lnTo>
                  <a:cubicBezTo>
                    <a:pt x="1530" y="1632"/>
                    <a:pt x="1449" y="1656"/>
                    <a:pt x="1372" y="1691"/>
                  </a:cubicBezTo>
                  <a:cubicBezTo>
                    <a:pt x="1353" y="1701"/>
                    <a:pt x="1331" y="1706"/>
                    <a:pt x="1309" y="1706"/>
                  </a:cubicBezTo>
                  <a:cubicBezTo>
                    <a:pt x="1291" y="1706"/>
                    <a:pt x="1273" y="1703"/>
                    <a:pt x="1257" y="1695"/>
                  </a:cubicBezTo>
                  <a:cubicBezTo>
                    <a:pt x="1183" y="1663"/>
                    <a:pt x="1148" y="1572"/>
                    <a:pt x="1138" y="1537"/>
                  </a:cubicBezTo>
                  <a:lnTo>
                    <a:pt x="1131" y="1530"/>
                  </a:lnTo>
                  <a:lnTo>
                    <a:pt x="1131" y="1527"/>
                  </a:lnTo>
                  <a:lnTo>
                    <a:pt x="1127" y="1520"/>
                  </a:lnTo>
                  <a:lnTo>
                    <a:pt x="1124" y="1513"/>
                  </a:lnTo>
                  <a:lnTo>
                    <a:pt x="1117" y="1506"/>
                  </a:lnTo>
                  <a:lnTo>
                    <a:pt x="1113" y="1499"/>
                  </a:lnTo>
                  <a:lnTo>
                    <a:pt x="1110" y="1495"/>
                  </a:lnTo>
                  <a:lnTo>
                    <a:pt x="1005" y="2486"/>
                  </a:lnTo>
                  <a:lnTo>
                    <a:pt x="830" y="2661"/>
                  </a:lnTo>
                  <a:lnTo>
                    <a:pt x="53" y="2636"/>
                  </a:lnTo>
                  <a:lnTo>
                    <a:pt x="0" y="4366"/>
                  </a:lnTo>
                  <a:lnTo>
                    <a:pt x="588" y="5168"/>
                  </a:lnTo>
                  <a:cubicBezTo>
                    <a:pt x="634" y="5157"/>
                    <a:pt x="714" y="5140"/>
                    <a:pt x="809" y="5126"/>
                  </a:cubicBezTo>
                  <a:cubicBezTo>
                    <a:pt x="990" y="5099"/>
                    <a:pt x="1194" y="5075"/>
                    <a:pt x="1349" y="5075"/>
                  </a:cubicBezTo>
                  <a:cubicBezTo>
                    <a:pt x="1437" y="5075"/>
                    <a:pt x="1509" y="5082"/>
                    <a:pt x="1555" y="5101"/>
                  </a:cubicBezTo>
                  <a:lnTo>
                    <a:pt x="1569" y="5105"/>
                  </a:lnTo>
                  <a:lnTo>
                    <a:pt x="1576" y="5108"/>
                  </a:lnTo>
                  <a:lnTo>
                    <a:pt x="1583" y="5112"/>
                  </a:lnTo>
                  <a:lnTo>
                    <a:pt x="1586" y="5115"/>
                  </a:lnTo>
                  <a:cubicBezTo>
                    <a:pt x="1590" y="5115"/>
                    <a:pt x="1593" y="5119"/>
                    <a:pt x="1593" y="5122"/>
                  </a:cubicBezTo>
                  <a:lnTo>
                    <a:pt x="1600" y="5129"/>
                  </a:lnTo>
                  <a:cubicBezTo>
                    <a:pt x="1604" y="5133"/>
                    <a:pt x="1607" y="5136"/>
                    <a:pt x="1607" y="5140"/>
                  </a:cubicBezTo>
                  <a:cubicBezTo>
                    <a:pt x="1611" y="5143"/>
                    <a:pt x="1611" y="5143"/>
                    <a:pt x="1614" y="5147"/>
                  </a:cubicBezTo>
                  <a:cubicBezTo>
                    <a:pt x="1614" y="5150"/>
                    <a:pt x="1618" y="5154"/>
                    <a:pt x="1618" y="5157"/>
                  </a:cubicBezTo>
                  <a:cubicBezTo>
                    <a:pt x="1618" y="5161"/>
                    <a:pt x="1621" y="5164"/>
                    <a:pt x="1621" y="5168"/>
                  </a:cubicBezTo>
                  <a:cubicBezTo>
                    <a:pt x="1621" y="5175"/>
                    <a:pt x="1625" y="5182"/>
                    <a:pt x="1625" y="5189"/>
                  </a:cubicBezTo>
                  <a:lnTo>
                    <a:pt x="1625" y="5192"/>
                  </a:lnTo>
                  <a:lnTo>
                    <a:pt x="1625" y="5203"/>
                  </a:lnTo>
                  <a:cubicBezTo>
                    <a:pt x="1625" y="5206"/>
                    <a:pt x="1625" y="5213"/>
                    <a:pt x="1628" y="5217"/>
                  </a:cubicBezTo>
                  <a:lnTo>
                    <a:pt x="1628" y="5220"/>
                  </a:lnTo>
                  <a:lnTo>
                    <a:pt x="1632" y="5234"/>
                  </a:lnTo>
                  <a:lnTo>
                    <a:pt x="1632" y="5238"/>
                  </a:lnTo>
                  <a:lnTo>
                    <a:pt x="1691" y="5224"/>
                  </a:lnTo>
                  <a:lnTo>
                    <a:pt x="1705" y="5224"/>
                  </a:lnTo>
                  <a:lnTo>
                    <a:pt x="1747" y="5213"/>
                  </a:lnTo>
                  <a:lnTo>
                    <a:pt x="1754" y="5213"/>
                  </a:lnTo>
                  <a:cubicBezTo>
                    <a:pt x="1772" y="5210"/>
                    <a:pt x="1786" y="5210"/>
                    <a:pt x="1800" y="5206"/>
                  </a:cubicBezTo>
                  <a:lnTo>
                    <a:pt x="1880" y="5206"/>
                  </a:lnTo>
                  <a:cubicBezTo>
                    <a:pt x="1947" y="5220"/>
                    <a:pt x="2013" y="5234"/>
                    <a:pt x="2076" y="5255"/>
                  </a:cubicBezTo>
                  <a:cubicBezTo>
                    <a:pt x="2189" y="5284"/>
                    <a:pt x="2382" y="5337"/>
                    <a:pt x="2486" y="5337"/>
                  </a:cubicBezTo>
                  <a:cubicBezTo>
                    <a:pt x="2508" y="5337"/>
                    <a:pt x="2526" y="5334"/>
                    <a:pt x="2538" y="5329"/>
                  </a:cubicBezTo>
                  <a:cubicBezTo>
                    <a:pt x="2577" y="5308"/>
                    <a:pt x="2650" y="5203"/>
                    <a:pt x="2717" y="5108"/>
                  </a:cubicBezTo>
                  <a:cubicBezTo>
                    <a:pt x="2836" y="4940"/>
                    <a:pt x="2972" y="4751"/>
                    <a:pt x="3116" y="4709"/>
                  </a:cubicBezTo>
                  <a:cubicBezTo>
                    <a:pt x="3315" y="4646"/>
                    <a:pt x="3560" y="4439"/>
                    <a:pt x="3571" y="4383"/>
                  </a:cubicBezTo>
                  <a:cubicBezTo>
                    <a:pt x="3571" y="4250"/>
                    <a:pt x="3595" y="4131"/>
                    <a:pt x="3925" y="4044"/>
                  </a:cubicBezTo>
                  <a:lnTo>
                    <a:pt x="3939" y="4044"/>
                  </a:lnTo>
                  <a:lnTo>
                    <a:pt x="4310" y="4033"/>
                  </a:lnTo>
                  <a:lnTo>
                    <a:pt x="4359" y="4033"/>
                  </a:lnTo>
                  <a:lnTo>
                    <a:pt x="4250" y="3652"/>
                  </a:lnTo>
                  <a:lnTo>
                    <a:pt x="4310" y="3631"/>
                  </a:lnTo>
                  <a:lnTo>
                    <a:pt x="4373" y="3606"/>
                  </a:lnTo>
                  <a:cubicBezTo>
                    <a:pt x="5052" y="3354"/>
                    <a:pt x="5416" y="3221"/>
                    <a:pt x="5612" y="3151"/>
                  </a:cubicBezTo>
                  <a:cubicBezTo>
                    <a:pt x="5668" y="3134"/>
                    <a:pt x="5714" y="3116"/>
                    <a:pt x="5752" y="3106"/>
                  </a:cubicBezTo>
                  <a:lnTo>
                    <a:pt x="5738" y="3081"/>
                  </a:lnTo>
                  <a:cubicBezTo>
                    <a:pt x="5692" y="2990"/>
                    <a:pt x="5664" y="2938"/>
                    <a:pt x="5678" y="2892"/>
                  </a:cubicBezTo>
                  <a:cubicBezTo>
                    <a:pt x="5685" y="2875"/>
                    <a:pt x="5696" y="2861"/>
                    <a:pt x="5710" y="2850"/>
                  </a:cubicBezTo>
                  <a:cubicBezTo>
                    <a:pt x="5738" y="2794"/>
                    <a:pt x="5770" y="2507"/>
                    <a:pt x="5770" y="2370"/>
                  </a:cubicBezTo>
                  <a:cubicBezTo>
                    <a:pt x="5770" y="2255"/>
                    <a:pt x="5899" y="2244"/>
                    <a:pt x="5976" y="2234"/>
                  </a:cubicBezTo>
                  <a:lnTo>
                    <a:pt x="5983" y="2234"/>
                  </a:lnTo>
                  <a:cubicBezTo>
                    <a:pt x="5871" y="2031"/>
                    <a:pt x="5920" y="1436"/>
                    <a:pt x="5969" y="1310"/>
                  </a:cubicBezTo>
                  <a:cubicBezTo>
                    <a:pt x="5987" y="1254"/>
                    <a:pt x="6039" y="1212"/>
                    <a:pt x="6099" y="1205"/>
                  </a:cubicBezTo>
                  <a:cubicBezTo>
                    <a:pt x="6107" y="1203"/>
                    <a:pt x="6116" y="1202"/>
                    <a:pt x="6125" y="1202"/>
                  </a:cubicBezTo>
                  <a:cubicBezTo>
                    <a:pt x="6134" y="1202"/>
                    <a:pt x="6142" y="1203"/>
                    <a:pt x="6151" y="1205"/>
                  </a:cubicBezTo>
                  <a:lnTo>
                    <a:pt x="6158" y="1205"/>
                  </a:lnTo>
                  <a:cubicBezTo>
                    <a:pt x="6141" y="1131"/>
                    <a:pt x="6116" y="1058"/>
                    <a:pt x="6085" y="988"/>
                  </a:cubicBezTo>
                  <a:lnTo>
                    <a:pt x="6081" y="981"/>
                  </a:lnTo>
                  <a:lnTo>
                    <a:pt x="6074" y="967"/>
                  </a:lnTo>
                  <a:lnTo>
                    <a:pt x="6064" y="935"/>
                  </a:lnTo>
                  <a:cubicBezTo>
                    <a:pt x="6046" y="897"/>
                    <a:pt x="6029" y="862"/>
                    <a:pt x="6011" y="827"/>
                  </a:cubicBezTo>
                  <a:lnTo>
                    <a:pt x="6008" y="816"/>
                  </a:lnTo>
                  <a:lnTo>
                    <a:pt x="6001" y="809"/>
                  </a:lnTo>
                  <a:cubicBezTo>
                    <a:pt x="5987" y="778"/>
                    <a:pt x="5969" y="750"/>
                    <a:pt x="5955" y="725"/>
                  </a:cubicBezTo>
                  <a:cubicBezTo>
                    <a:pt x="5945" y="707"/>
                    <a:pt x="5934" y="693"/>
                    <a:pt x="5927" y="679"/>
                  </a:cubicBezTo>
                  <a:lnTo>
                    <a:pt x="5924" y="676"/>
                  </a:lnTo>
                  <a:cubicBezTo>
                    <a:pt x="5878" y="620"/>
                    <a:pt x="5479" y="452"/>
                    <a:pt x="5304" y="403"/>
                  </a:cubicBezTo>
                  <a:cubicBezTo>
                    <a:pt x="5290" y="399"/>
                    <a:pt x="5276" y="396"/>
                    <a:pt x="5265" y="392"/>
                  </a:cubicBezTo>
                  <a:cubicBezTo>
                    <a:pt x="5181" y="371"/>
                    <a:pt x="5104" y="336"/>
                    <a:pt x="5031" y="294"/>
                  </a:cubicBezTo>
                  <a:cubicBezTo>
                    <a:pt x="4940" y="252"/>
                    <a:pt x="4835" y="196"/>
                    <a:pt x="4772" y="196"/>
                  </a:cubicBezTo>
                  <a:lnTo>
                    <a:pt x="4709" y="196"/>
                  </a:lnTo>
                  <a:lnTo>
                    <a:pt x="4702" y="193"/>
                  </a:lnTo>
                  <a:lnTo>
                    <a:pt x="4691" y="189"/>
                  </a:lnTo>
                  <a:lnTo>
                    <a:pt x="4681" y="186"/>
                  </a:lnTo>
                  <a:lnTo>
                    <a:pt x="4670" y="179"/>
                  </a:lnTo>
                  <a:lnTo>
                    <a:pt x="4660" y="175"/>
                  </a:lnTo>
                  <a:lnTo>
                    <a:pt x="4649" y="168"/>
                  </a:lnTo>
                  <a:lnTo>
                    <a:pt x="4635" y="165"/>
                  </a:lnTo>
                  <a:lnTo>
                    <a:pt x="4621" y="158"/>
                  </a:lnTo>
                  <a:lnTo>
                    <a:pt x="4611" y="151"/>
                  </a:lnTo>
                  <a:lnTo>
                    <a:pt x="4593" y="140"/>
                  </a:lnTo>
                  <a:lnTo>
                    <a:pt x="4579" y="133"/>
                  </a:lnTo>
                  <a:lnTo>
                    <a:pt x="4565" y="123"/>
                  </a:lnTo>
                  <a:lnTo>
                    <a:pt x="4548" y="112"/>
                  </a:lnTo>
                  <a:lnTo>
                    <a:pt x="4530" y="102"/>
                  </a:lnTo>
                  <a:lnTo>
                    <a:pt x="4513" y="91"/>
                  </a:lnTo>
                  <a:lnTo>
                    <a:pt x="4492" y="77"/>
                  </a:lnTo>
                  <a:lnTo>
                    <a:pt x="4474" y="67"/>
                  </a:lnTo>
                  <a:lnTo>
                    <a:pt x="4453" y="49"/>
                  </a:lnTo>
                  <a:lnTo>
                    <a:pt x="4432" y="35"/>
                  </a:lnTo>
                  <a:lnTo>
                    <a:pt x="4408" y="18"/>
                  </a:lnTo>
                  <a:lnTo>
                    <a:pt x="4383" y="4"/>
                  </a:lnTo>
                  <a:lnTo>
                    <a:pt x="438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2" name="Google Shape;3822;p53"/>
            <p:cNvSpPr/>
            <p:nvPr/>
          </p:nvSpPr>
          <p:spPr>
            <a:xfrm>
              <a:off x="2229915" y="21769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3" name="Google Shape;3823;p53"/>
            <p:cNvSpPr/>
            <p:nvPr/>
          </p:nvSpPr>
          <p:spPr>
            <a:xfrm>
              <a:off x="2229250" y="21756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8" y="7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4" name="Google Shape;3824;p53"/>
            <p:cNvSpPr/>
            <p:nvPr/>
          </p:nvSpPr>
          <p:spPr>
            <a:xfrm>
              <a:off x="2230065" y="217741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5" name="Google Shape;3825;p53"/>
            <p:cNvSpPr/>
            <p:nvPr/>
          </p:nvSpPr>
          <p:spPr>
            <a:xfrm>
              <a:off x="2229494" y="2175892"/>
              <a:ext cx="95" cy="109"/>
            </a:xfrm>
            <a:custGeom>
              <a:avLst/>
              <a:gdLst/>
              <a:ahLst/>
              <a:cxnLst/>
              <a:rect l="l" t="t" r="r" b="b"/>
              <a:pathLst>
                <a:path w="7" h="8" extrusionOk="0">
                  <a:moveTo>
                    <a:pt x="0" y="1"/>
                  </a:moveTo>
                  <a:lnTo>
                    <a:pt x="7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6" name="Google Shape;3826;p53"/>
            <p:cNvSpPr/>
            <p:nvPr/>
          </p:nvSpPr>
          <p:spPr>
            <a:xfrm>
              <a:off x="2228965" y="217556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7" name="Google Shape;3827;p53"/>
            <p:cNvSpPr/>
            <p:nvPr/>
          </p:nvSpPr>
          <p:spPr>
            <a:xfrm>
              <a:off x="2230010" y="217718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8" name="Google Shape;3828;p53"/>
            <p:cNvSpPr/>
            <p:nvPr/>
          </p:nvSpPr>
          <p:spPr>
            <a:xfrm>
              <a:off x="2229915" y="21768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9" name="Google Shape;3829;p53"/>
            <p:cNvSpPr/>
            <p:nvPr/>
          </p:nvSpPr>
          <p:spPr>
            <a:xfrm>
              <a:off x="2229793" y="2176353"/>
              <a:ext cx="95" cy="177"/>
            </a:xfrm>
            <a:custGeom>
              <a:avLst/>
              <a:gdLst/>
              <a:ahLst/>
              <a:cxnLst/>
              <a:rect l="l" t="t" r="r" b="b"/>
              <a:pathLst>
                <a:path w="7" h="13" extrusionOk="0">
                  <a:moveTo>
                    <a:pt x="2" y="1"/>
                  </a:moveTo>
                  <a:cubicBezTo>
                    <a:pt x="1" y="1"/>
                    <a:pt x="6" y="9"/>
                    <a:pt x="6" y="12"/>
                  </a:cubicBezTo>
                  <a:cubicBezTo>
                    <a:pt x="6" y="9"/>
                    <a:pt x="6" y="5"/>
                    <a:pt x="3" y="2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0" name="Google Shape;3830;p53"/>
            <p:cNvSpPr/>
            <p:nvPr/>
          </p:nvSpPr>
          <p:spPr>
            <a:xfrm>
              <a:off x="2229684" y="217608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cubicBezTo>
                    <a:pt x="4" y="8"/>
                    <a:pt x="4" y="4"/>
                    <a:pt x="0" y="1"/>
                  </a:cubicBezTo>
                  <a:cubicBezTo>
                    <a:pt x="4" y="4"/>
                    <a:pt x="4" y="8"/>
                    <a:pt x="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1" name="Google Shape;3831;p53"/>
            <p:cNvSpPr/>
            <p:nvPr/>
          </p:nvSpPr>
          <p:spPr>
            <a:xfrm>
              <a:off x="2218836" y="2175172"/>
              <a:ext cx="10142" cy="733"/>
            </a:xfrm>
            <a:custGeom>
              <a:avLst/>
              <a:gdLst/>
              <a:ahLst/>
              <a:cxnLst/>
              <a:rect l="l" t="t" r="r" b="b"/>
              <a:pathLst>
                <a:path w="747" h="54" extrusionOk="0">
                  <a:moveTo>
                    <a:pt x="536" y="0"/>
                  </a:moveTo>
                  <a:cubicBezTo>
                    <a:pt x="381" y="0"/>
                    <a:pt x="180" y="25"/>
                    <a:pt x="1" y="54"/>
                  </a:cubicBezTo>
                  <a:cubicBezTo>
                    <a:pt x="165" y="28"/>
                    <a:pt x="375" y="2"/>
                    <a:pt x="539" y="2"/>
                  </a:cubicBezTo>
                  <a:cubicBezTo>
                    <a:pt x="626" y="2"/>
                    <a:pt x="700" y="10"/>
                    <a:pt x="747" y="29"/>
                  </a:cubicBezTo>
                  <a:cubicBezTo>
                    <a:pt x="700" y="8"/>
                    <a:pt x="626" y="0"/>
                    <a:pt x="5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2" name="Google Shape;3832;p53"/>
            <p:cNvSpPr/>
            <p:nvPr/>
          </p:nvSpPr>
          <p:spPr>
            <a:xfrm>
              <a:off x="2261483" y="2161065"/>
              <a:ext cx="5051" cy="149"/>
            </a:xfrm>
            <a:custGeom>
              <a:avLst/>
              <a:gdLst/>
              <a:ahLst/>
              <a:cxnLst/>
              <a:rect l="l" t="t" r="r" b="b"/>
              <a:pathLst>
                <a:path w="372" h="11" extrusionOk="0">
                  <a:moveTo>
                    <a:pt x="0" y="11"/>
                  </a:moveTo>
                  <a:lnTo>
                    <a:pt x="371" y="0"/>
                  </a:lnTo>
                  <a:lnTo>
                    <a:pt x="37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3" name="Google Shape;3833;p53"/>
            <p:cNvSpPr/>
            <p:nvPr/>
          </p:nvSpPr>
          <p:spPr>
            <a:xfrm>
              <a:off x="2231816" y="2177032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1" y="8"/>
                  </a:moveTo>
                  <a:cubicBezTo>
                    <a:pt x="15" y="4"/>
                    <a:pt x="32" y="4"/>
                    <a:pt x="43" y="1"/>
                  </a:cubicBezTo>
                  <a:cubicBezTo>
                    <a:pt x="32" y="4"/>
                    <a:pt x="15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4" name="Google Shape;3834;p53"/>
            <p:cNvSpPr/>
            <p:nvPr/>
          </p:nvSpPr>
          <p:spPr>
            <a:xfrm>
              <a:off x="2231056" y="2177127"/>
              <a:ext cx="638" cy="109"/>
            </a:xfrm>
            <a:custGeom>
              <a:avLst/>
              <a:gdLst/>
              <a:ahLst/>
              <a:cxnLst/>
              <a:rect l="l" t="t" r="r" b="b"/>
              <a:pathLst>
                <a:path w="47" h="8" extrusionOk="0">
                  <a:moveTo>
                    <a:pt x="1" y="8"/>
                  </a:moveTo>
                  <a:lnTo>
                    <a:pt x="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5" name="Google Shape;3835;p53"/>
            <p:cNvSpPr/>
            <p:nvPr/>
          </p:nvSpPr>
          <p:spPr>
            <a:xfrm>
              <a:off x="2230105" y="2177277"/>
              <a:ext cx="774" cy="204"/>
            </a:xfrm>
            <a:custGeom>
              <a:avLst/>
              <a:gdLst/>
              <a:ahLst/>
              <a:cxnLst/>
              <a:rect l="l" t="t" r="r" b="b"/>
              <a:pathLst>
                <a:path w="57" h="15" extrusionOk="0">
                  <a:moveTo>
                    <a:pt x="57" y="0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6" name="Google Shape;3836;p53"/>
            <p:cNvSpPr/>
            <p:nvPr/>
          </p:nvSpPr>
          <p:spPr>
            <a:xfrm>
              <a:off x="2232536" y="2177032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0" y="1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7" name="Google Shape;3837;p53"/>
            <p:cNvSpPr/>
            <p:nvPr/>
          </p:nvSpPr>
          <p:spPr>
            <a:xfrm>
              <a:off x="2233106" y="2176991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0" y="0"/>
                  </a:moveTo>
                  <a:cubicBezTo>
                    <a:pt x="11" y="0"/>
                    <a:pt x="21" y="0"/>
                    <a:pt x="32" y="0"/>
                  </a:cubicBezTo>
                  <a:cubicBezTo>
                    <a:pt x="21" y="0"/>
                    <a:pt x="11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8" name="Google Shape;3838;p53"/>
            <p:cNvSpPr/>
            <p:nvPr/>
          </p:nvSpPr>
          <p:spPr>
            <a:xfrm>
              <a:off x="2258672" y="2052499"/>
              <a:ext cx="12464" cy="10170"/>
            </a:xfrm>
            <a:custGeom>
              <a:avLst/>
              <a:gdLst/>
              <a:ahLst/>
              <a:cxnLst/>
              <a:rect l="l" t="t" r="r" b="b"/>
              <a:pathLst>
                <a:path w="918" h="749" extrusionOk="0">
                  <a:moveTo>
                    <a:pt x="757" y="0"/>
                  </a:moveTo>
                  <a:lnTo>
                    <a:pt x="760" y="14"/>
                  </a:lnTo>
                  <a:lnTo>
                    <a:pt x="718" y="28"/>
                  </a:lnTo>
                  <a:lnTo>
                    <a:pt x="715" y="28"/>
                  </a:lnTo>
                  <a:cubicBezTo>
                    <a:pt x="634" y="53"/>
                    <a:pt x="589" y="70"/>
                    <a:pt x="561" y="81"/>
                  </a:cubicBezTo>
                  <a:lnTo>
                    <a:pt x="550" y="81"/>
                  </a:lnTo>
                  <a:lnTo>
                    <a:pt x="533" y="88"/>
                  </a:lnTo>
                  <a:lnTo>
                    <a:pt x="526" y="95"/>
                  </a:lnTo>
                  <a:lnTo>
                    <a:pt x="501" y="105"/>
                  </a:lnTo>
                  <a:lnTo>
                    <a:pt x="491" y="109"/>
                  </a:lnTo>
                  <a:lnTo>
                    <a:pt x="473" y="119"/>
                  </a:lnTo>
                  <a:lnTo>
                    <a:pt x="466" y="123"/>
                  </a:lnTo>
                  <a:lnTo>
                    <a:pt x="449" y="130"/>
                  </a:lnTo>
                  <a:lnTo>
                    <a:pt x="438" y="130"/>
                  </a:lnTo>
                  <a:lnTo>
                    <a:pt x="421" y="137"/>
                  </a:lnTo>
                  <a:lnTo>
                    <a:pt x="410" y="140"/>
                  </a:lnTo>
                  <a:lnTo>
                    <a:pt x="386" y="144"/>
                  </a:lnTo>
                  <a:lnTo>
                    <a:pt x="382" y="144"/>
                  </a:lnTo>
                  <a:cubicBezTo>
                    <a:pt x="372" y="144"/>
                    <a:pt x="361" y="147"/>
                    <a:pt x="347" y="147"/>
                  </a:cubicBezTo>
                  <a:lnTo>
                    <a:pt x="256" y="147"/>
                  </a:lnTo>
                  <a:cubicBezTo>
                    <a:pt x="249" y="151"/>
                    <a:pt x="242" y="158"/>
                    <a:pt x="235" y="165"/>
                  </a:cubicBezTo>
                  <a:lnTo>
                    <a:pt x="232" y="168"/>
                  </a:lnTo>
                  <a:lnTo>
                    <a:pt x="214" y="179"/>
                  </a:lnTo>
                  <a:lnTo>
                    <a:pt x="207" y="182"/>
                  </a:lnTo>
                  <a:cubicBezTo>
                    <a:pt x="200" y="186"/>
                    <a:pt x="193" y="189"/>
                    <a:pt x="186" y="193"/>
                  </a:cubicBezTo>
                  <a:cubicBezTo>
                    <a:pt x="130" y="210"/>
                    <a:pt x="113" y="371"/>
                    <a:pt x="120" y="476"/>
                  </a:cubicBezTo>
                  <a:lnTo>
                    <a:pt x="127" y="539"/>
                  </a:lnTo>
                  <a:lnTo>
                    <a:pt x="60" y="546"/>
                  </a:lnTo>
                  <a:cubicBezTo>
                    <a:pt x="43" y="550"/>
                    <a:pt x="1" y="564"/>
                    <a:pt x="1" y="638"/>
                  </a:cubicBezTo>
                  <a:lnTo>
                    <a:pt x="1" y="648"/>
                  </a:lnTo>
                  <a:lnTo>
                    <a:pt x="1" y="652"/>
                  </a:lnTo>
                  <a:lnTo>
                    <a:pt x="1" y="659"/>
                  </a:lnTo>
                  <a:lnTo>
                    <a:pt x="1" y="662"/>
                  </a:lnTo>
                  <a:lnTo>
                    <a:pt x="1" y="669"/>
                  </a:lnTo>
                  <a:lnTo>
                    <a:pt x="1" y="676"/>
                  </a:lnTo>
                  <a:cubicBezTo>
                    <a:pt x="1" y="676"/>
                    <a:pt x="1" y="680"/>
                    <a:pt x="1" y="683"/>
                  </a:cubicBezTo>
                  <a:lnTo>
                    <a:pt x="4" y="687"/>
                  </a:lnTo>
                  <a:cubicBezTo>
                    <a:pt x="4" y="690"/>
                    <a:pt x="8" y="694"/>
                    <a:pt x="8" y="697"/>
                  </a:cubicBezTo>
                  <a:lnTo>
                    <a:pt x="15" y="701"/>
                  </a:lnTo>
                  <a:lnTo>
                    <a:pt x="22" y="711"/>
                  </a:lnTo>
                  <a:lnTo>
                    <a:pt x="29" y="715"/>
                  </a:lnTo>
                  <a:lnTo>
                    <a:pt x="36" y="722"/>
                  </a:lnTo>
                  <a:lnTo>
                    <a:pt x="46" y="729"/>
                  </a:lnTo>
                  <a:lnTo>
                    <a:pt x="53" y="732"/>
                  </a:lnTo>
                  <a:lnTo>
                    <a:pt x="148" y="732"/>
                  </a:lnTo>
                  <a:lnTo>
                    <a:pt x="172" y="736"/>
                  </a:lnTo>
                  <a:lnTo>
                    <a:pt x="190" y="736"/>
                  </a:lnTo>
                  <a:lnTo>
                    <a:pt x="228" y="739"/>
                  </a:lnTo>
                  <a:cubicBezTo>
                    <a:pt x="259" y="745"/>
                    <a:pt x="287" y="749"/>
                    <a:pt x="311" y="749"/>
                  </a:cubicBezTo>
                  <a:cubicBezTo>
                    <a:pt x="354" y="749"/>
                    <a:pt x="385" y="739"/>
                    <a:pt x="403" y="722"/>
                  </a:cubicBezTo>
                  <a:cubicBezTo>
                    <a:pt x="424" y="701"/>
                    <a:pt x="435" y="673"/>
                    <a:pt x="431" y="645"/>
                  </a:cubicBezTo>
                  <a:lnTo>
                    <a:pt x="424" y="568"/>
                  </a:lnTo>
                  <a:lnTo>
                    <a:pt x="498" y="571"/>
                  </a:lnTo>
                  <a:lnTo>
                    <a:pt x="501" y="571"/>
                  </a:lnTo>
                  <a:cubicBezTo>
                    <a:pt x="531" y="572"/>
                    <a:pt x="560" y="573"/>
                    <a:pt x="590" y="573"/>
                  </a:cubicBezTo>
                  <a:cubicBezTo>
                    <a:pt x="641" y="573"/>
                    <a:pt x="693" y="571"/>
                    <a:pt x="746" y="564"/>
                  </a:cubicBezTo>
                  <a:cubicBezTo>
                    <a:pt x="890" y="546"/>
                    <a:pt x="907" y="511"/>
                    <a:pt x="907" y="511"/>
                  </a:cubicBezTo>
                  <a:cubicBezTo>
                    <a:pt x="918" y="445"/>
                    <a:pt x="890" y="347"/>
                    <a:pt x="862" y="273"/>
                  </a:cubicBezTo>
                  <a:cubicBezTo>
                    <a:pt x="848" y="238"/>
                    <a:pt x="837" y="207"/>
                    <a:pt x="827" y="189"/>
                  </a:cubicBezTo>
                  <a:lnTo>
                    <a:pt x="823" y="186"/>
                  </a:lnTo>
                  <a:lnTo>
                    <a:pt x="7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9" name="Google Shape;3839;p53"/>
            <p:cNvSpPr/>
            <p:nvPr/>
          </p:nvSpPr>
          <p:spPr>
            <a:xfrm>
              <a:off x="2348080" y="1953764"/>
              <a:ext cx="75016" cy="100080"/>
            </a:xfrm>
            <a:custGeom>
              <a:avLst/>
              <a:gdLst/>
              <a:ahLst/>
              <a:cxnLst/>
              <a:rect l="l" t="t" r="r" b="b"/>
              <a:pathLst>
                <a:path w="5525" h="7371" extrusionOk="0">
                  <a:moveTo>
                    <a:pt x="5401" y="0"/>
                  </a:moveTo>
                  <a:cubicBezTo>
                    <a:pt x="5350" y="0"/>
                    <a:pt x="5302" y="31"/>
                    <a:pt x="5283" y="82"/>
                  </a:cubicBezTo>
                  <a:cubicBezTo>
                    <a:pt x="5171" y="327"/>
                    <a:pt x="4391" y="442"/>
                    <a:pt x="3999" y="449"/>
                  </a:cubicBezTo>
                  <a:cubicBezTo>
                    <a:pt x="3589" y="456"/>
                    <a:pt x="3319" y="491"/>
                    <a:pt x="3165" y="635"/>
                  </a:cubicBezTo>
                  <a:cubicBezTo>
                    <a:pt x="3096" y="702"/>
                    <a:pt x="2999" y="718"/>
                    <a:pt x="2895" y="718"/>
                  </a:cubicBezTo>
                  <a:cubicBezTo>
                    <a:pt x="2851" y="718"/>
                    <a:pt x="2807" y="715"/>
                    <a:pt x="2763" y="712"/>
                  </a:cubicBezTo>
                  <a:cubicBezTo>
                    <a:pt x="2723" y="710"/>
                    <a:pt x="2683" y="707"/>
                    <a:pt x="2644" y="707"/>
                  </a:cubicBezTo>
                  <a:cubicBezTo>
                    <a:pt x="2564" y="707"/>
                    <a:pt x="2494" y="717"/>
                    <a:pt x="2458" y="757"/>
                  </a:cubicBezTo>
                  <a:cubicBezTo>
                    <a:pt x="2369" y="862"/>
                    <a:pt x="2156" y="955"/>
                    <a:pt x="1935" y="955"/>
                  </a:cubicBezTo>
                  <a:cubicBezTo>
                    <a:pt x="1904" y="955"/>
                    <a:pt x="1873" y="954"/>
                    <a:pt x="1842" y="950"/>
                  </a:cubicBezTo>
                  <a:cubicBezTo>
                    <a:pt x="1671" y="932"/>
                    <a:pt x="1516" y="827"/>
                    <a:pt x="1443" y="670"/>
                  </a:cubicBezTo>
                  <a:cubicBezTo>
                    <a:pt x="1397" y="568"/>
                    <a:pt x="1324" y="481"/>
                    <a:pt x="1233" y="414"/>
                  </a:cubicBezTo>
                  <a:lnTo>
                    <a:pt x="1219" y="432"/>
                  </a:lnTo>
                  <a:lnTo>
                    <a:pt x="1205" y="446"/>
                  </a:lnTo>
                  <a:cubicBezTo>
                    <a:pt x="1149" y="505"/>
                    <a:pt x="1096" y="572"/>
                    <a:pt x="1051" y="638"/>
                  </a:cubicBezTo>
                  <a:lnTo>
                    <a:pt x="1054" y="645"/>
                  </a:lnTo>
                  <a:cubicBezTo>
                    <a:pt x="988" y="740"/>
                    <a:pt x="981" y="778"/>
                    <a:pt x="977" y="785"/>
                  </a:cubicBezTo>
                  <a:cubicBezTo>
                    <a:pt x="1051" y="939"/>
                    <a:pt x="1142" y="1083"/>
                    <a:pt x="1247" y="1212"/>
                  </a:cubicBezTo>
                  <a:lnTo>
                    <a:pt x="1257" y="1223"/>
                  </a:lnTo>
                  <a:cubicBezTo>
                    <a:pt x="1264" y="1233"/>
                    <a:pt x="1275" y="1240"/>
                    <a:pt x="1285" y="1247"/>
                  </a:cubicBezTo>
                  <a:cubicBezTo>
                    <a:pt x="1334" y="1275"/>
                    <a:pt x="1376" y="1310"/>
                    <a:pt x="1411" y="1356"/>
                  </a:cubicBezTo>
                  <a:lnTo>
                    <a:pt x="1460" y="1408"/>
                  </a:lnTo>
                  <a:cubicBezTo>
                    <a:pt x="1513" y="1468"/>
                    <a:pt x="1593" y="1559"/>
                    <a:pt x="1636" y="1569"/>
                  </a:cubicBezTo>
                  <a:cubicBezTo>
                    <a:pt x="1751" y="1594"/>
                    <a:pt x="2367" y="1804"/>
                    <a:pt x="2749" y="1958"/>
                  </a:cubicBezTo>
                  <a:cubicBezTo>
                    <a:pt x="3155" y="2126"/>
                    <a:pt x="3396" y="2126"/>
                    <a:pt x="3473" y="2126"/>
                  </a:cubicBezTo>
                  <a:cubicBezTo>
                    <a:pt x="3554" y="2126"/>
                    <a:pt x="3729" y="2137"/>
                    <a:pt x="3764" y="2231"/>
                  </a:cubicBezTo>
                  <a:cubicBezTo>
                    <a:pt x="3771" y="2259"/>
                    <a:pt x="3778" y="2312"/>
                    <a:pt x="3708" y="2364"/>
                  </a:cubicBezTo>
                  <a:cubicBezTo>
                    <a:pt x="3610" y="2441"/>
                    <a:pt x="2444" y="3617"/>
                    <a:pt x="2262" y="3814"/>
                  </a:cubicBezTo>
                  <a:cubicBezTo>
                    <a:pt x="2152" y="3932"/>
                    <a:pt x="2061" y="3953"/>
                    <a:pt x="1931" y="3953"/>
                  </a:cubicBezTo>
                  <a:cubicBezTo>
                    <a:pt x="1896" y="3953"/>
                    <a:pt x="1859" y="3952"/>
                    <a:pt x="1818" y="3950"/>
                  </a:cubicBezTo>
                  <a:cubicBezTo>
                    <a:pt x="1758" y="3947"/>
                    <a:pt x="1692" y="3943"/>
                    <a:pt x="1608" y="3943"/>
                  </a:cubicBezTo>
                  <a:cubicBezTo>
                    <a:pt x="1404" y="3943"/>
                    <a:pt x="1229" y="4090"/>
                    <a:pt x="1100" y="4199"/>
                  </a:cubicBezTo>
                  <a:cubicBezTo>
                    <a:pt x="1015" y="4271"/>
                    <a:pt x="954" y="4318"/>
                    <a:pt x="895" y="4318"/>
                  </a:cubicBezTo>
                  <a:cubicBezTo>
                    <a:pt x="891" y="4318"/>
                    <a:pt x="887" y="4318"/>
                    <a:pt x="883" y="4318"/>
                  </a:cubicBezTo>
                  <a:cubicBezTo>
                    <a:pt x="767" y="4325"/>
                    <a:pt x="655" y="4342"/>
                    <a:pt x="543" y="4370"/>
                  </a:cubicBezTo>
                  <a:lnTo>
                    <a:pt x="536" y="4370"/>
                  </a:lnTo>
                  <a:lnTo>
                    <a:pt x="512" y="4374"/>
                  </a:lnTo>
                  <a:lnTo>
                    <a:pt x="494" y="4377"/>
                  </a:lnTo>
                  <a:lnTo>
                    <a:pt x="487" y="4377"/>
                  </a:lnTo>
                  <a:lnTo>
                    <a:pt x="239" y="4738"/>
                  </a:lnTo>
                  <a:lnTo>
                    <a:pt x="1" y="5112"/>
                  </a:lnTo>
                  <a:lnTo>
                    <a:pt x="29" y="7034"/>
                  </a:lnTo>
                  <a:lnTo>
                    <a:pt x="239" y="7370"/>
                  </a:lnTo>
                  <a:cubicBezTo>
                    <a:pt x="400" y="7174"/>
                    <a:pt x="669" y="6901"/>
                    <a:pt x="953" y="6611"/>
                  </a:cubicBezTo>
                  <a:cubicBezTo>
                    <a:pt x="1107" y="6457"/>
                    <a:pt x="1261" y="6299"/>
                    <a:pt x="1401" y="6152"/>
                  </a:cubicBezTo>
                  <a:cubicBezTo>
                    <a:pt x="1863" y="5669"/>
                    <a:pt x="2105" y="5546"/>
                    <a:pt x="2360" y="5417"/>
                  </a:cubicBezTo>
                  <a:lnTo>
                    <a:pt x="2374" y="5413"/>
                  </a:lnTo>
                  <a:cubicBezTo>
                    <a:pt x="2626" y="5284"/>
                    <a:pt x="3277" y="4643"/>
                    <a:pt x="3708" y="4097"/>
                  </a:cubicBezTo>
                  <a:cubicBezTo>
                    <a:pt x="3967" y="3768"/>
                    <a:pt x="4289" y="3358"/>
                    <a:pt x="4328" y="3117"/>
                  </a:cubicBezTo>
                  <a:cubicBezTo>
                    <a:pt x="4370" y="2833"/>
                    <a:pt x="4650" y="2473"/>
                    <a:pt x="4832" y="2235"/>
                  </a:cubicBezTo>
                  <a:cubicBezTo>
                    <a:pt x="5028" y="1986"/>
                    <a:pt x="5336" y="1363"/>
                    <a:pt x="5329" y="1195"/>
                  </a:cubicBezTo>
                  <a:cubicBezTo>
                    <a:pt x="5325" y="1093"/>
                    <a:pt x="5364" y="943"/>
                    <a:pt x="5406" y="771"/>
                  </a:cubicBezTo>
                  <a:cubicBezTo>
                    <a:pt x="5458" y="596"/>
                    <a:pt x="5493" y="418"/>
                    <a:pt x="5514" y="236"/>
                  </a:cubicBezTo>
                  <a:cubicBezTo>
                    <a:pt x="5525" y="85"/>
                    <a:pt x="5469" y="15"/>
                    <a:pt x="5416" y="1"/>
                  </a:cubicBezTo>
                  <a:cubicBezTo>
                    <a:pt x="5411" y="0"/>
                    <a:pt x="5406" y="0"/>
                    <a:pt x="54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0" name="Google Shape;3840;p53"/>
            <p:cNvSpPr/>
            <p:nvPr/>
          </p:nvSpPr>
          <p:spPr>
            <a:xfrm>
              <a:off x="1953274" y="1764276"/>
              <a:ext cx="85620" cy="66543"/>
            </a:xfrm>
            <a:custGeom>
              <a:avLst/>
              <a:gdLst/>
              <a:ahLst/>
              <a:cxnLst/>
              <a:rect l="l" t="t" r="r" b="b"/>
              <a:pathLst>
                <a:path w="6306" h="4901" extrusionOk="0">
                  <a:moveTo>
                    <a:pt x="3903" y="0"/>
                  </a:moveTo>
                  <a:cubicBezTo>
                    <a:pt x="3873" y="0"/>
                    <a:pt x="3846" y="8"/>
                    <a:pt x="3820" y="20"/>
                  </a:cubicBezTo>
                  <a:cubicBezTo>
                    <a:pt x="3750" y="55"/>
                    <a:pt x="3596" y="398"/>
                    <a:pt x="3491" y="626"/>
                  </a:cubicBezTo>
                  <a:cubicBezTo>
                    <a:pt x="3400" y="825"/>
                    <a:pt x="3316" y="1014"/>
                    <a:pt x="3246" y="1116"/>
                  </a:cubicBezTo>
                  <a:cubicBezTo>
                    <a:pt x="3071" y="1372"/>
                    <a:pt x="2595" y="1540"/>
                    <a:pt x="2360" y="1540"/>
                  </a:cubicBezTo>
                  <a:cubicBezTo>
                    <a:pt x="2273" y="1540"/>
                    <a:pt x="2227" y="1620"/>
                    <a:pt x="2161" y="1750"/>
                  </a:cubicBezTo>
                  <a:cubicBezTo>
                    <a:pt x="2122" y="1841"/>
                    <a:pt x="2063" y="1925"/>
                    <a:pt x="1986" y="1995"/>
                  </a:cubicBezTo>
                  <a:cubicBezTo>
                    <a:pt x="1923" y="2047"/>
                    <a:pt x="1898" y="2121"/>
                    <a:pt x="1870" y="2201"/>
                  </a:cubicBezTo>
                  <a:cubicBezTo>
                    <a:pt x="1839" y="2303"/>
                    <a:pt x="1800" y="2415"/>
                    <a:pt x="1678" y="2513"/>
                  </a:cubicBezTo>
                  <a:cubicBezTo>
                    <a:pt x="1520" y="2639"/>
                    <a:pt x="1590" y="3087"/>
                    <a:pt x="1695" y="3262"/>
                  </a:cubicBezTo>
                  <a:cubicBezTo>
                    <a:pt x="1723" y="3315"/>
                    <a:pt x="1727" y="3378"/>
                    <a:pt x="1709" y="3437"/>
                  </a:cubicBezTo>
                  <a:cubicBezTo>
                    <a:pt x="1643" y="3686"/>
                    <a:pt x="1271" y="4106"/>
                    <a:pt x="1026" y="4249"/>
                  </a:cubicBezTo>
                  <a:cubicBezTo>
                    <a:pt x="935" y="4305"/>
                    <a:pt x="858" y="4375"/>
                    <a:pt x="788" y="4456"/>
                  </a:cubicBezTo>
                  <a:cubicBezTo>
                    <a:pt x="655" y="4592"/>
                    <a:pt x="501" y="4750"/>
                    <a:pt x="200" y="4799"/>
                  </a:cubicBezTo>
                  <a:cubicBezTo>
                    <a:pt x="134" y="4813"/>
                    <a:pt x="64" y="4834"/>
                    <a:pt x="1" y="4862"/>
                  </a:cubicBezTo>
                  <a:lnTo>
                    <a:pt x="1937" y="4862"/>
                  </a:lnTo>
                  <a:lnTo>
                    <a:pt x="1972" y="4865"/>
                  </a:lnTo>
                  <a:lnTo>
                    <a:pt x="1986" y="4865"/>
                  </a:lnTo>
                  <a:lnTo>
                    <a:pt x="2017" y="4869"/>
                  </a:lnTo>
                  <a:lnTo>
                    <a:pt x="2024" y="4869"/>
                  </a:lnTo>
                  <a:lnTo>
                    <a:pt x="2056" y="4876"/>
                  </a:lnTo>
                  <a:lnTo>
                    <a:pt x="2063" y="4876"/>
                  </a:lnTo>
                  <a:lnTo>
                    <a:pt x="2087" y="4879"/>
                  </a:lnTo>
                  <a:lnTo>
                    <a:pt x="2098" y="4879"/>
                  </a:lnTo>
                  <a:lnTo>
                    <a:pt x="2115" y="4886"/>
                  </a:lnTo>
                  <a:lnTo>
                    <a:pt x="2126" y="4890"/>
                  </a:lnTo>
                  <a:lnTo>
                    <a:pt x="2143" y="4897"/>
                  </a:lnTo>
                  <a:lnTo>
                    <a:pt x="2150" y="4900"/>
                  </a:lnTo>
                  <a:cubicBezTo>
                    <a:pt x="2147" y="4823"/>
                    <a:pt x="2147" y="4753"/>
                    <a:pt x="2143" y="4694"/>
                  </a:cubicBezTo>
                  <a:cubicBezTo>
                    <a:pt x="2140" y="4473"/>
                    <a:pt x="2140" y="4403"/>
                    <a:pt x="2143" y="4379"/>
                  </a:cubicBezTo>
                  <a:cubicBezTo>
                    <a:pt x="2168" y="4281"/>
                    <a:pt x="2721" y="3955"/>
                    <a:pt x="3050" y="3766"/>
                  </a:cubicBezTo>
                  <a:cubicBezTo>
                    <a:pt x="3104" y="3742"/>
                    <a:pt x="3163" y="3728"/>
                    <a:pt x="3221" y="3728"/>
                  </a:cubicBezTo>
                  <a:cubicBezTo>
                    <a:pt x="3238" y="3728"/>
                    <a:pt x="3254" y="3729"/>
                    <a:pt x="3270" y="3731"/>
                  </a:cubicBezTo>
                  <a:cubicBezTo>
                    <a:pt x="3305" y="3731"/>
                    <a:pt x="3340" y="3731"/>
                    <a:pt x="3372" y="3724"/>
                  </a:cubicBezTo>
                  <a:lnTo>
                    <a:pt x="3372" y="3717"/>
                  </a:lnTo>
                  <a:cubicBezTo>
                    <a:pt x="3372" y="3556"/>
                    <a:pt x="3561" y="3556"/>
                    <a:pt x="3715" y="3556"/>
                  </a:cubicBezTo>
                  <a:cubicBezTo>
                    <a:pt x="3778" y="3556"/>
                    <a:pt x="3845" y="3553"/>
                    <a:pt x="3908" y="3542"/>
                  </a:cubicBezTo>
                  <a:cubicBezTo>
                    <a:pt x="4051" y="3514"/>
                    <a:pt x="4139" y="3420"/>
                    <a:pt x="4139" y="3287"/>
                  </a:cubicBezTo>
                  <a:cubicBezTo>
                    <a:pt x="4139" y="3097"/>
                    <a:pt x="4349" y="3090"/>
                    <a:pt x="4499" y="3087"/>
                  </a:cubicBezTo>
                  <a:cubicBezTo>
                    <a:pt x="4538" y="3087"/>
                    <a:pt x="4576" y="3083"/>
                    <a:pt x="4608" y="3080"/>
                  </a:cubicBezTo>
                  <a:cubicBezTo>
                    <a:pt x="4653" y="3076"/>
                    <a:pt x="4692" y="3048"/>
                    <a:pt x="4713" y="3010"/>
                  </a:cubicBezTo>
                  <a:cubicBezTo>
                    <a:pt x="4744" y="2954"/>
                    <a:pt x="4800" y="2922"/>
                    <a:pt x="4863" y="2919"/>
                  </a:cubicBezTo>
                  <a:cubicBezTo>
                    <a:pt x="4870" y="2880"/>
                    <a:pt x="4870" y="2845"/>
                    <a:pt x="4867" y="2807"/>
                  </a:cubicBezTo>
                  <a:cubicBezTo>
                    <a:pt x="4867" y="2751"/>
                    <a:pt x="4867" y="2695"/>
                    <a:pt x="4870" y="2639"/>
                  </a:cubicBezTo>
                  <a:cubicBezTo>
                    <a:pt x="4887" y="2490"/>
                    <a:pt x="4897" y="2435"/>
                    <a:pt x="5024" y="2435"/>
                  </a:cubicBezTo>
                  <a:cubicBezTo>
                    <a:pt x="5032" y="2435"/>
                    <a:pt x="5040" y="2435"/>
                    <a:pt x="5049" y="2436"/>
                  </a:cubicBezTo>
                  <a:lnTo>
                    <a:pt x="5115" y="2436"/>
                  </a:lnTo>
                  <a:cubicBezTo>
                    <a:pt x="5248" y="2436"/>
                    <a:pt x="5371" y="2362"/>
                    <a:pt x="5371" y="2303"/>
                  </a:cubicBezTo>
                  <a:cubicBezTo>
                    <a:pt x="5371" y="2278"/>
                    <a:pt x="5381" y="2254"/>
                    <a:pt x="5399" y="2236"/>
                  </a:cubicBezTo>
                  <a:cubicBezTo>
                    <a:pt x="5444" y="2196"/>
                    <a:pt x="5543" y="2180"/>
                    <a:pt x="5709" y="2180"/>
                  </a:cubicBezTo>
                  <a:cubicBezTo>
                    <a:pt x="5816" y="2180"/>
                    <a:pt x="5951" y="2187"/>
                    <a:pt x="6117" y="2198"/>
                  </a:cubicBezTo>
                  <a:cubicBezTo>
                    <a:pt x="6166" y="2198"/>
                    <a:pt x="6208" y="2201"/>
                    <a:pt x="6229" y="2201"/>
                  </a:cubicBezTo>
                  <a:lnTo>
                    <a:pt x="6239" y="2201"/>
                  </a:lnTo>
                  <a:cubicBezTo>
                    <a:pt x="6242" y="2202"/>
                    <a:pt x="6244" y="2202"/>
                    <a:pt x="6246" y="2202"/>
                  </a:cubicBezTo>
                  <a:cubicBezTo>
                    <a:pt x="6258" y="2202"/>
                    <a:pt x="6269" y="2195"/>
                    <a:pt x="6278" y="2184"/>
                  </a:cubicBezTo>
                  <a:cubicBezTo>
                    <a:pt x="6299" y="2149"/>
                    <a:pt x="6306" y="2107"/>
                    <a:pt x="6299" y="2068"/>
                  </a:cubicBezTo>
                  <a:cubicBezTo>
                    <a:pt x="6274" y="1942"/>
                    <a:pt x="6187" y="1753"/>
                    <a:pt x="6138" y="1746"/>
                  </a:cubicBezTo>
                  <a:cubicBezTo>
                    <a:pt x="6001" y="1722"/>
                    <a:pt x="6019" y="1554"/>
                    <a:pt x="6036" y="1375"/>
                  </a:cubicBezTo>
                  <a:cubicBezTo>
                    <a:pt x="6040" y="1309"/>
                    <a:pt x="6047" y="1242"/>
                    <a:pt x="6047" y="1183"/>
                  </a:cubicBezTo>
                  <a:cubicBezTo>
                    <a:pt x="6047" y="944"/>
                    <a:pt x="6005" y="783"/>
                    <a:pt x="5900" y="650"/>
                  </a:cubicBezTo>
                  <a:cubicBezTo>
                    <a:pt x="5896" y="643"/>
                    <a:pt x="5889" y="636"/>
                    <a:pt x="5886" y="629"/>
                  </a:cubicBezTo>
                  <a:lnTo>
                    <a:pt x="5882" y="622"/>
                  </a:lnTo>
                  <a:cubicBezTo>
                    <a:pt x="5875" y="615"/>
                    <a:pt x="5872" y="605"/>
                    <a:pt x="5865" y="598"/>
                  </a:cubicBezTo>
                  <a:lnTo>
                    <a:pt x="5861" y="591"/>
                  </a:lnTo>
                  <a:cubicBezTo>
                    <a:pt x="5854" y="580"/>
                    <a:pt x="5851" y="566"/>
                    <a:pt x="5844" y="556"/>
                  </a:cubicBezTo>
                  <a:lnTo>
                    <a:pt x="5844" y="552"/>
                  </a:lnTo>
                  <a:cubicBezTo>
                    <a:pt x="5837" y="538"/>
                    <a:pt x="5830" y="524"/>
                    <a:pt x="5823" y="510"/>
                  </a:cubicBezTo>
                  <a:lnTo>
                    <a:pt x="5823" y="507"/>
                  </a:lnTo>
                  <a:cubicBezTo>
                    <a:pt x="5717" y="493"/>
                    <a:pt x="5619" y="468"/>
                    <a:pt x="5521" y="430"/>
                  </a:cubicBezTo>
                  <a:cubicBezTo>
                    <a:pt x="5427" y="395"/>
                    <a:pt x="5329" y="370"/>
                    <a:pt x="5227" y="360"/>
                  </a:cubicBezTo>
                  <a:cubicBezTo>
                    <a:pt x="5143" y="360"/>
                    <a:pt x="5059" y="367"/>
                    <a:pt x="4975" y="377"/>
                  </a:cubicBezTo>
                  <a:cubicBezTo>
                    <a:pt x="4881" y="388"/>
                    <a:pt x="4783" y="398"/>
                    <a:pt x="4687" y="398"/>
                  </a:cubicBezTo>
                  <a:cubicBezTo>
                    <a:pt x="4520" y="398"/>
                    <a:pt x="4362" y="366"/>
                    <a:pt x="4251" y="241"/>
                  </a:cubicBezTo>
                  <a:cubicBezTo>
                    <a:pt x="4089" y="58"/>
                    <a:pt x="3985" y="0"/>
                    <a:pt x="39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1" name="Google Shape;3841;p53"/>
            <p:cNvSpPr/>
            <p:nvPr/>
          </p:nvSpPr>
          <p:spPr>
            <a:xfrm>
              <a:off x="2104473" y="1751839"/>
              <a:ext cx="29151" cy="57216"/>
            </a:xfrm>
            <a:custGeom>
              <a:avLst/>
              <a:gdLst/>
              <a:ahLst/>
              <a:cxnLst/>
              <a:rect l="l" t="t" r="r" b="b"/>
              <a:pathLst>
                <a:path w="2147" h="4214" extrusionOk="0">
                  <a:moveTo>
                    <a:pt x="1204" y="1"/>
                  </a:moveTo>
                  <a:cubicBezTo>
                    <a:pt x="1073" y="1"/>
                    <a:pt x="933" y="35"/>
                    <a:pt x="855" y="107"/>
                  </a:cubicBezTo>
                  <a:cubicBezTo>
                    <a:pt x="778" y="173"/>
                    <a:pt x="676" y="208"/>
                    <a:pt x="575" y="208"/>
                  </a:cubicBezTo>
                  <a:lnTo>
                    <a:pt x="571" y="229"/>
                  </a:lnTo>
                  <a:lnTo>
                    <a:pt x="564" y="278"/>
                  </a:lnTo>
                  <a:lnTo>
                    <a:pt x="557" y="324"/>
                  </a:lnTo>
                  <a:cubicBezTo>
                    <a:pt x="557" y="338"/>
                    <a:pt x="554" y="352"/>
                    <a:pt x="554" y="366"/>
                  </a:cubicBezTo>
                  <a:cubicBezTo>
                    <a:pt x="550" y="380"/>
                    <a:pt x="550" y="394"/>
                    <a:pt x="550" y="404"/>
                  </a:cubicBezTo>
                  <a:cubicBezTo>
                    <a:pt x="547" y="418"/>
                    <a:pt x="547" y="432"/>
                    <a:pt x="543" y="446"/>
                  </a:cubicBezTo>
                  <a:cubicBezTo>
                    <a:pt x="543" y="460"/>
                    <a:pt x="543" y="471"/>
                    <a:pt x="540" y="485"/>
                  </a:cubicBezTo>
                  <a:cubicBezTo>
                    <a:pt x="540" y="495"/>
                    <a:pt x="540" y="509"/>
                    <a:pt x="536" y="520"/>
                  </a:cubicBezTo>
                  <a:cubicBezTo>
                    <a:pt x="536" y="534"/>
                    <a:pt x="536" y="544"/>
                    <a:pt x="536" y="555"/>
                  </a:cubicBezTo>
                  <a:cubicBezTo>
                    <a:pt x="533" y="565"/>
                    <a:pt x="536" y="576"/>
                    <a:pt x="533" y="586"/>
                  </a:cubicBezTo>
                  <a:cubicBezTo>
                    <a:pt x="529" y="600"/>
                    <a:pt x="533" y="607"/>
                    <a:pt x="533" y="618"/>
                  </a:cubicBezTo>
                  <a:lnTo>
                    <a:pt x="533" y="649"/>
                  </a:lnTo>
                  <a:lnTo>
                    <a:pt x="533" y="674"/>
                  </a:lnTo>
                  <a:lnTo>
                    <a:pt x="533" y="702"/>
                  </a:lnTo>
                  <a:lnTo>
                    <a:pt x="533" y="726"/>
                  </a:lnTo>
                  <a:lnTo>
                    <a:pt x="533" y="751"/>
                  </a:lnTo>
                  <a:lnTo>
                    <a:pt x="533" y="768"/>
                  </a:lnTo>
                  <a:lnTo>
                    <a:pt x="533" y="793"/>
                  </a:lnTo>
                  <a:lnTo>
                    <a:pt x="533" y="810"/>
                  </a:lnTo>
                  <a:lnTo>
                    <a:pt x="533" y="828"/>
                  </a:lnTo>
                  <a:lnTo>
                    <a:pt x="533" y="845"/>
                  </a:lnTo>
                  <a:lnTo>
                    <a:pt x="533" y="863"/>
                  </a:lnTo>
                  <a:cubicBezTo>
                    <a:pt x="533" y="866"/>
                    <a:pt x="533" y="870"/>
                    <a:pt x="536" y="877"/>
                  </a:cubicBezTo>
                  <a:cubicBezTo>
                    <a:pt x="536" y="880"/>
                    <a:pt x="536" y="884"/>
                    <a:pt x="536" y="887"/>
                  </a:cubicBezTo>
                  <a:cubicBezTo>
                    <a:pt x="540" y="894"/>
                    <a:pt x="536" y="898"/>
                    <a:pt x="540" y="901"/>
                  </a:cubicBezTo>
                  <a:cubicBezTo>
                    <a:pt x="543" y="905"/>
                    <a:pt x="540" y="908"/>
                    <a:pt x="543" y="912"/>
                  </a:cubicBezTo>
                  <a:cubicBezTo>
                    <a:pt x="547" y="915"/>
                    <a:pt x="547" y="919"/>
                    <a:pt x="547" y="922"/>
                  </a:cubicBezTo>
                  <a:lnTo>
                    <a:pt x="550" y="933"/>
                  </a:lnTo>
                  <a:cubicBezTo>
                    <a:pt x="550" y="936"/>
                    <a:pt x="550" y="936"/>
                    <a:pt x="554" y="940"/>
                  </a:cubicBezTo>
                  <a:lnTo>
                    <a:pt x="557" y="947"/>
                  </a:lnTo>
                  <a:cubicBezTo>
                    <a:pt x="557" y="950"/>
                    <a:pt x="561" y="954"/>
                    <a:pt x="564" y="957"/>
                  </a:cubicBezTo>
                  <a:cubicBezTo>
                    <a:pt x="624" y="1062"/>
                    <a:pt x="641" y="1188"/>
                    <a:pt x="603" y="1304"/>
                  </a:cubicBezTo>
                  <a:cubicBezTo>
                    <a:pt x="564" y="1454"/>
                    <a:pt x="470" y="1587"/>
                    <a:pt x="375" y="1636"/>
                  </a:cubicBezTo>
                  <a:cubicBezTo>
                    <a:pt x="333" y="1657"/>
                    <a:pt x="284" y="1727"/>
                    <a:pt x="242" y="1790"/>
                  </a:cubicBezTo>
                  <a:cubicBezTo>
                    <a:pt x="172" y="1888"/>
                    <a:pt x="106" y="1987"/>
                    <a:pt x="8" y="1997"/>
                  </a:cubicBezTo>
                  <a:cubicBezTo>
                    <a:pt x="1" y="2057"/>
                    <a:pt x="11" y="2116"/>
                    <a:pt x="36" y="2172"/>
                  </a:cubicBezTo>
                  <a:cubicBezTo>
                    <a:pt x="81" y="2312"/>
                    <a:pt x="162" y="2421"/>
                    <a:pt x="242" y="2456"/>
                  </a:cubicBezTo>
                  <a:cubicBezTo>
                    <a:pt x="505" y="2568"/>
                    <a:pt x="508" y="2767"/>
                    <a:pt x="508" y="2869"/>
                  </a:cubicBezTo>
                  <a:cubicBezTo>
                    <a:pt x="522" y="2893"/>
                    <a:pt x="610" y="2942"/>
                    <a:pt x="666" y="2974"/>
                  </a:cubicBezTo>
                  <a:cubicBezTo>
                    <a:pt x="764" y="3026"/>
                    <a:pt x="862" y="3082"/>
                    <a:pt x="918" y="3156"/>
                  </a:cubicBezTo>
                  <a:cubicBezTo>
                    <a:pt x="1030" y="3303"/>
                    <a:pt x="1188" y="3936"/>
                    <a:pt x="1188" y="4164"/>
                  </a:cubicBezTo>
                  <a:cubicBezTo>
                    <a:pt x="1188" y="4175"/>
                    <a:pt x="1188" y="4182"/>
                    <a:pt x="1188" y="4192"/>
                  </a:cubicBezTo>
                  <a:lnTo>
                    <a:pt x="1188" y="4199"/>
                  </a:lnTo>
                  <a:cubicBezTo>
                    <a:pt x="1188" y="4203"/>
                    <a:pt x="1188" y="4206"/>
                    <a:pt x="1191" y="4213"/>
                  </a:cubicBezTo>
                  <a:cubicBezTo>
                    <a:pt x="1230" y="4192"/>
                    <a:pt x="1265" y="4168"/>
                    <a:pt x="1300" y="4143"/>
                  </a:cubicBezTo>
                  <a:lnTo>
                    <a:pt x="1317" y="4126"/>
                  </a:lnTo>
                  <a:lnTo>
                    <a:pt x="1321" y="4122"/>
                  </a:lnTo>
                  <a:cubicBezTo>
                    <a:pt x="1324" y="4115"/>
                    <a:pt x="1328" y="4112"/>
                    <a:pt x="1335" y="4105"/>
                  </a:cubicBezTo>
                  <a:lnTo>
                    <a:pt x="1338" y="4101"/>
                  </a:lnTo>
                  <a:cubicBezTo>
                    <a:pt x="1342" y="4094"/>
                    <a:pt x="1349" y="4087"/>
                    <a:pt x="1352" y="4080"/>
                  </a:cubicBezTo>
                  <a:cubicBezTo>
                    <a:pt x="1426" y="3940"/>
                    <a:pt x="1461" y="3740"/>
                    <a:pt x="1447" y="3702"/>
                  </a:cubicBezTo>
                  <a:cubicBezTo>
                    <a:pt x="1398" y="3593"/>
                    <a:pt x="1422" y="3464"/>
                    <a:pt x="1510" y="3383"/>
                  </a:cubicBezTo>
                  <a:cubicBezTo>
                    <a:pt x="1534" y="3362"/>
                    <a:pt x="1583" y="3313"/>
                    <a:pt x="1636" y="3257"/>
                  </a:cubicBezTo>
                  <a:cubicBezTo>
                    <a:pt x="1821" y="3072"/>
                    <a:pt x="1905" y="2991"/>
                    <a:pt x="1951" y="2974"/>
                  </a:cubicBezTo>
                  <a:cubicBezTo>
                    <a:pt x="1972" y="2967"/>
                    <a:pt x="2000" y="2960"/>
                    <a:pt x="2024" y="2960"/>
                  </a:cubicBezTo>
                  <a:cubicBezTo>
                    <a:pt x="2122" y="2946"/>
                    <a:pt x="2147" y="2935"/>
                    <a:pt x="2143" y="2869"/>
                  </a:cubicBezTo>
                  <a:lnTo>
                    <a:pt x="2143" y="2844"/>
                  </a:lnTo>
                  <a:lnTo>
                    <a:pt x="2143" y="2834"/>
                  </a:lnTo>
                  <a:lnTo>
                    <a:pt x="2143" y="2816"/>
                  </a:lnTo>
                  <a:lnTo>
                    <a:pt x="2143" y="2806"/>
                  </a:lnTo>
                  <a:lnTo>
                    <a:pt x="2143" y="2785"/>
                  </a:lnTo>
                  <a:lnTo>
                    <a:pt x="2143" y="2774"/>
                  </a:lnTo>
                  <a:lnTo>
                    <a:pt x="2143" y="2753"/>
                  </a:lnTo>
                  <a:lnTo>
                    <a:pt x="2143" y="2739"/>
                  </a:lnTo>
                  <a:lnTo>
                    <a:pt x="2143" y="2715"/>
                  </a:lnTo>
                  <a:lnTo>
                    <a:pt x="2143" y="2701"/>
                  </a:lnTo>
                  <a:lnTo>
                    <a:pt x="2143" y="2676"/>
                  </a:lnTo>
                  <a:lnTo>
                    <a:pt x="2143" y="2659"/>
                  </a:lnTo>
                  <a:lnTo>
                    <a:pt x="2147" y="2631"/>
                  </a:lnTo>
                  <a:lnTo>
                    <a:pt x="2147" y="2617"/>
                  </a:lnTo>
                  <a:lnTo>
                    <a:pt x="2147" y="2613"/>
                  </a:lnTo>
                  <a:cubicBezTo>
                    <a:pt x="2038" y="2536"/>
                    <a:pt x="1940" y="2431"/>
                    <a:pt x="1940" y="2347"/>
                  </a:cubicBezTo>
                  <a:cubicBezTo>
                    <a:pt x="1933" y="2298"/>
                    <a:pt x="1909" y="2253"/>
                    <a:pt x="1870" y="2218"/>
                  </a:cubicBezTo>
                  <a:cubicBezTo>
                    <a:pt x="1860" y="2207"/>
                    <a:pt x="1849" y="2200"/>
                    <a:pt x="1835" y="2200"/>
                  </a:cubicBezTo>
                  <a:cubicBezTo>
                    <a:pt x="1832" y="2200"/>
                    <a:pt x="1832" y="2200"/>
                    <a:pt x="1828" y="2204"/>
                  </a:cubicBezTo>
                  <a:cubicBezTo>
                    <a:pt x="1794" y="2246"/>
                    <a:pt x="1735" y="2268"/>
                    <a:pt x="1664" y="2268"/>
                  </a:cubicBezTo>
                  <a:cubicBezTo>
                    <a:pt x="1634" y="2268"/>
                    <a:pt x="1602" y="2264"/>
                    <a:pt x="1569" y="2256"/>
                  </a:cubicBezTo>
                  <a:cubicBezTo>
                    <a:pt x="1457" y="2228"/>
                    <a:pt x="1317" y="2141"/>
                    <a:pt x="1286" y="1987"/>
                  </a:cubicBezTo>
                  <a:cubicBezTo>
                    <a:pt x="1251" y="1811"/>
                    <a:pt x="1384" y="1745"/>
                    <a:pt x="1510" y="1682"/>
                  </a:cubicBezTo>
                  <a:cubicBezTo>
                    <a:pt x="1590" y="1643"/>
                    <a:pt x="1667" y="1598"/>
                    <a:pt x="1737" y="1545"/>
                  </a:cubicBezTo>
                  <a:cubicBezTo>
                    <a:pt x="1839" y="1461"/>
                    <a:pt x="1898" y="1335"/>
                    <a:pt x="1898" y="1206"/>
                  </a:cubicBezTo>
                  <a:cubicBezTo>
                    <a:pt x="1898" y="1090"/>
                    <a:pt x="1846" y="982"/>
                    <a:pt x="1755" y="912"/>
                  </a:cubicBezTo>
                  <a:cubicBezTo>
                    <a:pt x="1660" y="835"/>
                    <a:pt x="1611" y="765"/>
                    <a:pt x="1608" y="688"/>
                  </a:cubicBezTo>
                  <a:cubicBezTo>
                    <a:pt x="1604" y="579"/>
                    <a:pt x="1685" y="495"/>
                    <a:pt x="1783" y="401"/>
                  </a:cubicBezTo>
                  <a:cubicBezTo>
                    <a:pt x="1804" y="380"/>
                    <a:pt x="1828" y="359"/>
                    <a:pt x="1846" y="338"/>
                  </a:cubicBezTo>
                  <a:cubicBezTo>
                    <a:pt x="1909" y="275"/>
                    <a:pt x="1909" y="236"/>
                    <a:pt x="1902" y="229"/>
                  </a:cubicBezTo>
                  <a:cubicBezTo>
                    <a:pt x="1900" y="226"/>
                    <a:pt x="1896" y="224"/>
                    <a:pt x="1891" y="224"/>
                  </a:cubicBezTo>
                  <a:cubicBezTo>
                    <a:pt x="1884" y="224"/>
                    <a:pt x="1875" y="228"/>
                    <a:pt x="1867" y="236"/>
                  </a:cubicBezTo>
                  <a:cubicBezTo>
                    <a:pt x="1820" y="286"/>
                    <a:pt x="1757" y="312"/>
                    <a:pt x="1692" y="312"/>
                  </a:cubicBezTo>
                  <a:cubicBezTo>
                    <a:pt x="1670" y="312"/>
                    <a:pt x="1647" y="309"/>
                    <a:pt x="1625" y="303"/>
                  </a:cubicBezTo>
                  <a:cubicBezTo>
                    <a:pt x="1576" y="285"/>
                    <a:pt x="1513" y="236"/>
                    <a:pt x="1499" y="107"/>
                  </a:cubicBezTo>
                  <a:cubicBezTo>
                    <a:pt x="1496" y="79"/>
                    <a:pt x="1461" y="51"/>
                    <a:pt x="1405" y="33"/>
                  </a:cubicBezTo>
                  <a:cubicBezTo>
                    <a:pt x="1349" y="12"/>
                    <a:pt x="1278" y="1"/>
                    <a:pt x="120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2" name="Google Shape;3842;p53"/>
            <p:cNvSpPr/>
            <p:nvPr/>
          </p:nvSpPr>
          <p:spPr>
            <a:xfrm>
              <a:off x="1983932" y="1753020"/>
              <a:ext cx="152883" cy="146433"/>
            </a:xfrm>
            <a:custGeom>
              <a:avLst/>
              <a:gdLst/>
              <a:ahLst/>
              <a:cxnLst/>
              <a:rect l="l" t="t" r="r" b="b"/>
              <a:pathLst>
                <a:path w="11260" h="10785" extrusionOk="0">
                  <a:moveTo>
                    <a:pt x="8820" y="1"/>
                  </a:moveTo>
                  <a:cubicBezTo>
                    <a:pt x="8760" y="1"/>
                    <a:pt x="8662" y="17"/>
                    <a:pt x="8581" y="30"/>
                  </a:cubicBezTo>
                  <a:cubicBezTo>
                    <a:pt x="8497" y="48"/>
                    <a:pt x="8410" y="58"/>
                    <a:pt x="8326" y="65"/>
                  </a:cubicBezTo>
                  <a:cubicBezTo>
                    <a:pt x="8242" y="79"/>
                    <a:pt x="8158" y="107"/>
                    <a:pt x="8081" y="142"/>
                  </a:cubicBezTo>
                  <a:cubicBezTo>
                    <a:pt x="7944" y="195"/>
                    <a:pt x="7797" y="254"/>
                    <a:pt x="7677" y="254"/>
                  </a:cubicBezTo>
                  <a:cubicBezTo>
                    <a:pt x="7615" y="254"/>
                    <a:pt x="7560" y="239"/>
                    <a:pt x="7517" y="198"/>
                  </a:cubicBezTo>
                  <a:cubicBezTo>
                    <a:pt x="7493" y="180"/>
                    <a:pt x="7423" y="173"/>
                    <a:pt x="7323" y="173"/>
                  </a:cubicBezTo>
                  <a:cubicBezTo>
                    <a:pt x="7030" y="173"/>
                    <a:pt x="6487" y="236"/>
                    <a:pt x="6155" y="275"/>
                  </a:cubicBezTo>
                  <a:cubicBezTo>
                    <a:pt x="5882" y="307"/>
                    <a:pt x="5648" y="335"/>
                    <a:pt x="5511" y="338"/>
                  </a:cubicBezTo>
                  <a:cubicBezTo>
                    <a:pt x="5301" y="349"/>
                    <a:pt x="5157" y="471"/>
                    <a:pt x="5021" y="594"/>
                  </a:cubicBezTo>
                  <a:cubicBezTo>
                    <a:pt x="4905" y="695"/>
                    <a:pt x="4797" y="793"/>
                    <a:pt x="4660" y="793"/>
                  </a:cubicBezTo>
                  <a:cubicBezTo>
                    <a:pt x="4433" y="793"/>
                    <a:pt x="4055" y="989"/>
                    <a:pt x="3852" y="1213"/>
                  </a:cubicBezTo>
                  <a:cubicBezTo>
                    <a:pt x="3810" y="1262"/>
                    <a:pt x="3754" y="1297"/>
                    <a:pt x="3694" y="1315"/>
                  </a:cubicBezTo>
                  <a:lnTo>
                    <a:pt x="3701" y="1329"/>
                  </a:lnTo>
                  <a:lnTo>
                    <a:pt x="3705" y="1336"/>
                  </a:lnTo>
                  <a:cubicBezTo>
                    <a:pt x="3712" y="1346"/>
                    <a:pt x="3715" y="1357"/>
                    <a:pt x="3722" y="1364"/>
                  </a:cubicBezTo>
                  <a:lnTo>
                    <a:pt x="3722" y="1371"/>
                  </a:lnTo>
                  <a:cubicBezTo>
                    <a:pt x="3729" y="1378"/>
                    <a:pt x="3733" y="1385"/>
                    <a:pt x="3740" y="1392"/>
                  </a:cubicBezTo>
                  <a:cubicBezTo>
                    <a:pt x="3859" y="1542"/>
                    <a:pt x="3915" y="1738"/>
                    <a:pt x="3915" y="2001"/>
                  </a:cubicBezTo>
                  <a:cubicBezTo>
                    <a:pt x="3915" y="2068"/>
                    <a:pt x="3908" y="2138"/>
                    <a:pt x="3901" y="2208"/>
                  </a:cubicBezTo>
                  <a:cubicBezTo>
                    <a:pt x="3894" y="2281"/>
                    <a:pt x="3883" y="2407"/>
                    <a:pt x="3901" y="2439"/>
                  </a:cubicBezTo>
                  <a:cubicBezTo>
                    <a:pt x="4079" y="2474"/>
                    <a:pt x="4163" y="2859"/>
                    <a:pt x="4163" y="2862"/>
                  </a:cubicBezTo>
                  <a:cubicBezTo>
                    <a:pt x="4181" y="2943"/>
                    <a:pt x="4163" y="3023"/>
                    <a:pt x="4114" y="3090"/>
                  </a:cubicBezTo>
                  <a:cubicBezTo>
                    <a:pt x="4079" y="3132"/>
                    <a:pt x="4030" y="3156"/>
                    <a:pt x="3974" y="3156"/>
                  </a:cubicBezTo>
                  <a:cubicBezTo>
                    <a:pt x="3950" y="3156"/>
                    <a:pt x="3908" y="3153"/>
                    <a:pt x="3845" y="3149"/>
                  </a:cubicBezTo>
                  <a:cubicBezTo>
                    <a:pt x="3763" y="3143"/>
                    <a:pt x="3586" y="3131"/>
                    <a:pt x="3441" y="3131"/>
                  </a:cubicBezTo>
                  <a:cubicBezTo>
                    <a:pt x="3350" y="3131"/>
                    <a:pt x="3271" y="3136"/>
                    <a:pt x="3235" y="3149"/>
                  </a:cubicBezTo>
                  <a:cubicBezTo>
                    <a:pt x="3214" y="3293"/>
                    <a:pt x="3025" y="3387"/>
                    <a:pt x="2850" y="3387"/>
                  </a:cubicBezTo>
                  <a:lnTo>
                    <a:pt x="2749" y="3387"/>
                  </a:lnTo>
                  <a:cubicBezTo>
                    <a:pt x="2745" y="3401"/>
                    <a:pt x="2742" y="3426"/>
                    <a:pt x="2738" y="3450"/>
                  </a:cubicBezTo>
                  <a:lnTo>
                    <a:pt x="2738" y="3471"/>
                  </a:lnTo>
                  <a:cubicBezTo>
                    <a:pt x="2731" y="3524"/>
                    <a:pt x="2731" y="3573"/>
                    <a:pt x="2735" y="3622"/>
                  </a:cubicBezTo>
                  <a:cubicBezTo>
                    <a:pt x="2738" y="3713"/>
                    <a:pt x="2738" y="3786"/>
                    <a:pt x="2689" y="3832"/>
                  </a:cubicBezTo>
                  <a:cubicBezTo>
                    <a:pt x="2665" y="3856"/>
                    <a:pt x="2633" y="3870"/>
                    <a:pt x="2598" y="3870"/>
                  </a:cubicBezTo>
                  <a:cubicBezTo>
                    <a:pt x="2584" y="3870"/>
                    <a:pt x="2577" y="3874"/>
                    <a:pt x="2553" y="3909"/>
                  </a:cubicBezTo>
                  <a:cubicBezTo>
                    <a:pt x="2511" y="3976"/>
                    <a:pt x="2437" y="4021"/>
                    <a:pt x="2357" y="4028"/>
                  </a:cubicBezTo>
                  <a:cubicBezTo>
                    <a:pt x="2322" y="4035"/>
                    <a:pt x="2280" y="4035"/>
                    <a:pt x="2238" y="4035"/>
                  </a:cubicBezTo>
                  <a:cubicBezTo>
                    <a:pt x="2080" y="4042"/>
                    <a:pt x="2007" y="4053"/>
                    <a:pt x="2007" y="4109"/>
                  </a:cubicBezTo>
                  <a:cubicBezTo>
                    <a:pt x="2007" y="4301"/>
                    <a:pt x="1874" y="4452"/>
                    <a:pt x="1667" y="4494"/>
                  </a:cubicBezTo>
                  <a:cubicBezTo>
                    <a:pt x="1612" y="4502"/>
                    <a:pt x="1559" y="4505"/>
                    <a:pt x="1505" y="4505"/>
                  </a:cubicBezTo>
                  <a:cubicBezTo>
                    <a:pt x="1487" y="4505"/>
                    <a:pt x="1468" y="4505"/>
                    <a:pt x="1450" y="4504"/>
                  </a:cubicBezTo>
                  <a:cubicBezTo>
                    <a:pt x="1383" y="4504"/>
                    <a:pt x="1254" y="4504"/>
                    <a:pt x="1236" y="4529"/>
                  </a:cubicBezTo>
                  <a:cubicBezTo>
                    <a:pt x="1236" y="4532"/>
                    <a:pt x="1236" y="4532"/>
                    <a:pt x="1236" y="4536"/>
                  </a:cubicBezTo>
                  <a:cubicBezTo>
                    <a:pt x="1240" y="4571"/>
                    <a:pt x="1226" y="4609"/>
                    <a:pt x="1198" y="4634"/>
                  </a:cubicBezTo>
                  <a:cubicBezTo>
                    <a:pt x="1162" y="4672"/>
                    <a:pt x="1107" y="4680"/>
                    <a:pt x="1049" y="4680"/>
                  </a:cubicBezTo>
                  <a:cubicBezTo>
                    <a:pt x="1033" y="4680"/>
                    <a:pt x="1017" y="4680"/>
                    <a:pt x="1002" y="4679"/>
                  </a:cubicBezTo>
                  <a:lnTo>
                    <a:pt x="960" y="4679"/>
                  </a:lnTo>
                  <a:cubicBezTo>
                    <a:pt x="953" y="4679"/>
                    <a:pt x="947" y="4678"/>
                    <a:pt x="940" y="4678"/>
                  </a:cubicBezTo>
                  <a:cubicBezTo>
                    <a:pt x="908" y="4678"/>
                    <a:pt x="877" y="4685"/>
                    <a:pt x="848" y="4697"/>
                  </a:cubicBezTo>
                  <a:cubicBezTo>
                    <a:pt x="575" y="4854"/>
                    <a:pt x="74" y="5159"/>
                    <a:pt x="4" y="5236"/>
                  </a:cubicBezTo>
                  <a:cubicBezTo>
                    <a:pt x="1" y="5285"/>
                    <a:pt x="8" y="5509"/>
                    <a:pt x="11" y="5726"/>
                  </a:cubicBezTo>
                  <a:cubicBezTo>
                    <a:pt x="11" y="5796"/>
                    <a:pt x="18" y="5866"/>
                    <a:pt x="18" y="5936"/>
                  </a:cubicBezTo>
                  <a:lnTo>
                    <a:pt x="29" y="5950"/>
                  </a:lnTo>
                  <a:lnTo>
                    <a:pt x="39" y="5960"/>
                  </a:lnTo>
                  <a:lnTo>
                    <a:pt x="43" y="5964"/>
                  </a:lnTo>
                  <a:lnTo>
                    <a:pt x="53" y="5974"/>
                  </a:lnTo>
                  <a:cubicBezTo>
                    <a:pt x="60" y="5981"/>
                    <a:pt x="64" y="5985"/>
                    <a:pt x="71" y="5988"/>
                  </a:cubicBezTo>
                  <a:lnTo>
                    <a:pt x="78" y="5992"/>
                  </a:lnTo>
                  <a:cubicBezTo>
                    <a:pt x="85" y="5999"/>
                    <a:pt x="92" y="6002"/>
                    <a:pt x="102" y="6009"/>
                  </a:cubicBezTo>
                  <a:cubicBezTo>
                    <a:pt x="141" y="6031"/>
                    <a:pt x="270" y="6115"/>
                    <a:pt x="456" y="6234"/>
                  </a:cubicBezTo>
                  <a:lnTo>
                    <a:pt x="494" y="6262"/>
                  </a:lnTo>
                  <a:cubicBezTo>
                    <a:pt x="865" y="6500"/>
                    <a:pt x="1454" y="6888"/>
                    <a:pt x="2094" y="7312"/>
                  </a:cubicBezTo>
                  <a:lnTo>
                    <a:pt x="2220" y="7392"/>
                  </a:lnTo>
                  <a:lnTo>
                    <a:pt x="2584" y="7634"/>
                  </a:lnTo>
                  <a:lnTo>
                    <a:pt x="2679" y="7697"/>
                  </a:lnTo>
                  <a:lnTo>
                    <a:pt x="2689" y="7704"/>
                  </a:lnTo>
                  <a:cubicBezTo>
                    <a:pt x="3834" y="8464"/>
                    <a:pt x="5241" y="9405"/>
                    <a:pt x="5409" y="9545"/>
                  </a:cubicBezTo>
                  <a:lnTo>
                    <a:pt x="5420" y="9552"/>
                  </a:lnTo>
                  <a:cubicBezTo>
                    <a:pt x="5528" y="9671"/>
                    <a:pt x="5623" y="9804"/>
                    <a:pt x="5704" y="9944"/>
                  </a:cubicBezTo>
                  <a:cubicBezTo>
                    <a:pt x="5728" y="9983"/>
                    <a:pt x="5749" y="10014"/>
                    <a:pt x="5760" y="10035"/>
                  </a:cubicBezTo>
                  <a:cubicBezTo>
                    <a:pt x="5973" y="10067"/>
                    <a:pt x="6176" y="10133"/>
                    <a:pt x="6365" y="10232"/>
                  </a:cubicBezTo>
                  <a:cubicBezTo>
                    <a:pt x="6407" y="10256"/>
                    <a:pt x="6442" y="10288"/>
                    <a:pt x="6477" y="10319"/>
                  </a:cubicBezTo>
                  <a:cubicBezTo>
                    <a:pt x="6600" y="10452"/>
                    <a:pt x="6645" y="10641"/>
                    <a:pt x="6659" y="10757"/>
                  </a:cubicBezTo>
                  <a:cubicBezTo>
                    <a:pt x="6659" y="10767"/>
                    <a:pt x="6663" y="10778"/>
                    <a:pt x="6663" y="10785"/>
                  </a:cubicBezTo>
                  <a:cubicBezTo>
                    <a:pt x="6747" y="10767"/>
                    <a:pt x="6887" y="10736"/>
                    <a:pt x="7009" y="10711"/>
                  </a:cubicBezTo>
                  <a:lnTo>
                    <a:pt x="7044" y="10704"/>
                  </a:lnTo>
                  <a:lnTo>
                    <a:pt x="7058" y="10704"/>
                  </a:lnTo>
                  <a:lnTo>
                    <a:pt x="7079" y="10701"/>
                  </a:lnTo>
                  <a:lnTo>
                    <a:pt x="7132" y="10687"/>
                  </a:lnTo>
                  <a:cubicBezTo>
                    <a:pt x="7205" y="10673"/>
                    <a:pt x="7335" y="10634"/>
                    <a:pt x="7475" y="10589"/>
                  </a:cubicBezTo>
                  <a:cubicBezTo>
                    <a:pt x="7639" y="10536"/>
                    <a:pt x="7811" y="10477"/>
                    <a:pt x="7902" y="10445"/>
                  </a:cubicBezTo>
                  <a:lnTo>
                    <a:pt x="7955" y="10428"/>
                  </a:lnTo>
                  <a:lnTo>
                    <a:pt x="8952" y="9622"/>
                  </a:lnTo>
                  <a:lnTo>
                    <a:pt x="11259" y="8184"/>
                  </a:lnTo>
                  <a:lnTo>
                    <a:pt x="11249" y="8138"/>
                  </a:lnTo>
                  <a:lnTo>
                    <a:pt x="11245" y="8128"/>
                  </a:lnTo>
                  <a:lnTo>
                    <a:pt x="11238" y="8110"/>
                  </a:lnTo>
                  <a:lnTo>
                    <a:pt x="11235" y="8096"/>
                  </a:lnTo>
                  <a:lnTo>
                    <a:pt x="11228" y="8078"/>
                  </a:lnTo>
                  <a:lnTo>
                    <a:pt x="11224" y="8061"/>
                  </a:lnTo>
                  <a:lnTo>
                    <a:pt x="11217" y="8047"/>
                  </a:lnTo>
                  <a:lnTo>
                    <a:pt x="11210" y="8029"/>
                  </a:lnTo>
                  <a:lnTo>
                    <a:pt x="11203" y="8012"/>
                  </a:lnTo>
                  <a:lnTo>
                    <a:pt x="11196" y="7994"/>
                  </a:lnTo>
                  <a:lnTo>
                    <a:pt x="11193" y="7980"/>
                  </a:lnTo>
                  <a:lnTo>
                    <a:pt x="11182" y="7959"/>
                  </a:lnTo>
                  <a:lnTo>
                    <a:pt x="11179" y="7949"/>
                  </a:lnTo>
                  <a:cubicBezTo>
                    <a:pt x="11172" y="7938"/>
                    <a:pt x="11168" y="7928"/>
                    <a:pt x="11165" y="7921"/>
                  </a:cubicBezTo>
                  <a:lnTo>
                    <a:pt x="11158" y="7910"/>
                  </a:lnTo>
                  <a:lnTo>
                    <a:pt x="11147" y="7893"/>
                  </a:lnTo>
                  <a:lnTo>
                    <a:pt x="11144" y="7882"/>
                  </a:lnTo>
                  <a:lnTo>
                    <a:pt x="11133" y="7868"/>
                  </a:lnTo>
                  <a:lnTo>
                    <a:pt x="11126" y="7858"/>
                  </a:lnTo>
                  <a:lnTo>
                    <a:pt x="11119" y="7847"/>
                  </a:lnTo>
                  <a:lnTo>
                    <a:pt x="11112" y="7840"/>
                  </a:lnTo>
                  <a:lnTo>
                    <a:pt x="11102" y="7830"/>
                  </a:lnTo>
                  <a:lnTo>
                    <a:pt x="11095" y="7826"/>
                  </a:lnTo>
                  <a:cubicBezTo>
                    <a:pt x="11091" y="7823"/>
                    <a:pt x="11088" y="7819"/>
                    <a:pt x="11084" y="7819"/>
                  </a:cubicBezTo>
                  <a:lnTo>
                    <a:pt x="11077" y="7816"/>
                  </a:lnTo>
                  <a:cubicBezTo>
                    <a:pt x="11074" y="7816"/>
                    <a:pt x="11067" y="7812"/>
                    <a:pt x="11060" y="7812"/>
                  </a:cubicBezTo>
                  <a:cubicBezTo>
                    <a:pt x="10986" y="7809"/>
                    <a:pt x="10913" y="7788"/>
                    <a:pt x="10846" y="7749"/>
                  </a:cubicBezTo>
                  <a:cubicBezTo>
                    <a:pt x="10787" y="7714"/>
                    <a:pt x="10724" y="7697"/>
                    <a:pt x="10657" y="7693"/>
                  </a:cubicBezTo>
                  <a:cubicBezTo>
                    <a:pt x="10458" y="7693"/>
                    <a:pt x="10234" y="7588"/>
                    <a:pt x="10209" y="7413"/>
                  </a:cubicBezTo>
                  <a:cubicBezTo>
                    <a:pt x="10202" y="7364"/>
                    <a:pt x="10202" y="7315"/>
                    <a:pt x="10209" y="7266"/>
                  </a:cubicBezTo>
                  <a:cubicBezTo>
                    <a:pt x="10227" y="7179"/>
                    <a:pt x="10209" y="7088"/>
                    <a:pt x="10157" y="7018"/>
                  </a:cubicBezTo>
                  <a:cubicBezTo>
                    <a:pt x="10115" y="6955"/>
                    <a:pt x="10069" y="6899"/>
                    <a:pt x="10020" y="6843"/>
                  </a:cubicBezTo>
                  <a:cubicBezTo>
                    <a:pt x="9954" y="6769"/>
                    <a:pt x="9905" y="6710"/>
                    <a:pt x="9905" y="6640"/>
                  </a:cubicBezTo>
                  <a:cubicBezTo>
                    <a:pt x="9905" y="6559"/>
                    <a:pt x="9989" y="6475"/>
                    <a:pt x="10129" y="6353"/>
                  </a:cubicBezTo>
                  <a:lnTo>
                    <a:pt x="10143" y="6339"/>
                  </a:lnTo>
                  <a:cubicBezTo>
                    <a:pt x="10136" y="6325"/>
                    <a:pt x="10125" y="6307"/>
                    <a:pt x="10118" y="6293"/>
                  </a:cubicBezTo>
                  <a:cubicBezTo>
                    <a:pt x="10087" y="6241"/>
                    <a:pt x="10066" y="6181"/>
                    <a:pt x="10062" y="6118"/>
                  </a:cubicBezTo>
                  <a:cubicBezTo>
                    <a:pt x="10059" y="6090"/>
                    <a:pt x="10055" y="6062"/>
                    <a:pt x="10048" y="6034"/>
                  </a:cubicBezTo>
                  <a:cubicBezTo>
                    <a:pt x="10027" y="5946"/>
                    <a:pt x="9999" y="5827"/>
                    <a:pt x="10076" y="5736"/>
                  </a:cubicBezTo>
                  <a:cubicBezTo>
                    <a:pt x="10143" y="5656"/>
                    <a:pt x="10185" y="5586"/>
                    <a:pt x="10108" y="5435"/>
                  </a:cubicBezTo>
                  <a:cubicBezTo>
                    <a:pt x="10055" y="5327"/>
                    <a:pt x="10087" y="5225"/>
                    <a:pt x="10115" y="5134"/>
                  </a:cubicBezTo>
                  <a:cubicBezTo>
                    <a:pt x="10143" y="5043"/>
                    <a:pt x="10167" y="4959"/>
                    <a:pt x="10125" y="4858"/>
                  </a:cubicBezTo>
                  <a:cubicBezTo>
                    <a:pt x="10080" y="4767"/>
                    <a:pt x="10034" y="4679"/>
                    <a:pt x="9978" y="4595"/>
                  </a:cubicBezTo>
                  <a:cubicBezTo>
                    <a:pt x="9905" y="4473"/>
                    <a:pt x="9856" y="4389"/>
                    <a:pt x="9866" y="4319"/>
                  </a:cubicBezTo>
                  <a:cubicBezTo>
                    <a:pt x="9870" y="4312"/>
                    <a:pt x="9873" y="4305"/>
                    <a:pt x="9873" y="4298"/>
                  </a:cubicBezTo>
                  <a:lnTo>
                    <a:pt x="9877" y="4291"/>
                  </a:lnTo>
                  <a:cubicBezTo>
                    <a:pt x="9880" y="4287"/>
                    <a:pt x="9884" y="4280"/>
                    <a:pt x="9887" y="4277"/>
                  </a:cubicBezTo>
                  <a:lnTo>
                    <a:pt x="9887" y="4273"/>
                  </a:lnTo>
                  <a:cubicBezTo>
                    <a:pt x="9894" y="4266"/>
                    <a:pt x="9898" y="4259"/>
                    <a:pt x="9901" y="4252"/>
                  </a:cubicBezTo>
                  <a:lnTo>
                    <a:pt x="9908" y="4249"/>
                  </a:lnTo>
                  <a:lnTo>
                    <a:pt x="9919" y="4235"/>
                  </a:lnTo>
                  <a:lnTo>
                    <a:pt x="9929" y="4228"/>
                  </a:lnTo>
                  <a:lnTo>
                    <a:pt x="9940" y="4217"/>
                  </a:lnTo>
                  <a:lnTo>
                    <a:pt x="9964" y="4200"/>
                  </a:lnTo>
                  <a:lnTo>
                    <a:pt x="9968" y="4196"/>
                  </a:lnTo>
                  <a:cubicBezTo>
                    <a:pt x="9961" y="4189"/>
                    <a:pt x="9957" y="4179"/>
                    <a:pt x="9957" y="4172"/>
                  </a:cubicBezTo>
                  <a:cubicBezTo>
                    <a:pt x="9950" y="4158"/>
                    <a:pt x="9947" y="4140"/>
                    <a:pt x="9947" y="4126"/>
                  </a:cubicBezTo>
                  <a:lnTo>
                    <a:pt x="9947" y="4116"/>
                  </a:lnTo>
                  <a:cubicBezTo>
                    <a:pt x="9943" y="4102"/>
                    <a:pt x="9943" y="4088"/>
                    <a:pt x="9943" y="4074"/>
                  </a:cubicBezTo>
                  <a:cubicBezTo>
                    <a:pt x="9943" y="3856"/>
                    <a:pt x="9782" y="3258"/>
                    <a:pt x="9698" y="3142"/>
                  </a:cubicBezTo>
                  <a:cubicBezTo>
                    <a:pt x="9659" y="3090"/>
                    <a:pt x="9568" y="3041"/>
                    <a:pt x="9488" y="2995"/>
                  </a:cubicBezTo>
                  <a:cubicBezTo>
                    <a:pt x="9362" y="2925"/>
                    <a:pt x="9264" y="2869"/>
                    <a:pt x="9264" y="2775"/>
                  </a:cubicBezTo>
                  <a:cubicBezTo>
                    <a:pt x="9264" y="2684"/>
                    <a:pt x="9264" y="2561"/>
                    <a:pt x="9075" y="2481"/>
                  </a:cubicBezTo>
                  <a:cubicBezTo>
                    <a:pt x="8868" y="2393"/>
                    <a:pt x="8732" y="2040"/>
                    <a:pt x="8763" y="1875"/>
                  </a:cubicBezTo>
                  <a:cubicBezTo>
                    <a:pt x="8767" y="1868"/>
                    <a:pt x="8767" y="1857"/>
                    <a:pt x="8770" y="1850"/>
                  </a:cubicBezTo>
                  <a:cubicBezTo>
                    <a:pt x="8784" y="1805"/>
                    <a:pt x="8826" y="1773"/>
                    <a:pt x="8875" y="1773"/>
                  </a:cubicBezTo>
                  <a:cubicBezTo>
                    <a:pt x="8914" y="1773"/>
                    <a:pt x="8973" y="1686"/>
                    <a:pt x="9019" y="1623"/>
                  </a:cubicBezTo>
                  <a:cubicBezTo>
                    <a:pt x="9071" y="1542"/>
                    <a:pt x="9131" y="1462"/>
                    <a:pt x="9201" y="1423"/>
                  </a:cubicBezTo>
                  <a:cubicBezTo>
                    <a:pt x="9253" y="1399"/>
                    <a:pt x="9327" y="1297"/>
                    <a:pt x="9362" y="1178"/>
                  </a:cubicBezTo>
                  <a:cubicBezTo>
                    <a:pt x="9376" y="1122"/>
                    <a:pt x="9390" y="1017"/>
                    <a:pt x="9337" y="937"/>
                  </a:cubicBezTo>
                  <a:cubicBezTo>
                    <a:pt x="9337" y="933"/>
                    <a:pt x="9334" y="930"/>
                    <a:pt x="9334" y="926"/>
                  </a:cubicBezTo>
                  <a:cubicBezTo>
                    <a:pt x="9330" y="923"/>
                    <a:pt x="9327" y="919"/>
                    <a:pt x="9327" y="912"/>
                  </a:cubicBezTo>
                  <a:cubicBezTo>
                    <a:pt x="9323" y="909"/>
                    <a:pt x="9323" y="905"/>
                    <a:pt x="9320" y="902"/>
                  </a:cubicBezTo>
                  <a:cubicBezTo>
                    <a:pt x="9320" y="898"/>
                    <a:pt x="9316" y="891"/>
                    <a:pt x="9313" y="888"/>
                  </a:cubicBezTo>
                  <a:cubicBezTo>
                    <a:pt x="9313" y="881"/>
                    <a:pt x="9309" y="877"/>
                    <a:pt x="9309" y="870"/>
                  </a:cubicBezTo>
                  <a:cubicBezTo>
                    <a:pt x="9306" y="867"/>
                    <a:pt x="9306" y="860"/>
                    <a:pt x="9302" y="856"/>
                  </a:cubicBezTo>
                  <a:cubicBezTo>
                    <a:pt x="9302" y="849"/>
                    <a:pt x="9302" y="846"/>
                    <a:pt x="9299" y="839"/>
                  </a:cubicBezTo>
                  <a:cubicBezTo>
                    <a:pt x="9299" y="835"/>
                    <a:pt x="9295" y="828"/>
                    <a:pt x="9295" y="821"/>
                  </a:cubicBezTo>
                  <a:cubicBezTo>
                    <a:pt x="9295" y="814"/>
                    <a:pt x="9292" y="807"/>
                    <a:pt x="9292" y="804"/>
                  </a:cubicBezTo>
                  <a:cubicBezTo>
                    <a:pt x="9292" y="797"/>
                    <a:pt x="9288" y="790"/>
                    <a:pt x="9288" y="783"/>
                  </a:cubicBezTo>
                  <a:cubicBezTo>
                    <a:pt x="9288" y="776"/>
                    <a:pt x="9288" y="769"/>
                    <a:pt x="9285" y="762"/>
                  </a:cubicBezTo>
                  <a:cubicBezTo>
                    <a:pt x="9285" y="755"/>
                    <a:pt x="9285" y="748"/>
                    <a:pt x="9285" y="737"/>
                  </a:cubicBezTo>
                  <a:cubicBezTo>
                    <a:pt x="9281" y="730"/>
                    <a:pt x="9285" y="723"/>
                    <a:pt x="9285" y="716"/>
                  </a:cubicBezTo>
                  <a:lnTo>
                    <a:pt x="9285" y="692"/>
                  </a:lnTo>
                  <a:lnTo>
                    <a:pt x="9285" y="667"/>
                  </a:lnTo>
                  <a:lnTo>
                    <a:pt x="9285" y="639"/>
                  </a:lnTo>
                  <a:lnTo>
                    <a:pt x="9285" y="615"/>
                  </a:lnTo>
                  <a:lnTo>
                    <a:pt x="9285" y="587"/>
                  </a:lnTo>
                  <a:lnTo>
                    <a:pt x="9285" y="555"/>
                  </a:lnTo>
                  <a:lnTo>
                    <a:pt x="9285" y="524"/>
                  </a:lnTo>
                  <a:lnTo>
                    <a:pt x="9285" y="496"/>
                  </a:lnTo>
                  <a:lnTo>
                    <a:pt x="9285" y="461"/>
                  </a:lnTo>
                  <a:cubicBezTo>
                    <a:pt x="9285" y="450"/>
                    <a:pt x="9285" y="440"/>
                    <a:pt x="9285" y="429"/>
                  </a:cubicBezTo>
                  <a:cubicBezTo>
                    <a:pt x="9288" y="415"/>
                    <a:pt x="9285" y="405"/>
                    <a:pt x="9288" y="391"/>
                  </a:cubicBezTo>
                  <a:cubicBezTo>
                    <a:pt x="9292" y="380"/>
                    <a:pt x="9288" y="370"/>
                    <a:pt x="9292" y="356"/>
                  </a:cubicBezTo>
                  <a:cubicBezTo>
                    <a:pt x="9295" y="345"/>
                    <a:pt x="9295" y="331"/>
                    <a:pt x="9295" y="321"/>
                  </a:cubicBezTo>
                  <a:cubicBezTo>
                    <a:pt x="9295" y="307"/>
                    <a:pt x="9299" y="293"/>
                    <a:pt x="9299" y="282"/>
                  </a:cubicBezTo>
                  <a:cubicBezTo>
                    <a:pt x="9302" y="268"/>
                    <a:pt x="9302" y="254"/>
                    <a:pt x="9306" y="240"/>
                  </a:cubicBezTo>
                  <a:cubicBezTo>
                    <a:pt x="9306" y="226"/>
                    <a:pt x="9306" y="216"/>
                    <a:pt x="9309" y="202"/>
                  </a:cubicBezTo>
                  <a:cubicBezTo>
                    <a:pt x="9309" y="188"/>
                    <a:pt x="9313" y="174"/>
                    <a:pt x="9316" y="156"/>
                  </a:cubicBezTo>
                  <a:cubicBezTo>
                    <a:pt x="9316" y="142"/>
                    <a:pt x="9320" y="128"/>
                    <a:pt x="9320" y="114"/>
                  </a:cubicBezTo>
                  <a:lnTo>
                    <a:pt x="9320" y="104"/>
                  </a:lnTo>
                  <a:cubicBezTo>
                    <a:pt x="9162" y="90"/>
                    <a:pt x="9008" y="55"/>
                    <a:pt x="8861" y="6"/>
                  </a:cubicBezTo>
                  <a:cubicBezTo>
                    <a:pt x="8852" y="2"/>
                    <a:pt x="8837" y="1"/>
                    <a:pt x="88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3" name="Google Shape;3843;p53"/>
            <p:cNvSpPr/>
            <p:nvPr/>
          </p:nvSpPr>
          <p:spPr>
            <a:xfrm>
              <a:off x="2000849" y="181464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cubicBezTo>
                    <a:pt x="1" y="4"/>
                    <a:pt x="1" y="4"/>
                    <a:pt x="1" y="0"/>
                  </a:cubicBezTo>
                  <a:cubicBezTo>
                    <a:pt x="1" y="4"/>
                    <a:pt x="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4" name="Google Shape;3844;p53"/>
            <p:cNvSpPr/>
            <p:nvPr/>
          </p:nvSpPr>
          <p:spPr>
            <a:xfrm>
              <a:off x="2021202" y="1799102"/>
              <a:ext cx="149" cy="869"/>
            </a:xfrm>
            <a:custGeom>
              <a:avLst/>
              <a:gdLst/>
              <a:ahLst/>
              <a:cxnLst/>
              <a:rect l="l" t="t" r="r" b="b"/>
              <a:pathLst>
                <a:path w="11" h="64" extrusionOk="0">
                  <a:moveTo>
                    <a:pt x="11" y="0"/>
                  </a:moveTo>
                  <a:cubicBezTo>
                    <a:pt x="7" y="14"/>
                    <a:pt x="4" y="39"/>
                    <a:pt x="0" y="63"/>
                  </a:cubicBezTo>
                  <a:cubicBezTo>
                    <a:pt x="4" y="39"/>
                    <a:pt x="7" y="14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5" name="Google Shape;3845;p53"/>
            <p:cNvSpPr/>
            <p:nvPr/>
          </p:nvSpPr>
          <p:spPr>
            <a:xfrm>
              <a:off x="2034372" y="1771296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18" y="32"/>
                  </a:moveTo>
                  <a:cubicBezTo>
                    <a:pt x="11" y="21"/>
                    <a:pt x="4" y="11"/>
                    <a:pt x="0" y="0"/>
                  </a:cubicBezTo>
                  <a:cubicBezTo>
                    <a:pt x="4" y="11"/>
                    <a:pt x="11" y="21"/>
                    <a:pt x="1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6" name="Google Shape;3846;p53"/>
            <p:cNvSpPr/>
            <p:nvPr/>
          </p:nvSpPr>
          <p:spPr>
            <a:xfrm>
              <a:off x="1995581" y="1816645"/>
              <a:ext cx="1534" cy="299"/>
            </a:xfrm>
            <a:custGeom>
              <a:avLst/>
              <a:gdLst/>
              <a:ahLst/>
              <a:cxnLst/>
              <a:rect l="l" t="t" r="r" b="b"/>
              <a:pathLst>
                <a:path w="113" h="22" extrusionOk="0">
                  <a:moveTo>
                    <a:pt x="0" y="21"/>
                  </a:moveTo>
                  <a:cubicBezTo>
                    <a:pt x="35" y="7"/>
                    <a:pt x="74" y="0"/>
                    <a:pt x="112" y="4"/>
                  </a:cubicBezTo>
                  <a:cubicBezTo>
                    <a:pt x="74" y="0"/>
                    <a:pt x="35" y="7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7" name="Google Shape;3847;p53"/>
            <p:cNvSpPr/>
            <p:nvPr/>
          </p:nvSpPr>
          <p:spPr>
            <a:xfrm>
              <a:off x="2034603" y="1771771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0"/>
                  </a:moveTo>
                  <a:cubicBezTo>
                    <a:pt x="4" y="7"/>
                    <a:pt x="11" y="18"/>
                    <a:pt x="15" y="21"/>
                  </a:cubicBezTo>
                  <a:cubicBezTo>
                    <a:pt x="11" y="18"/>
                    <a:pt x="8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8" name="Google Shape;3848;p53"/>
            <p:cNvSpPr/>
            <p:nvPr/>
          </p:nvSpPr>
          <p:spPr>
            <a:xfrm>
              <a:off x="2034182" y="177105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9" name="Google Shape;3849;p53"/>
            <p:cNvSpPr/>
            <p:nvPr/>
          </p:nvSpPr>
          <p:spPr>
            <a:xfrm>
              <a:off x="1997672" y="1816115"/>
              <a:ext cx="2675" cy="611"/>
            </a:xfrm>
            <a:custGeom>
              <a:avLst/>
              <a:gdLst/>
              <a:ahLst/>
              <a:cxnLst/>
              <a:rect l="l" t="t" r="r" b="b"/>
              <a:pathLst>
                <a:path w="197" h="45" extrusionOk="0">
                  <a:moveTo>
                    <a:pt x="196" y="1"/>
                  </a:moveTo>
                  <a:cubicBezTo>
                    <a:pt x="154" y="40"/>
                    <a:pt x="93" y="43"/>
                    <a:pt x="30" y="43"/>
                  </a:cubicBezTo>
                  <a:cubicBezTo>
                    <a:pt x="20" y="43"/>
                    <a:pt x="10" y="43"/>
                    <a:pt x="0" y="43"/>
                  </a:cubicBezTo>
                  <a:cubicBezTo>
                    <a:pt x="16" y="43"/>
                    <a:pt x="32" y="44"/>
                    <a:pt x="48" y="44"/>
                  </a:cubicBezTo>
                  <a:cubicBezTo>
                    <a:pt x="105" y="44"/>
                    <a:pt x="158" y="36"/>
                    <a:pt x="1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0" name="Google Shape;3850;p53"/>
            <p:cNvSpPr/>
            <p:nvPr/>
          </p:nvSpPr>
          <p:spPr>
            <a:xfrm>
              <a:off x="2027950" y="1795491"/>
              <a:ext cx="8282" cy="434"/>
            </a:xfrm>
            <a:custGeom>
              <a:avLst/>
              <a:gdLst/>
              <a:ahLst/>
              <a:cxnLst/>
              <a:rect l="l" t="t" r="r" b="b"/>
              <a:pathLst>
                <a:path w="610" h="32" extrusionOk="0">
                  <a:moveTo>
                    <a:pt x="610" y="32"/>
                  </a:moveTo>
                  <a:cubicBezTo>
                    <a:pt x="477" y="25"/>
                    <a:pt x="91" y="0"/>
                    <a:pt x="0" y="32"/>
                  </a:cubicBezTo>
                  <a:cubicBezTo>
                    <a:pt x="91" y="0"/>
                    <a:pt x="477" y="25"/>
                    <a:pt x="61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1" name="Google Shape;3851;p53"/>
            <p:cNvSpPr/>
            <p:nvPr/>
          </p:nvSpPr>
          <p:spPr>
            <a:xfrm>
              <a:off x="2110135" y="1764018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cubicBezTo>
                    <a:pt x="0" y="8"/>
                    <a:pt x="0" y="11"/>
                    <a:pt x="4" y="18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2" name="Google Shape;3852;p53"/>
            <p:cNvSpPr/>
            <p:nvPr/>
          </p:nvSpPr>
          <p:spPr>
            <a:xfrm>
              <a:off x="2110270" y="1764493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"/>
                  </a:moveTo>
                  <a:cubicBezTo>
                    <a:pt x="1" y="8"/>
                    <a:pt x="1" y="11"/>
                    <a:pt x="4" y="18"/>
                  </a:cubicBez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3" name="Google Shape;3853;p53"/>
            <p:cNvSpPr/>
            <p:nvPr/>
          </p:nvSpPr>
          <p:spPr>
            <a:xfrm>
              <a:off x="2110080" y="1763448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1" y="1"/>
                  </a:moveTo>
                  <a:cubicBezTo>
                    <a:pt x="1" y="8"/>
                    <a:pt x="1" y="15"/>
                    <a:pt x="4" y="22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4" name="Google Shape;3854;p53"/>
            <p:cNvSpPr/>
            <p:nvPr/>
          </p:nvSpPr>
          <p:spPr>
            <a:xfrm>
              <a:off x="2110039" y="1759836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0" y="1"/>
                  </a:moveTo>
                  <a:lnTo>
                    <a:pt x="0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5" name="Google Shape;3855;p53"/>
            <p:cNvSpPr/>
            <p:nvPr/>
          </p:nvSpPr>
          <p:spPr>
            <a:xfrm>
              <a:off x="2110039" y="1762878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6" name="Google Shape;3856;p53"/>
            <p:cNvSpPr/>
            <p:nvPr/>
          </p:nvSpPr>
          <p:spPr>
            <a:xfrm>
              <a:off x="2119218" y="18097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7" name="Google Shape;3857;p53"/>
            <p:cNvSpPr/>
            <p:nvPr/>
          </p:nvSpPr>
          <p:spPr>
            <a:xfrm>
              <a:off x="2110555" y="176534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1" y="1"/>
                  </a:lnTo>
                  <a:cubicBezTo>
                    <a:pt x="1" y="4"/>
                    <a:pt x="4" y="11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8" name="Google Shape;3858;p53"/>
            <p:cNvSpPr/>
            <p:nvPr/>
          </p:nvSpPr>
          <p:spPr>
            <a:xfrm>
              <a:off x="2119028" y="180898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9" name="Google Shape;3859;p53"/>
            <p:cNvSpPr/>
            <p:nvPr/>
          </p:nvSpPr>
          <p:spPr>
            <a:xfrm>
              <a:off x="2110365" y="1764969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lnTo>
                    <a:pt x="1" y="1"/>
                  </a:lnTo>
                  <a:cubicBezTo>
                    <a:pt x="1" y="4"/>
                    <a:pt x="4" y="11"/>
                    <a:pt x="8" y="15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0" name="Google Shape;3860;p53"/>
            <p:cNvSpPr/>
            <p:nvPr/>
          </p:nvSpPr>
          <p:spPr>
            <a:xfrm>
              <a:off x="2110080" y="1758981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1"/>
                  </a:moveTo>
                  <a:cubicBezTo>
                    <a:pt x="1" y="11"/>
                    <a:pt x="1" y="22"/>
                    <a:pt x="1" y="32"/>
                  </a:cubicBez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1" name="Google Shape;3861;p53"/>
            <p:cNvSpPr/>
            <p:nvPr/>
          </p:nvSpPr>
          <p:spPr>
            <a:xfrm>
              <a:off x="2109985" y="176221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lnTo>
                    <a:pt x="1" y="22"/>
                  </a:ln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2" name="Google Shape;3862;p53"/>
            <p:cNvSpPr/>
            <p:nvPr/>
          </p:nvSpPr>
          <p:spPr>
            <a:xfrm>
              <a:off x="2109985" y="1760692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3" name="Google Shape;3863;p53"/>
            <p:cNvSpPr/>
            <p:nvPr/>
          </p:nvSpPr>
          <p:spPr>
            <a:xfrm>
              <a:off x="2109985" y="1761452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4" name="Google Shape;3864;p53"/>
            <p:cNvSpPr/>
            <p:nvPr/>
          </p:nvSpPr>
          <p:spPr>
            <a:xfrm>
              <a:off x="2110705" y="1765688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cubicBezTo>
                    <a:pt x="0" y="4"/>
                    <a:pt x="4" y="7"/>
                    <a:pt x="7" y="11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5" name="Google Shape;3865;p53"/>
            <p:cNvSpPr/>
            <p:nvPr/>
          </p:nvSpPr>
          <p:spPr>
            <a:xfrm>
              <a:off x="2110135" y="1757990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cubicBezTo>
                    <a:pt x="4" y="14"/>
                    <a:pt x="0" y="25"/>
                    <a:pt x="0" y="35"/>
                  </a:cubicBezTo>
                  <a:cubicBezTo>
                    <a:pt x="0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6" name="Google Shape;3866;p53"/>
            <p:cNvSpPr/>
            <p:nvPr/>
          </p:nvSpPr>
          <p:spPr>
            <a:xfrm>
              <a:off x="2110230" y="17569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1"/>
                  </a:moveTo>
                  <a:cubicBezTo>
                    <a:pt x="4" y="11"/>
                    <a:pt x="0" y="25"/>
                    <a:pt x="0" y="36"/>
                  </a:cubicBezTo>
                  <a:cubicBezTo>
                    <a:pt x="0" y="25"/>
                    <a:pt x="4" y="1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7" name="Google Shape;3867;p53"/>
            <p:cNvSpPr/>
            <p:nvPr/>
          </p:nvSpPr>
          <p:spPr>
            <a:xfrm>
              <a:off x="2110365" y="1755899"/>
              <a:ext cx="68" cy="530"/>
            </a:xfrm>
            <a:custGeom>
              <a:avLst/>
              <a:gdLst/>
              <a:ahLst/>
              <a:cxnLst/>
              <a:rect l="l" t="t" r="r" b="b"/>
              <a:pathLst>
                <a:path w="5" h="39" extrusionOk="0">
                  <a:moveTo>
                    <a:pt x="4" y="0"/>
                  </a:moveTo>
                  <a:cubicBezTo>
                    <a:pt x="4" y="14"/>
                    <a:pt x="1" y="25"/>
                    <a:pt x="1" y="39"/>
                  </a:cubicBezTo>
                  <a:cubicBezTo>
                    <a:pt x="1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8" name="Google Shape;3868;p53"/>
            <p:cNvSpPr/>
            <p:nvPr/>
          </p:nvSpPr>
          <p:spPr>
            <a:xfrm>
              <a:off x="2110515" y="1754704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4" y="1"/>
                  </a:moveTo>
                  <a:lnTo>
                    <a:pt x="4" y="1"/>
                  </a:lnTo>
                  <a:cubicBezTo>
                    <a:pt x="4" y="15"/>
                    <a:pt x="0" y="32"/>
                    <a:pt x="0" y="46"/>
                  </a:cubicBezTo>
                  <a:cubicBezTo>
                    <a:pt x="0" y="32"/>
                    <a:pt x="4" y="1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9" name="Google Shape;3869;p53"/>
            <p:cNvSpPr/>
            <p:nvPr/>
          </p:nvSpPr>
          <p:spPr>
            <a:xfrm>
              <a:off x="2119734" y="1788268"/>
              <a:ext cx="110385" cy="105294"/>
            </a:xfrm>
            <a:custGeom>
              <a:avLst/>
              <a:gdLst/>
              <a:ahLst/>
              <a:cxnLst/>
              <a:rect l="l" t="t" r="r" b="b"/>
              <a:pathLst>
                <a:path w="8130" h="7755" extrusionOk="0">
                  <a:moveTo>
                    <a:pt x="1152" y="0"/>
                  </a:moveTo>
                  <a:lnTo>
                    <a:pt x="1152" y="4"/>
                  </a:lnTo>
                  <a:cubicBezTo>
                    <a:pt x="1152" y="21"/>
                    <a:pt x="1152" y="35"/>
                    <a:pt x="1152" y="49"/>
                  </a:cubicBezTo>
                  <a:lnTo>
                    <a:pt x="1152" y="56"/>
                  </a:lnTo>
                  <a:cubicBezTo>
                    <a:pt x="1152" y="70"/>
                    <a:pt x="1152" y="84"/>
                    <a:pt x="1149" y="98"/>
                  </a:cubicBezTo>
                  <a:lnTo>
                    <a:pt x="1149" y="102"/>
                  </a:lnTo>
                  <a:lnTo>
                    <a:pt x="1149" y="137"/>
                  </a:lnTo>
                  <a:lnTo>
                    <a:pt x="1149" y="144"/>
                  </a:lnTo>
                  <a:lnTo>
                    <a:pt x="1149" y="175"/>
                  </a:lnTo>
                  <a:cubicBezTo>
                    <a:pt x="1156" y="371"/>
                    <a:pt x="988" y="392"/>
                    <a:pt x="914" y="399"/>
                  </a:cubicBezTo>
                  <a:lnTo>
                    <a:pt x="893" y="403"/>
                  </a:lnTo>
                  <a:lnTo>
                    <a:pt x="876" y="403"/>
                  </a:lnTo>
                  <a:cubicBezTo>
                    <a:pt x="799" y="466"/>
                    <a:pt x="729" y="536"/>
                    <a:pt x="659" y="606"/>
                  </a:cubicBezTo>
                  <a:lnTo>
                    <a:pt x="648" y="616"/>
                  </a:lnTo>
                  <a:lnTo>
                    <a:pt x="638" y="630"/>
                  </a:lnTo>
                  <a:lnTo>
                    <a:pt x="606" y="662"/>
                  </a:lnTo>
                  <a:cubicBezTo>
                    <a:pt x="547" y="718"/>
                    <a:pt x="498" y="767"/>
                    <a:pt x="473" y="788"/>
                  </a:cubicBezTo>
                  <a:cubicBezTo>
                    <a:pt x="431" y="833"/>
                    <a:pt x="417" y="896"/>
                    <a:pt x="442" y="952"/>
                  </a:cubicBezTo>
                  <a:cubicBezTo>
                    <a:pt x="494" y="1057"/>
                    <a:pt x="403" y="1334"/>
                    <a:pt x="344" y="1450"/>
                  </a:cubicBezTo>
                  <a:cubicBezTo>
                    <a:pt x="295" y="1527"/>
                    <a:pt x="232" y="1593"/>
                    <a:pt x="155" y="1642"/>
                  </a:cubicBezTo>
                  <a:lnTo>
                    <a:pt x="148" y="1646"/>
                  </a:lnTo>
                  <a:lnTo>
                    <a:pt x="113" y="1667"/>
                  </a:lnTo>
                  <a:lnTo>
                    <a:pt x="88" y="1684"/>
                  </a:lnTo>
                  <a:cubicBezTo>
                    <a:pt x="57" y="1705"/>
                    <a:pt x="29" y="1730"/>
                    <a:pt x="1" y="1754"/>
                  </a:cubicBezTo>
                  <a:cubicBezTo>
                    <a:pt x="1" y="1758"/>
                    <a:pt x="1" y="1761"/>
                    <a:pt x="1" y="1765"/>
                  </a:cubicBezTo>
                  <a:lnTo>
                    <a:pt x="1" y="1768"/>
                  </a:lnTo>
                  <a:cubicBezTo>
                    <a:pt x="1" y="1772"/>
                    <a:pt x="4" y="1775"/>
                    <a:pt x="4" y="1779"/>
                  </a:cubicBezTo>
                  <a:lnTo>
                    <a:pt x="8" y="1786"/>
                  </a:lnTo>
                  <a:lnTo>
                    <a:pt x="11" y="1796"/>
                  </a:lnTo>
                  <a:lnTo>
                    <a:pt x="18" y="1810"/>
                  </a:lnTo>
                  <a:lnTo>
                    <a:pt x="22" y="1817"/>
                  </a:lnTo>
                  <a:cubicBezTo>
                    <a:pt x="43" y="1852"/>
                    <a:pt x="67" y="1898"/>
                    <a:pt x="92" y="1936"/>
                  </a:cubicBezTo>
                  <a:cubicBezTo>
                    <a:pt x="148" y="2027"/>
                    <a:pt x="200" y="2118"/>
                    <a:pt x="242" y="2216"/>
                  </a:cubicBezTo>
                  <a:cubicBezTo>
                    <a:pt x="309" y="2360"/>
                    <a:pt x="270" y="2486"/>
                    <a:pt x="239" y="2584"/>
                  </a:cubicBezTo>
                  <a:cubicBezTo>
                    <a:pt x="214" y="2671"/>
                    <a:pt x="197" y="2727"/>
                    <a:pt x="225" y="2787"/>
                  </a:cubicBezTo>
                  <a:cubicBezTo>
                    <a:pt x="333" y="2997"/>
                    <a:pt x="267" y="3123"/>
                    <a:pt x="179" y="3228"/>
                  </a:cubicBezTo>
                  <a:cubicBezTo>
                    <a:pt x="144" y="3273"/>
                    <a:pt x="158" y="3343"/>
                    <a:pt x="176" y="3417"/>
                  </a:cubicBezTo>
                  <a:cubicBezTo>
                    <a:pt x="186" y="3452"/>
                    <a:pt x="190" y="3491"/>
                    <a:pt x="193" y="3526"/>
                  </a:cubicBezTo>
                  <a:cubicBezTo>
                    <a:pt x="200" y="3568"/>
                    <a:pt x="214" y="3606"/>
                    <a:pt x="235" y="3641"/>
                  </a:cubicBezTo>
                  <a:cubicBezTo>
                    <a:pt x="270" y="3708"/>
                    <a:pt x="305" y="3774"/>
                    <a:pt x="253" y="3823"/>
                  </a:cubicBezTo>
                  <a:cubicBezTo>
                    <a:pt x="249" y="3830"/>
                    <a:pt x="232" y="3844"/>
                    <a:pt x="214" y="3858"/>
                  </a:cubicBezTo>
                  <a:cubicBezTo>
                    <a:pt x="172" y="3897"/>
                    <a:pt x="137" y="3928"/>
                    <a:pt x="113" y="3953"/>
                  </a:cubicBezTo>
                  <a:cubicBezTo>
                    <a:pt x="57" y="4009"/>
                    <a:pt x="39" y="4037"/>
                    <a:pt x="36" y="4051"/>
                  </a:cubicBezTo>
                  <a:cubicBezTo>
                    <a:pt x="46" y="4079"/>
                    <a:pt x="67" y="4107"/>
                    <a:pt x="88" y="4131"/>
                  </a:cubicBezTo>
                  <a:lnTo>
                    <a:pt x="120" y="4166"/>
                  </a:lnTo>
                  <a:cubicBezTo>
                    <a:pt x="172" y="4226"/>
                    <a:pt x="221" y="4289"/>
                    <a:pt x="267" y="4355"/>
                  </a:cubicBezTo>
                  <a:cubicBezTo>
                    <a:pt x="337" y="4450"/>
                    <a:pt x="361" y="4572"/>
                    <a:pt x="340" y="4688"/>
                  </a:cubicBezTo>
                  <a:cubicBezTo>
                    <a:pt x="337" y="4726"/>
                    <a:pt x="333" y="4765"/>
                    <a:pt x="337" y="4803"/>
                  </a:cubicBezTo>
                  <a:cubicBezTo>
                    <a:pt x="351" y="4901"/>
                    <a:pt x="519" y="4971"/>
                    <a:pt x="655" y="4971"/>
                  </a:cubicBezTo>
                  <a:cubicBezTo>
                    <a:pt x="743" y="4975"/>
                    <a:pt x="827" y="4999"/>
                    <a:pt x="900" y="5041"/>
                  </a:cubicBezTo>
                  <a:cubicBezTo>
                    <a:pt x="949" y="5069"/>
                    <a:pt x="1005" y="5087"/>
                    <a:pt x="1061" y="5090"/>
                  </a:cubicBezTo>
                  <a:cubicBezTo>
                    <a:pt x="1072" y="5090"/>
                    <a:pt x="1082" y="5090"/>
                    <a:pt x="1093" y="5094"/>
                  </a:cubicBezTo>
                  <a:lnTo>
                    <a:pt x="1103" y="5097"/>
                  </a:lnTo>
                  <a:cubicBezTo>
                    <a:pt x="1110" y="5097"/>
                    <a:pt x="1114" y="5101"/>
                    <a:pt x="1121" y="5101"/>
                  </a:cubicBezTo>
                  <a:lnTo>
                    <a:pt x="1131" y="5108"/>
                  </a:lnTo>
                  <a:cubicBezTo>
                    <a:pt x="1138" y="5111"/>
                    <a:pt x="1145" y="5111"/>
                    <a:pt x="1149" y="5115"/>
                  </a:cubicBezTo>
                  <a:lnTo>
                    <a:pt x="1159" y="5122"/>
                  </a:lnTo>
                  <a:lnTo>
                    <a:pt x="1177" y="5132"/>
                  </a:lnTo>
                  <a:lnTo>
                    <a:pt x="1187" y="5143"/>
                  </a:lnTo>
                  <a:lnTo>
                    <a:pt x="1201" y="5157"/>
                  </a:lnTo>
                  <a:lnTo>
                    <a:pt x="1212" y="5167"/>
                  </a:lnTo>
                  <a:lnTo>
                    <a:pt x="1222" y="5181"/>
                  </a:lnTo>
                  <a:lnTo>
                    <a:pt x="1233" y="5195"/>
                  </a:lnTo>
                  <a:lnTo>
                    <a:pt x="1247" y="5209"/>
                  </a:lnTo>
                  <a:lnTo>
                    <a:pt x="1254" y="5227"/>
                  </a:lnTo>
                  <a:lnTo>
                    <a:pt x="1264" y="5244"/>
                  </a:lnTo>
                  <a:lnTo>
                    <a:pt x="1275" y="5258"/>
                  </a:lnTo>
                  <a:lnTo>
                    <a:pt x="1285" y="5279"/>
                  </a:lnTo>
                  <a:lnTo>
                    <a:pt x="1292" y="5297"/>
                  </a:lnTo>
                  <a:lnTo>
                    <a:pt x="1303" y="5318"/>
                  </a:lnTo>
                  <a:lnTo>
                    <a:pt x="1310" y="5335"/>
                  </a:lnTo>
                  <a:lnTo>
                    <a:pt x="1320" y="5360"/>
                  </a:lnTo>
                  <a:lnTo>
                    <a:pt x="1327" y="5377"/>
                  </a:lnTo>
                  <a:lnTo>
                    <a:pt x="1338" y="5402"/>
                  </a:lnTo>
                  <a:lnTo>
                    <a:pt x="1341" y="5419"/>
                  </a:lnTo>
                  <a:lnTo>
                    <a:pt x="1352" y="5451"/>
                  </a:lnTo>
                  <a:lnTo>
                    <a:pt x="1359" y="5465"/>
                  </a:lnTo>
                  <a:lnTo>
                    <a:pt x="1369" y="5504"/>
                  </a:lnTo>
                  <a:lnTo>
                    <a:pt x="1373" y="5511"/>
                  </a:lnTo>
                  <a:lnTo>
                    <a:pt x="1387" y="5560"/>
                  </a:lnTo>
                  <a:cubicBezTo>
                    <a:pt x="1425" y="5560"/>
                    <a:pt x="1485" y="5563"/>
                    <a:pt x="1555" y="5567"/>
                  </a:cubicBezTo>
                  <a:lnTo>
                    <a:pt x="1562" y="5567"/>
                  </a:lnTo>
                  <a:lnTo>
                    <a:pt x="1600" y="5570"/>
                  </a:lnTo>
                  <a:lnTo>
                    <a:pt x="1625" y="5574"/>
                  </a:lnTo>
                  <a:lnTo>
                    <a:pt x="1646" y="5574"/>
                  </a:lnTo>
                  <a:cubicBezTo>
                    <a:pt x="1733" y="5584"/>
                    <a:pt x="1821" y="5598"/>
                    <a:pt x="1909" y="5619"/>
                  </a:cubicBezTo>
                  <a:lnTo>
                    <a:pt x="1916" y="5619"/>
                  </a:lnTo>
                  <a:lnTo>
                    <a:pt x="1965" y="5630"/>
                  </a:lnTo>
                  <a:lnTo>
                    <a:pt x="1979" y="5637"/>
                  </a:lnTo>
                  <a:lnTo>
                    <a:pt x="2003" y="5644"/>
                  </a:lnTo>
                  <a:lnTo>
                    <a:pt x="2035" y="5654"/>
                  </a:lnTo>
                  <a:lnTo>
                    <a:pt x="2056" y="5661"/>
                  </a:lnTo>
                  <a:lnTo>
                    <a:pt x="2084" y="5672"/>
                  </a:lnTo>
                  <a:lnTo>
                    <a:pt x="2094" y="5675"/>
                  </a:lnTo>
                  <a:cubicBezTo>
                    <a:pt x="2108" y="5682"/>
                    <a:pt x="2119" y="5689"/>
                    <a:pt x="2133" y="5693"/>
                  </a:cubicBezTo>
                  <a:lnTo>
                    <a:pt x="2140" y="5700"/>
                  </a:lnTo>
                  <a:cubicBezTo>
                    <a:pt x="2154" y="5707"/>
                    <a:pt x="2164" y="5710"/>
                    <a:pt x="2175" y="5721"/>
                  </a:cubicBezTo>
                  <a:cubicBezTo>
                    <a:pt x="2196" y="5731"/>
                    <a:pt x="2213" y="5745"/>
                    <a:pt x="2231" y="5759"/>
                  </a:cubicBezTo>
                  <a:cubicBezTo>
                    <a:pt x="2336" y="5836"/>
                    <a:pt x="2427" y="5931"/>
                    <a:pt x="2504" y="6032"/>
                  </a:cubicBezTo>
                  <a:lnTo>
                    <a:pt x="3407" y="5546"/>
                  </a:lnTo>
                  <a:lnTo>
                    <a:pt x="7517" y="7755"/>
                  </a:lnTo>
                  <a:lnTo>
                    <a:pt x="7517" y="7509"/>
                  </a:lnTo>
                  <a:lnTo>
                    <a:pt x="8021" y="7509"/>
                  </a:lnTo>
                  <a:lnTo>
                    <a:pt x="8021" y="2213"/>
                  </a:lnTo>
                  <a:cubicBezTo>
                    <a:pt x="8017" y="2097"/>
                    <a:pt x="8003" y="1978"/>
                    <a:pt x="7979" y="1863"/>
                  </a:cubicBezTo>
                  <a:cubicBezTo>
                    <a:pt x="7940" y="1677"/>
                    <a:pt x="7909" y="1513"/>
                    <a:pt x="8035" y="1362"/>
                  </a:cubicBezTo>
                  <a:cubicBezTo>
                    <a:pt x="8098" y="1285"/>
                    <a:pt x="8088" y="1239"/>
                    <a:pt x="8070" y="1145"/>
                  </a:cubicBezTo>
                  <a:cubicBezTo>
                    <a:pt x="8031" y="998"/>
                    <a:pt x="8039" y="844"/>
                    <a:pt x="8091" y="707"/>
                  </a:cubicBezTo>
                  <a:lnTo>
                    <a:pt x="8105" y="672"/>
                  </a:lnTo>
                  <a:lnTo>
                    <a:pt x="8130" y="602"/>
                  </a:lnTo>
                  <a:cubicBezTo>
                    <a:pt x="8130" y="599"/>
                    <a:pt x="8126" y="595"/>
                    <a:pt x="8126" y="592"/>
                  </a:cubicBezTo>
                  <a:cubicBezTo>
                    <a:pt x="8105" y="536"/>
                    <a:pt x="7923" y="511"/>
                    <a:pt x="7671" y="476"/>
                  </a:cubicBezTo>
                  <a:cubicBezTo>
                    <a:pt x="7601" y="466"/>
                    <a:pt x="7527" y="455"/>
                    <a:pt x="7443" y="441"/>
                  </a:cubicBezTo>
                  <a:cubicBezTo>
                    <a:pt x="7191" y="403"/>
                    <a:pt x="7100" y="298"/>
                    <a:pt x="7020" y="203"/>
                  </a:cubicBezTo>
                  <a:cubicBezTo>
                    <a:pt x="6939" y="112"/>
                    <a:pt x="6869" y="28"/>
                    <a:pt x="6614" y="14"/>
                  </a:cubicBezTo>
                  <a:cubicBezTo>
                    <a:pt x="6596" y="13"/>
                    <a:pt x="6579" y="13"/>
                    <a:pt x="6561" y="13"/>
                  </a:cubicBezTo>
                  <a:cubicBezTo>
                    <a:pt x="6217" y="13"/>
                    <a:pt x="5801" y="203"/>
                    <a:pt x="5584" y="399"/>
                  </a:cubicBezTo>
                  <a:cubicBezTo>
                    <a:pt x="5476" y="501"/>
                    <a:pt x="5465" y="557"/>
                    <a:pt x="5465" y="574"/>
                  </a:cubicBezTo>
                  <a:cubicBezTo>
                    <a:pt x="5469" y="658"/>
                    <a:pt x="5490" y="735"/>
                    <a:pt x="5525" y="812"/>
                  </a:cubicBezTo>
                  <a:cubicBezTo>
                    <a:pt x="5588" y="970"/>
                    <a:pt x="5658" y="1148"/>
                    <a:pt x="5525" y="1323"/>
                  </a:cubicBezTo>
                  <a:cubicBezTo>
                    <a:pt x="5427" y="1446"/>
                    <a:pt x="5287" y="1523"/>
                    <a:pt x="5129" y="1534"/>
                  </a:cubicBezTo>
                  <a:cubicBezTo>
                    <a:pt x="5113" y="1535"/>
                    <a:pt x="5096" y="1535"/>
                    <a:pt x="5079" y="1535"/>
                  </a:cubicBezTo>
                  <a:cubicBezTo>
                    <a:pt x="4897" y="1535"/>
                    <a:pt x="4721" y="1466"/>
                    <a:pt x="4587" y="1341"/>
                  </a:cubicBezTo>
                  <a:cubicBezTo>
                    <a:pt x="4303" y="1085"/>
                    <a:pt x="3901" y="994"/>
                    <a:pt x="3620" y="994"/>
                  </a:cubicBezTo>
                  <a:cubicBezTo>
                    <a:pt x="3410" y="994"/>
                    <a:pt x="3214" y="914"/>
                    <a:pt x="3102" y="784"/>
                  </a:cubicBezTo>
                  <a:cubicBezTo>
                    <a:pt x="3036" y="714"/>
                    <a:pt x="3004" y="623"/>
                    <a:pt x="3015" y="532"/>
                  </a:cubicBezTo>
                  <a:cubicBezTo>
                    <a:pt x="3025" y="431"/>
                    <a:pt x="3015" y="350"/>
                    <a:pt x="2710" y="287"/>
                  </a:cubicBezTo>
                  <a:cubicBezTo>
                    <a:pt x="2619" y="266"/>
                    <a:pt x="2528" y="235"/>
                    <a:pt x="2444" y="196"/>
                  </a:cubicBezTo>
                  <a:cubicBezTo>
                    <a:pt x="2294" y="134"/>
                    <a:pt x="2142" y="71"/>
                    <a:pt x="1934" y="71"/>
                  </a:cubicBezTo>
                  <a:cubicBezTo>
                    <a:pt x="1875" y="71"/>
                    <a:pt x="1810" y="76"/>
                    <a:pt x="1740" y="88"/>
                  </a:cubicBezTo>
                  <a:cubicBezTo>
                    <a:pt x="1688" y="96"/>
                    <a:pt x="1635" y="100"/>
                    <a:pt x="1582" y="100"/>
                  </a:cubicBezTo>
                  <a:cubicBezTo>
                    <a:pt x="1434" y="100"/>
                    <a:pt x="1287" y="67"/>
                    <a:pt x="11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0" name="Google Shape;3870;p53"/>
            <p:cNvSpPr/>
            <p:nvPr/>
          </p:nvSpPr>
          <p:spPr>
            <a:xfrm>
              <a:off x="2135375" y="179016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1" name="Google Shape;3871;p53"/>
            <p:cNvSpPr/>
            <p:nvPr/>
          </p:nvSpPr>
          <p:spPr>
            <a:xfrm>
              <a:off x="2127962" y="1796916"/>
              <a:ext cx="434" cy="434"/>
            </a:xfrm>
            <a:custGeom>
              <a:avLst/>
              <a:gdLst/>
              <a:ahLst/>
              <a:cxnLst/>
              <a:rect l="l" t="t" r="r" b="b"/>
              <a:pathLst>
                <a:path w="32" h="32" extrusionOk="0">
                  <a:moveTo>
                    <a:pt x="0" y="32"/>
                  </a:move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2" name="Google Shape;3872;p53"/>
            <p:cNvSpPr/>
            <p:nvPr/>
          </p:nvSpPr>
          <p:spPr>
            <a:xfrm>
              <a:off x="2128573" y="179657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3" name="Google Shape;3873;p53"/>
            <p:cNvSpPr/>
            <p:nvPr/>
          </p:nvSpPr>
          <p:spPr>
            <a:xfrm>
              <a:off x="2135416" y="17890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4" name="Google Shape;3874;p53"/>
            <p:cNvSpPr/>
            <p:nvPr/>
          </p:nvSpPr>
          <p:spPr>
            <a:xfrm>
              <a:off x="2131668" y="179382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5" name="Google Shape;3875;p53"/>
            <p:cNvSpPr/>
            <p:nvPr/>
          </p:nvSpPr>
          <p:spPr>
            <a:xfrm>
              <a:off x="2131899" y="1793726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6" name="Google Shape;3876;p53"/>
            <p:cNvSpPr/>
            <p:nvPr/>
          </p:nvSpPr>
          <p:spPr>
            <a:xfrm>
              <a:off x="2131763" y="179382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7" name="Google Shape;3877;p53"/>
            <p:cNvSpPr/>
            <p:nvPr/>
          </p:nvSpPr>
          <p:spPr>
            <a:xfrm>
              <a:off x="2121825" y="1808036"/>
              <a:ext cx="2580" cy="2485"/>
            </a:xfrm>
            <a:custGeom>
              <a:avLst/>
              <a:gdLst/>
              <a:ahLst/>
              <a:cxnLst/>
              <a:rect l="l" t="t" r="r" b="b"/>
              <a:pathLst>
                <a:path w="190" h="183" extrusionOk="0">
                  <a:moveTo>
                    <a:pt x="190" y="1"/>
                  </a:moveTo>
                  <a:cubicBezTo>
                    <a:pt x="141" y="74"/>
                    <a:pt x="78" y="137"/>
                    <a:pt x="1" y="183"/>
                  </a:cubicBezTo>
                  <a:lnTo>
                    <a:pt x="1" y="183"/>
                  </a:lnTo>
                  <a:cubicBezTo>
                    <a:pt x="78" y="137"/>
                    <a:pt x="141" y="74"/>
                    <a:pt x="19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8" name="Google Shape;3878;p53"/>
            <p:cNvSpPr/>
            <p:nvPr/>
          </p:nvSpPr>
          <p:spPr>
            <a:xfrm>
              <a:off x="2120929" y="1810847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3" y="0"/>
                  </a:moveTo>
                  <a:lnTo>
                    <a:pt x="28" y="4"/>
                  </a:lnTo>
                  <a:lnTo>
                    <a:pt x="0" y="21"/>
                  </a:lnTo>
                  <a:lnTo>
                    <a:pt x="7" y="18"/>
                  </a:lnTo>
                  <a:lnTo>
                    <a:pt x="3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9" name="Google Shape;3879;p53"/>
            <p:cNvSpPr/>
            <p:nvPr/>
          </p:nvSpPr>
          <p:spPr>
            <a:xfrm>
              <a:off x="2135375" y="178963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0" name="Google Shape;3880;p53"/>
            <p:cNvSpPr/>
            <p:nvPr/>
          </p:nvSpPr>
          <p:spPr>
            <a:xfrm>
              <a:off x="2135470" y="17883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1" name="Google Shape;3881;p53"/>
            <p:cNvSpPr/>
            <p:nvPr/>
          </p:nvSpPr>
          <p:spPr>
            <a:xfrm>
              <a:off x="2120114" y="1812884"/>
              <a:ext cx="964" cy="1684"/>
            </a:xfrm>
            <a:custGeom>
              <a:avLst/>
              <a:gdLst/>
              <a:ahLst/>
              <a:cxnLst/>
              <a:rect l="l" t="t" r="r" b="b"/>
              <a:pathLst>
                <a:path w="71" h="124" extrusionOk="0">
                  <a:moveTo>
                    <a:pt x="1" y="1"/>
                  </a:moveTo>
                  <a:cubicBezTo>
                    <a:pt x="18" y="39"/>
                    <a:pt x="46" y="85"/>
                    <a:pt x="71" y="123"/>
                  </a:cubicBezTo>
                  <a:cubicBezTo>
                    <a:pt x="46" y="85"/>
                    <a:pt x="18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2" name="Google Shape;3882;p53"/>
            <p:cNvSpPr/>
            <p:nvPr/>
          </p:nvSpPr>
          <p:spPr>
            <a:xfrm>
              <a:off x="2137222" y="1859943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0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3" name="Google Shape;3883;p53"/>
            <p:cNvSpPr/>
            <p:nvPr/>
          </p:nvSpPr>
          <p:spPr>
            <a:xfrm>
              <a:off x="2134615" y="18574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4" name="Google Shape;3884;p53"/>
            <p:cNvSpPr/>
            <p:nvPr/>
          </p:nvSpPr>
          <p:spPr>
            <a:xfrm>
              <a:off x="2136706" y="1859034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"/>
                  </a:moveTo>
                  <a:lnTo>
                    <a:pt x="1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5" name="Google Shape;3885;p53"/>
            <p:cNvSpPr/>
            <p:nvPr/>
          </p:nvSpPr>
          <p:spPr>
            <a:xfrm>
              <a:off x="2137466" y="186045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6" name="Google Shape;3886;p53"/>
            <p:cNvSpPr/>
            <p:nvPr/>
          </p:nvSpPr>
          <p:spPr>
            <a:xfrm>
              <a:off x="2119788" y="1811132"/>
              <a:ext cx="1195" cy="964"/>
            </a:xfrm>
            <a:custGeom>
              <a:avLst/>
              <a:gdLst/>
              <a:ahLst/>
              <a:cxnLst/>
              <a:rect l="l" t="t" r="r" b="b"/>
              <a:pathLst>
                <a:path w="88" h="71" extrusionOk="0">
                  <a:moveTo>
                    <a:pt x="88" y="0"/>
                  </a:moveTo>
                  <a:lnTo>
                    <a:pt x="88" y="0"/>
                  </a:lnTo>
                  <a:cubicBezTo>
                    <a:pt x="81" y="4"/>
                    <a:pt x="75" y="9"/>
                    <a:pt x="69" y="13"/>
                  </a:cubicBezTo>
                  <a:lnTo>
                    <a:pt x="69" y="13"/>
                  </a:lnTo>
                  <a:cubicBezTo>
                    <a:pt x="70" y="12"/>
                    <a:pt x="72" y="11"/>
                    <a:pt x="74" y="11"/>
                  </a:cubicBezTo>
                  <a:lnTo>
                    <a:pt x="88" y="0"/>
                  </a:lnTo>
                  <a:close/>
                  <a:moveTo>
                    <a:pt x="69" y="13"/>
                  </a:moveTo>
                  <a:lnTo>
                    <a:pt x="69" y="13"/>
                  </a:lnTo>
                  <a:cubicBezTo>
                    <a:pt x="43" y="27"/>
                    <a:pt x="20" y="47"/>
                    <a:pt x="0" y="70"/>
                  </a:cubicBezTo>
                  <a:cubicBezTo>
                    <a:pt x="20" y="51"/>
                    <a:pt x="44" y="31"/>
                    <a:pt x="69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7" name="Google Shape;3887;p53"/>
            <p:cNvSpPr/>
            <p:nvPr/>
          </p:nvSpPr>
          <p:spPr>
            <a:xfrm>
              <a:off x="2137697" y="186102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8" name="Google Shape;3888;p53"/>
            <p:cNvSpPr/>
            <p:nvPr/>
          </p:nvSpPr>
          <p:spPr>
            <a:xfrm>
              <a:off x="2135036" y="1857567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0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9" name="Google Shape;3889;p53"/>
            <p:cNvSpPr/>
            <p:nvPr/>
          </p:nvSpPr>
          <p:spPr>
            <a:xfrm>
              <a:off x="2137982" y="186165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0" name="Google Shape;3890;p53"/>
            <p:cNvSpPr/>
            <p:nvPr/>
          </p:nvSpPr>
          <p:spPr>
            <a:xfrm>
              <a:off x="2138172" y="186226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1" name="Google Shape;3891;p53"/>
            <p:cNvSpPr/>
            <p:nvPr/>
          </p:nvSpPr>
          <p:spPr>
            <a:xfrm>
              <a:off x="2136081" y="1858273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2" name="Google Shape;3892;p53"/>
            <p:cNvSpPr/>
            <p:nvPr/>
          </p:nvSpPr>
          <p:spPr>
            <a:xfrm>
              <a:off x="2136421" y="185861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0"/>
                  </a:moveTo>
                  <a:lnTo>
                    <a:pt x="1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3" name="Google Shape;3893;p53"/>
            <p:cNvSpPr/>
            <p:nvPr/>
          </p:nvSpPr>
          <p:spPr>
            <a:xfrm>
              <a:off x="2135755" y="1857947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4" name="Google Shape;3894;p53"/>
            <p:cNvSpPr/>
            <p:nvPr/>
          </p:nvSpPr>
          <p:spPr>
            <a:xfrm>
              <a:off x="2119883" y="181240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5" name="Google Shape;3895;p53"/>
            <p:cNvSpPr/>
            <p:nvPr/>
          </p:nvSpPr>
          <p:spPr>
            <a:xfrm>
              <a:off x="2119788" y="181221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4"/>
                  </a:lnTo>
                  <a:cubicBezTo>
                    <a:pt x="0" y="8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6" name="Google Shape;3896;p53"/>
            <p:cNvSpPr/>
            <p:nvPr/>
          </p:nvSpPr>
          <p:spPr>
            <a:xfrm>
              <a:off x="2135416" y="1857703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7" name="Google Shape;3897;p53"/>
            <p:cNvSpPr/>
            <p:nvPr/>
          </p:nvSpPr>
          <p:spPr>
            <a:xfrm>
              <a:off x="2119978" y="181265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8" name="Google Shape;3898;p53"/>
            <p:cNvSpPr/>
            <p:nvPr/>
          </p:nvSpPr>
          <p:spPr>
            <a:xfrm>
              <a:off x="2136991" y="185946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9" name="Google Shape;3899;p53"/>
            <p:cNvSpPr/>
            <p:nvPr/>
          </p:nvSpPr>
          <p:spPr>
            <a:xfrm>
              <a:off x="2122449" y="1836183"/>
              <a:ext cx="584" cy="1534"/>
            </a:xfrm>
            <a:custGeom>
              <a:avLst/>
              <a:gdLst/>
              <a:ahLst/>
              <a:cxnLst/>
              <a:rect l="l" t="t" r="r" b="b"/>
              <a:pathLst>
                <a:path w="43" h="113" extrusionOk="0">
                  <a:moveTo>
                    <a:pt x="0" y="0"/>
                  </a:moveTo>
                  <a:cubicBezTo>
                    <a:pt x="7" y="39"/>
                    <a:pt x="21" y="77"/>
                    <a:pt x="42" y="112"/>
                  </a:cubicBezTo>
                  <a:cubicBezTo>
                    <a:pt x="21" y="77"/>
                    <a:pt x="7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0" name="Google Shape;3900;p53"/>
            <p:cNvSpPr/>
            <p:nvPr/>
          </p:nvSpPr>
          <p:spPr>
            <a:xfrm>
              <a:off x="2121730" y="181056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1" name="Google Shape;3901;p53"/>
            <p:cNvSpPr/>
            <p:nvPr/>
          </p:nvSpPr>
          <p:spPr>
            <a:xfrm>
              <a:off x="2138362" y="186298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2" name="Google Shape;3902;p53"/>
            <p:cNvSpPr/>
            <p:nvPr/>
          </p:nvSpPr>
          <p:spPr>
            <a:xfrm>
              <a:off x="2120779" y="1810562"/>
              <a:ext cx="1059" cy="720"/>
            </a:xfrm>
            <a:custGeom>
              <a:avLst/>
              <a:gdLst/>
              <a:ahLst/>
              <a:cxnLst/>
              <a:rect l="l" t="t" r="r" b="b"/>
              <a:pathLst>
                <a:path w="78" h="53" extrusionOk="0">
                  <a:moveTo>
                    <a:pt x="78" y="0"/>
                  </a:moveTo>
                  <a:lnTo>
                    <a:pt x="39" y="25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22" y="39"/>
                  </a:lnTo>
                  <a:lnTo>
                    <a:pt x="74" y="4"/>
                  </a:lnTo>
                  <a:lnTo>
                    <a:pt x="78" y="0"/>
                  </a:lnTo>
                  <a:close/>
                  <a:moveTo>
                    <a:pt x="18" y="40"/>
                  </a:moveTo>
                  <a:lnTo>
                    <a:pt x="11" y="42"/>
                  </a:lnTo>
                  <a:lnTo>
                    <a:pt x="1" y="53"/>
                  </a:lnTo>
                  <a:lnTo>
                    <a:pt x="18" y="40"/>
                  </a:lnTo>
                  <a:close/>
                  <a:moveTo>
                    <a:pt x="1" y="53"/>
                  </a:moveTo>
                  <a:lnTo>
                    <a:pt x="1" y="53"/>
                  </a:lnTo>
                  <a:lnTo>
                    <a:pt x="1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3" name="Google Shape;3903;p53"/>
            <p:cNvSpPr/>
            <p:nvPr/>
          </p:nvSpPr>
          <p:spPr>
            <a:xfrm>
              <a:off x="1925087" y="1940173"/>
              <a:ext cx="16741" cy="4195"/>
            </a:xfrm>
            <a:custGeom>
              <a:avLst/>
              <a:gdLst/>
              <a:ahLst/>
              <a:cxnLst/>
              <a:rect l="l" t="t" r="r" b="b"/>
              <a:pathLst>
                <a:path w="1233" h="309" extrusionOk="0">
                  <a:moveTo>
                    <a:pt x="774" y="1"/>
                  </a:moveTo>
                  <a:cubicBezTo>
                    <a:pt x="755" y="1"/>
                    <a:pt x="734" y="6"/>
                    <a:pt x="708" y="18"/>
                  </a:cubicBezTo>
                  <a:cubicBezTo>
                    <a:pt x="680" y="32"/>
                    <a:pt x="655" y="43"/>
                    <a:pt x="631" y="53"/>
                  </a:cubicBezTo>
                  <a:lnTo>
                    <a:pt x="620" y="57"/>
                  </a:lnTo>
                  <a:cubicBezTo>
                    <a:pt x="599" y="67"/>
                    <a:pt x="575" y="78"/>
                    <a:pt x="550" y="85"/>
                  </a:cubicBezTo>
                  <a:lnTo>
                    <a:pt x="540" y="88"/>
                  </a:lnTo>
                  <a:cubicBezTo>
                    <a:pt x="515" y="99"/>
                    <a:pt x="494" y="106"/>
                    <a:pt x="470" y="109"/>
                  </a:cubicBezTo>
                  <a:lnTo>
                    <a:pt x="459" y="113"/>
                  </a:lnTo>
                  <a:cubicBezTo>
                    <a:pt x="438" y="120"/>
                    <a:pt x="414" y="127"/>
                    <a:pt x="393" y="130"/>
                  </a:cubicBezTo>
                  <a:lnTo>
                    <a:pt x="382" y="130"/>
                  </a:lnTo>
                  <a:cubicBezTo>
                    <a:pt x="358" y="134"/>
                    <a:pt x="337" y="137"/>
                    <a:pt x="312" y="141"/>
                  </a:cubicBezTo>
                  <a:lnTo>
                    <a:pt x="302" y="141"/>
                  </a:lnTo>
                  <a:cubicBezTo>
                    <a:pt x="277" y="144"/>
                    <a:pt x="253" y="144"/>
                    <a:pt x="228" y="144"/>
                  </a:cubicBezTo>
                  <a:lnTo>
                    <a:pt x="221" y="144"/>
                  </a:lnTo>
                  <a:cubicBezTo>
                    <a:pt x="205" y="145"/>
                    <a:pt x="188" y="146"/>
                    <a:pt x="171" y="146"/>
                  </a:cubicBezTo>
                  <a:cubicBezTo>
                    <a:pt x="131" y="146"/>
                    <a:pt x="89" y="143"/>
                    <a:pt x="50" y="141"/>
                  </a:cubicBezTo>
                  <a:lnTo>
                    <a:pt x="46" y="141"/>
                  </a:lnTo>
                  <a:cubicBezTo>
                    <a:pt x="39" y="172"/>
                    <a:pt x="29" y="211"/>
                    <a:pt x="18" y="246"/>
                  </a:cubicBezTo>
                  <a:cubicBezTo>
                    <a:pt x="11" y="267"/>
                    <a:pt x="8" y="291"/>
                    <a:pt x="1" y="309"/>
                  </a:cubicBezTo>
                  <a:lnTo>
                    <a:pt x="11" y="309"/>
                  </a:lnTo>
                  <a:lnTo>
                    <a:pt x="29" y="305"/>
                  </a:lnTo>
                  <a:lnTo>
                    <a:pt x="43" y="302"/>
                  </a:lnTo>
                  <a:lnTo>
                    <a:pt x="71" y="302"/>
                  </a:lnTo>
                  <a:cubicBezTo>
                    <a:pt x="99" y="302"/>
                    <a:pt x="130" y="298"/>
                    <a:pt x="165" y="295"/>
                  </a:cubicBezTo>
                  <a:lnTo>
                    <a:pt x="235" y="284"/>
                  </a:lnTo>
                  <a:cubicBezTo>
                    <a:pt x="403" y="256"/>
                    <a:pt x="589" y="204"/>
                    <a:pt x="655" y="144"/>
                  </a:cubicBezTo>
                  <a:cubicBezTo>
                    <a:pt x="691" y="112"/>
                    <a:pt x="729" y="100"/>
                    <a:pt x="769" y="100"/>
                  </a:cubicBezTo>
                  <a:cubicBezTo>
                    <a:pt x="815" y="100"/>
                    <a:pt x="864" y="117"/>
                    <a:pt x="911" y="137"/>
                  </a:cubicBezTo>
                  <a:cubicBezTo>
                    <a:pt x="939" y="151"/>
                    <a:pt x="967" y="165"/>
                    <a:pt x="995" y="183"/>
                  </a:cubicBezTo>
                  <a:cubicBezTo>
                    <a:pt x="1047" y="214"/>
                    <a:pt x="1107" y="239"/>
                    <a:pt x="1170" y="253"/>
                  </a:cubicBezTo>
                  <a:cubicBezTo>
                    <a:pt x="1180" y="255"/>
                    <a:pt x="1191" y="256"/>
                    <a:pt x="1201" y="256"/>
                  </a:cubicBezTo>
                  <a:cubicBezTo>
                    <a:pt x="1212" y="256"/>
                    <a:pt x="1222" y="255"/>
                    <a:pt x="1233" y="253"/>
                  </a:cubicBezTo>
                  <a:lnTo>
                    <a:pt x="1198" y="249"/>
                  </a:lnTo>
                  <a:cubicBezTo>
                    <a:pt x="1051" y="239"/>
                    <a:pt x="967" y="155"/>
                    <a:pt x="900" y="85"/>
                  </a:cubicBezTo>
                  <a:cubicBezTo>
                    <a:pt x="847" y="29"/>
                    <a:pt x="816" y="1"/>
                    <a:pt x="7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4" name="Google Shape;3904;p53"/>
            <p:cNvSpPr/>
            <p:nvPr/>
          </p:nvSpPr>
          <p:spPr>
            <a:xfrm>
              <a:off x="1920484" y="1919467"/>
              <a:ext cx="41887" cy="31391"/>
            </a:xfrm>
            <a:custGeom>
              <a:avLst/>
              <a:gdLst/>
              <a:ahLst/>
              <a:cxnLst/>
              <a:rect l="l" t="t" r="r" b="b"/>
              <a:pathLst>
                <a:path w="3085" h="2312" extrusionOk="0">
                  <a:moveTo>
                    <a:pt x="1346" y="1"/>
                  </a:moveTo>
                  <a:cubicBezTo>
                    <a:pt x="1245" y="1"/>
                    <a:pt x="1124" y="41"/>
                    <a:pt x="1078" y="59"/>
                  </a:cubicBezTo>
                  <a:lnTo>
                    <a:pt x="1071" y="63"/>
                  </a:lnTo>
                  <a:lnTo>
                    <a:pt x="1061" y="63"/>
                  </a:lnTo>
                  <a:cubicBezTo>
                    <a:pt x="1057" y="63"/>
                    <a:pt x="1036" y="66"/>
                    <a:pt x="998" y="70"/>
                  </a:cubicBezTo>
                  <a:cubicBezTo>
                    <a:pt x="933" y="77"/>
                    <a:pt x="867" y="81"/>
                    <a:pt x="801" y="81"/>
                  </a:cubicBezTo>
                  <a:cubicBezTo>
                    <a:pt x="715" y="81"/>
                    <a:pt x="628" y="74"/>
                    <a:pt x="543" y="63"/>
                  </a:cubicBezTo>
                  <a:cubicBezTo>
                    <a:pt x="534" y="61"/>
                    <a:pt x="526" y="60"/>
                    <a:pt x="519" y="60"/>
                  </a:cubicBezTo>
                  <a:cubicBezTo>
                    <a:pt x="486" y="60"/>
                    <a:pt x="469" y="82"/>
                    <a:pt x="434" y="154"/>
                  </a:cubicBezTo>
                  <a:lnTo>
                    <a:pt x="420" y="182"/>
                  </a:lnTo>
                  <a:lnTo>
                    <a:pt x="417" y="189"/>
                  </a:lnTo>
                  <a:lnTo>
                    <a:pt x="410" y="206"/>
                  </a:lnTo>
                  <a:lnTo>
                    <a:pt x="403" y="217"/>
                  </a:lnTo>
                  <a:lnTo>
                    <a:pt x="392" y="231"/>
                  </a:lnTo>
                  <a:lnTo>
                    <a:pt x="385" y="241"/>
                  </a:lnTo>
                  <a:lnTo>
                    <a:pt x="375" y="255"/>
                  </a:lnTo>
                  <a:lnTo>
                    <a:pt x="368" y="266"/>
                  </a:lnTo>
                  <a:lnTo>
                    <a:pt x="354" y="280"/>
                  </a:lnTo>
                  <a:lnTo>
                    <a:pt x="343" y="290"/>
                  </a:lnTo>
                  <a:lnTo>
                    <a:pt x="329" y="301"/>
                  </a:lnTo>
                  <a:lnTo>
                    <a:pt x="319" y="308"/>
                  </a:lnTo>
                  <a:lnTo>
                    <a:pt x="305" y="315"/>
                  </a:lnTo>
                  <a:lnTo>
                    <a:pt x="291" y="322"/>
                  </a:lnTo>
                  <a:lnTo>
                    <a:pt x="280" y="325"/>
                  </a:lnTo>
                  <a:cubicBezTo>
                    <a:pt x="259" y="476"/>
                    <a:pt x="228" y="630"/>
                    <a:pt x="147" y="749"/>
                  </a:cubicBezTo>
                  <a:cubicBezTo>
                    <a:pt x="0" y="973"/>
                    <a:pt x="221" y="1330"/>
                    <a:pt x="340" y="1442"/>
                  </a:cubicBezTo>
                  <a:cubicBezTo>
                    <a:pt x="368" y="1466"/>
                    <a:pt x="382" y="1498"/>
                    <a:pt x="389" y="1533"/>
                  </a:cubicBezTo>
                  <a:lnTo>
                    <a:pt x="392" y="1533"/>
                  </a:lnTo>
                  <a:cubicBezTo>
                    <a:pt x="424" y="1533"/>
                    <a:pt x="448" y="1536"/>
                    <a:pt x="476" y="1536"/>
                  </a:cubicBezTo>
                  <a:lnTo>
                    <a:pt x="557" y="1536"/>
                  </a:lnTo>
                  <a:cubicBezTo>
                    <a:pt x="581" y="1536"/>
                    <a:pt x="602" y="1533"/>
                    <a:pt x="623" y="1533"/>
                  </a:cubicBezTo>
                  <a:lnTo>
                    <a:pt x="630" y="1533"/>
                  </a:lnTo>
                  <a:cubicBezTo>
                    <a:pt x="655" y="1529"/>
                    <a:pt x="676" y="1526"/>
                    <a:pt x="697" y="1522"/>
                  </a:cubicBezTo>
                  <a:lnTo>
                    <a:pt x="704" y="1522"/>
                  </a:lnTo>
                  <a:cubicBezTo>
                    <a:pt x="725" y="1519"/>
                    <a:pt x="749" y="1512"/>
                    <a:pt x="767" y="1508"/>
                  </a:cubicBezTo>
                  <a:lnTo>
                    <a:pt x="774" y="1508"/>
                  </a:lnTo>
                  <a:cubicBezTo>
                    <a:pt x="795" y="1501"/>
                    <a:pt x="819" y="1494"/>
                    <a:pt x="840" y="1487"/>
                  </a:cubicBezTo>
                  <a:lnTo>
                    <a:pt x="847" y="1484"/>
                  </a:lnTo>
                  <a:cubicBezTo>
                    <a:pt x="868" y="1477"/>
                    <a:pt x="889" y="1470"/>
                    <a:pt x="914" y="1459"/>
                  </a:cubicBezTo>
                  <a:lnTo>
                    <a:pt x="917" y="1456"/>
                  </a:lnTo>
                  <a:cubicBezTo>
                    <a:pt x="942" y="1445"/>
                    <a:pt x="966" y="1435"/>
                    <a:pt x="991" y="1424"/>
                  </a:cubicBezTo>
                  <a:cubicBezTo>
                    <a:pt x="1037" y="1401"/>
                    <a:pt x="1078" y="1392"/>
                    <a:pt x="1115" y="1392"/>
                  </a:cubicBezTo>
                  <a:cubicBezTo>
                    <a:pt x="1212" y="1392"/>
                    <a:pt x="1278" y="1459"/>
                    <a:pt x="1334" y="1515"/>
                  </a:cubicBezTo>
                  <a:cubicBezTo>
                    <a:pt x="1393" y="1578"/>
                    <a:pt x="1449" y="1634"/>
                    <a:pt x="1547" y="1641"/>
                  </a:cubicBezTo>
                  <a:cubicBezTo>
                    <a:pt x="1831" y="1662"/>
                    <a:pt x="1862" y="1687"/>
                    <a:pt x="1873" y="1694"/>
                  </a:cubicBezTo>
                  <a:lnTo>
                    <a:pt x="1957" y="1750"/>
                  </a:lnTo>
                  <a:lnTo>
                    <a:pt x="1873" y="1802"/>
                  </a:lnTo>
                  <a:cubicBezTo>
                    <a:pt x="1867" y="1809"/>
                    <a:pt x="1711" y="1907"/>
                    <a:pt x="1543" y="1907"/>
                  </a:cubicBezTo>
                  <a:cubicBezTo>
                    <a:pt x="1526" y="1907"/>
                    <a:pt x="1509" y="1906"/>
                    <a:pt x="1491" y="1904"/>
                  </a:cubicBezTo>
                  <a:cubicBezTo>
                    <a:pt x="1414" y="1890"/>
                    <a:pt x="1341" y="1862"/>
                    <a:pt x="1274" y="1816"/>
                  </a:cubicBezTo>
                  <a:cubicBezTo>
                    <a:pt x="1204" y="1780"/>
                    <a:pt x="1152" y="1753"/>
                    <a:pt x="1116" y="1753"/>
                  </a:cubicBezTo>
                  <a:cubicBezTo>
                    <a:pt x="1104" y="1753"/>
                    <a:pt x="1093" y="1757"/>
                    <a:pt x="1085" y="1764"/>
                  </a:cubicBezTo>
                  <a:cubicBezTo>
                    <a:pt x="987" y="1855"/>
                    <a:pt x="756" y="1911"/>
                    <a:pt x="581" y="1939"/>
                  </a:cubicBezTo>
                  <a:lnTo>
                    <a:pt x="525" y="1946"/>
                  </a:lnTo>
                  <a:cubicBezTo>
                    <a:pt x="501" y="1949"/>
                    <a:pt x="476" y="1953"/>
                    <a:pt x="452" y="1953"/>
                  </a:cubicBezTo>
                  <a:lnTo>
                    <a:pt x="420" y="1956"/>
                  </a:lnTo>
                  <a:lnTo>
                    <a:pt x="371" y="1956"/>
                  </a:lnTo>
                  <a:lnTo>
                    <a:pt x="357" y="1960"/>
                  </a:lnTo>
                  <a:lnTo>
                    <a:pt x="340" y="1963"/>
                  </a:lnTo>
                  <a:lnTo>
                    <a:pt x="329" y="1967"/>
                  </a:lnTo>
                  <a:lnTo>
                    <a:pt x="319" y="1967"/>
                  </a:lnTo>
                  <a:cubicBezTo>
                    <a:pt x="312" y="2026"/>
                    <a:pt x="333" y="2083"/>
                    <a:pt x="368" y="2128"/>
                  </a:cubicBezTo>
                  <a:lnTo>
                    <a:pt x="399" y="2163"/>
                  </a:lnTo>
                  <a:lnTo>
                    <a:pt x="403" y="2163"/>
                  </a:lnTo>
                  <a:cubicBezTo>
                    <a:pt x="424" y="2160"/>
                    <a:pt x="441" y="2156"/>
                    <a:pt x="455" y="2156"/>
                  </a:cubicBezTo>
                  <a:cubicBezTo>
                    <a:pt x="469" y="2153"/>
                    <a:pt x="487" y="2153"/>
                    <a:pt x="501" y="2153"/>
                  </a:cubicBezTo>
                  <a:cubicBezTo>
                    <a:pt x="515" y="2153"/>
                    <a:pt x="525" y="2153"/>
                    <a:pt x="539" y="2156"/>
                  </a:cubicBezTo>
                  <a:lnTo>
                    <a:pt x="543" y="2156"/>
                  </a:lnTo>
                  <a:cubicBezTo>
                    <a:pt x="553" y="2156"/>
                    <a:pt x="564" y="2160"/>
                    <a:pt x="571" y="2163"/>
                  </a:cubicBezTo>
                  <a:lnTo>
                    <a:pt x="578" y="2163"/>
                  </a:lnTo>
                  <a:cubicBezTo>
                    <a:pt x="585" y="2167"/>
                    <a:pt x="592" y="2170"/>
                    <a:pt x="599" y="2174"/>
                  </a:cubicBezTo>
                  <a:lnTo>
                    <a:pt x="602" y="2177"/>
                  </a:lnTo>
                  <a:cubicBezTo>
                    <a:pt x="613" y="2181"/>
                    <a:pt x="616" y="2188"/>
                    <a:pt x="623" y="2191"/>
                  </a:cubicBezTo>
                  <a:lnTo>
                    <a:pt x="627" y="2195"/>
                  </a:lnTo>
                  <a:cubicBezTo>
                    <a:pt x="634" y="2202"/>
                    <a:pt x="637" y="2209"/>
                    <a:pt x="644" y="2216"/>
                  </a:cubicBezTo>
                  <a:cubicBezTo>
                    <a:pt x="648" y="2223"/>
                    <a:pt x="655" y="2230"/>
                    <a:pt x="658" y="2240"/>
                  </a:cubicBezTo>
                  <a:lnTo>
                    <a:pt x="662" y="2244"/>
                  </a:lnTo>
                  <a:cubicBezTo>
                    <a:pt x="704" y="2240"/>
                    <a:pt x="746" y="2226"/>
                    <a:pt x="784" y="2205"/>
                  </a:cubicBezTo>
                  <a:cubicBezTo>
                    <a:pt x="830" y="2184"/>
                    <a:pt x="875" y="2160"/>
                    <a:pt x="921" y="2132"/>
                  </a:cubicBezTo>
                  <a:lnTo>
                    <a:pt x="935" y="2121"/>
                  </a:lnTo>
                  <a:lnTo>
                    <a:pt x="949" y="2121"/>
                  </a:lnTo>
                  <a:cubicBezTo>
                    <a:pt x="956" y="2121"/>
                    <a:pt x="1635" y="2072"/>
                    <a:pt x="1747" y="2062"/>
                  </a:cubicBezTo>
                  <a:lnTo>
                    <a:pt x="1785" y="2062"/>
                  </a:lnTo>
                  <a:lnTo>
                    <a:pt x="1799" y="2065"/>
                  </a:lnTo>
                  <a:cubicBezTo>
                    <a:pt x="1810" y="2065"/>
                    <a:pt x="1817" y="2065"/>
                    <a:pt x="1824" y="2069"/>
                  </a:cubicBezTo>
                  <a:lnTo>
                    <a:pt x="1824" y="2040"/>
                  </a:lnTo>
                  <a:lnTo>
                    <a:pt x="1908" y="2054"/>
                  </a:lnTo>
                  <a:cubicBezTo>
                    <a:pt x="2087" y="2090"/>
                    <a:pt x="2300" y="2153"/>
                    <a:pt x="2342" y="2251"/>
                  </a:cubicBezTo>
                  <a:cubicBezTo>
                    <a:pt x="2383" y="2280"/>
                    <a:pt x="2549" y="2312"/>
                    <a:pt x="2729" y="2312"/>
                  </a:cubicBezTo>
                  <a:cubicBezTo>
                    <a:pt x="2845" y="2312"/>
                    <a:pt x="2966" y="2299"/>
                    <a:pt x="3063" y="2265"/>
                  </a:cubicBezTo>
                  <a:lnTo>
                    <a:pt x="3081" y="2258"/>
                  </a:lnTo>
                  <a:cubicBezTo>
                    <a:pt x="3081" y="2209"/>
                    <a:pt x="3081" y="2170"/>
                    <a:pt x="3081" y="2135"/>
                  </a:cubicBezTo>
                  <a:lnTo>
                    <a:pt x="3081" y="2132"/>
                  </a:lnTo>
                  <a:lnTo>
                    <a:pt x="3081" y="2114"/>
                  </a:lnTo>
                  <a:cubicBezTo>
                    <a:pt x="3084" y="2069"/>
                    <a:pt x="3081" y="2019"/>
                    <a:pt x="3077" y="1970"/>
                  </a:cubicBezTo>
                  <a:cubicBezTo>
                    <a:pt x="3067" y="1921"/>
                    <a:pt x="2937" y="1785"/>
                    <a:pt x="2853" y="1701"/>
                  </a:cubicBezTo>
                  <a:lnTo>
                    <a:pt x="2804" y="1652"/>
                  </a:lnTo>
                  <a:cubicBezTo>
                    <a:pt x="2703" y="1550"/>
                    <a:pt x="2699" y="1351"/>
                    <a:pt x="2703" y="1281"/>
                  </a:cubicBezTo>
                  <a:lnTo>
                    <a:pt x="2608" y="1141"/>
                  </a:lnTo>
                  <a:lnTo>
                    <a:pt x="2605" y="1130"/>
                  </a:lnTo>
                  <a:cubicBezTo>
                    <a:pt x="2591" y="1092"/>
                    <a:pt x="2577" y="1053"/>
                    <a:pt x="2559" y="1015"/>
                  </a:cubicBezTo>
                  <a:cubicBezTo>
                    <a:pt x="2531" y="955"/>
                    <a:pt x="2493" y="903"/>
                    <a:pt x="2447" y="857"/>
                  </a:cubicBezTo>
                  <a:cubicBezTo>
                    <a:pt x="2437" y="850"/>
                    <a:pt x="2430" y="840"/>
                    <a:pt x="2419" y="833"/>
                  </a:cubicBezTo>
                  <a:lnTo>
                    <a:pt x="2416" y="829"/>
                  </a:lnTo>
                  <a:cubicBezTo>
                    <a:pt x="2405" y="822"/>
                    <a:pt x="2395" y="819"/>
                    <a:pt x="2384" y="812"/>
                  </a:cubicBezTo>
                  <a:lnTo>
                    <a:pt x="2377" y="808"/>
                  </a:lnTo>
                  <a:cubicBezTo>
                    <a:pt x="2367" y="801"/>
                    <a:pt x="2353" y="798"/>
                    <a:pt x="2342" y="794"/>
                  </a:cubicBezTo>
                  <a:cubicBezTo>
                    <a:pt x="2328" y="787"/>
                    <a:pt x="2314" y="784"/>
                    <a:pt x="2300" y="777"/>
                  </a:cubicBezTo>
                  <a:cubicBezTo>
                    <a:pt x="2164" y="710"/>
                    <a:pt x="2059" y="553"/>
                    <a:pt x="1996" y="427"/>
                  </a:cubicBezTo>
                  <a:cubicBezTo>
                    <a:pt x="1989" y="409"/>
                    <a:pt x="1978" y="395"/>
                    <a:pt x="1971" y="381"/>
                  </a:cubicBezTo>
                  <a:cubicBezTo>
                    <a:pt x="1957" y="346"/>
                    <a:pt x="1943" y="318"/>
                    <a:pt x="1936" y="297"/>
                  </a:cubicBezTo>
                  <a:lnTo>
                    <a:pt x="1754" y="297"/>
                  </a:lnTo>
                  <a:lnTo>
                    <a:pt x="1733" y="273"/>
                  </a:lnTo>
                  <a:cubicBezTo>
                    <a:pt x="1659" y="182"/>
                    <a:pt x="1572" y="101"/>
                    <a:pt x="1474" y="35"/>
                  </a:cubicBezTo>
                  <a:lnTo>
                    <a:pt x="1446" y="21"/>
                  </a:lnTo>
                  <a:cubicBezTo>
                    <a:pt x="1418" y="6"/>
                    <a:pt x="1384" y="1"/>
                    <a:pt x="13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5" name="Google Shape;3905;p53"/>
            <p:cNvSpPr/>
            <p:nvPr/>
          </p:nvSpPr>
          <p:spPr>
            <a:xfrm>
              <a:off x="1924802" y="1946215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" y="4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6" name="Google Shape;3906;p53"/>
            <p:cNvSpPr/>
            <p:nvPr/>
          </p:nvSpPr>
          <p:spPr>
            <a:xfrm>
              <a:off x="1925752" y="194606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7" name="Google Shape;3907;p53"/>
            <p:cNvSpPr/>
            <p:nvPr/>
          </p:nvSpPr>
          <p:spPr>
            <a:xfrm>
              <a:off x="1928943" y="194026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8" name="Google Shape;3908;p53"/>
            <p:cNvSpPr/>
            <p:nvPr/>
          </p:nvSpPr>
          <p:spPr>
            <a:xfrm>
              <a:off x="1925752" y="1940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9" name="Google Shape;3909;p53"/>
            <p:cNvSpPr/>
            <p:nvPr/>
          </p:nvSpPr>
          <p:spPr>
            <a:xfrm>
              <a:off x="1932880" y="1939181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0" name="Google Shape;3910;p53"/>
            <p:cNvSpPr/>
            <p:nvPr/>
          </p:nvSpPr>
          <p:spPr>
            <a:xfrm>
              <a:off x="1931835" y="193956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1" name="Google Shape;3911;p53"/>
            <p:cNvSpPr/>
            <p:nvPr/>
          </p:nvSpPr>
          <p:spPr>
            <a:xfrm>
              <a:off x="1925901" y="194602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2" name="Google Shape;3912;p53"/>
            <p:cNvSpPr/>
            <p:nvPr/>
          </p:nvSpPr>
          <p:spPr>
            <a:xfrm>
              <a:off x="1925521" y="194612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3" name="Google Shape;3913;p53"/>
            <p:cNvSpPr/>
            <p:nvPr/>
          </p:nvSpPr>
          <p:spPr>
            <a:xfrm>
              <a:off x="1926947" y="19403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4" name="Google Shape;3914;p53"/>
            <p:cNvSpPr/>
            <p:nvPr/>
          </p:nvSpPr>
          <p:spPr>
            <a:xfrm>
              <a:off x="1925087" y="1946160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5" name="Google Shape;3915;p53"/>
            <p:cNvSpPr/>
            <p:nvPr/>
          </p:nvSpPr>
          <p:spPr>
            <a:xfrm>
              <a:off x="1928033" y="19403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6" name="Google Shape;3916;p53"/>
            <p:cNvSpPr/>
            <p:nvPr/>
          </p:nvSpPr>
          <p:spPr>
            <a:xfrm>
              <a:off x="1926037" y="19460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7" name="Google Shape;3917;p53"/>
            <p:cNvSpPr/>
            <p:nvPr/>
          </p:nvSpPr>
          <p:spPr>
            <a:xfrm>
              <a:off x="1929893" y="194013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8" name="Google Shape;3918;p53"/>
            <p:cNvSpPr/>
            <p:nvPr/>
          </p:nvSpPr>
          <p:spPr>
            <a:xfrm>
              <a:off x="1930884" y="193988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9" name="Google Shape;3919;p53"/>
            <p:cNvSpPr/>
            <p:nvPr/>
          </p:nvSpPr>
          <p:spPr>
            <a:xfrm>
              <a:off x="1926132" y="19459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0" name="Google Shape;3920;p53"/>
            <p:cNvSpPr/>
            <p:nvPr/>
          </p:nvSpPr>
          <p:spPr>
            <a:xfrm>
              <a:off x="1928318" y="1943404"/>
              <a:ext cx="6911" cy="2349"/>
            </a:xfrm>
            <a:custGeom>
              <a:avLst/>
              <a:gdLst/>
              <a:ahLst/>
              <a:cxnLst/>
              <a:rect l="l" t="t" r="r" b="b"/>
              <a:pathLst>
                <a:path w="509" h="173" extrusionOk="0">
                  <a:moveTo>
                    <a:pt x="508" y="1"/>
                  </a:moveTo>
                  <a:cubicBezTo>
                    <a:pt x="423" y="74"/>
                    <a:pt x="250" y="126"/>
                    <a:pt x="90" y="157"/>
                  </a:cubicBezTo>
                  <a:lnTo>
                    <a:pt x="90" y="157"/>
                  </a:lnTo>
                  <a:cubicBezTo>
                    <a:pt x="248" y="126"/>
                    <a:pt x="423" y="77"/>
                    <a:pt x="508" y="1"/>
                  </a:cubicBezTo>
                  <a:close/>
                  <a:moveTo>
                    <a:pt x="90" y="157"/>
                  </a:moveTo>
                  <a:cubicBezTo>
                    <a:pt x="60" y="163"/>
                    <a:pt x="29" y="168"/>
                    <a:pt x="1" y="172"/>
                  </a:cubicBezTo>
                  <a:cubicBezTo>
                    <a:pt x="30" y="168"/>
                    <a:pt x="60" y="163"/>
                    <a:pt x="90" y="1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1" name="Google Shape;3921;p53"/>
            <p:cNvSpPr/>
            <p:nvPr/>
          </p:nvSpPr>
          <p:spPr>
            <a:xfrm>
              <a:off x="1926607" y="1945834"/>
              <a:ext cx="1018" cy="149"/>
            </a:xfrm>
            <a:custGeom>
              <a:avLst/>
              <a:gdLst/>
              <a:ahLst/>
              <a:cxnLst/>
              <a:rect l="l" t="t" r="r" b="b"/>
              <a:pathLst>
                <a:path w="75" h="11" extrusionOk="0">
                  <a:moveTo>
                    <a:pt x="74" y="0"/>
                  </a:moveTo>
                  <a:lnTo>
                    <a:pt x="74" y="0"/>
                  </a:lnTo>
                  <a:cubicBezTo>
                    <a:pt x="46" y="4"/>
                    <a:pt x="22" y="7"/>
                    <a:pt x="1" y="11"/>
                  </a:cubicBezTo>
                  <a:cubicBezTo>
                    <a:pt x="22" y="11"/>
                    <a:pt x="46" y="4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2" name="Google Shape;3922;p53"/>
            <p:cNvSpPr/>
            <p:nvPr/>
          </p:nvSpPr>
          <p:spPr>
            <a:xfrm>
              <a:off x="1927273" y="1949405"/>
              <a:ext cx="17936" cy="10224"/>
            </a:xfrm>
            <a:custGeom>
              <a:avLst/>
              <a:gdLst/>
              <a:ahLst/>
              <a:cxnLst/>
              <a:rect l="l" t="t" r="r" b="b"/>
              <a:pathLst>
                <a:path w="1321" h="753" extrusionOk="0">
                  <a:moveTo>
                    <a:pt x="1264" y="0"/>
                  </a:moveTo>
                  <a:cubicBezTo>
                    <a:pt x="1159" y="7"/>
                    <a:pt x="589" y="53"/>
                    <a:pt x="480" y="60"/>
                  </a:cubicBezTo>
                  <a:cubicBezTo>
                    <a:pt x="424" y="93"/>
                    <a:pt x="269" y="183"/>
                    <a:pt x="161" y="183"/>
                  </a:cubicBezTo>
                  <a:cubicBezTo>
                    <a:pt x="155" y="183"/>
                    <a:pt x="150" y="183"/>
                    <a:pt x="144" y="182"/>
                  </a:cubicBezTo>
                  <a:cubicBezTo>
                    <a:pt x="137" y="182"/>
                    <a:pt x="130" y="182"/>
                    <a:pt x="123" y="179"/>
                  </a:cubicBezTo>
                  <a:cubicBezTo>
                    <a:pt x="92" y="168"/>
                    <a:pt x="67" y="147"/>
                    <a:pt x="50" y="119"/>
                  </a:cubicBezTo>
                  <a:lnTo>
                    <a:pt x="46" y="109"/>
                  </a:lnTo>
                  <a:lnTo>
                    <a:pt x="46" y="105"/>
                  </a:lnTo>
                  <a:lnTo>
                    <a:pt x="46" y="102"/>
                  </a:lnTo>
                  <a:lnTo>
                    <a:pt x="43" y="98"/>
                  </a:lnTo>
                  <a:cubicBezTo>
                    <a:pt x="39" y="98"/>
                    <a:pt x="36" y="95"/>
                    <a:pt x="32" y="95"/>
                  </a:cubicBezTo>
                  <a:cubicBezTo>
                    <a:pt x="25" y="92"/>
                    <a:pt x="17" y="90"/>
                    <a:pt x="10" y="90"/>
                  </a:cubicBezTo>
                  <a:cubicBezTo>
                    <a:pt x="7" y="90"/>
                    <a:pt x="4" y="90"/>
                    <a:pt x="1" y="91"/>
                  </a:cubicBezTo>
                  <a:cubicBezTo>
                    <a:pt x="85" y="203"/>
                    <a:pt x="130" y="259"/>
                    <a:pt x="340" y="319"/>
                  </a:cubicBezTo>
                  <a:cubicBezTo>
                    <a:pt x="550" y="378"/>
                    <a:pt x="543" y="480"/>
                    <a:pt x="522" y="581"/>
                  </a:cubicBezTo>
                  <a:cubicBezTo>
                    <a:pt x="512" y="648"/>
                    <a:pt x="505" y="686"/>
                    <a:pt x="589" y="742"/>
                  </a:cubicBezTo>
                  <a:lnTo>
                    <a:pt x="610" y="753"/>
                  </a:lnTo>
                  <a:lnTo>
                    <a:pt x="624" y="742"/>
                  </a:lnTo>
                  <a:lnTo>
                    <a:pt x="634" y="735"/>
                  </a:lnTo>
                  <a:cubicBezTo>
                    <a:pt x="648" y="725"/>
                    <a:pt x="662" y="714"/>
                    <a:pt x="680" y="700"/>
                  </a:cubicBezTo>
                  <a:lnTo>
                    <a:pt x="732" y="662"/>
                  </a:lnTo>
                  <a:cubicBezTo>
                    <a:pt x="893" y="537"/>
                    <a:pt x="1010" y="450"/>
                    <a:pt x="1100" y="450"/>
                  </a:cubicBezTo>
                  <a:cubicBezTo>
                    <a:pt x="1116" y="450"/>
                    <a:pt x="1131" y="453"/>
                    <a:pt x="1145" y="459"/>
                  </a:cubicBezTo>
                  <a:cubicBezTo>
                    <a:pt x="1155" y="461"/>
                    <a:pt x="1164" y="463"/>
                    <a:pt x="1173" y="463"/>
                  </a:cubicBezTo>
                  <a:cubicBezTo>
                    <a:pt x="1200" y="463"/>
                    <a:pt x="1225" y="452"/>
                    <a:pt x="1243" y="434"/>
                  </a:cubicBezTo>
                  <a:cubicBezTo>
                    <a:pt x="1240" y="424"/>
                    <a:pt x="1233" y="413"/>
                    <a:pt x="1226" y="403"/>
                  </a:cubicBezTo>
                  <a:cubicBezTo>
                    <a:pt x="1191" y="347"/>
                    <a:pt x="1145" y="273"/>
                    <a:pt x="1166" y="203"/>
                  </a:cubicBezTo>
                  <a:cubicBezTo>
                    <a:pt x="1184" y="161"/>
                    <a:pt x="1215" y="130"/>
                    <a:pt x="1254" y="119"/>
                  </a:cubicBezTo>
                  <a:cubicBezTo>
                    <a:pt x="1296" y="95"/>
                    <a:pt x="1320" y="53"/>
                    <a:pt x="1320" y="7"/>
                  </a:cubicBezTo>
                  <a:lnTo>
                    <a:pt x="1317" y="7"/>
                  </a:lnTo>
                  <a:lnTo>
                    <a:pt x="1303" y="4"/>
                  </a:lnTo>
                  <a:lnTo>
                    <a:pt x="1299" y="4"/>
                  </a:lnTo>
                  <a:lnTo>
                    <a:pt x="128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3" name="Google Shape;3923;p53"/>
            <p:cNvSpPr/>
            <p:nvPr/>
          </p:nvSpPr>
          <p:spPr>
            <a:xfrm>
              <a:off x="1944856" y="194940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4" name="Google Shape;3924;p53"/>
            <p:cNvSpPr/>
            <p:nvPr/>
          </p:nvSpPr>
          <p:spPr>
            <a:xfrm>
              <a:off x="1945141" y="194950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5" name="Google Shape;3925;p53"/>
            <p:cNvSpPr/>
            <p:nvPr/>
          </p:nvSpPr>
          <p:spPr>
            <a:xfrm>
              <a:off x="1927938" y="1950967"/>
              <a:ext cx="1018" cy="828"/>
            </a:xfrm>
            <a:custGeom>
              <a:avLst/>
              <a:gdLst/>
              <a:ahLst/>
              <a:cxnLst/>
              <a:rect l="l" t="t" r="r" b="b"/>
              <a:pathLst>
                <a:path w="75" h="61" extrusionOk="0">
                  <a:moveTo>
                    <a:pt x="74" y="60"/>
                  </a:moveTo>
                  <a:cubicBezTo>
                    <a:pt x="43" y="50"/>
                    <a:pt x="15" y="29"/>
                    <a:pt x="1" y="1"/>
                  </a:cubicBezTo>
                  <a:cubicBezTo>
                    <a:pt x="15" y="29"/>
                    <a:pt x="43" y="50"/>
                    <a:pt x="74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6" name="Google Shape;3926;p53"/>
            <p:cNvSpPr/>
            <p:nvPr/>
          </p:nvSpPr>
          <p:spPr>
            <a:xfrm>
              <a:off x="1927612" y="1950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7" name="Google Shape;3927;p53"/>
            <p:cNvSpPr/>
            <p:nvPr/>
          </p:nvSpPr>
          <p:spPr>
            <a:xfrm>
              <a:off x="1927843" y="19507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8" name="Google Shape;3928;p53"/>
            <p:cNvSpPr/>
            <p:nvPr/>
          </p:nvSpPr>
          <p:spPr>
            <a:xfrm>
              <a:off x="1944666" y="19493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9" name="Google Shape;3929;p53"/>
            <p:cNvSpPr/>
            <p:nvPr/>
          </p:nvSpPr>
          <p:spPr>
            <a:xfrm>
              <a:off x="1927802" y="19507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0" name="Google Shape;3930;p53"/>
            <p:cNvSpPr/>
            <p:nvPr/>
          </p:nvSpPr>
          <p:spPr>
            <a:xfrm>
              <a:off x="1927748" y="19506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1" name="Google Shape;3931;p53"/>
            <p:cNvSpPr/>
            <p:nvPr/>
          </p:nvSpPr>
          <p:spPr>
            <a:xfrm>
              <a:off x="1927137" y="195054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2" name="Google Shape;3932;p53"/>
            <p:cNvSpPr/>
            <p:nvPr/>
          </p:nvSpPr>
          <p:spPr>
            <a:xfrm>
              <a:off x="1944475" y="19493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3" name="Google Shape;3933;p53"/>
            <p:cNvSpPr/>
            <p:nvPr/>
          </p:nvSpPr>
          <p:spPr>
            <a:xfrm>
              <a:off x="2156244" y="1961014"/>
              <a:ext cx="88987" cy="61547"/>
            </a:xfrm>
            <a:custGeom>
              <a:avLst/>
              <a:gdLst/>
              <a:ahLst/>
              <a:cxnLst/>
              <a:rect l="l" t="t" r="r" b="b"/>
              <a:pathLst>
                <a:path w="6554" h="4533" extrusionOk="0">
                  <a:moveTo>
                    <a:pt x="4106" y="0"/>
                  </a:moveTo>
                  <a:cubicBezTo>
                    <a:pt x="4103" y="0"/>
                    <a:pt x="4100" y="1"/>
                    <a:pt x="4096" y="3"/>
                  </a:cubicBezTo>
                  <a:cubicBezTo>
                    <a:pt x="4009" y="6"/>
                    <a:pt x="3862" y="90"/>
                    <a:pt x="3774" y="178"/>
                  </a:cubicBezTo>
                  <a:cubicBezTo>
                    <a:pt x="3743" y="206"/>
                    <a:pt x="3722" y="244"/>
                    <a:pt x="3722" y="286"/>
                  </a:cubicBezTo>
                  <a:cubicBezTo>
                    <a:pt x="3722" y="342"/>
                    <a:pt x="3701" y="395"/>
                    <a:pt x="3662" y="437"/>
                  </a:cubicBezTo>
                  <a:cubicBezTo>
                    <a:pt x="3645" y="454"/>
                    <a:pt x="3617" y="479"/>
                    <a:pt x="3582" y="510"/>
                  </a:cubicBezTo>
                  <a:cubicBezTo>
                    <a:pt x="3421" y="657"/>
                    <a:pt x="3270" y="811"/>
                    <a:pt x="3133" y="979"/>
                  </a:cubicBezTo>
                  <a:cubicBezTo>
                    <a:pt x="3011" y="1135"/>
                    <a:pt x="2798" y="1141"/>
                    <a:pt x="2612" y="1141"/>
                  </a:cubicBezTo>
                  <a:cubicBezTo>
                    <a:pt x="2597" y="1141"/>
                    <a:pt x="2581" y="1141"/>
                    <a:pt x="2566" y="1141"/>
                  </a:cubicBezTo>
                  <a:cubicBezTo>
                    <a:pt x="2540" y="1139"/>
                    <a:pt x="2513" y="1138"/>
                    <a:pt x="2486" y="1138"/>
                  </a:cubicBezTo>
                  <a:cubicBezTo>
                    <a:pt x="2459" y="1138"/>
                    <a:pt x="2432" y="1139"/>
                    <a:pt x="2405" y="1141"/>
                  </a:cubicBezTo>
                  <a:cubicBezTo>
                    <a:pt x="2381" y="1144"/>
                    <a:pt x="2356" y="1148"/>
                    <a:pt x="2335" y="1158"/>
                  </a:cubicBezTo>
                  <a:cubicBezTo>
                    <a:pt x="2311" y="1172"/>
                    <a:pt x="2311" y="1172"/>
                    <a:pt x="2335" y="1232"/>
                  </a:cubicBezTo>
                  <a:cubicBezTo>
                    <a:pt x="2360" y="1281"/>
                    <a:pt x="2398" y="1375"/>
                    <a:pt x="2314" y="1442"/>
                  </a:cubicBezTo>
                  <a:cubicBezTo>
                    <a:pt x="2234" y="1512"/>
                    <a:pt x="2031" y="1606"/>
                    <a:pt x="1898" y="1669"/>
                  </a:cubicBezTo>
                  <a:lnTo>
                    <a:pt x="1817" y="1708"/>
                  </a:lnTo>
                  <a:cubicBezTo>
                    <a:pt x="1754" y="1732"/>
                    <a:pt x="1684" y="1750"/>
                    <a:pt x="1618" y="1753"/>
                  </a:cubicBezTo>
                  <a:cubicBezTo>
                    <a:pt x="1485" y="1771"/>
                    <a:pt x="1299" y="1795"/>
                    <a:pt x="1243" y="1869"/>
                  </a:cubicBezTo>
                  <a:cubicBezTo>
                    <a:pt x="1204" y="1918"/>
                    <a:pt x="1162" y="1934"/>
                    <a:pt x="1122" y="1934"/>
                  </a:cubicBezTo>
                  <a:cubicBezTo>
                    <a:pt x="1066" y="1934"/>
                    <a:pt x="1013" y="1901"/>
                    <a:pt x="980" y="1883"/>
                  </a:cubicBezTo>
                  <a:cubicBezTo>
                    <a:pt x="941" y="1858"/>
                    <a:pt x="922" y="1848"/>
                    <a:pt x="910" y="1848"/>
                  </a:cubicBezTo>
                  <a:cubicBezTo>
                    <a:pt x="899" y="1848"/>
                    <a:pt x="894" y="1856"/>
                    <a:pt x="886" y="1869"/>
                  </a:cubicBezTo>
                  <a:cubicBezTo>
                    <a:pt x="830" y="1960"/>
                    <a:pt x="742" y="2023"/>
                    <a:pt x="641" y="2047"/>
                  </a:cubicBezTo>
                  <a:cubicBezTo>
                    <a:pt x="627" y="2047"/>
                    <a:pt x="616" y="2051"/>
                    <a:pt x="602" y="2051"/>
                  </a:cubicBezTo>
                  <a:lnTo>
                    <a:pt x="592" y="2051"/>
                  </a:lnTo>
                  <a:cubicBezTo>
                    <a:pt x="581" y="2047"/>
                    <a:pt x="571" y="2047"/>
                    <a:pt x="560" y="2047"/>
                  </a:cubicBezTo>
                  <a:lnTo>
                    <a:pt x="550" y="2044"/>
                  </a:lnTo>
                  <a:cubicBezTo>
                    <a:pt x="543" y="2040"/>
                    <a:pt x="532" y="2037"/>
                    <a:pt x="525" y="2033"/>
                  </a:cubicBezTo>
                  <a:lnTo>
                    <a:pt x="515" y="2030"/>
                  </a:lnTo>
                  <a:cubicBezTo>
                    <a:pt x="504" y="2026"/>
                    <a:pt x="494" y="2019"/>
                    <a:pt x="487" y="2012"/>
                  </a:cubicBezTo>
                  <a:cubicBezTo>
                    <a:pt x="480" y="2009"/>
                    <a:pt x="473" y="2005"/>
                    <a:pt x="469" y="1998"/>
                  </a:cubicBezTo>
                  <a:lnTo>
                    <a:pt x="466" y="2005"/>
                  </a:lnTo>
                  <a:lnTo>
                    <a:pt x="452" y="2016"/>
                  </a:lnTo>
                  <a:lnTo>
                    <a:pt x="431" y="2037"/>
                  </a:lnTo>
                  <a:lnTo>
                    <a:pt x="417" y="2047"/>
                  </a:lnTo>
                  <a:lnTo>
                    <a:pt x="396" y="2068"/>
                  </a:lnTo>
                  <a:lnTo>
                    <a:pt x="385" y="2082"/>
                  </a:lnTo>
                  <a:lnTo>
                    <a:pt x="364" y="2103"/>
                  </a:lnTo>
                  <a:lnTo>
                    <a:pt x="354" y="2117"/>
                  </a:lnTo>
                  <a:lnTo>
                    <a:pt x="336" y="2138"/>
                  </a:lnTo>
                  <a:lnTo>
                    <a:pt x="326" y="2152"/>
                  </a:lnTo>
                  <a:cubicBezTo>
                    <a:pt x="319" y="2159"/>
                    <a:pt x="312" y="2166"/>
                    <a:pt x="308" y="2173"/>
                  </a:cubicBezTo>
                  <a:lnTo>
                    <a:pt x="298" y="2187"/>
                  </a:lnTo>
                  <a:cubicBezTo>
                    <a:pt x="294" y="2198"/>
                    <a:pt x="291" y="2205"/>
                    <a:pt x="284" y="2215"/>
                  </a:cubicBezTo>
                  <a:lnTo>
                    <a:pt x="280" y="2226"/>
                  </a:lnTo>
                  <a:cubicBezTo>
                    <a:pt x="273" y="2236"/>
                    <a:pt x="266" y="2250"/>
                    <a:pt x="263" y="2264"/>
                  </a:cubicBezTo>
                  <a:cubicBezTo>
                    <a:pt x="228" y="2369"/>
                    <a:pt x="179" y="2467"/>
                    <a:pt x="119" y="2562"/>
                  </a:cubicBezTo>
                  <a:lnTo>
                    <a:pt x="95" y="2597"/>
                  </a:lnTo>
                  <a:cubicBezTo>
                    <a:pt x="53" y="2670"/>
                    <a:pt x="0" y="2754"/>
                    <a:pt x="0" y="2789"/>
                  </a:cubicBezTo>
                  <a:cubicBezTo>
                    <a:pt x="4" y="2838"/>
                    <a:pt x="11" y="2887"/>
                    <a:pt x="28" y="2936"/>
                  </a:cubicBezTo>
                  <a:cubicBezTo>
                    <a:pt x="56" y="3034"/>
                    <a:pt x="70" y="3136"/>
                    <a:pt x="74" y="3238"/>
                  </a:cubicBezTo>
                  <a:cubicBezTo>
                    <a:pt x="74" y="3413"/>
                    <a:pt x="116" y="3500"/>
                    <a:pt x="217" y="3637"/>
                  </a:cubicBezTo>
                  <a:cubicBezTo>
                    <a:pt x="291" y="3738"/>
                    <a:pt x="326" y="3864"/>
                    <a:pt x="315" y="3990"/>
                  </a:cubicBezTo>
                  <a:cubicBezTo>
                    <a:pt x="347" y="4043"/>
                    <a:pt x="382" y="4095"/>
                    <a:pt x="424" y="4144"/>
                  </a:cubicBezTo>
                  <a:cubicBezTo>
                    <a:pt x="469" y="4197"/>
                    <a:pt x="522" y="4249"/>
                    <a:pt x="581" y="4295"/>
                  </a:cubicBezTo>
                  <a:cubicBezTo>
                    <a:pt x="697" y="4393"/>
                    <a:pt x="767" y="4456"/>
                    <a:pt x="784" y="4519"/>
                  </a:cubicBezTo>
                  <a:lnTo>
                    <a:pt x="784" y="4522"/>
                  </a:lnTo>
                  <a:lnTo>
                    <a:pt x="788" y="4526"/>
                  </a:lnTo>
                  <a:lnTo>
                    <a:pt x="788" y="4529"/>
                  </a:lnTo>
                  <a:lnTo>
                    <a:pt x="791" y="4533"/>
                  </a:lnTo>
                  <a:cubicBezTo>
                    <a:pt x="900" y="4396"/>
                    <a:pt x="882" y="4204"/>
                    <a:pt x="879" y="4183"/>
                  </a:cubicBezTo>
                  <a:lnTo>
                    <a:pt x="879" y="4179"/>
                  </a:lnTo>
                  <a:lnTo>
                    <a:pt x="872" y="4120"/>
                  </a:lnTo>
                  <a:lnTo>
                    <a:pt x="1233" y="4039"/>
                  </a:lnTo>
                  <a:lnTo>
                    <a:pt x="1478" y="3969"/>
                  </a:lnTo>
                  <a:lnTo>
                    <a:pt x="1891" y="4025"/>
                  </a:lnTo>
                  <a:lnTo>
                    <a:pt x="1891" y="3710"/>
                  </a:lnTo>
                  <a:lnTo>
                    <a:pt x="1905" y="3693"/>
                  </a:lnTo>
                  <a:cubicBezTo>
                    <a:pt x="1940" y="3644"/>
                    <a:pt x="2269" y="3227"/>
                    <a:pt x="2528" y="3227"/>
                  </a:cubicBezTo>
                  <a:cubicBezTo>
                    <a:pt x="2759" y="3227"/>
                    <a:pt x="2951" y="3462"/>
                    <a:pt x="3007" y="3539"/>
                  </a:cubicBezTo>
                  <a:lnTo>
                    <a:pt x="3963" y="3724"/>
                  </a:lnTo>
                  <a:cubicBezTo>
                    <a:pt x="3991" y="3619"/>
                    <a:pt x="4051" y="3434"/>
                    <a:pt x="4145" y="3374"/>
                  </a:cubicBezTo>
                  <a:cubicBezTo>
                    <a:pt x="4180" y="3351"/>
                    <a:pt x="4219" y="3342"/>
                    <a:pt x="4260" y="3342"/>
                  </a:cubicBezTo>
                  <a:cubicBezTo>
                    <a:pt x="4305" y="3342"/>
                    <a:pt x="4351" y="3353"/>
                    <a:pt x="4397" y="3364"/>
                  </a:cubicBezTo>
                  <a:cubicBezTo>
                    <a:pt x="4442" y="3372"/>
                    <a:pt x="4489" y="3381"/>
                    <a:pt x="4529" y="3381"/>
                  </a:cubicBezTo>
                  <a:cubicBezTo>
                    <a:pt x="4552" y="3381"/>
                    <a:pt x="4573" y="3378"/>
                    <a:pt x="4590" y="3371"/>
                  </a:cubicBezTo>
                  <a:cubicBezTo>
                    <a:pt x="4733" y="3297"/>
                    <a:pt x="4940" y="3196"/>
                    <a:pt x="5195" y="3196"/>
                  </a:cubicBezTo>
                  <a:cubicBezTo>
                    <a:pt x="5265" y="3196"/>
                    <a:pt x="5335" y="3206"/>
                    <a:pt x="5402" y="3224"/>
                  </a:cubicBezTo>
                  <a:cubicBezTo>
                    <a:pt x="5441" y="3232"/>
                    <a:pt x="5469" y="3239"/>
                    <a:pt x="5490" y="3239"/>
                  </a:cubicBezTo>
                  <a:cubicBezTo>
                    <a:pt x="5527" y="3239"/>
                    <a:pt x="5545" y="3220"/>
                    <a:pt x="5574" y="3164"/>
                  </a:cubicBezTo>
                  <a:cubicBezTo>
                    <a:pt x="5598" y="3115"/>
                    <a:pt x="5640" y="3080"/>
                    <a:pt x="5693" y="3066"/>
                  </a:cubicBezTo>
                  <a:cubicBezTo>
                    <a:pt x="5721" y="3057"/>
                    <a:pt x="5750" y="3051"/>
                    <a:pt x="5781" y="3051"/>
                  </a:cubicBezTo>
                  <a:cubicBezTo>
                    <a:pt x="5788" y="3051"/>
                    <a:pt x="5794" y="3051"/>
                    <a:pt x="5801" y="3052"/>
                  </a:cubicBezTo>
                  <a:cubicBezTo>
                    <a:pt x="5973" y="3059"/>
                    <a:pt x="6179" y="3157"/>
                    <a:pt x="6249" y="3192"/>
                  </a:cubicBezTo>
                  <a:lnTo>
                    <a:pt x="6554" y="3139"/>
                  </a:lnTo>
                  <a:lnTo>
                    <a:pt x="6466" y="2898"/>
                  </a:lnTo>
                  <a:cubicBezTo>
                    <a:pt x="6396" y="2866"/>
                    <a:pt x="6333" y="2835"/>
                    <a:pt x="6270" y="2793"/>
                  </a:cubicBezTo>
                  <a:lnTo>
                    <a:pt x="6263" y="2789"/>
                  </a:lnTo>
                  <a:lnTo>
                    <a:pt x="6260" y="2786"/>
                  </a:lnTo>
                  <a:cubicBezTo>
                    <a:pt x="6239" y="2775"/>
                    <a:pt x="6221" y="2761"/>
                    <a:pt x="6204" y="2751"/>
                  </a:cubicBezTo>
                  <a:cubicBezTo>
                    <a:pt x="6148" y="2716"/>
                    <a:pt x="6106" y="2663"/>
                    <a:pt x="6081" y="2600"/>
                  </a:cubicBezTo>
                  <a:cubicBezTo>
                    <a:pt x="6081" y="2593"/>
                    <a:pt x="6078" y="2586"/>
                    <a:pt x="6078" y="2579"/>
                  </a:cubicBezTo>
                  <a:cubicBezTo>
                    <a:pt x="6078" y="2492"/>
                    <a:pt x="6078" y="2418"/>
                    <a:pt x="5931" y="2285"/>
                  </a:cubicBezTo>
                  <a:lnTo>
                    <a:pt x="5903" y="2261"/>
                  </a:lnTo>
                  <a:cubicBezTo>
                    <a:pt x="5843" y="2212"/>
                    <a:pt x="5780" y="2166"/>
                    <a:pt x="5717" y="2124"/>
                  </a:cubicBezTo>
                  <a:cubicBezTo>
                    <a:pt x="5619" y="2058"/>
                    <a:pt x="5542" y="2005"/>
                    <a:pt x="5542" y="1904"/>
                  </a:cubicBezTo>
                  <a:cubicBezTo>
                    <a:pt x="5542" y="1862"/>
                    <a:pt x="5525" y="1837"/>
                    <a:pt x="5444" y="1750"/>
                  </a:cubicBezTo>
                  <a:cubicBezTo>
                    <a:pt x="5409" y="1715"/>
                    <a:pt x="5371" y="1669"/>
                    <a:pt x="5321" y="1610"/>
                  </a:cubicBezTo>
                  <a:cubicBezTo>
                    <a:pt x="5174" y="1435"/>
                    <a:pt x="4936" y="1431"/>
                    <a:pt x="4933" y="1431"/>
                  </a:cubicBezTo>
                  <a:lnTo>
                    <a:pt x="4887" y="1431"/>
                  </a:lnTo>
                  <a:lnTo>
                    <a:pt x="4817" y="1256"/>
                  </a:lnTo>
                  <a:lnTo>
                    <a:pt x="4604" y="1225"/>
                  </a:lnTo>
                  <a:lnTo>
                    <a:pt x="4590" y="1218"/>
                  </a:lnTo>
                  <a:cubicBezTo>
                    <a:pt x="4544" y="1183"/>
                    <a:pt x="4516" y="1130"/>
                    <a:pt x="4520" y="1074"/>
                  </a:cubicBezTo>
                  <a:cubicBezTo>
                    <a:pt x="4523" y="1007"/>
                    <a:pt x="4572" y="951"/>
                    <a:pt x="4667" y="906"/>
                  </a:cubicBezTo>
                  <a:cubicBezTo>
                    <a:pt x="4688" y="895"/>
                    <a:pt x="4705" y="878"/>
                    <a:pt x="4712" y="857"/>
                  </a:cubicBezTo>
                  <a:cubicBezTo>
                    <a:pt x="4737" y="790"/>
                    <a:pt x="4677" y="678"/>
                    <a:pt x="4639" y="601"/>
                  </a:cubicBezTo>
                  <a:cubicBezTo>
                    <a:pt x="4625" y="573"/>
                    <a:pt x="4611" y="542"/>
                    <a:pt x="4600" y="510"/>
                  </a:cubicBezTo>
                  <a:cubicBezTo>
                    <a:pt x="4597" y="507"/>
                    <a:pt x="4597" y="503"/>
                    <a:pt x="4593" y="500"/>
                  </a:cubicBezTo>
                  <a:lnTo>
                    <a:pt x="4590" y="493"/>
                  </a:lnTo>
                  <a:lnTo>
                    <a:pt x="4586" y="486"/>
                  </a:lnTo>
                  <a:lnTo>
                    <a:pt x="4579" y="475"/>
                  </a:lnTo>
                  <a:lnTo>
                    <a:pt x="4576" y="468"/>
                  </a:lnTo>
                  <a:lnTo>
                    <a:pt x="4565" y="451"/>
                  </a:lnTo>
                  <a:lnTo>
                    <a:pt x="4562" y="444"/>
                  </a:lnTo>
                  <a:lnTo>
                    <a:pt x="4551" y="430"/>
                  </a:lnTo>
                  <a:lnTo>
                    <a:pt x="4541" y="416"/>
                  </a:lnTo>
                  <a:lnTo>
                    <a:pt x="4534" y="405"/>
                  </a:lnTo>
                  <a:lnTo>
                    <a:pt x="4516" y="381"/>
                  </a:lnTo>
                  <a:cubicBezTo>
                    <a:pt x="4446" y="286"/>
                    <a:pt x="4345" y="157"/>
                    <a:pt x="4243" y="38"/>
                  </a:cubicBezTo>
                  <a:lnTo>
                    <a:pt x="4226" y="38"/>
                  </a:lnTo>
                  <a:lnTo>
                    <a:pt x="4208" y="34"/>
                  </a:lnTo>
                  <a:lnTo>
                    <a:pt x="4198" y="31"/>
                  </a:lnTo>
                  <a:lnTo>
                    <a:pt x="4177" y="24"/>
                  </a:lnTo>
                  <a:lnTo>
                    <a:pt x="4170" y="20"/>
                  </a:lnTo>
                  <a:cubicBezTo>
                    <a:pt x="4163" y="17"/>
                    <a:pt x="4156" y="13"/>
                    <a:pt x="4145" y="10"/>
                  </a:cubicBezTo>
                  <a:cubicBezTo>
                    <a:pt x="4142" y="10"/>
                    <a:pt x="4138" y="6"/>
                    <a:pt x="4131" y="3"/>
                  </a:cubicBezTo>
                  <a:lnTo>
                    <a:pt x="4114" y="3"/>
                  </a:lnTo>
                  <a:cubicBezTo>
                    <a:pt x="4112" y="1"/>
                    <a:pt x="4109" y="0"/>
                    <a:pt x="41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4" name="Google Shape;3934;p53"/>
            <p:cNvSpPr/>
            <p:nvPr/>
          </p:nvSpPr>
          <p:spPr>
            <a:xfrm>
              <a:off x="2069728" y="1940363"/>
              <a:ext cx="85810" cy="69734"/>
            </a:xfrm>
            <a:custGeom>
              <a:avLst/>
              <a:gdLst/>
              <a:ahLst/>
              <a:cxnLst/>
              <a:rect l="l" t="t" r="r" b="b"/>
              <a:pathLst>
                <a:path w="6320" h="5136" extrusionOk="0">
                  <a:moveTo>
                    <a:pt x="1573" y="0"/>
                  </a:moveTo>
                  <a:cubicBezTo>
                    <a:pt x="1560" y="0"/>
                    <a:pt x="1539" y="14"/>
                    <a:pt x="1496" y="53"/>
                  </a:cubicBezTo>
                  <a:cubicBezTo>
                    <a:pt x="1452" y="94"/>
                    <a:pt x="1400" y="143"/>
                    <a:pt x="1334" y="143"/>
                  </a:cubicBezTo>
                  <a:cubicBezTo>
                    <a:pt x="1326" y="143"/>
                    <a:pt x="1318" y="142"/>
                    <a:pt x="1310" y="141"/>
                  </a:cubicBezTo>
                  <a:lnTo>
                    <a:pt x="1250" y="134"/>
                  </a:lnTo>
                  <a:cubicBezTo>
                    <a:pt x="1186" y="123"/>
                    <a:pt x="1068" y="103"/>
                    <a:pt x="976" y="103"/>
                  </a:cubicBezTo>
                  <a:cubicBezTo>
                    <a:pt x="924" y="103"/>
                    <a:pt x="880" y="109"/>
                    <a:pt x="858" y="127"/>
                  </a:cubicBezTo>
                  <a:cubicBezTo>
                    <a:pt x="820" y="158"/>
                    <a:pt x="802" y="284"/>
                    <a:pt x="792" y="365"/>
                  </a:cubicBezTo>
                  <a:cubicBezTo>
                    <a:pt x="778" y="470"/>
                    <a:pt x="767" y="526"/>
                    <a:pt x="736" y="561"/>
                  </a:cubicBezTo>
                  <a:cubicBezTo>
                    <a:pt x="659" y="638"/>
                    <a:pt x="512" y="831"/>
                    <a:pt x="512" y="901"/>
                  </a:cubicBezTo>
                  <a:cubicBezTo>
                    <a:pt x="512" y="915"/>
                    <a:pt x="508" y="929"/>
                    <a:pt x="508" y="939"/>
                  </a:cubicBezTo>
                  <a:lnTo>
                    <a:pt x="508" y="943"/>
                  </a:lnTo>
                  <a:cubicBezTo>
                    <a:pt x="501" y="978"/>
                    <a:pt x="487" y="1013"/>
                    <a:pt x="463" y="1041"/>
                  </a:cubicBezTo>
                  <a:lnTo>
                    <a:pt x="480" y="1139"/>
                  </a:lnTo>
                  <a:lnTo>
                    <a:pt x="487" y="1184"/>
                  </a:lnTo>
                  <a:lnTo>
                    <a:pt x="487" y="1195"/>
                  </a:lnTo>
                  <a:lnTo>
                    <a:pt x="491" y="1230"/>
                  </a:lnTo>
                  <a:lnTo>
                    <a:pt x="494" y="1244"/>
                  </a:lnTo>
                  <a:lnTo>
                    <a:pt x="498" y="1272"/>
                  </a:lnTo>
                  <a:lnTo>
                    <a:pt x="501" y="1289"/>
                  </a:lnTo>
                  <a:lnTo>
                    <a:pt x="505" y="1310"/>
                  </a:lnTo>
                  <a:lnTo>
                    <a:pt x="508" y="1328"/>
                  </a:lnTo>
                  <a:lnTo>
                    <a:pt x="508" y="1342"/>
                  </a:lnTo>
                  <a:cubicBezTo>
                    <a:pt x="508" y="1352"/>
                    <a:pt x="508" y="1363"/>
                    <a:pt x="512" y="1370"/>
                  </a:cubicBezTo>
                  <a:cubicBezTo>
                    <a:pt x="529" y="1527"/>
                    <a:pt x="575" y="2056"/>
                    <a:pt x="431" y="2199"/>
                  </a:cubicBezTo>
                  <a:cubicBezTo>
                    <a:pt x="351" y="2290"/>
                    <a:pt x="288" y="2388"/>
                    <a:pt x="239" y="2497"/>
                  </a:cubicBezTo>
                  <a:lnTo>
                    <a:pt x="235" y="2500"/>
                  </a:lnTo>
                  <a:lnTo>
                    <a:pt x="232" y="2514"/>
                  </a:lnTo>
                  <a:lnTo>
                    <a:pt x="214" y="2525"/>
                  </a:lnTo>
                  <a:cubicBezTo>
                    <a:pt x="106" y="2613"/>
                    <a:pt x="32" y="2739"/>
                    <a:pt x="11" y="2879"/>
                  </a:cubicBezTo>
                  <a:cubicBezTo>
                    <a:pt x="4" y="2935"/>
                    <a:pt x="1" y="2994"/>
                    <a:pt x="1" y="3050"/>
                  </a:cubicBezTo>
                  <a:cubicBezTo>
                    <a:pt x="1" y="3131"/>
                    <a:pt x="4" y="3215"/>
                    <a:pt x="11" y="3295"/>
                  </a:cubicBezTo>
                  <a:cubicBezTo>
                    <a:pt x="18" y="3365"/>
                    <a:pt x="25" y="3435"/>
                    <a:pt x="25" y="3512"/>
                  </a:cubicBezTo>
                  <a:cubicBezTo>
                    <a:pt x="25" y="3589"/>
                    <a:pt x="57" y="3645"/>
                    <a:pt x="99" y="3722"/>
                  </a:cubicBezTo>
                  <a:lnTo>
                    <a:pt x="120" y="3768"/>
                  </a:lnTo>
                  <a:lnTo>
                    <a:pt x="130" y="3782"/>
                  </a:lnTo>
                  <a:lnTo>
                    <a:pt x="144" y="3813"/>
                  </a:lnTo>
                  <a:lnTo>
                    <a:pt x="151" y="3834"/>
                  </a:lnTo>
                  <a:cubicBezTo>
                    <a:pt x="158" y="3845"/>
                    <a:pt x="162" y="3852"/>
                    <a:pt x="165" y="3862"/>
                  </a:cubicBezTo>
                  <a:cubicBezTo>
                    <a:pt x="169" y="3873"/>
                    <a:pt x="172" y="3880"/>
                    <a:pt x="176" y="3887"/>
                  </a:cubicBezTo>
                  <a:cubicBezTo>
                    <a:pt x="176" y="3894"/>
                    <a:pt x="179" y="3901"/>
                    <a:pt x="183" y="3908"/>
                  </a:cubicBezTo>
                  <a:lnTo>
                    <a:pt x="186" y="3915"/>
                  </a:lnTo>
                  <a:cubicBezTo>
                    <a:pt x="239" y="3985"/>
                    <a:pt x="508" y="4023"/>
                    <a:pt x="704" y="4055"/>
                  </a:cubicBezTo>
                  <a:cubicBezTo>
                    <a:pt x="799" y="4069"/>
                    <a:pt x="890" y="4083"/>
                    <a:pt x="963" y="4097"/>
                  </a:cubicBezTo>
                  <a:cubicBezTo>
                    <a:pt x="1254" y="4163"/>
                    <a:pt x="1545" y="4552"/>
                    <a:pt x="1534" y="4724"/>
                  </a:cubicBezTo>
                  <a:cubicBezTo>
                    <a:pt x="1527" y="4829"/>
                    <a:pt x="1681" y="5074"/>
                    <a:pt x="1790" y="5130"/>
                  </a:cubicBezTo>
                  <a:cubicBezTo>
                    <a:pt x="1798" y="5134"/>
                    <a:pt x="1809" y="5136"/>
                    <a:pt x="1822" y="5136"/>
                  </a:cubicBezTo>
                  <a:cubicBezTo>
                    <a:pt x="1884" y="5136"/>
                    <a:pt x="1992" y="5096"/>
                    <a:pt x="2070" y="5070"/>
                  </a:cubicBezTo>
                  <a:cubicBezTo>
                    <a:pt x="2147" y="5035"/>
                    <a:pt x="2231" y="5011"/>
                    <a:pt x="2315" y="5004"/>
                  </a:cubicBezTo>
                  <a:lnTo>
                    <a:pt x="2350" y="5004"/>
                  </a:lnTo>
                  <a:cubicBezTo>
                    <a:pt x="2850" y="5004"/>
                    <a:pt x="2973" y="4962"/>
                    <a:pt x="2997" y="4937"/>
                  </a:cubicBezTo>
                  <a:cubicBezTo>
                    <a:pt x="3025" y="4916"/>
                    <a:pt x="3057" y="4902"/>
                    <a:pt x="3088" y="4902"/>
                  </a:cubicBezTo>
                  <a:cubicBezTo>
                    <a:pt x="3095" y="4885"/>
                    <a:pt x="3102" y="4867"/>
                    <a:pt x="3109" y="4850"/>
                  </a:cubicBezTo>
                  <a:lnTo>
                    <a:pt x="3113" y="4832"/>
                  </a:lnTo>
                  <a:lnTo>
                    <a:pt x="3123" y="4797"/>
                  </a:lnTo>
                  <a:lnTo>
                    <a:pt x="3130" y="4780"/>
                  </a:lnTo>
                  <a:lnTo>
                    <a:pt x="3141" y="4748"/>
                  </a:lnTo>
                  <a:lnTo>
                    <a:pt x="3144" y="4727"/>
                  </a:lnTo>
                  <a:lnTo>
                    <a:pt x="3155" y="4699"/>
                  </a:lnTo>
                  <a:lnTo>
                    <a:pt x="3158" y="4678"/>
                  </a:lnTo>
                  <a:lnTo>
                    <a:pt x="3165" y="4653"/>
                  </a:lnTo>
                  <a:lnTo>
                    <a:pt x="3172" y="4636"/>
                  </a:lnTo>
                  <a:lnTo>
                    <a:pt x="3176" y="4611"/>
                  </a:lnTo>
                  <a:lnTo>
                    <a:pt x="3183" y="4590"/>
                  </a:lnTo>
                  <a:lnTo>
                    <a:pt x="3186" y="4569"/>
                  </a:lnTo>
                  <a:lnTo>
                    <a:pt x="3190" y="4552"/>
                  </a:lnTo>
                  <a:lnTo>
                    <a:pt x="3197" y="4531"/>
                  </a:lnTo>
                  <a:lnTo>
                    <a:pt x="3200" y="4517"/>
                  </a:lnTo>
                  <a:lnTo>
                    <a:pt x="3204" y="4496"/>
                  </a:lnTo>
                  <a:lnTo>
                    <a:pt x="3207" y="4485"/>
                  </a:lnTo>
                  <a:lnTo>
                    <a:pt x="3211" y="4468"/>
                  </a:lnTo>
                  <a:lnTo>
                    <a:pt x="3211" y="4457"/>
                  </a:lnTo>
                  <a:lnTo>
                    <a:pt x="3214" y="4440"/>
                  </a:lnTo>
                  <a:lnTo>
                    <a:pt x="3214" y="4433"/>
                  </a:lnTo>
                  <a:lnTo>
                    <a:pt x="3218" y="4419"/>
                  </a:lnTo>
                  <a:lnTo>
                    <a:pt x="3218" y="4415"/>
                  </a:lnTo>
                  <a:lnTo>
                    <a:pt x="3218" y="4401"/>
                  </a:lnTo>
                  <a:lnTo>
                    <a:pt x="3218" y="4391"/>
                  </a:lnTo>
                  <a:lnTo>
                    <a:pt x="3221" y="4370"/>
                  </a:lnTo>
                  <a:lnTo>
                    <a:pt x="3235" y="4352"/>
                  </a:lnTo>
                  <a:cubicBezTo>
                    <a:pt x="3617" y="3960"/>
                    <a:pt x="3838" y="3754"/>
                    <a:pt x="3894" y="3740"/>
                  </a:cubicBezTo>
                  <a:cubicBezTo>
                    <a:pt x="3922" y="3733"/>
                    <a:pt x="3953" y="3733"/>
                    <a:pt x="3985" y="3733"/>
                  </a:cubicBezTo>
                  <a:lnTo>
                    <a:pt x="3995" y="3733"/>
                  </a:lnTo>
                  <a:cubicBezTo>
                    <a:pt x="4013" y="3735"/>
                    <a:pt x="4030" y="3736"/>
                    <a:pt x="4047" y="3736"/>
                  </a:cubicBezTo>
                  <a:cubicBezTo>
                    <a:pt x="4081" y="3736"/>
                    <a:pt x="4114" y="3732"/>
                    <a:pt x="4149" y="3722"/>
                  </a:cubicBezTo>
                  <a:cubicBezTo>
                    <a:pt x="4163" y="3719"/>
                    <a:pt x="4181" y="3708"/>
                    <a:pt x="4195" y="3701"/>
                  </a:cubicBezTo>
                  <a:cubicBezTo>
                    <a:pt x="4227" y="3680"/>
                    <a:pt x="4265" y="3669"/>
                    <a:pt x="4304" y="3669"/>
                  </a:cubicBezTo>
                  <a:cubicBezTo>
                    <a:pt x="4335" y="3669"/>
                    <a:pt x="4366" y="3677"/>
                    <a:pt x="4394" y="3691"/>
                  </a:cubicBezTo>
                  <a:cubicBezTo>
                    <a:pt x="4520" y="3743"/>
                    <a:pt x="4618" y="3845"/>
                    <a:pt x="4671" y="3971"/>
                  </a:cubicBezTo>
                  <a:cubicBezTo>
                    <a:pt x="4695" y="3932"/>
                    <a:pt x="4723" y="3880"/>
                    <a:pt x="4744" y="3841"/>
                  </a:cubicBezTo>
                  <a:cubicBezTo>
                    <a:pt x="4758" y="3810"/>
                    <a:pt x="4772" y="3782"/>
                    <a:pt x="4786" y="3754"/>
                  </a:cubicBezTo>
                  <a:lnTo>
                    <a:pt x="4835" y="3663"/>
                  </a:lnTo>
                  <a:cubicBezTo>
                    <a:pt x="4930" y="3491"/>
                    <a:pt x="5182" y="3036"/>
                    <a:pt x="5182" y="2942"/>
                  </a:cubicBezTo>
                  <a:cubicBezTo>
                    <a:pt x="5182" y="2840"/>
                    <a:pt x="5276" y="2763"/>
                    <a:pt x="5357" y="2693"/>
                  </a:cubicBezTo>
                  <a:cubicBezTo>
                    <a:pt x="5388" y="2672"/>
                    <a:pt x="5416" y="2644"/>
                    <a:pt x="5441" y="2616"/>
                  </a:cubicBezTo>
                  <a:lnTo>
                    <a:pt x="5441" y="2584"/>
                  </a:lnTo>
                  <a:cubicBezTo>
                    <a:pt x="5437" y="2476"/>
                    <a:pt x="5434" y="2311"/>
                    <a:pt x="5546" y="2266"/>
                  </a:cubicBezTo>
                  <a:cubicBezTo>
                    <a:pt x="5588" y="2245"/>
                    <a:pt x="5651" y="2052"/>
                    <a:pt x="5634" y="1986"/>
                  </a:cubicBezTo>
                  <a:cubicBezTo>
                    <a:pt x="5609" y="1853"/>
                    <a:pt x="5966" y="1338"/>
                    <a:pt x="5970" y="1335"/>
                  </a:cubicBezTo>
                  <a:cubicBezTo>
                    <a:pt x="6005" y="1289"/>
                    <a:pt x="6064" y="1275"/>
                    <a:pt x="6131" y="1261"/>
                  </a:cubicBezTo>
                  <a:cubicBezTo>
                    <a:pt x="6218" y="1244"/>
                    <a:pt x="6278" y="1230"/>
                    <a:pt x="6281" y="1188"/>
                  </a:cubicBezTo>
                  <a:cubicBezTo>
                    <a:pt x="6285" y="1160"/>
                    <a:pt x="6288" y="1132"/>
                    <a:pt x="6292" y="1100"/>
                  </a:cubicBezTo>
                  <a:cubicBezTo>
                    <a:pt x="6302" y="1037"/>
                    <a:pt x="6320" y="925"/>
                    <a:pt x="6292" y="918"/>
                  </a:cubicBezTo>
                  <a:cubicBezTo>
                    <a:pt x="6183" y="883"/>
                    <a:pt x="6022" y="750"/>
                    <a:pt x="6022" y="631"/>
                  </a:cubicBezTo>
                  <a:lnTo>
                    <a:pt x="6022" y="607"/>
                  </a:lnTo>
                  <a:lnTo>
                    <a:pt x="6022" y="600"/>
                  </a:lnTo>
                  <a:lnTo>
                    <a:pt x="6022" y="579"/>
                  </a:lnTo>
                  <a:lnTo>
                    <a:pt x="6022" y="568"/>
                  </a:lnTo>
                  <a:lnTo>
                    <a:pt x="6022" y="547"/>
                  </a:lnTo>
                  <a:lnTo>
                    <a:pt x="6022" y="533"/>
                  </a:lnTo>
                  <a:lnTo>
                    <a:pt x="6022" y="508"/>
                  </a:lnTo>
                  <a:lnTo>
                    <a:pt x="6022" y="494"/>
                  </a:lnTo>
                  <a:cubicBezTo>
                    <a:pt x="6022" y="480"/>
                    <a:pt x="6026" y="470"/>
                    <a:pt x="6026" y="456"/>
                  </a:cubicBezTo>
                  <a:lnTo>
                    <a:pt x="6026" y="449"/>
                  </a:lnTo>
                  <a:cubicBezTo>
                    <a:pt x="6029" y="438"/>
                    <a:pt x="6029" y="424"/>
                    <a:pt x="6033" y="414"/>
                  </a:cubicBezTo>
                  <a:lnTo>
                    <a:pt x="6033" y="400"/>
                  </a:lnTo>
                  <a:cubicBezTo>
                    <a:pt x="6033" y="393"/>
                    <a:pt x="6033" y="386"/>
                    <a:pt x="6036" y="382"/>
                  </a:cubicBezTo>
                  <a:cubicBezTo>
                    <a:pt x="5987" y="344"/>
                    <a:pt x="5949" y="295"/>
                    <a:pt x="5931" y="235"/>
                  </a:cubicBezTo>
                  <a:cubicBezTo>
                    <a:pt x="5917" y="207"/>
                    <a:pt x="5900" y="183"/>
                    <a:pt x="5879" y="158"/>
                  </a:cubicBezTo>
                  <a:cubicBezTo>
                    <a:pt x="5872" y="148"/>
                    <a:pt x="5865" y="141"/>
                    <a:pt x="5854" y="134"/>
                  </a:cubicBezTo>
                  <a:cubicBezTo>
                    <a:pt x="5847" y="123"/>
                    <a:pt x="5833" y="106"/>
                    <a:pt x="5826" y="95"/>
                  </a:cubicBezTo>
                  <a:cubicBezTo>
                    <a:pt x="5816" y="81"/>
                    <a:pt x="5805" y="71"/>
                    <a:pt x="5788" y="60"/>
                  </a:cubicBezTo>
                  <a:cubicBezTo>
                    <a:pt x="5782" y="59"/>
                    <a:pt x="5776" y="58"/>
                    <a:pt x="5770" y="58"/>
                  </a:cubicBezTo>
                  <a:cubicBezTo>
                    <a:pt x="5763" y="58"/>
                    <a:pt x="5756" y="59"/>
                    <a:pt x="5749" y="60"/>
                  </a:cubicBezTo>
                  <a:cubicBezTo>
                    <a:pt x="5732" y="71"/>
                    <a:pt x="5718" y="81"/>
                    <a:pt x="5704" y="95"/>
                  </a:cubicBezTo>
                  <a:cubicBezTo>
                    <a:pt x="5690" y="106"/>
                    <a:pt x="5679" y="120"/>
                    <a:pt x="5665" y="137"/>
                  </a:cubicBezTo>
                  <a:cubicBezTo>
                    <a:pt x="5651" y="155"/>
                    <a:pt x="5641" y="165"/>
                    <a:pt x="5630" y="179"/>
                  </a:cubicBezTo>
                  <a:lnTo>
                    <a:pt x="5613" y="200"/>
                  </a:lnTo>
                  <a:cubicBezTo>
                    <a:pt x="5536" y="291"/>
                    <a:pt x="5458" y="386"/>
                    <a:pt x="5364" y="417"/>
                  </a:cubicBezTo>
                  <a:cubicBezTo>
                    <a:pt x="5332" y="429"/>
                    <a:pt x="5298" y="433"/>
                    <a:pt x="5263" y="433"/>
                  </a:cubicBezTo>
                  <a:cubicBezTo>
                    <a:pt x="5123" y="433"/>
                    <a:pt x="4971" y="357"/>
                    <a:pt x="4881" y="309"/>
                  </a:cubicBezTo>
                  <a:lnTo>
                    <a:pt x="4863" y="302"/>
                  </a:lnTo>
                  <a:cubicBezTo>
                    <a:pt x="4839" y="289"/>
                    <a:pt x="4764" y="285"/>
                    <a:pt x="4679" y="285"/>
                  </a:cubicBezTo>
                  <a:cubicBezTo>
                    <a:pt x="4628" y="285"/>
                    <a:pt x="4573" y="287"/>
                    <a:pt x="4524" y="288"/>
                  </a:cubicBezTo>
                  <a:lnTo>
                    <a:pt x="4468" y="288"/>
                  </a:lnTo>
                  <a:cubicBezTo>
                    <a:pt x="4412" y="288"/>
                    <a:pt x="4356" y="291"/>
                    <a:pt x="4310" y="295"/>
                  </a:cubicBezTo>
                  <a:cubicBezTo>
                    <a:pt x="4268" y="295"/>
                    <a:pt x="4230" y="295"/>
                    <a:pt x="4191" y="291"/>
                  </a:cubicBezTo>
                  <a:cubicBezTo>
                    <a:pt x="4188" y="291"/>
                    <a:pt x="4185" y="291"/>
                    <a:pt x="4183" y="291"/>
                  </a:cubicBezTo>
                  <a:cubicBezTo>
                    <a:pt x="4117" y="291"/>
                    <a:pt x="4034" y="364"/>
                    <a:pt x="3960" y="431"/>
                  </a:cubicBezTo>
                  <a:cubicBezTo>
                    <a:pt x="3922" y="473"/>
                    <a:pt x="3873" y="508"/>
                    <a:pt x="3824" y="540"/>
                  </a:cubicBezTo>
                  <a:cubicBezTo>
                    <a:pt x="3792" y="558"/>
                    <a:pt x="3761" y="568"/>
                    <a:pt x="3726" y="575"/>
                  </a:cubicBezTo>
                  <a:cubicBezTo>
                    <a:pt x="3670" y="582"/>
                    <a:pt x="3614" y="586"/>
                    <a:pt x="3558" y="586"/>
                  </a:cubicBezTo>
                  <a:cubicBezTo>
                    <a:pt x="3450" y="586"/>
                    <a:pt x="3343" y="572"/>
                    <a:pt x="3239" y="547"/>
                  </a:cubicBezTo>
                  <a:cubicBezTo>
                    <a:pt x="3193" y="526"/>
                    <a:pt x="3148" y="505"/>
                    <a:pt x="3106" y="473"/>
                  </a:cubicBezTo>
                  <a:lnTo>
                    <a:pt x="3053" y="442"/>
                  </a:lnTo>
                  <a:cubicBezTo>
                    <a:pt x="2987" y="396"/>
                    <a:pt x="2875" y="323"/>
                    <a:pt x="2840" y="323"/>
                  </a:cubicBezTo>
                  <a:cubicBezTo>
                    <a:pt x="2689" y="326"/>
                    <a:pt x="2546" y="368"/>
                    <a:pt x="2420" y="442"/>
                  </a:cubicBezTo>
                  <a:cubicBezTo>
                    <a:pt x="2390" y="462"/>
                    <a:pt x="2357" y="473"/>
                    <a:pt x="2323" y="473"/>
                  </a:cubicBezTo>
                  <a:cubicBezTo>
                    <a:pt x="2309" y="473"/>
                    <a:pt x="2294" y="471"/>
                    <a:pt x="2280" y="466"/>
                  </a:cubicBezTo>
                  <a:cubicBezTo>
                    <a:pt x="2192" y="442"/>
                    <a:pt x="2143" y="347"/>
                    <a:pt x="2098" y="256"/>
                  </a:cubicBezTo>
                  <a:cubicBezTo>
                    <a:pt x="2080" y="214"/>
                    <a:pt x="2056" y="176"/>
                    <a:pt x="2028" y="137"/>
                  </a:cubicBezTo>
                  <a:cubicBezTo>
                    <a:pt x="2000" y="102"/>
                    <a:pt x="1937" y="99"/>
                    <a:pt x="1867" y="95"/>
                  </a:cubicBezTo>
                  <a:cubicBezTo>
                    <a:pt x="1779" y="88"/>
                    <a:pt x="1681" y="85"/>
                    <a:pt x="1597" y="15"/>
                  </a:cubicBezTo>
                  <a:cubicBezTo>
                    <a:pt x="1589" y="6"/>
                    <a:pt x="1582" y="0"/>
                    <a:pt x="1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5" name="Google Shape;3935;p53"/>
            <p:cNvSpPr/>
            <p:nvPr/>
          </p:nvSpPr>
          <p:spPr>
            <a:xfrm>
              <a:off x="2055186" y="1951225"/>
              <a:ext cx="19973" cy="43584"/>
            </a:xfrm>
            <a:custGeom>
              <a:avLst/>
              <a:gdLst/>
              <a:ahLst/>
              <a:cxnLst/>
              <a:rect l="l" t="t" r="r" b="b"/>
              <a:pathLst>
                <a:path w="1471" h="3210" extrusionOk="0">
                  <a:moveTo>
                    <a:pt x="1062" y="0"/>
                  </a:moveTo>
                  <a:cubicBezTo>
                    <a:pt x="1045" y="0"/>
                    <a:pt x="1029" y="6"/>
                    <a:pt x="1016" y="17"/>
                  </a:cubicBezTo>
                  <a:cubicBezTo>
                    <a:pt x="1009" y="20"/>
                    <a:pt x="1005" y="24"/>
                    <a:pt x="1005" y="31"/>
                  </a:cubicBezTo>
                  <a:cubicBezTo>
                    <a:pt x="1002" y="34"/>
                    <a:pt x="998" y="38"/>
                    <a:pt x="995" y="41"/>
                  </a:cubicBezTo>
                  <a:lnTo>
                    <a:pt x="995" y="48"/>
                  </a:lnTo>
                  <a:cubicBezTo>
                    <a:pt x="995" y="52"/>
                    <a:pt x="991" y="55"/>
                    <a:pt x="988" y="59"/>
                  </a:cubicBezTo>
                  <a:lnTo>
                    <a:pt x="984" y="66"/>
                  </a:lnTo>
                  <a:cubicBezTo>
                    <a:pt x="984" y="73"/>
                    <a:pt x="984" y="76"/>
                    <a:pt x="981" y="83"/>
                  </a:cubicBezTo>
                  <a:lnTo>
                    <a:pt x="981" y="87"/>
                  </a:lnTo>
                  <a:cubicBezTo>
                    <a:pt x="974" y="118"/>
                    <a:pt x="974" y="150"/>
                    <a:pt x="981" y="181"/>
                  </a:cubicBezTo>
                  <a:lnTo>
                    <a:pt x="1030" y="388"/>
                  </a:lnTo>
                  <a:lnTo>
                    <a:pt x="967" y="328"/>
                  </a:lnTo>
                  <a:lnTo>
                    <a:pt x="963" y="335"/>
                  </a:lnTo>
                  <a:lnTo>
                    <a:pt x="956" y="339"/>
                  </a:lnTo>
                  <a:lnTo>
                    <a:pt x="953" y="346"/>
                  </a:lnTo>
                  <a:lnTo>
                    <a:pt x="946" y="353"/>
                  </a:lnTo>
                  <a:lnTo>
                    <a:pt x="942" y="356"/>
                  </a:lnTo>
                  <a:lnTo>
                    <a:pt x="939" y="360"/>
                  </a:lnTo>
                  <a:lnTo>
                    <a:pt x="932" y="367"/>
                  </a:lnTo>
                  <a:lnTo>
                    <a:pt x="925" y="370"/>
                  </a:lnTo>
                  <a:lnTo>
                    <a:pt x="921" y="374"/>
                  </a:lnTo>
                  <a:lnTo>
                    <a:pt x="914" y="377"/>
                  </a:lnTo>
                  <a:lnTo>
                    <a:pt x="907" y="384"/>
                  </a:lnTo>
                  <a:lnTo>
                    <a:pt x="904" y="384"/>
                  </a:lnTo>
                  <a:lnTo>
                    <a:pt x="897" y="391"/>
                  </a:lnTo>
                  <a:lnTo>
                    <a:pt x="886" y="398"/>
                  </a:lnTo>
                  <a:cubicBezTo>
                    <a:pt x="865" y="409"/>
                    <a:pt x="844" y="426"/>
                    <a:pt x="827" y="444"/>
                  </a:cubicBezTo>
                  <a:cubicBezTo>
                    <a:pt x="736" y="559"/>
                    <a:pt x="389" y="566"/>
                    <a:pt x="322" y="566"/>
                  </a:cubicBezTo>
                  <a:cubicBezTo>
                    <a:pt x="294" y="566"/>
                    <a:pt x="235" y="622"/>
                    <a:pt x="196" y="657"/>
                  </a:cubicBezTo>
                  <a:cubicBezTo>
                    <a:pt x="151" y="706"/>
                    <a:pt x="98" y="745"/>
                    <a:pt x="35" y="773"/>
                  </a:cubicBezTo>
                  <a:cubicBezTo>
                    <a:pt x="25" y="776"/>
                    <a:pt x="11" y="780"/>
                    <a:pt x="0" y="780"/>
                  </a:cubicBezTo>
                  <a:lnTo>
                    <a:pt x="0" y="801"/>
                  </a:lnTo>
                  <a:lnTo>
                    <a:pt x="0" y="825"/>
                  </a:lnTo>
                  <a:cubicBezTo>
                    <a:pt x="0" y="832"/>
                    <a:pt x="0" y="843"/>
                    <a:pt x="4" y="850"/>
                  </a:cubicBezTo>
                  <a:cubicBezTo>
                    <a:pt x="4" y="857"/>
                    <a:pt x="4" y="864"/>
                    <a:pt x="4" y="867"/>
                  </a:cubicBezTo>
                  <a:cubicBezTo>
                    <a:pt x="4" y="881"/>
                    <a:pt x="4" y="895"/>
                    <a:pt x="7" y="906"/>
                  </a:cubicBezTo>
                  <a:cubicBezTo>
                    <a:pt x="7" y="909"/>
                    <a:pt x="7" y="916"/>
                    <a:pt x="11" y="920"/>
                  </a:cubicBezTo>
                  <a:cubicBezTo>
                    <a:pt x="14" y="923"/>
                    <a:pt x="11" y="934"/>
                    <a:pt x="14" y="937"/>
                  </a:cubicBezTo>
                  <a:cubicBezTo>
                    <a:pt x="14" y="944"/>
                    <a:pt x="14" y="948"/>
                    <a:pt x="18" y="951"/>
                  </a:cubicBezTo>
                  <a:cubicBezTo>
                    <a:pt x="21" y="955"/>
                    <a:pt x="18" y="962"/>
                    <a:pt x="21" y="969"/>
                  </a:cubicBezTo>
                  <a:lnTo>
                    <a:pt x="25" y="979"/>
                  </a:lnTo>
                  <a:cubicBezTo>
                    <a:pt x="25" y="983"/>
                    <a:pt x="28" y="990"/>
                    <a:pt x="28" y="993"/>
                  </a:cubicBezTo>
                  <a:lnTo>
                    <a:pt x="32" y="1004"/>
                  </a:lnTo>
                  <a:lnTo>
                    <a:pt x="39" y="1014"/>
                  </a:lnTo>
                  <a:lnTo>
                    <a:pt x="42" y="1025"/>
                  </a:lnTo>
                  <a:lnTo>
                    <a:pt x="49" y="1032"/>
                  </a:lnTo>
                  <a:lnTo>
                    <a:pt x="53" y="1042"/>
                  </a:lnTo>
                  <a:lnTo>
                    <a:pt x="60" y="1049"/>
                  </a:lnTo>
                  <a:lnTo>
                    <a:pt x="67" y="1056"/>
                  </a:lnTo>
                  <a:lnTo>
                    <a:pt x="74" y="1063"/>
                  </a:lnTo>
                  <a:lnTo>
                    <a:pt x="81" y="1070"/>
                  </a:lnTo>
                  <a:lnTo>
                    <a:pt x="88" y="1077"/>
                  </a:lnTo>
                  <a:lnTo>
                    <a:pt x="95" y="1081"/>
                  </a:lnTo>
                  <a:lnTo>
                    <a:pt x="105" y="1088"/>
                  </a:lnTo>
                  <a:lnTo>
                    <a:pt x="112" y="1091"/>
                  </a:lnTo>
                  <a:lnTo>
                    <a:pt x="123" y="1098"/>
                  </a:lnTo>
                  <a:lnTo>
                    <a:pt x="130" y="1105"/>
                  </a:lnTo>
                  <a:lnTo>
                    <a:pt x="144" y="1112"/>
                  </a:lnTo>
                  <a:lnTo>
                    <a:pt x="151" y="1116"/>
                  </a:lnTo>
                  <a:lnTo>
                    <a:pt x="172" y="1126"/>
                  </a:lnTo>
                  <a:cubicBezTo>
                    <a:pt x="196" y="1140"/>
                    <a:pt x="224" y="1154"/>
                    <a:pt x="256" y="1172"/>
                  </a:cubicBezTo>
                  <a:cubicBezTo>
                    <a:pt x="435" y="1273"/>
                    <a:pt x="403" y="1420"/>
                    <a:pt x="382" y="1504"/>
                  </a:cubicBezTo>
                  <a:cubicBezTo>
                    <a:pt x="372" y="1557"/>
                    <a:pt x="365" y="1581"/>
                    <a:pt x="379" y="1592"/>
                  </a:cubicBezTo>
                  <a:cubicBezTo>
                    <a:pt x="442" y="1658"/>
                    <a:pt x="459" y="1760"/>
                    <a:pt x="466" y="1886"/>
                  </a:cubicBezTo>
                  <a:cubicBezTo>
                    <a:pt x="466" y="1932"/>
                    <a:pt x="470" y="1974"/>
                    <a:pt x="470" y="2023"/>
                  </a:cubicBezTo>
                  <a:cubicBezTo>
                    <a:pt x="470" y="2100"/>
                    <a:pt x="473" y="2187"/>
                    <a:pt x="480" y="2275"/>
                  </a:cubicBezTo>
                  <a:lnTo>
                    <a:pt x="480" y="2303"/>
                  </a:lnTo>
                  <a:lnTo>
                    <a:pt x="480" y="2320"/>
                  </a:lnTo>
                  <a:lnTo>
                    <a:pt x="480" y="2338"/>
                  </a:lnTo>
                  <a:lnTo>
                    <a:pt x="480" y="2359"/>
                  </a:lnTo>
                  <a:lnTo>
                    <a:pt x="480" y="2373"/>
                  </a:lnTo>
                  <a:lnTo>
                    <a:pt x="480" y="2404"/>
                  </a:lnTo>
                  <a:lnTo>
                    <a:pt x="480" y="2415"/>
                  </a:lnTo>
                  <a:lnTo>
                    <a:pt x="480" y="2450"/>
                  </a:lnTo>
                  <a:lnTo>
                    <a:pt x="480" y="2457"/>
                  </a:lnTo>
                  <a:lnTo>
                    <a:pt x="484" y="2502"/>
                  </a:lnTo>
                  <a:lnTo>
                    <a:pt x="484" y="2506"/>
                  </a:lnTo>
                  <a:cubicBezTo>
                    <a:pt x="487" y="2621"/>
                    <a:pt x="494" y="2772"/>
                    <a:pt x="501" y="2954"/>
                  </a:cubicBezTo>
                  <a:lnTo>
                    <a:pt x="501" y="2968"/>
                  </a:lnTo>
                  <a:cubicBezTo>
                    <a:pt x="501" y="2985"/>
                    <a:pt x="501" y="3006"/>
                    <a:pt x="505" y="3024"/>
                  </a:cubicBezTo>
                  <a:lnTo>
                    <a:pt x="505" y="3076"/>
                  </a:lnTo>
                  <a:lnTo>
                    <a:pt x="505" y="3104"/>
                  </a:lnTo>
                  <a:cubicBezTo>
                    <a:pt x="505" y="3139"/>
                    <a:pt x="508" y="3174"/>
                    <a:pt x="508" y="3209"/>
                  </a:cubicBezTo>
                  <a:cubicBezTo>
                    <a:pt x="610" y="3195"/>
                    <a:pt x="711" y="3188"/>
                    <a:pt x="813" y="3188"/>
                  </a:cubicBezTo>
                  <a:cubicBezTo>
                    <a:pt x="869" y="3188"/>
                    <a:pt x="921" y="3150"/>
                    <a:pt x="974" y="3111"/>
                  </a:cubicBezTo>
                  <a:cubicBezTo>
                    <a:pt x="1005" y="3087"/>
                    <a:pt x="1040" y="3066"/>
                    <a:pt x="1079" y="3052"/>
                  </a:cubicBezTo>
                  <a:lnTo>
                    <a:pt x="1075" y="3041"/>
                  </a:lnTo>
                  <a:cubicBezTo>
                    <a:pt x="1065" y="3020"/>
                    <a:pt x="1054" y="2999"/>
                    <a:pt x="1040" y="2978"/>
                  </a:cubicBezTo>
                  <a:cubicBezTo>
                    <a:pt x="998" y="2891"/>
                    <a:pt x="953" y="2807"/>
                    <a:pt x="953" y="2705"/>
                  </a:cubicBezTo>
                  <a:cubicBezTo>
                    <a:pt x="953" y="2635"/>
                    <a:pt x="949" y="2569"/>
                    <a:pt x="942" y="2499"/>
                  </a:cubicBezTo>
                  <a:cubicBezTo>
                    <a:pt x="925" y="2352"/>
                    <a:pt x="925" y="2201"/>
                    <a:pt x="942" y="2054"/>
                  </a:cubicBezTo>
                  <a:cubicBezTo>
                    <a:pt x="960" y="1907"/>
                    <a:pt x="1026" y="1774"/>
                    <a:pt x="1131" y="1669"/>
                  </a:cubicBezTo>
                  <a:cubicBezTo>
                    <a:pt x="1142" y="1658"/>
                    <a:pt x="1152" y="1648"/>
                    <a:pt x="1159" y="1641"/>
                  </a:cubicBezTo>
                  <a:cubicBezTo>
                    <a:pt x="1170" y="1630"/>
                    <a:pt x="1177" y="1623"/>
                    <a:pt x="1184" y="1620"/>
                  </a:cubicBezTo>
                  <a:cubicBezTo>
                    <a:pt x="1236" y="1501"/>
                    <a:pt x="1310" y="1396"/>
                    <a:pt x="1397" y="1301"/>
                  </a:cubicBezTo>
                  <a:cubicBezTo>
                    <a:pt x="1467" y="1231"/>
                    <a:pt x="1471" y="878"/>
                    <a:pt x="1439" y="577"/>
                  </a:cubicBezTo>
                  <a:cubicBezTo>
                    <a:pt x="1439" y="570"/>
                    <a:pt x="1439" y="563"/>
                    <a:pt x="1439" y="556"/>
                  </a:cubicBezTo>
                  <a:lnTo>
                    <a:pt x="1439" y="552"/>
                  </a:lnTo>
                  <a:lnTo>
                    <a:pt x="1436" y="528"/>
                  </a:lnTo>
                  <a:lnTo>
                    <a:pt x="1436" y="524"/>
                  </a:lnTo>
                  <a:cubicBezTo>
                    <a:pt x="1432" y="503"/>
                    <a:pt x="1429" y="479"/>
                    <a:pt x="1425" y="454"/>
                  </a:cubicBezTo>
                  <a:cubicBezTo>
                    <a:pt x="1422" y="426"/>
                    <a:pt x="1415" y="398"/>
                    <a:pt x="1411" y="370"/>
                  </a:cubicBezTo>
                  <a:lnTo>
                    <a:pt x="1408" y="332"/>
                  </a:lnTo>
                  <a:lnTo>
                    <a:pt x="1404" y="314"/>
                  </a:lnTo>
                  <a:lnTo>
                    <a:pt x="1404" y="304"/>
                  </a:lnTo>
                  <a:lnTo>
                    <a:pt x="1401" y="286"/>
                  </a:lnTo>
                  <a:cubicBezTo>
                    <a:pt x="1369" y="286"/>
                    <a:pt x="1338" y="286"/>
                    <a:pt x="1306" y="279"/>
                  </a:cubicBezTo>
                  <a:cubicBezTo>
                    <a:pt x="1289" y="272"/>
                    <a:pt x="1275" y="269"/>
                    <a:pt x="1261" y="262"/>
                  </a:cubicBezTo>
                  <a:cubicBezTo>
                    <a:pt x="1194" y="234"/>
                    <a:pt x="1149" y="171"/>
                    <a:pt x="1142" y="101"/>
                  </a:cubicBezTo>
                  <a:cubicBezTo>
                    <a:pt x="1142" y="90"/>
                    <a:pt x="1142" y="83"/>
                    <a:pt x="1142" y="80"/>
                  </a:cubicBezTo>
                  <a:cubicBezTo>
                    <a:pt x="1135" y="31"/>
                    <a:pt x="1135" y="17"/>
                    <a:pt x="1093" y="6"/>
                  </a:cubicBezTo>
                  <a:cubicBezTo>
                    <a:pt x="1082" y="2"/>
                    <a:pt x="1072" y="0"/>
                    <a:pt x="10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6" name="Google Shape;3936;p53"/>
            <p:cNvSpPr/>
            <p:nvPr/>
          </p:nvSpPr>
          <p:spPr>
            <a:xfrm>
              <a:off x="2074819" y="1958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7" name="Google Shape;3937;p53"/>
            <p:cNvSpPr/>
            <p:nvPr/>
          </p:nvSpPr>
          <p:spPr>
            <a:xfrm>
              <a:off x="2069972" y="199270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8" name="Google Shape;3938;p53"/>
            <p:cNvSpPr/>
            <p:nvPr/>
          </p:nvSpPr>
          <p:spPr>
            <a:xfrm>
              <a:off x="2074860" y="19588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9" name="Google Shape;3939;p53"/>
            <p:cNvSpPr/>
            <p:nvPr/>
          </p:nvSpPr>
          <p:spPr>
            <a:xfrm>
              <a:off x="2074670" y="19575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0" name="Google Shape;3940;p53"/>
            <p:cNvSpPr/>
            <p:nvPr/>
          </p:nvSpPr>
          <p:spPr>
            <a:xfrm>
              <a:off x="2074385" y="1955678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1" name="Google Shape;3941;p53"/>
            <p:cNvSpPr/>
            <p:nvPr/>
          </p:nvSpPr>
          <p:spPr>
            <a:xfrm>
              <a:off x="2074480" y="19563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2" name="Google Shape;3942;p53"/>
            <p:cNvSpPr/>
            <p:nvPr/>
          </p:nvSpPr>
          <p:spPr>
            <a:xfrm>
              <a:off x="2074344" y="1955244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8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3" name="Google Shape;3943;p53"/>
            <p:cNvSpPr/>
            <p:nvPr/>
          </p:nvSpPr>
          <p:spPr>
            <a:xfrm>
              <a:off x="2048669" y="1961041"/>
              <a:ext cx="11704" cy="36279"/>
            </a:xfrm>
            <a:custGeom>
              <a:avLst/>
              <a:gdLst/>
              <a:ahLst/>
              <a:cxnLst/>
              <a:rect l="l" t="t" r="r" b="b"/>
              <a:pathLst>
                <a:path w="862" h="2672" extrusionOk="0">
                  <a:moveTo>
                    <a:pt x="1" y="1"/>
                  </a:moveTo>
                  <a:lnTo>
                    <a:pt x="1" y="11"/>
                  </a:lnTo>
                  <a:lnTo>
                    <a:pt x="4" y="25"/>
                  </a:lnTo>
                  <a:lnTo>
                    <a:pt x="8" y="46"/>
                  </a:lnTo>
                  <a:lnTo>
                    <a:pt x="8" y="57"/>
                  </a:lnTo>
                  <a:lnTo>
                    <a:pt x="11" y="81"/>
                  </a:lnTo>
                  <a:lnTo>
                    <a:pt x="11" y="88"/>
                  </a:lnTo>
                  <a:lnTo>
                    <a:pt x="18" y="109"/>
                  </a:lnTo>
                  <a:lnTo>
                    <a:pt x="18" y="113"/>
                  </a:lnTo>
                  <a:cubicBezTo>
                    <a:pt x="25" y="141"/>
                    <a:pt x="29" y="158"/>
                    <a:pt x="36" y="176"/>
                  </a:cubicBezTo>
                  <a:lnTo>
                    <a:pt x="39" y="190"/>
                  </a:lnTo>
                  <a:lnTo>
                    <a:pt x="39" y="193"/>
                  </a:lnTo>
                  <a:lnTo>
                    <a:pt x="43" y="204"/>
                  </a:lnTo>
                  <a:lnTo>
                    <a:pt x="43" y="207"/>
                  </a:lnTo>
                  <a:lnTo>
                    <a:pt x="46" y="214"/>
                  </a:lnTo>
                  <a:lnTo>
                    <a:pt x="46" y="218"/>
                  </a:lnTo>
                  <a:lnTo>
                    <a:pt x="50" y="221"/>
                  </a:lnTo>
                  <a:lnTo>
                    <a:pt x="53" y="228"/>
                  </a:lnTo>
                  <a:lnTo>
                    <a:pt x="53" y="232"/>
                  </a:lnTo>
                  <a:lnTo>
                    <a:pt x="57" y="239"/>
                  </a:lnTo>
                  <a:cubicBezTo>
                    <a:pt x="134" y="284"/>
                    <a:pt x="186" y="358"/>
                    <a:pt x="207" y="442"/>
                  </a:cubicBezTo>
                  <a:cubicBezTo>
                    <a:pt x="221" y="501"/>
                    <a:pt x="225" y="564"/>
                    <a:pt x="221" y="624"/>
                  </a:cubicBezTo>
                  <a:cubicBezTo>
                    <a:pt x="221" y="652"/>
                    <a:pt x="218" y="683"/>
                    <a:pt x="214" y="722"/>
                  </a:cubicBezTo>
                  <a:lnTo>
                    <a:pt x="211" y="757"/>
                  </a:lnTo>
                  <a:cubicBezTo>
                    <a:pt x="200" y="858"/>
                    <a:pt x="193" y="984"/>
                    <a:pt x="193" y="1104"/>
                  </a:cubicBezTo>
                  <a:cubicBezTo>
                    <a:pt x="190" y="1191"/>
                    <a:pt x="204" y="1279"/>
                    <a:pt x="228" y="1359"/>
                  </a:cubicBezTo>
                  <a:cubicBezTo>
                    <a:pt x="316" y="1590"/>
                    <a:pt x="368" y="1835"/>
                    <a:pt x="379" y="2080"/>
                  </a:cubicBezTo>
                  <a:lnTo>
                    <a:pt x="379" y="2136"/>
                  </a:lnTo>
                  <a:cubicBezTo>
                    <a:pt x="379" y="2157"/>
                    <a:pt x="379" y="2178"/>
                    <a:pt x="382" y="2199"/>
                  </a:cubicBezTo>
                  <a:cubicBezTo>
                    <a:pt x="382" y="2206"/>
                    <a:pt x="386" y="2217"/>
                    <a:pt x="386" y="2224"/>
                  </a:cubicBezTo>
                  <a:cubicBezTo>
                    <a:pt x="389" y="2238"/>
                    <a:pt x="389" y="2252"/>
                    <a:pt x="393" y="2266"/>
                  </a:cubicBezTo>
                  <a:cubicBezTo>
                    <a:pt x="396" y="2280"/>
                    <a:pt x="396" y="2287"/>
                    <a:pt x="400" y="2294"/>
                  </a:cubicBezTo>
                  <a:cubicBezTo>
                    <a:pt x="403" y="2304"/>
                    <a:pt x="407" y="2325"/>
                    <a:pt x="410" y="2339"/>
                  </a:cubicBezTo>
                  <a:cubicBezTo>
                    <a:pt x="417" y="2353"/>
                    <a:pt x="417" y="2360"/>
                    <a:pt x="421" y="2371"/>
                  </a:cubicBezTo>
                  <a:cubicBezTo>
                    <a:pt x="424" y="2381"/>
                    <a:pt x="431" y="2399"/>
                    <a:pt x="435" y="2413"/>
                  </a:cubicBezTo>
                  <a:lnTo>
                    <a:pt x="445" y="2444"/>
                  </a:lnTo>
                  <a:cubicBezTo>
                    <a:pt x="452" y="2458"/>
                    <a:pt x="456" y="2476"/>
                    <a:pt x="463" y="2490"/>
                  </a:cubicBezTo>
                  <a:lnTo>
                    <a:pt x="473" y="2518"/>
                  </a:lnTo>
                  <a:cubicBezTo>
                    <a:pt x="480" y="2535"/>
                    <a:pt x="487" y="2549"/>
                    <a:pt x="494" y="2567"/>
                  </a:cubicBezTo>
                  <a:lnTo>
                    <a:pt x="505" y="2595"/>
                  </a:lnTo>
                  <a:cubicBezTo>
                    <a:pt x="512" y="2609"/>
                    <a:pt x="519" y="2626"/>
                    <a:pt x="526" y="2644"/>
                  </a:cubicBezTo>
                  <a:lnTo>
                    <a:pt x="536" y="2665"/>
                  </a:lnTo>
                  <a:lnTo>
                    <a:pt x="540" y="2672"/>
                  </a:lnTo>
                  <a:cubicBezTo>
                    <a:pt x="554" y="2661"/>
                    <a:pt x="568" y="2651"/>
                    <a:pt x="582" y="2640"/>
                  </a:cubicBezTo>
                  <a:cubicBezTo>
                    <a:pt x="662" y="2577"/>
                    <a:pt x="760" y="2535"/>
                    <a:pt x="862" y="2518"/>
                  </a:cubicBezTo>
                  <a:lnTo>
                    <a:pt x="862" y="2483"/>
                  </a:lnTo>
                  <a:lnTo>
                    <a:pt x="862" y="2469"/>
                  </a:lnTo>
                  <a:lnTo>
                    <a:pt x="859" y="2399"/>
                  </a:lnTo>
                  <a:lnTo>
                    <a:pt x="859" y="2367"/>
                  </a:lnTo>
                  <a:lnTo>
                    <a:pt x="859" y="2311"/>
                  </a:lnTo>
                  <a:lnTo>
                    <a:pt x="859" y="2280"/>
                  </a:lnTo>
                  <a:lnTo>
                    <a:pt x="859" y="2234"/>
                  </a:lnTo>
                  <a:lnTo>
                    <a:pt x="859" y="2199"/>
                  </a:lnTo>
                  <a:lnTo>
                    <a:pt x="859" y="2154"/>
                  </a:lnTo>
                  <a:lnTo>
                    <a:pt x="859" y="2119"/>
                  </a:lnTo>
                  <a:lnTo>
                    <a:pt x="859" y="2080"/>
                  </a:lnTo>
                  <a:lnTo>
                    <a:pt x="859" y="2045"/>
                  </a:lnTo>
                  <a:lnTo>
                    <a:pt x="859" y="2010"/>
                  </a:lnTo>
                  <a:lnTo>
                    <a:pt x="859" y="1982"/>
                  </a:lnTo>
                  <a:lnTo>
                    <a:pt x="859" y="1940"/>
                  </a:lnTo>
                  <a:lnTo>
                    <a:pt x="859" y="1919"/>
                  </a:lnTo>
                  <a:lnTo>
                    <a:pt x="859" y="1874"/>
                  </a:lnTo>
                  <a:lnTo>
                    <a:pt x="859" y="1860"/>
                  </a:lnTo>
                  <a:lnTo>
                    <a:pt x="859" y="1814"/>
                  </a:lnTo>
                  <a:lnTo>
                    <a:pt x="859" y="1800"/>
                  </a:lnTo>
                  <a:lnTo>
                    <a:pt x="859" y="1762"/>
                  </a:lnTo>
                  <a:lnTo>
                    <a:pt x="859" y="1751"/>
                  </a:lnTo>
                  <a:lnTo>
                    <a:pt x="859" y="1713"/>
                  </a:lnTo>
                  <a:lnTo>
                    <a:pt x="859" y="1706"/>
                  </a:lnTo>
                  <a:lnTo>
                    <a:pt x="859" y="1671"/>
                  </a:lnTo>
                  <a:lnTo>
                    <a:pt x="859" y="1664"/>
                  </a:lnTo>
                  <a:lnTo>
                    <a:pt x="859" y="1632"/>
                  </a:lnTo>
                  <a:lnTo>
                    <a:pt x="859" y="1625"/>
                  </a:lnTo>
                  <a:lnTo>
                    <a:pt x="859" y="1594"/>
                  </a:lnTo>
                  <a:lnTo>
                    <a:pt x="859" y="1562"/>
                  </a:lnTo>
                  <a:cubicBezTo>
                    <a:pt x="852" y="1471"/>
                    <a:pt x="848" y="1380"/>
                    <a:pt x="848" y="1300"/>
                  </a:cubicBezTo>
                  <a:cubicBezTo>
                    <a:pt x="845" y="1146"/>
                    <a:pt x="841" y="1009"/>
                    <a:pt x="792" y="960"/>
                  </a:cubicBezTo>
                  <a:cubicBezTo>
                    <a:pt x="764" y="932"/>
                    <a:pt x="750" y="893"/>
                    <a:pt x="750" y="855"/>
                  </a:cubicBezTo>
                  <a:cubicBezTo>
                    <a:pt x="750" y="820"/>
                    <a:pt x="753" y="785"/>
                    <a:pt x="764" y="750"/>
                  </a:cubicBezTo>
                  <a:cubicBezTo>
                    <a:pt x="781" y="666"/>
                    <a:pt x="795" y="613"/>
                    <a:pt x="697" y="557"/>
                  </a:cubicBezTo>
                  <a:cubicBezTo>
                    <a:pt x="669" y="543"/>
                    <a:pt x="645" y="529"/>
                    <a:pt x="620" y="515"/>
                  </a:cubicBezTo>
                  <a:lnTo>
                    <a:pt x="592" y="498"/>
                  </a:lnTo>
                  <a:lnTo>
                    <a:pt x="578" y="491"/>
                  </a:lnTo>
                  <a:lnTo>
                    <a:pt x="564" y="484"/>
                  </a:lnTo>
                  <a:lnTo>
                    <a:pt x="550" y="477"/>
                  </a:lnTo>
                  <a:lnTo>
                    <a:pt x="536" y="466"/>
                  </a:lnTo>
                  <a:lnTo>
                    <a:pt x="526" y="459"/>
                  </a:lnTo>
                  <a:lnTo>
                    <a:pt x="512" y="449"/>
                  </a:lnTo>
                  <a:lnTo>
                    <a:pt x="505" y="442"/>
                  </a:lnTo>
                  <a:lnTo>
                    <a:pt x="491" y="431"/>
                  </a:lnTo>
                  <a:lnTo>
                    <a:pt x="484" y="421"/>
                  </a:lnTo>
                  <a:lnTo>
                    <a:pt x="473" y="410"/>
                  </a:lnTo>
                  <a:lnTo>
                    <a:pt x="463" y="400"/>
                  </a:lnTo>
                  <a:lnTo>
                    <a:pt x="456" y="389"/>
                  </a:lnTo>
                  <a:lnTo>
                    <a:pt x="449" y="379"/>
                  </a:lnTo>
                  <a:lnTo>
                    <a:pt x="438" y="365"/>
                  </a:lnTo>
                  <a:lnTo>
                    <a:pt x="435" y="351"/>
                  </a:lnTo>
                  <a:lnTo>
                    <a:pt x="428" y="337"/>
                  </a:lnTo>
                  <a:lnTo>
                    <a:pt x="421" y="323"/>
                  </a:lnTo>
                  <a:lnTo>
                    <a:pt x="414" y="305"/>
                  </a:lnTo>
                  <a:lnTo>
                    <a:pt x="410" y="288"/>
                  </a:lnTo>
                  <a:cubicBezTo>
                    <a:pt x="410" y="284"/>
                    <a:pt x="407" y="277"/>
                    <a:pt x="403" y="270"/>
                  </a:cubicBezTo>
                  <a:cubicBezTo>
                    <a:pt x="403" y="263"/>
                    <a:pt x="400" y="256"/>
                    <a:pt x="400" y="253"/>
                  </a:cubicBezTo>
                  <a:cubicBezTo>
                    <a:pt x="400" y="246"/>
                    <a:pt x="396" y="239"/>
                    <a:pt x="396" y="232"/>
                  </a:cubicBezTo>
                  <a:cubicBezTo>
                    <a:pt x="393" y="221"/>
                    <a:pt x="393" y="218"/>
                    <a:pt x="389" y="211"/>
                  </a:cubicBezTo>
                  <a:cubicBezTo>
                    <a:pt x="389" y="204"/>
                    <a:pt x="389" y="193"/>
                    <a:pt x="386" y="186"/>
                  </a:cubicBezTo>
                  <a:cubicBezTo>
                    <a:pt x="386" y="176"/>
                    <a:pt x="386" y="172"/>
                    <a:pt x="382" y="165"/>
                  </a:cubicBezTo>
                  <a:cubicBezTo>
                    <a:pt x="382" y="155"/>
                    <a:pt x="382" y="144"/>
                    <a:pt x="379" y="134"/>
                  </a:cubicBezTo>
                  <a:cubicBezTo>
                    <a:pt x="379" y="123"/>
                    <a:pt x="379" y="120"/>
                    <a:pt x="379" y="113"/>
                  </a:cubicBezTo>
                  <a:cubicBezTo>
                    <a:pt x="375" y="102"/>
                    <a:pt x="379" y="88"/>
                    <a:pt x="375" y="78"/>
                  </a:cubicBezTo>
                  <a:cubicBezTo>
                    <a:pt x="372" y="67"/>
                    <a:pt x="375" y="60"/>
                    <a:pt x="375" y="53"/>
                  </a:cubicBezTo>
                  <a:lnTo>
                    <a:pt x="375" y="50"/>
                  </a:lnTo>
                  <a:cubicBezTo>
                    <a:pt x="364" y="50"/>
                    <a:pt x="354" y="50"/>
                    <a:pt x="343" y="50"/>
                  </a:cubicBezTo>
                  <a:cubicBezTo>
                    <a:pt x="276" y="50"/>
                    <a:pt x="224" y="41"/>
                    <a:pt x="176" y="29"/>
                  </a:cubicBezTo>
                  <a:cubicBezTo>
                    <a:pt x="144" y="22"/>
                    <a:pt x="109" y="18"/>
                    <a:pt x="78" y="11"/>
                  </a:cubicBezTo>
                  <a:lnTo>
                    <a:pt x="71" y="11"/>
                  </a:lnTo>
                  <a:lnTo>
                    <a:pt x="36" y="4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4" name="Google Shape;3944;p53"/>
            <p:cNvSpPr/>
            <p:nvPr/>
          </p:nvSpPr>
          <p:spPr>
            <a:xfrm>
              <a:off x="2054141" y="196598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7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5" name="Google Shape;3945;p53"/>
            <p:cNvSpPr/>
            <p:nvPr/>
          </p:nvSpPr>
          <p:spPr>
            <a:xfrm>
              <a:off x="2054331" y="196632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6" name="Google Shape;3946;p53"/>
            <p:cNvSpPr/>
            <p:nvPr/>
          </p:nvSpPr>
          <p:spPr>
            <a:xfrm>
              <a:off x="2053476" y="196341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cubicBezTo>
                    <a:pt x="0" y="8"/>
                    <a:pt x="0" y="15"/>
                    <a:pt x="4" y="22"/>
                  </a:cubicBez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7" name="Google Shape;3947;p53"/>
            <p:cNvSpPr/>
            <p:nvPr/>
          </p:nvSpPr>
          <p:spPr>
            <a:xfrm>
              <a:off x="2053326" y="1961897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8" name="Google Shape;3948;p53"/>
            <p:cNvSpPr/>
            <p:nvPr/>
          </p:nvSpPr>
          <p:spPr>
            <a:xfrm>
              <a:off x="2060414" y="1992514"/>
              <a:ext cx="14" cy="774"/>
            </a:xfrm>
            <a:custGeom>
              <a:avLst/>
              <a:gdLst/>
              <a:ahLst/>
              <a:cxnLst/>
              <a:rect l="l" t="t" r="r" b="b"/>
              <a:pathLst>
                <a:path w="1" h="57" extrusionOk="0">
                  <a:moveTo>
                    <a:pt x="1" y="0"/>
                  </a:moveTo>
                  <a:lnTo>
                    <a:pt x="1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9" name="Google Shape;3949;p53"/>
            <p:cNvSpPr/>
            <p:nvPr/>
          </p:nvSpPr>
          <p:spPr>
            <a:xfrm>
              <a:off x="2053666" y="196465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4"/>
                    <a:pt x="4" y="11"/>
                    <a:pt x="4" y="18"/>
                  </a:cubicBezTo>
                  <a:cubicBezTo>
                    <a:pt x="4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0" name="Google Shape;3950;p53"/>
            <p:cNvSpPr/>
            <p:nvPr/>
          </p:nvSpPr>
          <p:spPr>
            <a:xfrm>
              <a:off x="2053571" y="196408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8"/>
                    <a:pt x="4" y="11"/>
                    <a:pt x="4" y="18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1" name="Google Shape;3951;p53"/>
            <p:cNvSpPr/>
            <p:nvPr/>
          </p:nvSpPr>
          <p:spPr>
            <a:xfrm>
              <a:off x="2053381" y="1962711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cubicBezTo>
                    <a:pt x="0" y="11"/>
                    <a:pt x="0" y="18"/>
                    <a:pt x="4" y="25"/>
                  </a:cubicBezTo>
                  <a:cubicBezTo>
                    <a:pt x="0" y="18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2" name="Google Shape;3952;p53"/>
            <p:cNvSpPr/>
            <p:nvPr/>
          </p:nvSpPr>
          <p:spPr>
            <a:xfrm>
              <a:off x="2060319" y="1990369"/>
              <a:ext cx="14" cy="638"/>
            </a:xfrm>
            <a:custGeom>
              <a:avLst/>
              <a:gdLst/>
              <a:ahLst/>
              <a:cxnLst/>
              <a:rect l="l" t="t" r="r" b="b"/>
              <a:pathLst>
                <a:path w="1" h="47" extrusionOk="0">
                  <a:moveTo>
                    <a:pt x="1" y="1"/>
                  </a:moveTo>
                  <a:lnTo>
                    <a:pt x="1" y="4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3" name="Google Shape;3953;p53"/>
            <p:cNvSpPr/>
            <p:nvPr/>
          </p:nvSpPr>
          <p:spPr>
            <a:xfrm>
              <a:off x="2060319" y="1989378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4" name="Google Shape;3954;p53"/>
            <p:cNvSpPr/>
            <p:nvPr/>
          </p:nvSpPr>
          <p:spPr>
            <a:xfrm>
              <a:off x="2058459" y="1972786"/>
              <a:ext cx="584" cy="1439"/>
            </a:xfrm>
            <a:custGeom>
              <a:avLst/>
              <a:gdLst/>
              <a:ahLst/>
              <a:cxnLst/>
              <a:rect l="l" t="t" r="r" b="b"/>
              <a:pathLst>
                <a:path w="43" h="106" extrusionOk="0">
                  <a:moveTo>
                    <a:pt x="43" y="105"/>
                  </a:moveTo>
                  <a:cubicBezTo>
                    <a:pt x="15" y="77"/>
                    <a:pt x="1" y="42"/>
                    <a:pt x="1" y="0"/>
                  </a:cubicBezTo>
                  <a:cubicBezTo>
                    <a:pt x="1" y="42"/>
                    <a:pt x="15" y="77"/>
                    <a:pt x="43" y="10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5" name="Google Shape;3955;p53"/>
            <p:cNvSpPr/>
            <p:nvPr/>
          </p:nvSpPr>
          <p:spPr>
            <a:xfrm>
              <a:off x="2054806" y="1966934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6" name="Google Shape;3956;p53"/>
            <p:cNvSpPr/>
            <p:nvPr/>
          </p:nvSpPr>
          <p:spPr>
            <a:xfrm>
              <a:off x="2053951" y="196560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7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7" name="Google Shape;3957;p53"/>
            <p:cNvSpPr/>
            <p:nvPr/>
          </p:nvSpPr>
          <p:spPr>
            <a:xfrm>
              <a:off x="2060373" y="1991414"/>
              <a:ext cx="0" cy="679"/>
            </a:xfrm>
            <a:custGeom>
              <a:avLst/>
              <a:gdLst/>
              <a:ahLst/>
              <a:cxnLst/>
              <a:rect l="l" t="t" r="r" b="b"/>
              <a:pathLst>
                <a:path h="50" extrusionOk="0">
                  <a:moveTo>
                    <a:pt x="0" y="1"/>
                  </a:moveTo>
                  <a:lnTo>
                    <a:pt x="0" y="5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8" name="Google Shape;3958;p53"/>
            <p:cNvSpPr/>
            <p:nvPr/>
          </p:nvSpPr>
          <p:spPr>
            <a:xfrm>
              <a:off x="2053801" y="196512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9" name="Google Shape;3959;p53"/>
            <p:cNvSpPr/>
            <p:nvPr/>
          </p:nvSpPr>
          <p:spPr>
            <a:xfrm>
              <a:off x="2060224" y="1987477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0" name="Google Shape;3960;p53"/>
            <p:cNvSpPr/>
            <p:nvPr/>
          </p:nvSpPr>
          <p:spPr>
            <a:xfrm>
              <a:off x="2060034" y="1983865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1" name="Google Shape;3961;p53"/>
            <p:cNvSpPr/>
            <p:nvPr/>
          </p:nvSpPr>
          <p:spPr>
            <a:xfrm>
              <a:off x="2059939" y="1982820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2" name="Google Shape;3962;p53"/>
            <p:cNvSpPr/>
            <p:nvPr/>
          </p:nvSpPr>
          <p:spPr>
            <a:xfrm>
              <a:off x="2060088" y="1984435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3" name="Google Shape;3963;p53"/>
            <p:cNvSpPr/>
            <p:nvPr/>
          </p:nvSpPr>
          <p:spPr>
            <a:xfrm>
              <a:off x="2059993" y="1983295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lnTo>
                    <a:pt x="0" y="32"/>
                  </a:lnTo>
                  <a:cubicBezTo>
                    <a:pt x="4" y="21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4" name="Google Shape;3964;p53"/>
            <p:cNvSpPr/>
            <p:nvPr/>
          </p:nvSpPr>
          <p:spPr>
            <a:xfrm>
              <a:off x="2060468" y="1993695"/>
              <a:ext cx="54" cy="923"/>
            </a:xfrm>
            <a:custGeom>
              <a:avLst/>
              <a:gdLst/>
              <a:ahLst/>
              <a:cxnLst/>
              <a:rect l="l" t="t" r="r" b="b"/>
              <a:pathLst>
                <a:path w="4" h="68" extrusionOk="0">
                  <a:moveTo>
                    <a:pt x="0" y="1"/>
                  </a:moveTo>
                  <a:lnTo>
                    <a:pt x="4" y="6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5" name="Google Shape;3965;p53"/>
            <p:cNvSpPr/>
            <p:nvPr/>
          </p:nvSpPr>
          <p:spPr>
            <a:xfrm>
              <a:off x="2060183" y="1986621"/>
              <a:ext cx="0" cy="584"/>
            </a:xfrm>
            <a:custGeom>
              <a:avLst/>
              <a:gdLst/>
              <a:ahLst/>
              <a:cxnLst/>
              <a:rect l="l" t="t" r="r" b="b"/>
              <a:pathLst>
                <a:path h="43" extrusionOk="0">
                  <a:moveTo>
                    <a:pt x="0" y="0"/>
                  </a:moveTo>
                  <a:lnTo>
                    <a:pt x="0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6" name="Google Shape;3966;p53"/>
            <p:cNvSpPr/>
            <p:nvPr/>
          </p:nvSpPr>
          <p:spPr>
            <a:xfrm>
              <a:off x="2060129" y="1985807"/>
              <a:ext cx="14" cy="638"/>
            </a:xfrm>
            <a:custGeom>
              <a:avLst/>
              <a:gdLst/>
              <a:ahLst/>
              <a:cxnLst/>
              <a:rect l="l" t="t" r="r" b="b"/>
              <a:pathLst>
                <a:path w="1" h="47" extrusionOk="0">
                  <a:moveTo>
                    <a:pt x="1" y="1"/>
                  </a:moveTo>
                  <a:lnTo>
                    <a:pt x="1" y="4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7" name="Google Shape;3967;p53"/>
            <p:cNvSpPr/>
            <p:nvPr/>
          </p:nvSpPr>
          <p:spPr>
            <a:xfrm>
              <a:off x="2060088" y="1985101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8" name="Google Shape;3968;p53"/>
            <p:cNvSpPr/>
            <p:nvPr/>
          </p:nvSpPr>
          <p:spPr>
            <a:xfrm>
              <a:off x="2054562" y="196664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9" name="Google Shape;3969;p53"/>
            <p:cNvSpPr/>
            <p:nvPr/>
          </p:nvSpPr>
          <p:spPr>
            <a:xfrm>
              <a:off x="2060509" y="1994795"/>
              <a:ext cx="14" cy="530"/>
            </a:xfrm>
            <a:custGeom>
              <a:avLst/>
              <a:gdLst/>
              <a:ahLst/>
              <a:cxnLst/>
              <a:rect l="l" t="t" r="r" b="b"/>
              <a:pathLst>
                <a:path w="1" h="39" extrusionOk="0">
                  <a:moveTo>
                    <a:pt x="1" y="39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0" name="Google Shape;3970;p53"/>
            <p:cNvSpPr/>
            <p:nvPr/>
          </p:nvSpPr>
          <p:spPr>
            <a:xfrm>
              <a:off x="2055091" y="196717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1" name="Google Shape;3971;p53"/>
            <p:cNvSpPr/>
            <p:nvPr/>
          </p:nvSpPr>
          <p:spPr>
            <a:xfrm>
              <a:off x="2055376" y="196746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2" name="Google Shape;3972;p53"/>
            <p:cNvSpPr/>
            <p:nvPr/>
          </p:nvSpPr>
          <p:spPr>
            <a:xfrm>
              <a:off x="2059939" y="1982385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1"/>
                  </a:moveTo>
                  <a:lnTo>
                    <a:pt x="1" y="32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3" name="Google Shape;3973;p53"/>
            <p:cNvSpPr/>
            <p:nvPr/>
          </p:nvSpPr>
          <p:spPr>
            <a:xfrm>
              <a:off x="2060278" y="1988427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4" name="Google Shape;3974;p53"/>
            <p:cNvSpPr/>
            <p:nvPr/>
          </p:nvSpPr>
          <p:spPr>
            <a:xfrm>
              <a:off x="2056137" y="196788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5" name="Google Shape;3975;p53"/>
            <p:cNvSpPr/>
            <p:nvPr/>
          </p:nvSpPr>
          <p:spPr>
            <a:xfrm>
              <a:off x="2055757" y="196765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6" name="Google Shape;3976;p53"/>
            <p:cNvSpPr/>
            <p:nvPr/>
          </p:nvSpPr>
          <p:spPr>
            <a:xfrm>
              <a:off x="2153623" y="1945930"/>
              <a:ext cx="3720" cy="6381"/>
            </a:xfrm>
            <a:custGeom>
              <a:avLst/>
              <a:gdLst/>
              <a:ahLst/>
              <a:cxnLst/>
              <a:rect l="l" t="t" r="r" b="b"/>
              <a:pathLst>
                <a:path w="274" h="470" extrusionOk="0">
                  <a:moveTo>
                    <a:pt x="15" y="0"/>
                  </a:moveTo>
                  <a:lnTo>
                    <a:pt x="11" y="14"/>
                  </a:lnTo>
                  <a:lnTo>
                    <a:pt x="8" y="28"/>
                  </a:lnTo>
                  <a:cubicBezTo>
                    <a:pt x="8" y="35"/>
                    <a:pt x="8" y="46"/>
                    <a:pt x="4" y="53"/>
                  </a:cubicBezTo>
                  <a:lnTo>
                    <a:pt x="4" y="63"/>
                  </a:lnTo>
                  <a:cubicBezTo>
                    <a:pt x="4" y="77"/>
                    <a:pt x="4" y="88"/>
                    <a:pt x="1" y="98"/>
                  </a:cubicBezTo>
                  <a:lnTo>
                    <a:pt x="1" y="109"/>
                  </a:lnTo>
                  <a:lnTo>
                    <a:pt x="1" y="134"/>
                  </a:lnTo>
                  <a:lnTo>
                    <a:pt x="1" y="144"/>
                  </a:lnTo>
                  <a:lnTo>
                    <a:pt x="1" y="165"/>
                  </a:lnTo>
                  <a:lnTo>
                    <a:pt x="1" y="176"/>
                  </a:lnTo>
                  <a:lnTo>
                    <a:pt x="1" y="193"/>
                  </a:lnTo>
                  <a:lnTo>
                    <a:pt x="1" y="200"/>
                  </a:lnTo>
                  <a:lnTo>
                    <a:pt x="1" y="221"/>
                  </a:lnTo>
                  <a:cubicBezTo>
                    <a:pt x="1" y="260"/>
                    <a:pt x="92" y="354"/>
                    <a:pt x="183" y="386"/>
                  </a:cubicBezTo>
                  <a:cubicBezTo>
                    <a:pt x="193" y="389"/>
                    <a:pt x="204" y="393"/>
                    <a:pt x="211" y="400"/>
                  </a:cubicBezTo>
                  <a:lnTo>
                    <a:pt x="218" y="403"/>
                  </a:lnTo>
                  <a:cubicBezTo>
                    <a:pt x="225" y="407"/>
                    <a:pt x="232" y="414"/>
                    <a:pt x="239" y="421"/>
                  </a:cubicBezTo>
                  <a:cubicBezTo>
                    <a:pt x="246" y="424"/>
                    <a:pt x="249" y="435"/>
                    <a:pt x="256" y="442"/>
                  </a:cubicBezTo>
                  <a:lnTo>
                    <a:pt x="260" y="445"/>
                  </a:lnTo>
                  <a:cubicBezTo>
                    <a:pt x="261" y="448"/>
                    <a:pt x="263" y="452"/>
                    <a:pt x="265" y="456"/>
                  </a:cubicBezTo>
                  <a:lnTo>
                    <a:pt x="265" y="456"/>
                  </a:lnTo>
                  <a:cubicBezTo>
                    <a:pt x="263" y="450"/>
                    <a:pt x="263" y="444"/>
                    <a:pt x="263" y="438"/>
                  </a:cubicBezTo>
                  <a:cubicBezTo>
                    <a:pt x="274" y="365"/>
                    <a:pt x="197" y="176"/>
                    <a:pt x="99" y="67"/>
                  </a:cubicBezTo>
                  <a:cubicBezTo>
                    <a:pt x="92" y="60"/>
                    <a:pt x="85" y="53"/>
                    <a:pt x="78" y="46"/>
                  </a:cubicBezTo>
                  <a:lnTo>
                    <a:pt x="71" y="39"/>
                  </a:lnTo>
                  <a:cubicBezTo>
                    <a:pt x="64" y="35"/>
                    <a:pt x="57" y="28"/>
                    <a:pt x="53" y="25"/>
                  </a:cubicBezTo>
                  <a:cubicBezTo>
                    <a:pt x="46" y="18"/>
                    <a:pt x="39" y="14"/>
                    <a:pt x="36" y="11"/>
                  </a:cubicBezTo>
                  <a:lnTo>
                    <a:pt x="29" y="7"/>
                  </a:lnTo>
                  <a:cubicBezTo>
                    <a:pt x="25" y="4"/>
                    <a:pt x="18" y="4"/>
                    <a:pt x="15" y="0"/>
                  </a:cubicBezTo>
                  <a:close/>
                  <a:moveTo>
                    <a:pt x="265" y="456"/>
                  </a:moveTo>
                  <a:cubicBezTo>
                    <a:pt x="266" y="461"/>
                    <a:pt x="267" y="465"/>
                    <a:pt x="270" y="470"/>
                  </a:cubicBezTo>
                  <a:cubicBezTo>
                    <a:pt x="268" y="466"/>
                    <a:pt x="266" y="461"/>
                    <a:pt x="265" y="4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7" name="Google Shape;3977;p53"/>
            <p:cNvSpPr/>
            <p:nvPr/>
          </p:nvSpPr>
          <p:spPr>
            <a:xfrm>
              <a:off x="2113366" y="1953723"/>
              <a:ext cx="52776" cy="75260"/>
            </a:xfrm>
            <a:custGeom>
              <a:avLst/>
              <a:gdLst/>
              <a:ahLst/>
              <a:cxnLst/>
              <a:rect l="l" t="t" r="r" b="b"/>
              <a:pathLst>
                <a:path w="3887" h="5543" extrusionOk="0">
                  <a:moveTo>
                    <a:pt x="3239" y="1"/>
                  </a:moveTo>
                  <a:cubicBezTo>
                    <a:pt x="3239" y="22"/>
                    <a:pt x="3235" y="46"/>
                    <a:pt x="3235" y="64"/>
                  </a:cubicBezTo>
                  <a:lnTo>
                    <a:pt x="3235" y="67"/>
                  </a:lnTo>
                  <a:cubicBezTo>
                    <a:pt x="3232" y="88"/>
                    <a:pt x="3228" y="109"/>
                    <a:pt x="3225" y="130"/>
                  </a:cubicBezTo>
                  <a:cubicBezTo>
                    <a:pt x="3221" y="158"/>
                    <a:pt x="3218" y="183"/>
                    <a:pt x="3214" y="211"/>
                  </a:cubicBezTo>
                  <a:cubicBezTo>
                    <a:pt x="3200" y="347"/>
                    <a:pt x="3057" y="379"/>
                    <a:pt x="2962" y="400"/>
                  </a:cubicBezTo>
                  <a:cubicBezTo>
                    <a:pt x="2931" y="403"/>
                    <a:pt x="2903" y="410"/>
                    <a:pt x="2875" y="424"/>
                  </a:cubicBezTo>
                  <a:cubicBezTo>
                    <a:pt x="2812" y="508"/>
                    <a:pt x="2574" y="893"/>
                    <a:pt x="2567" y="970"/>
                  </a:cubicBezTo>
                  <a:cubicBezTo>
                    <a:pt x="2584" y="1068"/>
                    <a:pt x="2521" y="1348"/>
                    <a:pt x="2399" y="1397"/>
                  </a:cubicBezTo>
                  <a:cubicBezTo>
                    <a:pt x="2388" y="1401"/>
                    <a:pt x="2371" y="1425"/>
                    <a:pt x="2374" y="1590"/>
                  </a:cubicBezTo>
                  <a:lnTo>
                    <a:pt x="2374" y="1629"/>
                  </a:lnTo>
                  <a:cubicBezTo>
                    <a:pt x="2374" y="1695"/>
                    <a:pt x="2315" y="1744"/>
                    <a:pt x="2241" y="1804"/>
                  </a:cubicBezTo>
                  <a:cubicBezTo>
                    <a:pt x="2188" y="1846"/>
                    <a:pt x="2115" y="1909"/>
                    <a:pt x="2115" y="1951"/>
                  </a:cubicBezTo>
                  <a:cubicBezTo>
                    <a:pt x="2115" y="2059"/>
                    <a:pt x="1975" y="2329"/>
                    <a:pt x="1751" y="2731"/>
                  </a:cubicBezTo>
                  <a:lnTo>
                    <a:pt x="1702" y="2819"/>
                  </a:lnTo>
                  <a:cubicBezTo>
                    <a:pt x="1688" y="2847"/>
                    <a:pt x="1670" y="2875"/>
                    <a:pt x="1656" y="2903"/>
                  </a:cubicBezTo>
                  <a:cubicBezTo>
                    <a:pt x="1578" y="3057"/>
                    <a:pt x="1527" y="3153"/>
                    <a:pt x="1454" y="3153"/>
                  </a:cubicBezTo>
                  <a:cubicBezTo>
                    <a:pt x="1449" y="3153"/>
                    <a:pt x="1444" y="3152"/>
                    <a:pt x="1439" y="3151"/>
                  </a:cubicBezTo>
                  <a:cubicBezTo>
                    <a:pt x="1394" y="3144"/>
                    <a:pt x="1366" y="3109"/>
                    <a:pt x="1352" y="3046"/>
                  </a:cubicBezTo>
                  <a:cubicBezTo>
                    <a:pt x="1334" y="2962"/>
                    <a:pt x="1236" y="2854"/>
                    <a:pt x="1142" y="2815"/>
                  </a:cubicBezTo>
                  <a:cubicBezTo>
                    <a:pt x="1129" y="2808"/>
                    <a:pt x="1114" y="2804"/>
                    <a:pt x="1100" y="2804"/>
                  </a:cubicBezTo>
                  <a:cubicBezTo>
                    <a:pt x="1088" y="2804"/>
                    <a:pt x="1076" y="2807"/>
                    <a:pt x="1065" y="2812"/>
                  </a:cubicBezTo>
                  <a:cubicBezTo>
                    <a:pt x="1006" y="2851"/>
                    <a:pt x="936" y="2872"/>
                    <a:pt x="864" y="2872"/>
                  </a:cubicBezTo>
                  <a:cubicBezTo>
                    <a:pt x="859" y="2872"/>
                    <a:pt x="853" y="2872"/>
                    <a:pt x="848" y="2871"/>
                  </a:cubicBezTo>
                  <a:lnTo>
                    <a:pt x="785" y="2871"/>
                  </a:lnTo>
                  <a:cubicBezTo>
                    <a:pt x="774" y="2870"/>
                    <a:pt x="764" y="2869"/>
                    <a:pt x="753" y="2869"/>
                  </a:cubicBezTo>
                  <a:cubicBezTo>
                    <a:pt x="743" y="2869"/>
                    <a:pt x="732" y="2870"/>
                    <a:pt x="722" y="2871"/>
                  </a:cubicBezTo>
                  <a:cubicBezTo>
                    <a:pt x="666" y="2906"/>
                    <a:pt x="386" y="3179"/>
                    <a:pt x="137" y="3438"/>
                  </a:cubicBezTo>
                  <a:lnTo>
                    <a:pt x="137" y="3452"/>
                  </a:lnTo>
                  <a:lnTo>
                    <a:pt x="137" y="3459"/>
                  </a:lnTo>
                  <a:lnTo>
                    <a:pt x="137" y="3470"/>
                  </a:lnTo>
                  <a:lnTo>
                    <a:pt x="137" y="3477"/>
                  </a:lnTo>
                  <a:lnTo>
                    <a:pt x="133" y="3491"/>
                  </a:lnTo>
                  <a:lnTo>
                    <a:pt x="133" y="3501"/>
                  </a:lnTo>
                  <a:lnTo>
                    <a:pt x="130" y="3515"/>
                  </a:lnTo>
                  <a:lnTo>
                    <a:pt x="126" y="3529"/>
                  </a:lnTo>
                  <a:lnTo>
                    <a:pt x="123" y="3543"/>
                  </a:lnTo>
                  <a:lnTo>
                    <a:pt x="119" y="3557"/>
                  </a:lnTo>
                  <a:lnTo>
                    <a:pt x="116" y="3575"/>
                  </a:lnTo>
                  <a:lnTo>
                    <a:pt x="112" y="3589"/>
                  </a:lnTo>
                  <a:lnTo>
                    <a:pt x="109" y="3606"/>
                  </a:lnTo>
                  <a:lnTo>
                    <a:pt x="105" y="3624"/>
                  </a:lnTo>
                  <a:lnTo>
                    <a:pt x="98" y="3645"/>
                  </a:lnTo>
                  <a:lnTo>
                    <a:pt x="95" y="3659"/>
                  </a:lnTo>
                  <a:lnTo>
                    <a:pt x="91" y="3680"/>
                  </a:lnTo>
                  <a:lnTo>
                    <a:pt x="84" y="3701"/>
                  </a:lnTo>
                  <a:lnTo>
                    <a:pt x="81" y="3722"/>
                  </a:lnTo>
                  <a:lnTo>
                    <a:pt x="74" y="3740"/>
                  </a:lnTo>
                  <a:lnTo>
                    <a:pt x="67" y="3764"/>
                  </a:lnTo>
                  <a:lnTo>
                    <a:pt x="63" y="3782"/>
                  </a:lnTo>
                  <a:lnTo>
                    <a:pt x="53" y="3810"/>
                  </a:lnTo>
                  <a:lnTo>
                    <a:pt x="49" y="3827"/>
                  </a:lnTo>
                  <a:lnTo>
                    <a:pt x="39" y="3855"/>
                  </a:lnTo>
                  <a:lnTo>
                    <a:pt x="35" y="3873"/>
                  </a:lnTo>
                  <a:lnTo>
                    <a:pt x="25" y="3904"/>
                  </a:lnTo>
                  <a:lnTo>
                    <a:pt x="18" y="3918"/>
                  </a:lnTo>
                  <a:lnTo>
                    <a:pt x="7" y="3953"/>
                  </a:lnTo>
                  <a:lnTo>
                    <a:pt x="0" y="3967"/>
                  </a:lnTo>
                  <a:lnTo>
                    <a:pt x="0" y="3971"/>
                  </a:lnTo>
                  <a:cubicBezTo>
                    <a:pt x="53" y="4030"/>
                    <a:pt x="102" y="4093"/>
                    <a:pt x="140" y="4160"/>
                  </a:cubicBezTo>
                  <a:cubicBezTo>
                    <a:pt x="161" y="4191"/>
                    <a:pt x="182" y="4226"/>
                    <a:pt x="207" y="4258"/>
                  </a:cubicBezTo>
                  <a:cubicBezTo>
                    <a:pt x="240" y="4305"/>
                    <a:pt x="285" y="4319"/>
                    <a:pt x="346" y="4319"/>
                  </a:cubicBezTo>
                  <a:cubicBezTo>
                    <a:pt x="371" y="4319"/>
                    <a:pt x="398" y="4317"/>
                    <a:pt x="428" y="4314"/>
                  </a:cubicBezTo>
                  <a:cubicBezTo>
                    <a:pt x="449" y="4309"/>
                    <a:pt x="470" y="4306"/>
                    <a:pt x="491" y="4306"/>
                  </a:cubicBezTo>
                  <a:cubicBezTo>
                    <a:pt x="529" y="4306"/>
                    <a:pt x="566" y="4314"/>
                    <a:pt x="603" y="4328"/>
                  </a:cubicBezTo>
                  <a:cubicBezTo>
                    <a:pt x="729" y="4394"/>
                    <a:pt x="827" y="4814"/>
                    <a:pt x="788" y="4940"/>
                  </a:cubicBezTo>
                  <a:cubicBezTo>
                    <a:pt x="781" y="4965"/>
                    <a:pt x="767" y="4996"/>
                    <a:pt x="753" y="5031"/>
                  </a:cubicBezTo>
                  <a:cubicBezTo>
                    <a:pt x="722" y="5115"/>
                    <a:pt x="666" y="5255"/>
                    <a:pt x="673" y="5339"/>
                  </a:cubicBezTo>
                  <a:lnTo>
                    <a:pt x="1373" y="5339"/>
                  </a:lnTo>
                  <a:lnTo>
                    <a:pt x="1597" y="5273"/>
                  </a:lnTo>
                  <a:lnTo>
                    <a:pt x="1607" y="5276"/>
                  </a:lnTo>
                  <a:lnTo>
                    <a:pt x="1625" y="5276"/>
                  </a:lnTo>
                  <a:cubicBezTo>
                    <a:pt x="1677" y="5280"/>
                    <a:pt x="2069" y="5301"/>
                    <a:pt x="2427" y="5311"/>
                  </a:cubicBezTo>
                  <a:cubicBezTo>
                    <a:pt x="2610" y="5317"/>
                    <a:pt x="2740" y="5319"/>
                    <a:pt x="2833" y="5319"/>
                  </a:cubicBezTo>
                  <a:cubicBezTo>
                    <a:pt x="2959" y="5319"/>
                    <a:pt x="3015" y="5315"/>
                    <a:pt x="3039" y="5311"/>
                  </a:cubicBezTo>
                  <a:lnTo>
                    <a:pt x="3050" y="5311"/>
                  </a:lnTo>
                  <a:cubicBezTo>
                    <a:pt x="3060" y="5311"/>
                    <a:pt x="3074" y="5308"/>
                    <a:pt x="3085" y="5308"/>
                  </a:cubicBezTo>
                  <a:lnTo>
                    <a:pt x="3120" y="5308"/>
                  </a:lnTo>
                  <a:lnTo>
                    <a:pt x="3151" y="5311"/>
                  </a:lnTo>
                  <a:lnTo>
                    <a:pt x="3158" y="5311"/>
                  </a:lnTo>
                  <a:cubicBezTo>
                    <a:pt x="3225" y="5325"/>
                    <a:pt x="3288" y="5343"/>
                    <a:pt x="3351" y="5364"/>
                  </a:cubicBezTo>
                  <a:lnTo>
                    <a:pt x="3403" y="5381"/>
                  </a:lnTo>
                  <a:lnTo>
                    <a:pt x="3407" y="5381"/>
                  </a:lnTo>
                  <a:lnTo>
                    <a:pt x="3452" y="5399"/>
                  </a:lnTo>
                  <a:lnTo>
                    <a:pt x="3459" y="5402"/>
                  </a:lnTo>
                  <a:lnTo>
                    <a:pt x="3505" y="5420"/>
                  </a:lnTo>
                  <a:lnTo>
                    <a:pt x="3512" y="5423"/>
                  </a:lnTo>
                  <a:lnTo>
                    <a:pt x="3557" y="5441"/>
                  </a:lnTo>
                  <a:lnTo>
                    <a:pt x="3564" y="5444"/>
                  </a:lnTo>
                  <a:lnTo>
                    <a:pt x="3606" y="5462"/>
                  </a:lnTo>
                  <a:lnTo>
                    <a:pt x="3617" y="5465"/>
                  </a:lnTo>
                  <a:lnTo>
                    <a:pt x="3652" y="5483"/>
                  </a:lnTo>
                  <a:lnTo>
                    <a:pt x="3662" y="5486"/>
                  </a:lnTo>
                  <a:lnTo>
                    <a:pt x="3697" y="5504"/>
                  </a:lnTo>
                  <a:lnTo>
                    <a:pt x="3708" y="5507"/>
                  </a:lnTo>
                  <a:lnTo>
                    <a:pt x="3743" y="5525"/>
                  </a:lnTo>
                  <a:lnTo>
                    <a:pt x="3746" y="5525"/>
                  </a:lnTo>
                  <a:lnTo>
                    <a:pt x="3785" y="5542"/>
                  </a:lnTo>
                  <a:cubicBezTo>
                    <a:pt x="3802" y="5416"/>
                    <a:pt x="3837" y="5290"/>
                    <a:pt x="3886" y="5175"/>
                  </a:cubicBezTo>
                  <a:lnTo>
                    <a:pt x="3883" y="5171"/>
                  </a:lnTo>
                  <a:cubicBezTo>
                    <a:pt x="3876" y="5168"/>
                    <a:pt x="3869" y="5161"/>
                    <a:pt x="3865" y="5157"/>
                  </a:cubicBezTo>
                  <a:lnTo>
                    <a:pt x="3858" y="5150"/>
                  </a:lnTo>
                  <a:cubicBezTo>
                    <a:pt x="3855" y="5147"/>
                    <a:pt x="3848" y="5140"/>
                    <a:pt x="3841" y="5133"/>
                  </a:cubicBezTo>
                  <a:lnTo>
                    <a:pt x="3837" y="5126"/>
                  </a:lnTo>
                  <a:cubicBezTo>
                    <a:pt x="3834" y="5122"/>
                    <a:pt x="3830" y="5115"/>
                    <a:pt x="3827" y="5108"/>
                  </a:cubicBezTo>
                  <a:lnTo>
                    <a:pt x="3823" y="5101"/>
                  </a:lnTo>
                  <a:cubicBezTo>
                    <a:pt x="3820" y="5094"/>
                    <a:pt x="3816" y="5087"/>
                    <a:pt x="3816" y="5080"/>
                  </a:cubicBezTo>
                  <a:cubicBezTo>
                    <a:pt x="3806" y="5049"/>
                    <a:pt x="3708" y="4965"/>
                    <a:pt x="3652" y="4916"/>
                  </a:cubicBezTo>
                  <a:cubicBezTo>
                    <a:pt x="3589" y="4867"/>
                    <a:pt x="3529" y="4811"/>
                    <a:pt x="3477" y="4748"/>
                  </a:cubicBezTo>
                  <a:cubicBezTo>
                    <a:pt x="3428" y="4688"/>
                    <a:pt x="3386" y="4625"/>
                    <a:pt x="3347" y="4555"/>
                  </a:cubicBezTo>
                  <a:lnTo>
                    <a:pt x="3340" y="4538"/>
                  </a:lnTo>
                  <a:lnTo>
                    <a:pt x="3340" y="4520"/>
                  </a:lnTo>
                  <a:cubicBezTo>
                    <a:pt x="3351" y="4419"/>
                    <a:pt x="3326" y="4321"/>
                    <a:pt x="3270" y="4240"/>
                  </a:cubicBezTo>
                  <a:cubicBezTo>
                    <a:pt x="3155" y="4086"/>
                    <a:pt x="3099" y="3974"/>
                    <a:pt x="3099" y="3764"/>
                  </a:cubicBezTo>
                  <a:cubicBezTo>
                    <a:pt x="3095" y="3669"/>
                    <a:pt x="3081" y="3578"/>
                    <a:pt x="3057" y="3491"/>
                  </a:cubicBezTo>
                  <a:cubicBezTo>
                    <a:pt x="3039" y="3435"/>
                    <a:pt x="3029" y="3375"/>
                    <a:pt x="3025" y="3316"/>
                  </a:cubicBezTo>
                  <a:cubicBezTo>
                    <a:pt x="3025" y="3242"/>
                    <a:pt x="3074" y="3158"/>
                    <a:pt x="3141" y="3053"/>
                  </a:cubicBezTo>
                  <a:cubicBezTo>
                    <a:pt x="3204" y="2959"/>
                    <a:pt x="3256" y="2854"/>
                    <a:pt x="3295" y="2749"/>
                  </a:cubicBezTo>
                  <a:cubicBezTo>
                    <a:pt x="3298" y="2731"/>
                    <a:pt x="3305" y="2714"/>
                    <a:pt x="3312" y="2696"/>
                  </a:cubicBezTo>
                  <a:cubicBezTo>
                    <a:pt x="3316" y="2693"/>
                    <a:pt x="3319" y="2686"/>
                    <a:pt x="3323" y="2682"/>
                  </a:cubicBezTo>
                  <a:cubicBezTo>
                    <a:pt x="3326" y="2675"/>
                    <a:pt x="3333" y="2661"/>
                    <a:pt x="3340" y="2651"/>
                  </a:cubicBezTo>
                  <a:cubicBezTo>
                    <a:pt x="3347" y="2640"/>
                    <a:pt x="3347" y="2637"/>
                    <a:pt x="3351" y="2630"/>
                  </a:cubicBezTo>
                  <a:cubicBezTo>
                    <a:pt x="3354" y="2626"/>
                    <a:pt x="3361" y="2612"/>
                    <a:pt x="3368" y="2605"/>
                  </a:cubicBezTo>
                  <a:lnTo>
                    <a:pt x="3386" y="2584"/>
                  </a:lnTo>
                  <a:cubicBezTo>
                    <a:pt x="3389" y="2577"/>
                    <a:pt x="3396" y="2570"/>
                    <a:pt x="3403" y="2563"/>
                  </a:cubicBezTo>
                  <a:lnTo>
                    <a:pt x="3421" y="2542"/>
                  </a:lnTo>
                  <a:lnTo>
                    <a:pt x="3438" y="2521"/>
                  </a:lnTo>
                  <a:lnTo>
                    <a:pt x="3456" y="2504"/>
                  </a:lnTo>
                  <a:lnTo>
                    <a:pt x="3477" y="2483"/>
                  </a:lnTo>
                  <a:lnTo>
                    <a:pt x="3498" y="2465"/>
                  </a:lnTo>
                  <a:lnTo>
                    <a:pt x="3519" y="2444"/>
                  </a:lnTo>
                  <a:lnTo>
                    <a:pt x="3536" y="2427"/>
                  </a:lnTo>
                  <a:lnTo>
                    <a:pt x="3550" y="2416"/>
                  </a:lnTo>
                  <a:cubicBezTo>
                    <a:pt x="3491" y="2297"/>
                    <a:pt x="3442" y="2175"/>
                    <a:pt x="3407" y="2052"/>
                  </a:cubicBezTo>
                  <a:cubicBezTo>
                    <a:pt x="3403" y="2035"/>
                    <a:pt x="3396" y="2021"/>
                    <a:pt x="3389" y="2007"/>
                  </a:cubicBezTo>
                  <a:cubicBezTo>
                    <a:pt x="3389" y="2003"/>
                    <a:pt x="3386" y="1996"/>
                    <a:pt x="3382" y="1993"/>
                  </a:cubicBezTo>
                  <a:cubicBezTo>
                    <a:pt x="3382" y="1989"/>
                    <a:pt x="3375" y="1975"/>
                    <a:pt x="3368" y="1968"/>
                  </a:cubicBezTo>
                  <a:cubicBezTo>
                    <a:pt x="3340" y="1923"/>
                    <a:pt x="3302" y="1881"/>
                    <a:pt x="3260" y="1846"/>
                  </a:cubicBezTo>
                  <a:cubicBezTo>
                    <a:pt x="3242" y="1832"/>
                    <a:pt x="3225" y="1818"/>
                    <a:pt x="3204" y="1800"/>
                  </a:cubicBezTo>
                  <a:lnTo>
                    <a:pt x="3162" y="1769"/>
                  </a:lnTo>
                  <a:cubicBezTo>
                    <a:pt x="3102" y="1723"/>
                    <a:pt x="3039" y="1674"/>
                    <a:pt x="2973" y="1611"/>
                  </a:cubicBezTo>
                  <a:cubicBezTo>
                    <a:pt x="2777" y="1432"/>
                    <a:pt x="2801" y="1296"/>
                    <a:pt x="2815" y="1215"/>
                  </a:cubicBezTo>
                  <a:cubicBezTo>
                    <a:pt x="2819" y="1201"/>
                    <a:pt x="2822" y="1187"/>
                    <a:pt x="2822" y="1177"/>
                  </a:cubicBezTo>
                  <a:cubicBezTo>
                    <a:pt x="2822" y="1145"/>
                    <a:pt x="2836" y="1117"/>
                    <a:pt x="2857" y="1100"/>
                  </a:cubicBezTo>
                  <a:cubicBezTo>
                    <a:pt x="2909" y="1050"/>
                    <a:pt x="3035" y="1036"/>
                    <a:pt x="3169" y="1036"/>
                  </a:cubicBezTo>
                  <a:cubicBezTo>
                    <a:pt x="3234" y="1036"/>
                    <a:pt x="3301" y="1039"/>
                    <a:pt x="3361" y="1044"/>
                  </a:cubicBezTo>
                  <a:cubicBezTo>
                    <a:pt x="3386" y="1047"/>
                    <a:pt x="3409" y="1049"/>
                    <a:pt x="3433" y="1049"/>
                  </a:cubicBezTo>
                  <a:cubicBezTo>
                    <a:pt x="3456" y="1049"/>
                    <a:pt x="3479" y="1047"/>
                    <a:pt x="3501" y="1044"/>
                  </a:cubicBezTo>
                  <a:cubicBezTo>
                    <a:pt x="3396" y="914"/>
                    <a:pt x="3277" y="575"/>
                    <a:pt x="3291" y="347"/>
                  </a:cubicBezTo>
                  <a:cubicBezTo>
                    <a:pt x="3298" y="249"/>
                    <a:pt x="3284" y="155"/>
                    <a:pt x="3253" y="64"/>
                  </a:cubicBezTo>
                  <a:cubicBezTo>
                    <a:pt x="3249" y="43"/>
                    <a:pt x="3246" y="25"/>
                    <a:pt x="3239" y="8"/>
                  </a:cubicBezTo>
                  <a:lnTo>
                    <a:pt x="32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8" name="Google Shape;3978;p53"/>
            <p:cNvSpPr/>
            <p:nvPr/>
          </p:nvSpPr>
          <p:spPr>
            <a:xfrm>
              <a:off x="2165368" y="2023172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11" y="18"/>
                  </a:moveTo>
                  <a:cubicBezTo>
                    <a:pt x="7" y="11"/>
                    <a:pt x="4" y="7"/>
                    <a:pt x="0" y="0"/>
                  </a:cubicBezTo>
                  <a:cubicBezTo>
                    <a:pt x="4" y="7"/>
                    <a:pt x="7" y="11"/>
                    <a:pt x="1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9" name="Google Shape;3979;p53"/>
            <p:cNvSpPr/>
            <p:nvPr/>
          </p:nvSpPr>
          <p:spPr>
            <a:xfrm>
              <a:off x="2165178" y="2022792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11" y="25"/>
                  </a:moveTo>
                  <a:cubicBezTo>
                    <a:pt x="4" y="14"/>
                    <a:pt x="4" y="7"/>
                    <a:pt x="0" y="0"/>
                  </a:cubicBezTo>
                  <a:cubicBezTo>
                    <a:pt x="4" y="7"/>
                    <a:pt x="4" y="14"/>
                    <a:pt x="1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0" name="Google Shape;3980;p53"/>
            <p:cNvSpPr/>
            <p:nvPr/>
          </p:nvSpPr>
          <p:spPr>
            <a:xfrm>
              <a:off x="2159136" y="198890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2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1" name="Google Shape;3981;p53"/>
            <p:cNvSpPr/>
            <p:nvPr/>
          </p:nvSpPr>
          <p:spPr>
            <a:xfrm>
              <a:off x="2158715" y="198956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18"/>
                  </a:moveTo>
                  <a:cubicBezTo>
                    <a:pt x="4" y="11"/>
                    <a:pt x="11" y="4"/>
                    <a:pt x="14" y="0"/>
                  </a:cubicBezTo>
                  <a:cubicBezTo>
                    <a:pt x="11" y="4"/>
                    <a:pt x="4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2" name="Google Shape;3982;p53"/>
            <p:cNvSpPr/>
            <p:nvPr/>
          </p:nvSpPr>
          <p:spPr>
            <a:xfrm>
              <a:off x="2158375" y="199017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cubicBezTo>
                    <a:pt x="4" y="15"/>
                    <a:pt x="8" y="8"/>
                    <a:pt x="8" y="1"/>
                  </a:cubicBezTo>
                  <a:cubicBezTo>
                    <a:pt x="8" y="8"/>
                    <a:pt x="4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3" name="Google Shape;3983;p53"/>
            <p:cNvSpPr/>
            <p:nvPr/>
          </p:nvSpPr>
          <p:spPr>
            <a:xfrm>
              <a:off x="2159611" y="198833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2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4" name="Google Shape;3984;p53"/>
            <p:cNvSpPr/>
            <p:nvPr/>
          </p:nvSpPr>
          <p:spPr>
            <a:xfrm>
              <a:off x="2161132" y="1986757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5" name="Google Shape;3985;p53"/>
            <p:cNvSpPr/>
            <p:nvPr/>
          </p:nvSpPr>
          <p:spPr>
            <a:xfrm>
              <a:off x="2160086" y="1987803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6" name="Google Shape;3986;p53"/>
            <p:cNvSpPr/>
            <p:nvPr/>
          </p:nvSpPr>
          <p:spPr>
            <a:xfrm>
              <a:off x="2165884" y="202383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4"/>
                  </a:moveTo>
                  <a:cubicBezTo>
                    <a:pt x="11" y="11"/>
                    <a:pt x="4" y="4"/>
                    <a:pt x="1" y="0"/>
                  </a:cubicBezTo>
                  <a:cubicBezTo>
                    <a:pt x="4" y="4"/>
                    <a:pt x="11" y="11"/>
                    <a:pt x="1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7" name="Google Shape;3987;p53"/>
            <p:cNvSpPr/>
            <p:nvPr/>
          </p:nvSpPr>
          <p:spPr>
            <a:xfrm>
              <a:off x="2160616" y="1987287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0" y="18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8" name="Google Shape;3988;p53"/>
            <p:cNvSpPr/>
            <p:nvPr/>
          </p:nvSpPr>
          <p:spPr>
            <a:xfrm>
              <a:off x="2165558" y="2023457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1"/>
                  </a:moveTo>
                  <a:cubicBezTo>
                    <a:pt x="11" y="14"/>
                    <a:pt x="4" y="7"/>
                    <a:pt x="0" y="0"/>
                  </a:cubicBezTo>
                  <a:cubicBezTo>
                    <a:pt x="4" y="7"/>
                    <a:pt x="11" y="14"/>
                    <a:pt x="18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9" name="Google Shape;3989;p53"/>
            <p:cNvSpPr/>
            <p:nvPr/>
          </p:nvSpPr>
          <p:spPr>
            <a:xfrm>
              <a:off x="2157289" y="1953832"/>
              <a:ext cx="54" cy="855"/>
            </a:xfrm>
            <a:custGeom>
              <a:avLst/>
              <a:gdLst/>
              <a:ahLst/>
              <a:cxnLst/>
              <a:rect l="l" t="t" r="r" b="b"/>
              <a:pathLst>
                <a:path w="4" h="63" extrusionOk="0">
                  <a:moveTo>
                    <a:pt x="4" y="1"/>
                  </a:moveTo>
                  <a:cubicBezTo>
                    <a:pt x="4" y="18"/>
                    <a:pt x="4" y="42"/>
                    <a:pt x="0" y="63"/>
                  </a:cubicBezTo>
                  <a:cubicBezTo>
                    <a:pt x="4" y="42"/>
                    <a:pt x="4" y="2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0" name="Google Shape;3990;p53"/>
            <p:cNvSpPr/>
            <p:nvPr/>
          </p:nvSpPr>
          <p:spPr>
            <a:xfrm>
              <a:off x="2157140" y="1954728"/>
              <a:ext cx="163" cy="869"/>
            </a:xfrm>
            <a:custGeom>
              <a:avLst/>
              <a:gdLst/>
              <a:ahLst/>
              <a:cxnLst/>
              <a:rect l="l" t="t" r="r" b="b"/>
              <a:pathLst>
                <a:path w="12" h="64" extrusionOk="0">
                  <a:moveTo>
                    <a:pt x="1" y="63"/>
                  </a:moveTo>
                  <a:cubicBezTo>
                    <a:pt x="4" y="42"/>
                    <a:pt x="8" y="21"/>
                    <a:pt x="11" y="0"/>
                  </a:cubicBezTo>
                  <a:cubicBezTo>
                    <a:pt x="8" y="21"/>
                    <a:pt x="4" y="42"/>
                    <a:pt x="1" y="6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1" name="Google Shape;3991;p53"/>
            <p:cNvSpPr/>
            <p:nvPr/>
          </p:nvSpPr>
          <p:spPr>
            <a:xfrm>
              <a:off x="2157004" y="1951971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11" y="25"/>
                  </a:moveTo>
                  <a:cubicBezTo>
                    <a:pt x="7" y="14"/>
                    <a:pt x="4" y="7"/>
                    <a:pt x="0" y="0"/>
                  </a:cubicBezTo>
                  <a:cubicBezTo>
                    <a:pt x="4" y="7"/>
                    <a:pt x="7" y="14"/>
                    <a:pt x="1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2" name="Google Shape;3992;p53"/>
            <p:cNvSpPr/>
            <p:nvPr/>
          </p:nvSpPr>
          <p:spPr>
            <a:xfrm>
              <a:off x="2115213" y="200068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3" name="Google Shape;3993;p53"/>
            <p:cNvSpPr/>
            <p:nvPr/>
          </p:nvSpPr>
          <p:spPr>
            <a:xfrm>
              <a:off x="2124011" y="1992826"/>
              <a:ext cx="923" cy="27"/>
            </a:xfrm>
            <a:custGeom>
              <a:avLst/>
              <a:gdLst/>
              <a:ahLst/>
              <a:cxnLst/>
              <a:rect l="l" t="t" r="r" b="b"/>
              <a:pathLst>
                <a:path w="68" h="2" extrusionOk="0">
                  <a:moveTo>
                    <a:pt x="23" y="0"/>
                  </a:moveTo>
                  <a:cubicBezTo>
                    <a:pt x="15" y="0"/>
                    <a:pt x="8" y="1"/>
                    <a:pt x="1" y="2"/>
                  </a:cubicBezTo>
                  <a:lnTo>
                    <a:pt x="67" y="2"/>
                  </a:lnTo>
                  <a:cubicBezTo>
                    <a:pt x="53" y="2"/>
                    <a:pt x="38" y="0"/>
                    <a:pt x="2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4" name="Google Shape;3994;p53"/>
            <p:cNvSpPr/>
            <p:nvPr/>
          </p:nvSpPr>
          <p:spPr>
            <a:xfrm>
              <a:off x="2153528" y="194788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5" name="Google Shape;3995;p53"/>
            <p:cNvSpPr/>
            <p:nvPr/>
          </p:nvSpPr>
          <p:spPr>
            <a:xfrm>
              <a:off x="2153528" y="1947409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8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6" name="Google Shape;3996;p53"/>
            <p:cNvSpPr/>
            <p:nvPr/>
          </p:nvSpPr>
          <p:spPr>
            <a:xfrm>
              <a:off x="2153487" y="194830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ubicBezTo>
                    <a:pt x="0" y="4"/>
                    <a:pt x="0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7" name="Google Shape;3997;p53"/>
            <p:cNvSpPr/>
            <p:nvPr/>
          </p:nvSpPr>
          <p:spPr>
            <a:xfrm>
              <a:off x="2153678" y="1946255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29"/>
                  </a:moveTo>
                  <a:cubicBezTo>
                    <a:pt x="0" y="18"/>
                    <a:pt x="0" y="11"/>
                    <a:pt x="4" y="1"/>
                  </a:cubicBezTo>
                  <a:cubicBezTo>
                    <a:pt x="0" y="11"/>
                    <a:pt x="0" y="18"/>
                    <a:pt x="0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8" name="Google Shape;3998;p53"/>
            <p:cNvSpPr/>
            <p:nvPr/>
          </p:nvSpPr>
          <p:spPr>
            <a:xfrm>
              <a:off x="2153583" y="19467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cubicBezTo>
                    <a:pt x="0" y="11"/>
                    <a:pt x="0" y="25"/>
                    <a:pt x="0" y="35"/>
                  </a:cubicBezTo>
                  <a:cubicBezTo>
                    <a:pt x="0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9" name="Google Shape;3999;p53"/>
            <p:cNvSpPr/>
            <p:nvPr/>
          </p:nvSpPr>
          <p:spPr>
            <a:xfrm>
              <a:off x="2153718" y="194587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0" name="Google Shape;4000;p53"/>
            <p:cNvSpPr/>
            <p:nvPr/>
          </p:nvSpPr>
          <p:spPr>
            <a:xfrm>
              <a:off x="2155959" y="1951116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4"/>
                  </a:moveTo>
                  <a:cubicBezTo>
                    <a:pt x="21" y="11"/>
                    <a:pt x="11" y="4"/>
                    <a:pt x="0" y="0"/>
                  </a:cubicBezTo>
                  <a:cubicBezTo>
                    <a:pt x="11" y="4"/>
                    <a:pt x="21" y="11"/>
                    <a:pt x="2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1" name="Google Shape;4001;p53"/>
            <p:cNvSpPr/>
            <p:nvPr/>
          </p:nvSpPr>
          <p:spPr>
            <a:xfrm>
              <a:off x="2156760" y="1951591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" y="0"/>
                  </a:moveTo>
                  <a:cubicBezTo>
                    <a:pt x="4" y="7"/>
                    <a:pt x="11" y="14"/>
                    <a:pt x="15" y="25"/>
                  </a:cubicBezTo>
                  <a:cubicBezTo>
                    <a:pt x="11" y="14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2" name="Google Shape;4002;p53"/>
            <p:cNvSpPr/>
            <p:nvPr/>
          </p:nvSpPr>
          <p:spPr>
            <a:xfrm>
              <a:off x="2115172" y="200091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3" name="Google Shape;4003;p53"/>
            <p:cNvSpPr/>
            <p:nvPr/>
          </p:nvSpPr>
          <p:spPr>
            <a:xfrm>
              <a:off x="2153487" y="194864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4" name="Google Shape;4004;p53"/>
            <p:cNvSpPr/>
            <p:nvPr/>
          </p:nvSpPr>
          <p:spPr>
            <a:xfrm>
              <a:off x="2156434" y="1951347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5" name="Google Shape;4005;p53"/>
            <p:cNvSpPr/>
            <p:nvPr/>
          </p:nvSpPr>
          <p:spPr>
            <a:xfrm>
              <a:off x="2113597" y="200682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6" name="Google Shape;4006;p53"/>
            <p:cNvSpPr/>
            <p:nvPr/>
          </p:nvSpPr>
          <p:spPr>
            <a:xfrm>
              <a:off x="2114506" y="2003824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7" name="Google Shape;4007;p53"/>
            <p:cNvSpPr/>
            <p:nvPr/>
          </p:nvSpPr>
          <p:spPr>
            <a:xfrm>
              <a:off x="2115117" y="200120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8" name="Google Shape;4008;p53"/>
            <p:cNvSpPr/>
            <p:nvPr/>
          </p:nvSpPr>
          <p:spPr>
            <a:xfrm>
              <a:off x="2113977" y="2005535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9" name="Google Shape;4009;p53"/>
            <p:cNvSpPr/>
            <p:nvPr/>
          </p:nvSpPr>
          <p:spPr>
            <a:xfrm>
              <a:off x="2114602" y="200325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0" name="Google Shape;4010;p53"/>
            <p:cNvSpPr/>
            <p:nvPr/>
          </p:nvSpPr>
          <p:spPr>
            <a:xfrm>
              <a:off x="2114221" y="2004924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1" name="Google Shape;4011;p53"/>
            <p:cNvSpPr/>
            <p:nvPr/>
          </p:nvSpPr>
          <p:spPr>
            <a:xfrm>
              <a:off x="2113787" y="2006159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2" name="Google Shape;4012;p53"/>
            <p:cNvSpPr/>
            <p:nvPr/>
          </p:nvSpPr>
          <p:spPr>
            <a:xfrm>
              <a:off x="2114316" y="2004353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3" name="Google Shape;4013;p53"/>
            <p:cNvSpPr/>
            <p:nvPr/>
          </p:nvSpPr>
          <p:spPr>
            <a:xfrm>
              <a:off x="2114982" y="200192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4" name="Google Shape;4014;p53"/>
            <p:cNvSpPr/>
            <p:nvPr/>
          </p:nvSpPr>
          <p:spPr>
            <a:xfrm>
              <a:off x="2114737" y="200277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5" name="Google Shape;4015;p53"/>
            <p:cNvSpPr/>
            <p:nvPr/>
          </p:nvSpPr>
          <p:spPr>
            <a:xfrm>
              <a:off x="2114832" y="200234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6" name="Google Shape;4016;p53"/>
            <p:cNvSpPr/>
            <p:nvPr/>
          </p:nvSpPr>
          <p:spPr>
            <a:xfrm>
              <a:off x="2113366" y="200749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7" name="Google Shape;4017;p53"/>
            <p:cNvSpPr/>
            <p:nvPr/>
          </p:nvSpPr>
          <p:spPr>
            <a:xfrm>
              <a:off x="2115022" y="200154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8" name="Google Shape;4018;p53"/>
            <p:cNvSpPr/>
            <p:nvPr/>
          </p:nvSpPr>
          <p:spPr>
            <a:xfrm>
              <a:off x="1985928" y="1964599"/>
              <a:ext cx="43217" cy="44466"/>
            </a:xfrm>
            <a:custGeom>
              <a:avLst/>
              <a:gdLst/>
              <a:ahLst/>
              <a:cxnLst/>
              <a:rect l="l" t="t" r="r" b="b"/>
              <a:pathLst>
                <a:path w="3183" h="3275" extrusionOk="0">
                  <a:moveTo>
                    <a:pt x="1105" y="0"/>
                  </a:moveTo>
                  <a:cubicBezTo>
                    <a:pt x="1094" y="0"/>
                    <a:pt x="1082" y="3"/>
                    <a:pt x="1072" y="8"/>
                  </a:cubicBezTo>
                  <a:cubicBezTo>
                    <a:pt x="1037" y="15"/>
                    <a:pt x="1005" y="40"/>
                    <a:pt x="991" y="75"/>
                  </a:cubicBezTo>
                  <a:cubicBezTo>
                    <a:pt x="960" y="190"/>
                    <a:pt x="834" y="285"/>
                    <a:pt x="732" y="302"/>
                  </a:cubicBezTo>
                  <a:cubicBezTo>
                    <a:pt x="722" y="302"/>
                    <a:pt x="711" y="306"/>
                    <a:pt x="701" y="306"/>
                  </a:cubicBezTo>
                  <a:lnTo>
                    <a:pt x="690" y="306"/>
                  </a:lnTo>
                  <a:cubicBezTo>
                    <a:pt x="680" y="306"/>
                    <a:pt x="669" y="302"/>
                    <a:pt x="655" y="302"/>
                  </a:cubicBezTo>
                  <a:lnTo>
                    <a:pt x="652" y="302"/>
                  </a:lnTo>
                  <a:cubicBezTo>
                    <a:pt x="645" y="299"/>
                    <a:pt x="634" y="295"/>
                    <a:pt x="624" y="292"/>
                  </a:cubicBezTo>
                  <a:lnTo>
                    <a:pt x="617" y="288"/>
                  </a:lnTo>
                  <a:cubicBezTo>
                    <a:pt x="610" y="281"/>
                    <a:pt x="599" y="278"/>
                    <a:pt x="592" y="271"/>
                  </a:cubicBezTo>
                  <a:lnTo>
                    <a:pt x="589" y="264"/>
                  </a:lnTo>
                  <a:cubicBezTo>
                    <a:pt x="578" y="257"/>
                    <a:pt x="571" y="250"/>
                    <a:pt x="564" y="239"/>
                  </a:cubicBezTo>
                  <a:cubicBezTo>
                    <a:pt x="520" y="172"/>
                    <a:pt x="457" y="124"/>
                    <a:pt x="430" y="124"/>
                  </a:cubicBezTo>
                  <a:cubicBezTo>
                    <a:pt x="429" y="124"/>
                    <a:pt x="429" y="124"/>
                    <a:pt x="428" y="124"/>
                  </a:cubicBezTo>
                  <a:cubicBezTo>
                    <a:pt x="417" y="124"/>
                    <a:pt x="407" y="145"/>
                    <a:pt x="407" y="148"/>
                  </a:cubicBezTo>
                  <a:cubicBezTo>
                    <a:pt x="400" y="159"/>
                    <a:pt x="396" y="169"/>
                    <a:pt x="389" y="180"/>
                  </a:cubicBezTo>
                  <a:lnTo>
                    <a:pt x="386" y="187"/>
                  </a:lnTo>
                  <a:cubicBezTo>
                    <a:pt x="382" y="194"/>
                    <a:pt x="375" y="197"/>
                    <a:pt x="372" y="204"/>
                  </a:cubicBezTo>
                  <a:lnTo>
                    <a:pt x="365" y="211"/>
                  </a:lnTo>
                  <a:lnTo>
                    <a:pt x="354" y="222"/>
                  </a:lnTo>
                  <a:lnTo>
                    <a:pt x="347" y="229"/>
                  </a:lnTo>
                  <a:lnTo>
                    <a:pt x="333" y="239"/>
                  </a:lnTo>
                  <a:lnTo>
                    <a:pt x="323" y="246"/>
                  </a:lnTo>
                  <a:lnTo>
                    <a:pt x="316" y="253"/>
                  </a:lnTo>
                  <a:lnTo>
                    <a:pt x="302" y="257"/>
                  </a:lnTo>
                  <a:lnTo>
                    <a:pt x="298" y="257"/>
                  </a:lnTo>
                  <a:cubicBezTo>
                    <a:pt x="288" y="260"/>
                    <a:pt x="274" y="264"/>
                    <a:pt x="260" y="267"/>
                  </a:cubicBezTo>
                  <a:lnTo>
                    <a:pt x="242" y="267"/>
                  </a:lnTo>
                  <a:cubicBezTo>
                    <a:pt x="232" y="267"/>
                    <a:pt x="218" y="264"/>
                    <a:pt x="207" y="260"/>
                  </a:cubicBezTo>
                  <a:lnTo>
                    <a:pt x="204" y="274"/>
                  </a:lnTo>
                  <a:lnTo>
                    <a:pt x="200" y="285"/>
                  </a:lnTo>
                  <a:lnTo>
                    <a:pt x="200" y="295"/>
                  </a:lnTo>
                  <a:lnTo>
                    <a:pt x="197" y="313"/>
                  </a:lnTo>
                  <a:lnTo>
                    <a:pt x="197" y="320"/>
                  </a:lnTo>
                  <a:lnTo>
                    <a:pt x="193" y="337"/>
                  </a:lnTo>
                  <a:lnTo>
                    <a:pt x="193" y="344"/>
                  </a:lnTo>
                  <a:cubicBezTo>
                    <a:pt x="193" y="355"/>
                    <a:pt x="193" y="362"/>
                    <a:pt x="190" y="372"/>
                  </a:cubicBezTo>
                  <a:cubicBezTo>
                    <a:pt x="190" y="379"/>
                    <a:pt x="186" y="390"/>
                    <a:pt x="186" y="397"/>
                  </a:cubicBezTo>
                  <a:lnTo>
                    <a:pt x="186" y="404"/>
                  </a:lnTo>
                  <a:lnTo>
                    <a:pt x="186" y="421"/>
                  </a:lnTo>
                  <a:lnTo>
                    <a:pt x="186" y="428"/>
                  </a:lnTo>
                  <a:lnTo>
                    <a:pt x="186" y="446"/>
                  </a:lnTo>
                  <a:lnTo>
                    <a:pt x="186" y="453"/>
                  </a:lnTo>
                  <a:lnTo>
                    <a:pt x="186" y="470"/>
                  </a:lnTo>
                  <a:lnTo>
                    <a:pt x="186" y="474"/>
                  </a:lnTo>
                  <a:lnTo>
                    <a:pt x="186" y="495"/>
                  </a:lnTo>
                  <a:lnTo>
                    <a:pt x="186" y="498"/>
                  </a:lnTo>
                  <a:lnTo>
                    <a:pt x="186" y="509"/>
                  </a:lnTo>
                  <a:lnTo>
                    <a:pt x="186" y="516"/>
                  </a:lnTo>
                  <a:lnTo>
                    <a:pt x="186" y="523"/>
                  </a:lnTo>
                  <a:lnTo>
                    <a:pt x="186" y="530"/>
                  </a:lnTo>
                  <a:cubicBezTo>
                    <a:pt x="186" y="530"/>
                    <a:pt x="190" y="533"/>
                    <a:pt x="190" y="537"/>
                  </a:cubicBezTo>
                  <a:cubicBezTo>
                    <a:pt x="193" y="540"/>
                    <a:pt x="193" y="544"/>
                    <a:pt x="197" y="544"/>
                  </a:cubicBezTo>
                  <a:cubicBezTo>
                    <a:pt x="312" y="610"/>
                    <a:pt x="368" y="747"/>
                    <a:pt x="326" y="873"/>
                  </a:cubicBezTo>
                  <a:cubicBezTo>
                    <a:pt x="340" y="901"/>
                    <a:pt x="354" y="929"/>
                    <a:pt x="372" y="954"/>
                  </a:cubicBezTo>
                  <a:cubicBezTo>
                    <a:pt x="424" y="1041"/>
                    <a:pt x="494" y="1157"/>
                    <a:pt x="407" y="1244"/>
                  </a:cubicBezTo>
                  <a:cubicBezTo>
                    <a:pt x="374" y="1277"/>
                    <a:pt x="338" y="1288"/>
                    <a:pt x="305" y="1288"/>
                  </a:cubicBezTo>
                  <a:cubicBezTo>
                    <a:pt x="268" y="1288"/>
                    <a:pt x="233" y="1274"/>
                    <a:pt x="207" y="1265"/>
                  </a:cubicBezTo>
                  <a:cubicBezTo>
                    <a:pt x="197" y="1262"/>
                    <a:pt x="183" y="1255"/>
                    <a:pt x="169" y="1251"/>
                  </a:cubicBezTo>
                  <a:cubicBezTo>
                    <a:pt x="169" y="1255"/>
                    <a:pt x="165" y="1258"/>
                    <a:pt x="165" y="1262"/>
                  </a:cubicBezTo>
                  <a:cubicBezTo>
                    <a:pt x="151" y="1290"/>
                    <a:pt x="165" y="1318"/>
                    <a:pt x="193" y="1374"/>
                  </a:cubicBezTo>
                  <a:cubicBezTo>
                    <a:pt x="221" y="1433"/>
                    <a:pt x="270" y="1517"/>
                    <a:pt x="207" y="1601"/>
                  </a:cubicBezTo>
                  <a:cubicBezTo>
                    <a:pt x="186" y="1629"/>
                    <a:pt x="162" y="1654"/>
                    <a:pt x="134" y="1678"/>
                  </a:cubicBezTo>
                  <a:cubicBezTo>
                    <a:pt x="109" y="1696"/>
                    <a:pt x="88" y="1720"/>
                    <a:pt x="71" y="1752"/>
                  </a:cubicBezTo>
                  <a:cubicBezTo>
                    <a:pt x="64" y="1776"/>
                    <a:pt x="57" y="1804"/>
                    <a:pt x="60" y="1829"/>
                  </a:cubicBezTo>
                  <a:lnTo>
                    <a:pt x="60" y="1853"/>
                  </a:lnTo>
                  <a:cubicBezTo>
                    <a:pt x="85" y="2042"/>
                    <a:pt x="74" y="2165"/>
                    <a:pt x="25" y="2249"/>
                  </a:cubicBezTo>
                  <a:cubicBezTo>
                    <a:pt x="18" y="2259"/>
                    <a:pt x="8" y="2270"/>
                    <a:pt x="1" y="2280"/>
                  </a:cubicBezTo>
                  <a:lnTo>
                    <a:pt x="15" y="2287"/>
                  </a:lnTo>
                  <a:cubicBezTo>
                    <a:pt x="50" y="2305"/>
                    <a:pt x="99" y="2333"/>
                    <a:pt x="151" y="2364"/>
                  </a:cubicBezTo>
                  <a:cubicBezTo>
                    <a:pt x="183" y="2385"/>
                    <a:pt x="214" y="2403"/>
                    <a:pt x="249" y="2424"/>
                  </a:cubicBezTo>
                  <a:cubicBezTo>
                    <a:pt x="421" y="2525"/>
                    <a:pt x="631" y="2648"/>
                    <a:pt x="606" y="2840"/>
                  </a:cubicBezTo>
                  <a:cubicBezTo>
                    <a:pt x="596" y="2914"/>
                    <a:pt x="575" y="2984"/>
                    <a:pt x="543" y="3047"/>
                  </a:cubicBezTo>
                  <a:lnTo>
                    <a:pt x="533" y="3072"/>
                  </a:lnTo>
                  <a:lnTo>
                    <a:pt x="529" y="3082"/>
                  </a:lnTo>
                  <a:lnTo>
                    <a:pt x="522" y="3096"/>
                  </a:lnTo>
                  <a:lnTo>
                    <a:pt x="519" y="3107"/>
                  </a:lnTo>
                  <a:lnTo>
                    <a:pt x="512" y="3124"/>
                  </a:lnTo>
                  <a:lnTo>
                    <a:pt x="505" y="3138"/>
                  </a:lnTo>
                  <a:lnTo>
                    <a:pt x="498" y="3159"/>
                  </a:lnTo>
                  <a:lnTo>
                    <a:pt x="494" y="3170"/>
                  </a:lnTo>
                  <a:cubicBezTo>
                    <a:pt x="491" y="3180"/>
                    <a:pt x="487" y="3191"/>
                    <a:pt x="484" y="3205"/>
                  </a:cubicBezTo>
                  <a:lnTo>
                    <a:pt x="480" y="3219"/>
                  </a:lnTo>
                  <a:lnTo>
                    <a:pt x="470" y="3243"/>
                  </a:lnTo>
                  <a:lnTo>
                    <a:pt x="466" y="3261"/>
                  </a:lnTo>
                  <a:lnTo>
                    <a:pt x="463" y="3275"/>
                  </a:lnTo>
                  <a:cubicBezTo>
                    <a:pt x="627" y="3261"/>
                    <a:pt x="851" y="3198"/>
                    <a:pt x="1103" y="3131"/>
                  </a:cubicBezTo>
                  <a:cubicBezTo>
                    <a:pt x="1366" y="3061"/>
                    <a:pt x="1660" y="2981"/>
                    <a:pt x="1982" y="2925"/>
                  </a:cubicBezTo>
                  <a:cubicBezTo>
                    <a:pt x="2116" y="2901"/>
                    <a:pt x="2251" y="2890"/>
                    <a:pt x="2386" y="2890"/>
                  </a:cubicBezTo>
                  <a:cubicBezTo>
                    <a:pt x="2594" y="2890"/>
                    <a:pt x="2803" y="2917"/>
                    <a:pt x="3004" y="2970"/>
                  </a:cubicBezTo>
                  <a:lnTo>
                    <a:pt x="3008" y="2949"/>
                  </a:lnTo>
                  <a:lnTo>
                    <a:pt x="3011" y="2939"/>
                  </a:lnTo>
                  <a:cubicBezTo>
                    <a:pt x="3011" y="2928"/>
                    <a:pt x="3015" y="2914"/>
                    <a:pt x="3015" y="2907"/>
                  </a:cubicBezTo>
                  <a:lnTo>
                    <a:pt x="3015" y="2900"/>
                  </a:lnTo>
                  <a:lnTo>
                    <a:pt x="3015" y="2879"/>
                  </a:lnTo>
                  <a:lnTo>
                    <a:pt x="3015" y="2872"/>
                  </a:lnTo>
                  <a:lnTo>
                    <a:pt x="3015" y="2858"/>
                  </a:lnTo>
                  <a:lnTo>
                    <a:pt x="3015" y="2851"/>
                  </a:lnTo>
                  <a:lnTo>
                    <a:pt x="3015" y="2840"/>
                  </a:lnTo>
                  <a:lnTo>
                    <a:pt x="3015" y="2837"/>
                  </a:lnTo>
                  <a:cubicBezTo>
                    <a:pt x="3015" y="2833"/>
                    <a:pt x="3015" y="2833"/>
                    <a:pt x="3015" y="2830"/>
                  </a:cubicBezTo>
                  <a:lnTo>
                    <a:pt x="3015" y="2826"/>
                  </a:lnTo>
                  <a:cubicBezTo>
                    <a:pt x="3015" y="2826"/>
                    <a:pt x="3015" y="2823"/>
                    <a:pt x="3015" y="2823"/>
                  </a:cubicBezTo>
                  <a:cubicBezTo>
                    <a:pt x="2994" y="2795"/>
                    <a:pt x="2976" y="2763"/>
                    <a:pt x="2962" y="2735"/>
                  </a:cubicBezTo>
                  <a:lnTo>
                    <a:pt x="2941" y="2697"/>
                  </a:lnTo>
                  <a:cubicBezTo>
                    <a:pt x="2885" y="2574"/>
                    <a:pt x="2836" y="2452"/>
                    <a:pt x="2798" y="2322"/>
                  </a:cubicBezTo>
                  <a:cubicBezTo>
                    <a:pt x="2791" y="2301"/>
                    <a:pt x="2784" y="2280"/>
                    <a:pt x="2780" y="2259"/>
                  </a:cubicBezTo>
                  <a:cubicBezTo>
                    <a:pt x="2777" y="2238"/>
                    <a:pt x="2773" y="2217"/>
                    <a:pt x="2770" y="2196"/>
                  </a:cubicBezTo>
                  <a:cubicBezTo>
                    <a:pt x="2770" y="2186"/>
                    <a:pt x="2770" y="2179"/>
                    <a:pt x="2770" y="2168"/>
                  </a:cubicBezTo>
                  <a:cubicBezTo>
                    <a:pt x="2791" y="2095"/>
                    <a:pt x="2819" y="2025"/>
                    <a:pt x="2857" y="1962"/>
                  </a:cubicBezTo>
                  <a:cubicBezTo>
                    <a:pt x="2910" y="1860"/>
                    <a:pt x="2983" y="1717"/>
                    <a:pt x="2976" y="1650"/>
                  </a:cubicBezTo>
                  <a:cubicBezTo>
                    <a:pt x="2969" y="1542"/>
                    <a:pt x="3043" y="1461"/>
                    <a:pt x="3102" y="1398"/>
                  </a:cubicBezTo>
                  <a:cubicBezTo>
                    <a:pt x="3141" y="1353"/>
                    <a:pt x="3183" y="1311"/>
                    <a:pt x="3183" y="1279"/>
                  </a:cubicBezTo>
                  <a:lnTo>
                    <a:pt x="3183" y="1258"/>
                  </a:lnTo>
                  <a:lnTo>
                    <a:pt x="3183" y="1248"/>
                  </a:lnTo>
                  <a:lnTo>
                    <a:pt x="3183" y="1230"/>
                  </a:lnTo>
                  <a:lnTo>
                    <a:pt x="3183" y="1216"/>
                  </a:lnTo>
                  <a:lnTo>
                    <a:pt x="3183" y="1195"/>
                  </a:lnTo>
                  <a:lnTo>
                    <a:pt x="3183" y="1178"/>
                  </a:lnTo>
                  <a:lnTo>
                    <a:pt x="3179" y="1153"/>
                  </a:lnTo>
                  <a:lnTo>
                    <a:pt x="3179" y="1132"/>
                  </a:lnTo>
                  <a:cubicBezTo>
                    <a:pt x="3179" y="1125"/>
                    <a:pt x="3179" y="1118"/>
                    <a:pt x="3176" y="1108"/>
                  </a:cubicBezTo>
                  <a:lnTo>
                    <a:pt x="3172" y="1087"/>
                  </a:lnTo>
                  <a:lnTo>
                    <a:pt x="3169" y="1059"/>
                  </a:lnTo>
                  <a:lnTo>
                    <a:pt x="3162" y="1034"/>
                  </a:lnTo>
                  <a:lnTo>
                    <a:pt x="3158" y="1006"/>
                  </a:lnTo>
                  <a:lnTo>
                    <a:pt x="3155" y="978"/>
                  </a:lnTo>
                  <a:lnTo>
                    <a:pt x="3148" y="947"/>
                  </a:lnTo>
                  <a:lnTo>
                    <a:pt x="3141" y="922"/>
                  </a:lnTo>
                  <a:lnTo>
                    <a:pt x="3137" y="891"/>
                  </a:lnTo>
                  <a:lnTo>
                    <a:pt x="3130" y="863"/>
                  </a:lnTo>
                  <a:lnTo>
                    <a:pt x="3123" y="828"/>
                  </a:lnTo>
                  <a:lnTo>
                    <a:pt x="3116" y="799"/>
                  </a:lnTo>
                  <a:lnTo>
                    <a:pt x="3109" y="768"/>
                  </a:lnTo>
                  <a:lnTo>
                    <a:pt x="3102" y="740"/>
                  </a:lnTo>
                  <a:lnTo>
                    <a:pt x="3092" y="705"/>
                  </a:lnTo>
                  <a:lnTo>
                    <a:pt x="3085" y="677"/>
                  </a:lnTo>
                  <a:lnTo>
                    <a:pt x="3074" y="645"/>
                  </a:lnTo>
                  <a:lnTo>
                    <a:pt x="3067" y="617"/>
                  </a:lnTo>
                  <a:lnTo>
                    <a:pt x="3057" y="586"/>
                  </a:lnTo>
                  <a:lnTo>
                    <a:pt x="3046" y="558"/>
                  </a:lnTo>
                  <a:lnTo>
                    <a:pt x="3036" y="526"/>
                  </a:lnTo>
                  <a:lnTo>
                    <a:pt x="3025" y="502"/>
                  </a:lnTo>
                  <a:lnTo>
                    <a:pt x="3022" y="491"/>
                  </a:lnTo>
                  <a:cubicBezTo>
                    <a:pt x="3004" y="491"/>
                    <a:pt x="2990" y="488"/>
                    <a:pt x="2976" y="484"/>
                  </a:cubicBezTo>
                  <a:lnTo>
                    <a:pt x="2969" y="481"/>
                  </a:lnTo>
                  <a:cubicBezTo>
                    <a:pt x="2966" y="477"/>
                    <a:pt x="2959" y="474"/>
                    <a:pt x="2952" y="470"/>
                  </a:cubicBezTo>
                  <a:lnTo>
                    <a:pt x="2938" y="460"/>
                  </a:lnTo>
                  <a:lnTo>
                    <a:pt x="2927" y="453"/>
                  </a:lnTo>
                  <a:cubicBezTo>
                    <a:pt x="2917" y="446"/>
                    <a:pt x="2910" y="439"/>
                    <a:pt x="2903" y="432"/>
                  </a:cubicBezTo>
                  <a:lnTo>
                    <a:pt x="2899" y="428"/>
                  </a:lnTo>
                  <a:cubicBezTo>
                    <a:pt x="2855" y="400"/>
                    <a:pt x="2803" y="386"/>
                    <a:pt x="2749" y="386"/>
                  </a:cubicBezTo>
                  <a:cubicBezTo>
                    <a:pt x="2743" y="386"/>
                    <a:pt x="2737" y="386"/>
                    <a:pt x="2731" y="386"/>
                  </a:cubicBezTo>
                  <a:lnTo>
                    <a:pt x="2696" y="386"/>
                  </a:lnTo>
                  <a:cubicBezTo>
                    <a:pt x="2546" y="390"/>
                    <a:pt x="2409" y="439"/>
                    <a:pt x="2346" y="505"/>
                  </a:cubicBezTo>
                  <a:cubicBezTo>
                    <a:pt x="2339" y="516"/>
                    <a:pt x="2329" y="526"/>
                    <a:pt x="2318" y="533"/>
                  </a:cubicBezTo>
                  <a:lnTo>
                    <a:pt x="2315" y="537"/>
                  </a:lnTo>
                  <a:cubicBezTo>
                    <a:pt x="2304" y="544"/>
                    <a:pt x="2294" y="551"/>
                    <a:pt x="2280" y="554"/>
                  </a:cubicBezTo>
                  <a:lnTo>
                    <a:pt x="2276" y="554"/>
                  </a:lnTo>
                  <a:cubicBezTo>
                    <a:pt x="2266" y="561"/>
                    <a:pt x="2252" y="565"/>
                    <a:pt x="2241" y="568"/>
                  </a:cubicBezTo>
                  <a:lnTo>
                    <a:pt x="2238" y="568"/>
                  </a:lnTo>
                  <a:cubicBezTo>
                    <a:pt x="2224" y="568"/>
                    <a:pt x="2210" y="572"/>
                    <a:pt x="2196" y="572"/>
                  </a:cubicBezTo>
                  <a:lnTo>
                    <a:pt x="2175" y="572"/>
                  </a:lnTo>
                  <a:cubicBezTo>
                    <a:pt x="1989" y="554"/>
                    <a:pt x="1793" y="327"/>
                    <a:pt x="1758" y="267"/>
                  </a:cubicBezTo>
                  <a:cubicBezTo>
                    <a:pt x="1755" y="260"/>
                    <a:pt x="1751" y="257"/>
                    <a:pt x="1744" y="250"/>
                  </a:cubicBezTo>
                  <a:cubicBezTo>
                    <a:pt x="1692" y="187"/>
                    <a:pt x="1622" y="141"/>
                    <a:pt x="1541" y="124"/>
                  </a:cubicBezTo>
                  <a:cubicBezTo>
                    <a:pt x="1531" y="122"/>
                    <a:pt x="1522" y="121"/>
                    <a:pt x="1512" y="121"/>
                  </a:cubicBezTo>
                  <a:cubicBezTo>
                    <a:pt x="1484" y="121"/>
                    <a:pt x="1456" y="129"/>
                    <a:pt x="1433" y="145"/>
                  </a:cubicBezTo>
                  <a:cubicBezTo>
                    <a:pt x="1373" y="187"/>
                    <a:pt x="1307" y="225"/>
                    <a:pt x="1250" y="225"/>
                  </a:cubicBezTo>
                  <a:cubicBezTo>
                    <a:pt x="1229" y="225"/>
                    <a:pt x="1208" y="218"/>
                    <a:pt x="1194" y="208"/>
                  </a:cubicBezTo>
                  <a:cubicBezTo>
                    <a:pt x="1121" y="166"/>
                    <a:pt x="1131" y="57"/>
                    <a:pt x="1135" y="19"/>
                  </a:cubicBezTo>
                  <a:cubicBezTo>
                    <a:pt x="1138" y="15"/>
                    <a:pt x="1138" y="12"/>
                    <a:pt x="1135" y="8"/>
                  </a:cubicBezTo>
                  <a:cubicBezTo>
                    <a:pt x="1126" y="3"/>
                    <a:pt x="1116" y="0"/>
                    <a:pt x="11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9" name="Google Shape;4019;p53"/>
            <p:cNvSpPr/>
            <p:nvPr/>
          </p:nvSpPr>
          <p:spPr>
            <a:xfrm>
              <a:off x="2025044" y="1961747"/>
              <a:ext cx="29585" cy="45417"/>
            </a:xfrm>
            <a:custGeom>
              <a:avLst/>
              <a:gdLst/>
              <a:ahLst/>
              <a:cxnLst/>
              <a:rect l="l" t="t" r="r" b="b"/>
              <a:pathLst>
                <a:path w="2179" h="3345" extrusionOk="0">
                  <a:moveTo>
                    <a:pt x="563" y="0"/>
                  </a:moveTo>
                  <a:cubicBezTo>
                    <a:pt x="454" y="0"/>
                    <a:pt x="343" y="8"/>
                    <a:pt x="235" y="22"/>
                  </a:cubicBezTo>
                  <a:cubicBezTo>
                    <a:pt x="225" y="26"/>
                    <a:pt x="214" y="29"/>
                    <a:pt x="200" y="33"/>
                  </a:cubicBezTo>
                  <a:cubicBezTo>
                    <a:pt x="190" y="78"/>
                    <a:pt x="239" y="232"/>
                    <a:pt x="260" y="306"/>
                  </a:cubicBezTo>
                  <a:cubicBezTo>
                    <a:pt x="298" y="425"/>
                    <a:pt x="319" y="498"/>
                    <a:pt x="312" y="551"/>
                  </a:cubicBezTo>
                  <a:cubicBezTo>
                    <a:pt x="309" y="561"/>
                    <a:pt x="305" y="575"/>
                    <a:pt x="302" y="586"/>
                  </a:cubicBezTo>
                  <a:lnTo>
                    <a:pt x="302" y="593"/>
                  </a:lnTo>
                  <a:cubicBezTo>
                    <a:pt x="298" y="600"/>
                    <a:pt x="295" y="610"/>
                    <a:pt x="291" y="617"/>
                  </a:cubicBezTo>
                  <a:lnTo>
                    <a:pt x="291" y="621"/>
                  </a:lnTo>
                  <a:cubicBezTo>
                    <a:pt x="284" y="642"/>
                    <a:pt x="270" y="656"/>
                    <a:pt x="256" y="670"/>
                  </a:cubicBezTo>
                  <a:lnTo>
                    <a:pt x="260" y="684"/>
                  </a:lnTo>
                  <a:cubicBezTo>
                    <a:pt x="267" y="698"/>
                    <a:pt x="274" y="715"/>
                    <a:pt x="277" y="733"/>
                  </a:cubicBezTo>
                  <a:lnTo>
                    <a:pt x="284" y="754"/>
                  </a:lnTo>
                  <a:cubicBezTo>
                    <a:pt x="291" y="768"/>
                    <a:pt x="295" y="782"/>
                    <a:pt x="298" y="792"/>
                  </a:cubicBezTo>
                  <a:lnTo>
                    <a:pt x="305" y="820"/>
                  </a:lnTo>
                  <a:cubicBezTo>
                    <a:pt x="312" y="831"/>
                    <a:pt x="316" y="845"/>
                    <a:pt x="319" y="859"/>
                  </a:cubicBezTo>
                  <a:lnTo>
                    <a:pt x="326" y="883"/>
                  </a:lnTo>
                  <a:cubicBezTo>
                    <a:pt x="330" y="897"/>
                    <a:pt x="333" y="911"/>
                    <a:pt x="337" y="922"/>
                  </a:cubicBezTo>
                  <a:lnTo>
                    <a:pt x="344" y="950"/>
                  </a:lnTo>
                  <a:cubicBezTo>
                    <a:pt x="347" y="960"/>
                    <a:pt x="347" y="974"/>
                    <a:pt x="351" y="988"/>
                  </a:cubicBezTo>
                  <a:lnTo>
                    <a:pt x="358" y="1013"/>
                  </a:lnTo>
                  <a:lnTo>
                    <a:pt x="365" y="1052"/>
                  </a:lnTo>
                  <a:lnTo>
                    <a:pt x="372" y="1076"/>
                  </a:lnTo>
                  <a:lnTo>
                    <a:pt x="379" y="1115"/>
                  </a:lnTo>
                  <a:lnTo>
                    <a:pt x="386" y="1139"/>
                  </a:lnTo>
                  <a:lnTo>
                    <a:pt x="389" y="1174"/>
                  </a:lnTo>
                  <a:lnTo>
                    <a:pt x="396" y="1199"/>
                  </a:lnTo>
                  <a:lnTo>
                    <a:pt x="400" y="1230"/>
                  </a:lnTo>
                  <a:lnTo>
                    <a:pt x="403" y="1255"/>
                  </a:lnTo>
                  <a:lnTo>
                    <a:pt x="407" y="1286"/>
                  </a:lnTo>
                  <a:lnTo>
                    <a:pt x="410" y="1307"/>
                  </a:lnTo>
                  <a:cubicBezTo>
                    <a:pt x="410" y="1318"/>
                    <a:pt x="414" y="1328"/>
                    <a:pt x="414" y="1335"/>
                  </a:cubicBezTo>
                  <a:lnTo>
                    <a:pt x="417" y="1356"/>
                  </a:lnTo>
                  <a:cubicBezTo>
                    <a:pt x="417" y="1363"/>
                    <a:pt x="417" y="1374"/>
                    <a:pt x="421" y="1381"/>
                  </a:cubicBezTo>
                  <a:cubicBezTo>
                    <a:pt x="424" y="1388"/>
                    <a:pt x="421" y="1391"/>
                    <a:pt x="421" y="1398"/>
                  </a:cubicBezTo>
                  <a:lnTo>
                    <a:pt x="421" y="1419"/>
                  </a:lnTo>
                  <a:lnTo>
                    <a:pt x="421" y="1433"/>
                  </a:lnTo>
                  <a:lnTo>
                    <a:pt x="421" y="1454"/>
                  </a:lnTo>
                  <a:lnTo>
                    <a:pt x="421" y="1465"/>
                  </a:lnTo>
                  <a:lnTo>
                    <a:pt x="421" y="1489"/>
                  </a:lnTo>
                  <a:cubicBezTo>
                    <a:pt x="421" y="1570"/>
                    <a:pt x="361" y="1633"/>
                    <a:pt x="305" y="1692"/>
                  </a:cubicBezTo>
                  <a:cubicBezTo>
                    <a:pt x="256" y="1748"/>
                    <a:pt x="211" y="1797"/>
                    <a:pt x="214" y="1846"/>
                  </a:cubicBezTo>
                  <a:cubicBezTo>
                    <a:pt x="221" y="1951"/>
                    <a:pt x="148" y="2098"/>
                    <a:pt x="81" y="2228"/>
                  </a:cubicBezTo>
                  <a:cubicBezTo>
                    <a:pt x="53" y="2280"/>
                    <a:pt x="29" y="2336"/>
                    <a:pt x="8" y="2392"/>
                  </a:cubicBezTo>
                  <a:cubicBezTo>
                    <a:pt x="1" y="2462"/>
                    <a:pt x="155" y="2854"/>
                    <a:pt x="228" y="2952"/>
                  </a:cubicBezTo>
                  <a:cubicBezTo>
                    <a:pt x="232" y="2959"/>
                    <a:pt x="239" y="2966"/>
                    <a:pt x="242" y="2973"/>
                  </a:cubicBezTo>
                  <a:cubicBezTo>
                    <a:pt x="242" y="2977"/>
                    <a:pt x="242" y="2980"/>
                    <a:pt x="246" y="2984"/>
                  </a:cubicBezTo>
                  <a:cubicBezTo>
                    <a:pt x="246" y="2987"/>
                    <a:pt x="249" y="2994"/>
                    <a:pt x="253" y="3001"/>
                  </a:cubicBezTo>
                  <a:cubicBezTo>
                    <a:pt x="253" y="3005"/>
                    <a:pt x="253" y="3008"/>
                    <a:pt x="253" y="3012"/>
                  </a:cubicBezTo>
                  <a:cubicBezTo>
                    <a:pt x="256" y="3015"/>
                    <a:pt x="256" y="3026"/>
                    <a:pt x="256" y="3033"/>
                  </a:cubicBezTo>
                  <a:cubicBezTo>
                    <a:pt x="260" y="3040"/>
                    <a:pt x="256" y="3040"/>
                    <a:pt x="256" y="3047"/>
                  </a:cubicBezTo>
                  <a:lnTo>
                    <a:pt x="256" y="3068"/>
                  </a:lnTo>
                  <a:lnTo>
                    <a:pt x="256" y="3082"/>
                  </a:lnTo>
                  <a:lnTo>
                    <a:pt x="256" y="3107"/>
                  </a:lnTo>
                  <a:lnTo>
                    <a:pt x="256" y="3124"/>
                  </a:lnTo>
                  <a:cubicBezTo>
                    <a:pt x="256" y="3128"/>
                    <a:pt x="256" y="3145"/>
                    <a:pt x="253" y="3159"/>
                  </a:cubicBezTo>
                  <a:lnTo>
                    <a:pt x="253" y="3166"/>
                  </a:lnTo>
                  <a:cubicBezTo>
                    <a:pt x="249" y="3184"/>
                    <a:pt x="249" y="3198"/>
                    <a:pt x="246" y="3215"/>
                  </a:cubicBezTo>
                  <a:cubicBezTo>
                    <a:pt x="365" y="3254"/>
                    <a:pt x="456" y="3292"/>
                    <a:pt x="519" y="3317"/>
                  </a:cubicBezTo>
                  <a:cubicBezTo>
                    <a:pt x="551" y="3331"/>
                    <a:pt x="582" y="3341"/>
                    <a:pt x="593" y="3345"/>
                  </a:cubicBezTo>
                  <a:cubicBezTo>
                    <a:pt x="680" y="3345"/>
                    <a:pt x="1219" y="3114"/>
                    <a:pt x="1608" y="2921"/>
                  </a:cubicBezTo>
                  <a:cubicBezTo>
                    <a:pt x="1720" y="2865"/>
                    <a:pt x="1839" y="2819"/>
                    <a:pt x="1951" y="2774"/>
                  </a:cubicBezTo>
                  <a:cubicBezTo>
                    <a:pt x="2035" y="2742"/>
                    <a:pt x="2112" y="2714"/>
                    <a:pt x="2178" y="2683"/>
                  </a:cubicBezTo>
                  <a:lnTo>
                    <a:pt x="2178" y="2676"/>
                  </a:lnTo>
                  <a:lnTo>
                    <a:pt x="2168" y="2658"/>
                  </a:lnTo>
                  <a:lnTo>
                    <a:pt x="2164" y="2644"/>
                  </a:lnTo>
                  <a:lnTo>
                    <a:pt x="2154" y="2627"/>
                  </a:lnTo>
                  <a:lnTo>
                    <a:pt x="2147" y="2609"/>
                  </a:lnTo>
                  <a:lnTo>
                    <a:pt x="2136" y="2585"/>
                  </a:lnTo>
                  <a:lnTo>
                    <a:pt x="2126" y="2557"/>
                  </a:lnTo>
                  <a:lnTo>
                    <a:pt x="2119" y="2543"/>
                  </a:lnTo>
                  <a:lnTo>
                    <a:pt x="2108" y="2518"/>
                  </a:lnTo>
                  <a:lnTo>
                    <a:pt x="2101" y="2501"/>
                  </a:lnTo>
                  <a:lnTo>
                    <a:pt x="2091" y="2476"/>
                  </a:lnTo>
                  <a:lnTo>
                    <a:pt x="2084" y="2455"/>
                  </a:lnTo>
                  <a:lnTo>
                    <a:pt x="2077" y="2431"/>
                  </a:lnTo>
                  <a:lnTo>
                    <a:pt x="2070" y="2413"/>
                  </a:lnTo>
                  <a:lnTo>
                    <a:pt x="2059" y="2382"/>
                  </a:lnTo>
                  <a:lnTo>
                    <a:pt x="2056" y="2368"/>
                  </a:lnTo>
                  <a:cubicBezTo>
                    <a:pt x="2049" y="2354"/>
                    <a:pt x="2045" y="2340"/>
                    <a:pt x="2042" y="2326"/>
                  </a:cubicBezTo>
                  <a:lnTo>
                    <a:pt x="2038" y="2312"/>
                  </a:lnTo>
                  <a:cubicBezTo>
                    <a:pt x="2035" y="2301"/>
                    <a:pt x="2031" y="2291"/>
                    <a:pt x="2031" y="2277"/>
                  </a:cubicBezTo>
                  <a:lnTo>
                    <a:pt x="2024" y="2263"/>
                  </a:lnTo>
                  <a:cubicBezTo>
                    <a:pt x="2024" y="2252"/>
                    <a:pt x="2021" y="2242"/>
                    <a:pt x="2021" y="2231"/>
                  </a:cubicBezTo>
                  <a:lnTo>
                    <a:pt x="2017" y="2214"/>
                  </a:lnTo>
                  <a:cubicBezTo>
                    <a:pt x="2017" y="2207"/>
                    <a:pt x="2014" y="2196"/>
                    <a:pt x="2010" y="2186"/>
                  </a:cubicBezTo>
                  <a:cubicBezTo>
                    <a:pt x="2010" y="2179"/>
                    <a:pt x="2010" y="2175"/>
                    <a:pt x="2007" y="2168"/>
                  </a:cubicBezTo>
                  <a:cubicBezTo>
                    <a:pt x="2007" y="2165"/>
                    <a:pt x="2007" y="2151"/>
                    <a:pt x="2007" y="2140"/>
                  </a:cubicBezTo>
                  <a:cubicBezTo>
                    <a:pt x="2003" y="2130"/>
                    <a:pt x="2007" y="2130"/>
                    <a:pt x="2007" y="2126"/>
                  </a:cubicBezTo>
                  <a:lnTo>
                    <a:pt x="2007" y="2081"/>
                  </a:lnTo>
                  <a:cubicBezTo>
                    <a:pt x="2003" y="1832"/>
                    <a:pt x="1954" y="1587"/>
                    <a:pt x="1863" y="1353"/>
                  </a:cubicBezTo>
                  <a:cubicBezTo>
                    <a:pt x="1832" y="1248"/>
                    <a:pt x="1814" y="1132"/>
                    <a:pt x="1821" y="1020"/>
                  </a:cubicBezTo>
                  <a:cubicBezTo>
                    <a:pt x="1821" y="957"/>
                    <a:pt x="1825" y="894"/>
                    <a:pt x="1828" y="831"/>
                  </a:cubicBezTo>
                  <a:cubicBezTo>
                    <a:pt x="1832" y="768"/>
                    <a:pt x="1835" y="708"/>
                    <a:pt x="1839" y="656"/>
                  </a:cubicBezTo>
                  <a:cubicBezTo>
                    <a:pt x="1842" y="621"/>
                    <a:pt x="1846" y="589"/>
                    <a:pt x="1849" y="561"/>
                  </a:cubicBezTo>
                  <a:cubicBezTo>
                    <a:pt x="1856" y="425"/>
                    <a:pt x="1825" y="337"/>
                    <a:pt x="1748" y="295"/>
                  </a:cubicBezTo>
                  <a:lnTo>
                    <a:pt x="1741" y="292"/>
                  </a:lnTo>
                  <a:lnTo>
                    <a:pt x="1737" y="292"/>
                  </a:lnTo>
                  <a:lnTo>
                    <a:pt x="1734" y="288"/>
                  </a:lnTo>
                  <a:lnTo>
                    <a:pt x="1730" y="285"/>
                  </a:lnTo>
                  <a:lnTo>
                    <a:pt x="1727" y="281"/>
                  </a:lnTo>
                  <a:lnTo>
                    <a:pt x="1723" y="278"/>
                  </a:lnTo>
                  <a:lnTo>
                    <a:pt x="1716" y="271"/>
                  </a:lnTo>
                  <a:lnTo>
                    <a:pt x="1716" y="267"/>
                  </a:lnTo>
                  <a:lnTo>
                    <a:pt x="1709" y="260"/>
                  </a:lnTo>
                  <a:lnTo>
                    <a:pt x="1702" y="246"/>
                  </a:lnTo>
                  <a:lnTo>
                    <a:pt x="1702" y="243"/>
                  </a:lnTo>
                  <a:lnTo>
                    <a:pt x="1695" y="232"/>
                  </a:lnTo>
                  <a:lnTo>
                    <a:pt x="1692" y="229"/>
                  </a:lnTo>
                  <a:lnTo>
                    <a:pt x="1688" y="215"/>
                  </a:lnTo>
                  <a:lnTo>
                    <a:pt x="1685" y="208"/>
                  </a:lnTo>
                  <a:lnTo>
                    <a:pt x="1678" y="194"/>
                  </a:lnTo>
                  <a:lnTo>
                    <a:pt x="1674" y="187"/>
                  </a:lnTo>
                  <a:lnTo>
                    <a:pt x="1667" y="166"/>
                  </a:lnTo>
                  <a:lnTo>
                    <a:pt x="1667" y="162"/>
                  </a:lnTo>
                  <a:cubicBezTo>
                    <a:pt x="1667" y="152"/>
                    <a:pt x="1664" y="141"/>
                    <a:pt x="1660" y="131"/>
                  </a:cubicBezTo>
                  <a:lnTo>
                    <a:pt x="1660" y="127"/>
                  </a:lnTo>
                  <a:cubicBezTo>
                    <a:pt x="1657" y="117"/>
                    <a:pt x="1657" y="110"/>
                    <a:pt x="1653" y="99"/>
                  </a:cubicBezTo>
                  <a:lnTo>
                    <a:pt x="1650" y="89"/>
                  </a:lnTo>
                  <a:lnTo>
                    <a:pt x="1643" y="61"/>
                  </a:lnTo>
                  <a:lnTo>
                    <a:pt x="1639" y="47"/>
                  </a:lnTo>
                  <a:lnTo>
                    <a:pt x="1639" y="36"/>
                  </a:lnTo>
                  <a:cubicBezTo>
                    <a:pt x="1625" y="57"/>
                    <a:pt x="1608" y="75"/>
                    <a:pt x="1587" y="89"/>
                  </a:cubicBezTo>
                  <a:cubicBezTo>
                    <a:pt x="1583" y="92"/>
                    <a:pt x="1580" y="96"/>
                    <a:pt x="1573" y="99"/>
                  </a:cubicBezTo>
                  <a:cubicBezTo>
                    <a:pt x="1569" y="99"/>
                    <a:pt x="1566" y="103"/>
                    <a:pt x="1562" y="103"/>
                  </a:cubicBezTo>
                  <a:cubicBezTo>
                    <a:pt x="1556" y="104"/>
                    <a:pt x="1549" y="105"/>
                    <a:pt x="1543" y="105"/>
                  </a:cubicBezTo>
                  <a:cubicBezTo>
                    <a:pt x="1519" y="105"/>
                    <a:pt x="1498" y="95"/>
                    <a:pt x="1482" y="78"/>
                  </a:cubicBezTo>
                  <a:cubicBezTo>
                    <a:pt x="1482" y="75"/>
                    <a:pt x="1478" y="71"/>
                    <a:pt x="1475" y="68"/>
                  </a:cubicBezTo>
                  <a:cubicBezTo>
                    <a:pt x="1440" y="54"/>
                    <a:pt x="1405" y="47"/>
                    <a:pt x="1370" y="43"/>
                  </a:cubicBezTo>
                  <a:cubicBezTo>
                    <a:pt x="1125" y="15"/>
                    <a:pt x="876" y="1"/>
                    <a:pt x="628" y="1"/>
                  </a:cubicBezTo>
                  <a:cubicBezTo>
                    <a:pt x="606" y="1"/>
                    <a:pt x="584" y="0"/>
                    <a:pt x="5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0" name="Google Shape;4020;p53"/>
            <p:cNvSpPr/>
            <p:nvPr/>
          </p:nvSpPr>
          <p:spPr>
            <a:xfrm>
              <a:off x="2053761" y="199631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1" name="Google Shape;4021;p53"/>
            <p:cNvSpPr/>
            <p:nvPr/>
          </p:nvSpPr>
          <p:spPr>
            <a:xfrm>
              <a:off x="2053516" y="1995786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2" name="Google Shape;4022;p53"/>
            <p:cNvSpPr/>
            <p:nvPr/>
          </p:nvSpPr>
          <p:spPr>
            <a:xfrm>
              <a:off x="2052905" y="199398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3" name="Google Shape;4023;p53"/>
            <p:cNvSpPr/>
            <p:nvPr/>
          </p:nvSpPr>
          <p:spPr>
            <a:xfrm>
              <a:off x="2053326" y="1995175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4" name="Google Shape;4024;p53"/>
            <p:cNvSpPr/>
            <p:nvPr/>
          </p:nvSpPr>
          <p:spPr>
            <a:xfrm>
              <a:off x="2053095" y="199460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5" name="Google Shape;4025;p53"/>
            <p:cNvSpPr/>
            <p:nvPr/>
          </p:nvSpPr>
          <p:spPr>
            <a:xfrm>
              <a:off x="2054277" y="1997497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6" name="Google Shape;4026;p53"/>
            <p:cNvSpPr/>
            <p:nvPr/>
          </p:nvSpPr>
          <p:spPr>
            <a:xfrm>
              <a:off x="2053992" y="1996927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7" name="Google Shape;4027;p53"/>
            <p:cNvSpPr/>
            <p:nvPr/>
          </p:nvSpPr>
          <p:spPr>
            <a:xfrm>
              <a:off x="2054467" y="199793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0"/>
                  </a:moveTo>
                  <a:lnTo>
                    <a:pt x="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8" name="Google Shape;4028;p53"/>
            <p:cNvSpPr/>
            <p:nvPr/>
          </p:nvSpPr>
          <p:spPr>
            <a:xfrm>
              <a:off x="2048004" y="196508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9" name="Google Shape;4029;p53"/>
            <p:cNvSpPr/>
            <p:nvPr/>
          </p:nvSpPr>
          <p:spPr>
            <a:xfrm>
              <a:off x="2047909" y="196489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0" name="Google Shape;4030;p53"/>
            <p:cNvSpPr/>
            <p:nvPr/>
          </p:nvSpPr>
          <p:spPr>
            <a:xfrm>
              <a:off x="2048343" y="196556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1" name="Google Shape;4031;p53"/>
            <p:cNvSpPr/>
            <p:nvPr/>
          </p:nvSpPr>
          <p:spPr>
            <a:xfrm>
              <a:off x="2049620" y="1975691"/>
              <a:ext cx="679" cy="4521"/>
            </a:xfrm>
            <a:custGeom>
              <a:avLst/>
              <a:gdLst/>
              <a:ahLst/>
              <a:cxnLst/>
              <a:rect l="l" t="t" r="r" b="b"/>
              <a:pathLst>
                <a:path w="50" h="333" extrusionOk="0">
                  <a:moveTo>
                    <a:pt x="50" y="333"/>
                  </a:moveTo>
                  <a:lnTo>
                    <a:pt x="50" y="333"/>
                  </a:lnTo>
                  <a:cubicBezTo>
                    <a:pt x="15" y="224"/>
                    <a:pt x="1" y="112"/>
                    <a:pt x="4" y="0"/>
                  </a:cubicBezTo>
                  <a:cubicBezTo>
                    <a:pt x="1" y="112"/>
                    <a:pt x="15" y="224"/>
                    <a:pt x="50" y="33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2" name="Google Shape;4032;p53"/>
            <p:cNvSpPr/>
            <p:nvPr/>
          </p:nvSpPr>
          <p:spPr>
            <a:xfrm>
              <a:off x="2052376" y="199184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3" name="Google Shape;4033;p53"/>
            <p:cNvSpPr/>
            <p:nvPr/>
          </p:nvSpPr>
          <p:spPr>
            <a:xfrm>
              <a:off x="2047393" y="196347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4" name="Google Shape;4034;p53"/>
            <p:cNvSpPr/>
            <p:nvPr/>
          </p:nvSpPr>
          <p:spPr>
            <a:xfrm>
              <a:off x="2047773" y="196461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5" name="Google Shape;4035;p53"/>
            <p:cNvSpPr/>
            <p:nvPr/>
          </p:nvSpPr>
          <p:spPr>
            <a:xfrm>
              <a:off x="2047529" y="196394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6" name="Google Shape;4036;p53"/>
            <p:cNvSpPr/>
            <p:nvPr/>
          </p:nvSpPr>
          <p:spPr>
            <a:xfrm>
              <a:off x="2047678" y="196427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7" name="Google Shape;4037;p53"/>
            <p:cNvSpPr/>
            <p:nvPr/>
          </p:nvSpPr>
          <p:spPr>
            <a:xfrm>
              <a:off x="2052281" y="1991224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"/>
                  </a:moveTo>
                  <a:cubicBezTo>
                    <a:pt x="1" y="8"/>
                    <a:pt x="1" y="15"/>
                    <a:pt x="4" y="18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8" name="Google Shape;4038;p53"/>
            <p:cNvSpPr/>
            <p:nvPr/>
          </p:nvSpPr>
          <p:spPr>
            <a:xfrm>
              <a:off x="2048153" y="196531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9" name="Google Shape;4039;p53"/>
            <p:cNvSpPr/>
            <p:nvPr/>
          </p:nvSpPr>
          <p:spPr>
            <a:xfrm>
              <a:off x="2048438" y="196565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0" name="Google Shape;4040;p53"/>
            <p:cNvSpPr/>
            <p:nvPr/>
          </p:nvSpPr>
          <p:spPr>
            <a:xfrm>
              <a:off x="2047298" y="1962942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1" name="Google Shape;4041;p53"/>
            <p:cNvSpPr/>
            <p:nvPr/>
          </p:nvSpPr>
          <p:spPr>
            <a:xfrm>
              <a:off x="2052661" y="199317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2" name="Google Shape;4042;p53"/>
            <p:cNvSpPr/>
            <p:nvPr/>
          </p:nvSpPr>
          <p:spPr>
            <a:xfrm>
              <a:off x="2048574" y="196575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3" name="Google Shape;4043;p53"/>
            <p:cNvSpPr/>
            <p:nvPr/>
          </p:nvSpPr>
          <p:spPr>
            <a:xfrm>
              <a:off x="2052525" y="199251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4" name="Google Shape;4044;p53"/>
            <p:cNvSpPr/>
            <p:nvPr/>
          </p:nvSpPr>
          <p:spPr>
            <a:xfrm>
              <a:off x="2047149" y="1962426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5" name="Google Shape;4045;p53"/>
            <p:cNvSpPr/>
            <p:nvPr/>
          </p:nvSpPr>
          <p:spPr>
            <a:xfrm>
              <a:off x="2052186" y="199065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6" name="Google Shape;4046;p53"/>
            <p:cNvSpPr/>
            <p:nvPr/>
          </p:nvSpPr>
          <p:spPr>
            <a:xfrm>
              <a:off x="2048248" y="196546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7" name="Google Shape;4047;p53"/>
            <p:cNvSpPr/>
            <p:nvPr/>
          </p:nvSpPr>
          <p:spPr>
            <a:xfrm>
              <a:off x="2030082" y="1976927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8" name="Google Shape;4048;p53"/>
            <p:cNvSpPr/>
            <p:nvPr/>
          </p:nvSpPr>
          <p:spPr>
            <a:xfrm>
              <a:off x="2028520" y="200401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8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9" name="Google Shape;4049;p53"/>
            <p:cNvSpPr/>
            <p:nvPr/>
          </p:nvSpPr>
          <p:spPr>
            <a:xfrm>
              <a:off x="2029756" y="1975203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0" name="Google Shape;4050;p53"/>
            <p:cNvSpPr/>
            <p:nvPr/>
          </p:nvSpPr>
          <p:spPr>
            <a:xfrm>
              <a:off x="2028520" y="200296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ubicBezTo>
                    <a:pt x="0" y="4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1" name="Google Shape;4051;p53"/>
            <p:cNvSpPr/>
            <p:nvPr/>
          </p:nvSpPr>
          <p:spPr>
            <a:xfrm>
              <a:off x="2028561" y="200344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2" name="Google Shape;4052;p53"/>
            <p:cNvSpPr/>
            <p:nvPr/>
          </p:nvSpPr>
          <p:spPr>
            <a:xfrm>
              <a:off x="2028262" y="2002195"/>
              <a:ext cx="81" cy="122"/>
            </a:xfrm>
            <a:custGeom>
              <a:avLst/>
              <a:gdLst/>
              <a:ahLst/>
              <a:cxnLst/>
              <a:rect l="l" t="t" r="r" b="b"/>
              <a:pathLst>
                <a:path w="6" h="9" extrusionOk="0">
                  <a:moveTo>
                    <a:pt x="1" y="1"/>
                  </a:moveTo>
                  <a:cubicBezTo>
                    <a:pt x="1" y="1"/>
                    <a:pt x="5" y="6"/>
                    <a:pt x="5" y="8"/>
                  </a:cubicBezTo>
                  <a:cubicBezTo>
                    <a:pt x="5" y="5"/>
                    <a:pt x="5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3" name="Google Shape;4053;p53"/>
            <p:cNvSpPr/>
            <p:nvPr/>
          </p:nvSpPr>
          <p:spPr>
            <a:xfrm>
              <a:off x="2028425" y="200253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cubicBezTo>
                    <a:pt x="0" y="4"/>
                    <a:pt x="4" y="11"/>
                    <a:pt x="4" y="15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4" name="Google Shape;4054;p53"/>
            <p:cNvSpPr/>
            <p:nvPr/>
          </p:nvSpPr>
          <p:spPr>
            <a:xfrm>
              <a:off x="2030231" y="197772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5" name="Google Shape;4055;p53"/>
            <p:cNvSpPr/>
            <p:nvPr/>
          </p:nvSpPr>
          <p:spPr>
            <a:xfrm>
              <a:off x="2030747" y="198153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6" name="Google Shape;4056;p53"/>
            <p:cNvSpPr/>
            <p:nvPr/>
          </p:nvSpPr>
          <p:spPr>
            <a:xfrm>
              <a:off x="2030652" y="1980539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7" name="Google Shape;4057;p53"/>
            <p:cNvSpPr/>
            <p:nvPr/>
          </p:nvSpPr>
          <p:spPr>
            <a:xfrm>
              <a:off x="2030557" y="1979914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8" name="Google Shape;4058;p53"/>
            <p:cNvSpPr/>
            <p:nvPr/>
          </p:nvSpPr>
          <p:spPr>
            <a:xfrm>
              <a:off x="2029281" y="197339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9" name="Google Shape;4059;p53"/>
            <p:cNvSpPr/>
            <p:nvPr/>
          </p:nvSpPr>
          <p:spPr>
            <a:xfrm>
              <a:off x="2030367" y="1978488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0" name="Google Shape;4060;p53"/>
            <p:cNvSpPr/>
            <p:nvPr/>
          </p:nvSpPr>
          <p:spPr>
            <a:xfrm>
              <a:off x="2029511" y="1974306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8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1" name="Google Shape;4061;p53"/>
            <p:cNvSpPr/>
            <p:nvPr/>
          </p:nvSpPr>
          <p:spPr>
            <a:xfrm>
              <a:off x="2030706" y="198110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ubicBezTo>
                    <a:pt x="0" y="4"/>
                    <a:pt x="0" y="7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2" name="Google Shape;4062;p53"/>
            <p:cNvSpPr/>
            <p:nvPr/>
          </p:nvSpPr>
          <p:spPr>
            <a:xfrm>
              <a:off x="2030462" y="197924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3" name="Google Shape;4063;p53"/>
            <p:cNvSpPr/>
            <p:nvPr/>
          </p:nvSpPr>
          <p:spPr>
            <a:xfrm>
              <a:off x="2028425" y="2004666"/>
              <a:ext cx="54" cy="177"/>
            </a:xfrm>
            <a:custGeom>
              <a:avLst/>
              <a:gdLst/>
              <a:ahLst/>
              <a:cxnLst/>
              <a:rect l="l" t="t" r="r" b="b"/>
              <a:pathLst>
                <a:path w="4" h="13" extrusionOk="0">
                  <a:moveTo>
                    <a:pt x="1" y="1"/>
                  </a:moveTo>
                  <a:cubicBezTo>
                    <a:pt x="1" y="1"/>
                    <a:pt x="0" y="1"/>
                    <a:pt x="0" y="2"/>
                  </a:cubicBezTo>
                  <a:lnTo>
                    <a:pt x="0" y="12"/>
                  </a:lnTo>
                  <a:cubicBezTo>
                    <a:pt x="3" y="9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4" name="Google Shape;4064;p53"/>
            <p:cNvSpPr/>
            <p:nvPr/>
          </p:nvSpPr>
          <p:spPr>
            <a:xfrm>
              <a:off x="2028995" y="1972541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5" name="Google Shape;4065;p53"/>
            <p:cNvSpPr/>
            <p:nvPr/>
          </p:nvSpPr>
          <p:spPr>
            <a:xfrm>
              <a:off x="2029892" y="1976072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8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6" name="Google Shape;4066;p53"/>
            <p:cNvSpPr/>
            <p:nvPr/>
          </p:nvSpPr>
          <p:spPr>
            <a:xfrm>
              <a:off x="2028425" y="1970885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7" name="Google Shape;4067;p53"/>
            <p:cNvSpPr/>
            <p:nvPr/>
          </p:nvSpPr>
          <p:spPr>
            <a:xfrm>
              <a:off x="2025044" y="1994320"/>
              <a:ext cx="3055" cy="7563"/>
            </a:xfrm>
            <a:custGeom>
              <a:avLst/>
              <a:gdLst/>
              <a:ahLst/>
              <a:cxnLst/>
              <a:rect l="l" t="t" r="r" b="b"/>
              <a:pathLst>
                <a:path w="225" h="557" extrusionOk="0">
                  <a:moveTo>
                    <a:pt x="225" y="557"/>
                  </a:moveTo>
                  <a:cubicBezTo>
                    <a:pt x="151" y="459"/>
                    <a:pt x="1" y="67"/>
                    <a:pt x="8" y="0"/>
                  </a:cubicBezTo>
                  <a:cubicBezTo>
                    <a:pt x="1" y="67"/>
                    <a:pt x="151" y="459"/>
                    <a:pt x="225" y="5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8" name="Google Shape;4068;p53"/>
            <p:cNvSpPr/>
            <p:nvPr/>
          </p:nvSpPr>
          <p:spPr>
            <a:xfrm>
              <a:off x="2028710" y="1971686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9" name="Google Shape;4069;p53"/>
            <p:cNvSpPr/>
            <p:nvPr/>
          </p:nvSpPr>
          <p:spPr>
            <a:xfrm>
              <a:off x="1936777" y="1949351"/>
              <a:ext cx="53305" cy="39619"/>
            </a:xfrm>
            <a:custGeom>
              <a:avLst/>
              <a:gdLst/>
              <a:ahLst/>
              <a:cxnLst/>
              <a:rect l="l" t="t" r="r" b="b"/>
              <a:pathLst>
                <a:path w="3926" h="2918" extrusionOk="0">
                  <a:moveTo>
                    <a:pt x="750" y="1"/>
                  </a:moveTo>
                  <a:lnTo>
                    <a:pt x="747" y="71"/>
                  </a:lnTo>
                  <a:lnTo>
                    <a:pt x="736" y="67"/>
                  </a:lnTo>
                  <a:cubicBezTo>
                    <a:pt x="736" y="71"/>
                    <a:pt x="732" y="78"/>
                    <a:pt x="732" y="81"/>
                  </a:cubicBezTo>
                  <a:cubicBezTo>
                    <a:pt x="729" y="88"/>
                    <a:pt x="725" y="95"/>
                    <a:pt x="722" y="102"/>
                  </a:cubicBezTo>
                  <a:cubicBezTo>
                    <a:pt x="722" y="109"/>
                    <a:pt x="718" y="116"/>
                    <a:pt x="715" y="120"/>
                  </a:cubicBezTo>
                  <a:cubicBezTo>
                    <a:pt x="711" y="127"/>
                    <a:pt x="708" y="130"/>
                    <a:pt x="704" y="137"/>
                  </a:cubicBezTo>
                  <a:cubicBezTo>
                    <a:pt x="701" y="144"/>
                    <a:pt x="697" y="148"/>
                    <a:pt x="694" y="155"/>
                  </a:cubicBezTo>
                  <a:cubicBezTo>
                    <a:pt x="690" y="158"/>
                    <a:pt x="687" y="165"/>
                    <a:pt x="683" y="169"/>
                  </a:cubicBezTo>
                  <a:cubicBezTo>
                    <a:pt x="680" y="172"/>
                    <a:pt x="676" y="179"/>
                    <a:pt x="669" y="183"/>
                  </a:cubicBezTo>
                  <a:cubicBezTo>
                    <a:pt x="666" y="190"/>
                    <a:pt x="662" y="193"/>
                    <a:pt x="659" y="197"/>
                  </a:cubicBezTo>
                  <a:cubicBezTo>
                    <a:pt x="652" y="200"/>
                    <a:pt x="645" y="207"/>
                    <a:pt x="638" y="211"/>
                  </a:cubicBezTo>
                  <a:lnTo>
                    <a:pt x="627" y="218"/>
                  </a:lnTo>
                  <a:cubicBezTo>
                    <a:pt x="617" y="225"/>
                    <a:pt x="603" y="232"/>
                    <a:pt x="592" y="235"/>
                  </a:cubicBezTo>
                  <a:lnTo>
                    <a:pt x="582" y="239"/>
                  </a:lnTo>
                  <a:cubicBezTo>
                    <a:pt x="592" y="270"/>
                    <a:pt x="610" y="298"/>
                    <a:pt x="627" y="326"/>
                  </a:cubicBezTo>
                  <a:cubicBezTo>
                    <a:pt x="652" y="354"/>
                    <a:pt x="666" y="393"/>
                    <a:pt x="669" y="428"/>
                  </a:cubicBezTo>
                  <a:cubicBezTo>
                    <a:pt x="666" y="480"/>
                    <a:pt x="638" y="522"/>
                    <a:pt x="592" y="547"/>
                  </a:cubicBezTo>
                  <a:cubicBezTo>
                    <a:pt x="554" y="574"/>
                    <a:pt x="509" y="588"/>
                    <a:pt x="463" y="588"/>
                  </a:cubicBezTo>
                  <a:cubicBezTo>
                    <a:pt x="438" y="588"/>
                    <a:pt x="413" y="583"/>
                    <a:pt x="389" y="575"/>
                  </a:cubicBezTo>
                  <a:cubicBezTo>
                    <a:pt x="337" y="575"/>
                    <a:pt x="179" y="697"/>
                    <a:pt x="102" y="757"/>
                  </a:cubicBezTo>
                  <a:cubicBezTo>
                    <a:pt x="71" y="785"/>
                    <a:pt x="39" y="809"/>
                    <a:pt x="11" y="827"/>
                  </a:cubicBezTo>
                  <a:lnTo>
                    <a:pt x="1" y="834"/>
                  </a:lnTo>
                  <a:cubicBezTo>
                    <a:pt x="53" y="890"/>
                    <a:pt x="99" y="956"/>
                    <a:pt x="137" y="1026"/>
                  </a:cubicBezTo>
                  <a:cubicBezTo>
                    <a:pt x="183" y="1121"/>
                    <a:pt x="249" y="1201"/>
                    <a:pt x="333" y="1264"/>
                  </a:cubicBezTo>
                  <a:cubicBezTo>
                    <a:pt x="540" y="1415"/>
                    <a:pt x="771" y="1600"/>
                    <a:pt x="932" y="1884"/>
                  </a:cubicBezTo>
                  <a:lnTo>
                    <a:pt x="957" y="1863"/>
                  </a:lnTo>
                  <a:lnTo>
                    <a:pt x="974" y="1845"/>
                  </a:lnTo>
                  <a:lnTo>
                    <a:pt x="1009" y="1814"/>
                  </a:lnTo>
                  <a:lnTo>
                    <a:pt x="1027" y="1800"/>
                  </a:lnTo>
                  <a:lnTo>
                    <a:pt x="1051" y="1775"/>
                  </a:lnTo>
                  <a:lnTo>
                    <a:pt x="1069" y="1761"/>
                  </a:lnTo>
                  <a:lnTo>
                    <a:pt x="1083" y="1744"/>
                  </a:lnTo>
                  <a:lnTo>
                    <a:pt x="1097" y="1730"/>
                  </a:lnTo>
                  <a:lnTo>
                    <a:pt x="1111" y="1716"/>
                  </a:lnTo>
                  <a:lnTo>
                    <a:pt x="1125" y="1702"/>
                  </a:lnTo>
                  <a:lnTo>
                    <a:pt x="1135" y="1691"/>
                  </a:lnTo>
                  <a:lnTo>
                    <a:pt x="1146" y="1681"/>
                  </a:lnTo>
                  <a:lnTo>
                    <a:pt x="1156" y="1670"/>
                  </a:lnTo>
                  <a:lnTo>
                    <a:pt x="1163" y="1660"/>
                  </a:lnTo>
                  <a:lnTo>
                    <a:pt x="1174" y="1649"/>
                  </a:lnTo>
                  <a:lnTo>
                    <a:pt x="1181" y="1639"/>
                  </a:lnTo>
                  <a:lnTo>
                    <a:pt x="1184" y="1632"/>
                  </a:lnTo>
                  <a:lnTo>
                    <a:pt x="1191" y="1625"/>
                  </a:lnTo>
                  <a:lnTo>
                    <a:pt x="1195" y="1618"/>
                  </a:lnTo>
                  <a:lnTo>
                    <a:pt x="1202" y="1611"/>
                  </a:lnTo>
                  <a:lnTo>
                    <a:pt x="1205" y="1607"/>
                  </a:lnTo>
                  <a:lnTo>
                    <a:pt x="1209" y="1600"/>
                  </a:lnTo>
                  <a:lnTo>
                    <a:pt x="1209" y="1597"/>
                  </a:lnTo>
                  <a:lnTo>
                    <a:pt x="1212" y="1590"/>
                  </a:lnTo>
                  <a:lnTo>
                    <a:pt x="1212" y="1583"/>
                  </a:lnTo>
                  <a:cubicBezTo>
                    <a:pt x="1216" y="1579"/>
                    <a:pt x="1216" y="1576"/>
                    <a:pt x="1216" y="1572"/>
                  </a:cubicBezTo>
                  <a:cubicBezTo>
                    <a:pt x="1216" y="1527"/>
                    <a:pt x="1237" y="1481"/>
                    <a:pt x="1275" y="1453"/>
                  </a:cubicBezTo>
                  <a:cubicBezTo>
                    <a:pt x="1303" y="1432"/>
                    <a:pt x="1335" y="1424"/>
                    <a:pt x="1368" y="1424"/>
                  </a:cubicBezTo>
                  <a:cubicBezTo>
                    <a:pt x="1406" y="1424"/>
                    <a:pt x="1446" y="1434"/>
                    <a:pt x="1489" y="1443"/>
                  </a:cubicBezTo>
                  <a:lnTo>
                    <a:pt x="1548" y="1453"/>
                  </a:lnTo>
                  <a:cubicBezTo>
                    <a:pt x="1557" y="1455"/>
                    <a:pt x="1567" y="1456"/>
                    <a:pt x="1577" y="1456"/>
                  </a:cubicBezTo>
                  <a:cubicBezTo>
                    <a:pt x="1628" y="1456"/>
                    <a:pt x="1690" y="1435"/>
                    <a:pt x="1751" y="1415"/>
                  </a:cubicBezTo>
                  <a:cubicBezTo>
                    <a:pt x="1814" y="1390"/>
                    <a:pt x="1881" y="1373"/>
                    <a:pt x="1947" y="1369"/>
                  </a:cubicBezTo>
                  <a:cubicBezTo>
                    <a:pt x="2119" y="1369"/>
                    <a:pt x="2448" y="1838"/>
                    <a:pt x="2448" y="1982"/>
                  </a:cubicBezTo>
                  <a:lnTo>
                    <a:pt x="2448" y="2021"/>
                  </a:lnTo>
                  <a:lnTo>
                    <a:pt x="2448" y="2035"/>
                  </a:lnTo>
                  <a:lnTo>
                    <a:pt x="2448" y="2059"/>
                  </a:lnTo>
                  <a:lnTo>
                    <a:pt x="2448" y="2077"/>
                  </a:lnTo>
                  <a:lnTo>
                    <a:pt x="2448" y="2094"/>
                  </a:lnTo>
                  <a:cubicBezTo>
                    <a:pt x="2448" y="2101"/>
                    <a:pt x="2448" y="2108"/>
                    <a:pt x="2451" y="2115"/>
                  </a:cubicBezTo>
                  <a:cubicBezTo>
                    <a:pt x="2455" y="2122"/>
                    <a:pt x="2451" y="2126"/>
                    <a:pt x="2455" y="2133"/>
                  </a:cubicBezTo>
                  <a:cubicBezTo>
                    <a:pt x="2458" y="2140"/>
                    <a:pt x="2458" y="2147"/>
                    <a:pt x="2458" y="2154"/>
                  </a:cubicBezTo>
                  <a:cubicBezTo>
                    <a:pt x="2462" y="2161"/>
                    <a:pt x="2458" y="2164"/>
                    <a:pt x="2462" y="2168"/>
                  </a:cubicBezTo>
                  <a:cubicBezTo>
                    <a:pt x="2465" y="2175"/>
                    <a:pt x="2465" y="2182"/>
                    <a:pt x="2469" y="2189"/>
                  </a:cubicBezTo>
                  <a:cubicBezTo>
                    <a:pt x="2472" y="2196"/>
                    <a:pt x="2472" y="2199"/>
                    <a:pt x="2472" y="2206"/>
                  </a:cubicBezTo>
                  <a:cubicBezTo>
                    <a:pt x="2476" y="2210"/>
                    <a:pt x="2479" y="2220"/>
                    <a:pt x="2483" y="2224"/>
                  </a:cubicBezTo>
                  <a:cubicBezTo>
                    <a:pt x="2486" y="2231"/>
                    <a:pt x="2486" y="2234"/>
                    <a:pt x="2486" y="2241"/>
                  </a:cubicBezTo>
                  <a:cubicBezTo>
                    <a:pt x="2490" y="2245"/>
                    <a:pt x="2493" y="2252"/>
                    <a:pt x="2497" y="2259"/>
                  </a:cubicBezTo>
                  <a:cubicBezTo>
                    <a:pt x="2500" y="2266"/>
                    <a:pt x="2504" y="2269"/>
                    <a:pt x="2507" y="2273"/>
                  </a:cubicBezTo>
                  <a:lnTo>
                    <a:pt x="2577" y="2259"/>
                  </a:lnTo>
                  <a:lnTo>
                    <a:pt x="2584" y="2259"/>
                  </a:lnTo>
                  <a:cubicBezTo>
                    <a:pt x="2640" y="2248"/>
                    <a:pt x="2696" y="2238"/>
                    <a:pt x="2742" y="2231"/>
                  </a:cubicBezTo>
                  <a:lnTo>
                    <a:pt x="2745" y="2231"/>
                  </a:lnTo>
                  <a:lnTo>
                    <a:pt x="2784" y="2224"/>
                  </a:lnTo>
                  <a:lnTo>
                    <a:pt x="2791" y="2224"/>
                  </a:lnTo>
                  <a:lnTo>
                    <a:pt x="2823" y="2220"/>
                  </a:lnTo>
                  <a:lnTo>
                    <a:pt x="2830" y="2220"/>
                  </a:lnTo>
                  <a:lnTo>
                    <a:pt x="2854" y="2217"/>
                  </a:lnTo>
                  <a:lnTo>
                    <a:pt x="2879" y="2217"/>
                  </a:lnTo>
                  <a:cubicBezTo>
                    <a:pt x="2910" y="2217"/>
                    <a:pt x="2942" y="2234"/>
                    <a:pt x="2963" y="2259"/>
                  </a:cubicBezTo>
                  <a:cubicBezTo>
                    <a:pt x="3033" y="2343"/>
                    <a:pt x="3120" y="2584"/>
                    <a:pt x="3099" y="2756"/>
                  </a:cubicBezTo>
                  <a:cubicBezTo>
                    <a:pt x="3089" y="2822"/>
                    <a:pt x="3127" y="2885"/>
                    <a:pt x="3187" y="2913"/>
                  </a:cubicBezTo>
                  <a:cubicBezTo>
                    <a:pt x="3196" y="2917"/>
                    <a:pt x="3204" y="2918"/>
                    <a:pt x="3210" y="2918"/>
                  </a:cubicBezTo>
                  <a:cubicBezTo>
                    <a:pt x="3231" y="2918"/>
                    <a:pt x="3240" y="2905"/>
                    <a:pt x="3243" y="2899"/>
                  </a:cubicBezTo>
                  <a:cubicBezTo>
                    <a:pt x="3342" y="2758"/>
                    <a:pt x="3406" y="2670"/>
                    <a:pt x="3479" y="2670"/>
                  </a:cubicBezTo>
                  <a:cubicBezTo>
                    <a:pt x="3485" y="2670"/>
                    <a:pt x="3492" y="2670"/>
                    <a:pt x="3498" y="2672"/>
                  </a:cubicBezTo>
                  <a:cubicBezTo>
                    <a:pt x="3540" y="2679"/>
                    <a:pt x="3568" y="2710"/>
                    <a:pt x="3575" y="2752"/>
                  </a:cubicBezTo>
                  <a:lnTo>
                    <a:pt x="3579" y="2756"/>
                  </a:lnTo>
                  <a:lnTo>
                    <a:pt x="3582" y="2756"/>
                  </a:lnTo>
                  <a:lnTo>
                    <a:pt x="3589" y="2759"/>
                  </a:lnTo>
                  <a:cubicBezTo>
                    <a:pt x="3607" y="2738"/>
                    <a:pt x="3628" y="2717"/>
                    <a:pt x="3649" y="2700"/>
                  </a:cubicBezTo>
                  <a:cubicBezTo>
                    <a:pt x="3670" y="2682"/>
                    <a:pt x="3691" y="2665"/>
                    <a:pt x="3708" y="2644"/>
                  </a:cubicBezTo>
                  <a:cubicBezTo>
                    <a:pt x="3715" y="2630"/>
                    <a:pt x="3708" y="2609"/>
                    <a:pt x="3680" y="2556"/>
                  </a:cubicBezTo>
                  <a:cubicBezTo>
                    <a:pt x="3649" y="2497"/>
                    <a:pt x="3607" y="2416"/>
                    <a:pt x="3652" y="2325"/>
                  </a:cubicBezTo>
                  <a:cubicBezTo>
                    <a:pt x="3685" y="2261"/>
                    <a:pt x="3731" y="2245"/>
                    <a:pt x="3772" y="2245"/>
                  </a:cubicBezTo>
                  <a:cubicBezTo>
                    <a:pt x="3807" y="2245"/>
                    <a:pt x="3838" y="2256"/>
                    <a:pt x="3859" y="2262"/>
                  </a:cubicBezTo>
                  <a:cubicBezTo>
                    <a:pt x="3887" y="2273"/>
                    <a:pt x="3900" y="2277"/>
                    <a:pt x="3908" y="2277"/>
                  </a:cubicBezTo>
                  <a:cubicBezTo>
                    <a:pt x="3913" y="2277"/>
                    <a:pt x="3916" y="2275"/>
                    <a:pt x="3918" y="2273"/>
                  </a:cubicBezTo>
                  <a:cubicBezTo>
                    <a:pt x="3925" y="2262"/>
                    <a:pt x="3880" y="2171"/>
                    <a:pt x="3862" y="2143"/>
                  </a:cubicBezTo>
                  <a:cubicBezTo>
                    <a:pt x="3824" y="2077"/>
                    <a:pt x="3785" y="2017"/>
                    <a:pt x="3806" y="1958"/>
                  </a:cubicBezTo>
                  <a:cubicBezTo>
                    <a:pt x="3827" y="1891"/>
                    <a:pt x="3799" y="1817"/>
                    <a:pt x="3740" y="1782"/>
                  </a:cubicBezTo>
                  <a:cubicBezTo>
                    <a:pt x="3733" y="1779"/>
                    <a:pt x="3726" y="1772"/>
                    <a:pt x="3719" y="1768"/>
                  </a:cubicBezTo>
                  <a:lnTo>
                    <a:pt x="3712" y="1761"/>
                  </a:lnTo>
                  <a:cubicBezTo>
                    <a:pt x="3708" y="1758"/>
                    <a:pt x="3701" y="1754"/>
                    <a:pt x="3698" y="1751"/>
                  </a:cubicBezTo>
                  <a:cubicBezTo>
                    <a:pt x="3698" y="1747"/>
                    <a:pt x="3694" y="1744"/>
                    <a:pt x="3694" y="1740"/>
                  </a:cubicBezTo>
                  <a:cubicBezTo>
                    <a:pt x="3691" y="1737"/>
                    <a:pt x="3687" y="1733"/>
                    <a:pt x="3684" y="1730"/>
                  </a:cubicBezTo>
                  <a:cubicBezTo>
                    <a:pt x="3684" y="1726"/>
                    <a:pt x="3680" y="1723"/>
                    <a:pt x="3680" y="1719"/>
                  </a:cubicBezTo>
                  <a:cubicBezTo>
                    <a:pt x="3677" y="1716"/>
                    <a:pt x="3677" y="1709"/>
                    <a:pt x="3673" y="1705"/>
                  </a:cubicBezTo>
                  <a:cubicBezTo>
                    <a:pt x="3670" y="1702"/>
                    <a:pt x="3670" y="1698"/>
                    <a:pt x="3670" y="1695"/>
                  </a:cubicBezTo>
                  <a:cubicBezTo>
                    <a:pt x="3666" y="1691"/>
                    <a:pt x="3666" y="1684"/>
                    <a:pt x="3666" y="1681"/>
                  </a:cubicBezTo>
                  <a:cubicBezTo>
                    <a:pt x="3663" y="1674"/>
                    <a:pt x="3666" y="1670"/>
                    <a:pt x="3663" y="1667"/>
                  </a:cubicBezTo>
                  <a:cubicBezTo>
                    <a:pt x="3659" y="1663"/>
                    <a:pt x="3663" y="1656"/>
                    <a:pt x="3659" y="1653"/>
                  </a:cubicBezTo>
                  <a:cubicBezTo>
                    <a:pt x="3656" y="1646"/>
                    <a:pt x="3659" y="1642"/>
                    <a:pt x="3659" y="1639"/>
                  </a:cubicBezTo>
                  <a:lnTo>
                    <a:pt x="3659" y="1621"/>
                  </a:lnTo>
                  <a:lnTo>
                    <a:pt x="3659" y="1607"/>
                  </a:lnTo>
                  <a:lnTo>
                    <a:pt x="3659" y="1590"/>
                  </a:lnTo>
                  <a:lnTo>
                    <a:pt x="3659" y="1576"/>
                  </a:lnTo>
                  <a:lnTo>
                    <a:pt x="3659" y="1558"/>
                  </a:lnTo>
                  <a:lnTo>
                    <a:pt x="3659" y="1541"/>
                  </a:lnTo>
                  <a:lnTo>
                    <a:pt x="3659" y="1523"/>
                  </a:lnTo>
                  <a:lnTo>
                    <a:pt x="3659" y="1506"/>
                  </a:lnTo>
                  <a:cubicBezTo>
                    <a:pt x="3659" y="1502"/>
                    <a:pt x="3659" y="1495"/>
                    <a:pt x="3663" y="1488"/>
                  </a:cubicBezTo>
                  <a:lnTo>
                    <a:pt x="3663" y="1471"/>
                  </a:lnTo>
                  <a:lnTo>
                    <a:pt x="3666" y="1453"/>
                  </a:lnTo>
                  <a:lnTo>
                    <a:pt x="3670" y="1432"/>
                  </a:lnTo>
                  <a:lnTo>
                    <a:pt x="3673" y="1415"/>
                  </a:lnTo>
                  <a:lnTo>
                    <a:pt x="3677" y="1397"/>
                  </a:lnTo>
                  <a:lnTo>
                    <a:pt x="3680" y="1376"/>
                  </a:lnTo>
                  <a:lnTo>
                    <a:pt x="3684" y="1359"/>
                  </a:lnTo>
                  <a:lnTo>
                    <a:pt x="3691" y="1338"/>
                  </a:lnTo>
                  <a:lnTo>
                    <a:pt x="3694" y="1320"/>
                  </a:lnTo>
                  <a:lnTo>
                    <a:pt x="3694" y="1313"/>
                  </a:lnTo>
                  <a:cubicBezTo>
                    <a:pt x="3673" y="1292"/>
                    <a:pt x="3656" y="1271"/>
                    <a:pt x="3638" y="1250"/>
                  </a:cubicBezTo>
                  <a:cubicBezTo>
                    <a:pt x="3610" y="1194"/>
                    <a:pt x="3593" y="1131"/>
                    <a:pt x="3589" y="1068"/>
                  </a:cubicBezTo>
                  <a:cubicBezTo>
                    <a:pt x="3586" y="1037"/>
                    <a:pt x="3579" y="1002"/>
                    <a:pt x="3565" y="970"/>
                  </a:cubicBezTo>
                  <a:cubicBezTo>
                    <a:pt x="3562" y="970"/>
                    <a:pt x="3560" y="970"/>
                    <a:pt x="3558" y="970"/>
                  </a:cubicBezTo>
                  <a:cubicBezTo>
                    <a:pt x="3490" y="970"/>
                    <a:pt x="3431" y="922"/>
                    <a:pt x="3421" y="851"/>
                  </a:cubicBezTo>
                  <a:cubicBezTo>
                    <a:pt x="3421" y="844"/>
                    <a:pt x="3421" y="837"/>
                    <a:pt x="3421" y="830"/>
                  </a:cubicBezTo>
                  <a:cubicBezTo>
                    <a:pt x="3421" y="774"/>
                    <a:pt x="3446" y="718"/>
                    <a:pt x="3488" y="683"/>
                  </a:cubicBezTo>
                  <a:lnTo>
                    <a:pt x="3470" y="666"/>
                  </a:lnTo>
                  <a:cubicBezTo>
                    <a:pt x="3397" y="613"/>
                    <a:pt x="3306" y="543"/>
                    <a:pt x="3306" y="452"/>
                  </a:cubicBezTo>
                  <a:cubicBezTo>
                    <a:pt x="3306" y="372"/>
                    <a:pt x="3201" y="169"/>
                    <a:pt x="3152" y="120"/>
                  </a:cubicBezTo>
                  <a:cubicBezTo>
                    <a:pt x="3110" y="151"/>
                    <a:pt x="3071" y="183"/>
                    <a:pt x="3033" y="221"/>
                  </a:cubicBezTo>
                  <a:cubicBezTo>
                    <a:pt x="2921" y="326"/>
                    <a:pt x="2844" y="389"/>
                    <a:pt x="2773" y="389"/>
                  </a:cubicBezTo>
                  <a:cubicBezTo>
                    <a:pt x="2721" y="382"/>
                    <a:pt x="2668" y="365"/>
                    <a:pt x="2623" y="340"/>
                  </a:cubicBezTo>
                  <a:cubicBezTo>
                    <a:pt x="2581" y="319"/>
                    <a:pt x="2523" y="293"/>
                    <a:pt x="2492" y="293"/>
                  </a:cubicBezTo>
                  <a:cubicBezTo>
                    <a:pt x="2487" y="293"/>
                    <a:pt x="2483" y="293"/>
                    <a:pt x="2479" y="295"/>
                  </a:cubicBezTo>
                  <a:cubicBezTo>
                    <a:pt x="2472" y="298"/>
                    <a:pt x="2465" y="309"/>
                    <a:pt x="2462" y="316"/>
                  </a:cubicBezTo>
                  <a:cubicBezTo>
                    <a:pt x="2448" y="354"/>
                    <a:pt x="2420" y="386"/>
                    <a:pt x="2381" y="403"/>
                  </a:cubicBezTo>
                  <a:cubicBezTo>
                    <a:pt x="2363" y="410"/>
                    <a:pt x="2345" y="413"/>
                    <a:pt x="2326" y="413"/>
                  </a:cubicBezTo>
                  <a:cubicBezTo>
                    <a:pt x="2293" y="413"/>
                    <a:pt x="2260" y="403"/>
                    <a:pt x="2231" y="386"/>
                  </a:cubicBezTo>
                  <a:cubicBezTo>
                    <a:pt x="2196" y="371"/>
                    <a:pt x="2178" y="365"/>
                    <a:pt x="2167" y="365"/>
                  </a:cubicBezTo>
                  <a:cubicBezTo>
                    <a:pt x="2156" y="365"/>
                    <a:pt x="2152" y="370"/>
                    <a:pt x="2147" y="379"/>
                  </a:cubicBezTo>
                  <a:cubicBezTo>
                    <a:pt x="2125" y="416"/>
                    <a:pt x="2081" y="439"/>
                    <a:pt x="2038" y="439"/>
                  </a:cubicBezTo>
                  <a:cubicBezTo>
                    <a:pt x="2032" y="439"/>
                    <a:pt x="2026" y="439"/>
                    <a:pt x="2021" y="438"/>
                  </a:cubicBezTo>
                  <a:cubicBezTo>
                    <a:pt x="1926" y="417"/>
                    <a:pt x="1884" y="270"/>
                    <a:pt x="1870" y="211"/>
                  </a:cubicBezTo>
                  <a:lnTo>
                    <a:pt x="1870" y="200"/>
                  </a:lnTo>
                  <a:lnTo>
                    <a:pt x="1870" y="197"/>
                  </a:lnTo>
                  <a:lnTo>
                    <a:pt x="1863" y="197"/>
                  </a:lnTo>
                  <a:lnTo>
                    <a:pt x="1835" y="204"/>
                  </a:lnTo>
                  <a:lnTo>
                    <a:pt x="1814" y="211"/>
                  </a:lnTo>
                  <a:lnTo>
                    <a:pt x="1776" y="218"/>
                  </a:lnTo>
                  <a:lnTo>
                    <a:pt x="1744" y="221"/>
                  </a:lnTo>
                  <a:lnTo>
                    <a:pt x="1716" y="228"/>
                  </a:lnTo>
                  <a:lnTo>
                    <a:pt x="1688" y="228"/>
                  </a:lnTo>
                  <a:lnTo>
                    <a:pt x="1664" y="232"/>
                  </a:lnTo>
                  <a:lnTo>
                    <a:pt x="1636" y="235"/>
                  </a:lnTo>
                  <a:lnTo>
                    <a:pt x="1447" y="235"/>
                  </a:lnTo>
                  <a:lnTo>
                    <a:pt x="1398" y="232"/>
                  </a:lnTo>
                  <a:lnTo>
                    <a:pt x="1384" y="232"/>
                  </a:lnTo>
                  <a:cubicBezTo>
                    <a:pt x="1342" y="228"/>
                    <a:pt x="1303" y="225"/>
                    <a:pt x="1268" y="218"/>
                  </a:cubicBezTo>
                  <a:lnTo>
                    <a:pt x="1254" y="218"/>
                  </a:lnTo>
                  <a:lnTo>
                    <a:pt x="1216" y="211"/>
                  </a:lnTo>
                  <a:lnTo>
                    <a:pt x="1202" y="207"/>
                  </a:lnTo>
                  <a:lnTo>
                    <a:pt x="1170" y="200"/>
                  </a:lnTo>
                  <a:lnTo>
                    <a:pt x="1156" y="197"/>
                  </a:lnTo>
                  <a:lnTo>
                    <a:pt x="1128" y="186"/>
                  </a:lnTo>
                  <a:lnTo>
                    <a:pt x="1118" y="183"/>
                  </a:lnTo>
                  <a:cubicBezTo>
                    <a:pt x="1107" y="179"/>
                    <a:pt x="1097" y="172"/>
                    <a:pt x="1086" y="169"/>
                  </a:cubicBezTo>
                  <a:cubicBezTo>
                    <a:pt x="1055" y="155"/>
                    <a:pt x="1030" y="130"/>
                    <a:pt x="1016" y="99"/>
                  </a:cubicBezTo>
                  <a:cubicBezTo>
                    <a:pt x="1013" y="95"/>
                    <a:pt x="1009" y="92"/>
                    <a:pt x="1002" y="88"/>
                  </a:cubicBezTo>
                  <a:cubicBezTo>
                    <a:pt x="925" y="46"/>
                    <a:pt x="838" y="18"/>
                    <a:pt x="7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0" name="Google Shape;4070;p53"/>
            <p:cNvSpPr/>
            <p:nvPr/>
          </p:nvSpPr>
          <p:spPr>
            <a:xfrm>
              <a:off x="1956464" y="195258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1" name="Google Shape;4071;p53"/>
            <p:cNvSpPr/>
            <p:nvPr/>
          </p:nvSpPr>
          <p:spPr>
            <a:xfrm>
              <a:off x="1957510" y="19525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2" name="Google Shape;4072;p53"/>
            <p:cNvSpPr/>
            <p:nvPr/>
          </p:nvSpPr>
          <p:spPr>
            <a:xfrm>
              <a:off x="1953898" y="195235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3" name="Google Shape;4073;p53"/>
            <p:cNvSpPr/>
            <p:nvPr/>
          </p:nvSpPr>
          <p:spPr>
            <a:xfrm>
              <a:off x="1953138" y="1952162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4" name="Google Shape;4074;p53"/>
            <p:cNvSpPr/>
            <p:nvPr/>
          </p:nvSpPr>
          <p:spPr>
            <a:xfrm>
              <a:off x="1951997" y="1951822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5" name="Google Shape;4075;p53"/>
            <p:cNvSpPr/>
            <p:nvPr/>
          </p:nvSpPr>
          <p:spPr>
            <a:xfrm>
              <a:off x="1952513" y="195201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6" name="Google Shape;4076;p53"/>
            <p:cNvSpPr/>
            <p:nvPr/>
          </p:nvSpPr>
          <p:spPr>
            <a:xfrm>
              <a:off x="1955650" y="195254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7" name="Google Shape;4077;p53"/>
            <p:cNvSpPr/>
            <p:nvPr/>
          </p:nvSpPr>
          <p:spPr>
            <a:xfrm>
              <a:off x="1958026" y="1952582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8" name="Google Shape;4078;p53"/>
            <p:cNvSpPr/>
            <p:nvPr/>
          </p:nvSpPr>
          <p:spPr>
            <a:xfrm>
              <a:off x="1958745" y="1952542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9" name="Google Shape;4079;p53"/>
            <p:cNvSpPr/>
            <p:nvPr/>
          </p:nvSpPr>
          <p:spPr>
            <a:xfrm>
              <a:off x="1960972" y="1952202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0" name="Google Shape;4080;p53"/>
            <p:cNvSpPr/>
            <p:nvPr/>
          </p:nvSpPr>
          <p:spPr>
            <a:xfrm>
              <a:off x="1959451" y="1952487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1" name="Google Shape;4081;p53"/>
            <p:cNvSpPr/>
            <p:nvPr/>
          </p:nvSpPr>
          <p:spPr>
            <a:xfrm>
              <a:off x="1960171" y="1952392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8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2" name="Google Shape;4082;p53"/>
            <p:cNvSpPr/>
            <p:nvPr/>
          </p:nvSpPr>
          <p:spPr>
            <a:xfrm>
              <a:off x="1961732" y="1952067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3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3" name="Google Shape;4083;p53"/>
            <p:cNvSpPr/>
            <p:nvPr/>
          </p:nvSpPr>
          <p:spPr>
            <a:xfrm>
              <a:off x="1946865" y="1949351"/>
              <a:ext cx="190" cy="964"/>
            </a:xfrm>
            <a:custGeom>
              <a:avLst/>
              <a:gdLst/>
              <a:ahLst/>
              <a:cxnLst/>
              <a:rect l="l" t="t" r="r" b="b"/>
              <a:pathLst>
                <a:path w="14" h="71" extrusionOk="0">
                  <a:moveTo>
                    <a:pt x="14" y="1"/>
                  </a:moveTo>
                  <a:lnTo>
                    <a:pt x="14" y="3"/>
                  </a:lnTo>
                  <a:lnTo>
                    <a:pt x="14" y="3"/>
                  </a:lnTo>
                  <a:cubicBezTo>
                    <a:pt x="14" y="2"/>
                    <a:pt x="14" y="1"/>
                    <a:pt x="14" y="1"/>
                  </a:cubicBezTo>
                  <a:close/>
                  <a:moveTo>
                    <a:pt x="14" y="3"/>
                  </a:moveTo>
                  <a:lnTo>
                    <a:pt x="14" y="3"/>
                  </a:lnTo>
                  <a:cubicBezTo>
                    <a:pt x="13" y="8"/>
                    <a:pt x="11" y="12"/>
                    <a:pt x="11" y="18"/>
                  </a:cubicBezTo>
                  <a:lnTo>
                    <a:pt x="11" y="25"/>
                  </a:lnTo>
                  <a:cubicBezTo>
                    <a:pt x="7" y="39"/>
                    <a:pt x="4" y="53"/>
                    <a:pt x="0" y="64"/>
                  </a:cubicBezTo>
                  <a:lnTo>
                    <a:pt x="11" y="71"/>
                  </a:lnTo>
                  <a:lnTo>
                    <a:pt x="14" y="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4" name="Google Shape;4084;p53"/>
            <p:cNvSpPr/>
            <p:nvPr/>
          </p:nvSpPr>
          <p:spPr>
            <a:xfrm>
              <a:off x="1946756" y="195026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0"/>
                  </a:moveTo>
                  <a:lnTo>
                    <a:pt x="8" y="0"/>
                  </a:lnTo>
                  <a:cubicBezTo>
                    <a:pt x="5" y="4"/>
                    <a:pt x="1" y="11"/>
                    <a:pt x="1" y="14"/>
                  </a:cubicBezTo>
                  <a:cubicBezTo>
                    <a:pt x="5" y="11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5" name="Google Shape;4085;p53"/>
            <p:cNvSpPr/>
            <p:nvPr/>
          </p:nvSpPr>
          <p:spPr>
            <a:xfrm>
              <a:off x="1946281" y="1951211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cubicBezTo>
                    <a:pt x="4" y="11"/>
                    <a:pt x="8" y="7"/>
                    <a:pt x="11" y="0"/>
                  </a:cubicBezTo>
                  <a:cubicBezTo>
                    <a:pt x="8" y="7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6" name="Google Shape;4086;p53"/>
            <p:cNvSpPr/>
            <p:nvPr/>
          </p:nvSpPr>
          <p:spPr>
            <a:xfrm>
              <a:off x="1936831" y="19606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7" name="Google Shape;4087;p53"/>
            <p:cNvSpPr/>
            <p:nvPr/>
          </p:nvSpPr>
          <p:spPr>
            <a:xfrm>
              <a:off x="1945521" y="1952012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5"/>
                  </a:moveTo>
                  <a:cubicBezTo>
                    <a:pt x="8" y="8"/>
                    <a:pt x="11" y="4"/>
                    <a:pt x="18" y="1"/>
                  </a:cubicBezTo>
                  <a:cubicBezTo>
                    <a:pt x="11" y="4"/>
                    <a:pt x="8" y="8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8" name="Google Shape;4088;p53"/>
            <p:cNvSpPr/>
            <p:nvPr/>
          </p:nvSpPr>
          <p:spPr>
            <a:xfrm>
              <a:off x="1944856" y="1952297"/>
              <a:ext cx="489" cy="258"/>
            </a:xfrm>
            <a:custGeom>
              <a:avLst/>
              <a:gdLst/>
              <a:ahLst/>
              <a:cxnLst/>
              <a:rect l="l" t="t" r="r" b="b"/>
              <a:pathLst>
                <a:path w="36" h="19" extrusionOk="0">
                  <a:moveTo>
                    <a:pt x="1" y="18"/>
                  </a:moveTo>
                  <a:cubicBezTo>
                    <a:pt x="15" y="15"/>
                    <a:pt x="25" y="8"/>
                    <a:pt x="36" y="1"/>
                  </a:cubicBezTo>
                  <a:cubicBezTo>
                    <a:pt x="25" y="8"/>
                    <a:pt x="15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9" name="Google Shape;4089;p53"/>
            <p:cNvSpPr/>
            <p:nvPr/>
          </p:nvSpPr>
          <p:spPr>
            <a:xfrm>
              <a:off x="1936967" y="1959616"/>
              <a:ext cx="1249" cy="964"/>
            </a:xfrm>
            <a:custGeom>
              <a:avLst/>
              <a:gdLst/>
              <a:ahLst/>
              <a:cxnLst/>
              <a:rect l="l" t="t" r="r" b="b"/>
              <a:pathLst>
                <a:path w="92" h="71" extrusionOk="0">
                  <a:moveTo>
                    <a:pt x="92" y="1"/>
                  </a:moveTo>
                  <a:cubicBezTo>
                    <a:pt x="60" y="25"/>
                    <a:pt x="29" y="50"/>
                    <a:pt x="1" y="71"/>
                  </a:cubicBezTo>
                  <a:cubicBezTo>
                    <a:pt x="29" y="50"/>
                    <a:pt x="60" y="29"/>
                    <a:pt x="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0" name="Google Shape;4090;p53"/>
            <p:cNvSpPr/>
            <p:nvPr/>
          </p:nvSpPr>
          <p:spPr>
            <a:xfrm>
              <a:off x="1945955" y="1951632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"/>
                  </a:moveTo>
                  <a:cubicBezTo>
                    <a:pt x="7" y="4"/>
                    <a:pt x="4" y="11"/>
                    <a:pt x="0" y="15"/>
                  </a:cubicBezTo>
                  <a:cubicBezTo>
                    <a:pt x="4" y="11"/>
                    <a:pt x="11" y="4"/>
                    <a:pt x="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1" name="Google Shape;4091;p53"/>
            <p:cNvSpPr/>
            <p:nvPr/>
          </p:nvSpPr>
          <p:spPr>
            <a:xfrm>
              <a:off x="1946526" y="195073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11" y="0"/>
                  </a:moveTo>
                  <a:lnTo>
                    <a:pt x="11" y="0"/>
                  </a:lnTo>
                  <a:cubicBezTo>
                    <a:pt x="7" y="7"/>
                    <a:pt x="4" y="11"/>
                    <a:pt x="0" y="18"/>
                  </a:cubicBezTo>
                  <a:cubicBezTo>
                    <a:pt x="4" y="11"/>
                    <a:pt x="11" y="7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2" name="Google Shape;4092;p53"/>
            <p:cNvSpPr/>
            <p:nvPr/>
          </p:nvSpPr>
          <p:spPr>
            <a:xfrm>
              <a:off x="1946865" y="1950206"/>
              <a:ext cx="0" cy="68"/>
            </a:xfrm>
            <a:custGeom>
              <a:avLst/>
              <a:gdLst/>
              <a:ahLst/>
              <a:cxnLst/>
              <a:rect l="l" t="t" r="r" b="b"/>
              <a:pathLst>
                <a:path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3" name="Google Shape;4093;p53"/>
            <p:cNvSpPr/>
            <p:nvPr/>
          </p:nvSpPr>
          <p:spPr>
            <a:xfrm>
              <a:off x="1946960" y="1949595"/>
              <a:ext cx="0" cy="109"/>
            </a:xfrm>
            <a:custGeom>
              <a:avLst/>
              <a:gdLst/>
              <a:ahLst/>
              <a:cxnLst/>
              <a:rect l="l" t="t" r="r" b="b"/>
              <a:pathLst>
                <a:path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4" name="Google Shape;4094;p53"/>
            <p:cNvSpPr/>
            <p:nvPr/>
          </p:nvSpPr>
          <p:spPr>
            <a:xfrm>
              <a:off x="1987217" y="19732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5" name="Google Shape;4095;p53"/>
            <p:cNvSpPr/>
            <p:nvPr/>
          </p:nvSpPr>
          <p:spPr>
            <a:xfrm>
              <a:off x="1986498" y="196983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1" y="14"/>
                  </a:lnTo>
                  <a:cubicBezTo>
                    <a:pt x="4" y="11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6" name="Google Shape;4096;p53"/>
            <p:cNvSpPr/>
            <p:nvPr/>
          </p:nvSpPr>
          <p:spPr>
            <a:xfrm>
              <a:off x="1986783" y="197267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2" y="3"/>
                    <a:pt x="2" y="3"/>
                  </a:cubicBezTo>
                  <a:lnTo>
                    <a:pt x="2" y="3"/>
                  </a:lnTo>
                  <a:cubicBezTo>
                    <a:pt x="2" y="2"/>
                    <a:pt x="1" y="1"/>
                    <a:pt x="1" y="1"/>
                  </a:cubicBezTo>
                  <a:close/>
                  <a:moveTo>
                    <a:pt x="2" y="3"/>
                  </a:moveTo>
                  <a:lnTo>
                    <a:pt x="2" y="3"/>
                  </a:lnTo>
                  <a:cubicBezTo>
                    <a:pt x="4" y="6"/>
                    <a:pt x="6" y="10"/>
                    <a:pt x="8" y="12"/>
                  </a:cubicBezTo>
                  <a:cubicBezTo>
                    <a:pt x="8" y="9"/>
                    <a:pt x="5" y="6"/>
                    <a:pt x="2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7" name="Google Shape;4097;p53"/>
            <p:cNvSpPr/>
            <p:nvPr/>
          </p:nvSpPr>
          <p:spPr>
            <a:xfrm>
              <a:off x="1986457" y="1970315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4" y="11"/>
                    <a:pt x="4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8" name="Google Shape;4098;p53"/>
            <p:cNvSpPr/>
            <p:nvPr/>
          </p:nvSpPr>
          <p:spPr>
            <a:xfrm>
              <a:off x="1985547" y="1985236"/>
              <a:ext cx="1629" cy="1629"/>
            </a:xfrm>
            <a:custGeom>
              <a:avLst/>
              <a:gdLst/>
              <a:ahLst/>
              <a:cxnLst/>
              <a:rect l="l" t="t" r="r" b="b"/>
              <a:pathLst>
                <a:path w="120" h="120" extrusionOk="0">
                  <a:moveTo>
                    <a:pt x="64" y="60"/>
                  </a:moveTo>
                  <a:cubicBezTo>
                    <a:pt x="85" y="43"/>
                    <a:pt x="102" y="22"/>
                    <a:pt x="120" y="1"/>
                  </a:cubicBezTo>
                  <a:cubicBezTo>
                    <a:pt x="102" y="22"/>
                    <a:pt x="85" y="43"/>
                    <a:pt x="64" y="60"/>
                  </a:cubicBezTo>
                  <a:cubicBezTo>
                    <a:pt x="39" y="78"/>
                    <a:pt x="18" y="99"/>
                    <a:pt x="1" y="120"/>
                  </a:cubicBezTo>
                  <a:lnTo>
                    <a:pt x="1" y="120"/>
                  </a:lnTo>
                  <a:cubicBezTo>
                    <a:pt x="18" y="99"/>
                    <a:pt x="39" y="78"/>
                    <a:pt x="64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9" name="Google Shape;4099;p53"/>
            <p:cNvSpPr/>
            <p:nvPr/>
          </p:nvSpPr>
          <p:spPr>
            <a:xfrm>
              <a:off x="1986878" y="1967789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0" name="Google Shape;4100;p53"/>
            <p:cNvSpPr/>
            <p:nvPr/>
          </p:nvSpPr>
          <p:spPr>
            <a:xfrm>
              <a:off x="1986742" y="1968319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1" name="Google Shape;4101;p53"/>
            <p:cNvSpPr/>
            <p:nvPr/>
          </p:nvSpPr>
          <p:spPr>
            <a:xfrm>
              <a:off x="1986457" y="197121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2" name="Google Shape;4102;p53"/>
            <p:cNvSpPr/>
            <p:nvPr/>
          </p:nvSpPr>
          <p:spPr>
            <a:xfrm>
              <a:off x="1986688" y="1968835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3" name="Google Shape;4103;p53"/>
            <p:cNvSpPr/>
            <p:nvPr/>
          </p:nvSpPr>
          <p:spPr>
            <a:xfrm>
              <a:off x="1986457" y="197073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4" name="Google Shape;4104;p53"/>
            <p:cNvSpPr/>
            <p:nvPr/>
          </p:nvSpPr>
          <p:spPr>
            <a:xfrm>
              <a:off x="1986973" y="1967273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5" name="Google Shape;4105;p53"/>
            <p:cNvSpPr/>
            <p:nvPr/>
          </p:nvSpPr>
          <p:spPr>
            <a:xfrm>
              <a:off x="1986959" y="1973017"/>
              <a:ext cx="122" cy="109"/>
            </a:xfrm>
            <a:custGeom>
              <a:avLst/>
              <a:gdLst/>
              <a:ahLst/>
              <a:cxnLst/>
              <a:rect l="l" t="t" r="r" b="b"/>
              <a:pathLst>
                <a:path w="9" h="8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0"/>
                    <a:pt x="1" y="0"/>
                    <a:pt x="2" y="1"/>
                  </a:cubicBezTo>
                  <a:cubicBezTo>
                    <a:pt x="2" y="1"/>
                    <a:pt x="4" y="2"/>
                    <a:pt x="7" y="4"/>
                  </a:cubicBezTo>
                  <a:lnTo>
                    <a:pt x="7" y="4"/>
                  </a:lnTo>
                  <a:cubicBezTo>
                    <a:pt x="4" y="2"/>
                    <a:pt x="2" y="0"/>
                    <a:pt x="1" y="0"/>
                  </a:cubicBezTo>
                  <a:close/>
                  <a:moveTo>
                    <a:pt x="7" y="4"/>
                  </a:moveTo>
                  <a:lnTo>
                    <a:pt x="7" y="4"/>
                  </a:lnTo>
                  <a:cubicBezTo>
                    <a:pt x="8" y="6"/>
                    <a:pt x="9" y="7"/>
                    <a:pt x="9" y="8"/>
                  </a:cubicBezTo>
                  <a:cubicBezTo>
                    <a:pt x="9" y="7"/>
                    <a:pt x="8" y="5"/>
                    <a:pt x="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6" name="Google Shape;4106;p53"/>
            <p:cNvSpPr/>
            <p:nvPr/>
          </p:nvSpPr>
          <p:spPr>
            <a:xfrm>
              <a:off x="1986498" y="197159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7" name="Google Shape;4107;p53"/>
            <p:cNvSpPr/>
            <p:nvPr/>
          </p:nvSpPr>
          <p:spPr>
            <a:xfrm>
              <a:off x="1986647" y="1972351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cubicBezTo>
                    <a:pt x="4" y="8"/>
                    <a:pt x="4" y="4"/>
                    <a:pt x="0" y="1"/>
                  </a:cubicBezTo>
                  <a:cubicBezTo>
                    <a:pt x="4" y="4"/>
                    <a:pt x="4" y="8"/>
                    <a:pt x="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8" name="Google Shape;4108;p53"/>
            <p:cNvSpPr/>
            <p:nvPr/>
          </p:nvSpPr>
          <p:spPr>
            <a:xfrm>
              <a:off x="1986552" y="1971971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8"/>
                    <a:pt x="4" y="11"/>
                    <a:pt x="4" y="15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9" name="Google Shape;4109;p53"/>
            <p:cNvSpPr/>
            <p:nvPr/>
          </p:nvSpPr>
          <p:spPr>
            <a:xfrm>
              <a:off x="1986593" y="1969310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0" name="Google Shape;4110;p53"/>
            <p:cNvSpPr/>
            <p:nvPr/>
          </p:nvSpPr>
          <p:spPr>
            <a:xfrm>
              <a:off x="1963443" y="1981204"/>
              <a:ext cx="29110" cy="27820"/>
            </a:xfrm>
            <a:custGeom>
              <a:avLst/>
              <a:gdLst/>
              <a:ahLst/>
              <a:cxnLst/>
              <a:rect l="l" t="t" r="r" b="b"/>
              <a:pathLst>
                <a:path w="2144" h="2049" extrusionOk="0">
                  <a:moveTo>
                    <a:pt x="869" y="0"/>
                  </a:moveTo>
                  <a:lnTo>
                    <a:pt x="848" y="4"/>
                  </a:lnTo>
                  <a:lnTo>
                    <a:pt x="837" y="4"/>
                  </a:lnTo>
                  <a:lnTo>
                    <a:pt x="813" y="7"/>
                  </a:lnTo>
                  <a:lnTo>
                    <a:pt x="799" y="11"/>
                  </a:lnTo>
                  <a:lnTo>
                    <a:pt x="771" y="14"/>
                  </a:lnTo>
                  <a:lnTo>
                    <a:pt x="753" y="18"/>
                  </a:lnTo>
                  <a:lnTo>
                    <a:pt x="722" y="25"/>
                  </a:lnTo>
                  <a:lnTo>
                    <a:pt x="704" y="28"/>
                  </a:lnTo>
                  <a:lnTo>
                    <a:pt x="673" y="35"/>
                  </a:lnTo>
                  <a:lnTo>
                    <a:pt x="652" y="39"/>
                  </a:lnTo>
                  <a:lnTo>
                    <a:pt x="613" y="46"/>
                  </a:lnTo>
                  <a:lnTo>
                    <a:pt x="592" y="49"/>
                  </a:lnTo>
                  <a:lnTo>
                    <a:pt x="589" y="49"/>
                  </a:lnTo>
                  <a:lnTo>
                    <a:pt x="589" y="63"/>
                  </a:lnTo>
                  <a:lnTo>
                    <a:pt x="589" y="81"/>
                  </a:lnTo>
                  <a:cubicBezTo>
                    <a:pt x="589" y="84"/>
                    <a:pt x="589" y="95"/>
                    <a:pt x="585" y="102"/>
                  </a:cubicBezTo>
                  <a:cubicBezTo>
                    <a:pt x="585" y="109"/>
                    <a:pt x="585" y="112"/>
                    <a:pt x="585" y="116"/>
                  </a:cubicBezTo>
                  <a:cubicBezTo>
                    <a:pt x="582" y="123"/>
                    <a:pt x="582" y="133"/>
                    <a:pt x="578" y="140"/>
                  </a:cubicBezTo>
                  <a:lnTo>
                    <a:pt x="575" y="151"/>
                  </a:lnTo>
                  <a:cubicBezTo>
                    <a:pt x="571" y="168"/>
                    <a:pt x="564" y="189"/>
                    <a:pt x="557" y="207"/>
                  </a:cubicBezTo>
                  <a:cubicBezTo>
                    <a:pt x="550" y="224"/>
                    <a:pt x="540" y="256"/>
                    <a:pt x="536" y="277"/>
                  </a:cubicBezTo>
                  <a:cubicBezTo>
                    <a:pt x="536" y="280"/>
                    <a:pt x="533" y="284"/>
                    <a:pt x="533" y="291"/>
                  </a:cubicBezTo>
                  <a:cubicBezTo>
                    <a:pt x="529" y="301"/>
                    <a:pt x="526" y="312"/>
                    <a:pt x="519" y="326"/>
                  </a:cubicBezTo>
                  <a:cubicBezTo>
                    <a:pt x="484" y="396"/>
                    <a:pt x="396" y="466"/>
                    <a:pt x="270" y="553"/>
                  </a:cubicBezTo>
                  <a:lnTo>
                    <a:pt x="207" y="595"/>
                  </a:lnTo>
                  <a:cubicBezTo>
                    <a:pt x="155" y="630"/>
                    <a:pt x="106" y="662"/>
                    <a:pt x="74" y="690"/>
                  </a:cubicBezTo>
                  <a:lnTo>
                    <a:pt x="71" y="693"/>
                  </a:lnTo>
                  <a:lnTo>
                    <a:pt x="67" y="697"/>
                  </a:lnTo>
                  <a:lnTo>
                    <a:pt x="64" y="700"/>
                  </a:lnTo>
                  <a:lnTo>
                    <a:pt x="60" y="707"/>
                  </a:lnTo>
                  <a:lnTo>
                    <a:pt x="53" y="711"/>
                  </a:lnTo>
                  <a:lnTo>
                    <a:pt x="46" y="721"/>
                  </a:lnTo>
                  <a:lnTo>
                    <a:pt x="43" y="728"/>
                  </a:lnTo>
                  <a:lnTo>
                    <a:pt x="32" y="742"/>
                  </a:lnTo>
                  <a:lnTo>
                    <a:pt x="29" y="746"/>
                  </a:lnTo>
                  <a:lnTo>
                    <a:pt x="15" y="774"/>
                  </a:lnTo>
                  <a:lnTo>
                    <a:pt x="8" y="781"/>
                  </a:lnTo>
                  <a:lnTo>
                    <a:pt x="1" y="798"/>
                  </a:lnTo>
                  <a:cubicBezTo>
                    <a:pt x="218" y="935"/>
                    <a:pt x="459" y="1092"/>
                    <a:pt x="662" y="1243"/>
                  </a:cubicBezTo>
                  <a:cubicBezTo>
                    <a:pt x="1076" y="1554"/>
                    <a:pt x="1660" y="1936"/>
                    <a:pt x="1923" y="2034"/>
                  </a:cubicBezTo>
                  <a:cubicBezTo>
                    <a:pt x="1940" y="2041"/>
                    <a:pt x="1961" y="2045"/>
                    <a:pt x="1982" y="2048"/>
                  </a:cubicBezTo>
                  <a:lnTo>
                    <a:pt x="1982" y="2045"/>
                  </a:lnTo>
                  <a:lnTo>
                    <a:pt x="1986" y="2027"/>
                  </a:lnTo>
                  <a:cubicBezTo>
                    <a:pt x="1989" y="2017"/>
                    <a:pt x="1993" y="2006"/>
                    <a:pt x="1996" y="1996"/>
                  </a:cubicBezTo>
                  <a:lnTo>
                    <a:pt x="2000" y="1975"/>
                  </a:lnTo>
                  <a:lnTo>
                    <a:pt x="2010" y="1950"/>
                  </a:lnTo>
                  <a:lnTo>
                    <a:pt x="2014" y="1933"/>
                  </a:lnTo>
                  <a:lnTo>
                    <a:pt x="2021" y="1908"/>
                  </a:lnTo>
                  <a:lnTo>
                    <a:pt x="2028" y="1891"/>
                  </a:lnTo>
                  <a:lnTo>
                    <a:pt x="2035" y="1870"/>
                  </a:lnTo>
                  <a:lnTo>
                    <a:pt x="2042" y="1856"/>
                  </a:lnTo>
                  <a:lnTo>
                    <a:pt x="2049" y="1838"/>
                  </a:lnTo>
                  <a:lnTo>
                    <a:pt x="2052" y="1824"/>
                  </a:lnTo>
                  <a:lnTo>
                    <a:pt x="2063" y="1807"/>
                  </a:lnTo>
                  <a:lnTo>
                    <a:pt x="2066" y="1796"/>
                  </a:lnTo>
                  <a:lnTo>
                    <a:pt x="2077" y="1772"/>
                  </a:lnTo>
                  <a:cubicBezTo>
                    <a:pt x="2101" y="1716"/>
                    <a:pt x="2122" y="1659"/>
                    <a:pt x="2129" y="1600"/>
                  </a:cubicBezTo>
                  <a:cubicBezTo>
                    <a:pt x="2143" y="1491"/>
                    <a:pt x="1972" y="1393"/>
                    <a:pt x="1835" y="1313"/>
                  </a:cubicBezTo>
                  <a:cubicBezTo>
                    <a:pt x="1800" y="1292"/>
                    <a:pt x="1765" y="1271"/>
                    <a:pt x="1734" y="1250"/>
                  </a:cubicBezTo>
                  <a:cubicBezTo>
                    <a:pt x="1699" y="1225"/>
                    <a:pt x="1664" y="1208"/>
                    <a:pt x="1636" y="1194"/>
                  </a:cubicBezTo>
                  <a:lnTo>
                    <a:pt x="1608" y="1176"/>
                  </a:lnTo>
                  <a:cubicBezTo>
                    <a:pt x="1548" y="1145"/>
                    <a:pt x="1503" y="1124"/>
                    <a:pt x="1496" y="1071"/>
                  </a:cubicBezTo>
                  <a:cubicBezTo>
                    <a:pt x="1496" y="1033"/>
                    <a:pt x="1513" y="994"/>
                    <a:pt x="1545" y="973"/>
                  </a:cubicBezTo>
                  <a:cubicBezTo>
                    <a:pt x="1594" y="935"/>
                    <a:pt x="1608" y="823"/>
                    <a:pt x="1583" y="644"/>
                  </a:cubicBezTo>
                  <a:cubicBezTo>
                    <a:pt x="1580" y="609"/>
                    <a:pt x="1580" y="571"/>
                    <a:pt x="1583" y="536"/>
                  </a:cubicBezTo>
                  <a:lnTo>
                    <a:pt x="1559" y="529"/>
                  </a:lnTo>
                  <a:lnTo>
                    <a:pt x="1552" y="522"/>
                  </a:lnTo>
                  <a:lnTo>
                    <a:pt x="1538" y="515"/>
                  </a:lnTo>
                  <a:lnTo>
                    <a:pt x="1531" y="508"/>
                  </a:lnTo>
                  <a:lnTo>
                    <a:pt x="1520" y="497"/>
                  </a:lnTo>
                  <a:lnTo>
                    <a:pt x="1513" y="490"/>
                  </a:lnTo>
                  <a:cubicBezTo>
                    <a:pt x="1510" y="487"/>
                    <a:pt x="1503" y="480"/>
                    <a:pt x="1499" y="473"/>
                  </a:cubicBezTo>
                  <a:cubicBezTo>
                    <a:pt x="1461" y="522"/>
                    <a:pt x="1422" y="571"/>
                    <a:pt x="1387" y="623"/>
                  </a:cubicBezTo>
                  <a:lnTo>
                    <a:pt x="1384" y="627"/>
                  </a:lnTo>
                  <a:cubicBezTo>
                    <a:pt x="1377" y="634"/>
                    <a:pt x="1370" y="644"/>
                    <a:pt x="1359" y="655"/>
                  </a:cubicBezTo>
                  <a:lnTo>
                    <a:pt x="1352" y="662"/>
                  </a:lnTo>
                  <a:cubicBezTo>
                    <a:pt x="1345" y="665"/>
                    <a:pt x="1338" y="672"/>
                    <a:pt x="1328" y="676"/>
                  </a:cubicBezTo>
                  <a:lnTo>
                    <a:pt x="1321" y="683"/>
                  </a:lnTo>
                  <a:cubicBezTo>
                    <a:pt x="1310" y="686"/>
                    <a:pt x="1300" y="690"/>
                    <a:pt x="1289" y="693"/>
                  </a:cubicBezTo>
                  <a:lnTo>
                    <a:pt x="1279" y="693"/>
                  </a:lnTo>
                  <a:cubicBezTo>
                    <a:pt x="1272" y="693"/>
                    <a:pt x="1261" y="697"/>
                    <a:pt x="1254" y="697"/>
                  </a:cubicBezTo>
                  <a:lnTo>
                    <a:pt x="1205" y="697"/>
                  </a:lnTo>
                  <a:cubicBezTo>
                    <a:pt x="1195" y="693"/>
                    <a:pt x="1184" y="690"/>
                    <a:pt x="1174" y="686"/>
                  </a:cubicBezTo>
                  <a:cubicBezTo>
                    <a:pt x="1058" y="637"/>
                    <a:pt x="988" y="515"/>
                    <a:pt x="1002" y="389"/>
                  </a:cubicBezTo>
                  <a:cubicBezTo>
                    <a:pt x="1009" y="252"/>
                    <a:pt x="974" y="116"/>
                    <a:pt x="9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1" name="Google Shape;4111;p53"/>
            <p:cNvSpPr/>
            <p:nvPr/>
          </p:nvSpPr>
          <p:spPr>
            <a:xfrm>
              <a:off x="1984787" y="1988522"/>
              <a:ext cx="68" cy="1534"/>
            </a:xfrm>
            <a:custGeom>
              <a:avLst/>
              <a:gdLst/>
              <a:ahLst/>
              <a:cxnLst/>
              <a:rect l="l" t="t" r="r" b="b"/>
              <a:pathLst>
                <a:path w="5" h="113" extrusionOk="0">
                  <a:moveTo>
                    <a:pt x="4" y="112"/>
                  </a:moveTo>
                  <a:cubicBezTo>
                    <a:pt x="1" y="74"/>
                    <a:pt x="1" y="35"/>
                    <a:pt x="4" y="0"/>
                  </a:cubicBezTo>
                  <a:lnTo>
                    <a:pt x="4" y="0"/>
                  </a:lnTo>
                  <a:cubicBezTo>
                    <a:pt x="1" y="35"/>
                    <a:pt x="1" y="74"/>
                    <a:pt x="4" y="11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2" name="Google Shape;4112;p53"/>
            <p:cNvSpPr/>
            <p:nvPr/>
          </p:nvSpPr>
          <p:spPr>
            <a:xfrm>
              <a:off x="1991345" y="200563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3" name="Google Shape;4113;p53"/>
            <p:cNvSpPr/>
            <p:nvPr/>
          </p:nvSpPr>
          <p:spPr>
            <a:xfrm>
              <a:off x="1990259" y="2008766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4" name="Google Shape;4114;p53"/>
            <p:cNvSpPr/>
            <p:nvPr/>
          </p:nvSpPr>
          <p:spPr>
            <a:xfrm>
              <a:off x="1990639" y="2007490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5" name="Google Shape;4115;p53"/>
            <p:cNvSpPr/>
            <p:nvPr/>
          </p:nvSpPr>
          <p:spPr>
            <a:xfrm>
              <a:off x="1991155" y="2006064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6" name="Google Shape;4116;p53"/>
            <p:cNvSpPr/>
            <p:nvPr/>
          </p:nvSpPr>
          <p:spPr>
            <a:xfrm>
              <a:off x="1990449" y="200810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7" name="Google Shape;4117;p53"/>
            <p:cNvSpPr/>
            <p:nvPr/>
          </p:nvSpPr>
          <p:spPr>
            <a:xfrm>
              <a:off x="1990965" y="200648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8" name="Google Shape;4118;p53"/>
            <p:cNvSpPr/>
            <p:nvPr/>
          </p:nvSpPr>
          <p:spPr>
            <a:xfrm>
              <a:off x="1990775" y="2006960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9" name="Google Shape;4119;p53"/>
            <p:cNvSpPr/>
            <p:nvPr/>
          </p:nvSpPr>
          <p:spPr>
            <a:xfrm>
              <a:off x="1985547" y="1997456"/>
              <a:ext cx="1344" cy="774"/>
            </a:xfrm>
            <a:custGeom>
              <a:avLst/>
              <a:gdLst/>
              <a:ahLst/>
              <a:cxnLst/>
              <a:rect l="l" t="t" r="r" b="b"/>
              <a:pathLst>
                <a:path w="99" h="57" extrusionOk="0">
                  <a:moveTo>
                    <a:pt x="99" y="56"/>
                  </a:moveTo>
                  <a:cubicBezTo>
                    <a:pt x="64" y="32"/>
                    <a:pt x="29" y="14"/>
                    <a:pt x="1" y="0"/>
                  </a:cubicBezTo>
                  <a:cubicBezTo>
                    <a:pt x="29" y="14"/>
                    <a:pt x="64" y="32"/>
                    <a:pt x="99" y="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0" name="Google Shape;4120;p53"/>
            <p:cNvSpPr/>
            <p:nvPr/>
          </p:nvSpPr>
          <p:spPr>
            <a:xfrm>
              <a:off x="1980795" y="199065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1" name="Google Shape;4121;p53"/>
            <p:cNvSpPr/>
            <p:nvPr/>
          </p:nvSpPr>
          <p:spPr>
            <a:xfrm>
              <a:off x="1979845" y="199065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2" name="Google Shape;4122;p53"/>
            <p:cNvSpPr/>
            <p:nvPr/>
          </p:nvSpPr>
          <p:spPr>
            <a:xfrm>
              <a:off x="1971481" y="19819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3" name="Google Shape;4123;p53"/>
            <p:cNvSpPr/>
            <p:nvPr/>
          </p:nvSpPr>
          <p:spPr>
            <a:xfrm>
              <a:off x="1983796" y="198761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cubicBezTo>
                    <a:pt x="11" y="15"/>
                    <a:pt x="4" y="8"/>
                    <a:pt x="0" y="1"/>
                  </a:cubicBezTo>
                  <a:cubicBezTo>
                    <a:pt x="4" y="8"/>
                    <a:pt x="11" y="15"/>
                    <a:pt x="14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4" name="Google Shape;4124;p53"/>
            <p:cNvSpPr/>
            <p:nvPr/>
          </p:nvSpPr>
          <p:spPr>
            <a:xfrm>
              <a:off x="1981800" y="199008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5" name="Google Shape;4125;p53"/>
            <p:cNvSpPr/>
            <p:nvPr/>
          </p:nvSpPr>
          <p:spPr>
            <a:xfrm>
              <a:off x="1974468" y="1981299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4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6" name="Google Shape;4126;p53"/>
            <p:cNvSpPr/>
            <p:nvPr/>
          </p:nvSpPr>
          <p:spPr>
            <a:xfrm>
              <a:off x="1972567" y="1981584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1" y="7"/>
                  </a:move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7" name="Google Shape;4127;p53"/>
            <p:cNvSpPr/>
            <p:nvPr/>
          </p:nvSpPr>
          <p:spPr>
            <a:xfrm>
              <a:off x="1984597" y="1988373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8" name="Google Shape;4128;p53"/>
            <p:cNvSpPr/>
            <p:nvPr/>
          </p:nvSpPr>
          <p:spPr>
            <a:xfrm>
              <a:off x="1980374" y="199070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9" name="Google Shape;4129;p53"/>
            <p:cNvSpPr/>
            <p:nvPr/>
          </p:nvSpPr>
          <p:spPr>
            <a:xfrm>
              <a:off x="1984081" y="1987952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0" name="Google Shape;4130;p53"/>
            <p:cNvSpPr/>
            <p:nvPr/>
          </p:nvSpPr>
          <p:spPr>
            <a:xfrm>
              <a:off x="1984312" y="198818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1"/>
                  </a:moveTo>
                  <a:lnTo>
                    <a:pt x="1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1" name="Google Shape;4131;p53"/>
            <p:cNvSpPr/>
            <p:nvPr/>
          </p:nvSpPr>
          <p:spPr>
            <a:xfrm>
              <a:off x="1981366" y="199036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2" name="Google Shape;4132;p53"/>
            <p:cNvSpPr/>
            <p:nvPr/>
          </p:nvSpPr>
          <p:spPr>
            <a:xfrm>
              <a:off x="1973898" y="1981340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1" y="8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3" name="Google Shape;4133;p53"/>
            <p:cNvSpPr/>
            <p:nvPr/>
          </p:nvSpPr>
          <p:spPr>
            <a:xfrm>
              <a:off x="1973233" y="1981435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1" y="8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4" name="Google Shape;4134;p53"/>
            <p:cNvSpPr/>
            <p:nvPr/>
          </p:nvSpPr>
          <p:spPr>
            <a:xfrm>
              <a:off x="1971766" y="1981720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0" y="8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5" name="Google Shape;4135;p53"/>
            <p:cNvSpPr/>
            <p:nvPr/>
          </p:nvSpPr>
          <p:spPr>
            <a:xfrm>
              <a:off x="1975378" y="1981150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6" name="Google Shape;4136;p53"/>
            <p:cNvSpPr/>
            <p:nvPr/>
          </p:nvSpPr>
          <p:spPr>
            <a:xfrm>
              <a:off x="1974943" y="198120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1" y="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7" name="Google Shape;4137;p53"/>
            <p:cNvSpPr/>
            <p:nvPr/>
          </p:nvSpPr>
          <p:spPr>
            <a:xfrm>
              <a:off x="1950327" y="1969744"/>
              <a:ext cx="19362" cy="21398"/>
            </a:xfrm>
            <a:custGeom>
              <a:avLst/>
              <a:gdLst/>
              <a:ahLst/>
              <a:cxnLst/>
              <a:rect l="l" t="t" r="r" b="b"/>
              <a:pathLst>
                <a:path w="1426" h="1576" extrusionOk="0">
                  <a:moveTo>
                    <a:pt x="960" y="0"/>
                  </a:moveTo>
                  <a:cubicBezTo>
                    <a:pt x="907" y="4"/>
                    <a:pt x="855" y="18"/>
                    <a:pt x="806" y="39"/>
                  </a:cubicBezTo>
                  <a:cubicBezTo>
                    <a:pt x="740" y="61"/>
                    <a:pt x="667" y="87"/>
                    <a:pt x="595" y="87"/>
                  </a:cubicBezTo>
                  <a:cubicBezTo>
                    <a:pt x="575" y="87"/>
                    <a:pt x="556" y="85"/>
                    <a:pt x="536" y="81"/>
                  </a:cubicBezTo>
                  <a:cubicBezTo>
                    <a:pt x="515" y="77"/>
                    <a:pt x="491" y="74"/>
                    <a:pt x="473" y="70"/>
                  </a:cubicBezTo>
                  <a:cubicBezTo>
                    <a:pt x="444" y="62"/>
                    <a:pt x="413" y="55"/>
                    <a:pt x="384" y="55"/>
                  </a:cubicBezTo>
                  <a:cubicBezTo>
                    <a:pt x="377" y="55"/>
                    <a:pt x="371" y="56"/>
                    <a:pt x="365" y="56"/>
                  </a:cubicBezTo>
                  <a:cubicBezTo>
                    <a:pt x="361" y="63"/>
                    <a:pt x="358" y="74"/>
                    <a:pt x="358" y="84"/>
                  </a:cubicBezTo>
                  <a:cubicBezTo>
                    <a:pt x="358" y="91"/>
                    <a:pt x="358" y="95"/>
                    <a:pt x="354" y="102"/>
                  </a:cubicBezTo>
                  <a:lnTo>
                    <a:pt x="354" y="105"/>
                  </a:lnTo>
                  <a:cubicBezTo>
                    <a:pt x="354" y="112"/>
                    <a:pt x="354" y="116"/>
                    <a:pt x="351" y="119"/>
                  </a:cubicBezTo>
                  <a:lnTo>
                    <a:pt x="347" y="126"/>
                  </a:lnTo>
                  <a:lnTo>
                    <a:pt x="344" y="137"/>
                  </a:lnTo>
                  <a:lnTo>
                    <a:pt x="340" y="147"/>
                  </a:lnTo>
                  <a:lnTo>
                    <a:pt x="333" y="158"/>
                  </a:lnTo>
                  <a:lnTo>
                    <a:pt x="326" y="168"/>
                  </a:lnTo>
                  <a:lnTo>
                    <a:pt x="323" y="179"/>
                  </a:lnTo>
                  <a:lnTo>
                    <a:pt x="312" y="189"/>
                  </a:lnTo>
                  <a:lnTo>
                    <a:pt x="305" y="200"/>
                  </a:lnTo>
                  <a:lnTo>
                    <a:pt x="295" y="214"/>
                  </a:lnTo>
                  <a:lnTo>
                    <a:pt x="288" y="224"/>
                  </a:lnTo>
                  <a:lnTo>
                    <a:pt x="277" y="238"/>
                  </a:lnTo>
                  <a:lnTo>
                    <a:pt x="267" y="252"/>
                  </a:lnTo>
                  <a:lnTo>
                    <a:pt x="253" y="263"/>
                  </a:lnTo>
                  <a:lnTo>
                    <a:pt x="242" y="277"/>
                  </a:lnTo>
                  <a:lnTo>
                    <a:pt x="228" y="291"/>
                  </a:lnTo>
                  <a:lnTo>
                    <a:pt x="214" y="308"/>
                  </a:lnTo>
                  <a:lnTo>
                    <a:pt x="200" y="322"/>
                  </a:lnTo>
                  <a:lnTo>
                    <a:pt x="183" y="340"/>
                  </a:lnTo>
                  <a:lnTo>
                    <a:pt x="169" y="354"/>
                  </a:lnTo>
                  <a:lnTo>
                    <a:pt x="148" y="371"/>
                  </a:lnTo>
                  <a:lnTo>
                    <a:pt x="134" y="385"/>
                  </a:lnTo>
                  <a:lnTo>
                    <a:pt x="109" y="406"/>
                  </a:lnTo>
                  <a:lnTo>
                    <a:pt x="95" y="420"/>
                  </a:lnTo>
                  <a:lnTo>
                    <a:pt x="67" y="445"/>
                  </a:lnTo>
                  <a:lnTo>
                    <a:pt x="53" y="459"/>
                  </a:lnTo>
                  <a:lnTo>
                    <a:pt x="22" y="487"/>
                  </a:lnTo>
                  <a:lnTo>
                    <a:pt x="8" y="498"/>
                  </a:lnTo>
                  <a:lnTo>
                    <a:pt x="1" y="505"/>
                  </a:lnTo>
                  <a:cubicBezTo>
                    <a:pt x="25" y="557"/>
                    <a:pt x="43" y="613"/>
                    <a:pt x="60" y="669"/>
                  </a:cubicBezTo>
                  <a:cubicBezTo>
                    <a:pt x="179" y="1082"/>
                    <a:pt x="288" y="1170"/>
                    <a:pt x="459" y="1313"/>
                  </a:cubicBezTo>
                  <a:lnTo>
                    <a:pt x="477" y="1324"/>
                  </a:lnTo>
                  <a:cubicBezTo>
                    <a:pt x="596" y="1415"/>
                    <a:pt x="722" y="1499"/>
                    <a:pt x="848" y="1576"/>
                  </a:cubicBezTo>
                  <a:lnTo>
                    <a:pt x="848" y="1572"/>
                  </a:lnTo>
                  <a:cubicBezTo>
                    <a:pt x="858" y="1558"/>
                    <a:pt x="865" y="1544"/>
                    <a:pt x="876" y="1530"/>
                  </a:cubicBezTo>
                  <a:lnTo>
                    <a:pt x="879" y="1523"/>
                  </a:lnTo>
                  <a:cubicBezTo>
                    <a:pt x="886" y="1513"/>
                    <a:pt x="893" y="1499"/>
                    <a:pt x="900" y="1492"/>
                  </a:cubicBezTo>
                  <a:lnTo>
                    <a:pt x="904" y="1485"/>
                  </a:lnTo>
                  <a:cubicBezTo>
                    <a:pt x="914" y="1474"/>
                    <a:pt x="921" y="1467"/>
                    <a:pt x="928" y="1457"/>
                  </a:cubicBezTo>
                  <a:lnTo>
                    <a:pt x="932" y="1453"/>
                  </a:lnTo>
                  <a:cubicBezTo>
                    <a:pt x="939" y="1446"/>
                    <a:pt x="946" y="1439"/>
                    <a:pt x="953" y="1432"/>
                  </a:cubicBezTo>
                  <a:cubicBezTo>
                    <a:pt x="991" y="1404"/>
                    <a:pt x="1040" y="1369"/>
                    <a:pt x="1096" y="1334"/>
                  </a:cubicBezTo>
                  <a:cubicBezTo>
                    <a:pt x="1187" y="1271"/>
                    <a:pt x="1355" y="1159"/>
                    <a:pt x="1366" y="1107"/>
                  </a:cubicBezTo>
                  <a:cubicBezTo>
                    <a:pt x="1376" y="1072"/>
                    <a:pt x="1383" y="1040"/>
                    <a:pt x="1397" y="1009"/>
                  </a:cubicBezTo>
                  <a:cubicBezTo>
                    <a:pt x="1408" y="977"/>
                    <a:pt x="1418" y="946"/>
                    <a:pt x="1425" y="911"/>
                  </a:cubicBezTo>
                  <a:lnTo>
                    <a:pt x="1425" y="904"/>
                  </a:lnTo>
                  <a:lnTo>
                    <a:pt x="1425" y="893"/>
                  </a:lnTo>
                  <a:lnTo>
                    <a:pt x="1425" y="883"/>
                  </a:lnTo>
                  <a:lnTo>
                    <a:pt x="1425" y="876"/>
                  </a:lnTo>
                  <a:cubicBezTo>
                    <a:pt x="1422" y="872"/>
                    <a:pt x="1422" y="869"/>
                    <a:pt x="1422" y="865"/>
                  </a:cubicBezTo>
                  <a:lnTo>
                    <a:pt x="1422" y="858"/>
                  </a:lnTo>
                  <a:cubicBezTo>
                    <a:pt x="1418" y="855"/>
                    <a:pt x="1415" y="848"/>
                    <a:pt x="1411" y="841"/>
                  </a:cubicBezTo>
                  <a:cubicBezTo>
                    <a:pt x="1355" y="746"/>
                    <a:pt x="1327" y="638"/>
                    <a:pt x="1331" y="526"/>
                  </a:cubicBezTo>
                  <a:lnTo>
                    <a:pt x="1331" y="480"/>
                  </a:lnTo>
                  <a:cubicBezTo>
                    <a:pt x="1331" y="385"/>
                    <a:pt x="1044" y="11"/>
                    <a:pt x="9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8" name="Google Shape;4138;p53"/>
            <p:cNvSpPr/>
            <p:nvPr/>
          </p:nvSpPr>
          <p:spPr>
            <a:xfrm>
              <a:off x="1953749" y="1973166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9" name="Google Shape;4139;p53"/>
            <p:cNvSpPr/>
            <p:nvPr/>
          </p:nvSpPr>
          <p:spPr>
            <a:xfrm>
              <a:off x="1954754" y="197187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0" name="Google Shape;4140;p53"/>
            <p:cNvSpPr/>
            <p:nvPr/>
          </p:nvSpPr>
          <p:spPr>
            <a:xfrm>
              <a:off x="1951563" y="197525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1" name="Google Shape;4141;p53"/>
            <p:cNvSpPr/>
            <p:nvPr/>
          </p:nvSpPr>
          <p:spPr>
            <a:xfrm>
              <a:off x="1954564" y="197216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2" name="Google Shape;4142;p53"/>
            <p:cNvSpPr/>
            <p:nvPr/>
          </p:nvSpPr>
          <p:spPr>
            <a:xfrm>
              <a:off x="1950382" y="1976357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3" name="Google Shape;4143;p53"/>
            <p:cNvSpPr/>
            <p:nvPr/>
          </p:nvSpPr>
          <p:spPr>
            <a:xfrm>
              <a:off x="1954319" y="197250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4" name="Google Shape;4144;p53"/>
            <p:cNvSpPr/>
            <p:nvPr/>
          </p:nvSpPr>
          <p:spPr>
            <a:xfrm>
              <a:off x="1955039" y="197136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5" name="Google Shape;4145;p53"/>
            <p:cNvSpPr/>
            <p:nvPr/>
          </p:nvSpPr>
          <p:spPr>
            <a:xfrm>
              <a:off x="1954889" y="1971591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6" name="Google Shape;4146;p53"/>
            <p:cNvSpPr/>
            <p:nvPr/>
          </p:nvSpPr>
          <p:spPr>
            <a:xfrm>
              <a:off x="1955134" y="197111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7" name="Google Shape;4147;p53"/>
            <p:cNvSpPr/>
            <p:nvPr/>
          </p:nvSpPr>
          <p:spPr>
            <a:xfrm>
              <a:off x="1952608" y="197434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8" name="Google Shape;4148;p53"/>
            <p:cNvSpPr/>
            <p:nvPr/>
          </p:nvSpPr>
          <p:spPr>
            <a:xfrm>
              <a:off x="1952092" y="1974782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9" name="Google Shape;4149;p53"/>
            <p:cNvSpPr/>
            <p:nvPr/>
          </p:nvSpPr>
          <p:spPr>
            <a:xfrm>
              <a:off x="1950993" y="1975786"/>
              <a:ext cx="204" cy="190"/>
            </a:xfrm>
            <a:custGeom>
              <a:avLst/>
              <a:gdLst/>
              <a:ahLst/>
              <a:cxnLst/>
              <a:rect l="l" t="t" r="r" b="b"/>
              <a:pathLst>
                <a:path w="15" h="14" extrusionOk="0">
                  <a:moveTo>
                    <a:pt x="1" y="14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0" name="Google Shape;4150;p53"/>
            <p:cNvSpPr/>
            <p:nvPr/>
          </p:nvSpPr>
          <p:spPr>
            <a:xfrm>
              <a:off x="1969526" y="1981204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0"/>
                  </a:moveTo>
                  <a:cubicBezTo>
                    <a:pt x="1" y="2"/>
                    <a:pt x="2" y="6"/>
                    <a:pt x="4" y="9"/>
                  </a:cubicBezTo>
                  <a:lnTo>
                    <a:pt x="4" y="9"/>
                  </a:lnTo>
                  <a:cubicBezTo>
                    <a:pt x="3" y="6"/>
                    <a:pt x="2" y="3"/>
                    <a:pt x="1" y="0"/>
                  </a:cubicBezTo>
                  <a:close/>
                  <a:moveTo>
                    <a:pt x="4" y="9"/>
                  </a:moveTo>
                  <a:cubicBezTo>
                    <a:pt x="5" y="13"/>
                    <a:pt x="6" y="17"/>
                    <a:pt x="8" y="21"/>
                  </a:cubicBezTo>
                  <a:lnTo>
                    <a:pt x="8" y="14"/>
                  </a:lnTo>
                  <a:cubicBezTo>
                    <a:pt x="6" y="13"/>
                    <a:pt x="5" y="11"/>
                    <a:pt x="4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1" name="Google Shape;4151;p53"/>
            <p:cNvSpPr/>
            <p:nvPr/>
          </p:nvSpPr>
          <p:spPr>
            <a:xfrm>
              <a:off x="1954034" y="197282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2" name="Google Shape;4152;p53"/>
            <p:cNvSpPr/>
            <p:nvPr/>
          </p:nvSpPr>
          <p:spPr>
            <a:xfrm>
              <a:off x="1953369" y="197354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4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3" name="Google Shape;4153;p53"/>
            <p:cNvSpPr/>
            <p:nvPr/>
          </p:nvSpPr>
          <p:spPr>
            <a:xfrm>
              <a:off x="1952989" y="197392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4" name="Google Shape;4154;p53"/>
            <p:cNvSpPr/>
            <p:nvPr/>
          </p:nvSpPr>
          <p:spPr>
            <a:xfrm>
              <a:off x="1962968" y="1989228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1" y="18"/>
                  </a:moveTo>
                  <a:cubicBezTo>
                    <a:pt x="8" y="11"/>
                    <a:pt x="15" y="4"/>
                    <a:pt x="22" y="1"/>
                  </a:cubicBezTo>
                  <a:cubicBezTo>
                    <a:pt x="15" y="4"/>
                    <a:pt x="8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5" name="Google Shape;4155;p53"/>
            <p:cNvSpPr/>
            <p:nvPr/>
          </p:nvSpPr>
          <p:spPr>
            <a:xfrm>
              <a:off x="1961828" y="1990518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29" y="0"/>
                  </a:moveTo>
                  <a:cubicBezTo>
                    <a:pt x="18" y="14"/>
                    <a:pt x="11" y="28"/>
                    <a:pt x="1" y="46"/>
                  </a:cubicBezTo>
                  <a:cubicBezTo>
                    <a:pt x="11" y="28"/>
                    <a:pt x="22" y="14"/>
                    <a:pt x="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6" name="Google Shape;4156;p53"/>
            <p:cNvSpPr/>
            <p:nvPr/>
          </p:nvSpPr>
          <p:spPr>
            <a:xfrm>
              <a:off x="1962262" y="1989988"/>
              <a:ext cx="339" cy="448"/>
            </a:xfrm>
            <a:custGeom>
              <a:avLst/>
              <a:gdLst/>
              <a:ahLst/>
              <a:cxnLst/>
              <a:rect l="l" t="t" r="r" b="b"/>
              <a:pathLst>
                <a:path w="25" h="33" extrusionOk="0">
                  <a:moveTo>
                    <a:pt x="25" y="1"/>
                  </a:moveTo>
                  <a:cubicBezTo>
                    <a:pt x="14" y="11"/>
                    <a:pt x="7" y="22"/>
                    <a:pt x="0" y="32"/>
                  </a:cubicBezTo>
                  <a:cubicBezTo>
                    <a:pt x="7" y="22"/>
                    <a:pt x="14" y="11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7" name="Google Shape;4157;p53"/>
            <p:cNvSpPr/>
            <p:nvPr/>
          </p:nvSpPr>
          <p:spPr>
            <a:xfrm>
              <a:off x="1969675" y="198172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ubicBezTo>
                    <a:pt x="0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8" name="Google Shape;4158;p53"/>
            <p:cNvSpPr/>
            <p:nvPr/>
          </p:nvSpPr>
          <p:spPr>
            <a:xfrm>
              <a:off x="1969621" y="198153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cubicBezTo>
                    <a:pt x="1" y="4"/>
                    <a:pt x="4" y="8"/>
                    <a:pt x="4" y="11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9" name="Google Shape;4159;p53"/>
            <p:cNvSpPr/>
            <p:nvPr/>
          </p:nvSpPr>
          <p:spPr>
            <a:xfrm>
              <a:off x="1969675" y="198200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0" name="Google Shape;4160;p53"/>
            <p:cNvSpPr/>
            <p:nvPr/>
          </p:nvSpPr>
          <p:spPr>
            <a:xfrm>
              <a:off x="1962588" y="1989568"/>
              <a:ext cx="353" cy="394"/>
            </a:xfrm>
            <a:custGeom>
              <a:avLst/>
              <a:gdLst/>
              <a:ahLst/>
              <a:cxnLst/>
              <a:rect l="l" t="t" r="r" b="b"/>
              <a:pathLst>
                <a:path w="26" h="29" extrusionOk="0">
                  <a:moveTo>
                    <a:pt x="25" y="0"/>
                  </a:moveTo>
                  <a:lnTo>
                    <a:pt x="25" y="0"/>
                  </a:lnTo>
                  <a:cubicBezTo>
                    <a:pt x="18" y="7"/>
                    <a:pt x="8" y="18"/>
                    <a:pt x="1" y="28"/>
                  </a:cubicBezTo>
                  <a:cubicBezTo>
                    <a:pt x="11" y="18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1" name="Google Shape;4161;p53"/>
            <p:cNvSpPr/>
            <p:nvPr/>
          </p:nvSpPr>
          <p:spPr>
            <a:xfrm>
              <a:off x="1969580" y="198139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2" name="Google Shape;4162;p53"/>
            <p:cNvSpPr/>
            <p:nvPr/>
          </p:nvSpPr>
          <p:spPr>
            <a:xfrm>
              <a:off x="1922385" y="1832082"/>
              <a:ext cx="60230" cy="48838"/>
            </a:xfrm>
            <a:custGeom>
              <a:avLst/>
              <a:gdLst/>
              <a:ahLst/>
              <a:cxnLst/>
              <a:rect l="l" t="t" r="r" b="b"/>
              <a:pathLst>
                <a:path w="4436" h="3597" extrusionOk="0">
                  <a:moveTo>
                    <a:pt x="2101" y="1"/>
                  </a:moveTo>
                  <a:cubicBezTo>
                    <a:pt x="1968" y="134"/>
                    <a:pt x="1894" y="309"/>
                    <a:pt x="1838" y="460"/>
                  </a:cubicBezTo>
                  <a:cubicBezTo>
                    <a:pt x="1792" y="579"/>
                    <a:pt x="1666" y="705"/>
                    <a:pt x="1523" y="852"/>
                  </a:cubicBezTo>
                  <a:cubicBezTo>
                    <a:pt x="1337" y="1041"/>
                    <a:pt x="1127" y="1254"/>
                    <a:pt x="1113" y="1447"/>
                  </a:cubicBezTo>
                  <a:cubicBezTo>
                    <a:pt x="1099" y="1664"/>
                    <a:pt x="921" y="1923"/>
                    <a:pt x="697" y="2255"/>
                  </a:cubicBezTo>
                  <a:cubicBezTo>
                    <a:pt x="490" y="2550"/>
                    <a:pt x="305" y="2854"/>
                    <a:pt x="144" y="3176"/>
                  </a:cubicBezTo>
                  <a:cubicBezTo>
                    <a:pt x="77" y="3309"/>
                    <a:pt x="28" y="3449"/>
                    <a:pt x="0" y="3596"/>
                  </a:cubicBezTo>
                  <a:lnTo>
                    <a:pt x="2017" y="3596"/>
                  </a:lnTo>
                  <a:lnTo>
                    <a:pt x="2017" y="2805"/>
                  </a:lnTo>
                  <a:cubicBezTo>
                    <a:pt x="2017" y="2704"/>
                    <a:pt x="2157" y="2630"/>
                    <a:pt x="2339" y="2543"/>
                  </a:cubicBezTo>
                  <a:lnTo>
                    <a:pt x="2374" y="2525"/>
                  </a:lnTo>
                  <a:cubicBezTo>
                    <a:pt x="2458" y="2483"/>
                    <a:pt x="2570" y="2424"/>
                    <a:pt x="2587" y="2396"/>
                  </a:cubicBezTo>
                  <a:lnTo>
                    <a:pt x="2587" y="866"/>
                  </a:lnTo>
                  <a:lnTo>
                    <a:pt x="2654" y="866"/>
                  </a:lnTo>
                  <a:cubicBezTo>
                    <a:pt x="3053" y="876"/>
                    <a:pt x="3609" y="883"/>
                    <a:pt x="4002" y="883"/>
                  </a:cubicBezTo>
                  <a:cubicBezTo>
                    <a:pt x="4191" y="883"/>
                    <a:pt x="4338" y="883"/>
                    <a:pt x="4415" y="876"/>
                  </a:cubicBezTo>
                  <a:lnTo>
                    <a:pt x="4436" y="876"/>
                  </a:lnTo>
                  <a:lnTo>
                    <a:pt x="4436" y="859"/>
                  </a:lnTo>
                  <a:lnTo>
                    <a:pt x="4436" y="848"/>
                  </a:lnTo>
                  <a:lnTo>
                    <a:pt x="4436" y="838"/>
                  </a:lnTo>
                  <a:lnTo>
                    <a:pt x="4436" y="824"/>
                  </a:lnTo>
                  <a:lnTo>
                    <a:pt x="4436" y="813"/>
                  </a:lnTo>
                  <a:lnTo>
                    <a:pt x="4436" y="792"/>
                  </a:lnTo>
                  <a:lnTo>
                    <a:pt x="4436" y="785"/>
                  </a:lnTo>
                  <a:lnTo>
                    <a:pt x="4436" y="764"/>
                  </a:lnTo>
                  <a:lnTo>
                    <a:pt x="4436" y="750"/>
                  </a:lnTo>
                  <a:lnTo>
                    <a:pt x="4436" y="729"/>
                  </a:lnTo>
                  <a:lnTo>
                    <a:pt x="4436" y="715"/>
                  </a:lnTo>
                  <a:lnTo>
                    <a:pt x="4436" y="694"/>
                  </a:lnTo>
                  <a:lnTo>
                    <a:pt x="4436" y="677"/>
                  </a:lnTo>
                  <a:lnTo>
                    <a:pt x="4436" y="656"/>
                  </a:lnTo>
                  <a:lnTo>
                    <a:pt x="4436" y="631"/>
                  </a:lnTo>
                  <a:lnTo>
                    <a:pt x="4436" y="610"/>
                  </a:lnTo>
                  <a:lnTo>
                    <a:pt x="4436" y="586"/>
                  </a:lnTo>
                  <a:lnTo>
                    <a:pt x="4436" y="568"/>
                  </a:lnTo>
                  <a:lnTo>
                    <a:pt x="4436" y="533"/>
                  </a:lnTo>
                  <a:lnTo>
                    <a:pt x="4436" y="519"/>
                  </a:lnTo>
                  <a:lnTo>
                    <a:pt x="4436" y="477"/>
                  </a:lnTo>
                  <a:lnTo>
                    <a:pt x="4436" y="463"/>
                  </a:lnTo>
                  <a:lnTo>
                    <a:pt x="4436" y="418"/>
                  </a:lnTo>
                  <a:lnTo>
                    <a:pt x="4436" y="411"/>
                  </a:lnTo>
                  <a:cubicBezTo>
                    <a:pt x="4436" y="337"/>
                    <a:pt x="4432" y="253"/>
                    <a:pt x="4432" y="162"/>
                  </a:cubicBezTo>
                  <a:lnTo>
                    <a:pt x="4429" y="158"/>
                  </a:lnTo>
                  <a:lnTo>
                    <a:pt x="4425" y="148"/>
                  </a:lnTo>
                  <a:lnTo>
                    <a:pt x="4418" y="134"/>
                  </a:lnTo>
                  <a:lnTo>
                    <a:pt x="4418" y="127"/>
                  </a:lnTo>
                  <a:lnTo>
                    <a:pt x="4411" y="113"/>
                  </a:lnTo>
                  <a:lnTo>
                    <a:pt x="4411" y="106"/>
                  </a:lnTo>
                  <a:lnTo>
                    <a:pt x="4408" y="88"/>
                  </a:lnTo>
                  <a:cubicBezTo>
                    <a:pt x="4394" y="36"/>
                    <a:pt x="4383" y="1"/>
                    <a:pt x="41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3" name="Google Shape;4163;p53"/>
            <p:cNvSpPr/>
            <p:nvPr/>
          </p:nvSpPr>
          <p:spPr>
            <a:xfrm>
              <a:off x="1982370" y="183379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4" name="Google Shape;4164;p53"/>
            <p:cNvSpPr/>
            <p:nvPr/>
          </p:nvSpPr>
          <p:spPr>
            <a:xfrm>
              <a:off x="1982275" y="183350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5" name="Google Shape;4165;p53"/>
            <p:cNvSpPr/>
            <p:nvPr/>
          </p:nvSpPr>
          <p:spPr>
            <a:xfrm>
              <a:off x="1982465" y="1834078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6" name="Google Shape;4166;p53"/>
            <p:cNvSpPr/>
            <p:nvPr/>
          </p:nvSpPr>
          <p:spPr>
            <a:xfrm>
              <a:off x="1922575" y="1836318"/>
              <a:ext cx="85525" cy="95653"/>
            </a:xfrm>
            <a:custGeom>
              <a:avLst/>
              <a:gdLst/>
              <a:ahLst/>
              <a:cxnLst/>
              <a:rect l="l" t="t" r="r" b="b"/>
              <a:pathLst>
                <a:path w="6299" h="7045" extrusionOk="0">
                  <a:moveTo>
                    <a:pt x="4548" y="1"/>
                  </a:moveTo>
                  <a:lnTo>
                    <a:pt x="4551" y="99"/>
                  </a:lnTo>
                  <a:cubicBezTo>
                    <a:pt x="4551" y="176"/>
                    <a:pt x="4551" y="242"/>
                    <a:pt x="4555" y="298"/>
                  </a:cubicBezTo>
                  <a:lnTo>
                    <a:pt x="4555" y="305"/>
                  </a:lnTo>
                  <a:lnTo>
                    <a:pt x="4555" y="337"/>
                  </a:lnTo>
                  <a:lnTo>
                    <a:pt x="4555" y="347"/>
                  </a:lnTo>
                  <a:lnTo>
                    <a:pt x="4555" y="372"/>
                  </a:lnTo>
                  <a:lnTo>
                    <a:pt x="4555" y="386"/>
                  </a:lnTo>
                  <a:lnTo>
                    <a:pt x="4555" y="403"/>
                  </a:lnTo>
                  <a:lnTo>
                    <a:pt x="4555" y="421"/>
                  </a:lnTo>
                  <a:lnTo>
                    <a:pt x="4555" y="435"/>
                  </a:lnTo>
                  <a:lnTo>
                    <a:pt x="4555" y="452"/>
                  </a:lnTo>
                  <a:lnTo>
                    <a:pt x="4555" y="466"/>
                  </a:lnTo>
                  <a:lnTo>
                    <a:pt x="4555" y="480"/>
                  </a:lnTo>
                  <a:lnTo>
                    <a:pt x="4555" y="494"/>
                  </a:lnTo>
                  <a:lnTo>
                    <a:pt x="4555" y="508"/>
                  </a:lnTo>
                  <a:lnTo>
                    <a:pt x="4555" y="519"/>
                  </a:lnTo>
                  <a:lnTo>
                    <a:pt x="4555" y="533"/>
                  </a:lnTo>
                  <a:lnTo>
                    <a:pt x="4555" y="540"/>
                  </a:lnTo>
                  <a:lnTo>
                    <a:pt x="4555" y="554"/>
                  </a:lnTo>
                  <a:lnTo>
                    <a:pt x="4555" y="561"/>
                  </a:lnTo>
                  <a:lnTo>
                    <a:pt x="4555" y="575"/>
                  </a:lnTo>
                  <a:lnTo>
                    <a:pt x="4555" y="578"/>
                  </a:lnTo>
                  <a:cubicBezTo>
                    <a:pt x="4555" y="589"/>
                    <a:pt x="4551" y="599"/>
                    <a:pt x="4551" y="610"/>
                  </a:cubicBezTo>
                  <a:lnTo>
                    <a:pt x="4551" y="620"/>
                  </a:lnTo>
                  <a:lnTo>
                    <a:pt x="4551" y="624"/>
                  </a:lnTo>
                  <a:lnTo>
                    <a:pt x="4551" y="634"/>
                  </a:lnTo>
                  <a:lnTo>
                    <a:pt x="4551" y="641"/>
                  </a:lnTo>
                  <a:lnTo>
                    <a:pt x="4551" y="645"/>
                  </a:lnTo>
                  <a:lnTo>
                    <a:pt x="4551" y="652"/>
                  </a:lnTo>
                  <a:lnTo>
                    <a:pt x="4551" y="659"/>
                  </a:lnTo>
                  <a:lnTo>
                    <a:pt x="4551" y="666"/>
                  </a:lnTo>
                  <a:lnTo>
                    <a:pt x="4551" y="669"/>
                  </a:lnTo>
                  <a:lnTo>
                    <a:pt x="4551" y="673"/>
                  </a:lnTo>
                  <a:lnTo>
                    <a:pt x="4544" y="673"/>
                  </a:lnTo>
                  <a:lnTo>
                    <a:pt x="4541" y="676"/>
                  </a:lnTo>
                  <a:lnTo>
                    <a:pt x="4537" y="676"/>
                  </a:lnTo>
                  <a:cubicBezTo>
                    <a:pt x="4523" y="686"/>
                    <a:pt x="4495" y="705"/>
                    <a:pt x="3919" y="705"/>
                  </a:cubicBezTo>
                  <a:cubicBezTo>
                    <a:pt x="3655" y="705"/>
                    <a:pt x="3276" y="701"/>
                    <a:pt x="2731" y="690"/>
                  </a:cubicBezTo>
                  <a:lnTo>
                    <a:pt x="2731" y="2084"/>
                  </a:lnTo>
                  <a:cubicBezTo>
                    <a:pt x="2731" y="2189"/>
                    <a:pt x="2591" y="2259"/>
                    <a:pt x="2409" y="2346"/>
                  </a:cubicBezTo>
                  <a:cubicBezTo>
                    <a:pt x="2321" y="2392"/>
                    <a:pt x="2181" y="2462"/>
                    <a:pt x="2160" y="2500"/>
                  </a:cubicBezTo>
                  <a:lnTo>
                    <a:pt x="2160" y="3417"/>
                  </a:lnTo>
                  <a:lnTo>
                    <a:pt x="0" y="3417"/>
                  </a:lnTo>
                  <a:cubicBezTo>
                    <a:pt x="0" y="3634"/>
                    <a:pt x="109" y="3739"/>
                    <a:pt x="214" y="3844"/>
                  </a:cubicBezTo>
                  <a:cubicBezTo>
                    <a:pt x="242" y="3872"/>
                    <a:pt x="270" y="3897"/>
                    <a:pt x="294" y="3925"/>
                  </a:cubicBezTo>
                  <a:cubicBezTo>
                    <a:pt x="389" y="4037"/>
                    <a:pt x="368" y="4177"/>
                    <a:pt x="347" y="4314"/>
                  </a:cubicBezTo>
                  <a:cubicBezTo>
                    <a:pt x="322" y="4475"/>
                    <a:pt x="298" y="4643"/>
                    <a:pt x="420" y="4811"/>
                  </a:cubicBezTo>
                  <a:cubicBezTo>
                    <a:pt x="609" y="5073"/>
                    <a:pt x="550" y="5472"/>
                    <a:pt x="245" y="5962"/>
                  </a:cubicBezTo>
                  <a:cubicBezTo>
                    <a:pt x="203" y="6025"/>
                    <a:pt x="189" y="6138"/>
                    <a:pt x="175" y="6260"/>
                  </a:cubicBezTo>
                  <a:lnTo>
                    <a:pt x="179" y="6253"/>
                  </a:lnTo>
                  <a:lnTo>
                    <a:pt x="193" y="6225"/>
                  </a:lnTo>
                  <a:cubicBezTo>
                    <a:pt x="227" y="6157"/>
                    <a:pt x="275" y="6055"/>
                    <a:pt x="395" y="6055"/>
                  </a:cubicBezTo>
                  <a:cubicBezTo>
                    <a:pt x="410" y="6055"/>
                    <a:pt x="427" y="6057"/>
                    <a:pt x="445" y="6060"/>
                  </a:cubicBezTo>
                  <a:cubicBezTo>
                    <a:pt x="487" y="6067"/>
                    <a:pt x="529" y="6074"/>
                    <a:pt x="571" y="6074"/>
                  </a:cubicBezTo>
                  <a:cubicBezTo>
                    <a:pt x="598" y="6075"/>
                    <a:pt x="625" y="6076"/>
                    <a:pt x="652" y="6076"/>
                  </a:cubicBezTo>
                  <a:cubicBezTo>
                    <a:pt x="741" y="6076"/>
                    <a:pt x="828" y="6071"/>
                    <a:pt x="914" y="6060"/>
                  </a:cubicBezTo>
                  <a:cubicBezTo>
                    <a:pt x="956" y="6046"/>
                    <a:pt x="1091" y="5995"/>
                    <a:pt x="1223" y="5995"/>
                  </a:cubicBezTo>
                  <a:cubicBezTo>
                    <a:pt x="1279" y="5995"/>
                    <a:pt x="1335" y="6004"/>
                    <a:pt x="1383" y="6029"/>
                  </a:cubicBezTo>
                  <a:cubicBezTo>
                    <a:pt x="1516" y="6095"/>
                    <a:pt x="1645" y="6232"/>
                    <a:pt x="1691" y="6292"/>
                  </a:cubicBezTo>
                  <a:lnTo>
                    <a:pt x="1901" y="6292"/>
                  </a:lnTo>
                  <a:lnTo>
                    <a:pt x="1915" y="6334"/>
                  </a:lnTo>
                  <a:cubicBezTo>
                    <a:pt x="1957" y="6442"/>
                    <a:pt x="2094" y="6740"/>
                    <a:pt x="2258" y="6796"/>
                  </a:cubicBezTo>
                  <a:cubicBezTo>
                    <a:pt x="2272" y="6799"/>
                    <a:pt x="2286" y="6803"/>
                    <a:pt x="2300" y="6810"/>
                  </a:cubicBezTo>
                  <a:cubicBezTo>
                    <a:pt x="2391" y="6866"/>
                    <a:pt x="2461" y="6946"/>
                    <a:pt x="2503" y="7044"/>
                  </a:cubicBezTo>
                  <a:lnTo>
                    <a:pt x="2542" y="7044"/>
                  </a:lnTo>
                  <a:lnTo>
                    <a:pt x="2556" y="7041"/>
                  </a:lnTo>
                  <a:lnTo>
                    <a:pt x="2559" y="7041"/>
                  </a:lnTo>
                  <a:lnTo>
                    <a:pt x="2577" y="7037"/>
                  </a:lnTo>
                  <a:lnTo>
                    <a:pt x="2594" y="7034"/>
                  </a:lnTo>
                  <a:lnTo>
                    <a:pt x="2598" y="7034"/>
                  </a:lnTo>
                  <a:lnTo>
                    <a:pt x="2612" y="7027"/>
                  </a:lnTo>
                  <a:lnTo>
                    <a:pt x="2619" y="7027"/>
                  </a:lnTo>
                  <a:lnTo>
                    <a:pt x="2629" y="7023"/>
                  </a:lnTo>
                  <a:lnTo>
                    <a:pt x="2633" y="7020"/>
                  </a:lnTo>
                  <a:lnTo>
                    <a:pt x="2643" y="7013"/>
                  </a:lnTo>
                  <a:lnTo>
                    <a:pt x="2650" y="7013"/>
                  </a:lnTo>
                  <a:cubicBezTo>
                    <a:pt x="2654" y="7009"/>
                    <a:pt x="2657" y="7006"/>
                    <a:pt x="2661" y="7002"/>
                  </a:cubicBezTo>
                  <a:lnTo>
                    <a:pt x="2664" y="7002"/>
                  </a:lnTo>
                  <a:lnTo>
                    <a:pt x="2671" y="6995"/>
                  </a:lnTo>
                  <a:lnTo>
                    <a:pt x="2675" y="6988"/>
                  </a:lnTo>
                  <a:lnTo>
                    <a:pt x="2682" y="6981"/>
                  </a:lnTo>
                  <a:lnTo>
                    <a:pt x="2682" y="6978"/>
                  </a:lnTo>
                  <a:cubicBezTo>
                    <a:pt x="2685" y="6974"/>
                    <a:pt x="2685" y="6971"/>
                    <a:pt x="2685" y="6967"/>
                  </a:cubicBezTo>
                  <a:lnTo>
                    <a:pt x="2685" y="6964"/>
                  </a:lnTo>
                  <a:cubicBezTo>
                    <a:pt x="2689" y="6957"/>
                    <a:pt x="2689" y="6953"/>
                    <a:pt x="2685" y="6946"/>
                  </a:cubicBezTo>
                  <a:cubicBezTo>
                    <a:pt x="2685" y="6897"/>
                    <a:pt x="2696" y="6729"/>
                    <a:pt x="2815" y="6673"/>
                  </a:cubicBezTo>
                  <a:cubicBezTo>
                    <a:pt x="2837" y="6664"/>
                    <a:pt x="2860" y="6659"/>
                    <a:pt x="2884" y="6659"/>
                  </a:cubicBezTo>
                  <a:cubicBezTo>
                    <a:pt x="2952" y="6659"/>
                    <a:pt x="3030" y="6697"/>
                    <a:pt x="3116" y="6775"/>
                  </a:cubicBezTo>
                  <a:cubicBezTo>
                    <a:pt x="3204" y="6854"/>
                    <a:pt x="3237" y="6859"/>
                    <a:pt x="3246" y="6859"/>
                  </a:cubicBezTo>
                  <a:cubicBezTo>
                    <a:pt x="3247" y="6859"/>
                    <a:pt x="3248" y="6859"/>
                    <a:pt x="3249" y="6859"/>
                  </a:cubicBezTo>
                  <a:cubicBezTo>
                    <a:pt x="3263" y="6841"/>
                    <a:pt x="3273" y="6824"/>
                    <a:pt x="3280" y="6803"/>
                  </a:cubicBezTo>
                  <a:cubicBezTo>
                    <a:pt x="3287" y="6782"/>
                    <a:pt x="3298" y="6757"/>
                    <a:pt x="3312" y="6740"/>
                  </a:cubicBezTo>
                  <a:cubicBezTo>
                    <a:pt x="3341" y="6696"/>
                    <a:pt x="3384" y="6681"/>
                    <a:pt x="3433" y="6681"/>
                  </a:cubicBezTo>
                  <a:cubicBezTo>
                    <a:pt x="3477" y="6681"/>
                    <a:pt x="3526" y="6693"/>
                    <a:pt x="3574" y="6705"/>
                  </a:cubicBezTo>
                  <a:cubicBezTo>
                    <a:pt x="3627" y="6722"/>
                    <a:pt x="3679" y="6729"/>
                    <a:pt x="3735" y="6733"/>
                  </a:cubicBezTo>
                  <a:cubicBezTo>
                    <a:pt x="3865" y="6733"/>
                    <a:pt x="4047" y="6642"/>
                    <a:pt x="4047" y="6642"/>
                  </a:cubicBezTo>
                  <a:lnTo>
                    <a:pt x="4061" y="6635"/>
                  </a:lnTo>
                  <a:lnTo>
                    <a:pt x="4079" y="6635"/>
                  </a:lnTo>
                  <a:cubicBezTo>
                    <a:pt x="4388" y="6639"/>
                    <a:pt x="4778" y="6642"/>
                    <a:pt x="5138" y="6642"/>
                  </a:cubicBezTo>
                  <a:cubicBezTo>
                    <a:pt x="5653" y="6642"/>
                    <a:pt x="6108" y="6636"/>
                    <a:pt x="6183" y="6617"/>
                  </a:cubicBezTo>
                  <a:cubicBezTo>
                    <a:pt x="6211" y="6586"/>
                    <a:pt x="6228" y="6414"/>
                    <a:pt x="6221" y="6243"/>
                  </a:cubicBezTo>
                  <a:lnTo>
                    <a:pt x="6221" y="6239"/>
                  </a:lnTo>
                  <a:lnTo>
                    <a:pt x="6050" y="6067"/>
                  </a:lnTo>
                  <a:lnTo>
                    <a:pt x="6050" y="6046"/>
                  </a:lnTo>
                  <a:lnTo>
                    <a:pt x="5524" y="1142"/>
                  </a:lnTo>
                  <a:lnTo>
                    <a:pt x="6298" y="1142"/>
                  </a:lnTo>
                  <a:cubicBezTo>
                    <a:pt x="5430" y="568"/>
                    <a:pt x="4709" y="95"/>
                    <a:pt x="4569" y="11"/>
                  </a:cubicBezTo>
                  <a:lnTo>
                    <a:pt x="4555" y="4"/>
                  </a:lnTo>
                  <a:lnTo>
                    <a:pt x="454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7" name="Google Shape;4167;p53"/>
            <p:cNvSpPr/>
            <p:nvPr/>
          </p:nvSpPr>
          <p:spPr>
            <a:xfrm>
              <a:off x="1984366" y="1836088"/>
              <a:ext cx="54" cy="1385"/>
            </a:xfrm>
            <a:custGeom>
              <a:avLst/>
              <a:gdLst/>
              <a:ahLst/>
              <a:cxnLst/>
              <a:rect l="l" t="t" r="r" b="b"/>
              <a:pathLst>
                <a:path w="4" h="102" extrusionOk="0">
                  <a:moveTo>
                    <a:pt x="0" y="0"/>
                  </a:moveTo>
                  <a:cubicBezTo>
                    <a:pt x="0" y="18"/>
                    <a:pt x="1" y="37"/>
                    <a:pt x="2" y="55"/>
                  </a:cubicBezTo>
                  <a:lnTo>
                    <a:pt x="2" y="55"/>
                  </a:lnTo>
                  <a:lnTo>
                    <a:pt x="0" y="0"/>
                  </a:lnTo>
                  <a:close/>
                  <a:moveTo>
                    <a:pt x="2" y="55"/>
                  </a:moveTo>
                  <a:lnTo>
                    <a:pt x="4" y="102"/>
                  </a:lnTo>
                  <a:cubicBezTo>
                    <a:pt x="4" y="87"/>
                    <a:pt x="3" y="71"/>
                    <a:pt x="2" y="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8" name="Google Shape;4168;p53"/>
            <p:cNvSpPr/>
            <p:nvPr/>
          </p:nvSpPr>
          <p:spPr>
            <a:xfrm>
              <a:off x="1984692" y="1836278"/>
              <a:ext cx="23503" cy="15410"/>
            </a:xfrm>
            <a:custGeom>
              <a:avLst/>
              <a:gdLst/>
              <a:ahLst/>
              <a:cxnLst/>
              <a:rect l="l" t="t" r="r" b="b"/>
              <a:pathLst>
                <a:path w="1731" h="1135" extrusionOk="0">
                  <a:moveTo>
                    <a:pt x="1" y="0"/>
                  </a:moveTo>
                  <a:lnTo>
                    <a:pt x="1" y="0"/>
                  </a:lnTo>
                  <a:cubicBezTo>
                    <a:pt x="141" y="88"/>
                    <a:pt x="862" y="560"/>
                    <a:pt x="1730" y="1134"/>
                  </a:cubicBezTo>
                  <a:cubicBezTo>
                    <a:pt x="809" y="525"/>
                    <a:pt x="137" y="8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9" name="Google Shape;4169;p53"/>
            <p:cNvSpPr/>
            <p:nvPr/>
          </p:nvSpPr>
          <p:spPr>
            <a:xfrm>
              <a:off x="1984502" y="183618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0" name="Google Shape;4170;p53"/>
            <p:cNvSpPr/>
            <p:nvPr/>
          </p:nvSpPr>
          <p:spPr>
            <a:xfrm>
              <a:off x="1924517" y="1921218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4" y="0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1" name="Google Shape;4171;p53"/>
            <p:cNvSpPr/>
            <p:nvPr/>
          </p:nvSpPr>
          <p:spPr>
            <a:xfrm>
              <a:off x="1953369" y="1928727"/>
              <a:ext cx="3204" cy="3245"/>
            </a:xfrm>
            <a:custGeom>
              <a:avLst/>
              <a:gdLst/>
              <a:ahLst/>
              <a:cxnLst/>
              <a:rect l="l" t="t" r="r" b="b"/>
              <a:pathLst>
                <a:path w="236" h="239" extrusionOk="0">
                  <a:moveTo>
                    <a:pt x="1" y="0"/>
                  </a:moveTo>
                  <a:cubicBezTo>
                    <a:pt x="102" y="53"/>
                    <a:pt x="183" y="137"/>
                    <a:pt x="235" y="238"/>
                  </a:cubicBezTo>
                  <a:lnTo>
                    <a:pt x="235" y="238"/>
                  </a:lnTo>
                  <a:cubicBezTo>
                    <a:pt x="183" y="137"/>
                    <a:pt x="102" y="5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2" name="Google Shape;4172;p53"/>
            <p:cNvSpPr/>
            <p:nvPr/>
          </p:nvSpPr>
          <p:spPr>
            <a:xfrm>
              <a:off x="1929893" y="1918544"/>
              <a:ext cx="4671" cy="258"/>
            </a:xfrm>
            <a:custGeom>
              <a:avLst/>
              <a:gdLst/>
              <a:ahLst/>
              <a:cxnLst/>
              <a:rect l="l" t="t" r="r" b="b"/>
              <a:pathLst>
                <a:path w="344" h="19" extrusionOk="0">
                  <a:moveTo>
                    <a:pt x="0" y="15"/>
                  </a:moveTo>
                  <a:cubicBezTo>
                    <a:pt x="116" y="18"/>
                    <a:pt x="231" y="15"/>
                    <a:pt x="343" y="1"/>
                  </a:cubicBezTo>
                  <a:cubicBezTo>
                    <a:pt x="231" y="15"/>
                    <a:pt x="116" y="18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3" name="Google Shape;4173;p53"/>
            <p:cNvSpPr/>
            <p:nvPr/>
          </p:nvSpPr>
          <p:spPr>
            <a:xfrm>
              <a:off x="1983796" y="1845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4" name="Google Shape;4174;p53"/>
            <p:cNvSpPr/>
            <p:nvPr/>
          </p:nvSpPr>
          <p:spPr>
            <a:xfrm>
              <a:off x="1983986" y="18453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5" name="Google Shape;4175;p53"/>
            <p:cNvSpPr/>
            <p:nvPr/>
          </p:nvSpPr>
          <p:spPr>
            <a:xfrm>
              <a:off x="1984081" y="184515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6" name="Google Shape;4176;p53"/>
            <p:cNvSpPr/>
            <p:nvPr/>
          </p:nvSpPr>
          <p:spPr>
            <a:xfrm>
              <a:off x="1983891" y="1845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7" name="Google Shape;4177;p53"/>
            <p:cNvSpPr/>
            <p:nvPr/>
          </p:nvSpPr>
          <p:spPr>
            <a:xfrm>
              <a:off x="1984122" y="18450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8" name="Google Shape;4178;p53"/>
            <p:cNvSpPr/>
            <p:nvPr/>
          </p:nvSpPr>
          <p:spPr>
            <a:xfrm>
              <a:off x="1984366" y="18434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9" name="Google Shape;4179;p53"/>
            <p:cNvSpPr/>
            <p:nvPr/>
          </p:nvSpPr>
          <p:spPr>
            <a:xfrm>
              <a:off x="1983932" y="18454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0" name="Google Shape;4180;p53"/>
            <p:cNvSpPr/>
            <p:nvPr/>
          </p:nvSpPr>
          <p:spPr>
            <a:xfrm>
              <a:off x="1984027" y="18452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1" name="Google Shape;4181;p53"/>
            <p:cNvSpPr/>
            <p:nvPr/>
          </p:nvSpPr>
          <p:spPr>
            <a:xfrm>
              <a:off x="1984407" y="1840269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2" name="Google Shape;4182;p53"/>
            <p:cNvSpPr/>
            <p:nvPr/>
          </p:nvSpPr>
          <p:spPr>
            <a:xfrm>
              <a:off x="1984407" y="1841790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3" name="Google Shape;4183;p53"/>
            <p:cNvSpPr/>
            <p:nvPr/>
          </p:nvSpPr>
          <p:spPr>
            <a:xfrm>
              <a:off x="1984217" y="18447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4" name="Google Shape;4184;p53"/>
            <p:cNvSpPr/>
            <p:nvPr/>
          </p:nvSpPr>
          <p:spPr>
            <a:xfrm>
              <a:off x="1984271" y="1844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5" name="Google Shape;4185;p53"/>
            <p:cNvSpPr/>
            <p:nvPr/>
          </p:nvSpPr>
          <p:spPr>
            <a:xfrm>
              <a:off x="1984366" y="184373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6" name="Google Shape;4186;p53"/>
            <p:cNvSpPr/>
            <p:nvPr/>
          </p:nvSpPr>
          <p:spPr>
            <a:xfrm>
              <a:off x="1984366" y="184397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7" name="Google Shape;4187;p53"/>
            <p:cNvSpPr/>
            <p:nvPr/>
          </p:nvSpPr>
          <p:spPr>
            <a:xfrm>
              <a:off x="1984407" y="18427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8" name="Google Shape;4188;p53"/>
            <p:cNvSpPr/>
            <p:nvPr/>
          </p:nvSpPr>
          <p:spPr>
            <a:xfrm>
              <a:off x="1984312" y="18443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9" name="Google Shape;4189;p53"/>
            <p:cNvSpPr/>
            <p:nvPr/>
          </p:nvSpPr>
          <p:spPr>
            <a:xfrm>
              <a:off x="1984176" y="184496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0" name="Google Shape;4190;p53"/>
            <p:cNvSpPr/>
            <p:nvPr/>
          </p:nvSpPr>
          <p:spPr>
            <a:xfrm>
              <a:off x="1983986" y="18453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1" name="Google Shape;4191;p53"/>
            <p:cNvSpPr/>
            <p:nvPr/>
          </p:nvSpPr>
          <p:spPr>
            <a:xfrm>
              <a:off x="1984176" y="184483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2" name="Google Shape;4192;p53"/>
            <p:cNvSpPr/>
            <p:nvPr/>
          </p:nvSpPr>
          <p:spPr>
            <a:xfrm>
              <a:off x="1984407" y="1842971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3" name="Google Shape;4193;p53"/>
            <p:cNvSpPr/>
            <p:nvPr/>
          </p:nvSpPr>
          <p:spPr>
            <a:xfrm>
              <a:off x="1984407" y="1840785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4" name="Google Shape;4194;p53"/>
            <p:cNvSpPr/>
            <p:nvPr/>
          </p:nvSpPr>
          <p:spPr>
            <a:xfrm>
              <a:off x="1984407" y="1837459"/>
              <a:ext cx="68" cy="2729"/>
            </a:xfrm>
            <a:custGeom>
              <a:avLst/>
              <a:gdLst/>
              <a:ahLst/>
              <a:cxnLst/>
              <a:rect l="l" t="t" r="r" b="b"/>
              <a:pathLst>
                <a:path w="5" h="201" extrusionOk="0">
                  <a:moveTo>
                    <a:pt x="1" y="1"/>
                  </a:moveTo>
                  <a:cubicBezTo>
                    <a:pt x="1" y="78"/>
                    <a:pt x="1" y="144"/>
                    <a:pt x="4" y="200"/>
                  </a:cubicBezTo>
                  <a:cubicBezTo>
                    <a:pt x="4" y="144"/>
                    <a:pt x="4" y="7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5" name="Google Shape;4195;p53"/>
            <p:cNvSpPr/>
            <p:nvPr/>
          </p:nvSpPr>
          <p:spPr>
            <a:xfrm>
              <a:off x="1984407" y="184131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6" name="Google Shape;4196;p53"/>
            <p:cNvSpPr/>
            <p:nvPr/>
          </p:nvSpPr>
          <p:spPr>
            <a:xfrm>
              <a:off x="1984407" y="184221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7" name="Google Shape;4197;p53"/>
            <p:cNvSpPr/>
            <p:nvPr/>
          </p:nvSpPr>
          <p:spPr>
            <a:xfrm>
              <a:off x="1984366" y="1836128"/>
              <a:ext cx="14" cy="1344"/>
            </a:xfrm>
            <a:custGeom>
              <a:avLst/>
              <a:gdLst/>
              <a:ahLst/>
              <a:cxnLst/>
              <a:rect l="l" t="t" r="r" b="b"/>
              <a:pathLst>
                <a:path w="1" h="99" extrusionOk="0">
                  <a:moveTo>
                    <a:pt x="0" y="1"/>
                  </a:moveTo>
                  <a:lnTo>
                    <a:pt x="0" y="1"/>
                  </a:lnTo>
                  <a:lnTo>
                    <a:pt x="0" y="99"/>
                  </a:lnTo>
                  <a:lnTo>
                    <a:pt x="0" y="99"/>
                  </a:lnTo>
                  <a:cubicBezTo>
                    <a:pt x="0" y="67"/>
                    <a:pt x="0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8" name="Google Shape;4198;p53"/>
            <p:cNvSpPr/>
            <p:nvPr/>
          </p:nvSpPr>
          <p:spPr>
            <a:xfrm>
              <a:off x="1957170" y="1853426"/>
              <a:ext cx="121505" cy="113481"/>
            </a:xfrm>
            <a:custGeom>
              <a:avLst/>
              <a:gdLst/>
              <a:ahLst/>
              <a:cxnLst/>
              <a:rect l="l" t="t" r="r" b="b"/>
              <a:pathLst>
                <a:path w="8949" h="8358" extrusionOk="0">
                  <a:moveTo>
                    <a:pt x="3109" y="1"/>
                  </a:moveTo>
                  <a:lnTo>
                    <a:pt x="3614" y="4737"/>
                  </a:lnTo>
                  <a:lnTo>
                    <a:pt x="3789" y="4913"/>
                  </a:lnTo>
                  <a:lnTo>
                    <a:pt x="3789" y="4937"/>
                  </a:lnTo>
                  <a:cubicBezTo>
                    <a:pt x="3799" y="5109"/>
                    <a:pt x="3799" y="5406"/>
                    <a:pt x="3680" y="5466"/>
                  </a:cubicBezTo>
                  <a:cubicBezTo>
                    <a:pt x="3618" y="5495"/>
                    <a:pt x="3071" y="5503"/>
                    <a:pt x="2511" y="5503"/>
                  </a:cubicBezTo>
                  <a:cubicBezTo>
                    <a:pt x="2147" y="5503"/>
                    <a:pt x="1777" y="5500"/>
                    <a:pt x="1531" y="5497"/>
                  </a:cubicBezTo>
                  <a:cubicBezTo>
                    <a:pt x="1482" y="5522"/>
                    <a:pt x="1313" y="5595"/>
                    <a:pt x="1173" y="5595"/>
                  </a:cubicBezTo>
                  <a:cubicBezTo>
                    <a:pt x="1107" y="5592"/>
                    <a:pt x="1044" y="5581"/>
                    <a:pt x="981" y="5564"/>
                  </a:cubicBezTo>
                  <a:lnTo>
                    <a:pt x="963" y="5560"/>
                  </a:lnTo>
                  <a:cubicBezTo>
                    <a:pt x="950" y="5535"/>
                    <a:pt x="927" y="5524"/>
                    <a:pt x="904" y="5524"/>
                  </a:cubicBezTo>
                  <a:cubicBezTo>
                    <a:pt x="873" y="5524"/>
                    <a:pt x="843" y="5545"/>
                    <a:pt x="841" y="5581"/>
                  </a:cubicBezTo>
                  <a:cubicBezTo>
                    <a:pt x="820" y="5630"/>
                    <a:pt x="792" y="5700"/>
                    <a:pt x="718" y="5718"/>
                  </a:cubicBezTo>
                  <a:cubicBezTo>
                    <a:pt x="709" y="5720"/>
                    <a:pt x="699" y="5721"/>
                    <a:pt x="688" y="5721"/>
                  </a:cubicBezTo>
                  <a:cubicBezTo>
                    <a:pt x="626" y="5721"/>
                    <a:pt x="557" y="5683"/>
                    <a:pt x="466" y="5602"/>
                  </a:cubicBezTo>
                  <a:cubicBezTo>
                    <a:pt x="400" y="5541"/>
                    <a:pt x="350" y="5519"/>
                    <a:pt x="323" y="5519"/>
                  </a:cubicBezTo>
                  <a:cubicBezTo>
                    <a:pt x="317" y="5519"/>
                    <a:pt x="312" y="5520"/>
                    <a:pt x="309" y="5522"/>
                  </a:cubicBezTo>
                  <a:cubicBezTo>
                    <a:pt x="277" y="5536"/>
                    <a:pt x="256" y="5602"/>
                    <a:pt x="256" y="5676"/>
                  </a:cubicBezTo>
                  <a:cubicBezTo>
                    <a:pt x="256" y="5690"/>
                    <a:pt x="256" y="5704"/>
                    <a:pt x="253" y="5718"/>
                  </a:cubicBezTo>
                  <a:lnTo>
                    <a:pt x="253" y="5725"/>
                  </a:lnTo>
                  <a:cubicBezTo>
                    <a:pt x="249" y="5735"/>
                    <a:pt x="246" y="5746"/>
                    <a:pt x="242" y="5760"/>
                  </a:cubicBezTo>
                  <a:lnTo>
                    <a:pt x="239" y="5763"/>
                  </a:lnTo>
                  <a:cubicBezTo>
                    <a:pt x="232" y="5777"/>
                    <a:pt x="228" y="5788"/>
                    <a:pt x="218" y="5798"/>
                  </a:cubicBezTo>
                  <a:cubicBezTo>
                    <a:pt x="211" y="5809"/>
                    <a:pt x="204" y="5819"/>
                    <a:pt x="193" y="5826"/>
                  </a:cubicBezTo>
                  <a:lnTo>
                    <a:pt x="190" y="5830"/>
                  </a:lnTo>
                  <a:cubicBezTo>
                    <a:pt x="179" y="5840"/>
                    <a:pt x="169" y="5847"/>
                    <a:pt x="158" y="5854"/>
                  </a:cubicBezTo>
                  <a:lnTo>
                    <a:pt x="151" y="5858"/>
                  </a:lnTo>
                  <a:cubicBezTo>
                    <a:pt x="137" y="5868"/>
                    <a:pt x="123" y="5875"/>
                    <a:pt x="109" y="5879"/>
                  </a:cubicBezTo>
                  <a:lnTo>
                    <a:pt x="106" y="5879"/>
                  </a:lnTo>
                  <a:cubicBezTo>
                    <a:pt x="92" y="5886"/>
                    <a:pt x="74" y="5889"/>
                    <a:pt x="60" y="5896"/>
                  </a:cubicBezTo>
                  <a:lnTo>
                    <a:pt x="57" y="5896"/>
                  </a:lnTo>
                  <a:cubicBezTo>
                    <a:pt x="43" y="5900"/>
                    <a:pt x="25" y="5903"/>
                    <a:pt x="4" y="5907"/>
                  </a:cubicBezTo>
                  <a:lnTo>
                    <a:pt x="1" y="5907"/>
                  </a:lnTo>
                  <a:cubicBezTo>
                    <a:pt x="18" y="5928"/>
                    <a:pt x="25" y="5942"/>
                    <a:pt x="25" y="5949"/>
                  </a:cubicBezTo>
                  <a:lnTo>
                    <a:pt x="134" y="6110"/>
                  </a:lnTo>
                  <a:lnTo>
                    <a:pt x="134" y="6131"/>
                  </a:lnTo>
                  <a:cubicBezTo>
                    <a:pt x="127" y="6215"/>
                    <a:pt x="141" y="6365"/>
                    <a:pt x="197" y="6421"/>
                  </a:cubicBezTo>
                  <a:cubicBezTo>
                    <a:pt x="379" y="6603"/>
                    <a:pt x="487" y="6726"/>
                    <a:pt x="505" y="6810"/>
                  </a:cubicBezTo>
                  <a:cubicBezTo>
                    <a:pt x="505" y="6813"/>
                    <a:pt x="505" y="6820"/>
                    <a:pt x="508" y="6827"/>
                  </a:cubicBezTo>
                  <a:cubicBezTo>
                    <a:pt x="512" y="6866"/>
                    <a:pt x="512" y="6901"/>
                    <a:pt x="512" y="6940"/>
                  </a:cubicBezTo>
                  <a:lnTo>
                    <a:pt x="512" y="7073"/>
                  </a:lnTo>
                  <a:lnTo>
                    <a:pt x="508" y="7160"/>
                  </a:lnTo>
                  <a:lnTo>
                    <a:pt x="508" y="7181"/>
                  </a:lnTo>
                  <a:lnTo>
                    <a:pt x="508" y="7216"/>
                  </a:lnTo>
                  <a:lnTo>
                    <a:pt x="508" y="7255"/>
                  </a:lnTo>
                  <a:cubicBezTo>
                    <a:pt x="515" y="7276"/>
                    <a:pt x="522" y="7297"/>
                    <a:pt x="529" y="7314"/>
                  </a:cubicBezTo>
                  <a:lnTo>
                    <a:pt x="529" y="7318"/>
                  </a:lnTo>
                  <a:cubicBezTo>
                    <a:pt x="536" y="7335"/>
                    <a:pt x="543" y="7349"/>
                    <a:pt x="554" y="7367"/>
                  </a:cubicBezTo>
                  <a:cubicBezTo>
                    <a:pt x="591" y="7316"/>
                    <a:pt x="634" y="7300"/>
                    <a:pt x="676" y="7300"/>
                  </a:cubicBezTo>
                  <a:cubicBezTo>
                    <a:pt x="720" y="7300"/>
                    <a:pt x="763" y="7319"/>
                    <a:pt x="792" y="7332"/>
                  </a:cubicBezTo>
                  <a:cubicBezTo>
                    <a:pt x="809" y="7342"/>
                    <a:pt x="823" y="7346"/>
                    <a:pt x="844" y="7349"/>
                  </a:cubicBezTo>
                  <a:cubicBezTo>
                    <a:pt x="844" y="7349"/>
                    <a:pt x="848" y="7346"/>
                    <a:pt x="851" y="7335"/>
                  </a:cubicBezTo>
                  <a:cubicBezTo>
                    <a:pt x="865" y="7290"/>
                    <a:pt x="897" y="7255"/>
                    <a:pt x="939" y="7237"/>
                  </a:cubicBezTo>
                  <a:cubicBezTo>
                    <a:pt x="957" y="7231"/>
                    <a:pt x="976" y="7228"/>
                    <a:pt x="996" y="7228"/>
                  </a:cubicBezTo>
                  <a:cubicBezTo>
                    <a:pt x="1060" y="7228"/>
                    <a:pt x="1128" y="7259"/>
                    <a:pt x="1187" y="7286"/>
                  </a:cubicBezTo>
                  <a:cubicBezTo>
                    <a:pt x="1219" y="7304"/>
                    <a:pt x="1250" y="7318"/>
                    <a:pt x="1282" y="7325"/>
                  </a:cubicBezTo>
                  <a:cubicBezTo>
                    <a:pt x="1313" y="7321"/>
                    <a:pt x="1405" y="7237"/>
                    <a:pt x="1454" y="7192"/>
                  </a:cubicBezTo>
                  <a:cubicBezTo>
                    <a:pt x="1544" y="7108"/>
                    <a:pt x="1606" y="7049"/>
                    <a:pt x="1666" y="7049"/>
                  </a:cubicBezTo>
                  <a:cubicBezTo>
                    <a:pt x="1673" y="7049"/>
                    <a:pt x="1681" y="7050"/>
                    <a:pt x="1688" y="7052"/>
                  </a:cubicBezTo>
                  <a:cubicBezTo>
                    <a:pt x="1797" y="7080"/>
                    <a:pt x="1947" y="7395"/>
                    <a:pt x="1947" y="7521"/>
                  </a:cubicBezTo>
                  <a:cubicBezTo>
                    <a:pt x="1947" y="7545"/>
                    <a:pt x="2028" y="7608"/>
                    <a:pt x="2059" y="7629"/>
                  </a:cubicBezTo>
                  <a:cubicBezTo>
                    <a:pt x="2122" y="7678"/>
                    <a:pt x="2171" y="7717"/>
                    <a:pt x="2161" y="7773"/>
                  </a:cubicBezTo>
                  <a:cubicBezTo>
                    <a:pt x="2154" y="7808"/>
                    <a:pt x="2129" y="7832"/>
                    <a:pt x="2098" y="7839"/>
                  </a:cubicBezTo>
                  <a:cubicBezTo>
                    <a:pt x="2080" y="7846"/>
                    <a:pt x="2066" y="7864"/>
                    <a:pt x="2063" y="7881"/>
                  </a:cubicBezTo>
                  <a:cubicBezTo>
                    <a:pt x="2059" y="7888"/>
                    <a:pt x="2059" y="7899"/>
                    <a:pt x="2063" y="7906"/>
                  </a:cubicBezTo>
                  <a:lnTo>
                    <a:pt x="2073" y="7906"/>
                  </a:lnTo>
                  <a:cubicBezTo>
                    <a:pt x="2199" y="7906"/>
                    <a:pt x="2217" y="8032"/>
                    <a:pt x="2227" y="8116"/>
                  </a:cubicBezTo>
                  <a:cubicBezTo>
                    <a:pt x="2231" y="8161"/>
                    <a:pt x="2241" y="8203"/>
                    <a:pt x="2259" y="8242"/>
                  </a:cubicBezTo>
                  <a:cubicBezTo>
                    <a:pt x="2273" y="8266"/>
                    <a:pt x="2294" y="8284"/>
                    <a:pt x="2315" y="8301"/>
                  </a:cubicBezTo>
                  <a:cubicBezTo>
                    <a:pt x="2332" y="8315"/>
                    <a:pt x="2350" y="8322"/>
                    <a:pt x="2367" y="8322"/>
                  </a:cubicBezTo>
                  <a:lnTo>
                    <a:pt x="2374" y="8319"/>
                  </a:lnTo>
                  <a:lnTo>
                    <a:pt x="2378" y="8319"/>
                  </a:lnTo>
                  <a:cubicBezTo>
                    <a:pt x="2381" y="8315"/>
                    <a:pt x="2385" y="8312"/>
                    <a:pt x="2388" y="8308"/>
                  </a:cubicBezTo>
                  <a:lnTo>
                    <a:pt x="2392" y="8301"/>
                  </a:lnTo>
                  <a:lnTo>
                    <a:pt x="2395" y="8298"/>
                  </a:lnTo>
                  <a:cubicBezTo>
                    <a:pt x="2399" y="8294"/>
                    <a:pt x="2399" y="8287"/>
                    <a:pt x="2402" y="8284"/>
                  </a:cubicBezTo>
                  <a:cubicBezTo>
                    <a:pt x="2420" y="8238"/>
                    <a:pt x="2458" y="8203"/>
                    <a:pt x="2504" y="8186"/>
                  </a:cubicBezTo>
                  <a:cubicBezTo>
                    <a:pt x="2514" y="8182"/>
                    <a:pt x="2521" y="8182"/>
                    <a:pt x="2532" y="8179"/>
                  </a:cubicBezTo>
                  <a:lnTo>
                    <a:pt x="2574" y="8179"/>
                  </a:lnTo>
                  <a:cubicBezTo>
                    <a:pt x="2581" y="8182"/>
                    <a:pt x="2588" y="8182"/>
                    <a:pt x="2595" y="8186"/>
                  </a:cubicBezTo>
                  <a:lnTo>
                    <a:pt x="2612" y="8189"/>
                  </a:lnTo>
                  <a:cubicBezTo>
                    <a:pt x="2619" y="8193"/>
                    <a:pt x="2626" y="8196"/>
                    <a:pt x="2633" y="8200"/>
                  </a:cubicBezTo>
                  <a:lnTo>
                    <a:pt x="2647" y="8207"/>
                  </a:lnTo>
                  <a:cubicBezTo>
                    <a:pt x="2654" y="8214"/>
                    <a:pt x="2661" y="8217"/>
                    <a:pt x="2668" y="8221"/>
                  </a:cubicBezTo>
                  <a:lnTo>
                    <a:pt x="2682" y="8231"/>
                  </a:lnTo>
                  <a:cubicBezTo>
                    <a:pt x="2689" y="8235"/>
                    <a:pt x="2696" y="8242"/>
                    <a:pt x="2703" y="8249"/>
                  </a:cubicBezTo>
                  <a:lnTo>
                    <a:pt x="2714" y="8259"/>
                  </a:lnTo>
                  <a:cubicBezTo>
                    <a:pt x="2721" y="8266"/>
                    <a:pt x="2728" y="8270"/>
                    <a:pt x="2731" y="8277"/>
                  </a:cubicBezTo>
                  <a:lnTo>
                    <a:pt x="2742" y="8287"/>
                  </a:lnTo>
                  <a:cubicBezTo>
                    <a:pt x="2749" y="8294"/>
                    <a:pt x="2756" y="8301"/>
                    <a:pt x="2763" y="8308"/>
                  </a:cubicBezTo>
                  <a:lnTo>
                    <a:pt x="2770" y="8319"/>
                  </a:lnTo>
                  <a:cubicBezTo>
                    <a:pt x="2777" y="8329"/>
                    <a:pt x="2787" y="8340"/>
                    <a:pt x="2794" y="8350"/>
                  </a:cubicBezTo>
                  <a:cubicBezTo>
                    <a:pt x="2799" y="8357"/>
                    <a:pt x="2807" y="8358"/>
                    <a:pt x="2815" y="8358"/>
                  </a:cubicBezTo>
                  <a:cubicBezTo>
                    <a:pt x="2820" y="8358"/>
                    <a:pt x="2825" y="8357"/>
                    <a:pt x="2829" y="8357"/>
                  </a:cubicBezTo>
                  <a:cubicBezTo>
                    <a:pt x="2899" y="8343"/>
                    <a:pt x="2955" y="8294"/>
                    <a:pt x="2983" y="8224"/>
                  </a:cubicBezTo>
                  <a:cubicBezTo>
                    <a:pt x="3009" y="8121"/>
                    <a:pt x="3130" y="8054"/>
                    <a:pt x="3233" y="8054"/>
                  </a:cubicBezTo>
                  <a:cubicBezTo>
                    <a:pt x="3244" y="8054"/>
                    <a:pt x="3256" y="8054"/>
                    <a:pt x="3267" y="8056"/>
                  </a:cubicBezTo>
                  <a:cubicBezTo>
                    <a:pt x="3344" y="8067"/>
                    <a:pt x="3400" y="8140"/>
                    <a:pt x="3386" y="8217"/>
                  </a:cubicBezTo>
                  <a:cubicBezTo>
                    <a:pt x="3382" y="8235"/>
                    <a:pt x="3382" y="8256"/>
                    <a:pt x="3386" y="8273"/>
                  </a:cubicBezTo>
                  <a:cubicBezTo>
                    <a:pt x="3418" y="8259"/>
                    <a:pt x="3449" y="8242"/>
                    <a:pt x="3477" y="8221"/>
                  </a:cubicBezTo>
                  <a:cubicBezTo>
                    <a:pt x="3488" y="8214"/>
                    <a:pt x="3498" y="8207"/>
                    <a:pt x="3509" y="8200"/>
                  </a:cubicBezTo>
                  <a:lnTo>
                    <a:pt x="3516" y="8200"/>
                  </a:lnTo>
                  <a:cubicBezTo>
                    <a:pt x="3547" y="8186"/>
                    <a:pt x="3586" y="8175"/>
                    <a:pt x="3624" y="8175"/>
                  </a:cubicBezTo>
                  <a:lnTo>
                    <a:pt x="3624" y="8172"/>
                  </a:lnTo>
                  <a:lnTo>
                    <a:pt x="3642" y="8116"/>
                  </a:lnTo>
                  <a:lnTo>
                    <a:pt x="3645" y="8109"/>
                  </a:lnTo>
                  <a:lnTo>
                    <a:pt x="3663" y="8053"/>
                  </a:lnTo>
                  <a:lnTo>
                    <a:pt x="3680" y="7997"/>
                  </a:lnTo>
                  <a:lnTo>
                    <a:pt x="3701" y="7948"/>
                  </a:lnTo>
                  <a:lnTo>
                    <a:pt x="3701" y="7941"/>
                  </a:lnTo>
                  <a:lnTo>
                    <a:pt x="3715" y="7899"/>
                  </a:lnTo>
                  <a:lnTo>
                    <a:pt x="3715" y="7895"/>
                  </a:lnTo>
                  <a:lnTo>
                    <a:pt x="3733" y="7857"/>
                  </a:lnTo>
                  <a:lnTo>
                    <a:pt x="3733" y="7853"/>
                  </a:lnTo>
                  <a:lnTo>
                    <a:pt x="3743" y="7822"/>
                  </a:lnTo>
                  <a:lnTo>
                    <a:pt x="3743" y="7818"/>
                  </a:lnTo>
                  <a:cubicBezTo>
                    <a:pt x="3750" y="7811"/>
                    <a:pt x="3754" y="7801"/>
                    <a:pt x="3757" y="7794"/>
                  </a:cubicBezTo>
                  <a:cubicBezTo>
                    <a:pt x="3768" y="7773"/>
                    <a:pt x="3740" y="7692"/>
                    <a:pt x="3726" y="7650"/>
                  </a:cubicBezTo>
                  <a:cubicBezTo>
                    <a:pt x="3698" y="7563"/>
                    <a:pt x="3659" y="7447"/>
                    <a:pt x="3757" y="7409"/>
                  </a:cubicBezTo>
                  <a:cubicBezTo>
                    <a:pt x="3796" y="7395"/>
                    <a:pt x="3834" y="7391"/>
                    <a:pt x="3876" y="7391"/>
                  </a:cubicBezTo>
                  <a:cubicBezTo>
                    <a:pt x="4009" y="7384"/>
                    <a:pt x="4114" y="7370"/>
                    <a:pt x="4156" y="7251"/>
                  </a:cubicBezTo>
                  <a:cubicBezTo>
                    <a:pt x="4198" y="7129"/>
                    <a:pt x="4258" y="7017"/>
                    <a:pt x="4331" y="6911"/>
                  </a:cubicBezTo>
                  <a:cubicBezTo>
                    <a:pt x="4342" y="6782"/>
                    <a:pt x="4373" y="6530"/>
                    <a:pt x="4485" y="6474"/>
                  </a:cubicBezTo>
                  <a:cubicBezTo>
                    <a:pt x="4505" y="6463"/>
                    <a:pt x="4526" y="6458"/>
                    <a:pt x="4546" y="6458"/>
                  </a:cubicBezTo>
                  <a:cubicBezTo>
                    <a:pt x="4567" y="6458"/>
                    <a:pt x="4587" y="6463"/>
                    <a:pt x="4604" y="6474"/>
                  </a:cubicBezTo>
                  <a:lnTo>
                    <a:pt x="4657" y="6505"/>
                  </a:lnTo>
                  <a:cubicBezTo>
                    <a:pt x="4702" y="6531"/>
                    <a:pt x="4794" y="6584"/>
                    <a:pt x="4831" y="6584"/>
                  </a:cubicBezTo>
                  <a:cubicBezTo>
                    <a:pt x="4834" y="6584"/>
                    <a:pt x="4837" y="6583"/>
                    <a:pt x="4839" y="6582"/>
                  </a:cubicBezTo>
                  <a:cubicBezTo>
                    <a:pt x="4846" y="6572"/>
                    <a:pt x="4846" y="6558"/>
                    <a:pt x="4849" y="6540"/>
                  </a:cubicBezTo>
                  <a:cubicBezTo>
                    <a:pt x="4849" y="6449"/>
                    <a:pt x="4916" y="6365"/>
                    <a:pt x="5007" y="6348"/>
                  </a:cubicBezTo>
                  <a:cubicBezTo>
                    <a:pt x="5056" y="6330"/>
                    <a:pt x="5077" y="6323"/>
                    <a:pt x="5091" y="6271"/>
                  </a:cubicBezTo>
                  <a:cubicBezTo>
                    <a:pt x="5105" y="6201"/>
                    <a:pt x="5147" y="6138"/>
                    <a:pt x="5206" y="6096"/>
                  </a:cubicBezTo>
                  <a:cubicBezTo>
                    <a:pt x="5237" y="6079"/>
                    <a:pt x="5269" y="6073"/>
                    <a:pt x="5302" y="6073"/>
                  </a:cubicBezTo>
                  <a:cubicBezTo>
                    <a:pt x="5345" y="6073"/>
                    <a:pt x="5390" y="6084"/>
                    <a:pt x="5434" y="6096"/>
                  </a:cubicBezTo>
                  <a:cubicBezTo>
                    <a:pt x="5449" y="6102"/>
                    <a:pt x="5464" y="6104"/>
                    <a:pt x="5479" y="6104"/>
                  </a:cubicBezTo>
                  <a:cubicBezTo>
                    <a:pt x="5500" y="6104"/>
                    <a:pt x="5521" y="6099"/>
                    <a:pt x="5539" y="6089"/>
                  </a:cubicBezTo>
                  <a:cubicBezTo>
                    <a:pt x="5553" y="6078"/>
                    <a:pt x="5560" y="6061"/>
                    <a:pt x="5560" y="6047"/>
                  </a:cubicBezTo>
                  <a:cubicBezTo>
                    <a:pt x="5560" y="5945"/>
                    <a:pt x="5662" y="5924"/>
                    <a:pt x="5763" y="5903"/>
                  </a:cubicBezTo>
                  <a:cubicBezTo>
                    <a:pt x="5868" y="5889"/>
                    <a:pt x="5966" y="5851"/>
                    <a:pt x="6057" y="5798"/>
                  </a:cubicBezTo>
                  <a:cubicBezTo>
                    <a:pt x="6096" y="5770"/>
                    <a:pt x="6127" y="5746"/>
                    <a:pt x="6162" y="5721"/>
                  </a:cubicBezTo>
                  <a:cubicBezTo>
                    <a:pt x="6267" y="5645"/>
                    <a:pt x="6358" y="5580"/>
                    <a:pt x="6438" y="5580"/>
                  </a:cubicBezTo>
                  <a:cubicBezTo>
                    <a:pt x="6476" y="5580"/>
                    <a:pt x="6511" y="5593"/>
                    <a:pt x="6544" y="5627"/>
                  </a:cubicBezTo>
                  <a:cubicBezTo>
                    <a:pt x="6547" y="5627"/>
                    <a:pt x="6551" y="5630"/>
                    <a:pt x="6554" y="5630"/>
                  </a:cubicBezTo>
                  <a:cubicBezTo>
                    <a:pt x="6607" y="5648"/>
                    <a:pt x="6663" y="5658"/>
                    <a:pt x="6719" y="5662"/>
                  </a:cubicBezTo>
                  <a:lnTo>
                    <a:pt x="6838" y="5662"/>
                  </a:lnTo>
                  <a:cubicBezTo>
                    <a:pt x="6862" y="5662"/>
                    <a:pt x="6886" y="5663"/>
                    <a:pt x="6911" y="5663"/>
                  </a:cubicBezTo>
                  <a:cubicBezTo>
                    <a:pt x="6994" y="5663"/>
                    <a:pt x="7076" y="5658"/>
                    <a:pt x="7160" y="5644"/>
                  </a:cubicBezTo>
                  <a:lnTo>
                    <a:pt x="7167" y="5641"/>
                  </a:lnTo>
                  <a:cubicBezTo>
                    <a:pt x="7188" y="5630"/>
                    <a:pt x="7209" y="5620"/>
                    <a:pt x="7230" y="5606"/>
                  </a:cubicBezTo>
                  <a:cubicBezTo>
                    <a:pt x="7312" y="5557"/>
                    <a:pt x="7430" y="5488"/>
                    <a:pt x="7571" y="5488"/>
                  </a:cubicBezTo>
                  <a:cubicBezTo>
                    <a:pt x="7593" y="5488"/>
                    <a:pt x="7616" y="5490"/>
                    <a:pt x="7640" y="5494"/>
                  </a:cubicBezTo>
                  <a:cubicBezTo>
                    <a:pt x="7660" y="5497"/>
                    <a:pt x="7685" y="5499"/>
                    <a:pt x="7713" y="5499"/>
                  </a:cubicBezTo>
                  <a:cubicBezTo>
                    <a:pt x="7827" y="5499"/>
                    <a:pt x="7991" y="5473"/>
                    <a:pt x="8137" y="5448"/>
                  </a:cubicBezTo>
                  <a:cubicBezTo>
                    <a:pt x="8252" y="5427"/>
                    <a:pt x="8368" y="5417"/>
                    <a:pt x="8487" y="5410"/>
                  </a:cubicBezTo>
                  <a:cubicBezTo>
                    <a:pt x="8606" y="5410"/>
                    <a:pt x="8669" y="5322"/>
                    <a:pt x="8728" y="5249"/>
                  </a:cubicBezTo>
                  <a:cubicBezTo>
                    <a:pt x="8742" y="5228"/>
                    <a:pt x="8760" y="5207"/>
                    <a:pt x="8777" y="5186"/>
                  </a:cubicBezTo>
                  <a:cubicBezTo>
                    <a:pt x="8809" y="5130"/>
                    <a:pt x="8833" y="5074"/>
                    <a:pt x="8851" y="5011"/>
                  </a:cubicBezTo>
                  <a:cubicBezTo>
                    <a:pt x="8886" y="4902"/>
                    <a:pt x="8910" y="4828"/>
                    <a:pt x="8949" y="4786"/>
                  </a:cubicBezTo>
                  <a:lnTo>
                    <a:pt x="8949" y="4779"/>
                  </a:lnTo>
                  <a:lnTo>
                    <a:pt x="8949" y="4776"/>
                  </a:lnTo>
                  <a:lnTo>
                    <a:pt x="8949" y="4769"/>
                  </a:lnTo>
                  <a:lnTo>
                    <a:pt x="8949" y="4765"/>
                  </a:lnTo>
                  <a:lnTo>
                    <a:pt x="8949" y="4758"/>
                  </a:lnTo>
                  <a:lnTo>
                    <a:pt x="8949" y="4751"/>
                  </a:lnTo>
                  <a:lnTo>
                    <a:pt x="8949" y="4744"/>
                  </a:lnTo>
                  <a:lnTo>
                    <a:pt x="8949" y="4737"/>
                  </a:lnTo>
                  <a:lnTo>
                    <a:pt x="8949" y="4727"/>
                  </a:lnTo>
                  <a:lnTo>
                    <a:pt x="8949" y="4720"/>
                  </a:lnTo>
                  <a:lnTo>
                    <a:pt x="8949" y="4709"/>
                  </a:lnTo>
                  <a:lnTo>
                    <a:pt x="8949" y="4695"/>
                  </a:lnTo>
                  <a:lnTo>
                    <a:pt x="8949" y="4688"/>
                  </a:lnTo>
                  <a:lnTo>
                    <a:pt x="8949" y="4671"/>
                  </a:lnTo>
                  <a:lnTo>
                    <a:pt x="8949" y="4664"/>
                  </a:lnTo>
                  <a:lnTo>
                    <a:pt x="8949" y="4646"/>
                  </a:lnTo>
                  <a:lnTo>
                    <a:pt x="8949" y="4639"/>
                  </a:lnTo>
                  <a:lnTo>
                    <a:pt x="8949" y="4622"/>
                  </a:lnTo>
                  <a:lnTo>
                    <a:pt x="8949" y="4611"/>
                  </a:lnTo>
                  <a:lnTo>
                    <a:pt x="8949" y="4590"/>
                  </a:lnTo>
                  <a:lnTo>
                    <a:pt x="8949" y="4580"/>
                  </a:lnTo>
                  <a:lnTo>
                    <a:pt x="8949" y="4562"/>
                  </a:lnTo>
                  <a:lnTo>
                    <a:pt x="8949" y="4548"/>
                  </a:lnTo>
                  <a:lnTo>
                    <a:pt x="8949" y="4527"/>
                  </a:lnTo>
                  <a:lnTo>
                    <a:pt x="8949" y="4412"/>
                  </a:lnTo>
                  <a:lnTo>
                    <a:pt x="8949" y="4398"/>
                  </a:lnTo>
                  <a:lnTo>
                    <a:pt x="8949" y="4370"/>
                  </a:lnTo>
                  <a:lnTo>
                    <a:pt x="8949" y="4328"/>
                  </a:lnTo>
                  <a:lnTo>
                    <a:pt x="8949" y="4307"/>
                  </a:lnTo>
                  <a:lnTo>
                    <a:pt x="8949" y="4279"/>
                  </a:lnTo>
                  <a:lnTo>
                    <a:pt x="8949" y="4258"/>
                  </a:lnTo>
                  <a:lnTo>
                    <a:pt x="8949" y="4230"/>
                  </a:lnTo>
                  <a:lnTo>
                    <a:pt x="8949" y="4205"/>
                  </a:lnTo>
                  <a:lnTo>
                    <a:pt x="8949" y="4174"/>
                  </a:lnTo>
                  <a:lnTo>
                    <a:pt x="8949" y="4153"/>
                  </a:lnTo>
                  <a:lnTo>
                    <a:pt x="8949" y="4118"/>
                  </a:lnTo>
                  <a:lnTo>
                    <a:pt x="8949" y="4093"/>
                  </a:lnTo>
                  <a:lnTo>
                    <a:pt x="8949" y="4062"/>
                  </a:lnTo>
                  <a:lnTo>
                    <a:pt x="8949" y="4034"/>
                  </a:lnTo>
                  <a:lnTo>
                    <a:pt x="8949" y="4002"/>
                  </a:lnTo>
                  <a:lnTo>
                    <a:pt x="8949" y="3939"/>
                  </a:lnTo>
                  <a:lnTo>
                    <a:pt x="8949" y="3908"/>
                  </a:lnTo>
                  <a:lnTo>
                    <a:pt x="8949" y="3876"/>
                  </a:lnTo>
                  <a:lnTo>
                    <a:pt x="8949" y="3838"/>
                  </a:lnTo>
                  <a:lnTo>
                    <a:pt x="8949" y="3810"/>
                  </a:lnTo>
                  <a:lnTo>
                    <a:pt x="8949" y="3768"/>
                  </a:lnTo>
                  <a:lnTo>
                    <a:pt x="8949" y="3736"/>
                  </a:lnTo>
                  <a:lnTo>
                    <a:pt x="8949" y="3694"/>
                  </a:lnTo>
                  <a:lnTo>
                    <a:pt x="8949" y="3663"/>
                  </a:lnTo>
                  <a:lnTo>
                    <a:pt x="8949" y="3617"/>
                  </a:lnTo>
                  <a:lnTo>
                    <a:pt x="8949" y="3589"/>
                  </a:lnTo>
                  <a:lnTo>
                    <a:pt x="8949" y="3540"/>
                  </a:lnTo>
                  <a:lnTo>
                    <a:pt x="8949" y="3509"/>
                  </a:lnTo>
                  <a:lnTo>
                    <a:pt x="8949" y="3460"/>
                  </a:lnTo>
                  <a:lnTo>
                    <a:pt x="8931" y="3463"/>
                  </a:lnTo>
                  <a:cubicBezTo>
                    <a:pt x="8756" y="3498"/>
                    <a:pt x="8567" y="3540"/>
                    <a:pt x="8564" y="3544"/>
                  </a:cubicBezTo>
                  <a:lnTo>
                    <a:pt x="8522" y="3551"/>
                  </a:lnTo>
                  <a:lnTo>
                    <a:pt x="8483" y="3561"/>
                  </a:lnTo>
                  <a:lnTo>
                    <a:pt x="8483" y="3477"/>
                  </a:lnTo>
                  <a:lnTo>
                    <a:pt x="8483" y="3474"/>
                  </a:lnTo>
                  <a:lnTo>
                    <a:pt x="8483" y="3463"/>
                  </a:lnTo>
                  <a:lnTo>
                    <a:pt x="8483" y="3460"/>
                  </a:lnTo>
                  <a:lnTo>
                    <a:pt x="8483" y="3449"/>
                  </a:lnTo>
                  <a:lnTo>
                    <a:pt x="8483" y="3439"/>
                  </a:lnTo>
                  <a:lnTo>
                    <a:pt x="8483" y="3428"/>
                  </a:lnTo>
                  <a:lnTo>
                    <a:pt x="8483" y="3414"/>
                  </a:lnTo>
                  <a:lnTo>
                    <a:pt x="8483" y="3400"/>
                  </a:lnTo>
                  <a:lnTo>
                    <a:pt x="8483" y="3383"/>
                  </a:lnTo>
                  <a:lnTo>
                    <a:pt x="8483" y="3369"/>
                  </a:lnTo>
                  <a:cubicBezTo>
                    <a:pt x="8483" y="3365"/>
                    <a:pt x="8483" y="3355"/>
                    <a:pt x="8480" y="3348"/>
                  </a:cubicBezTo>
                  <a:cubicBezTo>
                    <a:pt x="8476" y="3337"/>
                    <a:pt x="8480" y="3337"/>
                    <a:pt x="8476" y="3334"/>
                  </a:cubicBezTo>
                  <a:cubicBezTo>
                    <a:pt x="8476" y="3330"/>
                    <a:pt x="8473" y="3316"/>
                    <a:pt x="8473" y="3309"/>
                  </a:cubicBezTo>
                  <a:lnTo>
                    <a:pt x="8469" y="3295"/>
                  </a:lnTo>
                  <a:cubicBezTo>
                    <a:pt x="8469" y="3285"/>
                    <a:pt x="8466" y="3278"/>
                    <a:pt x="8462" y="3267"/>
                  </a:cubicBezTo>
                  <a:lnTo>
                    <a:pt x="8459" y="3253"/>
                  </a:lnTo>
                  <a:cubicBezTo>
                    <a:pt x="8455" y="3243"/>
                    <a:pt x="8452" y="3232"/>
                    <a:pt x="8448" y="3225"/>
                  </a:cubicBezTo>
                  <a:lnTo>
                    <a:pt x="8445" y="3211"/>
                  </a:lnTo>
                  <a:cubicBezTo>
                    <a:pt x="8441" y="3201"/>
                    <a:pt x="8438" y="3190"/>
                    <a:pt x="8434" y="3180"/>
                  </a:cubicBezTo>
                  <a:lnTo>
                    <a:pt x="8427" y="3169"/>
                  </a:lnTo>
                  <a:cubicBezTo>
                    <a:pt x="8424" y="3159"/>
                    <a:pt x="8420" y="3148"/>
                    <a:pt x="8413" y="3138"/>
                  </a:cubicBezTo>
                  <a:cubicBezTo>
                    <a:pt x="8410" y="3127"/>
                    <a:pt x="8410" y="3127"/>
                    <a:pt x="8406" y="3120"/>
                  </a:cubicBezTo>
                  <a:cubicBezTo>
                    <a:pt x="8403" y="3117"/>
                    <a:pt x="8396" y="3103"/>
                    <a:pt x="8392" y="3096"/>
                  </a:cubicBezTo>
                  <a:cubicBezTo>
                    <a:pt x="8385" y="3085"/>
                    <a:pt x="8385" y="3082"/>
                    <a:pt x="8382" y="3078"/>
                  </a:cubicBezTo>
                  <a:cubicBezTo>
                    <a:pt x="8375" y="3071"/>
                    <a:pt x="8371" y="3064"/>
                    <a:pt x="8364" y="3054"/>
                  </a:cubicBezTo>
                  <a:cubicBezTo>
                    <a:pt x="8361" y="3047"/>
                    <a:pt x="8354" y="3043"/>
                    <a:pt x="8350" y="3036"/>
                  </a:cubicBezTo>
                  <a:cubicBezTo>
                    <a:pt x="8343" y="3033"/>
                    <a:pt x="8340" y="3026"/>
                    <a:pt x="8333" y="3019"/>
                  </a:cubicBezTo>
                  <a:cubicBezTo>
                    <a:pt x="8329" y="3012"/>
                    <a:pt x="8322" y="3005"/>
                    <a:pt x="8315" y="3001"/>
                  </a:cubicBezTo>
                  <a:cubicBezTo>
                    <a:pt x="8308" y="2994"/>
                    <a:pt x="8305" y="2991"/>
                    <a:pt x="8298" y="2987"/>
                  </a:cubicBezTo>
                  <a:cubicBezTo>
                    <a:pt x="8284" y="2977"/>
                    <a:pt x="8270" y="2966"/>
                    <a:pt x="8256" y="2959"/>
                  </a:cubicBezTo>
                  <a:cubicBezTo>
                    <a:pt x="8004" y="2812"/>
                    <a:pt x="7671" y="2774"/>
                    <a:pt x="7668" y="2774"/>
                  </a:cubicBezTo>
                  <a:lnTo>
                    <a:pt x="7664" y="2774"/>
                  </a:lnTo>
                  <a:lnTo>
                    <a:pt x="7633" y="2770"/>
                  </a:lnTo>
                  <a:lnTo>
                    <a:pt x="7619" y="2742"/>
                  </a:lnTo>
                  <a:cubicBezTo>
                    <a:pt x="7619" y="2738"/>
                    <a:pt x="7426" y="2399"/>
                    <a:pt x="7282" y="2255"/>
                  </a:cubicBezTo>
                  <a:lnTo>
                    <a:pt x="7272" y="2245"/>
                  </a:lnTo>
                  <a:lnTo>
                    <a:pt x="7261" y="2238"/>
                  </a:lnTo>
                  <a:lnTo>
                    <a:pt x="7251" y="2231"/>
                  </a:lnTo>
                  <a:lnTo>
                    <a:pt x="7233" y="2217"/>
                  </a:lnTo>
                  <a:cubicBezTo>
                    <a:pt x="6915" y="1982"/>
                    <a:pt x="5294" y="901"/>
                    <a:pt x="3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9" name="Google Shape;4199;p53"/>
            <p:cNvSpPr/>
            <p:nvPr/>
          </p:nvSpPr>
          <p:spPr>
            <a:xfrm>
              <a:off x="2072674" y="189959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ubicBezTo>
                    <a:pt x="1" y="4"/>
                    <a:pt x="1" y="11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0" name="Google Shape;4200;p53"/>
            <p:cNvSpPr/>
            <p:nvPr/>
          </p:nvSpPr>
          <p:spPr>
            <a:xfrm>
              <a:off x="2072729" y="1900635"/>
              <a:ext cx="14" cy="1154"/>
            </a:xfrm>
            <a:custGeom>
              <a:avLst/>
              <a:gdLst/>
              <a:ahLst/>
              <a:cxnLst/>
              <a:rect l="l" t="t" r="r" b="b"/>
              <a:pathLst>
                <a:path w="1" h="85" extrusionOk="0">
                  <a:moveTo>
                    <a:pt x="0" y="0"/>
                  </a:move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1" name="Google Shape;4201;p53"/>
            <p:cNvSpPr/>
            <p:nvPr/>
          </p:nvSpPr>
          <p:spPr>
            <a:xfrm>
              <a:off x="2055607" y="188351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2" name="Google Shape;4202;p53"/>
            <p:cNvSpPr/>
            <p:nvPr/>
          </p:nvSpPr>
          <p:spPr>
            <a:xfrm>
              <a:off x="2070298" y="1894172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0"/>
                  </a:moveTo>
                  <a:cubicBezTo>
                    <a:pt x="8" y="7"/>
                    <a:pt x="15" y="11"/>
                    <a:pt x="22" y="18"/>
                  </a:cubicBezTo>
                  <a:cubicBezTo>
                    <a:pt x="15" y="11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3" name="Google Shape;4203;p53"/>
            <p:cNvSpPr/>
            <p:nvPr/>
          </p:nvSpPr>
          <p:spPr>
            <a:xfrm>
              <a:off x="2072104" y="189702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1"/>
                    <a:pt x="1" y="2"/>
                    <a:pt x="2" y="4"/>
                  </a:cubicBezTo>
                  <a:lnTo>
                    <a:pt x="2" y="4"/>
                  </a:lnTo>
                  <a:lnTo>
                    <a:pt x="1" y="0"/>
                  </a:lnTo>
                  <a:close/>
                  <a:moveTo>
                    <a:pt x="2" y="4"/>
                  </a:moveTo>
                  <a:lnTo>
                    <a:pt x="4" y="14"/>
                  </a:lnTo>
                  <a:cubicBezTo>
                    <a:pt x="4" y="9"/>
                    <a:pt x="3" y="6"/>
                    <a:pt x="2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4" name="Google Shape;4204;p53"/>
            <p:cNvSpPr/>
            <p:nvPr/>
          </p:nvSpPr>
          <p:spPr>
            <a:xfrm>
              <a:off x="2056042" y="188379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5" name="Google Shape;4205;p53"/>
            <p:cNvSpPr/>
            <p:nvPr/>
          </p:nvSpPr>
          <p:spPr>
            <a:xfrm>
              <a:off x="2072443" y="189816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6" name="Google Shape;4206;p53"/>
            <p:cNvSpPr/>
            <p:nvPr/>
          </p:nvSpPr>
          <p:spPr>
            <a:xfrm>
              <a:off x="2072633" y="189915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4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7" name="Google Shape;4207;p53"/>
            <p:cNvSpPr/>
            <p:nvPr/>
          </p:nvSpPr>
          <p:spPr>
            <a:xfrm>
              <a:off x="2071588" y="1895829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3"/>
                    <a:pt x="2" y="6"/>
                    <a:pt x="4" y="9"/>
                  </a:cubicBezTo>
                  <a:lnTo>
                    <a:pt x="4" y="9"/>
                  </a:lnTo>
                  <a:cubicBezTo>
                    <a:pt x="3" y="6"/>
                    <a:pt x="2" y="3"/>
                    <a:pt x="0" y="1"/>
                  </a:cubicBezTo>
                  <a:close/>
                  <a:moveTo>
                    <a:pt x="4" y="9"/>
                  </a:moveTo>
                  <a:cubicBezTo>
                    <a:pt x="5" y="11"/>
                    <a:pt x="6" y="13"/>
                    <a:pt x="7" y="15"/>
                  </a:cubicBezTo>
                  <a:cubicBezTo>
                    <a:pt x="6" y="13"/>
                    <a:pt x="5" y="11"/>
                    <a:pt x="4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8" name="Google Shape;4208;p53"/>
            <p:cNvSpPr/>
            <p:nvPr/>
          </p:nvSpPr>
          <p:spPr>
            <a:xfrm>
              <a:off x="2071208" y="189521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4" y="18"/>
                  </a:moveTo>
                  <a:cubicBezTo>
                    <a:pt x="11" y="11"/>
                    <a:pt x="4" y="7"/>
                    <a:pt x="0" y="0"/>
                  </a:cubicBezTo>
                  <a:cubicBezTo>
                    <a:pt x="4" y="7"/>
                    <a:pt x="11" y="11"/>
                    <a:pt x="1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9" name="Google Shape;4209;p53"/>
            <p:cNvSpPr/>
            <p:nvPr/>
          </p:nvSpPr>
          <p:spPr>
            <a:xfrm>
              <a:off x="2072253" y="1897594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0" name="Google Shape;4210;p53"/>
            <p:cNvSpPr/>
            <p:nvPr/>
          </p:nvSpPr>
          <p:spPr>
            <a:xfrm>
              <a:off x="2060848" y="1890642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0" y="1"/>
                  </a:moveTo>
                  <a:lnTo>
                    <a:pt x="18" y="29"/>
                  </a:lnTo>
                  <a:lnTo>
                    <a:pt x="49" y="33"/>
                  </a:lnTo>
                  <a:lnTo>
                    <a:pt x="1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1" name="Google Shape;4211;p53"/>
            <p:cNvSpPr/>
            <p:nvPr/>
          </p:nvSpPr>
          <p:spPr>
            <a:xfrm>
              <a:off x="2072729" y="189991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8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2" name="Google Shape;4212;p53"/>
            <p:cNvSpPr/>
            <p:nvPr/>
          </p:nvSpPr>
          <p:spPr>
            <a:xfrm>
              <a:off x="2073815" y="1900445"/>
              <a:ext cx="5010" cy="1100"/>
            </a:xfrm>
            <a:custGeom>
              <a:avLst/>
              <a:gdLst/>
              <a:ahLst/>
              <a:cxnLst/>
              <a:rect l="l" t="t" r="r" b="b"/>
              <a:pathLst>
                <a:path w="369" h="81" extrusionOk="0">
                  <a:moveTo>
                    <a:pt x="368" y="0"/>
                  </a:moveTo>
                  <a:cubicBezTo>
                    <a:pt x="193" y="35"/>
                    <a:pt x="4" y="81"/>
                    <a:pt x="1" y="81"/>
                  </a:cubicBezTo>
                  <a:cubicBezTo>
                    <a:pt x="4" y="81"/>
                    <a:pt x="193" y="39"/>
                    <a:pt x="3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3" name="Google Shape;4213;p53"/>
            <p:cNvSpPr/>
            <p:nvPr/>
          </p:nvSpPr>
          <p:spPr>
            <a:xfrm>
              <a:off x="2010883" y="1853426"/>
              <a:ext cx="44738" cy="30101"/>
            </a:xfrm>
            <a:custGeom>
              <a:avLst/>
              <a:gdLst/>
              <a:ahLst/>
              <a:cxnLst/>
              <a:rect l="l" t="t" r="r" b="b"/>
              <a:pathLst>
                <a:path w="3295" h="2217" extrusionOk="0">
                  <a:moveTo>
                    <a:pt x="1" y="1"/>
                  </a:moveTo>
                  <a:cubicBezTo>
                    <a:pt x="754" y="501"/>
                    <a:pt x="1590" y="1057"/>
                    <a:pt x="2239" y="1493"/>
                  </a:cubicBezTo>
                  <a:lnTo>
                    <a:pt x="2239" y="1493"/>
                  </a:lnTo>
                  <a:cubicBezTo>
                    <a:pt x="1613" y="1072"/>
                    <a:pt x="800" y="530"/>
                    <a:pt x="1" y="1"/>
                  </a:cubicBezTo>
                  <a:close/>
                  <a:moveTo>
                    <a:pt x="2239" y="1493"/>
                  </a:moveTo>
                  <a:lnTo>
                    <a:pt x="2239" y="1493"/>
                  </a:lnTo>
                  <a:cubicBezTo>
                    <a:pt x="2764" y="1847"/>
                    <a:pt x="3156" y="2115"/>
                    <a:pt x="3295" y="2217"/>
                  </a:cubicBezTo>
                  <a:cubicBezTo>
                    <a:pt x="3155" y="2113"/>
                    <a:pt x="2757" y="1841"/>
                    <a:pt x="2239" y="149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4" name="Google Shape;4214;p53"/>
            <p:cNvSpPr/>
            <p:nvPr/>
          </p:nvSpPr>
          <p:spPr>
            <a:xfrm>
              <a:off x="2069538" y="1893602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43" y="28"/>
                  </a:moveTo>
                  <a:cubicBezTo>
                    <a:pt x="29" y="18"/>
                    <a:pt x="15" y="7"/>
                    <a:pt x="1" y="0"/>
                  </a:cubicBezTo>
                  <a:cubicBezTo>
                    <a:pt x="15" y="7"/>
                    <a:pt x="29" y="18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5" name="Google Shape;4215;p53"/>
            <p:cNvSpPr/>
            <p:nvPr/>
          </p:nvSpPr>
          <p:spPr>
            <a:xfrm>
              <a:off x="2070828" y="1894647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0" y="0"/>
                  </a:moveTo>
                  <a:cubicBezTo>
                    <a:pt x="4" y="11"/>
                    <a:pt x="7" y="14"/>
                    <a:pt x="14" y="21"/>
                  </a:cubicBezTo>
                  <a:cubicBezTo>
                    <a:pt x="7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6" name="Google Shape;4216;p53"/>
            <p:cNvSpPr/>
            <p:nvPr/>
          </p:nvSpPr>
          <p:spPr>
            <a:xfrm>
              <a:off x="2072729" y="1900255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7" name="Google Shape;4217;p53"/>
            <p:cNvSpPr/>
            <p:nvPr/>
          </p:nvSpPr>
          <p:spPr>
            <a:xfrm>
              <a:off x="2072729" y="190048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8" name="Google Shape;4218;p53"/>
            <p:cNvSpPr/>
            <p:nvPr/>
          </p:nvSpPr>
          <p:spPr>
            <a:xfrm>
              <a:off x="2079042" y="1900391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9" name="Google Shape;4219;p53"/>
            <p:cNvSpPr/>
            <p:nvPr/>
          </p:nvSpPr>
          <p:spPr>
            <a:xfrm>
              <a:off x="2072538" y="189868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cubicBezTo>
                    <a:pt x="0" y="4"/>
                    <a:pt x="0" y="11"/>
                    <a:pt x="4" y="15"/>
                  </a:cubicBezTo>
                  <a:cubicBezTo>
                    <a:pt x="4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0" name="Google Shape;4220;p53"/>
            <p:cNvSpPr/>
            <p:nvPr/>
          </p:nvSpPr>
          <p:spPr>
            <a:xfrm>
              <a:off x="2071873" y="189645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1" name="Google Shape;4221;p53"/>
            <p:cNvSpPr/>
            <p:nvPr/>
          </p:nvSpPr>
          <p:spPr>
            <a:xfrm>
              <a:off x="1964013" y="1946120"/>
              <a:ext cx="109" cy="1534"/>
            </a:xfrm>
            <a:custGeom>
              <a:avLst/>
              <a:gdLst/>
              <a:ahLst/>
              <a:cxnLst/>
              <a:rect l="l" t="t" r="r" b="b"/>
              <a:pathLst>
                <a:path w="8" h="113" extrusionOk="0">
                  <a:moveTo>
                    <a:pt x="1" y="0"/>
                  </a:moveTo>
                  <a:cubicBezTo>
                    <a:pt x="4" y="35"/>
                    <a:pt x="8" y="74"/>
                    <a:pt x="8" y="113"/>
                  </a:cubicBezTo>
                  <a:cubicBezTo>
                    <a:pt x="8" y="70"/>
                    <a:pt x="4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2" name="Google Shape;4222;p53"/>
            <p:cNvSpPr/>
            <p:nvPr/>
          </p:nvSpPr>
          <p:spPr>
            <a:xfrm>
              <a:off x="1964013" y="1950872"/>
              <a:ext cx="14" cy="543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3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3" name="Google Shape;4223;p53"/>
            <p:cNvSpPr/>
            <p:nvPr/>
          </p:nvSpPr>
          <p:spPr>
            <a:xfrm>
              <a:off x="1957361" y="1933683"/>
              <a:ext cx="1629" cy="2702"/>
            </a:xfrm>
            <a:custGeom>
              <a:avLst/>
              <a:gdLst/>
              <a:ahLst/>
              <a:cxnLst/>
              <a:rect l="l" t="t" r="r" b="b"/>
              <a:pathLst>
                <a:path w="120" h="199" extrusionOk="0">
                  <a:moveTo>
                    <a:pt x="1" y="0"/>
                  </a:moveTo>
                  <a:cubicBezTo>
                    <a:pt x="4" y="17"/>
                    <a:pt x="11" y="31"/>
                    <a:pt x="11" y="38"/>
                  </a:cubicBezTo>
                  <a:lnTo>
                    <a:pt x="120" y="199"/>
                  </a:lnTo>
                  <a:lnTo>
                    <a:pt x="15" y="38"/>
                  </a:lnTo>
                  <a:cubicBezTo>
                    <a:pt x="11" y="31"/>
                    <a:pt x="4" y="1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4" name="Google Shape;4224;p53"/>
            <p:cNvSpPr/>
            <p:nvPr/>
          </p:nvSpPr>
          <p:spPr>
            <a:xfrm>
              <a:off x="1992866" y="1964748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5" name="Google Shape;4225;p53"/>
            <p:cNvSpPr/>
            <p:nvPr/>
          </p:nvSpPr>
          <p:spPr>
            <a:xfrm>
              <a:off x="1994631" y="19662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6" name="Google Shape;4226;p53"/>
            <p:cNvSpPr/>
            <p:nvPr/>
          </p:nvSpPr>
          <p:spPr>
            <a:xfrm>
              <a:off x="2004325" y="1964843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32" y="1"/>
                  </a:moveTo>
                  <a:cubicBezTo>
                    <a:pt x="22" y="4"/>
                    <a:pt x="11" y="11"/>
                    <a:pt x="1" y="18"/>
                  </a:cubicBezTo>
                  <a:cubicBezTo>
                    <a:pt x="11" y="11"/>
                    <a:pt x="22" y="4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7" name="Google Shape;4227;p53"/>
            <p:cNvSpPr/>
            <p:nvPr/>
          </p:nvSpPr>
          <p:spPr>
            <a:xfrm>
              <a:off x="1988589" y="1966133"/>
              <a:ext cx="733" cy="299"/>
            </a:xfrm>
            <a:custGeom>
              <a:avLst/>
              <a:gdLst/>
              <a:ahLst/>
              <a:cxnLst/>
              <a:rect l="l" t="t" r="r" b="b"/>
              <a:pathLst>
                <a:path w="54" h="22" extrusionOk="0">
                  <a:moveTo>
                    <a:pt x="1" y="0"/>
                  </a:moveTo>
                  <a:lnTo>
                    <a:pt x="11" y="11"/>
                  </a:lnTo>
                  <a:cubicBezTo>
                    <a:pt x="22" y="18"/>
                    <a:pt x="36" y="21"/>
                    <a:pt x="50" y="21"/>
                  </a:cubicBezTo>
                  <a:lnTo>
                    <a:pt x="53" y="21"/>
                  </a:lnTo>
                  <a:cubicBezTo>
                    <a:pt x="32" y="21"/>
                    <a:pt x="15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8" name="Google Shape;4228;p53"/>
            <p:cNvSpPr/>
            <p:nvPr/>
          </p:nvSpPr>
          <p:spPr>
            <a:xfrm>
              <a:off x="1989634" y="1964558"/>
              <a:ext cx="1494" cy="1534"/>
            </a:xfrm>
            <a:custGeom>
              <a:avLst/>
              <a:gdLst/>
              <a:ahLst/>
              <a:cxnLst/>
              <a:rect l="l" t="t" r="r" b="b"/>
              <a:pathLst>
                <a:path w="110" h="113" extrusionOk="0">
                  <a:moveTo>
                    <a:pt x="8" y="99"/>
                  </a:moveTo>
                  <a:cubicBezTo>
                    <a:pt x="8" y="102"/>
                    <a:pt x="4" y="106"/>
                    <a:pt x="1" y="113"/>
                  </a:cubicBezTo>
                  <a:cubicBezTo>
                    <a:pt x="4" y="106"/>
                    <a:pt x="8" y="102"/>
                    <a:pt x="8" y="99"/>
                  </a:cubicBezTo>
                  <a:cubicBezTo>
                    <a:pt x="25" y="53"/>
                    <a:pt x="64" y="15"/>
                    <a:pt x="109" y="1"/>
                  </a:cubicBezTo>
                  <a:cubicBezTo>
                    <a:pt x="64" y="15"/>
                    <a:pt x="25" y="53"/>
                    <a:pt x="8" y="9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9" name="Google Shape;4229;p53"/>
            <p:cNvSpPr/>
            <p:nvPr/>
          </p:nvSpPr>
          <p:spPr>
            <a:xfrm>
              <a:off x="1992390" y="1964612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0" name="Google Shape;4230;p53"/>
            <p:cNvSpPr/>
            <p:nvPr/>
          </p:nvSpPr>
          <p:spPr>
            <a:xfrm>
              <a:off x="1989539" y="196613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1" name="Google Shape;4231;p53"/>
            <p:cNvSpPr/>
            <p:nvPr/>
          </p:nvSpPr>
          <p:spPr>
            <a:xfrm>
              <a:off x="1994196" y="196584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2" name="Google Shape;4232;p53"/>
            <p:cNvSpPr/>
            <p:nvPr/>
          </p:nvSpPr>
          <p:spPr>
            <a:xfrm>
              <a:off x="1993816" y="196546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3" name="Google Shape;4233;p53"/>
            <p:cNvSpPr/>
            <p:nvPr/>
          </p:nvSpPr>
          <p:spPr>
            <a:xfrm>
              <a:off x="1991875" y="196451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4" name="Google Shape;4234;p53"/>
            <p:cNvSpPr/>
            <p:nvPr/>
          </p:nvSpPr>
          <p:spPr>
            <a:xfrm>
              <a:off x="1989349" y="196636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5" name="Google Shape;4235;p53"/>
            <p:cNvSpPr/>
            <p:nvPr/>
          </p:nvSpPr>
          <p:spPr>
            <a:xfrm>
              <a:off x="2003035" y="1965087"/>
              <a:ext cx="1303" cy="720"/>
            </a:xfrm>
            <a:custGeom>
              <a:avLst/>
              <a:gdLst/>
              <a:ahLst/>
              <a:cxnLst/>
              <a:rect l="l" t="t" r="r" b="b"/>
              <a:pathLst>
                <a:path w="96" h="53" extrusionOk="0">
                  <a:moveTo>
                    <a:pt x="96" y="0"/>
                  </a:moveTo>
                  <a:cubicBezTo>
                    <a:pt x="68" y="21"/>
                    <a:pt x="36" y="39"/>
                    <a:pt x="1" y="53"/>
                  </a:cubicBezTo>
                  <a:cubicBezTo>
                    <a:pt x="36" y="39"/>
                    <a:pt x="68" y="21"/>
                    <a:pt x="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6" name="Google Shape;4236;p53"/>
            <p:cNvSpPr/>
            <p:nvPr/>
          </p:nvSpPr>
          <p:spPr>
            <a:xfrm>
              <a:off x="2004800" y="1964463"/>
              <a:ext cx="1494" cy="353"/>
            </a:xfrm>
            <a:custGeom>
              <a:avLst/>
              <a:gdLst/>
              <a:ahLst/>
              <a:cxnLst/>
              <a:rect l="l" t="t" r="r" b="b"/>
              <a:pathLst>
                <a:path w="110" h="26" extrusionOk="0">
                  <a:moveTo>
                    <a:pt x="109" y="1"/>
                  </a:moveTo>
                  <a:lnTo>
                    <a:pt x="109" y="1"/>
                  </a:lnTo>
                  <a:cubicBezTo>
                    <a:pt x="71" y="1"/>
                    <a:pt x="36" y="8"/>
                    <a:pt x="1" y="25"/>
                  </a:cubicBezTo>
                  <a:cubicBezTo>
                    <a:pt x="36" y="8"/>
                    <a:pt x="71" y="1"/>
                    <a:pt x="1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7" name="Google Shape;4237;p53"/>
            <p:cNvSpPr/>
            <p:nvPr/>
          </p:nvSpPr>
          <p:spPr>
            <a:xfrm>
              <a:off x="1993341" y="1965087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8" name="Google Shape;4238;p53"/>
            <p:cNvSpPr/>
            <p:nvPr/>
          </p:nvSpPr>
          <p:spPr>
            <a:xfrm>
              <a:off x="1964068" y="1949446"/>
              <a:ext cx="54" cy="1208"/>
            </a:xfrm>
            <a:custGeom>
              <a:avLst/>
              <a:gdLst/>
              <a:ahLst/>
              <a:cxnLst/>
              <a:rect l="l" t="t" r="r" b="b"/>
              <a:pathLst>
                <a:path w="4" h="89" extrusionOk="0">
                  <a:moveTo>
                    <a:pt x="4" y="1"/>
                  </a:moveTo>
                  <a:lnTo>
                    <a:pt x="0" y="88"/>
                  </a:lnTo>
                  <a:cubicBezTo>
                    <a:pt x="4" y="60"/>
                    <a:pt x="4" y="32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9" name="Google Shape;4239;p53"/>
            <p:cNvSpPr/>
            <p:nvPr/>
          </p:nvSpPr>
          <p:spPr>
            <a:xfrm>
              <a:off x="1987788" y="1965318"/>
              <a:ext cx="815" cy="828"/>
            </a:xfrm>
            <a:custGeom>
              <a:avLst/>
              <a:gdLst/>
              <a:ahLst/>
              <a:cxnLst/>
              <a:rect l="l" t="t" r="r" b="b"/>
              <a:pathLst>
                <a:path w="60" h="61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18"/>
                    <a:pt x="28" y="36"/>
                    <a:pt x="46" y="50"/>
                  </a:cubicBezTo>
                  <a:lnTo>
                    <a:pt x="52" y="55"/>
                  </a:lnTo>
                  <a:lnTo>
                    <a:pt x="52" y="55"/>
                  </a:lnTo>
                  <a:cubicBezTo>
                    <a:pt x="32" y="38"/>
                    <a:pt x="16" y="20"/>
                    <a:pt x="0" y="1"/>
                  </a:cubicBezTo>
                  <a:close/>
                  <a:moveTo>
                    <a:pt x="52" y="55"/>
                  </a:moveTo>
                  <a:lnTo>
                    <a:pt x="52" y="55"/>
                  </a:lnTo>
                  <a:cubicBezTo>
                    <a:pt x="55" y="57"/>
                    <a:pt x="57" y="59"/>
                    <a:pt x="60" y="60"/>
                  </a:cubicBezTo>
                  <a:lnTo>
                    <a:pt x="52" y="5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0" name="Google Shape;4240;p53"/>
            <p:cNvSpPr/>
            <p:nvPr/>
          </p:nvSpPr>
          <p:spPr>
            <a:xfrm>
              <a:off x="1964013" y="1951876"/>
              <a:ext cx="299" cy="869"/>
            </a:xfrm>
            <a:custGeom>
              <a:avLst/>
              <a:gdLst/>
              <a:ahLst/>
              <a:cxnLst/>
              <a:rect l="l" t="t" r="r" b="b"/>
              <a:pathLst>
                <a:path w="22" h="64" extrusionOk="0">
                  <a:moveTo>
                    <a:pt x="1" y="0"/>
                  </a:moveTo>
                  <a:cubicBezTo>
                    <a:pt x="4" y="21"/>
                    <a:pt x="11" y="42"/>
                    <a:pt x="22" y="63"/>
                  </a:cubicBezTo>
                  <a:cubicBezTo>
                    <a:pt x="11" y="42"/>
                    <a:pt x="4" y="2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1" name="Google Shape;4241;p53"/>
            <p:cNvSpPr/>
            <p:nvPr/>
          </p:nvSpPr>
          <p:spPr>
            <a:xfrm>
              <a:off x="1964299" y="1952732"/>
              <a:ext cx="353" cy="679"/>
            </a:xfrm>
            <a:custGeom>
              <a:avLst/>
              <a:gdLst/>
              <a:ahLst/>
              <a:cxnLst/>
              <a:rect l="l" t="t" r="r" b="b"/>
              <a:pathLst>
                <a:path w="26" h="50" extrusionOk="0">
                  <a:moveTo>
                    <a:pt x="25" y="49"/>
                  </a:moveTo>
                  <a:cubicBezTo>
                    <a:pt x="15" y="35"/>
                    <a:pt x="8" y="18"/>
                    <a:pt x="1" y="0"/>
                  </a:cubicBezTo>
                  <a:cubicBezTo>
                    <a:pt x="8" y="18"/>
                    <a:pt x="15" y="35"/>
                    <a:pt x="25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2" name="Google Shape;4242;p53"/>
            <p:cNvSpPr/>
            <p:nvPr/>
          </p:nvSpPr>
          <p:spPr>
            <a:xfrm>
              <a:off x="1988358" y="1965983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8"/>
                    <a:pt x="18" y="15"/>
                    <a:pt x="28" y="22"/>
                  </a:cubicBezTo>
                  <a:lnTo>
                    <a:pt x="18" y="1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3" name="Google Shape;4243;p53"/>
            <p:cNvSpPr/>
            <p:nvPr/>
          </p:nvSpPr>
          <p:spPr>
            <a:xfrm>
              <a:off x="1957415" y="1933479"/>
              <a:ext cx="720" cy="149"/>
            </a:xfrm>
            <a:custGeom>
              <a:avLst/>
              <a:gdLst/>
              <a:ahLst/>
              <a:cxnLst/>
              <a:rect l="l" t="t" r="r" b="b"/>
              <a:pathLst>
                <a:path w="53" h="11" extrusionOk="0">
                  <a:moveTo>
                    <a:pt x="53" y="0"/>
                  </a:moveTo>
                  <a:lnTo>
                    <a:pt x="53" y="0"/>
                  </a:lnTo>
                  <a:cubicBezTo>
                    <a:pt x="35" y="4"/>
                    <a:pt x="18" y="7"/>
                    <a:pt x="0" y="11"/>
                  </a:cubicBezTo>
                  <a:cubicBezTo>
                    <a:pt x="18" y="11"/>
                    <a:pt x="35" y="4"/>
                    <a:pt x="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4" name="Google Shape;4244;p53"/>
            <p:cNvSpPr/>
            <p:nvPr/>
          </p:nvSpPr>
          <p:spPr>
            <a:xfrm>
              <a:off x="1959506" y="1932569"/>
              <a:ext cx="434" cy="353"/>
            </a:xfrm>
            <a:custGeom>
              <a:avLst/>
              <a:gdLst/>
              <a:ahLst/>
              <a:cxnLst/>
              <a:rect l="l" t="t" r="r" b="b"/>
              <a:pathLst>
                <a:path w="32" h="26" extrusionOk="0">
                  <a:moveTo>
                    <a:pt x="0" y="25"/>
                  </a:moveTo>
                  <a:cubicBezTo>
                    <a:pt x="11" y="18"/>
                    <a:pt x="21" y="11"/>
                    <a:pt x="32" y="1"/>
                  </a:cubicBezTo>
                  <a:cubicBezTo>
                    <a:pt x="21" y="11"/>
                    <a:pt x="11" y="18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5" name="Google Shape;4245;p53"/>
            <p:cNvSpPr/>
            <p:nvPr/>
          </p:nvSpPr>
          <p:spPr>
            <a:xfrm>
              <a:off x="1958175" y="1933289"/>
              <a:ext cx="584" cy="204"/>
            </a:xfrm>
            <a:custGeom>
              <a:avLst/>
              <a:gdLst/>
              <a:ahLst/>
              <a:cxnLst/>
              <a:rect l="l" t="t" r="r" b="b"/>
              <a:pathLst>
                <a:path w="43" h="15" extrusionOk="0">
                  <a:moveTo>
                    <a:pt x="0" y="14"/>
                  </a:moveTo>
                  <a:cubicBezTo>
                    <a:pt x="14" y="11"/>
                    <a:pt x="28" y="4"/>
                    <a:pt x="42" y="0"/>
                  </a:cubicBezTo>
                  <a:cubicBezTo>
                    <a:pt x="28" y="4"/>
                    <a:pt x="14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6" name="Google Shape;4246;p53"/>
            <p:cNvSpPr/>
            <p:nvPr/>
          </p:nvSpPr>
          <p:spPr>
            <a:xfrm>
              <a:off x="1958881" y="1932949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1" y="22"/>
                  </a:moveTo>
                  <a:cubicBezTo>
                    <a:pt x="11" y="15"/>
                    <a:pt x="25" y="8"/>
                    <a:pt x="39" y="1"/>
                  </a:cubicBezTo>
                  <a:cubicBezTo>
                    <a:pt x="25" y="8"/>
                    <a:pt x="1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7" name="Google Shape;4247;p53"/>
            <p:cNvSpPr/>
            <p:nvPr/>
          </p:nvSpPr>
          <p:spPr>
            <a:xfrm>
              <a:off x="1959981" y="1932148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0"/>
                  </a:moveTo>
                  <a:cubicBezTo>
                    <a:pt x="18" y="11"/>
                    <a:pt x="7" y="21"/>
                    <a:pt x="0" y="28"/>
                  </a:cubicBezTo>
                  <a:cubicBezTo>
                    <a:pt x="7" y="21"/>
                    <a:pt x="18" y="1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8" name="Google Shape;4248;p53"/>
            <p:cNvSpPr/>
            <p:nvPr/>
          </p:nvSpPr>
          <p:spPr>
            <a:xfrm>
              <a:off x="1960646" y="1931103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39"/>
                  </a:moveTo>
                  <a:cubicBezTo>
                    <a:pt x="7" y="25"/>
                    <a:pt x="11" y="14"/>
                    <a:pt x="14" y="0"/>
                  </a:cubicBezTo>
                  <a:cubicBezTo>
                    <a:pt x="11" y="14"/>
                    <a:pt x="7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9" name="Google Shape;4249;p53"/>
            <p:cNvSpPr/>
            <p:nvPr/>
          </p:nvSpPr>
          <p:spPr>
            <a:xfrm>
              <a:off x="1969051" y="1928673"/>
              <a:ext cx="1398" cy="204"/>
            </a:xfrm>
            <a:custGeom>
              <a:avLst/>
              <a:gdLst/>
              <a:ahLst/>
              <a:cxnLst/>
              <a:rect l="l" t="t" r="r" b="b"/>
              <a:pathLst>
                <a:path w="103" h="15" extrusionOk="0">
                  <a:moveTo>
                    <a:pt x="102" y="15"/>
                  </a:moveTo>
                  <a:cubicBezTo>
                    <a:pt x="71" y="4"/>
                    <a:pt x="36" y="1"/>
                    <a:pt x="1" y="1"/>
                  </a:cubicBezTo>
                  <a:cubicBezTo>
                    <a:pt x="36" y="1"/>
                    <a:pt x="71" y="4"/>
                    <a:pt x="102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0" name="Google Shape;4250;p53"/>
            <p:cNvSpPr/>
            <p:nvPr/>
          </p:nvSpPr>
          <p:spPr>
            <a:xfrm>
              <a:off x="1960836" y="1930438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0" y="42"/>
                  </a:moveTo>
                  <a:cubicBezTo>
                    <a:pt x="4" y="28"/>
                    <a:pt x="4" y="14"/>
                    <a:pt x="4" y="0"/>
                  </a:cubicBezTo>
                  <a:cubicBezTo>
                    <a:pt x="4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1" name="Google Shape;4251;p53"/>
            <p:cNvSpPr/>
            <p:nvPr/>
          </p:nvSpPr>
          <p:spPr>
            <a:xfrm>
              <a:off x="1960361" y="193167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32"/>
                  </a:moveTo>
                  <a:cubicBezTo>
                    <a:pt x="7" y="21"/>
                    <a:pt x="14" y="11"/>
                    <a:pt x="21" y="0"/>
                  </a:cubicBezTo>
                  <a:cubicBezTo>
                    <a:pt x="14" y="11"/>
                    <a:pt x="7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2" name="Google Shape;4252;p53"/>
            <p:cNvSpPr/>
            <p:nvPr/>
          </p:nvSpPr>
          <p:spPr>
            <a:xfrm>
              <a:off x="2008222" y="1930981"/>
              <a:ext cx="58533" cy="39592"/>
            </a:xfrm>
            <a:custGeom>
              <a:avLst/>
              <a:gdLst/>
              <a:ahLst/>
              <a:cxnLst/>
              <a:rect l="l" t="t" r="r" b="b"/>
              <a:pathLst>
                <a:path w="4311" h="2916" extrusionOk="0">
                  <a:moveTo>
                    <a:pt x="2680" y="0"/>
                  </a:moveTo>
                  <a:cubicBezTo>
                    <a:pt x="2668" y="0"/>
                    <a:pt x="2654" y="7"/>
                    <a:pt x="2637" y="16"/>
                  </a:cubicBezTo>
                  <a:cubicBezTo>
                    <a:pt x="2584" y="48"/>
                    <a:pt x="2532" y="83"/>
                    <a:pt x="2486" y="118"/>
                  </a:cubicBezTo>
                  <a:cubicBezTo>
                    <a:pt x="2451" y="142"/>
                    <a:pt x="2416" y="170"/>
                    <a:pt x="2378" y="195"/>
                  </a:cubicBezTo>
                  <a:cubicBezTo>
                    <a:pt x="2273" y="261"/>
                    <a:pt x="2157" y="303"/>
                    <a:pt x="2035" y="321"/>
                  </a:cubicBezTo>
                  <a:cubicBezTo>
                    <a:pt x="2003" y="328"/>
                    <a:pt x="1968" y="335"/>
                    <a:pt x="1937" y="345"/>
                  </a:cubicBezTo>
                  <a:cubicBezTo>
                    <a:pt x="1937" y="401"/>
                    <a:pt x="1909" y="450"/>
                    <a:pt x="1867" y="482"/>
                  </a:cubicBezTo>
                  <a:cubicBezTo>
                    <a:pt x="1825" y="511"/>
                    <a:pt x="1777" y="525"/>
                    <a:pt x="1728" y="525"/>
                  </a:cubicBezTo>
                  <a:cubicBezTo>
                    <a:pt x="1700" y="525"/>
                    <a:pt x="1671" y="520"/>
                    <a:pt x="1642" y="510"/>
                  </a:cubicBezTo>
                  <a:cubicBezTo>
                    <a:pt x="1625" y="506"/>
                    <a:pt x="1607" y="503"/>
                    <a:pt x="1590" y="499"/>
                  </a:cubicBezTo>
                  <a:cubicBezTo>
                    <a:pt x="1579" y="496"/>
                    <a:pt x="1568" y="494"/>
                    <a:pt x="1556" y="494"/>
                  </a:cubicBezTo>
                  <a:cubicBezTo>
                    <a:pt x="1544" y="494"/>
                    <a:pt x="1532" y="496"/>
                    <a:pt x="1520" y="499"/>
                  </a:cubicBezTo>
                  <a:cubicBezTo>
                    <a:pt x="1492" y="527"/>
                    <a:pt x="1474" y="559"/>
                    <a:pt x="1467" y="594"/>
                  </a:cubicBezTo>
                  <a:cubicBezTo>
                    <a:pt x="1446" y="678"/>
                    <a:pt x="1383" y="741"/>
                    <a:pt x="1299" y="762"/>
                  </a:cubicBezTo>
                  <a:cubicBezTo>
                    <a:pt x="1247" y="779"/>
                    <a:pt x="1233" y="783"/>
                    <a:pt x="1226" y="842"/>
                  </a:cubicBezTo>
                  <a:cubicBezTo>
                    <a:pt x="1229" y="902"/>
                    <a:pt x="1198" y="958"/>
                    <a:pt x="1149" y="989"/>
                  </a:cubicBezTo>
                  <a:cubicBezTo>
                    <a:pt x="1129" y="999"/>
                    <a:pt x="1108" y="1003"/>
                    <a:pt x="1086" y="1003"/>
                  </a:cubicBezTo>
                  <a:cubicBezTo>
                    <a:pt x="1011" y="1003"/>
                    <a:pt x="925" y="954"/>
                    <a:pt x="841" y="905"/>
                  </a:cubicBezTo>
                  <a:lnTo>
                    <a:pt x="792" y="881"/>
                  </a:lnTo>
                  <a:cubicBezTo>
                    <a:pt x="760" y="912"/>
                    <a:pt x="722" y="1073"/>
                    <a:pt x="711" y="1231"/>
                  </a:cubicBezTo>
                  <a:lnTo>
                    <a:pt x="711" y="1252"/>
                  </a:lnTo>
                  <a:lnTo>
                    <a:pt x="697" y="1270"/>
                  </a:lnTo>
                  <a:cubicBezTo>
                    <a:pt x="624" y="1364"/>
                    <a:pt x="568" y="1473"/>
                    <a:pt x="529" y="1588"/>
                  </a:cubicBezTo>
                  <a:cubicBezTo>
                    <a:pt x="456" y="1795"/>
                    <a:pt x="253" y="1805"/>
                    <a:pt x="130" y="1812"/>
                  </a:cubicBezTo>
                  <a:cubicBezTo>
                    <a:pt x="113" y="1812"/>
                    <a:pt x="92" y="1812"/>
                    <a:pt x="74" y="1816"/>
                  </a:cubicBezTo>
                  <a:cubicBezTo>
                    <a:pt x="81" y="1844"/>
                    <a:pt x="92" y="1872"/>
                    <a:pt x="99" y="1900"/>
                  </a:cubicBezTo>
                  <a:cubicBezTo>
                    <a:pt x="127" y="1980"/>
                    <a:pt x="158" y="2075"/>
                    <a:pt x="123" y="2145"/>
                  </a:cubicBezTo>
                  <a:cubicBezTo>
                    <a:pt x="120" y="2152"/>
                    <a:pt x="116" y="2159"/>
                    <a:pt x="113" y="2166"/>
                  </a:cubicBezTo>
                  <a:lnTo>
                    <a:pt x="113" y="2169"/>
                  </a:lnTo>
                  <a:lnTo>
                    <a:pt x="102" y="2197"/>
                  </a:lnTo>
                  <a:lnTo>
                    <a:pt x="99" y="2204"/>
                  </a:lnTo>
                  <a:lnTo>
                    <a:pt x="88" y="2236"/>
                  </a:lnTo>
                  <a:lnTo>
                    <a:pt x="85" y="2239"/>
                  </a:lnTo>
                  <a:lnTo>
                    <a:pt x="71" y="2278"/>
                  </a:lnTo>
                  <a:lnTo>
                    <a:pt x="53" y="2323"/>
                  </a:lnTo>
                  <a:lnTo>
                    <a:pt x="53" y="2327"/>
                  </a:lnTo>
                  <a:lnTo>
                    <a:pt x="39" y="2376"/>
                  </a:lnTo>
                  <a:lnTo>
                    <a:pt x="36" y="2383"/>
                  </a:lnTo>
                  <a:lnTo>
                    <a:pt x="18" y="2428"/>
                  </a:lnTo>
                  <a:lnTo>
                    <a:pt x="15" y="2439"/>
                  </a:lnTo>
                  <a:lnTo>
                    <a:pt x="1" y="2488"/>
                  </a:lnTo>
                  <a:cubicBezTo>
                    <a:pt x="74" y="2519"/>
                    <a:pt x="137" y="2568"/>
                    <a:pt x="193" y="2628"/>
                  </a:cubicBezTo>
                  <a:cubicBezTo>
                    <a:pt x="200" y="2635"/>
                    <a:pt x="204" y="2642"/>
                    <a:pt x="211" y="2652"/>
                  </a:cubicBezTo>
                  <a:cubicBezTo>
                    <a:pt x="214" y="2659"/>
                    <a:pt x="221" y="2663"/>
                    <a:pt x="225" y="2670"/>
                  </a:cubicBezTo>
                  <a:lnTo>
                    <a:pt x="228" y="2673"/>
                  </a:lnTo>
                  <a:cubicBezTo>
                    <a:pt x="253" y="2708"/>
                    <a:pt x="281" y="2743"/>
                    <a:pt x="309" y="2771"/>
                  </a:cubicBezTo>
                  <a:cubicBezTo>
                    <a:pt x="351" y="2813"/>
                    <a:pt x="400" y="2848"/>
                    <a:pt x="449" y="2880"/>
                  </a:cubicBezTo>
                  <a:cubicBezTo>
                    <a:pt x="463" y="2890"/>
                    <a:pt x="480" y="2897"/>
                    <a:pt x="498" y="2904"/>
                  </a:cubicBezTo>
                  <a:cubicBezTo>
                    <a:pt x="512" y="2908"/>
                    <a:pt x="526" y="2911"/>
                    <a:pt x="540" y="2915"/>
                  </a:cubicBezTo>
                  <a:cubicBezTo>
                    <a:pt x="543" y="2915"/>
                    <a:pt x="546" y="2916"/>
                    <a:pt x="549" y="2916"/>
                  </a:cubicBezTo>
                  <a:cubicBezTo>
                    <a:pt x="570" y="2916"/>
                    <a:pt x="591" y="2906"/>
                    <a:pt x="606" y="2890"/>
                  </a:cubicBezTo>
                  <a:cubicBezTo>
                    <a:pt x="708" y="2778"/>
                    <a:pt x="900" y="2733"/>
                    <a:pt x="1047" y="2729"/>
                  </a:cubicBezTo>
                  <a:lnTo>
                    <a:pt x="1075" y="2729"/>
                  </a:lnTo>
                  <a:cubicBezTo>
                    <a:pt x="1149" y="2729"/>
                    <a:pt x="1278" y="2740"/>
                    <a:pt x="1345" y="2806"/>
                  </a:cubicBezTo>
                  <a:cubicBezTo>
                    <a:pt x="1359" y="2824"/>
                    <a:pt x="1376" y="2834"/>
                    <a:pt x="1397" y="2841"/>
                  </a:cubicBezTo>
                  <a:cubicBezTo>
                    <a:pt x="1404" y="2827"/>
                    <a:pt x="1411" y="2813"/>
                    <a:pt x="1415" y="2796"/>
                  </a:cubicBezTo>
                  <a:cubicBezTo>
                    <a:pt x="1408" y="2743"/>
                    <a:pt x="1394" y="2687"/>
                    <a:pt x="1376" y="2638"/>
                  </a:cubicBezTo>
                  <a:lnTo>
                    <a:pt x="1369" y="2614"/>
                  </a:lnTo>
                  <a:cubicBezTo>
                    <a:pt x="1310" y="2425"/>
                    <a:pt x="1275" y="2299"/>
                    <a:pt x="1327" y="2222"/>
                  </a:cubicBezTo>
                  <a:lnTo>
                    <a:pt x="1331" y="2218"/>
                  </a:lnTo>
                  <a:cubicBezTo>
                    <a:pt x="1350" y="2190"/>
                    <a:pt x="1402" y="2139"/>
                    <a:pt x="1843" y="2139"/>
                  </a:cubicBezTo>
                  <a:cubicBezTo>
                    <a:pt x="1894" y="2139"/>
                    <a:pt x="1949" y="2140"/>
                    <a:pt x="2010" y="2141"/>
                  </a:cubicBezTo>
                  <a:cubicBezTo>
                    <a:pt x="2224" y="2141"/>
                    <a:pt x="2437" y="2155"/>
                    <a:pt x="2651" y="2190"/>
                  </a:cubicBezTo>
                  <a:lnTo>
                    <a:pt x="2654" y="2190"/>
                  </a:lnTo>
                  <a:lnTo>
                    <a:pt x="2682" y="2194"/>
                  </a:lnTo>
                  <a:lnTo>
                    <a:pt x="2689" y="2194"/>
                  </a:lnTo>
                  <a:lnTo>
                    <a:pt x="2710" y="2201"/>
                  </a:lnTo>
                  <a:lnTo>
                    <a:pt x="2717" y="2201"/>
                  </a:lnTo>
                  <a:lnTo>
                    <a:pt x="2735" y="2204"/>
                  </a:lnTo>
                  <a:lnTo>
                    <a:pt x="2745" y="2208"/>
                  </a:lnTo>
                  <a:lnTo>
                    <a:pt x="2756" y="2215"/>
                  </a:lnTo>
                  <a:cubicBezTo>
                    <a:pt x="2773" y="2176"/>
                    <a:pt x="2798" y="2145"/>
                    <a:pt x="2829" y="2117"/>
                  </a:cubicBezTo>
                  <a:lnTo>
                    <a:pt x="2829" y="2113"/>
                  </a:lnTo>
                  <a:lnTo>
                    <a:pt x="2850" y="2103"/>
                  </a:lnTo>
                  <a:cubicBezTo>
                    <a:pt x="2864" y="2092"/>
                    <a:pt x="2878" y="2085"/>
                    <a:pt x="2896" y="2082"/>
                  </a:cubicBezTo>
                  <a:lnTo>
                    <a:pt x="2948" y="2057"/>
                  </a:lnTo>
                  <a:lnTo>
                    <a:pt x="2952" y="2075"/>
                  </a:lnTo>
                  <a:lnTo>
                    <a:pt x="2983" y="2075"/>
                  </a:lnTo>
                  <a:cubicBezTo>
                    <a:pt x="3043" y="2082"/>
                    <a:pt x="3109" y="2096"/>
                    <a:pt x="3176" y="2110"/>
                  </a:cubicBezTo>
                  <a:cubicBezTo>
                    <a:pt x="3246" y="2124"/>
                    <a:pt x="3312" y="2134"/>
                    <a:pt x="3382" y="2141"/>
                  </a:cubicBezTo>
                  <a:cubicBezTo>
                    <a:pt x="3391" y="2143"/>
                    <a:pt x="3399" y="2144"/>
                    <a:pt x="3407" y="2144"/>
                  </a:cubicBezTo>
                  <a:cubicBezTo>
                    <a:pt x="3415" y="2144"/>
                    <a:pt x="3423" y="2143"/>
                    <a:pt x="3431" y="2141"/>
                  </a:cubicBezTo>
                  <a:lnTo>
                    <a:pt x="3442" y="2141"/>
                  </a:lnTo>
                  <a:cubicBezTo>
                    <a:pt x="3480" y="2124"/>
                    <a:pt x="3512" y="2099"/>
                    <a:pt x="3540" y="2071"/>
                  </a:cubicBezTo>
                  <a:lnTo>
                    <a:pt x="3554" y="2057"/>
                  </a:lnTo>
                  <a:cubicBezTo>
                    <a:pt x="3624" y="1994"/>
                    <a:pt x="3690" y="1928"/>
                    <a:pt x="3771" y="1928"/>
                  </a:cubicBezTo>
                  <a:cubicBezTo>
                    <a:pt x="3950" y="1928"/>
                    <a:pt x="4142" y="1896"/>
                    <a:pt x="4174" y="1858"/>
                  </a:cubicBezTo>
                  <a:cubicBezTo>
                    <a:pt x="4198" y="1826"/>
                    <a:pt x="4226" y="1802"/>
                    <a:pt x="4261" y="1781"/>
                  </a:cubicBezTo>
                  <a:lnTo>
                    <a:pt x="4275" y="1770"/>
                  </a:lnTo>
                  <a:lnTo>
                    <a:pt x="4279" y="1767"/>
                  </a:lnTo>
                  <a:lnTo>
                    <a:pt x="4289" y="1763"/>
                  </a:lnTo>
                  <a:lnTo>
                    <a:pt x="4293" y="1760"/>
                  </a:lnTo>
                  <a:lnTo>
                    <a:pt x="4296" y="1753"/>
                  </a:lnTo>
                  <a:lnTo>
                    <a:pt x="4300" y="1753"/>
                  </a:lnTo>
                  <a:lnTo>
                    <a:pt x="4303" y="1746"/>
                  </a:lnTo>
                  <a:lnTo>
                    <a:pt x="4303" y="1742"/>
                  </a:lnTo>
                  <a:lnTo>
                    <a:pt x="4303" y="1739"/>
                  </a:lnTo>
                  <a:lnTo>
                    <a:pt x="4303" y="1735"/>
                  </a:lnTo>
                  <a:cubicBezTo>
                    <a:pt x="4303" y="1735"/>
                    <a:pt x="4303" y="1732"/>
                    <a:pt x="4303" y="1732"/>
                  </a:cubicBezTo>
                  <a:lnTo>
                    <a:pt x="4303" y="1728"/>
                  </a:lnTo>
                  <a:cubicBezTo>
                    <a:pt x="4303" y="1725"/>
                    <a:pt x="4303" y="1721"/>
                    <a:pt x="4303" y="1721"/>
                  </a:cubicBezTo>
                  <a:lnTo>
                    <a:pt x="4310" y="1718"/>
                  </a:lnTo>
                  <a:lnTo>
                    <a:pt x="4296" y="1711"/>
                  </a:lnTo>
                  <a:lnTo>
                    <a:pt x="4282" y="1700"/>
                  </a:lnTo>
                  <a:lnTo>
                    <a:pt x="4272" y="1693"/>
                  </a:lnTo>
                  <a:lnTo>
                    <a:pt x="4258" y="1686"/>
                  </a:lnTo>
                  <a:lnTo>
                    <a:pt x="4247" y="1679"/>
                  </a:lnTo>
                  <a:lnTo>
                    <a:pt x="4230" y="1672"/>
                  </a:lnTo>
                  <a:lnTo>
                    <a:pt x="4223" y="1669"/>
                  </a:lnTo>
                  <a:lnTo>
                    <a:pt x="4209" y="1665"/>
                  </a:lnTo>
                  <a:lnTo>
                    <a:pt x="4198" y="1662"/>
                  </a:lnTo>
                  <a:lnTo>
                    <a:pt x="4184" y="1658"/>
                  </a:lnTo>
                  <a:lnTo>
                    <a:pt x="4181" y="1658"/>
                  </a:lnTo>
                  <a:lnTo>
                    <a:pt x="4167" y="1655"/>
                  </a:lnTo>
                  <a:lnTo>
                    <a:pt x="4153" y="1655"/>
                  </a:lnTo>
                  <a:cubicBezTo>
                    <a:pt x="4132" y="1655"/>
                    <a:pt x="4111" y="1648"/>
                    <a:pt x="4097" y="1634"/>
                  </a:cubicBezTo>
                  <a:cubicBezTo>
                    <a:pt x="4062" y="1595"/>
                    <a:pt x="4058" y="1529"/>
                    <a:pt x="4062" y="1413"/>
                  </a:cubicBezTo>
                  <a:lnTo>
                    <a:pt x="4062" y="1354"/>
                  </a:lnTo>
                  <a:lnTo>
                    <a:pt x="4044" y="1361"/>
                  </a:lnTo>
                  <a:cubicBezTo>
                    <a:pt x="4000" y="1375"/>
                    <a:pt x="3942" y="1393"/>
                    <a:pt x="3886" y="1393"/>
                  </a:cubicBezTo>
                  <a:cubicBezTo>
                    <a:pt x="3862" y="1393"/>
                    <a:pt x="3839" y="1390"/>
                    <a:pt x="3817" y="1382"/>
                  </a:cubicBezTo>
                  <a:cubicBezTo>
                    <a:pt x="3757" y="1354"/>
                    <a:pt x="3708" y="1312"/>
                    <a:pt x="3676" y="1256"/>
                  </a:cubicBezTo>
                  <a:cubicBezTo>
                    <a:pt x="3662" y="1235"/>
                    <a:pt x="3631" y="1192"/>
                    <a:pt x="3620" y="1192"/>
                  </a:cubicBezTo>
                  <a:cubicBezTo>
                    <a:pt x="3456" y="1192"/>
                    <a:pt x="3456" y="996"/>
                    <a:pt x="3456" y="919"/>
                  </a:cubicBezTo>
                  <a:cubicBezTo>
                    <a:pt x="3456" y="846"/>
                    <a:pt x="3323" y="751"/>
                    <a:pt x="3249" y="699"/>
                  </a:cubicBezTo>
                  <a:lnTo>
                    <a:pt x="3228" y="681"/>
                  </a:lnTo>
                  <a:cubicBezTo>
                    <a:pt x="3162" y="632"/>
                    <a:pt x="3127" y="541"/>
                    <a:pt x="3095" y="464"/>
                  </a:cubicBezTo>
                  <a:cubicBezTo>
                    <a:pt x="3085" y="429"/>
                    <a:pt x="3071" y="398"/>
                    <a:pt x="3050" y="370"/>
                  </a:cubicBezTo>
                  <a:lnTo>
                    <a:pt x="3043" y="363"/>
                  </a:lnTo>
                  <a:lnTo>
                    <a:pt x="3039" y="363"/>
                  </a:lnTo>
                  <a:lnTo>
                    <a:pt x="3036" y="359"/>
                  </a:lnTo>
                  <a:lnTo>
                    <a:pt x="3032" y="356"/>
                  </a:lnTo>
                  <a:lnTo>
                    <a:pt x="3029" y="349"/>
                  </a:lnTo>
                  <a:lnTo>
                    <a:pt x="3025" y="345"/>
                  </a:lnTo>
                  <a:lnTo>
                    <a:pt x="3022" y="342"/>
                  </a:lnTo>
                  <a:lnTo>
                    <a:pt x="3018" y="335"/>
                  </a:lnTo>
                  <a:lnTo>
                    <a:pt x="3015" y="331"/>
                  </a:lnTo>
                  <a:lnTo>
                    <a:pt x="3011" y="324"/>
                  </a:lnTo>
                  <a:lnTo>
                    <a:pt x="3011" y="317"/>
                  </a:lnTo>
                  <a:lnTo>
                    <a:pt x="3011" y="310"/>
                  </a:lnTo>
                  <a:lnTo>
                    <a:pt x="3011" y="303"/>
                  </a:lnTo>
                  <a:lnTo>
                    <a:pt x="3011" y="296"/>
                  </a:lnTo>
                  <a:lnTo>
                    <a:pt x="3011" y="286"/>
                  </a:lnTo>
                  <a:lnTo>
                    <a:pt x="3011" y="279"/>
                  </a:lnTo>
                  <a:lnTo>
                    <a:pt x="3011" y="265"/>
                  </a:lnTo>
                  <a:lnTo>
                    <a:pt x="3011" y="247"/>
                  </a:lnTo>
                  <a:lnTo>
                    <a:pt x="3011" y="233"/>
                  </a:lnTo>
                  <a:lnTo>
                    <a:pt x="3011" y="223"/>
                  </a:lnTo>
                  <a:lnTo>
                    <a:pt x="3011" y="209"/>
                  </a:lnTo>
                  <a:lnTo>
                    <a:pt x="3011" y="195"/>
                  </a:lnTo>
                  <a:lnTo>
                    <a:pt x="3011" y="181"/>
                  </a:lnTo>
                  <a:lnTo>
                    <a:pt x="3011" y="163"/>
                  </a:lnTo>
                  <a:lnTo>
                    <a:pt x="3011" y="146"/>
                  </a:lnTo>
                  <a:lnTo>
                    <a:pt x="3011" y="128"/>
                  </a:lnTo>
                  <a:lnTo>
                    <a:pt x="3011" y="111"/>
                  </a:lnTo>
                  <a:lnTo>
                    <a:pt x="3011" y="93"/>
                  </a:lnTo>
                  <a:lnTo>
                    <a:pt x="3011" y="86"/>
                  </a:lnTo>
                  <a:cubicBezTo>
                    <a:pt x="2763" y="72"/>
                    <a:pt x="2714" y="27"/>
                    <a:pt x="2700" y="9"/>
                  </a:cubicBezTo>
                  <a:cubicBezTo>
                    <a:pt x="2693" y="3"/>
                    <a:pt x="2687" y="0"/>
                    <a:pt x="26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3" name="Google Shape;4253;p53"/>
            <p:cNvSpPr/>
            <p:nvPr/>
          </p:nvSpPr>
          <p:spPr>
            <a:xfrm>
              <a:off x="2054236" y="1960186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0" y="1"/>
                  </a:moveTo>
                  <a:lnTo>
                    <a:pt x="21" y="1"/>
                  </a:lnTo>
                  <a:cubicBezTo>
                    <a:pt x="32" y="1"/>
                    <a:pt x="39" y="1"/>
                    <a:pt x="49" y="1"/>
                  </a:cubicBezTo>
                  <a:cubicBezTo>
                    <a:pt x="32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4" name="Google Shape;4254;p53"/>
            <p:cNvSpPr/>
            <p:nvPr/>
          </p:nvSpPr>
          <p:spPr>
            <a:xfrm>
              <a:off x="2066782" y="195438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cubicBezTo>
                    <a:pt x="4" y="1"/>
                    <a:pt x="4" y="4"/>
                    <a:pt x="1" y="8"/>
                  </a:cubicBezTo>
                  <a:cubicBezTo>
                    <a:pt x="4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5" name="Google Shape;4255;p53"/>
            <p:cNvSpPr/>
            <p:nvPr/>
          </p:nvSpPr>
          <p:spPr>
            <a:xfrm>
              <a:off x="2066782" y="1954673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6" name="Google Shape;4256;p53"/>
            <p:cNvSpPr/>
            <p:nvPr/>
          </p:nvSpPr>
          <p:spPr>
            <a:xfrm>
              <a:off x="2066836" y="195453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cubicBezTo>
                    <a:pt x="0" y="4"/>
                    <a:pt x="0" y="4"/>
                    <a:pt x="0" y="7"/>
                  </a:cubicBezTo>
                  <a:cubicBezTo>
                    <a:pt x="0" y="4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7" name="Google Shape;4257;p53"/>
            <p:cNvSpPr/>
            <p:nvPr/>
          </p:nvSpPr>
          <p:spPr>
            <a:xfrm>
              <a:off x="2066591" y="195486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8" name="Google Shape;4258;p53"/>
            <p:cNvSpPr/>
            <p:nvPr/>
          </p:nvSpPr>
          <p:spPr>
            <a:xfrm>
              <a:off x="2066401" y="195495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9" name="Google Shape;4259;p53"/>
            <p:cNvSpPr/>
            <p:nvPr/>
          </p:nvSpPr>
          <p:spPr>
            <a:xfrm>
              <a:off x="2066687" y="195476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0" name="Google Shape;4260;p53"/>
            <p:cNvSpPr/>
            <p:nvPr/>
          </p:nvSpPr>
          <p:spPr>
            <a:xfrm>
              <a:off x="2055037" y="19601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1" name="Google Shape;4261;p53"/>
            <p:cNvSpPr/>
            <p:nvPr/>
          </p:nvSpPr>
          <p:spPr>
            <a:xfrm>
              <a:off x="2066171" y="1955108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2" name="Google Shape;4262;p53"/>
            <p:cNvSpPr/>
            <p:nvPr/>
          </p:nvSpPr>
          <p:spPr>
            <a:xfrm>
              <a:off x="2051439" y="1959711"/>
              <a:ext cx="2811" cy="489"/>
            </a:xfrm>
            <a:custGeom>
              <a:avLst/>
              <a:gdLst/>
              <a:ahLst/>
              <a:cxnLst/>
              <a:rect l="l" t="t" r="r" b="b"/>
              <a:pathLst>
                <a:path w="207" h="36" extrusionOk="0">
                  <a:moveTo>
                    <a:pt x="0" y="1"/>
                  </a:moveTo>
                  <a:lnTo>
                    <a:pt x="0" y="1"/>
                  </a:lnTo>
                  <a:cubicBezTo>
                    <a:pt x="59" y="13"/>
                    <a:pt x="115" y="26"/>
                    <a:pt x="164" y="31"/>
                  </a:cubicBezTo>
                  <a:lnTo>
                    <a:pt x="164" y="31"/>
                  </a:lnTo>
                  <a:cubicBezTo>
                    <a:pt x="108" y="23"/>
                    <a:pt x="53" y="12"/>
                    <a:pt x="0" y="1"/>
                  </a:cubicBezTo>
                  <a:close/>
                  <a:moveTo>
                    <a:pt x="164" y="31"/>
                  </a:moveTo>
                  <a:cubicBezTo>
                    <a:pt x="178" y="33"/>
                    <a:pt x="192" y="34"/>
                    <a:pt x="206" y="36"/>
                  </a:cubicBezTo>
                  <a:lnTo>
                    <a:pt x="206" y="32"/>
                  </a:lnTo>
                  <a:lnTo>
                    <a:pt x="182" y="32"/>
                  </a:lnTo>
                  <a:cubicBezTo>
                    <a:pt x="176" y="32"/>
                    <a:pt x="170" y="31"/>
                    <a:pt x="164" y="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3" name="Google Shape;4263;p53"/>
            <p:cNvSpPr/>
            <p:nvPr/>
          </p:nvSpPr>
          <p:spPr>
            <a:xfrm>
              <a:off x="2046633" y="1959575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0"/>
                  </a:moveTo>
                  <a:lnTo>
                    <a:pt x="0" y="11"/>
                  </a:lnTo>
                  <a:lnTo>
                    <a:pt x="0" y="18"/>
                  </a:lnTo>
                  <a:cubicBezTo>
                    <a:pt x="7" y="11"/>
                    <a:pt x="14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4" name="Google Shape;4264;p53"/>
            <p:cNvSpPr/>
            <p:nvPr/>
          </p:nvSpPr>
          <p:spPr>
            <a:xfrm>
              <a:off x="2048343" y="19591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5" name="Google Shape;4265;p53"/>
            <p:cNvSpPr/>
            <p:nvPr/>
          </p:nvSpPr>
          <p:spPr>
            <a:xfrm>
              <a:off x="2053856" y="1960186"/>
              <a:ext cx="625" cy="14"/>
            </a:xfrm>
            <a:custGeom>
              <a:avLst/>
              <a:gdLst/>
              <a:ahLst/>
              <a:cxnLst/>
              <a:rect l="l" t="t" r="r" b="b"/>
              <a:pathLst>
                <a:path w="46" h="1" extrusionOk="0">
                  <a:moveTo>
                    <a:pt x="25" y="1"/>
                  </a:moveTo>
                  <a:lnTo>
                    <a:pt x="0" y="1"/>
                  </a:lnTo>
                  <a:cubicBezTo>
                    <a:pt x="14" y="1"/>
                    <a:pt x="32" y="1"/>
                    <a:pt x="46" y="1"/>
                  </a:cubicBez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6" name="Google Shape;4266;p53"/>
            <p:cNvSpPr/>
            <p:nvPr/>
          </p:nvSpPr>
          <p:spPr>
            <a:xfrm>
              <a:off x="2011263" y="1967273"/>
              <a:ext cx="1208" cy="1385"/>
            </a:xfrm>
            <a:custGeom>
              <a:avLst/>
              <a:gdLst/>
              <a:ahLst/>
              <a:cxnLst/>
              <a:rect l="l" t="t" r="r" b="b"/>
              <a:pathLst>
                <a:path w="89" h="102" extrusionOk="0">
                  <a:moveTo>
                    <a:pt x="88" y="102"/>
                  </a:moveTo>
                  <a:cubicBezTo>
                    <a:pt x="57" y="74"/>
                    <a:pt x="29" y="39"/>
                    <a:pt x="4" y="4"/>
                  </a:cubicBezTo>
                  <a:lnTo>
                    <a:pt x="1" y="0"/>
                  </a:lnTo>
                  <a:lnTo>
                    <a:pt x="4" y="4"/>
                  </a:lnTo>
                  <a:cubicBezTo>
                    <a:pt x="29" y="39"/>
                    <a:pt x="57" y="74"/>
                    <a:pt x="88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7" name="Google Shape;4267;p53"/>
            <p:cNvSpPr/>
            <p:nvPr/>
          </p:nvSpPr>
          <p:spPr>
            <a:xfrm>
              <a:off x="2008086" y="1964748"/>
              <a:ext cx="2770" cy="1914"/>
            </a:xfrm>
            <a:custGeom>
              <a:avLst/>
              <a:gdLst/>
              <a:ahLst/>
              <a:cxnLst/>
              <a:rect l="l" t="t" r="r" b="b"/>
              <a:pathLst>
                <a:path w="204" h="141" extrusionOk="0">
                  <a:moveTo>
                    <a:pt x="203" y="141"/>
                  </a:moveTo>
                  <a:cubicBezTo>
                    <a:pt x="147" y="78"/>
                    <a:pt x="77" y="29"/>
                    <a:pt x="0" y="1"/>
                  </a:cubicBezTo>
                  <a:lnTo>
                    <a:pt x="0" y="1"/>
                  </a:lnTo>
                  <a:cubicBezTo>
                    <a:pt x="77" y="29"/>
                    <a:pt x="147" y="78"/>
                    <a:pt x="203" y="1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8" name="Google Shape;4268;p53"/>
            <p:cNvSpPr/>
            <p:nvPr/>
          </p:nvSpPr>
          <p:spPr>
            <a:xfrm>
              <a:off x="2022818" y="1968074"/>
              <a:ext cx="3720" cy="1059"/>
            </a:xfrm>
            <a:custGeom>
              <a:avLst/>
              <a:gdLst/>
              <a:ahLst/>
              <a:cxnLst/>
              <a:rect l="l" t="t" r="r" b="b"/>
              <a:pathLst>
                <a:path w="274" h="78" extrusionOk="0">
                  <a:moveTo>
                    <a:pt x="0" y="1"/>
                  </a:moveTo>
                  <a:cubicBezTo>
                    <a:pt x="77" y="1"/>
                    <a:pt x="207" y="11"/>
                    <a:pt x="273" y="78"/>
                  </a:cubicBezTo>
                  <a:cubicBezTo>
                    <a:pt x="207" y="11"/>
                    <a:pt x="8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9" name="Google Shape;4269;p53"/>
            <p:cNvSpPr/>
            <p:nvPr/>
          </p:nvSpPr>
          <p:spPr>
            <a:xfrm>
              <a:off x="2026524" y="1969120"/>
              <a:ext cx="679" cy="489"/>
            </a:xfrm>
            <a:custGeom>
              <a:avLst/>
              <a:gdLst/>
              <a:ahLst/>
              <a:cxnLst/>
              <a:rect l="l" t="t" r="r" b="b"/>
              <a:pathLst>
                <a:path w="50" h="36" extrusionOk="0">
                  <a:moveTo>
                    <a:pt x="0" y="1"/>
                  </a:moveTo>
                  <a:cubicBezTo>
                    <a:pt x="14" y="18"/>
                    <a:pt x="32" y="29"/>
                    <a:pt x="49" y="36"/>
                  </a:cubicBezTo>
                  <a:cubicBezTo>
                    <a:pt x="32" y="29"/>
                    <a:pt x="1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0" name="Google Shape;4270;p53"/>
            <p:cNvSpPr/>
            <p:nvPr/>
          </p:nvSpPr>
          <p:spPr>
            <a:xfrm>
              <a:off x="2010842" y="1966703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0"/>
                  </a:moveTo>
                  <a:lnTo>
                    <a:pt x="0" y="0"/>
                  </a:lnTo>
                  <a:cubicBezTo>
                    <a:pt x="7" y="7"/>
                    <a:pt x="11" y="14"/>
                    <a:pt x="18" y="21"/>
                  </a:cubicBezTo>
                  <a:cubicBezTo>
                    <a:pt x="14" y="14"/>
                    <a:pt x="7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1" name="Google Shape;4271;p53"/>
            <p:cNvSpPr/>
            <p:nvPr/>
          </p:nvSpPr>
          <p:spPr>
            <a:xfrm>
              <a:off x="2045397" y="1961001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2" name="Google Shape;4272;p53"/>
            <p:cNvSpPr/>
            <p:nvPr/>
          </p:nvSpPr>
          <p:spPr>
            <a:xfrm>
              <a:off x="2045058" y="196090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3" name="Google Shape;4273;p53"/>
            <p:cNvSpPr/>
            <p:nvPr/>
          </p:nvSpPr>
          <p:spPr>
            <a:xfrm>
              <a:off x="2044677" y="196081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4" name="Google Shape;4274;p53"/>
            <p:cNvSpPr/>
            <p:nvPr/>
          </p:nvSpPr>
          <p:spPr>
            <a:xfrm>
              <a:off x="2027190" y="1968984"/>
              <a:ext cx="244" cy="625"/>
            </a:xfrm>
            <a:custGeom>
              <a:avLst/>
              <a:gdLst/>
              <a:ahLst/>
              <a:cxnLst/>
              <a:rect l="l" t="t" r="r" b="b"/>
              <a:pathLst>
                <a:path w="18" h="46" extrusionOk="0">
                  <a:moveTo>
                    <a:pt x="18" y="0"/>
                  </a:moveTo>
                  <a:cubicBezTo>
                    <a:pt x="18" y="8"/>
                    <a:pt x="16" y="16"/>
                    <a:pt x="13" y="25"/>
                  </a:cubicBezTo>
                  <a:lnTo>
                    <a:pt x="13" y="25"/>
                  </a:lnTo>
                  <a:cubicBezTo>
                    <a:pt x="16" y="17"/>
                    <a:pt x="18" y="9"/>
                    <a:pt x="18" y="0"/>
                  </a:cubicBezTo>
                  <a:close/>
                  <a:moveTo>
                    <a:pt x="13" y="25"/>
                  </a:moveTo>
                  <a:cubicBezTo>
                    <a:pt x="10" y="32"/>
                    <a:pt x="6" y="39"/>
                    <a:pt x="0" y="46"/>
                  </a:cubicBezTo>
                  <a:lnTo>
                    <a:pt x="4" y="46"/>
                  </a:lnTo>
                  <a:cubicBezTo>
                    <a:pt x="7" y="39"/>
                    <a:pt x="11" y="32"/>
                    <a:pt x="13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5" name="Google Shape;4275;p53"/>
            <p:cNvSpPr/>
            <p:nvPr/>
          </p:nvSpPr>
          <p:spPr>
            <a:xfrm>
              <a:off x="2026280" y="1960023"/>
              <a:ext cx="9287" cy="1086"/>
            </a:xfrm>
            <a:custGeom>
              <a:avLst/>
              <a:gdLst/>
              <a:ahLst/>
              <a:cxnLst/>
              <a:rect l="l" t="t" r="r" b="b"/>
              <a:pathLst>
                <a:path w="684" h="80" extrusionOk="0">
                  <a:moveTo>
                    <a:pt x="517" y="0"/>
                  </a:moveTo>
                  <a:cubicBezTo>
                    <a:pt x="517" y="0"/>
                    <a:pt x="517" y="0"/>
                    <a:pt x="516" y="0"/>
                  </a:cubicBezTo>
                  <a:lnTo>
                    <a:pt x="516" y="0"/>
                  </a:lnTo>
                  <a:cubicBezTo>
                    <a:pt x="567" y="0"/>
                    <a:pt x="622" y="1"/>
                    <a:pt x="684" y="2"/>
                  </a:cubicBezTo>
                  <a:cubicBezTo>
                    <a:pt x="623" y="1"/>
                    <a:pt x="567" y="0"/>
                    <a:pt x="517" y="0"/>
                  </a:cubicBezTo>
                  <a:close/>
                  <a:moveTo>
                    <a:pt x="516" y="0"/>
                  </a:moveTo>
                  <a:cubicBezTo>
                    <a:pt x="73" y="0"/>
                    <a:pt x="23" y="51"/>
                    <a:pt x="1" y="79"/>
                  </a:cubicBezTo>
                  <a:cubicBezTo>
                    <a:pt x="23" y="51"/>
                    <a:pt x="76" y="0"/>
                    <a:pt x="516" y="0"/>
                  </a:cubicBezTo>
                  <a:lnTo>
                    <a:pt x="516" y="0"/>
                  </a:lnTo>
                  <a:cubicBezTo>
                    <a:pt x="516" y="0"/>
                    <a:pt x="516" y="0"/>
                    <a:pt x="5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6" name="Google Shape;4276;p53"/>
            <p:cNvSpPr/>
            <p:nvPr/>
          </p:nvSpPr>
          <p:spPr>
            <a:xfrm>
              <a:off x="2047583" y="1958950"/>
              <a:ext cx="774" cy="353"/>
            </a:xfrm>
            <a:custGeom>
              <a:avLst/>
              <a:gdLst/>
              <a:ahLst/>
              <a:cxnLst/>
              <a:rect l="l" t="t" r="r" b="b"/>
              <a:pathLst>
                <a:path w="57" h="26" extrusionOk="0">
                  <a:moveTo>
                    <a:pt x="56" y="1"/>
                  </a:moveTo>
                  <a:lnTo>
                    <a:pt x="0" y="25"/>
                  </a:lnTo>
                  <a:cubicBezTo>
                    <a:pt x="14" y="22"/>
                    <a:pt x="28" y="22"/>
                    <a:pt x="39" y="18"/>
                  </a:cubicBezTo>
                  <a:lnTo>
                    <a:pt x="56" y="18"/>
                  </a:lnTo>
                  <a:lnTo>
                    <a:pt x="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7" name="Google Shape;4277;p53"/>
            <p:cNvSpPr/>
            <p:nvPr/>
          </p:nvSpPr>
          <p:spPr>
            <a:xfrm>
              <a:off x="2044257" y="19607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8" name="Google Shape;4278;p53"/>
            <p:cNvSpPr/>
            <p:nvPr/>
          </p:nvSpPr>
          <p:spPr>
            <a:xfrm>
              <a:off x="2048153" y="19591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9" name="Google Shape;4279;p53"/>
            <p:cNvSpPr/>
            <p:nvPr/>
          </p:nvSpPr>
          <p:spPr>
            <a:xfrm>
              <a:off x="2027190" y="19695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0" name="Google Shape;4280;p53"/>
            <p:cNvSpPr/>
            <p:nvPr/>
          </p:nvSpPr>
          <p:spPr>
            <a:xfrm>
              <a:off x="2043971" y="1930954"/>
              <a:ext cx="869" cy="258"/>
            </a:xfrm>
            <a:custGeom>
              <a:avLst/>
              <a:gdLst/>
              <a:ahLst/>
              <a:cxnLst/>
              <a:rect l="l" t="t" r="r" b="b"/>
              <a:pathLst>
                <a:path w="64" h="19" extrusionOk="0">
                  <a:moveTo>
                    <a:pt x="0" y="18"/>
                  </a:moveTo>
                  <a:cubicBezTo>
                    <a:pt x="32" y="4"/>
                    <a:pt x="53" y="1"/>
                    <a:pt x="63" y="11"/>
                  </a:cubicBezTo>
                  <a:lnTo>
                    <a:pt x="63" y="11"/>
                  </a:lnTo>
                  <a:cubicBezTo>
                    <a:pt x="53" y="1"/>
                    <a:pt x="32" y="4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1" name="Google Shape;4281;p53"/>
            <p:cNvSpPr/>
            <p:nvPr/>
          </p:nvSpPr>
          <p:spPr>
            <a:xfrm>
              <a:off x="2009036" y="19618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2" name="Google Shape;4282;p53"/>
            <p:cNvSpPr/>
            <p:nvPr/>
          </p:nvSpPr>
          <p:spPr>
            <a:xfrm>
              <a:off x="2008276" y="196394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3" name="Google Shape;4283;p53"/>
            <p:cNvSpPr/>
            <p:nvPr/>
          </p:nvSpPr>
          <p:spPr>
            <a:xfrm>
              <a:off x="2008561" y="196318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4" name="Google Shape;4284;p53"/>
            <p:cNvSpPr/>
            <p:nvPr/>
          </p:nvSpPr>
          <p:spPr>
            <a:xfrm>
              <a:off x="2028805" y="1937607"/>
              <a:ext cx="964" cy="163"/>
            </a:xfrm>
            <a:custGeom>
              <a:avLst/>
              <a:gdLst/>
              <a:ahLst/>
              <a:cxnLst/>
              <a:rect l="l" t="t" r="r" b="b"/>
              <a:pathLst>
                <a:path w="71" h="12" extrusionOk="0">
                  <a:moveTo>
                    <a:pt x="0" y="11"/>
                  </a:moveTo>
                  <a:cubicBezTo>
                    <a:pt x="21" y="1"/>
                    <a:pt x="46" y="1"/>
                    <a:pt x="70" y="8"/>
                  </a:cubicBezTo>
                  <a:cubicBezTo>
                    <a:pt x="46" y="1"/>
                    <a:pt x="21" y="1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5" name="Google Shape;4285;p53"/>
            <p:cNvSpPr/>
            <p:nvPr/>
          </p:nvSpPr>
          <p:spPr>
            <a:xfrm>
              <a:off x="2008846" y="196252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6" name="Google Shape;4286;p53"/>
            <p:cNvSpPr/>
            <p:nvPr/>
          </p:nvSpPr>
          <p:spPr>
            <a:xfrm>
              <a:off x="2009647" y="1960335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7" name="Google Shape;4287;p53"/>
            <p:cNvSpPr/>
            <p:nvPr/>
          </p:nvSpPr>
          <p:spPr>
            <a:xfrm>
              <a:off x="2029796" y="1937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8" name="Google Shape;4288;p53"/>
            <p:cNvSpPr/>
            <p:nvPr/>
          </p:nvSpPr>
          <p:spPr>
            <a:xfrm>
              <a:off x="2009267" y="196128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9" name="Google Shape;4289;p53"/>
            <p:cNvSpPr/>
            <p:nvPr/>
          </p:nvSpPr>
          <p:spPr>
            <a:xfrm>
              <a:off x="2009457" y="196075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0" name="Google Shape;4290;p53"/>
            <p:cNvSpPr/>
            <p:nvPr/>
          </p:nvSpPr>
          <p:spPr>
            <a:xfrm>
              <a:off x="2008086" y="19647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1" name="Google Shape;4291;p53"/>
            <p:cNvSpPr/>
            <p:nvPr/>
          </p:nvSpPr>
          <p:spPr>
            <a:xfrm>
              <a:off x="2008086" y="19647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2" name="Google Shape;4292;p53"/>
            <p:cNvSpPr/>
            <p:nvPr/>
          </p:nvSpPr>
          <p:spPr>
            <a:xfrm>
              <a:off x="2051520" y="1865551"/>
              <a:ext cx="112191" cy="87765"/>
            </a:xfrm>
            <a:custGeom>
              <a:avLst/>
              <a:gdLst/>
              <a:ahLst/>
              <a:cxnLst/>
              <a:rect l="l" t="t" r="r" b="b"/>
              <a:pathLst>
                <a:path w="8263" h="6464" extrusionOk="0">
                  <a:moveTo>
                    <a:pt x="6379" y="1"/>
                  </a:moveTo>
                  <a:lnTo>
                    <a:pt x="4055" y="1450"/>
                  </a:lnTo>
                  <a:lnTo>
                    <a:pt x="3047" y="2262"/>
                  </a:lnTo>
                  <a:lnTo>
                    <a:pt x="3036" y="2266"/>
                  </a:lnTo>
                  <a:cubicBezTo>
                    <a:pt x="3008" y="2276"/>
                    <a:pt x="2374" y="2500"/>
                    <a:pt x="2182" y="2539"/>
                  </a:cubicBezTo>
                  <a:lnTo>
                    <a:pt x="2161" y="2542"/>
                  </a:lnTo>
                  <a:lnTo>
                    <a:pt x="2161" y="2588"/>
                  </a:lnTo>
                  <a:lnTo>
                    <a:pt x="2161" y="2637"/>
                  </a:lnTo>
                  <a:lnTo>
                    <a:pt x="2161" y="2717"/>
                  </a:lnTo>
                  <a:lnTo>
                    <a:pt x="2161" y="2759"/>
                  </a:lnTo>
                  <a:lnTo>
                    <a:pt x="2161" y="2836"/>
                  </a:lnTo>
                  <a:lnTo>
                    <a:pt x="2161" y="2875"/>
                  </a:lnTo>
                  <a:lnTo>
                    <a:pt x="2161" y="2945"/>
                  </a:lnTo>
                  <a:lnTo>
                    <a:pt x="2161" y="2980"/>
                  </a:lnTo>
                  <a:lnTo>
                    <a:pt x="2161" y="3046"/>
                  </a:lnTo>
                  <a:lnTo>
                    <a:pt x="2161" y="3081"/>
                  </a:lnTo>
                  <a:lnTo>
                    <a:pt x="2161" y="3141"/>
                  </a:lnTo>
                  <a:lnTo>
                    <a:pt x="2161" y="3172"/>
                  </a:lnTo>
                  <a:lnTo>
                    <a:pt x="2161" y="3228"/>
                  </a:lnTo>
                  <a:lnTo>
                    <a:pt x="2161" y="3260"/>
                  </a:lnTo>
                  <a:lnTo>
                    <a:pt x="2161" y="3312"/>
                  </a:lnTo>
                  <a:lnTo>
                    <a:pt x="2161" y="3340"/>
                  </a:lnTo>
                  <a:lnTo>
                    <a:pt x="2161" y="3386"/>
                  </a:lnTo>
                  <a:lnTo>
                    <a:pt x="2161" y="3414"/>
                  </a:lnTo>
                  <a:lnTo>
                    <a:pt x="2161" y="3456"/>
                  </a:lnTo>
                  <a:lnTo>
                    <a:pt x="2161" y="3480"/>
                  </a:lnTo>
                  <a:lnTo>
                    <a:pt x="2161" y="3519"/>
                  </a:lnTo>
                  <a:lnTo>
                    <a:pt x="2161" y="3543"/>
                  </a:lnTo>
                  <a:lnTo>
                    <a:pt x="2161" y="3578"/>
                  </a:lnTo>
                  <a:lnTo>
                    <a:pt x="2161" y="3599"/>
                  </a:lnTo>
                  <a:lnTo>
                    <a:pt x="2161" y="3631"/>
                  </a:lnTo>
                  <a:lnTo>
                    <a:pt x="2161" y="3652"/>
                  </a:lnTo>
                  <a:lnTo>
                    <a:pt x="2161" y="3680"/>
                  </a:lnTo>
                  <a:lnTo>
                    <a:pt x="2161" y="3697"/>
                  </a:lnTo>
                  <a:lnTo>
                    <a:pt x="2161" y="3722"/>
                  </a:lnTo>
                  <a:lnTo>
                    <a:pt x="2161" y="3739"/>
                  </a:lnTo>
                  <a:lnTo>
                    <a:pt x="2161" y="3764"/>
                  </a:lnTo>
                  <a:lnTo>
                    <a:pt x="2161" y="3778"/>
                  </a:lnTo>
                  <a:lnTo>
                    <a:pt x="2161" y="3799"/>
                  </a:lnTo>
                  <a:lnTo>
                    <a:pt x="2161" y="3809"/>
                  </a:lnTo>
                  <a:lnTo>
                    <a:pt x="2161" y="3830"/>
                  </a:lnTo>
                  <a:lnTo>
                    <a:pt x="2161" y="3841"/>
                  </a:lnTo>
                  <a:lnTo>
                    <a:pt x="2161" y="3855"/>
                  </a:lnTo>
                  <a:lnTo>
                    <a:pt x="2161" y="3865"/>
                  </a:lnTo>
                  <a:lnTo>
                    <a:pt x="2161" y="3879"/>
                  </a:lnTo>
                  <a:lnTo>
                    <a:pt x="2161" y="3890"/>
                  </a:lnTo>
                  <a:lnTo>
                    <a:pt x="2161" y="3900"/>
                  </a:lnTo>
                  <a:lnTo>
                    <a:pt x="2161" y="3911"/>
                  </a:lnTo>
                  <a:lnTo>
                    <a:pt x="2161" y="3918"/>
                  </a:lnTo>
                  <a:lnTo>
                    <a:pt x="2161" y="3925"/>
                  </a:lnTo>
                  <a:lnTo>
                    <a:pt x="2161" y="3935"/>
                  </a:lnTo>
                  <a:lnTo>
                    <a:pt x="2161" y="3942"/>
                  </a:lnTo>
                  <a:lnTo>
                    <a:pt x="2161" y="3946"/>
                  </a:lnTo>
                  <a:lnTo>
                    <a:pt x="2161" y="3953"/>
                  </a:lnTo>
                  <a:lnTo>
                    <a:pt x="2161" y="3957"/>
                  </a:lnTo>
                  <a:lnTo>
                    <a:pt x="2161" y="3964"/>
                  </a:lnTo>
                  <a:lnTo>
                    <a:pt x="2161" y="3967"/>
                  </a:lnTo>
                  <a:lnTo>
                    <a:pt x="2161" y="3971"/>
                  </a:lnTo>
                  <a:lnTo>
                    <a:pt x="2161" y="3974"/>
                  </a:lnTo>
                  <a:lnTo>
                    <a:pt x="2161" y="3978"/>
                  </a:lnTo>
                  <a:lnTo>
                    <a:pt x="2161" y="3981"/>
                  </a:lnTo>
                  <a:lnTo>
                    <a:pt x="2161" y="3985"/>
                  </a:lnTo>
                  <a:lnTo>
                    <a:pt x="2157" y="3992"/>
                  </a:lnTo>
                  <a:cubicBezTo>
                    <a:pt x="2126" y="4044"/>
                    <a:pt x="2105" y="4100"/>
                    <a:pt x="2087" y="4160"/>
                  </a:cubicBezTo>
                  <a:cubicBezTo>
                    <a:pt x="2056" y="4261"/>
                    <a:pt x="2028" y="4345"/>
                    <a:pt x="1986" y="4387"/>
                  </a:cubicBezTo>
                  <a:cubicBezTo>
                    <a:pt x="1972" y="4405"/>
                    <a:pt x="1958" y="4419"/>
                    <a:pt x="1944" y="4436"/>
                  </a:cubicBezTo>
                  <a:cubicBezTo>
                    <a:pt x="1884" y="4517"/>
                    <a:pt x="1783" y="4650"/>
                    <a:pt x="1597" y="4650"/>
                  </a:cubicBezTo>
                  <a:cubicBezTo>
                    <a:pt x="1489" y="4657"/>
                    <a:pt x="1380" y="4667"/>
                    <a:pt x="1272" y="4688"/>
                  </a:cubicBezTo>
                  <a:cubicBezTo>
                    <a:pt x="1128" y="4713"/>
                    <a:pt x="985" y="4730"/>
                    <a:pt x="841" y="4737"/>
                  </a:cubicBezTo>
                  <a:cubicBezTo>
                    <a:pt x="803" y="4737"/>
                    <a:pt x="768" y="4737"/>
                    <a:pt x="733" y="4730"/>
                  </a:cubicBezTo>
                  <a:cubicBezTo>
                    <a:pt x="717" y="4728"/>
                    <a:pt x="701" y="4726"/>
                    <a:pt x="686" y="4726"/>
                  </a:cubicBezTo>
                  <a:cubicBezTo>
                    <a:pt x="579" y="4726"/>
                    <a:pt x="484" y="4785"/>
                    <a:pt x="410" y="4828"/>
                  </a:cubicBezTo>
                  <a:cubicBezTo>
                    <a:pt x="386" y="4842"/>
                    <a:pt x="358" y="4860"/>
                    <a:pt x="330" y="4870"/>
                  </a:cubicBezTo>
                  <a:lnTo>
                    <a:pt x="312" y="4877"/>
                  </a:lnTo>
                  <a:cubicBezTo>
                    <a:pt x="249" y="4891"/>
                    <a:pt x="186" y="4898"/>
                    <a:pt x="127" y="4898"/>
                  </a:cubicBezTo>
                  <a:cubicBezTo>
                    <a:pt x="88" y="4898"/>
                    <a:pt x="46" y="4902"/>
                    <a:pt x="8" y="4902"/>
                  </a:cubicBezTo>
                  <a:lnTo>
                    <a:pt x="8" y="4905"/>
                  </a:lnTo>
                  <a:cubicBezTo>
                    <a:pt x="8" y="4916"/>
                    <a:pt x="4" y="4930"/>
                    <a:pt x="4" y="4940"/>
                  </a:cubicBezTo>
                  <a:lnTo>
                    <a:pt x="4" y="4947"/>
                  </a:lnTo>
                  <a:cubicBezTo>
                    <a:pt x="4" y="4958"/>
                    <a:pt x="4" y="4968"/>
                    <a:pt x="1" y="4975"/>
                  </a:cubicBezTo>
                  <a:lnTo>
                    <a:pt x="1" y="4982"/>
                  </a:lnTo>
                  <a:lnTo>
                    <a:pt x="1" y="5007"/>
                  </a:lnTo>
                  <a:lnTo>
                    <a:pt x="1" y="5010"/>
                  </a:lnTo>
                  <a:lnTo>
                    <a:pt x="1" y="5031"/>
                  </a:lnTo>
                  <a:lnTo>
                    <a:pt x="1" y="5049"/>
                  </a:lnTo>
                  <a:lnTo>
                    <a:pt x="1" y="5052"/>
                  </a:lnTo>
                  <a:lnTo>
                    <a:pt x="1" y="5063"/>
                  </a:lnTo>
                  <a:lnTo>
                    <a:pt x="1" y="5066"/>
                  </a:lnTo>
                  <a:lnTo>
                    <a:pt x="1" y="5073"/>
                  </a:lnTo>
                  <a:lnTo>
                    <a:pt x="1" y="5080"/>
                  </a:lnTo>
                  <a:cubicBezTo>
                    <a:pt x="39" y="5122"/>
                    <a:pt x="67" y="5171"/>
                    <a:pt x="85" y="5227"/>
                  </a:cubicBezTo>
                  <a:cubicBezTo>
                    <a:pt x="109" y="5287"/>
                    <a:pt x="137" y="5360"/>
                    <a:pt x="176" y="5388"/>
                  </a:cubicBezTo>
                  <a:lnTo>
                    <a:pt x="197" y="5406"/>
                  </a:lnTo>
                  <a:cubicBezTo>
                    <a:pt x="305" y="5486"/>
                    <a:pt x="456" y="5598"/>
                    <a:pt x="456" y="5735"/>
                  </a:cubicBezTo>
                  <a:cubicBezTo>
                    <a:pt x="456" y="5798"/>
                    <a:pt x="459" y="5875"/>
                    <a:pt x="487" y="5875"/>
                  </a:cubicBezTo>
                  <a:cubicBezTo>
                    <a:pt x="564" y="5875"/>
                    <a:pt x="610" y="5938"/>
                    <a:pt x="649" y="5990"/>
                  </a:cubicBezTo>
                  <a:cubicBezTo>
                    <a:pt x="670" y="6025"/>
                    <a:pt x="694" y="6054"/>
                    <a:pt x="729" y="6071"/>
                  </a:cubicBezTo>
                  <a:cubicBezTo>
                    <a:pt x="736" y="6074"/>
                    <a:pt x="745" y="6076"/>
                    <a:pt x="755" y="6076"/>
                  </a:cubicBezTo>
                  <a:cubicBezTo>
                    <a:pt x="790" y="6076"/>
                    <a:pt x="837" y="6060"/>
                    <a:pt x="869" y="6047"/>
                  </a:cubicBezTo>
                  <a:cubicBezTo>
                    <a:pt x="900" y="6036"/>
                    <a:pt x="934" y="6025"/>
                    <a:pt x="965" y="6025"/>
                  </a:cubicBezTo>
                  <a:cubicBezTo>
                    <a:pt x="993" y="6025"/>
                    <a:pt x="1019" y="6034"/>
                    <a:pt x="1037" y="6061"/>
                  </a:cubicBezTo>
                  <a:cubicBezTo>
                    <a:pt x="1058" y="6092"/>
                    <a:pt x="1058" y="6138"/>
                    <a:pt x="1058" y="6225"/>
                  </a:cubicBezTo>
                  <a:cubicBezTo>
                    <a:pt x="1058" y="6260"/>
                    <a:pt x="1058" y="6309"/>
                    <a:pt x="1062" y="6341"/>
                  </a:cubicBezTo>
                  <a:lnTo>
                    <a:pt x="1086" y="6344"/>
                  </a:lnTo>
                  <a:lnTo>
                    <a:pt x="1093" y="6344"/>
                  </a:lnTo>
                  <a:lnTo>
                    <a:pt x="1111" y="6351"/>
                  </a:lnTo>
                  <a:lnTo>
                    <a:pt x="1121" y="6355"/>
                  </a:lnTo>
                  <a:lnTo>
                    <a:pt x="1142" y="6362"/>
                  </a:lnTo>
                  <a:lnTo>
                    <a:pt x="1153" y="6365"/>
                  </a:lnTo>
                  <a:lnTo>
                    <a:pt x="1170" y="6372"/>
                  </a:lnTo>
                  <a:lnTo>
                    <a:pt x="1174" y="6372"/>
                  </a:lnTo>
                  <a:lnTo>
                    <a:pt x="1174" y="6365"/>
                  </a:lnTo>
                  <a:cubicBezTo>
                    <a:pt x="1174" y="6362"/>
                    <a:pt x="1177" y="6351"/>
                    <a:pt x="1177" y="6344"/>
                  </a:cubicBezTo>
                  <a:cubicBezTo>
                    <a:pt x="1181" y="6341"/>
                    <a:pt x="1184" y="6330"/>
                    <a:pt x="1184" y="6323"/>
                  </a:cubicBezTo>
                  <a:cubicBezTo>
                    <a:pt x="1188" y="6316"/>
                    <a:pt x="1188" y="6313"/>
                    <a:pt x="1191" y="6309"/>
                  </a:cubicBezTo>
                  <a:cubicBezTo>
                    <a:pt x="1191" y="6306"/>
                    <a:pt x="1198" y="6292"/>
                    <a:pt x="1202" y="6285"/>
                  </a:cubicBezTo>
                  <a:cubicBezTo>
                    <a:pt x="1205" y="6278"/>
                    <a:pt x="1209" y="6274"/>
                    <a:pt x="1209" y="6271"/>
                  </a:cubicBezTo>
                  <a:cubicBezTo>
                    <a:pt x="1212" y="6264"/>
                    <a:pt x="1216" y="6257"/>
                    <a:pt x="1223" y="6253"/>
                  </a:cubicBezTo>
                  <a:cubicBezTo>
                    <a:pt x="1230" y="6243"/>
                    <a:pt x="1237" y="6232"/>
                    <a:pt x="1247" y="6225"/>
                  </a:cubicBezTo>
                  <a:cubicBezTo>
                    <a:pt x="1254" y="6218"/>
                    <a:pt x="1261" y="6211"/>
                    <a:pt x="1272" y="6204"/>
                  </a:cubicBezTo>
                  <a:lnTo>
                    <a:pt x="1279" y="6201"/>
                  </a:lnTo>
                  <a:cubicBezTo>
                    <a:pt x="1286" y="6194"/>
                    <a:pt x="1293" y="6190"/>
                    <a:pt x="1303" y="6187"/>
                  </a:cubicBezTo>
                  <a:lnTo>
                    <a:pt x="1307" y="6187"/>
                  </a:lnTo>
                  <a:cubicBezTo>
                    <a:pt x="1317" y="6180"/>
                    <a:pt x="1328" y="6180"/>
                    <a:pt x="1342" y="6176"/>
                  </a:cubicBezTo>
                  <a:lnTo>
                    <a:pt x="1345" y="6176"/>
                  </a:lnTo>
                  <a:cubicBezTo>
                    <a:pt x="1356" y="6176"/>
                    <a:pt x="1363" y="6173"/>
                    <a:pt x="1373" y="6173"/>
                  </a:cubicBezTo>
                  <a:lnTo>
                    <a:pt x="1415" y="6173"/>
                  </a:lnTo>
                  <a:cubicBezTo>
                    <a:pt x="1426" y="6176"/>
                    <a:pt x="1440" y="6176"/>
                    <a:pt x="1450" y="6180"/>
                  </a:cubicBezTo>
                  <a:cubicBezTo>
                    <a:pt x="1513" y="6194"/>
                    <a:pt x="1562" y="6243"/>
                    <a:pt x="1580" y="6306"/>
                  </a:cubicBezTo>
                  <a:cubicBezTo>
                    <a:pt x="1587" y="6323"/>
                    <a:pt x="1590" y="6344"/>
                    <a:pt x="1590" y="6365"/>
                  </a:cubicBezTo>
                  <a:cubicBezTo>
                    <a:pt x="1597" y="6414"/>
                    <a:pt x="1601" y="6428"/>
                    <a:pt x="1636" y="6442"/>
                  </a:cubicBezTo>
                  <a:cubicBezTo>
                    <a:pt x="1646" y="6449"/>
                    <a:pt x="1657" y="6453"/>
                    <a:pt x="1671" y="6456"/>
                  </a:cubicBezTo>
                  <a:cubicBezTo>
                    <a:pt x="1683" y="6461"/>
                    <a:pt x="1696" y="6464"/>
                    <a:pt x="1709" y="6464"/>
                  </a:cubicBezTo>
                  <a:cubicBezTo>
                    <a:pt x="1722" y="6464"/>
                    <a:pt x="1736" y="6461"/>
                    <a:pt x="1748" y="6456"/>
                  </a:cubicBezTo>
                  <a:cubicBezTo>
                    <a:pt x="1762" y="6449"/>
                    <a:pt x="1769" y="6435"/>
                    <a:pt x="1769" y="6421"/>
                  </a:cubicBezTo>
                  <a:cubicBezTo>
                    <a:pt x="1769" y="6418"/>
                    <a:pt x="1769" y="6411"/>
                    <a:pt x="1769" y="6404"/>
                  </a:cubicBezTo>
                  <a:cubicBezTo>
                    <a:pt x="1769" y="6253"/>
                    <a:pt x="2000" y="6004"/>
                    <a:pt x="2028" y="5973"/>
                  </a:cubicBezTo>
                  <a:cubicBezTo>
                    <a:pt x="2038" y="5934"/>
                    <a:pt x="2045" y="5892"/>
                    <a:pt x="2049" y="5850"/>
                  </a:cubicBezTo>
                  <a:cubicBezTo>
                    <a:pt x="2066" y="5731"/>
                    <a:pt x="2087" y="5595"/>
                    <a:pt x="2164" y="5532"/>
                  </a:cubicBezTo>
                  <a:cubicBezTo>
                    <a:pt x="2213" y="5490"/>
                    <a:pt x="2288" y="5475"/>
                    <a:pt x="2374" y="5475"/>
                  </a:cubicBezTo>
                  <a:cubicBezTo>
                    <a:pt x="2461" y="5475"/>
                    <a:pt x="2560" y="5490"/>
                    <a:pt x="2658" y="5507"/>
                  </a:cubicBezTo>
                  <a:lnTo>
                    <a:pt x="2718" y="5514"/>
                  </a:lnTo>
                  <a:cubicBezTo>
                    <a:pt x="2718" y="5515"/>
                    <a:pt x="2719" y="5515"/>
                    <a:pt x="2720" y="5515"/>
                  </a:cubicBezTo>
                  <a:cubicBezTo>
                    <a:pt x="2735" y="5515"/>
                    <a:pt x="2768" y="5485"/>
                    <a:pt x="2795" y="5462"/>
                  </a:cubicBezTo>
                  <a:cubicBezTo>
                    <a:pt x="2832" y="5427"/>
                    <a:pt x="2890" y="5372"/>
                    <a:pt x="2962" y="5372"/>
                  </a:cubicBezTo>
                  <a:cubicBezTo>
                    <a:pt x="2996" y="5372"/>
                    <a:pt x="3034" y="5385"/>
                    <a:pt x="3075" y="5420"/>
                  </a:cubicBezTo>
                  <a:cubicBezTo>
                    <a:pt x="3120" y="5458"/>
                    <a:pt x="3190" y="5462"/>
                    <a:pt x="3264" y="5465"/>
                  </a:cubicBezTo>
                  <a:lnTo>
                    <a:pt x="3295" y="5465"/>
                  </a:lnTo>
                  <a:cubicBezTo>
                    <a:pt x="3320" y="5469"/>
                    <a:pt x="3341" y="5469"/>
                    <a:pt x="3365" y="5472"/>
                  </a:cubicBezTo>
                  <a:cubicBezTo>
                    <a:pt x="3425" y="5479"/>
                    <a:pt x="3477" y="5507"/>
                    <a:pt x="3516" y="5553"/>
                  </a:cubicBezTo>
                  <a:cubicBezTo>
                    <a:pt x="3544" y="5584"/>
                    <a:pt x="3565" y="5619"/>
                    <a:pt x="3586" y="5658"/>
                  </a:cubicBezTo>
                  <a:lnTo>
                    <a:pt x="3603" y="5696"/>
                  </a:lnTo>
                  <a:cubicBezTo>
                    <a:pt x="3631" y="5752"/>
                    <a:pt x="3673" y="5829"/>
                    <a:pt x="3705" y="5840"/>
                  </a:cubicBezTo>
                  <a:cubicBezTo>
                    <a:pt x="3719" y="5840"/>
                    <a:pt x="3729" y="5836"/>
                    <a:pt x="3740" y="5829"/>
                  </a:cubicBezTo>
                  <a:cubicBezTo>
                    <a:pt x="3890" y="5742"/>
                    <a:pt x="4055" y="5696"/>
                    <a:pt x="4226" y="5689"/>
                  </a:cubicBezTo>
                  <a:cubicBezTo>
                    <a:pt x="4296" y="5689"/>
                    <a:pt x="4387" y="5745"/>
                    <a:pt x="4513" y="5829"/>
                  </a:cubicBezTo>
                  <a:cubicBezTo>
                    <a:pt x="4562" y="5864"/>
                    <a:pt x="4615" y="5896"/>
                    <a:pt x="4667" y="5920"/>
                  </a:cubicBezTo>
                  <a:cubicBezTo>
                    <a:pt x="4724" y="5939"/>
                    <a:pt x="4845" y="5953"/>
                    <a:pt x="4955" y="5953"/>
                  </a:cubicBezTo>
                  <a:cubicBezTo>
                    <a:pt x="5037" y="5953"/>
                    <a:pt x="5113" y="5945"/>
                    <a:pt x="5151" y="5924"/>
                  </a:cubicBezTo>
                  <a:cubicBezTo>
                    <a:pt x="5189" y="5899"/>
                    <a:pt x="5228" y="5868"/>
                    <a:pt x="5263" y="5833"/>
                  </a:cubicBezTo>
                  <a:cubicBezTo>
                    <a:pt x="5351" y="5751"/>
                    <a:pt x="5452" y="5657"/>
                    <a:pt x="5568" y="5657"/>
                  </a:cubicBezTo>
                  <a:cubicBezTo>
                    <a:pt x="5576" y="5657"/>
                    <a:pt x="5584" y="5657"/>
                    <a:pt x="5592" y="5658"/>
                  </a:cubicBezTo>
                  <a:cubicBezTo>
                    <a:pt x="5635" y="5660"/>
                    <a:pt x="5680" y="5661"/>
                    <a:pt x="5724" y="5661"/>
                  </a:cubicBezTo>
                  <a:cubicBezTo>
                    <a:pt x="5768" y="5661"/>
                    <a:pt x="5812" y="5660"/>
                    <a:pt x="5854" y="5658"/>
                  </a:cubicBezTo>
                  <a:cubicBezTo>
                    <a:pt x="5941" y="5655"/>
                    <a:pt x="6015" y="5653"/>
                    <a:pt x="6078" y="5653"/>
                  </a:cubicBezTo>
                  <a:cubicBezTo>
                    <a:pt x="6191" y="5653"/>
                    <a:pt x="6268" y="5660"/>
                    <a:pt x="6313" y="5682"/>
                  </a:cubicBezTo>
                  <a:lnTo>
                    <a:pt x="6334" y="5693"/>
                  </a:lnTo>
                  <a:cubicBezTo>
                    <a:pt x="6407" y="5728"/>
                    <a:pt x="6546" y="5800"/>
                    <a:pt x="6656" y="5800"/>
                  </a:cubicBezTo>
                  <a:cubicBezTo>
                    <a:pt x="6677" y="5800"/>
                    <a:pt x="6697" y="5797"/>
                    <a:pt x="6715" y="5791"/>
                  </a:cubicBezTo>
                  <a:cubicBezTo>
                    <a:pt x="6775" y="5773"/>
                    <a:pt x="6842" y="5689"/>
                    <a:pt x="6901" y="5616"/>
                  </a:cubicBezTo>
                  <a:cubicBezTo>
                    <a:pt x="6971" y="5528"/>
                    <a:pt x="7034" y="5455"/>
                    <a:pt x="7108" y="5434"/>
                  </a:cubicBezTo>
                  <a:cubicBezTo>
                    <a:pt x="7118" y="5430"/>
                    <a:pt x="7129" y="5430"/>
                    <a:pt x="7139" y="5427"/>
                  </a:cubicBezTo>
                  <a:lnTo>
                    <a:pt x="7139" y="5427"/>
                  </a:lnTo>
                  <a:lnTo>
                    <a:pt x="7087" y="5434"/>
                  </a:lnTo>
                  <a:lnTo>
                    <a:pt x="7087" y="5392"/>
                  </a:lnTo>
                  <a:lnTo>
                    <a:pt x="7087" y="5378"/>
                  </a:lnTo>
                  <a:lnTo>
                    <a:pt x="7087" y="5332"/>
                  </a:lnTo>
                  <a:cubicBezTo>
                    <a:pt x="7087" y="5168"/>
                    <a:pt x="7108" y="5115"/>
                    <a:pt x="7139" y="5052"/>
                  </a:cubicBezTo>
                  <a:cubicBezTo>
                    <a:pt x="7171" y="4989"/>
                    <a:pt x="7192" y="4923"/>
                    <a:pt x="7202" y="4853"/>
                  </a:cubicBezTo>
                  <a:cubicBezTo>
                    <a:pt x="7251" y="4541"/>
                    <a:pt x="7972" y="3820"/>
                    <a:pt x="8088" y="3718"/>
                  </a:cubicBezTo>
                  <a:cubicBezTo>
                    <a:pt x="8112" y="3648"/>
                    <a:pt x="8137" y="3267"/>
                    <a:pt x="8137" y="2406"/>
                  </a:cubicBezTo>
                  <a:cubicBezTo>
                    <a:pt x="8144" y="2199"/>
                    <a:pt x="8179" y="1996"/>
                    <a:pt x="8238" y="1800"/>
                  </a:cubicBezTo>
                  <a:cubicBezTo>
                    <a:pt x="8263" y="1744"/>
                    <a:pt x="8252" y="1674"/>
                    <a:pt x="8207" y="1625"/>
                  </a:cubicBezTo>
                  <a:cubicBezTo>
                    <a:pt x="8154" y="1562"/>
                    <a:pt x="8130" y="1478"/>
                    <a:pt x="8137" y="1390"/>
                  </a:cubicBezTo>
                  <a:cubicBezTo>
                    <a:pt x="8144" y="1296"/>
                    <a:pt x="8081" y="1205"/>
                    <a:pt x="8018" y="1121"/>
                  </a:cubicBezTo>
                  <a:cubicBezTo>
                    <a:pt x="7962" y="1044"/>
                    <a:pt x="7913" y="974"/>
                    <a:pt x="7913" y="897"/>
                  </a:cubicBezTo>
                  <a:lnTo>
                    <a:pt x="7913" y="876"/>
                  </a:lnTo>
                  <a:lnTo>
                    <a:pt x="7913" y="872"/>
                  </a:lnTo>
                  <a:lnTo>
                    <a:pt x="7913" y="855"/>
                  </a:lnTo>
                  <a:lnTo>
                    <a:pt x="7913" y="844"/>
                  </a:lnTo>
                  <a:lnTo>
                    <a:pt x="7913" y="823"/>
                  </a:lnTo>
                  <a:lnTo>
                    <a:pt x="7913" y="813"/>
                  </a:lnTo>
                  <a:lnTo>
                    <a:pt x="7913" y="785"/>
                  </a:lnTo>
                  <a:lnTo>
                    <a:pt x="7913" y="778"/>
                  </a:lnTo>
                  <a:cubicBezTo>
                    <a:pt x="7906" y="648"/>
                    <a:pt x="7895" y="452"/>
                    <a:pt x="7888" y="302"/>
                  </a:cubicBezTo>
                  <a:lnTo>
                    <a:pt x="7570" y="473"/>
                  </a:lnTo>
                  <a:lnTo>
                    <a:pt x="7489" y="519"/>
                  </a:lnTo>
                  <a:lnTo>
                    <a:pt x="7458" y="463"/>
                  </a:lnTo>
                  <a:cubicBezTo>
                    <a:pt x="7374" y="333"/>
                    <a:pt x="7262" y="225"/>
                    <a:pt x="7132" y="137"/>
                  </a:cubicBezTo>
                  <a:cubicBezTo>
                    <a:pt x="7122" y="130"/>
                    <a:pt x="7111" y="127"/>
                    <a:pt x="7101" y="120"/>
                  </a:cubicBezTo>
                  <a:lnTo>
                    <a:pt x="7083" y="113"/>
                  </a:lnTo>
                  <a:lnTo>
                    <a:pt x="7062" y="102"/>
                  </a:lnTo>
                  <a:lnTo>
                    <a:pt x="7041" y="95"/>
                  </a:lnTo>
                  <a:lnTo>
                    <a:pt x="7024" y="88"/>
                  </a:lnTo>
                  <a:lnTo>
                    <a:pt x="6999" y="78"/>
                  </a:lnTo>
                  <a:lnTo>
                    <a:pt x="6978" y="71"/>
                  </a:lnTo>
                  <a:lnTo>
                    <a:pt x="6954" y="64"/>
                  </a:lnTo>
                  <a:lnTo>
                    <a:pt x="6929" y="60"/>
                  </a:lnTo>
                  <a:lnTo>
                    <a:pt x="6905" y="53"/>
                  </a:lnTo>
                  <a:lnTo>
                    <a:pt x="6877" y="46"/>
                  </a:lnTo>
                  <a:lnTo>
                    <a:pt x="6856" y="43"/>
                  </a:lnTo>
                  <a:lnTo>
                    <a:pt x="6820" y="36"/>
                  </a:lnTo>
                  <a:lnTo>
                    <a:pt x="6803" y="32"/>
                  </a:lnTo>
                  <a:lnTo>
                    <a:pt x="6764" y="25"/>
                  </a:lnTo>
                  <a:lnTo>
                    <a:pt x="6754" y="25"/>
                  </a:lnTo>
                  <a:lnTo>
                    <a:pt x="6708" y="22"/>
                  </a:lnTo>
                  <a:lnTo>
                    <a:pt x="6698" y="22"/>
                  </a:lnTo>
                  <a:lnTo>
                    <a:pt x="6656" y="15"/>
                  </a:lnTo>
                  <a:lnTo>
                    <a:pt x="6642" y="15"/>
                  </a:lnTo>
                  <a:lnTo>
                    <a:pt x="6610" y="11"/>
                  </a:lnTo>
                  <a:lnTo>
                    <a:pt x="6565" y="11"/>
                  </a:lnTo>
                  <a:cubicBezTo>
                    <a:pt x="6502" y="4"/>
                    <a:pt x="6439" y="4"/>
                    <a:pt x="63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3" name="Google Shape;4293;p53"/>
            <p:cNvSpPr/>
            <p:nvPr/>
          </p:nvSpPr>
          <p:spPr>
            <a:xfrm>
              <a:off x="2080902" y="1899970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0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4" name="Google Shape;4294;p53"/>
            <p:cNvSpPr/>
            <p:nvPr/>
          </p:nvSpPr>
          <p:spPr>
            <a:xfrm>
              <a:off x="2147120" y="1866841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0"/>
                  </a:moveTo>
                  <a:lnTo>
                    <a:pt x="2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5" name="Google Shape;4295;p53"/>
            <p:cNvSpPr/>
            <p:nvPr/>
          </p:nvSpPr>
          <p:spPr>
            <a:xfrm>
              <a:off x="2138131" y="1865510"/>
              <a:ext cx="2525" cy="149"/>
            </a:xfrm>
            <a:custGeom>
              <a:avLst/>
              <a:gdLst/>
              <a:ahLst/>
              <a:cxnLst/>
              <a:rect l="l" t="t" r="r" b="b"/>
              <a:pathLst>
                <a:path w="186" h="11" extrusionOk="0">
                  <a:moveTo>
                    <a:pt x="0" y="0"/>
                  </a:moveTo>
                  <a:cubicBezTo>
                    <a:pt x="46" y="0"/>
                    <a:pt x="112" y="4"/>
                    <a:pt x="186" y="11"/>
                  </a:cubicBezTo>
                  <a:cubicBezTo>
                    <a:pt x="119" y="4"/>
                    <a:pt x="56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6" name="Google Shape;4296;p53"/>
            <p:cNvSpPr/>
            <p:nvPr/>
          </p:nvSpPr>
          <p:spPr>
            <a:xfrm>
              <a:off x="2140888" y="186564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7" name="Google Shape;4297;p53"/>
            <p:cNvSpPr/>
            <p:nvPr/>
          </p:nvSpPr>
          <p:spPr>
            <a:xfrm>
              <a:off x="2145219" y="1866311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8" name="Google Shape;4298;p53"/>
            <p:cNvSpPr/>
            <p:nvPr/>
          </p:nvSpPr>
          <p:spPr>
            <a:xfrm>
              <a:off x="2147690" y="1867071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9" name="Google Shape;4299;p53"/>
            <p:cNvSpPr/>
            <p:nvPr/>
          </p:nvSpPr>
          <p:spPr>
            <a:xfrm>
              <a:off x="2144554" y="1866175"/>
              <a:ext cx="285" cy="54"/>
            </a:xfrm>
            <a:custGeom>
              <a:avLst/>
              <a:gdLst/>
              <a:ahLst/>
              <a:cxnLst/>
              <a:rect l="l" t="t" r="r" b="b"/>
              <a:pathLst>
                <a:path w="21" h="4" extrusionOk="0">
                  <a:moveTo>
                    <a:pt x="0" y="0"/>
                  </a:moveTo>
                  <a:lnTo>
                    <a:pt x="2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0" name="Google Shape;4300;p53"/>
            <p:cNvSpPr/>
            <p:nvPr/>
          </p:nvSpPr>
          <p:spPr>
            <a:xfrm>
              <a:off x="2146495" y="1866650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0"/>
                  </a:moveTo>
                  <a:lnTo>
                    <a:pt x="2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1" name="Google Shape;4301;p53"/>
            <p:cNvSpPr/>
            <p:nvPr/>
          </p:nvSpPr>
          <p:spPr>
            <a:xfrm>
              <a:off x="2145884" y="186646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0"/>
                  </a:moveTo>
                  <a:lnTo>
                    <a:pt x="2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2" name="Google Shape;4302;p53"/>
            <p:cNvSpPr/>
            <p:nvPr/>
          </p:nvSpPr>
          <p:spPr>
            <a:xfrm>
              <a:off x="2153202" y="1872014"/>
              <a:ext cx="1059" cy="584"/>
            </a:xfrm>
            <a:custGeom>
              <a:avLst/>
              <a:gdLst/>
              <a:ahLst/>
              <a:cxnLst/>
              <a:rect l="l" t="t" r="r" b="b"/>
              <a:pathLst>
                <a:path w="78" h="43" extrusionOk="0">
                  <a:moveTo>
                    <a:pt x="77" y="1"/>
                  </a:moveTo>
                  <a:lnTo>
                    <a:pt x="0" y="43"/>
                  </a:lnTo>
                  <a:lnTo>
                    <a:pt x="0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3" name="Google Shape;4303;p53"/>
            <p:cNvSpPr/>
            <p:nvPr/>
          </p:nvSpPr>
          <p:spPr>
            <a:xfrm>
              <a:off x="2143875" y="186602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4" name="Google Shape;4304;p53"/>
            <p:cNvSpPr/>
            <p:nvPr/>
          </p:nvSpPr>
          <p:spPr>
            <a:xfrm>
              <a:off x="2143169" y="1865931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5" name="Google Shape;4305;p53"/>
            <p:cNvSpPr/>
            <p:nvPr/>
          </p:nvSpPr>
          <p:spPr>
            <a:xfrm>
              <a:off x="2141648" y="186574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6" name="Google Shape;4306;p53"/>
            <p:cNvSpPr/>
            <p:nvPr/>
          </p:nvSpPr>
          <p:spPr>
            <a:xfrm>
              <a:off x="2142449" y="186583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7" name="Google Shape;4307;p53"/>
            <p:cNvSpPr/>
            <p:nvPr/>
          </p:nvSpPr>
          <p:spPr>
            <a:xfrm>
              <a:off x="2122300" y="1942359"/>
              <a:ext cx="4481" cy="2539"/>
            </a:xfrm>
            <a:custGeom>
              <a:avLst/>
              <a:gdLst/>
              <a:ahLst/>
              <a:cxnLst/>
              <a:rect l="l" t="t" r="r" b="b"/>
              <a:pathLst>
                <a:path w="330" h="187" extrusionOk="0">
                  <a:moveTo>
                    <a:pt x="1" y="186"/>
                  </a:moveTo>
                  <a:cubicBezTo>
                    <a:pt x="95" y="99"/>
                    <a:pt x="204" y="1"/>
                    <a:pt x="330" y="11"/>
                  </a:cubicBezTo>
                  <a:cubicBezTo>
                    <a:pt x="204" y="1"/>
                    <a:pt x="95" y="99"/>
                    <a:pt x="1" y="18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8" name="Google Shape;4308;p53"/>
            <p:cNvSpPr/>
            <p:nvPr/>
          </p:nvSpPr>
          <p:spPr>
            <a:xfrm>
              <a:off x="2074860" y="1952637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cubicBezTo>
                    <a:pt x="1" y="7"/>
                    <a:pt x="1" y="11"/>
                    <a:pt x="1" y="18"/>
                  </a:cubicBezTo>
                  <a:cubicBezTo>
                    <a:pt x="1" y="11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9" name="Google Shape;4309;p53"/>
            <p:cNvSpPr/>
            <p:nvPr/>
          </p:nvSpPr>
          <p:spPr>
            <a:xfrm>
              <a:off x="2074575" y="1952868"/>
              <a:ext cx="299" cy="489"/>
            </a:xfrm>
            <a:custGeom>
              <a:avLst/>
              <a:gdLst/>
              <a:ahLst/>
              <a:cxnLst/>
              <a:rect l="l" t="t" r="r" b="b"/>
              <a:pathLst>
                <a:path w="22" h="36" extrusionOk="0">
                  <a:moveTo>
                    <a:pt x="22" y="1"/>
                  </a:moveTo>
                  <a:lnTo>
                    <a:pt x="22" y="1"/>
                  </a:lnTo>
                  <a:cubicBezTo>
                    <a:pt x="20" y="5"/>
                    <a:pt x="19" y="9"/>
                    <a:pt x="17" y="13"/>
                  </a:cubicBezTo>
                  <a:lnTo>
                    <a:pt x="17" y="13"/>
                  </a:lnTo>
                  <a:cubicBezTo>
                    <a:pt x="19" y="9"/>
                    <a:pt x="21" y="5"/>
                    <a:pt x="22" y="1"/>
                  </a:cubicBezTo>
                  <a:close/>
                  <a:moveTo>
                    <a:pt x="17" y="13"/>
                  </a:moveTo>
                  <a:cubicBezTo>
                    <a:pt x="14" y="23"/>
                    <a:pt x="8" y="31"/>
                    <a:pt x="1" y="36"/>
                  </a:cubicBezTo>
                  <a:lnTo>
                    <a:pt x="11" y="32"/>
                  </a:lnTo>
                  <a:cubicBezTo>
                    <a:pt x="13" y="26"/>
                    <a:pt x="15" y="20"/>
                    <a:pt x="17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0" name="Google Shape;4310;p53"/>
            <p:cNvSpPr/>
            <p:nvPr/>
          </p:nvSpPr>
          <p:spPr>
            <a:xfrm>
              <a:off x="2066741" y="1951822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4" y="4"/>
                    <a:pt x="0" y="11"/>
                    <a:pt x="0" y="18"/>
                  </a:cubicBezTo>
                  <a:cubicBezTo>
                    <a:pt x="0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1" name="Google Shape;4311;p53"/>
            <p:cNvSpPr/>
            <p:nvPr/>
          </p:nvSpPr>
          <p:spPr>
            <a:xfrm>
              <a:off x="2067732" y="1949881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9" y="0"/>
                  </a:moveTo>
                  <a:cubicBezTo>
                    <a:pt x="18" y="7"/>
                    <a:pt x="11" y="11"/>
                    <a:pt x="1" y="21"/>
                  </a:cubicBezTo>
                  <a:cubicBezTo>
                    <a:pt x="11" y="11"/>
                    <a:pt x="18" y="7"/>
                    <a:pt x="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2" name="Google Shape;4312;p53"/>
            <p:cNvSpPr/>
            <p:nvPr/>
          </p:nvSpPr>
          <p:spPr>
            <a:xfrm>
              <a:off x="2067121" y="1950777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7" y="1"/>
                  </a:moveTo>
                  <a:cubicBezTo>
                    <a:pt x="4" y="8"/>
                    <a:pt x="0" y="11"/>
                    <a:pt x="0" y="18"/>
                  </a:cubicBezTo>
                  <a:cubicBezTo>
                    <a:pt x="4" y="11"/>
                    <a:pt x="7" y="8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3" name="Google Shape;4313;p53"/>
            <p:cNvSpPr/>
            <p:nvPr/>
          </p:nvSpPr>
          <p:spPr>
            <a:xfrm>
              <a:off x="2066877" y="195134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ubicBezTo>
                    <a:pt x="4" y="8"/>
                    <a:pt x="8" y="4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4" name="Google Shape;4314;p53"/>
            <p:cNvSpPr/>
            <p:nvPr/>
          </p:nvSpPr>
          <p:spPr>
            <a:xfrm>
              <a:off x="2073530" y="1953343"/>
              <a:ext cx="1059" cy="122"/>
            </a:xfrm>
            <a:custGeom>
              <a:avLst/>
              <a:gdLst/>
              <a:ahLst/>
              <a:cxnLst/>
              <a:rect l="l" t="t" r="r" b="b"/>
              <a:pathLst>
                <a:path w="78" h="9" extrusionOk="0">
                  <a:moveTo>
                    <a:pt x="1" y="1"/>
                  </a:moveTo>
                  <a:cubicBezTo>
                    <a:pt x="13" y="6"/>
                    <a:pt x="25" y="8"/>
                    <a:pt x="38" y="8"/>
                  </a:cubicBezTo>
                  <a:lnTo>
                    <a:pt x="38" y="8"/>
                  </a:lnTo>
                  <a:cubicBezTo>
                    <a:pt x="26" y="7"/>
                    <a:pt x="13" y="5"/>
                    <a:pt x="1" y="1"/>
                  </a:cubicBezTo>
                  <a:close/>
                  <a:moveTo>
                    <a:pt x="78" y="1"/>
                  </a:moveTo>
                  <a:lnTo>
                    <a:pt x="78" y="1"/>
                  </a:lnTo>
                  <a:cubicBezTo>
                    <a:pt x="66" y="6"/>
                    <a:pt x="52" y="8"/>
                    <a:pt x="39" y="8"/>
                  </a:cubicBezTo>
                  <a:cubicBezTo>
                    <a:pt x="39" y="8"/>
                    <a:pt x="39" y="8"/>
                    <a:pt x="38" y="8"/>
                  </a:cubicBezTo>
                  <a:lnTo>
                    <a:pt x="38" y="8"/>
                  </a:lnTo>
                  <a:cubicBezTo>
                    <a:pt x="42" y="9"/>
                    <a:pt x="46" y="9"/>
                    <a:pt x="50" y="9"/>
                  </a:cubicBezTo>
                  <a:cubicBezTo>
                    <a:pt x="56" y="9"/>
                    <a:pt x="62" y="9"/>
                    <a:pt x="67" y="8"/>
                  </a:cubicBezTo>
                  <a:lnTo>
                    <a:pt x="7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5" name="Google Shape;4315;p53"/>
            <p:cNvSpPr/>
            <p:nvPr/>
          </p:nvSpPr>
          <p:spPr>
            <a:xfrm>
              <a:off x="2067352" y="1950166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1" y="28"/>
                  </a:moveTo>
                  <a:cubicBezTo>
                    <a:pt x="11" y="18"/>
                    <a:pt x="18" y="7"/>
                    <a:pt x="29" y="0"/>
                  </a:cubicBezTo>
                  <a:lnTo>
                    <a:pt x="29" y="0"/>
                  </a:lnTo>
                  <a:cubicBezTo>
                    <a:pt x="18" y="7"/>
                    <a:pt x="11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6" name="Google Shape;4316;p53"/>
            <p:cNvSpPr/>
            <p:nvPr/>
          </p:nvSpPr>
          <p:spPr>
            <a:xfrm>
              <a:off x="2073054" y="1953153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36" y="15"/>
                  </a:moveTo>
                  <a:cubicBezTo>
                    <a:pt x="22" y="8"/>
                    <a:pt x="11" y="4"/>
                    <a:pt x="1" y="1"/>
                  </a:cubicBezTo>
                  <a:cubicBezTo>
                    <a:pt x="11" y="4"/>
                    <a:pt x="22" y="8"/>
                    <a:pt x="36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7" name="Google Shape;4317;p53"/>
            <p:cNvSpPr/>
            <p:nvPr/>
          </p:nvSpPr>
          <p:spPr>
            <a:xfrm>
              <a:off x="2069633" y="1949446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8" name="Google Shape;4318;p53"/>
            <p:cNvSpPr/>
            <p:nvPr/>
          </p:nvSpPr>
          <p:spPr>
            <a:xfrm>
              <a:off x="2069117" y="1949446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cubicBezTo>
                    <a:pt x="18" y="1"/>
                    <a:pt x="11" y="1"/>
                    <a:pt x="0" y="1"/>
                  </a:cubicBezTo>
                  <a:cubicBezTo>
                    <a:pt x="11" y="1"/>
                    <a:pt x="18" y="1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9" name="Google Shape;4319;p53"/>
            <p:cNvSpPr/>
            <p:nvPr/>
          </p:nvSpPr>
          <p:spPr>
            <a:xfrm>
              <a:off x="2070067" y="1949500"/>
              <a:ext cx="2240" cy="1765"/>
            </a:xfrm>
            <a:custGeom>
              <a:avLst/>
              <a:gdLst/>
              <a:ahLst/>
              <a:cxnLst/>
              <a:rect l="l" t="t" r="r" b="b"/>
              <a:pathLst>
                <a:path w="165" h="130" extrusionOk="0">
                  <a:moveTo>
                    <a:pt x="35" y="7"/>
                  </a:moveTo>
                  <a:cubicBezTo>
                    <a:pt x="25" y="4"/>
                    <a:pt x="11" y="0"/>
                    <a:pt x="0" y="0"/>
                  </a:cubicBezTo>
                  <a:cubicBezTo>
                    <a:pt x="11" y="0"/>
                    <a:pt x="25" y="4"/>
                    <a:pt x="35" y="7"/>
                  </a:cubicBezTo>
                  <a:cubicBezTo>
                    <a:pt x="98" y="21"/>
                    <a:pt x="147" y="67"/>
                    <a:pt x="165" y="130"/>
                  </a:cubicBezTo>
                  <a:cubicBezTo>
                    <a:pt x="147" y="67"/>
                    <a:pt x="98" y="21"/>
                    <a:pt x="3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0" name="Google Shape;4320;p53"/>
            <p:cNvSpPr/>
            <p:nvPr/>
          </p:nvSpPr>
          <p:spPr>
            <a:xfrm>
              <a:off x="2068207" y="1949636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"/>
                  </a:moveTo>
                  <a:cubicBezTo>
                    <a:pt x="15" y="4"/>
                    <a:pt x="8" y="8"/>
                    <a:pt x="1" y="15"/>
                  </a:cubicBezTo>
                  <a:cubicBezTo>
                    <a:pt x="8" y="8"/>
                    <a:pt x="15" y="4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1" name="Google Shape;4321;p53"/>
            <p:cNvSpPr/>
            <p:nvPr/>
          </p:nvSpPr>
          <p:spPr>
            <a:xfrm>
              <a:off x="2068587" y="1949500"/>
              <a:ext cx="489" cy="149"/>
            </a:xfrm>
            <a:custGeom>
              <a:avLst/>
              <a:gdLst/>
              <a:ahLst/>
              <a:cxnLst/>
              <a:rect l="l" t="t" r="r" b="b"/>
              <a:pathLst>
                <a:path w="36" h="11" extrusionOk="0">
                  <a:moveTo>
                    <a:pt x="36" y="0"/>
                  </a:moveTo>
                  <a:cubicBezTo>
                    <a:pt x="22" y="0"/>
                    <a:pt x="11" y="4"/>
                    <a:pt x="1" y="11"/>
                  </a:cubicBezTo>
                  <a:cubicBezTo>
                    <a:pt x="11" y="4"/>
                    <a:pt x="22" y="0"/>
                    <a:pt x="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2" name="Google Shape;4322;p53"/>
            <p:cNvSpPr/>
            <p:nvPr/>
          </p:nvSpPr>
          <p:spPr>
            <a:xfrm>
              <a:off x="2074439" y="1953302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0"/>
                  </a:moveTo>
                  <a:cubicBezTo>
                    <a:pt x="20" y="0"/>
                    <a:pt x="20" y="0"/>
                    <a:pt x="19" y="1"/>
                  </a:cubicBezTo>
                  <a:lnTo>
                    <a:pt x="19" y="1"/>
                  </a:lnTo>
                  <a:lnTo>
                    <a:pt x="21" y="0"/>
                  </a:lnTo>
                  <a:close/>
                  <a:moveTo>
                    <a:pt x="19" y="1"/>
                  </a:moveTo>
                  <a:lnTo>
                    <a:pt x="11" y="4"/>
                  </a:lnTo>
                  <a:lnTo>
                    <a:pt x="0" y="11"/>
                  </a:lnTo>
                  <a:cubicBezTo>
                    <a:pt x="7" y="11"/>
                    <a:pt x="11" y="7"/>
                    <a:pt x="14" y="7"/>
                  </a:cubicBezTo>
                  <a:cubicBezTo>
                    <a:pt x="17" y="5"/>
                    <a:pt x="17" y="2"/>
                    <a:pt x="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3" name="Google Shape;4323;p53"/>
            <p:cNvSpPr/>
            <p:nvPr/>
          </p:nvSpPr>
          <p:spPr>
            <a:xfrm>
              <a:off x="2080902" y="1902386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0" y="1"/>
                  </a:moveTo>
                  <a:lnTo>
                    <a:pt x="0" y="43"/>
                  </a:lnTo>
                  <a:cubicBezTo>
                    <a:pt x="4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4" name="Google Shape;4324;p53"/>
            <p:cNvSpPr/>
            <p:nvPr/>
          </p:nvSpPr>
          <p:spPr>
            <a:xfrm>
              <a:off x="2080848" y="1900635"/>
              <a:ext cx="68" cy="679"/>
            </a:xfrm>
            <a:custGeom>
              <a:avLst/>
              <a:gdLst/>
              <a:ahLst/>
              <a:cxnLst/>
              <a:rect l="l" t="t" r="r" b="b"/>
              <a:pathLst>
                <a:path w="5" h="50" extrusionOk="0">
                  <a:moveTo>
                    <a:pt x="1" y="0"/>
                  </a:moveTo>
                  <a:lnTo>
                    <a:pt x="1" y="49"/>
                  </a:lnTo>
                  <a:cubicBezTo>
                    <a:pt x="4" y="35"/>
                    <a:pt x="4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5" name="Google Shape;4325;p53"/>
            <p:cNvSpPr/>
            <p:nvPr/>
          </p:nvSpPr>
          <p:spPr>
            <a:xfrm>
              <a:off x="2080943" y="1903961"/>
              <a:ext cx="14" cy="530"/>
            </a:xfrm>
            <a:custGeom>
              <a:avLst/>
              <a:gdLst/>
              <a:ahLst/>
              <a:cxnLst/>
              <a:rect l="l" t="t" r="r" b="b"/>
              <a:pathLst>
                <a:path w="1" h="39" extrusionOk="0">
                  <a:moveTo>
                    <a:pt x="1" y="0"/>
                  </a:moveTo>
                  <a:lnTo>
                    <a:pt x="1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6" name="Google Shape;4326;p53"/>
            <p:cNvSpPr/>
            <p:nvPr/>
          </p:nvSpPr>
          <p:spPr>
            <a:xfrm>
              <a:off x="2080753" y="1916032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7"/>
                    <a:pt x="1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7" name="Google Shape;4327;p53"/>
            <p:cNvSpPr/>
            <p:nvPr/>
          </p:nvSpPr>
          <p:spPr>
            <a:xfrm>
              <a:off x="2080848" y="1914077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8" name="Google Shape;4328;p53"/>
            <p:cNvSpPr/>
            <p:nvPr/>
          </p:nvSpPr>
          <p:spPr>
            <a:xfrm>
              <a:off x="2080563" y="191844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9" name="Google Shape;4329;p53"/>
            <p:cNvSpPr/>
            <p:nvPr/>
          </p:nvSpPr>
          <p:spPr>
            <a:xfrm>
              <a:off x="2080617" y="191816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0" name="Google Shape;4330;p53"/>
            <p:cNvSpPr/>
            <p:nvPr/>
          </p:nvSpPr>
          <p:spPr>
            <a:xfrm>
              <a:off x="2080902" y="191327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1" name="Google Shape;4331;p53"/>
            <p:cNvSpPr/>
            <p:nvPr/>
          </p:nvSpPr>
          <p:spPr>
            <a:xfrm>
              <a:off x="2080658" y="1917838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2" name="Google Shape;4332;p53"/>
            <p:cNvSpPr/>
            <p:nvPr/>
          </p:nvSpPr>
          <p:spPr>
            <a:xfrm>
              <a:off x="2080522" y="191869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3" name="Google Shape;4333;p53"/>
            <p:cNvSpPr/>
            <p:nvPr/>
          </p:nvSpPr>
          <p:spPr>
            <a:xfrm>
              <a:off x="2080373" y="191920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4" name="Google Shape;4334;p53"/>
            <p:cNvSpPr/>
            <p:nvPr/>
          </p:nvSpPr>
          <p:spPr>
            <a:xfrm>
              <a:off x="2080468" y="191892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5" name="Google Shape;4335;p53"/>
            <p:cNvSpPr/>
            <p:nvPr/>
          </p:nvSpPr>
          <p:spPr>
            <a:xfrm>
              <a:off x="2080427" y="191907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6" name="Google Shape;4336;p53"/>
            <p:cNvSpPr/>
            <p:nvPr/>
          </p:nvSpPr>
          <p:spPr>
            <a:xfrm>
              <a:off x="2080943" y="191042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7" name="Google Shape;4337;p53"/>
            <p:cNvSpPr/>
            <p:nvPr/>
          </p:nvSpPr>
          <p:spPr>
            <a:xfrm>
              <a:off x="2080943" y="19114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8" name="Google Shape;4338;p53"/>
            <p:cNvSpPr/>
            <p:nvPr/>
          </p:nvSpPr>
          <p:spPr>
            <a:xfrm>
              <a:off x="2080902" y="1912420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0"/>
                  </a:moveTo>
                  <a:cubicBezTo>
                    <a:pt x="4" y="7"/>
                    <a:pt x="0" y="14"/>
                    <a:pt x="4" y="25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9" name="Google Shape;4339;p53"/>
            <p:cNvSpPr/>
            <p:nvPr/>
          </p:nvSpPr>
          <p:spPr>
            <a:xfrm>
              <a:off x="2080848" y="1914796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0" name="Google Shape;4340;p53"/>
            <p:cNvSpPr/>
            <p:nvPr/>
          </p:nvSpPr>
          <p:spPr>
            <a:xfrm>
              <a:off x="2080753" y="1916548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1" name="Google Shape;4341;p53"/>
            <p:cNvSpPr/>
            <p:nvPr/>
          </p:nvSpPr>
          <p:spPr>
            <a:xfrm>
              <a:off x="2080712" y="191707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2" name="Google Shape;4342;p53"/>
            <p:cNvSpPr/>
            <p:nvPr/>
          </p:nvSpPr>
          <p:spPr>
            <a:xfrm>
              <a:off x="2080807" y="1915462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3" name="Google Shape;4343;p53"/>
            <p:cNvSpPr/>
            <p:nvPr/>
          </p:nvSpPr>
          <p:spPr>
            <a:xfrm>
              <a:off x="2080658" y="1917457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4" name="Google Shape;4344;p53"/>
            <p:cNvSpPr/>
            <p:nvPr/>
          </p:nvSpPr>
          <p:spPr>
            <a:xfrm>
              <a:off x="2050855" y="1932094"/>
              <a:ext cx="1629" cy="68"/>
            </a:xfrm>
            <a:custGeom>
              <a:avLst/>
              <a:gdLst/>
              <a:ahLst/>
              <a:cxnLst/>
              <a:rect l="l" t="t" r="r" b="b"/>
              <a:pathLst>
                <a:path w="120" h="5" extrusionOk="0">
                  <a:moveTo>
                    <a:pt x="120" y="1"/>
                  </a:moveTo>
                  <a:cubicBezTo>
                    <a:pt x="78" y="1"/>
                    <a:pt x="39" y="4"/>
                    <a:pt x="1" y="4"/>
                  </a:cubicBezTo>
                  <a:cubicBezTo>
                    <a:pt x="39" y="4"/>
                    <a:pt x="81" y="4"/>
                    <a:pt x="1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5" name="Google Shape;4345;p53"/>
            <p:cNvSpPr/>
            <p:nvPr/>
          </p:nvSpPr>
          <p:spPr>
            <a:xfrm>
              <a:off x="2080943" y="1905482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6" name="Google Shape;4346;p53"/>
            <p:cNvSpPr/>
            <p:nvPr/>
          </p:nvSpPr>
          <p:spPr>
            <a:xfrm>
              <a:off x="2080943" y="1906813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7" name="Google Shape;4347;p53"/>
            <p:cNvSpPr/>
            <p:nvPr/>
          </p:nvSpPr>
          <p:spPr>
            <a:xfrm>
              <a:off x="2054996" y="1931714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8" name="Google Shape;4348;p53"/>
            <p:cNvSpPr/>
            <p:nvPr/>
          </p:nvSpPr>
          <p:spPr>
            <a:xfrm>
              <a:off x="2080943" y="1909325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9" name="Google Shape;4349;p53"/>
            <p:cNvSpPr/>
            <p:nvPr/>
          </p:nvSpPr>
          <p:spPr>
            <a:xfrm>
              <a:off x="2080943" y="190808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0" name="Google Shape;4350;p53"/>
            <p:cNvSpPr/>
            <p:nvPr/>
          </p:nvSpPr>
          <p:spPr>
            <a:xfrm>
              <a:off x="2062124" y="1929243"/>
              <a:ext cx="5906" cy="638"/>
            </a:xfrm>
            <a:custGeom>
              <a:avLst/>
              <a:gdLst/>
              <a:ahLst/>
              <a:cxnLst/>
              <a:rect l="l" t="t" r="r" b="b"/>
              <a:pathLst>
                <a:path w="435" h="47" extrusionOk="0">
                  <a:moveTo>
                    <a:pt x="435" y="1"/>
                  </a:moveTo>
                  <a:cubicBezTo>
                    <a:pt x="291" y="25"/>
                    <a:pt x="148" y="39"/>
                    <a:pt x="1" y="46"/>
                  </a:cubicBezTo>
                  <a:cubicBezTo>
                    <a:pt x="148" y="39"/>
                    <a:pt x="291" y="25"/>
                    <a:pt x="4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1" name="Google Shape;4351;p53"/>
            <p:cNvSpPr/>
            <p:nvPr/>
          </p:nvSpPr>
          <p:spPr>
            <a:xfrm>
              <a:off x="2080237" y="1919548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2" name="Google Shape;4352;p53"/>
            <p:cNvSpPr/>
            <p:nvPr/>
          </p:nvSpPr>
          <p:spPr>
            <a:xfrm>
              <a:off x="2080332" y="1919358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3" name="Google Shape;4353;p53"/>
            <p:cNvSpPr/>
            <p:nvPr/>
          </p:nvSpPr>
          <p:spPr>
            <a:xfrm>
              <a:off x="2080278" y="19194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4" name="Google Shape;4354;p53"/>
            <p:cNvSpPr/>
            <p:nvPr/>
          </p:nvSpPr>
          <p:spPr>
            <a:xfrm>
              <a:off x="2080183" y="191960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5" name="Google Shape;4355;p53"/>
            <p:cNvSpPr/>
            <p:nvPr/>
          </p:nvSpPr>
          <p:spPr>
            <a:xfrm>
              <a:off x="2080142" y="191964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6" name="Google Shape;4356;p53"/>
            <p:cNvSpPr/>
            <p:nvPr/>
          </p:nvSpPr>
          <p:spPr>
            <a:xfrm>
              <a:off x="2079992" y="19197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7" name="Google Shape;4357;p53"/>
            <p:cNvSpPr/>
            <p:nvPr/>
          </p:nvSpPr>
          <p:spPr>
            <a:xfrm>
              <a:off x="2060658" y="1947735"/>
              <a:ext cx="1914" cy="407"/>
            </a:xfrm>
            <a:custGeom>
              <a:avLst/>
              <a:gdLst/>
              <a:ahLst/>
              <a:cxnLst/>
              <a:rect l="l" t="t" r="r" b="b"/>
              <a:pathLst>
                <a:path w="141" h="30" extrusionOk="0">
                  <a:moveTo>
                    <a:pt x="140" y="1"/>
                  </a:moveTo>
                  <a:cubicBezTo>
                    <a:pt x="130" y="4"/>
                    <a:pt x="118" y="8"/>
                    <a:pt x="106" y="11"/>
                  </a:cubicBezTo>
                  <a:lnTo>
                    <a:pt x="106" y="11"/>
                  </a:lnTo>
                  <a:cubicBezTo>
                    <a:pt x="118" y="8"/>
                    <a:pt x="130" y="4"/>
                    <a:pt x="140" y="1"/>
                  </a:cubicBezTo>
                  <a:close/>
                  <a:moveTo>
                    <a:pt x="106" y="11"/>
                  </a:moveTo>
                  <a:cubicBezTo>
                    <a:pt x="77" y="20"/>
                    <a:pt x="45" y="28"/>
                    <a:pt x="21" y="28"/>
                  </a:cubicBezTo>
                  <a:cubicBezTo>
                    <a:pt x="13" y="28"/>
                    <a:pt x="6" y="27"/>
                    <a:pt x="0" y="25"/>
                  </a:cubicBezTo>
                  <a:lnTo>
                    <a:pt x="0" y="25"/>
                  </a:lnTo>
                  <a:cubicBezTo>
                    <a:pt x="7" y="28"/>
                    <a:pt x="15" y="29"/>
                    <a:pt x="24" y="29"/>
                  </a:cubicBezTo>
                  <a:cubicBezTo>
                    <a:pt x="47" y="29"/>
                    <a:pt x="78" y="20"/>
                    <a:pt x="106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8" name="Google Shape;4358;p53"/>
            <p:cNvSpPr/>
            <p:nvPr/>
          </p:nvSpPr>
          <p:spPr>
            <a:xfrm>
              <a:off x="2050855" y="19321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9" name="Google Shape;4359;p53"/>
            <p:cNvSpPr/>
            <p:nvPr/>
          </p:nvSpPr>
          <p:spPr>
            <a:xfrm>
              <a:off x="2050719" y="193390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0" name="Google Shape;4360;p53"/>
            <p:cNvSpPr/>
            <p:nvPr/>
          </p:nvSpPr>
          <p:spPr>
            <a:xfrm>
              <a:off x="2066401" y="1952067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1" name="Google Shape;4361;p53"/>
            <p:cNvSpPr/>
            <p:nvPr/>
          </p:nvSpPr>
          <p:spPr>
            <a:xfrm>
              <a:off x="2050760" y="193275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2" name="Google Shape;4362;p53"/>
            <p:cNvSpPr/>
            <p:nvPr/>
          </p:nvSpPr>
          <p:spPr>
            <a:xfrm>
              <a:off x="2065981" y="195191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3" name="Google Shape;4363;p53"/>
            <p:cNvSpPr/>
            <p:nvPr/>
          </p:nvSpPr>
          <p:spPr>
            <a:xfrm>
              <a:off x="2050719" y="193418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4" name="Google Shape;4364;p53"/>
            <p:cNvSpPr/>
            <p:nvPr/>
          </p:nvSpPr>
          <p:spPr>
            <a:xfrm>
              <a:off x="2050719" y="19343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5" name="Google Shape;4365;p53"/>
            <p:cNvSpPr/>
            <p:nvPr/>
          </p:nvSpPr>
          <p:spPr>
            <a:xfrm>
              <a:off x="2050719" y="19345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6" name="Google Shape;4366;p53"/>
            <p:cNvSpPr/>
            <p:nvPr/>
          </p:nvSpPr>
          <p:spPr>
            <a:xfrm>
              <a:off x="2065166" y="195168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7" name="Google Shape;4367;p53"/>
            <p:cNvSpPr/>
            <p:nvPr/>
          </p:nvSpPr>
          <p:spPr>
            <a:xfrm>
              <a:off x="2050719" y="19336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8" name="Google Shape;4368;p53"/>
            <p:cNvSpPr/>
            <p:nvPr/>
          </p:nvSpPr>
          <p:spPr>
            <a:xfrm>
              <a:off x="2065600" y="195182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9" name="Google Shape;4369;p53"/>
            <p:cNvSpPr/>
            <p:nvPr/>
          </p:nvSpPr>
          <p:spPr>
            <a:xfrm>
              <a:off x="2050719" y="193323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0" name="Google Shape;4370;p53"/>
            <p:cNvSpPr/>
            <p:nvPr/>
          </p:nvSpPr>
          <p:spPr>
            <a:xfrm>
              <a:off x="2149346" y="1865605"/>
              <a:ext cx="72640" cy="121356"/>
            </a:xfrm>
            <a:custGeom>
              <a:avLst/>
              <a:gdLst/>
              <a:ahLst/>
              <a:cxnLst/>
              <a:rect l="l" t="t" r="r" b="b"/>
              <a:pathLst>
                <a:path w="5350" h="8938" extrusionOk="0">
                  <a:moveTo>
                    <a:pt x="1229" y="0"/>
                  </a:moveTo>
                  <a:lnTo>
                    <a:pt x="806" y="228"/>
                  </a:lnTo>
                  <a:cubicBezTo>
                    <a:pt x="816" y="382"/>
                    <a:pt x="823" y="529"/>
                    <a:pt x="827" y="648"/>
                  </a:cubicBezTo>
                  <a:lnTo>
                    <a:pt x="827" y="690"/>
                  </a:lnTo>
                  <a:lnTo>
                    <a:pt x="827" y="697"/>
                  </a:lnTo>
                  <a:lnTo>
                    <a:pt x="827" y="728"/>
                  </a:lnTo>
                  <a:lnTo>
                    <a:pt x="827" y="739"/>
                  </a:lnTo>
                  <a:lnTo>
                    <a:pt x="827" y="767"/>
                  </a:lnTo>
                  <a:lnTo>
                    <a:pt x="827" y="777"/>
                  </a:lnTo>
                  <a:lnTo>
                    <a:pt x="827" y="798"/>
                  </a:lnTo>
                  <a:lnTo>
                    <a:pt x="827" y="812"/>
                  </a:lnTo>
                  <a:lnTo>
                    <a:pt x="827" y="830"/>
                  </a:lnTo>
                  <a:lnTo>
                    <a:pt x="827" y="844"/>
                  </a:lnTo>
                  <a:lnTo>
                    <a:pt x="827" y="854"/>
                  </a:lnTo>
                  <a:lnTo>
                    <a:pt x="827" y="868"/>
                  </a:lnTo>
                  <a:lnTo>
                    <a:pt x="827" y="875"/>
                  </a:lnTo>
                  <a:lnTo>
                    <a:pt x="827" y="893"/>
                  </a:lnTo>
                  <a:cubicBezTo>
                    <a:pt x="827" y="928"/>
                    <a:pt x="869" y="984"/>
                    <a:pt x="911" y="1040"/>
                  </a:cubicBezTo>
                  <a:cubicBezTo>
                    <a:pt x="977" y="1134"/>
                    <a:pt x="1065" y="1257"/>
                    <a:pt x="1054" y="1400"/>
                  </a:cubicBezTo>
                  <a:cubicBezTo>
                    <a:pt x="1047" y="1453"/>
                    <a:pt x="1065" y="1509"/>
                    <a:pt x="1100" y="1547"/>
                  </a:cubicBezTo>
                  <a:cubicBezTo>
                    <a:pt x="1166" y="1628"/>
                    <a:pt x="1184" y="1736"/>
                    <a:pt x="1149" y="1831"/>
                  </a:cubicBezTo>
                  <a:cubicBezTo>
                    <a:pt x="1093" y="2017"/>
                    <a:pt x="1061" y="2206"/>
                    <a:pt x="1054" y="2398"/>
                  </a:cubicBezTo>
                  <a:cubicBezTo>
                    <a:pt x="1054" y="3739"/>
                    <a:pt x="998" y="3781"/>
                    <a:pt x="963" y="3809"/>
                  </a:cubicBezTo>
                  <a:cubicBezTo>
                    <a:pt x="883" y="3868"/>
                    <a:pt x="158" y="4611"/>
                    <a:pt x="116" y="4866"/>
                  </a:cubicBezTo>
                  <a:cubicBezTo>
                    <a:pt x="113" y="4884"/>
                    <a:pt x="109" y="4901"/>
                    <a:pt x="106" y="4915"/>
                  </a:cubicBezTo>
                  <a:cubicBezTo>
                    <a:pt x="95" y="4982"/>
                    <a:pt x="74" y="5045"/>
                    <a:pt x="43" y="5104"/>
                  </a:cubicBezTo>
                  <a:cubicBezTo>
                    <a:pt x="25" y="5136"/>
                    <a:pt x="15" y="5167"/>
                    <a:pt x="8" y="5202"/>
                  </a:cubicBezTo>
                  <a:cubicBezTo>
                    <a:pt x="4" y="5244"/>
                    <a:pt x="1" y="5283"/>
                    <a:pt x="4" y="5321"/>
                  </a:cubicBezTo>
                  <a:lnTo>
                    <a:pt x="4" y="5384"/>
                  </a:lnTo>
                  <a:lnTo>
                    <a:pt x="4" y="5395"/>
                  </a:lnTo>
                  <a:lnTo>
                    <a:pt x="4" y="5458"/>
                  </a:lnTo>
                  <a:cubicBezTo>
                    <a:pt x="22" y="5475"/>
                    <a:pt x="39" y="5493"/>
                    <a:pt x="53" y="5514"/>
                  </a:cubicBezTo>
                  <a:cubicBezTo>
                    <a:pt x="67" y="5531"/>
                    <a:pt x="81" y="5552"/>
                    <a:pt x="99" y="5566"/>
                  </a:cubicBezTo>
                  <a:cubicBezTo>
                    <a:pt x="127" y="5598"/>
                    <a:pt x="151" y="5636"/>
                    <a:pt x="172" y="5675"/>
                  </a:cubicBezTo>
                  <a:cubicBezTo>
                    <a:pt x="204" y="5734"/>
                    <a:pt x="221" y="5766"/>
                    <a:pt x="274" y="5773"/>
                  </a:cubicBezTo>
                  <a:lnTo>
                    <a:pt x="295" y="5773"/>
                  </a:lnTo>
                  <a:cubicBezTo>
                    <a:pt x="309" y="5776"/>
                    <a:pt x="326" y="5776"/>
                    <a:pt x="344" y="5780"/>
                  </a:cubicBezTo>
                  <a:cubicBezTo>
                    <a:pt x="403" y="5801"/>
                    <a:pt x="456" y="5839"/>
                    <a:pt x="498" y="5888"/>
                  </a:cubicBezTo>
                  <a:cubicBezTo>
                    <a:pt x="617" y="6025"/>
                    <a:pt x="711" y="6246"/>
                    <a:pt x="697" y="6365"/>
                  </a:cubicBezTo>
                  <a:cubicBezTo>
                    <a:pt x="694" y="6417"/>
                    <a:pt x="704" y="6466"/>
                    <a:pt x="722" y="6515"/>
                  </a:cubicBezTo>
                  <a:cubicBezTo>
                    <a:pt x="757" y="6624"/>
                    <a:pt x="771" y="6736"/>
                    <a:pt x="764" y="6848"/>
                  </a:cubicBezTo>
                  <a:cubicBezTo>
                    <a:pt x="750" y="7096"/>
                    <a:pt x="907" y="7432"/>
                    <a:pt x="960" y="7467"/>
                  </a:cubicBezTo>
                  <a:cubicBezTo>
                    <a:pt x="1005" y="7485"/>
                    <a:pt x="1026" y="7534"/>
                    <a:pt x="1012" y="7579"/>
                  </a:cubicBezTo>
                  <a:cubicBezTo>
                    <a:pt x="1012" y="7586"/>
                    <a:pt x="1009" y="7593"/>
                    <a:pt x="1005" y="7597"/>
                  </a:cubicBezTo>
                  <a:cubicBezTo>
                    <a:pt x="970" y="7660"/>
                    <a:pt x="862" y="7670"/>
                    <a:pt x="774" y="7670"/>
                  </a:cubicBezTo>
                  <a:cubicBezTo>
                    <a:pt x="743" y="7670"/>
                    <a:pt x="715" y="7670"/>
                    <a:pt x="694" y="7667"/>
                  </a:cubicBezTo>
                  <a:cubicBezTo>
                    <a:pt x="624" y="7661"/>
                    <a:pt x="562" y="7659"/>
                    <a:pt x="509" y="7659"/>
                  </a:cubicBezTo>
                  <a:cubicBezTo>
                    <a:pt x="395" y="7659"/>
                    <a:pt x="321" y="7670"/>
                    <a:pt x="295" y="7684"/>
                  </a:cubicBezTo>
                  <a:cubicBezTo>
                    <a:pt x="295" y="7698"/>
                    <a:pt x="291" y="7716"/>
                    <a:pt x="288" y="7730"/>
                  </a:cubicBezTo>
                  <a:cubicBezTo>
                    <a:pt x="277" y="7800"/>
                    <a:pt x="263" y="7877"/>
                    <a:pt x="403" y="8006"/>
                  </a:cubicBezTo>
                  <a:cubicBezTo>
                    <a:pt x="466" y="8066"/>
                    <a:pt x="526" y="8112"/>
                    <a:pt x="582" y="8154"/>
                  </a:cubicBezTo>
                  <a:cubicBezTo>
                    <a:pt x="715" y="8255"/>
                    <a:pt x="823" y="8339"/>
                    <a:pt x="876" y="8504"/>
                  </a:cubicBezTo>
                  <a:cubicBezTo>
                    <a:pt x="911" y="8637"/>
                    <a:pt x="963" y="8763"/>
                    <a:pt x="1030" y="8885"/>
                  </a:cubicBezTo>
                  <a:lnTo>
                    <a:pt x="1040" y="8889"/>
                  </a:lnTo>
                  <a:cubicBezTo>
                    <a:pt x="1047" y="8899"/>
                    <a:pt x="1054" y="8913"/>
                    <a:pt x="1065" y="8924"/>
                  </a:cubicBezTo>
                  <a:lnTo>
                    <a:pt x="1072" y="8927"/>
                  </a:lnTo>
                  <a:cubicBezTo>
                    <a:pt x="1079" y="8934"/>
                    <a:pt x="1089" y="8938"/>
                    <a:pt x="1100" y="8938"/>
                  </a:cubicBezTo>
                  <a:lnTo>
                    <a:pt x="1124" y="8938"/>
                  </a:lnTo>
                  <a:cubicBezTo>
                    <a:pt x="1194" y="8917"/>
                    <a:pt x="1250" y="8875"/>
                    <a:pt x="1285" y="8812"/>
                  </a:cubicBezTo>
                  <a:cubicBezTo>
                    <a:pt x="1326" y="8755"/>
                    <a:pt x="1370" y="8737"/>
                    <a:pt x="1413" y="8737"/>
                  </a:cubicBezTo>
                  <a:cubicBezTo>
                    <a:pt x="1470" y="8737"/>
                    <a:pt x="1523" y="8771"/>
                    <a:pt x="1555" y="8791"/>
                  </a:cubicBezTo>
                  <a:cubicBezTo>
                    <a:pt x="1594" y="8816"/>
                    <a:pt x="1612" y="8825"/>
                    <a:pt x="1623" y="8825"/>
                  </a:cubicBezTo>
                  <a:cubicBezTo>
                    <a:pt x="1632" y="8825"/>
                    <a:pt x="1636" y="8819"/>
                    <a:pt x="1642" y="8812"/>
                  </a:cubicBezTo>
                  <a:cubicBezTo>
                    <a:pt x="1734" y="8693"/>
                    <a:pt x="1940" y="8665"/>
                    <a:pt x="2105" y="8644"/>
                  </a:cubicBezTo>
                  <a:cubicBezTo>
                    <a:pt x="2161" y="8640"/>
                    <a:pt x="2213" y="8630"/>
                    <a:pt x="2266" y="8616"/>
                  </a:cubicBezTo>
                  <a:lnTo>
                    <a:pt x="2350" y="8574"/>
                  </a:lnTo>
                  <a:cubicBezTo>
                    <a:pt x="2469" y="8518"/>
                    <a:pt x="2668" y="8423"/>
                    <a:pt x="2738" y="8364"/>
                  </a:cubicBezTo>
                  <a:cubicBezTo>
                    <a:pt x="2738" y="8364"/>
                    <a:pt x="2738" y="8360"/>
                    <a:pt x="2742" y="8360"/>
                  </a:cubicBezTo>
                  <a:cubicBezTo>
                    <a:pt x="2735" y="8343"/>
                    <a:pt x="2731" y="8322"/>
                    <a:pt x="2721" y="8308"/>
                  </a:cubicBezTo>
                  <a:cubicBezTo>
                    <a:pt x="2700" y="8252"/>
                    <a:pt x="2647" y="8136"/>
                    <a:pt x="2780" y="8066"/>
                  </a:cubicBezTo>
                  <a:cubicBezTo>
                    <a:pt x="2834" y="8036"/>
                    <a:pt x="2909" y="8030"/>
                    <a:pt x="2994" y="8030"/>
                  </a:cubicBezTo>
                  <a:cubicBezTo>
                    <a:pt x="3020" y="8030"/>
                    <a:pt x="3047" y="8030"/>
                    <a:pt x="3074" y="8031"/>
                  </a:cubicBezTo>
                  <a:cubicBezTo>
                    <a:pt x="3100" y="8032"/>
                    <a:pt x="3127" y="8032"/>
                    <a:pt x="3153" y="8032"/>
                  </a:cubicBezTo>
                  <a:cubicBezTo>
                    <a:pt x="3305" y="8032"/>
                    <a:pt x="3459" y="8017"/>
                    <a:pt x="3536" y="7919"/>
                  </a:cubicBezTo>
                  <a:cubicBezTo>
                    <a:pt x="3680" y="7747"/>
                    <a:pt x="3834" y="7586"/>
                    <a:pt x="3999" y="7436"/>
                  </a:cubicBezTo>
                  <a:cubicBezTo>
                    <a:pt x="4030" y="7408"/>
                    <a:pt x="4058" y="7383"/>
                    <a:pt x="4076" y="7366"/>
                  </a:cubicBezTo>
                  <a:cubicBezTo>
                    <a:pt x="4093" y="7348"/>
                    <a:pt x="4100" y="7324"/>
                    <a:pt x="4100" y="7299"/>
                  </a:cubicBezTo>
                  <a:cubicBezTo>
                    <a:pt x="4100" y="7226"/>
                    <a:pt x="4132" y="7156"/>
                    <a:pt x="4188" y="7107"/>
                  </a:cubicBezTo>
                  <a:cubicBezTo>
                    <a:pt x="4261" y="7030"/>
                    <a:pt x="4426" y="6911"/>
                    <a:pt x="4573" y="6893"/>
                  </a:cubicBezTo>
                  <a:lnTo>
                    <a:pt x="4646" y="6893"/>
                  </a:lnTo>
                  <a:cubicBezTo>
                    <a:pt x="4653" y="6893"/>
                    <a:pt x="4660" y="6897"/>
                    <a:pt x="4667" y="6900"/>
                  </a:cubicBezTo>
                  <a:lnTo>
                    <a:pt x="4681" y="6904"/>
                  </a:lnTo>
                  <a:cubicBezTo>
                    <a:pt x="4688" y="6904"/>
                    <a:pt x="4692" y="6907"/>
                    <a:pt x="4699" y="6911"/>
                  </a:cubicBezTo>
                  <a:cubicBezTo>
                    <a:pt x="4706" y="6911"/>
                    <a:pt x="4706" y="6911"/>
                    <a:pt x="4713" y="6914"/>
                  </a:cubicBezTo>
                  <a:lnTo>
                    <a:pt x="4751" y="6771"/>
                  </a:lnTo>
                  <a:cubicBezTo>
                    <a:pt x="4664" y="6715"/>
                    <a:pt x="4496" y="6585"/>
                    <a:pt x="4496" y="6403"/>
                  </a:cubicBezTo>
                  <a:cubicBezTo>
                    <a:pt x="4496" y="6351"/>
                    <a:pt x="4499" y="6305"/>
                    <a:pt x="4503" y="6256"/>
                  </a:cubicBezTo>
                  <a:cubicBezTo>
                    <a:pt x="4506" y="6186"/>
                    <a:pt x="4513" y="6095"/>
                    <a:pt x="4492" y="6071"/>
                  </a:cubicBezTo>
                  <a:cubicBezTo>
                    <a:pt x="4482" y="6064"/>
                    <a:pt x="4471" y="6064"/>
                    <a:pt x="4457" y="6064"/>
                  </a:cubicBezTo>
                  <a:cubicBezTo>
                    <a:pt x="4452" y="6064"/>
                    <a:pt x="4447" y="6064"/>
                    <a:pt x="4441" y="6064"/>
                  </a:cubicBezTo>
                  <a:cubicBezTo>
                    <a:pt x="4363" y="6064"/>
                    <a:pt x="4290" y="6017"/>
                    <a:pt x="4258" y="5944"/>
                  </a:cubicBezTo>
                  <a:cubicBezTo>
                    <a:pt x="4219" y="5853"/>
                    <a:pt x="4254" y="5738"/>
                    <a:pt x="4345" y="5647"/>
                  </a:cubicBezTo>
                  <a:cubicBezTo>
                    <a:pt x="4373" y="5619"/>
                    <a:pt x="4352" y="5559"/>
                    <a:pt x="4314" y="5479"/>
                  </a:cubicBezTo>
                  <a:cubicBezTo>
                    <a:pt x="4286" y="5409"/>
                    <a:pt x="4251" y="5339"/>
                    <a:pt x="4289" y="5279"/>
                  </a:cubicBezTo>
                  <a:cubicBezTo>
                    <a:pt x="4322" y="5244"/>
                    <a:pt x="4366" y="5223"/>
                    <a:pt x="4414" y="5223"/>
                  </a:cubicBezTo>
                  <a:cubicBezTo>
                    <a:pt x="4418" y="5223"/>
                    <a:pt x="4422" y="5223"/>
                    <a:pt x="4426" y="5223"/>
                  </a:cubicBezTo>
                  <a:cubicBezTo>
                    <a:pt x="4478" y="5223"/>
                    <a:pt x="4492" y="5206"/>
                    <a:pt x="4506" y="5069"/>
                  </a:cubicBezTo>
                  <a:cubicBezTo>
                    <a:pt x="4513" y="4975"/>
                    <a:pt x="4524" y="4845"/>
                    <a:pt x="4646" y="4821"/>
                  </a:cubicBezTo>
                  <a:cubicBezTo>
                    <a:pt x="4758" y="4796"/>
                    <a:pt x="4797" y="4723"/>
                    <a:pt x="4797" y="4548"/>
                  </a:cubicBezTo>
                  <a:cubicBezTo>
                    <a:pt x="4797" y="4345"/>
                    <a:pt x="5126" y="4240"/>
                    <a:pt x="5283" y="4191"/>
                  </a:cubicBezTo>
                  <a:lnTo>
                    <a:pt x="5308" y="4184"/>
                  </a:lnTo>
                  <a:cubicBezTo>
                    <a:pt x="5336" y="4135"/>
                    <a:pt x="5350" y="3903"/>
                    <a:pt x="5336" y="3672"/>
                  </a:cubicBezTo>
                  <a:lnTo>
                    <a:pt x="5336" y="2209"/>
                  </a:lnTo>
                  <a:lnTo>
                    <a:pt x="12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1" name="Google Shape;4371;p53"/>
            <p:cNvSpPr/>
            <p:nvPr/>
          </p:nvSpPr>
          <p:spPr>
            <a:xfrm>
              <a:off x="2163888" y="198681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29" y="11"/>
                  </a:moveTo>
                  <a:cubicBezTo>
                    <a:pt x="18" y="11"/>
                    <a:pt x="8" y="7"/>
                    <a:pt x="1" y="0"/>
                  </a:cubicBezTo>
                  <a:lnTo>
                    <a:pt x="1" y="0"/>
                  </a:lnTo>
                  <a:cubicBezTo>
                    <a:pt x="8" y="7"/>
                    <a:pt x="18" y="11"/>
                    <a:pt x="29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2" name="Google Shape;4372;p53"/>
            <p:cNvSpPr/>
            <p:nvPr/>
          </p:nvSpPr>
          <p:spPr>
            <a:xfrm>
              <a:off x="2163467" y="1986282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0" y="1"/>
                  </a:moveTo>
                  <a:cubicBezTo>
                    <a:pt x="4" y="9"/>
                    <a:pt x="8" y="16"/>
                    <a:pt x="13" y="22"/>
                  </a:cubicBezTo>
                  <a:lnTo>
                    <a:pt x="13" y="22"/>
                  </a:lnTo>
                  <a:cubicBezTo>
                    <a:pt x="12" y="21"/>
                    <a:pt x="11" y="20"/>
                    <a:pt x="11" y="18"/>
                  </a:cubicBezTo>
                  <a:lnTo>
                    <a:pt x="0" y="1"/>
                  </a:lnTo>
                  <a:close/>
                  <a:moveTo>
                    <a:pt x="13" y="22"/>
                  </a:moveTo>
                  <a:lnTo>
                    <a:pt x="13" y="22"/>
                  </a:lnTo>
                  <a:cubicBezTo>
                    <a:pt x="17" y="28"/>
                    <a:pt x="22" y="33"/>
                    <a:pt x="25" y="36"/>
                  </a:cubicBezTo>
                  <a:cubicBezTo>
                    <a:pt x="20" y="31"/>
                    <a:pt x="17" y="27"/>
                    <a:pt x="13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3" name="Google Shape;4373;p53"/>
            <p:cNvSpPr/>
            <p:nvPr/>
          </p:nvSpPr>
          <p:spPr>
            <a:xfrm>
              <a:off x="2212943" y="195933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1"/>
                  </a:moveTo>
                  <a:cubicBezTo>
                    <a:pt x="4" y="4"/>
                    <a:pt x="11" y="4"/>
                    <a:pt x="18" y="8"/>
                  </a:cubicBezTo>
                  <a:cubicBezTo>
                    <a:pt x="11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4" name="Google Shape;4374;p53"/>
            <p:cNvSpPr/>
            <p:nvPr/>
          </p:nvSpPr>
          <p:spPr>
            <a:xfrm>
              <a:off x="2212468" y="1959235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cubicBezTo>
                    <a:pt x="8" y="1"/>
                    <a:pt x="15" y="4"/>
                    <a:pt x="22" y="4"/>
                  </a:cubicBezTo>
                  <a:cubicBezTo>
                    <a:pt x="15" y="1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5" name="Google Shape;4375;p53"/>
            <p:cNvSpPr/>
            <p:nvPr/>
          </p:nvSpPr>
          <p:spPr>
            <a:xfrm>
              <a:off x="2206195" y="1959235"/>
              <a:ext cx="5295" cy="2865"/>
            </a:xfrm>
            <a:custGeom>
              <a:avLst/>
              <a:gdLst/>
              <a:ahLst/>
              <a:cxnLst/>
              <a:rect l="l" t="t" r="r" b="b"/>
              <a:pathLst>
                <a:path w="390" h="211" extrusionOk="0">
                  <a:moveTo>
                    <a:pt x="1" y="211"/>
                  </a:moveTo>
                  <a:cubicBezTo>
                    <a:pt x="78" y="137"/>
                    <a:pt x="242" y="18"/>
                    <a:pt x="389" y="1"/>
                  </a:cubicBezTo>
                  <a:cubicBezTo>
                    <a:pt x="242" y="18"/>
                    <a:pt x="78" y="137"/>
                    <a:pt x="1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6" name="Google Shape;4376;p53"/>
            <p:cNvSpPr/>
            <p:nvPr/>
          </p:nvSpPr>
          <p:spPr>
            <a:xfrm>
              <a:off x="2211993" y="1959195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0"/>
                  </a:moveTo>
                  <a:cubicBezTo>
                    <a:pt x="8" y="0"/>
                    <a:pt x="15" y="0"/>
                    <a:pt x="25" y="0"/>
                  </a:cubicBezTo>
                  <a:cubicBezTo>
                    <a:pt x="15" y="0"/>
                    <a:pt x="8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7" name="Google Shape;4377;p53"/>
            <p:cNvSpPr/>
            <p:nvPr/>
          </p:nvSpPr>
          <p:spPr>
            <a:xfrm>
              <a:off x="2211477" y="1959195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4"/>
                  </a:moveTo>
                  <a:cubicBezTo>
                    <a:pt x="11" y="0"/>
                    <a:pt x="21" y="0"/>
                    <a:pt x="32" y="4"/>
                  </a:cubicBezTo>
                  <a:cubicBezTo>
                    <a:pt x="21" y="0"/>
                    <a:pt x="11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8" name="Google Shape;4378;p53"/>
            <p:cNvSpPr/>
            <p:nvPr/>
          </p:nvSpPr>
          <p:spPr>
            <a:xfrm>
              <a:off x="2154153" y="19441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9" name="Google Shape;4379;p53"/>
            <p:cNvSpPr/>
            <p:nvPr/>
          </p:nvSpPr>
          <p:spPr>
            <a:xfrm>
              <a:off x="2149536" y="1939752"/>
              <a:ext cx="1303" cy="1480"/>
            </a:xfrm>
            <a:custGeom>
              <a:avLst/>
              <a:gdLst/>
              <a:ahLst/>
              <a:cxnLst/>
              <a:rect l="l" t="t" r="r" b="b"/>
              <a:pathLst>
                <a:path w="96" h="109" extrusionOk="0">
                  <a:moveTo>
                    <a:pt x="1" y="0"/>
                  </a:moveTo>
                  <a:lnTo>
                    <a:pt x="1" y="4"/>
                  </a:lnTo>
                  <a:cubicBezTo>
                    <a:pt x="18" y="21"/>
                    <a:pt x="36" y="39"/>
                    <a:pt x="50" y="60"/>
                  </a:cubicBezTo>
                  <a:cubicBezTo>
                    <a:pt x="64" y="77"/>
                    <a:pt x="78" y="95"/>
                    <a:pt x="95" y="109"/>
                  </a:cubicBezTo>
                  <a:cubicBezTo>
                    <a:pt x="78" y="95"/>
                    <a:pt x="64" y="74"/>
                    <a:pt x="50" y="56"/>
                  </a:cubicBezTo>
                  <a:cubicBezTo>
                    <a:pt x="36" y="35"/>
                    <a:pt x="18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0" name="Google Shape;4380;p53"/>
            <p:cNvSpPr/>
            <p:nvPr/>
          </p:nvSpPr>
          <p:spPr>
            <a:xfrm>
              <a:off x="2150826" y="1941218"/>
              <a:ext cx="2675" cy="2824"/>
            </a:xfrm>
            <a:custGeom>
              <a:avLst/>
              <a:gdLst/>
              <a:ahLst/>
              <a:cxnLst/>
              <a:rect l="l" t="t" r="r" b="b"/>
              <a:pathLst>
                <a:path w="197" h="208" extrusionOk="0">
                  <a:moveTo>
                    <a:pt x="0" y="1"/>
                  </a:moveTo>
                  <a:cubicBezTo>
                    <a:pt x="28" y="36"/>
                    <a:pt x="53" y="71"/>
                    <a:pt x="74" y="109"/>
                  </a:cubicBezTo>
                  <a:cubicBezTo>
                    <a:pt x="53" y="71"/>
                    <a:pt x="28" y="32"/>
                    <a:pt x="0" y="1"/>
                  </a:cubicBezTo>
                  <a:close/>
                  <a:moveTo>
                    <a:pt x="74" y="109"/>
                  </a:moveTo>
                  <a:cubicBezTo>
                    <a:pt x="76" y="114"/>
                    <a:pt x="78" y="118"/>
                    <a:pt x="80" y="121"/>
                  </a:cubicBezTo>
                  <a:lnTo>
                    <a:pt x="80" y="121"/>
                  </a:lnTo>
                  <a:cubicBezTo>
                    <a:pt x="78" y="118"/>
                    <a:pt x="76" y="114"/>
                    <a:pt x="74" y="109"/>
                  </a:cubicBezTo>
                  <a:close/>
                  <a:moveTo>
                    <a:pt x="80" y="121"/>
                  </a:moveTo>
                  <a:lnTo>
                    <a:pt x="80" y="121"/>
                  </a:lnTo>
                  <a:cubicBezTo>
                    <a:pt x="105" y="167"/>
                    <a:pt x="122" y="194"/>
                    <a:pt x="158" y="204"/>
                  </a:cubicBezTo>
                  <a:lnTo>
                    <a:pt x="186" y="207"/>
                  </a:lnTo>
                  <a:lnTo>
                    <a:pt x="196" y="207"/>
                  </a:lnTo>
                  <a:lnTo>
                    <a:pt x="175" y="204"/>
                  </a:lnTo>
                  <a:cubicBezTo>
                    <a:pt x="130" y="201"/>
                    <a:pt x="108" y="173"/>
                    <a:pt x="80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1" name="Google Shape;4381;p53"/>
            <p:cNvSpPr/>
            <p:nvPr/>
          </p:nvSpPr>
          <p:spPr>
            <a:xfrm>
              <a:off x="2158905" y="1969785"/>
              <a:ext cx="1100" cy="68"/>
            </a:xfrm>
            <a:custGeom>
              <a:avLst/>
              <a:gdLst/>
              <a:ahLst/>
              <a:cxnLst/>
              <a:rect l="l" t="t" r="r" b="b"/>
              <a:pathLst>
                <a:path w="81" h="5" extrusionOk="0">
                  <a:moveTo>
                    <a:pt x="0" y="1"/>
                  </a:moveTo>
                  <a:cubicBezTo>
                    <a:pt x="21" y="4"/>
                    <a:pt x="49" y="4"/>
                    <a:pt x="81" y="4"/>
                  </a:cubicBezTo>
                  <a:cubicBezTo>
                    <a:pt x="49" y="4"/>
                    <a:pt x="2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2" name="Google Shape;4382;p53"/>
            <p:cNvSpPr/>
            <p:nvPr/>
          </p:nvSpPr>
          <p:spPr>
            <a:xfrm>
              <a:off x="2161376" y="1981150"/>
              <a:ext cx="2105" cy="5146"/>
            </a:xfrm>
            <a:custGeom>
              <a:avLst/>
              <a:gdLst/>
              <a:ahLst/>
              <a:cxnLst/>
              <a:rect l="l" t="t" r="r" b="b"/>
              <a:pathLst>
                <a:path w="155" h="379" extrusionOk="0">
                  <a:moveTo>
                    <a:pt x="0" y="1"/>
                  </a:moveTo>
                  <a:cubicBezTo>
                    <a:pt x="15" y="54"/>
                    <a:pt x="32" y="108"/>
                    <a:pt x="53" y="161"/>
                  </a:cubicBezTo>
                  <a:lnTo>
                    <a:pt x="53" y="161"/>
                  </a:lnTo>
                  <a:cubicBezTo>
                    <a:pt x="33" y="108"/>
                    <a:pt x="16" y="54"/>
                    <a:pt x="0" y="1"/>
                  </a:cubicBezTo>
                  <a:close/>
                  <a:moveTo>
                    <a:pt x="53" y="161"/>
                  </a:moveTo>
                  <a:lnTo>
                    <a:pt x="53" y="161"/>
                  </a:lnTo>
                  <a:cubicBezTo>
                    <a:pt x="78" y="229"/>
                    <a:pt x="107" y="296"/>
                    <a:pt x="140" y="361"/>
                  </a:cubicBezTo>
                  <a:lnTo>
                    <a:pt x="154" y="379"/>
                  </a:lnTo>
                  <a:cubicBezTo>
                    <a:pt x="115" y="309"/>
                    <a:pt x="81" y="236"/>
                    <a:pt x="53" y="16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3" name="Google Shape;4383;p53"/>
            <p:cNvSpPr/>
            <p:nvPr/>
          </p:nvSpPr>
          <p:spPr>
            <a:xfrm>
              <a:off x="2163277" y="1985997"/>
              <a:ext cx="339" cy="543"/>
            </a:xfrm>
            <a:custGeom>
              <a:avLst/>
              <a:gdLst/>
              <a:ahLst/>
              <a:cxnLst/>
              <a:rect l="l" t="t" r="r" b="b"/>
              <a:pathLst>
                <a:path w="25" h="40" extrusionOk="0">
                  <a:moveTo>
                    <a:pt x="0" y="1"/>
                  </a:moveTo>
                  <a:cubicBezTo>
                    <a:pt x="5" y="10"/>
                    <a:pt x="12" y="18"/>
                    <a:pt x="17" y="27"/>
                  </a:cubicBezTo>
                  <a:lnTo>
                    <a:pt x="17" y="27"/>
                  </a:lnTo>
                  <a:lnTo>
                    <a:pt x="14" y="22"/>
                  </a:lnTo>
                  <a:lnTo>
                    <a:pt x="0" y="1"/>
                  </a:lnTo>
                  <a:close/>
                  <a:moveTo>
                    <a:pt x="17" y="27"/>
                  </a:moveTo>
                  <a:lnTo>
                    <a:pt x="25" y="39"/>
                  </a:lnTo>
                  <a:cubicBezTo>
                    <a:pt x="23" y="35"/>
                    <a:pt x="20" y="31"/>
                    <a:pt x="17" y="2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4" name="Google Shape;4384;p53"/>
            <p:cNvSpPr/>
            <p:nvPr/>
          </p:nvSpPr>
          <p:spPr>
            <a:xfrm>
              <a:off x="2152917" y="1943974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0" y="1"/>
                  </a:moveTo>
                  <a:lnTo>
                    <a:pt x="0" y="1"/>
                  </a:lnTo>
                  <a:cubicBezTo>
                    <a:pt x="8" y="3"/>
                    <a:pt x="16" y="5"/>
                    <a:pt x="24" y="6"/>
                  </a:cubicBezTo>
                  <a:lnTo>
                    <a:pt x="24" y="6"/>
                  </a:lnTo>
                  <a:lnTo>
                    <a:pt x="0" y="1"/>
                  </a:lnTo>
                  <a:close/>
                  <a:moveTo>
                    <a:pt x="24" y="6"/>
                  </a:moveTo>
                  <a:lnTo>
                    <a:pt x="32" y="8"/>
                  </a:lnTo>
                  <a:lnTo>
                    <a:pt x="42" y="8"/>
                  </a:lnTo>
                  <a:cubicBezTo>
                    <a:pt x="36" y="8"/>
                    <a:pt x="30" y="7"/>
                    <a:pt x="24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5" name="Google Shape;4385;p53"/>
            <p:cNvSpPr/>
            <p:nvPr/>
          </p:nvSpPr>
          <p:spPr>
            <a:xfrm>
              <a:off x="2160711" y="1877105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6" name="Google Shape;4386;p53"/>
            <p:cNvSpPr/>
            <p:nvPr/>
          </p:nvSpPr>
          <p:spPr>
            <a:xfrm>
              <a:off x="2160656" y="1875680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lnTo>
                    <a:pt x="1" y="28"/>
                  </a:ln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7" name="Google Shape;4387;p53"/>
            <p:cNvSpPr/>
            <p:nvPr/>
          </p:nvSpPr>
          <p:spPr>
            <a:xfrm>
              <a:off x="2160751" y="18774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8" name="Google Shape;4388;p53"/>
            <p:cNvSpPr/>
            <p:nvPr/>
          </p:nvSpPr>
          <p:spPr>
            <a:xfrm>
              <a:off x="2160656" y="1875055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1"/>
                  </a:moveTo>
                  <a:lnTo>
                    <a:pt x="1" y="3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9" name="Google Shape;4389;p53"/>
            <p:cNvSpPr/>
            <p:nvPr/>
          </p:nvSpPr>
          <p:spPr>
            <a:xfrm>
              <a:off x="2160711" y="187667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1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0" name="Google Shape;4390;p53"/>
            <p:cNvSpPr/>
            <p:nvPr/>
          </p:nvSpPr>
          <p:spPr>
            <a:xfrm>
              <a:off x="2149536" y="1937946"/>
              <a:ext cx="14" cy="815"/>
            </a:xfrm>
            <a:custGeom>
              <a:avLst/>
              <a:gdLst/>
              <a:ahLst/>
              <a:cxnLst/>
              <a:rect l="l" t="t" r="r" b="b"/>
              <a:pathLst>
                <a:path w="1" h="60" extrusionOk="0">
                  <a:moveTo>
                    <a:pt x="1" y="0"/>
                  </a:moveTo>
                  <a:lnTo>
                    <a:pt x="1" y="60"/>
                  </a:lnTo>
                  <a:cubicBezTo>
                    <a:pt x="1" y="39"/>
                    <a:pt x="1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1" name="Google Shape;4391;p53"/>
            <p:cNvSpPr/>
            <p:nvPr/>
          </p:nvSpPr>
          <p:spPr>
            <a:xfrm>
              <a:off x="2149536" y="1938896"/>
              <a:ext cx="14" cy="869"/>
            </a:xfrm>
            <a:custGeom>
              <a:avLst/>
              <a:gdLst/>
              <a:ahLst/>
              <a:cxnLst/>
              <a:rect l="l" t="t" r="r" b="b"/>
              <a:pathLst>
                <a:path w="1" h="64" extrusionOk="0">
                  <a:moveTo>
                    <a:pt x="1" y="63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2" name="Google Shape;4392;p53"/>
            <p:cNvSpPr/>
            <p:nvPr/>
          </p:nvSpPr>
          <p:spPr>
            <a:xfrm>
              <a:off x="2160616" y="1874444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0" y="0"/>
                  </a:moveTo>
                  <a:lnTo>
                    <a:pt x="0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3" name="Google Shape;4393;p53"/>
            <p:cNvSpPr/>
            <p:nvPr/>
          </p:nvSpPr>
          <p:spPr>
            <a:xfrm>
              <a:off x="2160711" y="187619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4" name="Google Shape;4394;p53"/>
            <p:cNvSpPr/>
            <p:nvPr/>
          </p:nvSpPr>
          <p:spPr>
            <a:xfrm>
              <a:off x="2160331" y="1868741"/>
              <a:ext cx="299" cy="5716"/>
            </a:xfrm>
            <a:custGeom>
              <a:avLst/>
              <a:gdLst/>
              <a:ahLst/>
              <a:cxnLst/>
              <a:rect l="l" t="t" r="r" b="b"/>
              <a:pathLst>
                <a:path w="22" h="421" extrusionOk="0">
                  <a:moveTo>
                    <a:pt x="0" y="1"/>
                  </a:moveTo>
                  <a:cubicBezTo>
                    <a:pt x="7" y="154"/>
                    <a:pt x="14" y="301"/>
                    <a:pt x="21" y="420"/>
                  </a:cubicBezTo>
                  <a:cubicBezTo>
                    <a:pt x="18" y="301"/>
                    <a:pt x="7" y="15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5" name="Google Shape;4395;p53"/>
            <p:cNvSpPr/>
            <p:nvPr/>
          </p:nvSpPr>
          <p:spPr>
            <a:xfrm>
              <a:off x="2149631" y="1932379"/>
              <a:ext cx="1344" cy="3910"/>
            </a:xfrm>
            <a:custGeom>
              <a:avLst/>
              <a:gdLst/>
              <a:ahLst/>
              <a:cxnLst/>
              <a:rect l="l" t="t" r="r" b="b"/>
              <a:pathLst>
                <a:path w="99" h="288" extrusionOk="0">
                  <a:moveTo>
                    <a:pt x="1" y="288"/>
                  </a:moveTo>
                  <a:cubicBezTo>
                    <a:pt x="4" y="253"/>
                    <a:pt x="15" y="221"/>
                    <a:pt x="32" y="190"/>
                  </a:cubicBezTo>
                  <a:cubicBezTo>
                    <a:pt x="64" y="130"/>
                    <a:pt x="85" y="67"/>
                    <a:pt x="99" y="1"/>
                  </a:cubicBezTo>
                  <a:cubicBezTo>
                    <a:pt x="85" y="67"/>
                    <a:pt x="64" y="130"/>
                    <a:pt x="32" y="190"/>
                  </a:cubicBezTo>
                  <a:cubicBezTo>
                    <a:pt x="15" y="221"/>
                    <a:pt x="4" y="253"/>
                    <a:pt x="1" y="2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6" name="Google Shape;4396;p53"/>
            <p:cNvSpPr/>
            <p:nvPr/>
          </p:nvSpPr>
          <p:spPr>
            <a:xfrm>
              <a:off x="2149536" y="19397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7" name="Google Shape;4397;p53"/>
            <p:cNvSpPr/>
            <p:nvPr/>
          </p:nvSpPr>
          <p:spPr>
            <a:xfrm>
              <a:off x="2229209" y="1797813"/>
              <a:ext cx="78193" cy="78641"/>
            </a:xfrm>
            <a:custGeom>
              <a:avLst/>
              <a:gdLst/>
              <a:ahLst/>
              <a:cxnLst/>
              <a:rect l="l" t="t" r="r" b="b"/>
              <a:pathLst>
                <a:path w="5759" h="5792" extrusionOk="0">
                  <a:moveTo>
                    <a:pt x="179" y="1"/>
                  </a:moveTo>
                  <a:lnTo>
                    <a:pt x="172" y="18"/>
                  </a:lnTo>
                  <a:lnTo>
                    <a:pt x="161" y="50"/>
                  </a:lnTo>
                  <a:cubicBezTo>
                    <a:pt x="112" y="169"/>
                    <a:pt x="109" y="295"/>
                    <a:pt x="140" y="417"/>
                  </a:cubicBezTo>
                  <a:cubicBezTo>
                    <a:pt x="165" y="515"/>
                    <a:pt x="186" y="620"/>
                    <a:pt x="81" y="747"/>
                  </a:cubicBezTo>
                  <a:cubicBezTo>
                    <a:pt x="0" y="845"/>
                    <a:pt x="14" y="946"/>
                    <a:pt x="53" y="1139"/>
                  </a:cubicBezTo>
                  <a:cubicBezTo>
                    <a:pt x="77" y="1261"/>
                    <a:pt x="91" y="1387"/>
                    <a:pt x="95" y="1513"/>
                  </a:cubicBezTo>
                  <a:lnTo>
                    <a:pt x="95" y="5662"/>
                  </a:lnTo>
                  <a:lnTo>
                    <a:pt x="3347" y="5662"/>
                  </a:lnTo>
                  <a:lnTo>
                    <a:pt x="3522" y="5543"/>
                  </a:lnTo>
                  <a:cubicBezTo>
                    <a:pt x="3551" y="5524"/>
                    <a:pt x="3581" y="5516"/>
                    <a:pt x="3612" y="5516"/>
                  </a:cubicBezTo>
                  <a:cubicBezTo>
                    <a:pt x="3707" y="5516"/>
                    <a:pt x="3801" y="5590"/>
                    <a:pt x="3844" y="5630"/>
                  </a:cubicBezTo>
                  <a:lnTo>
                    <a:pt x="4562" y="5630"/>
                  </a:lnTo>
                  <a:lnTo>
                    <a:pt x="4579" y="5655"/>
                  </a:lnTo>
                  <a:cubicBezTo>
                    <a:pt x="4579" y="5655"/>
                    <a:pt x="4695" y="5791"/>
                    <a:pt x="4821" y="5791"/>
                  </a:cubicBezTo>
                  <a:cubicBezTo>
                    <a:pt x="4842" y="5791"/>
                    <a:pt x="4849" y="5788"/>
                    <a:pt x="4877" y="5725"/>
                  </a:cubicBezTo>
                  <a:cubicBezTo>
                    <a:pt x="4901" y="5662"/>
                    <a:pt x="4943" y="5564"/>
                    <a:pt x="5080" y="5539"/>
                  </a:cubicBezTo>
                  <a:cubicBezTo>
                    <a:pt x="5101" y="5536"/>
                    <a:pt x="5122" y="5532"/>
                    <a:pt x="5143" y="5532"/>
                  </a:cubicBezTo>
                  <a:cubicBezTo>
                    <a:pt x="5230" y="5532"/>
                    <a:pt x="5265" y="5473"/>
                    <a:pt x="5307" y="5347"/>
                  </a:cubicBezTo>
                  <a:cubicBezTo>
                    <a:pt x="5342" y="5259"/>
                    <a:pt x="5381" y="5144"/>
                    <a:pt x="5500" y="5144"/>
                  </a:cubicBezTo>
                  <a:lnTo>
                    <a:pt x="5556" y="5144"/>
                  </a:lnTo>
                  <a:cubicBezTo>
                    <a:pt x="5563" y="5144"/>
                    <a:pt x="5569" y="5144"/>
                    <a:pt x="5575" y="5144"/>
                  </a:cubicBezTo>
                  <a:cubicBezTo>
                    <a:pt x="5617" y="5144"/>
                    <a:pt x="5627" y="5127"/>
                    <a:pt x="5713" y="5011"/>
                  </a:cubicBezTo>
                  <a:lnTo>
                    <a:pt x="5738" y="4976"/>
                  </a:lnTo>
                  <a:cubicBezTo>
                    <a:pt x="5731" y="4902"/>
                    <a:pt x="5731" y="4832"/>
                    <a:pt x="5741" y="4762"/>
                  </a:cubicBezTo>
                  <a:cubicBezTo>
                    <a:pt x="5759" y="4646"/>
                    <a:pt x="5731" y="4608"/>
                    <a:pt x="5668" y="4524"/>
                  </a:cubicBezTo>
                  <a:cubicBezTo>
                    <a:pt x="5591" y="4422"/>
                    <a:pt x="5531" y="4310"/>
                    <a:pt x="5493" y="4184"/>
                  </a:cubicBezTo>
                  <a:cubicBezTo>
                    <a:pt x="5440" y="4009"/>
                    <a:pt x="5300" y="3785"/>
                    <a:pt x="5174" y="3589"/>
                  </a:cubicBezTo>
                  <a:cubicBezTo>
                    <a:pt x="5038" y="3369"/>
                    <a:pt x="4919" y="3176"/>
                    <a:pt x="4908" y="3054"/>
                  </a:cubicBezTo>
                  <a:cubicBezTo>
                    <a:pt x="4905" y="2977"/>
                    <a:pt x="4852" y="2907"/>
                    <a:pt x="4796" y="2833"/>
                  </a:cubicBezTo>
                  <a:cubicBezTo>
                    <a:pt x="4726" y="2739"/>
                    <a:pt x="4646" y="2633"/>
                    <a:pt x="4649" y="2490"/>
                  </a:cubicBezTo>
                  <a:cubicBezTo>
                    <a:pt x="4656" y="2367"/>
                    <a:pt x="4614" y="2322"/>
                    <a:pt x="4513" y="2203"/>
                  </a:cubicBezTo>
                  <a:cubicBezTo>
                    <a:pt x="4432" y="2112"/>
                    <a:pt x="4359" y="2021"/>
                    <a:pt x="4292" y="1923"/>
                  </a:cubicBezTo>
                  <a:cubicBezTo>
                    <a:pt x="4061" y="1597"/>
                    <a:pt x="3966" y="1034"/>
                    <a:pt x="4015" y="887"/>
                  </a:cubicBezTo>
                  <a:cubicBezTo>
                    <a:pt x="4022" y="855"/>
                    <a:pt x="4043" y="831"/>
                    <a:pt x="4075" y="820"/>
                  </a:cubicBezTo>
                  <a:cubicBezTo>
                    <a:pt x="4084" y="817"/>
                    <a:pt x="4093" y="816"/>
                    <a:pt x="4102" y="816"/>
                  </a:cubicBezTo>
                  <a:cubicBezTo>
                    <a:pt x="4191" y="816"/>
                    <a:pt x="4266" y="964"/>
                    <a:pt x="4453" y="1412"/>
                  </a:cubicBezTo>
                  <a:cubicBezTo>
                    <a:pt x="4481" y="1471"/>
                    <a:pt x="4502" y="1524"/>
                    <a:pt x="4520" y="1559"/>
                  </a:cubicBezTo>
                  <a:cubicBezTo>
                    <a:pt x="4670" y="1895"/>
                    <a:pt x="4898" y="2241"/>
                    <a:pt x="5010" y="2241"/>
                  </a:cubicBezTo>
                  <a:cubicBezTo>
                    <a:pt x="5052" y="2241"/>
                    <a:pt x="5118" y="2077"/>
                    <a:pt x="5192" y="1751"/>
                  </a:cubicBezTo>
                  <a:cubicBezTo>
                    <a:pt x="5237" y="1559"/>
                    <a:pt x="5255" y="1496"/>
                    <a:pt x="5300" y="1471"/>
                  </a:cubicBezTo>
                  <a:lnTo>
                    <a:pt x="5314" y="1387"/>
                  </a:lnTo>
                  <a:lnTo>
                    <a:pt x="5314" y="1384"/>
                  </a:lnTo>
                  <a:lnTo>
                    <a:pt x="5349" y="1279"/>
                  </a:lnTo>
                  <a:lnTo>
                    <a:pt x="5367" y="1230"/>
                  </a:lnTo>
                  <a:lnTo>
                    <a:pt x="5384" y="1188"/>
                  </a:lnTo>
                  <a:lnTo>
                    <a:pt x="5045" y="354"/>
                  </a:lnTo>
                  <a:cubicBezTo>
                    <a:pt x="5018" y="381"/>
                    <a:pt x="4986" y="390"/>
                    <a:pt x="4948" y="390"/>
                  </a:cubicBezTo>
                  <a:cubicBezTo>
                    <a:pt x="4905" y="390"/>
                    <a:pt x="4854" y="378"/>
                    <a:pt x="4796" y="365"/>
                  </a:cubicBezTo>
                  <a:cubicBezTo>
                    <a:pt x="4722" y="346"/>
                    <a:pt x="4636" y="327"/>
                    <a:pt x="4550" y="327"/>
                  </a:cubicBezTo>
                  <a:cubicBezTo>
                    <a:pt x="4510" y="327"/>
                    <a:pt x="4471" y="331"/>
                    <a:pt x="4432" y="340"/>
                  </a:cubicBezTo>
                  <a:cubicBezTo>
                    <a:pt x="4370" y="357"/>
                    <a:pt x="4310" y="364"/>
                    <a:pt x="4253" y="364"/>
                  </a:cubicBezTo>
                  <a:cubicBezTo>
                    <a:pt x="4049" y="364"/>
                    <a:pt x="3873" y="275"/>
                    <a:pt x="3700" y="190"/>
                  </a:cubicBezTo>
                  <a:cubicBezTo>
                    <a:pt x="3648" y="164"/>
                    <a:pt x="3567" y="152"/>
                    <a:pt x="3471" y="152"/>
                  </a:cubicBezTo>
                  <a:cubicBezTo>
                    <a:pt x="3160" y="152"/>
                    <a:pt x="2702" y="269"/>
                    <a:pt x="2643" y="354"/>
                  </a:cubicBezTo>
                  <a:cubicBezTo>
                    <a:pt x="2571" y="462"/>
                    <a:pt x="2440" y="505"/>
                    <a:pt x="2296" y="505"/>
                  </a:cubicBezTo>
                  <a:cubicBezTo>
                    <a:pt x="2182" y="505"/>
                    <a:pt x="2060" y="478"/>
                    <a:pt x="1950" y="435"/>
                  </a:cubicBezTo>
                  <a:lnTo>
                    <a:pt x="1873" y="403"/>
                  </a:lnTo>
                  <a:cubicBezTo>
                    <a:pt x="1642" y="309"/>
                    <a:pt x="1355" y="190"/>
                    <a:pt x="966" y="155"/>
                  </a:cubicBezTo>
                  <a:cubicBezTo>
                    <a:pt x="494" y="113"/>
                    <a:pt x="280" y="53"/>
                    <a:pt x="1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8" name="Google Shape;4398;p53"/>
            <p:cNvSpPr/>
            <p:nvPr/>
          </p:nvSpPr>
          <p:spPr>
            <a:xfrm>
              <a:off x="2231531" y="1797813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9" name="Google Shape;4399;p53"/>
            <p:cNvSpPr/>
            <p:nvPr/>
          </p:nvSpPr>
          <p:spPr>
            <a:xfrm>
              <a:off x="2115742" y="2027164"/>
              <a:ext cx="39035" cy="44263"/>
            </a:xfrm>
            <a:custGeom>
              <a:avLst/>
              <a:gdLst/>
              <a:ahLst/>
              <a:cxnLst/>
              <a:rect l="l" t="t" r="r" b="b"/>
              <a:pathLst>
                <a:path w="2875" h="3260" extrusionOk="0">
                  <a:moveTo>
                    <a:pt x="1446" y="0"/>
                  </a:moveTo>
                  <a:lnTo>
                    <a:pt x="1404" y="11"/>
                  </a:lnTo>
                  <a:lnTo>
                    <a:pt x="1404" y="25"/>
                  </a:lnTo>
                  <a:lnTo>
                    <a:pt x="1404" y="56"/>
                  </a:lnTo>
                  <a:lnTo>
                    <a:pt x="1404" y="95"/>
                  </a:lnTo>
                  <a:lnTo>
                    <a:pt x="1404" y="123"/>
                  </a:lnTo>
                  <a:lnTo>
                    <a:pt x="1404" y="161"/>
                  </a:lnTo>
                  <a:lnTo>
                    <a:pt x="1404" y="189"/>
                  </a:lnTo>
                  <a:lnTo>
                    <a:pt x="1404" y="228"/>
                  </a:lnTo>
                  <a:lnTo>
                    <a:pt x="1404" y="252"/>
                  </a:lnTo>
                  <a:lnTo>
                    <a:pt x="1404" y="287"/>
                  </a:lnTo>
                  <a:lnTo>
                    <a:pt x="1404" y="312"/>
                  </a:lnTo>
                  <a:lnTo>
                    <a:pt x="1404" y="347"/>
                  </a:lnTo>
                  <a:lnTo>
                    <a:pt x="1404" y="368"/>
                  </a:lnTo>
                  <a:lnTo>
                    <a:pt x="1404" y="403"/>
                  </a:lnTo>
                  <a:lnTo>
                    <a:pt x="1404" y="424"/>
                  </a:lnTo>
                  <a:lnTo>
                    <a:pt x="1404" y="452"/>
                  </a:lnTo>
                  <a:lnTo>
                    <a:pt x="1404" y="470"/>
                  </a:lnTo>
                  <a:lnTo>
                    <a:pt x="1404" y="498"/>
                  </a:lnTo>
                  <a:lnTo>
                    <a:pt x="1404" y="515"/>
                  </a:lnTo>
                  <a:lnTo>
                    <a:pt x="1404" y="540"/>
                  </a:lnTo>
                  <a:lnTo>
                    <a:pt x="1404" y="554"/>
                  </a:lnTo>
                  <a:lnTo>
                    <a:pt x="1404" y="578"/>
                  </a:lnTo>
                  <a:lnTo>
                    <a:pt x="1404" y="589"/>
                  </a:lnTo>
                  <a:lnTo>
                    <a:pt x="1404" y="610"/>
                  </a:lnTo>
                  <a:lnTo>
                    <a:pt x="1404" y="620"/>
                  </a:lnTo>
                  <a:lnTo>
                    <a:pt x="1404" y="638"/>
                  </a:lnTo>
                  <a:lnTo>
                    <a:pt x="1404" y="645"/>
                  </a:lnTo>
                  <a:lnTo>
                    <a:pt x="1404" y="655"/>
                  </a:lnTo>
                  <a:lnTo>
                    <a:pt x="1404" y="662"/>
                  </a:lnTo>
                  <a:lnTo>
                    <a:pt x="1404" y="669"/>
                  </a:lnTo>
                  <a:lnTo>
                    <a:pt x="1404" y="673"/>
                  </a:lnTo>
                  <a:lnTo>
                    <a:pt x="1404" y="680"/>
                  </a:lnTo>
                  <a:lnTo>
                    <a:pt x="1397" y="732"/>
                  </a:lnTo>
                  <a:lnTo>
                    <a:pt x="1345" y="736"/>
                  </a:lnTo>
                  <a:cubicBezTo>
                    <a:pt x="1320" y="736"/>
                    <a:pt x="732" y="771"/>
                    <a:pt x="596" y="771"/>
                  </a:cubicBezTo>
                  <a:lnTo>
                    <a:pt x="561" y="771"/>
                  </a:lnTo>
                  <a:cubicBezTo>
                    <a:pt x="543" y="771"/>
                    <a:pt x="512" y="774"/>
                    <a:pt x="470" y="781"/>
                  </a:cubicBezTo>
                  <a:lnTo>
                    <a:pt x="445" y="785"/>
                  </a:lnTo>
                  <a:lnTo>
                    <a:pt x="424" y="788"/>
                  </a:lnTo>
                  <a:lnTo>
                    <a:pt x="421" y="788"/>
                  </a:lnTo>
                  <a:lnTo>
                    <a:pt x="400" y="792"/>
                  </a:lnTo>
                  <a:lnTo>
                    <a:pt x="389" y="792"/>
                  </a:lnTo>
                  <a:cubicBezTo>
                    <a:pt x="365" y="823"/>
                    <a:pt x="340" y="851"/>
                    <a:pt x="316" y="879"/>
                  </a:cubicBezTo>
                  <a:cubicBezTo>
                    <a:pt x="337" y="900"/>
                    <a:pt x="361" y="921"/>
                    <a:pt x="386" y="939"/>
                  </a:cubicBezTo>
                  <a:cubicBezTo>
                    <a:pt x="445" y="988"/>
                    <a:pt x="505" y="1033"/>
                    <a:pt x="529" y="1096"/>
                  </a:cubicBezTo>
                  <a:cubicBezTo>
                    <a:pt x="540" y="1124"/>
                    <a:pt x="540" y="1152"/>
                    <a:pt x="526" y="1180"/>
                  </a:cubicBezTo>
                  <a:cubicBezTo>
                    <a:pt x="498" y="1233"/>
                    <a:pt x="435" y="1254"/>
                    <a:pt x="365" y="1271"/>
                  </a:cubicBezTo>
                  <a:cubicBezTo>
                    <a:pt x="309" y="1289"/>
                    <a:pt x="232" y="1313"/>
                    <a:pt x="235" y="1345"/>
                  </a:cubicBezTo>
                  <a:cubicBezTo>
                    <a:pt x="242" y="1481"/>
                    <a:pt x="162" y="1614"/>
                    <a:pt x="0" y="1737"/>
                  </a:cubicBezTo>
                  <a:cubicBezTo>
                    <a:pt x="11" y="1782"/>
                    <a:pt x="92" y="1880"/>
                    <a:pt x="137" y="1936"/>
                  </a:cubicBezTo>
                  <a:cubicBezTo>
                    <a:pt x="225" y="2041"/>
                    <a:pt x="277" y="2111"/>
                    <a:pt x="281" y="2174"/>
                  </a:cubicBezTo>
                  <a:cubicBezTo>
                    <a:pt x="288" y="2255"/>
                    <a:pt x="361" y="2342"/>
                    <a:pt x="659" y="2633"/>
                  </a:cubicBezTo>
                  <a:cubicBezTo>
                    <a:pt x="753" y="2721"/>
                    <a:pt x="834" y="2826"/>
                    <a:pt x="890" y="2945"/>
                  </a:cubicBezTo>
                  <a:cubicBezTo>
                    <a:pt x="949" y="3067"/>
                    <a:pt x="1037" y="3172"/>
                    <a:pt x="1142" y="3260"/>
                  </a:cubicBezTo>
                  <a:lnTo>
                    <a:pt x="1156" y="3246"/>
                  </a:lnTo>
                  <a:lnTo>
                    <a:pt x="1166" y="3235"/>
                  </a:lnTo>
                  <a:cubicBezTo>
                    <a:pt x="1177" y="3225"/>
                    <a:pt x="1184" y="3218"/>
                    <a:pt x="1194" y="3211"/>
                  </a:cubicBezTo>
                  <a:lnTo>
                    <a:pt x="1201" y="3204"/>
                  </a:lnTo>
                  <a:cubicBezTo>
                    <a:pt x="1212" y="3197"/>
                    <a:pt x="1222" y="3186"/>
                    <a:pt x="1236" y="3179"/>
                  </a:cubicBezTo>
                  <a:lnTo>
                    <a:pt x="1247" y="3176"/>
                  </a:lnTo>
                  <a:cubicBezTo>
                    <a:pt x="1254" y="3169"/>
                    <a:pt x="1264" y="3165"/>
                    <a:pt x="1275" y="3162"/>
                  </a:cubicBezTo>
                  <a:lnTo>
                    <a:pt x="1289" y="3155"/>
                  </a:lnTo>
                  <a:lnTo>
                    <a:pt x="1313" y="3144"/>
                  </a:lnTo>
                  <a:lnTo>
                    <a:pt x="1327" y="3141"/>
                  </a:lnTo>
                  <a:cubicBezTo>
                    <a:pt x="1338" y="3141"/>
                    <a:pt x="1348" y="3137"/>
                    <a:pt x="1359" y="3137"/>
                  </a:cubicBezTo>
                  <a:lnTo>
                    <a:pt x="1373" y="3137"/>
                  </a:lnTo>
                  <a:cubicBezTo>
                    <a:pt x="1387" y="3134"/>
                    <a:pt x="1401" y="3134"/>
                    <a:pt x="1415" y="3134"/>
                  </a:cubicBezTo>
                  <a:cubicBezTo>
                    <a:pt x="1502" y="3134"/>
                    <a:pt x="1516" y="3113"/>
                    <a:pt x="1520" y="3113"/>
                  </a:cubicBezTo>
                  <a:cubicBezTo>
                    <a:pt x="1537" y="3081"/>
                    <a:pt x="1492" y="2966"/>
                    <a:pt x="1457" y="2871"/>
                  </a:cubicBezTo>
                  <a:cubicBezTo>
                    <a:pt x="1443" y="2843"/>
                    <a:pt x="1432" y="2812"/>
                    <a:pt x="1422" y="2784"/>
                  </a:cubicBezTo>
                  <a:cubicBezTo>
                    <a:pt x="1383" y="2686"/>
                    <a:pt x="1387" y="2609"/>
                    <a:pt x="1425" y="2549"/>
                  </a:cubicBezTo>
                  <a:cubicBezTo>
                    <a:pt x="1484" y="2470"/>
                    <a:pt x="1602" y="2457"/>
                    <a:pt x="1711" y="2457"/>
                  </a:cubicBezTo>
                  <a:cubicBezTo>
                    <a:pt x="1732" y="2457"/>
                    <a:pt x="1752" y="2457"/>
                    <a:pt x="1772" y="2458"/>
                  </a:cubicBezTo>
                  <a:lnTo>
                    <a:pt x="1821" y="2458"/>
                  </a:lnTo>
                  <a:cubicBezTo>
                    <a:pt x="1852" y="2458"/>
                    <a:pt x="1863" y="2434"/>
                    <a:pt x="1891" y="2342"/>
                  </a:cubicBezTo>
                  <a:cubicBezTo>
                    <a:pt x="1912" y="2265"/>
                    <a:pt x="1943" y="2153"/>
                    <a:pt x="2059" y="2153"/>
                  </a:cubicBezTo>
                  <a:cubicBezTo>
                    <a:pt x="2164" y="2153"/>
                    <a:pt x="2217" y="2265"/>
                    <a:pt x="2266" y="2363"/>
                  </a:cubicBezTo>
                  <a:cubicBezTo>
                    <a:pt x="2283" y="2405"/>
                    <a:pt x="2325" y="2490"/>
                    <a:pt x="2346" y="2493"/>
                  </a:cubicBezTo>
                  <a:cubicBezTo>
                    <a:pt x="2365" y="2489"/>
                    <a:pt x="2385" y="2488"/>
                    <a:pt x="2404" y="2488"/>
                  </a:cubicBezTo>
                  <a:cubicBezTo>
                    <a:pt x="2460" y="2488"/>
                    <a:pt x="2518" y="2502"/>
                    <a:pt x="2570" y="2528"/>
                  </a:cubicBezTo>
                  <a:cubicBezTo>
                    <a:pt x="2614" y="2550"/>
                    <a:pt x="2661" y="2563"/>
                    <a:pt x="2711" y="2563"/>
                  </a:cubicBezTo>
                  <a:cubicBezTo>
                    <a:pt x="2726" y="2563"/>
                    <a:pt x="2741" y="2562"/>
                    <a:pt x="2756" y="2560"/>
                  </a:cubicBezTo>
                  <a:cubicBezTo>
                    <a:pt x="2871" y="2539"/>
                    <a:pt x="2871" y="2188"/>
                    <a:pt x="2871" y="1982"/>
                  </a:cubicBezTo>
                  <a:lnTo>
                    <a:pt x="2871" y="1866"/>
                  </a:lnTo>
                  <a:cubicBezTo>
                    <a:pt x="2875" y="1646"/>
                    <a:pt x="2871" y="1527"/>
                    <a:pt x="2766" y="1464"/>
                  </a:cubicBezTo>
                  <a:cubicBezTo>
                    <a:pt x="2647" y="1394"/>
                    <a:pt x="2525" y="1250"/>
                    <a:pt x="2532" y="1107"/>
                  </a:cubicBezTo>
                  <a:cubicBezTo>
                    <a:pt x="2535" y="1019"/>
                    <a:pt x="2588" y="942"/>
                    <a:pt x="2668" y="911"/>
                  </a:cubicBezTo>
                  <a:cubicBezTo>
                    <a:pt x="2749" y="869"/>
                    <a:pt x="2801" y="809"/>
                    <a:pt x="2808" y="743"/>
                  </a:cubicBezTo>
                  <a:cubicBezTo>
                    <a:pt x="2812" y="680"/>
                    <a:pt x="2780" y="617"/>
                    <a:pt x="2724" y="582"/>
                  </a:cubicBezTo>
                  <a:cubicBezTo>
                    <a:pt x="2702" y="563"/>
                    <a:pt x="2672" y="556"/>
                    <a:pt x="2637" y="556"/>
                  </a:cubicBezTo>
                  <a:cubicBezTo>
                    <a:pt x="2571" y="556"/>
                    <a:pt x="2489" y="581"/>
                    <a:pt x="2423" y="599"/>
                  </a:cubicBezTo>
                  <a:cubicBezTo>
                    <a:pt x="2363" y="618"/>
                    <a:pt x="2312" y="634"/>
                    <a:pt x="2269" y="634"/>
                  </a:cubicBezTo>
                  <a:cubicBezTo>
                    <a:pt x="2242" y="634"/>
                    <a:pt x="2219" y="628"/>
                    <a:pt x="2199" y="613"/>
                  </a:cubicBezTo>
                  <a:cubicBezTo>
                    <a:pt x="2171" y="592"/>
                    <a:pt x="2157" y="561"/>
                    <a:pt x="2161" y="529"/>
                  </a:cubicBezTo>
                  <a:lnTo>
                    <a:pt x="2161" y="512"/>
                  </a:lnTo>
                  <a:lnTo>
                    <a:pt x="2161" y="505"/>
                  </a:lnTo>
                  <a:lnTo>
                    <a:pt x="2161" y="491"/>
                  </a:lnTo>
                  <a:lnTo>
                    <a:pt x="2161" y="484"/>
                  </a:lnTo>
                  <a:lnTo>
                    <a:pt x="2161" y="470"/>
                  </a:lnTo>
                  <a:lnTo>
                    <a:pt x="2161" y="459"/>
                  </a:lnTo>
                  <a:lnTo>
                    <a:pt x="2161" y="442"/>
                  </a:lnTo>
                  <a:lnTo>
                    <a:pt x="2161" y="431"/>
                  </a:lnTo>
                  <a:lnTo>
                    <a:pt x="2161" y="410"/>
                  </a:lnTo>
                  <a:lnTo>
                    <a:pt x="2161" y="400"/>
                  </a:lnTo>
                  <a:lnTo>
                    <a:pt x="2161" y="375"/>
                  </a:lnTo>
                  <a:lnTo>
                    <a:pt x="2161" y="365"/>
                  </a:lnTo>
                  <a:lnTo>
                    <a:pt x="2161" y="340"/>
                  </a:lnTo>
                  <a:lnTo>
                    <a:pt x="2161" y="333"/>
                  </a:lnTo>
                  <a:cubicBezTo>
                    <a:pt x="2168" y="280"/>
                    <a:pt x="2171" y="228"/>
                    <a:pt x="2178" y="172"/>
                  </a:cubicBezTo>
                  <a:lnTo>
                    <a:pt x="2178" y="165"/>
                  </a:lnTo>
                  <a:lnTo>
                    <a:pt x="2185" y="130"/>
                  </a:lnTo>
                  <a:lnTo>
                    <a:pt x="2185" y="123"/>
                  </a:lnTo>
                  <a:lnTo>
                    <a:pt x="2189" y="88"/>
                  </a:lnTo>
                  <a:lnTo>
                    <a:pt x="2189" y="77"/>
                  </a:lnTo>
                  <a:lnTo>
                    <a:pt x="2192" y="46"/>
                  </a:lnTo>
                  <a:lnTo>
                    <a:pt x="2192" y="35"/>
                  </a:lnTo>
                  <a:lnTo>
                    <a:pt x="2192" y="28"/>
                  </a:lnTo>
                  <a:cubicBezTo>
                    <a:pt x="1856" y="21"/>
                    <a:pt x="1534" y="4"/>
                    <a:pt x="14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0" name="Google Shape;4400;p53"/>
            <p:cNvSpPr/>
            <p:nvPr/>
          </p:nvSpPr>
          <p:spPr>
            <a:xfrm>
              <a:off x="2135375" y="2027164"/>
              <a:ext cx="9952" cy="434"/>
            </a:xfrm>
            <a:custGeom>
              <a:avLst/>
              <a:gdLst/>
              <a:ahLst/>
              <a:cxnLst/>
              <a:rect l="l" t="t" r="r" b="b"/>
              <a:pathLst>
                <a:path w="733" h="32" extrusionOk="0">
                  <a:moveTo>
                    <a:pt x="0" y="0"/>
                  </a:moveTo>
                  <a:cubicBezTo>
                    <a:pt x="63" y="4"/>
                    <a:pt x="399" y="21"/>
                    <a:pt x="732" y="32"/>
                  </a:cubicBezTo>
                  <a:cubicBezTo>
                    <a:pt x="410" y="21"/>
                    <a:pt x="88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1" name="Google Shape;4401;p53"/>
            <p:cNvSpPr/>
            <p:nvPr/>
          </p:nvSpPr>
          <p:spPr>
            <a:xfrm>
              <a:off x="2119218" y="2027924"/>
              <a:ext cx="13605" cy="8147"/>
            </a:xfrm>
            <a:custGeom>
              <a:avLst/>
              <a:gdLst/>
              <a:ahLst/>
              <a:cxnLst/>
              <a:rect l="l" t="t" r="r" b="b"/>
              <a:pathLst>
                <a:path w="1002" h="600" extrusionOk="0">
                  <a:moveTo>
                    <a:pt x="1001" y="0"/>
                  </a:moveTo>
                  <a:lnTo>
                    <a:pt x="945" y="18"/>
                  </a:lnTo>
                  <a:lnTo>
                    <a:pt x="945" y="18"/>
                  </a:lnTo>
                  <a:lnTo>
                    <a:pt x="956" y="11"/>
                  </a:lnTo>
                  <a:lnTo>
                    <a:pt x="287" y="11"/>
                  </a:lnTo>
                  <a:cubicBezTo>
                    <a:pt x="305" y="70"/>
                    <a:pt x="301" y="133"/>
                    <a:pt x="284" y="189"/>
                  </a:cubicBezTo>
                  <a:cubicBezTo>
                    <a:pt x="252" y="280"/>
                    <a:pt x="175" y="351"/>
                    <a:pt x="84" y="379"/>
                  </a:cubicBezTo>
                  <a:cubicBezTo>
                    <a:pt x="18" y="403"/>
                    <a:pt x="0" y="438"/>
                    <a:pt x="4" y="452"/>
                  </a:cubicBezTo>
                  <a:cubicBezTo>
                    <a:pt x="4" y="466"/>
                    <a:pt x="21" y="470"/>
                    <a:pt x="42" y="470"/>
                  </a:cubicBezTo>
                  <a:cubicBezTo>
                    <a:pt x="88" y="470"/>
                    <a:pt x="130" y="494"/>
                    <a:pt x="151" y="533"/>
                  </a:cubicBezTo>
                  <a:cubicBezTo>
                    <a:pt x="161" y="554"/>
                    <a:pt x="165" y="575"/>
                    <a:pt x="161" y="599"/>
                  </a:cubicBezTo>
                  <a:lnTo>
                    <a:pt x="168" y="599"/>
                  </a:lnTo>
                  <a:lnTo>
                    <a:pt x="196" y="592"/>
                  </a:lnTo>
                  <a:lnTo>
                    <a:pt x="200" y="592"/>
                  </a:lnTo>
                  <a:lnTo>
                    <a:pt x="224" y="589"/>
                  </a:lnTo>
                  <a:lnTo>
                    <a:pt x="312" y="589"/>
                  </a:lnTo>
                  <a:cubicBezTo>
                    <a:pt x="417" y="589"/>
                    <a:pt x="844" y="564"/>
                    <a:pt x="994" y="557"/>
                  </a:cubicBezTo>
                  <a:lnTo>
                    <a:pt x="998" y="536"/>
                  </a:lnTo>
                  <a:lnTo>
                    <a:pt x="1001" y="515"/>
                  </a:lnTo>
                  <a:lnTo>
                    <a:pt x="1001" y="512"/>
                  </a:lnTo>
                  <a:lnTo>
                    <a:pt x="1001" y="487"/>
                  </a:lnTo>
                  <a:lnTo>
                    <a:pt x="1001" y="480"/>
                  </a:lnTo>
                  <a:lnTo>
                    <a:pt x="1001" y="459"/>
                  </a:lnTo>
                  <a:lnTo>
                    <a:pt x="1001" y="452"/>
                  </a:lnTo>
                  <a:lnTo>
                    <a:pt x="1001" y="428"/>
                  </a:lnTo>
                  <a:lnTo>
                    <a:pt x="1001" y="417"/>
                  </a:lnTo>
                  <a:lnTo>
                    <a:pt x="1001" y="396"/>
                  </a:lnTo>
                  <a:lnTo>
                    <a:pt x="1001" y="382"/>
                  </a:lnTo>
                  <a:lnTo>
                    <a:pt x="1001" y="358"/>
                  </a:lnTo>
                  <a:lnTo>
                    <a:pt x="1001" y="344"/>
                  </a:lnTo>
                  <a:lnTo>
                    <a:pt x="1001" y="319"/>
                  </a:lnTo>
                  <a:lnTo>
                    <a:pt x="1001" y="305"/>
                  </a:lnTo>
                  <a:lnTo>
                    <a:pt x="1001" y="280"/>
                  </a:lnTo>
                  <a:lnTo>
                    <a:pt x="1001" y="263"/>
                  </a:lnTo>
                  <a:lnTo>
                    <a:pt x="1001" y="224"/>
                  </a:lnTo>
                  <a:lnTo>
                    <a:pt x="1001" y="203"/>
                  </a:lnTo>
                  <a:lnTo>
                    <a:pt x="1001" y="179"/>
                  </a:lnTo>
                  <a:lnTo>
                    <a:pt x="1001" y="154"/>
                  </a:lnTo>
                  <a:lnTo>
                    <a:pt x="1001" y="133"/>
                  </a:lnTo>
                  <a:lnTo>
                    <a:pt x="1001" y="109"/>
                  </a:lnTo>
                  <a:lnTo>
                    <a:pt x="1001" y="88"/>
                  </a:lnTo>
                  <a:lnTo>
                    <a:pt x="1001" y="60"/>
                  </a:lnTo>
                  <a:lnTo>
                    <a:pt x="1001" y="39"/>
                  </a:lnTo>
                  <a:lnTo>
                    <a:pt x="1001" y="11"/>
                  </a:lnTo>
                  <a:lnTo>
                    <a:pt x="100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2" name="Google Shape;4402;p53"/>
            <p:cNvSpPr/>
            <p:nvPr/>
          </p:nvSpPr>
          <p:spPr>
            <a:xfrm>
              <a:off x="2132184" y="2028019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0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3" name="Google Shape;4403;p53"/>
            <p:cNvSpPr/>
            <p:nvPr/>
          </p:nvSpPr>
          <p:spPr>
            <a:xfrm>
              <a:off x="2133040" y="2031576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18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4" name="Google Shape;4404;p53"/>
            <p:cNvSpPr/>
            <p:nvPr/>
          </p:nvSpPr>
          <p:spPr>
            <a:xfrm>
              <a:off x="2133040" y="202787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"/>
                  </a:ln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5" name="Google Shape;4405;p53"/>
            <p:cNvSpPr/>
            <p:nvPr/>
          </p:nvSpPr>
          <p:spPr>
            <a:xfrm>
              <a:off x="2133094" y="203024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6" name="Google Shape;4406;p53"/>
            <p:cNvSpPr/>
            <p:nvPr/>
          </p:nvSpPr>
          <p:spPr>
            <a:xfrm>
              <a:off x="2133094" y="202834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7" name="Google Shape;4407;p53"/>
            <p:cNvSpPr/>
            <p:nvPr/>
          </p:nvSpPr>
          <p:spPr>
            <a:xfrm>
              <a:off x="2133094" y="202901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8" name="Google Shape;4408;p53"/>
            <p:cNvSpPr/>
            <p:nvPr/>
          </p:nvSpPr>
          <p:spPr>
            <a:xfrm>
              <a:off x="2133094" y="2030816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0" y="1"/>
                  </a:moveTo>
                  <a:lnTo>
                    <a:pt x="0" y="43"/>
                  </a:lnTo>
                  <a:cubicBezTo>
                    <a:pt x="0" y="29"/>
                    <a:pt x="0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9" name="Google Shape;4409;p53"/>
            <p:cNvSpPr/>
            <p:nvPr/>
          </p:nvSpPr>
          <p:spPr>
            <a:xfrm>
              <a:off x="2133094" y="202963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0" name="Google Shape;4410;p53"/>
            <p:cNvSpPr/>
            <p:nvPr/>
          </p:nvSpPr>
          <p:spPr>
            <a:xfrm>
              <a:off x="2133040" y="2032160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1" name="Google Shape;4411;p53"/>
            <p:cNvSpPr/>
            <p:nvPr/>
          </p:nvSpPr>
          <p:spPr>
            <a:xfrm>
              <a:off x="2132809" y="2034767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2" name="Google Shape;4412;p53"/>
            <p:cNvSpPr/>
            <p:nvPr/>
          </p:nvSpPr>
          <p:spPr>
            <a:xfrm>
              <a:off x="2132809" y="203510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3" name="Google Shape;4413;p53"/>
            <p:cNvSpPr/>
            <p:nvPr/>
          </p:nvSpPr>
          <p:spPr>
            <a:xfrm>
              <a:off x="2122680" y="203586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4" name="Google Shape;4414;p53"/>
            <p:cNvSpPr/>
            <p:nvPr/>
          </p:nvSpPr>
          <p:spPr>
            <a:xfrm>
              <a:off x="2132904" y="203444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5" name="Google Shape;4415;p53"/>
            <p:cNvSpPr/>
            <p:nvPr/>
          </p:nvSpPr>
          <p:spPr>
            <a:xfrm>
              <a:off x="2132904" y="203406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6" name="Google Shape;4416;p53"/>
            <p:cNvSpPr/>
            <p:nvPr/>
          </p:nvSpPr>
          <p:spPr>
            <a:xfrm>
              <a:off x="2123400" y="20358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7" name="Google Shape;4417;p53"/>
            <p:cNvSpPr/>
            <p:nvPr/>
          </p:nvSpPr>
          <p:spPr>
            <a:xfrm>
              <a:off x="2123495" y="20358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8" name="Google Shape;4418;p53"/>
            <p:cNvSpPr/>
            <p:nvPr/>
          </p:nvSpPr>
          <p:spPr>
            <a:xfrm>
              <a:off x="2122925" y="203581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9" name="Google Shape;4419;p53"/>
            <p:cNvSpPr/>
            <p:nvPr/>
          </p:nvSpPr>
          <p:spPr>
            <a:xfrm>
              <a:off x="2123115" y="203581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0" name="Google Shape;4420;p53"/>
            <p:cNvSpPr/>
            <p:nvPr/>
          </p:nvSpPr>
          <p:spPr>
            <a:xfrm>
              <a:off x="2132999" y="2032676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1"/>
                  </a:moveTo>
                  <a:lnTo>
                    <a:pt x="0" y="25"/>
                  </a:lnTo>
                  <a:cubicBezTo>
                    <a:pt x="0" y="18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1" name="Google Shape;4421;p53"/>
            <p:cNvSpPr/>
            <p:nvPr/>
          </p:nvSpPr>
          <p:spPr>
            <a:xfrm>
              <a:off x="2121974" y="2035908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2" name="Google Shape;4422;p53"/>
            <p:cNvSpPr/>
            <p:nvPr/>
          </p:nvSpPr>
          <p:spPr>
            <a:xfrm>
              <a:off x="2132945" y="203362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3" name="Google Shape;4423;p53"/>
            <p:cNvSpPr/>
            <p:nvPr/>
          </p:nvSpPr>
          <p:spPr>
            <a:xfrm>
              <a:off x="2121499" y="2035962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8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4" name="Google Shape;4424;p53"/>
            <p:cNvSpPr/>
            <p:nvPr/>
          </p:nvSpPr>
          <p:spPr>
            <a:xfrm>
              <a:off x="2132945" y="2033151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1"/>
                  </a:moveTo>
                  <a:cubicBezTo>
                    <a:pt x="4" y="8"/>
                    <a:pt x="1" y="18"/>
                    <a:pt x="4" y="25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5" name="Google Shape;4425;p53"/>
            <p:cNvSpPr/>
            <p:nvPr/>
          </p:nvSpPr>
          <p:spPr>
            <a:xfrm>
              <a:off x="2122354" y="2035867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6" name="Google Shape;4426;p53"/>
            <p:cNvSpPr/>
            <p:nvPr/>
          </p:nvSpPr>
          <p:spPr>
            <a:xfrm>
              <a:off x="2132279" y="2016560"/>
              <a:ext cx="49884" cy="63380"/>
            </a:xfrm>
            <a:custGeom>
              <a:avLst/>
              <a:gdLst/>
              <a:ahLst/>
              <a:cxnLst/>
              <a:rect l="l" t="t" r="r" b="b"/>
              <a:pathLst>
                <a:path w="3674" h="4668" extrusionOk="0">
                  <a:moveTo>
                    <a:pt x="3260" y="1"/>
                  </a:moveTo>
                  <a:lnTo>
                    <a:pt x="3036" y="71"/>
                  </a:lnTo>
                  <a:lnTo>
                    <a:pt x="2784" y="127"/>
                  </a:lnTo>
                  <a:cubicBezTo>
                    <a:pt x="2791" y="267"/>
                    <a:pt x="2749" y="407"/>
                    <a:pt x="2665" y="519"/>
                  </a:cubicBezTo>
                  <a:cubicBezTo>
                    <a:pt x="2658" y="533"/>
                    <a:pt x="2651" y="543"/>
                    <a:pt x="2644" y="554"/>
                  </a:cubicBezTo>
                  <a:lnTo>
                    <a:pt x="2637" y="564"/>
                  </a:lnTo>
                  <a:cubicBezTo>
                    <a:pt x="2546" y="722"/>
                    <a:pt x="2514" y="981"/>
                    <a:pt x="2511" y="1019"/>
                  </a:cubicBezTo>
                  <a:lnTo>
                    <a:pt x="2511" y="1026"/>
                  </a:lnTo>
                  <a:lnTo>
                    <a:pt x="2504" y="1121"/>
                  </a:lnTo>
                  <a:lnTo>
                    <a:pt x="2416" y="1075"/>
                  </a:lnTo>
                  <a:cubicBezTo>
                    <a:pt x="2186" y="963"/>
                    <a:pt x="1828" y="811"/>
                    <a:pt x="1702" y="811"/>
                  </a:cubicBezTo>
                  <a:cubicBezTo>
                    <a:pt x="1694" y="811"/>
                    <a:pt x="1687" y="812"/>
                    <a:pt x="1681" y="813"/>
                  </a:cubicBezTo>
                  <a:cubicBezTo>
                    <a:pt x="1665" y="818"/>
                    <a:pt x="1628" y="826"/>
                    <a:pt x="1454" y="826"/>
                  </a:cubicBezTo>
                  <a:cubicBezTo>
                    <a:pt x="1401" y="826"/>
                    <a:pt x="1335" y="825"/>
                    <a:pt x="1254" y="823"/>
                  </a:cubicBezTo>
                  <a:lnTo>
                    <a:pt x="1219" y="823"/>
                  </a:lnTo>
                  <a:lnTo>
                    <a:pt x="1090" y="820"/>
                  </a:lnTo>
                  <a:cubicBezTo>
                    <a:pt x="1086" y="858"/>
                    <a:pt x="1079" y="897"/>
                    <a:pt x="1076" y="935"/>
                  </a:cubicBezTo>
                  <a:lnTo>
                    <a:pt x="1076" y="946"/>
                  </a:lnTo>
                  <a:lnTo>
                    <a:pt x="1069" y="1012"/>
                  </a:lnTo>
                  <a:lnTo>
                    <a:pt x="1069" y="1023"/>
                  </a:lnTo>
                  <a:lnTo>
                    <a:pt x="1062" y="1079"/>
                  </a:lnTo>
                  <a:lnTo>
                    <a:pt x="1062" y="1093"/>
                  </a:lnTo>
                  <a:lnTo>
                    <a:pt x="1058" y="1142"/>
                  </a:lnTo>
                  <a:lnTo>
                    <a:pt x="1058" y="1156"/>
                  </a:lnTo>
                  <a:cubicBezTo>
                    <a:pt x="1058" y="1170"/>
                    <a:pt x="1055" y="1184"/>
                    <a:pt x="1055" y="1195"/>
                  </a:cubicBezTo>
                  <a:lnTo>
                    <a:pt x="1055" y="1209"/>
                  </a:lnTo>
                  <a:cubicBezTo>
                    <a:pt x="1055" y="1219"/>
                    <a:pt x="1055" y="1233"/>
                    <a:pt x="1051" y="1244"/>
                  </a:cubicBezTo>
                  <a:lnTo>
                    <a:pt x="1051" y="1251"/>
                  </a:lnTo>
                  <a:cubicBezTo>
                    <a:pt x="1051" y="1265"/>
                    <a:pt x="1051" y="1275"/>
                    <a:pt x="1048" y="1286"/>
                  </a:cubicBezTo>
                  <a:cubicBezTo>
                    <a:pt x="1076" y="1282"/>
                    <a:pt x="1114" y="1268"/>
                    <a:pt x="1142" y="1261"/>
                  </a:cubicBezTo>
                  <a:cubicBezTo>
                    <a:pt x="1218" y="1239"/>
                    <a:pt x="1309" y="1211"/>
                    <a:pt x="1395" y="1211"/>
                  </a:cubicBezTo>
                  <a:cubicBezTo>
                    <a:pt x="1457" y="1211"/>
                    <a:pt x="1516" y="1225"/>
                    <a:pt x="1566" y="1265"/>
                  </a:cubicBezTo>
                  <a:cubicBezTo>
                    <a:pt x="1653" y="1328"/>
                    <a:pt x="1702" y="1433"/>
                    <a:pt x="1695" y="1545"/>
                  </a:cubicBezTo>
                  <a:cubicBezTo>
                    <a:pt x="1685" y="1653"/>
                    <a:pt x="1608" y="1751"/>
                    <a:pt x="1485" y="1814"/>
                  </a:cubicBezTo>
                  <a:cubicBezTo>
                    <a:pt x="1429" y="1842"/>
                    <a:pt x="1419" y="1877"/>
                    <a:pt x="1419" y="1902"/>
                  </a:cubicBezTo>
                  <a:cubicBezTo>
                    <a:pt x="1415" y="1975"/>
                    <a:pt x="1492" y="2080"/>
                    <a:pt x="1590" y="2140"/>
                  </a:cubicBezTo>
                  <a:cubicBezTo>
                    <a:pt x="1765" y="2245"/>
                    <a:pt x="1762" y="2437"/>
                    <a:pt x="1758" y="2658"/>
                  </a:cubicBezTo>
                  <a:lnTo>
                    <a:pt x="1758" y="2770"/>
                  </a:lnTo>
                  <a:cubicBezTo>
                    <a:pt x="1758" y="3081"/>
                    <a:pt x="1758" y="3432"/>
                    <a:pt x="1538" y="3477"/>
                  </a:cubicBezTo>
                  <a:cubicBezTo>
                    <a:pt x="1515" y="3481"/>
                    <a:pt x="1493" y="3482"/>
                    <a:pt x="1471" y="3482"/>
                  </a:cubicBezTo>
                  <a:cubicBezTo>
                    <a:pt x="1405" y="3482"/>
                    <a:pt x="1339" y="3467"/>
                    <a:pt x="1279" y="3439"/>
                  </a:cubicBezTo>
                  <a:cubicBezTo>
                    <a:pt x="1242" y="3419"/>
                    <a:pt x="1204" y="3408"/>
                    <a:pt x="1165" y="3408"/>
                  </a:cubicBezTo>
                  <a:cubicBezTo>
                    <a:pt x="1155" y="3408"/>
                    <a:pt x="1145" y="3409"/>
                    <a:pt x="1135" y="3411"/>
                  </a:cubicBezTo>
                  <a:cubicBezTo>
                    <a:pt x="1123" y="3413"/>
                    <a:pt x="1112" y="3415"/>
                    <a:pt x="1101" y="3415"/>
                  </a:cubicBezTo>
                  <a:cubicBezTo>
                    <a:pt x="1001" y="3415"/>
                    <a:pt x="948" y="3303"/>
                    <a:pt x="904" y="3211"/>
                  </a:cubicBezTo>
                  <a:cubicBezTo>
                    <a:pt x="883" y="3162"/>
                    <a:pt x="858" y="3116"/>
                    <a:pt x="823" y="3078"/>
                  </a:cubicBezTo>
                  <a:cubicBezTo>
                    <a:pt x="820" y="3074"/>
                    <a:pt x="816" y="3074"/>
                    <a:pt x="813" y="3074"/>
                  </a:cubicBezTo>
                  <a:cubicBezTo>
                    <a:pt x="799" y="3081"/>
                    <a:pt x="781" y="3137"/>
                    <a:pt x="774" y="3165"/>
                  </a:cubicBezTo>
                  <a:cubicBezTo>
                    <a:pt x="753" y="3250"/>
                    <a:pt x="718" y="3379"/>
                    <a:pt x="578" y="3379"/>
                  </a:cubicBezTo>
                  <a:lnTo>
                    <a:pt x="526" y="3379"/>
                  </a:lnTo>
                  <a:cubicBezTo>
                    <a:pt x="514" y="3379"/>
                    <a:pt x="501" y="3379"/>
                    <a:pt x="488" y="3379"/>
                  </a:cubicBezTo>
                  <a:cubicBezTo>
                    <a:pt x="409" y="3379"/>
                    <a:pt x="315" y="3382"/>
                    <a:pt x="291" y="3418"/>
                  </a:cubicBezTo>
                  <a:cubicBezTo>
                    <a:pt x="277" y="3435"/>
                    <a:pt x="281" y="3474"/>
                    <a:pt x="302" y="3526"/>
                  </a:cubicBezTo>
                  <a:cubicBezTo>
                    <a:pt x="312" y="3558"/>
                    <a:pt x="323" y="3586"/>
                    <a:pt x="333" y="3614"/>
                  </a:cubicBezTo>
                  <a:cubicBezTo>
                    <a:pt x="396" y="3775"/>
                    <a:pt x="442" y="3890"/>
                    <a:pt x="382" y="3978"/>
                  </a:cubicBezTo>
                  <a:cubicBezTo>
                    <a:pt x="337" y="4048"/>
                    <a:pt x="239" y="4055"/>
                    <a:pt x="172" y="4055"/>
                  </a:cubicBezTo>
                  <a:lnTo>
                    <a:pt x="134" y="4055"/>
                  </a:lnTo>
                  <a:lnTo>
                    <a:pt x="116" y="4058"/>
                  </a:lnTo>
                  <a:lnTo>
                    <a:pt x="109" y="4062"/>
                  </a:lnTo>
                  <a:lnTo>
                    <a:pt x="88" y="4069"/>
                  </a:lnTo>
                  <a:lnTo>
                    <a:pt x="81" y="4072"/>
                  </a:lnTo>
                  <a:cubicBezTo>
                    <a:pt x="74" y="4076"/>
                    <a:pt x="67" y="4079"/>
                    <a:pt x="57" y="4083"/>
                  </a:cubicBezTo>
                  <a:cubicBezTo>
                    <a:pt x="50" y="4086"/>
                    <a:pt x="43" y="4093"/>
                    <a:pt x="36" y="4097"/>
                  </a:cubicBezTo>
                  <a:lnTo>
                    <a:pt x="29" y="4104"/>
                  </a:lnTo>
                  <a:lnTo>
                    <a:pt x="15" y="4118"/>
                  </a:lnTo>
                  <a:lnTo>
                    <a:pt x="8" y="4125"/>
                  </a:lnTo>
                  <a:lnTo>
                    <a:pt x="1" y="4128"/>
                  </a:lnTo>
                  <a:lnTo>
                    <a:pt x="8" y="4135"/>
                  </a:lnTo>
                  <a:cubicBezTo>
                    <a:pt x="197" y="4279"/>
                    <a:pt x="351" y="4461"/>
                    <a:pt x="463" y="4667"/>
                  </a:cubicBezTo>
                  <a:lnTo>
                    <a:pt x="473" y="4660"/>
                  </a:lnTo>
                  <a:lnTo>
                    <a:pt x="505" y="4639"/>
                  </a:lnTo>
                  <a:lnTo>
                    <a:pt x="543" y="4615"/>
                  </a:lnTo>
                  <a:lnTo>
                    <a:pt x="575" y="4594"/>
                  </a:lnTo>
                  <a:lnTo>
                    <a:pt x="610" y="4573"/>
                  </a:lnTo>
                  <a:lnTo>
                    <a:pt x="638" y="4555"/>
                  </a:lnTo>
                  <a:lnTo>
                    <a:pt x="666" y="4538"/>
                  </a:lnTo>
                  <a:lnTo>
                    <a:pt x="694" y="4524"/>
                  </a:lnTo>
                  <a:lnTo>
                    <a:pt x="718" y="4510"/>
                  </a:lnTo>
                  <a:lnTo>
                    <a:pt x="743" y="4496"/>
                  </a:lnTo>
                  <a:lnTo>
                    <a:pt x="764" y="4485"/>
                  </a:lnTo>
                  <a:lnTo>
                    <a:pt x="785" y="4475"/>
                  </a:lnTo>
                  <a:lnTo>
                    <a:pt x="802" y="4464"/>
                  </a:lnTo>
                  <a:lnTo>
                    <a:pt x="820" y="4457"/>
                  </a:lnTo>
                  <a:lnTo>
                    <a:pt x="837" y="4450"/>
                  </a:lnTo>
                  <a:lnTo>
                    <a:pt x="851" y="4443"/>
                  </a:lnTo>
                  <a:lnTo>
                    <a:pt x="865" y="4440"/>
                  </a:lnTo>
                  <a:lnTo>
                    <a:pt x="880" y="4436"/>
                  </a:lnTo>
                  <a:lnTo>
                    <a:pt x="890" y="4433"/>
                  </a:lnTo>
                  <a:lnTo>
                    <a:pt x="901" y="4429"/>
                  </a:lnTo>
                  <a:lnTo>
                    <a:pt x="911" y="4426"/>
                  </a:lnTo>
                  <a:lnTo>
                    <a:pt x="971" y="4426"/>
                  </a:lnTo>
                  <a:cubicBezTo>
                    <a:pt x="1006" y="4440"/>
                    <a:pt x="1037" y="4461"/>
                    <a:pt x="1065" y="4485"/>
                  </a:cubicBezTo>
                  <a:cubicBezTo>
                    <a:pt x="1100" y="4511"/>
                    <a:pt x="1127" y="4531"/>
                    <a:pt x="1161" y="4531"/>
                  </a:cubicBezTo>
                  <a:cubicBezTo>
                    <a:pt x="1191" y="4531"/>
                    <a:pt x="1227" y="4515"/>
                    <a:pt x="1279" y="4471"/>
                  </a:cubicBezTo>
                  <a:cubicBezTo>
                    <a:pt x="1377" y="4390"/>
                    <a:pt x="1491" y="4345"/>
                    <a:pt x="1592" y="4345"/>
                  </a:cubicBezTo>
                  <a:cubicBezTo>
                    <a:pt x="1634" y="4345"/>
                    <a:pt x="1674" y="4353"/>
                    <a:pt x="1709" y="4370"/>
                  </a:cubicBezTo>
                  <a:cubicBezTo>
                    <a:pt x="1779" y="4405"/>
                    <a:pt x="1828" y="4478"/>
                    <a:pt x="1825" y="4555"/>
                  </a:cubicBezTo>
                  <a:lnTo>
                    <a:pt x="1825" y="4587"/>
                  </a:lnTo>
                  <a:cubicBezTo>
                    <a:pt x="1870" y="4555"/>
                    <a:pt x="1909" y="4517"/>
                    <a:pt x="1947" y="4475"/>
                  </a:cubicBezTo>
                  <a:cubicBezTo>
                    <a:pt x="2010" y="4415"/>
                    <a:pt x="2091" y="4380"/>
                    <a:pt x="2178" y="4373"/>
                  </a:cubicBezTo>
                  <a:cubicBezTo>
                    <a:pt x="2248" y="4366"/>
                    <a:pt x="2266" y="4363"/>
                    <a:pt x="2266" y="4219"/>
                  </a:cubicBezTo>
                  <a:cubicBezTo>
                    <a:pt x="2266" y="4037"/>
                    <a:pt x="2322" y="3988"/>
                    <a:pt x="2413" y="3964"/>
                  </a:cubicBezTo>
                  <a:cubicBezTo>
                    <a:pt x="2444" y="3957"/>
                    <a:pt x="2469" y="3953"/>
                    <a:pt x="2469" y="3813"/>
                  </a:cubicBezTo>
                  <a:cubicBezTo>
                    <a:pt x="2469" y="3589"/>
                    <a:pt x="2479" y="3365"/>
                    <a:pt x="2490" y="3186"/>
                  </a:cubicBezTo>
                  <a:lnTo>
                    <a:pt x="2493" y="3141"/>
                  </a:lnTo>
                  <a:cubicBezTo>
                    <a:pt x="2497" y="3043"/>
                    <a:pt x="2500" y="2955"/>
                    <a:pt x="2500" y="2899"/>
                  </a:cubicBezTo>
                  <a:cubicBezTo>
                    <a:pt x="2500" y="2794"/>
                    <a:pt x="2605" y="2710"/>
                    <a:pt x="2721" y="2616"/>
                  </a:cubicBezTo>
                  <a:cubicBezTo>
                    <a:pt x="2836" y="2521"/>
                    <a:pt x="2973" y="2409"/>
                    <a:pt x="2973" y="2290"/>
                  </a:cubicBezTo>
                  <a:cubicBezTo>
                    <a:pt x="2973" y="2147"/>
                    <a:pt x="3068" y="1954"/>
                    <a:pt x="3166" y="1748"/>
                  </a:cubicBezTo>
                  <a:cubicBezTo>
                    <a:pt x="3271" y="1531"/>
                    <a:pt x="3379" y="1303"/>
                    <a:pt x="3379" y="1142"/>
                  </a:cubicBezTo>
                  <a:cubicBezTo>
                    <a:pt x="3379" y="848"/>
                    <a:pt x="3456" y="736"/>
                    <a:pt x="3537" y="620"/>
                  </a:cubicBezTo>
                  <a:cubicBezTo>
                    <a:pt x="3554" y="592"/>
                    <a:pt x="3575" y="564"/>
                    <a:pt x="3593" y="533"/>
                  </a:cubicBezTo>
                  <a:cubicBezTo>
                    <a:pt x="3600" y="519"/>
                    <a:pt x="3607" y="505"/>
                    <a:pt x="3614" y="494"/>
                  </a:cubicBezTo>
                  <a:lnTo>
                    <a:pt x="3614" y="491"/>
                  </a:lnTo>
                  <a:cubicBezTo>
                    <a:pt x="3617" y="477"/>
                    <a:pt x="3624" y="463"/>
                    <a:pt x="3631" y="445"/>
                  </a:cubicBezTo>
                  <a:lnTo>
                    <a:pt x="3631" y="438"/>
                  </a:lnTo>
                  <a:cubicBezTo>
                    <a:pt x="3638" y="424"/>
                    <a:pt x="3642" y="407"/>
                    <a:pt x="3645" y="393"/>
                  </a:cubicBezTo>
                  <a:lnTo>
                    <a:pt x="3649" y="382"/>
                  </a:lnTo>
                  <a:cubicBezTo>
                    <a:pt x="3652" y="365"/>
                    <a:pt x="3659" y="347"/>
                    <a:pt x="3659" y="330"/>
                  </a:cubicBezTo>
                  <a:lnTo>
                    <a:pt x="3659" y="323"/>
                  </a:lnTo>
                  <a:cubicBezTo>
                    <a:pt x="3663" y="302"/>
                    <a:pt x="3666" y="284"/>
                    <a:pt x="3670" y="267"/>
                  </a:cubicBezTo>
                  <a:lnTo>
                    <a:pt x="3670" y="260"/>
                  </a:lnTo>
                  <a:cubicBezTo>
                    <a:pt x="3670" y="239"/>
                    <a:pt x="3673" y="218"/>
                    <a:pt x="3673" y="197"/>
                  </a:cubicBezTo>
                  <a:lnTo>
                    <a:pt x="3673" y="134"/>
                  </a:lnTo>
                  <a:lnTo>
                    <a:pt x="3673" y="127"/>
                  </a:lnTo>
                  <a:cubicBezTo>
                    <a:pt x="3673" y="106"/>
                    <a:pt x="3673" y="88"/>
                    <a:pt x="3670" y="67"/>
                  </a:cubicBezTo>
                  <a:lnTo>
                    <a:pt x="3670" y="60"/>
                  </a:lnTo>
                  <a:lnTo>
                    <a:pt x="32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7" name="Google Shape;4427;p53"/>
            <p:cNvSpPr/>
            <p:nvPr/>
          </p:nvSpPr>
          <p:spPr>
            <a:xfrm>
              <a:off x="2168070" y="2023593"/>
              <a:ext cx="394" cy="638"/>
            </a:xfrm>
            <a:custGeom>
              <a:avLst/>
              <a:gdLst/>
              <a:ahLst/>
              <a:cxnLst/>
              <a:rect l="l" t="t" r="r" b="b"/>
              <a:pathLst>
                <a:path w="29" h="47" extrusionOk="0">
                  <a:moveTo>
                    <a:pt x="29" y="1"/>
                  </a:moveTo>
                  <a:lnTo>
                    <a:pt x="29" y="1"/>
                  </a:lnTo>
                  <a:cubicBezTo>
                    <a:pt x="27" y="6"/>
                    <a:pt x="24" y="10"/>
                    <a:pt x="22" y="14"/>
                  </a:cubicBezTo>
                  <a:lnTo>
                    <a:pt x="22" y="14"/>
                  </a:lnTo>
                  <a:cubicBezTo>
                    <a:pt x="24" y="10"/>
                    <a:pt x="27" y="6"/>
                    <a:pt x="29" y="1"/>
                  </a:cubicBezTo>
                  <a:close/>
                  <a:moveTo>
                    <a:pt x="22" y="14"/>
                  </a:moveTo>
                  <a:lnTo>
                    <a:pt x="22" y="14"/>
                  </a:lnTo>
                  <a:cubicBezTo>
                    <a:pt x="21" y="16"/>
                    <a:pt x="20" y="17"/>
                    <a:pt x="18" y="18"/>
                  </a:cubicBezTo>
                  <a:lnTo>
                    <a:pt x="1" y="46"/>
                  </a:lnTo>
                  <a:lnTo>
                    <a:pt x="8" y="36"/>
                  </a:lnTo>
                  <a:cubicBezTo>
                    <a:pt x="13" y="29"/>
                    <a:pt x="17" y="22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8" name="Google Shape;4428;p53"/>
            <p:cNvSpPr/>
            <p:nvPr/>
          </p:nvSpPr>
          <p:spPr>
            <a:xfrm>
              <a:off x="2166359" y="2024217"/>
              <a:ext cx="1724" cy="6191"/>
            </a:xfrm>
            <a:custGeom>
              <a:avLst/>
              <a:gdLst/>
              <a:ahLst/>
              <a:cxnLst/>
              <a:rect l="l" t="t" r="r" b="b"/>
              <a:pathLst>
                <a:path w="127" h="456" extrusionOk="0">
                  <a:moveTo>
                    <a:pt x="127" y="0"/>
                  </a:moveTo>
                  <a:cubicBezTo>
                    <a:pt x="92" y="59"/>
                    <a:pt x="67" y="133"/>
                    <a:pt x="48" y="205"/>
                  </a:cubicBezTo>
                  <a:lnTo>
                    <a:pt x="48" y="205"/>
                  </a:lnTo>
                  <a:cubicBezTo>
                    <a:pt x="66" y="142"/>
                    <a:pt x="89" y="81"/>
                    <a:pt x="116" y="21"/>
                  </a:cubicBezTo>
                  <a:lnTo>
                    <a:pt x="127" y="0"/>
                  </a:lnTo>
                  <a:close/>
                  <a:moveTo>
                    <a:pt x="48" y="205"/>
                  </a:moveTo>
                  <a:cubicBezTo>
                    <a:pt x="25" y="286"/>
                    <a:pt x="9" y="370"/>
                    <a:pt x="1" y="455"/>
                  </a:cubicBezTo>
                  <a:cubicBezTo>
                    <a:pt x="5" y="432"/>
                    <a:pt x="18" y="322"/>
                    <a:pt x="48" y="20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9" name="Google Shape;4429;p53"/>
            <p:cNvSpPr/>
            <p:nvPr/>
          </p:nvSpPr>
          <p:spPr>
            <a:xfrm>
              <a:off x="2147065" y="2027639"/>
              <a:ext cx="1779" cy="54"/>
            </a:xfrm>
            <a:custGeom>
              <a:avLst/>
              <a:gdLst/>
              <a:ahLst/>
              <a:cxnLst/>
              <a:rect l="l" t="t" r="r" b="b"/>
              <a:pathLst>
                <a:path w="131" h="4" extrusionOk="0">
                  <a:moveTo>
                    <a:pt x="1" y="0"/>
                  </a:moveTo>
                  <a:lnTo>
                    <a:pt x="13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0" name="Google Shape;4430;p53"/>
            <p:cNvSpPr/>
            <p:nvPr/>
          </p:nvSpPr>
          <p:spPr>
            <a:xfrm>
              <a:off x="2149306" y="20277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1" name="Google Shape;4431;p53"/>
            <p:cNvSpPr/>
            <p:nvPr/>
          </p:nvSpPr>
          <p:spPr>
            <a:xfrm>
              <a:off x="2167934" y="2023837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0"/>
                  </a:moveTo>
                  <a:lnTo>
                    <a:pt x="18" y="17"/>
                  </a:lnTo>
                  <a:lnTo>
                    <a:pt x="18" y="17"/>
                  </a:lnTo>
                  <a:cubicBezTo>
                    <a:pt x="21" y="12"/>
                    <a:pt x="25" y="6"/>
                    <a:pt x="28" y="0"/>
                  </a:cubicBezTo>
                  <a:close/>
                  <a:moveTo>
                    <a:pt x="18" y="17"/>
                  </a:moveTo>
                  <a:cubicBezTo>
                    <a:pt x="16" y="20"/>
                    <a:pt x="15" y="22"/>
                    <a:pt x="13" y="25"/>
                  </a:cubicBezTo>
                  <a:lnTo>
                    <a:pt x="13" y="25"/>
                  </a:lnTo>
                  <a:lnTo>
                    <a:pt x="18" y="17"/>
                  </a:lnTo>
                  <a:close/>
                  <a:moveTo>
                    <a:pt x="13" y="25"/>
                  </a:moveTo>
                  <a:lnTo>
                    <a:pt x="11" y="28"/>
                  </a:lnTo>
                  <a:lnTo>
                    <a:pt x="10" y="29"/>
                  </a:lnTo>
                  <a:lnTo>
                    <a:pt x="10" y="29"/>
                  </a:lnTo>
                  <a:cubicBezTo>
                    <a:pt x="11" y="28"/>
                    <a:pt x="12" y="26"/>
                    <a:pt x="13" y="25"/>
                  </a:cubicBezTo>
                  <a:close/>
                  <a:moveTo>
                    <a:pt x="10" y="29"/>
                  </a:moveTo>
                  <a:cubicBezTo>
                    <a:pt x="7" y="36"/>
                    <a:pt x="3" y="42"/>
                    <a:pt x="0" y="49"/>
                  </a:cubicBezTo>
                  <a:lnTo>
                    <a:pt x="10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2" name="Google Shape;4432;p53"/>
            <p:cNvSpPr/>
            <p:nvPr/>
          </p:nvSpPr>
          <p:spPr>
            <a:xfrm>
              <a:off x="2132184" y="2072553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1" y="4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3" name="Google Shape;4433;p53"/>
            <p:cNvSpPr/>
            <p:nvPr/>
          </p:nvSpPr>
          <p:spPr>
            <a:xfrm>
              <a:off x="2146400" y="2033532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4" y="1"/>
                  </a:moveTo>
                  <a:lnTo>
                    <a:pt x="4" y="1"/>
                  </a:lnTo>
                  <a:cubicBezTo>
                    <a:pt x="1" y="15"/>
                    <a:pt x="1" y="25"/>
                    <a:pt x="1" y="36"/>
                  </a:cubicBezTo>
                  <a:cubicBezTo>
                    <a:pt x="4" y="25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4" name="Google Shape;4434;p53"/>
            <p:cNvSpPr/>
            <p:nvPr/>
          </p:nvSpPr>
          <p:spPr>
            <a:xfrm>
              <a:off x="2132660" y="207198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5"/>
                  </a:moveTo>
                  <a:cubicBezTo>
                    <a:pt x="8" y="11"/>
                    <a:pt x="15" y="4"/>
                    <a:pt x="22" y="1"/>
                  </a:cubicBezTo>
                  <a:cubicBezTo>
                    <a:pt x="15" y="4"/>
                    <a:pt x="8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5" name="Google Shape;4435;p53"/>
            <p:cNvSpPr/>
            <p:nvPr/>
          </p:nvSpPr>
          <p:spPr>
            <a:xfrm>
              <a:off x="2133759" y="2071603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6" name="Google Shape;4436;p53"/>
            <p:cNvSpPr/>
            <p:nvPr/>
          </p:nvSpPr>
          <p:spPr>
            <a:xfrm>
              <a:off x="2132334" y="2072268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7" name="Google Shape;4437;p53"/>
            <p:cNvSpPr/>
            <p:nvPr/>
          </p:nvSpPr>
          <p:spPr>
            <a:xfrm>
              <a:off x="2133379" y="2071657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8" name="Google Shape;4438;p53"/>
            <p:cNvSpPr/>
            <p:nvPr/>
          </p:nvSpPr>
          <p:spPr>
            <a:xfrm>
              <a:off x="2134140" y="207156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cubicBezTo>
                    <a:pt x="7" y="0"/>
                    <a:pt x="18" y="0"/>
                    <a:pt x="28" y="0"/>
                  </a:cubicBezTo>
                  <a:cubicBezTo>
                    <a:pt x="18" y="0"/>
                    <a:pt x="7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9" name="Google Shape;4439;p53"/>
            <p:cNvSpPr/>
            <p:nvPr/>
          </p:nvSpPr>
          <p:spPr>
            <a:xfrm>
              <a:off x="2143359" y="2058297"/>
              <a:ext cx="1100" cy="1819"/>
            </a:xfrm>
            <a:custGeom>
              <a:avLst/>
              <a:gdLst/>
              <a:ahLst/>
              <a:cxnLst/>
              <a:rect l="l" t="t" r="r" b="b"/>
              <a:pathLst>
                <a:path w="81" h="134" extrusionOk="0">
                  <a:moveTo>
                    <a:pt x="81" y="134"/>
                  </a:moveTo>
                  <a:cubicBezTo>
                    <a:pt x="60" y="84"/>
                    <a:pt x="32" y="39"/>
                    <a:pt x="0" y="0"/>
                  </a:cubicBezTo>
                  <a:cubicBezTo>
                    <a:pt x="32" y="39"/>
                    <a:pt x="60" y="84"/>
                    <a:pt x="81" y="13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0" name="Google Shape;4440;p53"/>
            <p:cNvSpPr/>
            <p:nvPr/>
          </p:nvSpPr>
          <p:spPr>
            <a:xfrm>
              <a:off x="2146685" y="2030436"/>
              <a:ext cx="109" cy="774"/>
            </a:xfrm>
            <a:custGeom>
              <a:avLst/>
              <a:gdLst/>
              <a:ahLst/>
              <a:cxnLst/>
              <a:rect l="l" t="t" r="r" b="b"/>
              <a:pathLst>
                <a:path w="8" h="57" extrusionOk="0">
                  <a:moveTo>
                    <a:pt x="8" y="1"/>
                  </a:moveTo>
                  <a:cubicBezTo>
                    <a:pt x="4" y="18"/>
                    <a:pt x="1" y="39"/>
                    <a:pt x="1" y="57"/>
                  </a:cubicBez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1" name="Google Shape;4441;p53"/>
            <p:cNvSpPr/>
            <p:nvPr/>
          </p:nvSpPr>
          <p:spPr>
            <a:xfrm>
              <a:off x="2146780" y="2029350"/>
              <a:ext cx="109" cy="910"/>
            </a:xfrm>
            <a:custGeom>
              <a:avLst/>
              <a:gdLst/>
              <a:ahLst/>
              <a:cxnLst/>
              <a:rect l="l" t="t" r="r" b="b"/>
              <a:pathLst>
                <a:path w="8" h="67" extrusionOk="0">
                  <a:moveTo>
                    <a:pt x="1" y="6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2" name="Google Shape;4442;p53"/>
            <p:cNvSpPr/>
            <p:nvPr/>
          </p:nvSpPr>
          <p:spPr>
            <a:xfrm>
              <a:off x="2132945" y="2071793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15"/>
                  </a:moveTo>
                  <a:cubicBezTo>
                    <a:pt x="8" y="8"/>
                    <a:pt x="18" y="4"/>
                    <a:pt x="25" y="1"/>
                  </a:cubicBezTo>
                  <a:cubicBezTo>
                    <a:pt x="18" y="4"/>
                    <a:pt x="8" y="8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3" name="Google Shape;4443;p53"/>
            <p:cNvSpPr/>
            <p:nvPr/>
          </p:nvSpPr>
          <p:spPr>
            <a:xfrm>
              <a:off x="2146590" y="2031386"/>
              <a:ext cx="68" cy="638"/>
            </a:xfrm>
            <a:custGeom>
              <a:avLst/>
              <a:gdLst/>
              <a:ahLst/>
              <a:cxnLst/>
              <a:rect l="l" t="t" r="r" b="b"/>
              <a:pathLst>
                <a:path w="5" h="47" extrusionOk="0">
                  <a:moveTo>
                    <a:pt x="1" y="47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4" name="Google Shape;4444;p53"/>
            <p:cNvSpPr/>
            <p:nvPr/>
          </p:nvSpPr>
          <p:spPr>
            <a:xfrm>
              <a:off x="2146930" y="2027639"/>
              <a:ext cx="149" cy="1575"/>
            </a:xfrm>
            <a:custGeom>
              <a:avLst/>
              <a:gdLst/>
              <a:ahLst/>
              <a:cxnLst/>
              <a:rect l="l" t="t" r="r" b="b"/>
              <a:pathLst>
                <a:path w="11" h="116" extrusionOk="0">
                  <a:moveTo>
                    <a:pt x="11" y="0"/>
                  </a:moveTo>
                  <a:cubicBezTo>
                    <a:pt x="7" y="42"/>
                    <a:pt x="4" y="81"/>
                    <a:pt x="0" y="116"/>
                  </a:cubicBezTo>
                  <a:cubicBezTo>
                    <a:pt x="4" y="81"/>
                    <a:pt x="7" y="42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5" name="Google Shape;4445;p53"/>
            <p:cNvSpPr/>
            <p:nvPr/>
          </p:nvSpPr>
          <p:spPr>
            <a:xfrm>
              <a:off x="2146549" y="2032201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4" y="1"/>
                  </a:moveTo>
                  <a:cubicBezTo>
                    <a:pt x="0" y="18"/>
                    <a:pt x="0" y="29"/>
                    <a:pt x="0" y="43"/>
                  </a:cubicBezTo>
                  <a:cubicBezTo>
                    <a:pt x="0" y="32"/>
                    <a:pt x="0" y="1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6" name="Google Shape;4446;p53"/>
            <p:cNvSpPr/>
            <p:nvPr/>
          </p:nvSpPr>
          <p:spPr>
            <a:xfrm>
              <a:off x="2136135" y="2062329"/>
              <a:ext cx="3150" cy="543"/>
            </a:xfrm>
            <a:custGeom>
              <a:avLst/>
              <a:gdLst/>
              <a:ahLst/>
              <a:cxnLst/>
              <a:rect l="l" t="t" r="r" b="b"/>
              <a:pathLst>
                <a:path w="232" h="40" extrusionOk="0">
                  <a:moveTo>
                    <a:pt x="195" y="1"/>
                  </a:moveTo>
                  <a:cubicBezTo>
                    <a:pt x="118" y="1"/>
                    <a:pt x="24" y="4"/>
                    <a:pt x="0" y="40"/>
                  </a:cubicBezTo>
                  <a:cubicBezTo>
                    <a:pt x="28" y="1"/>
                    <a:pt x="151" y="1"/>
                    <a:pt x="231" y="1"/>
                  </a:cubicBezTo>
                  <a:cubicBezTo>
                    <a:pt x="220" y="1"/>
                    <a:pt x="208" y="1"/>
                    <a:pt x="1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7" name="Google Shape;4447;p53"/>
            <p:cNvSpPr/>
            <p:nvPr/>
          </p:nvSpPr>
          <p:spPr>
            <a:xfrm>
              <a:off x="2146454" y="2032921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14"/>
                    <a:pt x="0" y="25"/>
                    <a:pt x="0" y="35"/>
                  </a:cubicBezTo>
                  <a:cubicBezTo>
                    <a:pt x="4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8" name="Google Shape;4448;p53"/>
            <p:cNvSpPr/>
            <p:nvPr/>
          </p:nvSpPr>
          <p:spPr>
            <a:xfrm>
              <a:off x="2208721" y="1867452"/>
              <a:ext cx="119645" cy="148131"/>
            </a:xfrm>
            <a:custGeom>
              <a:avLst/>
              <a:gdLst/>
              <a:ahLst/>
              <a:cxnLst/>
              <a:rect l="l" t="t" r="r" b="b"/>
              <a:pathLst>
                <a:path w="8812" h="10910" extrusionOk="0">
                  <a:moveTo>
                    <a:pt x="7299" y="1"/>
                  </a:moveTo>
                  <a:lnTo>
                    <a:pt x="7271" y="36"/>
                  </a:lnTo>
                  <a:lnTo>
                    <a:pt x="7268" y="43"/>
                  </a:lnTo>
                  <a:cubicBezTo>
                    <a:pt x="7261" y="53"/>
                    <a:pt x="7254" y="60"/>
                    <a:pt x="7247" y="71"/>
                  </a:cubicBezTo>
                  <a:lnTo>
                    <a:pt x="7240" y="74"/>
                  </a:lnTo>
                  <a:cubicBezTo>
                    <a:pt x="7233" y="81"/>
                    <a:pt x="7226" y="88"/>
                    <a:pt x="7219" y="95"/>
                  </a:cubicBezTo>
                  <a:cubicBezTo>
                    <a:pt x="7212" y="102"/>
                    <a:pt x="7205" y="106"/>
                    <a:pt x="7198" y="113"/>
                  </a:cubicBezTo>
                  <a:cubicBezTo>
                    <a:pt x="7187" y="116"/>
                    <a:pt x="7180" y="120"/>
                    <a:pt x="7173" y="123"/>
                  </a:cubicBezTo>
                  <a:lnTo>
                    <a:pt x="7170" y="123"/>
                  </a:lnTo>
                  <a:cubicBezTo>
                    <a:pt x="7163" y="123"/>
                    <a:pt x="7152" y="127"/>
                    <a:pt x="7145" y="127"/>
                  </a:cubicBezTo>
                  <a:lnTo>
                    <a:pt x="7138" y="127"/>
                  </a:lnTo>
                  <a:cubicBezTo>
                    <a:pt x="7131" y="130"/>
                    <a:pt x="7121" y="130"/>
                    <a:pt x="7110" y="130"/>
                  </a:cubicBezTo>
                  <a:lnTo>
                    <a:pt x="7019" y="130"/>
                  </a:lnTo>
                  <a:cubicBezTo>
                    <a:pt x="6995" y="130"/>
                    <a:pt x="6974" y="179"/>
                    <a:pt x="6949" y="246"/>
                  </a:cubicBezTo>
                  <a:cubicBezTo>
                    <a:pt x="6911" y="354"/>
                    <a:pt x="6855" y="519"/>
                    <a:pt x="6662" y="519"/>
                  </a:cubicBezTo>
                  <a:cubicBezTo>
                    <a:pt x="6561" y="519"/>
                    <a:pt x="6543" y="561"/>
                    <a:pt x="6515" y="631"/>
                  </a:cubicBezTo>
                  <a:cubicBezTo>
                    <a:pt x="6491" y="690"/>
                    <a:pt x="6456" y="778"/>
                    <a:pt x="6340" y="778"/>
                  </a:cubicBezTo>
                  <a:cubicBezTo>
                    <a:pt x="6190" y="778"/>
                    <a:pt x="6067" y="666"/>
                    <a:pt x="6018" y="617"/>
                  </a:cubicBezTo>
                  <a:lnTo>
                    <a:pt x="5311" y="617"/>
                  </a:lnTo>
                  <a:lnTo>
                    <a:pt x="5290" y="596"/>
                  </a:lnTo>
                  <a:cubicBezTo>
                    <a:pt x="5248" y="554"/>
                    <a:pt x="5172" y="504"/>
                    <a:pt x="5132" y="504"/>
                  </a:cubicBezTo>
                  <a:cubicBezTo>
                    <a:pt x="5125" y="504"/>
                    <a:pt x="5119" y="505"/>
                    <a:pt x="5115" y="508"/>
                  </a:cubicBezTo>
                  <a:lnTo>
                    <a:pt x="4905" y="648"/>
                  </a:lnTo>
                  <a:lnTo>
                    <a:pt x="1614" y="648"/>
                  </a:lnTo>
                  <a:lnTo>
                    <a:pt x="1614" y="1800"/>
                  </a:lnTo>
                  <a:lnTo>
                    <a:pt x="1099" y="1814"/>
                  </a:lnTo>
                  <a:lnTo>
                    <a:pt x="1099" y="3536"/>
                  </a:lnTo>
                  <a:cubicBezTo>
                    <a:pt x="1120" y="3922"/>
                    <a:pt x="1085" y="4139"/>
                    <a:pt x="984" y="4170"/>
                  </a:cubicBezTo>
                  <a:lnTo>
                    <a:pt x="952" y="4181"/>
                  </a:lnTo>
                  <a:cubicBezTo>
                    <a:pt x="627" y="4286"/>
                    <a:pt x="557" y="4366"/>
                    <a:pt x="557" y="4412"/>
                  </a:cubicBezTo>
                  <a:cubicBezTo>
                    <a:pt x="557" y="4576"/>
                    <a:pt x="529" y="4769"/>
                    <a:pt x="301" y="4814"/>
                  </a:cubicBezTo>
                  <a:cubicBezTo>
                    <a:pt x="277" y="4818"/>
                    <a:pt x="270" y="4856"/>
                    <a:pt x="266" y="4944"/>
                  </a:cubicBezTo>
                  <a:cubicBezTo>
                    <a:pt x="256" y="5049"/>
                    <a:pt x="242" y="5220"/>
                    <a:pt x="53" y="5220"/>
                  </a:cubicBezTo>
                  <a:lnTo>
                    <a:pt x="35" y="5220"/>
                  </a:lnTo>
                  <a:cubicBezTo>
                    <a:pt x="42" y="5245"/>
                    <a:pt x="53" y="5269"/>
                    <a:pt x="63" y="5290"/>
                  </a:cubicBezTo>
                  <a:cubicBezTo>
                    <a:pt x="102" y="5378"/>
                    <a:pt x="161" y="5511"/>
                    <a:pt x="63" y="5605"/>
                  </a:cubicBezTo>
                  <a:cubicBezTo>
                    <a:pt x="28" y="5637"/>
                    <a:pt x="4" y="5682"/>
                    <a:pt x="0" y="5728"/>
                  </a:cubicBezTo>
                  <a:cubicBezTo>
                    <a:pt x="0" y="5735"/>
                    <a:pt x="0" y="5742"/>
                    <a:pt x="0" y="5745"/>
                  </a:cubicBezTo>
                  <a:cubicBezTo>
                    <a:pt x="0" y="5749"/>
                    <a:pt x="0" y="5756"/>
                    <a:pt x="4" y="5759"/>
                  </a:cubicBezTo>
                  <a:cubicBezTo>
                    <a:pt x="19" y="5785"/>
                    <a:pt x="46" y="5799"/>
                    <a:pt x="75" y="5799"/>
                  </a:cubicBezTo>
                  <a:cubicBezTo>
                    <a:pt x="78" y="5799"/>
                    <a:pt x="81" y="5798"/>
                    <a:pt x="84" y="5798"/>
                  </a:cubicBezTo>
                  <a:cubicBezTo>
                    <a:pt x="88" y="5798"/>
                    <a:pt x="92" y="5798"/>
                    <a:pt x="96" y="5798"/>
                  </a:cubicBezTo>
                  <a:cubicBezTo>
                    <a:pt x="141" y="5798"/>
                    <a:pt x="185" y="5815"/>
                    <a:pt x="214" y="5847"/>
                  </a:cubicBezTo>
                  <a:cubicBezTo>
                    <a:pt x="277" y="5914"/>
                    <a:pt x="266" y="6015"/>
                    <a:pt x="259" y="6134"/>
                  </a:cubicBezTo>
                  <a:cubicBezTo>
                    <a:pt x="256" y="6176"/>
                    <a:pt x="252" y="6222"/>
                    <a:pt x="252" y="6267"/>
                  </a:cubicBezTo>
                  <a:cubicBezTo>
                    <a:pt x="252" y="6278"/>
                    <a:pt x="252" y="6285"/>
                    <a:pt x="256" y="6295"/>
                  </a:cubicBezTo>
                  <a:cubicBezTo>
                    <a:pt x="256" y="6299"/>
                    <a:pt x="256" y="6302"/>
                    <a:pt x="256" y="6309"/>
                  </a:cubicBezTo>
                  <a:cubicBezTo>
                    <a:pt x="259" y="6313"/>
                    <a:pt x="256" y="6316"/>
                    <a:pt x="259" y="6320"/>
                  </a:cubicBezTo>
                  <a:cubicBezTo>
                    <a:pt x="263" y="6323"/>
                    <a:pt x="263" y="6330"/>
                    <a:pt x="266" y="6337"/>
                  </a:cubicBezTo>
                  <a:lnTo>
                    <a:pt x="270" y="6344"/>
                  </a:lnTo>
                  <a:cubicBezTo>
                    <a:pt x="273" y="6348"/>
                    <a:pt x="277" y="6355"/>
                    <a:pt x="280" y="6362"/>
                  </a:cubicBezTo>
                  <a:cubicBezTo>
                    <a:pt x="298" y="6393"/>
                    <a:pt x="322" y="6425"/>
                    <a:pt x="350" y="6449"/>
                  </a:cubicBezTo>
                  <a:cubicBezTo>
                    <a:pt x="392" y="6484"/>
                    <a:pt x="434" y="6516"/>
                    <a:pt x="483" y="6544"/>
                  </a:cubicBezTo>
                  <a:lnTo>
                    <a:pt x="487" y="6544"/>
                  </a:lnTo>
                  <a:lnTo>
                    <a:pt x="536" y="6568"/>
                  </a:lnTo>
                  <a:lnTo>
                    <a:pt x="476" y="6768"/>
                  </a:lnTo>
                  <a:lnTo>
                    <a:pt x="462" y="6820"/>
                  </a:lnTo>
                  <a:lnTo>
                    <a:pt x="469" y="6827"/>
                  </a:lnTo>
                  <a:cubicBezTo>
                    <a:pt x="581" y="6964"/>
                    <a:pt x="826" y="7261"/>
                    <a:pt x="858" y="7356"/>
                  </a:cubicBezTo>
                  <a:cubicBezTo>
                    <a:pt x="861" y="7366"/>
                    <a:pt x="865" y="7380"/>
                    <a:pt x="872" y="7391"/>
                  </a:cubicBezTo>
                  <a:lnTo>
                    <a:pt x="889" y="7429"/>
                  </a:lnTo>
                  <a:cubicBezTo>
                    <a:pt x="942" y="7527"/>
                    <a:pt x="1008" y="7667"/>
                    <a:pt x="970" y="7783"/>
                  </a:cubicBezTo>
                  <a:cubicBezTo>
                    <a:pt x="952" y="7839"/>
                    <a:pt x="910" y="7884"/>
                    <a:pt x="858" y="7909"/>
                  </a:cubicBezTo>
                  <a:cubicBezTo>
                    <a:pt x="798" y="7937"/>
                    <a:pt x="784" y="7961"/>
                    <a:pt x="781" y="7972"/>
                  </a:cubicBezTo>
                  <a:cubicBezTo>
                    <a:pt x="781" y="7979"/>
                    <a:pt x="784" y="7983"/>
                    <a:pt x="791" y="7990"/>
                  </a:cubicBezTo>
                  <a:lnTo>
                    <a:pt x="1043" y="8025"/>
                  </a:lnTo>
                  <a:lnTo>
                    <a:pt x="1110" y="8193"/>
                  </a:lnTo>
                  <a:cubicBezTo>
                    <a:pt x="1253" y="8203"/>
                    <a:pt x="1386" y="8263"/>
                    <a:pt x="1495" y="8354"/>
                  </a:cubicBezTo>
                  <a:cubicBezTo>
                    <a:pt x="1516" y="8375"/>
                    <a:pt x="1534" y="8392"/>
                    <a:pt x="1555" y="8413"/>
                  </a:cubicBezTo>
                  <a:cubicBezTo>
                    <a:pt x="1600" y="8473"/>
                    <a:pt x="1642" y="8515"/>
                    <a:pt x="1670" y="8550"/>
                  </a:cubicBezTo>
                  <a:cubicBezTo>
                    <a:pt x="1758" y="8644"/>
                    <a:pt x="1803" y="8697"/>
                    <a:pt x="1803" y="8795"/>
                  </a:cubicBezTo>
                  <a:cubicBezTo>
                    <a:pt x="1803" y="8823"/>
                    <a:pt x="1842" y="8847"/>
                    <a:pt x="1922" y="8903"/>
                  </a:cubicBezTo>
                  <a:cubicBezTo>
                    <a:pt x="1989" y="8949"/>
                    <a:pt x="2055" y="8994"/>
                    <a:pt x="2118" y="9047"/>
                  </a:cubicBezTo>
                  <a:cubicBezTo>
                    <a:pt x="2342" y="9232"/>
                    <a:pt x="2342" y="9355"/>
                    <a:pt x="2342" y="9463"/>
                  </a:cubicBezTo>
                  <a:cubicBezTo>
                    <a:pt x="2360" y="9505"/>
                    <a:pt x="2514" y="9603"/>
                    <a:pt x="2675" y="9677"/>
                  </a:cubicBezTo>
                  <a:lnTo>
                    <a:pt x="2685" y="9684"/>
                  </a:lnTo>
                  <a:lnTo>
                    <a:pt x="2699" y="9687"/>
                  </a:lnTo>
                  <a:lnTo>
                    <a:pt x="2713" y="9729"/>
                  </a:lnTo>
                  <a:lnTo>
                    <a:pt x="2825" y="10006"/>
                  </a:lnTo>
                  <a:lnTo>
                    <a:pt x="2829" y="10009"/>
                  </a:lnTo>
                  <a:lnTo>
                    <a:pt x="2846" y="10020"/>
                  </a:lnTo>
                  <a:lnTo>
                    <a:pt x="2853" y="10023"/>
                  </a:lnTo>
                  <a:lnTo>
                    <a:pt x="2871" y="10037"/>
                  </a:lnTo>
                  <a:lnTo>
                    <a:pt x="2878" y="10041"/>
                  </a:lnTo>
                  <a:lnTo>
                    <a:pt x="2892" y="10055"/>
                  </a:lnTo>
                  <a:lnTo>
                    <a:pt x="2902" y="10062"/>
                  </a:lnTo>
                  <a:lnTo>
                    <a:pt x="2916" y="10076"/>
                  </a:lnTo>
                  <a:lnTo>
                    <a:pt x="2923" y="10083"/>
                  </a:lnTo>
                  <a:lnTo>
                    <a:pt x="2934" y="10101"/>
                  </a:lnTo>
                  <a:lnTo>
                    <a:pt x="2944" y="10111"/>
                  </a:lnTo>
                  <a:cubicBezTo>
                    <a:pt x="2948" y="10115"/>
                    <a:pt x="2951" y="10122"/>
                    <a:pt x="2955" y="10129"/>
                  </a:cubicBezTo>
                  <a:lnTo>
                    <a:pt x="2962" y="10139"/>
                  </a:lnTo>
                  <a:cubicBezTo>
                    <a:pt x="2965" y="10150"/>
                    <a:pt x="2972" y="10160"/>
                    <a:pt x="2976" y="10171"/>
                  </a:cubicBezTo>
                  <a:cubicBezTo>
                    <a:pt x="2979" y="10178"/>
                    <a:pt x="2983" y="10188"/>
                    <a:pt x="2986" y="10199"/>
                  </a:cubicBezTo>
                  <a:cubicBezTo>
                    <a:pt x="3035" y="10286"/>
                    <a:pt x="3105" y="10360"/>
                    <a:pt x="3193" y="10416"/>
                  </a:cubicBezTo>
                  <a:cubicBezTo>
                    <a:pt x="3198" y="10418"/>
                    <a:pt x="3270" y="10465"/>
                    <a:pt x="3345" y="10465"/>
                  </a:cubicBezTo>
                  <a:cubicBezTo>
                    <a:pt x="3381" y="10465"/>
                    <a:pt x="3418" y="10454"/>
                    <a:pt x="3448" y="10423"/>
                  </a:cubicBezTo>
                  <a:cubicBezTo>
                    <a:pt x="3490" y="10377"/>
                    <a:pt x="3553" y="10353"/>
                    <a:pt x="3613" y="10353"/>
                  </a:cubicBezTo>
                  <a:cubicBezTo>
                    <a:pt x="3669" y="10353"/>
                    <a:pt x="3722" y="10367"/>
                    <a:pt x="3767" y="10395"/>
                  </a:cubicBezTo>
                  <a:cubicBezTo>
                    <a:pt x="3778" y="10402"/>
                    <a:pt x="3792" y="10412"/>
                    <a:pt x="3802" y="10419"/>
                  </a:cubicBezTo>
                  <a:cubicBezTo>
                    <a:pt x="3850" y="10390"/>
                    <a:pt x="3928" y="10350"/>
                    <a:pt x="4004" y="10350"/>
                  </a:cubicBezTo>
                  <a:cubicBezTo>
                    <a:pt x="4040" y="10350"/>
                    <a:pt x="4075" y="10359"/>
                    <a:pt x="4107" y="10381"/>
                  </a:cubicBezTo>
                  <a:lnTo>
                    <a:pt x="4124" y="10391"/>
                  </a:lnTo>
                  <a:lnTo>
                    <a:pt x="4131" y="10398"/>
                  </a:lnTo>
                  <a:lnTo>
                    <a:pt x="4142" y="10405"/>
                  </a:lnTo>
                  <a:lnTo>
                    <a:pt x="4156" y="10416"/>
                  </a:lnTo>
                  <a:lnTo>
                    <a:pt x="4170" y="10426"/>
                  </a:lnTo>
                  <a:lnTo>
                    <a:pt x="4184" y="10440"/>
                  </a:lnTo>
                  <a:lnTo>
                    <a:pt x="4198" y="10447"/>
                  </a:lnTo>
                  <a:lnTo>
                    <a:pt x="4219" y="10465"/>
                  </a:lnTo>
                  <a:lnTo>
                    <a:pt x="4229" y="10475"/>
                  </a:lnTo>
                  <a:lnTo>
                    <a:pt x="4254" y="10493"/>
                  </a:lnTo>
                  <a:lnTo>
                    <a:pt x="4268" y="10503"/>
                  </a:lnTo>
                  <a:lnTo>
                    <a:pt x="4289" y="10524"/>
                  </a:lnTo>
                  <a:lnTo>
                    <a:pt x="4306" y="10535"/>
                  </a:lnTo>
                  <a:lnTo>
                    <a:pt x="4327" y="10556"/>
                  </a:lnTo>
                  <a:lnTo>
                    <a:pt x="4348" y="10570"/>
                  </a:lnTo>
                  <a:lnTo>
                    <a:pt x="4369" y="10591"/>
                  </a:lnTo>
                  <a:lnTo>
                    <a:pt x="4394" y="10608"/>
                  </a:lnTo>
                  <a:lnTo>
                    <a:pt x="4415" y="10626"/>
                  </a:lnTo>
                  <a:lnTo>
                    <a:pt x="4439" y="10647"/>
                  </a:lnTo>
                  <a:lnTo>
                    <a:pt x="4460" y="10664"/>
                  </a:lnTo>
                  <a:lnTo>
                    <a:pt x="4488" y="10689"/>
                  </a:lnTo>
                  <a:lnTo>
                    <a:pt x="4506" y="10706"/>
                  </a:lnTo>
                  <a:lnTo>
                    <a:pt x="4537" y="10731"/>
                  </a:lnTo>
                  <a:lnTo>
                    <a:pt x="4555" y="10748"/>
                  </a:lnTo>
                  <a:lnTo>
                    <a:pt x="4586" y="10776"/>
                  </a:lnTo>
                  <a:lnTo>
                    <a:pt x="4604" y="10790"/>
                  </a:lnTo>
                  <a:lnTo>
                    <a:pt x="4635" y="10818"/>
                  </a:lnTo>
                  <a:lnTo>
                    <a:pt x="4653" y="10836"/>
                  </a:lnTo>
                  <a:lnTo>
                    <a:pt x="4688" y="10864"/>
                  </a:lnTo>
                  <a:lnTo>
                    <a:pt x="4702" y="10878"/>
                  </a:lnTo>
                  <a:lnTo>
                    <a:pt x="4716" y="10892"/>
                  </a:lnTo>
                  <a:cubicBezTo>
                    <a:pt x="4761" y="10874"/>
                    <a:pt x="4831" y="10850"/>
                    <a:pt x="4905" y="10829"/>
                  </a:cubicBezTo>
                  <a:lnTo>
                    <a:pt x="4954" y="10815"/>
                  </a:lnTo>
                  <a:lnTo>
                    <a:pt x="4964" y="10811"/>
                  </a:lnTo>
                  <a:lnTo>
                    <a:pt x="5010" y="10801"/>
                  </a:lnTo>
                  <a:lnTo>
                    <a:pt x="5013" y="10801"/>
                  </a:lnTo>
                  <a:lnTo>
                    <a:pt x="5059" y="10790"/>
                  </a:lnTo>
                  <a:lnTo>
                    <a:pt x="5066" y="10790"/>
                  </a:lnTo>
                  <a:cubicBezTo>
                    <a:pt x="5080" y="10787"/>
                    <a:pt x="5090" y="10787"/>
                    <a:pt x="5104" y="10787"/>
                  </a:cubicBezTo>
                  <a:lnTo>
                    <a:pt x="5167" y="10787"/>
                  </a:lnTo>
                  <a:lnTo>
                    <a:pt x="5188" y="10794"/>
                  </a:lnTo>
                  <a:lnTo>
                    <a:pt x="5195" y="10794"/>
                  </a:lnTo>
                  <a:lnTo>
                    <a:pt x="5220" y="10804"/>
                  </a:lnTo>
                  <a:lnTo>
                    <a:pt x="5223" y="10804"/>
                  </a:lnTo>
                  <a:lnTo>
                    <a:pt x="5251" y="10815"/>
                  </a:lnTo>
                  <a:lnTo>
                    <a:pt x="5279" y="10832"/>
                  </a:lnTo>
                  <a:lnTo>
                    <a:pt x="5304" y="10846"/>
                  </a:lnTo>
                  <a:lnTo>
                    <a:pt x="5311" y="10846"/>
                  </a:lnTo>
                  <a:lnTo>
                    <a:pt x="5318" y="10853"/>
                  </a:lnTo>
                  <a:lnTo>
                    <a:pt x="5335" y="10864"/>
                  </a:lnTo>
                  <a:cubicBezTo>
                    <a:pt x="5360" y="10881"/>
                    <a:pt x="5384" y="10895"/>
                    <a:pt x="5409" y="10909"/>
                  </a:cubicBezTo>
                  <a:cubicBezTo>
                    <a:pt x="5479" y="10834"/>
                    <a:pt x="5660" y="10752"/>
                    <a:pt x="5791" y="10752"/>
                  </a:cubicBezTo>
                  <a:cubicBezTo>
                    <a:pt x="5824" y="10752"/>
                    <a:pt x="5854" y="10757"/>
                    <a:pt x="5878" y="10769"/>
                  </a:cubicBezTo>
                  <a:cubicBezTo>
                    <a:pt x="5920" y="10791"/>
                    <a:pt x="5985" y="10801"/>
                    <a:pt x="6038" y="10801"/>
                  </a:cubicBezTo>
                  <a:cubicBezTo>
                    <a:pt x="6078" y="10801"/>
                    <a:pt x="6112" y="10796"/>
                    <a:pt x="6127" y="10787"/>
                  </a:cubicBezTo>
                  <a:cubicBezTo>
                    <a:pt x="6137" y="10724"/>
                    <a:pt x="6204" y="10675"/>
                    <a:pt x="6270" y="10622"/>
                  </a:cubicBezTo>
                  <a:cubicBezTo>
                    <a:pt x="6291" y="10608"/>
                    <a:pt x="6312" y="10594"/>
                    <a:pt x="6333" y="10577"/>
                  </a:cubicBezTo>
                  <a:cubicBezTo>
                    <a:pt x="6351" y="10563"/>
                    <a:pt x="6365" y="10549"/>
                    <a:pt x="6379" y="10528"/>
                  </a:cubicBezTo>
                  <a:cubicBezTo>
                    <a:pt x="6379" y="10528"/>
                    <a:pt x="6379" y="10524"/>
                    <a:pt x="6379" y="10524"/>
                  </a:cubicBezTo>
                  <a:cubicBezTo>
                    <a:pt x="6414" y="10381"/>
                    <a:pt x="6746" y="10206"/>
                    <a:pt x="6869" y="10181"/>
                  </a:cubicBezTo>
                  <a:cubicBezTo>
                    <a:pt x="6933" y="10168"/>
                    <a:pt x="6989" y="10162"/>
                    <a:pt x="7039" y="10162"/>
                  </a:cubicBezTo>
                  <a:cubicBezTo>
                    <a:pt x="7141" y="10162"/>
                    <a:pt x="7213" y="10189"/>
                    <a:pt x="7257" y="10241"/>
                  </a:cubicBezTo>
                  <a:cubicBezTo>
                    <a:pt x="7261" y="10248"/>
                    <a:pt x="7268" y="10251"/>
                    <a:pt x="7271" y="10255"/>
                  </a:cubicBezTo>
                  <a:cubicBezTo>
                    <a:pt x="7278" y="10258"/>
                    <a:pt x="7285" y="10262"/>
                    <a:pt x="7292" y="10265"/>
                  </a:cubicBezTo>
                  <a:lnTo>
                    <a:pt x="7292" y="10251"/>
                  </a:lnTo>
                  <a:lnTo>
                    <a:pt x="7299" y="10209"/>
                  </a:lnTo>
                  <a:lnTo>
                    <a:pt x="7306" y="10185"/>
                  </a:lnTo>
                  <a:lnTo>
                    <a:pt x="7313" y="10129"/>
                  </a:lnTo>
                  <a:cubicBezTo>
                    <a:pt x="7327" y="10073"/>
                    <a:pt x="7334" y="10009"/>
                    <a:pt x="7338" y="9950"/>
                  </a:cubicBezTo>
                  <a:cubicBezTo>
                    <a:pt x="7166" y="9939"/>
                    <a:pt x="6890" y="9785"/>
                    <a:pt x="6785" y="9502"/>
                  </a:cubicBezTo>
                  <a:cubicBezTo>
                    <a:pt x="6732" y="9362"/>
                    <a:pt x="6613" y="9246"/>
                    <a:pt x="6512" y="9148"/>
                  </a:cubicBezTo>
                  <a:lnTo>
                    <a:pt x="6480" y="9113"/>
                  </a:lnTo>
                  <a:cubicBezTo>
                    <a:pt x="6449" y="9082"/>
                    <a:pt x="6417" y="9050"/>
                    <a:pt x="6393" y="9022"/>
                  </a:cubicBezTo>
                  <a:lnTo>
                    <a:pt x="6393" y="9019"/>
                  </a:lnTo>
                  <a:lnTo>
                    <a:pt x="6372" y="8994"/>
                  </a:lnTo>
                  <a:lnTo>
                    <a:pt x="6368" y="8987"/>
                  </a:lnTo>
                  <a:cubicBezTo>
                    <a:pt x="6361" y="8980"/>
                    <a:pt x="6354" y="8970"/>
                    <a:pt x="6347" y="8963"/>
                  </a:cubicBezTo>
                  <a:lnTo>
                    <a:pt x="6347" y="8956"/>
                  </a:lnTo>
                  <a:cubicBezTo>
                    <a:pt x="6333" y="8938"/>
                    <a:pt x="6319" y="8917"/>
                    <a:pt x="6312" y="8893"/>
                  </a:cubicBezTo>
                  <a:cubicBezTo>
                    <a:pt x="6295" y="8847"/>
                    <a:pt x="6225" y="8819"/>
                    <a:pt x="6148" y="8798"/>
                  </a:cubicBezTo>
                  <a:lnTo>
                    <a:pt x="6081" y="8781"/>
                  </a:lnTo>
                  <a:cubicBezTo>
                    <a:pt x="5969" y="8749"/>
                    <a:pt x="5850" y="8718"/>
                    <a:pt x="5808" y="8627"/>
                  </a:cubicBezTo>
                  <a:cubicBezTo>
                    <a:pt x="5752" y="8518"/>
                    <a:pt x="5808" y="8452"/>
                    <a:pt x="5847" y="8410"/>
                  </a:cubicBezTo>
                  <a:cubicBezTo>
                    <a:pt x="5882" y="8382"/>
                    <a:pt x="5899" y="8340"/>
                    <a:pt x="5903" y="8294"/>
                  </a:cubicBezTo>
                  <a:cubicBezTo>
                    <a:pt x="5899" y="8256"/>
                    <a:pt x="5917" y="8217"/>
                    <a:pt x="5945" y="8189"/>
                  </a:cubicBezTo>
                  <a:cubicBezTo>
                    <a:pt x="5966" y="8172"/>
                    <a:pt x="5990" y="8158"/>
                    <a:pt x="6015" y="8147"/>
                  </a:cubicBezTo>
                  <a:cubicBezTo>
                    <a:pt x="6064" y="8132"/>
                    <a:pt x="6114" y="8125"/>
                    <a:pt x="6165" y="8125"/>
                  </a:cubicBezTo>
                  <a:cubicBezTo>
                    <a:pt x="6176" y="8125"/>
                    <a:pt x="6186" y="8125"/>
                    <a:pt x="6197" y="8126"/>
                  </a:cubicBezTo>
                  <a:cubicBezTo>
                    <a:pt x="6228" y="8126"/>
                    <a:pt x="6260" y="8130"/>
                    <a:pt x="6291" y="8133"/>
                  </a:cubicBezTo>
                  <a:lnTo>
                    <a:pt x="6358" y="8133"/>
                  </a:lnTo>
                  <a:cubicBezTo>
                    <a:pt x="6389" y="7954"/>
                    <a:pt x="6407" y="7769"/>
                    <a:pt x="6407" y="7583"/>
                  </a:cubicBezTo>
                  <a:cubicBezTo>
                    <a:pt x="6407" y="7471"/>
                    <a:pt x="6473" y="7366"/>
                    <a:pt x="6529" y="7279"/>
                  </a:cubicBezTo>
                  <a:cubicBezTo>
                    <a:pt x="6564" y="7223"/>
                    <a:pt x="6613" y="7142"/>
                    <a:pt x="6596" y="7125"/>
                  </a:cubicBezTo>
                  <a:cubicBezTo>
                    <a:pt x="6564" y="7097"/>
                    <a:pt x="6547" y="7055"/>
                    <a:pt x="6554" y="7013"/>
                  </a:cubicBezTo>
                  <a:cubicBezTo>
                    <a:pt x="6564" y="6943"/>
                    <a:pt x="6634" y="6904"/>
                    <a:pt x="6715" y="6866"/>
                  </a:cubicBezTo>
                  <a:cubicBezTo>
                    <a:pt x="6760" y="6841"/>
                    <a:pt x="6802" y="6817"/>
                    <a:pt x="6841" y="6789"/>
                  </a:cubicBezTo>
                  <a:cubicBezTo>
                    <a:pt x="6886" y="6757"/>
                    <a:pt x="6893" y="6670"/>
                    <a:pt x="6900" y="6579"/>
                  </a:cubicBezTo>
                  <a:cubicBezTo>
                    <a:pt x="6907" y="6467"/>
                    <a:pt x="6918" y="6341"/>
                    <a:pt x="7002" y="6257"/>
                  </a:cubicBezTo>
                  <a:cubicBezTo>
                    <a:pt x="7058" y="6194"/>
                    <a:pt x="7103" y="6131"/>
                    <a:pt x="7145" y="6061"/>
                  </a:cubicBezTo>
                  <a:cubicBezTo>
                    <a:pt x="7226" y="5938"/>
                    <a:pt x="7292" y="5829"/>
                    <a:pt x="7387" y="5829"/>
                  </a:cubicBezTo>
                  <a:cubicBezTo>
                    <a:pt x="7450" y="5829"/>
                    <a:pt x="7558" y="5728"/>
                    <a:pt x="7558" y="5626"/>
                  </a:cubicBezTo>
                  <a:cubicBezTo>
                    <a:pt x="7558" y="5556"/>
                    <a:pt x="7597" y="5476"/>
                    <a:pt x="7646" y="5381"/>
                  </a:cubicBezTo>
                  <a:lnTo>
                    <a:pt x="7670" y="5332"/>
                  </a:lnTo>
                  <a:lnTo>
                    <a:pt x="7677" y="5318"/>
                  </a:lnTo>
                  <a:lnTo>
                    <a:pt x="7691" y="5287"/>
                  </a:lnTo>
                  <a:lnTo>
                    <a:pt x="7702" y="5266"/>
                  </a:lnTo>
                  <a:cubicBezTo>
                    <a:pt x="7705" y="5255"/>
                    <a:pt x="7709" y="5245"/>
                    <a:pt x="7713" y="5238"/>
                  </a:cubicBezTo>
                  <a:cubicBezTo>
                    <a:pt x="7720" y="5227"/>
                    <a:pt x="7720" y="5220"/>
                    <a:pt x="7723" y="5217"/>
                  </a:cubicBezTo>
                  <a:cubicBezTo>
                    <a:pt x="7727" y="5210"/>
                    <a:pt x="7730" y="5196"/>
                    <a:pt x="7734" y="5189"/>
                  </a:cubicBezTo>
                  <a:cubicBezTo>
                    <a:pt x="7737" y="5178"/>
                    <a:pt x="7737" y="5171"/>
                    <a:pt x="7741" y="5164"/>
                  </a:cubicBezTo>
                  <a:cubicBezTo>
                    <a:pt x="7741" y="5157"/>
                    <a:pt x="7748" y="5147"/>
                    <a:pt x="7748" y="5140"/>
                  </a:cubicBezTo>
                  <a:cubicBezTo>
                    <a:pt x="7751" y="5129"/>
                    <a:pt x="7751" y="5122"/>
                    <a:pt x="7755" y="5115"/>
                  </a:cubicBezTo>
                  <a:cubicBezTo>
                    <a:pt x="7755" y="5108"/>
                    <a:pt x="7758" y="5098"/>
                    <a:pt x="7758" y="5091"/>
                  </a:cubicBezTo>
                  <a:cubicBezTo>
                    <a:pt x="7762" y="5080"/>
                    <a:pt x="7758" y="5077"/>
                    <a:pt x="7762" y="5070"/>
                  </a:cubicBezTo>
                  <a:cubicBezTo>
                    <a:pt x="7765" y="5059"/>
                    <a:pt x="7762" y="5052"/>
                    <a:pt x="7765" y="5042"/>
                  </a:cubicBezTo>
                  <a:cubicBezTo>
                    <a:pt x="7765" y="5035"/>
                    <a:pt x="7765" y="5028"/>
                    <a:pt x="7765" y="5021"/>
                  </a:cubicBezTo>
                  <a:lnTo>
                    <a:pt x="7765" y="4996"/>
                  </a:lnTo>
                  <a:lnTo>
                    <a:pt x="7765" y="4986"/>
                  </a:lnTo>
                  <a:cubicBezTo>
                    <a:pt x="7762" y="4958"/>
                    <a:pt x="7755" y="4930"/>
                    <a:pt x="7751" y="4898"/>
                  </a:cubicBezTo>
                  <a:lnTo>
                    <a:pt x="7744" y="4863"/>
                  </a:lnTo>
                  <a:cubicBezTo>
                    <a:pt x="7716" y="4748"/>
                    <a:pt x="7705" y="4632"/>
                    <a:pt x="7702" y="4517"/>
                  </a:cubicBezTo>
                  <a:lnTo>
                    <a:pt x="7702" y="4499"/>
                  </a:lnTo>
                  <a:lnTo>
                    <a:pt x="7702" y="4475"/>
                  </a:lnTo>
                  <a:cubicBezTo>
                    <a:pt x="7702" y="4468"/>
                    <a:pt x="7705" y="4447"/>
                    <a:pt x="7709" y="4433"/>
                  </a:cubicBezTo>
                  <a:cubicBezTo>
                    <a:pt x="7720" y="4349"/>
                    <a:pt x="7755" y="4268"/>
                    <a:pt x="7807" y="4202"/>
                  </a:cubicBezTo>
                  <a:lnTo>
                    <a:pt x="7811" y="4195"/>
                  </a:lnTo>
                  <a:cubicBezTo>
                    <a:pt x="7891" y="4107"/>
                    <a:pt x="7954" y="4002"/>
                    <a:pt x="7993" y="3890"/>
                  </a:cubicBezTo>
                  <a:cubicBezTo>
                    <a:pt x="8003" y="3848"/>
                    <a:pt x="8007" y="3806"/>
                    <a:pt x="8007" y="3767"/>
                  </a:cubicBezTo>
                  <a:cubicBezTo>
                    <a:pt x="8007" y="3746"/>
                    <a:pt x="8003" y="3729"/>
                    <a:pt x="8000" y="3711"/>
                  </a:cubicBezTo>
                  <a:cubicBezTo>
                    <a:pt x="7968" y="3550"/>
                    <a:pt x="8105" y="3477"/>
                    <a:pt x="8206" y="3421"/>
                  </a:cubicBezTo>
                  <a:cubicBezTo>
                    <a:pt x="8248" y="3403"/>
                    <a:pt x="8287" y="3379"/>
                    <a:pt x="8322" y="3347"/>
                  </a:cubicBezTo>
                  <a:cubicBezTo>
                    <a:pt x="8329" y="3344"/>
                    <a:pt x="8332" y="3337"/>
                    <a:pt x="8339" y="3333"/>
                  </a:cubicBezTo>
                  <a:lnTo>
                    <a:pt x="8343" y="3330"/>
                  </a:lnTo>
                  <a:lnTo>
                    <a:pt x="8350" y="3326"/>
                  </a:lnTo>
                  <a:lnTo>
                    <a:pt x="8367" y="3312"/>
                  </a:lnTo>
                  <a:lnTo>
                    <a:pt x="8395" y="3291"/>
                  </a:lnTo>
                  <a:lnTo>
                    <a:pt x="8427" y="3270"/>
                  </a:lnTo>
                  <a:lnTo>
                    <a:pt x="8469" y="3242"/>
                  </a:lnTo>
                  <a:lnTo>
                    <a:pt x="8483" y="3232"/>
                  </a:lnTo>
                  <a:lnTo>
                    <a:pt x="8514" y="3211"/>
                  </a:lnTo>
                  <a:lnTo>
                    <a:pt x="8532" y="3197"/>
                  </a:lnTo>
                  <a:lnTo>
                    <a:pt x="8567" y="3172"/>
                  </a:lnTo>
                  <a:lnTo>
                    <a:pt x="8584" y="3155"/>
                  </a:lnTo>
                  <a:lnTo>
                    <a:pt x="8616" y="3130"/>
                  </a:lnTo>
                  <a:lnTo>
                    <a:pt x="8637" y="3109"/>
                  </a:lnTo>
                  <a:lnTo>
                    <a:pt x="8668" y="3081"/>
                  </a:lnTo>
                  <a:lnTo>
                    <a:pt x="8693" y="3057"/>
                  </a:lnTo>
                  <a:cubicBezTo>
                    <a:pt x="8703" y="3046"/>
                    <a:pt x="8710" y="3036"/>
                    <a:pt x="8721" y="3025"/>
                  </a:cubicBezTo>
                  <a:lnTo>
                    <a:pt x="8745" y="2997"/>
                  </a:lnTo>
                  <a:cubicBezTo>
                    <a:pt x="8756" y="2987"/>
                    <a:pt x="8763" y="2973"/>
                    <a:pt x="8773" y="2962"/>
                  </a:cubicBezTo>
                  <a:lnTo>
                    <a:pt x="8798" y="2931"/>
                  </a:lnTo>
                  <a:lnTo>
                    <a:pt x="8812" y="2910"/>
                  </a:lnTo>
                  <a:cubicBezTo>
                    <a:pt x="8703" y="2784"/>
                    <a:pt x="8591" y="2682"/>
                    <a:pt x="8525" y="2654"/>
                  </a:cubicBezTo>
                  <a:cubicBezTo>
                    <a:pt x="8308" y="2553"/>
                    <a:pt x="8164" y="2192"/>
                    <a:pt x="8164" y="1737"/>
                  </a:cubicBezTo>
                  <a:cubicBezTo>
                    <a:pt x="8161" y="1488"/>
                    <a:pt x="8129" y="1240"/>
                    <a:pt x="8073" y="998"/>
                  </a:cubicBezTo>
                  <a:cubicBezTo>
                    <a:pt x="8059" y="932"/>
                    <a:pt x="8049" y="879"/>
                    <a:pt x="8042" y="837"/>
                  </a:cubicBezTo>
                  <a:cubicBezTo>
                    <a:pt x="8028" y="725"/>
                    <a:pt x="7832" y="449"/>
                    <a:pt x="7600" y="323"/>
                  </a:cubicBezTo>
                  <a:cubicBezTo>
                    <a:pt x="7464" y="253"/>
                    <a:pt x="7359" y="137"/>
                    <a:pt x="729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9" name="Google Shape;4449;p53"/>
            <p:cNvSpPr/>
            <p:nvPr/>
          </p:nvSpPr>
          <p:spPr>
            <a:xfrm>
              <a:off x="2215129" y="1960186"/>
              <a:ext cx="5295" cy="7196"/>
            </a:xfrm>
            <a:custGeom>
              <a:avLst/>
              <a:gdLst/>
              <a:ahLst/>
              <a:cxnLst/>
              <a:rect l="l" t="t" r="r" b="b"/>
              <a:pathLst>
                <a:path w="390" h="530" extrusionOk="0">
                  <a:moveTo>
                    <a:pt x="1" y="1"/>
                  </a:moveTo>
                  <a:lnTo>
                    <a:pt x="1" y="1"/>
                  </a:lnTo>
                  <a:cubicBezTo>
                    <a:pt x="22" y="27"/>
                    <a:pt x="49" y="59"/>
                    <a:pt x="77" y="94"/>
                  </a:cubicBezTo>
                  <a:lnTo>
                    <a:pt x="77" y="94"/>
                  </a:lnTo>
                  <a:lnTo>
                    <a:pt x="74" y="88"/>
                  </a:lnTo>
                  <a:lnTo>
                    <a:pt x="1" y="1"/>
                  </a:lnTo>
                  <a:close/>
                  <a:moveTo>
                    <a:pt x="77" y="94"/>
                  </a:moveTo>
                  <a:lnTo>
                    <a:pt x="81" y="102"/>
                  </a:lnTo>
                  <a:cubicBezTo>
                    <a:pt x="200" y="246"/>
                    <a:pt x="361" y="452"/>
                    <a:pt x="389" y="529"/>
                  </a:cubicBezTo>
                  <a:cubicBezTo>
                    <a:pt x="364" y="453"/>
                    <a:pt x="199" y="244"/>
                    <a:pt x="77" y="9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0" name="Google Shape;4450;p53"/>
            <p:cNvSpPr/>
            <p:nvPr/>
          </p:nvSpPr>
          <p:spPr>
            <a:xfrm>
              <a:off x="2245217" y="1998977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29" y="46"/>
                  </a:moveTo>
                  <a:lnTo>
                    <a:pt x="15" y="4"/>
                  </a:lnTo>
                  <a:lnTo>
                    <a:pt x="1" y="0"/>
                  </a:ln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1" name="Google Shape;4451;p53"/>
            <p:cNvSpPr/>
            <p:nvPr/>
          </p:nvSpPr>
          <p:spPr>
            <a:xfrm>
              <a:off x="2212183" y="1952922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cubicBezTo>
                    <a:pt x="1" y="4"/>
                    <a:pt x="1" y="7"/>
                    <a:pt x="4" y="11"/>
                  </a:cubicBezTo>
                  <a:cubicBezTo>
                    <a:pt x="4" y="7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2" name="Google Shape;4452;p53"/>
            <p:cNvSpPr/>
            <p:nvPr/>
          </p:nvSpPr>
          <p:spPr>
            <a:xfrm>
              <a:off x="2214994" y="1959385"/>
              <a:ext cx="244" cy="720"/>
            </a:xfrm>
            <a:custGeom>
              <a:avLst/>
              <a:gdLst/>
              <a:ahLst/>
              <a:cxnLst/>
              <a:rect l="l" t="t" r="r" b="b"/>
              <a:pathLst>
                <a:path w="18" h="53" extrusionOk="0">
                  <a:moveTo>
                    <a:pt x="0" y="53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3" name="Google Shape;4453;p53"/>
            <p:cNvSpPr/>
            <p:nvPr/>
          </p:nvSpPr>
          <p:spPr>
            <a:xfrm>
              <a:off x="2208761" y="194521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cubicBezTo>
                    <a:pt x="1" y="11"/>
                    <a:pt x="1" y="8"/>
                    <a:pt x="1" y="1"/>
                  </a:cubicBezTo>
                  <a:cubicBezTo>
                    <a:pt x="1" y="8"/>
                    <a:pt x="1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4" name="Google Shape;4454;p53"/>
            <p:cNvSpPr/>
            <p:nvPr/>
          </p:nvSpPr>
          <p:spPr>
            <a:xfrm>
              <a:off x="2212563" y="1953872"/>
              <a:ext cx="964" cy="1195"/>
            </a:xfrm>
            <a:custGeom>
              <a:avLst/>
              <a:gdLst/>
              <a:ahLst/>
              <a:cxnLst/>
              <a:rect l="l" t="t" r="r" b="b"/>
              <a:pathLst>
                <a:path w="71" h="88" extrusionOk="0">
                  <a:moveTo>
                    <a:pt x="71" y="88"/>
                  </a:moveTo>
                  <a:cubicBezTo>
                    <a:pt x="43" y="60"/>
                    <a:pt x="18" y="32"/>
                    <a:pt x="1" y="0"/>
                  </a:cubicBezTo>
                  <a:cubicBezTo>
                    <a:pt x="18" y="32"/>
                    <a:pt x="43" y="60"/>
                    <a:pt x="71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5" name="Google Shape;4455;p53"/>
            <p:cNvSpPr/>
            <p:nvPr/>
          </p:nvSpPr>
          <p:spPr>
            <a:xfrm>
              <a:off x="2215279" y="195634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6" name="Google Shape;4456;p53"/>
            <p:cNvSpPr/>
            <p:nvPr/>
          </p:nvSpPr>
          <p:spPr>
            <a:xfrm>
              <a:off x="2212427" y="195353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cubicBezTo>
                    <a:pt x="4" y="8"/>
                    <a:pt x="4" y="15"/>
                    <a:pt x="7" y="22"/>
                  </a:cubicBezTo>
                  <a:cubicBezTo>
                    <a:pt x="4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7" name="Google Shape;4457;p53"/>
            <p:cNvSpPr/>
            <p:nvPr/>
          </p:nvSpPr>
          <p:spPr>
            <a:xfrm>
              <a:off x="2212278" y="195324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cubicBezTo>
                    <a:pt x="1" y="4"/>
                    <a:pt x="4" y="11"/>
                    <a:pt x="8" y="18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8" name="Google Shape;4458;p53"/>
            <p:cNvSpPr/>
            <p:nvPr/>
          </p:nvSpPr>
          <p:spPr>
            <a:xfrm>
              <a:off x="2216080" y="1961421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9" name="Google Shape;4459;p53"/>
            <p:cNvSpPr/>
            <p:nvPr/>
          </p:nvSpPr>
          <p:spPr>
            <a:xfrm>
              <a:off x="2307348" y="1867601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0" y="35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0" name="Google Shape;4460;p53"/>
            <p:cNvSpPr/>
            <p:nvPr/>
          </p:nvSpPr>
          <p:spPr>
            <a:xfrm>
              <a:off x="2305583" y="1869312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7"/>
                  </a:moveTo>
                  <a:cubicBezTo>
                    <a:pt x="11" y="4"/>
                    <a:pt x="18" y="4"/>
                    <a:pt x="25" y="0"/>
                  </a:cubicBezTo>
                  <a:cubicBezTo>
                    <a:pt x="18" y="4"/>
                    <a:pt x="1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1" name="Google Shape;4461;p53"/>
            <p:cNvSpPr/>
            <p:nvPr/>
          </p:nvSpPr>
          <p:spPr>
            <a:xfrm>
              <a:off x="2306302" y="186893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4"/>
                  </a:moveTo>
                  <a:cubicBezTo>
                    <a:pt x="7" y="11"/>
                    <a:pt x="14" y="4"/>
                    <a:pt x="21" y="0"/>
                  </a:cubicBezTo>
                  <a:cubicBezTo>
                    <a:pt x="14" y="4"/>
                    <a:pt x="7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2" name="Google Shape;4462;p53"/>
            <p:cNvSpPr/>
            <p:nvPr/>
          </p:nvSpPr>
          <p:spPr>
            <a:xfrm>
              <a:off x="2305963" y="1869162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1"/>
                  </a:moveTo>
                  <a:cubicBezTo>
                    <a:pt x="11" y="8"/>
                    <a:pt x="18" y="4"/>
                    <a:pt x="25" y="1"/>
                  </a:cubicBezTo>
                  <a:cubicBezTo>
                    <a:pt x="18" y="4"/>
                    <a:pt x="1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3" name="Google Shape;4463;p53"/>
            <p:cNvSpPr/>
            <p:nvPr/>
          </p:nvSpPr>
          <p:spPr>
            <a:xfrm>
              <a:off x="2306628" y="1868646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22" y="0"/>
                  </a:moveTo>
                  <a:cubicBezTo>
                    <a:pt x="15" y="7"/>
                    <a:pt x="8" y="14"/>
                    <a:pt x="1" y="21"/>
                  </a:cubicBezTo>
                  <a:cubicBezTo>
                    <a:pt x="8" y="14"/>
                    <a:pt x="15" y="7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4" name="Google Shape;4464;p53"/>
            <p:cNvSpPr/>
            <p:nvPr/>
          </p:nvSpPr>
          <p:spPr>
            <a:xfrm>
              <a:off x="2306968" y="1868171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0"/>
                  </a:moveTo>
                  <a:lnTo>
                    <a:pt x="25" y="0"/>
                  </a:lnTo>
                  <a:cubicBezTo>
                    <a:pt x="18" y="11"/>
                    <a:pt x="7" y="18"/>
                    <a:pt x="0" y="28"/>
                  </a:cubicBezTo>
                  <a:cubicBezTo>
                    <a:pt x="11" y="21"/>
                    <a:pt x="18" y="1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5" name="Google Shape;4465;p53"/>
            <p:cNvSpPr/>
            <p:nvPr/>
          </p:nvSpPr>
          <p:spPr>
            <a:xfrm>
              <a:off x="2305162" y="1869407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0" y="4"/>
                  </a:moveTo>
                  <a:cubicBezTo>
                    <a:pt x="7" y="4"/>
                    <a:pt x="18" y="0"/>
                    <a:pt x="28" y="0"/>
                  </a:cubicBezTo>
                  <a:cubicBezTo>
                    <a:pt x="18" y="0"/>
                    <a:pt x="7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6" name="Google Shape;4466;p53"/>
            <p:cNvSpPr/>
            <p:nvPr/>
          </p:nvSpPr>
          <p:spPr>
            <a:xfrm>
              <a:off x="2305067" y="18694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7" name="Google Shape;4467;p53"/>
            <p:cNvSpPr/>
            <p:nvPr/>
          </p:nvSpPr>
          <p:spPr>
            <a:xfrm>
              <a:off x="2353593" y="1948930"/>
              <a:ext cx="11799" cy="11704"/>
            </a:xfrm>
            <a:custGeom>
              <a:avLst/>
              <a:gdLst/>
              <a:ahLst/>
              <a:cxnLst/>
              <a:rect l="l" t="t" r="r" b="b"/>
              <a:pathLst>
                <a:path w="869" h="862" extrusionOk="0">
                  <a:moveTo>
                    <a:pt x="711" y="0"/>
                  </a:moveTo>
                  <a:lnTo>
                    <a:pt x="669" y="25"/>
                  </a:lnTo>
                  <a:lnTo>
                    <a:pt x="662" y="28"/>
                  </a:lnTo>
                  <a:lnTo>
                    <a:pt x="652" y="35"/>
                  </a:lnTo>
                  <a:lnTo>
                    <a:pt x="648" y="39"/>
                  </a:lnTo>
                  <a:lnTo>
                    <a:pt x="641" y="46"/>
                  </a:lnTo>
                  <a:lnTo>
                    <a:pt x="638" y="49"/>
                  </a:lnTo>
                  <a:lnTo>
                    <a:pt x="631" y="53"/>
                  </a:lnTo>
                  <a:lnTo>
                    <a:pt x="627" y="53"/>
                  </a:lnTo>
                  <a:lnTo>
                    <a:pt x="624" y="56"/>
                  </a:lnTo>
                  <a:cubicBezTo>
                    <a:pt x="617" y="63"/>
                    <a:pt x="610" y="70"/>
                    <a:pt x="603" y="77"/>
                  </a:cubicBezTo>
                  <a:lnTo>
                    <a:pt x="599" y="81"/>
                  </a:lnTo>
                  <a:cubicBezTo>
                    <a:pt x="592" y="88"/>
                    <a:pt x="585" y="95"/>
                    <a:pt x="575" y="98"/>
                  </a:cubicBezTo>
                  <a:lnTo>
                    <a:pt x="571" y="98"/>
                  </a:lnTo>
                  <a:cubicBezTo>
                    <a:pt x="561" y="102"/>
                    <a:pt x="554" y="105"/>
                    <a:pt x="547" y="105"/>
                  </a:cubicBezTo>
                  <a:lnTo>
                    <a:pt x="543" y="105"/>
                  </a:lnTo>
                  <a:cubicBezTo>
                    <a:pt x="533" y="109"/>
                    <a:pt x="522" y="112"/>
                    <a:pt x="512" y="112"/>
                  </a:cubicBezTo>
                  <a:lnTo>
                    <a:pt x="477" y="112"/>
                  </a:lnTo>
                  <a:cubicBezTo>
                    <a:pt x="459" y="112"/>
                    <a:pt x="442" y="112"/>
                    <a:pt x="421" y="109"/>
                  </a:cubicBezTo>
                  <a:lnTo>
                    <a:pt x="407" y="109"/>
                  </a:lnTo>
                  <a:lnTo>
                    <a:pt x="354" y="102"/>
                  </a:lnTo>
                  <a:lnTo>
                    <a:pt x="347" y="102"/>
                  </a:lnTo>
                  <a:cubicBezTo>
                    <a:pt x="326" y="147"/>
                    <a:pt x="302" y="189"/>
                    <a:pt x="270" y="235"/>
                  </a:cubicBezTo>
                  <a:cubicBezTo>
                    <a:pt x="249" y="266"/>
                    <a:pt x="225" y="298"/>
                    <a:pt x="207" y="329"/>
                  </a:cubicBezTo>
                  <a:lnTo>
                    <a:pt x="200" y="333"/>
                  </a:lnTo>
                  <a:cubicBezTo>
                    <a:pt x="179" y="364"/>
                    <a:pt x="158" y="392"/>
                    <a:pt x="137" y="420"/>
                  </a:cubicBezTo>
                  <a:lnTo>
                    <a:pt x="130" y="431"/>
                  </a:lnTo>
                  <a:cubicBezTo>
                    <a:pt x="120" y="445"/>
                    <a:pt x="109" y="455"/>
                    <a:pt x="99" y="469"/>
                  </a:cubicBezTo>
                  <a:cubicBezTo>
                    <a:pt x="1" y="578"/>
                    <a:pt x="64" y="805"/>
                    <a:pt x="88" y="854"/>
                  </a:cubicBezTo>
                  <a:cubicBezTo>
                    <a:pt x="94" y="859"/>
                    <a:pt x="110" y="862"/>
                    <a:pt x="133" y="862"/>
                  </a:cubicBezTo>
                  <a:cubicBezTo>
                    <a:pt x="177" y="862"/>
                    <a:pt x="246" y="850"/>
                    <a:pt x="302" y="812"/>
                  </a:cubicBezTo>
                  <a:cubicBezTo>
                    <a:pt x="309" y="805"/>
                    <a:pt x="316" y="802"/>
                    <a:pt x="323" y="798"/>
                  </a:cubicBezTo>
                  <a:lnTo>
                    <a:pt x="330" y="795"/>
                  </a:lnTo>
                  <a:lnTo>
                    <a:pt x="344" y="788"/>
                  </a:lnTo>
                  <a:lnTo>
                    <a:pt x="354" y="784"/>
                  </a:lnTo>
                  <a:lnTo>
                    <a:pt x="365" y="781"/>
                  </a:lnTo>
                  <a:lnTo>
                    <a:pt x="375" y="781"/>
                  </a:lnTo>
                  <a:lnTo>
                    <a:pt x="389" y="777"/>
                  </a:lnTo>
                  <a:lnTo>
                    <a:pt x="438" y="777"/>
                  </a:lnTo>
                  <a:lnTo>
                    <a:pt x="452" y="781"/>
                  </a:lnTo>
                  <a:lnTo>
                    <a:pt x="459" y="781"/>
                  </a:lnTo>
                  <a:lnTo>
                    <a:pt x="473" y="788"/>
                  </a:lnTo>
                  <a:lnTo>
                    <a:pt x="480" y="788"/>
                  </a:lnTo>
                  <a:lnTo>
                    <a:pt x="494" y="795"/>
                  </a:lnTo>
                  <a:lnTo>
                    <a:pt x="498" y="798"/>
                  </a:lnTo>
                  <a:cubicBezTo>
                    <a:pt x="512" y="805"/>
                    <a:pt x="522" y="812"/>
                    <a:pt x="536" y="819"/>
                  </a:cubicBezTo>
                  <a:lnTo>
                    <a:pt x="540" y="823"/>
                  </a:lnTo>
                  <a:lnTo>
                    <a:pt x="554" y="833"/>
                  </a:lnTo>
                  <a:lnTo>
                    <a:pt x="561" y="837"/>
                  </a:lnTo>
                  <a:lnTo>
                    <a:pt x="575" y="851"/>
                  </a:lnTo>
                  <a:lnTo>
                    <a:pt x="582" y="854"/>
                  </a:lnTo>
                  <a:cubicBezTo>
                    <a:pt x="627" y="802"/>
                    <a:pt x="669" y="749"/>
                    <a:pt x="711" y="704"/>
                  </a:cubicBezTo>
                  <a:cubicBezTo>
                    <a:pt x="669" y="686"/>
                    <a:pt x="631" y="676"/>
                    <a:pt x="596" y="662"/>
                  </a:cubicBezTo>
                  <a:cubicBezTo>
                    <a:pt x="554" y="651"/>
                    <a:pt x="515" y="634"/>
                    <a:pt x="480" y="606"/>
                  </a:cubicBezTo>
                  <a:cubicBezTo>
                    <a:pt x="452" y="578"/>
                    <a:pt x="445" y="539"/>
                    <a:pt x="456" y="504"/>
                  </a:cubicBezTo>
                  <a:cubicBezTo>
                    <a:pt x="487" y="399"/>
                    <a:pt x="687" y="273"/>
                    <a:pt x="827" y="242"/>
                  </a:cubicBezTo>
                  <a:cubicBezTo>
                    <a:pt x="858" y="235"/>
                    <a:pt x="858" y="224"/>
                    <a:pt x="862" y="221"/>
                  </a:cubicBezTo>
                  <a:cubicBezTo>
                    <a:pt x="869" y="193"/>
                    <a:pt x="834" y="109"/>
                    <a:pt x="750" y="32"/>
                  </a:cubicBezTo>
                  <a:lnTo>
                    <a:pt x="7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8" name="Google Shape;4468;p53"/>
            <p:cNvSpPr/>
            <p:nvPr/>
          </p:nvSpPr>
          <p:spPr>
            <a:xfrm>
              <a:off x="2361481" y="1958570"/>
              <a:ext cx="1779" cy="2064"/>
            </a:xfrm>
            <a:custGeom>
              <a:avLst/>
              <a:gdLst/>
              <a:ahLst/>
              <a:cxnLst/>
              <a:rect l="l" t="t" r="r" b="b"/>
              <a:pathLst>
                <a:path w="131" h="152" extrusionOk="0">
                  <a:moveTo>
                    <a:pt x="130" y="1"/>
                  </a:moveTo>
                  <a:lnTo>
                    <a:pt x="130" y="1"/>
                  </a:lnTo>
                  <a:cubicBezTo>
                    <a:pt x="88" y="43"/>
                    <a:pt x="43" y="95"/>
                    <a:pt x="1" y="151"/>
                  </a:cubicBezTo>
                  <a:lnTo>
                    <a:pt x="4" y="151"/>
                  </a:lnTo>
                  <a:cubicBezTo>
                    <a:pt x="39" y="102"/>
                    <a:pt x="85" y="50"/>
                    <a:pt x="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9" name="Google Shape;4469;p53"/>
            <p:cNvSpPr/>
            <p:nvPr/>
          </p:nvSpPr>
          <p:spPr>
            <a:xfrm>
              <a:off x="2314910" y="1908374"/>
              <a:ext cx="47019" cy="40325"/>
            </a:xfrm>
            <a:custGeom>
              <a:avLst/>
              <a:gdLst/>
              <a:ahLst/>
              <a:cxnLst/>
              <a:rect l="l" t="t" r="r" b="b"/>
              <a:pathLst>
                <a:path w="3463" h="2970" extrusionOk="0">
                  <a:moveTo>
                    <a:pt x="1068" y="1"/>
                  </a:moveTo>
                  <a:lnTo>
                    <a:pt x="1068" y="4"/>
                  </a:lnTo>
                  <a:cubicBezTo>
                    <a:pt x="1054" y="25"/>
                    <a:pt x="1036" y="43"/>
                    <a:pt x="1022" y="64"/>
                  </a:cubicBezTo>
                  <a:lnTo>
                    <a:pt x="1012" y="71"/>
                  </a:lnTo>
                  <a:cubicBezTo>
                    <a:pt x="998" y="92"/>
                    <a:pt x="984" y="106"/>
                    <a:pt x="966" y="123"/>
                  </a:cubicBezTo>
                  <a:lnTo>
                    <a:pt x="959" y="130"/>
                  </a:lnTo>
                  <a:cubicBezTo>
                    <a:pt x="942" y="148"/>
                    <a:pt x="928" y="165"/>
                    <a:pt x="910" y="179"/>
                  </a:cubicBezTo>
                  <a:lnTo>
                    <a:pt x="907" y="183"/>
                  </a:lnTo>
                  <a:cubicBezTo>
                    <a:pt x="889" y="197"/>
                    <a:pt x="875" y="214"/>
                    <a:pt x="858" y="228"/>
                  </a:cubicBezTo>
                  <a:cubicBezTo>
                    <a:pt x="840" y="239"/>
                    <a:pt x="826" y="253"/>
                    <a:pt x="809" y="263"/>
                  </a:cubicBezTo>
                  <a:lnTo>
                    <a:pt x="802" y="270"/>
                  </a:lnTo>
                  <a:lnTo>
                    <a:pt x="760" y="302"/>
                  </a:lnTo>
                  <a:lnTo>
                    <a:pt x="753" y="305"/>
                  </a:lnTo>
                  <a:lnTo>
                    <a:pt x="714" y="333"/>
                  </a:lnTo>
                  <a:lnTo>
                    <a:pt x="707" y="337"/>
                  </a:lnTo>
                  <a:lnTo>
                    <a:pt x="672" y="361"/>
                  </a:lnTo>
                  <a:cubicBezTo>
                    <a:pt x="644" y="379"/>
                    <a:pt x="616" y="400"/>
                    <a:pt x="588" y="421"/>
                  </a:cubicBezTo>
                  <a:cubicBezTo>
                    <a:pt x="546" y="463"/>
                    <a:pt x="494" y="494"/>
                    <a:pt x="441" y="519"/>
                  </a:cubicBezTo>
                  <a:cubicBezTo>
                    <a:pt x="329" y="582"/>
                    <a:pt x="291" y="610"/>
                    <a:pt x="301" y="666"/>
                  </a:cubicBezTo>
                  <a:cubicBezTo>
                    <a:pt x="340" y="855"/>
                    <a:pt x="273" y="1037"/>
                    <a:pt x="84" y="1261"/>
                  </a:cubicBezTo>
                  <a:cubicBezTo>
                    <a:pt x="56" y="1296"/>
                    <a:pt x="32" y="1338"/>
                    <a:pt x="21" y="1380"/>
                  </a:cubicBezTo>
                  <a:lnTo>
                    <a:pt x="21" y="1387"/>
                  </a:lnTo>
                  <a:cubicBezTo>
                    <a:pt x="18" y="1394"/>
                    <a:pt x="18" y="1405"/>
                    <a:pt x="14" y="1415"/>
                  </a:cubicBezTo>
                  <a:cubicBezTo>
                    <a:pt x="11" y="1426"/>
                    <a:pt x="14" y="1429"/>
                    <a:pt x="11" y="1433"/>
                  </a:cubicBezTo>
                  <a:cubicBezTo>
                    <a:pt x="7" y="1440"/>
                    <a:pt x="11" y="1443"/>
                    <a:pt x="11" y="1447"/>
                  </a:cubicBezTo>
                  <a:cubicBezTo>
                    <a:pt x="0" y="1573"/>
                    <a:pt x="14" y="1699"/>
                    <a:pt x="42" y="1818"/>
                  </a:cubicBezTo>
                  <a:lnTo>
                    <a:pt x="42" y="1828"/>
                  </a:lnTo>
                  <a:cubicBezTo>
                    <a:pt x="46" y="1849"/>
                    <a:pt x="49" y="1870"/>
                    <a:pt x="53" y="1891"/>
                  </a:cubicBezTo>
                  <a:lnTo>
                    <a:pt x="60" y="1891"/>
                  </a:lnTo>
                  <a:lnTo>
                    <a:pt x="88" y="1905"/>
                  </a:lnTo>
                  <a:lnTo>
                    <a:pt x="431" y="1905"/>
                  </a:lnTo>
                  <a:lnTo>
                    <a:pt x="441" y="1909"/>
                  </a:lnTo>
                  <a:lnTo>
                    <a:pt x="448" y="1912"/>
                  </a:lnTo>
                  <a:lnTo>
                    <a:pt x="455" y="1912"/>
                  </a:lnTo>
                  <a:lnTo>
                    <a:pt x="462" y="1916"/>
                  </a:lnTo>
                  <a:lnTo>
                    <a:pt x="469" y="1919"/>
                  </a:lnTo>
                  <a:lnTo>
                    <a:pt x="476" y="1923"/>
                  </a:lnTo>
                  <a:lnTo>
                    <a:pt x="483" y="1926"/>
                  </a:lnTo>
                  <a:lnTo>
                    <a:pt x="487" y="1926"/>
                  </a:lnTo>
                  <a:lnTo>
                    <a:pt x="494" y="1930"/>
                  </a:lnTo>
                  <a:lnTo>
                    <a:pt x="497" y="1930"/>
                  </a:lnTo>
                  <a:lnTo>
                    <a:pt x="504" y="1937"/>
                  </a:lnTo>
                  <a:lnTo>
                    <a:pt x="511" y="1944"/>
                  </a:lnTo>
                  <a:cubicBezTo>
                    <a:pt x="532" y="1895"/>
                    <a:pt x="550" y="1846"/>
                    <a:pt x="564" y="1797"/>
                  </a:cubicBezTo>
                  <a:cubicBezTo>
                    <a:pt x="595" y="1702"/>
                    <a:pt x="641" y="1643"/>
                    <a:pt x="704" y="1625"/>
                  </a:cubicBezTo>
                  <a:cubicBezTo>
                    <a:pt x="718" y="1620"/>
                    <a:pt x="734" y="1618"/>
                    <a:pt x="750" y="1618"/>
                  </a:cubicBezTo>
                  <a:cubicBezTo>
                    <a:pt x="803" y="1618"/>
                    <a:pt x="862" y="1644"/>
                    <a:pt x="924" y="1695"/>
                  </a:cubicBezTo>
                  <a:cubicBezTo>
                    <a:pt x="949" y="1716"/>
                    <a:pt x="970" y="1737"/>
                    <a:pt x="991" y="1758"/>
                  </a:cubicBezTo>
                  <a:cubicBezTo>
                    <a:pt x="1044" y="1812"/>
                    <a:pt x="1079" y="1843"/>
                    <a:pt x="1125" y="1843"/>
                  </a:cubicBezTo>
                  <a:cubicBezTo>
                    <a:pt x="1145" y="1843"/>
                    <a:pt x="1167" y="1837"/>
                    <a:pt x="1194" y="1825"/>
                  </a:cubicBezTo>
                  <a:cubicBezTo>
                    <a:pt x="1270" y="1786"/>
                    <a:pt x="1320" y="1770"/>
                    <a:pt x="1360" y="1770"/>
                  </a:cubicBezTo>
                  <a:cubicBezTo>
                    <a:pt x="1393" y="1770"/>
                    <a:pt x="1419" y="1781"/>
                    <a:pt x="1449" y="1800"/>
                  </a:cubicBezTo>
                  <a:cubicBezTo>
                    <a:pt x="1463" y="1811"/>
                    <a:pt x="1474" y="1818"/>
                    <a:pt x="1488" y="1821"/>
                  </a:cubicBezTo>
                  <a:cubicBezTo>
                    <a:pt x="1516" y="1826"/>
                    <a:pt x="1544" y="1830"/>
                    <a:pt x="1572" y="1830"/>
                  </a:cubicBezTo>
                  <a:cubicBezTo>
                    <a:pt x="1583" y="1830"/>
                    <a:pt x="1593" y="1829"/>
                    <a:pt x="1603" y="1828"/>
                  </a:cubicBezTo>
                  <a:cubicBezTo>
                    <a:pt x="1656" y="1828"/>
                    <a:pt x="1712" y="1825"/>
                    <a:pt x="1757" y="1821"/>
                  </a:cubicBezTo>
                  <a:cubicBezTo>
                    <a:pt x="1812" y="1817"/>
                    <a:pt x="1866" y="1814"/>
                    <a:pt x="1919" y="1814"/>
                  </a:cubicBezTo>
                  <a:cubicBezTo>
                    <a:pt x="1952" y="1814"/>
                    <a:pt x="1984" y="1815"/>
                    <a:pt x="2017" y="1818"/>
                  </a:cubicBezTo>
                  <a:cubicBezTo>
                    <a:pt x="2024" y="1818"/>
                    <a:pt x="2027" y="1821"/>
                    <a:pt x="2031" y="1821"/>
                  </a:cubicBezTo>
                  <a:lnTo>
                    <a:pt x="2038" y="1825"/>
                  </a:lnTo>
                  <a:lnTo>
                    <a:pt x="2048" y="1828"/>
                  </a:lnTo>
                  <a:lnTo>
                    <a:pt x="2059" y="1835"/>
                  </a:lnTo>
                  <a:lnTo>
                    <a:pt x="2066" y="1839"/>
                  </a:lnTo>
                  <a:lnTo>
                    <a:pt x="2080" y="1849"/>
                  </a:lnTo>
                  <a:lnTo>
                    <a:pt x="2087" y="1856"/>
                  </a:lnTo>
                  <a:lnTo>
                    <a:pt x="2104" y="1867"/>
                  </a:lnTo>
                  <a:lnTo>
                    <a:pt x="2111" y="1874"/>
                  </a:lnTo>
                  <a:lnTo>
                    <a:pt x="2132" y="1888"/>
                  </a:lnTo>
                  <a:lnTo>
                    <a:pt x="2139" y="1895"/>
                  </a:lnTo>
                  <a:lnTo>
                    <a:pt x="2160" y="1909"/>
                  </a:lnTo>
                  <a:lnTo>
                    <a:pt x="2171" y="1919"/>
                  </a:lnTo>
                  <a:lnTo>
                    <a:pt x="2192" y="1937"/>
                  </a:lnTo>
                  <a:lnTo>
                    <a:pt x="2202" y="1944"/>
                  </a:lnTo>
                  <a:lnTo>
                    <a:pt x="2223" y="1965"/>
                  </a:lnTo>
                  <a:lnTo>
                    <a:pt x="2234" y="1975"/>
                  </a:lnTo>
                  <a:lnTo>
                    <a:pt x="2255" y="1993"/>
                  </a:lnTo>
                  <a:lnTo>
                    <a:pt x="2269" y="2007"/>
                  </a:lnTo>
                  <a:lnTo>
                    <a:pt x="2293" y="2028"/>
                  </a:lnTo>
                  <a:lnTo>
                    <a:pt x="2307" y="2042"/>
                  </a:lnTo>
                  <a:lnTo>
                    <a:pt x="2332" y="2059"/>
                  </a:lnTo>
                  <a:lnTo>
                    <a:pt x="2346" y="2077"/>
                  </a:lnTo>
                  <a:lnTo>
                    <a:pt x="2367" y="2094"/>
                  </a:lnTo>
                  <a:lnTo>
                    <a:pt x="2388" y="2115"/>
                  </a:lnTo>
                  <a:lnTo>
                    <a:pt x="2405" y="2133"/>
                  </a:lnTo>
                  <a:lnTo>
                    <a:pt x="2430" y="2154"/>
                  </a:lnTo>
                  <a:lnTo>
                    <a:pt x="2440" y="2168"/>
                  </a:lnTo>
                  <a:lnTo>
                    <a:pt x="2472" y="2196"/>
                  </a:lnTo>
                  <a:lnTo>
                    <a:pt x="2479" y="2206"/>
                  </a:lnTo>
                  <a:lnTo>
                    <a:pt x="2514" y="2238"/>
                  </a:lnTo>
                  <a:lnTo>
                    <a:pt x="2524" y="2248"/>
                  </a:lnTo>
                  <a:cubicBezTo>
                    <a:pt x="2755" y="2476"/>
                    <a:pt x="3018" y="2752"/>
                    <a:pt x="3214" y="2959"/>
                  </a:cubicBezTo>
                  <a:lnTo>
                    <a:pt x="3217" y="2959"/>
                  </a:lnTo>
                  <a:cubicBezTo>
                    <a:pt x="3253" y="2965"/>
                    <a:pt x="3292" y="2970"/>
                    <a:pt x="3322" y="2970"/>
                  </a:cubicBezTo>
                  <a:cubicBezTo>
                    <a:pt x="3346" y="2970"/>
                    <a:pt x="3363" y="2967"/>
                    <a:pt x="3368" y="2959"/>
                  </a:cubicBezTo>
                  <a:lnTo>
                    <a:pt x="3375" y="2952"/>
                  </a:lnTo>
                  <a:lnTo>
                    <a:pt x="3378" y="2949"/>
                  </a:lnTo>
                  <a:lnTo>
                    <a:pt x="3382" y="2945"/>
                  </a:lnTo>
                  <a:lnTo>
                    <a:pt x="3385" y="2942"/>
                  </a:lnTo>
                  <a:lnTo>
                    <a:pt x="3396" y="2931"/>
                  </a:lnTo>
                  <a:lnTo>
                    <a:pt x="3410" y="2921"/>
                  </a:lnTo>
                  <a:lnTo>
                    <a:pt x="3417" y="2917"/>
                  </a:lnTo>
                  <a:lnTo>
                    <a:pt x="3427" y="2907"/>
                  </a:lnTo>
                  <a:lnTo>
                    <a:pt x="3438" y="2903"/>
                  </a:lnTo>
                  <a:lnTo>
                    <a:pt x="3452" y="2893"/>
                  </a:lnTo>
                  <a:lnTo>
                    <a:pt x="3462" y="2886"/>
                  </a:lnTo>
                  <a:cubicBezTo>
                    <a:pt x="3273" y="2696"/>
                    <a:pt x="3098" y="2493"/>
                    <a:pt x="2937" y="2283"/>
                  </a:cubicBezTo>
                  <a:cubicBezTo>
                    <a:pt x="2643" y="1912"/>
                    <a:pt x="2297" y="1713"/>
                    <a:pt x="2122" y="1713"/>
                  </a:cubicBezTo>
                  <a:cubicBezTo>
                    <a:pt x="1975" y="1713"/>
                    <a:pt x="1897" y="1573"/>
                    <a:pt x="1845" y="1475"/>
                  </a:cubicBezTo>
                  <a:cubicBezTo>
                    <a:pt x="1824" y="1436"/>
                    <a:pt x="1785" y="1366"/>
                    <a:pt x="1768" y="1363"/>
                  </a:cubicBezTo>
                  <a:cubicBezTo>
                    <a:pt x="1593" y="1342"/>
                    <a:pt x="1313" y="817"/>
                    <a:pt x="1306" y="498"/>
                  </a:cubicBezTo>
                  <a:cubicBezTo>
                    <a:pt x="1302" y="379"/>
                    <a:pt x="1211" y="193"/>
                    <a:pt x="10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0" name="Google Shape;4470;p53"/>
            <p:cNvSpPr/>
            <p:nvPr/>
          </p:nvSpPr>
          <p:spPr>
            <a:xfrm>
              <a:off x="2327266" y="1910329"/>
              <a:ext cx="625" cy="679"/>
            </a:xfrm>
            <a:custGeom>
              <a:avLst/>
              <a:gdLst/>
              <a:ahLst/>
              <a:cxnLst/>
              <a:rect l="l" t="t" r="r" b="b"/>
              <a:pathLst>
                <a:path w="46" h="50" extrusionOk="0">
                  <a:moveTo>
                    <a:pt x="46" y="0"/>
                  </a:moveTo>
                  <a:cubicBezTo>
                    <a:pt x="32" y="18"/>
                    <a:pt x="14" y="32"/>
                    <a:pt x="0" y="49"/>
                  </a:cubicBezTo>
                  <a:cubicBezTo>
                    <a:pt x="14" y="35"/>
                    <a:pt x="32" y="18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1" name="Google Shape;4471;p53"/>
            <p:cNvSpPr/>
            <p:nvPr/>
          </p:nvSpPr>
          <p:spPr>
            <a:xfrm>
              <a:off x="2324034" y="1913126"/>
              <a:ext cx="489" cy="353"/>
            </a:xfrm>
            <a:custGeom>
              <a:avLst/>
              <a:gdLst/>
              <a:ahLst/>
              <a:cxnLst/>
              <a:rect l="l" t="t" r="r" b="b"/>
              <a:pathLst>
                <a:path w="36" h="26" extrusionOk="0">
                  <a:moveTo>
                    <a:pt x="0" y="25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2" name="Google Shape;4472;p53"/>
            <p:cNvSpPr/>
            <p:nvPr/>
          </p:nvSpPr>
          <p:spPr>
            <a:xfrm>
              <a:off x="2325881" y="1911660"/>
              <a:ext cx="638" cy="489"/>
            </a:xfrm>
            <a:custGeom>
              <a:avLst/>
              <a:gdLst/>
              <a:ahLst/>
              <a:cxnLst/>
              <a:rect l="l" t="t" r="r" b="b"/>
              <a:pathLst>
                <a:path w="47" h="36" extrusionOk="0">
                  <a:moveTo>
                    <a:pt x="1" y="35"/>
                  </a:moveTo>
                  <a:cubicBezTo>
                    <a:pt x="15" y="25"/>
                    <a:pt x="32" y="11"/>
                    <a:pt x="46" y="0"/>
                  </a:cubicBezTo>
                  <a:cubicBezTo>
                    <a:pt x="32" y="11"/>
                    <a:pt x="15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3" name="Google Shape;4473;p53"/>
            <p:cNvSpPr/>
            <p:nvPr/>
          </p:nvSpPr>
          <p:spPr>
            <a:xfrm>
              <a:off x="2324605" y="1912705"/>
              <a:ext cx="530" cy="394"/>
            </a:xfrm>
            <a:custGeom>
              <a:avLst/>
              <a:gdLst/>
              <a:ahLst/>
              <a:cxnLst/>
              <a:rect l="l" t="t" r="r" b="b"/>
              <a:pathLst>
                <a:path w="39" h="29" extrusionOk="0">
                  <a:moveTo>
                    <a:pt x="0" y="28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4" name="Google Shape;4474;p53"/>
            <p:cNvSpPr/>
            <p:nvPr/>
          </p:nvSpPr>
          <p:spPr>
            <a:xfrm>
              <a:off x="2325216" y="1912230"/>
              <a:ext cx="584" cy="434"/>
            </a:xfrm>
            <a:custGeom>
              <a:avLst/>
              <a:gdLst/>
              <a:ahLst/>
              <a:cxnLst/>
              <a:rect l="l" t="t" r="r" b="b"/>
              <a:pathLst>
                <a:path w="43" h="32" extrusionOk="0">
                  <a:moveTo>
                    <a:pt x="1" y="32"/>
                  </a:moveTo>
                  <a:lnTo>
                    <a:pt x="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5" name="Google Shape;4475;p53"/>
            <p:cNvSpPr/>
            <p:nvPr/>
          </p:nvSpPr>
          <p:spPr>
            <a:xfrm>
              <a:off x="2328026" y="1909515"/>
              <a:ext cx="625" cy="733"/>
            </a:xfrm>
            <a:custGeom>
              <a:avLst/>
              <a:gdLst/>
              <a:ahLst/>
              <a:cxnLst/>
              <a:rect l="l" t="t" r="r" b="b"/>
              <a:pathLst>
                <a:path w="46" h="54" extrusionOk="0">
                  <a:moveTo>
                    <a:pt x="0" y="53"/>
                  </a:moveTo>
                  <a:cubicBezTo>
                    <a:pt x="14" y="36"/>
                    <a:pt x="32" y="18"/>
                    <a:pt x="46" y="1"/>
                  </a:cubicBezTo>
                  <a:cubicBezTo>
                    <a:pt x="32" y="18"/>
                    <a:pt x="14" y="36"/>
                    <a:pt x="0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6" name="Google Shape;4476;p53"/>
            <p:cNvSpPr/>
            <p:nvPr/>
          </p:nvSpPr>
          <p:spPr>
            <a:xfrm>
              <a:off x="2326546" y="1911035"/>
              <a:ext cx="679" cy="584"/>
            </a:xfrm>
            <a:custGeom>
              <a:avLst/>
              <a:gdLst/>
              <a:ahLst/>
              <a:cxnLst/>
              <a:rect l="l" t="t" r="r" b="b"/>
              <a:pathLst>
                <a:path w="50" h="43" extrusionOk="0">
                  <a:moveTo>
                    <a:pt x="1" y="43"/>
                  </a:moveTo>
                  <a:cubicBezTo>
                    <a:pt x="15" y="29"/>
                    <a:pt x="32" y="15"/>
                    <a:pt x="50" y="1"/>
                  </a:cubicBezTo>
                  <a:cubicBezTo>
                    <a:pt x="32" y="15"/>
                    <a:pt x="15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7" name="Google Shape;4477;p53"/>
            <p:cNvSpPr/>
            <p:nvPr/>
          </p:nvSpPr>
          <p:spPr>
            <a:xfrm>
              <a:off x="2328732" y="1908619"/>
              <a:ext cx="679" cy="774"/>
            </a:xfrm>
            <a:custGeom>
              <a:avLst/>
              <a:gdLst/>
              <a:ahLst/>
              <a:cxnLst/>
              <a:rect l="l" t="t" r="r" b="b"/>
              <a:pathLst>
                <a:path w="50" h="57" extrusionOk="0">
                  <a:moveTo>
                    <a:pt x="50" y="0"/>
                  </a:moveTo>
                  <a:cubicBezTo>
                    <a:pt x="32" y="18"/>
                    <a:pt x="18" y="39"/>
                    <a:pt x="1" y="56"/>
                  </a:cubicBezTo>
                  <a:cubicBezTo>
                    <a:pt x="18" y="39"/>
                    <a:pt x="32" y="21"/>
                    <a:pt x="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8" name="Google Shape;4478;p53"/>
            <p:cNvSpPr/>
            <p:nvPr/>
          </p:nvSpPr>
          <p:spPr>
            <a:xfrm>
              <a:off x="2315196" y="1925726"/>
              <a:ext cx="869" cy="1629"/>
            </a:xfrm>
            <a:custGeom>
              <a:avLst/>
              <a:gdLst/>
              <a:ahLst/>
              <a:cxnLst/>
              <a:rect l="l" t="t" r="r" b="b"/>
              <a:pathLst>
                <a:path w="64" h="120" extrusionOk="0">
                  <a:moveTo>
                    <a:pt x="0" y="120"/>
                  </a:moveTo>
                  <a:cubicBezTo>
                    <a:pt x="14" y="74"/>
                    <a:pt x="35" y="32"/>
                    <a:pt x="63" y="1"/>
                  </a:cubicBezTo>
                  <a:cubicBezTo>
                    <a:pt x="35" y="32"/>
                    <a:pt x="14" y="74"/>
                    <a:pt x="0" y="12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9" name="Google Shape;4479;p53"/>
            <p:cNvSpPr/>
            <p:nvPr/>
          </p:nvSpPr>
          <p:spPr>
            <a:xfrm>
              <a:off x="2315481" y="1933384"/>
              <a:ext cx="204" cy="869"/>
            </a:xfrm>
            <a:custGeom>
              <a:avLst/>
              <a:gdLst/>
              <a:ahLst/>
              <a:cxnLst/>
              <a:rect l="l" t="t" r="r" b="b"/>
              <a:pathLst>
                <a:path w="15" h="64" extrusionOk="0">
                  <a:moveTo>
                    <a:pt x="0" y="0"/>
                  </a:moveTo>
                  <a:cubicBezTo>
                    <a:pt x="7" y="21"/>
                    <a:pt x="11" y="46"/>
                    <a:pt x="14" y="63"/>
                  </a:cubicBezTo>
                  <a:cubicBezTo>
                    <a:pt x="11" y="42"/>
                    <a:pt x="7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0" name="Google Shape;4480;p53"/>
            <p:cNvSpPr/>
            <p:nvPr/>
          </p:nvSpPr>
          <p:spPr>
            <a:xfrm>
              <a:off x="2315046" y="1928062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cubicBezTo>
                    <a:pt x="1" y="7"/>
                    <a:pt x="1" y="4"/>
                    <a:pt x="1" y="0"/>
                  </a:cubicBezTo>
                  <a:cubicBezTo>
                    <a:pt x="1" y="4"/>
                    <a:pt x="1" y="7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1" name="Google Shape;4481;p53"/>
            <p:cNvSpPr/>
            <p:nvPr/>
          </p:nvSpPr>
          <p:spPr>
            <a:xfrm>
              <a:off x="2315100" y="1927396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0"/>
                  </a:moveTo>
                  <a:lnTo>
                    <a:pt x="7" y="0"/>
                  </a:lnTo>
                  <a:cubicBezTo>
                    <a:pt x="4" y="7"/>
                    <a:pt x="0" y="18"/>
                    <a:pt x="0" y="28"/>
                  </a:cubicBezTo>
                  <a:cubicBezTo>
                    <a:pt x="4" y="18"/>
                    <a:pt x="4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2" name="Google Shape;4482;p53"/>
            <p:cNvSpPr/>
            <p:nvPr/>
          </p:nvSpPr>
          <p:spPr>
            <a:xfrm>
              <a:off x="2361250" y="1948170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3" name="Google Shape;4483;p53"/>
            <p:cNvSpPr/>
            <p:nvPr/>
          </p:nvSpPr>
          <p:spPr>
            <a:xfrm>
              <a:off x="2361861" y="194773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8" y="1"/>
                  </a:ln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4" name="Google Shape;4484;p53"/>
            <p:cNvSpPr/>
            <p:nvPr/>
          </p:nvSpPr>
          <p:spPr>
            <a:xfrm>
              <a:off x="2360870" y="194849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5" name="Google Shape;4485;p53"/>
            <p:cNvSpPr/>
            <p:nvPr/>
          </p:nvSpPr>
          <p:spPr>
            <a:xfrm>
              <a:off x="2361481" y="194798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6" name="Google Shape;4486;p53"/>
            <p:cNvSpPr/>
            <p:nvPr/>
          </p:nvSpPr>
          <p:spPr>
            <a:xfrm>
              <a:off x="2361060" y="194836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7" name="Google Shape;4487;p53"/>
            <p:cNvSpPr/>
            <p:nvPr/>
          </p:nvSpPr>
          <p:spPr>
            <a:xfrm>
              <a:off x="2360721" y="194864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8" name="Google Shape;4488;p53"/>
            <p:cNvSpPr/>
            <p:nvPr/>
          </p:nvSpPr>
          <p:spPr>
            <a:xfrm>
              <a:off x="2289045" y="1932474"/>
              <a:ext cx="108104" cy="83909"/>
            </a:xfrm>
            <a:custGeom>
              <a:avLst/>
              <a:gdLst/>
              <a:ahLst/>
              <a:cxnLst/>
              <a:rect l="l" t="t" r="r" b="b"/>
              <a:pathLst>
                <a:path w="7962" h="6180" extrusionOk="0">
                  <a:moveTo>
                    <a:pt x="2651" y="1"/>
                  </a:moveTo>
                  <a:cubicBezTo>
                    <a:pt x="2637" y="4"/>
                    <a:pt x="2623" y="22"/>
                    <a:pt x="2612" y="50"/>
                  </a:cubicBezTo>
                  <a:cubicBezTo>
                    <a:pt x="2609" y="60"/>
                    <a:pt x="2605" y="71"/>
                    <a:pt x="2602" y="81"/>
                  </a:cubicBezTo>
                  <a:cubicBezTo>
                    <a:pt x="2556" y="225"/>
                    <a:pt x="2528" y="312"/>
                    <a:pt x="2451" y="330"/>
                  </a:cubicBezTo>
                  <a:cubicBezTo>
                    <a:pt x="2443" y="332"/>
                    <a:pt x="2434" y="333"/>
                    <a:pt x="2425" y="333"/>
                  </a:cubicBezTo>
                  <a:cubicBezTo>
                    <a:pt x="2386" y="333"/>
                    <a:pt x="2348" y="313"/>
                    <a:pt x="2322" y="284"/>
                  </a:cubicBezTo>
                  <a:lnTo>
                    <a:pt x="2119" y="284"/>
                  </a:lnTo>
                  <a:cubicBezTo>
                    <a:pt x="2080" y="284"/>
                    <a:pt x="2035" y="284"/>
                    <a:pt x="1982" y="288"/>
                  </a:cubicBezTo>
                  <a:lnTo>
                    <a:pt x="1982" y="291"/>
                  </a:lnTo>
                  <a:cubicBezTo>
                    <a:pt x="1982" y="309"/>
                    <a:pt x="1982" y="323"/>
                    <a:pt x="1979" y="337"/>
                  </a:cubicBezTo>
                  <a:lnTo>
                    <a:pt x="1979" y="340"/>
                  </a:lnTo>
                  <a:cubicBezTo>
                    <a:pt x="1979" y="358"/>
                    <a:pt x="1975" y="372"/>
                    <a:pt x="1972" y="389"/>
                  </a:cubicBezTo>
                  <a:lnTo>
                    <a:pt x="1972" y="396"/>
                  </a:lnTo>
                  <a:cubicBezTo>
                    <a:pt x="1968" y="410"/>
                    <a:pt x="1965" y="428"/>
                    <a:pt x="1958" y="442"/>
                  </a:cubicBezTo>
                  <a:lnTo>
                    <a:pt x="1954" y="449"/>
                  </a:lnTo>
                  <a:cubicBezTo>
                    <a:pt x="1951" y="466"/>
                    <a:pt x="1947" y="480"/>
                    <a:pt x="1940" y="494"/>
                  </a:cubicBezTo>
                  <a:lnTo>
                    <a:pt x="1940" y="498"/>
                  </a:lnTo>
                  <a:cubicBezTo>
                    <a:pt x="1937" y="512"/>
                    <a:pt x="1930" y="526"/>
                    <a:pt x="1923" y="540"/>
                  </a:cubicBezTo>
                  <a:lnTo>
                    <a:pt x="1919" y="547"/>
                  </a:lnTo>
                  <a:cubicBezTo>
                    <a:pt x="1916" y="561"/>
                    <a:pt x="1909" y="575"/>
                    <a:pt x="1902" y="589"/>
                  </a:cubicBezTo>
                  <a:lnTo>
                    <a:pt x="1898" y="599"/>
                  </a:lnTo>
                  <a:lnTo>
                    <a:pt x="1881" y="638"/>
                  </a:lnTo>
                  <a:lnTo>
                    <a:pt x="1874" y="648"/>
                  </a:lnTo>
                  <a:lnTo>
                    <a:pt x="1856" y="683"/>
                  </a:lnTo>
                  <a:cubicBezTo>
                    <a:pt x="1818" y="757"/>
                    <a:pt x="1782" y="834"/>
                    <a:pt x="1782" y="872"/>
                  </a:cubicBezTo>
                  <a:cubicBezTo>
                    <a:pt x="1782" y="1033"/>
                    <a:pt x="1625" y="1209"/>
                    <a:pt x="1478" y="1209"/>
                  </a:cubicBezTo>
                  <a:cubicBezTo>
                    <a:pt x="1450" y="1216"/>
                    <a:pt x="1387" y="1317"/>
                    <a:pt x="1348" y="1377"/>
                  </a:cubicBezTo>
                  <a:lnTo>
                    <a:pt x="1310" y="1433"/>
                  </a:lnTo>
                  <a:cubicBezTo>
                    <a:pt x="1275" y="1492"/>
                    <a:pt x="1233" y="1545"/>
                    <a:pt x="1187" y="1594"/>
                  </a:cubicBezTo>
                  <a:cubicBezTo>
                    <a:pt x="1142" y="1639"/>
                    <a:pt x="1131" y="1716"/>
                    <a:pt x="1124" y="1800"/>
                  </a:cubicBezTo>
                  <a:cubicBezTo>
                    <a:pt x="1124" y="1811"/>
                    <a:pt x="1124" y="1825"/>
                    <a:pt x="1121" y="1835"/>
                  </a:cubicBezTo>
                  <a:cubicBezTo>
                    <a:pt x="1110" y="1951"/>
                    <a:pt x="1103" y="2073"/>
                    <a:pt x="1012" y="2140"/>
                  </a:cubicBezTo>
                  <a:cubicBezTo>
                    <a:pt x="963" y="2175"/>
                    <a:pt x="918" y="2203"/>
                    <a:pt x="865" y="2227"/>
                  </a:cubicBezTo>
                  <a:cubicBezTo>
                    <a:pt x="834" y="2241"/>
                    <a:pt x="806" y="2259"/>
                    <a:pt x="778" y="2276"/>
                  </a:cubicBezTo>
                  <a:lnTo>
                    <a:pt x="781" y="2280"/>
                  </a:lnTo>
                  <a:cubicBezTo>
                    <a:pt x="806" y="2304"/>
                    <a:pt x="823" y="2336"/>
                    <a:pt x="823" y="2371"/>
                  </a:cubicBezTo>
                  <a:cubicBezTo>
                    <a:pt x="827" y="2444"/>
                    <a:pt x="781" y="2521"/>
                    <a:pt x="732" y="2595"/>
                  </a:cubicBezTo>
                  <a:cubicBezTo>
                    <a:pt x="694" y="2651"/>
                    <a:pt x="662" y="2710"/>
                    <a:pt x="641" y="2773"/>
                  </a:cubicBezTo>
                  <a:cubicBezTo>
                    <a:pt x="634" y="2794"/>
                    <a:pt x="631" y="2812"/>
                    <a:pt x="631" y="2833"/>
                  </a:cubicBezTo>
                  <a:cubicBezTo>
                    <a:pt x="631" y="2840"/>
                    <a:pt x="620" y="3411"/>
                    <a:pt x="543" y="3491"/>
                  </a:cubicBezTo>
                  <a:cubicBezTo>
                    <a:pt x="523" y="3511"/>
                    <a:pt x="498" y="3517"/>
                    <a:pt x="460" y="3517"/>
                  </a:cubicBezTo>
                  <a:cubicBezTo>
                    <a:pt x="437" y="3517"/>
                    <a:pt x="409" y="3515"/>
                    <a:pt x="375" y="3512"/>
                  </a:cubicBezTo>
                  <a:cubicBezTo>
                    <a:pt x="348" y="3511"/>
                    <a:pt x="311" y="3509"/>
                    <a:pt x="272" y="3509"/>
                  </a:cubicBezTo>
                  <a:cubicBezTo>
                    <a:pt x="211" y="3509"/>
                    <a:pt x="148" y="3514"/>
                    <a:pt x="127" y="3533"/>
                  </a:cubicBezTo>
                  <a:cubicBezTo>
                    <a:pt x="127" y="3533"/>
                    <a:pt x="123" y="3537"/>
                    <a:pt x="123" y="3544"/>
                  </a:cubicBezTo>
                  <a:cubicBezTo>
                    <a:pt x="123" y="3621"/>
                    <a:pt x="92" y="3694"/>
                    <a:pt x="36" y="3747"/>
                  </a:cubicBezTo>
                  <a:cubicBezTo>
                    <a:pt x="1" y="3785"/>
                    <a:pt x="1" y="3789"/>
                    <a:pt x="15" y="3820"/>
                  </a:cubicBezTo>
                  <a:cubicBezTo>
                    <a:pt x="32" y="3852"/>
                    <a:pt x="130" y="3883"/>
                    <a:pt x="207" y="3904"/>
                  </a:cubicBezTo>
                  <a:cubicBezTo>
                    <a:pt x="333" y="3936"/>
                    <a:pt x="477" y="3974"/>
                    <a:pt x="526" y="4097"/>
                  </a:cubicBezTo>
                  <a:cubicBezTo>
                    <a:pt x="561" y="4163"/>
                    <a:pt x="610" y="4223"/>
                    <a:pt x="669" y="4275"/>
                  </a:cubicBezTo>
                  <a:lnTo>
                    <a:pt x="697" y="4303"/>
                  </a:lnTo>
                  <a:cubicBezTo>
                    <a:pt x="809" y="4415"/>
                    <a:pt x="935" y="4541"/>
                    <a:pt x="998" y="4706"/>
                  </a:cubicBezTo>
                  <a:cubicBezTo>
                    <a:pt x="1089" y="4947"/>
                    <a:pt x="1331" y="5070"/>
                    <a:pt x="1443" y="5070"/>
                  </a:cubicBezTo>
                  <a:cubicBezTo>
                    <a:pt x="1446" y="5069"/>
                    <a:pt x="1449" y="5069"/>
                    <a:pt x="1452" y="5069"/>
                  </a:cubicBezTo>
                  <a:cubicBezTo>
                    <a:pt x="1460" y="5069"/>
                    <a:pt x="1467" y="5071"/>
                    <a:pt x="1474" y="5073"/>
                  </a:cubicBezTo>
                  <a:cubicBezTo>
                    <a:pt x="1499" y="5077"/>
                    <a:pt x="1516" y="5087"/>
                    <a:pt x="1534" y="5108"/>
                  </a:cubicBezTo>
                  <a:cubicBezTo>
                    <a:pt x="1572" y="5154"/>
                    <a:pt x="1565" y="5227"/>
                    <a:pt x="1544" y="5347"/>
                  </a:cubicBezTo>
                  <a:cubicBezTo>
                    <a:pt x="1544" y="5364"/>
                    <a:pt x="1541" y="5385"/>
                    <a:pt x="1537" y="5403"/>
                  </a:cubicBezTo>
                  <a:cubicBezTo>
                    <a:pt x="1530" y="5424"/>
                    <a:pt x="1527" y="5448"/>
                    <a:pt x="1523" y="5473"/>
                  </a:cubicBezTo>
                  <a:lnTo>
                    <a:pt x="1520" y="5490"/>
                  </a:lnTo>
                  <a:cubicBezTo>
                    <a:pt x="1516" y="5515"/>
                    <a:pt x="1513" y="5543"/>
                    <a:pt x="1509" y="5571"/>
                  </a:cubicBezTo>
                  <a:lnTo>
                    <a:pt x="1516" y="5574"/>
                  </a:lnTo>
                  <a:cubicBezTo>
                    <a:pt x="1521" y="5567"/>
                    <a:pt x="1527" y="5565"/>
                    <a:pt x="1534" y="5565"/>
                  </a:cubicBezTo>
                  <a:cubicBezTo>
                    <a:pt x="1546" y="5565"/>
                    <a:pt x="1561" y="5571"/>
                    <a:pt x="1576" y="5578"/>
                  </a:cubicBezTo>
                  <a:lnTo>
                    <a:pt x="1590" y="5581"/>
                  </a:lnTo>
                  <a:lnTo>
                    <a:pt x="1604" y="5588"/>
                  </a:lnTo>
                  <a:cubicBezTo>
                    <a:pt x="1614" y="5595"/>
                    <a:pt x="1625" y="5599"/>
                    <a:pt x="1635" y="5606"/>
                  </a:cubicBezTo>
                  <a:cubicBezTo>
                    <a:pt x="1639" y="5606"/>
                    <a:pt x="1642" y="5606"/>
                    <a:pt x="1646" y="5609"/>
                  </a:cubicBezTo>
                  <a:cubicBezTo>
                    <a:pt x="1688" y="5616"/>
                    <a:pt x="1730" y="5620"/>
                    <a:pt x="1775" y="5623"/>
                  </a:cubicBezTo>
                  <a:lnTo>
                    <a:pt x="1800" y="5623"/>
                  </a:lnTo>
                  <a:cubicBezTo>
                    <a:pt x="1947" y="5630"/>
                    <a:pt x="2112" y="5637"/>
                    <a:pt x="2203" y="5721"/>
                  </a:cubicBezTo>
                  <a:cubicBezTo>
                    <a:pt x="2332" y="5833"/>
                    <a:pt x="2700" y="6068"/>
                    <a:pt x="2791" y="6068"/>
                  </a:cubicBezTo>
                  <a:cubicBezTo>
                    <a:pt x="2896" y="6068"/>
                    <a:pt x="3323" y="6120"/>
                    <a:pt x="3442" y="6180"/>
                  </a:cubicBezTo>
                  <a:cubicBezTo>
                    <a:pt x="3470" y="6155"/>
                    <a:pt x="3494" y="6131"/>
                    <a:pt x="3515" y="6103"/>
                  </a:cubicBezTo>
                  <a:cubicBezTo>
                    <a:pt x="3582" y="6022"/>
                    <a:pt x="3662" y="5949"/>
                    <a:pt x="3753" y="5893"/>
                  </a:cubicBezTo>
                  <a:cubicBezTo>
                    <a:pt x="3876" y="5821"/>
                    <a:pt x="4046" y="5752"/>
                    <a:pt x="4169" y="5752"/>
                  </a:cubicBezTo>
                  <a:cubicBezTo>
                    <a:pt x="4197" y="5752"/>
                    <a:pt x="4222" y="5755"/>
                    <a:pt x="4244" y="5763"/>
                  </a:cubicBezTo>
                  <a:cubicBezTo>
                    <a:pt x="4275" y="5774"/>
                    <a:pt x="4303" y="5798"/>
                    <a:pt x="4317" y="5830"/>
                  </a:cubicBezTo>
                  <a:cubicBezTo>
                    <a:pt x="4338" y="5865"/>
                    <a:pt x="4370" y="5893"/>
                    <a:pt x="4405" y="5907"/>
                  </a:cubicBezTo>
                  <a:cubicBezTo>
                    <a:pt x="4419" y="5912"/>
                    <a:pt x="4434" y="5915"/>
                    <a:pt x="4448" y="5915"/>
                  </a:cubicBezTo>
                  <a:cubicBezTo>
                    <a:pt x="4463" y="5915"/>
                    <a:pt x="4478" y="5912"/>
                    <a:pt x="4492" y="5907"/>
                  </a:cubicBezTo>
                  <a:cubicBezTo>
                    <a:pt x="4580" y="5872"/>
                    <a:pt x="4667" y="5847"/>
                    <a:pt x="4755" y="5830"/>
                  </a:cubicBezTo>
                  <a:lnTo>
                    <a:pt x="4776" y="5823"/>
                  </a:lnTo>
                  <a:lnTo>
                    <a:pt x="4793" y="5823"/>
                  </a:lnTo>
                  <a:lnTo>
                    <a:pt x="4944" y="5791"/>
                  </a:lnTo>
                  <a:lnTo>
                    <a:pt x="4944" y="5795"/>
                  </a:lnTo>
                  <a:cubicBezTo>
                    <a:pt x="5035" y="5774"/>
                    <a:pt x="5129" y="5760"/>
                    <a:pt x="5224" y="5756"/>
                  </a:cubicBezTo>
                  <a:lnTo>
                    <a:pt x="5245" y="5756"/>
                  </a:lnTo>
                  <a:cubicBezTo>
                    <a:pt x="5287" y="5732"/>
                    <a:pt x="5329" y="5700"/>
                    <a:pt x="5367" y="5665"/>
                  </a:cubicBezTo>
                  <a:cubicBezTo>
                    <a:pt x="5500" y="5553"/>
                    <a:pt x="5707" y="5378"/>
                    <a:pt x="5956" y="5378"/>
                  </a:cubicBezTo>
                  <a:cubicBezTo>
                    <a:pt x="6043" y="5378"/>
                    <a:pt x="6113" y="5382"/>
                    <a:pt x="6173" y="5385"/>
                  </a:cubicBezTo>
                  <a:cubicBezTo>
                    <a:pt x="6220" y="5388"/>
                    <a:pt x="6259" y="5390"/>
                    <a:pt x="6293" y="5390"/>
                  </a:cubicBezTo>
                  <a:cubicBezTo>
                    <a:pt x="6391" y="5390"/>
                    <a:pt x="6443" y="5371"/>
                    <a:pt x="6516" y="5291"/>
                  </a:cubicBezTo>
                  <a:cubicBezTo>
                    <a:pt x="6645" y="5147"/>
                    <a:pt x="7779" y="4002"/>
                    <a:pt x="7961" y="3841"/>
                  </a:cubicBezTo>
                  <a:cubicBezTo>
                    <a:pt x="7916" y="3831"/>
                    <a:pt x="7870" y="3824"/>
                    <a:pt x="7825" y="3824"/>
                  </a:cubicBezTo>
                  <a:cubicBezTo>
                    <a:pt x="7737" y="3824"/>
                    <a:pt x="7478" y="3824"/>
                    <a:pt x="7048" y="3649"/>
                  </a:cubicBezTo>
                  <a:cubicBezTo>
                    <a:pt x="6649" y="3488"/>
                    <a:pt x="6054" y="3288"/>
                    <a:pt x="5956" y="3267"/>
                  </a:cubicBezTo>
                  <a:cubicBezTo>
                    <a:pt x="5871" y="3246"/>
                    <a:pt x="5794" y="3158"/>
                    <a:pt x="5710" y="3064"/>
                  </a:cubicBezTo>
                  <a:cubicBezTo>
                    <a:pt x="5668" y="3015"/>
                    <a:pt x="5623" y="2969"/>
                    <a:pt x="5574" y="2931"/>
                  </a:cubicBezTo>
                  <a:cubicBezTo>
                    <a:pt x="5490" y="2889"/>
                    <a:pt x="5374" y="2714"/>
                    <a:pt x="5297" y="2577"/>
                  </a:cubicBezTo>
                  <a:cubicBezTo>
                    <a:pt x="5248" y="2493"/>
                    <a:pt x="5213" y="2423"/>
                    <a:pt x="5203" y="2402"/>
                  </a:cubicBezTo>
                  <a:cubicBezTo>
                    <a:pt x="5199" y="2395"/>
                    <a:pt x="5199" y="2385"/>
                    <a:pt x="5196" y="2378"/>
                  </a:cubicBezTo>
                  <a:cubicBezTo>
                    <a:pt x="5192" y="2332"/>
                    <a:pt x="5206" y="2287"/>
                    <a:pt x="5227" y="2245"/>
                  </a:cubicBezTo>
                  <a:lnTo>
                    <a:pt x="5238" y="2231"/>
                  </a:lnTo>
                  <a:lnTo>
                    <a:pt x="5241" y="2220"/>
                  </a:lnTo>
                  <a:cubicBezTo>
                    <a:pt x="5248" y="2210"/>
                    <a:pt x="5255" y="2199"/>
                    <a:pt x="5262" y="2185"/>
                  </a:cubicBezTo>
                  <a:lnTo>
                    <a:pt x="5234" y="2164"/>
                  </a:lnTo>
                  <a:lnTo>
                    <a:pt x="5231" y="2161"/>
                  </a:lnTo>
                  <a:cubicBezTo>
                    <a:pt x="5224" y="2154"/>
                    <a:pt x="5213" y="2150"/>
                    <a:pt x="5210" y="2147"/>
                  </a:cubicBezTo>
                  <a:lnTo>
                    <a:pt x="5206" y="2147"/>
                  </a:lnTo>
                  <a:cubicBezTo>
                    <a:pt x="5199" y="2143"/>
                    <a:pt x="5192" y="2140"/>
                    <a:pt x="5189" y="2136"/>
                  </a:cubicBezTo>
                  <a:cubicBezTo>
                    <a:pt x="5178" y="2133"/>
                    <a:pt x="5171" y="2129"/>
                    <a:pt x="5161" y="2129"/>
                  </a:cubicBezTo>
                  <a:cubicBezTo>
                    <a:pt x="5157" y="2129"/>
                    <a:pt x="5154" y="2129"/>
                    <a:pt x="5150" y="2133"/>
                  </a:cubicBezTo>
                  <a:lnTo>
                    <a:pt x="5140" y="2136"/>
                  </a:lnTo>
                  <a:lnTo>
                    <a:pt x="5133" y="2143"/>
                  </a:lnTo>
                  <a:cubicBezTo>
                    <a:pt x="5062" y="2189"/>
                    <a:pt x="4982" y="2212"/>
                    <a:pt x="4899" y="2212"/>
                  </a:cubicBezTo>
                  <a:cubicBezTo>
                    <a:pt x="4874" y="2212"/>
                    <a:pt x="4849" y="2210"/>
                    <a:pt x="4825" y="2206"/>
                  </a:cubicBezTo>
                  <a:cubicBezTo>
                    <a:pt x="4783" y="2196"/>
                    <a:pt x="4751" y="2171"/>
                    <a:pt x="4730" y="2136"/>
                  </a:cubicBezTo>
                  <a:cubicBezTo>
                    <a:pt x="4685" y="2049"/>
                    <a:pt x="4615" y="1765"/>
                    <a:pt x="4758" y="1601"/>
                  </a:cubicBezTo>
                  <a:cubicBezTo>
                    <a:pt x="4765" y="1590"/>
                    <a:pt x="4776" y="1580"/>
                    <a:pt x="4786" y="1566"/>
                  </a:cubicBezTo>
                  <a:lnTo>
                    <a:pt x="4793" y="1559"/>
                  </a:lnTo>
                  <a:lnTo>
                    <a:pt x="4821" y="1520"/>
                  </a:lnTo>
                  <a:lnTo>
                    <a:pt x="4828" y="1510"/>
                  </a:lnTo>
                  <a:lnTo>
                    <a:pt x="4853" y="1478"/>
                  </a:lnTo>
                  <a:lnTo>
                    <a:pt x="4860" y="1468"/>
                  </a:lnTo>
                  <a:lnTo>
                    <a:pt x="4884" y="1429"/>
                  </a:lnTo>
                  <a:lnTo>
                    <a:pt x="4895" y="1415"/>
                  </a:lnTo>
                  <a:lnTo>
                    <a:pt x="4919" y="1380"/>
                  </a:lnTo>
                  <a:lnTo>
                    <a:pt x="4926" y="1370"/>
                  </a:lnTo>
                  <a:lnTo>
                    <a:pt x="4947" y="1338"/>
                  </a:lnTo>
                  <a:lnTo>
                    <a:pt x="4951" y="1331"/>
                  </a:lnTo>
                  <a:lnTo>
                    <a:pt x="4975" y="1296"/>
                  </a:lnTo>
                  <a:lnTo>
                    <a:pt x="4996" y="1261"/>
                  </a:lnTo>
                  <a:lnTo>
                    <a:pt x="4870" y="1132"/>
                  </a:lnTo>
                  <a:lnTo>
                    <a:pt x="4863" y="1121"/>
                  </a:lnTo>
                  <a:cubicBezTo>
                    <a:pt x="4429" y="666"/>
                    <a:pt x="3988" y="232"/>
                    <a:pt x="3904" y="193"/>
                  </a:cubicBezTo>
                  <a:lnTo>
                    <a:pt x="3862" y="193"/>
                  </a:lnTo>
                  <a:cubicBezTo>
                    <a:pt x="3813" y="193"/>
                    <a:pt x="3743" y="197"/>
                    <a:pt x="3676" y="204"/>
                  </a:cubicBezTo>
                  <a:cubicBezTo>
                    <a:pt x="3603" y="208"/>
                    <a:pt x="3541" y="212"/>
                    <a:pt x="3490" y="212"/>
                  </a:cubicBezTo>
                  <a:cubicBezTo>
                    <a:pt x="3427" y="212"/>
                    <a:pt x="3380" y="207"/>
                    <a:pt x="3347" y="193"/>
                  </a:cubicBezTo>
                  <a:cubicBezTo>
                    <a:pt x="3330" y="186"/>
                    <a:pt x="3309" y="176"/>
                    <a:pt x="3291" y="162"/>
                  </a:cubicBezTo>
                  <a:cubicBezTo>
                    <a:pt x="3282" y="156"/>
                    <a:pt x="3275" y="152"/>
                    <a:pt x="3265" y="152"/>
                  </a:cubicBezTo>
                  <a:cubicBezTo>
                    <a:pt x="3248" y="152"/>
                    <a:pt x="3223" y="162"/>
                    <a:pt x="3165" y="190"/>
                  </a:cubicBezTo>
                  <a:cubicBezTo>
                    <a:pt x="3116" y="214"/>
                    <a:pt x="3073" y="224"/>
                    <a:pt x="3034" y="224"/>
                  </a:cubicBezTo>
                  <a:cubicBezTo>
                    <a:pt x="2932" y="224"/>
                    <a:pt x="2862" y="155"/>
                    <a:pt x="2808" y="99"/>
                  </a:cubicBezTo>
                  <a:cubicBezTo>
                    <a:pt x="2787" y="81"/>
                    <a:pt x="2770" y="64"/>
                    <a:pt x="2752" y="46"/>
                  </a:cubicBezTo>
                  <a:lnTo>
                    <a:pt x="2731" y="29"/>
                  </a:lnTo>
                  <a:cubicBezTo>
                    <a:pt x="2710" y="15"/>
                    <a:pt x="2686" y="4"/>
                    <a:pt x="266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9" name="Google Shape;4489;p53"/>
            <p:cNvSpPr/>
            <p:nvPr/>
          </p:nvSpPr>
          <p:spPr>
            <a:xfrm>
              <a:off x="2360015" y="196271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0" name="Google Shape;4490;p53"/>
            <p:cNvSpPr/>
            <p:nvPr/>
          </p:nvSpPr>
          <p:spPr>
            <a:xfrm>
              <a:off x="2360965" y="1967409"/>
              <a:ext cx="3761" cy="4861"/>
            </a:xfrm>
            <a:custGeom>
              <a:avLst/>
              <a:gdLst/>
              <a:ahLst/>
              <a:cxnLst/>
              <a:rect l="l" t="t" r="r" b="b"/>
              <a:pathLst>
                <a:path w="277" h="358" extrusionOk="0">
                  <a:moveTo>
                    <a:pt x="0" y="1"/>
                  </a:moveTo>
                  <a:cubicBezTo>
                    <a:pt x="81" y="141"/>
                    <a:pt x="193" y="316"/>
                    <a:pt x="277" y="358"/>
                  </a:cubicBezTo>
                  <a:cubicBezTo>
                    <a:pt x="193" y="312"/>
                    <a:pt x="81" y="137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1" name="Google Shape;4491;p53"/>
            <p:cNvSpPr/>
            <p:nvPr/>
          </p:nvSpPr>
          <p:spPr>
            <a:xfrm>
              <a:off x="2359580" y="19647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2" name="Google Shape;4492;p53"/>
            <p:cNvSpPr/>
            <p:nvPr/>
          </p:nvSpPr>
          <p:spPr>
            <a:xfrm>
              <a:off x="2360205" y="1962087"/>
              <a:ext cx="299" cy="489"/>
            </a:xfrm>
            <a:custGeom>
              <a:avLst/>
              <a:gdLst/>
              <a:ahLst/>
              <a:cxnLst/>
              <a:rect l="l" t="t" r="r" b="b"/>
              <a:pathLst>
                <a:path w="22" h="36" extrusionOk="0">
                  <a:moveTo>
                    <a:pt x="0" y="36"/>
                  </a:moveTo>
                  <a:cubicBezTo>
                    <a:pt x="7" y="25"/>
                    <a:pt x="14" y="11"/>
                    <a:pt x="21" y="1"/>
                  </a:cubicBezTo>
                  <a:lnTo>
                    <a:pt x="21" y="1"/>
                  </a:lnTo>
                  <a:cubicBezTo>
                    <a:pt x="14" y="11"/>
                    <a:pt x="7" y="25"/>
                    <a:pt x="0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3" name="Google Shape;4493;p53"/>
            <p:cNvSpPr/>
            <p:nvPr/>
          </p:nvSpPr>
          <p:spPr>
            <a:xfrm>
              <a:off x="2354027" y="201152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7" y="1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4" name="Google Shape;4494;p53"/>
            <p:cNvSpPr/>
            <p:nvPr/>
          </p:nvSpPr>
          <p:spPr>
            <a:xfrm>
              <a:off x="2353647" y="2011577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0" y="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5" name="Google Shape;4495;p53"/>
            <p:cNvSpPr/>
            <p:nvPr/>
          </p:nvSpPr>
          <p:spPr>
            <a:xfrm>
              <a:off x="2356159" y="2010572"/>
              <a:ext cx="3815" cy="543"/>
            </a:xfrm>
            <a:custGeom>
              <a:avLst/>
              <a:gdLst/>
              <a:ahLst/>
              <a:cxnLst/>
              <a:rect l="l" t="t" r="r" b="b"/>
              <a:pathLst>
                <a:path w="281" h="40" extrusionOk="0">
                  <a:moveTo>
                    <a:pt x="1" y="39"/>
                  </a:moveTo>
                  <a:lnTo>
                    <a:pt x="1" y="39"/>
                  </a:lnTo>
                  <a:cubicBezTo>
                    <a:pt x="92" y="18"/>
                    <a:pt x="186" y="8"/>
                    <a:pt x="281" y="1"/>
                  </a:cubicBezTo>
                  <a:cubicBezTo>
                    <a:pt x="186" y="8"/>
                    <a:pt x="92" y="18"/>
                    <a:pt x="1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6" name="Google Shape;4496;p53"/>
            <p:cNvSpPr/>
            <p:nvPr/>
          </p:nvSpPr>
          <p:spPr>
            <a:xfrm>
              <a:off x="2314720" y="1939562"/>
              <a:ext cx="244" cy="584"/>
            </a:xfrm>
            <a:custGeom>
              <a:avLst/>
              <a:gdLst/>
              <a:ahLst/>
              <a:cxnLst/>
              <a:rect l="l" t="t" r="r" b="b"/>
              <a:pathLst>
                <a:path w="18" h="43" extrusionOk="0">
                  <a:moveTo>
                    <a:pt x="0" y="42"/>
                  </a:moveTo>
                  <a:cubicBezTo>
                    <a:pt x="4" y="28"/>
                    <a:pt x="11" y="14"/>
                    <a:pt x="18" y="0"/>
                  </a:cubicBezTo>
                  <a:cubicBezTo>
                    <a:pt x="11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7" name="Google Shape;4497;p53"/>
            <p:cNvSpPr/>
            <p:nvPr/>
          </p:nvSpPr>
          <p:spPr>
            <a:xfrm>
              <a:off x="2314381" y="1940268"/>
              <a:ext cx="258" cy="543"/>
            </a:xfrm>
            <a:custGeom>
              <a:avLst/>
              <a:gdLst/>
              <a:ahLst/>
              <a:cxnLst/>
              <a:rect l="l" t="t" r="r" b="b"/>
              <a:pathLst>
                <a:path w="19" h="40" extrusionOk="0">
                  <a:moveTo>
                    <a:pt x="1" y="39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8" name="Google Shape;4498;p53"/>
            <p:cNvSpPr/>
            <p:nvPr/>
          </p:nvSpPr>
          <p:spPr>
            <a:xfrm>
              <a:off x="2315005" y="1938896"/>
              <a:ext cx="244" cy="584"/>
            </a:xfrm>
            <a:custGeom>
              <a:avLst/>
              <a:gdLst/>
              <a:ahLst/>
              <a:cxnLst/>
              <a:rect l="l" t="t" r="r" b="b"/>
              <a:pathLst>
                <a:path w="18" h="43" extrusionOk="0">
                  <a:moveTo>
                    <a:pt x="0" y="42"/>
                  </a:moveTo>
                  <a:cubicBezTo>
                    <a:pt x="4" y="28"/>
                    <a:pt x="11" y="14"/>
                    <a:pt x="18" y="0"/>
                  </a:cubicBezTo>
                  <a:cubicBezTo>
                    <a:pt x="11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9" name="Google Shape;4499;p53"/>
            <p:cNvSpPr/>
            <p:nvPr/>
          </p:nvSpPr>
          <p:spPr>
            <a:xfrm>
              <a:off x="2315236" y="1938231"/>
              <a:ext cx="204" cy="625"/>
            </a:xfrm>
            <a:custGeom>
              <a:avLst/>
              <a:gdLst/>
              <a:ahLst/>
              <a:cxnLst/>
              <a:rect l="l" t="t" r="r" b="b"/>
              <a:pathLst>
                <a:path w="15" h="46" extrusionOk="0">
                  <a:moveTo>
                    <a:pt x="1" y="46"/>
                  </a:moveTo>
                  <a:cubicBezTo>
                    <a:pt x="8" y="28"/>
                    <a:pt x="11" y="14"/>
                    <a:pt x="15" y="0"/>
                  </a:cubicBezTo>
                  <a:cubicBezTo>
                    <a:pt x="11" y="14"/>
                    <a:pt x="8" y="28"/>
                    <a:pt x="1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0" name="Google Shape;4500;p53"/>
            <p:cNvSpPr/>
            <p:nvPr/>
          </p:nvSpPr>
          <p:spPr>
            <a:xfrm>
              <a:off x="2314055" y="1940933"/>
              <a:ext cx="244" cy="489"/>
            </a:xfrm>
            <a:custGeom>
              <a:avLst/>
              <a:gdLst/>
              <a:ahLst/>
              <a:cxnLst/>
              <a:rect l="l" t="t" r="r" b="b"/>
              <a:pathLst>
                <a:path w="18" h="36" extrusionOk="0">
                  <a:moveTo>
                    <a:pt x="0" y="36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1" name="Google Shape;4501;p53"/>
            <p:cNvSpPr/>
            <p:nvPr/>
          </p:nvSpPr>
          <p:spPr>
            <a:xfrm>
              <a:off x="2315481" y="1937511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0" y="43"/>
                  </a:moveTo>
                  <a:cubicBezTo>
                    <a:pt x="4" y="29"/>
                    <a:pt x="11" y="15"/>
                    <a:pt x="14" y="1"/>
                  </a:cubicBezTo>
                  <a:cubicBezTo>
                    <a:pt x="11" y="15"/>
                    <a:pt x="4" y="29"/>
                    <a:pt x="0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2" name="Google Shape;4502;p53"/>
            <p:cNvSpPr/>
            <p:nvPr/>
          </p:nvSpPr>
          <p:spPr>
            <a:xfrm>
              <a:off x="2296038" y="1987707"/>
              <a:ext cx="1955" cy="2444"/>
            </a:xfrm>
            <a:custGeom>
              <a:avLst/>
              <a:gdLst/>
              <a:ahLst/>
              <a:cxnLst/>
              <a:rect l="l" t="t" r="r" b="b"/>
              <a:pathLst>
                <a:path w="144" h="180" extrusionOk="0">
                  <a:moveTo>
                    <a:pt x="0" y="1"/>
                  </a:moveTo>
                  <a:cubicBezTo>
                    <a:pt x="35" y="67"/>
                    <a:pt x="84" y="130"/>
                    <a:pt x="144" y="179"/>
                  </a:cubicBezTo>
                  <a:cubicBezTo>
                    <a:pt x="84" y="130"/>
                    <a:pt x="35" y="67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3" name="Google Shape;4503;p53"/>
            <p:cNvSpPr/>
            <p:nvPr/>
          </p:nvSpPr>
          <p:spPr>
            <a:xfrm>
              <a:off x="2315807" y="1936086"/>
              <a:ext cx="68" cy="584"/>
            </a:xfrm>
            <a:custGeom>
              <a:avLst/>
              <a:gdLst/>
              <a:ahLst/>
              <a:cxnLst/>
              <a:rect l="l" t="t" r="r" b="b"/>
              <a:pathLst>
                <a:path w="5" h="43" extrusionOk="0">
                  <a:moveTo>
                    <a:pt x="1" y="43"/>
                  </a:moveTo>
                  <a:cubicBezTo>
                    <a:pt x="1" y="29"/>
                    <a:pt x="4" y="15"/>
                    <a:pt x="4" y="1"/>
                  </a:cubicBezTo>
                  <a:cubicBezTo>
                    <a:pt x="4" y="15"/>
                    <a:pt x="1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4" name="Google Shape;4504;p53"/>
            <p:cNvSpPr/>
            <p:nvPr/>
          </p:nvSpPr>
          <p:spPr>
            <a:xfrm>
              <a:off x="2315671" y="1936751"/>
              <a:ext cx="149" cy="638"/>
            </a:xfrm>
            <a:custGeom>
              <a:avLst/>
              <a:gdLst/>
              <a:ahLst/>
              <a:cxnLst/>
              <a:rect l="l" t="t" r="r" b="b"/>
              <a:pathLst>
                <a:path w="11" h="47" extrusionOk="0">
                  <a:moveTo>
                    <a:pt x="0" y="46"/>
                  </a:moveTo>
                  <a:cubicBezTo>
                    <a:pt x="4" y="32"/>
                    <a:pt x="7" y="15"/>
                    <a:pt x="11" y="1"/>
                  </a:cubicBezTo>
                  <a:cubicBezTo>
                    <a:pt x="7" y="15"/>
                    <a:pt x="4" y="32"/>
                    <a:pt x="0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5" name="Google Shape;4505;p53"/>
            <p:cNvSpPr/>
            <p:nvPr/>
          </p:nvSpPr>
          <p:spPr>
            <a:xfrm>
              <a:off x="2309534" y="2006390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6" name="Google Shape;4506;p53"/>
            <p:cNvSpPr/>
            <p:nvPr/>
          </p:nvSpPr>
          <p:spPr>
            <a:xfrm>
              <a:off x="2308909" y="2000973"/>
              <a:ext cx="1344" cy="3775"/>
            </a:xfrm>
            <a:custGeom>
              <a:avLst/>
              <a:gdLst/>
              <a:ahLst/>
              <a:cxnLst/>
              <a:rect l="l" t="t" r="r" b="b"/>
              <a:pathLst>
                <a:path w="99" h="278" extrusionOk="0">
                  <a:moveTo>
                    <a:pt x="57" y="35"/>
                  </a:moveTo>
                  <a:cubicBezTo>
                    <a:pt x="43" y="18"/>
                    <a:pt x="22" y="4"/>
                    <a:pt x="1" y="0"/>
                  </a:cubicBezTo>
                  <a:cubicBezTo>
                    <a:pt x="22" y="4"/>
                    <a:pt x="43" y="18"/>
                    <a:pt x="57" y="35"/>
                  </a:cubicBezTo>
                  <a:cubicBezTo>
                    <a:pt x="99" y="84"/>
                    <a:pt x="92" y="154"/>
                    <a:pt x="71" y="277"/>
                  </a:cubicBezTo>
                  <a:cubicBezTo>
                    <a:pt x="92" y="154"/>
                    <a:pt x="99" y="84"/>
                    <a:pt x="57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7" name="Google Shape;4507;p53"/>
            <p:cNvSpPr/>
            <p:nvPr/>
          </p:nvSpPr>
          <p:spPr>
            <a:xfrm>
              <a:off x="2309344" y="20077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8" name="Google Shape;4508;p53"/>
            <p:cNvSpPr/>
            <p:nvPr/>
          </p:nvSpPr>
          <p:spPr>
            <a:xfrm>
              <a:off x="2300029" y="196404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9" name="Google Shape;4509;p53"/>
            <p:cNvSpPr/>
            <p:nvPr/>
          </p:nvSpPr>
          <p:spPr>
            <a:xfrm>
              <a:off x="2359064" y="196132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0" name="Google Shape;4510;p53"/>
            <p:cNvSpPr/>
            <p:nvPr/>
          </p:nvSpPr>
          <p:spPr>
            <a:xfrm>
              <a:off x="2354407" y="195286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1" name="Google Shape;4511;p53"/>
            <p:cNvSpPr/>
            <p:nvPr/>
          </p:nvSpPr>
          <p:spPr>
            <a:xfrm>
              <a:off x="2355779" y="195096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2" name="Google Shape;4512;p53"/>
            <p:cNvSpPr/>
            <p:nvPr/>
          </p:nvSpPr>
          <p:spPr>
            <a:xfrm>
              <a:off x="2353932" y="1953533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3" name="Google Shape;4513;p53"/>
            <p:cNvSpPr/>
            <p:nvPr/>
          </p:nvSpPr>
          <p:spPr>
            <a:xfrm>
              <a:off x="2358915" y="196132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4" name="Google Shape;4514;p53"/>
            <p:cNvSpPr/>
            <p:nvPr/>
          </p:nvSpPr>
          <p:spPr>
            <a:xfrm>
              <a:off x="2354828" y="195229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5" name="Google Shape;4515;p53"/>
            <p:cNvSpPr/>
            <p:nvPr/>
          </p:nvSpPr>
          <p:spPr>
            <a:xfrm>
              <a:off x="2358779" y="19613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6" name="Google Shape;4516;p53"/>
            <p:cNvSpPr/>
            <p:nvPr/>
          </p:nvSpPr>
          <p:spPr>
            <a:xfrm>
              <a:off x="2359445" y="19613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7" name="Google Shape;4517;p53"/>
            <p:cNvSpPr/>
            <p:nvPr/>
          </p:nvSpPr>
          <p:spPr>
            <a:xfrm>
              <a:off x="2356118" y="195045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8" name="Google Shape;4518;p53"/>
            <p:cNvSpPr/>
            <p:nvPr/>
          </p:nvSpPr>
          <p:spPr>
            <a:xfrm>
              <a:off x="2360056" y="1961761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9" name="Google Shape;4519;p53"/>
            <p:cNvSpPr/>
            <p:nvPr/>
          </p:nvSpPr>
          <p:spPr>
            <a:xfrm>
              <a:off x="2359730" y="196151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0" name="Google Shape;4520;p53"/>
            <p:cNvSpPr/>
            <p:nvPr/>
          </p:nvSpPr>
          <p:spPr>
            <a:xfrm>
              <a:off x="2355263" y="1951591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4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1" name="Google Shape;4521;p53"/>
            <p:cNvSpPr/>
            <p:nvPr/>
          </p:nvSpPr>
          <p:spPr>
            <a:xfrm>
              <a:off x="2356539" y="194992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2" name="Google Shape;4522;p53"/>
            <p:cNvSpPr/>
            <p:nvPr/>
          </p:nvSpPr>
          <p:spPr>
            <a:xfrm>
              <a:off x="2360490" y="19620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3" name="Google Shape;4523;p53"/>
            <p:cNvSpPr/>
            <p:nvPr/>
          </p:nvSpPr>
          <p:spPr>
            <a:xfrm>
              <a:off x="2319703" y="1935991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4" name="Google Shape;4524;p53"/>
            <p:cNvSpPr/>
            <p:nvPr/>
          </p:nvSpPr>
          <p:spPr>
            <a:xfrm>
              <a:off x="2355113" y="1947735"/>
              <a:ext cx="1724" cy="1779"/>
            </a:xfrm>
            <a:custGeom>
              <a:avLst/>
              <a:gdLst/>
              <a:ahLst/>
              <a:cxnLst/>
              <a:rect l="l" t="t" r="r" b="b"/>
              <a:pathLst>
                <a:path w="127" h="131" extrusionOk="0">
                  <a:moveTo>
                    <a:pt x="127" y="13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5" name="Google Shape;4525;p53"/>
            <p:cNvSpPr/>
            <p:nvPr/>
          </p:nvSpPr>
          <p:spPr>
            <a:xfrm>
              <a:off x="2320464" y="193614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6" name="Google Shape;4526;p53"/>
            <p:cNvSpPr/>
            <p:nvPr/>
          </p:nvSpPr>
          <p:spPr>
            <a:xfrm>
              <a:off x="2320423" y="193614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7" name="Google Shape;4527;p53"/>
            <p:cNvSpPr/>
            <p:nvPr/>
          </p:nvSpPr>
          <p:spPr>
            <a:xfrm>
              <a:off x="2320233" y="193608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8" name="Google Shape;4528;p53"/>
            <p:cNvSpPr/>
            <p:nvPr/>
          </p:nvSpPr>
          <p:spPr>
            <a:xfrm>
              <a:off x="2315861" y="1935950"/>
              <a:ext cx="1860" cy="54"/>
            </a:xfrm>
            <a:custGeom>
              <a:avLst/>
              <a:gdLst/>
              <a:ahLst/>
              <a:cxnLst/>
              <a:rect l="l" t="t" r="r" b="b"/>
              <a:pathLst>
                <a:path w="137" h="4" extrusionOk="0">
                  <a:moveTo>
                    <a:pt x="0" y="4"/>
                  </a:moveTo>
                  <a:lnTo>
                    <a:pt x="0" y="4"/>
                  </a:lnTo>
                  <a:cubicBezTo>
                    <a:pt x="53" y="0"/>
                    <a:pt x="98" y="0"/>
                    <a:pt x="137" y="0"/>
                  </a:cubicBezTo>
                  <a:cubicBezTo>
                    <a:pt x="98" y="0"/>
                    <a:pt x="53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9" name="Google Shape;4529;p53"/>
            <p:cNvSpPr/>
            <p:nvPr/>
          </p:nvSpPr>
          <p:spPr>
            <a:xfrm>
              <a:off x="2319893" y="1936045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0" name="Google Shape;4530;p53"/>
            <p:cNvSpPr/>
            <p:nvPr/>
          </p:nvSpPr>
          <p:spPr>
            <a:xfrm>
              <a:off x="2320369" y="193608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1" name="Google Shape;4531;p53"/>
            <p:cNvSpPr/>
            <p:nvPr/>
          </p:nvSpPr>
          <p:spPr>
            <a:xfrm>
              <a:off x="2320083" y="193604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2" name="Google Shape;4532;p53"/>
            <p:cNvSpPr/>
            <p:nvPr/>
          </p:nvSpPr>
          <p:spPr>
            <a:xfrm>
              <a:off x="2341998" y="1935000"/>
              <a:ext cx="12994" cy="12600"/>
            </a:xfrm>
            <a:custGeom>
              <a:avLst/>
              <a:gdLst/>
              <a:ahLst/>
              <a:cxnLst/>
              <a:rect l="l" t="t" r="r" b="b"/>
              <a:pathLst>
                <a:path w="957" h="928" extrusionOk="0">
                  <a:moveTo>
                    <a:pt x="1" y="0"/>
                  </a:moveTo>
                  <a:lnTo>
                    <a:pt x="1" y="0"/>
                  </a:lnTo>
                  <a:cubicBezTo>
                    <a:pt x="41" y="20"/>
                    <a:pt x="172" y="138"/>
                    <a:pt x="347" y="308"/>
                  </a:cubicBezTo>
                  <a:lnTo>
                    <a:pt x="347" y="308"/>
                  </a:lnTo>
                  <a:cubicBezTo>
                    <a:pt x="173" y="138"/>
                    <a:pt x="43" y="20"/>
                    <a:pt x="1" y="0"/>
                  </a:cubicBezTo>
                  <a:close/>
                  <a:moveTo>
                    <a:pt x="347" y="308"/>
                  </a:moveTo>
                  <a:lnTo>
                    <a:pt x="347" y="308"/>
                  </a:lnTo>
                  <a:cubicBezTo>
                    <a:pt x="521" y="478"/>
                    <a:pt x="739" y="700"/>
                    <a:pt x="956" y="928"/>
                  </a:cubicBezTo>
                  <a:cubicBezTo>
                    <a:pt x="741" y="700"/>
                    <a:pt x="522" y="478"/>
                    <a:pt x="347" y="30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3" name="Google Shape;4533;p53"/>
            <p:cNvSpPr/>
            <p:nvPr/>
          </p:nvSpPr>
          <p:spPr>
            <a:xfrm>
              <a:off x="2325121" y="1932284"/>
              <a:ext cx="923" cy="448"/>
            </a:xfrm>
            <a:custGeom>
              <a:avLst/>
              <a:gdLst/>
              <a:ahLst/>
              <a:cxnLst/>
              <a:rect l="l" t="t" r="r" b="b"/>
              <a:pathLst>
                <a:path w="68" h="33" extrusionOk="0">
                  <a:moveTo>
                    <a:pt x="1" y="1"/>
                  </a:moveTo>
                  <a:cubicBezTo>
                    <a:pt x="25" y="4"/>
                    <a:pt x="50" y="15"/>
                    <a:pt x="67" y="32"/>
                  </a:cubicBezTo>
                  <a:cubicBezTo>
                    <a:pt x="50" y="15"/>
                    <a:pt x="2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4" name="Google Shape;4534;p53"/>
            <p:cNvSpPr/>
            <p:nvPr/>
          </p:nvSpPr>
          <p:spPr>
            <a:xfrm>
              <a:off x="2318753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5" name="Google Shape;4535;p53"/>
            <p:cNvSpPr/>
            <p:nvPr/>
          </p:nvSpPr>
          <p:spPr>
            <a:xfrm>
              <a:off x="2319133" y="193595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6" name="Google Shape;4536;p53"/>
            <p:cNvSpPr/>
            <p:nvPr/>
          </p:nvSpPr>
          <p:spPr>
            <a:xfrm>
              <a:off x="2318332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7" name="Google Shape;4537;p53"/>
            <p:cNvSpPr/>
            <p:nvPr/>
          </p:nvSpPr>
          <p:spPr>
            <a:xfrm>
              <a:off x="2317762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8" name="Google Shape;4538;p53"/>
            <p:cNvSpPr/>
            <p:nvPr/>
          </p:nvSpPr>
          <p:spPr>
            <a:xfrm>
              <a:off x="2338902" y="1934945"/>
              <a:ext cx="2539" cy="109"/>
            </a:xfrm>
            <a:custGeom>
              <a:avLst/>
              <a:gdLst/>
              <a:ahLst/>
              <a:cxnLst/>
              <a:rect l="l" t="t" r="r" b="b"/>
              <a:pathLst>
                <a:path w="187" h="8" extrusionOk="0">
                  <a:moveTo>
                    <a:pt x="1" y="8"/>
                  </a:moveTo>
                  <a:cubicBezTo>
                    <a:pt x="67" y="4"/>
                    <a:pt x="134" y="1"/>
                    <a:pt x="186" y="1"/>
                  </a:cubicBezTo>
                  <a:cubicBezTo>
                    <a:pt x="134" y="1"/>
                    <a:pt x="67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9" name="Google Shape;4539;p53"/>
            <p:cNvSpPr/>
            <p:nvPr/>
          </p:nvSpPr>
          <p:spPr>
            <a:xfrm>
              <a:off x="2319418" y="193599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0" name="Google Shape;4540;p53"/>
            <p:cNvSpPr/>
            <p:nvPr/>
          </p:nvSpPr>
          <p:spPr>
            <a:xfrm>
              <a:off x="2306153" y="1772952"/>
              <a:ext cx="8296" cy="11568"/>
            </a:xfrm>
            <a:custGeom>
              <a:avLst/>
              <a:gdLst/>
              <a:ahLst/>
              <a:cxnLst/>
              <a:rect l="l" t="t" r="r" b="b"/>
              <a:pathLst>
                <a:path w="611" h="852" extrusionOk="0">
                  <a:moveTo>
                    <a:pt x="386" y="1"/>
                  </a:moveTo>
                  <a:lnTo>
                    <a:pt x="386" y="8"/>
                  </a:lnTo>
                  <a:cubicBezTo>
                    <a:pt x="386" y="123"/>
                    <a:pt x="284" y="295"/>
                    <a:pt x="169" y="495"/>
                  </a:cubicBezTo>
                  <a:cubicBezTo>
                    <a:pt x="109" y="593"/>
                    <a:pt x="50" y="694"/>
                    <a:pt x="1" y="792"/>
                  </a:cubicBezTo>
                  <a:lnTo>
                    <a:pt x="144" y="852"/>
                  </a:lnTo>
                  <a:lnTo>
                    <a:pt x="155" y="834"/>
                  </a:lnTo>
                  <a:lnTo>
                    <a:pt x="169" y="813"/>
                  </a:lnTo>
                  <a:lnTo>
                    <a:pt x="186" y="782"/>
                  </a:lnTo>
                  <a:lnTo>
                    <a:pt x="204" y="754"/>
                  </a:lnTo>
                  <a:lnTo>
                    <a:pt x="221" y="722"/>
                  </a:lnTo>
                  <a:lnTo>
                    <a:pt x="235" y="705"/>
                  </a:lnTo>
                  <a:lnTo>
                    <a:pt x="253" y="680"/>
                  </a:lnTo>
                  <a:lnTo>
                    <a:pt x="263" y="663"/>
                  </a:lnTo>
                  <a:lnTo>
                    <a:pt x="281" y="638"/>
                  </a:lnTo>
                  <a:lnTo>
                    <a:pt x="295" y="617"/>
                  </a:lnTo>
                  <a:lnTo>
                    <a:pt x="309" y="596"/>
                  </a:lnTo>
                  <a:lnTo>
                    <a:pt x="323" y="579"/>
                  </a:lnTo>
                  <a:lnTo>
                    <a:pt x="340" y="554"/>
                  </a:lnTo>
                  <a:lnTo>
                    <a:pt x="351" y="537"/>
                  </a:lnTo>
                  <a:lnTo>
                    <a:pt x="368" y="516"/>
                  </a:lnTo>
                  <a:lnTo>
                    <a:pt x="382" y="498"/>
                  </a:lnTo>
                  <a:lnTo>
                    <a:pt x="396" y="477"/>
                  </a:lnTo>
                  <a:lnTo>
                    <a:pt x="410" y="463"/>
                  </a:lnTo>
                  <a:lnTo>
                    <a:pt x="424" y="446"/>
                  </a:lnTo>
                  <a:lnTo>
                    <a:pt x="435" y="432"/>
                  </a:lnTo>
                  <a:lnTo>
                    <a:pt x="449" y="414"/>
                  </a:lnTo>
                  <a:lnTo>
                    <a:pt x="463" y="400"/>
                  </a:lnTo>
                  <a:lnTo>
                    <a:pt x="477" y="382"/>
                  </a:lnTo>
                  <a:lnTo>
                    <a:pt x="484" y="372"/>
                  </a:lnTo>
                  <a:lnTo>
                    <a:pt x="498" y="358"/>
                  </a:lnTo>
                  <a:lnTo>
                    <a:pt x="508" y="347"/>
                  </a:lnTo>
                  <a:lnTo>
                    <a:pt x="522" y="333"/>
                  </a:lnTo>
                  <a:lnTo>
                    <a:pt x="526" y="326"/>
                  </a:lnTo>
                  <a:lnTo>
                    <a:pt x="547" y="309"/>
                  </a:lnTo>
                  <a:cubicBezTo>
                    <a:pt x="596" y="253"/>
                    <a:pt x="610" y="176"/>
                    <a:pt x="586" y="106"/>
                  </a:cubicBezTo>
                  <a:cubicBezTo>
                    <a:pt x="582" y="95"/>
                    <a:pt x="575" y="85"/>
                    <a:pt x="568" y="74"/>
                  </a:cubicBezTo>
                  <a:lnTo>
                    <a:pt x="561" y="67"/>
                  </a:lnTo>
                  <a:cubicBezTo>
                    <a:pt x="558" y="60"/>
                    <a:pt x="551" y="57"/>
                    <a:pt x="547" y="50"/>
                  </a:cubicBezTo>
                  <a:lnTo>
                    <a:pt x="537" y="43"/>
                  </a:lnTo>
                  <a:cubicBezTo>
                    <a:pt x="533" y="39"/>
                    <a:pt x="526" y="36"/>
                    <a:pt x="519" y="32"/>
                  </a:cubicBezTo>
                  <a:lnTo>
                    <a:pt x="508" y="25"/>
                  </a:lnTo>
                  <a:cubicBezTo>
                    <a:pt x="501" y="22"/>
                    <a:pt x="494" y="22"/>
                    <a:pt x="484" y="18"/>
                  </a:cubicBezTo>
                  <a:lnTo>
                    <a:pt x="477" y="15"/>
                  </a:lnTo>
                  <a:cubicBezTo>
                    <a:pt x="466" y="11"/>
                    <a:pt x="456" y="8"/>
                    <a:pt x="445" y="8"/>
                  </a:cubicBezTo>
                  <a:lnTo>
                    <a:pt x="428" y="4"/>
                  </a:lnTo>
                  <a:lnTo>
                    <a:pt x="41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1" name="Google Shape;4541;p53"/>
            <p:cNvSpPr/>
            <p:nvPr/>
          </p:nvSpPr>
          <p:spPr>
            <a:xfrm>
              <a:off x="2309669" y="1752192"/>
              <a:ext cx="47929" cy="38750"/>
            </a:xfrm>
            <a:custGeom>
              <a:avLst/>
              <a:gdLst/>
              <a:ahLst/>
              <a:cxnLst/>
              <a:rect l="l" t="t" r="r" b="b"/>
              <a:pathLst>
                <a:path w="3530" h="2854" extrusionOk="0">
                  <a:moveTo>
                    <a:pt x="3460" y="0"/>
                  </a:moveTo>
                  <a:cubicBezTo>
                    <a:pt x="3297" y="55"/>
                    <a:pt x="3126" y="84"/>
                    <a:pt x="2953" y="84"/>
                  </a:cubicBezTo>
                  <a:cubicBezTo>
                    <a:pt x="2918" y="84"/>
                    <a:pt x="2882" y="83"/>
                    <a:pt x="2847" y="81"/>
                  </a:cubicBezTo>
                  <a:cubicBezTo>
                    <a:pt x="2837" y="80"/>
                    <a:pt x="2828" y="80"/>
                    <a:pt x="2818" y="80"/>
                  </a:cubicBezTo>
                  <a:cubicBezTo>
                    <a:pt x="2692" y="80"/>
                    <a:pt x="2613" y="123"/>
                    <a:pt x="2522" y="175"/>
                  </a:cubicBezTo>
                  <a:cubicBezTo>
                    <a:pt x="2403" y="256"/>
                    <a:pt x="2262" y="298"/>
                    <a:pt x="2119" y="298"/>
                  </a:cubicBezTo>
                  <a:cubicBezTo>
                    <a:pt x="2014" y="298"/>
                    <a:pt x="1912" y="305"/>
                    <a:pt x="1811" y="319"/>
                  </a:cubicBezTo>
                  <a:cubicBezTo>
                    <a:pt x="1747" y="325"/>
                    <a:pt x="1691" y="331"/>
                    <a:pt x="1641" y="331"/>
                  </a:cubicBezTo>
                  <a:cubicBezTo>
                    <a:pt x="1556" y="331"/>
                    <a:pt x="1490" y="314"/>
                    <a:pt x="1440" y="252"/>
                  </a:cubicBezTo>
                  <a:cubicBezTo>
                    <a:pt x="1419" y="224"/>
                    <a:pt x="1412" y="221"/>
                    <a:pt x="1408" y="221"/>
                  </a:cubicBezTo>
                  <a:cubicBezTo>
                    <a:pt x="1380" y="231"/>
                    <a:pt x="1349" y="245"/>
                    <a:pt x="1321" y="263"/>
                  </a:cubicBezTo>
                  <a:cubicBezTo>
                    <a:pt x="1286" y="280"/>
                    <a:pt x="1233" y="305"/>
                    <a:pt x="1174" y="336"/>
                  </a:cubicBezTo>
                  <a:cubicBezTo>
                    <a:pt x="1146" y="350"/>
                    <a:pt x="1114" y="361"/>
                    <a:pt x="1086" y="371"/>
                  </a:cubicBezTo>
                  <a:cubicBezTo>
                    <a:pt x="1013" y="399"/>
                    <a:pt x="932" y="413"/>
                    <a:pt x="855" y="413"/>
                  </a:cubicBezTo>
                  <a:cubicBezTo>
                    <a:pt x="810" y="413"/>
                    <a:pt x="764" y="406"/>
                    <a:pt x="722" y="392"/>
                  </a:cubicBezTo>
                  <a:cubicBezTo>
                    <a:pt x="680" y="378"/>
                    <a:pt x="642" y="354"/>
                    <a:pt x="610" y="326"/>
                  </a:cubicBezTo>
                  <a:lnTo>
                    <a:pt x="600" y="319"/>
                  </a:lnTo>
                  <a:cubicBezTo>
                    <a:pt x="589" y="315"/>
                    <a:pt x="582" y="312"/>
                    <a:pt x="572" y="312"/>
                  </a:cubicBezTo>
                  <a:cubicBezTo>
                    <a:pt x="570" y="310"/>
                    <a:pt x="568" y="309"/>
                    <a:pt x="567" y="309"/>
                  </a:cubicBezTo>
                  <a:cubicBezTo>
                    <a:pt x="565" y="309"/>
                    <a:pt x="565" y="310"/>
                    <a:pt x="565" y="312"/>
                  </a:cubicBezTo>
                  <a:cubicBezTo>
                    <a:pt x="526" y="336"/>
                    <a:pt x="505" y="375"/>
                    <a:pt x="498" y="417"/>
                  </a:cubicBezTo>
                  <a:cubicBezTo>
                    <a:pt x="495" y="431"/>
                    <a:pt x="495" y="445"/>
                    <a:pt x="491" y="462"/>
                  </a:cubicBezTo>
                  <a:cubicBezTo>
                    <a:pt x="491" y="469"/>
                    <a:pt x="491" y="476"/>
                    <a:pt x="491" y="483"/>
                  </a:cubicBezTo>
                  <a:lnTo>
                    <a:pt x="491" y="494"/>
                  </a:lnTo>
                  <a:lnTo>
                    <a:pt x="491" y="508"/>
                  </a:lnTo>
                  <a:lnTo>
                    <a:pt x="491" y="518"/>
                  </a:lnTo>
                  <a:cubicBezTo>
                    <a:pt x="491" y="525"/>
                    <a:pt x="491" y="529"/>
                    <a:pt x="488" y="536"/>
                  </a:cubicBezTo>
                  <a:cubicBezTo>
                    <a:pt x="484" y="539"/>
                    <a:pt x="488" y="543"/>
                    <a:pt x="484" y="546"/>
                  </a:cubicBezTo>
                  <a:cubicBezTo>
                    <a:pt x="484" y="550"/>
                    <a:pt x="484" y="557"/>
                    <a:pt x="481" y="560"/>
                  </a:cubicBezTo>
                  <a:lnTo>
                    <a:pt x="477" y="574"/>
                  </a:lnTo>
                  <a:cubicBezTo>
                    <a:pt x="477" y="578"/>
                    <a:pt x="477" y="585"/>
                    <a:pt x="474" y="588"/>
                  </a:cubicBezTo>
                  <a:lnTo>
                    <a:pt x="470" y="602"/>
                  </a:lnTo>
                  <a:cubicBezTo>
                    <a:pt x="470" y="609"/>
                    <a:pt x="467" y="613"/>
                    <a:pt x="463" y="620"/>
                  </a:cubicBezTo>
                  <a:lnTo>
                    <a:pt x="460" y="630"/>
                  </a:lnTo>
                  <a:lnTo>
                    <a:pt x="453" y="648"/>
                  </a:lnTo>
                  <a:lnTo>
                    <a:pt x="446" y="662"/>
                  </a:lnTo>
                  <a:lnTo>
                    <a:pt x="435" y="676"/>
                  </a:lnTo>
                  <a:lnTo>
                    <a:pt x="428" y="690"/>
                  </a:lnTo>
                  <a:lnTo>
                    <a:pt x="418" y="704"/>
                  </a:lnTo>
                  <a:lnTo>
                    <a:pt x="407" y="714"/>
                  </a:lnTo>
                  <a:lnTo>
                    <a:pt x="393" y="732"/>
                  </a:lnTo>
                  <a:lnTo>
                    <a:pt x="379" y="742"/>
                  </a:lnTo>
                  <a:lnTo>
                    <a:pt x="365" y="756"/>
                  </a:lnTo>
                  <a:lnTo>
                    <a:pt x="351" y="767"/>
                  </a:lnTo>
                  <a:lnTo>
                    <a:pt x="334" y="777"/>
                  </a:lnTo>
                  <a:lnTo>
                    <a:pt x="316" y="788"/>
                  </a:lnTo>
                  <a:lnTo>
                    <a:pt x="295" y="798"/>
                  </a:lnTo>
                  <a:lnTo>
                    <a:pt x="274" y="809"/>
                  </a:lnTo>
                  <a:lnTo>
                    <a:pt x="249" y="816"/>
                  </a:lnTo>
                  <a:lnTo>
                    <a:pt x="228" y="826"/>
                  </a:lnTo>
                  <a:lnTo>
                    <a:pt x="200" y="833"/>
                  </a:lnTo>
                  <a:lnTo>
                    <a:pt x="176" y="837"/>
                  </a:lnTo>
                  <a:lnTo>
                    <a:pt x="169" y="837"/>
                  </a:lnTo>
                  <a:lnTo>
                    <a:pt x="169" y="840"/>
                  </a:lnTo>
                  <a:cubicBezTo>
                    <a:pt x="151" y="914"/>
                    <a:pt x="134" y="980"/>
                    <a:pt x="162" y="1015"/>
                  </a:cubicBezTo>
                  <a:cubicBezTo>
                    <a:pt x="242" y="1113"/>
                    <a:pt x="204" y="1222"/>
                    <a:pt x="172" y="1323"/>
                  </a:cubicBezTo>
                  <a:cubicBezTo>
                    <a:pt x="165" y="1348"/>
                    <a:pt x="155" y="1372"/>
                    <a:pt x="148" y="1397"/>
                  </a:cubicBezTo>
                  <a:lnTo>
                    <a:pt x="176" y="1400"/>
                  </a:lnTo>
                  <a:lnTo>
                    <a:pt x="186" y="1400"/>
                  </a:lnTo>
                  <a:lnTo>
                    <a:pt x="211" y="1404"/>
                  </a:lnTo>
                  <a:lnTo>
                    <a:pt x="221" y="1404"/>
                  </a:lnTo>
                  <a:lnTo>
                    <a:pt x="242" y="1411"/>
                  </a:lnTo>
                  <a:lnTo>
                    <a:pt x="253" y="1411"/>
                  </a:lnTo>
                  <a:lnTo>
                    <a:pt x="274" y="1418"/>
                  </a:lnTo>
                  <a:lnTo>
                    <a:pt x="281" y="1421"/>
                  </a:lnTo>
                  <a:lnTo>
                    <a:pt x="299" y="1428"/>
                  </a:lnTo>
                  <a:lnTo>
                    <a:pt x="306" y="1432"/>
                  </a:lnTo>
                  <a:lnTo>
                    <a:pt x="323" y="1439"/>
                  </a:lnTo>
                  <a:lnTo>
                    <a:pt x="327" y="1439"/>
                  </a:lnTo>
                  <a:cubicBezTo>
                    <a:pt x="341" y="1446"/>
                    <a:pt x="351" y="1453"/>
                    <a:pt x="362" y="1460"/>
                  </a:cubicBezTo>
                  <a:lnTo>
                    <a:pt x="365" y="1463"/>
                  </a:lnTo>
                  <a:lnTo>
                    <a:pt x="372" y="1474"/>
                  </a:lnTo>
                  <a:lnTo>
                    <a:pt x="383" y="1481"/>
                  </a:lnTo>
                  <a:lnTo>
                    <a:pt x="390" y="1488"/>
                  </a:lnTo>
                  <a:lnTo>
                    <a:pt x="397" y="1495"/>
                  </a:lnTo>
                  <a:lnTo>
                    <a:pt x="404" y="1502"/>
                  </a:lnTo>
                  <a:lnTo>
                    <a:pt x="411" y="1512"/>
                  </a:lnTo>
                  <a:lnTo>
                    <a:pt x="418" y="1519"/>
                  </a:lnTo>
                  <a:lnTo>
                    <a:pt x="425" y="1526"/>
                  </a:lnTo>
                  <a:lnTo>
                    <a:pt x="428" y="1533"/>
                  </a:lnTo>
                  <a:lnTo>
                    <a:pt x="432" y="1544"/>
                  </a:lnTo>
                  <a:lnTo>
                    <a:pt x="435" y="1547"/>
                  </a:lnTo>
                  <a:lnTo>
                    <a:pt x="442" y="1558"/>
                  </a:lnTo>
                  <a:lnTo>
                    <a:pt x="446" y="1565"/>
                  </a:lnTo>
                  <a:lnTo>
                    <a:pt x="449" y="1575"/>
                  </a:lnTo>
                  <a:cubicBezTo>
                    <a:pt x="495" y="1698"/>
                    <a:pt x="467" y="1838"/>
                    <a:pt x="376" y="1929"/>
                  </a:cubicBezTo>
                  <a:lnTo>
                    <a:pt x="358" y="1943"/>
                  </a:lnTo>
                  <a:lnTo>
                    <a:pt x="355" y="1950"/>
                  </a:lnTo>
                  <a:lnTo>
                    <a:pt x="344" y="1961"/>
                  </a:lnTo>
                  <a:lnTo>
                    <a:pt x="337" y="1968"/>
                  </a:lnTo>
                  <a:lnTo>
                    <a:pt x="323" y="1982"/>
                  </a:lnTo>
                  <a:lnTo>
                    <a:pt x="316" y="1992"/>
                  </a:lnTo>
                  <a:lnTo>
                    <a:pt x="302" y="2006"/>
                  </a:lnTo>
                  <a:lnTo>
                    <a:pt x="295" y="2017"/>
                  </a:lnTo>
                  <a:lnTo>
                    <a:pt x="278" y="2034"/>
                  </a:lnTo>
                  <a:lnTo>
                    <a:pt x="270" y="2045"/>
                  </a:lnTo>
                  <a:lnTo>
                    <a:pt x="253" y="2066"/>
                  </a:lnTo>
                  <a:lnTo>
                    <a:pt x="246" y="2076"/>
                  </a:lnTo>
                  <a:lnTo>
                    <a:pt x="228" y="2097"/>
                  </a:lnTo>
                  <a:lnTo>
                    <a:pt x="218" y="2111"/>
                  </a:lnTo>
                  <a:lnTo>
                    <a:pt x="200" y="2132"/>
                  </a:lnTo>
                  <a:lnTo>
                    <a:pt x="190" y="2146"/>
                  </a:lnTo>
                  <a:lnTo>
                    <a:pt x="172" y="2171"/>
                  </a:lnTo>
                  <a:lnTo>
                    <a:pt x="162" y="2185"/>
                  </a:lnTo>
                  <a:lnTo>
                    <a:pt x="144" y="2213"/>
                  </a:lnTo>
                  <a:lnTo>
                    <a:pt x="134" y="2227"/>
                  </a:lnTo>
                  <a:lnTo>
                    <a:pt x="116" y="2255"/>
                  </a:lnTo>
                  <a:lnTo>
                    <a:pt x="106" y="2265"/>
                  </a:lnTo>
                  <a:lnTo>
                    <a:pt x="81" y="2304"/>
                  </a:lnTo>
                  <a:lnTo>
                    <a:pt x="78" y="2307"/>
                  </a:lnTo>
                  <a:lnTo>
                    <a:pt x="50" y="2353"/>
                  </a:lnTo>
                  <a:lnTo>
                    <a:pt x="25" y="2395"/>
                  </a:lnTo>
                  <a:lnTo>
                    <a:pt x="18" y="2409"/>
                  </a:lnTo>
                  <a:lnTo>
                    <a:pt x="1" y="2437"/>
                  </a:lnTo>
                  <a:lnTo>
                    <a:pt x="43" y="2619"/>
                  </a:lnTo>
                  <a:lnTo>
                    <a:pt x="474" y="2853"/>
                  </a:lnTo>
                  <a:cubicBezTo>
                    <a:pt x="572" y="2787"/>
                    <a:pt x="848" y="2605"/>
                    <a:pt x="988" y="2584"/>
                  </a:cubicBezTo>
                  <a:lnTo>
                    <a:pt x="995" y="2584"/>
                  </a:lnTo>
                  <a:cubicBezTo>
                    <a:pt x="1030" y="2573"/>
                    <a:pt x="1163" y="2521"/>
                    <a:pt x="1667" y="2262"/>
                  </a:cubicBezTo>
                  <a:lnTo>
                    <a:pt x="1727" y="2234"/>
                  </a:lnTo>
                  <a:cubicBezTo>
                    <a:pt x="2196" y="1989"/>
                    <a:pt x="2732" y="1701"/>
                    <a:pt x="2830" y="1652"/>
                  </a:cubicBezTo>
                  <a:cubicBezTo>
                    <a:pt x="2896" y="1544"/>
                    <a:pt x="2949" y="1425"/>
                    <a:pt x="2942" y="1393"/>
                  </a:cubicBezTo>
                  <a:cubicBezTo>
                    <a:pt x="2924" y="1327"/>
                    <a:pt x="2886" y="1043"/>
                    <a:pt x="2998" y="903"/>
                  </a:cubicBezTo>
                  <a:cubicBezTo>
                    <a:pt x="3015" y="882"/>
                    <a:pt x="3001" y="837"/>
                    <a:pt x="2973" y="767"/>
                  </a:cubicBezTo>
                  <a:cubicBezTo>
                    <a:pt x="2942" y="683"/>
                    <a:pt x="2903" y="578"/>
                    <a:pt x="2945" y="469"/>
                  </a:cubicBezTo>
                  <a:cubicBezTo>
                    <a:pt x="3012" y="287"/>
                    <a:pt x="3264" y="193"/>
                    <a:pt x="3320" y="172"/>
                  </a:cubicBezTo>
                  <a:lnTo>
                    <a:pt x="3530" y="21"/>
                  </a:lnTo>
                  <a:lnTo>
                    <a:pt x="34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2" name="Google Shape;4542;p53"/>
            <p:cNvSpPr/>
            <p:nvPr/>
          </p:nvSpPr>
          <p:spPr>
            <a:xfrm>
              <a:off x="2314625" y="17721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3" name="Google Shape;4543;p53"/>
            <p:cNvSpPr/>
            <p:nvPr/>
          </p:nvSpPr>
          <p:spPr>
            <a:xfrm>
              <a:off x="2313770" y="1779334"/>
              <a:ext cx="190" cy="204"/>
            </a:xfrm>
            <a:custGeom>
              <a:avLst/>
              <a:gdLst/>
              <a:ahLst/>
              <a:cxnLst/>
              <a:rect l="l" t="t" r="r" b="b"/>
              <a:pathLst>
                <a:path w="14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4" name="Google Shape;4544;p53"/>
            <p:cNvSpPr/>
            <p:nvPr/>
          </p:nvSpPr>
          <p:spPr>
            <a:xfrm>
              <a:off x="2315671" y="177342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5" name="Google Shape;4545;p53"/>
            <p:cNvSpPr/>
            <p:nvPr/>
          </p:nvSpPr>
          <p:spPr>
            <a:xfrm>
              <a:off x="2315521" y="177323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6" name="Google Shape;4546;p53"/>
            <p:cNvSpPr/>
            <p:nvPr/>
          </p:nvSpPr>
          <p:spPr>
            <a:xfrm>
              <a:off x="2313485" y="1771527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7" name="Google Shape;4547;p53"/>
            <p:cNvSpPr/>
            <p:nvPr/>
          </p:nvSpPr>
          <p:spPr>
            <a:xfrm>
              <a:off x="2314055" y="177904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8" name="Google Shape;4548;p53"/>
            <p:cNvSpPr/>
            <p:nvPr/>
          </p:nvSpPr>
          <p:spPr>
            <a:xfrm>
              <a:off x="2314530" y="1778519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9" name="Google Shape;4549;p53"/>
            <p:cNvSpPr/>
            <p:nvPr/>
          </p:nvSpPr>
          <p:spPr>
            <a:xfrm>
              <a:off x="2313811" y="1771676"/>
              <a:ext cx="244" cy="149"/>
            </a:xfrm>
            <a:custGeom>
              <a:avLst/>
              <a:gdLst/>
              <a:ahLst/>
              <a:cxnLst/>
              <a:rect l="l" t="t" r="r" b="b"/>
              <a:pathLst>
                <a:path w="18" h="11" extrusionOk="0">
                  <a:moveTo>
                    <a:pt x="1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0" name="Google Shape;4550;p53"/>
            <p:cNvSpPr/>
            <p:nvPr/>
          </p:nvSpPr>
          <p:spPr>
            <a:xfrm>
              <a:off x="2314096" y="1771866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1"/>
                  </a:moveTo>
                  <a:cubicBezTo>
                    <a:pt x="22" y="11"/>
                    <a:pt x="11" y="4"/>
                    <a:pt x="1" y="0"/>
                  </a:cubicBezTo>
                  <a:cubicBezTo>
                    <a:pt x="11" y="4"/>
                    <a:pt x="22" y="11"/>
                    <a:pt x="32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1" name="Google Shape;4551;p53"/>
            <p:cNvSpPr/>
            <p:nvPr/>
          </p:nvSpPr>
          <p:spPr>
            <a:xfrm>
              <a:off x="2315386" y="177300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2" name="Google Shape;4552;p53"/>
            <p:cNvSpPr/>
            <p:nvPr/>
          </p:nvSpPr>
          <p:spPr>
            <a:xfrm>
              <a:off x="2315236" y="177281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3" name="Google Shape;4553;p53"/>
            <p:cNvSpPr/>
            <p:nvPr/>
          </p:nvSpPr>
          <p:spPr>
            <a:xfrm>
              <a:off x="2315046" y="177257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4" name="Google Shape;4554;p53"/>
            <p:cNvSpPr/>
            <p:nvPr/>
          </p:nvSpPr>
          <p:spPr>
            <a:xfrm>
              <a:off x="2314286" y="177870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5" name="Google Shape;4555;p53"/>
            <p:cNvSpPr/>
            <p:nvPr/>
          </p:nvSpPr>
          <p:spPr>
            <a:xfrm>
              <a:off x="2310769" y="1783081"/>
              <a:ext cx="339" cy="543"/>
            </a:xfrm>
            <a:custGeom>
              <a:avLst/>
              <a:gdLst/>
              <a:ahLst/>
              <a:cxnLst/>
              <a:rect l="l" t="t" r="r" b="b"/>
              <a:pathLst>
                <a:path w="25" h="40" extrusionOk="0">
                  <a:moveTo>
                    <a:pt x="0" y="39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6" name="Google Shape;4556;p53"/>
            <p:cNvSpPr/>
            <p:nvPr/>
          </p:nvSpPr>
          <p:spPr>
            <a:xfrm>
              <a:off x="2310335" y="1783651"/>
              <a:ext cx="394" cy="638"/>
            </a:xfrm>
            <a:custGeom>
              <a:avLst/>
              <a:gdLst/>
              <a:ahLst/>
              <a:cxnLst/>
              <a:rect l="l" t="t" r="r" b="b"/>
              <a:pathLst>
                <a:path w="29" h="47" extrusionOk="0">
                  <a:moveTo>
                    <a:pt x="1" y="46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7" name="Google Shape;4557;p53"/>
            <p:cNvSpPr/>
            <p:nvPr/>
          </p:nvSpPr>
          <p:spPr>
            <a:xfrm>
              <a:off x="2309669" y="1784982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29"/>
                  </a:moveTo>
                  <a:lnTo>
                    <a:pt x="1" y="29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8" name="Google Shape;4558;p53"/>
            <p:cNvSpPr/>
            <p:nvPr/>
          </p:nvSpPr>
          <p:spPr>
            <a:xfrm>
              <a:off x="2313430" y="1779659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9" name="Google Shape;4559;p53"/>
            <p:cNvSpPr/>
            <p:nvPr/>
          </p:nvSpPr>
          <p:spPr>
            <a:xfrm>
              <a:off x="2311190" y="178251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29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0" name="Google Shape;4560;p53"/>
            <p:cNvSpPr/>
            <p:nvPr/>
          </p:nvSpPr>
          <p:spPr>
            <a:xfrm>
              <a:off x="2314856" y="177238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1" name="Google Shape;4561;p53"/>
            <p:cNvSpPr/>
            <p:nvPr/>
          </p:nvSpPr>
          <p:spPr>
            <a:xfrm>
              <a:off x="2313091" y="1780094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18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2" name="Google Shape;4562;p53"/>
            <p:cNvSpPr/>
            <p:nvPr/>
          </p:nvSpPr>
          <p:spPr>
            <a:xfrm>
              <a:off x="2312765" y="1780515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2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3" name="Google Shape;4563;p53"/>
            <p:cNvSpPr/>
            <p:nvPr/>
          </p:nvSpPr>
          <p:spPr>
            <a:xfrm>
              <a:off x="2312385" y="1780990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2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4" name="Google Shape;4564;p53"/>
            <p:cNvSpPr/>
            <p:nvPr/>
          </p:nvSpPr>
          <p:spPr>
            <a:xfrm>
              <a:off x="2312005" y="1781465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0" y="2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5" name="Google Shape;4565;p53"/>
            <p:cNvSpPr/>
            <p:nvPr/>
          </p:nvSpPr>
          <p:spPr>
            <a:xfrm>
              <a:off x="2311625" y="1781995"/>
              <a:ext cx="244" cy="339"/>
            </a:xfrm>
            <a:custGeom>
              <a:avLst/>
              <a:gdLst/>
              <a:ahLst/>
              <a:cxnLst/>
              <a:rect l="l" t="t" r="r" b="b"/>
              <a:pathLst>
                <a:path w="18" h="25" extrusionOk="0">
                  <a:moveTo>
                    <a:pt x="0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6" name="Google Shape;4566;p53"/>
            <p:cNvSpPr/>
            <p:nvPr/>
          </p:nvSpPr>
          <p:spPr>
            <a:xfrm>
              <a:off x="2309955" y="1784276"/>
              <a:ext cx="394" cy="584"/>
            </a:xfrm>
            <a:custGeom>
              <a:avLst/>
              <a:gdLst/>
              <a:ahLst/>
              <a:cxnLst/>
              <a:rect l="l" t="t" r="r" b="b"/>
              <a:pathLst>
                <a:path w="29" h="43" extrusionOk="0">
                  <a:moveTo>
                    <a:pt x="1" y="42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7" name="Google Shape;4567;p53"/>
            <p:cNvSpPr/>
            <p:nvPr/>
          </p:nvSpPr>
          <p:spPr>
            <a:xfrm>
              <a:off x="2312141" y="1771241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8" name="Google Shape;4568;p53"/>
            <p:cNvSpPr/>
            <p:nvPr/>
          </p:nvSpPr>
          <p:spPr>
            <a:xfrm>
              <a:off x="2312616" y="177129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9" name="Google Shape;4569;p53"/>
            <p:cNvSpPr/>
            <p:nvPr/>
          </p:nvSpPr>
          <p:spPr>
            <a:xfrm>
              <a:off x="2311665" y="177114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0" name="Google Shape;4570;p53"/>
            <p:cNvSpPr/>
            <p:nvPr/>
          </p:nvSpPr>
          <p:spPr>
            <a:xfrm>
              <a:off x="2313050" y="1771431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1" name="Google Shape;4571;p53"/>
            <p:cNvSpPr/>
            <p:nvPr/>
          </p:nvSpPr>
          <p:spPr>
            <a:xfrm>
              <a:off x="2978891" y="1743340"/>
              <a:ext cx="24684" cy="32355"/>
            </a:xfrm>
            <a:custGeom>
              <a:avLst/>
              <a:gdLst/>
              <a:ahLst/>
              <a:cxnLst/>
              <a:rect l="l" t="t" r="r" b="b"/>
              <a:pathLst>
                <a:path w="1818" h="2383" extrusionOk="0">
                  <a:moveTo>
                    <a:pt x="1135" y="1"/>
                  </a:moveTo>
                  <a:lnTo>
                    <a:pt x="1114" y="15"/>
                  </a:lnTo>
                  <a:lnTo>
                    <a:pt x="1103" y="22"/>
                  </a:lnTo>
                  <a:cubicBezTo>
                    <a:pt x="1089" y="29"/>
                    <a:pt x="1079" y="32"/>
                    <a:pt x="1065" y="39"/>
                  </a:cubicBezTo>
                  <a:lnTo>
                    <a:pt x="1058" y="43"/>
                  </a:lnTo>
                  <a:lnTo>
                    <a:pt x="1030" y="57"/>
                  </a:lnTo>
                  <a:lnTo>
                    <a:pt x="1016" y="60"/>
                  </a:lnTo>
                  <a:lnTo>
                    <a:pt x="991" y="67"/>
                  </a:lnTo>
                  <a:lnTo>
                    <a:pt x="977" y="71"/>
                  </a:lnTo>
                  <a:lnTo>
                    <a:pt x="953" y="78"/>
                  </a:lnTo>
                  <a:lnTo>
                    <a:pt x="935" y="81"/>
                  </a:lnTo>
                  <a:lnTo>
                    <a:pt x="911" y="85"/>
                  </a:lnTo>
                  <a:lnTo>
                    <a:pt x="851" y="85"/>
                  </a:lnTo>
                  <a:cubicBezTo>
                    <a:pt x="536" y="85"/>
                    <a:pt x="434" y="141"/>
                    <a:pt x="403" y="172"/>
                  </a:cubicBezTo>
                  <a:cubicBezTo>
                    <a:pt x="354" y="211"/>
                    <a:pt x="305" y="249"/>
                    <a:pt x="256" y="284"/>
                  </a:cubicBezTo>
                  <a:lnTo>
                    <a:pt x="196" y="330"/>
                  </a:lnTo>
                  <a:lnTo>
                    <a:pt x="182" y="340"/>
                  </a:lnTo>
                  <a:cubicBezTo>
                    <a:pt x="161" y="354"/>
                    <a:pt x="137" y="372"/>
                    <a:pt x="116" y="386"/>
                  </a:cubicBezTo>
                  <a:cubicBezTo>
                    <a:pt x="130" y="414"/>
                    <a:pt x="137" y="445"/>
                    <a:pt x="144" y="473"/>
                  </a:cubicBezTo>
                  <a:cubicBezTo>
                    <a:pt x="168" y="561"/>
                    <a:pt x="182" y="593"/>
                    <a:pt x="210" y="593"/>
                  </a:cubicBezTo>
                  <a:cubicBezTo>
                    <a:pt x="364" y="603"/>
                    <a:pt x="445" y="782"/>
                    <a:pt x="347" y="904"/>
                  </a:cubicBezTo>
                  <a:cubicBezTo>
                    <a:pt x="313" y="943"/>
                    <a:pt x="264" y="965"/>
                    <a:pt x="212" y="965"/>
                  </a:cubicBezTo>
                  <a:cubicBezTo>
                    <a:pt x="194" y="965"/>
                    <a:pt x="176" y="962"/>
                    <a:pt x="158" y="957"/>
                  </a:cubicBezTo>
                  <a:cubicBezTo>
                    <a:pt x="152" y="955"/>
                    <a:pt x="146" y="955"/>
                    <a:pt x="142" y="955"/>
                  </a:cubicBezTo>
                  <a:cubicBezTo>
                    <a:pt x="122" y="955"/>
                    <a:pt x="115" y="964"/>
                    <a:pt x="112" y="967"/>
                  </a:cubicBezTo>
                  <a:cubicBezTo>
                    <a:pt x="77" y="1020"/>
                    <a:pt x="91" y="1188"/>
                    <a:pt x="203" y="1359"/>
                  </a:cubicBezTo>
                  <a:cubicBezTo>
                    <a:pt x="315" y="1531"/>
                    <a:pt x="193" y="1716"/>
                    <a:pt x="102" y="1846"/>
                  </a:cubicBezTo>
                  <a:cubicBezTo>
                    <a:pt x="60" y="1905"/>
                    <a:pt x="0" y="1993"/>
                    <a:pt x="18" y="2010"/>
                  </a:cubicBezTo>
                  <a:cubicBezTo>
                    <a:pt x="116" y="2108"/>
                    <a:pt x="109" y="2220"/>
                    <a:pt x="102" y="2301"/>
                  </a:cubicBezTo>
                  <a:cubicBezTo>
                    <a:pt x="98" y="2325"/>
                    <a:pt x="98" y="2350"/>
                    <a:pt x="102" y="2378"/>
                  </a:cubicBezTo>
                  <a:cubicBezTo>
                    <a:pt x="113" y="2381"/>
                    <a:pt x="130" y="2383"/>
                    <a:pt x="151" y="2383"/>
                  </a:cubicBezTo>
                  <a:cubicBezTo>
                    <a:pt x="325" y="2383"/>
                    <a:pt x="810" y="2278"/>
                    <a:pt x="1047" y="2035"/>
                  </a:cubicBezTo>
                  <a:cubicBezTo>
                    <a:pt x="1256" y="1821"/>
                    <a:pt x="1372" y="1762"/>
                    <a:pt x="1482" y="1762"/>
                  </a:cubicBezTo>
                  <a:cubicBezTo>
                    <a:pt x="1528" y="1762"/>
                    <a:pt x="1574" y="1773"/>
                    <a:pt x="1625" y="1786"/>
                  </a:cubicBezTo>
                  <a:lnTo>
                    <a:pt x="1646" y="1793"/>
                  </a:lnTo>
                  <a:cubicBezTo>
                    <a:pt x="1657" y="1796"/>
                    <a:pt x="1669" y="1798"/>
                    <a:pt x="1680" y="1798"/>
                  </a:cubicBezTo>
                  <a:cubicBezTo>
                    <a:pt x="1724" y="1798"/>
                    <a:pt x="1765" y="1776"/>
                    <a:pt x="1793" y="1737"/>
                  </a:cubicBezTo>
                  <a:cubicBezTo>
                    <a:pt x="1814" y="1716"/>
                    <a:pt x="1817" y="1681"/>
                    <a:pt x="1800" y="1657"/>
                  </a:cubicBezTo>
                  <a:cubicBezTo>
                    <a:pt x="1709" y="1520"/>
                    <a:pt x="1618" y="1198"/>
                    <a:pt x="1642" y="827"/>
                  </a:cubicBezTo>
                  <a:cubicBezTo>
                    <a:pt x="1653" y="673"/>
                    <a:pt x="1464" y="368"/>
                    <a:pt x="11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2" name="Google Shape;4572;p53"/>
            <p:cNvSpPr/>
            <p:nvPr/>
          </p:nvSpPr>
          <p:spPr>
            <a:xfrm>
              <a:off x="2700253" y="1844234"/>
              <a:ext cx="29287" cy="39198"/>
            </a:xfrm>
            <a:custGeom>
              <a:avLst/>
              <a:gdLst/>
              <a:ahLst/>
              <a:cxnLst/>
              <a:rect l="l" t="t" r="r" b="b"/>
              <a:pathLst>
                <a:path w="2157" h="2887" extrusionOk="0">
                  <a:moveTo>
                    <a:pt x="121" y="0"/>
                  </a:moveTo>
                  <a:cubicBezTo>
                    <a:pt x="98" y="0"/>
                    <a:pt x="76" y="25"/>
                    <a:pt x="28" y="90"/>
                  </a:cubicBezTo>
                  <a:cubicBezTo>
                    <a:pt x="18" y="104"/>
                    <a:pt x="0" y="132"/>
                    <a:pt x="4" y="149"/>
                  </a:cubicBezTo>
                  <a:cubicBezTo>
                    <a:pt x="14" y="188"/>
                    <a:pt x="105" y="233"/>
                    <a:pt x="175" y="261"/>
                  </a:cubicBezTo>
                  <a:cubicBezTo>
                    <a:pt x="291" y="314"/>
                    <a:pt x="445" y="387"/>
                    <a:pt x="399" y="531"/>
                  </a:cubicBezTo>
                  <a:cubicBezTo>
                    <a:pt x="350" y="674"/>
                    <a:pt x="249" y="688"/>
                    <a:pt x="182" y="702"/>
                  </a:cubicBezTo>
                  <a:cubicBezTo>
                    <a:pt x="116" y="713"/>
                    <a:pt x="112" y="720"/>
                    <a:pt x="105" y="751"/>
                  </a:cubicBezTo>
                  <a:cubicBezTo>
                    <a:pt x="81" y="881"/>
                    <a:pt x="130" y="1252"/>
                    <a:pt x="214" y="1487"/>
                  </a:cubicBezTo>
                  <a:cubicBezTo>
                    <a:pt x="221" y="1501"/>
                    <a:pt x="228" y="1518"/>
                    <a:pt x="235" y="1529"/>
                  </a:cubicBezTo>
                  <a:lnTo>
                    <a:pt x="242" y="1550"/>
                  </a:lnTo>
                  <a:lnTo>
                    <a:pt x="249" y="1564"/>
                  </a:lnTo>
                  <a:lnTo>
                    <a:pt x="256" y="1585"/>
                  </a:lnTo>
                  <a:lnTo>
                    <a:pt x="263" y="1606"/>
                  </a:lnTo>
                  <a:lnTo>
                    <a:pt x="270" y="1630"/>
                  </a:lnTo>
                  <a:lnTo>
                    <a:pt x="277" y="1651"/>
                  </a:lnTo>
                  <a:lnTo>
                    <a:pt x="287" y="1676"/>
                  </a:lnTo>
                  <a:lnTo>
                    <a:pt x="294" y="1704"/>
                  </a:lnTo>
                  <a:lnTo>
                    <a:pt x="301" y="1728"/>
                  </a:lnTo>
                  <a:lnTo>
                    <a:pt x="308" y="1760"/>
                  </a:lnTo>
                  <a:lnTo>
                    <a:pt x="319" y="1788"/>
                  </a:lnTo>
                  <a:lnTo>
                    <a:pt x="326" y="1816"/>
                  </a:lnTo>
                  <a:lnTo>
                    <a:pt x="333" y="1847"/>
                  </a:lnTo>
                  <a:lnTo>
                    <a:pt x="340" y="1879"/>
                  </a:lnTo>
                  <a:lnTo>
                    <a:pt x="347" y="1910"/>
                  </a:lnTo>
                  <a:lnTo>
                    <a:pt x="354" y="1945"/>
                  </a:lnTo>
                  <a:lnTo>
                    <a:pt x="361" y="1977"/>
                  </a:lnTo>
                  <a:lnTo>
                    <a:pt x="368" y="2012"/>
                  </a:lnTo>
                  <a:lnTo>
                    <a:pt x="375" y="2043"/>
                  </a:lnTo>
                  <a:lnTo>
                    <a:pt x="382" y="2082"/>
                  </a:lnTo>
                  <a:cubicBezTo>
                    <a:pt x="385" y="2092"/>
                    <a:pt x="385" y="2103"/>
                    <a:pt x="389" y="2113"/>
                  </a:cubicBezTo>
                  <a:cubicBezTo>
                    <a:pt x="389" y="2127"/>
                    <a:pt x="392" y="2141"/>
                    <a:pt x="392" y="2152"/>
                  </a:cubicBezTo>
                  <a:cubicBezTo>
                    <a:pt x="396" y="2166"/>
                    <a:pt x="396" y="2176"/>
                    <a:pt x="399" y="2187"/>
                  </a:cubicBezTo>
                  <a:cubicBezTo>
                    <a:pt x="399" y="2197"/>
                    <a:pt x="403" y="2215"/>
                    <a:pt x="406" y="2225"/>
                  </a:cubicBezTo>
                  <a:cubicBezTo>
                    <a:pt x="406" y="2239"/>
                    <a:pt x="410" y="2250"/>
                    <a:pt x="410" y="2260"/>
                  </a:cubicBezTo>
                  <a:cubicBezTo>
                    <a:pt x="410" y="2271"/>
                    <a:pt x="413" y="2288"/>
                    <a:pt x="413" y="2306"/>
                  </a:cubicBezTo>
                  <a:lnTo>
                    <a:pt x="417" y="2341"/>
                  </a:lnTo>
                  <a:cubicBezTo>
                    <a:pt x="417" y="2362"/>
                    <a:pt x="424" y="2383"/>
                    <a:pt x="424" y="2404"/>
                  </a:cubicBezTo>
                  <a:lnTo>
                    <a:pt x="424" y="2435"/>
                  </a:lnTo>
                  <a:cubicBezTo>
                    <a:pt x="424" y="2446"/>
                    <a:pt x="424" y="2460"/>
                    <a:pt x="427" y="2470"/>
                  </a:cubicBezTo>
                  <a:cubicBezTo>
                    <a:pt x="452" y="2463"/>
                    <a:pt x="480" y="2453"/>
                    <a:pt x="501" y="2442"/>
                  </a:cubicBezTo>
                  <a:cubicBezTo>
                    <a:pt x="574" y="2411"/>
                    <a:pt x="652" y="2393"/>
                    <a:pt x="729" y="2390"/>
                  </a:cubicBezTo>
                  <a:cubicBezTo>
                    <a:pt x="1086" y="2390"/>
                    <a:pt x="1096" y="2278"/>
                    <a:pt x="1100" y="2239"/>
                  </a:cubicBezTo>
                  <a:cubicBezTo>
                    <a:pt x="1114" y="2113"/>
                    <a:pt x="1187" y="2001"/>
                    <a:pt x="1299" y="1938"/>
                  </a:cubicBezTo>
                  <a:cubicBezTo>
                    <a:pt x="1341" y="1914"/>
                    <a:pt x="1390" y="1900"/>
                    <a:pt x="1439" y="1900"/>
                  </a:cubicBezTo>
                  <a:cubicBezTo>
                    <a:pt x="1471" y="1900"/>
                    <a:pt x="1499" y="1907"/>
                    <a:pt x="1527" y="1921"/>
                  </a:cubicBezTo>
                  <a:cubicBezTo>
                    <a:pt x="1677" y="1994"/>
                    <a:pt x="1845" y="2488"/>
                    <a:pt x="1856" y="2719"/>
                  </a:cubicBezTo>
                  <a:cubicBezTo>
                    <a:pt x="1859" y="2778"/>
                    <a:pt x="1873" y="2834"/>
                    <a:pt x="1898" y="2887"/>
                  </a:cubicBezTo>
                  <a:lnTo>
                    <a:pt x="1901" y="2883"/>
                  </a:lnTo>
                  <a:lnTo>
                    <a:pt x="1929" y="2862"/>
                  </a:lnTo>
                  <a:lnTo>
                    <a:pt x="1933" y="2859"/>
                  </a:lnTo>
                  <a:lnTo>
                    <a:pt x="1961" y="2838"/>
                  </a:lnTo>
                  <a:lnTo>
                    <a:pt x="1971" y="2827"/>
                  </a:lnTo>
                  <a:lnTo>
                    <a:pt x="1985" y="2817"/>
                  </a:lnTo>
                  <a:lnTo>
                    <a:pt x="1996" y="2810"/>
                  </a:lnTo>
                  <a:lnTo>
                    <a:pt x="2003" y="2806"/>
                  </a:lnTo>
                  <a:lnTo>
                    <a:pt x="2013" y="2799"/>
                  </a:lnTo>
                  <a:cubicBezTo>
                    <a:pt x="2041" y="2677"/>
                    <a:pt x="2090" y="2565"/>
                    <a:pt x="2157" y="2460"/>
                  </a:cubicBezTo>
                  <a:lnTo>
                    <a:pt x="2150" y="2425"/>
                  </a:lnTo>
                  <a:cubicBezTo>
                    <a:pt x="2150" y="2411"/>
                    <a:pt x="2146" y="2390"/>
                    <a:pt x="2143" y="2365"/>
                  </a:cubicBezTo>
                  <a:lnTo>
                    <a:pt x="2132" y="2313"/>
                  </a:lnTo>
                  <a:lnTo>
                    <a:pt x="2125" y="2257"/>
                  </a:lnTo>
                  <a:lnTo>
                    <a:pt x="2115" y="2194"/>
                  </a:lnTo>
                  <a:lnTo>
                    <a:pt x="2108" y="2148"/>
                  </a:lnTo>
                  <a:lnTo>
                    <a:pt x="2090" y="2047"/>
                  </a:lnTo>
                  <a:cubicBezTo>
                    <a:pt x="2059" y="1844"/>
                    <a:pt x="2024" y="1620"/>
                    <a:pt x="1992" y="1522"/>
                  </a:cubicBezTo>
                  <a:cubicBezTo>
                    <a:pt x="1971" y="1553"/>
                    <a:pt x="1943" y="1602"/>
                    <a:pt x="1922" y="1637"/>
                  </a:cubicBezTo>
                  <a:cubicBezTo>
                    <a:pt x="1845" y="1770"/>
                    <a:pt x="1758" y="1924"/>
                    <a:pt x="1634" y="1924"/>
                  </a:cubicBezTo>
                  <a:cubicBezTo>
                    <a:pt x="1624" y="1924"/>
                    <a:pt x="1614" y="1923"/>
                    <a:pt x="1604" y="1921"/>
                  </a:cubicBezTo>
                  <a:cubicBezTo>
                    <a:pt x="1453" y="1889"/>
                    <a:pt x="1418" y="1651"/>
                    <a:pt x="1436" y="1497"/>
                  </a:cubicBezTo>
                  <a:cubicBezTo>
                    <a:pt x="1453" y="1311"/>
                    <a:pt x="1534" y="1199"/>
                    <a:pt x="1649" y="1199"/>
                  </a:cubicBezTo>
                  <a:cubicBezTo>
                    <a:pt x="1789" y="1199"/>
                    <a:pt x="2010" y="821"/>
                    <a:pt x="2010" y="709"/>
                  </a:cubicBezTo>
                  <a:cubicBezTo>
                    <a:pt x="2010" y="643"/>
                    <a:pt x="1821" y="643"/>
                    <a:pt x="1681" y="643"/>
                  </a:cubicBezTo>
                  <a:cubicBezTo>
                    <a:pt x="1488" y="643"/>
                    <a:pt x="1068" y="674"/>
                    <a:pt x="1065" y="674"/>
                  </a:cubicBezTo>
                  <a:lnTo>
                    <a:pt x="1051" y="674"/>
                  </a:lnTo>
                  <a:lnTo>
                    <a:pt x="1037" y="671"/>
                  </a:lnTo>
                  <a:cubicBezTo>
                    <a:pt x="1005" y="657"/>
                    <a:pt x="729" y="548"/>
                    <a:pt x="729" y="345"/>
                  </a:cubicBezTo>
                  <a:cubicBezTo>
                    <a:pt x="729" y="195"/>
                    <a:pt x="631" y="118"/>
                    <a:pt x="434" y="118"/>
                  </a:cubicBezTo>
                  <a:cubicBezTo>
                    <a:pt x="343" y="114"/>
                    <a:pt x="252" y="86"/>
                    <a:pt x="179" y="30"/>
                  </a:cubicBezTo>
                  <a:cubicBezTo>
                    <a:pt x="153" y="12"/>
                    <a:pt x="137" y="0"/>
                    <a:pt x="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3" name="Google Shape;4573;p53"/>
            <p:cNvSpPr/>
            <p:nvPr/>
          </p:nvSpPr>
          <p:spPr>
            <a:xfrm>
              <a:off x="2556128" y="1768064"/>
              <a:ext cx="203975" cy="215624"/>
            </a:xfrm>
            <a:custGeom>
              <a:avLst/>
              <a:gdLst/>
              <a:ahLst/>
              <a:cxnLst/>
              <a:rect l="l" t="t" r="r" b="b"/>
              <a:pathLst>
                <a:path w="15023" h="15881" extrusionOk="0">
                  <a:moveTo>
                    <a:pt x="5109" y="0"/>
                  </a:moveTo>
                  <a:lnTo>
                    <a:pt x="4958" y="14"/>
                  </a:lnTo>
                  <a:cubicBezTo>
                    <a:pt x="4951" y="35"/>
                    <a:pt x="4940" y="60"/>
                    <a:pt x="4933" y="81"/>
                  </a:cubicBezTo>
                  <a:lnTo>
                    <a:pt x="4923" y="105"/>
                  </a:lnTo>
                  <a:cubicBezTo>
                    <a:pt x="4891" y="175"/>
                    <a:pt x="4860" y="238"/>
                    <a:pt x="4818" y="301"/>
                  </a:cubicBezTo>
                  <a:cubicBezTo>
                    <a:pt x="4769" y="378"/>
                    <a:pt x="4741" y="396"/>
                    <a:pt x="4727" y="403"/>
                  </a:cubicBezTo>
                  <a:cubicBezTo>
                    <a:pt x="4674" y="424"/>
                    <a:pt x="4622" y="441"/>
                    <a:pt x="4569" y="459"/>
                  </a:cubicBezTo>
                  <a:cubicBezTo>
                    <a:pt x="4450" y="497"/>
                    <a:pt x="4286" y="546"/>
                    <a:pt x="4195" y="613"/>
                  </a:cubicBezTo>
                  <a:cubicBezTo>
                    <a:pt x="4163" y="634"/>
                    <a:pt x="4128" y="644"/>
                    <a:pt x="4093" y="648"/>
                  </a:cubicBezTo>
                  <a:lnTo>
                    <a:pt x="4065" y="648"/>
                  </a:lnTo>
                  <a:cubicBezTo>
                    <a:pt x="4061" y="648"/>
                    <a:pt x="4057" y="648"/>
                    <a:pt x="4053" y="648"/>
                  </a:cubicBezTo>
                  <a:cubicBezTo>
                    <a:pt x="3947" y="648"/>
                    <a:pt x="3815" y="604"/>
                    <a:pt x="3677" y="557"/>
                  </a:cubicBezTo>
                  <a:cubicBezTo>
                    <a:pt x="3600" y="532"/>
                    <a:pt x="3519" y="504"/>
                    <a:pt x="3449" y="487"/>
                  </a:cubicBezTo>
                  <a:cubicBezTo>
                    <a:pt x="3411" y="480"/>
                    <a:pt x="3376" y="473"/>
                    <a:pt x="3337" y="473"/>
                  </a:cubicBezTo>
                  <a:cubicBezTo>
                    <a:pt x="3204" y="473"/>
                    <a:pt x="3106" y="564"/>
                    <a:pt x="3089" y="627"/>
                  </a:cubicBezTo>
                  <a:cubicBezTo>
                    <a:pt x="3089" y="634"/>
                    <a:pt x="3082" y="648"/>
                    <a:pt x="3089" y="651"/>
                  </a:cubicBezTo>
                  <a:cubicBezTo>
                    <a:pt x="3215" y="728"/>
                    <a:pt x="3215" y="1068"/>
                    <a:pt x="3208" y="1222"/>
                  </a:cubicBezTo>
                  <a:cubicBezTo>
                    <a:pt x="3258" y="1445"/>
                    <a:pt x="3368" y="1682"/>
                    <a:pt x="3442" y="1682"/>
                  </a:cubicBezTo>
                  <a:cubicBezTo>
                    <a:pt x="3444" y="1682"/>
                    <a:pt x="3447" y="1681"/>
                    <a:pt x="3449" y="1681"/>
                  </a:cubicBezTo>
                  <a:cubicBezTo>
                    <a:pt x="3468" y="1677"/>
                    <a:pt x="3488" y="1675"/>
                    <a:pt x="3507" y="1675"/>
                  </a:cubicBezTo>
                  <a:cubicBezTo>
                    <a:pt x="3658" y="1675"/>
                    <a:pt x="3820" y="1786"/>
                    <a:pt x="3845" y="1891"/>
                  </a:cubicBezTo>
                  <a:cubicBezTo>
                    <a:pt x="3862" y="1964"/>
                    <a:pt x="3813" y="2038"/>
                    <a:pt x="3736" y="2045"/>
                  </a:cubicBezTo>
                  <a:cubicBezTo>
                    <a:pt x="3596" y="2083"/>
                    <a:pt x="3526" y="2255"/>
                    <a:pt x="3505" y="2402"/>
                  </a:cubicBezTo>
                  <a:cubicBezTo>
                    <a:pt x="3502" y="2447"/>
                    <a:pt x="3498" y="2493"/>
                    <a:pt x="3498" y="2538"/>
                  </a:cubicBezTo>
                  <a:cubicBezTo>
                    <a:pt x="3495" y="2682"/>
                    <a:pt x="3491" y="2843"/>
                    <a:pt x="3344" y="2868"/>
                  </a:cubicBezTo>
                  <a:cubicBezTo>
                    <a:pt x="3225" y="2889"/>
                    <a:pt x="3141" y="2917"/>
                    <a:pt x="3141" y="3106"/>
                  </a:cubicBezTo>
                  <a:cubicBezTo>
                    <a:pt x="3141" y="3309"/>
                    <a:pt x="2977" y="3347"/>
                    <a:pt x="2882" y="3372"/>
                  </a:cubicBezTo>
                  <a:cubicBezTo>
                    <a:pt x="2854" y="3379"/>
                    <a:pt x="2829" y="3386"/>
                    <a:pt x="2808" y="3396"/>
                  </a:cubicBezTo>
                  <a:cubicBezTo>
                    <a:pt x="2794" y="3421"/>
                    <a:pt x="2770" y="3508"/>
                    <a:pt x="2742" y="3592"/>
                  </a:cubicBezTo>
                  <a:cubicBezTo>
                    <a:pt x="2675" y="3802"/>
                    <a:pt x="2630" y="3946"/>
                    <a:pt x="2581" y="3995"/>
                  </a:cubicBezTo>
                  <a:cubicBezTo>
                    <a:pt x="2549" y="4026"/>
                    <a:pt x="2493" y="4044"/>
                    <a:pt x="2416" y="4068"/>
                  </a:cubicBezTo>
                  <a:cubicBezTo>
                    <a:pt x="2308" y="4103"/>
                    <a:pt x="2157" y="4149"/>
                    <a:pt x="2147" y="4236"/>
                  </a:cubicBezTo>
                  <a:cubicBezTo>
                    <a:pt x="2122" y="4401"/>
                    <a:pt x="2038" y="4551"/>
                    <a:pt x="1912" y="4660"/>
                  </a:cubicBezTo>
                  <a:cubicBezTo>
                    <a:pt x="1877" y="4689"/>
                    <a:pt x="1835" y="4704"/>
                    <a:pt x="1791" y="4704"/>
                  </a:cubicBezTo>
                  <a:cubicBezTo>
                    <a:pt x="1783" y="4704"/>
                    <a:pt x="1774" y="4703"/>
                    <a:pt x="1765" y="4702"/>
                  </a:cubicBezTo>
                  <a:cubicBezTo>
                    <a:pt x="1744" y="4698"/>
                    <a:pt x="1720" y="4691"/>
                    <a:pt x="1695" y="4684"/>
                  </a:cubicBezTo>
                  <a:cubicBezTo>
                    <a:pt x="1630" y="4667"/>
                    <a:pt x="1581" y="4656"/>
                    <a:pt x="1544" y="4656"/>
                  </a:cubicBezTo>
                  <a:cubicBezTo>
                    <a:pt x="1507" y="4656"/>
                    <a:pt x="1483" y="4667"/>
                    <a:pt x="1471" y="4691"/>
                  </a:cubicBezTo>
                  <a:cubicBezTo>
                    <a:pt x="1442" y="4747"/>
                    <a:pt x="1396" y="4766"/>
                    <a:pt x="1345" y="4766"/>
                  </a:cubicBezTo>
                  <a:cubicBezTo>
                    <a:pt x="1279" y="4766"/>
                    <a:pt x="1205" y="4735"/>
                    <a:pt x="1146" y="4709"/>
                  </a:cubicBezTo>
                  <a:cubicBezTo>
                    <a:pt x="1114" y="4695"/>
                    <a:pt x="1076" y="4681"/>
                    <a:pt x="1041" y="4670"/>
                  </a:cubicBezTo>
                  <a:lnTo>
                    <a:pt x="995" y="4712"/>
                  </a:lnTo>
                  <a:cubicBezTo>
                    <a:pt x="911" y="4786"/>
                    <a:pt x="655" y="5017"/>
                    <a:pt x="655" y="5136"/>
                  </a:cubicBezTo>
                  <a:cubicBezTo>
                    <a:pt x="655" y="5175"/>
                    <a:pt x="708" y="5203"/>
                    <a:pt x="785" y="5245"/>
                  </a:cubicBezTo>
                  <a:cubicBezTo>
                    <a:pt x="883" y="5297"/>
                    <a:pt x="1020" y="5371"/>
                    <a:pt x="1002" y="5532"/>
                  </a:cubicBezTo>
                  <a:cubicBezTo>
                    <a:pt x="985" y="5721"/>
                    <a:pt x="1128" y="5945"/>
                    <a:pt x="1223" y="6039"/>
                  </a:cubicBezTo>
                  <a:cubicBezTo>
                    <a:pt x="1317" y="6134"/>
                    <a:pt x="1548" y="6431"/>
                    <a:pt x="1426" y="6617"/>
                  </a:cubicBezTo>
                  <a:cubicBezTo>
                    <a:pt x="1343" y="6740"/>
                    <a:pt x="1231" y="6776"/>
                    <a:pt x="1120" y="6776"/>
                  </a:cubicBezTo>
                  <a:cubicBezTo>
                    <a:pt x="1060" y="6776"/>
                    <a:pt x="1001" y="6766"/>
                    <a:pt x="946" y="6753"/>
                  </a:cubicBezTo>
                  <a:cubicBezTo>
                    <a:pt x="926" y="6748"/>
                    <a:pt x="906" y="6745"/>
                    <a:pt x="886" y="6745"/>
                  </a:cubicBezTo>
                  <a:cubicBezTo>
                    <a:pt x="856" y="6745"/>
                    <a:pt x="826" y="6751"/>
                    <a:pt x="799" y="6764"/>
                  </a:cubicBezTo>
                  <a:cubicBezTo>
                    <a:pt x="755" y="6779"/>
                    <a:pt x="704" y="6796"/>
                    <a:pt x="620" y="6796"/>
                  </a:cubicBezTo>
                  <a:cubicBezTo>
                    <a:pt x="570" y="6796"/>
                    <a:pt x="508" y="6790"/>
                    <a:pt x="428" y="6774"/>
                  </a:cubicBezTo>
                  <a:cubicBezTo>
                    <a:pt x="396" y="6769"/>
                    <a:pt x="367" y="6766"/>
                    <a:pt x="342" y="6766"/>
                  </a:cubicBezTo>
                  <a:cubicBezTo>
                    <a:pt x="200" y="6766"/>
                    <a:pt x="150" y="6851"/>
                    <a:pt x="85" y="6963"/>
                  </a:cubicBezTo>
                  <a:lnTo>
                    <a:pt x="67" y="6995"/>
                  </a:lnTo>
                  <a:lnTo>
                    <a:pt x="60" y="7006"/>
                  </a:lnTo>
                  <a:lnTo>
                    <a:pt x="46" y="7030"/>
                  </a:lnTo>
                  <a:lnTo>
                    <a:pt x="36" y="7041"/>
                  </a:lnTo>
                  <a:lnTo>
                    <a:pt x="22" y="7062"/>
                  </a:lnTo>
                  <a:lnTo>
                    <a:pt x="11" y="7076"/>
                  </a:lnTo>
                  <a:lnTo>
                    <a:pt x="1" y="7090"/>
                  </a:lnTo>
                  <a:cubicBezTo>
                    <a:pt x="43" y="7135"/>
                    <a:pt x="81" y="7181"/>
                    <a:pt x="116" y="7226"/>
                  </a:cubicBezTo>
                  <a:cubicBezTo>
                    <a:pt x="197" y="7331"/>
                    <a:pt x="281" y="7440"/>
                    <a:pt x="435" y="7499"/>
                  </a:cubicBezTo>
                  <a:cubicBezTo>
                    <a:pt x="480" y="7516"/>
                    <a:pt x="523" y="7523"/>
                    <a:pt x="566" y="7523"/>
                  </a:cubicBezTo>
                  <a:cubicBezTo>
                    <a:pt x="654" y="7523"/>
                    <a:pt x="735" y="7495"/>
                    <a:pt x="806" y="7471"/>
                  </a:cubicBezTo>
                  <a:cubicBezTo>
                    <a:pt x="860" y="7454"/>
                    <a:pt x="908" y="7438"/>
                    <a:pt x="951" y="7438"/>
                  </a:cubicBezTo>
                  <a:cubicBezTo>
                    <a:pt x="978" y="7438"/>
                    <a:pt x="1004" y="7444"/>
                    <a:pt x="1027" y="7461"/>
                  </a:cubicBezTo>
                  <a:cubicBezTo>
                    <a:pt x="1062" y="7496"/>
                    <a:pt x="1083" y="7541"/>
                    <a:pt x="1079" y="7594"/>
                  </a:cubicBezTo>
                  <a:cubicBezTo>
                    <a:pt x="1079" y="7804"/>
                    <a:pt x="750" y="7839"/>
                    <a:pt x="487" y="7867"/>
                  </a:cubicBezTo>
                  <a:cubicBezTo>
                    <a:pt x="435" y="7874"/>
                    <a:pt x="379" y="7877"/>
                    <a:pt x="337" y="7884"/>
                  </a:cubicBezTo>
                  <a:cubicBezTo>
                    <a:pt x="461" y="8082"/>
                    <a:pt x="1046" y="8735"/>
                    <a:pt x="1366" y="8735"/>
                  </a:cubicBezTo>
                  <a:cubicBezTo>
                    <a:pt x="1379" y="8735"/>
                    <a:pt x="1392" y="8734"/>
                    <a:pt x="1405" y="8731"/>
                  </a:cubicBezTo>
                  <a:cubicBezTo>
                    <a:pt x="1608" y="8686"/>
                    <a:pt x="1786" y="8567"/>
                    <a:pt x="1902" y="8395"/>
                  </a:cubicBezTo>
                  <a:cubicBezTo>
                    <a:pt x="1926" y="8360"/>
                    <a:pt x="1944" y="8322"/>
                    <a:pt x="1951" y="8283"/>
                  </a:cubicBezTo>
                  <a:cubicBezTo>
                    <a:pt x="1881" y="8238"/>
                    <a:pt x="1870" y="8143"/>
                    <a:pt x="1923" y="8042"/>
                  </a:cubicBezTo>
                  <a:cubicBezTo>
                    <a:pt x="1965" y="7954"/>
                    <a:pt x="2052" y="7877"/>
                    <a:pt x="2133" y="7877"/>
                  </a:cubicBezTo>
                  <a:cubicBezTo>
                    <a:pt x="2154" y="7877"/>
                    <a:pt x="2171" y="7881"/>
                    <a:pt x="2189" y="7888"/>
                  </a:cubicBezTo>
                  <a:cubicBezTo>
                    <a:pt x="2276" y="7930"/>
                    <a:pt x="2280" y="8052"/>
                    <a:pt x="2287" y="8199"/>
                  </a:cubicBezTo>
                  <a:cubicBezTo>
                    <a:pt x="2294" y="8290"/>
                    <a:pt x="2301" y="8430"/>
                    <a:pt x="2339" y="8462"/>
                  </a:cubicBezTo>
                  <a:cubicBezTo>
                    <a:pt x="2500" y="8595"/>
                    <a:pt x="2437" y="8819"/>
                    <a:pt x="2360" y="9036"/>
                  </a:cubicBezTo>
                  <a:cubicBezTo>
                    <a:pt x="2311" y="9173"/>
                    <a:pt x="2364" y="9414"/>
                    <a:pt x="2413" y="9628"/>
                  </a:cubicBezTo>
                  <a:cubicBezTo>
                    <a:pt x="2437" y="9726"/>
                    <a:pt x="2455" y="9827"/>
                    <a:pt x="2469" y="9932"/>
                  </a:cubicBezTo>
                  <a:cubicBezTo>
                    <a:pt x="2490" y="10076"/>
                    <a:pt x="2525" y="10216"/>
                    <a:pt x="2574" y="10352"/>
                  </a:cubicBezTo>
                  <a:cubicBezTo>
                    <a:pt x="2637" y="10534"/>
                    <a:pt x="2686" y="10723"/>
                    <a:pt x="2717" y="10912"/>
                  </a:cubicBezTo>
                  <a:cubicBezTo>
                    <a:pt x="2773" y="11284"/>
                    <a:pt x="3008" y="11956"/>
                    <a:pt x="3222" y="12358"/>
                  </a:cubicBezTo>
                  <a:cubicBezTo>
                    <a:pt x="3334" y="12572"/>
                    <a:pt x="3435" y="12887"/>
                    <a:pt x="3523" y="13167"/>
                  </a:cubicBezTo>
                  <a:cubicBezTo>
                    <a:pt x="3607" y="13430"/>
                    <a:pt x="3684" y="13678"/>
                    <a:pt x="3750" y="13762"/>
                  </a:cubicBezTo>
                  <a:cubicBezTo>
                    <a:pt x="3887" y="13948"/>
                    <a:pt x="4279" y="14560"/>
                    <a:pt x="4279" y="14952"/>
                  </a:cubicBezTo>
                  <a:cubicBezTo>
                    <a:pt x="4279" y="15285"/>
                    <a:pt x="4660" y="15779"/>
                    <a:pt x="4786" y="15870"/>
                  </a:cubicBezTo>
                  <a:cubicBezTo>
                    <a:pt x="4802" y="15877"/>
                    <a:pt x="4821" y="15880"/>
                    <a:pt x="4839" y="15880"/>
                  </a:cubicBezTo>
                  <a:cubicBezTo>
                    <a:pt x="4857" y="15880"/>
                    <a:pt x="4876" y="15877"/>
                    <a:pt x="4891" y="15870"/>
                  </a:cubicBezTo>
                  <a:cubicBezTo>
                    <a:pt x="5032" y="15814"/>
                    <a:pt x="5140" y="15702"/>
                    <a:pt x="5196" y="15565"/>
                  </a:cubicBezTo>
                  <a:cubicBezTo>
                    <a:pt x="5238" y="15429"/>
                    <a:pt x="5375" y="15341"/>
                    <a:pt x="5494" y="15260"/>
                  </a:cubicBezTo>
                  <a:cubicBezTo>
                    <a:pt x="5592" y="15197"/>
                    <a:pt x="5693" y="15134"/>
                    <a:pt x="5700" y="15068"/>
                  </a:cubicBezTo>
                  <a:cubicBezTo>
                    <a:pt x="5725" y="14875"/>
                    <a:pt x="5767" y="14672"/>
                    <a:pt x="5963" y="14637"/>
                  </a:cubicBezTo>
                  <a:cubicBezTo>
                    <a:pt x="6047" y="14623"/>
                    <a:pt x="6054" y="14539"/>
                    <a:pt x="6054" y="14315"/>
                  </a:cubicBezTo>
                  <a:cubicBezTo>
                    <a:pt x="6054" y="14091"/>
                    <a:pt x="6075" y="13780"/>
                    <a:pt x="6229" y="13580"/>
                  </a:cubicBezTo>
                  <a:cubicBezTo>
                    <a:pt x="6358" y="13416"/>
                    <a:pt x="6383" y="12939"/>
                    <a:pt x="6302" y="12757"/>
                  </a:cubicBezTo>
                  <a:cubicBezTo>
                    <a:pt x="6204" y="12533"/>
                    <a:pt x="6260" y="12229"/>
                    <a:pt x="6341" y="12019"/>
                  </a:cubicBezTo>
                  <a:cubicBezTo>
                    <a:pt x="6365" y="11952"/>
                    <a:pt x="6383" y="11889"/>
                    <a:pt x="6393" y="11819"/>
                  </a:cubicBezTo>
                  <a:cubicBezTo>
                    <a:pt x="6418" y="11690"/>
                    <a:pt x="6449" y="11539"/>
                    <a:pt x="6596" y="11525"/>
                  </a:cubicBezTo>
                  <a:cubicBezTo>
                    <a:pt x="6726" y="11511"/>
                    <a:pt x="6939" y="11389"/>
                    <a:pt x="7094" y="11179"/>
                  </a:cubicBezTo>
                  <a:cubicBezTo>
                    <a:pt x="7213" y="11017"/>
                    <a:pt x="7486" y="10828"/>
                    <a:pt x="7706" y="10671"/>
                  </a:cubicBezTo>
                  <a:cubicBezTo>
                    <a:pt x="7801" y="10604"/>
                    <a:pt x="7885" y="10548"/>
                    <a:pt x="7937" y="10503"/>
                  </a:cubicBezTo>
                  <a:cubicBezTo>
                    <a:pt x="8158" y="10324"/>
                    <a:pt x="8658" y="9876"/>
                    <a:pt x="8805" y="9631"/>
                  </a:cubicBezTo>
                  <a:cubicBezTo>
                    <a:pt x="8907" y="9463"/>
                    <a:pt x="9103" y="9365"/>
                    <a:pt x="9292" y="9271"/>
                  </a:cubicBezTo>
                  <a:cubicBezTo>
                    <a:pt x="9432" y="9201"/>
                    <a:pt x="9562" y="9134"/>
                    <a:pt x="9646" y="9046"/>
                  </a:cubicBezTo>
                  <a:cubicBezTo>
                    <a:pt x="9779" y="8910"/>
                    <a:pt x="9782" y="8826"/>
                    <a:pt x="9782" y="8703"/>
                  </a:cubicBezTo>
                  <a:cubicBezTo>
                    <a:pt x="9782" y="8640"/>
                    <a:pt x="9789" y="8577"/>
                    <a:pt x="9800" y="8514"/>
                  </a:cubicBezTo>
                  <a:cubicBezTo>
                    <a:pt x="9856" y="8196"/>
                    <a:pt x="10682" y="8129"/>
                    <a:pt x="10843" y="8129"/>
                  </a:cubicBezTo>
                  <a:cubicBezTo>
                    <a:pt x="10864" y="8129"/>
                    <a:pt x="10888" y="8126"/>
                    <a:pt x="10909" y="8126"/>
                  </a:cubicBezTo>
                  <a:lnTo>
                    <a:pt x="10909" y="8119"/>
                  </a:lnTo>
                  <a:lnTo>
                    <a:pt x="10909" y="8091"/>
                  </a:lnTo>
                  <a:cubicBezTo>
                    <a:pt x="10909" y="8080"/>
                    <a:pt x="10909" y="8063"/>
                    <a:pt x="10909" y="8052"/>
                  </a:cubicBezTo>
                  <a:cubicBezTo>
                    <a:pt x="10906" y="8038"/>
                    <a:pt x="10909" y="8031"/>
                    <a:pt x="10906" y="8021"/>
                  </a:cubicBezTo>
                  <a:cubicBezTo>
                    <a:pt x="10902" y="8010"/>
                    <a:pt x="10906" y="7996"/>
                    <a:pt x="10902" y="7982"/>
                  </a:cubicBezTo>
                  <a:cubicBezTo>
                    <a:pt x="10899" y="7972"/>
                    <a:pt x="10899" y="7961"/>
                    <a:pt x="10899" y="7951"/>
                  </a:cubicBezTo>
                  <a:cubicBezTo>
                    <a:pt x="10899" y="7940"/>
                    <a:pt x="10895" y="7926"/>
                    <a:pt x="10895" y="7916"/>
                  </a:cubicBezTo>
                  <a:cubicBezTo>
                    <a:pt x="10895" y="7902"/>
                    <a:pt x="10892" y="7891"/>
                    <a:pt x="10892" y="7881"/>
                  </a:cubicBezTo>
                  <a:cubicBezTo>
                    <a:pt x="10888" y="7870"/>
                    <a:pt x="10888" y="7856"/>
                    <a:pt x="10885" y="7846"/>
                  </a:cubicBezTo>
                  <a:lnTo>
                    <a:pt x="10881" y="7811"/>
                  </a:lnTo>
                  <a:cubicBezTo>
                    <a:pt x="10878" y="7800"/>
                    <a:pt x="10878" y="7790"/>
                    <a:pt x="10874" y="7779"/>
                  </a:cubicBezTo>
                  <a:lnTo>
                    <a:pt x="10871" y="7744"/>
                  </a:lnTo>
                  <a:lnTo>
                    <a:pt x="10864" y="7709"/>
                  </a:lnTo>
                  <a:lnTo>
                    <a:pt x="10857" y="7678"/>
                  </a:lnTo>
                  <a:lnTo>
                    <a:pt x="10850" y="7646"/>
                  </a:lnTo>
                  <a:lnTo>
                    <a:pt x="10843" y="7611"/>
                  </a:lnTo>
                  <a:lnTo>
                    <a:pt x="10839" y="7580"/>
                  </a:lnTo>
                  <a:lnTo>
                    <a:pt x="10829" y="7548"/>
                  </a:lnTo>
                  <a:lnTo>
                    <a:pt x="10822" y="7520"/>
                  </a:lnTo>
                  <a:lnTo>
                    <a:pt x="10815" y="7489"/>
                  </a:lnTo>
                  <a:lnTo>
                    <a:pt x="10808" y="7461"/>
                  </a:lnTo>
                  <a:lnTo>
                    <a:pt x="10801" y="7429"/>
                  </a:lnTo>
                  <a:lnTo>
                    <a:pt x="10794" y="7405"/>
                  </a:lnTo>
                  <a:lnTo>
                    <a:pt x="10787" y="7377"/>
                  </a:lnTo>
                  <a:lnTo>
                    <a:pt x="10776" y="7352"/>
                  </a:lnTo>
                  <a:lnTo>
                    <a:pt x="10769" y="7328"/>
                  </a:lnTo>
                  <a:lnTo>
                    <a:pt x="10762" y="7303"/>
                  </a:lnTo>
                  <a:lnTo>
                    <a:pt x="10755" y="7282"/>
                  </a:lnTo>
                  <a:lnTo>
                    <a:pt x="10745" y="7258"/>
                  </a:lnTo>
                  <a:lnTo>
                    <a:pt x="10741" y="7240"/>
                  </a:lnTo>
                  <a:cubicBezTo>
                    <a:pt x="10734" y="7230"/>
                    <a:pt x="10731" y="7216"/>
                    <a:pt x="10727" y="7205"/>
                  </a:cubicBezTo>
                  <a:cubicBezTo>
                    <a:pt x="10636" y="6970"/>
                    <a:pt x="10587" y="6722"/>
                    <a:pt x="10580" y="6473"/>
                  </a:cubicBezTo>
                  <a:cubicBezTo>
                    <a:pt x="10580" y="6431"/>
                    <a:pt x="10584" y="6389"/>
                    <a:pt x="10591" y="6347"/>
                  </a:cubicBezTo>
                  <a:cubicBezTo>
                    <a:pt x="10615" y="6225"/>
                    <a:pt x="10710" y="6207"/>
                    <a:pt x="10769" y="6197"/>
                  </a:cubicBezTo>
                  <a:cubicBezTo>
                    <a:pt x="10832" y="6183"/>
                    <a:pt x="10867" y="6176"/>
                    <a:pt x="10888" y="6109"/>
                  </a:cubicBezTo>
                  <a:cubicBezTo>
                    <a:pt x="10899" y="6078"/>
                    <a:pt x="10804" y="6036"/>
                    <a:pt x="10734" y="6004"/>
                  </a:cubicBezTo>
                  <a:cubicBezTo>
                    <a:pt x="10706" y="5994"/>
                    <a:pt x="10682" y="5980"/>
                    <a:pt x="10654" y="5966"/>
                  </a:cubicBezTo>
                  <a:cubicBezTo>
                    <a:pt x="10577" y="5927"/>
                    <a:pt x="10510" y="5878"/>
                    <a:pt x="10489" y="5805"/>
                  </a:cubicBezTo>
                  <a:cubicBezTo>
                    <a:pt x="10486" y="5791"/>
                    <a:pt x="10486" y="5777"/>
                    <a:pt x="10486" y="5763"/>
                  </a:cubicBezTo>
                  <a:cubicBezTo>
                    <a:pt x="10486" y="5731"/>
                    <a:pt x="10493" y="5700"/>
                    <a:pt x="10510" y="5675"/>
                  </a:cubicBezTo>
                  <a:cubicBezTo>
                    <a:pt x="10517" y="5658"/>
                    <a:pt x="10528" y="5644"/>
                    <a:pt x="10538" y="5630"/>
                  </a:cubicBezTo>
                  <a:cubicBezTo>
                    <a:pt x="10614" y="5527"/>
                    <a:pt x="10675" y="5487"/>
                    <a:pt x="10735" y="5487"/>
                  </a:cubicBezTo>
                  <a:cubicBezTo>
                    <a:pt x="10777" y="5487"/>
                    <a:pt x="10820" y="5507"/>
                    <a:pt x="10867" y="5539"/>
                  </a:cubicBezTo>
                  <a:cubicBezTo>
                    <a:pt x="10920" y="5581"/>
                    <a:pt x="10983" y="5605"/>
                    <a:pt x="11049" y="5605"/>
                  </a:cubicBezTo>
                  <a:cubicBezTo>
                    <a:pt x="11316" y="5605"/>
                    <a:pt x="11473" y="5738"/>
                    <a:pt x="11473" y="5966"/>
                  </a:cubicBezTo>
                  <a:cubicBezTo>
                    <a:pt x="11473" y="6057"/>
                    <a:pt x="11617" y="6134"/>
                    <a:pt x="11683" y="6162"/>
                  </a:cubicBezTo>
                  <a:cubicBezTo>
                    <a:pt x="11760" y="6155"/>
                    <a:pt x="12117" y="6130"/>
                    <a:pt x="12296" y="6130"/>
                  </a:cubicBezTo>
                  <a:cubicBezTo>
                    <a:pt x="12509" y="6130"/>
                    <a:pt x="12754" y="6130"/>
                    <a:pt x="12754" y="6326"/>
                  </a:cubicBezTo>
                  <a:cubicBezTo>
                    <a:pt x="12754" y="6484"/>
                    <a:pt x="12502" y="6949"/>
                    <a:pt x="12261" y="6949"/>
                  </a:cubicBezTo>
                  <a:cubicBezTo>
                    <a:pt x="12222" y="6949"/>
                    <a:pt x="12187" y="7023"/>
                    <a:pt x="12177" y="7125"/>
                  </a:cubicBezTo>
                  <a:cubicBezTo>
                    <a:pt x="12163" y="7282"/>
                    <a:pt x="12212" y="7401"/>
                    <a:pt x="12243" y="7408"/>
                  </a:cubicBezTo>
                  <a:cubicBezTo>
                    <a:pt x="12244" y="7408"/>
                    <a:pt x="12245" y="7408"/>
                    <a:pt x="12246" y="7408"/>
                  </a:cubicBezTo>
                  <a:cubicBezTo>
                    <a:pt x="12293" y="7408"/>
                    <a:pt x="12377" y="7266"/>
                    <a:pt x="12422" y="7188"/>
                  </a:cubicBezTo>
                  <a:cubicBezTo>
                    <a:pt x="12492" y="7069"/>
                    <a:pt x="12541" y="6981"/>
                    <a:pt x="12621" y="6981"/>
                  </a:cubicBezTo>
                  <a:cubicBezTo>
                    <a:pt x="12709" y="6981"/>
                    <a:pt x="12740" y="7079"/>
                    <a:pt x="12803" y="7464"/>
                  </a:cubicBezTo>
                  <a:cubicBezTo>
                    <a:pt x="12814" y="7517"/>
                    <a:pt x="12824" y="7580"/>
                    <a:pt x="12835" y="7646"/>
                  </a:cubicBezTo>
                  <a:lnTo>
                    <a:pt x="12849" y="7737"/>
                  </a:lnTo>
                  <a:lnTo>
                    <a:pt x="12852" y="7769"/>
                  </a:lnTo>
                  <a:lnTo>
                    <a:pt x="12863" y="7839"/>
                  </a:lnTo>
                  <a:lnTo>
                    <a:pt x="12870" y="7877"/>
                  </a:lnTo>
                  <a:lnTo>
                    <a:pt x="12884" y="7947"/>
                  </a:lnTo>
                  <a:lnTo>
                    <a:pt x="12887" y="7982"/>
                  </a:lnTo>
                  <a:lnTo>
                    <a:pt x="12887" y="7989"/>
                  </a:lnTo>
                  <a:cubicBezTo>
                    <a:pt x="12898" y="7986"/>
                    <a:pt x="12905" y="7986"/>
                    <a:pt x="12915" y="7986"/>
                  </a:cubicBezTo>
                  <a:cubicBezTo>
                    <a:pt x="12940" y="7947"/>
                    <a:pt x="12950" y="7821"/>
                    <a:pt x="12954" y="7744"/>
                  </a:cubicBezTo>
                  <a:cubicBezTo>
                    <a:pt x="12964" y="7618"/>
                    <a:pt x="12975" y="7496"/>
                    <a:pt x="13020" y="7426"/>
                  </a:cubicBezTo>
                  <a:cubicBezTo>
                    <a:pt x="13055" y="7373"/>
                    <a:pt x="13066" y="7230"/>
                    <a:pt x="13073" y="7121"/>
                  </a:cubicBezTo>
                  <a:cubicBezTo>
                    <a:pt x="13083" y="6963"/>
                    <a:pt x="13090" y="6855"/>
                    <a:pt x="13185" y="6855"/>
                  </a:cubicBezTo>
                  <a:cubicBezTo>
                    <a:pt x="13227" y="6858"/>
                    <a:pt x="13269" y="6869"/>
                    <a:pt x="13311" y="6879"/>
                  </a:cubicBezTo>
                  <a:cubicBezTo>
                    <a:pt x="13388" y="6900"/>
                    <a:pt x="13469" y="6914"/>
                    <a:pt x="13549" y="6921"/>
                  </a:cubicBezTo>
                  <a:cubicBezTo>
                    <a:pt x="13549" y="6862"/>
                    <a:pt x="13584" y="6788"/>
                    <a:pt x="13637" y="6673"/>
                  </a:cubicBezTo>
                  <a:cubicBezTo>
                    <a:pt x="13693" y="6540"/>
                    <a:pt x="13766" y="6379"/>
                    <a:pt x="13745" y="6288"/>
                  </a:cubicBezTo>
                  <a:cubicBezTo>
                    <a:pt x="13721" y="6165"/>
                    <a:pt x="13770" y="6036"/>
                    <a:pt x="13815" y="5910"/>
                  </a:cubicBezTo>
                  <a:cubicBezTo>
                    <a:pt x="13861" y="5812"/>
                    <a:pt x="13889" y="5710"/>
                    <a:pt x="13896" y="5605"/>
                  </a:cubicBezTo>
                  <a:cubicBezTo>
                    <a:pt x="13896" y="5392"/>
                    <a:pt x="14039" y="5294"/>
                    <a:pt x="14169" y="5206"/>
                  </a:cubicBezTo>
                  <a:cubicBezTo>
                    <a:pt x="14211" y="5182"/>
                    <a:pt x="14249" y="5150"/>
                    <a:pt x="14284" y="5119"/>
                  </a:cubicBezTo>
                  <a:cubicBezTo>
                    <a:pt x="14355" y="5060"/>
                    <a:pt x="14582" y="4877"/>
                    <a:pt x="14726" y="4877"/>
                  </a:cubicBezTo>
                  <a:cubicBezTo>
                    <a:pt x="14738" y="4877"/>
                    <a:pt x="14750" y="4878"/>
                    <a:pt x="14760" y="4880"/>
                  </a:cubicBezTo>
                  <a:cubicBezTo>
                    <a:pt x="14799" y="4887"/>
                    <a:pt x="14830" y="4916"/>
                    <a:pt x="14844" y="4951"/>
                  </a:cubicBezTo>
                  <a:cubicBezTo>
                    <a:pt x="14855" y="4982"/>
                    <a:pt x="14928" y="5017"/>
                    <a:pt x="14974" y="5024"/>
                  </a:cubicBezTo>
                  <a:lnTo>
                    <a:pt x="14967" y="5010"/>
                  </a:lnTo>
                  <a:cubicBezTo>
                    <a:pt x="14872" y="4870"/>
                    <a:pt x="14834" y="4747"/>
                    <a:pt x="14858" y="4660"/>
                  </a:cubicBezTo>
                  <a:cubicBezTo>
                    <a:pt x="14869" y="4614"/>
                    <a:pt x="14900" y="4572"/>
                    <a:pt x="14946" y="4551"/>
                  </a:cubicBezTo>
                  <a:cubicBezTo>
                    <a:pt x="14949" y="4548"/>
                    <a:pt x="14953" y="4544"/>
                    <a:pt x="14956" y="4544"/>
                  </a:cubicBezTo>
                  <a:lnTo>
                    <a:pt x="14960" y="4537"/>
                  </a:lnTo>
                  <a:lnTo>
                    <a:pt x="14967" y="4530"/>
                  </a:lnTo>
                  <a:lnTo>
                    <a:pt x="14974" y="4523"/>
                  </a:lnTo>
                  <a:lnTo>
                    <a:pt x="14977" y="4516"/>
                  </a:lnTo>
                  <a:lnTo>
                    <a:pt x="14984" y="4506"/>
                  </a:lnTo>
                  <a:lnTo>
                    <a:pt x="14988" y="4495"/>
                  </a:lnTo>
                  <a:lnTo>
                    <a:pt x="14991" y="4485"/>
                  </a:lnTo>
                  <a:lnTo>
                    <a:pt x="14998" y="4474"/>
                  </a:lnTo>
                  <a:lnTo>
                    <a:pt x="15002" y="4460"/>
                  </a:lnTo>
                  <a:lnTo>
                    <a:pt x="15005" y="4450"/>
                  </a:lnTo>
                  <a:lnTo>
                    <a:pt x="15012" y="4439"/>
                  </a:lnTo>
                  <a:lnTo>
                    <a:pt x="15016" y="4425"/>
                  </a:lnTo>
                  <a:lnTo>
                    <a:pt x="15019" y="4415"/>
                  </a:lnTo>
                  <a:lnTo>
                    <a:pt x="15023" y="4401"/>
                  </a:lnTo>
                  <a:lnTo>
                    <a:pt x="14981" y="4390"/>
                  </a:lnTo>
                  <a:lnTo>
                    <a:pt x="14967" y="4383"/>
                  </a:lnTo>
                  <a:lnTo>
                    <a:pt x="14960" y="4383"/>
                  </a:lnTo>
                  <a:lnTo>
                    <a:pt x="14949" y="4380"/>
                  </a:lnTo>
                  <a:lnTo>
                    <a:pt x="14911" y="4369"/>
                  </a:lnTo>
                  <a:lnTo>
                    <a:pt x="14918" y="4366"/>
                  </a:lnTo>
                  <a:cubicBezTo>
                    <a:pt x="14862" y="4348"/>
                    <a:pt x="14813" y="4320"/>
                    <a:pt x="14771" y="4278"/>
                  </a:cubicBezTo>
                  <a:lnTo>
                    <a:pt x="14760" y="4268"/>
                  </a:lnTo>
                  <a:lnTo>
                    <a:pt x="14753" y="4257"/>
                  </a:lnTo>
                  <a:lnTo>
                    <a:pt x="14743" y="4247"/>
                  </a:lnTo>
                  <a:lnTo>
                    <a:pt x="14736" y="4236"/>
                  </a:lnTo>
                  <a:lnTo>
                    <a:pt x="14732" y="4226"/>
                  </a:lnTo>
                  <a:cubicBezTo>
                    <a:pt x="14725" y="4219"/>
                    <a:pt x="14722" y="4208"/>
                    <a:pt x="14722" y="4201"/>
                  </a:cubicBezTo>
                  <a:cubicBezTo>
                    <a:pt x="14704" y="4159"/>
                    <a:pt x="14680" y="4121"/>
                    <a:pt x="14652" y="4086"/>
                  </a:cubicBezTo>
                  <a:lnTo>
                    <a:pt x="14620" y="4047"/>
                  </a:lnTo>
                  <a:cubicBezTo>
                    <a:pt x="14561" y="3970"/>
                    <a:pt x="14501" y="3897"/>
                    <a:pt x="14501" y="3816"/>
                  </a:cubicBezTo>
                  <a:cubicBezTo>
                    <a:pt x="14435" y="3830"/>
                    <a:pt x="14375" y="3862"/>
                    <a:pt x="14330" y="3907"/>
                  </a:cubicBezTo>
                  <a:cubicBezTo>
                    <a:pt x="14290" y="3940"/>
                    <a:pt x="14246" y="3952"/>
                    <a:pt x="14199" y="3952"/>
                  </a:cubicBezTo>
                  <a:cubicBezTo>
                    <a:pt x="14147" y="3952"/>
                    <a:pt x="14093" y="3938"/>
                    <a:pt x="14039" y="3925"/>
                  </a:cubicBezTo>
                  <a:cubicBezTo>
                    <a:pt x="13977" y="3908"/>
                    <a:pt x="13913" y="3892"/>
                    <a:pt x="13846" y="3892"/>
                  </a:cubicBezTo>
                  <a:cubicBezTo>
                    <a:pt x="13790" y="3892"/>
                    <a:pt x="13731" y="3903"/>
                    <a:pt x="13668" y="3935"/>
                  </a:cubicBezTo>
                  <a:cubicBezTo>
                    <a:pt x="13574" y="3988"/>
                    <a:pt x="13486" y="4054"/>
                    <a:pt x="13406" y="4128"/>
                  </a:cubicBezTo>
                  <a:cubicBezTo>
                    <a:pt x="13334" y="4190"/>
                    <a:pt x="13271" y="4246"/>
                    <a:pt x="13187" y="4246"/>
                  </a:cubicBezTo>
                  <a:cubicBezTo>
                    <a:pt x="13176" y="4246"/>
                    <a:pt x="13165" y="4245"/>
                    <a:pt x="13153" y="4243"/>
                  </a:cubicBezTo>
                  <a:cubicBezTo>
                    <a:pt x="13147" y="4243"/>
                    <a:pt x="13143" y="4242"/>
                    <a:pt x="13138" y="4242"/>
                  </a:cubicBezTo>
                  <a:cubicBezTo>
                    <a:pt x="13121" y="4242"/>
                    <a:pt x="13116" y="4252"/>
                    <a:pt x="13090" y="4303"/>
                  </a:cubicBezTo>
                  <a:cubicBezTo>
                    <a:pt x="13066" y="4355"/>
                    <a:pt x="13034" y="4401"/>
                    <a:pt x="12996" y="4443"/>
                  </a:cubicBezTo>
                  <a:cubicBezTo>
                    <a:pt x="12964" y="4474"/>
                    <a:pt x="12933" y="4506"/>
                    <a:pt x="12908" y="4541"/>
                  </a:cubicBezTo>
                  <a:cubicBezTo>
                    <a:pt x="12828" y="4628"/>
                    <a:pt x="12765" y="4698"/>
                    <a:pt x="12691" y="4698"/>
                  </a:cubicBezTo>
                  <a:lnTo>
                    <a:pt x="12681" y="4698"/>
                  </a:lnTo>
                  <a:cubicBezTo>
                    <a:pt x="12656" y="4705"/>
                    <a:pt x="12632" y="4716"/>
                    <a:pt x="12607" y="4723"/>
                  </a:cubicBezTo>
                  <a:lnTo>
                    <a:pt x="12600" y="4723"/>
                  </a:lnTo>
                  <a:lnTo>
                    <a:pt x="12572" y="4737"/>
                  </a:lnTo>
                  <a:lnTo>
                    <a:pt x="12569" y="4737"/>
                  </a:lnTo>
                  <a:lnTo>
                    <a:pt x="12527" y="4754"/>
                  </a:lnTo>
                  <a:lnTo>
                    <a:pt x="12495" y="4768"/>
                  </a:lnTo>
                  <a:cubicBezTo>
                    <a:pt x="12516" y="4824"/>
                    <a:pt x="12534" y="4880"/>
                    <a:pt x="12548" y="4940"/>
                  </a:cubicBezTo>
                  <a:cubicBezTo>
                    <a:pt x="12572" y="5042"/>
                    <a:pt x="12579" y="5161"/>
                    <a:pt x="12534" y="5245"/>
                  </a:cubicBezTo>
                  <a:cubicBezTo>
                    <a:pt x="12527" y="5252"/>
                    <a:pt x="12523" y="5259"/>
                    <a:pt x="12520" y="5266"/>
                  </a:cubicBezTo>
                  <a:cubicBezTo>
                    <a:pt x="12473" y="5330"/>
                    <a:pt x="12407" y="5346"/>
                    <a:pt x="12338" y="5346"/>
                  </a:cubicBezTo>
                  <a:cubicBezTo>
                    <a:pt x="12297" y="5346"/>
                    <a:pt x="12255" y="5341"/>
                    <a:pt x="12215" y="5336"/>
                  </a:cubicBezTo>
                  <a:cubicBezTo>
                    <a:pt x="12174" y="5329"/>
                    <a:pt x="12133" y="5326"/>
                    <a:pt x="12091" y="5326"/>
                  </a:cubicBezTo>
                  <a:cubicBezTo>
                    <a:pt x="12045" y="5326"/>
                    <a:pt x="11999" y="5330"/>
                    <a:pt x="11953" y="5339"/>
                  </a:cubicBezTo>
                  <a:cubicBezTo>
                    <a:pt x="11935" y="5346"/>
                    <a:pt x="11921" y="5350"/>
                    <a:pt x="11904" y="5350"/>
                  </a:cubicBezTo>
                  <a:lnTo>
                    <a:pt x="11893" y="5350"/>
                  </a:lnTo>
                  <a:cubicBezTo>
                    <a:pt x="11879" y="5353"/>
                    <a:pt x="11865" y="5353"/>
                    <a:pt x="11851" y="5357"/>
                  </a:cubicBezTo>
                  <a:lnTo>
                    <a:pt x="11813" y="5357"/>
                  </a:lnTo>
                  <a:cubicBezTo>
                    <a:pt x="11778" y="5357"/>
                    <a:pt x="11743" y="5353"/>
                    <a:pt x="11711" y="5343"/>
                  </a:cubicBezTo>
                  <a:lnTo>
                    <a:pt x="11697" y="5343"/>
                  </a:lnTo>
                  <a:lnTo>
                    <a:pt x="11662" y="5332"/>
                  </a:lnTo>
                  <a:lnTo>
                    <a:pt x="11652" y="5329"/>
                  </a:lnTo>
                  <a:lnTo>
                    <a:pt x="11613" y="5318"/>
                  </a:lnTo>
                  <a:cubicBezTo>
                    <a:pt x="11568" y="5300"/>
                    <a:pt x="11523" y="5291"/>
                    <a:pt x="11478" y="5291"/>
                  </a:cubicBezTo>
                  <a:cubicBezTo>
                    <a:pt x="11463" y="5291"/>
                    <a:pt x="11449" y="5292"/>
                    <a:pt x="11435" y="5294"/>
                  </a:cubicBezTo>
                  <a:cubicBezTo>
                    <a:pt x="11406" y="5301"/>
                    <a:pt x="11379" y="5304"/>
                    <a:pt x="11354" y="5304"/>
                  </a:cubicBezTo>
                  <a:cubicBezTo>
                    <a:pt x="11266" y="5304"/>
                    <a:pt x="11195" y="5267"/>
                    <a:pt x="11140" y="5238"/>
                  </a:cubicBezTo>
                  <a:cubicBezTo>
                    <a:pt x="11119" y="5224"/>
                    <a:pt x="11091" y="5213"/>
                    <a:pt x="11067" y="5210"/>
                  </a:cubicBezTo>
                  <a:cubicBezTo>
                    <a:pt x="11056" y="5210"/>
                    <a:pt x="11049" y="5213"/>
                    <a:pt x="11039" y="5213"/>
                  </a:cubicBezTo>
                  <a:lnTo>
                    <a:pt x="11014" y="5213"/>
                  </a:lnTo>
                  <a:cubicBezTo>
                    <a:pt x="11007" y="5210"/>
                    <a:pt x="11004" y="5210"/>
                    <a:pt x="10997" y="5206"/>
                  </a:cubicBezTo>
                  <a:lnTo>
                    <a:pt x="10983" y="5203"/>
                  </a:lnTo>
                  <a:lnTo>
                    <a:pt x="10972" y="5196"/>
                  </a:lnTo>
                  <a:lnTo>
                    <a:pt x="10958" y="5189"/>
                  </a:lnTo>
                  <a:lnTo>
                    <a:pt x="10944" y="5178"/>
                  </a:lnTo>
                  <a:cubicBezTo>
                    <a:pt x="10937" y="5175"/>
                    <a:pt x="10930" y="5168"/>
                    <a:pt x="10923" y="5161"/>
                  </a:cubicBezTo>
                  <a:cubicBezTo>
                    <a:pt x="10916" y="5154"/>
                    <a:pt x="10909" y="5147"/>
                    <a:pt x="10906" y="5140"/>
                  </a:cubicBezTo>
                  <a:lnTo>
                    <a:pt x="10895" y="5154"/>
                  </a:lnTo>
                  <a:lnTo>
                    <a:pt x="10857" y="5066"/>
                  </a:lnTo>
                  <a:cubicBezTo>
                    <a:pt x="10850" y="5052"/>
                    <a:pt x="10843" y="5042"/>
                    <a:pt x="10839" y="5028"/>
                  </a:cubicBezTo>
                  <a:lnTo>
                    <a:pt x="10832" y="5014"/>
                  </a:lnTo>
                  <a:cubicBezTo>
                    <a:pt x="10818" y="4982"/>
                    <a:pt x="10811" y="4947"/>
                    <a:pt x="10808" y="4908"/>
                  </a:cubicBezTo>
                  <a:lnTo>
                    <a:pt x="10808" y="4901"/>
                  </a:lnTo>
                  <a:cubicBezTo>
                    <a:pt x="10808" y="4891"/>
                    <a:pt x="10808" y="4880"/>
                    <a:pt x="10804" y="4870"/>
                  </a:cubicBezTo>
                  <a:cubicBezTo>
                    <a:pt x="10804" y="4856"/>
                    <a:pt x="10804" y="4842"/>
                    <a:pt x="10804" y="4828"/>
                  </a:cubicBezTo>
                  <a:lnTo>
                    <a:pt x="10804" y="4814"/>
                  </a:lnTo>
                  <a:cubicBezTo>
                    <a:pt x="10804" y="4800"/>
                    <a:pt x="10808" y="4782"/>
                    <a:pt x="10811" y="4768"/>
                  </a:cubicBezTo>
                  <a:cubicBezTo>
                    <a:pt x="10829" y="4691"/>
                    <a:pt x="10811" y="4614"/>
                    <a:pt x="10773" y="4548"/>
                  </a:cubicBezTo>
                  <a:cubicBezTo>
                    <a:pt x="10769" y="4544"/>
                    <a:pt x="10766" y="4541"/>
                    <a:pt x="10759" y="4534"/>
                  </a:cubicBezTo>
                  <a:lnTo>
                    <a:pt x="10759" y="4541"/>
                  </a:lnTo>
                  <a:cubicBezTo>
                    <a:pt x="10724" y="4590"/>
                    <a:pt x="10675" y="4628"/>
                    <a:pt x="10619" y="4653"/>
                  </a:cubicBezTo>
                  <a:cubicBezTo>
                    <a:pt x="10601" y="4660"/>
                    <a:pt x="10587" y="4670"/>
                    <a:pt x="10573" y="4684"/>
                  </a:cubicBezTo>
                  <a:cubicBezTo>
                    <a:pt x="10566" y="4691"/>
                    <a:pt x="10552" y="4705"/>
                    <a:pt x="10552" y="4761"/>
                  </a:cubicBezTo>
                  <a:cubicBezTo>
                    <a:pt x="10556" y="4824"/>
                    <a:pt x="10563" y="4884"/>
                    <a:pt x="10573" y="4944"/>
                  </a:cubicBezTo>
                  <a:cubicBezTo>
                    <a:pt x="10598" y="5091"/>
                    <a:pt x="10626" y="5259"/>
                    <a:pt x="10510" y="5371"/>
                  </a:cubicBezTo>
                  <a:cubicBezTo>
                    <a:pt x="10507" y="5378"/>
                    <a:pt x="10500" y="5381"/>
                    <a:pt x="10493" y="5388"/>
                  </a:cubicBezTo>
                  <a:lnTo>
                    <a:pt x="10486" y="5392"/>
                  </a:lnTo>
                  <a:lnTo>
                    <a:pt x="10468" y="5402"/>
                  </a:lnTo>
                  <a:lnTo>
                    <a:pt x="10461" y="5409"/>
                  </a:lnTo>
                  <a:lnTo>
                    <a:pt x="10440" y="5420"/>
                  </a:lnTo>
                  <a:lnTo>
                    <a:pt x="10433" y="5423"/>
                  </a:lnTo>
                  <a:lnTo>
                    <a:pt x="10402" y="5437"/>
                  </a:lnTo>
                  <a:lnTo>
                    <a:pt x="10398" y="5437"/>
                  </a:lnTo>
                  <a:lnTo>
                    <a:pt x="10367" y="5448"/>
                  </a:lnTo>
                  <a:lnTo>
                    <a:pt x="10353" y="5451"/>
                  </a:lnTo>
                  <a:lnTo>
                    <a:pt x="10328" y="5462"/>
                  </a:lnTo>
                  <a:lnTo>
                    <a:pt x="10314" y="5465"/>
                  </a:lnTo>
                  <a:lnTo>
                    <a:pt x="10286" y="5472"/>
                  </a:lnTo>
                  <a:lnTo>
                    <a:pt x="10276" y="5476"/>
                  </a:lnTo>
                  <a:lnTo>
                    <a:pt x="10230" y="5486"/>
                  </a:lnTo>
                  <a:lnTo>
                    <a:pt x="10223" y="5486"/>
                  </a:lnTo>
                  <a:lnTo>
                    <a:pt x="10185" y="5493"/>
                  </a:lnTo>
                  <a:lnTo>
                    <a:pt x="10171" y="5497"/>
                  </a:lnTo>
                  <a:lnTo>
                    <a:pt x="10139" y="5500"/>
                  </a:lnTo>
                  <a:lnTo>
                    <a:pt x="10125" y="5504"/>
                  </a:lnTo>
                  <a:lnTo>
                    <a:pt x="10090" y="5511"/>
                  </a:lnTo>
                  <a:lnTo>
                    <a:pt x="10076" y="5511"/>
                  </a:lnTo>
                  <a:lnTo>
                    <a:pt x="10031" y="5514"/>
                  </a:lnTo>
                  <a:lnTo>
                    <a:pt x="10020" y="5514"/>
                  </a:lnTo>
                  <a:lnTo>
                    <a:pt x="9982" y="5518"/>
                  </a:lnTo>
                  <a:lnTo>
                    <a:pt x="9705" y="5518"/>
                  </a:lnTo>
                  <a:lnTo>
                    <a:pt x="9663" y="5511"/>
                  </a:lnTo>
                  <a:lnTo>
                    <a:pt x="9653" y="5511"/>
                  </a:lnTo>
                  <a:lnTo>
                    <a:pt x="9611" y="5507"/>
                  </a:lnTo>
                  <a:lnTo>
                    <a:pt x="9607" y="5507"/>
                  </a:lnTo>
                  <a:lnTo>
                    <a:pt x="9569" y="5497"/>
                  </a:lnTo>
                  <a:lnTo>
                    <a:pt x="9562" y="5497"/>
                  </a:lnTo>
                  <a:cubicBezTo>
                    <a:pt x="9548" y="5493"/>
                    <a:pt x="9537" y="5490"/>
                    <a:pt x="9527" y="5486"/>
                  </a:cubicBezTo>
                  <a:cubicBezTo>
                    <a:pt x="9516" y="5483"/>
                    <a:pt x="9509" y="5479"/>
                    <a:pt x="9499" y="5472"/>
                  </a:cubicBezTo>
                  <a:lnTo>
                    <a:pt x="9495" y="5469"/>
                  </a:lnTo>
                  <a:cubicBezTo>
                    <a:pt x="9485" y="5465"/>
                    <a:pt x="9478" y="5462"/>
                    <a:pt x="9471" y="5455"/>
                  </a:cubicBezTo>
                  <a:cubicBezTo>
                    <a:pt x="9422" y="5413"/>
                    <a:pt x="9268" y="5371"/>
                    <a:pt x="9138" y="5339"/>
                  </a:cubicBezTo>
                  <a:cubicBezTo>
                    <a:pt x="8886" y="5269"/>
                    <a:pt x="8756" y="5231"/>
                    <a:pt x="8735" y="5136"/>
                  </a:cubicBezTo>
                  <a:cubicBezTo>
                    <a:pt x="8718" y="5042"/>
                    <a:pt x="8564" y="4887"/>
                    <a:pt x="8497" y="4887"/>
                  </a:cubicBezTo>
                  <a:cubicBezTo>
                    <a:pt x="8441" y="4894"/>
                    <a:pt x="8385" y="4908"/>
                    <a:pt x="8329" y="4926"/>
                  </a:cubicBezTo>
                  <a:cubicBezTo>
                    <a:pt x="8212" y="4961"/>
                    <a:pt x="8117" y="4987"/>
                    <a:pt x="8045" y="4987"/>
                  </a:cubicBezTo>
                  <a:cubicBezTo>
                    <a:pt x="8003" y="4987"/>
                    <a:pt x="7968" y="4978"/>
                    <a:pt x="7941" y="4958"/>
                  </a:cubicBezTo>
                  <a:lnTo>
                    <a:pt x="7913" y="4940"/>
                  </a:lnTo>
                  <a:cubicBezTo>
                    <a:pt x="7825" y="4870"/>
                    <a:pt x="7636" y="4730"/>
                    <a:pt x="7517" y="4712"/>
                  </a:cubicBezTo>
                  <a:cubicBezTo>
                    <a:pt x="7475" y="4705"/>
                    <a:pt x="7433" y="4695"/>
                    <a:pt x="7391" y="4681"/>
                  </a:cubicBezTo>
                  <a:cubicBezTo>
                    <a:pt x="7251" y="4639"/>
                    <a:pt x="7083" y="4551"/>
                    <a:pt x="7055" y="4453"/>
                  </a:cubicBezTo>
                  <a:cubicBezTo>
                    <a:pt x="7034" y="4439"/>
                    <a:pt x="7013" y="4425"/>
                    <a:pt x="6988" y="4418"/>
                  </a:cubicBezTo>
                  <a:cubicBezTo>
                    <a:pt x="6960" y="4408"/>
                    <a:pt x="6932" y="4397"/>
                    <a:pt x="6904" y="4387"/>
                  </a:cubicBezTo>
                  <a:lnTo>
                    <a:pt x="6880" y="4380"/>
                  </a:lnTo>
                  <a:cubicBezTo>
                    <a:pt x="6771" y="4345"/>
                    <a:pt x="6673" y="4313"/>
                    <a:pt x="6631" y="4254"/>
                  </a:cubicBezTo>
                  <a:cubicBezTo>
                    <a:pt x="6600" y="4226"/>
                    <a:pt x="6561" y="4205"/>
                    <a:pt x="6523" y="4187"/>
                  </a:cubicBezTo>
                  <a:cubicBezTo>
                    <a:pt x="6439" y="4152"/>
                    <a:pt x="6337" y="4103"/>
                    <a:pt x="6337" y="3998"/>
                  </a:cubicBezTo>
                  <a:cubicBezTo>
                    <a:pt x="6344" y="3928"/>
                    <a:pt x="6358" y="3862"/>
                    <a:pt x="6383" y="3795"/>
                  </a:cubicBezTo>
                  <a:cubicBezTo>
                    <a:pt x="6404" y="3729"/>
                    <a:pt x="6421" y="3659"/>
                    <a:pt x="6425" y="3589"/>
                  </a:cubicBezTo>
                  <a:cubicBezTo>
                    <a:pt x="6425" y="3578"/>
                    <a:pt x="6425" y="3564"/>
                    <a:pt x="6428" y="3554"/>
                  </a:cubicBezTo>
                  <a:lnTo>
                    <a:pt x="6428" y="3547"/>
                  </a:lnTo>
                  <a:cubicBezTo>
                    <a:pt x="6449" y="3466"/>
                    <a:pt x="6526" y="3396"/>
                    <a:pt x="6593" y="3333"/>
                  </a:cubicBezTo>
                  <a:cubicBezTo>
                    <a:pt x="6628" y="3309"/>
                    <a:pt x="6656" y="3277"/>
                    <a:pt x="6680" y="3246"/>
                  </a:cubicBezTo>
                  <a:cubicBezTo>
                    <a:pt x="6670" y="3218"/>
                    <a:pt x="6596" y="3148"/>
                    <a:pt x="6512" y="3088"/>
                  </a:cubicBezTo>
                  <a:lnTo>
                    <a:pt x="6477" y="3064"/>
                  </a:lnTo>
                  <a:lnTo>
                    <a:pt x="6460" y="3057"/>
                  </a:lnTo>
                  <a:lnTo>
                    <a:pt x="6453" y="3043"/>
                  </a:lnTo>
                  <a:cubicBezTo>
                    <a:pt x="6411" y="2966"/>
                    <a:pt x="6355" y="2896"/>
                    <a:pt x="6288" y="2840"/>
                  </a:cubicBezTo>
                  <a:cubicBezTo>
                    <a:pt x="6260" y="2811"/>
                    <a:pt x="6225" y="2797"/>
                    <a:pt x="6187" y="2794"/>
                  </a:cubicBezTo>
                  <a:cubicBezTo>
                    <a:pt x="6064" y="2794"/>
                    <a:pt x="5970" y="2692"/>
                    <a:pt x="5889" y="2605"/>
                  </a:cubicBezTo>
                  <a:cubicBezTo>
                    <a:pt x="5830" y="2542"/>
                    <a:pt x="5770" y="2479"/>
                    <a:pt x="5725" y="2472"/>
                  </a:cubicBezTo>
                  <a:cubicBezTo>
                    <a:pt x="5588" y="2454"/>
                    <a:pt x="5560" y="2304"/>
                    <a:pt x="5536" y="2181"/>
                  </a:cubicBezTo>
                  <a:cubicBezTo>
                    <a:pt x="5529" y="2122"/>
                    <a:pt x="5515" y="2066"/>
                    <a:pt x="5487" y="2017"/>
                  </a:cubicBezTo>
                  <a:cubicBezTo>
                    <a:pt x="5413" y="1922"/>
                    <a:pt x="5417" y="1754"/>
                    <a:pt x="5497" y="1674"/>
                  </a:cubicBezTo>
                  <a:cubicBezTo>
                    <a:pt x="5519" y="1652"/>
                    <a:pt x="5551" y="1636"/>
                    <a:pt x="5590" y="1636"/>
                  </a:cubicBezTo>
                  <a:cubicBezTo>
                    <a:pt x="5627" y="1636"/>
                    <a:pt x="5668" y="1650"/>
                    <a:pt x="5711" y="1688"/>
                  </a:cubicBezTo>
                  <a:cubicBezTo>
                    <a:pt x="5725" y="1702"/>
                    <a:pt x="5742" y="1709"/>
                    <a:pt x="5760" y="1716"/>
                  </a:cubicBezTo>
                  <a:cubicBezTo>
                    <a:pt x="5777" y="1721"/>
                    <a:pt x="5795" y="1724"/>
                    <a:pt x="5813" y="1724"/>
                  </a:cubicBezTo>
                  <a:cubicBezTo>
                    <a:pt x="5849" y="1724"/>
                    <a:pt x="5887" y="1712"/>
                    <a:pt x="5917" y="1691"/>
                  </a:cubicBezTo>
                  <a:cubicBezTo>
                    <a:pt x="5945" y="1670"/>
                    <a:pt x="5956" y="1639"/>
                    <a:pt x="5949" y="1607"/>
                  </a:cubicBezTo>
                  <a:cubicBezTo>
                    <a:pt x="5945" y="1597"/>
                    <a:pt x="5942" y="1586"/>
                    <a:pt x="5935" y="1576"/>
                  </a:cubicBezTo>
                  <a:cubicBezTo>
                    <a:pt x="5889" y="1499"/>
                    <a:pt x="5837" y="1425"/>
                    <a:pt x="5781" y="1355"/>
                  </a:cubicBezTo>
                  <a:cubicBezTo>
                    <a:pt x="5693" y="1243"/>
                    <a:pt x="5623" y="1156"/>
                    <a:pt x="5623" y="1072"/>
                  </a:cubicBezTo>
                  <a:cubicBezTo>
                    <a:pt x="5623" y="1061"/>
                    <a:pt x="5623" y="1051"/>
                    <a:pt x="5623" y="1040"/>
                  </a:cubicBezTo>
                  <a:cubicBezTo>
                    <a:pt x="5627" y="1012"/>
                    <a:pt x="5634" y="977"/>
                    <a:pt x="5644" y="935"/>
                  </a:cubicBezTo>
                  <a:cubicBezTo>
                    <a:pt x="5648" y="914"/>
                    <a:pt x="5651" y="890"/>
                    <a:pt x="5658" y="865"/>
                  </a:cubicBezTo>
                  <a:cubicBezTo>
                    <a:pt x="5669" y="809"/>
                    <a:pt x="5672" y="753"/>
                    <a:pt x="5672" y="697"/>
                  </a:cubicBezTo>
                  <a:lnTo>
                    <a:pt x="5672" y="690"/>
                  </a:lnTo>
                  <a:cubicBezTo>
                    <a:pt x="5672" y="683"/>
                    <a:pt x="5669" y="676"/>
                    <a:pt x="5669" y="665"/>
                  </a:cubicBezTo>
                  <a:cubicBezTo>
                    <a:pt x="5665" y="658"/>
                    <a:pt x="5665" y="651"/>
                    <a:pt x="5662" y="644"/>
                  </a:cubicBezTo>
                  <a:lnTo>
                    <a:pt x="5658" y="641"/>
                  </a:lnTo>
                  <a:cubicBezTo>
                    <a:pt x="5655" y="637"/>
                    <a:pt x="5655" y="634"/>
                    <a:pt x="5651" y="627"/>
                  </a:cubicBezTo>
                  <a:lnTo>
                    <a:pt x="5648" y="623"/>
                  </a:lnTo>
                  <a:cubicBezTo>
                    <a:pt x="5644" y="620"/>
                    <a:pt x="5637" y="616"/>
                    <a:pt x="5634" y="613"/>
                  </a:cubicBezTo>
                  <a:cubicBezTo>
                    <a:pt x="5567" y="578"/>
                    <a:pt x="5508" y="532"/>
                    <a:pt x="5455" y="483"/>
                  </a:cubicBezTo>
                  <a:cubicBezTo>
                    <a:pt x="5403" y="434"/>
                    <a:pt x="5361" y="382"/>
                    <a:pt x="5329" y="322"/>
                  </a:cubicBezTo>
                  <a:cubicBezTo>
                    <a:pt x="5308" y="287"/>
                    <a:pt x="5291" y="249"/>
                    <a:pt x="5280" y="210"/>
                  </a:cubicBezTo>
                  <a:cubicBezTo>
                    <a:pt x="5277" y="200"/>
                    <a:pt x="5273" y="186"/>
                    <a:pt x="5266" y="179"/>
                  </a:cubicBezTo>
                  <a:cubicBezTo>
                    <a:pt x="5266" y="172"/>
                    <a:pt x="5259" y="165"/>
                    <a:pt x="5259" y="158"/>
                  </a:cubicBezTo>
                  <a:cubicBezTo>
                    <a:pt x="5256" y="154"/>
                    <a:pt x="5252" y="151"/>
                    <a:pt x="5249" y="144"/>
                  </a:cubicBezTo>
                  <a:cubicBezTo>
                    <a:pt x="5249" y="140"/>
                    <a:pt x="5238" y="130"/>
                    <a:pt x="5231" y="119"/>
                  </a:cubicBezTo>
                  <a:lnTo>
                    <a:pt x="5228" y="112"/>
                  </a:lnTo>
                  <a:cubicBezTo>
                    <a:pt x="5221" y="102"/>
                    <a:pt x="5210" y="91"/>
                    <a:pt x="5203" y="81"/>
                  </a:cubicBezTo>
                  <a:cubicBezTo>
                    <a:pt x="5175" y="53"/>
                    <a:pt x="5144" y="25"/>
                    <a:pt x="51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4" name="Google Shape;4574;p53"/>
            <p:cNvSpPr/>
            <p:nvPr/>
          </p:nvSpPr>
          <p:spPr>
            <a:xfrm>
              <a:off x="2702915" y="186921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0" y="0"/>
                  </a:moveTo>
                  <a:lnTo>
                    <a:pt x="7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5" name="Google Shape;4575;p53"/>
            <p:cNvSpPr/>
            <p:nvPr/>
          </p:nvSpPr>
          <p:spPr>
            <a:xfrm>
              <a:off x="2730382" y="1871783"/>
              <a:ext cx="204" cy="1290"/>
            </a:xfrm>
            <a:custGeom>
              <a:avLst/>
              <a:gdLst/>
              <a:ahLst/>
              <a:cxnLst/>
              <a:rect l="l" t="t" r="r" b="b"/>
              <a:pathLst>
                <a:path w="15" h="95" extrusionOk="0">
                  <a:moveTo>
                    <a:pt x="15" y="9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6" name="Google Shape;4576;p53"/>
            <p:cNvSpPr/>
            <p:nvPr/>
          </p:nvSpPr>
          <p:spPr>
            <a:xfrm>
              <a:off x="2703105" y="1870018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7" name="Google Shape;4577;p53"/>
            <p:cNvSpPr/>
            <p:nvPr/>
          </p:nvSpPr>
          <p:spPr>
            <a:xfrm>
              <a:off x="2702480" y="186773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1"/>
                  </a:moveTo>
                  <a:lnTo>
                    <a:pt x="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8" name="Google Shape;4578;p53"/>
            <p:cNvSpPr/>
            <p:nvPr/>
          </p:nvSpPr>
          <p:spPr>
            <a:xfrm>
              <a:off x="2701774" y="1865795"/>
              <a:ext cx="204" cy="489"/>
            </a:xfrm>
            <a:custGeom>
              <a:avLst/>
              <a:gdLst/>
              <a:ahLst/>
              <a:cxnLst/>
              <a:rect l="l" t="t" r="r" b="b"/>
              <a:pathLst>
                <a:path w="15" h="36" extrusionOk="0">
                  <a:moveTo>
                    <a:pt x="0" y="0"/>
                  </a:moveTo>
                  <a:cubicBezTo>
                    <a:pt x="4" y="11"/>
                    <a:pt x="11" y="21"/>
                    <a:pt x="14" y="35"/>
                  </a:cubicBezTo>
                  <a:cubicBezTo>
                    <a:pt x="11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9" name="Google Shape;4579;p53"/>
            <p:cNvSpPr/>
            <p:nvPr/>
          </p:nvSpPr>
          <p:spPr>
            <a:xfrm>
              <a:off x="2730667" y="1873439"/>
              <a:ext cx="163" cy="964"/>
            </a:xfrm>
            <a:custGeom>
              <a:avLst/>
              <a:gdLst/>
              <a:ahLst/>
              <a:cxnLst/>
              <a:rect l="l" t="t" r="r" b="b"/>
              <a:pathLst>
                <a:path w="12" h="71" extrusionOk="0">
                  <a:moveTo>
                    <a:pt x="11" y="7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0" name="Google Shape;4580;p53"/>
            <p:cNvSpPr/>
            <p:nvPr/>
          </p:nvSpPr>
          <p:spPr>
            <a:xfrm>
              <a:off x="2730911" y="1874919"/>
              <a:ext cx="149" cy="1005"/>
            </a:xfrm>
            <a:custGeom>
              <a:avLst/>
              <a:gdLst/>
              <a:ahLst/>
              <a:cxnLst/>
              <a:rect l="l" t="t" r="r" b="b"/>
              <a:pathLst>
                <a:path w="11" h="74" extrusionOk="0">
                  <a:moveTo>
                    <a:pt x="11" y="7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1" name="Google Shape;4581;p53"/>
            <p:cNvSpPr/>
            <p:nvPr/>
          </p:nvSpPr>
          <p:spPr>
            <a:xfrm>
              <a:off x="2702290" y="1867071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1" y="1"/>
                  </a:moveTo>
                  <a:lnTo>
                    <a:pt x="8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2" name="Google Shape;4582;p53"/>
            <p:cNvSpPr/>
            <p:nvPr/>
          </p:nvSpPr>
          <p:spPr>
            <a:xfrm>
              <a:off x="2703675" y="1872638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lnTo>
                    <a:pt x="4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3" name="Google Shape;4583;p53"/>
            <p:cNvSpPr/>
            <p:nvPr/>
          </p:nvSpPr>
          <p:spPr>
            <a:xfrm>
              <a:off x="2703485" y="1871728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4" name="Google Shape;4584;p53"/>
            <p:cNvSpPr/>
            <p:nvPr/>
          </p:nvSpPr>
          <p:spPr>
            <a:xfrm>
              <a:off x="2702670" y="1868497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5" name="Google Shape;4585;p53"/>
            <p:cNvSpPr/>
            <p:nvPr/>
          </p:nvSpPr>
          <p:spPr>
            <a:xfrm>
              <a:off x="2731142" y="187634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7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6" name="Google Shape;4586;p53"/>
            <p:cNvSpPr/>
            <p:nvPr/>
          </p:nvSpPr>
          <p:spPr>
            <a:xfrm>
              <a:off x="2699819" y="1855802"/>
              <a:ext cx="1969" cy="10007"/>
            </a:xfrm>
            <a:custGeom>
              <a:avLst/>
              <a:gdLst/>
              <a:ahLst/>
              <a:cxnLst/>
              <a:rect l="l" t="t" r="r" b="b"/>
              <a:pathLst>
                <a:path w="145" h="737" extrusionOk="0">
                  <a:moveTo>
                    <a:pt x="144" y="736"/>
                  </a:moveTo>
                  <a:cubicBezTo>
                    <a:pt x="57" y="501"/>
                    <a:pt x="8" y="253"/>
                    <a:pt x="1" y="1"/>
                  </a:cubicBezTo>
                  <a:cubicBezTo>
                    <a:pt x="8" y="253"/>
                    <a:pt x="57" y="501"/>
                    <a:pt x="144" y="7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7" name="Google Shape;4587;p53"/>
            <p:cNvSpPr/>
            <p:nvPr/>
          </p:nvSpPr>
          <p:spPr>
            <a:xfrm>
              <a:off x="2704191" y="1876345"/>
              <a:ext cx="68" cy="530"/>
            </a:xfrm>
            <a:custGeom>
              <a:avLst/>
              <a:gdLst/>
              <a:ahLst/>
              <a:cxnLst/>
              <a:rect l="l" t="t" r="r" b="b"/>
              <a:pathLst>
                <a:path w="5" h="39" extrusionOk="0">
                  <a:moveTo>
                    <a:pt x="1" y="0"/>
                  </a:moveTo>
                  <a:cubicBezTo>
                    <a:pt x="1" y="11"/>
                    <a:pt x="1" y="25"/>
                    <a:pt x="4" y="39"/>
                  </a:cubicBezTo>
                  <a:cubicBezTo>
                    <a:pt x="4" y="25"/>
                    <a:pt x="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8" name="Google Shape;4588;p53"/>
            <p:cNvSpPr/>
            <p:nvPr/>
          </p:nvSpPr>
          <p:spPr>
            <a:xfrm>
              <a:off x="2698543" y="1845022"/>
              <a:ext cx="299" cy="1195"/>
            </a:xfrm>
            <a:custGeom>
              <a:avLst/>
              <a:gdLst/>
              <a:ahLst/>
              <a:cxnLst/>
              <a:rect l="l" t="t" r="r" b="b"/>
              <a:pathLst>
                <a:path w="22" h="88" extrusionOk="0">
                  <a:moveTo>
                    <a:pt x="0" y="88"/>
                  </a:moveTo>
                  <a:cubicBezTo>
                    <a:pt x="0" y="56"/>
                    <a:pt x="7" y="28"/>
                    <a:pt x="21" y="0"/>
                  </a:cubicBezTo>
                  <a:cubicBezTo>
                    <a:pt x="7" y="28"/>
                    <a:pt x="0" y="56"/>
                    <a:pt x="0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9" name="Google Shape;4589;p53"/>
            <p:cNvSpPr/>
            <p:nvPr/>
          </p:nvSpPr>
          <p:spPr>
            <a:xfrm>
              <a:off x="2703295" y="1870873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0" name="Google Shape;4590;p53"/>
            <p:cNvSpPr/>
            <p:nvPr/>
          </p:nvSpPr>
          <p:spPr>
            <a:xfrm>
              <a:off x="2703960" y="18744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0" y="1"/>
                  </a:moveTo>
                  <a:cubicBezTo>
                    <a:pt x="0" y="11"/>
                    <a:pt x="4" y="22"/>
                    <a:pt x="4" y="36"/>
                  </a:cubicBezTo>
                  <a:cubicBezTo>
                    <a:pt x="4" y="22"/>
                    <a:pt x="0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1" name="Google Shape;4591;p53"/>
            <p:cNvSpPr/>
            <p:nvPr/>
          </p:nvSpPr>
          <p:spPr>
            <a:xfrm>
              <a:off x="2704245" y="1877241"/>
              <a:ext cx="54" cy="543"/>
            </a:xfrm>
            <a:custGeom>
              <a:avLst/>
              <a:gdLst/>
              <a:ahLst/>
              <a:cxnLst/>
              <a:rect l="l" t="t" r="r" b="b"/>
              <a:pathLst>
                <a:path w="4" h="40" extrusionOk="0">
                  <a:moveTo>
                    <a:pt x="0" y="1"/>
                  </a:moveTo>
                  <a:cubicBezTo>
                    <a:pt x="0" y="15"/>
                    <a:pt x="0" y="29"/>
                    <a:pt x="4" y="39"/>
                  </a:cubicBezTo>
                  <a:cubicBezTo>
                    <a:pt x="4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2" name="Google Shape;4592;p53"/>
            <p:cNvSpPr/>
            <p:nvPr/>
          </p:nvSpPr>
          <p:spPr>
            <a:xfrm>
              <a:off x="2704055" y="1875394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0" y="0"/>
                  </a:moveTo>
                  <a:cubicBezTo>
                    <a:pt x="0" y="12"/>
                    <a:pt x="3" y="21"/>
                    <a:pt x="5" y="29"/>
                  </a:cubicBezTo>
                  <a:lnTo>
                    <a:pt x="5" y="29"/>
                  </a:lnTo>
                  <a:cubicBezTo>
                    <a:pt x="4" y="22"/>
                    <a:pt x="3" y="11"/>
                    <a:pt x="0" y="0"/>
                  </a:cubicBezTo>
                  <a:close/>
                  <a:moveTo>
                    <a:pt x="5" y="29"/>
                  </a:moveTo>
                  <a:lnTo>
                    <a:pt x="5" y="29"/>
                  </a:lnTo>
                  <a:cubicBezTo>
                    <a:pt x="6" y="31"/>
                    <a:pt x="7" y="34"/>
                    <a:pt x="7" y="35"/>
                  </a:cubicBezTo>
                  <a:cubicBezTo>
                    <a:pt x="7" y="33"/>
                    <a:pt x="6" y="31"/>
                    <a:pt x="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3" name="Google Shape;4593;p53"/>
            <p:cNvSpPr/>
            <p:nvPr/>
          </p:nvSpPr>
          <p:spPr>
            <a:xfrm>
              <a:off x="2704286" y="1878151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4" name="Google Shape;4594;p53"/>
            <p:cNvSpPr/>
            <p:nvPr/>
          </p:nvSpPr>
          <p:spPr>
            <a:xfrm>
              <a:off x="2703811" y="1873534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1"/>
                  </a:moveTo>
                  <a:cubicBezTo>
                    <a:pt x="1" y="11"/>
                    <a:pt x="4" y="25"/>
                    <a:pt x="4" y="36"/>
                  </a:cubicBezTo>
                  <a:cubicBezTo>
                    <a:pt x="4" y="25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5" name="Google Shape;4595;p53"/>
            <p:cNvSpPr/>
            <p:nvPr/>
          </p:nvSpPr>
          <p:spPr>
            <a:xfrm>
              <a:off x="2702059" y="1866460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0" y="0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6" name="Google Shape;4596;p53"/>
            <p:cNvSpPr/>
            <p:nvPr/>
          </p:nvSpPr>
          <p:spPr>
            <a:xfrm>
              <a:off x="2698923" y="1616037"/>
              <a:ext cx="231211" cy="97731"/>
            </a:xfrm>
            <a:custGeom>
              <a:avLst/>
              <a:gdLst/>
              <a:ahLst/>
              <a:cxnLst/>
              <a:rect l="l" t="t" r="r" b="b"/>
              <a:pathLst>
                <a:path w="17029" h="7198" extrusionOk="0">
                  <a:moveTo>
                    <a:pt x="5595" y="0"/>
                  </a:moveTo>
                  <a:cubicBezTo>
                    <a:pt x="5581" y="0"/>
                    <a:pt x="5570" y="11"/>
                    <a:pt x="5539" y="72"/>
                  </a:cubicBezTo>
                  <a:cubicBezTo>
                    <a:pt x="5521" y="103"/>
                    <a:pt x="5500" y="135"/>
                    <a:pt x="5476" y="166"/>
                  </a:cubicBezTo>
                  <a:cubicBezTo>
                    <a:pt x="5434" y="198"/>
                    <a:pt x="5388" y="226"/>
                    <a:pt x="5339" y="240"/>
                  </a:cubicBezTo>
                  <a:cubicBezTo>
                    <a:pt x="5280" y="264"/>
                    <a:pt x="5210" y="292"/>
                    <a:pt x="5199" y="331"/>
                  </a:cubicBezTo>
                  <a:cubicBezTo>
                    <a:pt x="5178" y="404"/>
                    <a:pt x="5112" y="446"/>
                    <a:pt x="5056" y="485"/>
                  </a:cubicBezTo>
                  <a:cubicBezTo>
                    <a:pt x="4989" y="527"/>
                    <a:pt x="4968" y="548"/>
                    <a:pt x="4975" y="572"/>
                  </a:cubicBezTo>
                  <a:cubicBezTo>
                    <a:pt x="5024" y="768"/>
                    <a:pt x="5101" y="950"/>
                    <a:pt x="5147" y="989"/>
                  </a:cubicBezTo>
                  <a:cubicBezTo>
                    <a:pt x="5269" y="1087"/>
                    <a:pt x="5199" y="1325"/>
                    <a:pt x="5143" y="1402"/>
                  </a:cubicBezTo>
                  <a:cubicBezTo>
                    <a:pt x="5112" y="1444"/>
                    <a:pt x="5045" y="1465"/>
                    <a:pt x="4937" y="1503"/>
                  </a:cubicBezTo>
                  <a:cubicBezTo>
                    <a:pt x="4849" y="1531"/>
                    <a:pt x="4719" y="1577"/>
                    <a:pt x="4691" y="1623"/>
                  </a:cubicBezTo>
                  <a:cubicBezTo>
                    <a:pt x="4674" y="1658"/>
                    <a:pt x="4639" y="1686"/>
                    <a:pt x="4600" y="1696"/>
                  </a:cubicBezTo>
                  <a:cubicBezTo>
                    <a:pt x="4589" y="1699"/>
                    <a:pt x="4577" y="1700"/>
                    <a:pt x="4565" y="1700"/>
                  </a:cubicBezTo>
                  <a:cubicBezTo>
                    <a:pt x="4482" y="1700"/>
                    <a:pt x="4389" y="1641"/>
                    <a:pt x="4285" y="1577"/>
                  </a:cubicBezTo>
                  <a:cubicBezTo>
                    <a:pt x="4261" y="1563"/>
                    <a:pt x="4240" y="1545"/>
                    <a:pt x="4215" y="1531"/>
                  </a:cubicBezTo>
                  <a:cubicBezTo>
                    <a:pt x="4205" y="1528"/>
                    <a:pt x="4194" y="1524"/>
                    <a:pt x="4187" y="1517"/>
                  </a:cubicBezTo>
                  <a:cubicBezTo>
                    <a:pt x="4151" y="1502"/>
                    <a:pt x="4112" y="1492"/>
                    <a:pt x="4070" y="1492"/>
                  </a:cubicBezTo>
                  <a:cubicBezTo>
                    <a:pt x="4063" y="1492"/>
                    <a:pt x="4057" y="1493"/>
                    <a:pt x="4051" y="1493"/>
                  </a:cubicBezTo>
                  <a:cubicBezTo>
                    <a:pt x="3991" y="1496"/>
                    <a:pt x="3935" y="1510"/>
                    <a:pt x="3883" y="1542"/>
                  </a:cubicBezTo>
                  <a:cubicBezTo>
                    <a:pt x="3872" y="1545"/>
                    <a:pt x="3862" y="1552"/>
                    <a:pt x="3851" y="1559"/>
                  </a:cubicBezTo>
                  <a:lnTo>
                    <a:pt x="3844" y="1566"/>
                  </a:lnTo>
                  <a:cubicBezTo>
                    <a:pt x="3824" y="1580"/>
                    <a:pt x="3800" y="1587"/>
                    <a:pt x="3774" y="1587"/>
                  </a:cubicBezTo>
                  <a:cubicBezTo>
                    <a:pt x="3688" y="1587"/>
                    <a:pt x="3576" y="1522"/>
                    <a:pt x="3466" y="1458"/>
                  </a:cubicBezTo>
                  <a:cubicBezTo>
                    <a:pt x="3428" y="1433"/>
                    <a:pt x="3386" y="1412"/>
                    <a:pt x="3344" y="1395"/>
                  </a:cubicBezTo>
                  <a:cubicBezTo>
                    <a:pt x="3267" y="1381"/>
                    <a:pt x="3239" y="1290"/>
                    <a:pt x="3211" y="1192"/>
                  </a:cubicBezTo>
                  <a:cubicBezTo>
                    <a:pt x="3200" y="1157"/>
                    <a:pt x="3186" y="1125"/>
                    <a:pt x="3172" y="1090"/>
                  </a:cubicBezTo>
                  <a:lnTo>
                    <a:pt x="3162" y="1090"/>
                  </a:lnTo>
                  <a:cubicBezTo>
                    <a:pt x="3001" y="1090"/>
                    <a:pt x="2479" y="978"/>
                    <a:pt x="2402" y="961"/>
                  </a:cubicBezTo>
                  <a:cubicBezTo>
                    <a:pt x="2369" y="951"/>
                    <a:pt x="2329" y="947"/>
                    <a:pt x="2289" y="947"/>
                  </a:cubicBezTo>
                  <a:cubicBezTo>
                    <a:pt x="2200" y="947"/>
                    <a:pt x="2108" y="967"/>
                    <a:pt x="2094" y="989"/>
                  </a:cubicBezTo>
                  <a:cubicBezTo>
                    <a:pt x="2066" y="1055"/>
                    <a:pt x="1975" y="1076"/>
                    <a:pt x="1873" y="1097"/>
                  </a:cubicBezTo>
                  <a:cubicBezTo>
                    <a:pt x="1828" y="1108"/>
                    <a:pt x="1730" y="1129"/>
                    <a:pt x="1716" y="1153"/>
                  </a:cubicBezTo>
                  <a:cubicBezTo>
                    <a:pt x="1681" y="1223"/>
                    <a:pt x="1597" y="1265"/>
                    <a:pt x="1509" y="1311"/>
                  </a:cubicBezTo>
                  <a:cubicBezTo>
                    <a:pt x="1450" y="1332"/>
                    <a:pt x="1401" y="1367"/>
                    <a:pt x="1355" y="1409"/>
                  </a:cubicBezTo>
                  <a:cubicBezTo>
                    <a:pt x="1306" y="1465"/>
                    <a:pt x="1229" y="1489"/>
                    <a:pt x="1145" y="1517"/>
                  </a:cubicBezTo>
                  <a:cubicBezTo>
                    <a:pt x="1061" y="1545"/>
                    <a:pt x="970" y="1577"/>
                    <a:pt x="942" y="1633"/>
                  </a:cubicBezTo>
                  <a:cubicBezTo>
                    <a:pt x="876" y="1787"/>
                    <a:pt x="606" y="1864"/>
                    <a:pt x="392" y="1896"/>
                  </a:cubicBezTo>
                  <a:cubicBezTo>
                    <a:pt x="294" y="1910"/>
                    <a:pt x="200" y="1934"/>
                    <a:pt x="109" y="1973"/>
                  </a:cubicBezTo>
                  <a:lnTo>
                    <a:pt x="105" y="1976"/>
                  </a:lnTo>
                  <a:lnTo>
                    <a:pt x="98" y="1976"/>
                  </a:lnTo>
                  <a:lnTo>
                    <a:pt x="95" y="1980"/>
                  </a:lnTo>
                  <a:lnTo>
                    <a:pt x="91" y="1980"/>
                  </a:lnTo>
                  <a:lnTo>
                    <a:pt x="84" y="1983"/>
                  </a:lnTo>
                  <a:lnTo>
                    <a:pt x="77" y="1987"/>
                  </a:lnTo>
                  <a:lnTo>
                    <a:pt x="74" y="1990"/>
                  </a:lnTo>
                  <a:cubicBezTo>
                    <a:pt x="74" y="1997"/>
                    <a:pt x="70" y="2004"/>
                    <a:pt x="70" y="2008"/>
                  </a:cubicBezTo>
                  <a:cubicBezTo>
                    <a:pt x="67" y="2015"/>
                    <a:pt x="63" y="2022"/>
                    <a:pt x="60" y="2025"/>
                  </a:cubicBezTo>
                  <a:cubicBezTo>
                    <a:pt x="56" y="2029"/>
                    <a:pt x="53" y="2032"/>
                    <a:pt x="49" y="2036"/>
                  </a:cubicBezTo>
                  <a:lnTo>
                    <a:pt x="46" y="2039"/>
                  </a:lnTo>
                  <a:lnTo>
                    <a:pt x="39" y="2046"/>
                  </a:lnTo>
                  <a:lnTo>
                    <a:pt x="32" y="2050"/>
                  </a:lnTo>
                  <a:cubicBezTo>
                    <a:pt x="21" y="2060"/>
                    <a:pt x="11" y="2064"/>
                    <a:pt x="0" y="2067"/>
                  </a:cubicBezTo>
                  <a:lnTo>
                    <a:pt x="4" y="2085"/>
                  </a:lnTo>
                  <a:cubicBezTo>
                    <a:pt x="4" y="2092"/>
                    <a:pt x="7" y="2102"/>
                    <a:pt x="7" y="2109"/>
                  </a:cubicBezTo>
                  <a:cubicBezTo>
                    <a:pt x="11" y="2116"/>
                    <a:pt x="11" y="2120"/>
                    <a:pt x="11" y="2127"/>
                  </a:cubicBezTo>
                  <a:cubicBezTo>
                    <a:pt x="14" y="2134"/>
                    <a:pt x="14" y="2141"/>
                    <a:pt x="18" y="2148"/>
                  </a:cubicBezTo>
                  <a:lnTo>
                    <a:pt x="21" y="2165"/>
                  </a:lnTo>
                  <a:cubicBezTo>
                    <a:pt x="21" y="2172"/>
                    <a:pt x="25" y="2176"/>
                    <a:pt x="28" y="2183"/>
                  </a:cubicBezTo>
                  <a:lnTo>
                    <a:pt x="32" y="2197"/>
                  </a:lnTo>
                  <a:lnTo>
                    <a:pt x="39" y="2214"/>
                  </a:lnTo>
                  <a:lnTo>
                    <a:pt x="46" y="2228"/>
                  </a:lnTo>
                  <a:lnTo>
                    <a:pt x="49" y="2242"/>
                  </a:lnTo>
                  <a:lnTo>
                    <a:pt x="56" y="2256"/>
                  </a:lnTo>
                  <a:lnTo>
                    <a:pt x="63" y="2270"/>
                  </a:lnTo>
                  <a:lnTo>
                    <a:pt x="70" y="2281"/>
                  </a:lnTo>
                  <a:lnTo>
                    <a:pt x="77" y="2291"/>
                  </a:lnTo>
                  <a:lnTo>
                    <a:pt x="84" y="2302"/>
                  </a:lnTo>
                  <a:lnTo>
                    <a:pt x="91" y="2312"/>
                  </a:lnTo>
                  <a:lnTo>
                    <a:pt x="98" y="2323"/>
                  </a:lnTo>
                  <a:lnTo>
                    <a:pt x="109" y="2330"/>
                  </a:lnTo>
                  <a:lnTo>
                    <a:pt x="116" y="2340"/>
                  </a:lnTo>
                  <a:lnTo>
                    <a:pt x="123" y="2347"/>
                  </a:lnTo>
                  <a:lnTo>
                    <a:pt x="133" y="2358"/>
                  </a:lnTo>
                  <a:lnTo>
                    <a:pt x="140" y="2365"/>
                  </a:lnTo>
                  <a:lnTo>
                    <a:pt x="151" y="2372"/>
                  </a:lnTo>
                  <a:lnTo>
                    <a:pt x="158" y="2379"/>
                  </a:lnTo>
                  <a:lnTo>
                    <a:pt x="168" y="2386"/>
                  </a:lnTo>
                  <a:lnTo>
                    <a:pt x="175" y="2393"/>
                  </a:lnTo>
                  <a:lnTo>
                    <a:pt x="193" y="2403"/>
                  </a:lnTo>
                  <a:lnTo>
                    <a:pt x="196" y="2407"/>
                  </a:lnTo>
                  <a:lnTo>
                    <a:pt x="214" y="2417"/>
                  </a:lnTo>
                  <a:lnTo>
                    <a:pt x="235" y="2431"/>
                  </a:lnTo>
                  <a:cubicBezTo>
                    <a:pt x="256" y="2445"/>
                    <a:pt x="284" y="2463"/>
                    <a:pt x="308" y="2480"/>
                  </a:cubicBezTo>
                  <a:cubicBezTo>
                    <a:pt x="326" y="2494"/>
                    <a:pt x="347" y="2508"/>
                    <a:pt x="364" y="2526"/>
                  </a:cubicBezTo>
                  <a:cubicBezTo>
                    <a:pt x="504" y="2645"/>
                    <a:pt x="623" y="2739"/>
                    <a:pt x="760" y="2771"/>
                  </a:cubicBezTo>
                  <a:cubicBezTo>
                    <a:pt x="778" y="2774"/>
                    <a:pt x="799" y="2774"/>
                    <a:pt x="820" y="2778"/>
                  </a:cubicBezTo>
                  <a:cubicBezTo>
                    <a:pt x="1016" y="2792"/>
                    <a:pt x="1320" y="3012"/>
                    <a:pt x="1348" y="3215"/>
                  </a:cubicBezTo>
                  <a:cubicBezTo>
                    <a:pt x="1352" y="3222"/>
                    <a:pt x="1352" y="3233"/>
                    <a:pt x="1355" y="3240"/>
                  </a:cubicBezTo>
                  <a:cubicBezTo>
                    <a:pt x="1387" y="3362"/>
                    <a:pt x="1523" y="3513"/>
                    <a:pt x="1618" y="3586"/>
                  </a:cubicBezTo>
                  <a:cubicBezTo>
                    <a:pt x="1628" y="3597"/>
                    <a:pt x="1639" y="3607"/>
                    <a:pt x="1646" y="3618"/>
                  </a:cubicBezTo>
                  <a:cubicBezTo>
                    <a:pt x="1670" y="3653"/>
                    <a:pt x="1681" y="3699"/>
                    <a:pt x="1681" y="3741"/>
                  </a:cubicBezTo>
                  <a:cubicBezTo>
                    <a:pt x="1674" y="3814"/>
                    <a:pt x="1663" y="3884"/>
                    <a:pt x="1646" y="3954"/>
                  </a:cubicBezTo>
                  <a:cubicBezTo>
                    <a:pt x="1625" y="4031"/>
                    <a:pt x="1614" y="4108"/>
                    <a:pt x="1607" y="4189"/>
                  </a:cubicBezTo>
                  <a:cubicBezTo>
                    <a:pt x="1604" y="4276"/>
                    <a:pt x="1569" y="4360"/>
                    <a:pt x="1506" y="4427"/>
                  </a:cubicBezTo>
                  <a:cubicBezTo>
                    <a:pt x="1453" y="4493"/>
                    <a:pt x="1429" y="4525"/>
                    <a:pt x="1474" y="4602"/>
                  </a:cubicBezTo>
                  <a:cubicBezTo>
                    <a:pt x="1572" y="4756"/>
                    <a:pt x="2349" y="4871"/>
                    <a:pt x="2650" y="4871"/>
                  </a:cubicBezTo>
                  <a:cubicBezTo>
                    <a:pt x="2843" y="4871"/>
                    <a:pt x="2952" y="4990"/>
                    <a:pt x="3025" y="5067"/>
                  </a:cubicBezTo>
                  <a:cubicBezTo>
                    <a:pt x="3039" y="5088"/>
                    <a:pt x="3057" y="5102"/>
                    <a:pt x="3074" y="5120"/>
                  </a:cubicBezTo>
                  <a:cubicBezTo>
                    <a:pt x="3148" y="5134"/>
                    <a:pt x="3214" y="5176"/>
                    <a:pt x="3256" y="5235"/>
                  </a:cubicBezTo>
                  <a:lnTo>
                    <a:pt x="3277" y="5256"/>
                  </a:lnTo>
                  <a:cubicBezTo>
                    <a:pt x="3319" y="5309"/>
                    <a:pt x="3358" y="5351"/>
                    <a:pt x="3428" y="5365"/>
                  </a:cubicBezTo>
                  <a:cubicBezTo>
                    <a:pt x="3501" y="5379"/>
                    <a:pt x="3571" y="5407"/>
                    <a:pt x="3638" y="5449"/>
                  </a:cubicBezTo>
                  <a:cubicBezTo>
                    <a:pt x="3767" y="5533"/>
                    <a:pt x="3855" y="5673"/>
                    <a:pt x="3900" y="5876"/>
                  </a:cubicBezTo>
                  <a:cubicBezTo>
                    <a:pt x="3925" y="5985"/>
                    <a:pt x="3970" y="6086"/>
                    <a:pt x="4040" y="6174"/>
                  </a:cubicBezTo>
                  <a:cubicBezTo>
                    <a:pt x="4061" y="6198"/>
                    <a:pt x="4079" y="6223"/>
                    <a:pt x="4096" y="6244"/>
                  </a:cubicBezTo>
                  <a:cubicBezTo>
                    <a:pt x="4152" y="6300"/>
                    <a:pt x="4191" y="6366"/>
                    <a:pt x="4215" y="6436"/>
                  </a:cubicBezTo>
                  <a:cubicBezTo>
                    <a:pt x="4221" y="6456"/>
                    <a:pt x="4289" y="6461"/>
                    <a:pt x="4363" y="6461"/>
                  </a:cubicBezTo>
                  <a:cubicBezTo>
                    <a:pt x="4418" y="6461"/>
                    <a:pt x="4476" y="6459"/>
                    <a:pt x="4516" y="6457"/>
                  </a:cubicBezTo>
                  <a:cubicBezTo>
                    <a:pt x="4574" y="6452"/>
                    <a:pt x="4633" y="6449"/>
                    <a:pt x="4691" y="6449"/>
                  </a:cubicBezTo>
                  <a:cubicBezTo>
                    <a:pt x="4750" y="6449"/>
                    <a:pt x="4809" y="6452"/>
                    <a:pt x="4867" y="6457"/>
                  </a:cubicBezTo>
                  <a:cubicBezTo>
                    <a:pt x="5003" y="6475"/>
                    <a:pt x="5273" y="6475"/>
                    <a:pt x="5535" y="6475"/>
                  </a:cubicBezTo>
                  <a:cubicBezTo>
                    <a:pt x="5805" y="6475"/>
                    <a:pt x="6060" y="6475"/>
                    <a:pt x="6172" y="6492"/>
                  </a:cubicBezTo>
                  <a:cubicBezTo>
                    <a:pt x="6221" y="6499"/>
                    <a:pt x="6291" y="6506"/>
                    <a:pt x="6372" y="6510"/>
                  </a:cubicBezTo>
                  <a:lnTo>
                    <a:pt x="6466" y="6517"/>
                  </a:lnTo>
                  <a:cubicBezTo>
                    <a:pt x="6701" y="6534"/>
                    <a:pt x="6988" y="6566"/>
                    <a:pt x="7188" y="6716"/>
                  </a:cubicBezTo>
                  <a:cubicBezTo>
                    <a:pt x="7266" y="6780"/>
                    <a:pt x="7364" y="6815"/>
                    <a:pt x="7465" y="6815"/>
                  </a:cubicBezTo>
                  <a:cubicBezTo>
                    <a:pt x="7486" y="6815"/>
                    <a:pt x="7506" y="6814"/>
                    <a:pt x="7527" y="6811"/>
                  </a:cubicBezTo>
                  <a:cubicBezTo>
                    <a:pt x="7549" y="6807"/>
                    <a:pt x="7571" y="6806"/>
                    <a:pt x="7593" y="6806"/>
                  </a:cubicBezTo>
                  <a:cubicBezTo>
                    <a:pt x="7658" y="6806"/>
                    <a:pt x="7721" y="6821"/>
                    <a:pt x="7779" y="6853"/>
                  </a:cubicBezTo>
                  <a:cubicBezTo>
                    <a:pt x="7923" y="6939"/>
                    <a:pt x="8028" y="6994"/>
                    <a:pt x="8187" y="6994"/>
                  </a:cubicBezTo>
                  <a:cubicBezTo>
                    <a:pt x="8222" y="6994"/>
                    <a:pt x="8260" y="6992"/>
                    <a:pt x="8301" y="6986"/>
                  </a:cubicBezTo>
                  <a:cubicBezTo>
                    <a:pt x="8322" y="6982"/>
                    <a:pt x="8343" y="6979"/>
                    <a:pt x="8360" y="6979"/>
                  </a:cubicBezTo>
                  <a:cubicBezTo>
                    <a:pt x="8374" y="6979"/>
                    <a:pt x="8388" y="6982"/>
                    <a:pt x="8402" y="6982"/>
                  </a:cubicBezTo>
                  <a:lnTo>
                    <a:pt x="8413" y="6982"/>
                  </a:lnTo>
                  <a:cubicBezTo>
                    <a:pt x="8423" y="6986"/>
                    <a:pt x="8434" y="6986"/>
                    <a:pt x="8444" y="6989"/>
                  </a:cubicBezTo>
                  <a:lnTo>
                    <a:pt x="8455" y="6993"/>
                  </a:lnTo>
                  <a:cubicBezTo>
                    <a:pt x="8465" y="6996"/>
                    <a:pt x="8476" y="7000"/>
                    <a:pt x="8483" y="7003"/>
                  </a:cubicBezTo>
                  <a:lnTo>
                    <a:pt x="8493" y="7007"/>
                  </a:lnTo>
                  <a:cubicBezTo>
                    <a:pt x="8500" y="7010"/>
                    <a:pt x="8507" y="7017"/>
                    <a:pt x="8518" y="7021"/>
                  </a:cubicBezTo>
                  <a:lnTo>
                    <a:pt x="8525" y="7024"/>
                  </a:lnTo>
                  <a:lnTo>
                    <a:pt x="8546" y="7038"/>
                  </a:lnTo>
                  <a:lnTo>
                    <a:pt x="8549" y="7045"/>
                  </a:lnTo>
                  <a:lnTo>
                    <a:pt x="8570" y="7063"/>
                  </a:lnTo>
                  <a:lnTo>
                    <a:pt x="8577" y="7066"/>
                  </a:lnTo>
                  <a:lnTo>
                    <a:pt x="8598" y="7087"/>
                  </a:lnTo>
                  <a:lnTo>
                    <a:pt x="8602" y="7091"/>
                  </a:lnTo>
                  <a:lnTo>
                    <a:pt x="8619" y="7108"/>
                  </a:lnTo>
                  <a:cubicBezTo>
                    <a:pt x="8651" y="7150"/>
                    <a:pt x="8693" y="7182"/>
                    <a:pt x="8742" y="7196"/>
                  </a:cubicBezTo>
                  <a:cubicBezTo>
                    <a:pt x="8748" y="7197"/>
                    <a:pt x="8754" y="7198"/>
                    <a:pt x="8761" y="7198"/>
                  </a:cubicBezTo>
                  <a:cubicBezTo>
                    <a:pt x="8843" y="7198"/>
                    <a:pt x="8985" y="7104"/>
                    <a:pt x="9134" y="7007"/>
                  </a:cubicBezTo>
                  <a:cubicBezTo>
                    <a:pt x="9299" y="6895"/>
                    <a:pt x="9474" y="6797"/>
                    <a:pt x="9656" y="6709"/>
                  </a:cubicBezTo>
                  <a:cubicBezTo>
                    <a:pt x="9705" y="6685"/>
                    <a:pt x="9757" y="6664"/>
                    <a:pt x="9810" y="6650"/>
                  </a:cubicBezTo>
                  <a:cubicBezTo>
                    <a:pt x="9944" y="6610"/>
                    <a:pt x="10082" y="6589"/>
                    <a:pt x="10222" y="6589"/>
                  </a:cubicBezTo>
                  <a:cubicBezTo>
                    <a:pt x="10242" y="6589"/>
                    <a:pt x="10262" y="6589"/>
                    <a:pt x="10282" y="6590"/>
                  </a:cubicBezTo>
                  <a:cubicBezTo>
                    <a:pt x="10377" y="6590"/>
                    <a:pt x="10471" y="6597"/>
                    <a:pt x="10566" y="6611"/>
                  </a:cubicBezTo>
                  <a:cubicBezTo>
                    <a:pt x="10653" y="6622"/>
                    <a:pt x="10737" y="6636"/>
                    <a:pt x="10804" y="6646"/>
                  </a:cubicBezTo>
                  <a:lnTo>
                    <a:pt x="10856" y="6657"/>
                  </a:lnTo>
                  <a:lnTo>
                    <a:pt x="10923" y="6667"/>
                  </a:lnTo>
                  <a:cubicBezTo>
                    <a:pt x="10945" y="6670"/>
                    <a:pt x="10968" y="6672"/>
                    <a:pt x="10994" y="6672"/>
                  </a:cubicBezTo>
                  <a:cubicBezTo>
                    <a:pt x="11224" y="6672"/>
                    <a:pt x="11605" y="6545"/>
                    <a:pt x="11851" y="6265"/>
                  </a:cubicBezTo>
                  <a:cubicBezTo>
                    <a:pt x="11970" y="6142"/>
                    <a:pt x="12113" y="6048"/>
                    <a:pt x="12271" y="5985"/>
                  </a:cubicBezTo>
                  <a:cubicBezTo>
                    <a:pt x="12418" y="5922"/>
                    <a:pt x="12491" y="5883"/>
                    <a:pt x="12505" y="5771"/>
                  </a:cubicBezTo>
                  <a:cubicBezTo>
                    <a:pt x="12519" y="5662"/>
                    <a:pt x="12470" y="5589"/>
                    <a:pt x="12418" y="5508"/>
                  </a:cubicBezTo>
                  <a:cubicBezTo>
                    <a:pt x="12351" y="5403"/>
                    <a:pt x="12278" y="5284"/>
                    <a:pt x="12372" y="5116"/>
                  </a:cubicBezTo>
                  <a:cubicBezTo>
                    <a:pt x="12463" y="4954"/>
                    <a:pt x="12605" y="4889"/>
                    <a:pt x="12747" y="4889"/>
                  </a:cubicBezTo>
                  <a:cubicBezTo>
                    <a:pt x="12829" y="4889"/>
                    <a:pt x="12912" y="4911"/>
                    <a:pt x="12985" y="4948"/>
                  </a:cubicBezTo>
                  <a:cubicBezTo>
                    <a:pt x="13098" y="5000"/>
                    <a:pt x="13218" y="5026"/>
                    <a:pt x="13337" y="5026"/>
                  </a:cubicBezTo>
                  <a:cubicBezTo>
                    <a:pt x="13500" y="5026"/>
                    <a:pt x="13661" y="4978"/>
                    <a:pt x="13801" y="4885"/>
                  </a:cubicBezTo>
                  <a:cubicBezTo>
                    <a:pt x="14105" y="4672"/>
                    <a:pt x="14266" y="4658"/>
                    <a:pt x="14490" y="4640"/>
                  </a:cubicBezTo>
                  <a:cubicBezTo>
                    <a:pt x="14536" y="4637"/>
                    <a:pt x="14585" y="4633"/>
                    <a:pt x="14641" y="4626"/>
                  </a:cubicBezTo>
                  <a:cubicBezTo>
                    <a:pt x="14816" y="4605"/>
                    <a:pt x="14858" y="4535"/>
                    <a:pt x="14928" y="4413"/>
                  </a:cubicBezTo>
                  <a:cubicBezTo>
                    <a:pt x="14973" y="4332"/>
                    <a:pt x="15029" y="4255"/>
                    <a:pt x="15096" y="4185"/>
                  </a:cubicBezTo>
                  <a:cubicBezTo>
                    <a:pt x="15282" y="3993"/>
                    <a:pt x="15541" y="3884"/>
                    <a:pt x="15810" y="3884"/>
                  </a:cubicBezTo>
                  <a:cubicBezTo>
                    <a:pt x="15905" y="3877"/>
                    <a:pt x="15996" y="3853"/>
                    <a:pt x="16080" y="3814"/>
                  </a:cubicBezTo>
                  <a:cubicBezTo>
                    <a:pt x="16194" y="3773"/>
                    <a:pt x="16309" y="3729"/>
                    <a:pt x="16420" y="3729"/>
                  </a:cubicBezTo>
                  <a:cubicBezTo>
                    <a:pt x="16459" y="3729"/>
                    <a:pt x="16497" y="3735"/>
                    <a:pt x="16535" y="3748"/>
                  </a:cubicBezTo>
                  <a:cubicBezTo>
                    <a:pt x="16633" y="3780"/>
                    <a:pt x="16747" y="3802"/>
                    <a:pt x="16841" y="3802"/>
                  </a:cubicBezTo>
                  <a:cubicBezTo>
                    <a:pt x="16897" y="3802"/>
                    <a:pt x="16946" y="3794"/>
                    <a:pt x="16979" y="3776"/>
                  </a:cubicBezTo>
                  <a:cubicBezTo>
                    <a:pt x="16997" y="3765"/>
                    <a:pt x="17011" y="3748"/>
                    <a:pt x="17014" y="3727"/>
                  </a:cubicBezTo>
                  <a:cubicBezTo>
                    <a:pt x="17028" y="3653"/>
                    <a:pt x="16769" y="3436"/>
                    <a:pt x="16629" y="3317"/>
                  </a:cubicBezTo>
                  <a:cubicBezTo>
                    <a:pt x="16517" y="3233"/>
                    <a:pt x="16416" y="3142"/>
                    <a:pt x="16325" y="3040"/>
                  </a:cubicBezTo>
                  <a:cubicBezTo>
                    <a:pt x="16304" y="3019"/>
                    <a:pt x="16283" y="2998"/>
                    <a:pt x="16258" y="2984"/>
                  </a:cubicBezTo>
                  <a:lnTo>
                    <a:pt x="16248" y="2977"/>
                  </a:lnTo>
                  <a:lnTo>
                    <a:pt x="16241" y="2974"/>
                  </a:lnTo>
                  <a:cubicBezTo>
                    <a:pt x="16234" y="2970"/>
                    <a:pt x="16227" y="2967"/>
                    <a:pt x="16220" y="2963"/>
                  </a:cubicBezTo>
                  <a:cubicBezTo>
                    <a:pt x="16213" y="2960"/>
                    <a:pt x="16202" y="2956"/>
                    <a:pt x="16192" y="2956"/>
                  </a:cubicBezTo>
                  <a:cubicBezTo>
                    <a:pt x="16185" y="2953"/>
                    <a:pt x="16174" y="2949"/>
                    <a:pt x="16164" y="2949"/>
                  </a:cubicBezTo>
                  <a:cubicBezTo>
                    <a:pt x="16153" y="2948"/>
                    <a:pt x="16143" y="2947"/>
                    <a:pt x="16132" y="2947"/>
                  </a:cubicBezTo>
                  <a:cubicBezTo>
                    <a:pt x="16122" y="2947"/>
                    <a:pt x="16111" y="2948"/>
                    <a:pt x="16101" y="2949"/>
                  </a:cubicBezTo>
                  <a:cubicBezTo>
                    <a:pt x="16017" y="2963"/>
                    <a:pt x="15947" y="3016"/>
                    <a:pt x="15908" y="3093"/>
                  </a:cubicBezTo>
                  <a:cubicBezTo>
                    <a:pt x="15894" y="3135"/>
                    <a:pt x="15863" y="3170"/>
                    <a:pt x="15821" y="3187"/>
                  </a:cubicBezTo>
                  <a:cubicBezTo>
                    <a:pt x="15805" y="3194"/>
                    <a:pt x="15789" y="3197"/>
                    <a:pt x="15773" y="3197"/>
                  </a:cubicBezTo>
                  <a:cubicBezTo>
                    <a:pt x="15727" y="3197"/>
                    <a:pt x="15679" y="3175"/>
                    <a:pt x="15625" y="3149"/>
                  </a:cubicBezTo>
                  <a:cubicBezTo>
                    <a:pt x="15534" y="3096"/>
                    <a:pt x="15429" y="3068"/>
                    <a:pt x="15320" y="3065"/>
                  </a:cubicBezTo>
                  <a:cubicBezTo>
                    <a:pt x="15236" y="3065"/>
                    <a:pt x="15155" y="3079"/>
                    <a:pt x="15078" y="3103"/>
                  </a:cubicBezTo>
                  <a:cubicBezTo>
                    <a:pt x="15027" y="3120"/>
                    <a:pt x="14982" y="3132"/>
                    <a:pt x="14939" y="3132"/>
                  </a:cubicBezTo>
                  <a:cubicBezTo>
                    <a:pt x="14869" y="3132"/>
                    <a:pt x="14801" y="3101"/>
                    <a:pt x="14711" y="3009"/>
                  </a:cubicBezTo>
                  <a:cubicBezTo>
                    <a:pt x="14627" y="2928"/>
                    <a:pt x="14599" y="2848"/>
                    <a:pt x="14616" y="2774"/>
                  </a:cubicBezTo>
                  <a:cubicBezTo>
                    <a:pt x="14641" y="2708"/>
                    <a:pt x="14697" y="2655"/>
                    <a:pt x="14767" y="2631"/>
                  </a:cubicBezTo>
                  <a:lnTo>
                    <a:pt x="14798" y="2379"/>
                  </a:lnTo>
                  <a:lnTo>
                    <a:pt x="15204" y="1563"/>
                  </a:lnTo>
                  <a:cubicBezTo>
                    <a:pt x="15138" y="1544"/>
                    <a:pt x="15068" y="1535"/>
                    <a:pt x="15012" y="1535"/>
                  </a:cubicBezTo>
                  <a:cubicBezTo>
                    <a:pt x="14976" y="1535"/>
                    <a:pt x="14945" y="1539"/>
                    <a:pt x="14924" y="1545"/>
                  </a:cubicBezTo>
                  <a:cubicBezTo>
                    <a:pt x="14914" y="1552"/>
                    <a:pt x="14903" y="1552"/>
                    <a:pt x="14893" y="1556"/>
                  </a:cubicBezTo>
                  <a:cubicBezTo>
                    <a:pt x="14845" y="1568"/>
                    <a:pt x="14797" y="1573"/>
                    <a:pt x="14750" y="1573"/>
                  </a:cubicBezTo>
                  <a:cubicBezTo>
                    <a:pt x="14729" y="1573"/>
                    <a:pt x="14707" y="1572"/>
                    <a:pt x="14686" y="1570"/>
                  </a:cubicBezTo>
                  <a:cubicBezTo>
                    <a:pt x="14613" y="1566"/>
                    <a:pt x="14539" y="1549"/>
                    <a:pt x="14473" y="1517"/>
                  </a:cubicBezTo>
                  <a:cubicBezTo>
                    <a:pt x="14438" y="1500"/>
                    <a:pt x="14406" y="1475"/>
                    <a:pt x="14385" y="1440"/>
                  </a:cubicBezTo>
                  <a:cubicBezTo>
                    <a:pt x="14382" y="1433"/>
                    <a:pt x="14375" y="1423"/>
                    <a:pt x="14371" y="1409"/>
                  </a:cubicBezTo>
                  <a:cubicBezTo>
                    <a:pt x="14342" y="1376"/>
                    <a:pt x="14212" y="1356"/>
                    <a:pt x="14081" y="1356"/>
                  </a:cubicBezTo>
                  <a:cubicBezTo>
                    <a:pt x="13962" y="1356"/>
                    <a:pt x="13842" y="1372"/>
                    <a:pt x="13794" y="1409"/>
                  </a:cubicBezTo>
                  <a:cubicBezTo>
                    <a:pt x="13734" y="1451"/>
                    <a:pt x="13668" y="1489"/>
                    <a:pt x="13598" y="1517"/>
                  </a:cubicBezTo>
                  <a:cubicBezTo>
                    <a:pt x="13524" y="1556"/>
                    <a:pt x="13388" y="1623"/>
                    <a:pt x="13384" y="1658"/>
                  </a:cubicBezTo>
                  <a:cubicBezTo>
                    <a:pt x="13374" y="1710"/>
                    <a:pt x="13339" y="1756"/>
                    <a:pt x="13286" y="1770"/>
                  </a:cubicBezTo>
                  <a:cubicBezTo>
                    <a:pt x="13227" y="1794"/>
                    <a:pt x="13167" y="1808"/>
                    <a:pt x="13107" y="1815"/>
                  </a:cubicBezTo>
                  <a:cubicBezTo>
                    <a:pt x="13041" y="1819"/>
                    <a:pt x="12978" y="1836"/>
                    <a:pt x="12918" y="1864"/>
                  </a:cubicBezTo>
                  <a:cubicBezTo>
                    <a:pt x="12855" y="1910"/>
                    <a:pt x="12712" y="1938"/>
                    <a:pt x="12498" y="1973"/>
                  </a:cubicBezTo>
                  <a:cubicBezTo>
                    <a:pt x="12407" y="1983"/>
                    <a:pt x="12313" y="2001"/>
                    <a:pt x="12225" y="2029"/>
                  </a:cubicBezTo>
                  <a:cubicBezTo>
                    <a:pt x="12208" y="2050"/>
                    <a:pt x="12183" y="2067"/>
                    <a:pt x="12155" y="2074"/>
                  </a:cubicBezTo>
                  <a:cubicBezTo>
                    <a:pt x="12095" y="2095"/>
                    <a:pt x="11951" y="2111"/>
                    <a:pt x="11803" y="2111"/>
                  </a:cubicBezTo>
                  <a:cubicBezTo>
                    <a:pt x="11635" y="2111"/>
                    <a:pt x="11462" y="2091"/>
                    <a:pt x="11399" y="2039"/>
                  </a:cubicBezTo>
                  <a:cubicBezTo>
                    <a:pt x="11371" y="2018"/>
                    <a:pt x="11231" y="2015"/>
                    <a:pt x="11137" y="2011"/>
                  </a:cubicBezTo>
                  <a:cubicBezTo>
                    <a:pt x="10933" y="2004"/>
                    <a:pt x="10744" y="1997"/>
                    <a:pt x="10688" y="1889"/>
                  </a:cubicBezTo>
                  <a:cubicBezTo>
                    <a:pt x="10653" y="1840"/>
                    <a:pt x="10608" y="1798"/>
                    <a:pt x="10555" y="1766"/>
                  </a:cubicBezTo>
                  <a:cubicBezTo>
                    <a:pt x="10475" y="1710"/>
                    <a:pt x="10394" y="1651"/>
                    <a:pt x="10391" y="1559"/>
                  </a:cubicBezTo>
                  <a:cubicBezTo>
                    <a:pt x="10338" y="1535"/>
                    <a:pt x="10282" y="1514"/>
                    <a:pt x="10226" y="1503"/>
                  </a:cubicBezTo>
                  <a:lnTo>
                    <a:pt x="10209" y="1500"/>
                  </a:lnTo>
                  <a:cubicBezTo>
                    <a:pt x="10086" y="1468"/>
                    <a:pt x="9981" y="1444"/>
                    <a:pt x="9946" y="1370"/>
                  </a:cubicBezTo>
                  <a:cubicBezTo>
                    <a:pt x="9928" y="1334"/>
                    <a:pt x="9737" y="1283"/>
                    <a:pt x="9648" y="1283"/>
                  </a:cubicBezTo>
                  <a:cubicBezTo>
                    <a:pt x="9635" y="1283"/>
                    <a:pt x="9625" y="1284"/>
                    <a:pt x="9617" y="1286"/>
                  </a:cubicBezTo>
                  <a:lnTo>
                    <a:pt x="9610" y="1290"/>
                  </a:lnTo>
                  <a:cubicBezTo>
                    <a:pt x="9597" y="1296"/>
                    <a:pt x="9581" y="1299"/>
                    <a:pt x="9561" y="1299"/>
                  </a:cubicBezTo>
                  <a:cubicBezTo>
                    <a:pt x="9507" y="1299"/>
                    <a:pt x="9423" y="1278"/>
                    <a:pt x="9278" y="1237"/>
                  </a:cubicBezTo>
                  <a:lnTo>
                    <a:pt x="9236" y="1223"/>
                  </a:lnTo>
                  <a:cubicBezTo>
                    <a:pt x="9190" y="1209"/>
                    <a:pt x="9148" y="1199"/>
                    <a:pt x="9117" y="1188"/>
                  </a:cubicBezTo>
                  <a:cubicBezTo>
                    <a:pt x="9099" y="1185"/>
                    <a:pt x="9085" y="1181"/>
                    <a:pt x="9075" y="1181"/>
                  </a:cubicBezTo>
                  <a:lnTo>
                    <a:pt x="9068" y="1181"/>
                  </a:lnTo>
                  <a:cubicBezTo>
                    <a:pt x="8976" y="1185"/>
                    <a:pt x="8885" y="1195"/>
                    <a:pt x="8798" y="1216"/>
                  </a:cubicBezTo>
                  <a:cubicBezTo>
                    <a:pt x="8731" y="1227"/>
                    <a:pt x="8668" y="1237"/>
                    <a:pt x="8623" y="1244"/>
                  </a:cubicBezTo>
                  <a:lnTo>
                    <a:pt x="8581" y="1244"/>
                  </a:lnTo>
                  <a:cubicBezTo>
                    <a:pt x="8553" y="1244"/>
                    <a:pt x="8479" y="1293"/>
                    <a:pt x="8423" y="1328"/>
                  </a:cubicBezTo>
                  <a:cubicBezTo>
                    <a:pt x="8350" y="1377"/>
                    <a:pt x="8273" y="1430"/>
                    <a:pt x="8203" y="1440"/>
                  </a:cubicBezTo>
                  <a:cubicBezTo>
                    <a:pt x="8198" y="1441"/>
                    <a:pt x="8193" y="1441"/>
                    <a:pt x="8188" y="1441"/>
                  </a:cubicBezTo>
                  <a:cubicBezTo>
                    <a:pt x="8118" y="1441"/>
                    <a:pt x="8020" y="1399"/>
                    <a:pt x="7916" y="1353"/>
                  </a:cubicBezTo>
                  <a:lnTo>
                    <a:pt x="7870" y="1332"/>
                  </a:lnTo>
                  <a:lnTo>
                    <a:pt x="7853" y="1325"/>
                  </a:lnTo>
                  <a:lnTo>
                    <a:pt x="7842" y="1321"/>
                  </a:lnTo>
                  <a:lnTo>
                    <a:pt x="7821" y="1311"/>
                  </a:lnTo>
                  <a:lnTo>
                    <a:pt x="7818" y="1311"/>
                  </a:lnTo>
                  <a:lnTo>
                    <a:pt x="7800" y="1307"/>
                  </a:lnTo>
                  <a:lnTo>
                    <a:pt x="7793" y="1304"/>
                  </a:lnTo>
                  <a:lnTo>
                    <a:pt x="7783" y="1300"/>
                  </a:lnTo>
                  <a:lnTo>
                    <a:pt x="7772" y="1297"/>
                  </a:lnTo>
                  <a:lnTo>
                    <a:pt x="7765" y="1297"/>
                  </a:lnTo>
                  <a:lnTo>
                    <a:pt x="7755" y="1293"/>
                  </a:lnTo>
                  <a:lnTo>
                    <a:pt x="7741" y="1293"/>
                  </a:lnTo>
                  <a:cubicBezTo>
                    <a:pt x="7729" y="1300"/>
                    <a:pt x="7713" y="1308"/>
                    <a:pt x="7689" y="1308"/>
                  </a:cubicBezTo>
                  <a:cubicBezTo>
                    <a:pt x="7663" y="1308"/>
                    <a:pt x="7628" y="1298"/>
                    <a:pt x="7580" y="1269"/>
                  </a:cubicBezTo>
                  <a:cubicBezTo>
                    <a:pt x="7475" y="1206"/>
                    <a:pt x="7366" y="1073"/>
                    <a:pt x="7317" y="1017"/>
                  </a:cubicBezTo>
                  <a:cubicBezTo>
                    <a:pt x="7258" y="947"/>
                    <a:pt x="7261" y="835"/>
                    <a:pt x="7265" y="723"/>
                  </a:cubicBezTo>
                  <a:cubicBezTo>
                    <a:pt x="7265" y="656"/>
                    <a:pt x="7268" y="572"/>
                    <a:pt x="7251" y="544"/>
                  </a:cubicBezTo>
                  <a:cubicBezTo>
                    <a:pt x="7230" y="513"/>
                    <a:pt x="7076" y="481"/>
                    <a:pt x="6992" y="467"/>
                  </a:cubicBezTo>
                  <a:lnTo>
                    <a:pt x="6953" y="460"/>
                  </a:lnTo>
                  <a:cubicBezTo>
                    <a:pt x="6879" y="453"/>
                    <a:pt x="6806" y="432"/>
                    <a:pt x="6736" y="401"/>
                  </a:cubicBezTo>
                  <a:cubicBezTo>
                    <a:pt x="6673" y="362"/>
                    <a:pt x="6470" y="250"/>
                    <a:pt x="6365" y="250"/>
                  </a:cubicBezTo>
                  <a:cubicBezTo>
                    <a:pt x="6277" y="250"/>
                    <a:pt x="6053" y="222"/>
                    <a:pt x="5980" y="149"/>
                  </a:cubicBezTo>
                  <a:cubicBezTo>
                    <a:pt x="5952" y="121"/>
                    <a:pt x="5770" y="51"/>
                    <a:pt x="5605" y="2"/>
                  </a:cubicBezTo>
                  <a:cubicBezTo>
                    <a:pt x="5601" y="1"/>
                    <a:pt x="5598" y="0"/>
                    <a:pt x="55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7" name="Google Shape;4597;p53"/>
            <p:cNvSpPr/>
            <p:nvPr/>
          </p:nvSpPr>
          <p:spPr>
            <a:xfrm>
              <a:off x="2305162" y="1791540"/>
              <a:ext cx="1914" cy="7047"/>
            </a:xfrm>
            <a:custGeom>
              <a:avLst/>
              <a:gdLst/>
              <a:ahLst/>
              <a:cxnLst/>
              <a:rect l="l" t="t" r="r" b="b"/>
              <a:pathLst>
                <a:path w="141" h="519" extrusionOk="0">
                  <a:moveTo>
                    <a:pt x="77" y="1"/>
                  </a:moveTo>
                  <a:cubicBezTo>
                    <a:pt x="39" y="39"/>
                    <a:pt x="0" y="263"/>
                    <a:pt x="0" y="333"/>
                  </a:cubicBezTo>
                  <a:cubicBezTo>
                    <a:pt x="0" y="337"/>
                    <a:pt x="0" y="340"/>
                    <a:pt x="0" y="340"/>
                  </a:cubicBezTo>
                  <a:lnTo>
                    <a:pt x="0" y="344"/>
                  </a:lnTo>
                  <a:lnTo>
                    <a:pt x="4" y="354"/>
                  </a:lnTo>
                  <a:lnTo>
                    <a:pt x="7" y="372"/>
                  </a:lnTo>
                  <a:lnTo>
                    <a:pt x="7" y="375"/>
                  </a:lnTo>
                  <a:lnTo>
                    <a:pt x="14" y="393"/>
                  </a:lnTo>
                  <a:lnTo>
                    <a:pt x="14" y="396"/>
                  </a:lnTo>
                  <a:cubicBezTo>
                    <a:pt x="18" y="403"/>
                    <a:pt x="21" y="410"/>
                    <a:pt x="25" y="421"/>
                  </a:cubicBezTo>
                  <a:lnTo>
                    <a:pt x="28" y="424"/>
                  </a:lnTo>
                  <a:lnTo>
                    <a:pt x="39" y="445"/>
                  </a:lnTo>
                  <a:lnTo>
                    <a:pt x="42" y="452"/>
                  </a:lnTo>
                  <a:cubicBezTo>
                    <a:pt x="49" y="463"/>
                    <a:pt x="53" y="473"/>
                    <a:pt x="60" y="484"/>
                  </a:cubicBezTo>
                  <a:lnTo>
                    <a:pt x="63" y="487"/>
                  </a:lnTo>
                  <a:lnTo>
                    <a:pt x="81" y="512"/>
                  </a:lnTo>
                  <a:lnTo>
                    <a:pt x="84" y="519"/>
                  </a:lnTo>
                  <a:lnTo>
                    <a:pt x="84" y="515"/>
                  </a:lnTo>
                  <a:cubicBezTo>
                    <a:pt x="88" y="480"/>
                    <a:pt x="88" y="445"/>
                    <a:pt x="91" y="410"/>
                  </a:cubicBezTo>
                  <a:cubicBezTo>
                    <a:pt x="95" y="375"/>
                    <a:pt x="95" y="344"/>
                    <a:pt x="98" y="312"/>
                  </a:cubicBezTo>
                  <a:lnTo>
                    <a:pt x="98" y="309"/>
                  </a:lnTo>
                  <a:cubicBezTo>
                    <a:pt x="102" y="214"/>
                    <a:pt x="112" y="120"/>
                    <a:pt x="126" y="29"/>
                  </a:cubicBezTo>
                  <a:lnTo>
                    <a:pt x="126" y="25"/>
                  </a:lnTo>
                  <a:cubicBezTo>
                    <a:pt x="133" y="22"/>
                    <a:pt x="137" y="11"/>
                    <a:pt x="1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8" name="Google Shape;4598;p53"/>
            <p:cNvSpPr/>
            <p:nvPr/>
          </p:nvSpPr>
          <p:spPr>
            <a:xfrm>
              <a:off x="2298930" y="1785457"/>
              <a:ext cx="8853" cy="26449"/>
            </a:xfrm>
            <a:custGeom>
              <a:avLst/>
              <a:gdLst/>
              <a:ahLst/>
              <a:cxnLst/>
              <a:rect l="l" t="t" r="r" b="b"/>
              <a:pathLst>
                <a:path w="652" h="1948" extrusionOk="0">
                  <a:moveTo>
                    <a:pt x="480" y="1"/>
                  </a:moveTo>
                  <a:cubicBezTo>
                    <a:pt x="456" y="60"/>
                    <a:pt x="435" y="120"/>
                    <a:pt x="424" y="183"/>
                  </a:cubicBezTo>
                  <a:cubicBezTo>
                    <a:pt x="379" y="473"/>
                    <a:pt x="130" y="942"/>
                    <a:pt x="1" y="1152"/>
                  </a:cubicBezTo>
                  <a:lnTo>
                    <a:pt x="326" y="1947"/>
                  </a:lnTo>
                  <a:cubicBezTo>
                    <a:pt x="330" y="1916"/>
                    <a:pt x="337" y="1881"/>
                    <a:pt x="344" y="1846"/>
                  </a:cubicBezTo>
                  <a:lnTo>
                    <a:pt x="340" y="1828"/>
                  </a:lnTo>
                  <a:cubicBezTo>
                    <a:pt x="344" y="1811"/>
                    <a:pt x="347" y="1793"/>
                    <a:pt x="351" y="1779"/>
                  </a:cubicBezTo>
                  <a:lnTo>
                    <a:pt x="351" y="1769"/>
                  </a:lnTo>
                  <a:cubicBezTo>
                    <a:pt x="358" y="1730"/>
                    <a:pt x="365" y="1692"/>
                    <a:pt x="375" y="1657"/>
                  </a:cubicBezTo>
                  <a:lnTo>
                    <a:pt x="379" y="1643"/>
                  </a:lnTo>
                  <a:cubicBezTo>
                    <a:pt x="379" y="1629"/>
                    <a:pt x="382" y="1615"/>
                    <a:pt x="386" y="1604"/>
                  </a:cubicBezTo>
                  <a:lnTo>
                    <a:pt x="389" y="1590"/>
                  </a:lnTo>
                  <a:cubicBezTo>
                    <a:pt x="393" y="1576"/>
                    <a:pt x="396" y="1559"/>
                    <a:pt x="400" y="1544"/>
                  </a:cubicBezTo>
                  <a:lnTo>
                    <a:pt x="403" y="1534"/>
                  </a:lnTo>
                  <a:cubicBezTo>
                    <a:pt x="407" y="1523"/>
                    <a:pt x="410" y="1509"/>
                    <a:pt x="414" y="1499"/>
                  </a:cubicBezTo>
                  <a:lnTo>
                    <a:pt x="417" y="1488"/>
                  </a:lnTo>
                  <a:cubicBezTo>
                    <a:pt x="421" y="1478"/>
                    <a:pt x="424" y="1467"/>
                    <a:pt x="428" y="1457"/>
                  </a:cubicBezTo>
                  <a:lnTo>
                    <a:pt x="428" y="1450"/>
                  </a:lnTo>
                  <a:cubicBezTo>
                    <a:pt x="435" y="1436"/>
                    <a:pt x="438" y="1425"/>
                    <a:pt x="442" y="1415"/>
                  </a:cubicBezTo>
                  <a:lnTo>
                    <a:pt x="445" y="1408"/>
                  </a:lnTo>
                  <a:cubicBezTo>
                    <a:pt x="449" y="1401"/>
                    <a:pt x="452" y="1394"/>
                    <a:pt x="456" y="1387"/>
                  </a:cubicBezTo>
                  <a:lnTo>
                    <a:pt x="459" y="1380"/>
                  </a:lnTo>
                  <a:cubicBezTo>
                    <a:pt x="463" y="1373"/>
                    <a:pt x="466" y="1366"/>
                    <a:pt x="473" y="1359"/>
                  </a:cubicBezTo>
                  <a:cubicBezTo>
                    <a:pt x="473" y="1355"/>
                    <a:pt x="477" y="1352"/>
                    <a:pt x="480" y="1348"/>
                  </a:cubicBezTo>
                  <a:cubicBezTo>
                    <a:pt x="505" y="1285"/>
                    <a:pt x="519" y="1219"/>
                    <a:pt x="526" y="1152"/>
                  </a:cubicBezTo>
                  <a:cubicBezTo>
                    <a:pt x="512" y="1135"/>
                    <a:pt x="494" y="1117"/>
                    <a:pt x="480" y="1100"/>
                  </a:cubicBezTo>
                  <a:lnTo>
                    <a:pt x="477" y="1093"/>
                  </a:lnTo>
                  <a:cubicBezTo>
                    <a:pt x="463" y="1075"/>
                    <a:pt x="452" y="1061"/>
                    <a:pt x="442" y="1044"/>
                  </a:cubicBezTo>
                  <a:lnTo>
                    <a:pt x="435" y="1037"/>
                  </a:lnTo>
                  <a:cubicBezTo>
                    <a:pt x="424" y="1019"/>
                    <a:pt x="414" y="1005"/>
                    <a:pt x="407" y="988"/>
                  </a:cubicBezTo>
                  <a:lnTo>
                    <a:pt x="400" y="981"/>
                  </a:lnTo>
                  <a:cubicBezTo>
                    <a:pt x="393" y="967"/>
                    <a:pt x="382" y="949"/>
                    <a:pt x="375" y="939"/>
                  </a:cubicBezTo>
                  <a:lnTo>
                    <a:pt x="375" y="932"/>
                  </a:lnTo>
                  <a:cubicBezTo>
                    <a:pt x="368" y="918"/>
                    <a:pt x="361" y="904"/>
                    <a:pt x="354" y="886"/>
                  </a:cubicBezTo>
                  <a:lnTo>
                    <a:pt x="354" y="883"/>
                  </a:lnTo>
                  <a:cubicBezTo>
                    <a:pt x="351" y="869"/>
                    <a:pt x="347" y="858"/>
                    <a:pt x="344" y="844"/>
                  </a:cubicBezTo>
                  <a:lnTo>
                    <a:pt x="344" y="841"/>
                  </a:lnTo>
                  <a:cubicBezTo>
                    <a:pt x="340" y="830"/>
                    <a:pt x="337" y="820"/>
                    <a:pt x="333" y="809"/>
                  </a:cubicBezTo>
                  <a:cubicBezTo>
                    <a:pt x="333" y="802"/>
                    <a:pt x="333" y="795"/>
                    <a:pt x="333" y="785"/>
                  </a:cubicBezTo>
                  <a:cubicBezTo>
                    <a:pt x="333" y="781"/>
                    <a:pt x="347" y="386"/>
                    <a:pt x="487" y="330"/>
                  </a:cubicBezTo>
                  <a:lnTo>
                    <a:pt x="529" y="330"/>
                  </a:lnTo>
                  <a:cubicBezTo>
                    <a:pt x="554" y="326"/>
                    <a:pt x="578" y="326"/>
                    <a:pt x="599" y="326"/>
                  </a:cubicBezTo>
                  <a:lnTo>
                    <a:pt x="620" y="326"/>
                  </a:lnTo>
                  <a:cubicBezTo>
                    <a:pt x="624" y="309"/>
                    <a:pt x="627" y="291"/>
                    <a:pt x="627" y="270"/>
                  </a:cubicBezTo>
                  <a:cubicBezTo>
                    <a:pt x="634" y="214"/>
                    <a:pt x="645" y="148"/>
                    <a:pt x="652" y="74"/>
                  </a:cubicBezTo>
                  <a:lnTo>
                    <a:pt x="48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9" name="Google Shape;4599;p53"/>
            <p:cNvSpPr/>
            <p:nvPr/>
          </p:nvSpPr>
          <p:spPr>
            <a:xfrm>
              <a:off x="2298889" y="1800908"/>
              <a:ext cx="4426" cy="10848"/>
            </a:xfrm>
            <a:custGeom>
              <a:avLst/>
              <a:gdLst/>
              <a:ahLst/>
              <a:cxnLst/>
              <a:rect l="l" t="t" r="r" b="b"/>
              <a:pathLst>
                <a:path w="326" h="799" extrusionOk="0">
                  <a:moveTo>
                    <a:pt x="0" y="0"/>
                  </a:moveTo>
                  <a:lnTo>
                    <a:pt x="326" y="799"/>
                  </a:lnTo>
                  <a:lnTo>
                    <a:pt x="326" y="79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0" name="Google Shape;4600;p53"/>
            <p:cNvSpPr/>
            <p:nvPr/>
          </p:nvSpPr>
          <p:spPr>
            <a:xfrm>
              <a:off x="2303397" y="1796441"/>
              <a:ext cx="163" cy="434"/>
            </a:xfrm>
            <a:custGeom>
              <a:avLst/>
              <a:gdLst/>
              <a:ahLst/>
              <a:cxnLst/>
              <a:rect l="l" t="t" r="r" b="b"/>
              <a:pathLst>
                <a:path w="12" h="32" extrusionOk="0">
                  <a:moveTo>
                    <a:pt x="11" y="32"/>
                  </a:moveTo>
                  <a:cubicBezTo>
                    <a:pt x="8" y="21"/>
                    <a:pt x="4" y="11"/>
                    <a:pt x="1" y="0"/>
                  </a:cubicBezTo>
                  <a:cubicBezTo>
                    <a:pt x="4" y="11"/>
                    <a:pt x="8" y="21"/>
                    <a:pt x="11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1" name="Google Shape;4601;p53"/>
            <p:cNvSpPr/>
            <p:nvPr/>
          </p:nvSpPr>
          <p:spPr>
            <a:xfrm>
              <a:off x="2307063" y="17897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2" name="Google Shape;4602;p53"/>
            <p:cNvSpPr/>
            <p:nvPr/>
          </p:nvSpPr>
          <p:spPr>
            <a:xfrm>
              <a:off x="2305542" y="178992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3" name="Google Shape;4603;p53"/>
            <p:cNvSpPr/>
            <p:nvPr/>
          </p:nvSpPr>
          <p:spPr>
            <a:xfrm>
              <a:off x="2305827" y="178982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4" name="Google Shape;4604;p53"/>
            <p:cNvSpPr/>
            <p:nvPr/>
          </p:nvSpPr>
          <p:spPr>
            <a:xfrm>
              <a:off x="2304021" y="1798193"/>
              <a:ext cx="339" cy="584"/>
            </a:xfrm>
            <a:custGeom>
              <a:avLst/>
              <a:gdLst/>
              <a:ahLst/>
              <a:cxnLst/>
              <a:rect l="l" t="t" r="r" b="b"/>
              <a:pathLst>
                <a:path w="25" h="43" extrusionOk="0">
                  <a:moveTo>
                    <a:pt x="25" y="43"/>
                  </a:moveTo>
                  <a:cubicBezTo>
                    <a:pt x="18" y="29"/>
                    <a:pt x="7" y="11"/>
                    <a:pt x="0" y="1"/>
                  </a:cubicBezTo>
                  <a:cubicBezTo>
                    <a:pt x="7" y="11"/>
                    <a:pt x="18" y="29"/>
                    <a:pt x="25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5" name="Google Shape;4605;p53"/>
            <p:cNvSpPr/>
            <p:nvPr/>
          </p:nvSpPr>
          <p:spPr>
            <a:xfrm>
              <a:off x="2303546" y="1796916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0"/>
                  </a:moveTo>
                  <a:cubicBezTo>
                    <a:pt x="4" y="14"/>
                    <a:pt x="7" y="25"/>
                    <a:pt x="14" y="39"/>
                  </a:cubicBezTo>
                  <a:cubicBezTo>
                    <a:pt x="11" y="25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6" name="Google Shape;4606;p53"/>
            <p:cNvSpPr/>
            <p:nvPr/>
          </p:nvSpPr>
          <p:spPr>
            <a:xfrm>
              <a:off x="2304877" y="1799618"/>
              <a:ext cx="530" cy="679"/>
            </a:xfrm>
            <a:custGeom>
              <a:avLst/>
              <a:gdLst/>
              <a:ahLst/>
              <a:cxnLst/>
              <a:rect l="l" t="t" r="r" b="b"/>
              <a:pathLst>
                <a:path w="39" h="50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18"/>
                    <a:pt x="25" y="36"/>
                    <a:pt x="39" y="50"/>
                  </a:cubicBezTo>
                  <a:cubicBezTo>
                    <a:pt x="25" y="32"/>
                    <a:pt x="1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7" name="Google Shape;4607;p53"/>
            <p:cNvSpPr/>
            <p:nvPr/>
          </p:nvSpPr>
          <p:spPr>
            <a:xfrm>
              <a:off x="2305447" y="1800379"/>
              <a:ext cx="625" cy="733"/>
            </a:xfrm>
            <a:custGeom>
              <a:avLst/>
              <a:gdLst/>
              <a:ahLst/>
              <a:cxnLst/>
              <a:rect l="l" t="t" r="r" b="b"/>
              <a:pathLst>
                <a:path w="46" h="54" extrusionOk="0">
                  <a:moveTo>
                    <a:pt x="0" y="1"/>
                  </a:moveTo>
                  <a:cubicBezTo>
                    <a:pt x="14" y="18"/>
                    <a:pt x="28" y="39"/>
                    <a:pt x="46" y="53"/>
                  </a:cubicBezTo>
                  <a:cubicBezTo>
                    <a:pt x="28" y="36"/>
                    <a:pt x="14" y="1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8" name="Google Shape;4608;p53"/>
            <p:cNvSpPr/>
            <p:nvPr/>
          </p:nvSpPr>
          <p:spPr>
            <a:xfrm>
              <a:off x="2304401" y="1798858"/>
              <a:ext cx="434" cy="679"/>
            </a:xfrm>
            <a:custGeom>
              <a:avLst/>
              <a:gdLst/>
              <a:ahLst/>
              <a:cxnLst/>
              <a:rect l="l" t="t" r="r" b="b"/>
              <a:pathLst>
                <a:path w="32" h="50" extrusionOk="0">
                  <a:moveTo>
                    <a:pt x="32" y="50"/>
                  </a:moveTo>
                  <a:cubicBezTo>
                    <a:pt x="21" y="32"/>
                    <a:pt x="11" y="18"/>
                    <a:pt x="0" y="1"/>
                  </a:cubicBezTo>
                  <a:cubicBezTo>
                    <a:pt x="11" y="18"/>
                    <a:pt x="21" y="32"/>
                    <a:pt x="32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9" name="Google Shape;4609;p53"/>
            <p:cNvSpPr/>
            <p:nvPr/>
          </p:nvSpPr>
          <p:spPr>
            <a:xfrm>
              <a:off x="2305637" y="178988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0" name="Google Shape;4610;p53"/>
            <p:cNvSpPr/>
            <p:nvPr/>
          </p:nvSpPr>
          <p:spPr>
            <a:xfrm>
              <a:off x="2306017" y="17897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1" name="Google Shape;4611;p53"/>
            <p:cNvSpPr/>
            <p:nvPr/>
          </p:nvSpPr>
          <p:spPr>
            <a:xfrm>
              <a:off x="2303397" y="1796102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25"/>
                  </a:moveTo>
                  <a:cubicBezTo>
                    <a:pt x="1" y="18"/>
                    <a:pt x="1" y="8"/>
                    <a:pt x="1" y="1"/>
                  </a:cubicBezTo>
                  <a:cubicBezTo>
                    <a:pt x="1" y="8"/>
                    <a:pt x="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2" name="Google Shape;4612;p53"/>
            <p:cNvSpPr/>
            <p:nvPr/>
          </p:nvSpPr>
          <p:spPr>
            <a:xfrm>
              <a:off x="2303736" y="1797487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21" y="42"/>
                  </a:moveTo>
                  <a:cubicBezTo>
                    <a:pt x="14" y="28"/>
                    <a:pt x="7" y="14"/>
                    <a:pt x="0" y="0"/>
                  </a:cubicBezTo>
                  <a:cubicBezTo>
                    <a:pt x="7" y="14"/>
                    <a:pt x="14" y="28"/>
                    <a:pt x="2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3" name="Google Shape;4613;p53"/>
            <p:cNvSpPr/>
            <p:nvPr/>
          </p:nvSpPr>
          <p:spPr>
            <a:xfrm>
              <a:off x="2304917" y="1785036"/>
              <a:ext cx="29300" cy="32097"/>
            </a:xfrm>
            <a:custGeom>
              <a:avLst/>
              <a:gdLst/>
              <a:ahLst/>
              <a:cxnLst/>
              <a:rect l="l" t="t" r="r" b="b"/>
              <a:pathLst>
                <a:path w="2158" h="2364" extrusionOk="0">
                  <a:moveTo>
                    <a:pt x="2003" y="0"/>
                  </a:moveTo>
                  <a:cubicBezTo>
                    <a:pt x="1926" y="42"/>
                    <a:pt x="1853" y="77"/>
                    <a:pt x="1783" y="112"/>
                  </a:cubicBezTo>
                  <a:cubicBezTo>
                    <a:pt x="1433" y="287"/>
                    <a:pt x="1387" y="291"/>
                    <a:pt x="1366" y="294"/>
                  </a:cubicBezTo>
                  <a:cubicBezTo>
                    <a:pt x="1289" y="308"/>
                    <a:pt x="1111" y="410"/>
                    <a:pt x="974" y="501"/>
                  </a:cubicBezTo>
                  <a:lnTo>
                    <a:pt x="932" y="525"/>
                  </a:lnTo>
                  <a:lnTo>
                    <a:pt x="876" y="564"/>
                  </a:lnTo>
                  <a:lnTo>
                    <a:pt x="845" y="588"/>
                  </a:lnTo>
                  <a:lnTo>
                    <a:pt x="323" y="315"/>
                  </a:lnTo>
                  <a:lnTo>
                    <a:pt x="319" y="357"/>
                  </a:lnTo>
                  <a:lnTo>
                    <a:pt x="316" y="382"/>
                  </a:lnTo>
                  <a:cubicBezTo>
                    <a:pt x="309" y="417"/>
                    <a:pt x="305" y="445"/>
                    <a:pt x="302" y="469"/>
                  </a:cubicBezTo>
                  <a:lnTo>
                    <a:pt x="298" y="487"/>
                  </a:lnTo>
                  <a:cubicBezTo>
                    <a:pt x="298" y="497"/>
                    <a:pt x="295" y="508"/>
                    <a:pt x="291" y="518"/>
                  </a:cubicBezTo>
                  <a:lnTo>
                    <a:pt x="291" y="522"/>
                  </a:lnTo>
                  <a:lnTo>
                    <a:pt x="288" y="536"/>
                  </a:lnTo>
                  <a:lnTo>
                    <a:pt x="288" y="539"/>
                  </a:lnTo>
                  <a:cubicBezTo>
                    <a:pt x="277" y="627"/>
                    <a:pt x="267" y="714"/>
                    <a:pt x="263" y="798"/>
                  </a:cubicBezTo>
                  <a:lnTo>
                    <a:pt x="263" y="819"/>
                  </a:lnTo>
                  <a:lnTo>
                    <a:pt x="260" y="868"/>
                  </a:lnTo>
                  <a:cubicBezTo>
                    <a:pt x="260" y="882"/>
                    <a:pt x="260" y="896"/>
                    <a:pt x="256" y="910"/>
                  </a:cubicBezTo>
                  <a:lnTo>
                    <a:pt x="256" y="942"/>
                  </a:lnTo>
                  <a:cubicBezTo>
                    <a:pt x="256" y="966"/>
                    <a:pt x="253" y="987"/>
                    <a:pt x="249" y="1012"/>
                  </a:cubicBezTo>
                  <a:cubicBezTo>
                    <a:pt x="249" y="1026"/>
                    <a:pt x="246" y="1040"/>
                    <a:pt x="246" y="1057"/>
                  </a:cubicBezTo>
                  <a:cubicBezTo>
                    <a:pt x="246" y="1071"/>
                    <a:pt x="242" y="1085"/>
                    <a:pt x="242" y="1099"/>
                  </a:cubicBezTo>
                  <a:cubicBezTo>
                    <a:pt x="239" y="1113"/>
                    <a:pt x="239" y="1131"/>
                    <a:pt x="235" y="1145"/>
                  </a:cubicBezTo>
                  <a:lnTo>
                    <a:pt x="232" y="1176"/>
                  </a:lnTo>
                  <a:lnTo>
                    <a:pt x="214" y="1306"/>
                  </a:lnTo>
                  <a:lnTo>
                    <a:pt x="211" y="1302"/>
                  </a:lnTo>
                  <a:lnTo>
                    <a:pt x="211" y="1309"/>
                  </a:lnTo>
                  <a:lnTo>
                    <a:pt x="207" y="1330"/>
                  </a:lnTo>
                  <a:lnTo>
                    <a:pt x="204" y="1348"/>
                  </a:lnTo>
                  <a:cubicBezTo>
                    <a:pt x="204" y="1355"/>
                    <a:pt x="200" y="1362"/>
                    <a:pt x="197" y="1369"/>
                  </a:cubicBezTo>
                  <a:lnTo>
                    <a:pt x="193" y="1376"/>
                  </a:lnTo>
                  <a:cubicBezTo>
                    <a:pt x="193" y="1386"/>
                    <a:pt x="190" y="1393"/>
                    <a:pt x="186" y="1400"/>
                  </a:cubicBezTo>
                  <a:lnTo>
                    <a:pt x="186" y="1404"/>
                  </a:lnTo>
                  <a:cubicBezTo>
                    <a:pt x="183" y="1411"/>
                    <a:pt x="183" y="1418"/>
                    <a:pt x="179" y="1428"/>
                  </a:cubicBezTo>
                  <a:cubicBezTo>
                    <a:pt x="172" y="1442"/>
                    <a:pt x="165" y="1456"/>
                    <a:pt x="155" y="1470"/>
                  </a:cubicBezTo>
                  <a:cubicBezTo>
                    <a:pt x="151" y="1474"/>
                    <a:pt x="151" y="1477"/>
                    <a:pt x="148" y="1481"/>
                  </a:cubicBezTo>
                  <a:cubicBezTo>
                    <a:pt x="148" y="1484"/>
                    <a:pt x="144" y="1491"/>
                    <a:pt x="141" y="1495"/>
                  </a:cubicBezTo>
                  <a:lnTo>
                    <a:pt x="141" y="1502"/>
                  </a:lnTo>
                  <a:lnTo>
                    <a:pt x="134" y="1516"/>
                  </a:lnTo>
                  <a:lnTo>
                    <a:pt x="134" y="1523"/>
                  </a:lnTo>
                  <a:lnTo>
                    <a:pt x="127" y="1544"/>
                  </a:lnTo>
                  <a:lnTo>
                    <a:pt x="127" y="1551"/>
                  </a:lnTo>
                  <a:lnTo>
                    <a:pt x="120" y="1572"/>
                  </a:lnTo>
                  <a:lnTo>
                    <a:pt x="116" y="1582"/>
                  </a:lnTo>
                  <a:lnTo>
                    <a:pt x="109" y="1607"/>
                  </a:lnTo>
                  <a:lnTo>
                    <a:pt x="106" y="1621"/>
                  </a:lnTo>
                  <a:lnTo>
                    <a:pt x="99" y="1646"/>
                  </a:lnTo>
                  <a:lnTo>
                    <a:pt x="95" y="1663"/>
                  </a:lnTo>
                  <a:lnTo>
                    <a:pt x="88" y="1691"/>
                  </a:lnTo>
                  <a:lnTo>
                    <a:pt x="85" y="1709"/>
                  </a:lnTo>
                  <a:lnTo>
                    <a:pt x="78" y="1740"/>
                  </a:lnTo>
                  <a:lnTo>
                    <a:pt x="74" y="1761"/>
                  </a:lnTo>
                  <a:lnTo>
                    <a:pt x="67" y="1793"/>
                  </a:lnTo>
                  <a:lnTo>
                    <a:pt x="64" y="1817"/>
                  </a:lnTo>
                  <a:lnTo>
                    <a:pt x="57" y="1852"/>
                  </a:lnTo>
                  <a:lnTo>
                    <a:pt x="53" y="1877"/>
                  </a:lnTo>
                  <a:lnTo>
                    <a:pt x="46" y="1915"/>
                  </a:lnTo>
                  <a:lnTo>
                    <a:pt x="43" y="1940"/>
                  </a:lnTo>
                  <a:lnTo>
                    <a:pt x="36" y="1982"/>
                  </a:lnTo>
                  <a:lnTo>
                    <a:pt x="29" y="2013"/>
                  </a:lnTo>
                  <a:lnTo>
                    <a:pt x="22" y="2055"/>
                  </a:lnTo>
                  <a:lnTo>
                    <a:pt x="18" y="2087"/>
                  </a:lnTo>
                  <a:lnTo>
                    <a:pt x="11" y="2132"/>
                  </a:lnTo>
                  <a:lnTo>
                    <a:pt x="4" y="2167"/>
                  </a:lnTo>
                  <a:lnTo>
                    <a:pt x="1" y="2188"/>
                  </a:lnTo>
                  <a:lnTo>
                    <a:pt x="50" y="2213"/>
                  </a:lnTo>
                  <a:lnTo>
                    <a:pt x="57" y="2216"/>
                  </a:lnTo>
                  <a:lnTo>
                    <a:pt x="88" y="2234"/>
                  </a:lnTo>
                  <a:lnTo>
                    <a:pt x="120" y="2248"/>
                  </a:lnTo>
                  <a:lnTo>
                    <a:pt x="123" y="2251"/>
                  </a:lnTo>
                  <a:cubicBezTo>
                    <a:pt x="204" y="2293"/>
                    <a:pt x="284" y="2328"/>
                    <a:pt x="368" y="2356"/>
                  </a:cubicBezTo>
                  <a:lnTo>
                    <a:pt x="375" y="2356"/>
                  </a:lnTo>
                  <a:lnTo>
                    <a:pt x="386" y="2360"/>
                  </a:lnTo>
                  <a:lnTo>
                    <a:pt x="393" y="2360"/>
                  </a:lnTo>
                  <a:lnTo>
                    <a:pt x="407" y="2363"/>
                  </a:lnTo>
                  <a:lnTo>
                    <a:pt x="438" y="2363"/>
                  </a:lnTo>
                  <a:cubicBezTo>
                    <a:pt x="515" y="2360"/>
                    <a:pt x="592" y="2332"/>
                    <a:pt x="652" y="2283"/>
                  </a:cubicBezTo>
                  <a:cubicBezTo>
                    <a:pt x="663" y="2276"/>
                    <a:pt x="677" y="2265"/>
                    <a:pt x="687" y="2255"/>
                  </a:cubicBezTo>
                  <a:cubicBezTo>
                    <a:pt x="754" y="2195"/>
                    <a:pt x="785" y="2136"/>
                    <a:pt x="785" y="2104"/>
                  </a:cubicBezTo>
                  <a:cubicBezTo>
                    <a:pt x="785" y="1887"/>
                    <a:pt x="1083" y="1887"/>
                    <a:pt x="1195" y="1887"/>
                  </a:cubicBezTo>
                  <a:cubicBezTo>
                    <a:pt x="1261" y="1887"/>
                    <a:pt x="1293" y="1845"/>
                    <a:pt x="1345" y="1775"/>
                  </a:cubicBezTo>
                  <a:cubicBezTo>
                    <a:pt x="1377" y="1723"/>
                    <a:pt x="1422" y="1677"/>
                    <a:pt x="1475" y="1642"/>
                  </a:cubicBezTo>
                  <a:cubicBezTo>
                    <a:pt x="1450" y="1558"/>
                    <a:pt x="1195" y="1316"/>
                    <a:pt x="1086" y="1281"/>
                  </a:cubicBezTo>
                  <a:cubicBezTo>
                    <a:pt x="1034" y="1264"/>
                    <a:pt x="999" y="1211"/>
                    <a:pt x="1009" y="1155"/>
                  </a:cubicBezTo>
                  <a:cubicBezTo>
                    <a:pt x="1027" y="1026"/>
                    <a:pt x="1279" y="826"/>
                    <a:pt x="1646" y="805"/>
                  </a:cubicBezTo>
                  <a:cubicBezTo>
                    <a:pt x="1870" y="795"/>
                    <a:pt x="1930" y="749"/>
                    <a:pt x="1982" y="707"/>
                  </a:cubicBezTo>
                  <a:lnTo>
                    <a:pt x="2000" y="697"/>
                  </a:lnTo>
                  <a:lnTo>
                    <a:pt x="2007" y="693"/>
                  </a:lnTo>
                  <a:lnTo>
                    <a:pt x="2017" y="683"/>
                  </a:lnTo>
                  <a:lnTo>
                    <a:pt x="2028" y="679"/>
                  </a:lnTo>
                  <a:lnTo>
                    <a:pt x="2038" y="672"/>
                  </a:lnTo>
                  <a:lnTo>
                    <a:pt x="2049" y="665"/>
                  </a:lnTo>
                  <a:lnTo>
                    <a:pt x="2063" y="658"/>
                  </a:lnTo>
                  <a:lnTo>
                    <a:pt x="2070" y="655"/>
                  </a:lnTo>
                  <a:lnTo>
                    <a:pt x="2087" y="648"/>
                  </a:lnTo>
                  <a:lnTo>
                    <a:pt x="2098" y="648"/>
                  </a:lnTo>
                  <a:cubicBezTo>
                    <a:pt x="2105" y="644"/>
                    <a:pt x="2115" y="641"/>
                    <a:pt x="2126" y="641"/>
                  </a:cubicBezTo>
                  <a:lnTo>
                    <a:pt x="2133" y="641"/>
                  </a:lnTo>
                  <a:lnTo>
                    <a:pt x="2157" y="637"/>
                  </a:lnTo>
                  <a:lnTo>
                    <a:pt x="2133" y="620"/>
                  </a:lnTo>
                  <a:lnTo>
                    <a:pt x="2129" y="606"/>
                  </a:lnTo>
                  <a:lnTo>
                    <a:pt x="2119" y="564"/>
                  </a:lnTo>
                  <a:lnTo>
                    <a:pt x="2115" y="536"/>
                  </a:lnTo>
                  <a:lnTo>
                    <a:pt x="2108" y="511"/>
                  </a:lnTo>
                  <a:lnTo>
                    <a:pt x="2098" y="466"/>
                  </a:lnTo>
                  <a:lnTo>
                    <a:pt x="2094" y="448"/>
                  </a:lnTo>
                  <a:lnTo>
                    <a:pt x="2080" y="396"/>
                  </a:lnTo>
                  <a:lnTo>
                    <a:pt x="2080" y="389"/>
                  </a:lnTo>
                  <a:lnTo>
                    <a:pt x="2070" y="340"/>
                  </a:lnTo>
                  <a:lnTo>
                    <a:pt x="2070" y="333"/>
                  </a:lnTo>
                  <a:lnTo>
                    <a:pt x="2056" y="284"/>
                  </a:lnTo>
                  <a:lnTo>
                    <a:pt x="2056" y="277"/>
                  </a:lnTo>
                  <a:lnTo>
                    <a:pt x="2045" y="235"/>
                  </a:lnTo>
                  <a:lnTo>
                    <a:pt x="2045" y="228"/>
                  </a:lnTo>
                  <a:cubicBezTo>
                    <a:pt x="2042" y="214"/>
                    <a:pt x="2038" y="200"/>
                    <a:pt x="2035" y="189"/>
                  </a:cubicBezTo>
                  <a:cubicBezTo>
                    <a:pt x="2031" y="175"/>
                    <a:pt x="2028" y="165"/>
                    <a:pt x="2024" y="154"/>
                  </a:cubicBezTo>
                  <a:lnTo>
                    <a:pt x="2024" y="144"/>
                  </a:lnTo>
                  <a:cubicBezTo>
                    <a:pt x="2021" y="133"/>
                    <a:pt x="2017" y="123"/>
                    <a:pt x="2017" y="109"/>
                  </a:cubicBezTo>
                  <a:lnTo>
                    <a:pt x="2017" y="105"/>
                  </a:lnTo>
                  <a:cubicBezTo>
                    <a:pt x="2014" y="91"/>
                    <a:pt x="2010" y="77"/>
                    <a:pt x="2010" y="60"/>
                  </a:cubicBezTo>
                  <a:lnTo>
                    <a:pt x="2010" y="49"/>
                  </a:lnTo>
                  <a:cubicBezTo>
                    <a:pt x="2007" y="39"/>
                    <a:pt x="2003" y="21"/>
                    <a:pt x="2003" y="7"/>
                  </a:cubicBezTo>
                  <a:lnTo>
                    <a:pt x="200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4" name="Google Shape;4614;p53"/>
            <p:cNvSpPr/>
            <p:nvPr/>
          </p:nvSpPr>
          <p:spPr>
            <a:xfrm>
              <a:off x="2328977" y="1785036"/>
              <a:ext cx="3001" cy="1534"/>
            </a:xfrm>
            <a:custGeom>
              <a:avLst/>
              <a:gdLst/>
              <a:ahLst/>
              <a:cxnLst/>
              <a:rect l="l" t="t" r="r" b="b"/>
              <a:pathLst>
                <a:path w="221" h="113" extrusionOk="0">
                  <a:moveTo>
                    <a:pt x="221" y="0"/>
                  </a:moveTo>
                  <a:cubicBezTo>
                    <a:pt x="211" y="5"/>
                    <a:pt x="202" y="11"/>
                    <a:pt x="192" y="16"/>
                  </a:cubicBezTo>
                  <a:lnTo>
                    <a:pt x="192" y="16"/>
                  </a:lnTo>
                  <a:cubicBezTo>
                    <a:pt x="202" y="10"/>
                    <a:pt x="211" y="5"/>
                    <a:pt x="221" y="0"/>
                  </a:cubicBezTo>
                  <a:close/>
                  <a:moveTo>
                    <a:pt x="192" y="16"/>
                  </a:moveTo>
                  <a:lnTo>
                    <a:pt x="192" y="16"/>
                  </a:lnTo>
                  <a:cubicBezTo>
                    <a:pt x="126" y="51"/>
                    <a:pt x="62" y="81"/>
                    <a:pt x="0" y="112"/>
                  </a:cubicBezTo>
                  <a:cubicBezTo>
                    <a:pt x="59" y="84"/>
                    <a:pt x="121" y="54"/>
                    <a:pt x="192" y="1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5" name="Google Shape;4615;p53"/>
            <p:cNvSpPr/>
            <p:nvPr/>
          </p:nvSpPr>
          <p:spPr>
            <a:xfrm>
              <a:off x="2317422" y="1791784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1" y="28"/>
                  </a:moveTo>
                  <a:lnTo>
                    <a:pt x="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6" name="Google Shape;4616;p53"/>
            <p:cNvSpPr/>
            <p:nvPr/>
          </p:nvSpPr>
          <p:spPr>
            <a:xfrm>
              <a:off x="2308773" y="179206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7" name="Google Shape;4617;p53"/>
            <p:cNvSpPr/>
            <p:nvPr/>
          </p:nvSpPr>
          <p:spPr>
            <a:xfrm>
              <a:off x="2308013" y="1799293"/>
              <a:ext cx="54" cy="625"/>
            </a:xfrm>
            <a:custGeom>
              <a:avLst/>
              <a:gdLst/>
              <a:ahLst/>
              <a:cxnLst/>
              <a:rect l="l" t="t" r="r" b="b"/>
              <a:pathLst>
                <a:path w="4" h="46" extrusionOk="0">
                  <a:moveTo>
                    <a:pt x="4" y="0"/>
                  </a:moveTo>
                  <a:cubicBezTo>
                    <a:pt x="4" y="18"/>
                    <a:pt x="4" y="32"/>
                    <a:pt x="0" y="46"/>
                  </a:cubicBezTo>
                  <a:cubicBezTo>
                    <a:pt x="4" y="32"/>
                    <a:pt x="4" y="18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8" name="Google Shape;4618;p53"/>
            <p:cNvSpPr/>
            <p:nvPr/>
          </p:nvSpPr>
          <p:spPr>
            <a:xfrm>
              <a:off x="2309058" y="1789829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4" y="1"/>
                  </a:moveTo>
                  <a:lnTo>
                    <a:pt x="4" y="1"/>
                  </a:lnTo>
                  <a:lnTo>
                    <a:pt x="0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9" name="Google Shape;4619;p53"/>
            <p:cNvSpPr/>
            <p:nvPr/>
          </p:nvSpPr>
          <p:spPr>
            <a:xfrm>
              <a:off x="2308339" y="1792300"/>
              <a:ext cx="353" cy="3815"/>
            </a:xfrm>
            <a:custGeom>
              <a:avLst/>
              <a:gdLst/>
              <a:ahLst/>
              <a:cxnLst/>
              <a:rect l="l" t="t" r="r" b="b"/>
              <a:pathLst>
                <a:path w="26" h="281" extrusionOk="0">
                  <a:moveTo>
                    <a:pt x="1" y="263"/>
                  </a:moveTo>
                  <a:lnTo>
                    <a:pt x="1" y="281"/>
                  </a:lnTo>
                  <a:lnTo>
                    <a:pt x="1" y="263"/>
                  </a:lnTo>
                  <a:cubicBezTo>
                    <a:pt x="4" y="176"/>
                    <a:pt x="15" y="88"/>
                    <a:pt x="25" y="4"/>
                  </a:cubicBezTo>
                  <a:lnTo>
                    <a:pt x="25" y="1"/>
                  </a:lnTo>
                  <a:lnTo>
                    <a:pt x="25" y="4"/>
                  </a:lnTo>
                  <a:cubicBezTo>
                    <a:pt x="15" y="88"/>
                    <a:pt x="4" y="176"/>
                    <a:pt x="1" y="26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0" name="Google Shape;4620;p53"/>
            <p:cNvSpPr/>
            <p:nvPr/>
          </p:nvSpPr>
          <p:spPr>
            <a:xfrm>
              <a:off x="2307633" y="1800949"/>
              <a:ext cx="299" cy="1819"/>
            </a:xfrm>
            <a:custGeom>
              <a:avLst/>
              <a:gdLst/>
              <a:ahLst/>
              <a:cxnLst/>
              <a:rect l="l" t="t" r="r" b="b"/>
              <a:pathLst>
                <a:path w="22" h="134" extrusionOk="0">
                  <a:moveTo>
                    <a:pt x="21" y="1"/>
                  </a:moveTo>
                  <a:lnTo>
                    <a:pt x="19" y="20"/>
                  </a:lnTo>
                  <a:lnTo>
                    <a:pt x="19" y="20"/>
                  </a:lnTo>
                  <a:cubicBezTo>
                    <a:pt x="21" y="13"/>
                    <a:pt x="21" y="7"/>
                    <a:pt x="21" y="1"/>
                  </a:cubicBezTo>
                  <a:close/>
                  <a:moveTo>
                    <a:pt x="19" y="20"/>
                  </a:moveTo>
                  <a:lnTo>
                    <a:pt x="19" y="20"/>
                  </a:lnTo>
                  <a:cubicBezTo>
                    <a:pt x="19" y="20"/>
                    <a:pt x="18" y="21"/>
                    <a:pt x="18" y="22"/>
                  </a:cubicBezTo>
                  <a:cubicBezTo>
                    <a:pt x="14" y="29"/>
                    <a:pt x="14" y="39"/>
                    <a:pt x="14" y="50"/>
                  </a:cubicBezTo>
                  <a:lnTo>
                    <a:pt x="11" y="67"/>
                  </a:lnTo>
                  <a:cubicBezTo>
                    <a:pt x="11" y="78"/>
                    <a:pt x="7" y="88"/>
                    <a:pt x="4" y="99"/>
                  </a:cubicBezTo>
                  <a:lnTo>
                    <a:pt x="0" y="116"/>
                  </a:lnTo>
                  <a:lnTo>
                    <a:pt x="0" y="130"/>
                  </a:lnTo>
                  <a:lnTo>
                    <a:pt x="4" y="134"/>
                  </a:lnTo>
                  <a:lnTo>
                    <a:pt x="19" y="2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1" name="Google Shape;4621;p53"/>
            <p:cNvSpPr/>
            <p:nvPr/>
          </p:nvSpPr>
          <p:spPr>
            <a:xfrm>
              <a:off x="2308244" y="1796767"/>
              <a:ext cx="68" cy="638"/>
            </a:xfrm>
            <a:custGeom>
              <a:avLst/>
              <a:gdLst/>
              <a:ahLst/>
              <a:cxnLst/>
              <a:rect l="l" t="t" r="r" b="b"/>
              <a:pathLst>
                <a:path w="5" h="47" extrusionOk="0">
                  <a:moveTo>
                    <a:pt x="4" y="1"/>
                  </a:moveTo>
                  <a:lnTo>
                    <a:pt x="3" y="20"/>
                  </a:lnTo>
                  <a:lnTo>
                    <a:pt x="3" y="20"/>
                  </a:lnTo>
                  <a:cubicBezTo>
                    <a:pt x="4" y="13"/>
                    <a:pt x="4" y="7"/>
                    <a:pt x="4" y="1"/>
                  </a:cubicBezTo>
                  <a:close/>
                  <a:moveTo>
                    <a:pt x="3" y="20"/>
                  </a:moveTo>
                  <a:cubicBezTo>
                    <a:pt x="2" y="28"/>
                    <a:pt x="1" y="37"/>
                    <a:pt x="1" y="46"/>
                  </a:cubicBezTo>
                  <a:lnTo>
                    <a:pt x="3" y="2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2" name="Google Shape;4622;p53"/>
            <p:cNvSpPr/>
            <p:nvPr/>
          </p:nvSpPr>
          <p:spPr>
            <a:xfrm>
              <a:off x="2308108" y="1797772"/>
              <a:ext cx="109" cy="1005"/>
            </a:xfrm>
            <a:custGeom>
              <a:avLst/>
              <a:gdLst/>
              <a:ahLst/>
              <a:cxnLst/>
              <a:rect l="l" t="t" r="r" b="b"/>
              <a:pathLst>
                <a:path w="8" h="74" extrusionOk="0">
                  <a:moveTo>
                    <a:pt x="7" y="0"/>
                  </a:moveTo>
                  <a:cubicBezTo>
                    <a:pt x="7" y="25"/>
                    <a:pt x="4" y="49"/>
                    <a:pt x="0" y="74"/>
                  </a:cubicBezTo>
                  <a:cubicBezTo>
                    <a:pt x="4" y="49"/>
                    <a:pt x="7" y="25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3" name="Google Shape;4623;p53"/>
            <p:cNvSpPr/>
            <p:nvPr/>
          </p:nvSpPr>
          <p:spPr>
            <a:xfrm>
              <a:off x="2306397" y="180570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4" name="Google Shape;4624;p53"/>
            <p:cNvSpPr/>
            <p:nvPr/>
          </p:nvSpPr>
          <p:spPr>
            <a:xfrm>
              <a:off x="2307918" y="1800528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4" y="0"/>
                  </a:moveTo>
                  <a:lnTo>
                    <a:pt x="0" y="18"/>
                  </a:lnTo>
                  <a:lnTo>
                    <a:pt x="0" y="32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5" name="Google Shape;4625;p53"/>
            <p:cNvSpPr/>
            <p:nvPr/>
          </p:nvSpPr>
          <p:spPr>
            <a:xfrm>
              <a:off x="2307388" y="1803284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7"/>
                    <a:pt x="1" y="14"/>
                    <a:pt x="1" y="21"/>
                  </a:cubicBezTo>
                  <a:cubicBezTo>
                    <a:pt x="4" y="14"/>
                    <a:pt x="4" y="7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6" name="Google Shape;4626;p53"/>
            <p:cNvSpPr/>
            <p:nvPr/>
          </p:nvSpPr>
          <p:spPr>
            <a:xfrm>
              <a:off x="2306587" y="180513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5"/>
                  </a:moveTo>
                  <a:cubicBezTo>
                    <a:pt x="4" y="8"/>
                    <a:pt x="7" y="4"/>
                    <a:pt x="7" y="1"/>
                  </a:cubicBezTo>
                  <a:cubicBezTo>
                    <a:pt x="7" y="4"/>
                    <a:pt x="4" y="8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7" name="Google Shape;4627;p53"/>
            <p:cNvSpPr/>
            <p:nvPr/>
          </p:nvSpPr>
          <p:spPr>
            <a:xfrm>
              <a:off x="2308868" y="1791404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8" name="Google Shape;4628;p53"/>
            <p:cNvSpPr/>
            <p:nvPr/>
          </p:nvSpPr>
          <p:spPr>
            <a:xfrm>
              <a:off x="2307538" y="1802809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9" name="Google Shape;4629;p53"/>
            <p:cNvSpPr/>
            <p:nvPr/>
          </p:nvSpPr>
          <p:spPr>
            <a:xfrm>
              <a:off x="2307253" y="1803705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1"/>
                  </a:moveTo>
                  <a:cubicBezTo>
                    <a:pt x="4" y="8"/>
                    <a:pt x="4" y="15"/>
                    <a:pt x="0" y="25"/>
                  </a:cubicBezTo>
                  <a:cubicBezTo>
                    <a:pt x="4" y="18"/>
                    <a:pt x="7" y="8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0" name="Google Shape;4630;p53"/>
            <p:cNvSpPr/>
            <p:nvPr/>
          </p:nvSpPr>
          <p:spPr>
            <a:xfrm>
              <a:off x="2307103" y="1804045"/>
              <a:ext cx="163" cy="339"/>
            </a:xfrm>
            <a:custGeom>
              <a:avLst/>
              <a:gdLst/>
              <a:ahLst/>
              <a:cxnLst/>
              <a:rect l="l" t="t" r="r" b="b"/>
              <a:pathLst>
                <a:path w="12" h="25" extrusionOk="0">
                  <a:moveTo>
                    <a:pt x="1" y="25"/>
                  </a:moveTo>
                  <a:cubicBezTo>
                    <a:pt x="4" y="18"/>
                    <a:pt x="8" y="11"/>
                    <a:pt x="11" y="0"/>
                  </a:cubicBezTo>
                  <a:cubicBezTo>
                    <a:pt x="8" y="11"/>
                    <a:pt x="4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1" name="Google Shape;4631;p53"/>
            <p:cNvSpPr/>
            <p:nvPr/>
          </p:nvSpPr>
          <p:spPr>
            <a:xfrm>
              <a:off x="2306248" y="1806041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2" name="Google Shape;4632;p53"/>
            <p:cNvSpPr/>
            <p:nvPr/>
          </p:nvSpPr>
          <p:spPr>
            <a:xfrm>
              <a:off x="2306492" y="180537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3" name="Google Shape;4633;p53"/>
            <p:cNvSpPr/>
            <p:nvPr/>
          </p:nvSpPr>
          <p:spPr>
            <a:xfrm>
              <a:off x="2305393" y="180965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1" y="36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4" name="Google Shape;4634;p53"/>
            <p:cNvSpPr/>
            <p:nvPr/>
          </p:nvSpPr>
          <p:spPr>
            <a:xfrm>
              <a:off x="2304687" y="1814404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2"/>
                  </a:moveTo>
                  <a:lnTo>
                    <a:pt x="0" y="2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5" name="Google Shape;4635;p53"/>
            <p:cNvSpPr/>
            <p:nvPr/>
          </p:nvSpPr>
          <p:spPr>
            <a:xfrm>
              <a:off x="2304917" y="1812313"/>
              <a:ext cx="109" cy="584"/>
            </a:xfrm>
            <a:custGeom>
              <a:avLst/>
              <a:gdLst/>
              <a:ahLst/>
              <a:cxnLst/>
              <a:rect l="l" t="t" r="r" b="b"/>
              <a:pathLst>
                <a:path w="8" h="43" extrusionOk="0">
                  <a:moveTo>
                    <a:pt x="1" y="43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6" name="Google Shape;4636;p53"/>
            <p:cNvSpPr/>
            <p:nvPr/>
          </p:nvSpPr>
          <p:spPr>
            <a:xfrm>
              <a:off x="2305868" y="1807561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29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7" name="Google Shape;4637;p53"/>
            <p:cNvSpPr/>
            <p:nvPr/>
          </p:nvSpPr>
          <p:spPr>
            <a:xfrm>
              <a:off x="2305732" y="1808186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0" y="32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8" name="Google Shape;4638;p53"/>
            <p:cNvSpPr/>
            <p:nvPr/>
          </p:nvSpPr>
          <p:spPr>
            <a:xfrm>
              <a:off x="2305107" y="1811363"/>
              <a:ext cx="109" cy="584"/>
            </a:xfrm>
            <a:custGeom>
              <a:avLst/>
              <a:gdLst/>
              <a:ahLst/>
              <a:cxnLst/>
              <a:rect l="l" t="t" r="r" b="b"/>
              <a:pathLst>
                <a:path w="8" h="43" extrusionOk="0">
                  <a:moveTo>
                    <a:pt x="1" y="43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9" name="Google Shape;4639;p53"/>
            <p:cNvSpPr/>
            <p:nvPr/>
          </p:nvSpPr>
          <p:spPr>
            <a:xfrm>
              <a:off x="2304782" y="1813359"/>
              <a:ext cx="109" cy="638"/>
            </a:xfrm>
            <a:custGeom>
              <a:avLst/>
              <a:gdLst/>
              <a:ahLst/>
              <a:cxnLst/>
              <a:rect l="l" t="t" r="r" b="b"/>
              <a:pathLst>
                <a:path w="8" h="47" extrusionOk="0">
                  <a:moveTo>
                    <a:pt x="0" y="46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0" name="Google Shape;4640;p53"/>
            <p:cNvSpPr/>
            <p:nvPr/>
          </p:nvSpPr>
          <p:spPr>
            <a:xfrm>
              <a:off x="2305257" y="1810467"/>
              <a:ext cx="109" cy="530"/>
            </a:xfrm>
            <a:custGeom>
              <a:avLst/>
              <a:gdLst/>
              <a:ahLst/>
              <a:cxnLst/>
              <a:rect l="l" t="t" r="r" b="b"/>
              <a:pathLst>
                <a:path w="8" h="39" extrusionOk="0">
                  <a:moveTo>
                    <a:pt x="0" y="39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1" name="Google Shape;4641;p53"/>
            <p:cNvSpPr/>
            <p:nvPr/>
          </p:nvSpPr>
          <p:spPr>
            <a:xfrm>
              <a:off x="2305542" y="180889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0" y="36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2" name="Google Shape;4642;p53"/>
            <p:cNvSpPr/>
            <p:nvPr/>
          </p:nvSpPr>
          <p:spPr>
            <a:xfrm>
              <a:off x="2306112" y="1806516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25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3" name="Google Shape;4643;p53"/>
            <p:cNvSpPr/>
            <p:nvPr/>
          </p:nvSpPr>
          <p:spPr>
            <a:xfrm>
              <a:off x="2306017" y="1806991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29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4" name="Google Shape;4644;p53"/>
            <p:cNvSpPr/>
            <p:nvPr/>
          </p:nvSpPr>
          <p:spPr>
            <a:xfrm>
              <a:off x="2306682" y="1804370"/>
              <a:ext cx="434" cy="774"/>
            </a:xfrm>
            <a:custGeom>
              <a:avLst/>
              <a:gdLst/>
              <a:ahLst/>
              <a:cxnLst/>
              <a:rect l="l" t="t" r="r" b="b"/>
              <a:pathLst>
                <a:path w="32" h="57" extrusionOk="0">
                  <a:moveTo>
                    <a:pt x="32" y="1"/>
                  </a:moveTo>
                  <a:cubicBezTo>
                    <a:pt x="25" y="18"/>
                    <a:pt x="18" y="32"/>
                    <a:pt x="7" y="46"/>
                  </a:cubicBezTo>
                  <a:cubicBezTo>
                    <a:pt x="7" y="50"/>
                    <a:pt x="4" y="53"/>
                    <a:pt x="0" y="57"/>
                  </a:cubicBezTo>
                  <a:cubicBezTo>
                    <a:pt x="4" y="53"/>
                    <a:pt x="7" y="50"/>
                    <a:pt x="7" y="46"/>
                  </a:cubicBezTo>
                  <a:cubicBezTo>
                    <a:pt x="18" y="32"/>
                    <a:pt x="25" y="18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5" name="Google Shape;4645;p53"/>
            <p:cNvSpPr/>
            <p:nvPr/>
          </p:nvSpPr>
          <p:spPr>
            <a:xfrm>
              <a:off x="2307633" y="1802280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6" name="Google Shape;4646;p53"/>
            <p:cNvSpPr/>
            <p:nvPr/>
          </p:nvSpPr>
          <p:spPr>
            <a:xfrm>
              <a:off x="2307769" y="1801614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7" name="Google Shape;4647;p53"/>
            <p:cNvSpPr/>
            <p:nvPr/>
          </p:nvSpPr>
          <p:spPr>
            <a:xfrm>
              <a:off x="2307823" y="1800759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7" y="1"/>
                  </a:moveTo>
                  <a:lnTo>
                    <a:pt x="4" y="15"/>
                  </a:lnTo>
                  <a:cubicBezTo>
                    <a:pt x="0" y="22"/>
                    <a:pt x="0" y="25"/>
                    <a:pt x="0" y="32"/>
                  </a:cubicBezTo>
                  <a:cubicBezTo>
                    <a:pt x="4" y="22"/>
                    <a:pt x="7" y="11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8" name="Google Shape;4648;p53"/>
            <p:cNvSpPr/>
            <p:nvPr/>
          </p:nvSpPr>
          <p:spPr>
            <a:xfrm>
              <a:off x="2564356" y="1700353"/>
              <a:ext cx="79157" cy="32179"/>
            </a:xfrm>
            <a:custGeom>
              <a:avLst/>
              <a:gdLst/>
              <a:ahLst/>
              <a:cxnLst/>
              <a:rect l="l" t="t" r="r" b="b"/>
              <a:pathLst>
                <a:path w="5830" h="2370" extrusionOk="0">
                  <a:moveTo>
                    <a:pt x="2643" y="1"/>
                  </a:moveTo>
                  <a:cubicBezTo>
                    <a:pt x="2561" y="1"/>
                    <a:pt x="2452" y="20"/>
                    <a:pt x="2371" y="65"/>
                  </a:cubicBezTo>
                  <a:cubicBezTo>
                    <a:pt x="2318" y="90"/>
                    <a:pt x="2283" y="135"/>
                    <a:pt x="2276" y="191"/>
                  </a:cubicBezTo>
                  <a:cubicBezTo>
                    <a:pt x="2265" y="293"/>
                    <a:pt x="2230" y="366"/>
                    <a:pt x="2160" y="405"/>
                  </a:cubicBezTo>
                  <a:cubicBezTo>
                    <a:pt x="2127" y="424"/>
                    <a:pt x="2088" y="434"/>
                    <a:pt x="2041" y="434"/>
                  </a:cubicBezTo>
                  <a:cubicBezTo>
                    <a:pt x="1953" y="434"/>
                    <a:pt x="1840" y="398"/>
                    <a:pt x="1695" y="324"/>
                  </a:cubicBezTo>
                  <a:cubicBezTo>
                    <a:pt x="1557" y="256"/>
                    <a:pt x="1390" y="224"/>
                    <a:pt x="1258" y="224"/>
                  </a:cubicBezTo>
                  <a:cubicBezTo>
                    <a:pt x="1180" y="224"/>
                    <a:pt x="1114" y="235"/>
                    <a:pt x="1075" y="258"/>
                  </a:cubicBezTo>
                  <a:cubicBezTo>
                    <a:pt x="1058" y="268"/>
                    <a:pt x="1047" y="279"/>
                    <a:pt x="1044" y="289"/>
                  </a:cubicBezTo>
                  <a:cubicBezTo>
                    <a:pt x="1023" y="492"/>
                    <a:pt x="781" y="664"/>
                    <a:pt x="669" y="713"/>
                  </a:cubicBezTo>
                  <a:lnTo>
                    <a:pt x="669" y="716"/>
                  </a:lnTo>
                  <a:lnTo>
                    <a:pt x="666" y="720"/>
                  </a:lnTo>
                  <a:lnTo>
                    <a:pt x="662" y="727"/>
                  </a:lnTo>
                  <a:lnTo>
                    <a:pt x="662" y="730"/>
                  </a:lnTo>
                  <a:lnTo>
                    <a:pt x="659" y="734"/>
                  </a:lnTo>
                  <a:lnTo>
                    <a:pt x="659" y="737"/>
                  </a:lnTo>
                  <a:lnTo>
                    <a:pt x="652" y="744"/>
                  </a:lnTo>
                  <a:lnTo>
                    <a:pt x="652" y="748"/>
                  </a:lnTo>
                  <a:lnTo>
                    <a:pt x="645" y="758"/>
                  </a:lnTo>
                  <a:lnTo>
                    <a:pt x="645" y="762"/>
                  </a:lnTo>
                  <a:lnTo>
                    <a:pt x="638" y="772"/>
                  </a:lnTo>
                  <a:lnTo>
                    <a:pt x="634" y="776"/>
                  </a:lnTo>
                  <a:lnTo>
                    <a:pt x="627" y="793"/>
                  </a:lnTo>
                  <a:lnTo>
                    <a:pt x="617" y="814"/>
                  </a:lnTo>
                  <a:lnTo>
                    <a:pt x="613" y="825"/>
                  </a:lnTo>
                  <a:lnTo>
                    <a:pt x="606" y="839"/>
                  </a:lnTo>
                  <a:lnTo>
                    <a:pt x="599" y="849"/>
                  </a:lnTo>
                  <a:lnTo>
                    <a:pt x="592" y="863"/>
                  </a:lnTo>
                  <a:lnTo>
                    <a:pt x="585" y="877"/>
                  </a:lnTo>
                  <a:lnTo>
                    <a:pt x="582" y="895"/>
                  </a:lnTo>
                  <a:lnTo>
                    <a:pt x="575" y="912"/>
                  </a:lnTo>
                  <a:lnTo>
                    <a:pt x="571" y="919"/>
                  </a:lnTo>
                  <a:cubicBezTo>
                    <a:pt x="627" y="958"/>
                    <a:pt x="676" y="1007"/>
                    <a:pt x="715" y="1059"/>
                  </a:cubicBezTo>
                  <a:lnTo>
                    <a:pt x="739" y="1091"/>
                  </a:lnTo>
                  <a:cubicBezTo>
                    <a:pt x="777" y="1134"/>
                    <a:pt x="843" y="1152"/>
                    <a:pt x="904" y="1152"/>
                  </a:cubicBezTo>
                  <a:cubicBezTo>
                    <a:pt x="924" y="1152"/>
                    <a:pt x="942" y="1150"/>
                    <a:pt x="960" y="1147"/>
                  </a:cubicBezTo>
                  <a:cubicBezTo>
                    <a:pt x="998" y="1143"/>
                    <a:pt x="1037" y="1122"/>
                    <a:pt x="1058" y="1087"/>
                  </a:cubicBezTo>
                  <a:cubicBezTo>
                    <a:pt x="1068" y="1052"/>
                    <a:pt x="1100" y="1024"/>
                    <a:pt x="1135" y="1014"/>
                  </a:cubicBezTo>
                  <a:cubicBezTo>
                    <a:pt x="1148" y="1010"/>
                    <a:pt x="1162" y="1008"/>
                    <a:pt x="1178" y="1008"/>
                  </a:cubicBezTo>
                  <a:cubicBezTo>
                    <a:pt x="1373" y="1008"/>
                    <a:pt x="1757" y="1273"/>
                    <a:pt x="1915" y="1402"/>
                  </a:cubicBezTo>
                  <a:cubicBezTo>
                    <a:pt x="1936" y="1420"/>
                    <a:pt x="1954" y="1437"/>
                    <a:pt x="1968" y="1451"/>
                  </a:cubicBezTo>
                  <a:cubicBezTo>
                    <a:pt x="1992" y="1472"/>
                    <a:pt x="2013" y="1500"/>
                    <a:pt x="2024" y="1532"/>
                  </a:cubicBezTo>
                  <a:cubicBezTo>
                    <a:pt x="2027" y="1546"/>
                    <a:pt x="2027" y="1563"/>
                    <a:pt x="2024" y="1577"/>
                  </a:cubicBezTo>
                  <a:cubicBezTo>
                    <a:pt x="2010" y="1641"/>
                    <a:pt x="1947" y="1651"/>
                    <a:pt x="1887" y="1662"/>
                  </a:cubicBezTo>
                  <a:cubicBezTo>
                    <a:pt x="1817" y="1676"/>
                    <a:pt x="1730" y="1693"/>
                    <a:pt x="1695" y="1763"/>
                  </a:cubicBezTo>
                  <a:cubicBezTo>
                    <a:pt x="1641" y="1871"/>
                    <a:pt x="1549" y="1899"/>
                    <a:pt x="1456" y="1899"/>
                  </a:cubicBezTo>
                  <a:cubicBezTo>
                    <a:pt x="1398" y="1899"/>
                    <a:pt x="1341" y="1888"/>
                    <a:pt x="1292" y="1879"/>
                  </a:cubicBezTo>
                  <a:cubicBezTo>
                    <a:pt x="1261" y="1871"/>
                    <a:pt x="1227" y="1867"/>
                    <a:pt x="1195" y="1867"/>
                  </a:cubicBezTo>
                  <a:cubicBezTo>
                    <a:pt x="1184" y="1867"/>
                    <a:pt x="1173" y="1867"/>
                    <a:pt x="1163" y="1868"/>
                  </a:cubicBezTo>
                  <a:cubicBezTo>
                    <a:pt x="1159" y="1872"/>
                    <a:pt x="1152" y="1875"/>
                    <a:pt x="1149" y="1879"/>
                  </a:cubicBezTo>
                  <a:cubicBezTo>
                    <a:pt x="1128" y="1893"/>
                    <a:pt x="1103" y="1907"/>
                    <a:pt x="1079" y="1914"/>
                  </a:cubicBezTo>
                  <a:lnTo>
                    <a:pt x="1058" y="1921"/>
                  </a:lnTo>
                  <a:lnTo>
                    <a:pt x="1040" y="1928"/>
                  </a:lnTo>
                  <a:lnTo>
                    <a:pt x="1037" y="1928"/>
                  </a:lnTo>
                  <a:cubicBezTo>
                    <a:pt x="869" y="1970"/>
                    <a:pt x="697" y="1991"/>
                    <a:pt x="526" y="1994"/>
                  </a:cubicBezTo>
                  <a:lnTo>
                    <a:pt x="494" y="1994"/>
                  </a:lnTo>
                  <a:lnTo>
                    <a:pt x="372" y="1998"/>
                  </a:lnTo>
                  <a:lnTo>
                    <a:pt x="372" y="1994"/>
                  </a:lnTo>
                  <a:lnTo>
                    <a:pt x="351" y="1994"/>
                  </a:lnTo>
                  <a:cubicBezTo>
                    <a:pt x="337" y="1994"/>
                    <a:pt x="323" y="1994"/>
                    <a:pt x="312" y="1991"/>
                  </a:cubicBezTo>
                  <a:cubicBezTo>
                    <a:pt x="309" y="1990"/>
                    <a:pt x="305" y="1990"/>
                    <a:pt x="301" y="1990"/>
                  </a:cubicBezTo>
                  <a:cubicBezTo>
                    <a:pt x="247" y="1990"/>
                    <a:pt x="153" y="2038"/>
                    <a:pt x="81" y="2113"/>
                  </a:cubicBezTo>
                  <a:cubicBezTo>
                    <a:pt x="46" y="2141"/>
                    <a:pt x="21" y="2180"/>
                    <a:pt x="0" y="2218"/>
                  </a:cubicBezTo>
                  <a:cubicBezTo>
                    <a:pt x="20" y="2219"/>
                    <a:pt x="40" y="2220"/>
                    <a:pt x="59" y="2220"/>
                  </a:cubicBezTo>
                  <a:cubicBezTo>
                    <a:pt x="112" y="2220"/>
                    <a:pt x="164" y="2216"/>
                    <a:pt x="218" y="2211"/>
                  </a:cubicBezTo>
                  <a:cubicBezTo>
                    <a:pt x="296" y="2204"/>
                    <a:pt x="379" y="2197"/>
                    <a:pt x="459" y="2197"/>
                  </a:cubicBezTo>
                  <a:cubicBezTo>
                    <a:pt x="571" y="2197"/>
                    <a:pt x="674" y="2211"/>
                    <a:pt x="746" y="2260"/>
                  </a:cubicBezTo>
                  <a:cubicBezTo>
                    <a:pt x="775" y="2278"/>
                    <a:pt x="804" y="2286"/>
                    <a:pt x="835" y="2286"/>
                  </a:cubicBezTo>
                  <a:cubicBezTo>
                    <a:pt x="876" y="2286"/>
                    <a:pt x="920" y="2273"/>
                    <a:pt x="974" y="2253"/>
                  </a:cubicBezTo>
                  <a:cubicBezTo>
                    <a:pt x="1017" y="2239"/>
                    <a:pt x="1068" y="2222"/>
                    <a:pt x="1118" y="2222"/>
                  </a:cubicBezTo>
                  <a:cubicBezTo>
                    <a:pt x="1169" y="2222"/>
                    <a:pt x="1220" y="2240"/>
                    <a:pt x="1261" y="2299"/>
                  </a:cubicBezTo>
                  <a:cubicBezTo>
                    <a:pt x="1292" y="2343"/>
                    <a:pt x="1345" y="2354"/>
                    <a:pt x="1417" y="2354"/>
                  </a:cubicBezTo>
                  <a:cubicBezTo>
                    <a:pt x="1442" y="2354"/>
                    <a:pt x="1469" y="2353"/>
                    <a:pt x="1499" y="2351"/>
                  </a:cubicBezTo>
                  <a:lnTo>
                    <a:pt x="1544" y="2348"/>
                  </a:lnTo>
                  <a:lnTo>
                    <a:pt x="1600" y="2348"/>
                  </a:lnTo>
                  <a:cubicBezTo>
                    <a:pt x="1614" y="2348"/>
                    <a:pt x="1625" y="2348"/>
                    <a:pt x="1639" y="2351"/>
                  </a:cubicBezTo>
                  <a:lnTo>
                    <a:pt x="1646" y="2351"/>
                  </a:lnTo>
                  <a:cubicBezTo>
                    <a:pt x="1660" y="2355"/>
                    <a:pt x="1670" y="2358"/>
                    <a:pt x="1684" y="2362"/>
                  </a:cubicBezTo>
                  <a:cubicBezTo>
                    <a:pt x="1697" y="2367"/>
                    <a:pt x="1727" y="2369"/>
                    <a:pt x="1768" y="2369"/>
                  </a:cubicBezTo>
                  <a:cubicBezTo>
                    <a:pt x="1840" y="2369"/>
                    <a:pt x="1946" y="2362"/>
                    <a:pt x="2059" y="2351"/>
                  </a:cubicBezTo>
                  <a:cubicBezTo>
                    <a:pt x="2146" y="2341"/>
                    <a:pt x="2244" y="2330"/>
                    <a:pt x="2336" y="2316"/>
                  </a:cubicBezTo>
                  <a:lnTo>
                    <a:pt x="2339" y="2313"/>
                  </a:lnTo>
                  <a:lnTo>
                    <a:pt x="2346" y="2299"/>
                  </a:lnTo>
                  <a:cubicBezTo>
                    <a:pt x="2350" y="2295"/>
                    <a:pt x="2353" y="2288"/>
                    <a:pt x="2357" y="2281"/>
                  </a:cubicBezTo>
                  <a:lnTo>
                    <a:pt x="2364" y="2271"/>
                  </a:lnTo>
                  <a:cubicBezTo>
                    <a:pt x="2367" y="2264"/>
                    <a:pt x="2367" y="2257"/>
                    <a:pt x="2371" y="2253"/>
                  </a:cubicBezTo>
                  <a:lnTo>
                    <a:pt x="2374" y="2239"/>
                  </a:lnTo>
                  <a:cubicBezTo>
                    <a:pt x="2374" y="2232"/>
                    <a:pt x="2378" y="2229"/>
                    <a:pt x="2381" y="2222"/>
                  </a:cubicBezTo>
                  <a:lnTo>
                    <a:pt x="2385" y="2208"/>
                  </a:lnTo>
                  <a:cubicBezTo>
                    <a:pt x="2385" y="2204"/>
                    <a:pt x="2385" y="2197"/>
                    <a:pt x="2388" y="2194"/>
                  </a:cubicBezTo>
                  <a:cubicBezTo>
                    <a:pt x="2388" y="2187"/>
                    <a:pt x="2388" y="2183"/>
                    <a:pt x="2388" y="2180"/>
                  </a:cubicBezTo>
                  <a:cubicBezTo>
                    <a:pt x="2392" y="2176"/>
                    <a:pt x="2388" y="2169"/>
                    <a:pt x="2392" y="2162"/>
                  </a:cubicBezTo>
                  <a:cubicBezTo>
                    <a:pt x="2395" y="2159"/>
                    <a:pt x="2392" y="2155"/>
                    <a:pt x="2392" y="2152"/>
                  </a:cubicBezTo>
                  <a:lnTo>
                    <a:pt x="2392" y="2138"/>
                  </a:lnTo>
                  <a:lnTo>
                    <a:pt x="2392" y="2131"/>
                  </a:lnTo>
                  <a:lnTo>
                    <a:pt x="2392" y="2110"/>
                  </a:lnTo>
                  <a:cubicBezTo>
                    <a:pt x="2388" y="2068"/>
                    <a:pt x="2399" y="2029"/>
                    <a:pt x="2423" y="1994"/>
                  </a:cubicBezTo>
                  <a:cubicBezTo>
                    <a:pt x="2465" y="1935"/>
                    <a:pt x="2539" y="1924"/>
                    <a:pt x="2598" y="1917"/>
                  </a:cubicBezTo>
                  <a:cubicBezTo>
                    <a:pt x="2626" y="1914"/>
                    <a:pt x="2658" y="1907"/>
                    <a:pt x="2686" y="1900"/>
                  </a:cubicBezTo>
                  <a:cubicBezTo>
                    <a:pt x="2735" y="1879"/>
                    <a:pt x="2777" y="1847"/>
                    <a:pt x="2812" y="1809"/>
                  </a:cubicBezTo>
                  <a:cubicBezTo>
                    <a:pt x="2871" y="1756"/>
                    <a:pt x="2931" y="1704"/>
                    <a:pt x="3008" y="1704"/>
                  </a:cubicBezTo>
                  <a:cubicBezTo>
                    <a:pt x="3046" y="1693"/>
                    <a:pt x="3085" y="1679"/>
                    <a:pt x="3116" y="1655"/>
                  </a:cubicBezTo>
                  <a:cubicBezTo>
                    <a:pt x="3173" y="1622"/>
                    <a:pt x="3235" y="1588"/>
                    <a:pt x="3299" y="1588"/>
                  </a:cubicBezTo>
                  <a:cubicBezTo>
                    <a:pt x="3319" y="1588"/>
                    <a:pt x="3338" y="1591"/>
                    <a:pt x="3358" y="1599"/>
                  </a:cubicBezTo>
                  <a:cubicBezTo>
                    <a:pt x="3396" y="1616"/>
                    <a:pt x="3435" y="1637"/>
                    <a:pt x="3466" y="1665"/>
                  </a:cubicBezTo>
                  <a:lnTo>
                    <a:pt x="3501" y="1690"/>
                  </a:lnTo>
                  <a:cubicBezTo>
                    <a:pt x="3543" y="1718"/>
                    <a:pt x="3571" y="1733"/>
                    <a:pt x="3595" y="1733"/>
                  </a:cubicBezTo>
                  <a:cubicBezTo>
                    <a:pt x="3609" y="1733"/>
                    <a:pt x="3621" y="1728"/>
                    <a:pt x="3634" y="1718"/>
                  </a:cubicBezTo>
                  <a:cubicBezTo>
                    <a:pt x="3673" y="1686"/>
                    <a:pt x="3718" y="1662"/>
                    <a:pt x="3771" y="1648"/>
                  </a:cubicBezTo>
                  <a:cubicBezTo>
                    <a:pt x="3816" y="1634"/>
                    <a:pt x="3858" y="1620"/>
                    <a:pt x="3953" y="1507"/>
                  </a:cubicBezTo>
                  <a:cubicBezTo>
                    <a:pt x="4075" y="1360"/>
                    <a:pt x="4177" y="1322"/>
                    <a:pt x="4289" y="1322"/>
                  </a:cubicBezTo>
                  <a:cubicBezTo>
                    <a:pt x="4327" y="1322"/>
                    <a:pt x="4366" y="1322"/>
                    <a:pt x="4408" y="1329"/>
                  </a:cubicBezTo>
                  <a:lnTo>
                    <a:pt x="4450" y="1332"/>
                  </a:lnTo>
                  <a:lnTo>
                    <a:pt x="4457" y="1332"/>
                  </a:lnTo>
                  <a:lnTo>
                    <a:pt x="4506" y="1339"/>
                  </a:lnTo>
                  <a:cubicBezTo>
                    <a:pt x="4530" y="1342"/>
                    <a:pt x="4552" y="1344"/>
                    <a:pt x="4573" y="1344"/>
                  </a:cubicBezTo>
                  <a:cubicBezTo>
                    <a:pt x="4681" y="1344"/>
                    <a:pt x="4751" y="1307"/>
                    <a:pt x="4804" y="1248"/>
                  </a:cubicBezTo>
                  <a:cubicBezTo>
                    <a:pt x="4832" y="1213"/>
                    <a:pt x="4860" y="1175"/>
                    <a:pt x="4877" y="1133"/>
                  </a:cubicBezTo>
                  <a:cubicBezTo>
                    <a:pt x="4933" y="1021"/>
                    <a:pt x="5052" y="979"/>
                    <a:pt x="5157" y="940"/>
                  </a:cubicBezTo>
                  <a:cubicBezTo>
                    <a:pt x="5217" y="926"/>
                    <a:pt x="5273" y="898"/>
                    <a:pt x="5322" y="867"/>
                  </a:cubicBezTo>
                  <a:cubicBezTo>
                    <a:pt x="5451" y="772"/>
                    <a:pt x="5682" y="674"/>
                    <a:pt x="5794" y="629"/>
                  </a:cubicBezTo>
                  <a:lnTo>
                    <a:pt x="5822" y="618"/>
                  </a:lnTo>
                  <a:cubicBezTo>
                    <a:pt x="5822" y="618"/>
                    <a:pt x="5822" y="615"/>
                    <a:pt x="5826" y="611"/>
                  </a:cubicBezTo>
                  <a:cubicBezTo>
                    <a:pt x="5826" y="608"/>
                    <a:pt x="5829" y="601"/>
                    <a:pt x="5829" y="590"/>
                  </a:cubicBezTo>
                  <a:lnTo>
                    <a:pt x="5829" y="590"/>
                  </a:lnTo>
                  <a:lnTo>
                    <a:pt x="5819" y="597"/>
                  </a:lnTo>
                  <a:lnTo>
                    <a:pt x="5815" y="597"/>
                  </a:lnTo>
                  <a:lnTo>
                    <a:pt x="5798" y="587"/>
                  </a:lnTo>
                  <a:lnTo>
                    <a:pt x="5787" y="583"/>
                  </a:lnTo>
                  <a:lnTo>
                    <a:pt x="5777" y="576"/>
                  </a:lnTo>
                  <a:lnTo>
                    <a:pt x="5763" y="573"/>
                  </a:lnTo>
                  <a:lnTo>
                    <a:pt x="5756" y="569"/>
                  </a:lnTo>
                  <a:lnTo>
                    <a:pt x="5742" y="566"/>
                  </a:lnTo>
                  <a:lnTo>
                    <a:pt x="5651" y="566"/>
                  </a:lnTo>
                  <a:cubicBezTo>
                    <a:pt x="5642" y="567"/>
                    <a:pt x="5634" y="567"/>
                    <a:pt x="5625" y="567"/>
                  </a:cubicBezTo>
                  <a:cubicBezTo>
                    <a:pt x="5567" y="567"/>
                    <a:pt x="5511" y="547"/>
                    <a:pt x="5462" y="513"/>
                  </a:cubicBezTo>
                  <a:cubicBezTo>
                    <a:pt x="5430" y="492"/>
                    <a:pt x="5402" y="468"/>
                    <a:pt x="5378" y="440"/>
                  </a:cubicBezTo>
                  <a:cubicBezTo>
                    <a:pt x="5297" y="342"/>
                    <a:pt x="5248" y="321"/>
                    <a:pt x="5192" y="321"/>
                  </a:cubicBezTo>
                  <a:cubicBezTo>
                    <a:pt x="5171" y="321"/>
                    <a:pt x="5150" y="324"/>
                    <a:pt x="5129" y="324"/>
                  </a:cubicBezTo>
                  <a:cubicBezTo>
                    <a:pt x="5098" y="330"/>
                    <a:pt x="5067" y="333"/>
                    <a:pt x="5036" y="333"/>
                  </a:cubicBezTo>
                  <a:cubicBezTo>
                    <a:pt x="4988" y="333"/>
                    <a:pt x="4941" y="326"/>
                    <a:pt x="4895" y="314"/>
                  </a:cubicBezTo>
                  <a:lnTo>
                    <a:pt x="4870" y="307"/>
                  </a:lnTo>
                  <a:cubicBezTo>
                    <a:pt x="4669" y="262"/>
                    <a:pt x="4148" y="205"/>
                    <a:pt x="3810" y="205"/>
                  </a:cubicBezTo>
                  <a:cubicBezTo>
                    <a:pt x="3801" y="205"/>
                    <a:pt x="3791" y="205"/>
                    <a:pt x="3781" y="205"/>
                  </a:cubicBezTo>
                  <a:cubicBezTo>
                    <a:pt x="3764" y="204"/>
                    <a:pt x="3746" y="203"/>
                    <a:pt x="3728" y="203"/>
                  </a:cubicBezTo>
                  <a:cubicBezTo>
                    <a:pt x="3661" y="203"/>
                    <a:pt x="3593" y="213"/>
                    <a:pt x="3529" y="230"/>
                  </a:cubicBezTo>
                  <a:cubicBezTo>
                    <a:pt x="3492" y="245"/>
                    <a:pt x="3451" y="252"/>
                    <a:pt x="3406" y="252"/>
                  </a:cubicBezTo>
                  <a:cubicBezTo>
                    <a:pt x="3234" y="252"/>
                    <a:pt x="3010" y="151"/>
                    <a:pt x="2791" y="37"/>
                  </a:cubicBezTo>
                  <a:lnTo>
                    <a:pt x="2745" y="16"/>
                  </a:lnTo>
                  <a:cubicBezTo>
                    <a:pt x="2724" y="6"/>
                    <a:pt x="2687" y="1"/>
                    <a:pt x="264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9" name="Google Shape;4649;p53"/>
            <p:cNvSpPr/>
            <p:nvPr/>
          </p:nvSpPr>
          <p:spPr>
            <a:xfrm>
              <a:off x="2342432" y="1695723"/>
              <a:ext cx="47874" cy="20841"/>
            </a:xfrm>
            <a:custGeom>
              <a:avLst/>
              <a:gdLst/>
              <a:ahLst/>
              <a:cxnLst/>
              <a:rect l="l" t="t" r="r" b="b"/>
              <a:pathLst>
                <a:path w="3526" h="1535" extrusionOk="0">
                  <a:moveTo>
                    <a:pt x="118" y="1"/>
                  </a:moveTo>
                  <a:cubicBezTo>
                    <a:pt x="101" y="1"/>
                    <a:pt x="85" y="1"/>
                    <a:pt x="70" y="4"/>
                  </a:cubicBezTo>
                  <a:lnTo>
                    <a:pt x="60" y="4"/>
                  </a:lnTo>
                  <a:lnTo>
                    <a:pt x="49" y="7"/>
                  </a:lnTo>
                  <a:lnTo>
                    <a:pt x="46" y="7"/>
                  </a:lnTo>
                  <a:lnTo>
                    <a:pt x="32" y="11"/>
                  </a:lnTo>
                  <a:lnTo>
                    <a:pt x="25" y="14"/>
                  </a:lnTo>
                  <a:lnTo>
                    <a:pt x="7" y="25"/>
                  </a:lnTo>
                  <a:lnTo>
                    <a:pt x="0" y="28"/>
                  </a:lnTo>
                  <a:cubicBezTo>
                    <a:pt x="81" y="56"/>
                    <a:pt x="161" y="84"/>
                    <a:pt x="245" y="105"/>
                  </a:cubicBezTo>
                  <a:cubicBezTo>
                    <a:pt x="476" y="168"/>
                    <a:pt x="718" y="235"/>
                    <a:pt x="767" y="490"/>
                  </a:cubicBezTo>
                  <a:cubicBezTo>
                    <a:pt x="795" y="651"/>
                    <a:pt x="851" y="700"/>
                    <a:pt x="896" y="746"/>
                  </a:cubicBezTo>
                  <a:cubicBezTo>
                    <a:pt x="973" y="819"/>
                    <a:pt x="1022" y="882"/>
                    <a:pt x="973" y="1082"/>
                  </a:cubicBezTo>
                  <a:cubicBezTo>
                    <a:pt x="963" y="1124"/>
                    <a:pt x="945" y="1162"/>
                    <a:pt x="921" y="1197"/>
                  </a:cubicBezTo>
                  <a:lnTo>
                    <a:pt x="935" y="1197"/>
                  </a:lnTo>
                  <a:cubicBezTo>
                    <a:pt x="973" y="1200"/>
                    <a:pt x="1012" y="1201"/>
                    <a:pt x="1050" y="1201"/>
                  </a:cubicBezTo>
                  <a:cubicBezTo>
                    <a:pt x="1127" y="1201"/>
                    <a:pt x="1203" y="1196"/>
                    <a:pt x="1278" y="1187"/>
                  </a:cubicBezTo>
                  <a:lnTo>
                    <a:pt x="1295" y="1187"/>
                  </a:lnTo>
                  <a:lnTo>
                    <a:pt x="1306" y="1183"/>
                  </a:lnTo>
                  <a:lnTo>
                    <a:pt x="1316" y="1183"/>
                  </a:lnTo>
                  <a:lnTo>
                    <a:pt x="1327" y="1180"/>
                  </a:lnTo>
                  <a:lnTo>
                    <a:pt x="1341" y="1176"/>
                  </a:lnTo>
                  <a:cubicBezTo>
                    <a:pt x="1375" y="1163"/>
                    <a:pt x="1406" y="1156"/>
                    <a:pt x="1434" y="1156"/>
                  </a:cubicBezTo>
                  <a:cubicBezTo>
                    <a:pt x="1558" y="1156"/>
                    <a:pt x="1635" y="1273"/>
                    <a:pt x="1712" y="1390"/>
                  </a:cubicBezTo>
                  <a:cubicBezTo>
                    <a:pt x="1736" y="1428"/>
                    <a:pt x="1764" y="1467"/>
                    <a:pt x="1792" y="1509"/>
                  </a:cubicBezTo>
                  <a:lnTo>
                    <a:pt x="1796" y="1512"/>
                  </a:lnTo>
                  <a:lnTo>
                    <a:pt x="1817" y="1516"/>
                  </a:lnTo>
                  <a:cubicBezTo>
                    <a:pt x="1848" y="1512"/>
                    <a:pt x="1880" y="1505"/>
                    <a:pt x="1911" y="1498"/>
                  </a:cubicBezTo>
                  <a:lnTo>
                    <a:pt x="1929" y="1495"/>
                  </a:lnTo>
                  <a:lnTo>
                    <a:pt x="2013" y="1474"/>
                  </a:lnTo>
                  <a:cubicBezTo>
                    <a:pt x="2115" y="1449"/>
                    <a:pt x="2220" y="1428"/>
                    <a:pt x="2325" y="1414"/>
                  </a:cubicBezTo>
                  <a:cubicBezTo>
                    <a:pt x="2339" y="1414"/>
                    <a:pt x="2353" y="1411"/>
                    <a:pt x="2370" y="1411"/>
                  </a:cubicBezTo>
                  <a:lnTo>
                    <a:pt x="2489" y="1411"/>
                  </a:lnTo>
                  <a:lnTo>
                    <a:pt x="2542" y="1414"/>
                  </a:lnTo>
                  <a:lnTo>
                    <a:pt x="2549" y="1414"/>
                  </a:lnTo>
                  <a:lnTo>
                    <a:pt x="2608" y="1421"/>
                  </a:lnTo>
                  <a:lnTo>
                    <a:pt x="2622" y="1421"/>
                  </a:lnTo>
                  <a:lnTo>
                    <a:pt x="2671" y="1428"/>
                  </a:lnTo>
                  <a:lnTo>
                    <a:pt x="2692" y="1432"/>
                  </a:lnTo>
                  <a:lnTo>
                    <a:pt x="2717" y="1435"/>
                  </a:lnTo>
                  <a:cubicBezTo>
                    <a:pt x="2717" y="1425"/>
                    <a:pt x="2717" y="1418"/>
                    <a:pt x="2720" y="1407"/>
                  </a:cubicBezTo>
                  <a:cubicBezTo>
                    <a:pt x="2720" y="1400"/>
                    <a:pt x="2724" y="1397"/>
                    <a:pt x="2724" y="1390"/>
                  </a:cubicBezTo>
                  <a:cubicBezTo>
                    <a:pt x="2727" y="1386"/>
                    <a:pt x="2727" y="1379"/>
                    <a:pt x="2731" y="1376"/>
                  </a:cubicBezTo>
                  <a:cubicBezTo>
                    <a:pt x="2748" y="1337"/>
                    <a:pt x="2783" y="1313"/>
                    <a:pt x="2825" y="1309"/>
                  </a:cubicBezTo>
                  <a:cubicBezTo>
                    <a:pt x="2830" y="1308"/>
                    <a:pt x="2835" y="1307"/>
                    <a:pt x="2839" y="1307"/>
                  </a:cubicBezTo>
                  <a:cubicBezTo>
                    <a:pt x="2844" y="1307"/>
                    <a:pt x="2848" y="1308"/>
                    <a:pt x="2853" y="1309"/>
                  </a:cubicBezTo>
                  <a:lnTo>
                    <a:pt x="2860" y="1309"/>
                  </a:lnTo>
                  <a:cubicBezTo>
                    <a:pt x="2874" y="1309"/>
                    <a:pt x="2888" y="1309"/>
                    <a:pt x="2902" y="1313"/>
                  </a:cubicBezTo>
                  <a:cubicBezTo>
                    <a:pt x="2920" y="1316"/>
                    <a:pt x="2934" y="1320"/>
                    <a:pt x="2951" y="1323"/>
                  </a:cubicBezTo>
                  <a:cubicBezTo>
                    <a:pt x="2965" y="1330"/>
                    <a:pt x="2983" y="1337"/>
                    <a:pt x="3000" y="1344"/>
                  </a:cubicBezTo>
                  <a:lnTo>
                    <a:pt x="3004" y="1344"/>
                  </a:lnTo>
                  <a:cubicBezTo>
                    <a:pt x="3018" y="1348"/>
                    <a:pt x="3032" y="1358"/>
                    <a:pt x="3046" y="1365"/>
                  </a:cubicBezTo>
                  <a:lnTo>
                    <a:pt x="3049" y="1369"/>
                  </a:lnTo>
                  <a:cubicBezTo>
                    <a:pt x="3067" y="1376"/>
                    <a:pt x="3081" y="1383"/>
                    <a:pt x="3095" y="1390"/>
                  </a:cubicBezTo>
                  <a:lnTo>
                    <a:pt x="3098" y="1393"/>
                  </a:lnTo>
                  <a:cubicBezTo>
                    <a:pt x="3112" y="1404"/>
                    <a:pt x="3126" y="1411"/>
                    <a:pt x="3137" y="1418"/>
                  </a:cubicBezTo>
                  <a:lnTo>
                    <a:pt x="3144" y="1421"/>
                  </a:lnTo>
                  <a:cubicBezTo>
                    <a:pt x="3154" y="1432"/>
                    <a:pt x="3165" y="1439"/>
                    <a:pt x="3175" y="1446"/>
                  </a:cubicBezTo>
                  <a:lnTo>
                    <a:pt x="3179" y="1449"/>
                  </a:lnTo>
                  <a:cubicBezTo>
                    <a:pt x="3189" y="1456"/>
                    <a:pt x="3196" y="1463"/>
                    <a:pt x="3203" y="1474"/>
                  </a:cubicBezTo>
                  <a:cubicBezTo>
                    <a:pt x="3262" y="1513"/>
                    <a:pt x="3329" y="1534"/>
                    <a:pt x="3400" y="1534"/>
                  </a:cubicBezTo>
                  <a:cubicBezTo>
                    <a:pt x="3406" y="1534"/>
                    <a:pt x="3411" y="1534"/>
                    <a:pt x="3417" y="1533"/>
                  </a:cubicBezTo>
                  <a:cubicBezTo>
                    <a:pt x="3422" y="1534"/>
                    <a:pt x="3427" y="1534"/>
                    <a:pt x="3432" y="1534"/>
                  </a:cubicBezTo>
                  <a:cubicBezTo>
                    <a:pt x="3465" y="1534"/>
                    <a:pt x="3498" y="1524"/>
                    <a:pt x="3525" y="1509"/>
                  </a:cubicBezTo>
                  <a:cubicBezTo>
                    <a:pt x="3504" y="1488"/>
                    <a:pt x="3480" y="1467"/>
                    <a:pt x="3452" y="1449"/>
                  </a:cubicBezTo>
                  <a:cubicBezTo>
                    <a:pt x="3410" y="1418"/>
                    <a:pt x="3375" y="1383"/>
                    <a:pt x="3343" y="1344"/>
                  </a:cubicBezTo>
                  <a:cubicBezTo>
                    <a:pt x="3340" y="1337"/>
                    <a:pt x="3336" y="1327"/>
                    <a:pt x="3333" y="1320"/>
                  </a:cubicBezTo>
                  <a:lnTo>
                    <a:pt x="3333" y="1316"/>
                  </a:lnTo>
                  <a:cubicBezTo>
                    <a:pt x="3333" y="1309"/>
                    <a:pt x="3329" y="1302"/>
                    <a:pt x="3329" y="1292"/>
                  </a:cubicBezTo>
                  <a:cubicBezTo>
                    <a:pt x="3329" y="1281"/>
                    <a:pt x="3329" y="1274"/>
                    <a:pt x="3329" y="1267"/>
                  </a:cubicBezTo>
                  <a:lnTo>
                    <a:pt x="3329" y="1264"/>
                  </a:lnTo>
                  <a:cubicBezTo>
                    <a:pt x="3333" y="1257"/>
                    <a:pt x="3333" y="1246"/>
                    <a:pt x="3336" y="1239"/>
                  </a:cubicBezTo>
                  <a:lnTo>
                    <a:pt x="3336" y="1236"/>
                  </a:lnTo>
                  <a:cubicBezTo>
                    <a:pt x="3340" y="1229"/>
                    <a:pt x="3343" y="1222"/>
                    <a:pt x="3347" y="1211"/>
                  </a:cubicBezTo>
                  <a:lnTo>
                    <a:pt x="3347" y="1208"/>
                  </a:lnTo>
                  <a:cubicBezTo>
                    <a:pt x="3350" y="1201"/>
                    <a:pt x="3357" y="1194"/>
                    <a:pt x="3361" y="1183"/>
                  </a:cubicBezTo>
                  <a:lnTo>
                    <a:pt x="3364" y="1180"/>
                  </a:lnTo>
                  <a:cubicBezTo>
                    <a:pt x="3368" y="1169"/>
                    <a:pt x="3375" y="1162"/>
                    <a:pt x="3382" y="1155"/>
                  </a:cubicBezTo>
                  <a:lnTo>
                    <a:pt x="3399" y="1131"/>
                  </a:lnTo>
                  <a:lnTo>
                    <a:pt x="3399" y="1127"/>
                  </a:lnTo>
                  <a:lnTo>
                    <a:pt x="3336" y="1089"/>
                  </a:lnTo>
                  <a:cubicBezTo>
                    <a:pt x="3291" y="1057"/>
                    <a:pt x="3242" y="1029"/>
                    <a:pt x="3189" y="1005"/>
                  </a:cubicBezTo>
                  <a:lnTo>
                    <a:pt x="3179" y="1001"/>
                  </a:lnTo>
                  <a:cubicBezTo>
                    <a:pt x="3175" y="1001"/>
                    <a:pt x="3168" y="1005"/>
                    <a:pt x="3165" y="1005"/>
                  </a:cubicBezTo>
                  <a:cubicBezTo>
                    <a:pt x="3147" y="1005"/>
                    <a:pt x="3133" y="1001"/>
                    <a:pt x="3116" y="994"/>
                  </a:cubicBezTo>
                  <a:cubicBezTo>
                    <a:pt x="3074" y="966"/>
                    <a:pt x="3053" y="907"/>
                    <a:pt x="3035" y="826"/>
                  </a:cubicBezTo>
                  <a:lnTo>
                    <a:pt x="3028" y="805"/>
                  </a:lnTo>
                  <a:cubicBezTo>
                    <a:pt x="3021" y="760"/>
                    <a:pt x="3007" y="718"/>
                    <a:pt x="2990" y="672"/>
                  </a:cubicBezTo>
                  <a:cubicBezTo>
                    <a:pt x="2990" y="669"/>
                    <a:pt x="2986" y="665"/>
                    <a:pt x="2986" y="662"/>
                  </a:cubicBezTo>
                  <a:cubicBezTo>
                    <a:pt x="2937" y="662"/>
                    <a:pt x="2895" y="644"/>
                    <a:pt x="2860" y="613"/>
                  </a:cubicBezTo>
                  <a:cubicBezTo>
                    <a:pt x="2846" y="599"/>
                    <a:pt x="2825" y="588"/>
                    <a:pt x="2801" y="588"/>
                  </a:cubicBezTo>
                  <a:lnTo>
                    <a:pt x="2664" y="588"/>
                  </a:lnTo>
                  <a:cubicBezTo>
                    <a:pt x="2622" y="588"/>
                    <a:pt x="2584" y="592"/>
                    <a:pt x="2552" y="595"/>
                  </a:cubicBezTo>
                  <a:cubicBezTo>
                    <a:pt x="2521" y="599"/>
                    <a:pt x="2489" y="599"/>
                    <a:pt x="2465" y="602"/>
                  </a:cubicBezTo>
                  <a:cubicBezTo>
                    <a:pt x="2335" y="616"/>
                    <a:pt x="2297" y="637"/>
                    <a:pt x="2286" y="648"/>
                  </a:cubicBezTo>
                  <a:cubicBezTo>
                    <a:pt x="2276" y="655"/>
                    <a:pt x="2265" y="658"/>
                    <a:pt x="2255" y="665"/>
                  </a:cubicBezTo>
                  <a:cubicBezTo>
                    <a:pt x="2239" y="671"/>
                    <a:pt x="2223" y="674"/>
                    <a:pt x="2208" y="674"/>
                  </a:cubicBezTo>
                  <a:cubicBezTo>
                    <a:pt x="2139" y="674"/>
                    <a:pt x="2075" y="617"/>
                    <a:pt x="2024" y="571"/>
                  </a:cubicBezTo>
                  <a:cubicBezTo>
                    <a:pt x="1985" y="536"/>
                    <a:pt x="1936" y="490"/>
                    <a:pt x="1904" y="490"/>
                  </a:cubicBezTo>
                  <a:cubicBezTo>
                    <a:pt x="1743" y="490"/>
                    <a:pt x="1582" y="333"/>
                    <a:pt x="1516" y="249"/>
                  </a:cubicBezTo>
                  <a:cubicBezTo>
                    <a:pt x="1500" y="239"/>
                    <a:pt x="1456" y="236"/>
                    <a:pt x="1403" y="236"/>
                  </a:cubicBezTo>
                  <a:cubicBezTo>
                    <a:pt x="1343" y="236"/>
                    <a:pt x="1271" y="240"/>
                    <a:pt x="1215" y="242"/>
                  </a:cubicBezTo>
                  <a:cubicBezTo>
                    <a:pt x="1138" y="245"/>
                    <a:pt x="1061" y="250"/>
                    <a:pt x="988" y="250"/>
                  </a:cubicBezTo>
                  <a:cubicBezTo>
                    <a:pt x="861" y="250"/>
                    <a:pt x="748" y="237"/>
                    <a:pt x="679" y="186"/>
                  </a:cubicBezTo>
                  <a:cubicBezTo>
                    <a:pt x="537" y="84"/>
                    <a:pt x="278" y="1"/>
                    <a:pt x="1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0" name="Google Shape;4650;p53"/>
            <p:cNvSpPr/>
            <p:nvPr/>
          </p:nvSpPr>
          <p:spPr>
            <a:xfrm>
              <a:off x="2240180" y="1709559"/>
              <a:ext cx="19076" cy="11745"/>
            </a:xfrm>
            <a:custGeom>
              <a:avLst/>
              <a:gdLst/>
              <a:ahLst/>
              <a:cxnLst/>
              <a:rect l="l" t="t" r="r" b="b"/>
              <a:pathLst>
                <a:path w="1405" h="865" extrusionOk="0">
                  <a:moveTo>
                    <a:pt x="452" y="1"/>
                  </a:moveTo>
                  <a:cubicBezTo>
                    <a:pt x="394" y="1"/>
                    <a:pt x="335" y="5"/>
                    <a:pt x="284" y="10"/>
                  </a:cubicBezTo>
                  <a:lnTo>
                    <a:pt x="246" y="10"/>
                  </a:lnTo>
                  <a:cubicBezTo>
                    <a:pt x="221" y="14"/>
                    <a:pt x="197" y="17"/>
                    <a:pt x="179" y="24"/>
                  </a:cubicBezTo>
                  <a:cubicBezTo>
                    <a:pt x="179" y="28"/>
                    <a:pt x="179" y="31"/>
                    <a:pt x="183" y="35"/>
                  </a:cubicBezTo>
                  <a:cubicBezTo>
                    <a:pt x="183" y="45"/>
                    <a:pt x="186" y="56"/>
                    <a:pt x="190" y="70"/>
                  </a:cubicBezTo>
                  <a:lnTo>
                    <a:pt x="204" y="112"/>
                  </a:lnTo>
                  <a:lnTo>
                    <a:pt x="221" y="175"/>
                  </a:lnTo>
                  <a:cubicBezTo>
                    <a:pt x="221" y="185"/>
                    <a:pt x="225" y="192"/>
                    <a:pt x="225" y="199"/>
                  </a:cubicBezTo>
                  <a:cubicBezTo>
                    <a:pt x="228" y="210"/>
                    <a:pt x="232" y="220"/>
                    <a:pt x="232" y="231"/>
                  </a:cubicBezTo>
                  <a:cubicBezTo>
                    <a:pt x="235" y="241"/>
                    <a:pt x="235" y="245"/>
                    <a:pt x="235" y="252"/>
                  </a:cubicBezTo>
                  <a:cubicBezTo>
                    <a:pt x="239" y="259"/>
                    <a:pt x="242" y="273"/>
                    <a:pt x="242" y="283"/>
                  </a:cubicBezTo>
                  <a:cubicBezTo>
                    <a:pt x="246" y="301"/>
                    <a:pt x="246" y="315"/>
                    <a:pt x="246" y="332"/>
                  </a:cubicBezTo>
                  <a:cubicBezTo>
                    <a:pt x="246" y="437"/>
                    <a:pt x="179" y="497"/>
                    <a:pt x="134" y="539"/>
                  </a:cubicBezTo>
                  <a:cubicBezTo>
                    <a:pt x="116" y="553"/>
                    <a:pt x="88" y="577"/>
                    <a:pt x="88" y="588"/>
                  </a:cubicBezTo>
                  <a:cubicBezTo>
                    <a:pt x="88" y="595"/>
                    <a:pt x="88" y="605"/>
                    <a:pt x="88" y="616"/>
                  </a:cubicBezTo>
                  <a:lnTo>
                    <a:pt x="88" y="623"/>
                  </a:lnTo>
                  <a:cubicBezTo>
                    <a:pt x="88" y="630"/>
                    <a:pt x="85" y="637"/>
                    <a:pt x="85" y="640"/>
                  </a:cubicBezTo>
                  <a:cubicBezTo>
                    <a:pt x="85" y="644"/>
                    <a:pt x="81" y="647"/>
                    <a:pt x="81" y="651"/>
                  </a:cubicBezTo>
                  <a:cubicBezTo>
                    <a:pt x="81" y="654"/>
                    <a:pt x="78" y="661"/>
                    <a:pt x="74" y="665"/>
                  </a:cubicBezTo>
                  <a:lnTo>
                    <a:pt x="71" y="675"/>
                  </a:lnTo>
                  <a:lnTo>
                    <a:pt x="64" y="689"/>
                  </a:lnTo>
                  <a:lnTo>
                    <a:pt x="57" y="696"/>
                  </a:lnTo>
                  <a:lnTo>
                    <a:pt x="46" y="710"/>
                  </a:lnTo>
                  <a:lnTo>
                    <a:pt x="39" y="721"/>
                  </a:lnTo>
                  <a:lnTo>
                    <a:pt x="29" y="731"/>
                  </a:lnTo>
                  <a:lnTo>
                    <a:pt x="22" y="742"/>
                  </a:lnTo>
                  <a:lnTo>
                    <a:pt x="11" y="752"/>
                  </a:lnTo>
                  <a:lnTo>
                    <a:pt x="1" y="766"/>
                  </a:lnTo>
                  <a:cubicBezTo>
                    <a:pt x="78" y="819"/>
                    <a:pt x="148" y="864"/>
                    <a:pt x="218" y="864"/>
                  </a:cubicBezTo>
                  <a:cubicBezTo>
                    <a:pt x="323" y="864"/>
                    <a:pt x="393" y="798"/>
                    <a:pt x="477" y="717"/>
                  </a:cubicBezTo>
                  <a:cubicBezTo>
                    <a:pt x="536" y="651"/>
                    <a:pt x="613" y="595"/>
                    <a:pt x="701" y="556"/>
                  </a:cubicBezTo>
                  <a:cubicBezTo>
                    <a:pt x="773" y="529"/>
                    <a:pt x="870" y="523"/>
                    <a:pt x="972" y="523"/>
                  </a:cubicBezTo>
                  <a:cubicBezTo>
                    <a:pt x="1013" y="523"/>
                    <a:pt x="1055" y="524"/>
                    <a:pt x="1096" y="525"/>
                  </a:cubicBezTo>
                  <a:cubicBezTo>
                    <a:pt x="1133" y="526"/>
                    <a:pt x="1173" y="527"/>
                    <a:pt x="1213" y="527"/>
                  </a:cubicBezTo>
                  <a:cubicBezTo>
                    <a:pt x="1293" y="527"/>
                    <a:pt x="1370" y="523"/>
                    <a:pt x="1405" y="504"/>
                  </a:cubicBezTo>
                  <a:cubicBezTo>
                    <a:pt x="1345" y="458"/>
                    <a:pt x="1279" y="420"/>
                    <a:pt x="1212" y="388"/>
                  </a:cubicBezTo>
                  <a:cubicBezTo>
                    <a:pt x="1138" y="353"/>
                    <a:pt x="1072" y="311"/>
                    <a:pt x="1005" y="266"/>
                  </a:cubicBezTo>
                  <a:cubicBezTo>
                    <a:pt x="939" y="199"/>
                    <a:pt x="890" y="119"/>
                    <a:pt x="872" y="28"/>
                  </a:cubicBezTo>
                  <a:lnTo>
                    <a:pt x="862" y="31"/>
                  </a:lnTo>
                  <a:lnTo>
                    <a:pt x="848" y="35"/>
                  </a:lnTo>
                  <a:lnTo>
                    <a:pt x="823" y="42"/>
                  </a:lnTo>
                  <a:lnTo>
                    <a:pt x="809" y="45"/>
                  </a:lnTo>
                  <a:cubicBezTo>
                    <a:pt x="799" y="49"/>
                    <a:pt x="792" y="49"/>
                    <a:pt x="781" y="52"/>
                  </a:cubicBezTo>
                  <a:lnTo>
                    <a:pt x="736" y="52"/>
                  </a:lnTo>
                  <a:lnTo>
                    <a:pt x="715" y="49"/>
                  </a:lnTo>
                  <a:lnTo>
                    <a:pt x="708" y="49"/>
                  </a:lnTo>
                  <a:lnTo>
                    <a:pt x="690" y="45"/>
                  </a:lnTo>
                  <a:lnTo>
                    <a:pt x="683" y="42"/>
                  </a:lnTo>
                  <a:cubicBezTo>
                    <a:pt x="676" y="38"/>
                    <a:pt x="669" y="35"/>
                    <a:pt x="662" y="31"/>
                  </a:cubicBezTo>
                  <a:cubicBezTo>
                    <a:pt x="615" y="9"/>
                    <a:pt x="535" y="1"/>
                    <a:pt x="4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1" name="Google Shape;4651;p53"/>
            <p:cNvSpPr/>
            <p:nvPr/>
          </p:nvSpPr>
          <p:spPr>
            <a:xfrm>
              <a:off x="2239949" y="1709871"/>
              <a:ext cx="136291" cy="51934"/>
            </a:xfrm>
            <a:custGeom>
              <a:avLst/>
              <a:gdLst/>
              <a:ahLst/>
              <a:cxnLst/>
              <a:rect l="l" t="t" r="r" b="b"/>
              <a:pathLst>
                <a:path w="10038" h="3825" extrusionOk="0">
                  <a:moveTo>
                    <a:pt x="4202" y="1"/>
                  </a:moveTo>
                  <a:cubicBezTo>
                    <a:pt x="3585" y="1"/>
                    <a:pt x="3059" y="306"/>
                    <a:pt x="2825" y="509"/>
                  </a:cubicBezTo>
                  <a:cubicBezTo>
                    <a:pt x="2724" y="598"/>
                    <a:pt x="2540" y="623"/>
                    <a:pt x="2341" y="623"/>
                  </a:cubicBezTo>
                  <a:cubicBezTo>
                    <a:pt x="2188" y="623"/>
                    <a:pt x="2027" y="609"/>
                    <a:pt x="1887" y="596"/>
                  </a:cubicBezTo>
                  <a:cubicBezTo>
                    <a:pt x="1815" y="588"/>
                    <a:pt x="1743" y="582"/>
                    <a:pt x="1669" y="582"/>
                  </a:cubicBezTo>
                  <a:cubicBezTo>
                    <a:pt x="1653" y="582"/>
                    <a:pt x="1637" y="582"/>
                    <a:pt x="1621" y="582"/>
                  </a:cubicBezTo>
                  <a:cubicBezTo>
                    <a:pt x="1614" y="603"/>
                    <a:pt x="1611" y="624"/>
                    <a:pt x="1607" y="645"/>
                  </a:cubicBezTo>
                  <a:cubicBezTo>
                    <a:pt x="1590" y="747"/>
                    <a:pt x="1565" y="919"/>
                    <a:pt x="1334" y="1006"/>
                  </a:cubicBezTo>
                  <a:cubicBezTo>
                    <a:pt x="1189" y="1063"/>
                    <a:pt x="973" y="1066"/>
                    <a:pt x="755" y="1066"/>
                  </a:cubicBezTo>
                  <a:cubicBezTo>
                    <a:pt x="731" y="1066"/>
                    <a:pt x="707" y="1066"/>
                    <a:pt x="683" y="1066"/>
                  </a:cubicBezTo>
                  <a:cubicBezTo>
                    <a:pt x="653" y="1066"/>
                    <a:pt x="622" y="1065"/>
                    <a:pt x="592" y="1065"/>
                  </a:cubicBezTo>
                  <a:cubicBezTo>
                    <a:pt x="426" y="1065"/>
                    <a:pt x="266" y="1068"/>
                    <a:pt x="189" y="1101"/>
                  </a:cubicBezTo>
                  <a:cubicBezTo>
                    <a:pt x="63" y="1160"/>
                    <a:pt x="0" y="1307"/>
                    <a:pt x="14" y="1363"/>
                  </a:cubicBezTo>
                  <a:cubicBezTo>
                    <a:pt x="18" y="1374"/>
                    <a:pt x="18" y="1381"/>
                    <a:pt x="46" y="1381"/>
                  </a:cubicBezTo>
                  <a:cubicBezTo>
                    <a:pt x="64" y="1379"/>
                    <a:pt x="82" y="1378"/>
                    <a:pt x="100" y="1378"/>
                  </a:cubicBezTo>
                  <a:cubicBezTo>
                    <a:pt x="211" y="1378"/>
                    <a:pt x="300" y="1416"/>
                    <a:pt x="340" y="1482"/>
                  </a:cubicBezTo>
                  <a:cubicBezTo>
                    <a:pt x="368" y="1531"/>
                    <a:pt x="364" y="1587"/>
                    <a:pt x="333" y="1633"/>
                  </a:cubicBezTo>
                  <a:cubicBezTo>
                    <a:pt x="340" y="1671"/>
                    <a:pt x="350" y="1706"/>
                    <a:pt x="368" y="1741"/>
                  </a:cubicBezTo>
                  <a:cubicBezTo>
                    <a:pt x="410" y="1836"/>
                    <a:pt x="462" y="1965"/>
                    <a:pt x="368" y="2049"/>
                  </a:cubicBezTo>
                  <a:cubicBezTo>
                    <a:pt x="329" y="2088"/>
                    <a:pt x="305" y="2144"/>
                    <a:pt x="308" y="2200"/>
                  </a:cubicBezTo>
                  <a:cubicBezTo>
                    <a:pt x="312" y="2249"/>
                    <a:pt x="336" y="2298"/>
                    <a:pt x="378" y="2329"/>
                  </a:cubicBezTo>
                  <a:cubicBezTo>
                    <a:pt x="476" y="2403"/>
                    <a:pt x="529" y="2522"/>
                    <a:pt x="508" y="2613"/>
                  </a:cubicBezTo>
                  <a:cubicBezTo>
                    <a:pt x="494" y="2662"/>
                    <a:pt x="462" y="2700"/>
                    <a:pt x="420" y="2725"/>
                  </a:cubicBezTo>
                  <a:cubicBezTo>
                    <a:pt x="441" y="2739"/>
                    <a:pt x="466" y="2756"/>
                    <a:pt x="487" y="2767"/>
                  </a:cubicBezTo>
                  <a:cubicBezTo>
                    <a:pt x="599" y="2840"/>
                    <a:pt x="665" y="2886"/>
                    <a:pt x="679" y="2942"/>
                  </a:cubicBezTo>
                  <a:cubicBezTo>
                    <a:pt x="718" y="2966"/>
                    <a:pt x="760" y="2984"/>
                    <a:pt x="805" y="2998"/>
                  </a:cubicBezTo>
                  <a:cubicBezTo>
                    <a:pt x="917" y="3040"/>
                    <a:pt x="1036" y="3082"/>
                    <a:pt x="1036" y="3180"/>
                  </a:cubicBezTo>
                  <a:cubicBezTo>
                    <a:pt x="1036" y="3198"/>
                    <a:pt x="1043" y="3201"/>
                    <a:pt x="1047" y="3205"/>
                  </a:cubicBezTo>
                  <a:cubicBezTo>
                    <a:pt x="1056" y="3212"/>
                    <a:pt x="1075" y="3217"/>
                    <a:pt x="1105" y="3217"/>
                  </a:cubicBezTo>
                  <a:cubicBezTo>
                    <a:pt x="1135" y="3217"/>
                    <a:pt x="1176" y="3212"/>
                    <a:pt x="1229" y="3198"/>
                  </a:cubicBezTo>
                  <a:cubicBezTo>
                    <a:pt x="1252" y="3191"/>
                    <a:pt x="1273" y="3188"/>
                    <a:pt x="1293" y="3188"/>
                  </a:cubicBezTo>
                  <a:cubicBezTo>
                    <a:pt x="1430" y="3188"/>
                    <a:pt x="1508" y="3334"/>
                    <a:pt x="1572" y="3457"/>
                  </a:cubicBezTo>
                  <a:cubicBezTo>
                    <a:pt x="1597" y="3495"/>
                    <a:pt x="1618" y="3537"/>
                    <a:pt x="1639" y="3572"/>
                  </a:cubicBezTo>
                  <a:cubicBezTo>
                    <a:pt x="1659" y="3602"/>
                    <a:pt x="1728" y="3621"/>
                    <a:pt x="1818" y="3621"/>
                  </a:cubicBezTo>
                  <a:cubicBezTo>
                    <a:pt x="1887" y="3621"/>
                    <a:pt x="1967" y="3610"/>
                    <a:pt x="2048" y="3586"/>
                  </a:cubicBezTo>
                  <a:cubicBezTo>
                    <a:pt x="2167" y="3551"/>
                    <a:pt x="2223" y="3502"/>
                    <a:pt x="2223" y="3481"/>
                  </a:cubicBezTo>
                  <a:cubicBezTo>
                    <a:pt x="2220" y="3411"/>
                    <a:pt x="2248" y="3341"/>
                    <a:pt x="2297" y="3296"/>
                  </a:cubicBezTo>
                  <a:cubicBezTo>
                    <a:pt x="2364" y="3234"/>
                    <a:pt x="2468" y="3206"/>
                    <a:pt x="2615" y="3206"/>
                  </a:cubicBezTo>
                  <a:cubicBezTo>
                    <a:pt x="2652" y="3206"/>
                    <a:pt x="2692" y="3208"/>
                    <a:pt x="2734" y="3212"/>
                  </a:cubicBezTo>
                  <a:cubicBezTo>
                    <a:pt x="2930" y="3229"/>
                    <a:pt x="3144" y="3394"/>
                    <a:pt x="3315" y="3527"/>
                  </a:cubicBezTo>
                  <a:cubicBezTo>
                    <a:pt x="3372" y="3572"/>
                    <a:pt x="3431" y="3618"/>
                    <a:pt x="3498" y="3653"/>
                  </a:cubicBezTo>
                  <a:cubicBezTo>
                    <a:pt x="3509" y="3657"/>
                    <a:pt x="3523" y="3659"/>
                    <a:pt x="3539" y="3659"/>
                  </a:cubicBezTo>
                  <a:cubicBezTo>
                    <a:pt x="3599" y="3659"/>
                    <a:pt x="3687" y="3633"/>
                    <a:pt x="3767" y="3611"/>
                  </a:cubicBezTo>
                  <a:cubicBezTo>
                    <a:pt x="3855" y="3579"/>
                    <a:pt x="3946" y="3558"/>
                    <a:pt x="4040" y="3551"/>
                  </a:cubicBezTo>
                  <a:cubicBezTo>
                    <a:pt x="4135" y="3551"/>
                    <a:pt x="4285" y="3425"/>
                    <a:pt x="4387" y="3338"/>
                  </a:cubicBezTo>
                  <a:cubicBezTo>
                    <a:pt x="4429" y="3303"/>
                    <a:pt x="4471" y="3268"/>
                    <a:pt x="4520" y="3236"/>
                  </a:cubicBezTo>
                  <a:cubicBezTo>
                    <a:pt x="4541" y="3225"/>
                    <a:pt x="4562" y="3220"/>
                    <a:pt x="4583" y="3220"/>
                  </a:cubicBezTo>
                  <a:cubicBezTo>
                    <a:pt x="4640" y="3220"/>
                    <a:pt x="4697" y="3254"/>
                    <a:pt x="4751" y="3285"/>
                  </a:cubicBezTo>
                  <a:cubicBezTo>
                    <a:pt x="4814" y="3324"/>
                    <a:pt x="4863" y="3350"/>
                    <a:pt x="4904" y="3350"/>
                  </a:cubicBezTo>
                  <a:cubicBezTo>
                    <a:pt x="4918" y="3350"/>
                    <a:pt x="4931" y="3347"/>
                    <a:pt x="4943" y="3341"/>
                  </a:cubicBezTo>
                  <a:cubicBezTo>
                    <a:pt x="5073" y="3271"/>
                    <a:pt x="5206" y="3201"/>
                    <a:pt x="5318" y="3201"/>
                  </a:cubicBezTo>
                  <a:cubicBezTo>
                    <a:pt x="5356" y="3201"/>
                    <a:pt x="5391" y="3212"/>
                    <a:pt x="5427" y="3229"/>
                  </a:cubicBezTo>
                  <a:cubicBezTo>
                    <a:pt x="5451" y="3243"/>
                    <a:pt x="5469" y="3268"/>
                    <a:pt x="5476" y="3296"/>
                  </a:cubicBezTo>
                  <a:cubicBezTo>
                    <a:pt x="5486" y="3355"/>
                    <a:pt x="5444" y="3418"/>
                    <a:pt x="5388" y="3495"/>
                  </a:cubicBezTo>
                  <a:cubicBezTo>
                    <a:pt x="5349" y="3551"/>
                    <a:pt x="5279" y="3653"/>
                    <a:pt x="5300" y="3684"/>
                  </a:cubicBezTo>
                  <a:cubicBezTo>
                    <a:pt x="5328" y="3726"/>
                    <a:pt x="5342" y="3775"/>
                    <a:pt x="5339" y="3824"/>
                  </a:cubicBezTo>
                  <a:lnTo>
                    <a:pt x="5353" y="3817"/>
                  </a:lnTo>
                  <a:lnTo>
                    <a:pt x="5363" y="3814"/>
                  </a:lnTo>
                  <a:cubicBezTo>
                    <a:pt x="5370" y="3810"/>
                    <a:pt x="5381" y="3807"/>
                    <a:pt x="5388" y="3803"/>
                  </a:cubicBezTo>
                  <a:cubicBezTo>
                    <a:pt x="5395" y="3800"/>
                    <a:pt x="5402" y="3793"/>
                    <a:pt x="5413" y="3789"/>
                  </a:cubicBezTo>
                  <a:lnTo>
                    <a:pt x="5416" y="3786"/>
                  </a:lnTo>
                  <a:lnTo>
                    <a:pt x="5430" y="3775"/>
                  </a:lnTo>
                  <a:lnTo>
                    <a:pt x="5437" y="3768"/>
                  </a:lnTo>
                  <a:lnTo>
                    <a:pt x="5448" y="3758"/>
                  </a:lnTo>
                  <a:lnTo>
                    <a:pt x="5455" y="3754"/>
                  </a:lnTo>
                  <a:lnTo>
                    <a:pt x="5462" y="3744"/>
                  </a:lnTo>
                  <a:lnTo>
                    <a:pt x="5465" y="3737"/>
                  </a:lnTo>
                  <a:lnTo>
                    <a:pt x="5472" y="3723"/>
                  </a:lnTo>
                  <a:lnTo>
                    <a:pt x="5476" y="3719"/>
                  </a:lnTo>
                  <a:cubicBezTo>
                    <a:pt x="5483" y="3705"/>
                    <a:pt x="5490" y="3695"/>
                    <a:pt x="5493" y="3681"/>
                  </a:cubicBezTo>
                  <a:lnTo>
                    <a:pt x="5493" y="3674"/>
                  </a:lnTo>
                  <a:cubicBezTo>
                    <a:pt x="5493" y="3670"/>
                    <a:pt x="5497" y="3667"/>
                    <a:pt x="5497" y="3660"/>
                  </a:cubicBezTo>
                  <a:lnTo>
                    <a:pt x="5497" y="3653"/>
                  </a:lnTo>
                  <a:lnTo>
                    <a:pt x="5500" y="3642"/>
                  </a:lnTo>
                  <a:lnTo>
                    <a:pt x="5500" y="3632"/>
                  </a:lnTo>
                  <a:lnTo>
                    <a:pt x="5500" y="3621"/>
                  </a:lnTo>
                  <a:lnTo>
                    <a:pt x="5500" y="3614"/>
                  </a:lnTo>
                  <a:lnTo>
                    <a:pt x="5500" y="3600"/>
                  </a:lnTo>
                  <a:lnTo>
                    <a:pt x="5500" y="3593"/>
                  </a:lnTo>
                  <a:lnTo>
                    <a:pt x="5500" y="3572"/>
                  </a:lnTo>
                  <a:cubicBezTo>
                    <a:pt x="5500" y="3551"/>
                    <a:pt x="5504" y="3534"/>
                    <a:pt x="5507" y="3516"/>
                  </a:cubicBezTo>
                  <a:cubicBezTo>
                    <a:pt x="5521" y="3439"/>
                    <a:pt x="5570" y="3345"/>
                    <a:pt x="5654" y="3313"/>
                  </a:cubicBezTo>
                  <a:cubicBezTo>
                    <a:pt x="5672" y="3307"/>
                    <a:pt x="5692" y="3303"/>
                    <a:pt x="5711" y="3303"/>
                  </a:cubicBezTo>
                  <a:cubicBezTo>
                    <a:pt x="5755" y="3303"/>
                    <a:pt x="5798" y="3319"/>
                    <a:pt x="5829" y="3348"/>
                  </a:cubicBezTo>
                  <a:cubicBezTo>
                    <a:pt x="5865" y="3378"/>
                    <a:pt x="5916" y="3407"/>
                    <a:pt x="6000" y="3407"/>
                  </a:cubicBezTo>
                  <a:cubicBezTo>
                    <a:pt x="6065" y="3407"/>
                    <a:pt x="6149" y="3390"/>
                    <a:pt x="6260" y="3341"/>
                  </a:cubicBezTo>
                  <a:cubicBezTo>
                    <a:pt x="6316" y="3313"/>
                    <a:pt x="6361" y="3289"/>
                    <a:pt x="6400" y="3268"/>
                  </a:cubicBezTo>
                  <a:cubicBezTo>
                    <a:pt x="6456" y="3239"/>
                    <a:pt x="6504" y="3213"/>
                    <a:pt x="6551" y="3213"/>
                  </a:cubicBezTo>
                  <a:cubicBezTo>
                    <a:pt x="6594" y="3213"/>
                    <a:pt x="6636" y="3235"/>
                    <a:pt x="6683" y="3296"/>
                  </a:cubicBezTo>
                  <a:cubicBezTo>
                    <a:pt x="6701" y="3317"/>
                    <a:pt x="6732" y="3324"/>
                    <a:pt x="6781" y="3324"/>
                  </a:cubicBezTo>
                  <a:cubicBezTo>
                    <a:pt x="6820" y="3324"/>
                    <a:pt x="6871" y="3319"/>
                    <a:pt x="6935" y="3313"/>
                  </a:cubicBezTo>
                  <a:cubicBezTo>
                    <a:pt x="7040" y="3299"/>
                    <a:pt x="7149" y="3292"/>
                    <a:pt x="7257" y="3292"/>
                  </a:cubicBezTo>
                  <a:cubicBezTo>
                    <a:pt x="7376" y="3289"/>
                    <a:pt x="7496" y="3254"/>
                    <a:pt x="7597" y="3187"/>
                  </a:cubicBezTo>
                  <a:cubicBezTo>
                    <a:pt x="7694" y="3129"/>
                    <a:pt x="7794" y="3074"/>
                    <a:pt x="7954" y="3074"/>
                  </a:cubicBezTo>
                  <a:cubicBezTo>
                    <a:pt x="7968" y="3074"/>
                    <a:pt x="7982" y="3074"/>
                    <a:pt x="7996" y="3075"/>
                  </a:cubicBezTo>
                  <a:cubicBezTo>
                    <a:pt x="8023" y="3076"/>
                    <a:pt x="8049" y="3077"/>
                    <a:pt x="8076" y="3077"/>
                  </a:cubicBezTo>
                  <a:cubicBezTo>
                    <a:pt x="8242" y="3077"/>
                    <a:pt x="8410" y="3049"/>
                    <a:pt x="8567" y="2995"/>
                  </a:cubicBezTo>
                  <a:lnTo>
                    <a:pt x="8570" y="2995"/>
                  </a:lnTo>
                  <a:lnTo>
                    <a:pt x="8591" y="2988"/>
                  </a:lnTo>
                  <a:lnTo>
                    <a:pt x="8668" y="3009"/>
                  </a:lnTo>
                  <a:lnTo>
                    <a:pt x="8780" y="3044"/>
                  </a:lnTo>
                  <a:lnTo>
                    <a:pt x="8780" y="3030"/>
                  </a:lnTo>
                  <a:cubicBezTo>
                    <a:pt x="8791" y="3019"/>
                    <a:pt x="8798" y="3009"/>
                    <a:pt x="8805" y="2998"/>
                  </a:cubicBezTo>
                  <a:cubicBezTo>
                    <a:pt x="8854" y="2914"/>
                    <a:pt x="8938" y="2861"/>
                    <a:pt x="9036" y="2858"/>
                  </a:cubicBezTo>
                  <a:cubicBezTo>
                    <a:pt x="9057" y="2855"/>
                    <a:pt x="9078" y="2854"/>
                    <a:pt x="9099" y="2854"/>
                  </a:cubicBezTo>
                  <a:cubicBezTo>
                    <a:pt x="9195" y="2854"/>
                    <a:pt x="9292" y="2880"/>
                    <a:pt x="9375" y="2931"/>
                  </a:cubicBezTo>
                  <a:cubicBezTo>
                    <a:pt x="9423" y="2954"/>
                    <a:pt x="9450" y="2966"/>
                    <a:pt x="9473" y="2966"/>
                  </a:cubicBezTo>
                  <a:cubicBezTo>
                    <a:pt x="9482" y="2966"/>
                    <a:pt x="9490" y="2964"/>
                    <a:pt x="9498" y="2959"/>
                  </a:cubicBezTo>
                  <a:cubicBezTo>
                    <a:pt x="9517" y="2950"/>
                    <a:pt x="9537" y="2946"/>
                    <a:pt x="9558" y="2946"/>
                  </a:cubicBezTo>
                  <a:cubicBezTo>
                    <a:pt x="9630" y="2946"/>
                    <a:pt x="9715" y="2995"/>
                    <a:pt x="9810" y="3047"/>
                  </a:cubicBezTo>
                  <a:cubicBezTo>
                    <a:pt x="9866" y="3078"/>
                    <a:pt x="9973" y="3141"/>
                    <a:pt x="10017" y="3141"/>
                  </a:cubicBezTo>
                  <a:cubicBezTo>
                    <a:pt x="10023" y="3141"/>
                    <a:pt x="10027" y="3140"/>
                    <a:pt x="10030" y="3138"/>
                  </a:cubicBezTo>
                  <a:lnTo>
                    <a:pt x="10034" y="3135"/>
                  </a:lnTo>
                  <a:lnTo>
                    <a:pt x="10034" y="3131"/>
                  </a:lnTo>
                  <a:lnTo>
                    <a:pt x="10034" y="3124"/>
                  </a:lnTo>
                  <a:lnTo>
                    <a:pt x="10034" y="3121"/>
                  </a:lnTo>
                  <a:cubicBezTo>
                    <a:pt x="10037" y="3114"/>
                    <a:pt x="10037" y="3110"/>
                    <a:pt x="10037" y="3103"/>
                  </a:cubicBezTo>
                  <a:lnTo>
                    <a:pt x="10037" y="3096"/>
                  </a:lnTo>
                  <a:lnTo>
                    <a:pt x="10037" y="3089"/>
                  </a:lnTo>
                  <a:lnTo>
                    <a:pt x="10037" y="3082"/>
                  </a:lnTo>
                  <a:cubicBezTo>
                    <a:pt x="10037" y="3079"/>
                    <a:pt x="10037" y="3075"/>
                    <a:pt x="10034" y="3072"/>
                  </a:cubicBezTo>
                  <a:lnTo>
                    <a:pt x="10034" y="3065"/>
                  </a:lnTo>
                  <a:cubicBezTo>
                    <a:pt x="10034" y="3058"/>
                    <a:pt x="10030" y="3051"/>
                    <a:pt x="10027" y="3044"/>
                  </a:cubicBezTo>
                  <a:cubicBezTo>
                    <a:pt x="9995" y="2966"/>
                    <a:pt x="9953" y="2893"/>
                    <a:pt x="9904" y="2823"/>
                  </a:cubicBezTo>
                  <a:lnTo>
                    <a:pt x="9890" y="2802"/>
                  </a:lnTo>
                  <a:lnTo>
                    <a:pt x="9883" y="2795"/>
                  </a:lnTo>
                  <a:lnTo>
                    <a:pt x="9873" y="2781"/>
                  </a:lnTo>
                  <a:lnTo>
                    <a:pt x="9866" y="2774"/>
                  </a:lnTo>
                  <a:lnTo>
                    <a:pt x="9859" y="2763"/>
                  </a:lnTo>
                  <a:lnTo>
                    <a:pt x="9852" y="2760"/>
                  </a:lnTo>
                  <a:lnTo>
                    <a:pt x="9845" y="2753"/>
                  </a:lnTo>
                  <a:lnTo>
                    <a:pt x="9838" y="2749"/>
                  </a:lnTo>
                  <a:lnTo>
                    <a:pt x="9831" y="2742"/>
                  </a:lnTo>
                  <a:lnTo>
                    <a:pt x="9827" y="2742"/>
                  </a:lnTo>
                  <a:cubicBezTo>
                    <a:pt x="9729" y="2714"/>
                    <a:pt x="9747" y="2564"/>
                    <a:pt x="9775" y="2357"/>
                  </a:cubicBezTo>
                  <a:cubicBezTo>
                    <a:pt x="9785" y="2277"/>
                    <a:pt x="9799" y="2154"/>
                    <a:pt x="9792" y="2126"/>
                  </a:cubicBezTo>
                  <a:cubicBezTo>
                    <a:pt x="9771" y="2091"/>
                    <a:pt x="9649" y="1766"/>
                    <a:pt x="9729" y="1636"/>
                  </a:cubicBezTo>
                  <a:cubicBezTo>
                    <a:pt x="9733" y="1629"/>
                    <a:pt x="9740" y="1622"/>
                    <a:pt x="9743" y="1615"/>
                  </a:cubicBezTo>
                  <a:lnTo>
                    <a:pt x="9750" y="1612"/>
                  </a:lnTo>
                  <a:cubicBezTo>
                    <a:pt x="9754" y="1605"/>
                    <a:pt x="9761" y="1601"/>
                    <a:pt x="9764" y="1598"/>
                  </a:cubicBezTo>
                  <a:lnTo>
                    <a:pt x="9771" y="1594"/>
                  </a:lnTo>
                  <a:cubicBezTo>
                    <a:pt x="9778" y="1591"/>
                    <a:pt x="9785" y="1587"/>
                    <a:pt x="9789" y="1587"/>
                  </a:cubicBezTo>
                  <a:lnTo>
                    <a:pt x="9799" y="1587"/>
                  </a:lnTo>
                  <a:cubicBezTo>
                    <a:pt x="9806" y="1584"/>
                    <a:pt x="9810" y="1584"/>
                    <a:pt x="9817" y="1584"/>
                  </a:cubicBezTo>
                  <a:cubicBezTo>
                    <a:pt x="9817" y="1563"/>
                    <a:pt x="9820" y="1545"/>
                    <a:pt x="9820" y="1524"/>
                  </a:cubicBezTo>
                  <a:cubicBezTo>
                    <a:pt x="9820" y="1461"/>
                    <a:pt x="9820" y="1381"/>
                    <a:pt x="9880" y="1332"/>
                  </a:cubicBezTo>
                  <a:cubicBezTo>
                    <a:pt x="9880" y="1332"/>
                    <a:pt x="9883" y="1328"/>
                    <a:pt x="9887" y="1328"/>
                  </a:cubicBezTo>
                  <a:lnTo>
                    <a:pt x="9876" y="1300"/>
                  </a:lnTo>
                  <a:lnTo>
                    <a:pt x="9876" y="1297"/>
                  </a:lnTo>
                  <a:lnTo>
                    <a:pt x="9866" y="1276"/>
                  </a:lnTo>
                  <a:lnTo>
                    <a:pt x="9859" y="1258"/>
                  </a:lnTo>
                  <a:lnTo>
                    <a:pt x="9859" y="1255"/>
                  </a:lnTo>
                  <a:lnTo>
                    <a:pt x="9852" y="1244"/>
                  </a:lnTo>
                  <a:lnTo>
                    <a:pt x="9852" y="1241"/>
                  </a:lnTo>
                  <a:lnTo>
                    <a:pt x="9848" y="1234"/>
                  </a:lnTo>
                  <a:lnTo>
                    <a:pt x="9845" y="1227"/>
                  </a:lnTo>
                  <a:lnTo>
                    <a:pt x="9841" y="1223"/>
                  </a:lnTo>
                  <a:cubicBezTo>
                    <a:pt x="9821" y="1218"/>
                    <a:pt x="9800" y="1215"/>
                    <a:pt x="9780" y="1215"/>
                  </a:cubicBezTo>
                  <a:cubicBezTo>
                    <a:pt x="9772" y="1215"/>
                    <a:pt x="9765" y="1215"/>
                    <a:pt x="9757" y="1216"/>
                  </a:cubicBezTo>
                  <a:cubicBezTo>
                    <a:pt x="9753" y="1216"/>
                    <a:pt x="9750" y="1216"/>
                    <a:pt x="9746" y="1216"/>
                  </a:cubicBezTo>
                  <a:cubicBezTo>
                    <a:pt x="9640" y="1216"/>
                    <a:pt x="9478" y="1213"/>
                    <a:pt x="9400" y="1020"/>
                  </a:cubicBezTo>
                  <a:cubicBezTo>
                    <a:pt x="9368" y="940"/>
                    <a:pt x="9347" y="855"/>
                    <a:pt x="9344" y="771"/>
                  </a:cubicBezTo>
                  <a:cubicBezTo>
                    <a:pt x="9340" y="712"/>
                    <a:pt x="9323" y="649"/>
                    <a:pt x="9288" y="600"/>
                  </a:cubicBezTo>
                  <a:lnTo>
                    <a:pt x="9288" y="596"/>
                  </a:lnTo>
                  <a:lnTo>
                    <a:pt x="9263" y="561"/>
                  </a:lnTo>
                  <a:cubicBezTo>
                    <a:pt x="9232" y="519"/>
                    <a:pt x="9204" y="474"/>
                    <a:pt x="9176" y="439"/>
                  </a:cubicBezTo>
                  <a:cubicBezTo>
                    <a:pt x="9095" y="315"/>
                    <a:pt x="9056" y="265"/>
                    <a:pt x="9005" y="265"/>
                  </a:cubicBezTo>
                  <a:cubicBezTo>
                    <a:pt x="8990" y="265"/>
                    <a:pt x="8974" y="270"/>
                    <a:pt x="8955" y="278"/>
                  </a:cubicBezTo>
                  <a:lnTo>
                    <a:pt x="8952" y="278"/>
                  </a:lnTo>
                  <a:lnTo>
                    <a:pt x="8934" y="285"/>
                  </a:lnTo>
                  <a:lnTo>
                    <a:pt x="8924" y="288"/>
                  </a:lnTo>
                  <a:lnTo>
                    <a:pt x="8906" y="292"/>
                  </a:lnTo>
                  <a:lnTo>
                    <a:pt x="8896" y="295"/>
                  </a:lnTo>
                  <a:lnTo>
                    <a:pt x="8878" y="299"/>
                  </a:lnTo>
                  <a:lnTo>
                    <a:pt x="8864" y="299"/>
                  </a:lnTo>
                  <a:lnTo>
                    <a:pt x="8847" y="302"/>
                  </a:lnTo>
                  <a:lnTo>
                    <a:pt x="8378" y="302"/>
                  </a:lnTo>
                  <a:cubicBezTo>
                    <a:pt x="8139" y="505"/>
                    <a:pt x="7691" y="651"/>
                    <a:pt x="7440" y="651"/>
                  </a:cubicBezTo>
                  <a:cubicBezTo>
                    <a:pt x="7392" y="651"/>
                    <a:pt x="7351" y="646"/>
                    <a:pt x="7320" y="635"/>
                  </a:cubicBezTo>
                  <a:cubicBezTo>
                    <a:pt x="7266" y="615"/>
                    <a:pt x="7195" y="608"/>
                    <a:pt x="7115" y="608"/>
                  </a:cubicBezTo>
                  <a:cubicBezTo>
                    <a:pt x="7009" y="608"/>
                    <a:pt x="6887" y="621"/>
                    <a:pt x="6767" y="635"/>
                  </a:cubicBezTo>
                  <a:cubicBezTo>
                    <a:pt x="6641" y="649"/>
                    <a:pt x="6515" y="659"/>
                    <a:pt x="6389" y="663"/>
                  </a:cubicBezTo>
                  <a:cubicBezTo>
                    <a:pt x="6246" y="659"/>
                    <a:pt x="6109" y="614"/>
                    <a:pt x="5994" y="533"/>
                  </a:cubicBezTo>
                  <a:cubicBezTo>
                    <a:pt x="5916" y="488"/>
                    <a:pt x="5854" y="452"/>
                    <a:pt x="5771" y="452"/>
                  </a:cubicBezTo>
                  <a:cubicBezTo>
                    <a:pt x="5763" y="452"/>
                    <a:pt x="5756" y="452"/>
                    <a:pt x="5749" y="453"/>
                  </a:cubicBezTo>
                  <a:cubicBezTo>
                    <a:pt x="5742" y="453"/>
                    <a:pt x="5735" y="453"/>
                    <a:pt x="5728" y="453"/>
                  </a:cubicBezTo>
                  <a:cubicBezTo>
                    <a:pt x="5588" y="453"/>
                    <a:pt x="5515" y="384"/>
                    <a:pt x="5451" y="327"/>
                  </a:cubicBezTo>
                  <a:cubicBezTo>
                    <a:pt x="5395" y="274"/>
                    <a:pt x="5349" y="232"/>
                    <a:pt x="5258" y="232"/>
                  </a:cubicBezTo>
                  <a:cubicBezTo>
                    <a:pt x="5249" y="233"/>
                    <a:pt x="5240" y="234"/>
                    <a:pt x="5231" y="234"/>
                  </a:cubicBezTo>
                  <a:cubicBezTo>
                    <a:pt x="5167" y="234"/>
                    <a:pt x="5107" y="213"/>
                    <a:pt x="5055" y="176"/>
                  </a:cubicBezTo>
                  <a:cubicBezTo>
                    <a:pt x="4985" y="134"/>
                    <a:pt x="4884" y="71"/>
                    <a:pt x="4432" y="15"/>
                  </a:cubicBezTo>
                  <a:cubicBezTo>
                    <a:pt x="4354" y="5"/>
                    <a:pt x="4277" y="1"/>
                    <a:pt x="42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2" name="Google Shape;4652;p53"/>
            <p:cNvSpPr/>
            <p:nvPr/>
          </p:nvSpPr>
          <p:spPr>
            <a:xfrm>
              <a:off x="2314381" y="1759456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cubicBezTo>
                    <a:pt x="4" y="4"/>
                    <a:pt x="1" y="8"/>
                    <a:pt x="1" y="15"/>
                  </a:cubicBezTo>
                  <a:cubicBezTo>
                    <a:pt x="1" y="8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3" name="Google Shape;4653;p53"/>
            <p:cNvSpPr/>
            <p:nvPr/>
          </p:nvSpPr>
          <p:spPr>
            <a:xfrm>
              <a:off x="2314530" y="17588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4" name="Google Shape;4654;p53"/>
            <p:cNvSpPr/>
            <p:nvPr/>
          </p:nvSpPr>
          <p:spPr>
            <a:xfrm>
              <a:off x="2314625" y="175827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5" name="Google Shape;4655;p53"/>
            <p:cNvSpPr/>
            <p:nvPr/>
          </p:nvSpPr>
          <p:spPr>
            <a:xfrm>
              <a:off x="2314571" y="175860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6" name="Google Shape;4656;p53"/>
            <p:cNvSpPr/>
            <p:nvPr/>
          </p:nvSpPr>
          <p:spPr>
            <a:xfrm>
              <a:off x="2314435" y="1759171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7" name="Google Shape;4657;p53"/>
            <p:cNvSpPr/>
            <p:nvPr/>
          </p:nvSpPr>
          <p:spPr>
            <a:xfrm>
              <a:off x="2314150" y="1759701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14" y="0"/>
                  </a:moveTo>
                  <a:cubicBezTo>
                    <a:pt x="11" y="14"/>
                    <a:pt x="7" y="28"/>
                    <a:pt x="0" y="39"/>
                  </a:cubicBezTo>
                  <a:cubicBezTo>
                    <a:pt x="7" y="28"/>
                    <a:pt x="11" y="14"/>
                    <a:pt x="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8" name="Google Shape;4658;p53"/>
            <p:cNvSpPr/>
            <p:nvPr/>
          </p:nvSpPr>
          <p:spPr>
            <a:xfrm>
              <a:off x="2312575" y="176141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28" y="0"/>
                  </a:moveTo>
                  <a:cubicBezTo>
                    <a:pt x="18" y="4"/>
                    <a:pt x="11" y="7"/>
                    <a:pt x="0" y="11"/>
                  </a:cubicBezTo>
                  <a:cubicBezTo>
                    <a:pt x="11" y="7"/>
                    <a:pt x="18" y="4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9" name="Google Shape;4659;p53"/>
            <p:cNvSpPr/>
            <p:nvPr/>
          </p:nvSpPr>
          <p:spPr>
            <a:xfrm>
              <a:off x="2313811" y="1760556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0" name="Google Shape;4660;p53"/>
            <p:cNvSpPr/>
            <p:nvPr/>
          </p:nvSpPr>
          <p:spPr>
            <a:xfrm>
              <a:off x="2313580" y="176078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1" name="Google Shape;4661;p53"/>
            <p:cNvSpPr/>
            <p:nvPr/>
          </p:nvSpPr>
          <p:spPr>
            <a:xfrm>
              <a:off x="2338427" y="1752993"/>
              <a:ext cx="4630" cy="1439"/>
            </a:xfrm>
            <a:custGeom>
              <a:avLst/>
              <a:gdLst/>
              <a:ahLst/>
              <a:cxnLst/>
              <a:rect l="l" t="t" r="r" b="b"/>
              <a:pathLst>
                <a:path w="341" h="106" extrusionOk="0">
                  <a:moveTo>
                    <a:pt x="341" y="1"/>
                  </a:moveTo>
                  <a:cubicBezTo>
                    <a:pt x="243" y="67"/>
                    <a:pt x="123" y="106"/>
                    <a:pt x="1" y="106"/>
                  </a:cubicBezTo>
                  <a:cubicBezTo>
                    <a:pt x="123" y="106"/>
                    <a:pt x="243" y="67"/>
                    <a:pt x="3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2" name="Google Shape;4662;p53"/>
            <p:cNvSpPr/>
            <p:nvPr/>
          </p:nvSpPr>
          <p:spPr>
            <a:xfrm>
              <a:off x="2312236" y="176160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3" name="Google Shape;4663;p53"/>
            <p:cNvSpPr/>
            <p:nvPr/>
          </p:nvSpPr>
          <p:spPr>
            <a:xfrm>
              <a:off x="2314001" y="176031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4" name="Google Shape;4664;p53"/>
            <p:cNvSpPr/>
            <p:nvPr/>
          </p:nvSpPr>
          <p:spPr>
            <a:xfrm>
              <a:off x="2312955" y="176122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0"/>
                  </a:moveTo>
                  <a:cubicBezTo>
                    <a:pt x="14" y="4"/>
                    <a:pt x="7" y="7"/>
                    <a:pt x="0" y="11"/>
                  </a:cubicBezTo>
                  <a:cubicBezTo>
                    <a:pt x="7" y="7"/>
                    <a:pt x="14" y="4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5" name="Google Shape;4665;p53"/>
            <p:cNvSpPr/>
            <p:nvPr/>
          </p:nvSpPr>
          <p:spPr>
            <a:xfrm>
              <a:off x="2356254" y="1750291"/>
              <a:ext cx="1344" cy="285"/>
            </a:xfrm>
            <a:custGeom>
              <a:avLst/>
              <a:gdLst/>
              <a:ahLst/>
              <a:cxnLst/>
              <a:rect l="l" t="t" r="r" b="b"/>
              <a:pathLst>
                <a:path w="99" h="21" extrusionOk="0">
                  <a:moveTo>
                    <a:pt x="4" y="7"/>
                  </a:moveTo>
                  <a:lnTo>
                    <a:pt x="1" y="7"/>
                  </a:lnTo>
                  <a:lnTo>
                    <a:pt x="4" y="7"/>
                  </a:lnTo>
                  <a:lnTo>
                    <a:pt x="25" y="0"/>
                  </a:lnTo>
                  <a:lnTo>
                    <a:pt x="99" y="21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6" name="Google Shape;4666;p53"/>
            <p:cNvSpPr/>
            <p:nvPr/>
          </p:nvSpPr>
          <p:spPr>
            <a:xfrm>
              <a:off x="2314720" y="1754758"/>
              <a:ext cx="2009" cy="2770"/>
            </a:xfrm>
            <a:custGeom>
              <a:avLst/>
              <a:gdLst/>
              <a:ahLst/>
              <a:cxnLst/>
              <a:rect l="l" t="t" r="r" b="b"/>
              <a:pathLst>
                <a:path w="148" h="204" extrusionOk="0">
                  <a:moveTo>
                    <a:pt x="147" y="0"/>
                  </a:moveTo>
                  <a:cubicBezTo>
                    <a:pt x="63" y="28"/>
                    <a:pt x="14" y="123"/>
                    <a:pt x="0" y="203"/>
                  </a:cubicBezTo>
                  <a:cubicBezTo>
                    <a:pt x="14" y="126"/>
                    <a:pt x="63" y="32"/>
                    <a:pt x="14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7" name="Google Shape;4667;p53"/>
            <p:cNvSpPr/>
            <p:nvPr/>
          </p:nvSpPr>
          <p:spPr>
            <a:xfrm>
              <a:off x="2313335" y="176103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8" name="Google Shape;4668;p53"/>
            <p:cNvSpPr/>
            <p:nvPr/>
          </p:nvSpPr>
          <p:spPr>
            <a:xfrm>
              <a:off x="2360911" y="1713591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9" name="Google Shape;4669;p53"/>
            <p:cNvSpPr/>
            <p:nvPr/>
          </p:nvSpPr>
          <p:spPr>
            <a:xfrm>
              <a:off x="2360531" y="171368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0" name="Google Shape;4670;p53"/>
            <p:cNvSpPr/>
            <p:nvPr/>
          </p:nvSpPr>
          <p:spPr>
            <a:xfrm>
              <a:off x="2361291" y="171344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1" name="Google Shape;4671;p53"/>
            <p:cNvSpPr/>
            <p:nvPr/>
          </p:nvSpPr>
          <p:spPr>
            <a:xfrm>
              <a:off x="2364332" y="1715628"/>
              <a:ext cx="1208" cy="1724"/>
            </a:xfrm>
            <a:custGeom>
              <a:avLst/>
              <a:gdLst/>
              <a:ahLst/>
              <a:cxnLst/>
              <a:rect l="l" t="t" r="r" b="b"/>
              <a:pathLst>
                <a:path w="89" h="127" extrusionOk="0">
                  <a:moveTo>
                    <a:pt x="1" y="1"/>
                  </a:moveTo>
                  <a:cubicBezTo>
                    <a:pt x="25" y="39"/>
                    <a:pt x="53" y="81"/>
                    <a:pt x="88" y="127"/>
                  </a:cubicBezTo>
                  <a:cubicBezTo>
                    <a:pt x="57" y="81"/>
                    <a:pt x="29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2" name="Google Shape;4672;p53"/>
            <p:cNvSpPr/>
            <p:nvPr/>
          </p:nvSpPr>
          <p:spPr>
            <a:xfrm>
              <a:off x="2358725" y="171391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3" name="Google Shape;4673;p53"/>
            <p:cNvSpPr/>
            <p:nvPr/>
          </p:nvSpPr>
          <p:spPr>
            <a:xfrm>
              <a:off x="2354163" y="171382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4" name="Google Shape;4674;p53"/>
            <p:cNvSpPr/>
            <p:nvPr/>
          </p:nvSpPr>
          <p:spPr>
            <a:xfrm>
              <a:off x="2353552" y="1713781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5" name="Google Shape;4675;p53"/>
            <p:cNvSpPr/>
            <p:nvPr/>
          </p:nvSpPr>
          <p:spPr>
            <a:xfrm>
              <a:off x="2359200" y="1713876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6" name="Google Shape;4676;p53"/>
            <p:cNvSpPr/>
            <p:nvPr/>
          </p:nvSpPr>
          <p:spPr>
            <a:xfrm>
              <a:off x="2365812" y="17178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7" name="Google Shape;4677;p53"/>
            <p:cNvSpPr/>
            <p:nvPr/>
          </p:nvSpPr>
          <p:spPr>
            <a:xfrm>
              <a:off x="2354788" y="171387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8" name="Google Shape;4678;p53"/>
            <p:cNvSpPr/>
            <p:nvPr/>
          </p:nvSpPr>
          <p:spPr>
            <a:xfrm>
              <a:off x="2355358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9" name="Google Shape;4679;p53"/>
            <p:cNvSpPr/>
            <p:nvPr/>
          </p:nvSpPr>
          <p:spPr>
            <a:xfrm>
              <a:off x="2357680" y="17139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0" name="Google Shape;4680;p53"/>
            <p:cNvSpPr/>
            <p:nvPr/>
          </p:nvSpPr>
          <p:spPr>
            <a:xfrm>
              <a:off x="2359675" y="171382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1" name="Google Shape;4681;p53"/>
            <p:cNvSpPr/>
            <p:nvPr/>
          </p:nvSpPr>
          <p:spPr>
            <a:xfrm>
              <a:off x="235820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2" name="Google Shape;4682;p53"/>
            <p:cNvSpPr/>
            <p:nvPr/>
          </p:nvSpPr>
          <p:spPr>
            <a:xfrm>
              <a:off x="235653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3" name="Google Shape;4683;p53"/>
            <p:cNvSpPr/>
            <p:nvPr/>
          </p:nvSpPr>
          <p:spPr>
            <a:xfrm>
              <a:off x="2360110" y="171378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4" name="Google Shape;4684;p53"/>
            <p:cNvSpPr/>
            <p:nvPr/>
          </p:nvSpPr>
          <p:spPr>
            <a:xfrm>
              <a:off x="2357299" y="17139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5" name="Google Shape;4685;p53"/>
            <p:cNvSpPr/>
            <p:nvPr/>
          </p:nvSpPr>
          <p:spPr>
            <a:xfrm>
              <a:off x="235596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6" name="Google Shape;4686;p53"/>
            <p:cNvSpPr/>
            <p:nvPr/>
          </p:nvSpPr>
          <p:spPr>
            <a:xfrm>
              <a:off x="2628523" y="1764588"/>
              <a:ext cx="15085" cy="14419"/>
            </a:xfrm>
            <a:custGeom>
              <a:avLst/>
              <a:gdLst/>
              <a:ahLst/>
              <a:cxnLst/>
              <a:rect l="l" t="t" r="r" b="b"/>
              <a:pathLst>
                <a:path w="1111" h="1062" extrusionOk="0">
                  <a:moveTo>
                    <a:pt x="540" y="1"/>
                  </a:moveTo>
                  <a:cubicBezTo>
                    <a:pt x="470" y="1"/>
                    <a:pt x="403" y="15"/>
                    <a:pt x="340" y="43"/>
                  </a:cubicBezTo>
                  <a:lnTo>
                    <a:pt x="298" y="60"/>
                  </a:lnTo>
                  <a:lnTo>
                    <a:pt x="256" y="78"/>
                  </a:lnTo>
                  <a:lnTo>
                    <a:pt x="253" y="78"/>
                  </a:lnTo>
                  <a:lnTo>
                    <a:pt x="214" y="99"/>
                  </a:lnTo>
                  <a:lnTo>
                    <a:pt x="211" y="102"/>
                  </a:lnTo>
                  <a:lnTo>
                    <a:pt x="176" y="123"/>
                  </a:lnTo>
                  <a:lnTo>
                    <a:pt x="169" y="127"/>
                  </a:lnTo>
                  <a:lnTo>
                    <a:pt x="137" y="148"/>
                  </a:lnTo>
                  <a:lnTo>
                    <a:pt x="134" y="151"/>
                  </a:lnTo>
                  <a:lnTo>
                    <a:pt x="102" y="172"/>
                  </a:lnTo>
                  <a:lnTo>
                    <a:pt x="95" y="176"/>
                  </a:lnTo>
                  <a:cubicBezTo>
                    <a:pt x="78" y="193"/>
                    <a:pt x="57" y="211"/>
                    <a:pt x="39" y="228"/>
                  </a:cubicBezTo>
                  <a:lnTo>
                    <a:pt x="36" y="235"/>
                  </a:lnTo>
                  <a:cubicBezTo>
                    <a:pt x="29" y="242"/>
                    <a:pt x="22" y="249"/>
                    <a:pt x="15" y="256"/>
                  </a:cubicBezTo>
                  <a:lnTo>
                    <a:pt x="11" y="263"/>
                  </a:lnTo>
                  <a:cubicBezTo>
                    <a:pt x="8" y="267"/>
                    <a:pt x="4" y="274"/>
                    <a:pt x="1" y="277"/>
                  </a:cubicBezTo>
                  <a:cubicBezTo>
                    <a:pt x="8" y="288"/>
                    <a:pt x="15" y="298"/>
                    <a:pt x="22" y="312"/>
                  </a:cubicBezTo>
                  <a:lnTo>
                    <a:pt x="29" y="319"/>
                  </a:lnTo>
                  <a:cubicBezTo>
                    <a:pt x="32" y="326"/>
                    <a:pt x="39" y="337"/>
                    <a:pt x="43" y="344"/>
                  </a:cubicBezTo>
                  <a:lnTo>
                    <a:pt x="50" y="354"/>
                  </a:lnTo>
                  <a:cubicBezTo>
                    <a:pt x="53" y="361"/>
                    <a:pt x="57" y="372"/>
                    <a:pt x="60" y="382"/>
                  </a:cubicBezTo>
                  <a:lnTo>
                    <a:pt x="64" y="389"/>
                  </a:lnTo>
                  <a:cubicBezTo>
                    <a:pt x="67" y="400"/>
                    <a:pt x="74" y="410"/>
                    <a:pt x="74" y="421"/>
                  </a:cubicBezTo>
                  <a:cubicBezTo>
                    <a:pt x="120" y="547"/>
                    <a:pt x="204" y="648"/>
                    <a:pt x="316" y="715"/>
                  </a:cubicBezTo>
                  <a:cubicBezTo>
                    <a:pt x="333" y="729"/>
                    <a:pt x="351" y="739"/>
                    <a:pt x="368" y="750"/>
                  </a:cubicBezTo>
                  <a:cubicBezTo>
                    <a:pt x="379" y="753"/>
                    <a:pt x="386" y="760"/>
                    <a:pt x="393" y="764"/>
                  </a:cubicBezTo>
                  <a:lnTo>
                    <a:pt x="400" y="774"/>
                  </a:lnTo>
                  <a:lnTo>
                    <a:pt x="410" y="781"/>
                  </a:lnTo>
                  <a:cubicBezTo>
                    <a:pt x="456" y="834"/>
                    <a:pt x="480" y="904"/>
                    <a:pt x="477" y="974"/>
                  </a:cubicBezTo>
                  <a:lnTo>
                    <a:pt x="477" y="981"/>
                  </a:lnTo>
                  <a:lnTo>
                    <a:pt x="477" y="995"/>
                  </a:lnTo>
                  <a:cubicBezTo>
                    <a:pt x="477" y="1012"/>
                    <a:pt x="477" y="1034"/>
                    <a:pt x="470" y="1051"/>
                  </a:cubicBezTo>
                  <a:lnTo>
                    <a:pt x="470" y="1058"/>
                  </a:lnTo>
                  <a:lnTo>
                    <a:pt x="470" y="1062"/>
                  </a:lnTo>
                  <a:lnTo>
                    <a:pt x="480" y="1062"/>
                  </a:lnTo>
                  <a:lnTo>
                    <a:pt x="508" y="1058"/>
                  </a:lnTo>
                  <a:lnTo>
                    <a:pt x="515" y="1058"/>
                  </a:lnTo>
                  <a:lnTo>
                    <a:pt x="550" y="1055"/>
                  </a:lnTo>
                  <a:lnTo>
                    <a:pt x="554" y="1055"/>
                  </a:lnTo>
                  <a:lnTo>
                    <a:pt x="582" y="1051"/>
                  </a:lnTo>
                  <a:lnTo>
                    <a:pt x="585" y="1051"/>
                  </a:lnTo>
                  <a:lnTo>
                    <a:pt x="613" y="1048"/>
                  </a:lnTo>
                  <a:cubicBezTo>
                    <a:pt x="736" y="1020"/>
                    <a:pt x="1065" y="564"/>
                    <a:pt x="1110" y="435"/>
                  </a:cubicBezTo>
                  <a:cubicBezTo>
                    <a:pt x="1110" y="435"/>
                    <a:pt x="1110" y="403"/>
                    <a:pt x="1047" y="330"/>
                  </a:cubicBezTo>
                  <a:cubicBezTo>
                    <a:pt x="1030" y="312"/>
                    <a:pt x="1012" y="291"/>
                    <a:pt x="991" y="274"/>
                  </a:cubicBezTo>
                  <a:lnTo>
                    <a:pt x="977" y="260"/>
                  </a:lnTo>
                  <a:lnTo>
                    <a:pt x="960" y="246"/>
                  </a:lnTo>
                  <a:lnTo>
                    <a:pt x="953" y="235"/>
                  </a:lnTo>
                  <a:lnTo>
                    <a:pt x="928" y="214"/>
                  </a:lnTo>
                  <a:cubicBezTo>
                    <a:pt x="795" y="102"/>
                    <a:pt x="627" y="8"/>
                    <a:pt x="5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7" name="Google Shape;4687;p53"/>
            <p:cNvSpPr/>
            <p:nvPr/>
          </p:nvSpPr>
          <p:spPr>
            <a:xfrm>
              <a:off x="2634090" y="1775192"/>
              <a:ext cx="964" cy="2620"/>
            </a:xfrm>
            <a:custGeom>
              <a:avLst/>
              <a:gdLst/>
              <a:ahLst/>
              <a:cxnLst/>
              <a:rect l="l" t="t" r="r" b="b"/>
              <a:pathLst>
                <a:path w="71" h="193" extrusionOk="0">
                  <a:moveTo>
                    <a:pt x="0" y="0"/>
                  </a:moveTo>
                  <a:cubicBezTo>
                    <a:pt x="46" y="53"/>
                    <a:pt x="70" y="123"/>
                    <a:pt x="67" y="193"/>
                  </a:cubicBezTo>
                  <a:cubicBezTo>
                    <a:pt x="70" y="123"/>
                    <a:pt x="46" y="53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8" name="Google Shape;4688;p53"/>
            <p:cNvSpPr/>
            <p:nvPr/>
          </p:nvSpPr>
          <p:spPr>
            <a:xfrm>
              <a:off x="2633846" y="177500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9" name="Google Shape;4689;p53"/>
            <p:cNvSpPr/>
            <p:nvPr/>
          </p:nvSpPr>
          <p:spPr>
            <a:xfrm>
              <a:off x="2628483" y="1768349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0" y="0"/>
                  </a:moveTo>
                  <a:cubicBezTo>
                    <a:pt x="11" y="11"/>
                    <a:pt x="18" y="21"/>
                    <a:pt x="25" y="35"/>
                  </a:cubicBezTo>
                  <a:cubicBezTo>
                    <a:pt x="21" y="21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0" name="Google Shape;4690;p53"/>
            <p:cNvSpPr/>
            <p:nvPr/>
          </p:nvSpPr>
          <p:spPr>
            <a:xfrm>
              <a:off x="2634891" y="1778858"/>
              <a:ext cx="14" cy="95"/>
            </a:xfrm>
            <a:custGeom>
              <a:avLst/>
              <a:gdLst/>
              <a:ahLst/>
              <a:cxnLst/>
              <a:rect l="l" t="t" r="r" b="b"/>
              <a:pathLst>
                <a:path w="1" h="7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1" name="Google Shape;4691;p53"/>
            <p:cNvSpPr/>
            <p:nvPr/>
          </p:nvSpPr>
          <p:spPr>
            <a:xfrm>
              <a:off x="2629148" y="1769341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11"/>
                    <a:pt x="11" y="22"/>
                    <a:pt x="14" y="29"/>
                  </a:cubicBezTo>
                  <a:cubicBezTo>
                    <a:pt x="11" y="18"/>
                    <a:pt x="7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2" name="Google Shape;4692;p53"/>
            <p:cNvSpPr/>
            <p:nvPr/>
          </p:nvSpPr>
          <p:spPr>
            <a:xfrm>
              <a:off x="2634986" y="177789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1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3" name="Google Shape;4693;p53"/>
            <p:cNvSpPr/>
            <p:nvPr/>
          </p:nvSpPr>
          <p:spPr>
            <a:xfrm>
              <a:off x="2628904" y="176886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18"/>
                    <a:pt x="4" y="11"/>
                    <a:pt x="1" y="1"/>
                  </a:cubicBezTo>
                  <a:cubicBezTo>
                    <a:pt x="4" y="11"/>
                    <a:pt x="11" y="18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4" name="Google Shape;4694;p53"/>
            <p:cNvSpPr/>
            <p:nvPr/>
          </p:nvSpPr>
          <p:spPr>
            <a:xfrm>
              <a:off x="2629379" y="1769816"/>
              <a:ext cx="204" cy="489"/>
            </a:xfrm>
            <a:custGeom>
              <a:avLst/>
              <a:gdLst/>
              <a:ahLst/>
              <a:cxnLst/>
              <a:rect l="l" t="t" r="r" b="b"/>
              <a:pathLst>
                <a:path w="15" h="36" extrusionOk="0">
                  <a:moveTo>
                    <a:pt x="15" y="36"/>
                  </a:moveTo>
                  <a:cubicBezTo>
                    <a:pt x="11" y="25"/>
                    <a:pt x="4" y="15"/>
                    <a:pt x="1" y="1"/>
                  </a:cubicBezTo>
                  <a:cubicBezTo>
                    <a:pt x="4" y="15"/>
                    <a:pt x="11" y="25"/>
                    <a:pt x="15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5" name="Google Shape;4695;p53"/>
            <p:cNvSpPr/>
            <p:nvPr/>
          </p:nvSpPr>
          <p:spPr>
            <a:xfrm>
              <a:off x="2964159" y="1702797"/>
              <a:ext cx="47345" cy="45539"/>
            </a:xfrm>
            <a:custGeom>
              <a:avLst/>
              <a:gdLst/>
              <a:ahLst/>
              <a:cxnLst/>
              <a:rect l="l" t="t" r="r" b="b"/>
              <a:pathLst>
                <a:path w="3487" h="3354" extrusionOk="0">
                  <a:moveTo>
                    <a:pt x="3046" y="1"/>
                  </a:moveTo>
                  <a:cubicBezTo>
                    <a:pt x="3007" y="1"/>
                    <a:pt x="2976" y="88"/>
                    <a:pt x="2951" y="169"/>
                  </a:cubicBezTo>
                  <a:cubicBezTo>
                    <a:pt x="2913" y="284"/>
                    <a:pt x="2867" y="424"/>
                    <a:pt x="2731" y="424"/>
                  </a:cubicBezTo>
                  <a:cubicBezTo>
                    <a:pt x="2689" y="424"/>
                    <a:pt x="2671" y="449"/>
                    <a:pt x="2626" y="512"/>
                  </a:cubicBezTo>
                  <a:cubicBezTo>
                    <a:pt x="2580" y="585"/>
                    <a:pt x="2514" y="683"/>
                    <a:pt x="2353" y="708"/>
                  </a:cubicBezTo>
                  <a:lnTo>
                    <a:pt x="2318" y="711"/>
                  </a:lnTo>
                  <a:cubicBezTo>
                    <a:pt x="2262" y="718"/>
                    <a:pt x="2206" y="729"/>
                    <a:pt x="2153" y="743"/>
                  </a:cubicBezTo>
                  <a:cubicBezTo>
                    <a:pt x="2153" y="746"/>
                    <a:pt x="2153" y="750"/>
                    <a:pt x="2157" y="753"/>
                  </a:cubicBezTo>
                  <a:cubicBezTo>
                    <a:pt x="2164" y="778"/>
                    <a:pt x="2178" y="799"/>
                    <a:pt x="2188" y="820"/>
                  </a:cubicBezTo>
                  <a:cubicBezTo>
                    <a:pt x="2213" y="851"/>
                    <a:pt x="2223" y="890"/>
                    <a:pt x="2223" y="932"/>
                  </a:cubicBezTo>
                  <a:cubicBezTo>
                    <a:pt x="2223" y="949"/>
                    <a:pt x="2216" y="963"/>
                    <a:pt x="2209" y="977"/>
                  </a:cubicBezTo>
                  <a:cubicBezTo>
                    <a:pt x="2178" y="1027"/>
                    <a:pt x="2121" y="1040"/>
                    <a:pt x="2046" y="1040"/>
                  </a:cubicBezTo>
                  <a:cubicBezTo>
                    <a:pt x="2009" y="1040"/>
                    <a:pt x="1969" y="1037"/>
                    <a:pt x="1926" y="1033"/>
                  </a:cubicBezTo>
                  <a:cubicBezTo>
                    <a:pt x="1880" y="1030"/>
                    <a:pt x="1827" y="1026"/>
                    <a:pt x="1782" y="1026"/>
                  </a:cubicBezTo>
                  <a:cubicBezTo>
                    <a:pt x="1687" y="1026"/>
                    <a:pt x="1593" y="995"/>
                    <a:pt x="1523" y="928"/>
                  </a:cubicBezTo>
                  <a:cubicBezTo>
                    <a:pt x="1498" y="904"/>
                    <a:pt x="1463" y="886"/>
                    <a:pt x="1428" y="886"/>
                  </a:cubicBezTo>
                  <a:cubicBezTo>
                    <a:pt x="1362" y="886"/>
                    <a:pt x="1281" y="1016"/>
                    <a:pt x="1215" y="1117"/>
                  </a:cubicBezTo>
                  <a:cubicBezTo>
                    <a:pt x="1187" y="1159"/>
                    <a:pt x="1159" y="1208"/>
                    <a:pt x="1127" y="1247"/>
                  </a:cubicBezTo>
                  <a:cubicBezTo>
                    <a:pt x="1040" y="1366"/>
                    <a:pt x="658" y="1555"/>
                    <a:pt x="242" y="1755"/>
                  </a:cubicBezTo>
                  <a:cubicBezTo>
                    <a:pt x="175" y="1786"/>
                    <a:pt x="123" y="1814"/>
                    <a:pt x="84" y="1832"/>
                  </a:cubicBezTo>
                  <a:lnTo>
                    <a:pt x="77" y="1835"/>
                  </a:lnTo>
                  <a:lnTo>
                    <a:pt x="70" y="1839"/>
                  </a:lnTo>
                  <a:lnTo>
                    <a:pt x="63" y="1846"/>
                  </a:lnTo>
                  <a:lnTo>
                    <a:pt x="56" y="1856"/>
                  </a:lnTo>
                  <a:lnTo>
                    <a:pt x="53" y="1860"/>
                  </a:lnTo>
                  <a:lnTo>
                    <a:pt x="42" y="1874"/>
                  </a:lnTo>
                  <a:lnTo>
                    <a:pt x="42" y="1877"/>
                  </a:lnTo>
                  <a:lnTo>
                    <a:pt x="32" y="1895"/>
                  </a:lnTo>
                  <a:lnTo>
                    <a:pt x="28" y="1898"/>
                  </a:lnTo>
                  <a:lnTo>
                    <a:pt x="18" y="1919"/>
                  </a:lnTo>
                  <a:lnTo>
                    <a:pt x="14" y="1926"/>
                  </a:lnTo>
                  <a:cubicBezTo>
                    <a:pt x="11" y="1937"/>
                    <a:pt x="4" y="1944"/>
                    <a:pt x="0" y="1954"/>
                  </a:cubicBezTo>
                  <a:cubicBezTo>
                    <a:pt x="242" y="1986"/>
                    <a:pt x="469" y="2129"/>
                    <a:pt x="574" y="2262"/>
                  </a:cubicBezTo>
                  <a:cubicBezTo>
                    <a:pt x="728" y="2455"/>
                    <a:pt x="529" y="2651"/>
                    <a:pt x="371" y="2805"/>
                  </a:cubicBezTo>
                  <a:cubicBezTo>
                    <a:pt x="326" y="2850"/>
                    <a:pt x="284" y="2892"/>
                    <a:pt x="249" y="2934"/>
                  </a:cubicBezTo>
                  <a:cubicBezTo>
                    <a:pt x="203" y="2994"/>
                    <a:pt x="207" y="2997"/>
                    <a:pt x="263" y="3050"/>
                  </a:cubicBezTo>
                  <a:cubicBezTo>
                    <a:pt x="319" y="3088"/>
                    <a:pt x="354" y="3155"/>
                    <a:pt x="361" y="3225"/>
                  </a:cubicBezTo>
                  <a:cubicBezTo>
                    <a:pt x="368" y="3284"/>
                    <a:pt x="410" y="3333"/>
                    <a:pt x="469" y="3351"/>
                  </a:cubicBezTo>
                  <a:cubicBezTo>
                    <a:pt x="474" y="3353"/>
                    <a:pt x="478" y="3354"/>
                    <a:pt x="483" y="3354"/>
                  </a:cubicBezTo>
                  <a:cubicBezTo>
                    <a:pt x="497" y="3354"/>
                    <a:pt x="509" y="3346"/>
                    <a:pt x="515" y="3333"/>
                  </a:cubicBezTo>
                  <a:cubicBezTo>
                    <a:pt x="570" y="3231"/>
                    <a:pt x="653" y="3209"/>
                    <a:pt x="749" y="3209"/>
                  </a:cubicBezTo>
                  <a:cubicBezTo>
                    <a:pt x="782" y="3209"/>
                    <a:pt x="816" y="3212"/>
                    <a:pt x="851" y="3214"/>
                  </a:cubicBezTo>
                  <a:cubicBezTo>
                    <a:pt x="893" y="3214"/>
                    <a:pt x="938" y="3218"/>
                    <a:pt x="991" y="3218"/>
                  </a:cubicBezTo>
                  <a:cubicBezTo>
                    <a:pt x="995" y="3218"/>
                    <a:pt x="1000" y="3217"/>
                    <a:pt x="1004" y="3217"/>
                  </a:cubicBezTo>
                  <a:cubicBezTo>
                    <a:pt x="1051" y="3217"/>
                    <a:pt x="1096" y="3235"/>
                    <a:pt x="1131" y="3267"/>
                  </a:cubicBezTo>
                  <a:lnTo>
                    <a:pt x="1134" y="3267"/>
                  </a:lnTo>
                  <a:lnTo>
                    <a:pt x="1194" y="3221"/>
                  </a:lnTo>
                  <a:lnTo>
                    <a:pt x="1208" y="3214"/>
                  </a:lnTo>
                  <a:lnTo>
                    <a:pt x="1264" y="3172"/>
                  </a:lnTo>
                  <a:lnTo>
                    <a:pt x="1337" y="3120"/>
                  </a:lnTo>
                  <a:cubicBezTo>
                    <a:pt x="1358" y="3106"/>
                    <a:pt x="1379" y="3088"/>
                    <a:pt x="1397" y="3071"/>
                  </a:cubicBezTo>
                  <a:cubicBezTo>
                    <a:pt x="1404" y="3064"/>
                    <a:pt x="1411" y="3057"/>
                    <a:pt x="1421" y="3053"/>
                  </a:cubicBezTo>
                  <a:cubicBezTo>
                    <a:pt x="1488" y="3001"/>
                    <a:pt x="1596" y="2966"/>
                    <a:pt x="1750" y="2952"/>
                  </a:cubicBezTo>
                  <a:lnTo>
                    <a:pt x="1796" y="2948"/>
                  </a:lnTo>
                  <a:lnTo>
                    <a:pt x="1940" y="2948"/>
                  </a:lnTo>
                  <a:cubicBezTo>
                    <a:pt x="1957" y="2945"/>
                    <a:pt x="1971" y="2945"/>
                    <a:pt x="1989" y="2945"/>
                  </a:cubicBezTo>
                  <a:lnTo>
                    <a:pt x="1999" y="2945"/>
                  </a:lnTo>
                  <a:cubicBezTo>
                    <a:pt x="2013" y="2941"/>
                    <a:pt x="2027" y="2938"/>
                    <a:pt x="2041" y="2934"/>
                  </a:cubicBezTo>
                  <a:lnTo>
                    <a:pt x="2045" y="2934"/>
                  </a:lnTo>
                  <a:cubicBezTo>
                    <a:pt x="2059" y="2931"/>
                    <a:pt x="2069" y="2927"/>
                    <a:pt x="2083" y="2924"/>
                  </a:cubicBezTo>
                  <a:lnTo>
                    <a:pt x="2090" y="2917"/>
                  </a:lnTo>
                  <a:cubicBezTo>
                    <a:pt x="2104" y="2913"/>
                    <a:pt x="2118" y="2906"/>
                    <a:pt x="2132" y="2896"/>
                  </a:cubicBezTo>
                  <a:cubicBezTo>
                    <a:pt x="1947" y="2700"/>
                    <a:pt x="1775" y="2546"/>
                    <a:pt x="1712" y="2507"/>
                  </a:cubicBezTo>
                  <a:cubicBezTo>
                    <a:pt x="1617" y="2448"/>
                    <a:pt x="1568" y="2336"/>
                    <a:pt x="1589" y="2227"/>
                  </a:cubicBezTo>
                  <a:cubicBezTo>
                    <a:pt x="1614" y="2073"/>
                    <a:pt x="1729" y="1944"/>
                    <a:pt x="1883" y="1902"/>
                  </a:cubicBezTo>
                  <a:cubicBezTo>
                    <a:pt x="2027" y="1867"/>
                    <a:pt x="2353" y="1643"/>
                    <a:pt x="2566" y="1496"/>
                  </a:cubicBezTo>
                  <a:cubicBezTo>
                    <a:pt x="2675" y="1422"/>
                    <a:pt x="2766" y="1359"/>
                    <a:pt x="2822" y="1327"/>
                  </a:cubicBezTo>
                  <a:cubicBezTo>
                    <a:pt x="2874" y="1296"/>
                    <a:pt x="2888" y="1208"/>
                    <a:pt x="2899" y="1075"/>
                  </a:cubicBezTo>
                  <a:cubicBezTo>
                    <a:pt x="2909" y="953"/>
                    <a:pt x="2920" y="816"/>
                    <a:pt x="2990" y="690"/>
                  </a:cubicBezTo>
                  <a:cubicBezTo>
                    <a:pt x="3060" y="561"/>
                    <a:pt x="3280" y="354"/>
                    <a:pt x="3487" y="183"/>
                  </a:cubicBezTo>
                  <a:lnTo>
                    <a:pt x="3483" y="183"/>
                  </a:lnTo>
                  <a:cubicBezTo>
                    <a:pt x="3469" y="186"/>
                    <a:pt x="3455" y="186"/>
                    <a:pt x="3441" y="186"/>
                  </a:cubicBezTo>
                  <a:lnTo>
                    <a:pt x="3434" y="186"/>
                  </a:lnTo>
                  <a:cubicBezTo>
                    <a:pt x="3427" y="188"/>
                    <a:pt x="3421" y="189"/>
                    <a:pt x="3415" y="189"/>
                  </a:cubicBezTo>
                  <a:cubicBezTo>
                    <a:pt x="3409" y="189"/>
                    <a:pt x="3403" y="188"/>
                    <a:pt x="3396" y="186"/>
                  </a:cubicBezTo>
                  <a:lnTo>
                    <a:pt x="3392" y="186"/>
                  </a:lnTo>
                  <a:cubicBezTo>
                    <a:pt x="3382" y="186"/>
                    <a:pt x="3371" y="183"/>
                    <a:pt x="3361" y="179"/>
                  </a:cubicBezTo>
                  <a:lnTo>
                    <a:pt x="3354" y="179"/>
                  </a:lnTo>
                  <a:cubicBezTo>
                    <a:pt x="3343" y="176"/>
                    <a:pt x="3333" y="172"/>
                    <a:pt x="3322" y="165"/>
                  </a:cubicBezTo>
                  <a:lnTo>
                    <a:pt x="3315" y="165"/>
                  </a:lnTo>
                  <a:cubicBezTo>
                    <a:pt x="3305" y="158"/>
                    <a:pt x="3298" y="155"/>
                    <a:pt x="3287" y="148"/>
                  </a:cubicBezTo>
                  <a:lnTo>
                    <a:pt x="3280" y="144"/>
                  </a:lnTo>
                  <a:cubicBezTo>
                    <a:pt x="3273" y="141"/>
                    <a:pt x="3263" y="134"/>
                    <a:pt x="3256" y="127"/>
                  </a:cubicBezTo>
                  <a:lnTo>
                    <a:pt x="3249" y="123"/>
                  </a:lnTo>
                  <a:lnTo>
                    <a:pt x="3224" y="106"/>
                  </a:lnTo>
                  <a:lnTo>
                    <a:pt x="3221" y="102"/>
                  </a:lnTo>
                  <a:lnTo>
                    <a:pt x="3196" y="81"/>
                  </a:lnTo>
                  <a:cubicBezTo>
                    <a:pt x="3144" y="36"/>
                    <a:pt x="3102" y="1"/>
                    <a:pt x="30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6" name="Google Shape;4696;p53"/>
            <p:cNvSpPr/>
            <p:nvPr/>
          </p:nvSpPr>
          <p:spPr>
            <a:xfrm>
              <a:off x="2991817" y="1742539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7" name="Google Shape;4697;p53"/>
            <p:cNvSpPr/>
            <p:nvPr/>
          </p:nvSpPr>
          <p:spPr>
            <a:xfrm>
              <a:off x="2987920" y="1742769"/>
              <a:ext cx="625" cy="68"/>
            </a:xfrm>
            <a:custGeom>
              <a:avLst/>
              <a:gdLst/>
              <a:ahLst/>
              <a:cxnLst/>
              <a:rect l="l" t="t" r="r" b="b"/>
              <a:pathLst>
                <a:path w="46" h="5" extrusionOk="0">
                  <a:moveTo>
                    <a:pt x="46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8" name="Google Shape;4698;p53"/>
            <p:cNvSpPr/>
            <p:nvPr/>
          </p:nvSpPr>
          <p:spPr>
            <a:xfrm>
              <a:off x="2992387" y="1742294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9" name="Google Shape;4699;p53"/>
            <p:cNvSpPr/>
            <p:nvPr/>
          </p:nvSpPr>
          <p:spPr>
            <a:xfrm>
              <a:off x="2980547" y="1745770"/>
              <a:ext cx="774" cy="584"/>
            </a:xfrm>
            <a:custGeom>
              <a:avLst/>
              <a:gdLst/>
              <a:ahLst/>
              <a:cxnLst/>
              <a:rect l="l" t="t" r="r" b="b"/>
              <a:pathLst>
                <a:path w="57" h="43" extrusionOk="0">
                  <a:moveTo>
                    <a:pt x="57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0" name="Google Shape;4700;p53"/>
            <p:cNvSpPr/>
            <p:nvPr/>
          </p:nvSpPr>
          <p:spPr>
            <a:xfrm>
              <a:off x="2979556" y="1746476"/>
              <a:ext cx="815" cy="584"/>
            </a:xfrm>
            <a:custGeom>
              <a:avLst/>
              <a:gdLst/>
              <a:ahLst/>
              <a:cxnLst/>
              <a:rect l="l" t="t" r="r" b="b"/>
              <a:pathLst>
                <a:path w="60" h="43" extrusionOk="0">
                  <a:moveTo>
                    <a:pt x="60" y="1"/>
                  </a:moveTo>
                  <a:lnTo>
                    <a:pt x="0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1" name="Google Shape;4701;p53"/>
            <p:cNvSpPr/>
            <p:nvPr/>
          </p:nvSpPr>
          <p:spPr>
            <a:xfrm>
              <a:off x="2982312" y="1744100"/>
              <a:ext cx="1154" cy="964"/>
            </a:xfrm>
            <a:custGeom>
              <a:avLst/>
              <a:gdLst/>
              <a:ahLst/>
              <a:cxnLst/>
              <a:rect l="l" t="t" r="r" b="b"/>
              <a:pathLst>
                <a:path w="85" h="71" extrusionOk="0">
                  <a:moveTo>
                    <a:pt x="0" y="71"/>
                  </a:moveTo>
                  <a:cubicBezTo>
                    <a:pt x="21" y="53"/>
                    <a:pt x="42" y="39"/>
                    <a:pt x="60" y="22"/>
                  </a:cubicBezTo>
                  <a:cubicBezTo>
                    <a:pt x="67" y="15"/>
                    <a:pt x="74" y="8"/>
                    <a:pt x="84" y="1"/>
                  </a:cubicBezTo>
                  <a:cubicBezTo>
                    <a:pt x="74" y="8"/>
                    <a:pt x="67" y="15"/>
                    <a:pt x="60" y="22"/>
                  </a:cubicBezTo>
                  <a:cubicBezTo>
                    <a:pt x="42" y="39"/>
                    <a:pt x="21" y="53"/>
                    <a:pt x="0" y="7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2" name="Google Shape;4702;p53"/>
            <p:cNvSpPr/>
            <p:nvPr/>
          </p:nvSpPr>
          <p:spPr>
            <a:xfrm>
              <a:off x="2989101" y="1742674"/>
              <a:ext cx="1398" cy="14"/>
            </a:xfrm>
            <a:custGeom>
              <a:avLst/>
              <a:gdLst/>
              <a:ahLst/>
              <a:cxnLst/>
              <a:rect l="l" t="t" r="r" b="b"/>
              <a:pathLst>
                <a:path w="103" h="1" extrusionOk="0">
                  <a:moveTo>
                    <a:pt x="103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3" name="Google Shape;4703;p53"/>
            <p:cNvSpPr/>
            <p:nvPr/>
          </p:nvSpPr>
          <p:spPr>
            <a:xfrm>
              <a:off x="2993052" y="17419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4" name="Google Shape;4704;p53"/>
            <p:cNvSpPr/>
            <p:nvPr/>
          </p:nvSpPr>
          <p:spPr>
            <a:xfrm>
              <a:off x="2991111" y="174267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5" name="Google Shape;4705;p53"/>
            <p:cNvSpPr/>
            <p:nvPr/>
          </p:nvSpPr>
          <p:spPr>
            <a:xfrm>
              <a:off x="2643975" y="1811444"/>
              <a:ext cx="54487" cy="30006"/>
            </a:xfrm>
            <a:custGeom>
              <a:avLst/>
              <a:gdLst/>
              <a:ahLst/>
              <a:cxnLst/>
              <a:rect l="l" t="t" r="r" b="b"/>
              <a:pathLst>
                <a:path w="4013" h="2210" extrusionOk="0">
                  <a:moveTo>
                    <a:pt x="708" y="0"/>
                  </a:moveTo>
                  <a:cubicBezTo>
                    <a:pt x="694" y="0"/>
                    <a:pt x="679" y="4"/>
                    <a:pt x="666" y="12"/>
                  </a:cubicBezTo>
                  <a:cubicBezTo>
                    <a:pt x="631" y="124"/>
                    <a:pt x="497" y="138"/>
                    <a:pt x="315" y="156"/>
                  </a:cubicBezTo>
                  <a:lnTo>
                    <a:pt x="305" y="156"/>
                  </a:lnTo>
                  <a:cubicBezTo>
                    <a:pt x="277" y="187"/>
                    <a:pt x="245" y="215"/>
                    <a:pt x="214" y="243"/>
                  </a:cubicBezTo>
                  <a:cubicBezTo>
                    <a:pt x="158" y="292"/>
                    <a:pt x="84" y="359"/>
                    <a:pt x="84" y="401"/>
                  </a:cubicBezTo>
                  <a:cubicBezTo>
                    <a:pt x="81" y="485"/>
                    <a:pt x="63" y="565"/>
                    <a:pt x="35" y="642"/>
                  </a:cubicBezTo>
                  <a:cubicBezTo>
                    <a:pt x="18" y="698"/>
                    <a:pt x="4" y="754"/>
                    <a:pt x="0" y="810"/>
                  </a:cubicBezTo>
                  <a:cubicBezTo>
                    <a:pt x="0" y="831"/>
                    <a:pt x="67" y="863"/>
                    <a:pt x="109" y="880"/>
                  </a:cubicBezTo>
                  <a:cubicBezTo>
                    <a:pt x="168" y="905"/>
                    <a:pt x="224" y="940"/>
                    <a:pt x="266" y="989"/>
                  </a:cubicBezTo>
                  <a:cubicBezTo>
                    <a:pt x="284" y="1013"/>
                    <a:pt x="389" y="1048"/>
                    <a:pt x="452" y="1069"/>
                  </a:cubicBezTo>
                  <a:lnTo>
                    <a:pt x="501" y="1083"/>
                  </a:lnTo>
                  <a:cubicBezTo>
                    <a:pt x="610" y="1122"/>
                    <a:pt x="694" y="1157"/>
                    <a:pt x="711" y="1227"/>
                  </a:cubicBezTo>
                  <a:cubicBezTo>
                    <a:pt x="725" y="1272"/>
                    <a:pt x="914" y="1374"/>
                    <a:pt x="1065" y="1395"/>
                  </a:cubicBezTo>
                  <a:cubicBezTo>
                    <a:pt x="1075" y="1395"/>
                    <a:pt x="1086" y="1398"/>
                    <a:pt x="1096" y="1398"/>
                  </a:cubicBezTo>
                  <a:cubicBezTo>
                    <a:pt x="1243" y="1433"/>
                    <a:pt x="1425" y="1570"/>
                    <a:pt x="1523" y="1647"/>
                  </a:cubicBezTo>
                  <a:lnTo>
                    <a:pt x="1548" y="1664"/>
                  </a:lnTo>
                  <a:cubicBezTo>
                    <a:pt x="1554" y="1668"/>
                    <a:pt x="1563" y="1670"/>
                    <a:pt x="1575" y="1670"/>
                  </a:cubicBezTo>
                  <a:cubicBezTo>
                    <a:pt x="1635" y="1670"/>
                    <a:pt x="1757" y="1632"/>
                    <a:pt x="1821" y="1612"/>
                  </a:cubicBezTo>
                  <a:cubicBezTo>
                    <a:pt x="1887" y="1591"/>
                    <a:pt x="1957" y="1573"/>
                    <a:pt x="2027" y="1566"/>
                  </a:cubicBezTo>
                  <a:cubicBezTo>
                    <a:pt x="2174" y="1566"/>
                    <a:pt x="2363" y="1787"/>
                    <a:pt x="2395" y="1917"/>
                  </a:cubicBezTo>
                  <a:cubicBezTo>
                    <a:pt x="2426" y="1948"/>
                    <a:pt x="2598" y="1997"/>
                    <a:pt x="2703" y="2025"/>
                  </a:cubicBezTo>
                  <a:cubicBezTo>
                    <a:pt x="2864" y="2067"/>
                    <a:pt x="3015" y="2109"/>
                    <a:pt x="3085" y="2169"/>
                  </a:cubicBezTo>
                  <a:cubicBezTo>
                    <a:pt x="3117" y="2197"/>
                    <a:pt x="3208" y="2209"/>
                    <a:pt x="3319" y="2209"/>
                  </a:cubicBezTo>
                  <a:cubicBezTo>
                    <a:pt x="3552" y="2209"/>
                    <a:pt x="3875" y="2156"/>
                    <a:pt x="3946" y="2085"/>
                  </a:cubicBezTo>
                  <a:cubicBezTo>
                    <a:pt x="4012" y="2018"/>
                    <a:pt x="3991" y="1899"/>
                    <a:pt x="3970" y="1770"/>
                  </a:cubicBezTo>
                  <a:cubicBezTo>
                    <a:pt x="3960" y="1703"/>
                    <a:pt x="3949" y="1636"/>
                    <a:pt x="3949" y="1570"/>
                  </a:cubicBezTo>
                  <a:lnTo>
                    <a:pt x="3949" y="1538"/>
                  </a:lnTo>
                  <a:lnTo>
                    <a:pt x="3949" y="1531"/>
                  </a:lnTo>
                  <a:cubicBezTo>
                    <a:pt x="3949" y="1531"/>
                    <a:pt x="3949" y="1517"/>
                    <a:pt x="3953" y="1510"/>
                  </a:cubicBezTo>
                  <a:lnTo>
                    <a:pt x="3925" y="1510"/>
                  </a:lnTo>
                  <a:cubicBezTo>
                    <a:pt x="3771" y="1510"/>
                    <a:pt x="3620" y="1486"/>
                    <a:pt x="3473" y="1430"/>
                  </a:cubicBezTo>
                  <a:cubicBezTo>
                    <a:pt x="3393" y="1395"/>
                    <a:pt x="3302" y="1377"/>
                    <a:pt x="3211" y="1377"/>
                  </a:cubicBezTo>
                  <a:cubicBezTo>
                    <a:pt x="3204" y="1378"/>
                    <a:pt x="3198" y="1378"/>
                    <a:pt x="3191" y="1378"/>
                  </a:cubicBezTo>
                  <a:cubicBezTo>
                    <a:pt x="2946" y="1378"/>
                    <a:pt x="2363" y="1141"/>
                    <a:pt x="2111" y="940"/>
                  </a:cubicBezTo>
                  <a:cubicBezTo>
                    <a:pt x="2003" y="852"/>
                    <a:pt x="1817" y="719"/>
                    <a:pt x="1618" y="586"/>
                  </a:cubicBezTo>
                  <a:lnTo>
                    <a:pt x="1569" y="551"/>
                  </a:lnTo>
                  <a:cubicBezTo>
                    <a:pt x="1327" y="383"/>
                    <a:pt x="1086" y="215"/>
                    <a:pt x="991" y="121"/>
                  </a:cubicBezTo>
                  <a:cubicBezTo>
                    <a:pt x="921" y="47"/>
                    <a:pt x="823" y="5"/>
                    <a:pt x="722" y="2"/>
                  </a:cubicBezTo>
                  <a:cubicBezTo>
                    <a:pt x="717" y="1"/>
                    <a:pt x="713" y="0"/>
                    <a:pt x="7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6" name="Google Shape;4706;p53"/>
            <p:cNvSpPr/>
            <p:nvPr/>
          </p:nvSpPr>
          <p:spPr>
            <a:xfrm>
              <a:off x="2645115" y="1813508"/>
              <a:ext cx="3001" cy="3381"/>
            </a:xfrm>
            <a:custGeom>
              <a:avLst/>
              <a:gdLst/>
              <a:ahLst/>
              <a:cxnLst/>
              <a:rect l="l" t="t" r="r" b="b"/>
              <a:pathLst>
                <a:path w="221" h="249" extrusionOk="0">
                  <a:moveTo>
                    <a:pt x="130" y="91"/>
                  </a:moveTo>
                  <a:cubicBezTo>
                    <a:pt x="74" y="140"/>
                    <a:pt x="0" y="207"/>
                    <a:pt x="0" y="249"/>
                  </a:cubicBezTo>
                  <a:cubicBezTo>
                    <a:pt x="0" y="207"/>
                    <a:pt x="74" y="140"/>
                    <a:pt x="130" y="91"/>
                  </a:cubicBezTo>
                  <a:cubicBezTo>
                    <a:pt x="161" y="63"/>
                    <a:pt x="193" y="32"/>
                    <a:pt x="221" y="0"/>
                  </a:cubicBezTo>
                  <a:lnTo>
                    <a:pt x="221" y="0"/>
                  </a:lnTo>
                  <a:cubicBezTo>
                    <a:pt x="193" y="32"/>
                    <a:pt x="161" y="63"/>
                    <a:pt x="130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7" name="Google Shape;4707;p53"/>
            <p:cNvSpPr/>
            <p:nvPr/>
          </p:nvSpPr>
          <p:spPr>
            <a:xfrm>
              <a:off x="2697592" y="1832327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0"/>
                  </a:moveTo>
                  <a:lnTo>
                    <a:pt x="0" y="28"/>
                  </a:lnTo>
                  <a:cubicBezTo>
                    <a:pt x="0" y="18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8" name="Google Shape;4708;p53"/>
            <p:cNvSpPr/>
            <p:nvPr/>
          </p:nvSpPr>
          <p:spPr>
            <a:xfrm>
              <a:off x="2650763" y="1826149"/>
              <a:ext cx="2878" cy="1955"/>
            </a:xfrm>
            <a:custGeom>
              <a:avLst/>
              <a:gdLst/>
              <a:ahLst/>
              <a:cxnLst/>
              <a:rect l="l" t="t" r="r" b="b"/>
              <a:pathLst>
                <a:path w="212" h="144" extrusionOk="0">
                  <a:moveTo>
                    <a:pt x="1" y="0"/>
                  </a:moveTo>
                  <a:cubicBezTo>
                    <a:pt x="110" y="39"/>
                    <a:pt x="194" y="74"/>
                    <a:pt x="211" y="144"/>
                  </a:cubicBezTo>
                  <a:cubicBezTo>
                    <a:pt x="194" y="74"/>
                    <a:pt x="110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9" name="Google Shape;4709;p53"/>
            <p:cNvSpPr/>
            <p:nvPr/>
          </p:nvSpPr>
          <p:spPr>
            <a:xfrm>
              <a:off x="2697633" y="183189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1"/>
                  </a:moveTo>
                  <a:cubicBezTo>
                    <a:pt x="4" y="8"/>
                    <a:pt x="1" y="15"/>
                    <a:pt x="1" y="25"/>
                  </a:cubicBezTo>
                  <a:cubicBezTo>
                    <a:pt x="4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0" name="Google Shape;4710;p53"/>
            <p:cNvSpPr/>
            <p:nvPr/>
          </p:nvSpPr>
          <p:spPr>
            <a:xfrm>
              <a:off x="2658856" y="1830426"/>
              <a:ext cx="5811" cy="3381"/>
            </a:xfrm>
            <a:custGeom>
              <a:avLst/>
              <a:gdLst/>
              <a:ahLst/>
              <a:cxnLst/>
              <a:rect l="l" t="t" r="r" b="b"/>
              <a:pathLst>
                <a:path w="428" h="249" extrusionOk="0">
                  <a:moveTo>
                    <a:pt x="427" y="249"/>
                  </a:moveTo>
                  <a:cubicBezTo>
                    <a:pt x="326" y="172"/>
                    <a:pt x="147" y="35"/>
                    <a:pt x="0" y="0"/>
                  </a:cubicBezTo>
                  <a:cubicBezTo>
                    <a:pt x="147" y="35"/>
                    <a:pt x="326" y="172"/>
                    <a:pt x="427" y="2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1" name="Google Shape;4711;p53"/>
            <p:cNvSpPr/>
            <p:nvPr/>
          </p:nvSpPr>
          <p:spPr>
            <a:xfrm>
              <a:off x="2726960" y="1826773"/>
              <a:ext cx="59904" cy="135897"/>
            </a:xfrm>
            <a:custGeom>
              <a:avLst/>
              <a:gdLst/>
              <a:ahLst/>
              <a:cxnLst/>
              <a:rect l="l" t="t" r="r" b="b"/>
              <a:pathLst>
                <a:path w="4412" h="10009" extrusionOk="0">
                  <a:moveTo>
                    <a:pt x="2729" y="1"/>
                  </a:moveTo>
                  <a:cubicBezTo>
                    <a:pt x="2699" y="1"/>
                    <a:pt x="2668" y="9"/>
                    <a:pt x="2640" y="24"/>
                  </a:cubicBezTo>
                  <a:lnTo>
                    <a:pt x="2626" y="35"/>
                  </a:lnTo>
                  <a:lnTo>
                    <a:pt x="2623" y="38"/>
                  </a:lnTo>
                  <a:lnTo>
                    <a:pt x="2605" y="49"/>
                  </a:lnTo>
                  <a:lnTo>
                    <a:pt x="2602" y="49"/>
                  </a:lnTo>
                  <a:lnTo>
                    <a:pt x="2581" y="59"/>
                  </a:lnTo>
                  <a:lnTo>
                    <a:pt x="2577" y="73"/>
                  </a:lnTo>
                  <a:lnTo>
                    <a:pt x="2577" y="77"/>
                  </a:lnTo>
                  <a:lnTo>
                    <a:pt x="2574" y="91"/>
                  </a:lnTo>
                  <a:lnTo>
                    <a:pt x="2574" y="98"/>
                  </a:lnTo>
                  <a:lnTo>
                    <a:pt x="2570" y="112"/>
                  </a:lnTo>
                  <a:lnTo>
                    <a:pt x="2570" y="119"/>
                  </a:lnTo>
                  <a:lnTo>
                    <a:pt x="2567" y="133"/>
                  </a:lnTo>
                  <a:lnTo>
                    <a:pt x="2563" y="140"/>
                  </a:lnTo>
                  <a:lnTo>
                    <a:pt x="2560" y="154"/>
                  </a:lnTo>
                  <a:lnTo>
                    <a:pt x="2556" y="161"/>
                  </a:lnTo>
                  <a:lnTo>
                    <a:pt x="2549" y="178"/>
                  </a:lnTo>
                  <a:lnTo>
                    <a:pt x="2546" y="185"/>
                  </a:lnTo>
                  <a:cubicBezTo>
                    <a:pt x="2542" y="192"/>
                    <a:pt x="2539" y="199"/>
                    <a:pt x="2539" y="206"/>
                  </a:cubicBezTo>
                  <a:lnTo>
                    <a:pt x="2539" y="210"/>
                  </a:lnTo>
                  <a:lnTo>
                    <a:pt x="2528" y="231"/>
                  </a:lnTo>
                  <a:lnTo>
                    <a:pt x="2525" y="238"/>
                  </a:lnTo>
                  <a:lnTo>
                    <a:pt x="2514" y="252"/>
                  </a:lnTo>
                  <a:lnTo>
                    <a:pt x="2511" y="259"/>
                  </a:lnTo>
                  <a:lnTo>
                    <a:pt x="2500" y="273"/>
                  </a:lnTo>
                  <a:lnTo>
                    <a:pt x="2497" y="280"/>
                  </a:lnTo>
                  <a:lnTo>
                    <a:pt x="2486" y="290"/>
                  </a:lnTo>
                  <a:lnTo>
                    <a:pt x="2479" y="297"/>
                  </a:lnTo>
                  <a:lnTo>
                    <a:pt x="2472" y="308"/>
                  </a:lnTo>
                  <a:lnTo>
                    <a:pt x="2465" y="315"/>
                  </a:lnTo>
                  <a:lnTo>
                    <a:pt x="2451" y="325"/>
                  </a:lnTo>
                  <a:lnTo>
                    <a:pt x="2448" y="329"/>
                  </a:lnTo>
                  <a:cubicBezTo>
                    <a:pt x="2441" y="332"/>
                    <a:pt x="2434" y="336"/>
                    <a:pt x="2430" y="339"/>
                  </a:cubicBezTo>
                  <a:cubicBezTo>
                    <a:pt x="2416" y="346"/>
                    <a:pt x="2409" y="357"/>
                    <a:pt x="2406" y="367"/>
                  </a:cubicBezTo>
                  <a:cubicBezTo>
                    <a:pt x="2402" y="385"/>
                    <a:pt x="2395" y="458"/>
                    <a:pt x="2497" y="613"/>
                  </a:cubicBezTo>
                  <a:cubicBezTo>
                    <a:pt x="2521" y="644"/>
                    <a:pt x="2535" y="683"/>
                    <a:pt x="2539" y="721"/>
                  </a:cubicBezTo>
                  <a:cubicBezTo>
                    <a:pt x="2539" y="742"/>
                    <a:pt x="2535" y="760"/>
                    <a:pt x="2525" y="777"/>
                  </a:cubicBezTo>
                  <a:cubicBezTo>
                    <a:pt x="2502" y="812"/>
                    <a:pt x="2464" y="832"/>
                    <a:pt x="2424" y="832"/>
                  </a:cubicBezTo>
                  <a:cubicBezTo>
                    <a:pt x="2416" y="832"/>
                    <a:pt x="2407" y="831"/>
                    <a:pt x="2399" y="830"/>
                  </a:cubicBezTo>
                  <a:cubicBezTo>
                    <a:pt x="2318" y="823"/>
                    <a:pt x="2189" y="770"/>
                    <a:pt x="2147" y="679"/>
                  </a:cubicBezTo>
                  <a:lnTo>
                    <a:pt x="2126" y="679"/>
                  </a:lnTo>
                  <a:lnTo>
                    <a:pt x="2112" y="686"/>
                  </a:lnTo>
                  <a:lnTo>
                    <a:pt x="2094" y="690"/>
                  </a:lnTo>
                  <a:cubicBezTo>
                    <a:pt x="1986" y="742"/>
                    <a:pt x="1884" y="809"/>
                    <a:pt x="1797" y="889"/>
                  </a:cubicBezTo>
                  <a:cubicBezTo>
                    <a:pt x="1755" y="924"/>
                    <a:pt x="1709" y="956"/>
                    <a:pt x="1664" y="984"/>
                  </a:cubicBezTo>
                  <a:cubicBezTo>
                    <a:pt x="1534" y="1075"/>
                    <a:pt x="1450" y="1134"/>
                    <a:pt x="1450" y="1271"/>
                  </a:cubicBezTo>
                  <a:cubicBezTo>
                    <a:pt x="1443" y="1393"/>
                    <a:pt x="1412" y="1512"/>
                    <a:pt x="1363" y="1621"/>
                  </a:cubicBezTo>
                  <a:cubicBezTo>
                    <a:pt x="1317" y="1733"/>
                    <a:pt x="1279" y="1841"/>
                    <a:pt x="1296" y="1925"/>
                  </a:cubicBezTo>
                  <a:cubicBezTo>
                    <a:pt x="1328" y="2055"/>
                    <a:pt x="1247" y="2233"/>
                    <a:pt x="1177" y="2391"/>
                  </a:cubicBezTo>
                  <a:cubicBezTo>
                    <a:pt x="1146" y="2464"/>
                    <a:pt x="1100" y="2566"/>
                    <a:pt x="1104" y="2594"/>
                  </a:cubicBezTo>
                  <a:cubicBezTo>
                    <a:pt x="1111" y="2629"/>
                    <a:pt x="1100" y="2661"/>
                    <a:pt x="1079" y="2682"/>
                  </a:cubicBezTo>
                  <a:cubicBezTo>
                    <a:pt x="1054" y="2707"/>
                    <a:pt x="1017" y="2717"/>
                    <a:pt x="969" y="2717"/>
                  </a:cubicBezTo>
                  <a:cubicBezTo>
                    <a:pt x="902" y="2717"/>
                    <a:pt x="814" y="2697"/>
                    <a:pt x="705" y="2671"/>
                  </a:cubicBezTo>
                  <a:lnTo>
                    <a:pt x="641" y="2657"/>
                  </a:lnTo>
                  <a:cubicBezTo>
                    <a:pt x="634" y="2692"/>
                    <a:pt x="631" y="2752"/>
                    <a:pt x="627" y="2797"/>
                  </a:cubicBezTo>
                  <a:cubicBezTo>
                    <a:pt x="617" y="2927"/>
                    <a:pt x="610" y="3081"/>
                    <a:pt x="554" y="3161"/>
                  </a:cubicBezTo>
                  <a:cubicBezTo>
                    <a:pt x="526" y="3207"/>
                    <a:pt x="515" y="3326"/>
                    <a:pt x="508" y="3420"/>
                  </a:cubicBezTo>
                  <a:cubicBezTo>
                    <a:pt x="508" y="3452"/>
                    <a:pt x="505" y="3487"/>
                    <a:pt x="501" y="3518"/>
                  </a:cubicBezTo>
                  <a:lnTo>
                    <a:pt x="501" y="3522"/>
                  </a:lnTo>
                  <a:cubicBezTo>
                    <a:pt x="491" y="3616"/>
                    <a:pt x="473" y="3700"/>
                    <a:pt x="431" y="3742"/>
                  </a:cubicBezTo>
                  <a:lnTo>
                    <a:pt x="431" y="3746"/>
                  </a:lnTo>
                  <a:cubicBezTo>
                    <a:pt x="428" y="3749"/>
                    <a:pt x="421" y="3753"/>
                    <a:pt x="417" y="3756"/>
                  </a:cubicBezTo>
                  <a:lnTo>
                    <a:pt x="414" y="3756"/>
                  </a:lnTo>
                  <a:cubicBezTo>
                    <a:pt x="410" y="3760"/>
                    <a:pt x="403" y="3760"/>
                    <a:pt x="400" y="3763"/>
                  </a:cubicBezTo>
                  <a:lnTo>
                    <a:pt x="396" y="3763"/>
                  </a:lnTo>
                  <a:cubicBezTo>
                    <a:pt x="393" y="3763"/>
                    <a:pt x="386" y="3767"/>
                    <a:pt x="382" y="3767"/>
                  </a:cubicBezTo>
                  <a:lnTo>
                    <a:pt x="351" y="3767"/>
                  </a:lnTo>
                  <a:cubicBezTo>
                    <a:pt x="340" y="3774"/>
                    <a:pt x="330" y="3784"/>
                    <a:pt x="323" y="3795"/>
                  </a:cubicBezTo>
                  <a:cubicBezTo>
                    <a:pt x="260" y="3872"/>
                    <a:pt x="204" y="4040"/>
                    <a:pt x="183" y="4113"/>
                  </a:cubicBezTo>
                  <a:lnTo>
                    <a:pt x="179" y="4127"/>
                  </a:lnTo>
                  <a:lnTo>
                    <a:pt x="172" y="4152"/>
                  </a:lnTo>
                  <a:lnTo>
                    <a:pt x="151" y="4166"/>
                  </a:lnTo>
                  <a:lnTo>
                    <a:pt x="148" y="4169"/>
                  </a:lnTo>
                  <a:lnTo>
                    <a:pt x="144" y="4169"/>
                  </a:lnTo>
                  <a:lnTo>
                    <a:pt x="137" y="4176"/>
                  </a:lnTo>
                  <a:lnTo>
                    <a:pt x="130" y="4180"/>
                  </a:lnTo>
                  <a:lnTo>
                    <a:pt x="120" y="4190"/>
                  </a:lnTo>
                  <a:lnTo>
                    <a:pt x="109" y="4197"/>
                  </a:lnTo>
                  <a:lnTo>
                    <a:pt x="99" y="4208"/>
                  </a:lnTo>
                  <a:lnTo>
                    <a:pt x="88" y="4215"/>
                  </a:lnTo>
                  <a:lnTo>
                    <a:pt x="71" y="4229"/>
                  </a:lnTo>
                  <a:lnTo>
                    <a:pt x="60" y="4236"/>
                  </a:lnTo>
                  <a:lnTo>
                    <a:pt x="39" y="4253"/>
                  </a:lnTo>
                  <a:lnTo>
                    <a:pt x="29" y="4260"/>
                  </a:lnTo>
                  <a:lnTo>
                    <a:pt x="1" y="4285"/>
                  </a:lnTo>
                  <a:cubicBezTo>
                    <a:pt x="95" y="4460"/>
                    <a:pt x="263" y="4670"/>
                    <a:pt x="459" y="4754"/>
                  </a:cubicBezTo>
                  <a:cubicBezTo>
                    <a:pt x="708" y="4856"/>
                    <a:pt x="932" y="5241"/>
                    <a:pt x="1121" y="5902"/>
                  </a:cubicBezTo>
                  <a:cubicBezTo>
                    <a:pt x="1223" y="6266"/>
                    <a:pt x="1149" y="6634"/>
                    <a:pt x="1034" y="6834"/>
                  </a:cubicBezTo>
                  <a:cubicBezTo>
                    <a:pt x="999" y="6893"/>
                    <a:pt x="1002" y="6914"/>
                    <a:pt x="1002" y="6921"/>
                  </a:cubicBezTo>
                  <a:cubicBezTo>
                    <a:pt x="1009" y="6942"/>
                    <a:pt x="1069" y="6967"/>
                    <a:pt x="1125" y="6991"/>
                  </a:cubicBezTo>
                  <a:cubicBezTo>
                    <a:pt x="1156" y="7005"/>
                    <a:pt x="1195" y="7023"/>
                    <a:pt x="1233" y="7044"/>
                  </a:cubicBezTo>
                  <a:cubicBezTo>
                    <a:pt x="1321" y="7090"/>
                    <a:pt x="1399" y="7113"/>
                    <a:pt x="1468" y="7113"/>
                  </a:cubicBezTo>
                  <a:cubicBezTo>
                    <a:pt x="1556" y="7113"/>
                    <a:pt x="1628" y="7075"/>
                    <a:pt x="1681" y="6998"/>
                  </a:cubicBezTo>
                  <a:cubicBezTo>
                    <a:pt x="1744" y="6918"/>
                    <a:pt x="1814" y="6844"/>
                    <a:pt x="1895" y="6781"/>
                  </a:cubicBezTo>
                  <a:cubicBezTo>
                    <a:pt x="2007" y="6679"/>
                    <a:pt x="2112" y="6588"/>
                    <a:pt x="2133" y="6473"/>
                  </a:cubicBezTo>
                  <a:cubicBezTo>
                    <a:pt x="2136" y="6445"/>
                    <a:pt x="2154" y="6361"/>
                    <a:pt x="2220" y="6347"/>
                  </a:cubicBezTo>
                  <a:lnTo>
                    <a:pt x="2241" y="6347"/>
                  </a:lnTo>
                  <a:cubicBezTo>
                    <a:pt x="2308" y="6347"/>
                    <a:pt x="2360" y="6427"/>
                    <a:pt x="2427" y="6522"/>
                  </a:cubicBezTo>
                  <a:cubicBezTo>
                    <a:pt x="2455" y="6571"/>
                    <a:pt x="2490" y="6616"/>
                    <a:pt x="2525" y="6658"/>
                  </a:cubicBezTo>
                  <a:cubicBezTo>
                    <a:pt x="2651" y="6784"/>
                    <a:pt x="2738" y="7019"/>
                    <a:pt x="2763" y="7306"/>
                  </a:cubicBezTo>
                  <a:cubicBezTo>
                    <a:pt x="2766" y="7338"/>
                    <a:pt x="2770" y="7373"/>
                    <a:pt x="2770" y="7411"/>
                  </a:cubicBezTo>
                  <a:cubicBezTo>
                    <a:pt x="2795" y="7712"/>
                    <a:pt x="2837" y="8265"/>
                    <a:pt x="3026" y="8444"/>
                  </a:cubicBezTo>
                  <a:cubicBezTo>
                    <a:pt x="3288" y="8689"/>
                    <a:pt x="3323" y="9197"/>
                    <a:pt x="3253" y="9379"/>
                  </a:cubicBezTo>
                  <a:cubicBezTo>
                    <a:pt x="3225" y="9445"/>
                    <a:pt x="3257" y="9557"/>
                    <a:pt x="3288" y="9666"/>
                  </a:cubicBezTo>
                  <a:cubicBezTo>
                    <a:pt x="3320" y="9781"/>
                    <a:pt x="3351" y="9904"/>
                    <a:pt x="3330" y="10009"/>
                  </a:cubicBezTo>
                  <a:lnTo>
                    <a:pt x="3341" y="9995"/>
                  </a:lnTo>
                  <a:lnTo>
                    <a:pt x="3344" y="9988"/>
                  </a:lnTo>
                  <a:cubicBezTo>
                    <a:pt x="3351" y="9974"/>
                    <a:pt x="3358" y="9963"/>
                    <a:pt x="3365" y="9949"/>
                  </a:cubicBezTo>
                  <a:lnTo>
                    <a:pt x="3372" y="9942"/>
                  </a:lnTo>
                  <a:lnTo>
                    <a:pt x="3390" y="9907"/>
                  </a:lnTo>
                  <a:lnTo>
                    <a:pt x="3397" y="9893"/>
                  </a:lnTo>
                  <a:cubicBezTo>
                    <a:pt x="3404" y="9879"/>
                    <a:pt x="3411" y="9865"/>
                    <a:pt x="3418" y="9851"/>
                  </a:cubicBezTo>
                  <a:lnTo>
                    <a:pt x="3418" y="9844"/>
                  </a:lnTo>
                  <a:cubicBezTo>
                    <a:pt x="3428" y="9827"/>
                    <a:pt x="3435" y="9809"/>
                    <a:pt x="3442" y="9792"/>
                  </a:cubicBezTo>
                  <a:lnTo>
                    <a:pt x="3449" y="9774"/>
                  </a:lnTo>
                  <a:lnTo>
                    <a:pt x="3467" y="9732"/>
                  </a:lnTo>
                  <a:lnTo>
                    <a:pt x="3474" y="9715"/>
                  </a:lnTo>
                  <a:cubicBezTo>
                    <a:pt x="3484" y="9694"/>
                    <a:pt x="3491" y="9673"/>
                    <a:pt x="3498" y="9652"/>
                  </a:cubicBezTo>
                  <a:lnTo>
                    <a:pt x="3505" y="9641"/>
                  </a:lnTo>
                  <a:cubicBezTo>
                    <a:pt x="3512" y="9624"/>
                    <a:pt x="3519" y="9606"/>
                    <a:pt x="3526" y="9585"/>
                  </a:cubicBezTo>
                  <a:lnTo>
                    <a:pt x="3533" y="9564"/>
                  </a:lnTo>
                  <a:lnTo>
                    <a:pt x="3551" y="9508"/>
                  </a:lnTo>
                  <a:lnTo>
                    <a:pt x="3558" y="9494"/>
                  </a:lnTo>
                  <a:cubicBezTo>
                    <a:pt x="3565" y="9470"/>
                    <a:pt x="3572" y="9445"/>
                    <a:pt x="3582" y="9421"/>
                  </a:cubicBezTo>
                  <a:lnTo>
                    <a:pt x="3586" y="9403"/>
                  </a:lnTo>
                  <a:cubicBezTo>
                    <a:pt x="3593" y="9382"/>
                    <a:pt x="3600" y="9365"/>
                    <a:pt x="3607" y="9344"/>
                  </a:cubicBezTo>
                  <a:lnTo>
                    <a:pt x="3614" y="9319"/>
                  </a:lnTo>
                  <a:cubicBezTo>
                    <a:pt x="3621" y="9295"/>
                    <a:pt x="3628" y="9267"/>
                    <a:pt x="3635" y="9242"/>
                  </a:cubicBezTo>
                  <a:cubicBezTo>
                    <a:pt x="3631" y="9172"/>
                    <a:pt x="3603" y="9109"/>
                    <a:pt x="3558" y="9060"/>
                  </a:cubicBezTo>
                  <a:cubicBezTo>
                    <a:pt x="3498" y="9001"/>
                    <a:pt x="3467" y="8924"/>
                    <a:pt x="3463" y="8839"/>
                  </a:cubicBezTo>
                  <a:cubicBezTo>
                    <a:pt x="3463" y="8671"/>
                    <a:pt x="3463" y="8391"/>
                    <a:pt x="3267" y="8220"/>
                  </a:cubicBezTo>
                  <a:cubicBezTo>
                    <a:pt x="3099" y="8066"/>
                    <a:pt x="2994" y="7870"/>
                    <a:pt x="2998" y="7716"/>
                  </a:cubicBezTo>
                  <a:cubicBezTo>
                    <a:pt x="2994" y="7646"/>
                    <a:pt x="3026" y="7579"/>
                    <a:pt x="3075" y="7537"/>
                  </a:cubicBezTo>
                  <a:cubicBezTo>
                    <a:pt x="3127" y="7492"/>
                    <a:pt x="3120" y="7376"/>
                    <a:pt x="3120" y="7303"/>
                  </a:cubicBezTo>
                  <a:cubicBezTo>
                    <a:pt x="3120" y="7226"/>
                    <a:pt x="3113" y="7177"/>
                    <a:pt x="3155" y="7145"/>
                  </a:cubicBezTo>
                  <a:cubicBezTo>
                    <a:pt x="3169" y="7135"/>
                    <a:pt x="3187" y="7131"/>
                    <a:pt x="3208" y="7131"/>
                  </a:cubicBezTo>
                  <a:cubicBezTo>
                    <a:pt x="3222" y="7107"/>
                    <a:pt x="3232" y="7075"/>
                    <a:pt x="3229" y="7047"/>
                  </a:cubicBezTo>
                  <a:cubicBezTo>
                    <a:pt x="3229" y="7026"/>
                    <a:pt x="3218" y="7005"/>
                    <a:pt x="3197" y="6998"/>
                  </a:cubicBezTo>
                  <a:cubicBezTo>
                    <a:pt x="3187" y="6991"/>
                    <a:pt x="3173" y="6984"/>
                    <a:pt x="3162" y="6974"/>
                  </a:cubicBezTo>
                  <a:cubicBezTo>
                    <a:pt x="3092" y="6914"/>
                    <a:pt x="3099" y="6813"/>
                    <a:pt x="3099" y="6735"/>
                  </a:cubicBezTo>
                  <a:cubicBezTo>
                    <a:pt x="3103" y="6700"/>
                    <a:pt x="3103" y="6665"/>
                    <a:pt x="3096" y="6630"/>
                  </a:cubicBezTo>
                  <a:cubicBezTo>
                    <a:pt x="2973" y="6585"/>
                    <a:pt x="2644" y="6221"/>
                    <a:pt x="2644" y="6074"/>
                  </a:cubicBezTo>
                  <a:cubicBezTo>
                    <a:pt x="2644" y="5983"/>
                    <a:pt x="2700" y="5580"/>
                    <a:pt x="2745" y="5241"/>
                  </a:cubicBezTo>
                  <a:lnTo>
                    <a:pt x="2752" y="5202"/>
                  </a:lnTo>
                  <a:cubicBezTo>
                    <a:pt x="2777" y="5020"/>
                    <a:pt x="2994" y="4975"/>
                    <a:pt x="3120" y="4975"/>
                  </a:cubicBezTo>
                  <a:lnTo>
                    <a:pt x="3145" y="4975"/>
                  </a:lnTo>
                  <a:cubicBezTo>
                    <a:pt x="3149" y="4975"/>
                    <a:pt x="3155" y="4975"/>
                    <a:pt x="3160" y="4975"/>
                  </a:cubicBezTo>
                  <a:cubicBezTo>
                    <a:pt x="3243" y="4975"/>
                    <a:pt x="3418" y="4972"/>
                    <a:pt x="3474" y="4877"/>
                  </a:cubicBezTo>
                  <a:cubicBezTo>
                    <a:pt x="3533" y="4772"/>
                    <a:pt x="3670" y="4726"/>
                    <a:pt x="3792" y="4684"/>
                  </a:cubicBezTo>
                  <a:cubicBezTo>
                    <a:pt x="3855" y="4663"/>
                    <a:pt x="3953" y="4628"/>
                    <a:pt x="3964" y="4603"/>
                  </a:cubicBezTo>
                  <a:cubicBezTo>
                    <a:pt x="3967" y="4596"/>
                    <a:pt x="3971" y="4586"/>
                    <a:pt x="3978" y="4579"/>
                  </a:cubicBezTo>
                  <a:lnTo>
                    <a:pt x="3985" y="4568"/>
                  </a:lnTo>
                  <a:lnTo>
                    <a:pt x="3992" y="4561"/>
                  </a:lnTo>
                  <a:lnTo>
                    <a:pt x="4002" y="4548"/>
                  </a:lnTo>
                  <a:lnTo>
                    <a:pt x="4062" y="4519"/>
                  </a:lnTo>
                  <a:lnTo>
                    <a:pt x="4090" y="4502"/>
                  </a:lnTo>
                  <a:lnTo>
                    <a:pt x="4114" y="4491"/>
                  </a:lnTo>
                  <a:lnTo>
                    <a:pt x="4125" y="4484"/>
                  </a:lnTo>
                  <a:cubicBezTo>
                    <a:pt x="4181" y="4460"/>
                    <a:pt x="4219" y="4442"/>
                    <a:pt x="4226" y="4421"/>
                  </a:cubicBezTo>
                  <a:cubicBezTo>
                    <a:pt x="4226" y="4418"/>
                    <a:pt x="4226" y="4414"/>
                    <a:pt x="4226" y="4411"/>
                  </a:cubicBezTo>
                  <a:cubicBezTo>
                    <a:pt x="4226" y="4400"/>
                    <a:pt x="4226" y="4386"/>
                    <a:pt x="4230" y="4376"/>
                  </a:cubicBezTo>
                  <a:cubicBezTo>
                    <a:pt x="4230" y="4372"/>
                    <a:pt x="4230" y="4369"/>
                    <a:pt x="4233" y="4365"/>
                  </a:cubicBezTo>
                  <a:cubicBezTo>
                    <a:pt x="4237" y="4362"/>
                    <a:pt x="4237" y="4348"/>
                    <a:pt x="4240" y="4337"/>
                  </a:cubicBezTo>
                  <a:lnTo>
                    <a:pt x="4247" y="4323"/>
                  </a:lnTo>
                  <a:cubicBezTo>
                    <a:pt x="4251" y="4313"/>
                    <a:pt x="4254" y="4302"/>
                    <a:pt x="4261" y="4292"/>
                  </a:cubicBezTo>
                  <a:lnTo>
                    <a:pt x="4265" y="4281"/>
                  </a:lnTo>
                  <a:cubicBezTo>
                    <a:pt x="4272" y="4267"/>
                    <a:pt x="4279" y="4253"/>
                    <a:pt x="4286" y="4239"/>
                  </a:cubicBezTo>
                  <a:lnTo>
                    <a:pt x="4293" y="4229"/>
                  </a:lnTo>
                  <a:cubicBezTo>
                    <a:pt x="4300" y="4215"/>
                    <a:pt x="4307" y="4204"/>
                    <a:pt x="4314" y="4194"/>
                  </a:cubicBezTo>
                  <a:lnTo>
                    <a:pt x="4321" y="4180"/>
                  </a:lnTo>
                  <a:lnTo>
                    <a:pt x="4342" y="4148"/>
                  </a:lnTo>
                  <a:lnTo>
                    <a:pt x="4352" y="4134"/>
                  </a:lnTo>
                  <a:lnTo>
                    <a:pt x="4380" y="4096"/>
                  </a:lnTo>
                  <a:lnTo>
                    <a:pt x="4408" y="4054"/>
                  </a:lnTo>
                  <a:lnTo>
                    <a:pt x="4412" y="4050"/>
                  </a:lnTo>
                  <a:lnTo>
                    <a:pt x="4408" y="4050"/>
                  </a:lnTo>
                  <a:lnTo>
                    <a:pt x="4359" y="4071"/>
                  </a:lnTo>
                  <a:cubicBezTo>
                    <a:pt x="4290" y="4098"/>
                    <a:pt x="4232" y="4108"/>
                    <a:pt x="4183" y="4108"/>
                  </a:cubicBezTo>
                  <a:cubicBezTo>
                    <a:pt x="4099" y="4108"/>
                    <a:pt x="4045" y="4078"/>
                    <a:pt x="4016" y="4054"/>
                  </a:cubicBezTo>
                  <a:cubicBezTo>
                    <a:pt x="3946" y="3998"/>
                    <a:pt x="3915" y="3907"/>
                    <a:pt x="3932" y="3819"/>
                  </a:cubicBezTo>
                  <a:cubicBezTo>
                    <a:pt x="3936" y="3795"/>
                    <a:pt x="3929" y="3788"/>
                    <a:pt x="3925" y="3784"/>
                  </a:cubicBezTo>
                  <a:cubicBezTo>
                    <a:pt x="3897" y="3749"/>
                    <a:pt x="3764" y="3749"/>
                    <a:pt x="3694" y="3749"/>
                  </a:cubicBezTo>
                  <a:cubicBezTo>
                    <a:pt x="3691" y="3750"/>
                    <a:pt x="3688" y="3750"/>
                    <a:pt x="3684" y="3750"/>
                  </a:cubicBezTo>
                  <a:cubicBezTo>
                    <a:pt x="3643" y="3750"/>
                    <a:pt x="3608" y="3729"/>
                    <a:pt x="3582" y="3697"/>
                  </a:cubicBezTo>
                  <a:cubicBezTo>
                    <a:pt x="3523" y="3613"/>
                    <a:pt x="3572" y="3473"/>
                    <a:pt x="3617" y="3333"/>
                  </a:cubicBezTo>
                  <a:lnTo>
                    <a:pt x="3631" y="3298"/>
                  </a:lnTo>
                  <a:cubicBezTo>
                    <a:pt x="3638" y="3280"/>
                    <a:pt x="3642" y="3263"/>
                    <a:pt x="3638" y="3245"/>
                  </a:cubicBezTo>
                  <a:cubicBezTo>
                    <a:pt x="3642" y="3231"/>
                    <a:pt x="3635" y="3214"/>
                    <a:pt x="3628" y="3200"/>
                  </a:cubicBezTo>
                  <a:cubicBezTo>
                    <a:pt x="3589" y="3161"/>
                    <a:pt x="3537" y="3140"/>
                    <a:pt x="3481" y="3140"/>
                  </a:cubicBezTo>
                  <a:cubicBezTo>
                    <a:pt x="3407" y="3133"/>
                    <a:pt x="3337" y="3081"/>
                    <a:pt x="3292" y="2986"/>
                  </a:cubicBezTo>
                  <a:cubicBezTo>
                    <a:pt x="3236" y="2878"/>
                    <a:pt x="3208" y="2706"/>
                    <a:pt x="3250" y="2611"/>
                  </a:cubicBezTo>
                  <a:cubicBezTo>
                    <a:pt x="3213" y="2586"/>
                    <a:pt x="3102" y="2560"/>
                    <a:pt x="2999" y="2560"/>
                  </a:cubicBezTo>
                  <a:cubicBezTo>
                    <a:pt x="2943" y="2560"/>
                    <a:pt x="2890" y="2567"/>
                    <a:pt x="2851" y="2587"/>
                  </a:cubicBezTo>
                  <a:cubicBezTo>
                    <a:pt x="2834" y="2596"/>
                    <a:pt x="2799" y="2613"/>
                    <a:pt x="2762" y="2613"/>
                  </a:cubicBezTo>
                  <a:cubicBezTo>
                    <a:pt x="2744" y="2613"/>
                    <a:pt x="2724" y="2609"/>
                    <a:pt x="2707" y="2597"/>
                  </a:cubicBezTo>
                  <a:cubicBezTo>
                    <a:pt x="2651" y="2559"/>
                    <a:pt x="2658" y="2485"/>
                    <a:pt x="2665" y="2419"/>
                  </a:cubicBezTo>
                  <a:cubicBezTo>
                    <a:pt x="2672" y="2373"/>
                    <a:pt x="2672" y="2328"/>
                    <a:pt x="2661" y="2286"/>
                  </a:cubicBezTo>
                  <a:cubicBezTo>
                    <a:pt x="2591" y="2111"/>
                    <a:pt x="2921" y="1656"/>
                    <a:pt x="3127" y="1453"/>
                  </a:cubicBezTo>
                  <a:cubicBezTo>
                    <a:pt x="3162" y="1414"/>
                    <a:pt x="3194" y="1372"/>
                    <a:pt x="3215" y="1327"/>
                  </a:cubicBezTo>
                  <a:cubicBezTo>
                    <a:pt x="3274" y="1197"/>
                    <a:pt x="3264" y="1047"/>
                    <a:pt x="3250" y="889"/>
                  </a:cubicBezTo>
                  <a:cubicBezTo>
                    <a:pt x="3246" y="826"/>
                    <a:pt x="3239" y="763"/>
                    <a:pt x="3239" y="700"/>
                  </a:cubicBezTo>
                  <a:cubicBezTo>
                    <a:pt x="3239" y="497"/>
                    <a:pt x="3190" y="497"/>
                    <a:pt x="3089" y="497"/>
                  </a:cubicBezTo>
                  <a:cubicBezTo>
                    <a:pt x="2900" y="497"/>
                    <a:pt x="2900" y="238"/>
                    <a:pt x="2900" y="129"/>
                  </a:cubicBezTo>
                  <a:cubicBezTo>
                    <a:pt x="2893" y="80"/>
                    <a:pt x="2861" y="42"/>
                    <a:pt x="2816" y="24"/>
                  </a:cubicBezTo>
                  <a:cubicBezTo>
                    <a:pt x="2789" y="9"/>
                    <a:pt x="2759" y="1"/>
                    <a:pt x="27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2" name="Google Shape;4712;p53"/>
            <p:cNvSpPr/>
            <p:nvPr/>
          </p:nvSpPr>
          <p:spPr>
            <a:xfrm>
              <a:off x="2728671" y="188366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3" name="Google Shape;4713;p53"/>
            <p:cNvSpPr/>
            <p:nvPr/>
          </p:nvSpPr>
          <p:spPr>
            <a:xfrm>
              <a:off x="2729241" y="188303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4" name="Google Shape;4714;p53"/>
            <p:cNvSpPr/>
            <p:nvPr/>
          </p:nvSpPr>
          <p:spPr>
            <a:xfrm>
              <a:off x="2728155" y="1883989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5" name="Google Shape;4715;p53"/>
            <p:cNvSpPr/>
            <p:nvPr/>
          </p:nvSpPr>
          <p:spPr>
            <a:xfrm>
              <a:off x="2728820" y="188356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6" name="Google Shape;4716;p53"/>
            <p:cNvSpPr/>
            <p:nvPr/>
          </p:nvSpPr>
          <p:spPr>
            <a:xfrm>
              <a:off x="2728440" y="1883799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7" name="Google Shape;4717;p53"/>
            <p:cNvSpPr/>
            <p:nvPr/>
          </p:nvSpPr>
          <p:spPr>
            <a:xfrm>
              <a:off x="2727341" y="1884518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18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8" name="Google Shape;4718;p53"/>
            <p:cNvSpPr/>
            <p:nvPr/>
          </p:nvSpPr>
          <p:spPr>
            <a:xfrm>
              <a:off x="2727775" y="188423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9" name="Google Shape;4719;p53"/>
            <p:cNvSpPr/>
            <p:nvPr/>
          </p:nvSpPr>
          <p:spPr>
            <a:xfrm>
              <a:off x="2726825" y="1884844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0" y="29"/>
                  </a:moveTo>
                  <a:lnTo>
                    <a:pt x="0" y="29"/>
                  </a:ln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0" name="Google Shape;4720;p53"/>
            <p:cNvSpPr/>
            <p:nvPr/>
          </p:nvSpPr>
          <p:spPr>
            <a:xfrm>
              <a:off x="2729296" y="1878531"/>
              <a:ext cx="1914" cy="4331"/>
            </a:xfrm>
            <a:custGeom>
              <a:avLst/>
              <a:gdLst/>
              <a:ahLst/>
              <a:cxnLst/>
              <a:rect l="l" t="t" r="r" b="b"/>
              <a:pathLst>
                <a:path w="141" h="319" extrusionOk="0">
                  <a:moveTo>
                    <a:pt x="140" y="0"/>
                  </a:moveTo>
                  <a:cubicBezTo>
                    <a:pt x="116" y="30"/>
                    <a:pt x="92" y="74"/>
                    <a:pt x="72" y="121"/>
                  </a:cubicBezTo>
                  <a:lnTo>
                    <a:pt x="72" y="121"/>
                  </a:lnTo>
                  <a:cubicBezTo>
                    <a:pt x="87" y="88"/>
                    <a:pt x="104" y="56"/>
                    <a:pt x="123" y="25"/>
                  </a:cubicBezTo>
                  <a:lnTo>
                    <a:pt x="140" y="0"/>
                  </a:lnTo>
                  <a:close/>
                  <a:moveTo>
                    <a:pt x="72" y="121"/>
                  </a:moveTo>
                  <a:lnTo>
                    <a:pt x="72" y="121"/>
                  </a:lnTo>
                  <a:cubicBezTo>
                    <a:pt x="42" y="185"/>
                    <a:pt x="19" y="252"/>
                    <a:pt x="0" y="319"/>
                  </a:cubicBezTo>
                  <a:cubicBezTo>
                    <a:pt x="13" y="274"/>
                    <a:pt x="39" y="194"/>
                    <a:pt x="72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1" name="Google Shape;4721;p53"/>
            <p:cNvSpPr/>
            <p:nvPr/>
          </p:nvSpPr>
          <p:spPr>
            <a:xfrm>
              <a:off x="2733668" y="18746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2" name="Google Shape;4722;p53"/>
            <p:cNvSpPr/>
            <p:nvPr/>
          </p:nvSpPr>
          <p:spPr>
            <a:xfrm>
              <a:off x="2760334" y="183103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3" name="Google Shape;4723;p53"/>
            <p:cNvSpPr/>
            <p:nvPr/>
          </p:nvSpPr>
          <p:spPr>
            <a:xfrm>
              <a:off x="2760565" y="183080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4" name="Google Shape;4724;p53"/>
            <p:cNvSpPr/>
            <p:nvPr/>
          </p:nvSpPr>
          <p:spPr>
            <a:xfrm>
              <a:off x="2760945" y="183023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5" name="Google Shape;4725;p53"/>
            <p:cNvSpPr/>
            <p:nvPr/>
          </p:nvSpPr>
          <p:spPr>
            <a:xfrm>
              <a:off x="2760089" y="183122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6" name="Google Shape;4726;p53"/>
            <p:cNvSpPr/>
            <p:nvPr/>
          </p:nvSpPr>
          <p:spPr>
            <a:xfrm>
              <a:off x="2760755" y="183052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7" name="Google Shape;4727;p53"/>
            <p:cNvSpPr/>
            <p:nvPr/>
          </p:nvSpPr>
          <p:spPr>
            <a:xfrm>
              <a:off x="2761135" y="182995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8" name="Google Shape;4728;p53"/>
            <p:cNvSpPr/>
            <p:nvPr/>
          </p:nvSpPr>
          <p:spPr>
            <a:xfrm>
              <a:off x="2755297" y="18362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9" name="Google Shape;4729;p53"/>
            <p:cNvSpPr/>
            <p:nvPr/>
          </p:nvSpPr>
          <p:spPr>
            <a:xfrm>
              <a:off x="2734374" y="1864885"/>
              <a:ext cx="1059" cy="5010"/>
            </a:xfrm>
            <a:custGeom>
              <a:avLst/>
              <a:gdLst/>
              <a:ahLst/>
              <a:cxnLst/>
              <a:rect l="l" t="t" r="r" b="b"/>
              <a:pathLst>
                <a:path w="78" h="369" extrusionOk="0">
                  <a:moveTo>
                    <a:pt x="78" y="1"/>
                  </a:moveTo>
                  <a:cubicBezTo>
                    <a:pt x="67" y="134"/>
                    <a:pt x="57" y="284"/>
                    <a:pt x="1" y="368"/>
                  </a:cubicBezTo>
                  <a:cubicBezTo>
                    <a:pt x="57" y="284"/>
                    <a:pt x="67" y="134"/>
                    <a:pt x="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0" name="Google Shape;4730;p53"/>
            <p:cNvSpPr/>
            <p:nvPr/>
          </p:nvSpPr>
          <p:spPr>
            <a:xfrm>
              <a:off x="2731903" y="18781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1" name="Google Shape;4731;p53"/>
            <p:cNvSpPr/>
            <p:nvPr/>
          </p:nvSpPr>
          <p:spPr>
            <a:xfrm>
              <a:off x="2761135" y="1836658"/>
              <a:ext cx="204" cy="720"/>
            </a:xfrm>
            <a:custGeom>
              <a:avLst/>
              <a:gdLst/>
              <a:ahLst/>
              <a:cxnLst/>
              <a:rect l="l" t="t" r="r" b="b"/>
              <a:pathLst>
                <a:path w="15" h="53" extrusionOk="0">
                  <a:moveTo>
                    <a:pt x="15" y="0"/>
                  </a:moveTo>
                  <a:cubicBezTo>
                    <a:pt x="15" y="18"/>
                    <a:pt x="11" y="39"/>
                    <a:pt x="1" y="53"/>
                  </a:cubicBezTo>
                  <a:cubicBezTo>
                    <a:pt x="11" y="39"/>
                    <a:pt x="15" y="18"/>
                    <a:pt x="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2" name="Google Shape;4732;p53"/>
            <p:cNvSpPr/>
            <p:nvPr/>
          </p:nvSpPr>
          <p:spPr>
            <a:xfrm>
              <a:off x="2755527" y="183612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3" name="Google Shape;4733;p53"/>
            <p:cNvSpPr/>
            <p:nvPr/>
          </p:nvSpPr>
          <p:spPr>
            <a:xfrm>
              <a:off x="2761990" y="182780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4" name="Google Shape;4734;p53"/>
            <p:cNvSpPr/>
            <p:nvPr/>
          </p:nvSpPr>
          <p:spPr>
            <a:xfrm>
              <a:off x="2762045" y="18276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5" name="Google Shape;4735;p53"/>
            <p:cNvSpPr/>
            <p:nvPr/>
          </p:nvSpPr>
          <p:spPr>
            <a:xfrm>
              <a:off x="2732717" y="187771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6" name="Google Shape;4736;p53"/>
            <p:cNvSpPr/>
            <p:nvPr/>
          </p:nvSpPr>
          <p:spPr>
            <a:xfrm>
              <a:off x="2761895" y="182805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7" name="Google Shape;4737;p53"/>
            <p:cNvSpPr/>
            <p:nvPr/>
          </p:nvSpPr>
          <p:spPr>
            <a:xfrm>
              <a:off x="2761325" y="182966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8" name="Google Shape;4738;p53"/>
            <p:cNvSpPr/>
            <p:nvPr/>
          </p:nvSpPr>
          <p:spPr>
            <a:xfrm>
              <a:off x="2732188" y="187805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9" name="Google Shape;4739;p53"/>
            <p:cNvSpPr/>
            <p:nvPr/>
          </p:nvSpPr>
          <p:spPr>
            <a:xfrm>
              <a:off x="2761855" y="182833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0" name="Google Shape;4740;p53"/>
            <p:cNvSpPr/>
            <p:nvPr/>
          </p:nvSpPr>
          <p:spPr>
            <a:xfrm>
              <a:off x="2761474" y="182923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1" name="Google Shape;4741;p53"/>
            <p:cNvSpPr/>
            <p:nvPr/>
          </p:nvSpPr>
          <p:spPr>
            <a:xfrm>
              <a:off x="2761610" y="182890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2" name="Google Shape;4742;p53"/>
            <p:cNvSpPr/>
            <p:nvPr/>
          </p:nvSpPr>
          <p:spPr>
            <a:xfrm>
              <a:off x="2761705" y="1828620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3" name="Google Shape;4743;p53"/>
            <p:cNvSpPr/>
            <p:nvPr/>
          </p:nvSpPr>
          <p:spPr>
            <a:xfrm>
              <a:off x="2732473" y="187790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4" name="Google Shape;4744;p53"/>
            <p:cNvSpPr/>
            <p:nvPr/>
          </p:nvSpPr>
          <p:spPr>
            <a:xfrm>
              <a:off x="2731197" y="1878151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32" y="0"/>
                  </a:moveTo>
                  <a:cubicBezTo>
                    <a:pt x="25" y="4"/>
                    <a:pt x="21" y="4"/>
                    <a:pt x="21" y="7"/>
                  </a:cubicBezTo>
                  <a:lnTo>
                    <a:pt x="0" y="28"/>
                  </a:lnTo>
                  <a:cubicBezTo>
                    <a:pt x="11" y="18"/>
                    <a:pt x="18" y="11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5" name="Google Shape;4745;p53"/>
            <p:cNvSpPr/>
            <p:nvPr/>
          </p:nvSpPr>
          <p:spPr>
            <a:xfrm>
              <a:off x="2755867" y="183608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cubicBezTo>
                    <a:pt x="4" y="0"/>
                    <a:pt x="7" y="0"/>
                    <a:pt x="14" y="0"/>
                  </a:cubicBezTo>
                  <a:lnTo>
                    <a:pt x="14" y="0"/>
                  </a:lnTo>
                  <a:cubicBezTo>
                    <a:pt x="7" y="0"/>
                    <a:pt x="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6" name="Google Shape;4746;p53"/>
            <p:cNvSpPr/>
            <p:nvPr/>
          </p:nvSpPr>
          <p:spPr>
            <a:xfrm>
              <a:off x="2730911" y="1878246"/>
              <a:ext cx="584" cy="625"/>
            </a:xfrm>
            <a:custGeom>
              <a:avLst/>
              <a:gdLst/>
              <a:ahLst/>
              <a:cxnLst/>
              <a:rect l="l" t="t" r="r" b="b"/>
              <a:pathLst>
                <a:path w="43" h="46" extrusionOk="0">
                  <a:moveTo>
                    <a:pt x="42" y="0"/>
                  </a:moveTo>
                  <a:lnTo>
                    <a:pt x="42" y="0"/>
                  </a:lnTo>
                  <a:cubicBezTo>
                    <a:pt x="25" y="14"/>
                    <a:pt x="11" y="28"/>
                    <a:pt x="0" y="46"/>
                  </a:cubicBezTo>
                  <a:lnTo>
                    <a:pt x="21" y="25"/>
                  </a:lnTo>
                  <a:lnTo>
                    <a:pt x="21" y="21"/>
                  </a:ln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7" name="Google Shape;4747;p53"/>
            <p:cNvSpPr/>
            <p:nvPr/>
          </p:nvSpPr>
          <p:spPr>
            <a:xfrm>
              <a:off x="2705196" y="1828905"/>
              <a:ext cx="20163" cy="10197"/>
            </a:xfrm>
            <a:custGeom>
              <a:avLst/>
              <a:gdLst/>
              <a:ahLst/>
              <a:cxnLst/>
              <a:rect l="l" t="t" r="r" b="b"/>
              <a:pathLst>
                <a:path w="1485" h="751" extrusionOk="0">
                  <a:moveTo>
                    <a:pt x="564" y="0"/>
                  </a:moveTo>
                  <a:cubicBezTo>
                    <a:pt x="530" y="0"/>
                    <a:pt x="503" y="12"/>
                    <a:pt x="477" y="32"/>
                  </a:cubicBezTo>
                  <a:cubicBezTo>
                    <a:pt x="438" y="60"/>
                    <a:pt x="400" y="81"/>
                    <a:pt x="358" y="98"/>
                  </a:cubicBezTo>
                  <a:cubicBezTo>
                    <a:pt x="242" y="137"/>
                    <a:pt x="151" y="228"/>
                    <a:pt x="109" y="343"/>
                  </a:cubicBezTo>
                  <a:cubicBezTo>
                    <a:pt x="102" y="364"/>
                    <a:pt x="91" y="385"/>
                    <a:pt x="81" y="406"/>
                  </a:cubicBezTo>
                  <a:lnTo>
                    <a:pt x="74" y="424"/>
                  </a:lnTo>
                  <a:cubicBezTo>
                    <a:pt x="67" y="438"/>
                    <a:pt x="60" y="452"/>
                    <a:pt x="53" y="466"/>
                  </a:cubicBezTo>
                  <a:lnTo>
                    <a:pt x="42" y="487"/>
                  </a:lnTo>
                  <a:cubicBezTo>
                    <a:pt x="35" y="498"/>
                    <a:pt x="28" y="512"/>
                    <a:pt x="21" y="522"/>
                  </a:cubicBezTo>
                  <a:lnTo>
                    <a:pt x="7" y="543"/>
                  </a:lnTo>
                  <a:lnTo>
                    <a:pt x="0" y="554"/>
                  </a:lnTo>
                  <a:cubicBezTo>
                    <a:pt x="14" y="575"/>
                    <a:pt x="32" y="592"/>
                    <a:pt x="56" y="606"/>
                  </a:cubicBezTo>
                  <a:lnTo>
                    <a:pt x="63" y="606"/>
                  </a:lnTo>
                  <a:cubicBezTo>
                    <a:pt x="68" y="606"/>
                    <a:pt x="73" y="606"/>
                    <a:pt x="78" y="606"/>
                  </a:cubicBezTo>
                  <a:cubicBezTo>
                    <a:pt x="128" y="606"/>
                    <a:pt x="176" y="623"/>
                    <a:pt x="221" y="652"/>
                  </a:cubicBezTo>
                  <a:cubicBezTo>
                    <a:pt x="267" y="676"/>
                    <a:pt x="313" y="700"/>
                    <a:pt x="367" y="700"/>
                  </a:cubicBezTo>
                  <a:cubicBezTo>
                    <a:pt x="383" y="700"/>
                    <a:pt x="400" y="698"/>
                    <a:pt x="417" y="694"/>
                  </a:cubicBezTo>
                  <a:cubicBezTo>
                    <a:pt x="431" y="690"/>
                    <a:pt x="445" y="687"/>
                    <a:pt x="456" y="687"/>
                  </a:cubicBezTo>
                  <a:lnTo>
                    <a:pt x="505" y="687"/>
                  </a:lnTo>
                  <a:cubicBezTo>
                    <a:pt x="515" y="687"/>
                    <a:pt x="529" y="687"/>
                    <a:pt x="540" y="690"/>
                  </a:cubicBezTo>
                  <a:lnTo>
                    <a:pt x="547" y="690"/>
                  </a:lnTo>
                  <a:cubicBezTo>
                    <a:pt x="561" y="690"/>
                    <a:pt x="571" y="694"/>
                    <a:pt x="585" y="697"/>
                  </a:cubicBezTo>
                  <a:lnTo>
                    <a:pt x="589" y="697"/>
                  </a:lnTo>
                  <a:lnTo>
                    <a:pt x="624" y="704"/>
                  </a:lnTo>
                  <a:lnTo>
                    <a:pt x="631" y="708"/>
                  </a:lnTo>
                  <a:lnTo>
                    <a:pt x="669" y="718"/>
                  </a:lnTo>
                  <a:cubicBezTo>
                    <a:pt x="722" y="740"/>
                    <a:pt x="778" y="751"/>
                    <a:pt x="835" y="751"/>
                  </a:cubicBezTo>
                  <a:cubicBezTo>
                    <a:pt x="869" y="751"/>
                    <a:pt x="902" y="747"/>
                    <a:pt x="935" y="739"/>
                  </a:cubicBezTo>
                  <a:cubicBezTo>
                    <a:pt x="992" y="725"/>
                    <a:pt x="1051" y="718"/>
                    <a:pt x="1109" y="718"/>
                  </a:cubicBezTo>
                  <a:cubicBezTo>
                    <a:pt x="1156" y="718"/>
                    <a:pt x="1202" y="723"/>
                    <a:pt x="1247" y="732"/>
                  </a:cubicBezTo>
                  <a:cubicBezTo>
                    <a:pt x="1293" y="737"/>
                    <a:pt x="1327" y="740"/>
                    <a:pt x="1354" y="740"/>
                  </a:cubicBezTo>
                  <a:cubicBezTo>
                    <a:pt x="1399" y="740"/>
                    <a:pt x="1420" y="731"/>
                    <a:pt x="1436" y="704"/>
                  </a:cubicBezTo>
                  <a:cubicBezTo>
                    <a:pt x="1485" y="617"/>
                    <a:pt x="1422" y="403"/>
                    <a:pt x="1366" y="291"/>
                  </a:cubicBezTo>
                  <a:lnTo>
                    <a:pt x="1359" y="270"/>
                  </a:lnTo>
                  <a:lnTo>
                    <a:pt x="1341" y="231"/>
                  </a:lnTo>
                  <a:lnTo>
                    <a:pt x="1369" y="217"/>
                  </a:lnTo>
                  <a:lnTo>
                    <a:pt x="1394" y="203"/>
                  </a:lnTo>
                  <a:lnTo>
                    <a:pt x="1390" y="203"/>
                  </a:lnTo>
                  <a:cubicBezTo>
                    <a:pt x="1380" y="193"/>
                    <a:pt x="1366" y="182"/>
                    <a:pt x="1352" y="175"/>
                  </a:cubicBezTo>
                  <a:lnTo>
                    <a:pt x="1348" y="172"/>
                  </a:lnTo>
                  <a:cubicBezTo>
                    <a:pt x="1334" y="165"/>
                    <a:pt x="1324" y="161"/>
                    <a:pt x="1313" y="154"/>
                  </a:cubicBezTo>
                  <a:lnTo>
                    <a:pt x="1310" y="154"/>
                  </a:lnTo>
                  <a:cubicBezTo>
                    <a:pt x="1299" y="151"/>
                    <a:pt x="1289" y="144"/>
                    <a:pt x="1275" y="140"/>
                  </a:cubicBezTo>
                  <a:lnTo>
                    <a:pt x="1271" y="140"/>
                  </a:lnTo>
                  <a:cubicBezTo>
                    <a:pt x="1261" y="140"/>
                    <a:pt x="1250" y="137"/>
                    <a:pt x="1240" y="133"/>
                  </a:cubicBezTo>
                  <a:lnTo>
                    <a:pt x="1173" y="133"/>
                  </a:lnTo>
                  <a:lnTo>
                    <a:pt x="1145" y="137"/>
                  </a:lnTo>
                  <a:lnTo>
                    <a:pt x="1142" y="137"/>
                  </a:lnTo>
                  <a:lnTo>
                    <a:pt x="1114" y="144"/>
                  </a:lnTo>
                  <a:cubicBezTo>
                    <a:pt x="1086" y="151"/>
                    <a:pt x="1058" y="154"/>
                    <a:pt x="1030" y="154"/>
                  </a:cubicBezTo>
                  <a:cubicBezTo>
                    <a:pt x="970" y="154"/>
                    <a:pt x="910" y="139"/>
                    <a:pt x="855" y="112"/>
                  </a:cubicBezTo>
                  <a:cubicBezTo>
                    <a:pt x="708" y="34"/>
                    <a:pt x="624" y="0"/>
                    <a:pt x="5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8" name="Google Shape;4748;p53"/>
            <p:cNvSpPr/>
            <p:nvPr/>
          </p:nvSpPr>
          <p:spPr>
            <a:xfrm>
              <a:off x="2713179" y="1838314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36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9" name="Google Shape;4749;p53"/>
            <p:cNvSpPr/>
            <p:nvPr/>
          </p:nvSpPr>
          <p:spPr>
            <a:xfrm>
              <a:off x="2712039" y="1838178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1" y="0"/>
                  </a:moveTo>
                  <a:cubicBezTo>
                    <a:pt x="11" y="0"/>
                    <a:pt x="25" y="4"/>
                    <a:pt x="36" y="4"/>
                  </a:cubicBezTo>
                  <a:cubicBezTo>
                    <a:pt x="25" y="0"/>
                    <a:pt x="1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0" name="Google Shape;4750;p53"/>
            <p:cNvSpPr/>
            <p:nvPr/>
          </p:nvSpPr>
          <p:spPr>
            <a:xfrm>
              <a:off x="2713804" y="1838504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35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1" name="Google Shape;4751;p53"/>
            <p:cNvSpPr/>
            <p:nvPr/>
          </p:nvSpPr>
          <p:spPr>
            <a:xfrm>
              <a:off x="2711523" y="1838178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ubicBezTo>
                    <a:pt x="18" y="0"/>
                    <a:pt x="11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2" name="Google Shape;4752;p53"/>
            <p:cNvSpPr/>
            <p:nvPr/>
          </p:nvSpPr>
          <p:spPr>
            <a:xfrm>
              <a:off x="2723403" y="1831851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18" y="49"/>
                  </a:moveTo>
                  <a:lnTo>
                    <a:pt x="0" y="11"/>
                  </a:lnTo>
                  <a:lnTo>
                    <a:pt x="28" y="0"/>
                  </a:ln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3" name="Google Shape;4753;p53"/>
            <p:cNvSpPr/>
            <p:nvPr/>
          </p:nvSpPr>
          <p:spPr>
            <a:xfrm>
              <a:off x="2706051" y="1837079"/>
              <a:ext cx="2105" cy="638"/>
            </a:xfrm>
            <a:custGeom>
              <a:avLst/>
              <a:gdLst/>
              <a:ahLst/>
              <a:cxnLst/>
              <a:rect l="l" t="t" r="r" b="b"/>
              <a:pathLst>
                <a:path w="155" h="47" extrusionOk="0">
                  <a:moveTo>
                    <a:pt x="0" y="1"/>
                  </a:moveTo>
                  <a:cubicBezTo>
                    <a:pt x="56" y="1"/>
                    <a:pt x="109" y="15"/>
                    <a:pt x="154" y="46"/>
                  </a:cubicBezTo>
                  <a:cubicBezTo>
                    <a:pt x="109" y="15"/>
                    <a:pt x="56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4" name="Google Shape;4754;p53"/>
            <p:cNvSpPr/>
            <p:nvPr/>
          </p:nvSpPr>
          <p:spPr>
            <a:xfrm>
              <a:off x="2710857" y="1838219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39" y="1"/>
                  </a:moveTo>
                  <a:cubicBezTo>
                    <a:pt x="28" y="1"/>
                    <a:pt x="14" y="4"/>
                    <a:pt x="0" y="8"/>
                  </a:cubicBezTo>
                  <a:cubicBezTo>
                    <a:pt x="14" y="4"/>
                    <a:pt x="28" y="1"/>
                    <a:pt x="3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5" name="Google Shape;4755;p53"/>
            <p:cNvSpPr/>
            <p:nvPr/>
          </p:nvSpPr>
          <p:spPr>
            <a:xfrm>
              <a:off x="2712568" y="1838219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2" y="8"/>
                  </a:moveTo>
                  <a:cubicBezTo>
                    <a:pt x="28" y="4"/>
                    <a:pt x="14" y="1"/>
                    <a:pt x="0" y="1"/>
                  </a:cubicBezTo>
                  <a:cubicBezTo>
                    <a:pt x="14" y="1"/>
                    <a:pt x="28" y="4"/>
                    <a:pt x="42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6" name="Google Shape;4756;p53"/>
            <p:cNvSpPr/>
            <p:nvPr/>
          </p:nvSpPr>
          <p:spPr>
            <a:xfrm>
              <a:off x="2798745" y="1868022"/>
              <a:ext cx="52056" cy="110847"/>
            </a:xfrm>
            <a:custGeom>
              <a:avLst/>
              <a:gdLst/>
              <a:ahLst/>
              <a:cxnLst/>
              <a:rect l="l" t="t" r="r" b="b"/>
              <a:pathLst>
                <a:path w="3834" h="8164" extrusionOk="0">
                  <a:moveTo>
                    <a:pt x="1702" y="1"/>
                  </a:moveTo>
                  <a:cubicBezTo>
                    <a:pt x="1653" y="1"/>
                    <a:pt x="1488" y="106"/>
                    <a:pt x="1400" y="214"/>
                  </a:cubicBezTo>
                  <a:cubicBezTo>
                    <a:pt x="1390" y="232"/>
                    <a:pt x="1376" y="246"/>
                    <a:pt x="1369" y="263"/>
                  </a:cubicBezTo>
                  <a:cubicBezTo>
                    <a:pt x="1327" y="337"/>
                    <a:pt x="1278" y="356"/>
                    <a:pt x="1231" y="356"/>
                  </a:cubicBezTo>
                  <a:cubicBezTo>
                    <a:pt x="1200" y="356"/>
                    <a:pt x="1170" y="347"/>
                    <a:pt x="1145" y="340"/>
                  </a:cubicBezTo>
                  <a:cubicBezTo>
                    <a:pt x="1122" y="331"/>
                    <a:pt x="1098" y="327"/>
                    <a:pt x="1073" y="327"/>
                  </a:cubicBezTo>
                  <a:cubicBezTo>
                    <a:pt x="1040" y="327"/>
                    <a:pt x="1007" y="335"/>
                    <a:pt x="977" y="351"/>
                  </a:cubicBezTo>
                  <a:cubicBezTo>
                    <a:pt x="929" y="377"/>
                    <a:pt x="881" y="387"/>
                    <a:pt x="836" y="387"/>
                  </a:cubicBezTo>
                  <a:cubicBezTo>
                    <a:pt x="764" y="387"/>
                    <a:pt x="697" y="362"/>
                    <a:pt x="641" y="340"/>
                  </a:cubicBezTo>
                  <a:cubicBezTo>
                    <a:pt x="587" y="320"/>
                    <a:pt x="560" y="312"/>
                    <a:pt x="546" y="312"/>
                  </a:cubicBezTo>
                  <a:cubicBezTo>
                    <a:pt x="534" y="312"/>
                    <a:pt x="530" y="318"/>
                    <a:pt x="525" y="326"/>
                  </a:cubicBezTo>
                  <a:cubicBezTo>
                    <a:pt x="489" y="393"/>
                    <a:pt x="435" y="413"/>
                    <a:pt x="382" y="413"/>
                  </a:cubicBezTo>
                  <a:cubicBezTo>
                    <a:pt x="353" y="413"/>
                    <a:pt x="324" y="407"/>
                    <a:pt x="298" y="400"/>
                  </a:cubicBezTo>
                  <a:lnTo>
                    <a:pt x="270" y="393"/>
                  </a:lnTo>
                  <a:lnTo>
                    <a:pt x="245" y="386"/>
                  </a:lnTo>
                  <a:cubicBezTo>
                    <a:pt x="199" y="370"/>
                    <a:pt x="169" y="362"/>
                    <a:pt x="147" y="362"/>
                  </a:cubicBezTo>
                  <a:cubicBezTo>
                    <a:pt x="130" y="362"/>
                    <a:pt x="118" y="368"/>
                    <a:pt x="109" y="379"/>
                  </a:cubicBezTo>
                  <a:cubicBezTo>
                    <a:pt x="95" y="396"/>
                    <a:pt x="84" y="410"/>
                    <a:pt x="70" y="424"/>
                  </a:cubicBezTo>
                  <a:lnTo>
                    <a:pt x="53" y="438"/>
                  </a:lnTo>
                  <a:cubicBezTo>
                    <a:pt x="42" y="445"/>
                    <a:pt x="32" y="456"/>
                    <a:pt x="21" y="463"/>
                  </a:cubicBezTo>
                  <a:lnTo>
                    <a:pt x="11" y="470"/>
                  </a:lnTo>
                  <a:lnTo>
                    <a:pt x="0" y="473"/>
                  </a:lnTo>
                  <a:lnTo>
                    <a:pt x="18" y="491"/>
                  </a:lnTo>
                  <a:lnTo>
                    <a:pt x="35" y="512"/>
                  </a:lnTo>
                  <a:lnTo>
                    <a:pt x="49" y="529"/>
                  </a:lnTo>
                  <a:lnTo>
                    <a:pt x="67" y="550"/>
                  </a:lnTo>
                  <a:lnTo>
                    <a:pt x="77" y="564"/>
                  </a:lnTo>
                  <a:lnTo>
                    <a:pt x="95" y="585"/>
                  </a:lnTo>
                  <a:lnTo>
                    <a:pt x="105" y="599"/>
                  </a:lnTo>
                  <a:cubicBezTo>
                    <a:pt x="109" y="606"/>
                    <a:pt x="112" y="613"/>
                    <a:pt x="119" y="620"/>
                  </a:cubicBezTo>
                  <a:lnTo>
                    <a:pt x="126" y="634"/>
                  </a:lnTo>
                  <a:cubicBezTo>
                    <a:pt x="130" y="641"/>
                    <a:pt x="133" y="648"/>
                    <a:pt x="137" y="655"/>
                  </a:cubicBezTo>
                  <a:cubicBezTo>
                    <a:pt x="140" y="662"/>
                    <a:pt x="140" y="666"/>
                    <a:pt x="144" y="673"/>
                  </a:cubicBezTo>
                  <a:cubicBezTo>
                    <a:pt x="147" y="680"/>
                    <a:pt x="147" y="687"/>
                    <a:pt x="151" y="694"/>
                  </a:cubicBezTo>
                  <a:cubicBezTo>
                    <a:pt x="151" y="697"/>
                    <a:pt x="154" y="701"/>
                    <a:pt x="154" y="708"/>
                  </a:cubicBezTo>
                  <a:cubicBezTo>
                    <a:pt x="154" y="718"/>
                    <a:pt x="158" y="729"/>
                    <a:pt x="158" y="739"/>
                  </a:cubicBezTo>
                  <a:cubicBezTo>
                    <a:pt x="158" y="778"/>
                    <a:pt x="210" y="827"/>
                    <a:pt x="263" y="876"/>
                  </a:cubicBezTo>
                  <a:cubicBezTo>
                    <a:pt x="343" y="953"/>
                    <a:pt x="434" y="1037"/>
                    <a:pt x="434" y="1156"/>
                  </a:cubicBezTo>
                  <a:cubicBezTo>
                    <a:pt x="434" y="1201"/>
                    <a:pt x="487" y="1257"/>
                    <a:pt x="567" y="1299"/>
                  </a:cubicBezTo>
                  <a:cubicBezTo>
                    <a:pt x="634" y="1337"/>
                    <a:pt x="703" y="1353"/>
                    <a:pt x="746" y="1353"/>
                  </a:cubicBezTo>
                  <a:cubicBezTo>
                    <a:pt x="764" y="1353"/>
                    <a:pt x="777" y="1350"/>
                    <a:pt x="784" y="1345"/>
                  </a:cubicBezTo>
                  <a:cubicBezTo>
                    <a:pt x="848" y="1301"/>
                    <a:pt x="938" y="1267"/>
                    <a:pt x="1024" y="1267"/>
                  </a:cubicBezTo>
                  <a:cubicBezTo>
                    <a:pt x="1061" y="1267"/>
                    <a:pt x="1098" y="1274"/>
                    <a:pt x="1131" y="1289"/>
                  </a:cubicBezTo>
                  <a:cubicBezTo>
                    <a:pt x="1183" y="1313"/>
                    <a:pt x="1250" y="1366"/>
                    <a:pt x="1267" y="1492"/>
                  </a:cubicBezTo>
                  <a:cubicBezTo>
                    <a:pt x="1278" y="1569"/>
                    <a:pt x="1309" y="1642"/>
                    <a:pt x="1358" y="1702"/>
                  </a:cubicBezTo>
                  <a:cubicBezTo>
                    <a:pt x="1411" y="1762"/>
                    <a:pt x="1442" y="1839"/>
                    <a:pt x="1442" y="1919"/>
                  </a:cubicBezTo>
                  <a:cubicBezTo>
                    <a:pt x="1442" y="2063"/>
                    <a:pt x="1302" y="2087"/>
                    <a:pt x="1201" y="2105"/>
                  </a:cubicBezTo>
                  <a:cubicBezTo>
                    <a:pt x="1099" y="2122"/>
                    <a:pt x="1040" y="2136"/>
                    <a:pt x="1019" y="2185"/>
                  </a:cubicBezTo>
                  <a:cubicBezTo>
                    <a:pt x="1019" y="2189"/>
                    <a:pt x="1019" y="2192"/>
                    <a:pt x="1019" y="2196"/>
                  </a:cubicBezTo>
                  <a:cubicBezTo>
                    <a:pt x="1033" y="2245"/>
                    <a:pt x="1239" y="2364"/>
                    <a:pt x="1313" y="2406"/>
                  </a:cubicBezTo>
                  <a:cubicBezTo>
                    <a:pt x="1488" y="2507"/>
                    <a:pt x="1614" y="2581"/>
                    <a:pt x="1614" y="2679"/>
                  </a:cubicBezTo>
                  <a:cubicBezTo>
                    <a:pt x="1614" y="2738"/>
                    <a:pt x="1677" y="2822"/>
                    <a:pt x="1740" y="2903"/>
                  </a:cubicBezTo>
                  <a:cubicBezTo>
                    <a:pt x="1800" y="2976"/>
                    <a:pt x="1849" y="3057"/>
                    <a:pt x="1887" y="3141"/>
                  </a:cubicBezTo>
                  <a:cubicBezTo>
                    <a:pt x="1915" y="3207"/>
                    <a:pt x="1999" y="3295"/>
                    <a:pt x="2076" y="3379"/>
                  </a:cubicBezTo>
                  <a:cubicBezTo>
                    <a:pt x="2185" y="3491"/>
                    <a:pt x="2297" y="3606"/>
                    <a:pt x="2339" y="3732"/>
                  </a:cubicBezTo>
                  <a:cubicBezTo>
                    <a:pt x="2384" y="3859"/>
                    <a:pt x="2510" y="3936"/>
                    <a:pt x="2622" y="4013"/>
                  </a:cubicBezTo>
                  <a:cubicBezTo>
                    <a:pt x="2678" y="4044"/>
                    <a:pt x="2727" y="4083"/>
                    <a:pt x="2776" y="4125"/>
                  </a:cubicBezTo>
                  <a:cubicBezTo>
                    <a:pt x="2906" y="4254"/>
                    <a:pt x="2930" y="4534"/>
                    <a:pt x="2895" y="4737"/>
                  </a:cubicBezTo>
                  <a:cubicBezTo>
                    <a:pt x="2885" y="4804"/>
                    <a:pt x="2881" y="4874"/>
                    <a:pt x="2881" y="4944"/>
                  </a:cubicBezTo>
                  <a:cubicBezTo>
                    <a:pt x="2881" y="5003"/>
                    <a:pt x="2885" y="5063"/>
                    <a:pt x="2892" y="5122"/>
                  </a:cubicBezTo>
                  <a:lnTo>
                    <a:pt x="2892" y="5129"/>
                  </a:lnTo>
                  <a:cubicBezTo>
                    <a:pt x="2892" y="5140"/>
                    <a:pt x="2895" y="5150"/>
                    <a:pt x="2899" y="5161"/>
                  </a:cubicBezTo>
                  <a:cubicBezTo>
                    <a:pt x="2902" y="5196"/>
                    <a:pt x="2909" y="5227"/>
                    <a:pt x="2920" y="5262"/>
                  </a:cubicBezTo>
                  <a:cubicBezTo>
                    <a:pt x="2934" y="5318"/>
                    <a:pt x="2951" y="5374"/>
                    <a:pt x="2972" y="5430"/>
                  </a:cubicBezTo>
                  <a:lnTo>
                    <a:pt x="2972" y="5434"/>
                  </a:lnTo>
                  <a:cubicBezTo>
                    <a:pt x="2979" y="5448"/>
                    <a:pt x="2986" y="5462"/>
                    <a:pt x="2993" y="5476"/>
                  </a:cubicBezTo>
                  <a:lnTo>
                    <a:pt x="3000" y="5490"/>
                  </a:lnTo>
                  <a:cubicBezTo>
                    <a:pt x="3007" y="5500"/>
                    <a:pt x="3014" y="5514"/>
                    <a:pt x="3021" y="5525"/>
                  </a:cubicBezTo>
                  <a:lnTo>
                    <a:pt x="3028" y="5539"/>
                  </a:lnTo>
                  <a:cubicBezTo>
                    <a:pt x="3039" y="5556"/>
                    <a:pt x="3046" y="5570"/>
                    <a:pt x="3056" y="5588"/>
                  </a:cubicBezTo>
                  <a:cubicBezTo>
                    <a:pt x="3070" y="5602"/>
                    <a:pt x="3077" y="5619"/>
                    <a:pt x="3088" y="5637"/>
                  </a:cubicBezTo>
                  <a:cubicBezTo>
                    <a:pt x="3179" y="5819"/>
                    <a:pt x="3081" y="5956"/>
                    <a:pt x="2962" y="6057"/>
                  </a:cubicBezTo>
                  <a:lnTo>
                    <a:pt x="2948" y="6071"/>
                  </a:lnTo>
                  <a:cubicBezTo>
                    <a:pt x="2930" y="6082"/>
                    <a:pt x="2913" y="6096"/>
                    <a:pt x="2899" y="6110"/>
                  </a:cubicBezTo>
                  <a:cubicBezTo>
                    <a:pt x="2881" y="6120"/>
                    <a:pt x="2853" y="6141"/>
                    <a:pt x="2832" y="6155"/>
                  </a:cubicBezTo>
                  <a:cubicBezTo>
                    <a:pt x="2776" y="6190"/>
                    <a:pt x="2720" y="6236"/>
                    <a:pt x="2675" y="6285"/>
                  </a:cubicBezTo>
                  <a:cubicBezTo>
                    <a:pt x="2643" y="6327"/>
                    <a:pt x="2619" y="6372"/>
                    <a:pt x="2601" y="6418"/>
                  </a:cubicBezTo>
                  <a:cubicBezTo>
                    <a:pt x="2547" y="6545"/>
                    <a:pt x="2487" y="6645"/>
                    <a:pt x="2310" y="6645"/>
                  </a:cubicBezTo>
                  <a:cubicBezTo>
                    <a:pt x="2258" y="6645"/>
                    <a:pt x="2196" y="6636"/>
                    <a:pt x="2122" y="6617"/>
                  </a:cubicBezTo>
                  <a:cubicBezTo>
                    <a:pt x="2090" y="6610"/>
                    <a:pt x="2062" y="6607"/>
                    <a:pt x="2034" y="6603"/>
                  </a:cubicBezTo>
                  <a:lnTo>
                    <a:pt x="2034" y="6603"/>
                  </a:lnTo>
                  <a:cubicBezTo>
                    <a:pt x="2052" y="6656"/>
                    <a:pt x="2076" y="6705"/>
                    <a:pt x="2108" y="6754"/>
                  </a:cubicBezTo>
                  <a:cubicBezTo>
                    <a:pt x="2174" y="6873"/>
                    <a:pt x="2237" y="6985"/>
                    <a:pt x="2195" y="7069"/>
                  </a:cubicBezTo>
                  <a:cubicBezTo>
                    <a:pt x="2167" y="7126"/>
                    <a:pt x="2109" y="7145"/>
                    <a:pt x="2037" y="7145"/>
                  </a:cubicBezTo>
                  <a:cubicBezTo>
                    <a:pt x="1959" y="7145"/>
                    <a:pt x="1863" y="7122"/>
                    <a:pt x="1768" y="7100"/>
                  </a:cubicBezTo>
                  <a:cubicBezTo>
                    <a:pt x="1705" y="7083"/>
                    <a:pt x="1642" y="7072"/>
                    <a:pt x="1575" y="7065"/>
                  </a:cubicBezTo>
                  <a:cubicBezTo>
                    <a:pt x="1575" y="7069"/>
                    <a:pt x="1575" y="7072"/>
                    <a:pt x="1572" y="7076"/>
                  </a:cubicBezTo>
                  <a:lnTo>
                    <a:pt x="1572" y="7079"/>
                  </a:lnTo>
                  <a:lnTo>
                    <a:pt x="1572" y="7090"/>
                  </a:lnTo>
                  <a:lnTo>
                    <a:pt x="1568" y="7093"/>
                  </a:lnTo>
                  <a:lnTo>
                    <a:pt x="1565" y="7100"/>
                  </a:lnTo>
                  <a:lnTo>
                    <a:pt x="1561" y="7107"/>
                  </a:lnTo>
                  <a:lnTo>
                    <a:pt x="1558" y="7114"/>
                  </a:lnTo>
                  <a:lnTo>
                    <a:pt x="1554" y="7121"/>
                  </a:lnTo>
                  <a:lnTo>
                    <a:pt x="1547" y="7128"/>
                  </a:lnTo>
                  <a:lnTo>
                    <a:pt x="1544" y="7135"/>
                  </a:lnTo>
                  <a:lnTo>
                    <a:pt x="1537" y="7146"/>
                  </a:lnTo>
                  <a:lnTo>
                    <a:pt x="1530" y="7153"/>
                  </a:lnTo>
                  <a:lnTo>
                    <a:pt x="1523" y="7160"/>
                  </a:lnTo>
                  <a:lnTo>
                    <a:pt x="1516" y="7170"/>
                  </a:lnTo>
                  <a:lnTo>
                    <a:pt x="1505" y="7177"/>
                  </a:lnTo>
                  <a:lnTo>
                    <a:pt x="1495" y="7184"/>
                  </a:lnTo>
                  <a:lnTo>
                    <a:pt x="1481" y="7198"/>
                  </a:lnTo>
                  <a:lnTo>
                    <a:pt x="1467" y="7209"/>
                  </a:lnTo>
                  <a:lnTo>
                    <a:pt x="1449" y="7223"/>
                  </a:lnTo>
                  <a:lnTo>
                    <a:pt x="1439" y="7230"/>
                  </a:lnTo>
                  <a:lnTo>
                    <a:pt x="1421" y="7240"/>
                  </a:lnTo>
                  <a:lnTo>
                    <a:pt x="1407" y="7251"/>
                  </a:lnTo>
                  <a:lnTo>
                    <a:pt x="1390" y="7261"/>
                  </a:lnTo>
                  <a:lnTo>
                    <a:pt x="1372" y="7272"/>
                  </a:lnTo>
                  <a:lnTo>
                    <a:pt x="1355" y="7282"/>
                  </a:lnTo>
                  <a:lnTo>
                    <a:pt x="1337" y="7293"/>
                  </a:lnTo>
                  <a:lnTo>
                    <a:pt x="1316" y="7307"/>
                  </a:lnTo>
                  <a:lnTo>
                    <a:pt x="1295" y="7317"/>
                  </a:lnTo>
                  <a:lnTo>
                    <a:pt x="1288" y="7321"/>
                  </a:lnTo>
                  <a:cubicBezTo>
                    <a:pt x="1327" y="7352"/>
                    <a:pt x="1365" y="7377"/>
                    <a:pt x="1407" y="7401"/>
                  </a:cubicBezTo>
                  <a:lnTo>
                    <a:pt x="1456" y="7429"/>
                  </a:lnTo>
                  <a:cubicBezTo>
                    <a:pt x="1488" y="7450"/>
                    <a:pt x="1509" y="7478"/>
                    <a:pt x="1516" y="7513"/>
                  </a:cubicBezTo>
                  <a:cubicBezTo>
                    <a:pt x="1530" y="7576"/>
                    <a:pt x="1491" y="7632"/>
                    <a:pt x="1442" y="7695"/>
                  </a:cubicBezTo>
                  <a:cubicBezTo>
                    <a:pt x="1390" y="7769"/>
                    <a:pt x="1330" y="7853"/>
                    <a:pt x="1334" y="7962"/>
                  </a:cubicBezTo>
                  <a:cubicBezTo>
                    <a:pt x="1337" y="8081"/>
                    <a:pt x="1386" y="8147"/>
                    <a:pt x="1435" y="8161"/>
                  </a:cubicBezTo>
                  <a:cubicBezTo>
                    <a:pt x="1440" y="8163"/>
                    <a:pt x="1445" y="8164"/>
                    <a:pt x="1450" y="8164"/>
                  </a:cubicBezTo>
                  <a:cubicBezTo>
                    <a:pt x="1463" y="8164"/>
                    <a:pt x="1478" y="8157"/>
                    <a:pt x="1488" y="8144"/>
                  </a:cubicBezTo>
                  <a:cubicBezTo>
                    <a:pt x="1565" y="8032"/>
                    <a:pt x="1873" y="7786"/>
                    <a:pt x="2013" y="7741"/>
                  </a:cubicBezTo>
                  <a:cubicBezTo>
                    <a:pt x="2024" y="7737"/>
                    <a:pt x="2027" y="7734"/>
                    <a:pt x="2031" y="7681"/>
                  </a:cubicBezTo>
                  <a:cubicBezTo>
                    <a:pt x="2024" y="7636"/>
                    <a:pt x="2038" y="7590"/>
                    <a:pt x="2069" y="7555"/>
                  </a:cubicBezTo>
                  <a:cubicBezTo>
                    <a:pt x="2092" y="7538"/>
                    <a:pt x="2120" y="7526"/>
                    <a:pt x="2149" y="7526"/>
                  </a:cubicBezTo>
                  <a:cubicBezTo>
                    <a:pt x="2155" y="7526"/>
                    <a:pt x="2161" y="7526"/>
                    <a:pt x="2167" y="7527"/>
                  </a:cubicBezTo>
                  <a:cubicBezTo>
                    <a:pt x="2185" y="7527"/>
                    <a:pt x="2192" y="7524"/>
                    <a:pt x="2209" y="7422"/>
                  </a:cubicBezTo>
                  <a:cubicBezTo>
                    <a:pt x="2213" y="7370"/>
                    <a:pt x="2230" y="7317"/>
                    <a:pt x="2251" y="7268"/>
                  </a:cubicBezTo>
                  <a:cubicBezTo>
                    <a:pt x="2299" y="7183"/>
                    <a:pt x="2364" y="7164"/>
                    <a:pt x="2441" y="7164"/>
                  </a:cubicBezTo>
                  <a:cubicBezTo>
                    <a:pt x="2472" y="7164"/>
                    <a:pt x="2504" y="7167"/>
                    <a:pt x="2538" y="7170"/>
                  </a:cubicBezTo>
                  <a:cubicBezTo>
                    <a:pt x="2573" y="7174"/>
                    <a:pt x="2608" y="7177"/>
                    <a:pt x="2654" y="7177"/>
                  </a:cubicBezTo>
                  <a:lnTo>
                    <a:pt x="2661" y="7177"/>
                  </a:lnTo>
                  <a:cubicBezTo>
                    <a:pt x="2822" y="7177"/>
                    <a:pt x="3070" y="7020"/>
                    <a:pt x="3308" y="6866"/>
                  </a:cubicBezTo>
                  <a:lnTo>
                    <a:pt x="3357" y="6834"/>
                  </a:lnTo>
                  <a:cubicBezTo>
                    <a:pt x="3616" y="6666"/>
                    <a:pt x="3655" y="6642"/>
                    <a:pt x="3757" y="6148"/>
                  </a:cubicBezTo>
                  <a:cubicBezTo>
                    <a:pt x="3834" y="5787"/>
                    <a:pt x="3732" y="5364"/>
                    <a:pt x="3669" y="5112"/>
                  </a:cubicBezTo>
                  <a:cubicBezTo>
                    <a:pt x="3648" y="5038"/>
                    <a:pt x="3634" y="4965"/>
                    <a:pt x="3627" y="4891"/>
                  </a:cubicBezTo>
                  <a:cubicBezTo>
                    <a:pt x="3620" y="4751"/>
                    <a:pt x="3284" y="4135"/>
                    <a:pt x="3175" y="4097"/>
                  </a:cubicBezTo>
                  <a:cubicBezTo>
                    <a:pt x="3067" y="4097"/>
                    <a:pt x="2846" y="3922"/>
                    <a:pt x="2346" y="3431"/>
                  </a:cubicBezTo>
                  <a:cubicBezTo>
                    <a:pt x="2304" y="3386"/>
                    <a:pt x="2269" y="3354"/>
                    <a:pt x="2251" y="3337"/>
                  </a:cubicBezTo>
                  <a:cubicBezTo>
                    <a:pt x="2195" y="3281"/>
                    <a:pt x="2157" y="3211"/>
                    <a:pt x="2136" y="3134"/>
                  </a:cubicBezTo>
                  <a:cubicBezTo>
                    <a:pt x="2115" y="3050"/>
                    <a:pt x="2073" y="2976"/>
                    <a:pt x="2010" y="2917"/>
                  </a:cubicBezTo>
                  <a:cubicBezTo>
                    <a:pt x="1807" y="2749"/>
                    <a:pt x="1814" y="2332"/>
                    <a:pt x="1849" y="2115"/>
                  </a:cubicBezTo>
                  <a:cubicBezTo>
                    <a:pt x="1877" y="1954"/>
                    <a:pt x="2003" y="1863"/>
                    <a:pt x="2104" y="1790"/>
                  </a:cubicBezTo>
                  <a:cubicBezTo>
                    <a:pt x="2178" y="1737"/>
                    <a:pt x="2237" y="1695"/>
                    <a:pt x="2237" y="1649"/>
                  </a:cubicBezTo>
                  <a:cubicBezTo>
                    <a:pt x="2230" y="1509"/>
                    <a:pt x="2255" y="1408"/>
                    <a:pt x="2314" y="1341"/>
                  </a:cubicBezTo>
                  <a:cubicBezTo>
                    <a:pt x="2367" y="1289"/>
                    <a:pt x="2437" y="1257"/>
                    <a:pt x="2507" y="1257"/>
                  </a:cubicBezTo>
                  <a:cubicBezTo>
                    <a:pt x="2654" y="1250"/>
                    <a:pt x="2808" y="1128"/>
                    <a:pt x="2885" y="1005"/>
                  </a:cubicBezTo>
                  <a:lnTo>
                    <a:pt x="2892" y="995"/>
                  </a:lnTo>
                  <a:lnTo>
                    <a:pt x="2878" y="988"/>
                  </a:lnTo>
                  <a:lnTo>
                    <a:pt x="2874" y="981"/>
                  </a:lnTo>
                  <a:lnTo>
                    <a:pt x="2857" y="981"/>
                  </a:lnTo>
                  <a:cubicBezTo>
                    <a:pt x="2727" y="956"/>
                    <a:pt x="2426" y="767"/>
                    <a:pt x="2314" y="613"/>
                  </a:cubicBezTo>
                  <a:lnTo>
                    <a:pt x="2304" y="596"/>
                  </a:lnTo>
                  <a:lnTo>
                    <a:pt x="2304" y="592"/>
                  </a:lnTo>
                  <a:lnTo>
                    <a:pt x="2297" y="578"/>
                  </a:lnTo>
                  <a:lnTo>
                    <a:pt x="2293" y="571"/>
                  </a:lnTo>
                  <a:lnTo>
                    <a:pt x="2286" y="561"/>
                  </a:lnTo>
                  <a:cubicBezTo>
                    <a:pt x="2286" y="557"/>
                    <a:pt x="2286" y="554"/>
                    <a:pt x="2286" y="550"/>
                  </a:cubicBezTo>
                  <a:cubicBezTo>
                    <a:pt x="2283" y="550"/>
                    <a:pt x="2283" y="547"/>
                    <a:pt x="2283" y="543"/>
                  </a:cubicBezTo>
                  <a:cubicBezTo>
                    <a:pt x="2279" y="540"/>
                    <a:pt x="2283" y="536"/>
                    <a:pt x="2283" y="533"/>
                  </a:cubicBezTo>
                  <a:lnTo>
                    <a:pt x="2283" y="526"/>
                  </a:lnTo>
                  <a:cubicBezTo>
                    <a:pt x="2283" y="522"/>
                    <a:pt x="2283" y="515"/>
                    <a:pt x="2283" y="512"/>
                  </a:cubicBezTo>
                  <a:cubicBezTo>
                    <a:pt x="2286" y="470"/>
                    <a:pt x="2293" y="431"/>
                    <a:pt x="2311" y="393"/>
                  </a:cubicBezTo>
                  <a:cubicBezTo>
                    <a:pt x="2325" y="358"/>
                    <a:pt x="2342" y="316"/>
                    <a:pt x="2332" y="302"/>
                  </a:cubicBezTo>
                  <a:cubicBezTo>
                    <a:pt x="2332" y="295"/>
                    <a:pt x="2307" y="267"/>
                    <a:pt x="2188" y="253"/>
                  </a:cubicBezTo>
                  <a:cubicBezTo>
                    <a:pt x="1873" y="214"/>
                    <a:pt x="1782" y="102"/>
                    <a:pt x="1723" y="29"/>
                  </a:cubicBezTo>
                  <a:cubicBezTo>
                    <a:pt x="1716" y="18"/>
                    <a:pt x="1709" y="11"/>
                    <a:pt x="17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7" name="Google Shape;4757;p53"/>
            <p:cNvSpPr/>
            <p:nvPr/>
          </p:nvSpPr>
          <p:spPr>
            <a:xfrm>
              <a:off x="2799356" y="1936670"/>
              <a:ext cx="40800" cy="29477"/>
            </a:xfrm>
            <a:custGeom>
              <a:avLst/>
              <a:gdLst/>
              <a:ahLst/>
              <a:cxnLst/>
              <a:rect l="l" t="t" r="r" b="b"/>
              <a:pathLst>
                <a:path w="3005" h="2171" extrusionOk="0">
                  <a:moveTo>
                    <a:pt x="2207" y="1"/>
                  </a:moveTo>
                  <a:cubicBezTo>
                    <a:pt x="2164" y="1"/>
                    <a:pt x="2125" y="8"/>
                    <a:pt x="2101" y="24"/>
                  </a:cubicBezTo>
                  <a:cubicBezTo>
                    <a:pt x="2080" y="38"/>
                    <a:pt x="2070" y="59"/>
                    <a:pt x="2073" y="84"/>
                  </a:cubicBezTo>
                  <a:cubicBezTo>
                    <a:pt x="2077" y="182"/>
                    <a:pt x="2028" y="273"/>
                    <a:pt x="1940" y="322"/>
                  </a:cubicBezTo>
                  <a:cubicBezTo>
                    <a:pt x="1930" y="325"/>
                    <a:pt x="1919" y="329"/>
                    <a:pt x="1905" y="332"/>
                  </a:cubicBezTo>
                  <a:lnTo>
                    <a:pt x="1898" y="332"/>
                  </a:lnTo>
                  <a:cubicBezTo>
                    <a:pt x="1891" y="336"/>
                    <a:pt x="1884" y="336"/>
                    <a:pt x="1877" y="336"/>
                  </a:cubicBezTo>
                  <a:lnTo>
                    <a:pt x="1867" y="336"/>
                  </a:lnTo>
                  <a:cubicBezTo>
                    <a:pt x="1860" y="336"/>
                    <a:pt x="1849" y="332"/>
                    <a:pt x="1839" y="329"/>
                  </a:cubicBezTo>
                  <a:cubicBezTo>
                    <a:pt x="1828" y="325"/>
                    <a:pt x="1818" y="322"/>
                    <a:pt x="1811" y="315"/>
                  </a:cubicBezTo>
                  <a:cubicBezTo>
                    <a:pt x="1800" y="304"/>
                    <a:pt x="1790" y="290"/>
                    <a:pt x="1783" y="273"/>
                  </a:cubicBezTo>
                  <a:lnTo>
                    <a:pt x="1783" y="269"/>
                  </a:lnTo>
                  <a:cubicBezTo>
                    <a:pt x="1783" y="262"/>
                    <a:pt x="1779" y="255"/>
                    <a:pt x="1779" y="248"/>
                  </a:cubicBezTo>
                  <a:lnTo>
                    <a:pt x="1779" y="245"/>
                  </a:lnTo>
                  <a:cubicBezTo>
                    <a:pt x="1779" y="238"/>
                    <a:pt x="1779" y="227"/>
                    <a:pt x="1779" y="220"/>
                  </a:cubicBezTo>
                  <a:cubicBezTo>
                    <a:pt x="1762" y="213"/>
                    <a:pt x="1741" y="206"/>
                    <a:pt x="1720" y="199"/>
                  </a:cubicBezTo>
                  <a:cubicBezTo>
                    <a:pt x="1688" y="185"/>
                    <a:pt x="1657" y="175"/>
                    <a:pt x="1625" y="157"/>
                  </a:cubicBezTo>
                  <a:lnTo>
                    <a:pt x="1622" y="161"/>
                  </a:lnTo>
                  <a:lnTo>
                    <a:pt x="1593" y="140"/>
                  </a:lnTo>
                  <a:cubicBezTo>
                    <a:pt x="1579" y="133"/>
                    <a:pt x="1569" y="126"/>
                    <a:pt x="1555" y="115"/>
                  </a:cubicBezTo>
                  <a:lnTo>
                    <a:pt x="1513" y="87"/>
                  </a:lnTo>
                  <a:lnTo>
                    <a:pt x="1516" y="84"/>
                  </a:lnTo>
                  <a:cubicBezTo>
                    <a:pt x="1509" y="77"/>
                    <a:pt x="1502" y="66"/>
                    <a:pt x="1495" y="59"/>
                  </a:cubicBezTo>
                  <a:cubicBezTo>
                    <a:pt x="1476" y="36"/>
                    <a:pt x="1433" y="28"/>
                    <a:pt x="1380" y="28"/>
                  </a:cubicBezTo>
                  <a:cubicBezTo>
                    <a:pt x="1315" y="28"/>
                    <a:pt x="1235" y="39"/>
                    <a:pt x="1166" y="49"/>
                  </a:cubicBezTo>
                  <a:cubicBezTo>
                    <a:pt x="1107" y="59"/>
                    <a:pt x="1047" y="66"/>
                    <a:pt x="988" y="70"/>
                  </a:cubicBezTo>
                  <a:cubicBezTo>
                    <a:pt x="965" y="73"/>
                    <a:pt x="943" y="75"/>
                    <a:pt x="920" y="75"/>
                  </a:cubicBezTo>
                  <a:cubicBezTo>
                    <a:pt x="871" y="75"/>
                    <a:pt x="823" y="68"/>
                    <a:pt x="778" y="56"/>
                  </a:cubicBezTo>
                  <a:cubicBezTo>
                    <a:pt x="755" y="48"/>
                    <a:pt x="729" y="45"/>
                    <a:pt x="702" y="45"/>
                  </a:cubicBezTo>
                  <a:cubicBezTo>
                    <a:pt x="529" y="45"/>
                    <a:pt x="277" y="191"/>
                    <a:pt x="102" y="406"/>
                  </a:cubicBezTo>
                  <a:cubicBezTo>
                    <a:pt x="1" y="528"/>
                    <a:pt x="22" y="556"/>
                    <a:pt x="64" y="626"/>
                  </a:cubicBezTo>
                  <a:cubicBezTo>
                    <a:pt x="113" y="693"/>
                    <a:pt x="137" y="773"/>
                    <a:pt x="141" y="854"/>
                  </a:cubicBezTo>
                  <a:cubicBezTo>
                    <a:pt x="137" y="921"/>
                    <a:pt x="155" y="984"/>
                    <a:pt x="186" y="1040"/>
                  </a:cubicBezTo>
                  <a:lnTo>
                    <a:pt x="197" y="1061"/>
                  </a:lnTo>
                  <a:lnTo>
                    <a:pt x="200" y="1071"/>
                  </a:lnTo>
                  <a:lnTo>
                    <a:pt x="207" y="1085"/>
                  </a:lnTo>
                  <a:lnTo>
                    <a:pt x="211" y="1096"/>
                  </a:lnTo>
                  <a:cubicBezTo>
                    <a:pt x="211" y="1099"/>
                    <a:pt x="218" y="1106"/>
                    <a:pt x="218" y="1110"/>
                  </a:cubicBezTo>
                  <a:cubicBezTo>
                    <a:pt x="221" y="1117"/>
                    <a:pt x="218" y="1120"/>
                    <a:pt x="221" y="1124"/>
                  </a:cubicBezTo>
                  <a:cubicBezTo>
                    <a:pt x="225" y="1127"/>
                    <a:pt x="225" y="1134"/>
                    <a:pt x="225" y="1138"/>
                  </a:cubicBezTo>
                  <a:cubicBezTo>
                    <a:pt x="228" y="1145"/>
                    <a:pt x="225" y="1148"/>
                    <a:pt x="225" y="1152"/>
                  </a:cubicBezTo>
                  <a:lnTo>
                    <a:pt x="225" y="1169"/>
                  </a:lnTo>
                  <a:lnTo>
                    <a:pt x="225" y="1183"/>
                  </a:lnTo>
                  <a:lnTo>
                    <a:pt x="225" y="1204"/>
                  </a:lnTo>
                  <a:lnTo>
                    <a:pt x="225" y="1218"/>
                  </a:lnTo>
                  <a:cubicBezTo>
                    <a:pt x="225" y="1222"/>
                    <a:pt x="221" y="1232"/>
                    <a:pt x="221" y="1243"/>
                  </a:cubicBezTo>
                  <a:cubicBezTo>
                    <a:pt x="218" y="1250"/>
                    <a:pt x="221" y="1253"/>
                    <a:pt x="218" y="1257"/>
                  </a:cubicBezTo>
                  <a:lnTo>
                    <a:pt x="218" y="1260"/>
                  </a:lnTo>
                  <a:cubicBezTo>
                    <a:pt x="354" y="1355"/>
                    <a:pt x="351" y="1526"/>
                    <a:pt x="347" y="1656"/>
                  </a:cubicBezTo>
                  <a:cubicBezTo>
                    <a:pt x="347" y="1694"/>
                    <a:pt x="347" y="1736"/>
                    <a:pt x="351" y="1775"/>
                  </a:cubicBezTo>
                  <a:cubicBezTo>
                    <a:pt x="354" y="1796"/>
                    <a:pt x="361" y="1799"/>
                    <a:pt x="361" y="1803"/>
                  </a:cubicBezTo>
                  <a:cubicBezTo>
                    <a:pt x="370" y="1808"/>
                    <a:pt x="383" y="1810"/>
                    <a:pt x="399" y="1810"/>
                  </a:cubicBezTo>
                  <a:cubicBezTo>
                    <a:pt x="436" y="1810"/>
                    <a:pt x="486" y="1800"/>
                    <a:pt x="522" y="1792"/>
                  </a:cubicBezTo>
                  <a:cubicBezTo>
                    <a:pt x="554" y="1785"/>
                    <a:pt x="589" y="1782"/>
                    <a:pt x="620" y="1778"/>
                  </a:cubicBezTo>
                  <a:cubicBezTo>
                    <a:pt x="626" y="1777"/>
                    <a:pt x="632" y="1776"/>
                    <a:pt x="638" y="1776"/>
                  </a:cubicBezTo>
                  <a:cubicBezTo>
                    <a:pt x="667" y="1776"/>
                    <a:pt x="694" y="1790"/>
                    <a:pt x="711" y="1810"/>
                  </a:cubicBezTo>
                  <a:cubicBezTo>
                    <a:pt x="743" y="1855"/>
                    <a:pt x="725" y="1904"/>
                    <a:pt x="711" y="1953"/>
                  </a:cubicBezTo>
                  <a:cubicBezTo>
                    <a:pt x="690" y="2013"/>
                    <a:pt x="676" y="2062"/>
                    <a:pt x="701" y="2090"/>
                  </a:cubicBezTo>
                  <a:cubicBezTo>
                    <a:pt x="711" y="2100"/>
                    <a:pt x="727" y="2104"/>
                    <a:pt x="746" y="2104"/>
                  </a:cubicBezTo>
                  <a:cubicBezTo>
                    <a:pt x="780" y="2104"/>
                    <a:pt x="825" y="2092"/>
                    <a:pt x="865" y="2083"/>
                  </a:cubicBezTo>
                  <a:cubicBezTo>
                    <a:pt x="911" y="2069"/>
                    <a:pt x="956" y="2062"/>
                    <a:pt x="1005" y="2058"/>
                  </a:cubicBezTo>
                  <a:cubicBezTo>
                    <a:pt x="1008" y="2058"/>
                    <a:pt x="1011" y="2058"/>
                    <a:pt x="1014" y="2058"/>
                  </a:cubicBezTo>
                  <a:cubicBezTo>
                    <a:pt x="1073" y="2058"/>
                    <a:pt x="1126" y="2092"/>
                    <a:pt x="1149" y="2146"/>
                  </a:cubicBezTo>
                  <a:cubicBezTo>
                    <a:pt x="1152" y="2156"/>
                    <a:pt x="1156" y="2163"/>
                    <a:pt x="1159" y="2170"/>
                  </a:cubicBezTo>
                  <a:lnTo>
                    <a:pt x="1170" y="2167"/>
                  </a:lnTo>
                  <a:lnTo>
                    <a:pt x="1201" y="2149"/>
                  </a:lnTo>
                  <a:lnTo>
                    <a:pt x="1219" y="2139"/>
                  </a:lnTo>
                  <a:lnTo>
                    <a:pt x="1240" y="2128"/>
                  </a:lnTo>
                  <a:lnTo>
                    <a:pt x="1254" y="2118"/>
                  </a:lnTo>
                  <a:lnTo>
                    <a:pt x="1271" y="2107"/>
                  </a:lnTo>
                  <a:lnTo>
                    <a:pt x="1285" y="2100"/>
                  </a:lnTo>
                  <a:lnTo>
                    <a:pt x="1299" y="2090"/>
                  </a:lnTo>
                  <a:lnTo>
                    <a:pt x="1310" y="2083"/>
                  </a:lnTo>
                  <a:lnTo>
                    <a:pt x="1324" y="2076"/>
                  </a:lnTo>
                  <a:lnTo>
                    <a:pt x="1334" y="2069"/>
                  </a:lnTo>
                  <a:lnTo>
                    <a:pt x="1345" y="2058"/>
                  </a:lnTo>
                  <a:lnTo>
                    <a:pt x="1352" y="2051"/>
                  </a:lnTo>
                  <a:lnTo>
                    <a:pt x="1362" y="2044"/>
                  </a:lnTo>
                  <a:lnTo>
                    <a:pt x="1369" y="2041"/>
                  </a:lnTo>
                  <a:lnTo>
                    <a:pt x="1376" y="2034"/>
                  </a:lnTo>
                  <a:lnTo>
                    <a:pt x="1380" y="2030"/>
                  </a:lnTo>
                  <a:lnTo>
                    <a:pt x="1387" y="2023"/>
                  </a:lnTo>
                  <a:lnTo>
                    <a:pt x="1390" y="2020"/>
                  </a:lnTo>
                  <a:lnTo>
                    <a:pt x="1397" y="2013"/>
                  </a:lnTo>
                  <a:lnTo>
                    <a:pt x="1401" y="2006"/>
                  </a:lnTo>
                  <a:lnTo>
                    <a:pt x="1404" y="2002"/>
                  </a:lnTo>
                  <a:lnTo>
                    <a:pt x="1404" y="1999"/>
                  </a:lnTo>
                  <a:lnTo>
                    <a:pt x="1404" y="1995"/>
                  </a:lnTo>
                  <a:cubicBezTo>
                    <a:pt x="1404" y="1967"/>
                    <a:pt x="1418" y="1939"/>
                    <a:pt x="1439" y="1922"/>
                  </a:cubicBezTo>
                  <a:cubicBezTo>
                    <a:pt x="1464" y="1903"/>
                    <a:pt x="1496" y="1895"/>
                    <a:pt x="1536" y="1895"/>
                  </a:cubicBezTo>
                  <a:cubicBezTo>
                    <a:pt x="1591" y="1895"/>
                    <a:pt x="1663" y="1910"/>
                    <a:pt x="1758" y="1932"/>
                  </a:cubicBezTo>
                  <a:cubicBezTo>
                    <a:pt x="1821" y="1946"/>
                    <a:pt x="1936" y="1975"/>
                    <a:pt x="1998" y="1975"/>
                  </a:cubicBezTo>
                  <a:cubicBezTo>
                    <a:pt x="2015" y="1975"/>
                    <a:pt x="2028" y="1973"/>
                    <a:pt x="2035" y="1967"/>
                  </a:cubicBezTo>
                  <a:cubicBezTo>
                    <a:pt x="2042" y="1939"/>
                    <a:pt x="1982" y="1834"/>
                    <a:pt x="1947" y="1778"/>
                  </a:cubicBezTo>
                  <a:cubicBezTo>
                    <a:pt x="1881" y="1656"/>
                    <a:pt x="1821" y="1554"/>
                    <a:pt x="1877" y="1481"/>
                  </a:cubicBezTo>
                  <a:cubicBezTo>
                    <a:pt x="1904" y="1445"/>
                    <a:pt x="1946" y="1433"/>
                    <a:pt x="1992" y="1433"/>
                  </a:cubicBezTo>
                  <a:cubicBezTo>
                    <a:pt x="2030" y="1433"/>
                    <a:pt x="2071" y="1441"/>
                    <a:pt x="2108" y="1449"/>
                  </a:cubicBezTo>
                  <a:cubicBezTo>
                    <a:pt x="2175" y="1466"/>
                    <a:pt x="2226" y="1474"/>
                    <a:pt x="2265" y="1474"/>
                  </a:cubicBezTo>
                  <a:cubicBezTo>
                    <a:pt x="2372" y="1474"/>
                    <a:pt x="2395" y="1416"/>
                    <a:pt x="2434" y="1327"/>
                  </a:cubicBezTo>
                  <a:cubicBezTo>
                    <a:pt x="2458" y="1267"/>
                    <a:pt x="2486" y="1211"/>
                    <a:pt x="2525" y="1162"/>
                  </a:cubicBezTo>
                  <a:cubicBezTo>
                    <a:pt x="2581" y="1103"/>
                    <a:pt x="2644" y="1050"/>
                    <a:pt x="2710" y="1005"/>
                  </a:cubicBezTo>
                  <a:cubicBezTo>
                    <a:pt x="2917" y="854"/>
                    <a:pt x="3004" y="770"/>
                    <a:pt x="2903" y="616"/>
                  </a:cubicBezTo>
                  <a:cubicBezTo>
                    <a:pt x="2885" y="591"/>
                    <a:pt x="2871" y="563"/>
                    <a:pt x="2857" y="539"/>
                  </a:cubicBezTo>
                  <a:cubicBezTo>
                    <a:pt x="2770" y="378"/>
                    <a:pt x="2717" y="196"/>
                    <a:pt x="2707" y="14"/>
                  </a:cubicBezTo>
                  <a:lnTo>
                    <a:pt x="2703" y="14"/>
                  </a:lnTo>
                  <a:cubicBezTo>
                    <a:pt x="2686" y="14"/>
                    <a:pt x="2672" y="17"/>
                    <a:pt x="2658" y="24"/>
                  </a:cubicBezTo>
                  <a:cubicBezTo>
                    <a:pt x="2644" y="28"/>
                    <a:pt x="2630" y="31"/>
                    <a:pt x="2616" y="35"/>
                  </a:cubicBezTo>
                  <a:lnTo>
                    <a:pt x="2605" y="38"/>
                  </a:lnTo>
                  <a:cubicBezTo>
                    <a:pt x="2591" y="42"/>
                    <a:pt x="2577" y="45"/>
                    <a:pt x="2563" y="45"/>
                  </a:cubicBezTo>
                  <a:lnTo>
                    <a:pt x="2556" y="45"/>
                  </a:lnTo>
                  <a:cubicBezTo>
                    <a:pt x="2546" y="45"/>
                    <a:pt x="2532" y="49"/>
                    <a:pt x="2521" y="49"/>
                  </a:cubicBezTo>
                  <a:lnTo>
                    <a:pt x="2465" y="49"/>
                  </a:lnTo>
                  <a:cubicBezTo>
                    <a:pt x="2455" y="49"/>
                    <a:pt x="2444" y="49"/>
                    <a:pt x="2434" y="45"/>
                  </a:cubicBezTo>
                  <a:lnTo>
                    <a:pt x="2427" y="45"/>
                  </a:lnTo>
                  <a:cubicBezTo>
                    <a:pt x="2416" y="45"/>
                    <a:pt x="2406" y="42"/>
                    <a:pt x="2395" y="38"/>
                  </a:cubicBezTo>
                  <a:lnTo>
                    <a:pt x="2388" y="38"/>
                  </a:lnTo>
                  <a:cubicBezTo>
                    <a:pt x="2378" y="35"/>
                    <a:pt x="2367" y="31"/>
                    <a:pt x="2357" y="28"/>
                  </a:cubicBezTo>
                  <a:cubicBezTo>
                    <a:pt x="2313" y="11"/>
                    <a:pt x="2258" y="1"/>
                    <a:pt x="22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8" name="Google Shape;4758;p53"/>
            <p:cNvSpPr/>
            <p:nvPr/>
          </p:nvSpPr>
          <p:spPr>
            <a:xfrm>
              <a:off x="2816708" y="1965033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9" name="Google Shape;4759;p53"/>
            <p:cNvSpPr/>
            <p:nvPr/>
          </p:nvSpPr>
          <p:spPr>
            <a:xfrm>
              <a:off x="2815798" y="1965563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0" name="Google Shape;4760;p53"/>
            <p:cNvSpPr/>
            <p:nvPr/>
          </p:nvSpPr>
          <p:spPr>
            <a:xfrm>
              <a:off x="2817033" y="1964802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1" name="Google Shape;4761;p53"/>
            <p:cNvSpPr/>
            <p:nvPr/>
          </p:nvSpPr>
          <p:spPr>
            <a:xfrm>
              <a:off x="2815133" y="1965848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2" name="Google Shape;4762;p53"/>
            <p:cNvSpPr/>
            <p:nvPr/>
          </p:nvSpPr>
          <p:spPr>
            <a:xfrm>
              <a:off x="2816273" y="1965277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3" name="Google Shape;4763;p53"/>
            <p:cNvSpPr/>
            <p:nvPr/>
          </p:nvSpPr>
          <p:spPr>
            <a:xfrm>
              <a:off x="2818364" y="1963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4" name="Google Shape;4764;p53"/>
            <p:cNvSpPr/>
            <p:nvPr/>
          </p:nvSpPr>
          <p:spPr>
            <a:xfrm>
              <a:off x="2838147" y="1943839"/>
              <a:ext cx="625" cy="1059"/>
            </a:xfrm>
            <a:custGeom>
              <a:avLst/>
              <a:gdLst/>
              <a:ahLst/>
              <a:cxnLst/>
              <a:rect l="l" t="t" r="r" b="b"/>
              <a:pathLst>
                <a:path w="46" h="78" extrusionOk="0">
                  <a:moveTo>
                    <a:pt x="0" y="0"/>
                  </a:moveTo>
                  <a:cubicBezTo>
                    <a:pt x="14" y="28"/>
                    <a:pt x="28" y="53"/>
                    <a:pt x="46" y="77"/>
                  </a:cubicBezTo>
                  <a:cubicBezTo>
                    <a:pt x="28" y="53"/>
                    <a:pt x="14" y="2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5" name="Google Shape;4765;p53"/>
            <p:cNvSpPr/>
            <p:nvPr/>
          </p:nvSpPr>
          <p:spPr>
            <a:xfrm>
              <a:off x="2818364" y="196370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6" name="Google Shape;4766;p53"/>
            <p:cNvSpPr/>
            <p:nvPr/>
          </p:nvSpPr>
          <p:spPr>
            <a:xfrm>
              <a:off x="2818364" y="1963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7" name="Google Shape;4767;p53"/>
            <p:cNvSpPr/>
            <p:nvPr/>
          </p:nvSpPr>
          <p:spPr>
            <a:xfrm>
              <a:off x="2836096" y="1936710"/>
              <a:ext cx="2064" cy="7142"/>
            </a:xfrm>
            <a:custGeom>
              <a:avLst/>
              <a:gdLst/>
              <a:ahLst/>
              <a:cxnLst/>
              <a:rect l="l" t="t" r="r" b="b"/>
              <a:pathLst>
                <a:path w="152" h="526" extrusionOk="0">
                  <a:moveTo>
                    <a:pt x="1" y="0"/>
                  </a:moveTo>
                  <a:lnTo>
                    <a:pt x="1" y="0"/>
                  </a:lnTo>
                  <a:cubicBezTo>
                    <a:pt x="11" y="186"/>
                    <a:pt x="64" y="364"/>
                    <a:pt x="151" y="525"/>
                  </a:cubicBezTo>
                  <a:cubicBezTo>
                    <a:pt x="64" y="364"/>
                    <a:pt x="11" y="186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8" name="Google Shape;4768;p53"/>
            <p:cNvSpPr/>
            <p:nvPr/>
          </p:nvSpPr>
          <p:spPr>
            <a:xfrm>
              <a:off x="2817373" y="196461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9" name="Google Shape;4769;p53"/>
            <p:cNvSpPr/>
            <p:nvPr/>
          </p:nvSpPr>
          <p:spPr>
            <a:xfrm>
              <a:off x="2818364" y="1962616"/>
              <a:ext cx="543" cy="1005"/>
            </a:xfrm>
            <a:custGeom>
              <a:avLst/>
              <a:gdLst/>
              <a:ahLst/>
              <a:cxnLst/>
              <a:rect l="l" t="t" r="r" b="b"/>
              <a:pathLst>
                <a:path w="40" h="74" extrusionOk="0">
                  <a:moveTo>
                    <a:pt x="1" y="74"/>
                  </a:moveTo>
                  <a:cubicBezTo>
                    <a:pt x="4" y="46"/>
                    <a:pt x="15" y="18"/>
                    <a:pt x="39" y="0"/>
                  </a:cubicBezTo>
                  <a:cubicBezTo>
                    <a:pt x="15" y="18"/>
                    <a:pt x="4" y="46"/>
                    <a:pt x="1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0" name="Google Shape;4770;p53"/>
            <p:cNvSpPr/>
            <p:nvPr/>
          </p:nvSpPr>
          <p:spPr>
            <a:xfrm>
              <a:off x="2818133" y="196394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1" name="Google Shape;4771;p53"/>
            <p:cNvSpPr/>
            <p:nvPr/>
          </p:nvSpPr>
          <p:spPr>
            <a:xfrm>
              <a:off x="2817848" y="196427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2" name="Google Shape;4772;p53"/>
            <p:cNvSpPr/>
            <p:nvPr/>
          </p:nvSpPr>
          <p:spPr>
            <a:xfrm>
              <a:off x="2817604" y="196442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3" name="Google Shape;4773;p53"/>
            <p:cNvSpPr/>
            <p:nvPr/>
          </p:nvSpPr>
          <p:spPr>
            <a:xfrm>
              <a:off x="2817984" y="196408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4" name="Google Shape;4774;p53"/>
            <p:cNvSpPr/>
            <p:nvPr/>
          </p:nvSpPr>
          <p:spPr>
            <a:xfrm>
              <a:off x="2818228" y="196385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5" name="Google Shape;4775;p53"/>
            <p:cNvSpPr/>
            <p:nvPr/>
          </p:nvSpPr>
          <p:spPr>
            <a:xfrm>
              <a:off x="2818323" y="196375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6" name="Google Shape;4776;p53"/>
            <p:cNvSpPr/>
            <p:nvPr/>
          </p:nvSpPr>
          <p:spPr>
            <a:xfrm>
              <a:off x="2784244" y="1875299"/>
              <a:ext cx="52436" cy="63936"/>
            </a:xfrm>
            <a:custGeom>
              <a:avLst/>
              <a:gdLst/>
              <a:ahLst/>
              <a:cxnLst/>
              <a:rect l="l" t="t" r="r" b="b"/>
              <a:pathLst>
                <a:path w="3862" h="4709" extrusionOk="0">
                  <a:moveTo>
                    <a:pt x="732" y="0"/>
                  </a:moveTo>
                  <a:cubicBezTo>
                    <a:pt x="708" y="46"/>
                    <a:pt x="690" y="140"/>
                    <a:pt x="708" y="165"/>
                  </a:cubicBezTo>
                  <a:cubicBezTo>
                    <a:pt x="771" y="231"/>
                    <a:pt x="844" y="518"/>
                    <a:pt x="774" y="644"/>
                  </a:cubicBezTo>
                  <a:cubicBezTo>
                    <a:pt x="753" y="683"/>
                    <a:pt x="711" y="711"/>
                    <a:pt x="669" y="711"/>
                  </a:cubicBezTo>
                  <a:lnTo>
                    <a:pt x="638" y="711"/>
                  </a:lnTo>
                  <a:lnTo>
                    <a:pt x="620" y="707"/>
                  </a:lnTo>
                  <a:cubicBezTo>
                    <a:pt x="501" y="679"/>
                    <a:pt x="448" y="585"/>
                    <a:pt x="410" y="515"/>
                  </a:cubicBezTo>
                  <a:cubicBezTo>
                    <a:pt x="399" y="497"/>
                    <a:pt x="389" y="480"/>
                    <a:pt x="375" y="462"/>
                  </a:cubicBezTo>
                  <a:lnTo>
                    <a:pt x="371" y="469"/>
                  </a:lnTo>
                  <a:lnTo>
                    <a:pt x="357" y="487"/>
                  </a:lnTo>
                  <a:lnTo>
                    <a:pt x="347" y="497"/>
                  </a:lnTo>
                  <a:lnTo>
                    <a:pt x="336" y="515"/>
                  </a:lnTo>
                  <a:lnTo>
                    <a:pt x="326" y="525"/>
                  </a:lnTo>
                  <a:lnTo>
                    <a:pt x="315" y="543"/>
                  </a:lnTo>
                  <a:lnTo>
                    <a:pt x="305" y="553"/>
                  </a:lnTo>
                  <a:lnTo>
                    <a:pt x="291" y="571"/>
                  </a:lnTo>
                  <a:lnTo>
                    <a:pt x="284" y="581"/>
                  </a:lnTo>
                  <a:lnTo>
                    <a:pt x="270" y="599"/>
                  </a:lnTo>
                  <a:lnTo>
                    <a:pt x="263" y="609"/>
                  </a:lnTo>
                  <a:lnTo>
                    <a:pt x="252" y="627"/>
                  </a:lnTo>
                  <a:lnTo>
                    <a:pt x="242" y="637"/>
                  </a:lnTo>
                  <a:lnTo>
                    <a:pt x="231" y="655"/>
                  </a:lnTo>
                  <a:lnTo>
                    <a:pt x="224" y="665"/>
                  </a:lnTo>
                  <a:lnTo>
                    <a:pt x="214" y="679"/>
                  </a:lnTo>
                  <a:lnTo>
                    <a:pt x="207" y="693"/>
                  </a:lnTo>
                  <a:lnTo>
                    <a:pt x="200" y="704"/>
                  </a:lnTo>
                  <a:lnTo>
                    <a:pt x="193" y="718"/>
                  </a:lnTo>
                  <a:lnTo>
                    <a:pt x="186" y="728"/>
                  </a:lnTo>
                  <a:lnTo>
                    <a:pt x="179" y="742"/>
                  </a:lnTo>
                  <a:lnTo>
                    <a:pt x="172" y="753"/>
                  </a:lnTo>
                  <a:lnTo>
                    <a:pt x="165" y="763"/>
                  </a:lnTo>
                  <a:lnTo>
                    <a:pt x="161" y="774"/>
                  </a:lnTo>
                  <a:lnTo>
                    <a:pt x="154" y="784"/>
                  </a:lnTo>
                  <a:lnTo>
                    <a:pt x="151" y="795"/>
                  </a:lnTo>
                  <a:lnTo>
                    <a:pt x="147" y="805"/>
                  </a:lnTo>
                  <a:lnTo>
                    <a:pt x="144" y="812"/>
                  </a:lnTo>
                  <a:cubicBezTo>
                    <a:pt x="144" y="816"/>
                    <a:pt x="144" y="819"/>
                    <a:pt x="144" y="823"/>
                  </a:cubicBezTo>
                  <a:lnTo>
                    <a:pt x="144" y="826"/>
                  </a:lnTo>
                  <a:cubicBezTo>
                    <a:pt x="144" y="830"/>
                    <a:pt x="144" y="833"/>
                    <a:pt x="144" y="840"/>
                  </a:cubicBezTo>
                  <a:cubicBezTo>
                    <a:pt x="144" y="851"/>
                    <a:pt x="140" y="865"/>
                    <a:pt x="137" y="875"/>
                  </a:cubicBezTo>
                  <a:cubicBezTo>
                    <a:pt x="137" y="879"/>
                    <a:pt x="137" y="882"/>
                    <a:pt x="133" y="886"/>
                  </a:cubicBezTo>
                  <a:cubicBezTo>
                    <a:pt x="133" y="893"/>
                    <a:pt x="130" y="900"/>
                    <a:pt x="126" y="907"/>
                  </a:cubicBezTo>
                  <a:lnTo>
                    <a:pt x="119" y="921"/>
                  </a:lnTo>
                  <a:cubicBezTo>
                    <a:pt x="116" y="924"/>
                    <a:pt x="112" y="931"/>
                    <a:pt x="109" y="938"/>
                  </a:cubicBezTo>
                  <a:lnTo>
                    <a:pt x="102" y="945"/>
                  </a:lnTo>
                  <a:cubicBezTo>
                    <a:pt x="95" y="952"/>
                    <a:pt x="91" y="956"/>
                    <a:pt x="84" y="963"/>
                  </a:cubicBezTo>
                  <a:lnTo>
                    <a:pt x="77" y="970"/>
                  </a:lnTo>
                  <a:cubicBezTo>
                    <a:pt x="56" y="987"/>
                    <a:pt x="28" y="1005"/>
                    <a:pt x="0" y="1015"/>
                  </a:cubicBezTo>
                  <a:lnTo>
                    <a:pt x="7" y="1019"/>
                  </a:lnTo>
                  <a:lnTo>
                    <a:pt x="11" y="1026"/>
                  </a:lnTo>
                  <a:lnTo>
                    <a:pt x="18" y="1033"/>
                  </a:lnTo>
                  <a:lnTo>
                    <a:pt x="25" y="1040"/>
                  </a:lnTo>
                  <a:lnTo>
                    <a:pt x="32" y="1047"/>
                  </a:lnTo>
                  <a:lnTo>
                    <a:pt x="35" y="1054"/>
                  </a:lnTo>
                  <a:lnTo>
                    <a:pt x="39" y="1057"/>
                  </a:lnTo>
                  <a:lnTo>
                    <a:pt x="49" y="1068"/>
                  </a:lnTo>
                  <a:cubicBezTo>
                    <a:pt x="81" y="1117"/>
                    <a:pt x="77" y="1184"/>
                    <a:pt x="74" y="1257"/>
                  </a:cubicBezTo>
                  <a:cubicBezTo>
                    <a:pt x="63" y="1338"/>
                    <a:pt x="74" y="1422"/>
                    <a:pt x="98" y="1499"/>
                  </a:cubicBezTo>
                  <a:cubicBezTo>
                    <a:pt x="105" y="1509"/>
                    <a:pt x="108" y="1516"/>
                    <a:pt x="128" y="1516"/>
                  </a:cubicBezTo>
                  <a:cubicBezTo>
                    <a:pt x="140" y="1516"/>
                    <a:pt x="160" y="1513"/>
                    <a:pt x="193" y="1506"/>
                  </a:cubicBezTo>
                  <a:cubicBezTo>
                    <a:pt x="220" y="1501"/>
                    <a:pt x="253" y="1495"/>
                    <a:pt x="287" y="1495"/>
                  </a:cubicBezTo>
                  <a:cubicBezTo>
                    <a:pt x="360" y="1495"/>
                    <a:pt x="438" y="1522"/>
                    <a:pt x="476" y="1646"/>
                  </a:cubicBezTo>
                  <a:cubicBezTo>
                    <a:pt x="522" y="1803"/>
                    <a:pt x="494" y="1915"/>
                    <a:pt x="466" y="2024"/>
                  </a:cubicBezTo>
                  <a:cubicBezTo>
                    <a:pt x="445" y="2097"/>
                    <a:pt x="434" y="2171"/>
                    <a:pt x="431" y="2248"/>
                  </a:cubicBezTo>
                  <a:cubicBezTo>
                    <a:pt x="434" y="2342"/>
                    <a:pt x="399" y="2433"/>
                    <a:pt x="333" y="2503"/>
                  </a:cubicBezTo>
                  <a:cubicBezTo>
                    <a:pt x="294" y="2552"/>
                    <a:pt x="273" y="2577"/>
                    <a:pt x="291" y="2654"/>
                  </a:cubicBezTo>
                  <a:cubicBezTo>
                    <a:pt x="291" y="2664"/>
                    <a:pt x="294" y="2675"/>
                    <a:pt x="301" y="2682"/>
                  </a:cubicBezTo>
                  <a:cubicBezTo>
                    <a:pt x="303" y="2683"/>
                    <a:pt x="306" y="2683"/>
                    <a:pt x="308" y="2683"/>
                  </a:cubicBezTo>
                  <a:cubicBezTo>
                    <a:pt x="356" y="2683"/>
                    <a:pt x="505" y="2567"/>
                    <a:pt x="578" y="2507"/>
                  </a:cubicBezTo>
                  <a:cubicBezTo>
                    <a:pt x="609" y="2479"/>
                    <a:pt x="645" y="2451"/>
                    <a:pt x="676" y="2430"/>
                  </a:cubicBezTo>
                  <a:cubicBezTo>
                    <a:pt x="795" y="2340"/>
                    <a:pt x="892" y="2315"/>
                    <a:pt x="960" y="2315"/>
                  </a:cubicBezTo>
                  <a:cubicBezTo>
                    <a:pt x="974" y="2315"/>
                    <a:pt x="987" y="2316"/>
                    <a:pt x="998" y="2318"/>
                  </a:cubicBezTo>
                  <a:cubicBezTo>
                    <a:pt x="1065" y="2328"/>
                    <a:pt x="1124" y="2363"/>
                    <a:pt x="1166" y="2419"/>
                  </a:cubicBezTo>
                  <a:cubicBezTo>
                    <a:pt x="1182" y="2430"/>
                    <a:pt x="1203" y="2436"/>
                    <a:pt x="1222" y="2436"/>
                  </a:cubicBezTo>
                  <a:cubicBezTo>
                    <a:pt x="1230" y="2436"/>
                    <a:pt x="1237" y="2435"/>
                    <a:pt x="1243" y="2433"/>
                  </a:cubicBezTo>
                  <a:cubicBezTo>
                    <a:pt x="1313" y="2423"/>
                    <a:pt x="1383" y="2381"/>
                    <a:pt x="1401" y="2339"/>
                  </a:cubicBezTo>
                  <a:cubicBezTo>
                    <a:pt x="1443" y="2237"/>
                    <a:pt x="1583" y="2206"/>
                    <a:pt x="1642" y="2195"/>
                  </a:cubicBezTo>
                  <a:cubicBezTo>
                    <a:pt x="1670" y="2191"/>
                    <a:pt x="1701" y="2189"/>
                    <a:pt x="1732" y="2189"/>
                  </a:cubicBezTo>
                  <a:cubicBezTo>
                    <a:pt x="1839" y="2189"/>
                    <a:pt x="1957" y="2216"/>
                    <a:pt x="2027" y="2297"/>
                  </a:cubicBezTo>
                  <a:lnTo>
                    <a:pt x="2083" y="2367"/>
                  </a:lnTo>
                  <a:cubicBezTo>
                    <a:pt x="2178" y="2486"/>
                    <a:pt x="2279" y="2608"/>
                    <a:pt x="2405" y="2682"/>
                  </a:cubicBezTo>
                  <a:cubicBezTo>
                    <a:pt x="2531" y="2752"/>
                    <a:pt x="2493" y="2927"/>
                    <a:pt x="2458" y="3098"/>
                  </a:cubicBezTo>
                  <a:cubicBezTo>
                    <a:pt x="2444" y="3172"/>
                    <a:pt x="2419" y="3305"/>
                    <a:pt x="2437" y="3330"/>
                  </a:cubicBezTo>
                  <a:cubicBezTo>
                    <a:pt x="2626" y="3382"/>
                    <a:pt x="2885" y="3662"/>
                    <a:pt x="2857" y="3981"/>
                  </a:cubicBezTo>
                  <a:cubicBezTo>
                    <a:pt x="2854" y="4051"/>
                    <a:pt x="2861" y="4121"/>
                    <a:pt x="2871" y="4187"/>
                  </a:cubicBezTo>
                  <a:cubicBezTo>
                    <a:pt x="2871" y="4201"/>
                    <a:pt x="2875" y="4215"/>
                    <a:pt x="2878" y="4229"/>
                  </a:cubicBezTo>
                  <a:lnTo>
                    <a:pt x="2878" y="4236"/>
                  </a:lnTo>
                  <a:cubicBezTo>
                    <a:pt x="2878" y="4250"/>
                    <a:pt x="2882" y="4264"/>
                    <a:pt x="2882" y="4278"/>
                  </a:cubicBezTo>
                  <a:lnTo>
                    <a:pt x="2882" y="4285"/>
                  </a:lnTo>
                  <a:cubicBezTo>
                    <a:pt x="2882" y="4299"/>
                    <a:pt x="2885" y="4313"/>
                    <a:pt x="2885" y="4327"/>
                  </a:cubicBezTo>
                  <a:lnTo>
                    <a:pt x="2885" y="4334"/>
                  </a:lnTo>
                  <a:lnTo>
                    <a:pt x="2885" y="4376"/>
                  </a:lnTo>
                  <a:lnTo>
                    <a:pt x="2885" y="4380"/>
                  </a:lnTo>
                  <a:cubicBezTo>
                    <a:pt x="2885" y="4394"/>
                    <a:pt x="2882" y="4408"/>
                    <a:pt x="2882" y="4425"/>
                  </a:cubicBezTo>
                  <a:lnTo>
                    <a:pt x="2882" y="4432"/>
                  </a:lnTo>
                  <a:cubicBezTo>
                    <a:pt x="2878" y="4446"/>
                    <a:pt x="2875" y="4460"/>
                    <a:pt x="2871" y="4474"/>
                  </a:cubicBezTo>
                  <a:lnTo>
                    <a:pt x="2868" y="4485"/>
                  </a:lnTo>
                  <a:cubicBezTo>
                    <a:pt x="2864" y="4499"/>
                    <a:pt x="2857" y="4513"/>
                    <a:pt x="2850" y="4527"/>
                  </a:cubicBezTo>
                  <a:lnTo>
                    <a:pt x="2850" y="4530"/>
                  </a:lnTo>
                  <a:cubicBezTo>
                    <a:pt x="2843" y="4544"/>
                    <a:pt x="2836" y="4558"/>
                    <a:pt x="2826" y="4576"/>
                  </a:cubicBezTo>
                  <a:lnTo>
                    <a:pt x="2826" y="4579"/>
                  </a:lnTo>
                  <a:cubicBezTo>
                    <a:pt x="2843" y="4586"/>
                    <a:pt x="2861" y="4593"/>
                    <a:pt x="2882" y="4600"/>
                  </a:cubicBezTo>
                  <a:cubicBezTo>
                    <a:pt x="2924" y="4614"/>
                    <a:pt x="2962" y="4635"/>
                    <a:pt x="2997" y="4667"/>
                  </a:cubicBezTo>
                  <a:cubicBezTo>
                    <a:pt x="3011" y="4677"/>
                    <a:pt x="3018" y="4695"/>
                    <a:pt x="3025" y="4709"/>
                  </a:cubicBezTo>
                  <a:lnTo>
                    <a:pt x="3029" y="4702"/>
                  </a:lnTo>
                  <a:cubicBezTo>
                    <a:pt x="3043" y="4684"/>
                    <a:pt x="3050" y="4663"/>
                    <a:pt x="3053" y="4646"/>
                  </a:cubicBezTo>
                  <a:cubicBezTo>
                    <a:pt x="3057" y="4632"/>
                    <a:pt x="3057" y="4621"/>
                    <a:pt x="3057" y="4611"/>
                  </a:cubicBezTo>
                  <a:cubicBezTo>
                    <a:pt x="3053" y="4544"/>
                    <a:pt x="3088" y="4478"/>
                    <a:pt x="3144" y="4443"/>
                  </a:cubicBezTo>
                  <a:cubicBezTo>
                    <a:pt x="3194" y="4409"/>
                    <a:pt x="3259" y="4397"/>
                    <a:pt x="3323" y="4397"/>
                  </a:cubicBezTo>
                  <a:cubicBezTo>
                    <a:pt x="3399" y="4397"/>
                    <a:pt x="3473" y="4413"/>
                    <a:pt x="3522" y="4432"/>
                  </a:cubicBezTo>
                  <a:cubicBezTo>
                    <a:pt x="3529" y="4436"/>
                    <a:pt x="3540" y="4439"/>
                    <a:pt x="3547" y="4443"/>
                  </a:cubicBezTo>
                  <a:lnTo>
                    <a:pt x="3557" y="4443"/>
                  </a:lnTo>
                  <a:cubicBezTo>
                    <a:pt x="3564" y="4443"/>
                    <a:pt x="3571" y="4443"/>
                    <a:pt x="3582" y="4446"/>
                  </a:cubicBezTo>
                  <a:lnTo>
                    <a:pt x="3655" y="4446"/>
                  </a:lnTo>
                  <a:lnTo>
                    <a:pt x="3673" y="4443"/>
                  </a:lnTo>
                  <a:lnTo>
                    <a:pt x="3701" y="4436"/>
                  </a:lnTo>
                  <a:lnTo>
                    <a:pt x="3718" y="4432"/>
                  </a:lnTo>
                  <a:lnTo>
                    <a:pt x="3743" y="4425"/>
                  </a:lnTo>
                  <a:lnTo>
                    <a:pt x="3764" y="4415"/>
                  </a:lnTo>
                  <a:lnTo>
                    <a:pt x="3788" y="4404"/>
                  </a:lnTo>
                  <a:lnTo>
                    <a:pt x="3809" y="4390"/>
                  </a:lnTo>
                  <a:lnTo>
                    <a:pt x="3820" y="4383"/>
                  </a:lnTo>
                  <a:cubicBezTo>
                    <a:pt x="3820" y="4334"/>
                    <a:pt x="3823" y="4282"/>
                    <a:pt x="3830" y="4233"/>
                  </a:cubicBezTo>
                  <a:lnTo>
                    <a:pt x="3830" y="4226"/>
                  </a:lnTo>
                  <a:cubicBezTo>
                    <a:pt x="3830" y="4212"/>
                    <a:pt x="3834" y="4198"/>
                    <a:pt x="3837" y="4187"/>
                  </a:cubicBezTo>
                  <a:cubicBezTo>
                    <a:pt x="3862" y="4047"/>
                    <a:pt x="3851" y="3904"/>
                    <a:pt x="3802" y="3774"/>
                  </a:cubicBezTo>
                  <a:cubicBezTo>
                    <a:pt x="3792" y="3743"/>
                    <a:pt x="3774" y="3715"/>
                    <a:pt x="3750" y="3690"/>
                  </a:cubicBezTo>
                  <a:cubicBezTo>
                    <a:pt x="3711" y="3652"/>
                    <a:pt x="3666" y="3620"/>
                    <a:pt x="3620" y="3596"/>
                  </a:cubicBezTo>
                  <a:cubicBezTo>
                    <a:pt x="3494" y="3512"/>
                    <a:pt x="3337" y="3410"/>
                    <a:pt x="3284" y="3249"/>
                  </a:cubicBezTo>
                  <a:cubicBezTo>
                    <a:pt x="3249" y="3151"/>
                    <a:pt x="3148" y="3046"/>
                    <a:pt x="3050" y="2941"/>
                  </a:cubicBezTo>
                  <a:cubicBezTo>
                    <a:pt x="2952" y="2839"/>
                    <a:pt x="2871" y="2752"/>
                    <a:pt x="2833" y="2661"/>
                  </a:cubicBezTo>
                  <a:cubicBezTo>
                    <a:pt x="2798" y="2587"/>
                    <a:pt x="2752" y="2517"/>
                    <a:pt x="2699" y="2454"/>
                  </a:cubicBezTo>
                  <a:cubicBezTo>
                    <a:pt x="2626" y="2353"/>
                    <a:pt x="2552" y="2255"/>
                    <a:pt x="2549" y="2157"/>
                  </a:cubicBezTo>
                  <a:cubicBezTo>
                    <a:pt x="2535" y="2118"/>
                    <a:pt x="2395" y="2038"/>
                    <a:pt x="2314" y="1992"/>
                  </a:cubicBezTo>
                  <a:cubicBezTo>
                    <a:pt x="2115" y="1877"/>
                    <a:pt x="1908" y="1758"/>
                    <a:pt x="1968" y="1607"/>
                  </a:cubicBezTo>
                  <a:cubicBezTo>
                    <a:pt x="2013" y="1488"/>
                    <a:pt x="2143" y="1467"/>
                    <a:pt x="2244" y="1450"/>
                  </a:cubicBezTo>
                  <a:cubicBezTo>
                    <a:pt x="2346" y="1429"/>
                    <a:pt x="2377" y="1418"/>
                    <a:pt x="2377" y="1390"/>
                  </a:cubicBezTo>
                  <a:cubicBezTo>
                    <a:pt x="2377" y="1338"/>
                    <a:pt x="2356" y="1289"/>
                    <a:pt x="2321" y="1254"/>
                  </a:cubicBezTo>
                  <a:cubicBezTo>
                    <a:pt x="2255" y="1177"/>
                    <a:pt x="2216" y="1082"/>
                    <a:pt x="2206" y="984"/>
                  </a:cubicBezTo>
                  <a:cubicBezTo>
                    <a:pt x="2192" y="903"/>
                    <a:pt x="2157" y="886"/>
                    <a:pt x="2143" y="882"/>
                  </a:cubicBezTo>
                  <a:cubicBezTo>
                    <a:pt x="2127" y="875"/>
                    <a:pt x="2108" y="871"/>
                    <a:pt x="2088" y="871"/>
                  </a:cubicBezTo>
                  <a:cubicBezTo>
                    <a:pt x="2035" y="871"/>
                    <a:pt x="1971" y="894"/>
                    <a:pt x="1926" y="924"/>
                  </a:cubicBezTo>
                  <a:cubicBezTo>
                    <a:pt x="1894" y="946"/>
                    <a:pt x="1854" y="955"/>
                    <a:pt x="1810" y="955"/>
                  </a:cubicBezTo>
                  <a:cubicBezTo>
                    <a:pt x="1733" y="955"/>
                    <a:pt x="1644" y="926"/>
                    <a:pt x="1572" y="886"/>
                  </a:cubicBezTo>
                  <a:cubicBezTo>
                    <a:pt x="1446" y="819"/>
                    <a:pt x="1373" y="725"/>
                    <a:pt x="1373" y="627"/>
                  </a:cubicBezTo>
                  <a:cubicBezTo>
                    <a:pt x="1373" y="564"/>
                    <a:pt x="1306" y="504"/>
                    <a:pt x="1240" y="445"/>
                  </a:cubicBezTo>
                  <a:cubicBezTo>
                    <a:pt x="1170" y="375"/>
                    <a:pt x="1093" y="305"/>
                    <a:pt x="1093" y="210"/>
                  </a:cubicBezTo>
                  <a:cubicBezTo>
                    <a:pt x="1093" y="168"/>
                    <a:pt x="1012" y="77"/>
                    <a:pt x="946" y="4"/>
                  </a:cubicBezTo>
                  <a:lnTo>
                    <a:pt x="921" y="11"/>
                  </a:lnTo>
                  <a:lnTo>
                    <a:pt x="918" y="7"/>
                  </a:lnTo>
                  <a:cubicBezTo>
                    <a:pt x="904" y="11"/>
                    <a:pt x="890" y="14"/>
                    <a:pt x="876" y="14"/>
                  </a:cubicBezTo>
                  <a:lnTo>
                    <a:pt x="872" y="14"/>
                  </a:lnTo>
                  <a:cubicBezTo>
                    <a:pt x="858" y="18"/>
                    <a:pt x="848" y="18"/>
                    <a:pt x="837" y="21"/>
                  </a:cubicBezTo>
                  <a:lnTo>
                    <a:pt x="830" y="21"/>
                  </a:lnTo>
                  <a:cubicBezTo>
                    <a:pt x="813" y="21"/>
                    <a:pt x="792" y="18"/>
                    <a:pt x="774" y="14"/>
                  </a:cubicBezTo>
                  <a:lnTo>
                    <a:pt x="771" y="14"/>
                  </a:lnTo>
                  <a:cubicBezTo>
                    <a:pt x="764" y="14"/>
                    <a:pt x="757" y="11"/>
                    <a:pt x="750" y="11"/>
                  </a:cubicBezTo>
                  <a:lnTo>
                    <a:pt x="736" y="4"/>
                  </a:lnTo>
                  <a:lnTo>
                    <a:pt x="7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7" name="Google Shape;4777;p53"/>
            <p:cNvSpPr/>
            <p:nvPr/>
          </p:nvSpPr>
          <p:spPr>
            <a:xfrm>
              <a:off x="2786525" y="188546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8" name="Google Shape;4778;p53"/>
            <p:cNvSpPr/>
            <p:nvPr/>
          </p:nvSpPr>
          <p:spPr>
            <a:xfrm>
              <a:off x="2788086" y="188299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9" name="Google Shape;4779;p53"/>
            <p:cNvSpPr/>
            <p:nvPr/>
          </p:nvSpPr>
          <p:spPr>
            <a:xfrm>
              <a:off x="2785615" y="188798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0" name="Google Shape;4780;p53"/>
            <p:cNvSpPr/>
            <p:nvPr/>
          </p:nvSpPr>
          <p:spPr>
            <a:xfrm>
              <a:off x="2788996" y="188185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1" name="Google Shape;4781;p53"/>
            <p:cNvSpPr/>
            <p:nvPr/>
          </p:nvSpPr>
          <p:spPr>
            <a:xfrm>
              <a:off x="2788371" y="188261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2" name="Google Shape;4782;p53"/>
            <p:cNvSpPr/>
            <p:nvPr/>
          </p:nvSpPr>
          <p:spPr>
            <a:xfrm>
              <a:off x="2786185" y="1886514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cubicBezTo>
                    <a:pt x="1" y="4"/>
                    <a:pt x="1" y="7"/>
                    <a:pt x="1" y="11"/>
                  </a:cubicBezTo>
                  <a:cubicBezTo>
                    <a:pt x="1" y="7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3" name="Google Shape;4783;p53"/>
            <p:cNvSpPr/>
            <p:nvPr/>
          </p:nvSpPr>
          <p:spPr>
            <a:xfrm>
              <a:off x="2786376" y="1885795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4" name="Google Shape;4784;p53"/>
            <p:cNvSpPr/>
            <p:nvPr/>
          </p:nvSpPr>
          <p:spPr>
            <a:xfrm>
              <a:off x="2786280" y="1886039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5" name="Google Shape;4785;p53"/>
            <p:cNvSpPr/>
            <p:nvPr/>
          </p:nvSpPr>
          <p:spPr>
            <a:xfrm>
              <a:off x="2787801" y="188337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6" name="Google Shape;4786;p53"/>
            <p:cNvSpPr/>
            <p:nvPr/>
          </p:nvSpPr>
          <p:spPr>
            <a:xfrm>
              <a:off x="2788657" y="1882237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7" name="Google Shape;4787;p53"/>
            <p:cNvSpPr/>
            <p:nvPr/>
          </p:nvSpPr>
          <p:spPr>
            <a:xfrm>
              <a:off x="2786185" y="188627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cubicBezTo>
                    <a:pt x="1" y="4"/>
                    <a:pt x="1" y="8"/>
                    <a:pt x="1" y="11"/>
                  </a:cubicBezTo>
                  <a:cubicBezTo>
                    <a:pt x="4" y="8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8" name="Google Shape;4788;p53"/>
            <p:cNvSpPr/>
            <p:nvPr/>
          </p:nvSpPr>
          <p:spPr>
            <a:xfrm>
              <a:off x="2785289" y="188832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9" name="Google Shape;4789;p53"/>
            <p:cNvSpPr/>
            <p:nvPr/>
          </p:nvSpPr>
          <p:spPr>
            <a:xfrm>
              <a:off x="2786050" y="188718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cubicBezTo>
                    <a:pt x="4" y="4"/>
                    <a:pt x="0" y="7"/>
                    <a:pt x="0" y="11"/>
                  </a:cubicBezTo>
                  <a:cubicBezTo>
                    <a:pt x="0" y="7"/>
                    <a:pt x="4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0" name="Google Shape;4790;p53"/>
            <p:cNvSpPr/>
            <p:nvPr/>
          </p:nvSpPr>
          <p:spPr>
            <a:xfrm>
              <a:off x="2785860" y="188760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1" name="Google Shape;4791;p53"/>
            <p:cNvSpPr/>
            <p:nvPr/>
          </p:nvSpPr>
          <p:spPr>
            <a:xfrm>
              <a:off x="2787570" y="188375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2" name="Google Shape;4792;p53"/>
            <p:cNvSpPr/>
            <p:nvPr/>
          </p:nvSpPr>
          <p:spPr>
            <a:xfrm>
              <a:off x="2789281" y="188157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3" name="Google Shape;4793;p53"/>
            <p:cNvSpPr/>
            <p:nvPr/>
          </p:nvSpPr>
          <p:spPr>
            <a:xfrm>
              <a:off x="2787285" y="188413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4" name="Google Shape;4794;p53"/>
            <p:cNvSpPr/>
            <p:nvPr/>
          </p:nvSpPr>
          <p:spPr>
            <a:xfrm>
              <a:off x="2787041" y="1884464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5" name="Google Shape;4795;p53"/>
            <p:cNvSpPr/>
            <p:nvPr/>
          </p:nvSpPr>
          <p:spPr>
            <a:xfrm>
              <a:off x="2786851" y="188484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6" name="Google Shape;4796;p53"/>
            <p:cNvSpPr/>
            <p:nvPr/>
          </p:nvSpPr>
          <p:spPr>
            <a:xfrm>
              <a:off x="2786715" y="1885184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7" name="Google Shape;4797;p53"/>
            <p:cNvSpPr/>
            <p:nvPr/>
          </p:nvSpPr>
          <p:spPr>
            <a:xfrm>
              <a:off x="2836191" y="1932053"/>
              <a:ext cx="109" cy="530"/>
            </a:xfrm>
            <a:custGeom>
              <a:avLst/>
              <a:gdLst/>
              <a:ahLst/>
              <a:cxnLst/>
              <a:rect l="l" t="t" r="r" b="b"/>
              <a:pathLst>
                <a:path w="8" h="39" extrusionOk="0">
                  <a:moveTo>
                    <a:pt x="8" y="0"/>
                  </a:moveTo>
                  <a:cubicBezTo>
                    <a:pt x="4" y="11"/>
                    <a:pt x="1" y="25"/>
                    <a:pt x="1" y="39"/>
                  </a:cubicBezTo>
                  <a:cubicBezTo>
                    <a:pt x="1" y="25"/>
                    <a:pt x="8" y="11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8" name="Google Shape;4798;p53"/>
            <p:cNvSpPr/>
            <p:nvPr/>
          </p:nvSpPr>
          <p:spPr>
            <a:xfrm>
              <a:off x="2836056" y="1932664"/>
              <a:ext cx="149" cy="2064"/>
            </a:xfrm>
            <a:custGeom>
              <a:avLst/>
              <a:gdLst/>
              <a:ahLst/>
              <a:cxnLst/>
              <a:rect l="l" t="t" r="r" b="b"/>
              <a:pathLst>
                <a:path w="11" h="152" extrusionOk="0">
                  <a:moveTo>
                    <a:pt x="11" y="1"/>
                  </a:moveTo>
                  <a:cubicBezTo>
                    <a:pt x="4" y="46"/>
                    <a:pt x="0" y="99"/>
                    <a:pt x="0" y="151"/>
                  </a:cubicBezTo>
                  <a:cubicBezTo>
                    <a:pt x="0" y="102"/>
                    <a:pt x="4" y="50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9" name="Google Shape;4799;p53"/>
            <p:cNvSpPr/>
            <p:nvPr/>
          </p:nvSpPr>
          <p:spPr>
            <a:xfrm>
              <a:off x="2797075" y="18752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0" name="Google Shape;4800;p53"/>
            <p:cNvSpPr/>
            <p:nvPr/>
          </p:nvSpPr>
          <p:spPr>
            <a:xfrm>
              <a:off x="2825316" y="1938231"/>
              <a:ext cx="339" cy="815"/>
            </a:xfrm>
            <a:custGeom>
              <a:avLst/>
              <a:gdLst/>
              <a:ahLst/>
              <a:cxnLst/>
              <a:rect l="l" t="t" r="r" b="b"/>
              <a:pathLst>
                <a:path w="25" h="60" extrusionOk="0">
                  <a:moveTo>
                    <a:pt x="25" y="0"/>
                  </a:moveTo>
                  <a:cubicBezTo>
                    <a:pt x="21" y="21"/>
                    <a:pt x="14" y="42"/>
                    <a:pt x="0" y="60"/>
                  </a:cubicBezTo>
                  <a:cubicBezTo>
                    <a:pt x="14" y="42"/>
                    <a:pt x="21" y="2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1" name="Google Shape;4801;p53"/>
            <p:cNvSpPr/>
            <p:nvPr/>
          </p:nvSpPr>
          <p:spPr>
            <a:xfrm>
              <a:off x="2832009" y="1935380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25" y="11"/>
                  </a:moveTo>
                  <a:cubicBezTo>
                    <a:pt x="15" y="7"/>
                    <a:pt x="8" y="4"/>
                    <a:pt x="1" y="0"/>
                  </a:cubicBezTo>
                  <a:cubicBezTo>
                    <a:pt x="8" y="4"/>
                    <a:pt x="15" y="7"/>
                    <a:pt x="2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2" name="Google Shape;4802;p53"/>
            <p:cNvSpPr/>
            <p:nvPr/>
          </p:nvSpPr>
          <p:spPr>
            <a:xfrm>
              <a:off x="2832960" y="1935570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3" name="Google Shape;4803;p53"/>
            <p:cNvSpPr/>
            <p:nvPr/>
          </p:nvSpPr>
          <p:spPr>
            <a:xfrm>
              <a:off x="2824881" y="1938516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1" y="0"/>
                  </a:moveTo>
                  <a:cubicBezTo>
                    <a:pt x="15" y="14"/>
                    <a:pt x="22" y="28"/>
                    <a:pt x="29" y="46"/>
                  </a:cubicBezTo>
                  <a:lnTo>
                    <a:pt x="29" y="46"/>
                  </a:lnTo>
                  <a:cubicBezTo>
                    <a:pt x="22" y="28"/>
                    <a:pt x="15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4" name="Google Shape;4804;p53"/>
            <p:cNvSpPr/>
            <p:nvPr/>
          </p:nvSpPr>
          <p:spPr>
            <a:xfrm>
              <a:off x="2835865" y="193471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5" name="Google Shape;4805;p53"/>
            <p:cNvSpPr/>
            <p:nvPr/>
          </p:nvSpPr>
          <p:spPr>
            <a:xfrm>
              <a:off x="2833489" y="1935570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6" name="Google Shape;4806;p53"/>
            <p:cNvSpPr/>
            <p:nvPr/>
          </p:nvSpPr>
          <p:spPr>
            <a:xfrm>
              <a:off x="2832444" y="193551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cubicBezTo>
                    <a:pt x="7" y="1"/>
                    <a:pt x="18" y="4"/>
                    <a:pt x="25" y="4"/>
                  </a:cubicBezTo>
                  <a:cubicBezTo>
                    <a:pt x="18" y="4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7" name="Google Shape;4807;p53"/>
            <p:cNvSpPr/>
            <p:nvPr/>
          </p:nvSpPr>
          <p:spPr>
            <a:xfrm>
              <a:off x="2834671" y="1935230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25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8" name="Google Shape;4808;p53"/>
            <p:cNvSpPr/>
            <p:nvPr/>
          </p:nvSpPr>
          <p:spPr>
            <a:xfrm>
              <a:off x="2834060" y="1935421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9" name="Google Shape;4809;p53"/>
            <p:cNvSpPr/>
            <p:nvPr/>
          </p:nvSpPr>
          <p:spPr>
            <a:xfrm>
              <a:off x="2835241" y="1934945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0" name="Google Shape;4810;p53"/>
            <p:cNvSpPr/>
            <p:nvPr/>
          </p:nvSpPr>
          <p:spPr>
            <a:xfrm>
              <a:off x="2836056" y="19347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1" name="Google Shape;4811;p53"/>
            <p:cNvSpPr/>
            <p:nvPr/>
          </p:nvSpPr>
          <p:spPr>
            <a:xfrm>
              <a:off x="2764461" y="1889977"/>
              <a:ext cx="57148" cy="110439"/>
            </a:xfrm>
            <a:custGeom>
              <a:avLst/>
              <a:gdLst/>
              <a:ahLst/>
              <a:cxnLst/>
              <a:rect l="l" t="t" r="r" b="b"/>
              <a:pathLst>
                <a:path w="4209" h="8134" extrusionOk="0">
                  <a:moveTo>
                    <a:pt x="1335" y="1"/>
                  </a:moveTo>
                  <a:cubicBezTo>
                    <a:pt x="1324" y="8"/>
                    <a:pt x="1317" y="15"/>
                    <a:pt x="1314" y="25"/>
                  </a:cubicBezTo>
                  <a:cubicBezTo>
                    <a:pt x="1286" y="92"/>
                    <a:pt x="1205" y="127"/>
                    <a:pt x="1107" y="162"/>
                  </a:cubicBezTo>
                  <a:lnTo>
                    <a:pt x="1062" y="180"/>
                  </a:lnTo>
                  <a:cubicBezTo>
                    <a:pt x="967" y="211"/>
                    <a:pt x="845" y="253"/>
                    <a:pt x="813" y="313"/>
                  </a:cubicBezTo>
                  <a:cubicBezTo>
                    <a:pt x="723" y="471"/>
                    <a:pt x="500" y="477"/>
                    <a:pt x="390" y="477"/>
                  </a:cubicBezTo>
                  <a:cubicBezTo>
                    <a:pt x="381" y="477"/>
                    <a:pt x="372" y="477"/>
                    <a:pt x="365" y="477"/>
                  </a:cubicBezTo>
                  <a:lnTo>
                    <a:pt x="344" y="477"/>
                  </a:lnTo>
                  <a:cubicBezTo>
                    <a:pt x="341" y="477"/>
                    <a:pt x="124" y="481"/>
                    <a:pt x="106" y="593"/>
                  </a:cubicBezTo>
                  <a:lnTo>
                    <a:pt x="103" y="631"/>
                  </a:lnTo>
                  <a:cubicBezTo>
                    <a:pt x="78" y="810"/>
                    <a:pt x="1" y="1352"/>
                    <a:pt x="1" y="1447"/>
                  </a:cubicBezTo>
                  <a:cubicBezTo>
                    <a:pt x="4" y="1524"/>
                    <a:pt x="278" y="1846"/>
                    <a:pt x="369" y="1881"/>
                  </a:cubicBezTo>
                  <a:cubicBezTo>
                    <a:pt x="463" y="1919"/>
                    <a:pt x="460" y="2024"/>
                    <a:pt x="456" y="2112"/>
                  </a:cubicBezTo>
                  <a:cubicBezTo>
                    <a:pt x="453" y="2186"/>
                    <a:pt x="453" y="2238"/>
                    <a:pt x="481" y="2252"/>
                  </a:cubicBezTo>
                  <a:cubicBezTo>
                    <a:pt x="589" y="2305"/>
                    <a:pt x="607" y="2434"/>
                    <a:pt x="565" y="2532"/>
                  </a:cubicBezTo>
                  <a:cubicBezTo>
                    <a:pt x="551" y="2574"/>
                    <a:pt x="516" y="2613"/>
                    <a:pt x="474" y="2630"/>
                  </a:cubicBezTo>
                  <a:lnTo>
                    <a:pt x="474" y="2665"/>
                  </a:lnTo>
                  <a:cubicBezTo>
                    <a:pt x="481" y="2770"/>
                    <a:pt x="488" y="2924"/>
                    <a:pt x="386" y="3008"/>
                  </a:cubicBezTo>
                  <a:cubicBezTo>
                    <a:pt x="365" y="3029"/>
                    <a:pt x="351" y="3061"/>
                    <a:pt x="355" y="3089"/>
                  </a:cubicBezTo>
                  <a:cubicBezTo>
                    <a:pt x="355" y="3204"/>
                    <a:pt x="446" y="3369"/>
                    <a:pt x="582" y="3491"/>
                  </a:cubicBezTo>
                  <a:cubicBezTo>
                    <a:pt x="820" y="3705"/>
                    <a:pt x="820" y="4034"/>
                    <a:pt x="820" y="4212"/>
                  </a:cubicBezTo>
                  <a:cubicBezTo>
                    <a:pt x="824" y="4265"/>
                    <a:pt x="848" y="4314"/>
                    <a:pt x="887" y="4349"/>
                  </a:cubicBezTo>
                  <a:cubicBezTo>
                    <a:pt x="953" y="4423"/>
                    <a:pt x="992" y="4521"/>
                    <a:pt x="992" y="4622"/>
                  </a:cubicBezTo>
                  <a:lnTo>
                    <a:pt x="992" y="4629"/>
                  </a:lnTo>
                  <a:lnTo>
                    <a:pt x="992" y="4636"/>
                  </a:lnTo>
                  <a:lnTo>
                    <a:pt x="985" y="4664"/>
                  </a:lnTo>
                  <a:lnTo>
                    <a:pt x="985" y="4671"/>
                  </a:lnTo>
                  <a:lnTo>
                    <a:pt x="978" y="4696"/>
                  </a:lnTo>
                  <a:lnTo>
                    <a:pt x="974" y="4706"/>
                  </a:lnTo>
                  <a:lnTo>
                    <a:pt x="967" y="4724"/>
                  </a:lnTo>
                  <a:lnTo>
                    <a:pt x="964" y="4741"/>
                  </a:lnTo>
                  <a:lnTo>
                    <a:pt x="960" y="4759"/>
                  </a:lnTo>
                  <a:lnTo>
                    <a:pt x="953" y="4773"/>
                  </a:lnTo>
                  <a:lnTo>
                    <a:pt x="950" y="4790"/>
                  </a:lnTo>
                  <a:lnTo>
                    <a:pt x="943" y="4808"/>
                  </a:lnTo>
                  <a:lnTo>
                    <a:pt x="939" y="4825"/>
                  </a:lnTo>
                  <a:lnTo>
                    <a:pt x="932" y="4843"/>
                  </a:lnTo>
                  <a:lnTo>
                    <a:pt x="929" y="4864"/>
                  </a:lnTo>
                  <a:lnTo>
                    <a:pt x="922" y="4881"/>
                  </a:lnTo>
                  <a:lnTo>
                    <a:pt x="915" y="4899"/>
                  </a:lnTo>
                  <a:lnTo>
                    <a:pt x="908" y="4916"/>
                  </a:lnTo>
                  <a:lnTo>
                    <a:pt x="901" y="4937"/>
                  </a:lnTo>
                  <a:lnTo>
                    <a:pt x="897" y="4955"/>
                  </a:lnTo>
                  <a:lnTo>
                    <a:pt x="890" y="4976"/>
                  </a:lnTo>
                  <a:lnTo>
                    <a:pt x="883" y="4993"/>
                  </a:lnTo>
                  <a:lnTo>
                    <a:pt x="876" y="5014"/>
                  </a:lnTo>
                  <a:lnTo>
                    <a:pt x="869" y="5032"/>
                  </a:lnTo>
                  <a:lnTo>
                    <a:pt x="862" y="5049"/>
                  </a:lnTo>
                  <a:lnTo>
                    <a:pt x="855" y="5070"/>
                  </a:lnTo>
                  <a:lnTo>
                    <a:pt x="848" y="5091"/>
                  </a:lnTo>
                  <a:lnTo>
                    <a:pt x="838" y="5109"/>
                  </a:lnTo>
                  <a:lnTo>
                    <a:pt x="831" y="5130"/>
                  </a:lnTo>
                  <a:lnTo>
                    <a:pt x="824" y="5147"/>
                  </a:lnTo>
                  <a:lnTo>
                    <a:pt x="813" y="5172"/>
                  </a:lnTo>
                  <a:lnTo>
                    <a:pt x="803" y="5200"/>
                  </a:lnTo>
                  <a:lnTo>
                    <a:pt x="792" y="5221"/>
                  </a:lnTo>
                  <a:lnTo>
                    <a:pt x="785" y="5238"/>
                  </a:lnTo>
                  <a:lnTo>
                    <a:pt x="775" y="5256"/>
                  </a:lnTo>
                  <a:lnTo>
                    <a:pt x="768" y="5273"/>
                  </a:lnTo>
                  <a:lnTo>
                    <a:pt x="757" y="5291"/>
                  </a:lnTo>
                  <a:lnTo>
                    <a:pt x="750" y="5308"/>
                  </a:lnTo>
                  <a:lnTo>
                    <a:pt x="740" y="5326"/>
                  </a:lnTo>
                  <a:lnTo>
                    <a:pt x="733" y="5340"/>
                  </a:lnTo>
                  <a:lnTo>
                    <a:pt x="722" y="5357"/>
                  </a:lnTo>
                  <a:lnTo>
                    <a:pt x="715" y="5371"/>
                  </a:lnTo>
                  <a:lnTo>
                    <a:pt x="705" y="5389"/>
                  </a:lnTo>
                  <a:lnTo>
                    <a:pt x="694" y="5403"/>
                  </a:lnTo>
                  <a:lnTo>
                    <a:pt x="687" y="5420"/>
                  </a:lnTo>
                  <a:lnTo>
                    <a:pt x="677" y="5431"/>
                  </a:lnTo>
                  <a:lnTo>
                    <a:pt x="666" y="5445"/>
                  </a:lnTo>
                  <a:lnTo>
                    <a:pt x="656" y="5459"/>
                  </a:lnTo>
                  <a:lnTo>
                    <a:pt x="649" y="5473"/>
                  </a:lnTo>
                  <a:lnTo>
                    <a:pt x="638" y="5483"/>
                  </a:lnTo>
                  <a:lnTo>
                    <a:pt x="628" y="5497"/>
                  </a:lnTo>
                  <a:lnTo>
                    <a:pt x="617" y="5508"/>
                  </a:lnTo>
                  <a:lnTo>
                    <a:pt x="607" y="5518"/>
                  </a:lnTo>
                  <a:lnTo>
                    <a:pt x="600" y="5529"/>
                  </a:lnTo>
                  <a:lnTo>
                    <a:pt x="586" y="5536"/>
                  </a:lnTo>
                  <a:lnTo>
                    <a:pt x="579" y="5546"/>
                  </a:lnTo>
                  <a:lnTo>
                    <a:pt x="565" y="5553"/>
                  </a:lnTo>
                  <a:lnTo>
                    <a:pt x="558" y="5560"/>
                  </a:lnTo>
                  <a:lnTo>
                    <a:pt x="544" y="5571"/>
                  </a:lnTo>
                  <a:lnTo>
                    <a:pt x="537" y="5571"/>
                  </a:lnTo>
                  <a:cubicBezTo>
                    <a:pt x="530" y="5574"/>
                    <a:pt x="523" y="5578"/>
                    <a:pt x="516" y="5581"/>
                  </a:cubicBezTo>
                  <a:cubicBezTo>
                    <a:pt x="505" y="5644"/>
                    <a:pt x="491" y="5718"/>
                    <a:pt x="481" y="5795"/>
                  </a:cubicBezTo>
                  <a:cubicBezTo>
                    <a:pt x="442" y="5998"/>
                    <a:pt x="407" y="6204"/>
                    <a:pt x="372" y="6345"/>
                  </a:cubicBezTo>
                  <a:cubicBezTo>
                    <a:pt x="341" y="6460"/>
                    <a:pt x="285" y="6681"/>
                    <a:pt x="323" y="6737"/>
                  </a:cubicBezTo>
                  <a:cubicBezTo>
                    <a:pt x="327" y="6740"/>
                    <a:pt x="330" y="6747"/>
                    <a:pt x="348" y="6747"/>
                  </a:cubicBezTo>
                  <a:cubicBezTo>
                    <a:pt x="491" y="6765"/>
                    <a:pt x="719" y="6982"/>
                    <a:pt x="1111" y="7475"/>
                  </a:cubicBezTo>
                  <a:cubicBezTo>
                    <a:pt x="1170" y="7552"/>
                    <a:pt x="1223" y="7633"/>
                    <a:pt x="1265" y="7720"/>
                  </a:cubicBezTo>
                  <a:lnTo>
                    <a:pt x="1398" y="7720"/>
                  </a:lnTo>
                  <a:lnTo>
                    <a:pt x="1447" y="7724"/>
                  </a:lnTo>
                  <a:lnTo>
                    <a:pt x="1475" y="7727"/>
                  </a:lnTo>
                  <a:cubicBezTo>
                    <a:pt x="1503" y="7731"/>
                    <a:pt x="1527" y="7734"/>
                    <a:pt x="1552" y="7741"/>
                  </a:cubicBezTo>
                  <a:cubicBezTo>
                    <a:pt x="1737" y="7769"/>
                    <a:pt x="1874" y="7930"/>
                    <a:pt x="1874" y="8116"/>
                  </a:cubicBezTo>
                  <a:cubicBezTo>
                    <a:pt x="1898" y="8129"/>
                    <a:pt x="1958" y="8134"/>
                    <a:pt x="2024" y="8134"/>
                  </a:cubicBezTo>
                  <a:cubicBezTo>
                    <a:pt x="2085" y="8134"/>
                    <a:pt x="2151" y="8130"/>
                    <a:pt x="2200" y="8123"/>
                  </a:cubicBezTo>
                  <a:lnTo>
                    <a:pt x="2200" y="8116"/>
                  </a:lnTo>
                  <a:lnTo>
                    <a:pt x="2203" y="8102"/>
                  </a:lnTo>
                  <a:lnTo>
                    <a:pt x="2203" y="8098"/>
                  </a:lnTo>
                  <a:cubicBezTo>
                    <a:pt x="2203" y="8091"/>
                    <a:pt x="2207" y="8088"/>
                    <a:pt x="2207" y="8081"/>
                  </a:cubicBezTo>
                  <a:lnTo>
                    <a:pt x="2207" y="8077"/>
                  </a:lnTo>
                  <a:cubicBezTo>
                    <a:pt x="2207" y="8070"/>
                    <a:pt x="2210" y="8067"/>
                    <a:pt x="2214" y="8060"/>
                  </a:cubicBezTo>
                  <a:lnTo>
                    <a:pt x="2214" y="8056"/>
                  </a:lnTo>
                  <a:cubicBezTo>
                    <a:pt x="2214" y="8049"/>
                    <a:pt x="2217" y="8042"/>
                    <a:pt x="2221" y="8035"/>
                  </a:cubicBezTo>
                  <a:lnTo>
                    <a:pt x="2221" y="8032"/>
                  </a:lnTo>
                  <a:cubicBezTo>
                    <a:pt x="2224" y="8025"/>
                    <a:pt x="2228" y="8018"/>
                    <a:pt x="2231" y="8011"/>
                  </a:cubicBezTo>
                  <a:lnTo>
                    <a:pt x="2231" y="8007"/>
                  </a:lnTo>
                  <a:cubicBezTo>
                    <a:pt x="2235" y="8000"/>
                    <a:pt x="2242" y="7993"/>
                    <a:pt x="2245" y="7986"/>
                  </a:cubicBezTo>
                  <a:lnTo>
                    <a:pt x="2249" y="7983"/>
                  </a:lnTo>
                  <a:cubicBezTo>
                    <a:pt x="2256" y="7976"/>
                    <a:pt x="2263" y="7969"/>
                    <a:pt x="2270" y="7962"/>
                  </a:cubicBezTo>
                  <a:cubicBezTo>
                    <a:pt x="2277" y="7955"/>
                    <a:pt x="2284" y="7948"/>
                    <a:pt x="2294" y="7944"/>
                  </a:cubicBezTo>
                  <a:lnTo>
                    <a:pt x="2294" y="7941"/>
                  </a:lnTo>
                  <a:cubicBezTo>
                    <a:pt x="2172" y="7808"/>
                    <a:pt x="1944" y="7678"/>
                    <a:pt x="1765" y="7661"/>
                  </a:cubicBezTo>
                  <a:cubicBezTo>
                    <a:pt x="1653" y="7647"/>
                    <a:pt x="1555" y="7591"/>
                    <a:pt x="1489" y="7500"/>
                  </a:cubicBezTo>
                  <a:cubicBezTo>
                    <a:pt x="1370" y="7346"/>
                    <a:pt x="1314" y="7157"/>
                    <a:pt x="1324" y="6964"/>
                  </a:cubicBezTo>
                  <a:cubicBezTo>
                    <a:pt x="1335" y="6887"/>
                    <a:pt x="1282" y="6807"/>
                    <a:pt x="1230" y="6723"/>
                  </a:cubicBezTo>
                  <a:cubicBezTo>
                    <a:pt x="1177" y="6639"/>
                    <a:pt x="1121" y="6558"/>
                    <a:pt x="1121" y="6460"/>
                  </a:cubicBezTo>
                  <a:cubicBezTo>
                    <a:pt x="1121" y="6394"/>
                    <a:pt x="1086" y="6373"/>
                    <a:pt x="946" y="6320"/>
                  </a:cubicBezTo>
                  <a:cubicBezTo>
                    <a:pt x="904" y="6302"/>
                    <a:pt x="859" y="6285"/>
                    <a:pt x="810" y="6260"/>
                  </a:cubicBezTo>
                  <a:cubicBezTo>
                    <a:pt x="631" y="6173"/>
                    <a:pt x="708" y="5872"/>
                    <a:pt x="782" y="5578"/>
                  </a:cubicBezTo>
                  <a:cubicBezTo>
                    <a:pt x="806" y="5494"/>
                    <a:pt x="824" y="5410"/>
                    <a:pt x="838" y="5322"/>
                  </a:cubicBezTo>
                  <a:cubicBezTo>
                    <a:pt x="848" y="5224"/>
                    <a:pt x="908" y="5077"/>
                    <a:pt x="978" y="4906"/>
                  </a:cubicBezTo>
                  <a:cubicBezTo>
                    <a:pt x="1072" y="4671"/>
                    <a:pt x="1202" y="4349"/>
                    <a:pt x="1146" y="4244"/>
                  </a:cubicBezTo>
                  <a:cubicBezTo>
                    <a:pt x="1107" y="4177"/>
                    <a:pt x="1114" y="4097"/>
                    <a:pt x="1160" y="4037"/>
                  </a:cubicBezTo>
                  <a:cubicBezTo>
                    <a:pt x="1222" y="3951"/>
                    <a:pt x="1355" y="3895"/>
                    <a:pt x="1477" y="3895"/>
                  </a:cubicBezTo>
                  <a:cubicBezTo>
                    <a:pt x="1499" y="3895"/>
                    <a:pt x="1521" y="3897"/>
                    <a:pt x="1541" y="3901"/>
                  </a:cubicBezTo>
                  <a:cubicBezTo>
                    <a:pt x="1629" y="3911"/>
                    <a:pt x="1702" y="3974"/>
                    <a:pt x="1727" y="4058"/>
                  </a:cubicBezTo>
                  <a:lnTo>
                    <a:pt x="1730" y="4072"/>
                  </a:lnTo>
                  <a:cubicBezTo>
                    <a:pt x="1785" y="4276"/>
                    <a:pt x="1804" y="4344"/>
                    <a:pt x="2007" y="4344"/>
                  </a:cubicBezTo>
                  <a:cubicBezTo>
                    <a:pt x="2028" y="4344"/>
                    <a:pt x="2049" y="4343"/>
                    <a:pt x="2073" y="4342"/>
                  </a:cubicBezTo>
                  <a:cubicBezTo>
                    <a:pt x="2084" y="4342"/>
                    <a:pt x="2094" y="4341"/>
                    <a:pt x="2105" y="4341"/>
                  </a:cubicBezTo>
                  <a:cubicBezTo>
                    <a:pt x="2297" y="4341"/>
                    <a:pt x="2389" y="4434"/>
                    <a:pt x="2469" y="4514"/>
                  </a:cubicBezTo>
                  <a:cubicBezTo>
                    <a:pt x="2518" y="4570"/>
                    <a:pt x="2581" y="4615"/>
                    <a:pt x="2655" y="4643"/>
                  </a:cubicBezTo>
                  <a:cubicBezTo>
                    <a:pt x="2655" y="4636"/>
                    <a:pt x="2655" y="4629"/>
                    <a:pt x="2655" y="4619"/>
                  </a:cubicBezTo>
                  <a:lnTo>
                    <a:pt x="2655" y="4615"/>
                  </a:lnTo>
                  <a:cubicBezTo>
                    <a:pt x="2651" y="4608"/>
                    <a:pt x="2651" y="4601"/>
                    <a:pt x="2648" y="4594"/>
                  </a:cubicBezTo>
                  <a:cubicBezTo>
                    <a:pt x="2648" y="4587"/>
                    <a:pt x="2644" y="4577"/>
                    <a:pt x="2641" y="4570"/>
                  </a:cubicBezTo>
                  <a:lnTo>
                    <a:pt x="2637" y="4566"/>
                  </a:lnTo>
                  <a:lnTo>
                    <a:pt x="2627" y="4542"/>
                  </a:lnTo>
                  <a:cubicBezTo>
                    <a:pt x="2585" y="4465"/>
                    <a:pt x="2564" y="4381"/>
                    <a:pt x="2564" y="4297"/>
                  </a:cubicBezTo>
                  <a:cubicBezTo>
                    <a:pt x="2564" y="4237"/>
                    <a:pt x="2543" y="4184"/>
                    <a:pt x="2508" y="4139"/>
                  </a:cubicBezTo>
                  <a:cubicBezTo>
                    <a:pt x="2445" y="4037"/>
                    <a:pt x="2410" y="3946"/>
                    <a:pt x="2557" y="3764"/>
                  </a:cubicBezTo>
                  <a:cubicBezTo>
                    <a:pt x="2732" y="3550"/>
                    <a:pt x="3017" y="3353"/>
                    <a:pt x="3253" y="3353"/>
                  </a:cubicBezTo>
                  <a:cubicBezTo>
                    <a:pt x="3295" y="3353"/>
                    <a:pt x="3335" y="3359"/>
                    <a:pt x="3372" y="3372"/>
                  </a:cubicBezTo>
                  <a:cubicBezTo>
                    <a:pt x="3401" y="3381"/>
                    <a:pt x="3435" y="3384"/>
                    <a:pt x="3473" y="3384"/>
                  </a:cubicBezTo>
                  <a:cubicBezTo>
                    <a:pt x="3542" y="3384"/>
                    <a:pt x="3622" y="3373"/>
                    <a:pt x="3701" y="3362"/>
                  </a:cubicBezTo>
                  <a:cubicBezTo>
                    <a:pt x="3784" y="3349"/>
                    <a:pt x="3864" y="3338"/>
                    <a:pt x="3936" y="3338"/>
                  </a:cubicBezTo>
                  <a:cubicBezTo>
                    <a:pt x="4025" y="3338"/>
                    <a:pt x="4101" y="3356"/>
                    <a:pt x="4149" y="3414"/>
                  </a:cubicBezTo>
                  <a:lnTo>
                    <a:pt x="4156" y="3421"/>
                  </a:lnTo>
                  <a:lnTo>
                    <a:pt x="4171" y="3418"/>
                  </a:lnTo>
                  <a:cubicBezTo>
                    <a:pt x="4174" y="3407"/>
                    <a:pt x="4181" y="3397"/>
                    <a:pt x="4188" y="3386"/>
                  </a:cubicBezTo>
                  <a:cubicBezTo>
                    <a:pt x="4192" y="3376"/>
                    <a:pt x="4195" y="3365"/>
                    <a:pt x="4199" y="3355"/>
                  </a:cubicBezTo>
                  <a:lnTo>
                    <a:pt x="4199" y="3348"/>
                  </a:lnTo>
                  <a:cubicBezTo>
                    <a:pt x="4202" y="3341"/>
                    <a:pt x="4202" y="3330"/>
                    <a:pt x="4206" y="3320"/>
                  </a:cubicBezTo>
                  <a:lnTo>
                    <a:pt x="4206" y="3313"/>
                  </a:lnTo>
                  <a:cubicBezTo>
                    <a:pt x="4206" y="3302"/>
                    <a:pt x="4209" y="3292"/>
                    <a:pt x="4209" y="3281"/>
                  </a:cubicBezTo>
                  <a:lnTo>
                    <a:pt x="4209" y="3278"/>
                  </a:lnTo>
                  <a:lnTo>
                    <a:pt x="4209" y="3246"/>
                  </a:lnTo>
                  <a:lnTo>
                    <a:pt x="4209" y="3243"/>
                  </a:lnTo>
                  <a:cubicBezTo>
                    <a:pt x="4209" y="3232"/>
                    <a:pt x="4209" y="3222"/>
                    <a:pt x="4206" y="3211"/>
                  </a:cubicBezTo>
                  <a:lnTo>
                    <a:pt x="4206" y="3204"/>
                  </a:lnTo>
                  <a:cubicBezTo>
                    <a:pt x="4206" y="3194"/>
                    <a:pt x="4202" y="3180"/>
                    <a:pt x="4202" y="3169"/>
                  </a:cubicBezTo>
                  <a:lnTo>
                    <a:pt x="4202" y="3162"/>
                  </a:lnTo>
                  <a:lnTo>
                    <a:pt x="4199" y="3127"/>
                  </a:lnTo>
                  <a:cubicBezTo>
                    <a:pt x="4185" y="3047"/>
                    <a:pt x="4178" y="2966"/>
                    <a:pt x="4185" y="2889"/>
                  </a:cubicBezTo>
                  <a:cubicBezTo>
                    <a:pt x="4206" y="2634"/>
                    <a:pt x="3985" y="2410"/>
                    <a:pt x="3855" y="2375"/>
                  </a:cubicBezTo>
                  <a:cubicBezTo>
                    <a:pt x="3719" y="2333"/>
                    <a:pt x="3754" y="2154"/>
                    <a:pt x="3785" y="1993"/>
                  </a:cubicBezTo>
                  <a:lnTo>
                    <a:pt x="3789" y="1975"/>
                  </a:lnTo>
                  <a:cubicBezTo>
                    <a:pt x="3803" y="1912"/>
                    <a:pt x="3810" y="1849"/>
                    <a:pt x="3817" y="1786"/>
                  </a:cubicBezTo>
                  <a:cubicBezTo>
                    <a:pt x="3817" y="1751"/>
                    <a:pt x="3810" y="1723"/>
                    <a:pt x="3796" y="1713"/>
                  </a:cubicBezTo>
                  <a:cubicBezTo>
                    <a:pt x="3645" y="1629"/>
                    <a:pt x="3540" y="1496"/>
                    <a:pt x="3435" y="1370"/>
                  </a:cubicBezTo>
                  <a:lnTo>
                    <a:pt x="3379" y="1300"/>
                  </a:lnTo>
                  <a:cubicBezTo>
                    <a:pt x="3346" y="1261"/>
                    <a:pt x="3273" y="1238"/>
                    <a:pt x="3189" y="1238"/>
                  </a:cubicBezTo>
                  <a:cubicBezTo>
                    <a:pt x="3165" y="1238"/>
                    <a:pt x="3141" y="1240"/>
                    <a:pt x="3117" y="1244"/>
                  </a:cubicBezTo>
                  <a:cubicBezTo>
                    <a:pt x="3033" y="1258"/>
                    <a:pt x="2987" y="1289"/>
                    <a:pt x="2977" y="1307"/>
                  </a:cubicBezTo>
                  <a:cubicBezTo>
                    <a:pt x="2938" y="1408"/>
                    <a:pt x="2816" y="1468"/>
                    <a:pt x="2714" y="1482"/>
                  </a:cubicBezTo>
                  <a:cubicBezTo>
                    <a:pt x="2699" y="1485"/>
                    <a:pt x="2685" y="1487"/>
                    <a:pt x="2670" y="1487"/>
                  </a:cubicBezTo>
                  <a:cubicBezTo>
                    <a:pt x="2611" y="1487"/>
                    <a:pt x="2554" y="1460"/>
                    <a:pt x="2515" y="1415"/>
                  </a:cubicBezTo>
                  <a:cubicBezTo>
                    <a:pt x="2494" y="1387"/>
                    <a:pt x="2466" y="1370"/>
                    <a:pt x="2434" y="1366"/>
                  </a:cubicBezTo>
                  <a:cubicBezTo>
                    <a:pt x="2427" y="1365"/>
                    <a:pt x="2419" y="1365"/>
                    <a:pt x="2410" y="1365"/>
                  </a:cubicBezTo>
                  <a:cubicBezTo>
                    <a:pt x="2364" y="1365"/>
                    <a:pt x="2298" y="1383"/>
                    <a:pt x="2207" y="1450"/>
                  </a:cubicBezTo>
                  <a:cubicBezTo>
                    <a:pt x="2179" y="1475"/>
                    <a:pt x="2144" y="1499"/>
                    <a:pt x="2112" y="1527"/>
                  </a:cubicBezTo>
                  <a:cubicBezTo>
                    <a:pt x="1982" y="1630"/>
                    <a:pt x="1859" y="1731"/>
                    <a:pt x="1756" y="1731"/>
                  </a:cubicBezTo>
                  <a:cubicBezTo>
                    <a:pt x="1740" y="1731"/>
                    <a:pt x="1724" y="1729"/>
                    <a:pt x="1709" y="1723"/>
                  </a:cubicBezTo>
                  <a:cubicBezTo>
                    <a:pt x="1657" y="1702"/>
                    <a:pt x="1622" y="1657"/>
                    <a:pt x="1615" y="1601"/>
                  </a:cubicBezTo>
                  <a:cubicBezTo>
                    <a:pt x="1590" y="1506"/>
                    <a:pt x="1615" y="1405"/>
                    <a:pt x="1685" y="1338"/>
                  </a:cubicBezTo>
                  <a:cubicBezTo>
                    <a:pt x="1730" y="1293"/>
                    <a:pt x="1755" y="1230"/>
                    <a:pt x="1755" y="1167"/>
                  </a:cubicBezTo>
                  <a:cubicBezTo>
                    <a:pt x="1755" y="1079"/>
                    <a:pt x="1769" y="992"/>
                    <a:pt x="1793" y="908"/>
                  </a:cubicBezTo>
                  <a:cubicBezTo>
                    <a:pt x="1818" y="806"/>
                    <a:pt x="1839" y="722"/>
                    <a:pt x="1804" y="603"/>
                  </a:cubicBezTo>
                  <a:cubicBezTo>
                    <a:pt x="1790" y="559"/>
                    <a:pt x="1778" y="544"/>
                    <a:pt x="1744" y="544"/>
                  </a:cubicBezTo>
                  <a:cubicBezTo>
                    <a:pt x="1726" y="544"/>
                    <a:pt x="1703" y="548"/>
                    <a:pt x="1671" y="554"/>
                  </a:cubicBezTo>
                  <a:cubicBezTo>
                    <a:pt x="1645" y="559"/>
                    <a:pt x="1613" y="566"/>
                    <a:pt x="1580" y="566"/>
                  </a:cubicBezTo>
                  <a:cubicBezTo>
                    <a:pt x="1522" y="566"/>
                    <a:pt x="1463" y="546"/>
                    <a:pt x="1429" y="467"/>
                  </a:cubicBezTo>
                  <a:cubicBezTo>
                    <a:pt x="1394" y="372"/>
                    <a:pt x="1384" y="271"/>
                    <a:pt x="1394" y="169"/>
                  </a:cubicBezTo>
                  <a:cubicBezTo>
                    <a:pt x="1398" y="134"/>
                    <a:pt x="1398" y="96"/>
                    <a:pt x="1391" y="57"/>
                  </a:cubicBezTo>
                  <a:lnTo>
                    <a:pt x="1387" y="57"/>
                  </a:lnTo>
                  <a:lnTo>
                    <a:pt x="1384" y="50"/>
                  </a:lnTo>
                  <a:lnTo>
                    <a:pt x="1380" y="46"/>
                  </a:lnTo>
                  <a:lnTo>
                    <a:pt x="1373" y="39"/>
                  </a:lnTo>
                  <a:lnTo>
                    <a:pt x="1359" y="25"/>
                  </a:lnTo>
                  <a:lnTo>
                    <a:pt x="1356" y="22"/>
                  </a:lnTo>
                  <a:lnTo>
                    <a:pt x="1345" y="15"/>
                  </a:lnTo>
                  <a:lnTo>
                    <a:pt x="1335" y="4"/>
                  </a:lnTo>
                  <a:lnTo>
                    <a:pt x="13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2" name="Google Shape;4812;p53"/>
            <p:cNvSpPr/>
            <p:nvPr/>
          </p:nvSpPr>
          <p:spPr>
            <a:xfrm>
              <a:off x="2774359" y="1962182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3" name="Google Shape;4813;p53"/>
            <p:cNvSpPr/>
            <p:nvPr/>
          </p:nvSpPr>
          <p:spPr>
            <a:xfrm>
              <a:off x="2774115" y="196265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5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4" name="Google Shape;4814;p53"/>
            <p:cNvSpPr/>
            <p:nvPr/>
          </p:nvSpPr>
          <p:spPr>
            <a:xfrm>
              <a:off x="2774590" y="196176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5" name="Google Shape;4815;p53"/>
            <p:cNvSpPr/>
            <p:nvPr/>
          </p:nvSpPr>
          <p:spPr>
            <a:xfrm>
              <a:off x="2775595" y="1959521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8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6" name="Google Shape;4816;p53"/>
            <p:cNvSpPr/>
            <p:nvPr/>
          </p:nvSpPr>
          <p:spPr>
            <a:xfrm>
              <a:off x="2775310" y="1960145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2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7" name="Google Shape;4817;p53"/>
            <p:cNvSpPr/>
            <p:nvPr/>
          </p:nvSpPr>
          <p:spPr>
            <a:xfrm>
              <a:off x="2775065" y="1960756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8" name="Google Shape;4818;p53"/>
            <p:cNvSpPr/>
            <p:nvPr/>
          </p:nvSpPr>
          <p:spPr>
            <a:xfrm>
              <a:off x="2774835" y="196128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9" name="Google Shape;4819;p53"/>
            <p:cNvSpPr/>
            <p:nvPr/>
          </p:nvSpPr>
          <p:spPr>
            <a:xfrm>
              <a:off x="2773884" y="196309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0" name="Google Shape;4820;p53"/>
            <p:cNvSpPr/>
            <p:nvPr/>
          </p:nvSpPr>
          <p:spPr>
            <a:xfrm>
              <a:off x="2772268" y="1965087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1" name="Google Shape;4821;p53"/>
            <p:cNvSpPr/>
            <p:nvPr/>
          </p:nvSpPr>
          <p:spPr>
            <a:xfrm>
              <a:off x="2772839" y="196451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2" name="Google Shape;4822;p53"/>
            <p:cNvSpPr/>
            <p:nvPr/>
          </p:nvSpPr>
          <p:spPr>
            <a:xfrm>
              <a:off x="2771983" y="19653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3" name="Google Shape;4823;p53"/>
            <p:cNvSpPr/>
            <p:nvPr/>
          </p:nvSpPr>
          <p:spPr>
            <a:xfrm>
              <a:off x="2773599" y="196351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4" name="Google Shape;4824;p53"/>
            <p:cNvSpPr/>
            <p:nvPr/>
          </p:nvSpPr>
          <p:spPr>
            <a:xfrm>
              <a:off x="2773070" y="196417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5" name="Google Shape;4825;p53"/>
            <p:cNvSpPr/>
            <p:nvPr/>
          </p:nvSpPr>
          <p:spPr>
            <a:xfrm>
              <a:off x="2773355" y="196385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6" name="Google Shape;4826;p53"/>
            <p:cNvSpPr/>
            <p:nvPr/>
          </p:nvSpPr>
          <p:spPr>
            <a:xfrm>
              <a:off x="2776776" y="1956384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1" y="22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7" name="Google Shape;4827;p53"/>
            <p:cNvSpPr/>
            <p:nvPr/>
          </p:nvSpPr>
          <p:spPr>
            <a:xfrm>
              <a:off x="2777496" y="195406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8" name="Google Shape;4828;p53"/>
            <p:cNvSpPr/>
            <p:nvPr/>
          </p:nvSpPr>
          <p:spPr>
            <a:xfrm>
              <a:off x="2777632" y="1953628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9" name="Google Shape;4829;p53"/>
            <p:cNvSpPr/>
            <p:nvPr/>
          </p:nvSpPr>
          <p:spPr>
            <a:xfrm>
              <a:off x="2776926" y="195590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8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0" name="Google Shape;4830;p53"/>
            <p:cNvSpPr/>
            <p:nvPr/>
          </p:nvSpPr>
          <p:spPr>
            <a:xfrm>
              <a:off x="2777251" y="195495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1" name="Google Shape;4831;p53"/>
            <p:cNvSpPr/>
            <p:nvPr/>
          </p:nvSpPr>
          <p:spPr>
            <a:xfrm>
              <a:off x="2777781" y="195324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2" name="Google Shape;4832;p53"/>
            <p:cNvSpPr/>
            <p:nvPr/>
          </p:nvSpPr>
          <p:spPr>
            <a:xfrm>
              <a:off x="2777061" y="1955434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3" name="Google Shape;4833;p53"/>
            <p:cNvSpPr/>
            <p:nvPr/>
          </p:nvSpPr>
          <p:spPr>
            <a:xfrm>
              <a:off x="2776586" y="195691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4" name="Google Shape;4834;p53"/>
            <p:cNvSpPr/>
            <p:nvPr/>
          </p:nvSpPr>
          <p:spPr>
            <a:xfrm>
              <a:off x="2776206" y="1957959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5" name="Google Shape;4835;p53"/>
            <p:cNvSpPr/>
            <p:nvPr/>
          </p:nvSpPr>
          <p:spPr>
            <a:xfrm>
              <a:off x="2776016" y="1958475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6" name="Google Shape;4836;p53"/>
            <p:cNvSpPr/>
            <p:nvPr/>
          </p:nvSpPr>
          <p:spPr>
            <a:xfrm>
              <a:off x="2776396" y="195743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7" name="Google Shape;4837;p53"/>
            <p:cNvSpPr/>
            <p:nvPr/>
          </p:nvSpPr>
          <p:spPr>
            <a:xfrm>
              <a:off x="2777401" y="195448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8" name="Google Shape;4838;p53"/>
            <p:cNvSpPr/>
            <p:nvPr/>
          </p:nvSpPr>
          <p:spPr>
            <a:xfrm>
              <a:off x="2772554" y="1964802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9" name="Google Shape;4839;p53"/>
            <p:cNvSpPr/>
            <p:nvPr/>
          </p:nvSpPr>
          <p:spPr>
            <a:xfrm>
              <a:off x="2775826" y="195900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0" name="Google Shape;4840;p53"/>
            <p:cNvSpPr/>
            <p:nvPr/>
          </p:nvSpPr>
          <p:spPr>
            <a:xfrm>
              <a:off x="2771698" y="196550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1" name="Google Shape;4841;p53"/>
            <p:cNvSpPr/>
            <p:nvPr/>
          </p:nvSpPr>
          <p:spPr>
            <a:xfrm>
              <a:off x="2800401" y="195191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2" name="Google Shape;4842;p53"/>
            <p:cNvSpPr/>
            <p:nvPr/>
          </p:nvSpPr>
          <p:spPr>
            <a:xfrm>
              <a:off x="2800591" y="195258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3" name="Google Shape;4843;p53"/>
            <p:cNvSpPr/>
            <p:nvPr/>
          </p:nvSpPr>
          <p:spPr>
            <a:xfrm>
              <a:off x="2800591" y="19530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4" name="Google Shape;4844;p53"/>
            <p:cNvSpPr/>
            <p:nvPr/>
          </p:nvSpPr>
          <p:spPr>
            <a:xfrm>
              <a:off x="2820930" y="193627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5" name="Google Shape;4845;p53"/>
            <p:cNvSpPr/>
            <p:nvPr/>
          </p:nvSpPr>
          <p:spPr>
            <a:xfrm>
              <a:off x="2800550" y="19522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6" name="Google Shape;4846;p53"/>
            <p:cNvSpPr/>
            <p:nvPr/>
          </p:nvSpPr>
          <p:spPr>
            <a:xfrm>
              <a:off x="2783293" y="1890642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7" name="Google Shape;4847;p53"/>
            <p:cNvSpPr/>
            <p:nvPr/>
          </p:nvSpPr>
          <p:spPr>
            <a:xfrm>
              <a:off x="2821609" y="1933425"/>
              <a:ext cx="0" cy="109"/>
            </a:xfrm>
            <a:custGeom>
              <a:avLst/>
              <a:gdLst/>
              <a:ahLst/>
              <a:cxnLst/>
              <a:rect l="l" t="t" r="r" b="b"/>
              <a:pathLst>
                <a:path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8" name="Google Shape;4848;p53"/>
            <p:cNvSpPr/>
            <p:nvPr/>
          </p:nvSpPr>
          <p:spPr>
            <a:xfrm>
              <a:off x="2821555" y="193285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9" name="Google Shape;4849;p53"/>
            <p:cNvSpPr/>
            <p:nvPr/>
          </p:nvSpPr>
          <p:spPr>
            <a:xfrm>
              <a:off x="2787380" y="1905767"/>
              <a:ext cx="964" cy="2390"/>
            </a:xfrm>
            <a:custGeom>
              <a:avLst/>
              <a:gdLst/>
              <a:ahLst/>
              <a:cxnLst/>
              <a:rect l="l" t="t" r="r" b="b"/>
              <a:pathLst>
                <a:path w="71" h="176" extrusionOk="0">
                  <a:moveTo>
                    <a:pt x="0" y="175"/>
                  </a:moveTo>
                  <a:cubicBezTo>
                    <a:pt x="46" y="130"/>
                    <a:pt x="70" y="67"/>
                    <a:pt x="70" y="0"/>
                  </a:cubicBezTo>
                  <a:cubicBezTo>
                    <a:pt x="70" y="67"/>
                    <a:pt x="46" y="130"/>
                    <a:pt x="0" y="17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0" name="Google Shape;4850;p53"/>
            <p:cNvSpPr/>
            <p:nvPr/>
          </p:nvSpPr>
          <p:spPr>
            <a:xfrm>
              <a:off x="2782913" y="189026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1" name="Google Shape;4851;p53"/>
            <p:cNvSpPr/>
            <p:nvPr/>
          </p:nvSpPr>
          <p:spPr>
            <a:xfrm>
              <a:off x="2783198" y="189054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2" name="Google Shape;4852;p53"/>
            <p:cNvSpPr/>
            <p:nvPr/>
          </p:nvSpPr>
          <p:spPr>
            <a:xfrm>
              <a:off x="2815988" y="1913221"/>
              <a:ext cx="299" cy="1018"/>
            </a:xfrm>
            <a:custGeom>
              <a:avLst/>
              <a:gdLst/>
              <a:ahLst/>
              <a:cxnLst/>
              <a:rect l="l" t="t" r="r" b="b"/>
              <a:pathLst>
                <a:path w="22" h="75" extrusionOk="0">
                  <a:moveTo>
                    <a:pt x="1" y="1"/>
                  </a:moveTo>
                  <a:cubicBezTo>
                    <a:pt x="18" y="8"/>
                    <a:pt x="22" y="36"/>
                    <a:pt x="22" y="74"/>
                  </a:cubicBezTo>
                  <a:cubicBezTo>
                    <a:pt x="22" y="36"/>
                    <a:pt x="18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3" name="Google Shape;4853;p53"/>
            <p:cNvSpPr/>
            <p:nvPr/>
          </p:nvSpPr>
          <p:spPr>
            <a:xfrm>
              <a:off x="2821650" y="1933995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4" name="Google Shape;4854;p53"/>
            <p:cNvSpPr/>
            <p:nvPr/>
          </p:nvSpPr>
          <p:spPr>
            <a:xfrm>
              <a:off x="2782574" y="18899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5" name="Google Shape;4855;p53"/>
            <p:cNvSpPr/>
            <p:nvPr/>
          </p:nvSpPr>
          <p:spPr>
            <a:xfrm>
              <a:off x="2782723" y="189007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6" name="Google Shape;4856;p53"/>
            <p:cNvSpPr/>
            <p:nvPr/>
          </p:nvSpPr>
          <p:spPr>
            <a:xfrm>
              <a:off x="2783103" y="1890411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7" name="Google Shape;4857;p53"/>
            <p:cNvSpPr/>
            <p:nvPr/>
          </p:nvSpPr>
          <p:spPr>
            <a:xfrm>
              <a:off x="2783334" y="189069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8" name="Google Shape;4858;p53"/>
            <p:cNvSpPr/>
            <p:nvPr/>
          </p:nvSpPr>
          <p:spPr>
            <a:xfrm>
              <a:off x="2821324" y="1935950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9" name="Google Shape;4859;p53"/>
            <p:cNvSpPr/>
            <p:nvPr/>
          </p:nvSpPr>
          <p:spPr>
            <a:xfrm>
              <a:off x="2821609" y="1934945"/>
              <a:ext cx="0" cy="68"/>
            </a:xfrm>
            <a:custGeom>
              <a:avLst/>
              <a:gdLst/>
              <a:ahLst/>
              <a:cxnLst/>
              <a:rect l="l" t="t" r="r" b="b"/>
              <a:pathLst>
                <a:path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0" name="Google Shape;4860;p53"/>
            <p:cNvSpPr/>
            <p:nvPr/>
          </p:nvSpPr>
          <p:spPr>
            <a:xfrm>
              <a:off x="2821650" y="193442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4"/>
                  </a:lnTo>
                  <a:cubicBezTo>
                    <a:pt x="1" y="0"/>
                    <a:pt x="1" y="7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1" name="Google Shape;4861;p53"/>
            <p:cNvSpPr/>
            <p:nvPr/>
          </p:nvSpPr>
          <p:spPr>
            <a:xfrm>
              <a:off x="2821039" y="1936330"/>
              <a:ext cx="0" cy="54"/>
            </a:xfrm>
            <a:custGeom>
              <a:avLst/>
              <a:gdLst/>
              <a:ahLst/>
              <a:cxnLst/>
              <a:rect l="l" t="t" r="r" b="b"/>
              <a:pathLst>
                <a:path h="4" extrusionOk="0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2" name="Google Shape;4862;p53"/>
            <p:cNvSpPr/>
            <p:nvPr/>
          </p:nvSpPr>
          <p:spPr>
            <a:xfrm>
              <a:off x="2821460" y="193542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3" name="Google Shape;4863;p53"/>
            <p:cNvSpPr/>
            <p:nvPr/>
          </p:nvSpPr>
          <p:spPr>
            <a:xfrm>
              <a:off x="2154289" y="1586085"/>
              <a:ext cx="69123" cy="54935"/>
            </a:xfrm>
            <a:custGeom>
              <a:avLst/>
              <a:gdLst/>
              <a:ahLst/>
              <a:cxnLst/>
              <a:rect l="l" t="t" r="r" b="b"/>
              <a:pathLst>
                <a:path w="5091" h="4046" extrusionOk="0">
                  <a:moveTo>
                    <a:pt x="2111" y="1"/>
                  </a:moveTo>
                  <a:cubicBezTo>
                    <a:pt x="1912" y="1"/>
                    <a:pt x="1254" y="150"/>
                    <a:pt x="1054" y="352"/>
                  </a:cubicBezTo>
                  <a:cubicBezTo>
                    <a:pt x="897" y="510"/>
                    <a:pt x="645" y="541"/>
                    <a:pt x="442" y="569"/>
                  </a:cubicBezTo>
                  <a:cubicBezTo>
                    <a:pt x="361" y="580"/>
                    <a:pt x="249" y="594"/>
                    <a:pt x="221" y="611"/>
                  </a:cubicBezTo>
                  <a:cubicBezTo>
                    <a:pt x="214" y="681"/>
                    <a:pt x="172" y="741"/>
                    <a:pt x="113" y="772"/>
                  </a:cubicBezTo>
                  <a:cubicBezTo>
                    <a:pt x="102" y="779"/>
                    <a:pt x="88" y="786"/>
                    <a:pt x="74" y="790"/>
                  </a:cubicBezTo>
                  <a:lnTo>
                    <a:pt x="78" y="804"/>
                  </a:lnTo>
                  <a:lnTo>
                    <a:pt x="81" y="814"/>
                  </a:lnTo>
                  <a:cubicBezTo>
                    <a:pt x="81" y="821"/>
                    <a:pt x="85" y="828"/>
                    <a:pt x="85" y="835"/>
                  </a:cubicBezTo>
                  <a:lnTo>
                    <a:pt x="88" y="849"/>
                  </a:lnTo>
                  <a:cubicBezTo>
                    <a:pt x="88" y="860"/>
                    <a:pt x="92" y="867"/>
                    <a:pt x="92" y="877"/>
                  </a:cubicBezTo>
                  <a:lnTo>
                    <a:pt x="95" y="895"/>
                  </a:lnTo>
                  <a:cubicBezTo>
                    <a:pt x="95" y="902"/>
                    <a:pt x="95" y="909"/>
                    <a:pt x="99" y="916"/>
                  </a:cubicBezTo>
                  <a:cubicBezTo>
                    <a:pt x="99" y="926"/>
                    <a:pt x="99" y="930"/>
                    <a:pt x="99" y="933"/>
                  </a:cubicBezTo>
                  <a:cubicBezTo>
                    <a:pt x="99" y="940"/>
                    <a:pt x="99" y="951"/>
                    <a:pt x="102" y="958"/>
                  </a:cubicBezTo>
                  <a:cubicBezTo>
                    <a:pt x="102" y="965"/>
                    <a:pt x="102" y="972"/>
                    <a:pt x="102" y="979"/>
                  </a:cubicBezTo>
                  <a:lnTo>
                    <a:pt x="102" y="1000"/>
                  </a:lnTo>
                  <a:lnTo>
                    <a:pt x="102" y="1021"/>
                  </a:lnTo>
                  <a:lnTo>
                    <a:pt x="102" y="1045"/>
                  </a:lnTo>
                  <a:lnTo>
                    <a:pt x="102" y="1066"/>
                  </a:lnTo>
                  <a:lnTo>
                    <a:pt x="102" y="1091"/>
                  </a:lnTo>
                  <a:lnTo>
                    <a:pt x="102" y="1112"/>
                  </a:lnTo>
                  <a:lnTo>
                    <a:pt x="102" y="1136"/>
                  </a:lnTo>
                  <a:lnTo>
                    <a:pt x="102" y="1157"/>
                  </a:lnTo>
                  <a:lnTo>
                    <a:pt x="102" y="1182"/>
                  </a:lnTo>
                  <a:lnTo>
                    <a:pt x="102" y="1203"/>
                  </a:lnTo>
                  <a:cubicBezTo>
                    <a:pt x="102" y="1206"/>
                    <a:pt x="102" y="1217"/>
                    <a:pt x="99" y="1224"/>
                  </a:cubicBezTo>
                  <a:cubicBezTo>
                    <a:pt x="95" y="1234"/>
                    <a:pt x="99" y="1238"/>
                    <a:pt x="95" y="1245"/>
                  </a:cubicBezTo>
                  <a:cubicBezTo>
                    <a:pt x="92" y="1252"/>
                    <a:pt x="92" y="1259"/>
                    <a:pt x="88" y="1269"/>
                  </a:cubicBezTo>
                  <a:cubicBezTo>
                    <a:pt x="88" y="1276"/>
                    <a:pt x="88" y="1280"/>
                    <a:pt x="85" y="1287"/>
                  </a:cubicBezTo>
                  <a:cubicBezTo>
                    <a:pt x="85" y="1294"/>
                    <a:pt x="81" y="1301"/>
                    <a:pt x="78" y="1308"/>
                  </a:cubicBezTo>
                  <a:cubicBezTo>
                    <a:pt x="78" y="1318"/>
                    <a:pt x="78" y="1318"/>
                    <a:pt x="74" y="1325"/>
                  </a:cubicBezTo>
                  <a:cubicBezTo>
                    <a:pt x="74" y="1329"/>
                    <a:pt x="67" y="1339"/>
                    <a:pt x="64" y="1350"/>
                  </a:cubicBezTo>
                  <a:cubicBezTo>
                    <a:pt x="64" y="1357"/>
                    <a:pt x="64" y="1357"/>
                    <a:pt x="60" y="1360"/>
                  </a:cubicBezTo>
                  <a:cubicBezTo>
                    <a:pt x="57" y="1371"/>
                    <a:pt x="50" y="1381"/>
                    <a:pt x="43" y="1392"/>
                  </a:cubicBezTo>
                  <a:cubicBezTo>
                    <a:pt x="1" y="1458"/>
                    <a:pt x="4" y="1479"/>
                    <a:pt x="4" y="1479"/>
                  </a:cubicBezTo>
                  <a:cubicBezTo>
                    <a:pt x="8" y="1479"/>
                    <a:pt x="18" y="1497"/>
                    <a:pt x="57" y="1518"/>
                  </a:cubicBezTo>
                  <a:cubicBezTo>
                    <a:pt x="172" y="1584"/>
                    <a:pt x="211" y="1735"/>
                    <a:pt x="211" y="1844"/>
                  </a:cubicBezTo>
                  <a:cubicBezTo>
                    <a:pt x="211" y="1865"/>
                    <a:pt x="218" y="1886"/>
                    <a:pt x="228" y="1903"/>
                  </a:cubicBezTo>
                  <a:cubicBezTo>
                    <a:pt x="263" y="1973"/>
                    <a:pt x="284" y="2050"/>
                    <a:pt x="284" y="2131"/>
                  </a:cubicBezTo>
                  <a:cubicBezTo>
                    <a:pt x="298" y="2362"/>
                    <a:pt x="354" y="2474"/>
                    <a:pt x="403" y="2530"/>
                  </a:cubicBezTo>
                  <a:cubicBezTo>
                    <a:pt x="407" y="2537"/>
                    <a:pt x="414" y="2544"/>
                    <a:pt x="421" y="2554"/>
                  </a:cubicBezTo>
                  <a:lnTo>
                    <a:pt x="424" y="2561"/>
                  </a:lnTo>
                  <a:cubicBezTo>
                    <a:pt x="428" y="2565"/>
                    <a:pt x="431" y="2572"/>
                    <a:pt x="435" y="2579"/>
                  </a:cubicBezTo>
                  <a:lnTo>
                    <a:pt x="438" y="2589"/>
                  </a:lnTo>
                  <a:cubicBezTo>
                    <a:pt x="442" y="2596"/>
                    <a:pt x="442" y="2600"/>
                    <a:pt x="445" y="2607"/>
                  </a:cubicBezTo>
                  <a:cubicBezTo>
                    <a:pt x="445" y="2610"/>
                    <a:pt x="445" y="2614"/>
                    <a:pt x="449" y="2621"/>
                  </a:cubicBezTo>
                  <a:cubicBezTo>
                    <a:pt x="449" y="2624"/>
                    <a:pt x="449" y="2628"/>
                    <a:pt x="452" y="2635"/>
                  </a:cubicBezTo>
                  <a:cubicBezTo>
                    <a:pt x="456" y="2656"/>
                    <a:pt x="459" y="2677"/>
                    <a:pt x="459" y="2698"/>
                  </a:cubicBezTo>
                  <a:lnTo>
                    <a:pt x="459" y="2705"/>
                  </a:lnTo>
                  <a:lnTo>
                    <a:pt x="459" y="2726"/>
                  </a:lnTo>
                  <a:cubicBezTo>
                    <a:pt x="459" y="2733"/>
                    <a:pt x="459" y="2740"/>
                    <a:pt x="456" y="2747"/>
                  </a:cubicBezTo>
                  <a:cubicBezTo>
                    <a:pt x="452" y="2754"/>
                    <a:pt x="456" y="2750"/>
                    <a:pt x="456" y="2754"/>
                  </a:cubicBezTo>
                  <a:cubicBezTo>
                    <a:pt x="456" y="2757"/>
                    <a:pt x="456" y="2760"/>
                    <a:pt x="455" y="2762"/>
                  </a:cubicBezTo>
                  <a:lnTo>
                    <a:pt x="455" y="2762"/>
                  </a:lnTo>
                  <a:cubicBezTo>
                    <a:pt x="454" y="2762"/>
                    <a:pt x="453" y="2761"/>
                    <a:pt x="452" y="2761"/>
                  </a:cubicBezTo>
                  <a:lnTo>
                    <a:pt x="449" y="2792"/>
                  </a:lnTo>
                  <a:cubicBezTo>
                    <a:pt x="452" y="2781"/>
                    <a:pt x="454" y="2773"/>
                    <a:pt x="455" y="2762"/>
                  </a:cubicBezTo>
                  <a:lnTo>
                    <a:pt x="455" y="2762"/>
                  </a:lnTo>
                  <a:cubicBezTo>
                    <a:pt x="479" y="2776"/>
                    <a:pt x="499" y="2789"/>
                    <a:pt x="519" y="2803"/>
                  </a:cubicBezTo>
                  <a:lnTo>
                    <a:pt x="529" y="2810"/>
                  </a:lnTo>
                  <a:cubicBezTo>
                    <a:pt x="547" y="2824"/>
                    <a:pt x="568" y="2834"/>
                    <a:pt x="589" y="2845"/>
                  </a:cubicBezTo>
                  <a:lnTo>
                    <a:pt x="599" y="2852"/>
                  </a:lnTo>
                  <a:cubicBezTo>
                    <a:pt x="617" y="2862"/>
                    <a:pt x="634" y="2873"/>
                    <a:pt x="652" y="2880"/>
                  </a:cubicBezTo>
                  <a:lnTo>
                    <a:pt x="659" y="2883"/>
                  </a:lnTo>
                  <a:cubicBezTo>
                    <a:pt x="680" y="2890"/>
                    <a:pt x="697" y="2901"/>
                    <a:pt x="711" y="2904"/>
                  </a:cubicBezTo>
                  <a:cubicBezTo>
                    <a:pt x="977" y="2999"/>
                    <a:pt x="1093" y="3086"/>
                    <a:pt x="1114" y="3209"/>
                  </a:cubicBezTo>
                  <a:cubicBezTo>
                    <a:pt x="1138" y="3254"/>
                    <a:pt x="1180" y="3293"/>
                    <a:pt x="1229" y="3314"/>
                  </a:cubicBezTo>
                  <a:cubicBezTo>
                    <a:pt x="1257" y="3328"/>
                    <a:pt x="1275" y="3328"/>
                    <a:pt x="1278" y="3328"/>
                  </a:cubicBezTo>
                  <a:cubicBezTo>
                    <a:pt x="1278" y="3324"/>
                    <a:pt x="1278" y="3321"/>
                    <a:pt x="1278" y="3321"/>
                  </a:cubicBezTo>
                  <a:cubicBezTo>
                    <a:pt x="1320" y="3228"/>
                    <a:pt x="1394" y="3206"/>
                    <a:pt x="1465" y="3206"/>
                  </a:cubicBezTo>
                  <a:cubicBezTo>
                    <a:pt x="1500" y="3206"/>
                    <a:pt x="1535" y="3211"/>
                    <a:pt x="1566" y="3216"/>
                  </a:cubicBezTo>
                  <a:cubicBezTo>
                    <a:pt x="1594" y="3223"/>
                    <a:pt x="1622" y="3226"/>
                    <a:pt x="1646" y="3226"/>
                  </a:cubicBezTo>
                  <a:cubicBezTo>
                    <a:pt x="1800" y="3226"/>
                    <a:pt x="1835" y="3380"/>
                    <a:pt x="1849" y="3454"/>
                  </a:cubicBezTo>
                  <a:lnTo>
                    <a:pt x="1849" y="3461"/>
                  </a:lnTo>
                  <a:cubicBezTo>
                    <a:pt x="1891" y="3471"/>
                    <a:pt x="1933" y="3478"/>
                    <a:pt x="1975" y="3478"/>
                  </a:cubicBezTo>
                  <a:cubicBezTo>
                    <a:pt x="2045" y="3478"/>
                    <a:pt x="2119" y="3492"/>
                    <a:pt x="2185" y="3524"/>
                  </a:cubicBezTo>
                  <a:cubicBezTo>
                    <a:pt x="2241" y="3566"/>
                    <a:pt x="2283" y="3622"/>
                    <a:pt x="2311" y="3685"/>
                  </a:cubicBezTo>
                  <a:cubicBezTo>
                    <a:pt x="2332" y="3723"/>
                    <a:pt x="2357" y="3762"/>
                    <a:pt x="2381" y="3797"/>
                  </a:cubicBezTo>
                  <a:cubicBezTo>
                    <a:pt x="2392" y="3808"/>
                    <a:pt x="2399" y="3818"/>
                    <a:pt x="2409" y="3829"/>
                  </a:cubicBezTo>
                  <a:cubicBezTo>
                    <a:pt x="2416" y="3836"/>
                    <a:pt x="2427" y="3839"/>
                    <a:pt x="2434" y="3846"/>
                  </a:cubicBezTo>
                  <a:cubicBezTo>
                    <a:pt x="2446" y="3853"/>
                    <a:pt x="2458" y="3857"/>
                    <a:pt x="2471" y="3857"/>
                  </a:cubicBezTo>
                  <a:cubicBezTo>
                    <a:pt x="2495" y="3857"/>
                    <a:pt x="2523" y="3845"/>
                    <a:pt x="2563" y="3825"/>
                  </a:cubicBezTo>
                  <a:cubicBezTo>
                    <a:pt x="2603" y="3807"/>
                    <a:pt x="2643" y="3790"/>
                    <a:pt x="2686" y="3790"/>
                  </a:cubicBezTo>
                  <a:cubicBezTo>
                    <a:pt x="2710" y="3790"/>
                    <a:pt x="2736" y="3796"/>
                    <a:pt x="2763" y="3811"/>
                  </a:cubicBezTo>
                  <a:cubicBezTo>
                    <a:pt x="2820" y="3846"/>
                    <a:pt x="2945" y="3877"/>
                    <a:pt x="3055" y="3877"/>
                  </a:cubicBezTo>
                  <a:cubicBezTo>
                    <a:pt x="3100" y="3877"/>
                    <a:pt x="3142" y="3872"/>
                    <a:pt x="3176" y="3860"/>
                  </a:cubicBezTo>
                  <a:cubicBezTo>
                    <a:pt x="3210" y="3846"/>
                    <a:pt x="3246" y="3840"/>
                    <a:pt x="3282" y="3840"/>
                  </a:cubicBezTo>
                  <a:cubicBezTo>
                    <a:pt x="3310" y="3840"/>
                    <a:pt x="3338" y="3843"/>
                    <a:pt x="3365" y="3850"/>
                  </a:cubicBezTo>
                  <a:cubicBezTo>
                    <a:pt x="3386" y="3857"/>
                    <a:pt x="3403" y="3860"/>
                    <a:pt x="3425" y="3867"/>
                  </a:cubicBezTo>
                  <a:cubicBezTo>
                    <a:pt x="3473" y="3882"/>
                    <a:pt x="3525" y="3892"/>
                    <a:pt x="3574" y="3892"/>
                  </a:cubicBezTo>
                  <a:cubicBezTo>
                    <a:pt x="3582" y="3892"/>
                    <a:pt x="3589" y="3892"/>
                    <a:pt x="3596" y="3892"/>
                  </a:cubicBezTo>
                  <a:lnTo>
                    <a:pt x="3607" y="3892"/>
                  </a:lnTo>
                  <a:cubicBezTo>
                    <a:pt x="3627" y="3890"/>
                    <a:pt x="3648" y="3889"/>
                    <a:pt x="3669" y="3889"/>
                  </a:cubicBezTo>
                  <a:cubicBezTo>
                    <a:pt x="3850" y="3889"/>
                    <a:pt x="4059" y="3952"/>
                    <a:pt x="4125" y="4018"/>
                  </a:cubicBezTo>
                  <a:lnTo>
                    <a:pt x="4181" y="4018"/>
                  </a:lnTo>
                  <a:lnTo>
                    <a:pt x="4195" y="4021"/>
                  </a:lnTo>
                  <a:lnTo>
                    <a:pt x="4202" y="4021"/>
                  </a:lnTo>
                  <a:lnTo>
                    <a:pt x="4216" y="4025"/>
                  </a:lnTo>
                  <a:lnTo>
                    <a:pt x="4237" y="4025"/>
                  </a:lnTo>
                  <a:lnTo>
                    <a:pt x="4247" y="4028"/>
                  </a:lnTo>
                  <a:lnTo>
                    <a:pt x="4261" y="4032"/>
                  </a:lnTo>
                  <a:lnTo>
                    <a:pt x="4275" y="4035"/>
                  </a:lnTo>
                  <a:lnTo>
                    <a:pt x="4286" y="4035"/>
                  </a:lnTo>
                  <a:lnTo>
                    <a:pt x="4303" y="4039"/>
                  </a:lnTo>
                  <a:lnTo>
                    <a:pt x="4317" y="4042"/>
                  </a:lnTo>
                  <a:lnTo>
                    <a:pt x="4335" y="4046"/>
                  </a:lnTo>
                  <a:lnTo>
                    <a:pt x="4342" y="4046"/>
                  </a:lnTo>
                  <a:cubicBezTo>
                    <a:pt x="4335" y="3997"/>
                    <a:pt x="4331" y="3948"/>
                    <a:pt x="4321" y="3899"/>
                  </a:cubicBezTo>
                  <a:cubicBezTo>
                    <a:pt x="4314" y="3857"/>
                    <a:pt x="4307" y="3815"/>
                    <a:pt x="4307" y="3772"/>
                  </a:cubicBezTo>
                  <a:lnTo>
                    <a:pt x="4307" y="3765"/>
                  </a:lnTo>
                  <a:lnTo>
                    <a:pt x="4307" y="3758"/>
                  </a:lnTo>
                  <a:lnTo>
                    <a:pt x="4307" y="3755"/>
                  </a:lnTo>
                  <a:lnTo>
                    <a:pt x="4307" y="3748"/>
                  </a:lnTo>
                  <a:cubicBezTo>
                    <a:pt x="4307" y="3744"/>
                    <a:pt x="4307" y="3741"/>
                    <a:pt x="4307" y="3737"/>
                  </a:cubicBezTo>
                  <a:cubicBezTo>
                    <a:pt x="4317" y="3699"/>
                    <a:pt x="4366" y="3646"/>
                    <a:pt x="4517" y="3499"/>
                  </a:cubicBezTo>
                  <a:lnTo>
                    <a:pt x="4650" y="3370"/>
                  </a:lnTo>
                  <a:cubicBezTo>
                    <a:pt x="4730" y="3296"/>
                    <a:pt x="4804" y="3226"/>
                    <a:pt x="4825" y="3195"/>
                  </a:cubicBezTo>
                  <a:cubicBezTo>
                    <a:pt x="4870" y="3163"/>
                    <a:pt x="4916" y="3142"/>
                    <a:pt x="4968" y="3132"/>
                  </a:cubicBezTo>
                  <a:cubicBezTo>
                    <a:pt x="5014" y="3114"/>
                    <a:pt x="5049" y="3083"/>
                    <a:pt x="5077" y="3044"/>
                  </a:cubicBezTo>
                  <a:cubicBezTo>
                    <a:pt x="5091" y="3013"/>
                    <a:pt x="5049" y="2859"/>
                    <a:pt x="4860" y="2579"/>
                  </a:cubicBezTo>
                  <a:cubicBezTo>
                    <a:pt x="4856" y="2572"/>
                    <a:pt x="4853" y="2565"/>
                    <a:pt x="4849" y="2558"/>
                  </a:cubicBezTo>
                  <a:cubicBezTo>
                    <a:pt x="4832" y="2519"/>
                    <a:pt x="4821" y="2477"/>
                    <a:pt x="4814" y="2439"/>
                  </a:cubicBezTo>
                  <a:cubicBezTo>
                    <a:pt x="4814" y="2432"/>
                    <a:pt x="4814" y="2425"/>
                    <a:pt x="4811" y="2421"/>
                  </a:cubicBezTo>
                  <a:lnTo>
                    <a:pt x="4807" y="2369"/>
                  </a:lnTo>
                  <a:lnTo>
                    <a:pt x="4807" y="2355"/>
                  </a:lnTo>
                  <a:lnTo>
                    <a:pt x="4800" y="2288"/>
                  </a:lnTo>
                  <a:cubicBezTo>
                    <a:pt x="4797" y="2225"/>
                    <a:pt x="4800" y="2159"/>
                    <a:pt x="4807" y="2096"/>
                  </a:cubicBezTo>
                  <a:lnTo>
                    <a:pt x="4807" y="2089"/>
                  </a:lnTo>
                  <a:cubicBezTo>
                    <a:pt x="4807" y="2082"/>
                    <a:pt x="4811" y="2075"/>
                    <a:pt x="4811" y="2068"/>
                  </a:cubicBezTo>
                  <a:cubicBezTo>
                    <a:pt x="4811" y="2061"/>
                    <a:pt x="4814" y="2047"/>
                    <a:pt x="4818" y="2040"/>
                  </a:cubicBezTo>
                  <a:cubicBezTo>
                    <a:pt x="4825" y="2015"/>
                    <a:pt x="4797" y="1987"/>
                    <a:pt x="4758" y="1952"/>
                  </a:cubicBezTo>
                  <a:lnTo>
                    <a:pt x="4737" y="1938"/>
                  </a:lnTo>
                  <a:cubicBezTo>
                    <a:pt x="4695" y="1896"/>
                    <a:pt x="4646" y="1858"/>
                    <a:pt x="4636" y="1805"/>
                  </a:cubicBezTo>
                  <a:cubicBezTo>
                    <a:pt x="4636" y="1798"/>
                    <a:pt x="4632" y="1788"/>
                    <a:pt x="4632" y="1781"/>
                  </a:cubicBezTo>
                  <a:cubicBezTo>
                    <a:pt x="4632" y="1644"/>
                    <a:pt x="4895" y="1483"/>
                    <a:pt x="4986" y="1441"/>
                  </a:cubicBezTo>
                  <a:cubicBezTo>
                    <a:pt x="4989" y="1441"/>
                    <a:pt x="5003" y="1423"/>
                    <a:pt x="5010" y="1378"/>
                  </a:cubicBezTo>
                  <a:cubicBezTo>
                    <a:pt x="5028" y="1269"/>
                    <a:pt x="4989" y="1115"/>
                    <a:pt x="4947" y="1077"/>
                  </a:cubicBezTo>
                  <a:cubicBezTo>
                    <a:pt x="4818" y="965"/>
                    <a:pt x="4779" y="776"/>
                    <a:pt x="4842" y="594"/>
                  </a:cubicBezTo>
                  <a:cubicBezTo>
                    <a:pt x="4846" y="590"/>
                    <a:pt x="4846" y="583"/>
                    <a:pt x="4842" y="580"/>
                  </a:cubicBezTo>
                  <a:cubicBezTo>
                    <a:pt x="4842" y="573"/>
                    <a:pt x="4839" y="566"/>
                    <a:pt x="4839" y="562"/>
                  </a:cubicBezTo>
                  <a:cubicBezTo>
                    <a:pt x="4835" y="559"/>
                    <a:pt x="4832" y="555"/>
                    <a:pt x="4828" y="552"/>
                  </a:cubicBezTo>
                  <a:lnTo>
                    <a:pt x="4821" y="541"/>
                  </a:lnTo>
                  <a:lnTo>
                    <a:pt x="4818" y="538"/>
                  </a:lnTo>
                  <a:lnTo>
                    <a:pt x="4804" y="524"/>
                  </a:lnTo>
                  <a:lnTo>
                    <a:pt x="4793" y="517"/>
                  </a:lnTo>
                  <a:lnTo>
                    <a:pt x="4786" y="510"/>
                  </a:lnTo>
                  <a:cubicBezTo>
                    <a:pt x="4702" y="454"/>
                    <a:pt x="4611" y="412"/>
                    <a:pt x="4513" y="387"/>
                  </a:cubicBezTo>
                  <a:lnTo>
                    <a:pt x="4510" y="387"/>
                  </a:lnTo>
                  <a:lnTo>
                    <a:pt x="4496" y="384"/>
                  </a:lnTo>
                  <a:lnTo>
                    <a:pt x="4454" y="384"/>
                  </a:lnTo>
                  <a:cubicBezTo>
                    <a:pt x="4443" y="380"/>
                    <a:pt x="4436" y="377"/>
                    <a:pt x="4429" y="370"/>
                  </a:cubicBezTo>
                  <a:lnTo>
                    <a:pt x="4391" y="370"/>
                  </a:lnTo>
                  <a:cubicBezTo>
                    <a:pt x="4302" y="380"/>
                    <a:pt x="4192" y="384"/>
                    <a:pt x="4075" y="384"/>
                  </a:cubicBezTo>
                  <a:cubicBezTo>
                    <a:pt x="3792" y="384"/>
                    <a:pt x="3460" y="359"/>
                    <a:pt x="3242" y="335"/>
                  </a:cubicBezTo>
                  <a:lnTo>
                    <a:pt x="3235" y="335"/>
                  </a:lnTo>
                  <a:lnTo>
                    <a:pt x="3207" y="331"/>
                  </a:lnTo>
                  <a:lnTo>
                    <a:pt x="3200" y="331"/>
                  </a:lnTo>
                  <a:lnTo>
                    <a:pt x="3158" y="324"/>
                  </a:lnTo>
                  <a:lnTo>
                    <a:pt x="3106" y="324"/>
                  </a:lnTo>
                  <a:lnTo>
                    <a:pt x="3092" y="321"/>
                  </a:lnTo>
                  <a:lnTo>
                    <a:pt x="3081" y="321"/>
                  </a:lnTo>
                  <a:lnTo>
                    <a:pt x="3060" y="317"/>
                  </a:lnTo>
                  <a:lnTo>
                    <a:pt x="3057" y="317"/>
                  </a:lnTo>
                  <a:lnTo>
                    <a:pt x="3043" y="314"/>
                  </a:lnTo>
                  <a:lnTo>
                    <a:pt x="3039" y="314"/>
                  </a:lnTo>
                  <a:lnTo>
                    <a:pt x="3029" y="310"/>
                  </a:lnTo>
                  <a:lnTo>
                    <a:pt x="3025" y="310"/>
                  </a:lnTo>
                  <a:lnTo>
                    <a:pt x="3015" y="307"/>
                  </a:lnTo>
                  <a:lnTo>
                    <a:pt x="2994" y="300"/>
                  </a:lnTo>
                  <a:lnTo>
                    <a:pt x="2987" y="300"/>
                  </a:lnTo>
                  <a:lnTo>
                    <a:pt x="2966" y="289"/>
                  </a:lnTo>
                  <a:lnTo>
                    <a:pt x="2959" y="289"/>
                  </a:lnTo>
                  <a:lnTo>
                    <a:pt x="2931" y="279"/>
                  </a:lnTo>
                  <a:lnTo>
                    <a:pt x="2927" y="279"/>
                  </a:lnTo>
                  <a:lnTo>
                    <a:pt x="2896" y="268"/>
                  </a:lnTo>
                  <a:lnTo>
                    <a:pt x="2892" y="268"/>
                  </a:lnTo>
                  <a:lnTo>
                    <a:pt x="2787" y="230"/>
                  </a:lnTo>
                  <a:cubicBezTo>
                    <a:pt x="2706" y="321"/>
                    <a:pt x="2595" y="373"/>
                    <a:pt x="2474" y="373"/>
                  </a:cubicBezTo>
                  <a:cubicBezTo>
                    <a:pt x="2470" y="373"/>
                    <a:pt x="2466" y="373"/>
                    <a:pt x="2462" y="373"/>
                  </a:cubicBezTo>
                  <a:cubicBezTo>
                    <a:pt x="2196" y="373"/>
                    <a:pt x="2154" y="121"/>
                    <a:pt x="2140" y="2"/>
                  </a:cubicBezTo>
                  <a:cubicBezTo>
                    <a:pt x="2132" y="1"/>
                    <a:pt x="2122" y="1"/>
                    <a:pt x="21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4" name="Google Shape;4864;p53"/>
            <p:cNvSpPr/>
            <p:nvPr/>
          </p:nvSpPr>
          <p:spPr>
            <a:xfrm>
              <a:off x="2164512" y="1680435"/>
              <a:ext cx="24820" cy="22661"/>
            </a:xfrm>
            <a:custGeom>
              <a:avLst/>
              <a:gdLst/>
              <a:ahLst/>
              <a:cxnLst/>
              <a:rect l="l" t="t" r="r" b="b"/>
              <a:pathLst>
                <a:path w="1828" h="1669" extrusionOk="0">
                  <a:moveTo>
                    <a:pt x="496" y="1"/>
                  </a:moveTo>
                  <a:cubicBezTo>
                    <a:pt x="473" y="1"/>
                    <a:pt x="441" y="17"/>
                    <a:pt x="396" y="44"/>
                  </a:cubicBezTo>
                  <a:cubicBezTo>
                    <a:pt x="355" y="69"/>
                    <a:pt x="299" y="102"/>
                    <a:pt x="238" y="102"/>
                  </a:cubicBezTo>
                  <a:cubicBezTo>
                    <a:pt x="206" y="102"/>
                    <a:pt x="173" y="93"/>
                    <a:pt x="140" y="69"/>
                  </a:cubicBezTo>
                  <a:cubicBezTo>
                    <a:pt x="126" y="58"/>
                    <a:pt x="111" y="53"/>
                    <a:pt x="95" y="53"/>
                  </a:cubicBezTo>
                  <a:cubicBezTo>
                    <a:pt x="79" y="53"/>
                    <a:pt x="63" y="58"/>
                    <a:pt x="49" y="69"/>
                  </a:cubicBezTo>
                  <a:cubicBezTo>
                    <a:pt x="18" y="83"/>
                    <a:pt x="0" y="114"/>
                    <a:pt x="4" y="149"/>
                  </a:cubicBezTo>
                  <a:cubicBezTo>
                    <a:pt x="11" y="177"/>
                    <a:pt x="53" y="216"/>
                    <a:pt x="91" y="254"/>
                  </a:cubicBezTo>
                  <a:cubicBezTo>
                    <a:pt x="165" y="321"/>
                    <a:pt x="259" y="401"/>
                    <a:pt x="259" y="534"/>
                  </a:cubicBezTo>
                  <a:cubicBezTo>
                    <a:pt x="259" y="608"/>
                    <a:pt x="410" y="741"/>
                    <a:pt x="508" y="828"/>
                  </a:cubicBezTo>
                  <a:cubicBezTo>
                    <a:pt x="627" y="933"/>
                    <a:pt x="708" y="1004"/>
                    <a:pt x="704" y="1077"/>
                  </a:cubicBezTo>
                  <a:cubicBezTo>
                    <a:pt x="743" y="1123"/>
                    <a:pt x="785" y="1165"/>
                    <a:pt x="830" y="1203"/>
                  </a:cubicBezTo>
                  <a:lnTo>
                    <a:pt x="897" y="1270"/>
                  </a:lnTo>
                  <a:lnTo>
                    <a:pt x="904" y="1273"/>
                  </a:lnTo>
                  <a:cubicBezTo>
                    <a:pt x="928" y="1298"/>
                    <a:pt x="953" y="1322"/>
                    <a:pt x="977" y="1347"/>
                  </a:cubicBezTo>
                  <a:lnTo>
                    <a:pt x="981" y="1354"/>
                  </a:lnTo>
                  <a:cubicBezTo>
                    <a:pt x="1005" y="1378"/>
                    <a:pt x="1030" y="1403"/>
                    <a:pt x="1054" y="1431"/>
                  </a:cubicBezTo>
                  <a:lnTo>
                    <a:pt x="1061" y="1438"/>
                  </a:lnTo>
                  <a:cubicBezTo>
                    <a:pt x="1082" y="1466"/>
                    <a:pt x="1103" y="1494"/>
                    <a:pt x="1124" y="1522"/>
                  </a:cubicBezTo>
                  <a:lnTo>
                    <a:pt x="1131" y="1532"/>
                  </a:lnTo>
                  <a:cubicBezTo>
                    <a:pt x="1194" y="1571"/>
                    <a:pt x="1257" y="1620"/>
                    <a:pt x="1320" y="1669"/>
                  </a:cubicBezTo>
                  <a:lnTo>
                    <a:pt x="1320" y="1665"/>
                  </a:lnTo>
                  <a:lnTo>
                    <a:pt x="1320" y="1655"/>
                  </a:lnTo>
                  <a:lnTo>
                    <a:pt x="1320" y="1648"/>
                  </a:lnTo>
                  <a:lnTo>
                    <a:pt x="1320" y="1641"/>
                  </a:lnTo>
                  <a:lnTo>
                    <a:pt x="1320" y="1637"/>
                  </a:lnTo>
                  <a:lnTo>
                    <a:pt x="1320" y="1634"/>
                  </a:lnTo>
                  <a:lnTo>
                    <a:pt x="1320" y="1630"/>
                  </a:lnTo>
                  <a:cubicBezTo>
                    <a:pt x="1320" y="1620"/>
                    <a:pt x="1324" y="1606"/>
                    <a:pt x="1327" y="1595"/>
                  </a:cubicBezTo>
                  <a:lnTo>
                    <a:pt x="1327" y="1588"/>
                  </a:lnTo>
                  <a:cubicBezTo>
                    <a:pt x="1327" y="1581"/>
                    <a:pt x="1327" y="1574"/>
                    <a:pt x="1331" y="1567"/>
                  </a:cubicBezTo>
                  <a:cubicBezTo>
                    <a:pt x="1331" y="1564"/>
                    <a:pt x="1331" y="1560"/>
                    <a:pt x="1331" y="1557"/>
                  </a:cubicBezTo>
                  <a:cubicBezTo>
                    <a:pt x="1334" y="1553"/>
                    <a:pt x="1334" y="1543"/>
                    <a:pt x="1338" y="1536"/>
                  </a:cubicBezTo>
                  <a:lnTo>
                    <a:pt x="1341" y="1525"/>
                  </a:lnTo>
                  <a:cubicBezTo>
                    <a:pt x="1345" y="1515"/>
                    <a:pt x="1348" y="1508"/>
                    <a:pt x="1352" y="1497"/>
                  </a:cubicBezTo>
                  <a:lnTo>
                    <a:pt x="1355" y="1490"/>
                  </a:lnTo>
                  <a:cubicBezTo>
                    <a:pt x="1359" y="1480"/>
                    <a:pt x="1362" y="1469"/>
                    <a:pt x="1369" y="1459"/>
                  </a:cubicBezTo>
                  <a:lnTo>
                    <a:pt x="1369" y="1455"/>
                  </a:lnTo>
                  <a:cubicBezTo>
                    <a:pt x="1411" y="1368"/>
                    <a:pt x="1460" y="1287"/>
                    <a:pt x="1516" y="1210"/>
                  </a:cubicBezTo>
                  <a:lnTo>
                    <a:pt x="1551" y="1168"/>
                  </a:lnTo>
                  <a:lnTo>
                    <a:pt x="1593" y="1105"/>
                  </a:lnTo>
                  <a:lnTo>
                    <a:pt x="1607" y="1091"/>
                  </a:lnTo>
                  <a:cubicBezTo>
                    <a:pt x="1632" y="1060"/>
                    <a:pt x="1656" y="1032"/>
                    <a:pt x="1684" y="1004"/>
                  </a:cubicBezTo>
                  <a:lnTo>
                    <a:pt x="1691" y="997"/>
                  </a:lnTo>
                  <a:lnTo>
                    <a:pt x="1705" y="986"/>
                  </a:lnTo>
                  <a:lnTo>
                    <a:pt x="1716" y="975"/>
                  </a:lnTo>
                  <a:lnTo>
                    <a:pt x="1723" y="968"/>
                  </a:lnTo>
                  <a:lnTo>
                    <a:pt x="1730" y="965"/>
                  </a:lnTo>
                  <a:lnTo>
                    <a:pt x="1744" y="954"/>
                  </a:lnTo>
                  <a:lnTo>
                    <a:pt x="1747" y="954"/>
                  </a:lnTo>
                  <a:cubicBezTo>
                    <a:pt x="1758" y="947"/>
                    <a:pt x="1765" y="944"/>
                    <a:pt x="1775" y="940"/>
                  </a:cubicBezTo>
                  <a:cubicBezTo>
                    <a:pt x="1775" y="937"/>
                    <a:pt x="1779" y="933"/>
                    <a:pt x="1779" y="930"/>
                  </a:cubicBezTo>
                  <a:lnTo>
                    <a:pt x="1779" y="923"/>
                  </a:lnTo>
                  <a:cubicBezTo>
                    <a:pt x="1810" y="821"/>
                    <a:pt x="1828" y="517"/>
                    <a:pt x="1807" y="310"/>
                  </a:cubicBezTo>
                  <a:lnTo>
                    <a:pt x="1796" y="303"/>
                  </a:lnTo>
                  <a:lnTo>
                    <a:pt x="1779" y="293"/>
                  </a:lnTo>
                  <a:lnTo>
                    <a:pt x="1758" y="275"/>
                  </a:lnTo>
                  <a:lnTo>
                    <a:pt x="1740" y="265"/>
                  </a:lnTo>
                  <a:lnTo>
                    <a:pt x="1716" y="251"/>
                  </a:lnTo>
                  <a:lnTo>
                    <a:pt x="1698" y="240"/>
                  </a:lnTo>
                  <a:lnTo>
                    <a:pt x="1677" y="230"/>
                  </a:lnTo>
                  <a:lnTo>
                    <a:pt x="1660" y="219"/>
                  </a:lnTo>
                  <a:lnTo>
                    <a:pt x="1639" y="209"/>
                  </a:lnTo>
                  <a:lnTo>
                    <a:pt x="1625" y="198"/>
                  </a:lnTo>
                  <a:lnTo>
                    <a:pt x="1604" y="188"/>
                  </a:lnTo>
                  <a:lnTo>
                    <a:pt x="1590" y="181"/>
                  </a:lnTo>
                  <a:lnTo>
                    <a:pt x="1569" y="174"/>
                  </a:lnTo>
                  <a:lnTo>
                    <a:pt x="1555" y="167"/>
                  </a:lnTo>
                  <a:lnTo>
                    <a:pt x="1537" y="156"/>
                  </a:lnTo>
                  <a:lnTo>
                    <a:pt x="1523" y="149"/>
                  </a:lnTo>
                  <a:lnTo>
                    <a:pt x="1506" y="142"/>
                  </a:lnTo>
                  <a:lnTo>
                    <a:pt x="1495" y="139"/>
                  </a:lnTo>
                  <a:lnTo>
                    <a:pt x="1481" y="132"/>
                  </a:lnTo>
                  <a:lnTo>
                    <a:pt x="1467" y="125"/>
                  </a:lnTo>
                  <a:lnTo>
                    <a:pt x="1453" y="121"/>
                  </a:lnTo>
                  <a:lnTo>
                    <a:pt x="1443" y="114"/>
                  </a:lnTo>
                  <a:lnTo>
                    <a:pt x="1432" y="111"/>
                  </a:lnTo>
                  <a:lnTo>
                    <a:pt x="1422" y="107"/>
                  </a:lnTo>
                  <a:lnTo>
                    <a:pt x="1411" y="104"/>
                  </a:lnTo>
                  <a:lnTo>
                    <a:pt x="1404" y="100"/>
                  </a:lnTo>
                  <a:lnTo>
                    <a:pt x="1394" y="97"/>
                  </a:lnTo>
                  <a:lnTo>
                    <a:pt x="1387" y="97"/>
                  </a:lnTo>
                  <a:lnTo>
                    <a:pt x="1380" y="93"/>
                  </a:lnTo>
                  <a:lnTo>
                    <a:pt x="1376" y="93"/>
                  </a:lnTo>
                  <a:lnTo>
                    <a:pt x="1366" y="90"/>
                  </a:lnTo>
                  <a:cubicBezTo>
                    <a:pt x="1226" y="86"/>
                    <a:pt x="631" y="51"/>
                    <a:pt x="508" y="2"/>
                  </a:cubicBezTo>
                  <a:cubicBezTo>
                    <a:pt x="504" y="1"/>
                    <a:pt x="501" y="1"/>
                    <a:pt x="4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5" name="Google Shape;4865;p53"/>
            <p:cNvSpPr/>
            <p:nvPr/>
          </p:nvSpPr>
          <p:spPr>
            <a:xfrm>
              <a:off x="2151397" y="1668202"/>
              <a:ext cx="37270" cy="31337"/>
            </a:xfrm>
            <a:custGeom>
              <a:avLst/>
              <a:gdLst/>
              <a:ahLst/>
              <a:cxnLst/>
              <a:rect l="l" t="t" r="r" b="b"/>
              <a:pathLst>
                <a:path w="2745" h="2308" extrusionOk="0">
                  <a:moveTo>
                    <a:pt x="2740" y="1018"/>
                  </a:moveTo>
                  <a:cubicBezTo>
                    <a:pt x="2741" y="1019"/>
                    <a:pt x="2743" y="1021"/>
                    <a:pt x="2745" y="1022"/>
                  </a:cubicBezTo>
                  <a:lnTo>
                    <a:pt x="2741" y="1019"/>
                  </a:lnTo>
                  <a:lnTo>
                    <a:pt x="2740" y="1018"/>
                  </a:lnTo>
                  <a:close/>
                  <a:moveTo>
                    <a:pt x="1309" y="0"/>
                  </a:moveTo>
                  <a:lnTo>
                    <a:pt x="1264" y="39"/>
                  </a:lnTo>
                  <a:lnTo>
                    <a:pt x="1257" y="46"/>
                  </a:lnTo>
                  <a:lnTo>
                    <a:pt x="1222" y="74"/>
                  </a:lnTo>
                  <a:cubicBezTo>
                    <a:pt x="1166" y="119"/>
                    <a:pt x="1106" y="154"/>
                    <a:pt x="1043" y="186"/>
                  </a:cubicBezTo>
                  <a:lnTo>
                    <a:pt x="1036" y="189"/>
                  </a:lnTo>
                  <a:lnTo>
                    <a:pt x="1019" y="196"/>
                  </a:lnTo>
                  <a:cubicBezTo>
                    <a:pt x="1012" y="196"/>
                    <a:pt x="1001" y="200"/>
                    <a:pt x="994" y="200"/>
                  </a:cubicBezTo>
                  <a:cubicBezTo>
                    <a:pt x="987" y="228"/>
                    <a:pt x="980" y="256"/>
                    <a:pt x="977" y="284"/>
                  </a:cubicBezTo>
                  <a:cubicBezTo>
                    <a:pt x="970" y="354"/>
                    <a:pt x="952" y="469"/>
                    <a:pt x="847" y="469"/>
                  </a:cubicBezTo>
                  <a:cubicBezTo>
                    <a:pt x="812" y="469"/>
                    <a:pt x="749" y="564"/>
                    <a:pt x="714" y="669"/>
                  </a:cubicBezTo>
                  <a:cubicBezTo>
                    <a:pt x="697" y="720"/>
                    <a:pt x="657" y="735"/>
                    <a:pt x="609" y="735"/>
                  </a:cubicBezTo>
                  <a:cubicBezTo>
                    <a:pt x="568" y="735"/>
                    <a:pt x="522" y="724"/>
                    <a:pt x="480" y="714"/>
                  </a:cubicBezTo>
                  <a:cubicBezTo>
                    <a:pt x="442" y="703"/>
                    <a:pt x="402" y="696"/>
                    <a:pt x="361" y="696"/>
                  </a:cubicBezTo>
                  <a:cubicBezTo>
                    <a:pt x="353" y="696"/>
                    <a:pt x="345" y="696"/>
                    <a:pt x="336" y="697"/>
                  </a:cubicBezTo>
                  <a:lnTo>
                    <a:pt x="312" y="704"/>
                  </a:lnTo>
                  <a:lnTo>
                    <a:pt x="301" y="707"/>
                  </a:lnTo>
                  <a:lnTo>
                    <a:pt x="284" y="711"/>
                  </a:lnTo>
                  <a:lnTo>
                    <a:pt x="270" y="714"/>
                  </a:lnTo>
                  <a:lnTo>
                    <a:pt x="245" y="721"/>
                  </a:lnTo>
                  <a:lnTo>
                    <a:pt x="228" y="725"/>
                  </a:lnTo>
                  <a:lnTo>
                    <a:pt x="203" y="728"/>
                  </a:lnTo>
                  <a:lnTo>
                    <a:pt x="182" y="732"/>
                  </a:lnTo>
                  <a:lnTo>
                    <a:pt x="154" y="739"/>
                  </a:lnTo>
                  <a:lnTo>
                    <a:pt x="130" y="742"/>
                  </a:lnTo>
                  <a:lnTo>
                    <a:pt x="98" y="749"/>
                  </a:lnTo>
                  <a:lnTo>
                    <a:pt x="70" y="753"/>
                  </a:lnTo>
                  <a:lnTo>
                    <a:pt x="28" y="760"/>
                  </a:lnTo>
                  <a:lnTo>
                    <a:pt x="7" y="763"/>
                  </a:lnTo>
                  <a:lnTo>
                    <a:pt x="0" y="763"/>
                  </a:lnTo>
                  <a:cubicBezTo>
                    <a:pt x="0" y="802"/>
                    <a:pt x="11" y="840"/>
                    <a:pt x="25" y="875"/>
                  </a:cubicBezTo>
                  <a:lnTo>
                    <a:pt x="91" y="875"/>
                  </a:lnTo>
                  <a:cubicBezTo>
                    <a:pt x="252" y="875"/>
                    <a:pt x="504" y="889"/>
                    <a:pt x="511" y="1117"/>
                  </a:cubicBezTo>
                  <a:cubicBezTo>
                    <a:pt x="518" y="1267"/>
                    <a:pt x="802" y="1642"/>
                    <a:pt x="980" y="1845"/>
                  </a:cubicBezTo>
                  <a:cubicBezTo>
                    <a:pt x="1033" y="1901"/>
                    <a:pt x="1124" y="1926"/>
                    <a:pt x="1204" y="1950"/>
                  </a:cubicBezTo>
                  <a:cubicBezTo>
                    <a:pt x="1309" y="1978"/>
                    <a:pt x="1421" y="2010"/>
                    <a:pt x="1432" y="2115"/>
                  </a:cubicBezTo>
                  <a:cubicBezTo>
                    <a:pt x="1442" y="2185"/>
                    <a:pt x="1604" y="2290"/>
                    <a:pt x="1842" y="2307"/>
                  </a:cubicBezTo>
                  <a:lnTo>
                    <a:pt x="1845" y="2307"/>
                  </a:lnTo>
                  <a:lnTo>
                    <a:pt x="1842" y="2304"/>
                  </a:lnTo>
                  <a:cubicBezTo>
                    <a:pt x="1824" y="2283"/>
                    <a:pt x="1803" y="2265"/>
                    <a:pt x="1786" y="2248"/>
                  </a:cubicBezTo>
                  <a:lnTo>
                    <a:pt x="1775" y="2237"/>
                  </a:lnTo>
                  <a:lnTo>
                    <a:pt x="1723" y="2188"/>
                  </a:lnTo>
                  <a:cubicBezTo>
                    <a:pt x="1618" y="2087"/>
                    <a:pt x="1555" y="2031"/>
                    <a:pt x="1558" y="1968"/>
                  </a:cubicBezTo>
                  <a:cubicBezTo>
                    <a:pt x="1512" y="1912"/>
                    <a:pt x="1460" y="1862"/>
                    <a:pt x="1404" y="1817"/>
                  </a:cubicBezTo>
                  <a:cubicBezTo>
                    <a:pt x="1260" y="1691"/>
                    <a:pt x="1110" y="1558"/>
                    <a:pt x="1110" y="1425"/>
                  </a:cubicBezTo>
                  <a:cubicBezTo>
                    <a:pt x="1110" y="1351"/>
                    <a:pt x="1050" y="1299"/>
                    <a:pt x="987" y="1239"/>
                  </a:cubicBezTo>
                  <a:cubicBezTo>
                    <a:pt x="931" y="1190"/>
                    <a:pt x="872" y="1138"/>
                    <a:pt x="858" y="1064"/>
                  </a:cubicBezTo>
                  <a:cubicBezTo>
                    <a:pt x="837" y="921"/>
                    <a:pt x="951" y="811"/>
                    <a:pt x="1076" y="811"/>
                  </a:cubicBezTo>
                  <a:cubicBezTo>
                    <a:pt x="1119" y="811"/>
                    <a:pt x="1164" y="824"/>
                    <a:pt x="1204" y="854"/>
                  </a:cubicBezTo>
                  <a:cubicBezTo>
                    <a:pt x="1211" y="861"/>
                    <a:pt x="1219" y="863"/>
                    <a:pt x="1227" y="863"/>
                  </a:cubicBezTo>
                  <a:cubicBezTo>
                    <a:pt x="1231" y="863"/>
                    <a:pt x="1236" y="863"/>
                    <a:pt x="1239" y="861"/>
                  </a:cubicBezTo>
                  <a:cubicBezTo>
                    <a:pt x="1264" y="851"/>
                    <a:pt x="1288" y="837"/>
                    <a:pt x="1313" y="823"/>
                  </a:cubicBezTo>
                  <a:cubicBezTo>
                    <a:pt x="1360" y="794"/>
                    <a:pt x="1415" y="761"/>
                    <a:pt x="1476" y="761"/>
                  </a:cubicBezTo>
                  <a:cubicBezTo>
                    <a:pt x="1497" y="761"/>
                    <a:pt x="1518" y="765"/>
                    <a:pt x="1540" y="774"/>
                  </a:cubicBezTo>
                  <a:cubicBezTo>
                    <a:pt x="1625" y="809"/>
                    <a:pt x="2087" y="840"/>
                    <a:pt x="2363" y="854"/>
                  </a:cubicBezTo>
                  <a:lnTo>
                    <a:pt x="2377" y="858"/>
                  </a:lnTo>
                  <a:lnTo>
                    <a:pt x="2391" y="858"/>
                  </a:lnTo>
                  <a:lnTo>
                    <a:pt x="2402" y="861"/>
                  </a:lnTo>
                  <a:lnTo>
                    <a:pt x="2419" y="868"/>
                  </a:lnTo>
                  <a:lnTo>
                    <a:pt x="2468" y="886"/>
                  </a:lnTo>
                  <a:lnTo>
                    <a:pt x="2472" y="886"/>
                  </a:lnTo>
                  <a:lnTo>
                    <a:pt x="2493" y="896"/>
                  </a:lnTo>
                  <a:lnTo>
                    <a:pt x="2503" y="900"/>
                  </a:lnTo>
                  <a:lnTo>
                    <a:pt x="2528" y="910"/>
                  </a:lnTo>
                  <a:lnTo>
                    <a:pt x="2535" y="914"/>
                  </a:lnTo>
                  <a:lnTo>
                    <a:pt x="2566" y="928"/>
                  </a:lnTo>
                  <a:lnTo>
                    <a:pt x="2605" y="945"/>
                  </a:lnTo>
                  <a:lnTo>
                    <a:pt x="2612" y="949"/>
                  </a:lnTo>
                  <a:lnTo>
                    <a:pt x="2643" y="966"/>
                  </a:lnTo>
                  <a:lnTo>
                    <a:pt x="2657" y="973"/>
                  </a:lnTo>
                  <a:lnTo>
                    <a:pt x="2685" y="987"/>
                  </a:lnTo>
                  <a:lnTo>
                    <a:pt x="2699" y="994"/>
                  </a:lnTo>
                  <a:lnTo>
                    <a:pt x="2727" y="1012"/>
                  </a:lnTo>
                  <a:lnTo>
                    <a:pt x="2740" y="1018"/>
                  </a:lnTo>
                  <a:lnTo>
                    <a:pt x="2740" y="1018"/>
                  </a:lnTo>
                  <a:cubicBezTo>
                    <a:pt x="2733" y="1011"/>
                    <a:pt x="2731" y="1002"/>
                    <a:pt x="2731" y="991"/>
                  </a:cubicBezTo>
                  <a:lnTo>
                    <a:pt x="2731" y="980"/>
                  </a:lnTo>
                  <a:cubicBezTo>
                    <a:pt x="2727" y="970"/>
                    <a:pt x="2727" y="959"/>
                    <a:pt x="2727" y="949"/>
                  </a:cubicBezTo>
                  <a:lnTo>
                    <a:pt x="2727" y="938"/>
                  </a:lnTo>
                  <a:cubicBezTo>
                    <a:pt x="2727" y="924"/>
                    <a:pt x="2724" y="914"/>
                    <a:pt x="2720" y="903"/>
                  </a:cubicBezTo>
                  <a:cubicBezTo>
                    <a:pt x="2706" y="798"/>
                    <a:pt x="2699" y="753"/>
                    <a:pt x="2626" y="725"/>
                  </a:cubicBezTo>
                  <a:cubicBezTo>
                    <a:pt x="2612" y="721"/>
                    <a:pt x="2601" y="714"/>
                    <a:pt x="2591" y="707"/>
                  </a:cubicBezTo>
                  <a:lnTo>
                    <a:pt x="2580" y="700"/>
                  </a:lnTo>
                  <a:cubicBezTo>
                    <a:pt x="2573" y="693"/>
                    <a:pt x="2566" y="690"/>
                    <a:pt x="2563" y="683"/>
                  </a:cubicBezTo>
                  <a:cubicBezTo>
                    <a:pt x="2559" y="679"/>
                    <a:pt x="2552" y="676"/>
                    <a:pt x="2549" y="672"/>
                  </a:cubicBezTo>
                  <a:cubicBezTo>
                    <a:pt x="2545" y="665"/>
                    <a:pt x="2538" y="658"/>
                    <a:pt x="2535" y="651"/>
                  </a:cubicBezTo>
                  <a:lnTo>
                    <a:pt x="2524" y="634"/>
                  </a:lnTo>
                  <a:cubicBezTo>
                    <a:pt x="2517" y="627"/>
                    <a:pt x="2514" y="620"/>
                    <a:pt x="2510" y="609"/>
                  </a:cubicBezTo>
                  <a:cubicBezTo>
                    <a:pt x="2507" y="602"/>
                    <a:pt x="2503" y="599"/>
                    <a:pt x="2500" y="592"/>
                  </a:cubicBezTo>
                  <a:cubicBezTo>
                    <a:pt x="2496" y="585"/>
                    <a:pt x="2493" y="571"/>
                    <a:pt x="2489" y="560"/>
                  </a:cubicBezTo>
                  <a:cubicBezTo>
                    <a:pt x="2486" y="550"/>
                    <a:pt x="2482" y="550"/>
                    <a:pt x="2482" y="539"/>
                  </a:cubicBezTo>
                  <a:cubicBezTo>
                    <a:pt x="2479" y="532"/>
                    <a:pt x="2472" y="515"/>
                    <a:pt x="2468" y="504"/>
                  </a:cubicBezTo>
                  <a:cubicBezTo>
                    <a:pt x="2465" y="490"/>
                    <a:pt x="2465" y="490"/>
                    <a:pt x="2465" y="483"/>
                  </a:cubicBezTo>
                  <a:cubicBezTo>
                    <a:pt x="2461" y="466"/>
                    <a:pt x="2454" y="445"/>
                    <a:pt x="2451" y="427"/>
                  </a:cubicBezTo>
                  <a:lnTo>
                    <a:pt x="2451" y="417"/>
                  </a:lnTo>
                  <a:cubicBezTo>
                    <a:pt x="2402" y="431"/>
                    <a:pt x="2363" y="445"/>
                    <a:pt x="2335" y="448"/>
                  </a:cubicBezTo>
                  <a:lnTo>
                    <a:pt x="2332" y="448"/>
                  </a:lnTo>
                  <a:lnTo>
                    <a:pt x="2300" y="455"/>
                  </a:lnTo>
                  <a:lnTo>
                    <a:pt x="2290" y="455"/>
                  </a:lnTo>
                  <a:lnTo>
                    <a:pt x="2262" y="459"/>
                  </a:lnTo>
                  <a:lnTo>
                    <a:pt x="2097" y="459"/>
                  </a:lnTo>
                  <a:cubicBezTo>
                    <a:pt x="2080" y="459"/>
                    <a:pt x="2062" y="459"/>
                    <a:pt x="2045" y="455"/>
                  </a:cubicBezTo>
                  <a:lnTo>
                    <a:pt x="2031" y="455"/>
                  </a:lnTo>
                  <a:cubicBezTo>
                    <a:pt x="2013" y="452"/>
                    <a:pt x="1996" y="448"/>
                    <a:pt x="1978" y="445"/>
                  </a:cubicBezTo>
                  <a:lnTo>
                    <a:pt x="1971" y="445"/>
                  </a:lnTo>
                  <a:cubicBezTo>
                    <a:pt x="1954" y="441"/>
                    <a:pt x="1936" y="438"/>
                    <a:pt x="1915" y="431"/>
                  </a:cubicBezTo>
                  <a:lnTo>
                    <a:pt x="1901" y="427"/>
                  </a:lnTo>
                  <a:cubicBezTo>
                    <a:pt x="1887" y="420"/>
                    <a:pt x="1873" y="417"/>
                    <a:pt x="1859" y="410"/>
                  </a:cubicBezTo>
                  <a:lnTo>
                    <a:pt x="1845" y="406"/>
                  </a:lnTo>
                  <a:cubicBezTo>
                    <a:pt x="1828" y="396"/>
                    <a:pt x="1814" y="389"/>
                    <a:pt x="1796" y="378"/>
                  </a:cubicBezTo>
                  <a:lnTo>
                    <a:pt x="1789" y="371"/>
                  </a:lnTo>
                  <a:cubicBezTo>
                    <a:pt x="1775" y="364"/>
                    <a:pt x="1765" y="357"/>
                    <a:pt x="1751" y="347"/>
                  </a:cubicBezTo>
                  <a:lnTo>
                    <a:pt x="1740" y="336"/>
                  </a:lnTo>
                  <a:cubicBezTo>
                    <a:pt x="1726" y="326"/>
                    <a:pt x="1716" y="312"/>
                    <a:pt x="1705" y="298"/>
                  </a:cubicBezTo>
                  <a:cubicBezTo>
                    <a:pt x="1698" y="287"/>
                    <a:pt x="1691" y="280"/>
                    <a:pt x="1684" y="273"/>
                  </a:cubicBezTo>
                  <a:lnTo>
                    <a:pt x="1684" y="270"/>
                  </a:lnTo>
                  <a:cubicBezTo>
                    <a:pt x="1674" y="259"/>
                    <a:pt x="1663" y="252"/>
                    <a:pt x="1653" y="242"/>
                  </a:cubicBezTo>
                  <a:lnTo>
                    <a:pt x="1649" y="238"/>
                  </a:lnTo>
                  <a:cubicBezTo>
                    <a:pt x="1639" y="228"/>
                    <a:pt x="1628" y="221"/>
                    <a:pt x="1614" y="210"/>
                  </a:cubicBezTo>
                  <a:lnTo>
                    <a:pt x="1611" y="203"/>
                  </a:lnTo>
                  <a:lnTo>
                    <a:pt x="1569" y="172"/>
                  </a:lnTo>
                  <a:lnTo>
                    <a:pt x="1562" y="165"/>
                  </a:lnTo>
                  <a:lnTo>
                    <a:pt x="1512" y="133"/>
                  </a:lnTo>
                  <a:lnTo>
                    <a:pt x="1505" y="126"/>
                  </a:lnTo>
                  <a:lnTo>
                    <a:pt x="1453" y="91"/>
                  </a:lnTo>
                  <a:lnTo>
                    <a:pt x="1446" y="84"/>
                  </a:lnTo>
                  <a:lnTo>
                    <a:pt x="1383" y="46"/>
                  </a:lnTo>
                  <a:lnTo>
                    <a:pt x="131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6" name="Google Shape;4866;p53"/>
            <p:cNvSpPr/>
            <p:nvPr/>
          </p:nvSpPr>
          <p:spPr>
            <a:xfrm>
              <a:off x="2186141" y="16808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7" name="Google Shape;4867;p53"/>
            <p:cNvSpPr/>
            <p:nvPr/>
          </p:nvSpPr>
          <p:spPr>
            <a:xfrm>
              <a:off x="2187187" y="16813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8" name="Google Shape;4868;p53"/>
            <p:cNvSpPr/>
            <p:nvPr/>
          </p:nvSpPr>
          <p:spPr>
            <a:xfrm>
              <a:off x="2188327" y="168202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9" name="Google Shape;4869;p53"/>
            <p:cNvSpPr/>
            <p:nvPr/>
          </p:nvSpPr>
          <p:spPr>
            <a:xfrm>
              <a:off x="2185571" y="1680652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0" name="Google Shape;4870;p53"/>
            <p:cNvSpPr/>
            <p:nvPr/>
          </p:nvSpPr>
          <p:spPr>
            <a:xfrm>
              <a:off x="2186657" y="168112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1" name="Google Shape;4871;p53"/>
            <p:cNvSpPr/>
            <p:nvPr/>
          </p:nvSpPr>
          <p:spPr>
            <a:xfrm>
              <a:off x="2184756" y="168031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2" name="Google Shape;4872;p53"/>
            <p:cNvSpPr/>
            <p:nvPr/>
          </p:nvSpPr>
          <p:spPr>
            <a:xfrm>
              <a:off x="2185137" y="1680462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3" name="Google Shape;4873;p53"/>
            <p:cNvSpPr/>
            <p:nvPr/>
          </p:nvSpPr>
          <p:spPr>
            <a:xfrm>
              <a:off x="2183616" y="167989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4" name="Google Shape;4874;p53"/>
            <p:cNvSpPr/>
            <p:nvPr/>
          </p:nvSpPr>
          <p:spPr>
            <a:xfrm>
              <a:off x="2175347" y="1698615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5" name="Google Shape;4875;p53"/>
            <p:cNvSpPr/>
            <p:nvPr/>
          </p:nvSpPr>
          <p:spPr>
            <a:xfrm>
              <a:off x="2176257" y="169952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6" name="Google Shape;4876;p53"/>
            <p:cNvSpPr/>
            <p:nvPr/>
          </p:nvSpPr>
          <p:spPr>
            <a:xfrm>
              <a:off x="2187703" y="1681698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7" name="Google Shape;4877;p53"/>
            <p:cNvSpPr/>
            <p:nvPr/>
          </p:nvSpPr>
          <p:spPr>
            <a:xfrm>
              <a:off x="2167595" y="1679838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1" y="1"/>
                  </a:moveTo>
                  <a:cubicBezTo>
                    <a:pt x="11" y="8"/>
                    <a:pt x="25" y="11"/>
                    <a:pt x="36" y="4"/>
                  </a:cubicBezTo>
                  <a:cubicBezTo>
                    <a:pt x="25" y="11"/>
                    <a:pt x="1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8" name="Google Shape;4878;p53"/>
            <p:cNvSpPr/>
            <p:nvPr/>
          </p:nvSpPr>
          <p:spPr>
            <a:xfrm>
              <a:off x="2183711" y="16799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9" name="Google Shape;4879;p53"/>
            <p:cNvSpPr/>
            <p:nvPr/>
          </p:nvSpPr>
          <p:spPr>
            <a:xfrm>
              <a:off x="2184145" y="16800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0" name="Google Shape;4880;p53"/>
            <p:cNvSpPr/>
            <p:nvPr/>
          </p:nvSpPr>
          <p:spPr>
            <a:xfrm>
              <a:off x="2183860" y="167998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1" name="Google Shape;4881;p53"/>
            <p:cNvSpPr/>
            <p:nvPr/>
          </p:nvSpPr>
          <p:spPr>
            <a:xfrm>
              <a:off x="2189794" y="1704318"/>
              <a:ext cx="11324" cy="24833"/>
            </a:xfrm>
            <a:custGeom>
              <a:avLst/>
              <a:gdLst/>
              <a:ahLst/>
              <a:cxnLst/>
              <a:rect l="l" t="t" r="r" b="b"/>
              <a:pathLst>
                <a:path w="834" h="1829" extrusionOk="0">
                  <a:moveTo>
                    <a:pt x="186" y="1"/>
                  </a:moveTo>
                  <a:cubicBezTo>
                    <a:pt x="141" y="11"/>
                    <a:pt x="50" y="123"/>
                    <a:pt x="4" y="267"/>
                  </a:cubicBezTo>
                  <a:lnTo>
                    <a:pt x="4" y="274"/>
                  </a:lnTo>
                  <a:cubicBezTo>
                    <a:pt x="4" y="277"/>
                    <a:pt x="1" y="284"/>
                    <a:pt x="1" y="288"/>
                  </a:cubicBezTo>
                  <a:cubicBezTo>
                    <a:pt x="123" y="358"/>
                    <a:pt x="200" y="421"/>
                    <a:pt x="211" y="508"/>
                  </a:cubicBezTo>
                  <a:cubicBezTo>
                    <a:pt x="221" y="571"/>
                    <a:pt x="193" y="638"/>
                    <a:pt x="120" y="708"/>
                  </a:cubicBezTo>
                  <a:cubicBezTo>
                    <a:pt x="50" y="781"/>
                    <a:pt x="1" y="970"/>
                    <a:pt x="11" y="1156"/>
                  </a:cubicBezTo>
                  <a:cubicBezTo>
                    <a:pt x="18" y="1282"/>
                    <a:pt x="50" y="1380"/>
                    <a:pt x="99" y="1419"/>
                  </a:cubicBezTo>
                  <a:cubicBezTo>
                    <a:pt x="176" y="1492"/>
                    <a:pt x="242" y="1580"/>
                    <a:pt x="288" y="1674"/>
                  </a:cubicBezTo>
                  <a:cubicBezTo>
                    <a:pt x="316" y="1727"/>
                    <a:pt x="351" y="1779"/>
                    <a:pt x="389" y="1828"/>
                  </a:cubicBezTo>
                  <a:lnTo>
                    <a:pt x="389" y="1818"/>
                  </a:lnTo>
                  <a:lnTo>
                    <a:pt x="396" y="1797"/>
                  </a:lnTo>
                  <a:lnTo>
                    <a:pt x="407" y="1772"/>
                  </a:lnTo>
                  <a:lnTo>
                    <a:pt x="414" y="1751"/>
                  </a:lnTo>
                  <a:cubicBezTo>
                    <a:pt x="417" y="1744"/>
                    <a:pt x="421" y="1734"/>
                    <a:pt x="424" y="1727"/>
                  </a:cubicBezTo>
                  <a:lnTo>
                    <a:pt x="431" y="1709"/>
                  </a:lnTo>
                  <a:cubicBezTo>
                    <a:pt x="435" y="1702"/>
                    <a:pt x="438" y="1695"/>
                    <a:pt x="442" y="1688"/>
                  </a:cubicBezTo>
                  <a:cubicBezTo>
                    <a:pt x="445" y="1681"/>
                    <a:pt x="449" y="1674"/>
                    <a:pt x="452" y="1671"/>
                  </a:cubicBezTo>
                  <a:cubicBezTo>
                    <a:pt x="456" y="1664"/>
                    <a:pt x="459" y="1657"/>
                    <a:pt x="463" y="1650"/>
                  </a:cubicBezTo>
                  <a:cubicBezTo>
                    <a:pt x="470" y="1643"/>
                    <a:pt x="470" y="1643"/>
                    <a:pt x="473" y="1636"/>
                  </a:cubicBezTo>
                  <a:cubicBezTo>
                    <a:pt x="477" y="1632"/>
                    <a:pt x="484" y="1625"/>
                    <a:pt x="491" y="1622"/>
                  </a:cubicBezTo>
                  <a:cubicBezTo>
                    <a:pt x="494" y="1618"/>
                    <a:pt x="494" y="1615"/>
                    <a:pt x="501" y="1611"/>
                  </a:cubicBezTo>
                  <a:cubicBezTo>
                    <a:pt x="505" y="1604"/>
                    <a:pt x="512" y="1601"/>
                    <a:pt x="519" y="1597"/>
                  </a:cubicBezTo>
                  <a:cubicBezTo>
                    <a:pt x="522" y="1597"/>
                    <a:pt x="526" y="1590"/>
                    <a:pt x="529" y="1590"/>
                  </a:cubicBezTo>
                  <a:cubicBezTo>
                    <a:pt x="540" y="1583"/>
                    <a:pt x="554" y="1580"/>
                    <a:pt x="564" y="1576"/>
                  </a:cubicBezTo>
                  <a:lnTo>
                    <a:pt x="571" y="1576"/>
                  </a:lnTo>
                  <a:cubicBezTo>
                    <a:pt x="589" y="1573"/>
                    <a:pt x="589" y="1569"/>
                    <a:pt x="592" y="1548"/>
                  </a:cubicBezTo>
                  <a:lnTo>
                    <a:pt x="596" y="1538"/>
                  </a:lnTo>
                  <a:cubicBezTo>
                    <a:pt x="603" y="1482"/>
                    <a:pt x="627" y="1429"/>
                    <a:pt x="666" y="1391"/>
                  </a:cubicBezTo>
                  <a:cubicBezTo>
                    <a:pt x="673" y="1384"/>
                    <a:pt x="680" y="1373"/>
                    <a:pt x="690" y="1363"/>
                  </a:cubicBezTo>
                  <a:lnTo>
                    <a:pt x="694" y="1359"/>
                  </a:lnTo>
                  <a:cubicBezTo>
                    <a:pt x="701" y="1352"/>
                    <a:pt x="708" y="1342"/>
                    <a:pt x="715" y="1331"/>
                  </a:cubicBezTo>
                  <a:lnTo>
                    <a:pt x="722" y="1324"/>
                  </a:lnTo>
                  <a:lnTo>
                    <a:pt x="743" y="1296"/>
                  </a:lnTo>
                  <a:lnTo>
                    <a:pt x="746" y="1289"/>
                  </a:lnTo>
                  <a:lnTo>
                    <a:pt x="767" y="1257"/>
                  </a:lnTo>
                  <a:lnTo>
                    <a:pt x="771" y="1250"/>
                  </a:lnTo>
                  <a:lnTo>
                    <a:pt x="788" y="1222"/>
                  </a:lnTo>
                  <a:lnTo>
                    <a:pt x="792" y="1215"/>
                  </a:lnTo>
                  <a:lnTo>
                    <a:pt x="806" y="1187"/>
                  </a:lnTo>
                  <a:lnTo>
                    <a:pt x="810" y="1180"/>
                  </a:lnTo>
                  <a:lnTo>
                    <a:pt x="824" y="1156"/>
                  </a:lnTo>
                  <a:lnTo>
                    <a:pt x="824" y="1149"/>
                  </a:lnTo>
                  <a:cubicBezTo>
                    <a:pt x="827" y="1142"/>
                    <a:pt x="831" y="1135"/>
                    <a:pt x="834" y="1128"/>
                  </a:cubicBezTo>
                  <a:lnTo>
                    <a:pt x="827" y="1121"/>
                  </a:lnTo>
                  <a:lnTo>
                    <a:pt x="806" y="1103"/>
                  </a:lnTo>
                  <a:lnTo>
                    <a:pt x="774" y="1075"/>
                  </a:lnTo>
                  <a:lnTo>
                    <a:pt x="750" y="1058"/>
                  </a:lnTo>
                  <a:lnTo>
                    <a:pt x="722" y="1033"/>
                  </a:lnTo>
                  <a:lnTo>
                    <a:pt x="701" y="1016"/>
                  </a:lnTo>
                  <a:lnTo>
                    <a:pt x="676" y="991"/>
                  </a:lnTo>
                  <a:lnTo>
                    <a:pt x="655" y="974"/>
                  </a:lnTo>
                  <a:cubicBezTo>
                    <a:pt x="648" y="963"/>
                    <a:pt x="641" y="956"/>
                    <a:pt x="634" y="949"/>
                  </a:cubicBezTo>
                  <a:lnTo>
                    <a:pt x="617" y="928"/>
                  </a:lnTo>
                  <a:cubicBezTo>
                    <a:pt x="610" y="921"/>
                    <a:pt x="603" y="911"/>
                    <a:pt x="599" y="900"/>
                  </a:cubicBezTo>
                  <a:cubicBezTo>
                    <a:pt x="592" y="893"/>
                    <a:pt x="589" y="890"/>
                    <a:pt x="585" y="883"/>
                  </a:cubicBezTo>
                  <a:cubicBezTo>
                    <a:pt x="582" y="876"/>
                    <a:pt x="571" y="862"/>
                    <a:pt x="568" y="851"/>
                  </a:cubicBezTo>
                  <a:cubicBezTo>
                    <a:pt x="561" y="841"/>
                    <a:pt x="561" y="841"/>
                    <a:pt x="557" y="834"/>
                  </a:cubicBezTo>
                  <a:cubicBezTo>
                    <a:pt x="550" y="816"/>
                    <a:pt x="543" y="799"/>
                    <a:pt x="540" y="781"/>
                  </a:cubicBezTo>
                  <a:cubicBezTo>
                    <a:pt x="536" y="764"/>
                    <a:pt x="533" y="746"/>
                    <a:pt x="529" y="729"/>
                  </a:cubicBezTo>
                  <a:lnTo>
                    <a:pt x="529" y="725"/>
                  </a:lnTo>
                  <a:cubicBezTo>
                    <a:pt x="526" y="708"/>
                    <a:pt x="526" y="687"/>
                    <a:pt x="526" y="669"/>
                  </a:cubicBezTo>
                  <a:lnTo>
                    <a:pt x="526" y="659"/>
                  </a:lnTo>
                  <a:lnTo>
                    <a:pt x="526" y="599"/>
                  </a:lnTo>
                  <a:lnTo>
                    <a:pt x="526" y="589"/>
                  </a:lnTo>
                  <a:cubicBezTo>
                    <a:pt x="526" y="568"/>
                    <a:pt x="526" y="547"/>
                    <a:pt x="529" y="526"/>
                  </a:cubicBezTo>
                  <a:lnTo>
                    <a:pt x="529" y="515"/>
                  </a:lnTo>
                  <a:cubicBezTo>
                    <a:pt x="529" y="491"/>
                    <a:pt x="533" y="470"/>
                    <a:pt x="536" y="449"/>
                  </a:cubicBezTo>
                  <a:lnTo>
                    <a:pt x="536" y="438"/>
                  </a:lnTo>
                  <a:cubicBezTo>
                    <a:pt x="540" y="417"/>
                    <a:pt x="543" y="393"/>
                    <a:pt x="550" y="368"/>
                  </a:cubicBezTo>
                  <a:cubicBezTo>
                    <a:pt x="554" y="347"/>
                    <a:pt x="557" y="323"/>
                    <a:pt x="564" y="298"/>
                  </a:cubicBezTo>
                  <a:lnTo>
                    <a:pt x="564" y="295"/>
                  </a:lnTo>
                  <a:cubicBezTo>
                    <a:pt x="568" y="274"/>
                    <a:pt x="575" y="253"/>
                    <a:pt x="582" y="232"/>
                  </a:cubicBezTo>
                  <a:lnTo>
                    <a:pt x="582" y="225"/>
                  </a:lnTo>
                  <a:cubicBezTo>
                    <a:pt x="536" y="197"/>
                    <a:pt x="498" y="169"/>
                    <a:pt x="463" y="144"/>
                  </a:cubicBezTo>
                  <a:lnTo>
                    <a:pt x="456" y="141"/>
                  </a:lnTo>
                  <a:lnTo>
                    <a:pt x="438" y="130"/>
                  </a:lnTo>
                  <a:cubicBezTo>
                    <a:pt x="407" y="109"/>
                    <a:pt x="375" y="92"/>
                    <a:pt x="351" y="74"/>
                  </a:cubicBezTo>
                  <a:lnTo>
                    <a:pt x="347" y="71"/>
                  </a:lnTo>
                  <a:lnTo>
                    <a:pt x="326" y="60"/>
                  </a:lnTo>
                  <a:cubicBezTo>
                    <a:pt x="284" y="36"/>
                    <a:pt x="239" y="15"/>
                    <a:pt x="1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2" name="Google Shape;4882;p53"/>
            <p:cNvSpPr/>
            <p:nvPr/>
          </p:nvSpPr>
          <p:spPr>
            <a:xfrm>
              <a:off x="2121119" y="1644237"/>
              <a:ext cx="52626" cy="23163"/>
            </a:xfrm>
            <a:custGeom>
              <a:avLst/>
              <a:gdLst/>
              <a:ahLst/>
              <a:cxnLst/>
              <a:rect l="l" t="t" r="r" b="b"/>
              <a:pathLst>
                <a:path w="3876" h="1706" extrusionOk="0">
                  <a:moveTo>
                    <a:pt x="2871" y="1"/>
                  </a:moveTo>
                  <a:cubicBezTo>
                    <a:pt x="2850" y="78"/>
                    <a:pt x="2822" y="151"/>
                    <a:pt x="2787" y="221"/>
                  </a:cubicBezTo>
                  <a:cubicBezTo>
                    <a:pt x="2780" y="228"/>
                    <a:pt x="2776" y="235"/>
                    <a:pt x="2769" y="242"/>
                  </a:cubicBezTo>
                  <a:lnTo>
                    <a:pt x="2762" y="246"/>
                  </a:lnTo>
                  <a:cubicBezTo>
                    <a:pt x="2759" y="253"/>
                    <a:pt x="2752" y="256"/>
                    <a:pt x="2748" y="260"/>
                  </a:cubicBezTo>
                  <a:lnTo>
                    <a:pt x="2738" y="267"/>
                  </a:lnTo>
                  <a:lnTo>
                    <a:pt x="2724" y="274"/>
                  </a:lnTo>
                  <a:lnTo>
                    <a:pt x="2710" y="281"/>
                  </a:lnTo>
                  <a:lnTo>
                    <a:pt x="2692" y="288"/>
                  </a:lnTo>
                  <a:lnTo>
                    <a:pt x="2678" y="291"/>
                  </a:lnTo>
                  <a:lnTo>
                    <a:pt x="2661" y="295"/>
                  </a:lnTo>
                  <a:lnTo>
                    <a:pt x="2643" y="298"/>
                  </a:lnTo>
                  <a:lnTo>
                    <a:pt x="2626" y="302"/>
                  </a:lnTo>
                  <a:lnTo>
                    <a:pt x="2608" y="305"/>
                  </a:lnTo>
                  <a:lnTo>
                    <a:pt x="2591" y="309"/>
                  </a:lnTo>
                  <a:lnTo>
                    <a:pt x="2412" y="309"/>
                  </a:lnTo>
                  <a:lnTo>
                    <a:pt x="2391" y="305"/>
                  </a:lnTo>
                  <a:lnTo>
                    <a:pt x="2374" y="305"/>
                  </a:lnTo>
                  <a:lnTo>
                    <a:pt x="2339" y="302"/>
                  </a:lnTo>
                  <a:lnTo>
                    <a:pt x="2332" y="302"/>
                  </a:lnTo>
                  <a:lnTo>
                    <a:pt x="2304" y="298"/>
                  </a:lnTo>
                  <a:lnTo>
                    <a:pt x="2290" y="295"/>
                  </a:lnTo>
                  <a:lnTo>
                    <a:pt x="2272" y="291"/>
                  </a:lnTo>
                  <a:cubicBezTo>
                    <a:pt x="2237" y="316"/>
                    <a:pt x="2199" y="337"/>
                    <a:pt x="2160" y="354"/>
                  </a:cubicBezTo>
                  <a:cubicBezTo>
                    <a:pt x="2115" y="375"/>
                    <a:pt x="2034" y="414"/>
                    <a:pt x="2020" y="438"/>
                  </a:cubicBezTo>
                  <a:lnTo>
                    <a:pt x="2020" y="442"/>
                  </a:lnTo>
                  <a:cubicBezTo>
                    <a:pt x="2017" y="449"/>
                    <a:pt x="2013" y="456"/>
                    <a:pt x="2010" y="463"/>
                  </a:cubicBezTo>
                  <a:cubicBezTo>
                    <a:pt x="1985" y="501"/>
                    <a:pt x="1950" y="533"/>
                    <a:pt x="1905" y="547"/>
                  </a:cubicBezTo>
                  <a:lnTo>
                    <a:pt x="1887" y="554"/>
                  </a:lnTo>
                  <a:cubicBezTo>
                    <a:pt x="1807" y="589"/>
                    <a:pt x="1765" y="606"/>
                    <a:pt x="1803" y="743"/>
                  </a:cubicBezTo>
                  <a:cubicBezTo>
                    <a:pt x="1817" y="785"/>
                    <a:pt x="1856" y="925"/>
                    <a:pt x="1779" y="995"/>
                  </a:cubicBezTo>
                  <a:cubicBezTo>
                    <a:pt x="1750" y="1020"/>
                    <a:pt x="1715" y="1029"/>
                    <a:pt x="1679" y="1029"/>
                  </a:cubicBezTo>
                  <a:cubicBezTo>
                    <a:pt x="1614" y="1029"/>
                    <a:pt x="1544" y="999"/>
                    <a:pt x="1498" y="981"/>
                  </a:cubicBezTo>
                  <a:cubicBezTo>
                    <a:pt x="1495" y="977"/>
                    <a:pt x="1488" y="977"/>
                    <a:pt x="1484" y="974"/>
                  </a:cubicBezTo>
                  <a:cubicBezTo>
                    <a:pt x="1471" y="971"/>
                    <a:pt x="1453" y="970"/>
                    <a:pt x="1430" y="970"/>
                  </a:cubicBezTo>
                  <a:cubicBezTo>
                    <a:pt x="1307" y="970"/>
                    <a:pt x="1074" y="1010"/>
                    <a:pt x="1008" y="1072"/>
                  </a:cubicBezTo>
                  <a:cubicBezTo>
                    <a:pt x="948" y="1134"/>
                    <a:pt x="874" y="1158"/>
                    <a:pt x="803" y="1158"/>
                  </a:cubicBezTo>
                  <a:cubicBezTo>
                    <a:pt x="734" y="1158"/>
                    <a:pt x="668" y="1136"/>
                    <a:pt x="616" y="1107"/>
                  </a:cubicBezTo>
                  <a:cubicBezTo>
                    <a:pt x="588" y="1091"/>
                    <a:pt x="540" y="1076"/>
                    <a:pt x="492" y="1076"/>
                  </a:cubicBezTo>
                  <a:cubicBezTo>
                    <a:pt x="447" y="1076"/>
                    <a:pt x="402" y="1090"/>
                    <a:pt x="378" y="1131"/>
                  </a:cubicBezTo>
                  <a:cubicBezTo>
                    <a:pt x="357" y="1166"/>
                    <a:pt x="326" y="1191"/>
                    <a:pt x="291" y="1198"/>
                  </a:cubicBezTo>
                  <a:cubicBezTo>
                    <a:pt x="280" y="1201"/>
                    <a:pt x="273" y="1201"/>
                    <a:pt x="263" y="1201"/>
                  </a:cubicBezTo>
                  <a:lnTo>
                    <a:pt x="238" y="1201"/>
                  </a:lnTo>
                  <a:lnTo>
                    <a:pt x="221" y="1198"/>
                  </a:lnTo>
                  <a:lnTo>
                    <a:pt x="214" y="1194"/>
                  </a:lnTo>
                  <a:lnTo>
                    <a:pt x="200" y="1191"/>
                  </a:lnTo>
                  <a:lnTo>
                    <a:pt x="189" y="1184"/>
                  </a:lnTo>
                  <a:lnTo>
                    <a:pt x="179" y="1180"/>
                  </a:lnTo>
                  <a:lnTo>
                    <a:pt x="172" y="1173"/>
                  </a:lnTo>
                  <a:lnTo>
                    <a:pt x="158" y="1166"/>
                  </a:lnTo>
                  <a:lnTo>
                    <a:pt x="151" y="1163"/>
                  </a:lnTo>
                  <a:lnTo>
                    <a:pt x="137" y="1152"/>
                  </a:lnTo>
                  <a:lnTo>
                    <a:pt x="130" y="1149"/>
                  </a:lnTo>
                  <a:lnTo>
                    <a:pt x="112" y="1135"/>
                  </a:lnTo>
                  <a:cubicBezTo>
                    <a:pt x="84" y="1110"/>
                    <a:pt x="53" y="1093"/>
                    <a:pt x="18" y="1082"/>
                  </a:cubicBezTo>
                  <a:lnTo>
                    <a:pt x="14" y="1082"/>
                  </a:lnTo>
                  <a:cubicBezTo>
                    <a:pt x="14" y="1082"/>
                    <a:pt x="11" y="1089"/>
                    <a:pt x="7" y="1100"/>
                  </a:cubicBezTo>
                  <a:cubicBezTo>
                    <a:pt x="0" y="1152"/>
                    <a:pt x="0" y="1208"/>
                    <a:pt x="7" y="1264"/>
                  </a:cubicBezTo>
                  <a:cubicBezTo>
                    <a:pt x="7" y="1278"/>
                    <a:pt x="11" y="1292"/>
                    <a:pt x="11" y="1299"/>
                  </a:cubicBezTo>
                  <a:cubicBezTo>
                    <a:pt x="14" y="1306"/>
                    <a:pt x="18" y="1310"/>
                    <a:pt x="21" y="1313"/>
                  </a:cubicBezTo>
                  <a:cubicBezTo>
                    <a:pt x="49" y="1345"/>
                    <a:pt x="88" y="1373"/>
                    <a:pt x="130" y="1387"/>
                  </a:cubicBezTo>
                  <a:cubicBezTo>
                    <a:pt x="140" y="1394"/>
                    <a:pt x="154" y="1397"/>
                    <a:pt x="168" y="1397"/>
                  </a:cubicBezTo>
                  <a:cubicBezTo>
                    <a:pt x="172" y="1399"/>
                    <a:pt x="175" y="1400"/>
                    <a:pt x="179" y="1400"/>
                  </a:cubicBezTo>
                  <a:cubicBezTo>
                    <a:pt x="182" y="1400"/>
                    <a:pt x="186" y="1399"/>
                    <a:pt x="189" y="1397"/>
                  </a:cubicBezTo>
                  <a:lnTo>
                    <a:pt x="200" y="1397"/>
                  </a:lnTo>
                  <a:cubicBezTo>
                    <a:pt x="210" y="1394"/>
                    <a:pt x="224" y="1387"/>
                    <a:pt x="235" y="1387"/>
                  </a:cubicBezTo>
                  <a:lnTo>
                    <a:pt x="256" y="1380"/>
                  </a:lnTo>
                  <a:lnTo>
                    <a:pt x="273" y="1376"/>
                  </a:lnTo>
                  <a:lnTo>
                    <a:pt x="354" y="1376"/>
                  </a:lnTo>
                  <a:cubicBezTo>
                    <a:pt x="399" y="1383"/>
                    <a:pt x="445" y="1397"/>
                    <a:pt x="487" y="1415"/>
                  </a:cubicBezTo>
                  <a:lnTo>
                    <a:pt x="504" y="1425"/>
                  </a:lnTo>
                  <a:cubicBezTo>
                    <a:pt x="518" y="1429"/>
                    <a:pt x="536" y="1439"/>
                    <a:pt x="550" y="1446"/>
                  </a:cubicBezTo>
                  <a:lnTo>
                    <a:pt x="609" y="1478"/>
                  </a:lnTo>
                  <a:cubicBezTo>
                    <a:pt x="623" y="1481"/>
                    <a:pt x="641" y="1481"/>
                    <a:pt x="655" y="1481"/>
                  </a:cubicBezTo>
                  <a:cubicBezTo>
                    <a:pt x="732" y="1464"/>
                    <a:pt x="802" y="1425"/>
                    <a:pt x="858" y="1373"/>
                  </a:cubicBezTo>
                  <a:cubicBezTo>
                    <a:pt x="910" y="1320"/>
                    <a:pt x="1075" y="1292"/>
                    <a:pt x="1341" y="1292"/>
                  </a:cubicBezTo>
                  <a:cubicBezTo>
                    <a:pt x="1407" y="1292"/>
                    <a:pt x="1425" y="1359"/>
                    <a:pt x="1446" y="1429"/>
                  </a:cubicBezTo>
                  <a:cubicBezTo>
                    <a:pt x="1453" y="1467"/>
                    <a:pt x="1467" y="1502"/>
                    <a:pt x="1484" y="1534"/>
                  </a:cubicBezTo>
                  <a:cubicBezTo>
                    <a:pt x="1491" y="1537"/>
                    <a:pt x="1544" y="1558"/>
                    <a:pt x="1730" y="1579"/>
                  </a:cubicBezTo>
                  <a:lnTo>
                    <a:pt x="1733" y="1579"/>
                  </a:lnTo>
                  <a:cubicBezTo>
                    <a:pt x="1768" y="1583"/>
                    <a:pt x="1803" y="1587"/>
                    <a:pt x="1838" y="1590"/>
                  </a:cubicBezTo>
                  <a:lnTo>
                    <a:pt x="1842" y="1590"/>
                  </a:lnTo>
                  <a:lnTo>
                    <a:pt x="1950" y="1597"/>
                  </a:lnTo>
                  <a:cubicBezTo>
                    <a:pt x="2034" y="1601"/>
                    <a:pt x="2122" y="1615"/>
                    <a:pt x="2206" y="1636"/>
                  </a:cubicBezTo>
                  <a:lnTo>
                    <a:pt x="2342" y="1664"/>
                  </a:lnTo>
                  <a:cubicBezTo>
                    <a:pt x="2412" y="1685"/>
                    <a:pt x="2482" y="1695"/>
                    <a:pt x="2552" y="1706"/>
                  </a:cubicBezTo>
                  <a:cubicBezTo>
                    <a:pt x="2591" y="1695"/>
                    <a:pt x="2629" y="1678"/>
                    <a:pt x="2664" y="1653"/>
                  </a:cubicBezTo>
                  <a:cubicBezTo>
                    <a:pt x="2752" y="1604"/>
                    <a:pt x="2878" y="1534"/>
                    <a:pt x="3025" y="1534"/>
                  </a:cubicBezTo>
                  <a:cubicBezTo>
                    <a:pt x="3123" y="1530"/>
                    <a:pt x="3217" y="1499"/>
                    <a:pt x="3301" y="1446"/>
                  </a:cubicBezTo>
                  <a:lnTo>
                    <a:pt x="3322" y="1432"/>
                  </a:lnTo>
                  <a:lnTo>
                    <a:pt x="3326" y="1432"/>
                  </a:lnTo>
                  <a:lnTo>
                    <a:pt x="3350" y="1422"/>
                  </a:lnTo>
                  <a:cubicBezTo>
                    <a:pt x="3357" y="1404"/>
                    <a:pt x="3361" y="1397"/>
                    <a:pt x="3364" y="1390"/>
                  </a:cubicBezTo>
                  <a:lnTo>
                    <a:pt x="3368" y="1383"/>
                  </a:lnTo>
                  <a:cubicBezTo>
                    <a:pt x="3371" y="1376"/>
                    <a:pt x="3375" y="1369"/>
                    <a:pt x="3375" y="1366"/>
                  </a:cubicBezTo>
                  <a:lnTo>
                    <a:pt x="3382" y="1355"/>
                  </a:lnTo>
                  <a:cubicBezTo>
                    <a:pt x="3385" y="1348"/>
                    <a:pt x="3389" y="1341"/>
                    <a:pt x="3396" y="1334"/>
                  </a:cubicBezTo>
                  <a:cubicBezTo>
                    <a:pt x="3403" y="1327"/>
                    <a:pt x="3410" y="1317"/>
                    <a:pt x="3417" y="1313"/>
                  </a:cubicBezTo>
                  <a:lnTo>
                    <a:pt x="3424" y="1306"/>
                  </a:lnTo>
                  <a:cubicBezTo>
                    <a:pt x="3427" y="1303"/>
                    <a:pt x="3434" y="1299"/>
                    <a:pt x="3441" y="1296"/>
                  </a:cubicBezTo>
                  <a:lnTo>
                    <a:pt x="3448" y="1289"/>
                  </a:lnTo>
                  <a:cubicBezTo>
                    <a:pt x="3459" y="1285"/>
                    <a:pt x="3469" y="1282"/>
                    <a:pt x="3480" y="1278"/>
                  </a:cubicBezTo>
                  <a:cubicBezTo>
                    <a:pt x="3483" y="1261"/>
                    <a:pt x="3483" y="1247"/>
                    <a:pt x="3483" y="1229"/>
                  </a:cubicBezTo>
                  <a:cubicBezTo>
                    <a:pt x="3483" y="1170"/>
                    <a:pt x="3501" y="1110"/>
                    <a:pt x="3536" y="1061"/>
                  </a:cubicBezTo>
                  <a:cubicBezTo>
                    <a:pt x="3543" y="1051"/>
                    <a:pt x="3539" y="1012"/>
                    <a:pt x="3536" y="988"/>
                  </a:cubicBezTo>
                  <a:cubicBezTo>
                    <a:pt x="3522" y="939"/>
                    <a:pt x="3529" y="890"/>
                    <a:pt x="3557" y="851"/>
                  </a:cubicBezTo>
                  <a:cubicBezTo>
                    <a:pt x="3579" y="832"/>
                    <a:pt x="3606" y="821"/>
                    <a:pt x="3634" y="821"/>
                  </a:cubicBezTo>
                  <a:cubicBezTo>
                    <a:pt x="3641" y="821"/>
                    <a:pt x="3648" y="822"/>
                    <a:pt x="3655" y="823"/>
                  </a:cubicBezTo>
                  <a:cubicBezTo>
                    <a:pt x="3680" y="827"/>
                    <a:pt x="3709" y="830"/>
                    <a:pt x="3736" y="830"/>
                  </a:cubicBezTo>
                  <a:cubicBezTo>
                    <a:pt x="3766" y="830"/>
                    <a:pt x="3793" y="826"/>
                    <a:pt x="3806" y="813"/>
                  </a:cubicBezTo>
                  <a:cubicBezTo>
                    <a:pt x="3820" y="795"/>
                    <a:pt x="3827" y="771"/>
                    <a:pt x="3823" y="750"/>
                  </a:cubicBezTo>
                  <a:cubicBezTo>
                    <a:pt x="3823" y="736"/>
                    <a:pt x="3823" y="725"/>
                    <a:pt x="3827" y="715"/>
                  </a:cubicBezTo>
                  <a:lnTo>
                    <a:pt x="3827" y="704"/>
                  </a:lnTo>
                  <a:cubicBezTo>
                    <a:pt x="3827" y="694"/>
                    <a:pt x="3830" y="683"/>
                    <a:pt x="3834" y="673"/>
                  </a:cubicBezTo>
                  <a:lnTo>
                    <a:pt x="3834" y="669"/>
                  </a:lnTo>
                  <a:cubicBezTo>
                    <a:pt x="3841" y="659"/>
                    <a:pt x="3844" y="648"/>
                    <a:pt x="3848" y="638"/>
                  </a:cubicBezTo>
                  <a:lnTo>
                    <a:pt x="3855" y="631"/>
                  </a:lnTo>
                  <a:cubicBezTo>
                    <a:pt x="3858" y="620"/>
                    <a:pt x="3865" y="610"/>
                    <a:pt x="3876" y="599"/>
                  </a:cubicBezTo>
                  <a:cubicBezTo>
                    <a:pt x="3841" y="543"/>
                    <a:pt x="3809" y="484"/>
                    <a:pt x="3781" y="424"/>
                  </a:cubicBezTo>
                  <a:lnTo>
                    <a:pt x="3777" y="431"/>
                  </a:lnTo>
                  <a:lnTo>
                    <a:pt x="3721" y="281"/>
                  </a:lnTo>
                  <a:lnTo>
                    <a:pt x="3711" y="256"/>
                  </a:lnTo>
                  <a:lnTo>
                    <a:pt x="3700" y="232"/>
                  </a:lnTo>
                  <a:cubicBezTo>
                    <a:pt x="3655" y="242"/>
                    <a:pt x="3606" y="249"/>
                    <a:pt x="3557" y="249"/>
                  </a:cubicBezTo>
                  <a:cubicBezTo>
                    <a:pt x="3551" y="250"/>
                    <a:pt x="3545" y="250"/>
                    <a:pt x="3538" y="250"/>
                  </a:cubicBezTo>
                  <a:cubicBezTo>
                    <a:pt x="3485" y="250"/>
                    <a:pt x="3429" y="237"/>
                    <a:pt x="3382" y="218"/>
                  </a:cubicBezTo>
                  <a:cubicBezTo>
                    <a:pt x="3340" y="197"/>
                    <a:pt x="3305" y="172"/>
                    <a:pt x="3277" y="137"/>
                  </a:cubicBezTo>
                  <a:cubicBezTo>
                    <a:pt x="3193" y="46"/>
                    <a:pt x="3011" y="11"/>
                    <a:pt x="28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3" name="Google Shape;4883;p53"/>
            <p:cNvSpPr/>
            <p:nvPr/>
          </p:nvSpPr>
          <p:spPr>
            <a:xfrm>
              <a:off x="2168545" y="1647618"/>
              <a:ext cx="45838" cy="25064"/>
            </a:xfrm>
            <a:custGeom>
              <a:avLst/>
              <a:gdLst/>
              <a:ahLst/>
              <a:cxnLst/>
              <a:rect l="l" t="t" r="r" b="b"/>
              <a:pathLst>
                <a:path w="3376" h="1846" extrusionOk="0">
                  <a:moveTo>
                    <a:pt x="2364" y="0"/>
                  </a:moveTo>
                  <a:cubicBezTo>
                    <a:pt x="2308" y="39"/>
                    <a:pt x="2255" y="77"/>
                    <a:pt x="2203" y="119"/>
                  </a:cubicBezTo>
                  <a:cubicBezTo>
                    <a:pt x="2042" y="245"/>
                    <a:pt x="1937" y="326"/>
                    <a:pt x="1863" y="326"/>
                  </a:cubicBezTo>
                  <a:cubicBezTo>
                    <a:pt x="1706" y="326"/>
                    <a:pt x="1384" y="385"/>
                    <a:pt x="1349" y="441"/>
                  </a:cubicBezTo>
                  <a:cubicBezTo>
                    <a:pt x="1349" y="476"/>
                    <a:pt x="1331" y="525"/>
                    <a:pt x="1254" y="560"/>
                  </a:cubicBezTo>
                  <a:cubicBezTo>
                    <a:pt x="1244" y="564"/>
                    <a:pt x="1233" y="567"/>
                    <a:pt x="1223" y="571"/>
                  </a:cubicBezTo>
                  <a:lnTo>
                    <a:pt x="1212" y="574"/>
                  </a:lnTo>
                  <a:lnTo>
                    <a:pt x="1188" y="581"/>
                  </a:lnTo>
                  <a:lnTo>
                    <a:pt x="1174" y="585"/>
                  </a:lnTo>
                  <a:lnTo>
                    <a:pt x="1146" y="592"/>
                  </a:lnTo>
                  <a:lnTo>
                    <a:pt x="1132" y="592"/>
                  </a:lnTo>
                  <a:lnTo>
                    <a:pt x="1093" y="599"/>
                  </a:lnTo>
                  <a:lnTo>
                    <a:pt x="1086" y="599"/>
                  </a:lnTo>
                  <a:lnTo>
                    <a:pt x="1041" y="602"/>
                  </a:lnTo>
                  <a:lnTo>
                    <a:pt x="887" y="602"/>
                  </a:lnTo>
                  <a:lnTo>
                    <a:pt x="841" y="599"/>
                  </a:lnTo>
                  <a:lnTo>
                    <a:pt x="824" y="599"/>
                  </a:lnTo>
                  <a:cubicBezTo>
                    <a:pt x="803" y="595"/>
                    <a:pt x="782" y="595"/>
                    <a:pt x="761" y="592"/>
                  </a:cubicBezTo>
                  <a:lnTo>
                    <a:pt x="750" y="588"/>
                  </a:lnTo>
                  <a:cubicBezTo>
                    <a:pt x="736" y="585"/>
                    <a:pt x="719" y="585"/>
                    <a:pt x="705" y="581"/>
                  </a:cubicBezTo>
                  <a:lnTo>
                    <a:pt x="684" y="574"/>
                  </a:lnTo>
                  <a:lnTo>
                    <a:pt x="649" y="564"/>
                  </a:lnTo>
                  <a:lnTo>
                    <a:pt x="628" y="557"/>
                  </a:lnTo>
                  <a:lnTo>
                    <a:pt x="596" y="546"/>
                  </a:lnTo>
                  <a:lnTo>
                    <a:pt x="579" y="539"/>
                  </a:lnTo>
                  <a:cubicBezTo>
                    <a:pt x="568" y="532"/>
                    <a:pt x="561" y="529"/>
                    <a:pt x="551" y="522"/>
                  </a:cubicBezTo>
                  <a:lnTo>
                    <a:pt x="537" y="515"/>
                  </a:lnTo>
                  <a:cubicBezTo>
                    <a:pt x="523" y="508"/>
                    <a:pt x="512" y="497"/>
                    <a:pt x="502" y="490"/>
                  </a:cubicBezTo>
                  <a:cubicBezTo>
                    <a:pt x="491" y="480"/>
                    <a:pt x="481" y="469"/>
                    <a:pt x="470" y="459"/>
                  </a:cubicBezTo>
                  <a:cubicBezTo>
                    <a:pt x="470" y="462"/>
                    <a:pt x="470" y="466"/>
                    <a:pt x="467" y="469"/>
                  </a:cubicBezTo>
                  <a:cubicBezTo>
                    <a:pt x="467" y="473"/>
                    <a:pt x="467" y="473"/>
                    <a:pt x="467" y="476"/>
                  </a:cubicBezTo>
                  <a:cubicBezTo>
                    <a:pt x="463" y="483"/>
                    <a:pt x="463" y="490"/>
                    <a:pt x="463" y="497"/>
                  </a:cubicBezTo>
                  <a:cubicBezTo>
                    <a:pt x="467" y="560"/>
                    <a:pt x="442" y="620"/>
                    <a:pt x="400" y="662"/>
                  </a:cubicBezTo>
                  <a:cubicBezTo>
                    <a:pt x="358" y="699"/>
                    <a:pt x="305" y="710"/>
                    <a:pt x="251" y="710"/>
                  </a:cubicBezTo>
                  <a:cubicBezTo>
                    <a:pt x="223" y="710"/>
                    <a:pt x="196" y="707"/>
                    <a:pt x="169" y="704"/>
                  </a:cubicBezTo>
                  <a:lnTo>
                    <a:pt x="169" y="718"/>
                  </a:lnTo>
                  <a:cubicBezTo>
                    <a:pt x="176" y="763"/>
                    <a:pt x="190" y="837"/>
                    <a:pt x="141" y="896"/>
                  </a:cubicBezTo>
                  <a:cubicBezTo>
                    <a:pt x="127" y="924"/>
                    <a:pt x="120" y="956"/>
                    <a:pt x="123" y="984"/>
                  </a:cubicBezTo>
                  <a:cubicBezTo>
                    <a:pt x="120" y="1040"/>
                    <a:pt x="113" y="1145"/>
                    <a:pt x="11" y="1159"/>
                  </a:cubicBezTo>
                  <a:lnTo>
                    <a:pt x="8" y="1166"/>
                  </a:lnTo>
                  <a:lnTo>
                    <a:pt x="4" y="1176"/>
                  </a:lnTo>
                  <a:lnTo>
                    <a:pt x="4" y="1180"/>
                  </a:lnTo>
                  <a:lnTo>
                    <a:pt x="1" y="1187"/>
                  </a:lnTo>
                  <a:lnTo>
                    <a:pt x="1" y="1194"/>
                  </a:lnTo>
                  <a:lnTo>
                    <a:pt x="1" y="1197"/>
                  </a:lnTo>
                  <a:cubicBezTo>
                    <a:pt x="43" y="1250"/>
                    <a:pt x="78" y="1309"/>
                    <a:pt x="106" y="1373"/>
                  </a:cubicBezTo>
                  <a:lnTo>
                    <a:pt x="116" y="1390"/>
                  </a:lnTo>
                  <a:lnTo>
                    <a:pt x="123" y="1401"/>
                  </a:lnTo>
                  <a:lnTo>
                    <a:pt x="134" y="1408"/>
                  </a:lnTo>
                  <a:lnTo>
                    <a:pt x="137" y="1411"/>
                  </a:lnTo>
                  <a:lnTo>
                    <a:pt x="165" y="1429"/>
                  </a:lnTo>
                  <a:lnTo>
                    <a:pt x="169" y="1429"/>
                  </a:lnTo>
                  <a:lnTo>
                    <a:pt x="197" y="1446"/>
                  </a:lnTo>
                  <a:lnTo>
                    <a:pt x="200" y="1450"/>
                  </a:lnTo>
                  <a:lnTo>
                    <a:pt x="232" y="1471"/>
                  </a:lnTo>
                  <a:cubicBezTo>
                    <a:pt x="267" y="1492"/>
                    <a:pt x="302" y="1513"/>
                    <a:pt x="334" y="1537"/>
                  </a:cubicBezTo>
                  <a:lnTo>
                    <a:pt x="341" y="1541"/>
                  </a:lnTo>
                  <a:lnTo>
                    <a:pt x="365" y="1562"/>
                  </a:lnTo>
                  <a:lnTo>
                    <a:pt x="376" y="1569"/>
                  </a:lnTo>
                  <a:lnTo>
                    <a:pt x="397" y="1586"/>
                  </a:lnTo>
                  <a:lnTo>
                    <a:pt x="407" y="1593"/>
                  </a:lnTo>
                  <a:lnTo>
                    <a:pt x="428" y="1607"/>
                  </a:lnTo>
                  <a:lnTo>
                    <a:pt x="439" y="1614"/>
                  </a:lnTo>
                  <a:lnTo>
                    <a:pt x="456" y="1632"/>
                  </a:lnTo>
                  <a:lnTo>
                    <a:pt x="467" y="1639"/>
                  </a:lnTo>
                  <a:lnTo>
                    <a:pt x="481" y="1653"/>
                  </a:lnTo>
                  <a:lnTo>
                    <a:pt x="491" y="1663"/>
                  </a:lnTo>
                  <a:lnTo>
                    <a:pt x="505" y="1677"/>
                  </a:lnTo>
                  <a:lnTo>
                    <a:pt x="516" y="1684"/>
                  </a:lnTo>
                  <a:lnTo>
                    <a:pt x="530" y="1702"/>
                  </a:lnTo>
                  <a:lnTo>
                    <a:pt x="533" y="1709"/>
                  </a:lnTo>
                  <a:cubicBezTo>
                    <a:pt x="540" y="1716"/>
                    <a:pt x="547" y="1723"/>
                    <a:pt x="551" y="1730"/>
                  </a:cubicBezTo>
                  <a:cubicBezTo>
                    <a:pt x="612" y="1809"/>
                    <a:pt x="771" y="1845"/>
                    <a:pt x="908" y="1845"/>
                  </a:cubicBezTo>
                  <a:cubicBezTo>
                    <a:pt x="959" y="1845"/>
                    <a:pt x="1006" y="1840"/>
                    <a:pt x="1044" y="1831"/>
                  </a:cubicBezTo>
                  <a:cubicBezTo>
                    <a:pt x="1076" y="1821"/>
                    <a:pt x="1139" y="1803"/>
                    <a:pt x="1230" y="1775"/>
                  </a:cubicBezTo>
                  <a:cubicBezTo>
                    <a:pt x="1450" y="1716"/>
                    <a:pt x="1783" y="1607"/>
                    <a:pt x="1786" y="1607"/>
                  </a:cubicBezTo>
                  <a:lnTo>
                    <a:pt x="1804" y="1600"/>
                  </a:lnTo>
                  <a:lnTo>
                    <a:pt x="1811" y="1600"/>
                  </a:lnTo>
                  <a:lnTo>
                    <a:pt x="1832" y="1607"/>
                  </a:lnTo>
                  <a:cubicBezTo>
                    <a:pt x="1905" y="1635"/>
                    <a:pt x="1979" y="1656"/>
                    <a:pt x="2056" y="1677"/>
                  </a:cubicBezTo>
                  <a:lnTo>
                    <a:pt x="2080" y="1681"/>
                  </a:lnTo>
                  <a:lnTo>
                    <a:pt x="2105" y="1681"/>
                  </a:lnTo>
                  <a:lnTo>
                    <a:pt x="2175" y="1691"/>
                  </a:lnTo>
                  <a:cubicBezTo>
                    <a:pt x="2196" y="1677"/>
                    <a:pt x="2220" y="1663"/>
                    <a:pt x="2245" y="1649"/>
                  </a:cubicBezTo>
                  <a:cubicBezTo>
                    <a:pt x="2329" y="1607"/>
                    <a:pt x="2406" y="1551"/>
                    <a:pt x="2473" y="1485"/>
                  </a:cubicBezTo>
                  <a:cubicBezTo>
                    <a:pt x="2536" y="1422"/>
                    <a:pt x="2620" y="1281"/>
                    <a:pt x="2693" y="1138"/>
                  </a:cubicBezTo>
                  <a:lnTo>
                    <a:pt x="2725" y="1082"/>
                  </a:lnTo>
                  <a:lnTo>
                    <a:pt x="2763" y="1008"/>
                  </a:lnTo>
                  <a:lnTo>
                    <a:pt x="2784" y="973"/>
                  </a:lnTo>
                  <a:cubicBezTo>
                    <a:pt x="2896" y="756"/>
                    <a:pt x="2938" y="679"/>
                    <a:pt x="2980" y="651"/>
                  </a:cubicBezTo>
                  <a:cubicBezTo>
                    <a:pt x="3008" y="634"/>
                    <a:pt x="3050" y="609"/>
                    <a:pt x="3099" y="578"/>
                  </a:cubicBezTo>
                  <a:cubicBezTo>
                    <a:pt x="3180" y="529"/>
                    <a:pt x="3281" y="469"/>
                    <a:pt x="3341" y="424"/>
                  </a:cubicBezTo>
                  <a:cubicBezTo>
                    <a:pt x="3348" y="420"/>
                    <a:pt x="3351" y="413"/>
                    <a:pt x="3358" y="410"/>
                  </a:cubicBezTo>
                  <a:lnTo>
                    <a:pt x="3362" y="406"/>
                  </a:lnTo>
                  <a:lnTo>
                    <a:pt x="3369" y="399"/>
                  </a:lnTo>
                  <a:cubicBezTo>
                    <a:pt x="3372" y="396"/>
                    <a:pt x="3372" y="392"/>
                    <a:pt x="3376" y="385"/>
                  </a:cubicBezTo>
                  <a:cubicBezTo>
                    <a:pt x="3365" y="375"/>
                    <a:pt x="3355" y="368"/>
                    <a:pt x="3341" y="364"/>
                  </a:cubicBezTo>
                  <a:lnTo>
                    <a:pt x="3327" y="357"/>
                  </a:lnTo>
                  <a:cubicBezTo>
                    <a:pt x="3316" y="354"/>
                    <a:pt x="3306" y="347"/>
                    <a:pt x="3295" y="343"/>
                  </a:cubicBezTo>
                  <a:lnTo>
                    <a:pt x="3288" y="340"/>
                  </a:lnTo>
                  <a:cubicBezTo>
                    <a:pt x="3253" y="326"/>
                    <a:pt x="3218" y="301"/>
                    <a:pt x="3187" y="277"/>
                  </a:cubicBezTo>
                  <a:lnTo>
                    <a:pt x="3176" y="273"/>
                  </a:lnTo>
                  <a:lnTo>
                    <a:pt x="3141" y="266"/>
                  </a:lnTo>
                  <a:lnTo>
                    <a:pt x="3124" y="263"/>
                  </a:lnTo>
                  <a:lnTo>
                    <a:pt x="3096" y="252"/>
                  </a:lnTo>
                  <a:lnTo>
                    <a:pt x="3078" y="249"/>
                  </a:lnTo>
                  <a:lnTo>
                    <a:pt x="3054" y="242"/>
                  </a:lnTo>
                  <a:lnTo>
                    <a:pt x="3036" y="238"/>
                  </a:lnTo>
                  <a:lnTo>
                    <a:pt x="3015" y="231"/>
                  </a:lnTo>
                  <a:lnTo>
                    <a:pt x="3001" y="224"/>
                  </a:lnTo>
                  <a:lnTo>
                    <a:pt x="2984" y="221"/>
                  </a:lnTo>
                  <a:lnTo>
                    <a:pt x="2970" y="214"/>
                  </a:lnTo>
                  <a:lnTo>
                    <a:pt x="2956" y="210"/>
                  </a:lnTo>
                  <a:lnTo>
                    <a:pt x="2942" y="203"/>
                  </a:lnTo>
                  <a:lnTo>
                    <a:pt x="2931" y="200"/>
                  </a:lnTo>
                  <a:lnTo>
                    <a:pt x="2917" y="193"/>
                  </a:lnTo>
                  <a:lnTo>
                    <a:pt x="2907" y="189"/>
                  </a:lnTo>
                  <a:lnTo>
                    <a:pt x="2896" y="186"/>
                  </a:lnTo>
                  <a:lnTo>
                    <a:pt x="2889" y="182"/>
                  </a:lnTo>
                  <a:lnTo>
                    <a:pt x="2879" y="175"/>
                  </a:lnTo>
                  <a:lnTo>
                    <a:pt x="2875" y="175"/>
                  </a:lnTo>
                  <a:lnTo>
                    <a:pt x="2865" y="168"/>
                  </a:lnTo>
                  <a:lnTo>
                    <a:pt x="2861" y="168"/>
                  </a:lnTo>
                  <a:lnTo>
                    <a:pt x="2854" y="161"/>
                  </a:lnTo>
                  <a:lnTo>
                    <a:pt x="2847" y="158"/>
                  </a:lnTo>
                  <a:cubicBezTo>
                    <a:pt x="2840" y="154"/>
                    <a:pt x="2833" y="147"/>
                    <a:pt x="2830" y="144"/>
                  </a:cubicBezTo>
                  <a:cubicBezTo>
                    <a:pt x="2774" y="88"/>
                    <a:pt x="2539" y="39"/>
                    <a:pt x="2438" y="18"/>
                  </a:cubicBezTo>
                  <a:cubicBezTo>
                    <a:pt x="2403" y="11"/>
                    <a:pt x="2382" y="4"/>
                    <a:pt x="23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4" name="Google Shape;4884;p53"/>
            <p:cNvSpPr/>
            <p:nvPr/>
          </p:nvSpPr>
          <p:spPr>
            <a:xfrm>
              <a:off x="2170215" y="1666817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5" name="Google Shape;4885;p53"/>
            <p:cNvSpPr/>
            <p:nvPr/>
          </p:nvSpPr>
          <p:spPr>
            <a:xfrm>
              <a:off x="2170636" y="1667061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6" name="Google Shape;4886;p53"/>
            <p:cNvSpPr/>
            <p:nvPr/>
          </p:nvSpPr>
          <p:spPr>
            <a:xfrm>
              <a:off x="2175252" y="1670524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7" name="Google Shape;4887;p53"/>
            <p:cNvSpPr/>
            <p:nvPr/>
          </p:nvSpPr>
          <p:spPr>
            <a:xfrm>
              <a:off x="2182571" y="1671854"/>
              <a:ext cx="2539" cy="733"/>
            </a:xfrm>
            <a:custGeom>
              <a:avLst/>
              <a:gdLst/>
              <a:ahLst/>
              <a:cxnLst/>
              <a:rect l="l" t="t" r="r" b="b"/>
              <a:pathLst>
                <a:path w="187" h="54" extrusionOk="0">
                  <a:moveTo>
                    <a:pt x="186" y="1"/>
                  </a:moveTo>
                  <a:cubicBezTo>
                    <a:pt x="95" y="29"/>
                    <a:pt x="32" y="43"/>
                    <a:pt x="1" y="53"/>
                  </a:cubicBezTo>
                  <a:cubicBezTo>
                    <a:pt x="29" y="46"/>
                    <a:pt x="78" y="36"/>
                    <a:pt x="134" y="18"/>
                  </a:cubicBezTo>
                  <a:lnTo>
                    <a:pt x="18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8" name="Google Shape;4888;p53"/>
            <p:cNvSpPr/>
            <p:nvPr/>
          </p:nvSpPr>
          <p:spPr>
            <a:xfrm>
              <a:off x="2175592" y="167080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9" name="Google Shape;4889;p53"/>
            <p:cNvSpPr/>
            <p:nvPr/>
          </p:nvSpPr>
          <p:spPr>
            <a:xfrm>
              <a:off x="2174587" y="1669858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0" name="Google Shape;4890;p53"/>
            <p:cNvSpPr/>
            <p:nvPr/>
          </p:nvSpPr>
          <p:spPr>
            <a:xfrm>
              <a:off x="2174207" y="166957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1" name="Google Shape;4891;p53"/>
            <p:cNvSpPr/>
            <p:nvPr/>
          </p:nvSpPr>
          <p:spPr>
            <a:xfrm>
              <a:off x="2171070" y="166734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2" name="Google Shape;4892;p53"/>
            <p:cNvSpPr/>
            <p:nvPr/>
          </p:nvSpPr>
          <p:spPr>
            <a:xfrm>
              <a:off x="2173786" y="1669247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3" name="Google Shape;4893;p53"/>
            <p:cNvSpPr/>
            <p:nvPr/>
          </p:nvSpPr>
          <p:spPr>
            <a:xfrm>
              <a:off x="2174926" y="16701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4" name="Google Shape;4894;p53"/>
            <p:cNvSpPr/>
            <p:nvPr/>
          </p:nvSpPr>
          <p:spPr>
            <a:xfrm>
              <a:off x="2171546" y="16676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5" name="Google Shape;4895;p53"/>
            <p:cNvSpPr/>
            <p:nvPr/>
          </p:nvSpPr>
          <p:spPr>
            <a:xfrm>
              <a:off x="2172971" y="1668623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6" name="Google Shape;4896;p53"/>
            <p:cNvSpPr/>
            <p:nvPr/>
          </p:nvSpPr>
          <p:spPr>
            <a:xfrm>
              <a:off x="2173351" y="166890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7" name="Google Shape;4897;p53"/>
            <p:cNvSpPr/>
            <p:nvPr/>
          </p:nvSpPr>
          <p:spPr>
            <a:xfrm>
              <a:off x="2174831" y="165408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8" name="Google Shape;4898;p53"/>
            <p:cNvSpPr/>
            <p:nvPr/>
          </p:nvSpPr>
          <p:spPr>
            <a:xfrm>
              <a:off x="2168599" y="1663436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9" name="Google Shape;4899;p53"/>
            <p:cNvSpPr/>
            <p:nvPr/>
          </p:nvSpPr>
          <p:spPr>
            <a:xfrm>
              <a:off x="2168409" y="166387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0" name="Google Shape;4900;p53"/>
            <p:cNvSpPr/>
            <p:nvPr/>
          </p:nvSpPr>
          <p:spPr>
            <a:xfrm>
              <a:off x="2168450" y="1663680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1" name="Google Shape;4901;p53"/>
            <p:cNvSpPr/>
            <p:nvPr/>
          </p:nvSpPr>
          <p:spPr>
            <a:xfrm>
              <a:off x="2168735" y="1663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2" name="Google Shape;4902;p53"/>
            <p:cNvSpPr/>
            <p:nvPr/>
          </p:nvSpPr>
          <p:spPr>
            <a:xfrm>
              <a:off x="2168694" y="1663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3" name="Google Shape;4903;p53"/>
            <p:cNvSpPr/>
            <p:nvPr/>
          </p:nvSpPr>
          <p:spPr>
            <a:xfrm>
              <a:off x="2168640" y="16633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4" name="Google Shape;4904;p53"/>
            <p:cNvSpPr/>
            <p:nvPr/>
          </p:nvSpPr>
          <p:spPr>
            <a:xfrm>
              <a:off x="2168504" y="166353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5" name="Google Shape;4905;p53"/>
            <p:cNvSpPr/>
            <p:nvPr/>
          </p:nvSpPr>
          <p:spPr>
            <a:xfrm>
              <a:off x="2174872" y="165389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0"/>
                    <a:pt x="1" y="4"/>
                    <a:pt x="1" y="7"/>
                  </a:cubicBezTo>
                  <a:cubicBezTo>
                    <a:pt x="4" y="4"/>
                    <a:pt x="4" y="0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6" name="Google Shape;4906;p53"/>
            <p:cNvSpPr/>
            <p:nvPr/>
          </p:nvSpPr>
          <p:spPr>
            <a:xfrm>
              <a:off x="2141078" y="1625270"/>
              <a:ext cx="43597" cy="21317"/>
            </a:xfrm>
            <a:custGeom>
              <a:avLst/>
              <a:gdLst/>
              <a:ahLst/>
              <a:cxnLst/>
              <a:rect l="l" t="t" r="r" b="b"/>
              <a:pathLst>
                <a:path w="3211" h="1570" extrusionOk="0">
                  <a:moveTo>
                    <a:pt x="1369" y="1"/>
                  </a:moveTo>
                  <a:cubicBezTo>
                    <a:pt x="1366" y="4"/>
                    <a:pt x="1366" y="8"/>
                    <a:pt x="1359" y="11"/>
                  </a:cubicBezTo>
                  <a:cubicBezTo>
                    <a:pt x="1359" y="15"/>
                    <a:pt x="1355" y="18"/>
                    <a:pt x="1352" y="22"/>
                  </a:cubicBezTo>
                  <a:cubicBezTo>
                    <a:pt x="1348" y="25"/>
                    <a:pt x="1345" y="29"/>
                    <a:pt x="1338" y="29"/>
                  </a:cubicBezTo>
                  <a:cubicBezTo>
                    <a:pt x="1334" y="32"/>
                    <a:pt x="1331" y="36"/>
                    <a:pt x="1327" y="36"/>
                  </a:cubicBezTo>
                  <a:cubicBezTo>
                    <a:pt x="1324" y="39"/>
                    <a:pt x="1320" y="39"/>
                    <a:pt x="1313" y="39"/>
                  </a:cubicBezTo>
                  <a:cubicBezTo>
                    <a:pt x="1310" y="43"/>
                    <a:pt x="1306" y="43"/>
                    <a:pt x="1303" y="46"/>
                  </a:cubicBezTo>
                  <a:lnTo>
                    <a:pt x="1247" y="46"/>
                  </a:lnTo>
                  <a:lnTo>
                    <a:pt x="1229" y="43"/>
                  </a:lnTo>
                  <a:lnTo>
                    <a:pt x="1219" y="43"/>
                  </a:lnTo>
                  <a:lnTo>
                    <a:pt x="1198" y="36"/>
                  </a:lnTo>
                  <a:lnTo>
                    <a:pt x="1194" y="36"/>
                  </a:lnTo>
                  <a:lnTo>
                    <a:pt x="1170" y="32"/>
                  </a:lnTo>
                  <a:cubicBezTo>
                    <a:pt x="1149" y="24"/>
                    <a:pt x="1112" y="15"/>
                    <a:pt x="1090" y="15"/>
                  </a:cubicBezTo>
                  <a:cubicBezTo>
                    <a:pt x="1083" y="15"/>
                    <a:pt x="1078" y="16"/>
                    <a:pt x="1075" y="18"/>
                  </a:cubicBezTo>
                  <a:cubicBezTo>
                    <a:pt x="1030" y="64"/>
                    <a:pt x="960" y="85"/>
                    <a:pt x="876" y="109"/>
                  </a:cubicBezTo>
                  <a:cubicBezTo>
                    <a:pt x="792" y="137"/>
                    <a:pt x="687" y="169"/>
                    <a:pt x="624" y="228"/>
                  </a:cubicBezTo>
                  <a:cubicBezTo>
                    <a:pt x="484" y="354"/>
                    <a:pt x="207" y="417"/>
                    <a:pt x="42" y="456"/>
                  </a:cubicBezTo>
                  <a:lnTo>
                    <a:pt x="25" y="459"/>
                  </a:lnTo>
                  <a:cubicBezTo>
                    <a:pt x="14" y="463"/>
                    <a:pt x="7" y="466"/>
                    <a:pt x="0" y="470"/>
                  </a:cubicBezTo>
                  <a:cubicBezTo>
                    <a:pt x="14" y="512"/>
                    <a:pt x="35" y="554"/>
                    <a:pt x="63" y="589"/>
                  </a:cubicBezTo>
                  <a:cubicBezTo>
                    <a:pt x="77" y="613"/>
                    <a:pt x="91" y="634"/>
                    <a:pt x="102" y="655"/>
                  </a:cubicBezTo>
                  <a:cubicBezTo>
                    <a:pt x="130" y="715"/>
                    <a:pt x="151" y="778"/>
                    <a:pt x="161" y="844"/>
                  </a:cubicBezTo>
                  <a:cubicBezTo>
                    <a:pt x="182" y="943"/>
                    <a:pt x="210" y="1058"/>
                    <a:pt x="267" y="1097"/>
                  </a:cubicBezTo>
                  <a:cubicBezTo>
                    <a:pt x="288" y="1114"/>
                    <a:pt x="326" y="1135"/>
                    <a:pt x="368" y="1163"/>
                  </a:cubicBezTo>
                  <a:cubicBezTo>
                    <a:pt x="652" y="1356"/>
                    <a:pt x="816" y="1471"/>
                    <a:pt x="855" y="1541"/>
                  </a:cubicBezTo>
                  <a:cubicBezTo>
                    <a:pt x="858" y="1545"/>
                    <a:pt x="858" y="1552"/>
                    <a:pt x="862" y="1555"/>
                  </a:cubicBezTo>
                  <a:cubicBezTo>
                    <a:pt x="862" y="1559"/>
                    <a:pt x="862" y="1562"/>
                    <a:pt x="865" y="1562"/>
                  </a:cubicBezTo>
                  <a:lnTo>
                    <a:pt x="869" y="1559"/>
                  </a:lnTo>
                  <a:lnTo>
                    <a:pt x="876" y="1559"/>
                  </a:lnTo>
                  <a:lnTo>
                    <a:pt x="900" y="1562"/>
                  </a:lnTo>
                  <a:lnTo>
                    <a:pt x="907" y="1562"/>
                  </a:lnTo>
                  <a:lnTo>
                    <a:pt x="932" y="1566"/>
                  </a:lnTo>
                  <a:lnTo>
                    <a:pt x="939" y="1566"/>
                  </a:lnTo>
                  <a:lnTo>
                    <a:pt x="963" y="1569"/>
                  </a:lnTo>
                  <a:lnTo>
                    <a:pt x="1142" y="1569"/>
                  </a:lnTo>
                  <a:lnTo>
                    <a:pt x="1152" y="1566"/>
                  </a:lnTo>
                  <a:lnTo>
                    <a:pt x="1177" y="1566"/>
                  </a:lnTo>
                  <a:lnTo>
                    <a:pt x="1187" y="1562"/>
                  </a:lnTo>
                  <a:lnTo>
                    <a:pt x="1191" y="1562"/>
                  </a:lnTo>
                  <a:lnTo>
                    <a:pt x="1198" y="1559"/>
                  </a:lnTo>
                  <a:lnTo>
                    <a:pt x="1201" y="1559"/>
                  </a:lnTo>
                  <a:cubicBezTo>
                    <a:pt x="1205" y="1555"/>
                    <a:pt x="1208" y="1555"/>
                    <a:pt x="1212" y="1552"/>
                  </a:cubicBezTo>
                  <a:cubicBezTo>
                    <a:pt x="1247" y="1478"/>
                    <a:pt x="1275" y="1401"/>
                    <a:pt x="1292" y="1321"/>
                  </a:cubicBezTo>
                  <a:lnTo>
                    <a:pt x="1303" y="1268"/>
                  </a:lnTo>
                  <a:lnTo>
                    <a:pt x="1376" y="1268"/>
                  </a:lnTo>
                  <a:cubicBezTo>
                    <a:pt x="1390" y="1268"/>
                    <a:pt x="1411" y="1268"/>
                    <a:pt x="1436" y="1272"/>
                  </a:cubicBezTo>
                  <a:cubicBezTo>
                    <a:pt x="1460" y="1275"/>
                    <a:pt x="1495" y="1279"/>
                    <a:pt x="1534" y="1282"/>
                  </a:cubicBezTo>
                  <a:lnTo>
                    <a:pt x="1551" y="1286"/>
                  </a:lnTo>
                  <a:cubicBezTo>
                    <a:pt x="1607" y="1296"/>
                    <a:pt x="1660" y="1310"/>
                    <a:pt x="1712" y="1331"/>
                  </a:cubicBezTo>
                  <a:lnTo>
                    <a:pt x="1723" y="1335"/>
                  </a:lnTo>
                  <a:cubicBezTo>
                    <a:pt x="1737" y="1338"/>
                    <a:pt x="1747" y="1342"/>
                    <a:pt x="1758" y="1349"/>
                  </a:cubicBezTo>
                  <a:lnTo>
                    <a:pt x="1765" y="1352"/>
                  </a:lnTo>
                  <a:cubicBezTo>
                    <a:pt x="1793" y="1363"/>
                    <a:pt x="1817" y="1377"/>
                    <a:pt x="1842" y="1394"/>
                  </a:cubicBezTo>
                  <a:cubicBezTo>
                    <a:pt x="1849" y="1401"/>
                    <a:pt x="1856" y="1408"/>
                    <a:pt x="1863" y="1412"/>
                  </a:cubicBezTo>
                  <a:cubicBezTo>
                    <a:pt x="1870" y="1419"/>
                    <a:pt x="1873" y="1419"/>
                    <a:pt x="1877" y="1422"/>
                  </a:cubicBezTo>
                  <a:cubicBezTo>
                    <a:pt x="1887" y="1433"/>
                    <a:pt x="1898" y="1443"/>
                    <a:pt x="1908" y="1454"/>
                  </a:cubicBezTo>
                  <a:lnTo>
                    <a:pt x="1908" y="1457"/>
                  </a:lnTo>
                  <a:cubicBezTo>
                    <a:pt x="1957" y="1500"/>
                    <a:pt x="2017" y="1524"/>
                    <a:pt x="2079" y="1524"/>
                  </a:cubicBezTo>
                  <a:cubicBezTo>
                    <a:pt x="2093" y="1524"/>
                    <a:pt x="2108" y="1523"/>
                    <a:pt x="2122" y="1520"/>
                  </a:cubicBezTo>
                  <a:cubicBezTo>
                    <a:pt x="2167" y="1517"/>
                    <a:pt x="2213" y="1506"/>
                    <a:pt x="2255" y="1492"/>
                  </a:cubicBezTo>
                  <a:lnTo>
                    <a:pt x="2318" y="1468"/>
                  </a:lnTo>
                  <a:lnTo>
                    <a:pt x="2332" y="1506"/>
                  </a:lnTo>
                  <a:lnTo>
                    <a:pt x="2339" y="1499"/>
                  </a:lnTo>
                  <a:cubicBezTo>
                    <a:pt x="2343" y="1492"/>
                    <a:pt x="2350" y="1485"/>
                    <a:pt x="2357" y="1478"/>
                  </a:cubicBezTo>
                  <a:lnTo>
                    <a:pt x="2367" y="1468"/>
                  </a:lnTo>
                  <a:cubicBezTo>
                    <a:pt x="2374" y="1461"/>
                    <a:pt x="2381" y="1457"/>
                    <a:pt x="2385" y="1454"/>
                  </a:cubicBezTo>
                  <a:lnTo>
                    <a:pt x="2399" y="1447"/>
                  </a:lnTo>
                  <a:cubicBezTo>
                    <a:pt x="2406" y="1440"/>
                    <a:pt x="2413" y="1436"/>
                    <a:pt x="2420" y="1433"/>
                  </a:cubicBezTo>
                  <a:lnTo>
                    <a:pt x="2427" y="1429"/>
                  </a:lnTo>
                  <a:cubicBezTo>
                    <a:pt x="2437" y="1426"/>
                    <a:pt x="2448" y="1422"/>
                    <a:pt x="2458" y="1422"/>
                  </a:cubicBezTo>
                  <a:lnTo>
                    <a:pt x="2479" y="1419"/>
                  </a:lnTo>
                  <a:cubicBezTo>
                    <a:pt x="2626" y="1398"/>
                    <a:pt x="2808" y="1377"/>
                    <a:pt x="2938" y="1188"/>
                  </a:cubicBezTo>
                  <a:cubicBezTo>
                    <a:pt x="2948" y="1174"/>
                    <a:pt x="2959" y="1160"/>
                    <a:pt x="2969" y="1146"/>
                  </a:cubicBezTo>
                  <a:lnTo>
                    <a:pt x="2980" y="1132"/>
                  </a:lnTo>
                  <a:cubicBezTo>
                    <a:pt x="2990" y="1121"/>
                    <a:pt x="2997" y="1114"/>
                    <a:pt x="3008" y="1104"/>
                  </a:cubicBezTo>
                  <a:lnTo>
                    <a:pt x="3022" y="1090"/>
                  </a:lnTo>
                  <a:lnTo>
                    <a:pt x="3046" y="1065"/>
                  </a:lnTo>
                  <a:lnTo>
                    <a:pt x="3060" y="1055"/>
                  </a:lnTo>
                  <a:lnTo>
                    <a:pt x="3092" y="1027"/>
                  </a:lnTo>
                  <a:lnTo>
                    <a:pt x="3102" y="1020"/>
                  </a:lnTo>
                  <a:cubicBezTo>
                    <a:pt x="3116" y="1009"/>
                    <a:pt x="3130" y="999"/>
                    <a:pt x="3144" y="988"/>
                  </a:cubicBezTo>
                  <a:lnTo>
                    <a:pt x="3155" y="981"/>
                  </a:lnTo>
                  <a:lnTo>
                    <a:pt x="3186" y="960"/>
                  </a:lnTo>
                  <a:lnTo>
                    <a:pt x="3200" y="950"/>
                  </a:lnTo>
                  <a:lnTo>
                    <a:pt x="3211" y="943"/>
                  </a:lnTo>
                  <a:cubicBezTo>
                    <a:pt x="3197" y="918"/>
                    <a:pt x="3183" y="893"/>
                    <a:pt x="3172" y="872"/>
                  </a:cubicBezTo>
                  <a:cubicBezTo>
                    <a:pt x="3155" y="834"/>
                    <a:pt x="3130" y="799"/>
                    <a:pt x="3102" y="767"/>
                  </a:cubicBezTo>
                  <a:lnTo>
                    <a:pt x="3095" y="760"/>
                  </a:lnTo>
                  <a:lnTo>
                    <a:pt x="3092" y="757"/>
                  </a:lnTo>
                  <a:cubicBezTo>
                    <a:pt x="3043" y="739"/>
                    <a:pt x="2990" y="732"/>
                    <a:pt x="2938" y="732"/>
                  </a:cubicBezTo>
                  <a:cubicBezTo>
                    <a:pt x="2826" y="722"/>
                    <a:pt x="2721" y="711"/>
                    <a:pt x="2700" y="627"/>
                  </a:cubicBezTo>
                  <a:lnTo>
                    <a:pt x="2696" y="606"/>
                  </a:lnTo>
                  <a:cubicBezTo>
                    <a:pt x="2672" y="508"/>
                    <a:pt x="2654" y="477"/>
                    <a:pt x="2619" y="477"/>
                  </a:cubicBezTo>
                  <a:cubicBezTo>
                    <a:pt x="2588" y="477"/>
                    <a:pt x="2553" y="473"/>
                    <a:pt x="2518" y="466"/>
                  </a:cubicBezTo>
                  <a:cubicBezTo>
                    <a:pt x="2483" y="462"/>
                    <a:pt x="2457" y="459"/>
                    <a:pt x="2438" y="459"/>
                  </a:cubicBezTo>
                  <a:cubicBezTo>
                    <a:pt x="2400" y="459"/>
                    <a:pt x="2386" y="469"/>
                    <a:pt x="2374" y="494"/>
                  </a:cubicBezTo>
                  <a:cubicBezTo>
                    <a:pt x="2352" y="547"/>
                    <a:pt x="2304" y="580"/>
                    <a:pt x="2249" y="580"/>
                  </a:cubicBezTo>
                  <a:cubicBezTo>
                    <a:pt x="2242" y="580"/>
                    <a:pt x="2234" y="580"/>
                    <a:pt x="2227" y="578"/>
                  </a:cubicBezTo>
                  <a:cubicBezTo>
                    <a:pt x="2118" y="568"/>
                    <a:pt x="1978" y="449"/>
                    <a:pt x="1961" y="354"/>
                  </a:cubicBezTo>
                  <a:cubicBezTo>
                    <a:pt x="1950" y="305"/>
                    <a:pt x="1905" y="242"/>
                    <a:pt x="1642" y="148"/>
                  </a:cubicBezTo>
                  <a:cubicBezTo>
                    <a:pt x="1625" y="144"/>
                    <a:pt x="1604" y="134"/>
                    <a:pt x="1586" y="127"/>
                  </a:cubicBezTo>
                  <a:lnTo>
                    <a:pt x="1576" y="123"/>
                  </a:lnTo>
                  <a:cubicBezTo>
                    <a:pt x="1558" y="113"/>
                    <a:pt x="1537" y="106"/>
                    <a:pt x="1520" y="95"/>
                  </a:cubicBezTo>
                  <a:lnTo>
                    <a:pt x="1506" y="88"/>
                  </a:lnTo>
                  <a:cubicBezTo>
                    <a:pt x="1488" y="78"/>
                    <a:pt x="1467" y="64"/>
                    <a:pt x="1446" y="53"/>
                  </a:cubicBezTo>
                  <a:lnTo>
                    <a:pt x="1443" y="50"/>
                  </a:lnTo>
                  <a:cubicBezTo>
                    <a:pt x="1422" y="36"/>
                    <a:pt x="1401" y="22"/>
                    <a:pt x="1380" y="4"/>
                  </a:cubicBezTo>
                  <a:lnTo>
                    <a:pt x="136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7" name="Google Shape;4907;p53"/>
            <p:cNvSpPr/>
            <p:nvPr/>
          </p:nvSpPr>
          <p:spPr>
            <a:xfrm>
              <a:off x="2183195" y="1635589"/>
              <a:ext cx="1534" cy="2390"/>
            </a:xfrm>
            <a:custGeom>
              <a:avLst/>
              <a:gdLst/>
              <a:ahLst/>
              <a:cxnLst/>
              <a:rect l="l" t="t" r="r" b="b"/>
              <a:pathLst>
                <a:path w="113" h="176" extrusionOk="0">
                  <a:moveTo>
                    <a:pt x="112" y="176"/>
                  </a:moveTo>
                  <a:lnTo>
                    <a:pt x="112" y="176"/>
                  </a:lnTo>
                  <a:cubicBezTo>
                    <a:pt x="95" y="151"/>
                    <a:pt x="84" y="126"/>
                    <a:pt x="70" y="105"/>
                  </a:cubicBezTo>
                  <a:cubicBezTo>
                    <a:pt x="53" y="67"/>
                    <a:pt x="28" y="32"/>
                    <a:pt x="0" y="0"/>
                  </a:cubicBezTo>
                  <a:cubicBezTo>
                    <a:pt x="28" y="32"/>
                    <a:pt x="53" y="67"/>
                    <a:pt x="70" y="105"/>
                  </a:cubicBezTo>
                  <a:cubicBezTo>
                    <a:pt x="84" y="126"/>
                    <a:pt x="95" y="151"/>
                    <a:pt x="112" y="17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8" name="Google Shape;4908;p53"/>
            <p:cNvSpPr/>
            <p:nvPr/>
          </p:nvSpPr>
          <p:spPr>
            <a:xfrm>
              <a:off x="2161756" y="1626465"/>
              <a:ext cx="774" cy="394"/>
            </a:xfrm>
            <a:custGeom>
              <a:avLst/>
              <a:gdLst/>
              <a:ahLst/>
              <a:cxnLst/>
              <a:rect l="l" t="t" r="r" b="b"/>
              <a:pathLst>
                <a:path w="57" h="29" extrusionOk="0">
                  <a:moveTo>
                    <a:pt x="0" y="0"/>
                  </a:moveTo>
                  <a:cubicBezTo>
                    <a:pt x="18" y="11"/>
                    <a:pt x="35" y="18"/>
                    <a:pt x="56" y="28"/>
                  </a:cubicBezTo>
                  <a:cubicBezTo>
                    <a:pt x="35" y="18"/>
                    <a:pt x="18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9" name="Google Shape;4909;p53"/>
            <p:cNvSpPr/>
            <p:nvPr/>
          </p:nvSpPr>
          <p:spPr>
            <a:xfrm>
              <a:off x="2162612" y="1626885"/>
              <a:ext cx="720" cy="299"/>
            </a:xfrm>
            <a:custGeom>
              <a:avLst/>
              <a:gdLst/>
              <a:ahLst/>
              <a:cxnLst/>
              <a:rect l="l" t="t" r="r" b="b"/>
              <a:pathLst>
                <a:path w="53" h="22" extrusionOk="0">
                  <a:moveTo>
                    <a:pt x="0" y="1"/>
                  </a:moveTo>
                  <a:lnTo>
                    <a:pt x="0" y="1"/>
                  </a:lnTo>
                  <a:cubicBezTo>
                    <a:pt x="18" y="11"/>
                    <a:pt x="39" y="18"/>
                    <a:pt x="53" y="22"/>
                  </a:cubicBezTo>
                  <a:cubicBezTo>
                    <a:pt x="39" y="18"/>
                    <a:pt x="18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0" name="Google Shape;4910;p53"/>
            <p:cNvSpPr/>
            <p:nvPr/>
          </p:nvSpPr>
          <p:spPr>
            <a:xfrm>
              <a:off x="2183046" y="1635439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1" y="1"/>
                  </a:ln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1" name="Google Shape;4911;p53"/>
            <p:cNvSpPr/>
            <p:nvPr/>
          </p:nvSpPr>
          <p:spPr>
            <a:xfrm>
              <a:off x="2160711" y="1625894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0" y="0"/>
                  </a:moveTo>
                  <a:cubicBezTo>
                    <a:pt x="21" y="11"/>
                    <a:pt x="42" y="25"/>
                    <a:pt x="60" y="35"/>
                  </a:cubicBezTo>
                  <a:cubicBezTo>
                    <a:pt x="42" y="25"/>
                    <a:pt x="2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2" name="Google Shape;4912;p53"/>
            <p:cNvSpPr/>
            <p:nvPr/>
          </p:nvSpPr>
          <p:spPr>
            <a:xfrm>
              <a:off x="2159801" y="1625270"/>
              <a:ext cx="869" cy="584"/>
            </a:xfrm>
            <a:custGeom>
              <a:avLst/>
              <a:gdLst/>
              <a:ahLst/>
              <a:cxnLst/>
              <a:rect l="l" t="t" r="r" b="b"/>
              <a:pathLst>
                <a:path w="64" h="43" extrusionOk="0">
                  <a:moveTo>
                    <a:pt x="1" y="1"/>
                  </a:moveTo>
                  <a:cubicBezTo>
                    <a:pt x="22" y="15"/>
                    <a:pt x="43" y="29"/>
                    <a:pt x="64" y="43"/>
                  </a:cubicBezTo>
                  <a:cubicBezTo>
                    <a:pt x="43" y="29"/>
                    <a:pt x="22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3" name="Google Shape;4913;p53"/>
            <p:cNvSpPr/>
            <p:nvPr/>
          </p:nvSpPr>
          <p:spPr>
            <a:xfrm>
              <a:off x="2166359" y="1644333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cubicBezTo>
                    <a:pt x="8" y="4"/>
                    <a:pt x="11" y="8"/>
                    <a:pt x="15" y="11"/>
                  </a:cubicBezTo>
                  <a:cubicBezTo>
                    <a:pt x="11" y="8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4" name="Google Shape;4914;p53"/>
            <p:cNvSpPr/>
            <p:nvPr/>
          </p:nvSpPr>
          <p:spPr>
            <a:xfrm>
              <a:off x="2156855" y="164647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5" name="Google Shape;4915;p53"/>
            <p:cNvSpPr/>
            <p:nvPr/>
          </p:nvSpPr>
          <p:spPr>
            <a:xfrm>
              <a:off x="2157045" y="164642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6" name="Google Shape;4916;p53"/>
            <p:cNvSpPr/>
            <p:nvPr/>
          </p:nvSpPr>
          <p:spPr>
            <a:xfrm>
              <a:off x="2156570" y="164651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4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7" name="Google Shape;4917;p53"/>
            <p:cNvSpPr/>
            <p:nvPr/>
          </p:nvSpPr>
          <p:spPr>
            <a:xfrm>
              <a:off x="2157384" y="164623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cubicBezTo>
                    <a:pt x="4" y="4"/>
                    <a:pt x="7" y="4"/>
                    <a:pt x="11" y="1"/>
                  </a:cubicBezTo>
                  <a:cubicBezTo>
                    <a:pt x="7" y="4"/>
                    <a:pt x="4" y="4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8" name="Google Shape;4918;p53"/>
            <p:cNvSpPr/>
            <p:nvPr/>
          </p:nvSpPr>
          <p:spPr>
            <a:xfrm>
              <a:off x="2165028" y="1643531"/>
              <a:ext cx="1059" cy="584"/>
            </a:xfrm>
            <a:custGeom>
              <a:avLst/>
              <a:gdLst/>
              <a:ahLst/>
              <a:cxnLst/>
              <a:rect l="l" t="t" r="r" b="b"/>
              <a:pathLst>
                <a:path w="78" h="43" extrusionOk="0">
                  <a:moveTo>
                    <a:pt x="1" y="0"/>
                  </a:moveTo>
                  <a:cubicBezTo>
                    <a:pt x="29" y="11"/>
                    <a:pt x="53" y="25"/>
                    <a:pt x="78" y="42"/>
                  </a:cubicBezTo>
                  <a:cubicBezTo>
                    <a:pt x="53" y="25"/>
                    <a:pt x="29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9" name="Google Shape;4919;p53"/>
            <p:cNvSpPr/>
            <p:nvPr/>
          </p:nvSpPr>
          <p:spPr>
            <a:xfrm>
              <a:off x="2157235" y="164638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0" name="Google Shape;4920;p53"/>
            <p:cNvSpPr/>
            <p:nvPr/>
          </p:nvSpPr>
          <p:spPr>
            <a:xfrm>
              <a:off x="2160561" y="1642432"/>
              <a:ext cx="1303" cy="204"/>
            </a:xfrm>
            <a:custGeom>
              <a:avLst/>
              <a:gdLst/>
              <a:ahLst/>
              <a:cxnLst/>
              <a:rect l="l" t="t" r="r" b="b"/>
              <a:pathLst>
                <a:path w="96" h="15" extrusionOk="0">
                  <a:moveTo>
                    <a:pt x="1" y="1"/>
                  </a:moveTo>
                  <a:cubicBezTo>
                    <a:pt x="25" y="4"/>
                    <a:pt x="60" y="8"/>
                    <a:pt x="95" y="15"/>
                  </a:cubicBezTo>
                  <a:cubicBezTo>
                    <a:pt x="60" y="8"/>
                    <a:pt x="29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1" name="Google Shape;4921;p53"/>
            <p:cNvSpPr/>
            <p:nvPr/>
          </p:nvSpPr>
          <p:spPr>
            <a:xfrm>
              <a:off x="2164458" y="1643287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1"/>
                  </a:moveTo>
                  <a:cubicBezTo>
                    <a:pt x="15" y="4"/>
                    <a:pt x="25" y="8"/>
                    <a:pt x="36" y="15"/>
                  </a:cubicBezTo>
                  <a:cubicBezTo>
                    <a:pt x="25" y="8"/>
                    <a:pt x="1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2" name="Google Shape;4922;p53"/>
            <p:cNvSpPr/>
            <p:nvPr/>
          </p:nvSpPr>
          <p:spPr>
            <a:xfrm>
              <a:off x="2162136" y="1642676"/>
              <a:ext cx="2200" cy="584"/>
            </a:xfrm>
            <a:custGeom>
              <a:avLst/>
              <a:gdLst/>
              <a:ahLst/>
              <a:cxnLst/>
              <a:rect l="l" t="t" r="r" b="b"/>
              <a:pathLst>
                <a:path w="162" h="43" extrusionOk="0">
                  <a:moveTo>
                    <a:pt x="0" y="0"/>
                  </a:moveTo>
                  <a:cubicBezTo>
                    <a:pt x="56" y="7"/>
                    <a:pt x="109" y="21"/>
                    <a:pt x="161" y="42"/>
                  </a:cubicBezTo>
                  <a:cubicBezTo>
                    <a:pt x="109" y="21"/>
                    <a:pt x="56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3" name="Google Shape;4923;p53"/>
            <p:cNvSpPr/>
            <p:nvPr/>
          </p:nvSpPr>
          <p:spPr>
            <a:xfrm>
              <a:off x="2156244" y="1646614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4" name="Google Shape;4924;p53"/>
            <p:cNvSpPr/>
            <p:nvPr/>
          </p:nvSpPr>
          <p:spPr>
            <a:xfrm>
              <a:off x="2154628" y="1646614"/>
              <a:ext cx="1195" cy="54"/>
            </a:xfrm>
            <a:custGeom>
              <a:avLst/>
              <a:gdLst/>
              <a:ahLst/>
              <a:cxnLst/>
              <a:rect l="l" t="t" r="r" b="b"/>
              <a:pathLst>
                <a:path w="88" h="4" extrusionOk="0">
                  <a:moveTo>
                    <a:pt x="0" y="1"/>
                  </a:moveTo>
                  <a:cubicBezTo>
                    <a:pt x="16" y="2"/>
                    <a:pt x="32" y="3"/>
                    <a:pt x="47" y="3"/>
                  </a:cubicBezTo>
                  <a:cubicBezTo>
                    <a:pt x="61" y="3"/>
                    <a:pt x="75" y="2"/>
                    <a:pt x="8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5" name="Google Shape;4925;p53"/>
            <p:cNvSpPr/>
            <p:nvPr/>
          </p:nvSpPr>
          <p:spPr>
            <a:xfrm>
              <a:off x="2166984" y="1644903"/>
              <a:ext cx="2906" cy="1113"/>
            </a:xfrm>
            <a:custGeom>
              <a:avLst/>
              <a:gdLst/>
              <a:ahLst/>
              <a:cxnLst/>
              <a:rect l="l" t="t" r="r" b="b"/>
              <a:pathLst>
                <a:path w="214" h="82" extrusionOk="0">
                  <a:moveTo>
                    <a:pt x="214" y="67"/>
                  </a:moveTo>
                  <a:cubicBezTo>
                    <a:pt x="137" y="81"/>
                    <a:pt x="60" y="57"/>
                    <a:pt x="4" y="1"/>
                  </a:cubicBezTo>
                  <a:lnTo>
                    <a:pt x="0" y="1"/>
                  </a:lnTo>
                  <a:lnTo>
                    <a:pt x="4" y="1"/>
                  </a:lnTo>
                  <a:cubicBezTo>
                    <a:pt x="60" y="57"/>
                    <a:pt x="137" y="81"/>
                    <a:pt x="214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6" name="Google Shape;4926;p53"/>
            <p:cNvSpPr/>
            <p:nvPr/>
          </p:nvSpPr>
          <p:spPr>
            <a:xfrm>
              <a:off x="2154248" y="164661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1"/>
                  </a:move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7" name="Google Shape;4927;p53"/>
            <p:cNvSpPr/>
            <p:nvPr/>
          </p:nvSpPr>
          <p:spPr>
            <a:xfrm>
              <a:off x="2153813" y="1646573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0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8" name="Google Shape;4928;p53"/>
            <p:cNvSpPr/>
            <p:nvPr/>
          </p:nvSpPr>
          <p:spPr>
            <a:xfrm>
              <a:off x="2153433" y="1646518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9" name="Google Shape;4929;p53"/>
            <p:cNvSpPr/>
            <p:nvPr/>
          </p:nvSpPr>
          <p:spPr>
            <a:xfrm>
              <a:off x="2171641" y="1645052"/>
              <a:ext cx="1100" cy="530"/>
            </a:xfrm>
            <a:custGeom>
              <a:avLst/>
              <a:gdLst/>
              <a:ahLst/>
              <a:cxnLst/>
              <a:rect l="l" t="t" r="r" b="b"/>
              <a:pathLst>
                <a:path w="81" h="39" extrusionOk="0">
                  <a:moveTo>
                    <a:pt x="81" y="39"/>
                  </a:moveTo>
                  <a:lnTo>
                    <a:pt x="81" y="39"/>
                  </a:lnTo>
                  <a:lnTo>
                    <a:pt x="67" y="0"/>
                  </a:lnTo>
                  <a:lnTo>
                    <a:pt x="0" y="25"/>
                  </a:lnTo>
                  <a:lnTo>
                    <a:pt x="6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0" name="Google Shape;4930;p53"/>
            <p:cNvSpPr/>
            <p:nvPr/>
          </p:nvSpPr>
          <p:spPr>
            <a:xfrm>
              <a:off x="2152958" y="1646478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0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1" name="Google Shape;4931;p53"/>
            <p:cNvSpPr/>
            <p:nvPr/>
          </p:nvSpPr>
          <p:spPr>
            <a:xfrm>
              <a:off x="2155864" y="1646614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2" name="Google Shape;4932;p53"/>
            <p:cNvSpPr/>
            <p:nvPr/>
          </p:nvSpPr>
          <p:spPr>
            <a:xfrm>
              <a:off x="2152768" y="164642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1" y="1"/>
                  </a:ln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3" name="Google Shape;4933;p53"/>
            <p:cNvSpPr/>
            <p:nvPr/>
          </p:nvSpPr>
          <p:spPr>
            <a:xfrm>
              <a:off x="2173637" y="1639417"/>
              <a:ext cx="38709" cy="14569"/>
            </a:xfrm>
            <a:custGeom>
              <a:avLst/>
              <a:gdLst/>
              <a:ahLst/>
              <a:cxnLst/>
              <a:rect l="l" t="t" r="r" b="b"/>
              <a:pathLst>
                <a:path w="2851" h="1073" extrusionOk="0">
                  <a:moveTo>
                    <a:pt x="1262" y="0"/>
                  </a:moveTo>
                  <a:cubicBezTo>
                    <a:pt x="1246" y="0"/>
                    <a:pt x="1220" y="12"/>
                    <a:pt x="1194" y="27"/>
                  </a:cubicBezTo>
                  <a:cubicBezTo>
                    <a:pt x="1154" y="44"/>
                    <a:pt x="1104" y="68"/>
                    <a:pt x="1047" y="68"/>
                  </a:cubicBezTo>
                  <a:cubicBezTo>
                    <a:pt x="1015" y="68"/>
                    <a:pt x="981" y="61"/>
                    <a:pt x="946" y="41"/>
                  </a:cubicBezTo>
                  <a:cubicBezTo>
                    <a:pt x="935" y="34"/>
                    <a:pt x="928" y="27"/>
                    <a:pt x="918" y="23"/>
                  </a:cubicBezTo>
                  <a:cubicBezTo>
                    <a:pt x="911" y="16"/>
                    <a:pt x="900" y="9"/>
                    <a:pt x="893" y="2"/>
                  </a:cubicBezTo>
                  <a:lnTo>
                    <a:pt x="876" y="9"/>
                  </a:lnTo>
                  <a:lnTo>
                    <a:pt x="865" y="16"/>
                  </a:lnTo>
                  <a:lnTo>
                    <a:pt x="830" y="41"/>
                  </a:lnTo>
                  <a:lnTo>
                    <a:pt x="816" y="48"/>
                  </a:lnTo>
                  <a:lnTo>
                    <a:pt x="792" y="69"/>
                  </a:lnTo>
                  <a:lnTo>
                    <a:pt x="778" y="79"/>
                  </a:lnTo>
                  <a:lnTo>
                    <a:pt x="753" y="97"/>
                  </a:lnTo>
                  <a:lnTo>
                    <a:pt x="743" y="111"/>
                  </a:lnTo>
                  <a:lnTo>
                    <a:pt x="718" y="128"/>
                  </a:lnTo>
                  <a:lnTo>
                    <a:pt x="708" y="142"/>
                  </a:lnTo>
                  <a:cubicBezTo>
                    <a:pt x="701" y="149"/>
                    <a:pt x="694" y="156"/>
                    <a:pt x="687" y="163"/>
                  </a:cubicBezTo>
                  <a:lnTo>
                    <a:pt x="676" y="177"/>
                  </a:lnTo>
                  <a:cubicBezTo>
                    <a:pt x="666" y="188"/>
                    <a:pt x="655" y="202"/>
                    <a:pt x="648" y="212"/>
                  </a:cubicBezTo>
                  <a:cubicBezTo>
                    <a:pt x="484" y="443"/>
                    <a:pt x="253" y="475"/>
                    <a:pt x="99" y="499"/>
                  </a:cubicBezTo>
                  <a:lnTo>
                    <a:pt x="78" y="499"/>
                  </a:lnTo>
                  <a:lnTo>
                    <a:pt x="74" y="503"/>
                  </a:lnTo>
                  <a:lnTo>
                    <a:pt x="67" y="506"/>
                  </a:lnTo>
                  <a:lnTo>
                    <a:pt x="57" y="517"/>
                  </a:lnTo>
                  <a:cubicBezTo>
                    <a:pt x="53" y="520"/>
                    <a:pt x="50" y="524"/>
                    <a:pt x="46" y="527"/>
                  </a:cubicBezTo>
                  <a:cubicBezTo>
                    <a:pt x="43" y="534"/>
                    <a:pt x="36" y="538"/>
                    <a:pt x="32" y="545"/>
                  </a:cubicBezTo>
                  <a:lnTo>
                    <a:pt x="32" y="548"/>
                  </a:lnTo>
                  <a:cubicBezTo>
                    <a:pt x="29" y="555"/>
                    <a:pt x="22" y="562"/>
                    <a:pt x="18" y="573"/>
                  </a:cubicBezTo>
                  <a:cubicBezTo>
                    <a:pt x="11" y="583"/>
                    <a:pt x="4" y="594"/>
                    <a:pt x="1" y="604"/>
                  </a:cubicBezTo>
                  <a:cubicBezTo>
                    <a:pt x="39" y="713"/>
                    <a:pt x="92" y="814"/>
                    <a:pt x="158" y="912"/>
                  </a:cubicBezTo>
                  <a:cubicBezTo>
                    <a:pt x="169" y="930"/>
                    <a:pt x="186" y="951"/>
                    <a:pt x="200" y="968"/>
                  </a:cubicBezTo>
                  <a:cubicBezTo>
                    <a:pt x="207" y="975"/>
                    <a:pt x="214" y="982"/>
                    <a:pt x="221" y="986"/>
                  </a:cubicBezTo>
                  <a:cubicBezTo>
                    <a:pt x="267" y="1028"/>
                    <a:pt x="375" y="1059"/>
                    <a:pt x="498" y="1070"/>
                  </a:cubicBezTo>
                  <a:cubicBezTo>
                    <a:pt x="526" y="1072"/>
                    <a:pt x="555" y="1072"/>
                    <a:pt x="583" y="1072"/>
                  </a:cubicBezTo>
                  <a:cubicBezTo>
                    <a:pt x="612" y="1072"/>
                    <a:pt x="641" y="1072"/>
                    <a:pt x="669" y="1070"/>
                  </a:cubicBezTo>
                  <a:cubicBezTo>
                    <a:pt x="785" y="1059"/>
                    <a:pt x="837" y="1038"/>
                    <a:pt x="851" y="1024"/>
                  </a:cubicBezTo>
                  <a:cubicBezTo>
                    <a:pt x="869" y="811"/>
                    <a:pt x="1488" y="790"/>
                    <a:pt x="1495" y="790"/>
                  </a:cubicBezTo>
                  <a:cubicBezTo>
                    <a:pt x="1537" y="786"/>
                    <a:pt x="1677" y="674"/>
                    <a:pt x="1754" y="615"/>
                  </a:cubicBezTo>
                  <a:cubicBezTo>
                    <a:pt x="1888" y="508"/>
                    <a:pt x="1949" y="464"/>
                    <a:pt x="1996" y="464"/>
                  </a:cubicBezTo>
                  <a:cubicBezTo>
                    <a:pt x="2005" y="464"/>
                    <a:pt x="2013" y="465"/>
                    <a:pt x="2021" y="468"/>
                  </a:cubicBezTo>
                  <a:cubicBezTo>
                    <a:pt x="2031" y="471"/>
                    <a:pt x="2066" y="478"/>
                    <a:pt x="2094" y="485"/>
                  </a:cubicBezTo>
                  <a:cubicBezTo>
                    <a:pt x="2283" y="527"/>
                    <a:pt x="2476" y="573"/>
                    <a:pt x="2553" y="646"/>
                  </a:cubicBezTo>
                  <a:lnTo>
                    <a:pt x="2556" y="650"/>
                  </a:lnTo>
                  <a:lnTo>
                    <a:pt x="2563" y="657"/>
                  </a:lnTo>
                  <a:lnTo>
                    <a:pt x="2574" y="660"/>
                  </a:lnTo>
                  <a:lnTo>
                    <a:pt x="2577" y="660"/>
                  </a:lnTo>
                  <a:lnTo>
                    <a:pt x="2591" y="667"/>
                  </a:lnTo>
                  <a:lnTo>
                    <a:pt x="2609" y="674"/>
                  </a:lnTo>
                  <a:lnTo>
                    <a:pt x="2616" y="678"/>
                  </a:lnTo>
                  <a:lnTo>
                    <a:pt x="2637" y="685"/>
                  </a:lnTo>
                  <a:lnTo>
                    <a:pt x="2644" y="688"/>
                  </a:lnTo>
                  <a:lnTo>
                    <a:pt x="2675" y="699"/>
                  </a:lnTo>
                  <a:lnTo>
                    <a:pt x="2679" y="699"/>
                  </a:lnTo>
                  <a:lnTo>
                    <a:pt x="2679" y="695"/>
                  </a:lnTo>
                  <a:cubicBezTo>
                    <a:pt x="2675" y="685"/>
                    <a:pt x="2672" y="674"/>
                    <a:pt x="2668" y="664"/>
                  </a:cubicBezTo>
                  <a:lnTo>
                    <a:pt x="2668" y="653"/>
                  </a:lnTo>
                  <a:cubicBezTo>
                    <a:pt x="2665" y="643"/>
                    <a:pt x="2665" y="632"/>
                    <a:pt x="2665" y="618"/>
                  </a:cubicBezTo>
                  <a:cubicBezTo>
                    <a:pt x="2665" y="611"/>
                    <a:pt x="2665" y="604"/>
                    <a:pt x="2665" y="597"/>
                  </a:cubicBezTo>
                  <a:lnTo>
                    <a:pt x="2665" y="590"/>
                  </a:lnTo>
                  <a:cubicBezTo>
                    <a:pt x="2665" y="587"/>
                    <a:pt x="2668" y="580"/>
                    <a:pt x="2668" y="573"/>
                  </a:cubicBezTo>
                  <a:lnTo>
                    <a:pt x="2668" y="562"/>
                  </a:lnTo>
                  <a:cubicBezTo>
                    <a:pt x="2672" y="555"/>
                    <a:pt x="2675" y="548"/>
                    <a:pt x="2679" y="538"/>
                  </a:cubicBezTo>
                  <a:cubicBezTo>
                    <a:pt x="2682" y="531"/>
                    <a:pt x="2686" y="520"/>
                    <a:pt x="2689" y="510"/>
                  </a:cubicBezTo>
                  <a:lnTo>
                    <a:pt x="2693" y="503"/>
                  </a:lnTo>
                  <a:lnTo>
                    <a:pt x="2703" y="478"/>
                  </a:lnTo>
                  <a:lnTo>
                    <a:pt x="2707" y="471"/>
                  </a:lnTo>
                  <a:lnTo>
                    <a:pt x="2724" y="443"/>
                  </a:lnTo>
                  <a:lnTo>
                    <a:pt x="2724" y="440"/>
                  </a:lnTo>
                  <a:lnTo>
                    <a:pt x="2742" y="412"/>
                  </a:lnTo>
                  <a:lnTo>
                    <a:pt x="2745" y="401"/>
                  </a:lnTo>
                  <a:lnTo>
                    <a:pt x="2759" y="380"/>
                  </a:lnTo>
                  <a:lnTo>
                    <a:pt x="2766" y="370"/>
                  </a:lnTo>
                  <a:lnTo>
                    <a:pt x="2784" y="345"/>
                  </a:lnTo>
                  <a:lnTo>
                    <a:pt x="2784" y="342"/>
                  </a:lnTo>
                  <a:lnTo>
                    <a:pt x="2805" y="314"/>
                  </a:lnTo>
                  <a:lnTo>
                    <a:pt x="2808" y="303"/>
                  </a:lnTo>
                  <a:lnTo>
                    <a:pt x="2826" y="286"/>
                  </a:lnTo>
                  <a:lnTo>
                    <a:pt x="2829" y="275"/>
                  </a:lnTo>
                  <a:lnTo>
                    <a:pt x="2847" y="258"/>
                  </a:lnTo>
                  <a:lnTo>
                    <a:pt x="2850" y="251"/>
                  </a:lnTo>
                  <a:lnTo>
                    <a:pt x="2833" y="247"/>
                  </a:lnTo>
                  <a:lnTo>
                    <a:pt x="2826" y="247"/>
                  </a:lnTo>
                  <a:lnTo>
                    <a:pt x="2798" y="244"/>
                  </a:lnTo>
                  <a:lnTo>
                    <a:pt x="2791" y="244"/>
                  </a:lnTo>
                  <a:lnTo>
                    <a:pt x="2735" y="230"/>
                  </a:lnTo>
                  <a:lnTo>
                    <a:pt x="2728" y="230"/>
                  </a:lnTo>
                  <a:lnTo>
                    <a:pt x="2714" y="226"/>
                  </a:lnTo>
                  <a:lnTo>
                    <a:pt x="2707" y="226"/>
                  </a:lnTo>
                  <a:lnTo>
                    <a:pt x="2693" y="223"/>
                  </a:lnTo>
                  <a:lnTo>
                    <a:pt x="2686" y="219"/>
                  </a:lnTo>
                  <a:lnTo>
                    <a:pt x="2675" y="216"/>
                  </a:lnTo>
                  <a:lnTo>
                    <a:pt x="2672" y="216"/>
                  </a:lnTo>
                  <a:lnTo>
                    <a:pt x="2661" y="212"/>
                  </a:lnTo>
                  <a:lnTo>
                    <a:pt x="2658" y="212"/>
                  </a:lnTo>
                  <a:lnTo>
                    <a:pt x="2647" y="205"/>
                  </a:lnTo>
                  <a:lnTo>
                    <a:pt x="2640" y="205"/>
                  </a:lnTo>
                  <a:lnTo>
                    <a:pt x="2637" y="202"/>
                  </a:lnTo>
                  <a:lnTo>
                    <a:pt x="2623" y="202"/>
                  </a:lnTo>
                  <a:lnTo>
                    <a:pt x="2619" y="198"/>
                  </a:lnTo>
                  <a:lnTo>
                    <a:pt x="2616" y="198"/>
                  </a:lnTo>
                  <a:lnTo>
                    <a:pt x="2612" y="195"/>
                  </a:lnTo>
                  <a:lnTo>
                    <a:pt x="2609" y="191"/>
                  </a:lnTo>
                  <a:cubicBezTo>
                    <a:pt x="2577" y="160"/>
                    <a:pt x="2407" y="101"/>
                    <a:pt x="2249" y="101"/>
                  </a:cubicBezTo>
                  <a:cubicBezTo>
                    <a:pt x="2230" y="101"/>
                    <a:pt x="2211" y="102"/>
                    <a:pt x="2192" y="104"/>
                  </a:cubicBezTo>
                  <a:lnTo>
                    <a:pt x="2182" y="104"/>
                  </a:lnTo>
                  <a:cubicBezTo>
                    <a:pt x="2172" y="104"/>
                    <a:pt x="2163" y="104"/>
                    <a:pt x="2154" y="104"/>
                  </a:cubicBezTo>
                  <a:cubicBezTo>
                    <a:pt x="2089" y="104"/>
                    <a:pt x="2022" y="93"/>
                    <a:pt x="1961" y="72"/>
                  </a:cubicBezTo>
                  <a:cubicBezTo>
                    <a:pt x="1921" y="61"/>
                    <a:pt x="1887" y="51"/>
                    <a:pt x="1854" y="51"/>
                  </a:cubicBezTo>
                  <a:cubicBezTo>
                    <a:pt x="1835" y="51"/>
                    <a:pt x="1816" y="54"/>
                    <a:pt x="1796" y="62"/>
                  </a:cubicBezTo>
                  <a:cubicBezTo>
                    <a:pt x="1746" y="81"/>
                    <a:pt x="1686" y="89"/>
                    <a:pt x="1626" y="89"/>
                  </a:cubicBezTo>
                  <a:cubicBezTo>
                    <a:pt x="1489" y="89"/>
                    <a:pt x="1344" y="48"/>
                    <a:pt x="1271" y="2"/>
                  </a:cubicBezTo>
                  <a:cubicBezTo>
                    <a:pt x="1269" y="1"/>
                    <a:pt x="1266" y="0"/>
                    <a:pt x="12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4" name="Google Shape;4934;p53"/>
            <p:cNvSpPr/>
            <p:nvPr/>
          </p:nvSpPr>
          <p:spPr>
            <a:xfrm>
              <a:off x="2211667" y="164286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5" name="Google Shape;4935;p53"/>
            <p:cNvSpPr/>
            <p:nvPr/>
          </p:nvSpPr>
          <p:spPr>
            <a:xfrm>
              <a:off x="2209332" y="164214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6" name="Google Shape;4936;p53"/>
            <p:cNvSpPr/>
            <p:nvPr/>
          </p:nvSpPr>
          <p:spPr>
            <a:xfrm>
              <a:off x="2200343" y="1640341"/>
              <a:ext cx="3014" cy="489"/>
            </a:xfrm>
            <a:custGeom>
              <a:avLst/>
              <a:gdLst/>
              <a:ahLst/>
              <a:cxnLst/>
              <a:rect l="l" t="t" r="r" b="b"/>
              <a:pathLst>
                <a:path w="222" h="36" extrusionOk="0">
                  <a:moveTo>
                    <a:pt x="222" y="32"/>
                  </a:moveTo>
                  <a:cubicBezTo>
                    <a:pt x="145" y="36"/>
                    <a:pt x="71" y="25"/>
                    <a:pt x="1" y="1"/>
                  </a:cubicBezTo>
                  <a:cubicBezTo>
                    <a:pt x="71" y="25"/>
                    <a:pt x="145" y="36"/>
                    <a:pt x="22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7" name="Google Shape;4937;p53"/>
            <p:cNvSpPr/>
            <p:nvPr/>
          </p:nvSpPr>
          <p:spPr>
            <a:xfrm>
              <a:off x="2212088" y="164296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8" name="Google Shape;4938;p53"/>
            <p:cNvSpPr/>
            <p:nvPr/>
          </p:nvSpPr>
          <p:spPr>
            <a:xfrm>
              <a:off x="2209807" y="164233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9" name="Google Shape;4939;p53"/>
            <p:cNvSpPr/>
            <p:nvPr/>
          </p:nvSpPr>
          <p:spPr>
            <a:xfrm>
              <a:off x="2209481" y="164220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0" name="Google Shape;4940;p53"/>
            <p:cNvSpPr/>
            <p:nvPr/>
          </p:nvSpPr>
          <p:spPr>
            <a:xfrm>
              <a:off x="2209576" y="164224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1" name="Google Shape;4941;p53"/>
            <p:cNvSpPr/>
            <p:nvPr/>
          </p:nvSpPr>
          <p:spPr>
            <a:xfrm>
              <a:off x="2209291" y="16420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2" name="Google Shape;4942;p53"/>
            <p:cNvSpPr/>
            <p:nvPr/>
          </p:nvSpPr>
          <p:spPr>
            <a:xfrm>
              <a:off x="2209956" y="164243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1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3" name="Google Shape;4943;p53"/>
            <p:cNvSpPr/>
            <p:nvPr/>
          </p:nvSpPr>
          <p:spPr>
            <a:xfrm>
              <a:off x="2185802" y="1639390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cubicBezTo>
                    <a:pt x="18" y="11"/>
                    <a:pt x="8" y="8"/>
                    <a:pt x="1" y="1"/>
                  </a:cubicBezTo>
                  <a:lnTo>
                    <a:pt x="1" y="1"/>
                  </a:lnTo>
                  <a:cubicBezTo>
                    <a:pt x="8" y="8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4" name="Google Shape;4944;p53"/>
            <p:cNvSpPr/>
            <p:nvPr/>
          </p:nvSpPr>
          <p:spPr>
            <a:xfrm>
              <a:off x="2209196" y="164201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5" name="Google Shape;4945;p53"/>
            <p:cNvSpPr/>
            <p:nvPr/>
          </p:nvSpPr>
          <p:spPr>
            <a:xfrm>
              <a:off x="2210187" y="164248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6" name="Google Shape;4946;p53"/>
            <p:cNvSpPr/>
            <p:nvPr/>
          </p:nvSpPr>
          <p:spPr>
            <a:xfrm>
              <a:off x="2210472" y="1642581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7" name="Google Shape;4947;p53"/>
            <p:cNvSpPr/>
            <p:nvPr/>
          </p:nvSpPr>
          <p:spPr>
            <a:xfrm>
              <a:off x="2198062" y="1640056"/>
              <a:ext cx="2295" cy="299"/>
            </a:xfrm>
            <a:custGeom>
              <a:avLst/>
              <a:gdLst/>
              <a:ahLst/>
              <a:cxnLst/>
              <a:rect l="l" t="t" r="r" b="b"/>
              <a:pathLst>
                <a:path w="169" h="22" extrusionOk="0">
                  <a:moveTo>
                    <a:pt x="58" y="1"/>
                  </a:moveTo>
                  <a:cubicBezTo>
                    <a:pt x="40" y="1"/>
                    <a:pt x="21" y="4"/>
                    <a:pt x="1" y="11"/>
                  </a:cubicBezTo>
                  <a:cubicBezTo>
                    <a:pt x="22" y="4"/>
                    <a:pt x="41" y="1"/>
                    <a:pt x="60" y="1"/>
                  </a:cubicBezTo>
                  <a:lnTo>
                    <a:pt x="60" y="1"/>
                  </a:lnTo>
                  <a:cubicBezTo>
                    <a:pt x="93" y="1"/>
                    <a:pt x="127" y="10"/>
                    <a:pt x="169" y="22"/>
                  </a:cubicBezTo>
                  <a:cubicBezTo>
                    <a:pt x="129" y="10"/>
                    <a:pt x="95" y="1"/>
                    <a:pt x="61" y="1"/>
                  </a:cubicBezTo>
                  <a:cubicBezTo>
                    <a:pt x="60" y="1"/>
                    <a:pt x="60" y="1"/>
                    <a:pt x="60" y="1"/>
                  </a:cubicBezTo>
                  <a:lnTo>
                    <a:pt x="60" y="1"/>
                  </a:lnTo>
                  <a:cubicBezTo>
                    <a:pt x="59" y="1"/>
                    <a:pt x="59" y="1"/>
                    <a:pt x="5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8" name="Google Shape;4948;p53"/>
            <p:cNvSpPr/>
            <p:nvPr/>
          </p:nvSpPr>
          <p:spPr>
            <a:xfrm>
              <a:off x="2210757" y="164267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9" name="Google Shape;4949;p53"/>
            <p:cNvSpPr/>
            <p:nvPr/>
          </p:nvSpPr>
          <p:spPr>
            <a:xfrm>
              <a:off x="2173501" y="1647713"/>
              <a:ext cx="2145" cy="4195"/>
            </a:xfrm>
            <a:custGeom>
              <a:avLst/>
              <a:gdLst/>
              <a:ahLst/>
              <a:cxnLst/>
              <a:rect l="l" t="t" r="r" b="b"/>
              <a:pathLst>
                <a:path w="158" h="309" extrusionOk="0">
                  <a:moveTo>
                    <a:pt x="0" y="0"/>
                  </a:moveTo>
                  <a:lnTo>
                    <a:pt x="0" y="0"/>
                  </a:lnTo>
                  <a:cubicBezTo>
                    <a:pt x="9" y="24"/>
                    <a:pt x="19" y="48"/>
                    <a:pt x="29" y="71"/>
                  </a:cubicBezTo>
                  <a:lnTo>
                    <a:pt x="29" y="71"/>
                  </a:lnTo>
                  <a:cubicBezTo>
                    <a:pt x="19" y="48"/>
                    <a:pt x="9" y="24"/>
                    <a:pt x="0" y="0"/>
                  </a:cubicBezTo>
                  <a:close/>
                  <a:moveTo>
                    <a:pt x="29" y="71"/>
                  </a:moveTo>
                  <a:cubicBezTo>
                    <a:pt x="61" y="144"/>
                    <a:pt x="97" y="214"/>
                    <a:pt x="137" y="280"/>
                  </a:cubicBezTo>
                  <a:lnTo>
                    <a:pt x="158" y="308"/>
                  </a:lnTo>
                  <a:cubicBezTo>
                    <a:pt x="108" y="232"/>
                    <a:pt x="66" y="153"/>
                    <a:pt x="29" y="7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0" name="Google Shape;4950;p53"/>
            <p:cNvSpPr/>
            <p:nvPr/>
          </p:nvSpPr>
          <p:spPr>
            <a:xfrm>
              <a:off x="2208286" y="16483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1" name="Google Shape;4951;p53"/>
            <p:cNvSpPr/>
            <p:nvPr/>
          </p:nvSpPr>
          <p:spPr>
            <a:xfrm>
              <a:off x="2208191" y="16483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2" name="Google Shape;4952;p53"/>
            <p:cNvSpPr/>
            <p:nvPr/>
          </p:nvSpPr>
          <p:spPr>
            <a:xfrm>
              <a:off x="2209956" y="1649085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3" name="Google Shape;4953;p53"/>
            <p:cNvSpPr/>
            <p:nvPr/>
          </p:nvSpPr>
          <p:spPr>
            <a:xfrm>
              <a:off x="2209427" y="164889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4" name="Google Shape;4954;p53"/>
            <p:cNvSpPr/>
            <p:nvPr/>
          </p:nvSpPr>
          <p:spPr>
            <a:xfrm>
              <a:off x="2208381" y="164847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5" name="Google Shape;4955;p53"/>
            <p:cNvSpPr/>
            <p:nvPr/>
          </p:nvSpPr>
          <p:spPr>
            <a:xfrm>
              <a:off x="2175632" y="1651895"/>
              <a:ext cx="638" cy="774"/>
            </a:xfrm>
            <a:custGeom>
              <a:avLst/>
              <a:gdLst/>
              <a:ahLst/>
              <a:cxnLst/>
              <a:rect l="l" t="t" r="r" b="b"/>
              <a:pathLst>
                <a:path w="47" h="57" extrusionOk="0">
                  <a:moveTo>
                    <a:pt x="1" y="0"/>
                  </a:moveTo>
                  <a:cubicBezTo>
                    <a:pt x="6" y="8"/>
                    <a:pt x="11" y="16"/>
                    <a:pt x="17" y="23"/>
                  </a:cubicBezTo>
                  <a:lnTo>
                    <a:pt x="17" y="23"/>
                  </a:lnTo>
                  <a:lnTo>
                    <a:pt x="1" y="0"/>
                  </a:lnTo>
                  <a:close/>
                  <a:moveTo>
                    <a:pt x="17" y="23"/>
                  </a:moveTo>
                  <a:lnTo>
                    <a:pt x="18" y="25"/>
                  </a:lnTo>
                  <a:cubicBezTo>
                    <a:pt x="18" y="25"/>
                    <a:pt x="18" y="25"/>
                    <a:pt x="19" y="25"/>
                  </a:cubicBezTo>
                  <a:lnTo>
                    <a:pt x="19" y="25"/>
                  </a:lnTo>
                  <a:cubicBezTo>
                    <a:pt x="18" y="25"/>
                    <a:pt x="17" y="24"/>
                    <a:pt x="17" y="23"/>
                  </a:cubicBezTo>
                  <a:close/>
                  <a:moveTo>
                    <a:pt x="19" y="25"/>
                  </a:moveTo>
                  <a:lnTo>
                    <a:pt x="19" y="25"/>
                  </a:lnTo>
                  <a:cubicBezTo>
                    <a:pt x="27" y="36"/>
                    <a:pt x="36" y="46"/>
                    <a:pt x="46" y="56"/>
                  </a:cubicBezTo>
                  <a:cubicBezTo>
                    <a:pt x="36" y="46"/>
                    <a:pt x="29" y="36"/>
                    <a:pt x="1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6" name="Google Shape;4956;p53"/>
            <p:cNvSpPr/>
            <p:nvPr/>
          </p:nvSpPr>
          <p:spPr>
            <a:xfrm>
              <a:off x="2208531" y="164851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7" name="Google Shape;4957;p53"/>
            <p:cNvSpPr/>
            <p:nvPr/>
          </p:nvSpPr>
          <p:spPr>
            <a:xfrm>
              <a:off x="2208816" y="16486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8" name="Google Shape;4958;p53"/>
            <p:cNvSpPr/>
            <p:nvPr/>
          </p:nvSpPr>
          <p:spPr>
            <a:xfrm>
              <a:off x="2209047" y="16488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9" name="Google Shape;4959;p53"/>
            <p:cNvSpPr/>
            <p:nvPr/>
          </p:nvSpPr>
          <p:spPr>
            <a:xfrm>
              <a:off x="2175402" y="1651515"/>
              <a:ext cx="530" cy="720"/>
            </a:xfrm>
            <a:custGeom>
              <a:avLst/>
              <a:gdLst/>
              <a:ahLst/>
              <a:cxnLst/>
              <a:rect l="l" t="t" r="r" b="b"/>
              <a:pathLst>
                <a:path w="39" h="53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21"/>
                    <a:pt x="25" y="35"/>
                    <a:pt x="39" y="53"/>
                  </a:cubicBezTo>
                  <a:lnTo>
                    <a:pt x="21" y="2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0" name="Google Shape;4960;p53"/>
            <p:cNvSpPr/>
            <p:nvPr/>
          </p:nvSpPr>
          <p:spPr>
            <a:xfrm>
              <a:off x="2174492" y="16463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1" name="Google Shape;4961;p53"/>
            <p:cNvSpPr/>
            <p:nvPr/>
          </p:nvSpPr>
          <p:spPr>
            <a:xfrm>
              <a:off x="2174356" y="16464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2" name="Google Shape;4962;p53"/>
            <p:cNvSpPr/>
            <p:nvPr/>
          </p:nvSpPr>
          <p:spPr>
            <a:xfrm>
              <a:off x="2174166" y="16466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3" name="Google Shape;4963;p53"/>
            <p:cNvSpPr/>
            <p:nvPr/>
          </p:nvSpPr>
          <p:spPr>
            <a:xfrm>
              <a:off x="2174587" y="1646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4" name="Google Shape;4964;p53"/>
            <p:cNvSpPr/>
            <p:nvPr/>
          </p:nvSpPr>
          <p:spPr>
            <a:xfrm>
              <a:off x="2173732" y="16472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5" name="Google Shape;4965;p53"/>
            <p:cNvSpPr/>
            <p:nvPr/>
          </p:nvSpPr>
          <p:spPr>
            <a:xfrm>
              <a:off x="2173976" y="164689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6" name="Google Shape;4966;p53"/>
            <p:cNvSpPr/>
            <p:nvPr/>
          </p:nvSpPr>
          <p:spPr>
            <a:xfrm>
              <a:off x="2182910" y="1641345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0"/>
                  </a:moveTo>
                  <a:cubicBezTo>
                    <a:pt x="14" y="7"/>
                    <a:pt x="7" y="14"/>
                    <a:pt x="0" y="25"/>
                  </a:cubicBezTo>
                  <a:cubicBezTo>
                    <a:pt x="7" y="14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7" name="Google Shape;4967;p53"/>
            <p:cNvSpPr/>
            <p:nvPr/>
          </p:nvSpPr>
          <p:spPr>
            <a:xfrm>
              <a:off x="2174682" y="1646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8" name="Google Shape;4968;p53"/>
            <p:cNvSpPr/>
            <p:nvPr/>
          </p:nvSpPr>
          <p:spPr>
            <a:xfrm>
              <a:off x="2185517" y="1639390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2" y="1"/>
                  </a:moveTo>
                  <a:lnTo>
                    <a:pt x="1" y="11"/>
                  </a:ln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9" name="Google Shape;4969;p53"/>
            <p:cNvSpPr/>
            <p:nvPr/>
          </p:nvSpPr>
          <p:spPr>
            <a:xfrm>
              <a:off x="2184906" y="1639635"/>
              <a:ext cx="489" cy="339"/>
            </a:xfrm>
            <a:custGeom>
              <a:avLst/>
              <a:gdLst/>
              <a:ahLst/>
              <a:cxnLst/>
              <a:rect l="l" t="t" r="r" b="b"/>
              <a:pathLst>
                <a:path w="36" h="25" extrusionOk="0">
                  <a:moveTo>
                    <a:pt x="0" y="25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0" name="Google Shape;4970;p53"/>
            <p:cNvSpPr/>
            <p:nvPr/>
          </p:nvSpPr>
          <p:spPr>
            <a:xfrm>
              <a:off x="2173501" y="16477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1" name="Google Shape;4971;p53"/>
            <p:cNvSpPr/>
            <p:nvPr/>
          </p:nvSpPr>
          <p:spPr>
            <a:xfrm>
              <a:off x="2184376" y="1640056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1" y="22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2" name="Google Shape;4972;p53"/>
            <p:cNvSpPr/>
            <p:nvPr/>
          </p:nvSpPr>
          <p:spPr>
            <a:xfrm>
              <a:off x="2182380" y="1641821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1" y="35"/>
                  </a:moveTo>
                  <a:cubicBezTo>
                    <a:pt x="11" y="25"/>
                    <a:pt x="22" y="11"/>
                    <a:pt x="29" y="0"/>
                  </a:cubicBezTo>
                  <a:cubicBezTo>
                    <a:pt x="22" y="11"/>
                    <a:pt x="11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3" name="Google Shape;4973;p53"/>
            <p:cNvSpPr/>
            <p:nvPr/>
          </p:nvSpPr>
          <p:spPr>
            <a:xfrm>
              <a:off x="2183860" y="1640490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0" y="18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4" name="Google Shape;4974;p53"/>
            <p:cNvSpPr/>
            <p:nvPr/>
          </p:nvSpPr>
          <p:spPr>
            <a:xfrm>
              <a:off x="2183385" y="1640911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5" name="Google Shape;4975;p53"/>
            <p:cNvSpPr/>
            <p:nvPr/>
          </p:nvSpPr>
          <p:spPr>
            <a:xfrm>
              <a:off x="2173501" y="16477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6" name="Google Shape;4976;p53"/>
            <p:cNvSpPr/>
            <p:nvPr/>
          </p:nvSpPr>
          <p:spPr>
            <a:xfrm>
              <a:off x="1977808" y="1708880"/>
              <a:ext cx="22865" cy="43584"/>
            </a:xfrm>
            <a:custGeom>
              <a:avLst/>
              <a:gdLst/>
              <a:ahLst/>
              <a:cxnLst/>
              <a:rect l="l" t="t" r="r" b="b"/>
              <a:pathLst>
                <a:path w="1684" h="3210" extrusionOk="0">
                  <a:moveTo>
                    <a:pt x="623" y="1"/>
                  </a:moveTo>
                  <a:cubicBezTo>
                    <a:pt x="592" y="11"/>
                    <a:pt x="567" y="32"/>
                    <a:pt x="550" y="60"/>
                  </a:cubicBezTo>
                  <a:cubicBezTo>
                    <a:pt x="543" y="67"/>
                    <a:pt x="536" y="74"/>
                    <a:pt x="525" y="81"/>
                  </a:cubicBezTo>
                  <a:lnTo>
                    <a:pt x="522" y="85"/>
                  </a:lnTo>
                  <a:cubicBezTo>
                    <a:pt x="511" y="92"/>
                    <a:pt x="504" y="99"/>
                    <a:pt x="494" y="106"/>
                  </a:cubicBezTo>
                  <a:lnTo>
                    <a:pt x="490" y="106"/>
                  </a:lnTo>
                  <a:cubicBezTo>
                    <a:pt x="480" y="113"/>
                    <a:pt x="469" y="116"/>
                    <a:pt x="459" y="120"/>
                  </a:cubicBezTo>
                  <a:lnTo>
                    <a:pt x="452" y="123"/>
                  </a:lnTo>
                  <a:cubicBezTo>
                    <a:pt x="441" y="127"/>
                    <a:pt x="427" y="130"/>
                    <a:pt x="417" y="134"/>
                  </a:cubicBezTo>
                  <a:lnTo>
                    <a:pt x="413" y="134"/>
                  </a:lnTo>
                  <a:cubicBezTo>
                    <a:pt x="403" y="246"/>
                    <a:pt x="392" y="368"/>
                    <a:pt x="420" y="414"/>
                  </a:cubicBezTo>
                  <a:cubicBezTo>
                    <a:pt x="553" y="624"/>
                    <a:pt x="294" y="1552"/>
                    <a:pt x="77" y="1800"/>
                  </a:cubicBezTo>
                  <a:cubicBezTo>
                    <a:pt x="25" y="1860"/>
                    <a:pt x="0" y="1909"/>
                    <a:pt x="4" y="1944"/>
                  </a:cubicBezTo>
                  <a:cubicBezTo>
                    <a:pt x="11" y="1993"/>
                    <a:pt x="84" y="2045"/>
                    <a:pt x="168" y="2105"/>
                  </a:cubicBezTo>
                  <a:cubicBezTo>
                    <a:pt x="203" y="2129"/>
                    <a:pt x="238" y="2154"/>
                    <a:pt x="277" y="2185"/>
                  </a:cubicBezTo>
                  <a:cubicBezTo>
                    <a:pt x="476" y="2339"/>
                    <a:pt x="424" y="2749"/>
                    <a:pt x="389" y="3022"/>
                  </a:cubicBezTo>
                  <a:cubicBezTo>
                    <a:pt x="382" y="3085"/>
                    <a:pt x="375" y="3138"/>
                    <a:pt x="375" y="3166"/>
                  </a:cubicBezTo>
                  <a:cubicBezTo>
                    <a:pt x="375" y="3183"/>
                    <a:pt x="378" y="3187"/>
                    <a:pt x="382" y="3190"/>
                  </a:cubicBezTo>
                  <a:cubicBezTo>
                    <a:pt x="397" y="3206"/>
                    <a:pt x="447" y="3210"/>
                    <a:pt x="505" y="3210"/>
                  </a:cubicBezTo>
                  <a:cubicBezTo>
                    <a:pt x="536" y="3210"/>
                    <a:pt x="570" y="3209"/>
                    <a:pt x="602" y="3208"/>
                  </a:cubicBezTo>
                  <a:cubicBezTo>
                    <a:pt x="644" y="3208"/>
                    <a:pt x="686" y="3204"/>
                    <a:pt x="728" y="3204"/>
                  </a:cubicBezTo>
                  <a:cubicBezTo>
                    <a:pt x="816" y="3201"/>
                    <a:pt x="900" y="3187"/>
                    <a:pt x="984" y="3162"/>
                  </a:cubicBezTo>
                  <a:lnTo>
                    <a:pt x="1061" y="3141"/>
                  </a:lnTo>
                  <a:lnTo>
                    <a:pt x="1061" y="3138"/>
                  </a:lnTo>
                  <a:cubicBezTo>
                    <a:pt x="1054" y="3127"/>
                    <a:pt x="1050" y="3117"/>
                    <a:pt x="1047" y="3106"/>
                  </a:cubicBezTo>
                  <a:lnTo>
                    <a:pt x="1043" y="3103"/>
                  </a:lnTo>
                  <a:cubicBezTo>
                    <a:pt x="1040" y="3092"/>
                    <a:pt x="1036" y="3082"/>
                    <a:pt x="1033" y="3071"/>
                  </a:cubicBezTo>
                  <a:lnTo>
                    <a:pt x="1029" y="3064"/>
                  </a:lnTo>
                  <a:cubicBezTo>
                    <a:pt x="1029" y="3057"/>
                    <a:pt x="1026" y="3050"/>
                    <a:pt x="1026" y="3043"/>
                  </a:cubicBezTo>
                  <a:lnTo>
                    <a:pt x="1026" y="3032"/>
                  </a:lnTo>
                  <a:cubicBezTo>
                    <a:pt x="1022" y="3025"/>
                    <a:pt x="1022" y="3015"/>
                    <a:pt x="1022" y="3008"/>
                  </a:cubicBezTo>
                  <a:cubicBezTo>
                    <a:pt x="1022" y="2896"/>
                    <a:pt x="1022" y="2658"/>
                    <a:pt x="1292" y="2609"/>
                  </a:cubicBezTo>
                  <a:cubicBezTo>
                    <a:pt x="1299" y="2609"/>
                    <a:pt x="1306" y="2605"/>
                    <a:pt x="1313" y="2605"/>
                  </a:cubicBezTo>
                  <a:cubicBezTo>
                    <a:pt x="1278" y="2563"/>
                    <a:pt x="1239" y="2525"/>
                    <a:pt x="1194" y="2490"/>
                  </a:cubicBezTo>
                  <a:cubicBezTo>
                    <a:pt x="1173" y="2472"/>
                    <a:pt x="1152" y="2458"/>
                    <a:pt x="1141" y="2444"/>
                  </a:cubicBezTo>
                  <a:cubicBezTo>
                    <a:pt x="1082" y="2388"/>
                    <a:pt x="1096" y="2276"/>
                    <a:pt x="1127" y="2203"/>
                  </a:cubicBezTo>
                  <a:cubicBezTo>
                    <a:pt x="1152" y="2126"/>
                    <a:pt x="1211" y="2066"/>
                    <a:pt x="1288" y="2042"/>
                  </a:cubicBezTo>
                  <a:cubicBezTo>
                    <a:pt x="1236" y="1975"/>
                    <a:pt x="1180" y="1912"/>
                    <a:pt x="1120" y="1853"/>
                  </a:cubicBezTo>
                  <a:cubicBezTo>
                    <a:pt x="1043" y="1779"/>
                    <a:pt x="1019" y="1706"/>
                    <a:pt x="1047" y="1643"/>
                  </a:cubicBezTo>
                  <a:cubicBezTo>
                    <a:pt x="1089" y="1541"/>
                    <a:pt x="1236" y="1527"/>
                    <a:pt x="1295" y="1527"/>
                  </a:cubicBezTo>
                  <a:cubicBezTo>
                    <a:pt x="1295" y="1510"/>
                    <a:pt x="1292" y="1489"/>
                    <a:pt x="1288" y="1471"/>
                  </a:cubicBezTo>
                  <a:lnTo>
                    <a:pt x="1288" y="1457"/>
                  </a:lnTo>
                  <a:cubicBezTo>
                    <a:pt x="1281" y="1373"/>
                    <a:pt x="1271" y="1261"/>
                    <a:pt x="1358" y="1170"/>
                  </a:cubicBezTo>
                  <a:cubicBezTo>
                    <a:pt x="1418" y="1111"/>
                    <a:pt x="1386" y="1006"/>
                    <a:pt x="1341" y="876"/>
                  </a:cubicBezTo>
                  <a:cubicBezTo>
                    <a:pt x="1320" y="823"/>
                    <a:pt x="1302" y="764"/>
                    <a:pt x="1299" y="708"/>
                  </a:cubicBezTo>
                  <a:cubicBezTo>
                    <a:pt x="1299" y="599"/>
                    <a:pt x="1390" y="543"/>
                    <a:pt x="1484" y="484"/>
                  </a:cubicBezTo>
                  <a:cubicBezTo>
                    <a:pt x="1551" y="445"/>
                    <a:pt x="1614" y="400"/>
                    <a:pt x="1673" y="344"/>
                  </a:cubicBezTo>
                  <a:lnTo>
                    <a:pt x="1684" y="330"/>
                  </a:lnTo>
                  <a:lnTo>
                    <a:pt x="1663" y="323"/>
                  </a:lnTo>
                  <a:cubicBezTo>
                    <a:pt x="1607" y="305"/>
                    <a:pt x="1516" y="274"/>
                    <a:pt x="1516" y="176"/>
                  </a:cubicBezTo>
                  <a:cubicBezTo>
                    <a:pt x="1516" y="169"/>
                    <a:pt x="1516" y="155"/>
                    <a:pt x="1488" y="141"/>
                  </a:cubicBezTo>
                  <a:cubicBezTo>
                    <a:pt x="1462" y="130"/>
                    <a:pt x="1435" y="125"/>
                    <a:pt x="1409" y="125"/>
                  </a:cubicBezTo>
                  <a:cubicBezTo>
                    <a:pt x="1364" y="125"/>
                    <a:pt x="1320" y="140"/>
                    <a:pt x="1285" y="169"/>
                  </a:cubicBezTo>
                  <a:cubicBezTo>
                    <a:pt x="1232" y="207"/>
                    <a:pt x="1192" y="226"/>
                    <a:pt x="1156" y="226"/>
                  </a:cubicBezTo>
                  <a:cubicBezTo>
                    <a:pt x="1130" y="226"/>
                    <a:pt x="1105" y="216"/>
                    <a:pt x="1078" y="197"/>
                  </a:cubicBezTo>
                  <a:cubicBezTo>
                    <a:pt x="1067" y="188"/>
                    <a:pt x="1053" y="182"/>
                    <a:pt x="1039" y="182"/>
                  </a:cubicBezTo>
                  <a:cubicBezTo>
                    <a:pt x="1035" y="182"/>
                    <a:pt x="1032" y="182"/>
                    <a:pt x="1029" y="183"/>
                  </a:cubicBezTo>
                  <a:lnTo>
                    <a:pt x="956" y="183"/>
                  </a:lnTo>
                  <a:cubicBezTo>
                    <a:pt x="923" y="185"/>
                    <a:pt x="888" y="187"/>
                    <a:pt x="854" y="187"/>
                  </a:cubicBezTo>
                  <a:cubicBezTo>
                    <a:pt x="783" y="187"/>
                    <a:pt x="714" y="178"/>
                    <a:pt x="669" y="137"/>
                  </a:cubicBezTo>
                  <a:cubicBezTo>
                    <a:pt x="644" y="109"/>
                    <a:pt x="627" y="74"/>
                    <a:pt x="630" y="36"/>
                  </a:cubicBezTo>
                  <a:cubicBezTo>
                    <a:pt x="630" y="25"/>
                    <a:pt x="627" y="11"/>
                    <a:pt x="6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7" name="Google Shape;4977;p53"/>
            <p:cNvSpPr/>
            <p:nvPr/>
          </p:nvSpPr>
          <p:spPr>
            <a:xfrm>
              <a:off x="2073964" y="1600939"/>
              <a:ext cx="27440" cy="23163"/>
            </a:xfrm>
            <a:custGeom>
              <a:avLst/>
              <a:gdLst/>
              <a:ahLst/>
              <a:cxnLst/>
              <a:rect l="l" t="t" r="r" b="b"/>
              <a:pathLst>
                <a:path w="2021" h="1706" extrusionOk="0">
                  <a:moveTo>
                    <a:pt x="1736" y="0"/>
                  </a:moveTo>
                  <a:cubicBezTo>
                    <a:pt x="1645" y="0"/>
                    <a:pt x="1529" y="23"/>
                    <a:pt x="1397" y="49"/>
                  </a:cubicBezTo>
                  <a:lnTo>
                    <a:pt x="1373" y="56"/>
                  </a:lnTo>
                  <a:cubicBezTo>
                    <a:pt x="1282" y="70"/>
                    <a:pt x="1205" y="130"/>
                    <a:pt x="1173" y="217"/>
                  </a:cubicBezTo>
                  <a:cubicBezTo>
                    <a:pt x="1156" y="252"/>
                    <a:pt x="1159" y="294"/>
                    <a:pt x="1184" y="326"/>
                  </a:cubicBezTo>
                  <a:cubicBezTo>
                    <a:pt x="1215" y="357"/>
                    <a:pt x="1226" y="410"/>
                    <a:pt x="1205" y="452"/>
                  </a:cubicBezTo>
                  <a:cubicBezTo>
                    <a:pt x="1172" y="508"/>
                    <a:pt x="1088" y="532"/>
                    <a:pt x="1010" y="532"/>
                  </a:cubicBezTo>
                  <a:cubicBezTo>
                    <a:pt x="995" y="532"/>
                    <a:pt x="981" y="531"/>
                    <a:pt x="966" y="529"/>
                  </a:cubicBezTo>
                  <a:cubicBezTo>
                    <a:pt x="879" y="515"/>
                    <a:pt x="823" y="469"/>
                    <a:pt x="812" y="399"/>
                  </a:cubicBezTo>
                  <a:cubicBezTo>
                    <a:pt x="812" y="399"/>
                    <a:pt x="812" y="396"/>
                    <a:pt x="812" y="392"/>
                  </a:cubicBezTo>
                  <a:cubicBezTo>
                    <a:pt x="807" y="392"/>
                    <a:pt x="802" y="391"/>
                    <a:pt x="797" y="391"/>
                  </a:cubicBezTo>
                  <a:cubicBezTo>
                    <a:pt x="783" y="391"/>
                    <a:pt x="770" y="395"/>
                    <a:pt x="756" y="403"/>
                  </a:cubicBezTo>
                  <a:cubicBezTo>
                    <a:pt x="714" y="424"/>
                    <a:pt x="690" y="466"/>
                    <a:pt x="693" y="511"/>
                  </a:cubicBezTo>
                  <a:cubicBezTo>
                    <a:pt x="704" y="624"/>
                    <a:pt x="623" y="697"/>
                    <a:pt x="557" y="764"/>
                  </a:cubicBezTo>
                  <a:cubicBezTo>
                    <a:pt x="480" y="834"/>
                    <a:pt x="434" y="883"/>
                    <a:pt x="441" y="956"/>
                  </a:cubicBezTo>
                  <a:cubicBezTo>
                    <a:pt x="455" y="1138"/>
                    <a:pt x="308" y="1324"/>
                    <a:pt x="0" y="1509"/>
                  </a:cubicBezTo>
                  <a:lnTo>
                    <a:pt x="7" y="1509"/>
                  </a:lnTo>
                  <a:lnTo>
                    <a:pt x="18" y="1516"/>
                  </a:lnTo>
                  <a:lnTo>
                    <a:pt x="49" y="1516"/>
                  </a:lnTo>
                  <a:cubicBezTo>
                    <a:pt x="189" y="1516"/>
                    <a:pt x="441" y="1446"/>
                    <a:pt x="522" y="1362"/>
                  </a:cubicBezTo>
                  <a:cubicBezTo>
                    <a:pt x="532" y="1355"/>
                    <a:pt x="543" y="1345"/>
                    <a:pt x="557" y="1334"/>
                  </a:cubicBezTo>
                  <a:lnTo>
                    <a:pt x="564" y="1331"/>
                  </a:lnTo>
                  <a:cubicBezTo>
                    <a:pt x="578" y="1324"/>
                    <a:pt x="592" y="1317"/>
                    <a:pt x="602" y="1310"/>
                  </a:cubicBezTo>
                  <a:lnTo>
                    <a:pt x="609" y="1310"/>
                  </a:lnTo>
                  <a:cubicBezTo>
                    <a:pt x="623" y="1303"/>
                    <a:pt x="634" y="1299"/>
                    <a:pt x="648" y="1296"/>
                  </a:cubicBezTo>
                  <a:lnTo>
                    <a:pt x="658" y="1296"/>
                  </a:lnTo>
                  <a:cubicBezTo>
                    <a:pt x="672" y="1296"/>
                    <a:pt x="686" y="1292"/>
                    <a:pt x="700" y="1292"/>
                  </a:cubicBezTo>
                  <a:lnTo>
                    <a:pt x="732" y="1292"/>
                  </a:lnTo>
                  <a:cubicBezTo>
                    <a:pt x="742" y="1292"/>
                    <a:pt x="753" y="1296"/>
                    <a:pt x="763" y="1299"/>
                  </a:cubicBezTo>
                  <a:cubicBezTo>
                    <a:pt x="847" y="1313"/>
                    <a:pt x="924" y="1355"/>
                    <a:pt x="984" y="1415"/>
                  </a:cubicBezTo>
                  <a:cubicBezTo>
                    <a:pt x="1026" y="1453"/>
                    <a:pt x="1075" y="1485"/>
                    <a:pt x="1128" y="1509"/>
                  </a:cubicBezTo>
                  <a:cubicBezTo>
                    <a:pt x="1219" y="1555"/>
                    <a:pt x="1306" y="1614"/>
                    <a:pt x="1380" y="1684"/>
                  </a:cubicBezTo>
                  <a:lnTo>
                    <a:pt x="1397" y="1705"/>
                  </a:lnTo>
                  <a:cubicBezTo>
                    <a:pt x="1401" y="1670"/>
                    <a:pt x="1404" y="1635"/>
                    <a:pt x="1408" y="1597"/>
                  </a:cubicBezTo>
                  <a:lnTo>
                    <a:pt x="1418" y="1593"/>
                  </a:lnTo>
                  <a:cubicBezTo>
                    <a:pt x="1418" y="1583"/>
                    <a:pt x="1422" y="1572"/>
                    <a:pt x="1422" y="1562"/>
                  </a:cubicBezTo>
                  <a:lnTo>
                    <a:pt x="1422" y="1548"/>
                  </a:lnTo>
                  <a:cubicBezTo>
                    <a:pt x="1422" y="1541"/>
                    <a:pt x="1425" y="1530"/>
                    <a:pt x="1425" y="1523"/>
                  </a:cubicBezTo>
                  <a:lnTo>
                    <a:pt x="1429" y="1506"/>
                  </a:lnTo>
                  <a:cubicBezTo>
                    <a:pt x="1429" y="1499"/>
                    <a:pt x="1432" y="1488"/>
                    <a:pt x="1436" y="1481"/>
                  </a:cubicBezTo>
                  <a:cubicBezTo>
                    <a:pt x="1436" y="1474"/>
                    <a:pt x="1436" y="1471"/>
                    <a:pt x="1439" y="1467"/>
                  </a:cubicBezTo>
                  <a:cubicBezTo>
                    <a:pt x="1443" y="1460"/>
                    <a:pt x="1443" y="1450"/>
                    <a:pt x="1446" y="1439"/>
                  </a:cubicBezTo>
                  <a:cubicBezTo>
                    <a:pt x="1446" y="1432"/>
                    <a:pt x="1446" y="1432"/>
                    <a:pt x="1450" y="1429"/>
                  </a:cubicBezTo>
                  <a:cubicBezTo>
                    <a:pt x="1453" y="1415"/>
                    <a:pt x="1457" y="1404"/>
                    <a:pt x="1460" y="1394"/>
                  </a:cubicBezTo>
                  <a:cubicBezTo>
                    <a:pt x="1471" y="1362"/>
                    <a:pt x="1474" y="1331"/>
                    <a:pt x="1467" y="1299"/>
                  </a:cubicBezTo>
                  <a:cubicBezTo>
                    <a:pt x="1467" y="1289"/>
                    <a:pt x="1464" y="1278"/>
                    <a:pt x="1460" y="1268"/>
                  </a:cubicBezTo>
                  <a:cubicBezTo>
                    <a:pt x="1453" y="1215"/>
                    <a:pt x="1446" y="1166"/>
                    <a:pt x="1478" y="1128"/>
                  </a:cubicBezTo>
                  <a:cubicBezTo>
                    <a:pt x="1499" y="1107"/>
                    <a:pt x="1527" y="1096"/>
                    <a:pt x="1555" y="1096"/>
                  </a:cubicBezTo>
                  <a:cubicBezTo>
                    <a:pt x="1712" y="1096"/>
                    <a:pt x="1796" y="1068"/>
                    <a:pt x="1796" y="1016"/>
                  </a:cubicBezTo>
                  <a:cubicBezTo>
                    <a:pt x="1796" y="897"/>
                    <a:pt x="1838" y="862"/>
                    <a:pt x="1884" y="834"/>
                  </a:cubicBezTo>
                  <a:cubicBezTo>
                    <a:pt x="1898" y="830"/>
                    <a:pt x="1908" y="820"/>
                    <a:pt x="1915" y="806"/>
                  </a:cubicBezTo>
                  <a:cubicBezTo>
                    <a:pt x="1915" y="771"/>
                    <a:pt x="1824" y="676"/>
                    <a:pt x="1796" y="645"/>
                  </a:cubicBezTo>
                  <a:cubicBezTo>
                    <a:pt x="1775" y="627"/>
                    <a:pt x="1758" y="606"/>
                    <a:pt x="1740" y="585"/>
                  </a:cubicBezTo>
                  <a:cubicBezTo>
                    <a:pt x="1726" y="564"/>
                    <a:pt x="1723" y="539"/>
                    <a:pt x="1726" y="518"/>
                  </a:cubicBezTo>
                  <a:cubicBezTo>
                    <a:pt x="1737" y="473"/>
                    <a:pt x="1772" y="455"/>
                    <a:pt x="1814" y="431"/>
                  </a:cubicBezTo>
                  <a:cubicBezTo>
                    <a:pt x="1870" y="399"/>
                    <a:pt x="1919" y="361"/>
                    <a:pt x="1964" y="315"/>
                  </a:cubicBezTo>
                  <a:cubicBezTo>
                    <a:pt x="1971" y="308"/>
                    <a:pt x="1978" y="298"/>
                    <a:pt x="1989" y="287"/>
                  </a:cubicBezTo>
                  <a:lnTo>
                    <a:pt x="1996" y="277"/>
                  </a:lnTo>
                  <a:cubicBezTo>
                    <a:pt x="2003" y="270"/>
                    <a:pt x="2006" y="263"/>
                    <a:pt x="2013" y="256"/>
                  </a:cubicBezTo>
                  <a:lnTo>
                    <a:pt x="2017" y="249"/>
                  </a:lnTo>
                  <a:lnTo>
                    <a:pt x="2017" y="245"/>
                  </a:lnTo>
                  <a:cubicBezTo>
                    <a:pt x="2017" y="242"/>
                    <a:pt x="2017" y="238"/>
                    <a:pt x="2020" y="238"/>
                  </a:cubicBezTo>
                  <a:lnTo>
                    <a:pt x="2020" y="231"/>
                  </a:lnTo>
                  <a:cubicBezTo>
                    <a:pt x="2020" y="228"/>
                    <a:pt x="2020" y="228"/>
                    <a:pt x="2020" y="224"/>
                  </a:cubicBezTo>
                  <a:lnTo>
                    <a:pt x="2020" y="217"/>
                  </a:lnTo>
                  <a:lnTo>
                    <a:pt x="2020" y="200"/>
                  </a:lnTo>
                  <a:lnTo>
                    <a:pt x="2020" y="196"/>
                  </a:lnTo>
                  <a:lnTo>
                    <a:pt x="2020" y="172"/>
                  </a:lnTo>
                  <a:lnTo>
                    <a:pt x="2020" y="168"/>
                  </a:lnTo>
                  <a:lnTo>
                    <a:pt x="2020" y="144"/>
                  </a:lnTo>
                  <a:lnTo>
                    <a:pt x="2020" y="137"/>
                  </a:lnTo>
                  <a:cubicBezTo>
                    <a:pt x="2020" y="126"/>
                    <a:pt x="2020" y="112"/>
                    <a:pt x="2017" y="102"/>
                  </a:cubicBezTo>
                  <a:lnTo>
                    <a:pt x="2017" y="95"/>
                  </a:lnTo>
                  <a:cubicBezTo>
                    <a:pt x="2017" y="81"/>
                    <a:pt x="2013" y="67"/>
                    <a:pt x="2010" y="53"/>
                  </a:cubicBezTo>
                  <a:cubicBezTo>
                    <a:pt x="1996" y="58"/>
                    <a:pt x="1981" y="60"/>
                    <a:pt x="1965" y="60"/>
                  </a:cubicBezTo>
                  <a:cubicBezTo>
                    <a:pt x="1934" y="60"/>
                    <a:pt x="1902" y="51"/>
                    <a:pt x="1877" y="32"/>
                  </a:cubicBezTo>
                  <a:cubicBezTo>
                    <a:pt x="1841" y="9"/>
                    <a:pt x="1793" y="0"/>
                    <a:pt x="17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8" name="Google Shape;4978;p53"/>
            <p:cNvSpPr/>
            <p:nvPr/>
          </p:nvSpPr>
          <p:spPr>
            <a:xfrm>
              <a:off x="2092647" y="1634489"/>
              <a:ext cx="2865" cy="4114"/>
            </a:xfrm>
            <a:custGeom>
              <a:avLst/>
              <a:gdLst/>
              <a:ahLst/>
              <a:cxnLst/>
              <a:rect l="l" t="t" r="r" b="b"/>
              <a:pathLst>
                <a:path w="211" h="303" extrusionOk="0">
                  <a:moveTo>
                    <a:pt x="84" y="1"/>
                  </a:moveTo>
                  <a:lnTo>
                    <a:pt x="81" y="4"/>
                  </a:lnTo>
                  <a:cubicBezTo>
                    <a:pt x="70" y="15"/>
                    <a:pt x="63" y="25"/>
                    <a:pt x="56" y="36"/>
                  </a:cubicBezTo>
                  <a:lnTo>
                    <a:pt x="53" y="46"/>
                  </a:lnTo>
                  <a:cubicBezTo>
                    <a:pt x="46" y="60"/>
                    <a:pt x="39" y="74"/>
                    <a:pt x="32" y="88"/>
                  </a:cubicBezTo>
                  <a:lnTo>
                    <a:pt x="28" y="95"/>
                  </a:lnTo>
                  <a:cubicBezTo>
                    <a:pt x="25" y="109"/>
                    <a:pt x="21" y="123"/>
                    <a:pt x="14" y="137"/>
                  </a:cubicBezTo>
                  <a:lnTo>
                    <a:pt x="14" y="148"/>
                  </a:lnTo>
                  <a:cubicBezTo>
                    <a:pt x="11" y="165"/>
                    <a:pt x="7" y="183"/>
                    <a:pt x="4" y="200"/>
                  </a:cubicBezTo>
                  <a:lnTo>
                    <a:pt x="4" y="211"/>
                  </a:lnTo>
                  <a:cubicBezTo>
                    <a:pt x="0" y="229"/>
                    <a:pt x="0" y="246"/>
                    <a:pt x="0" y="264"/>
                  </a:cubicBezTo>
                  <a:lnTo>
                    <a:pt x="0" y="278"/>
                  </a:lnTo>
                  <a:lnTo>
                    <a:pt x="0" y="281"/>
                  </a:lnTo>
                  <a:cubicBezTo>
                    <a:pt x="70" y="285"/>
                    <a:pt x="140" y="292"/>
                    <a:pt x="210" y="302"/>
                  </a:cubicBezTo>
                  <a:lnTo>
                    <a:pt x="210" y="299"/>
                  </a:lnTo>
                  <a:cubicBezTo>
                    <a:pt x="207" y="281"/>
                    <a:pt x="203" y="267"/>
                    <a:pt x="200" y="250"/>
                  </a:cubicBezTo>
                  <a:lnTo>
                    <a:pt x="200" y="246"/>
                  </a:lnTo>
                  <a:cubicBezTo>
                    <a:pt x="196" y="232"/>
                    <a:pt x="193" y="218"/>
                    <a:pt x="189" y="204"/>
                  </a:cubicBezTo>
                  <a:lnTo>
                    <a:pt x="189" y="200"/>
                  </a:lnTo>
                  <a:cubicBezTo>
                    <a:pt x="186" y="186"/>
                    <a:pt x="182" y="176"/>
                    <a:pt x="175" y="162"/>
                  </a:cubicBezTo>
                  <a:lnTo>
                    <a:pt x="172" y="155"/>
                  </a:lnTo>
                  <a:cubicBezTo>
                    <a:pt x="168" y="144"/>
                    <a:pt x="165" y="134"/>
                    <a:pt x="158" y="123"/>
                  </a:cubicBezTo>
                  <a:lnTo>
                    <a:pt x="158" y="120"/>
                  </a:lnTo>
                  <a:cubicBezTo>
                    <a:pt x="151" y="109"/>
                    <a:pt x="147" y="102"/>
                    <a:pt x="144" y="95"/>
                  </a:cubicBezTo>
                  <a:lnTo>
                    <a:pt x="144" y="92"/>
                  </a:lnTo>
                  <a:cubicBezTo>
                    <a:pt x="140" y="81"/>
                    <a:pt x="133" y="74"/>
                    <a:pt x="130" y="67"/>
                  </a:cubicBezTo>
                  <a:lnTo>
                    <a:pt x="126" y="60"/>
                  </a:lnTo>
                  <a:lnTo>
                    <a:pt x="112" y="39"/>
                  </a:lnTo>
                  <a:lnTo>
                    <a:pt x="109" y="36"/>
                  </a:lnTo>
                  <a:lnTo>
                    <a:pt x="95" y="18"/>
                  </a:lnTo>
                  <a:lnTo>
                    <a:pt x="8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9" name="Google Shape;4979;p53"/>
            <p:cNvSpPr/>
            <p:nvPr/>
          </p:nvSpPr>
          <p:spPr>
            <a:xfrm>
              <a:off x="2068873" y="1620273"/>
              <a:ext cx="26014" cy="18194"/>
            </a:xfrm>
            <a:custGeom>
              <a:avLst/>
              <a:gdLst/>
              <a:ahLst/>
              <a:cxnLst/>
              <a:rect l="l" t="t" r="r" b="b"/>
              <a:pathLst>
                <a:path w="1916" h="1340" extrusionOk="0">
                  <a:moveTo>
                    <a:pt x="1092" y="1"/>
                  </a:moveTo>
                  <a:cubicBezTo>
                    <a:pt x="1059" y="1"/>
                    <a:pt x="1025" y="13"/>
                    <a:pt x="998" y="36"/>
                  </a:cubicBezTo>
                  <a:cubicBezTo>
                    <a:pt x="890" y="148"/>
                    <a:pt x="624" y="218"/>
                    <a:pt x="463" y="229"/>
                  </a:cubicBezTo>
                  <a:lnTo>
                    <a:pt x="400" y="229"/>
                  </a:lnTo>
                  <a:lnTo>
                    <a:pt x="389" y="225"/>
                  </a:lnTo>
                  <a:lnTo>
                    <a:pt x="382" y="222"/>
                  </a:lnTo>
                  <a:lnTo>
                    <a:pt x="368" y="218"/>
                  </a:lnTo>
                  <a:lnTo>
                    <a:pt x="358" y="215"/>
                  </a:lnTo>
                  <a:lnTo>
                    <a:pt x="344" y="211"/>
                  </a:lnTo>
                  <a:lnTo>
                    <a:pt x="326" y="204"/>
                  </a:lnTo>
                  <a:lnTo>
                    <a:pt x="309" y="201"/>
                  </a:lnTo>
                  <a:lnTo>
                    <a:pt x="291" y="194"/>
                  </a:lnTo>
                  <a:lnTo>
                    <a:pt x="270" y="183"/>
                  </a:lnTo>
                  <a:lnTo>
                    <a:pt x="253" y="176"/>
                  </a:lnTo>
                  <a:lnTo>
                    <a:pt x="242" y="169"/>
                  </a:lnTo>
                  <a:cubicBezTo>
                    <a:pt x="165" y="215"/>
                    <a:pt x="85" y="253"/>
                    <a:pt x="1" y="285"/>
                  </a:cubicBezTo>
                  <a:lnTo>
                    <a:pt x="1" y="288"/>
                  </a:lnTo>
                  <a:cubicBezTo>
                    <a:pt x="4" y="299"/>
                    <a:pt x="8" y="306"/>
                    <a:pt x="8" y="316"/>
                  </a:cubicBezTo>
                  <a:cubicBezTo>
                    <a:pt x="25" y="376"/>
                    <a:pt x="57" y="432"/>
                    <a:pt x="99" y="474"/>
                  </a:cubicBezTo>
                  <a:cubicBezTo>
                    <a:pt x="113" y="460"/>
                    <a:pt x="134" y="449"/>
                    <a:pt x="155" y="446"/>
                  </a:cubicBezTo>
                  <a:cubicBezTo>
                    <a:pt x="159" y="445"/>
                    <a:pt x="163" y="445"/>
                    <a:pt x="167" y="445"/>
                  </a:cubicBezTo>
                  <a:cubicBezTo>
                    <a:pt x="228" y="445"/>
                    <a:pt x="281" y="495"/>
                    <a:pt x="340" y="554"/>
                  </a:cubicBezTo>
                  <a:cubicBezTo>
                    <a:pt x="375" y="589"/>
                    <a:pt x="410" y="617"/>
                    <a:pt x="449" y="645"/>
                  </a:cubicBezTo>
                  <a:cubicBezTo>
                    <a:pt x="477" y="659"/>
                    <a:pt x="515" y="677"/>
                    <a:pt x="557" y="698"/>
                  </a:cubicBezTo>
                  <a:cubicBezTo>
                    <a:pt x="690" y="757"/>
                    <a:pt x="806" y="810"/>
                    <a:pt x="820" y="897"/>
                  </a:cubicBezTo>
                  <a:cubicBezTo>
                    <a:pt x="834" y="992"/>
                    <a:pt x="862" y="1027"/>
                    <a:pt x="872" y="1034"/>
                  </a:cubicBezTo>
                  <a:cubicBezTo>
                    <a:pt x="876" y="1034"/>
                    <a:pt x="883" y="1034"/>
                    <a:pt x="886" y="1030"/>
                  </a:cubicBezTo>
                  <a:cubicBezTo>
                    <a:pt x="928" y="1009"/>
                    <a:pt x="967" y="981"/>
                    <a:pt x="1002" y="950"/>
                  </a:cubicBezTo>
                  <a:cubicBezTo>
                    <a:pt x="1054" y="906"/>
                    <a:pt x="1096" y="872"/>
                    <a:pt x="1139" y="872"/>
                  </a:cubicBezTo>
                  <a:cubicBezTo>
                    <a:pt x="1150" y="872"/>
                    <a:pt x="1162" y="875"/>
                    <a:pt x="1173" y="880"/>
                  </a:cubicBezTo>
                  <a:cubicBezTo>
                    <a:pt x="1205" y="897"/>
                    <a:pt x="1226" y="932"/>
                    <a:pt x="1222" y="967"/>
                  </a:cubicBezTo>
                  <a:cubicBezTo>
                    <a:pt x="1222" y="1037"/>
                    <a:pt x="1240" y="1125"/>
                    <a:pt x="1275" y="1153"/>
                  </a:cubicBezTo>
                  <a:cubicBezTo>
                    <a:pt x="1280" y="1158"/>
                    <a:pt x="1287" y="1161"/>
                    <a:pt x="1293" y="1161"/>
                  </a:cubicBezTo>
                  <a:cubicBezTo>
                    <a:pt x="1295" y="1161"/>
                    <a:pt x="1298" y="1161"/>
                    <a:pt x="1299" y="1160"/>
                  </a:cubicBezTo>
                  <a:cubicBezTo>
                    <a:pt x="1310" y="1156"/>
                    <a:pt x="1320" y="1156"/>
                    <a:pt x="1331" y="1156"/>
                  </a:cubicBezTo>
                  <a:lnTo>
                    <a:pt x="1345" y="1156"/>
                  </a:lnTo>
                  <a:cubicBezTo>
                    <a:pt x="1352" y="1156"/>
                    <a:pt x="1359" y="1156"/>
                    <a:pt x="1366" y="1160"/>
                  </a:cubicBezTo>
                  <a:lnTo>
                    <a:pt x="1376" y="1163"/>
                  </a:lnTo>
                  <a:cubicBezTo>
                    <a:pt x="1383" y="1163"/>
                    <a:pt x="1387" y="1167"/>
                    <a:pt x="1394" y="1170"/>
                  </a:cubicBezTo>
                  <a:lnTo>
                    <a:pt x="1405" y="1174"/>
                  </a:lnTo>
                  <a:cubicBezTo>
                    <a:pt x="1408" y="1177"/>
                    <a:pt x="1415" y="1181"/>
                    <a:pt x="1422" y="1184"/>
                  </a:cubicBezTo>
                  <a:lnTo>
                    <a:pt x="1429" y="1191"/>
                  </a:lnTo>
                  <a:lnTo>
                    <a:pt x="1443" y="1202"/>
                  </a:lnTo>
                  <a:lnTo>
                    <a:pt x="1450" y="1209"/>
                  </a:lnTo>
                  <a:lnTo>
                    <a:pt x="1464" y="1223"/>
                  </a:lnTo>
                  <a:lnTo>
                    <a:pt x="1471" y="1230"/>
                  </a:lnTo>
                  <a:lnTo>
                    <a:pt x="1485" y="1247"/>
                  </a:lnTo>
                  <a:lnTo>
                    <a:pt x="1489" y="1254"/>
                  </a:lnTo>
                  <a:lnTo>
                    <a:pt x="1506" y="1272"/>
                  </a:lnTo>
                  <a:cubicBezTo>
                    <a:pt x="1534" y="1313"/>
                    <a:pt x="1557" y="1340"/>
                    <a:pt x="1574" y="1340"/>
                  </a:cubicBezTo>
                  <a:cubicBezTo>
                    <a:pt x="1576" y="1340"/>
                    <a:pt x="1578" y="1339"/>
                    <a:pt x="1580" y="1339"/>
                  </a:cubicBezTo>
                  <a:cubicBezTo>
                    <a:pt x="1590" y="1339"/>
                    <a:pt x="1601" y="1335"/>
                    <a:pt x="1611" y="1335"/>
                  </a:cubicBezTo>
                  <a:lnTo>
                    <a:pt x="1611" y="1293"/>
                  </a:lnTo>
                  <a:cubicBezTo>
                    <a:pt x="1611" y="1290"/>
                    <a:pt x="1611" y="1290"/>
                    <a:pt x="1611" y="1286"/>
                  </a:cubicBezTo>
                  <a:cubicBezTo>
                    <a:pt x="1611" y="1268"/>
                    <a:pt x="1615" y="1254"/>
                    <a:pt x="1618" y="1240"/>
                  </a:cubicBezTo>
                  <a:cubicBezTo>
                    <a:pt x="1618" y="1233"/>
                    <a:pt x="1618" y="1230"/>
                    <a:pt x="1618" y="1223"/>
                  </a:cubicBezTo>
                  <a:cubicBezTo>
                    <a:pt x="1622" y="1219"/>
                    <a:pt x="1622" y="1205"/>
                    <a:pt x="1625" y="1195"/>
                  </a:cubicBezTo>
                  <a:cubicBezTo>
                    <a:pt x="1625" y="1184"/>
                    <a:pt x="1625" y="1184"/>
                    <a:pt x="1629" y="1177"/>
                  </a:cubicBezTo>
                  <a:cubicBezTo>
                    <a:pt x="1629" y="1174"/>
                    <a:pt x="1632" y="1163"/>
                    <a:pt x="1632" y="1153"/>
                  </a:cubicBezTo>
                  <a:lnTo>
                    <a:pt x="1636" y="1139"/>
                  </a:lnTo>
                  <a:cubicBezTo>
                    <a:pt x="1636" y="1132"/>
                    <a:pt x="1643" y="1121"/>
                    <a:pt x="1643" y="1114"/>
                  </a:cubicBezTo>
                  <a:lnTo>
                    <a:pt x="1650" y="1100"/>
                  </a:lnTo>
                  <a:cubicBezTo>
                    <a:pt x="1653" y="1093"/>
                    <a:pt x="1653" y="1086"/>
                    <a:pt x="1657" y="1079"/>
                  </a:cubicBezTo>
                  <a:lnTo>
                    <a:pt x="1664" y="1069"/>
                  </a:lnTo>
                  <a:cubicBezTo>
                    <a:pt x="1667" y="1062"/>
                    <a:pt x="1671" y="1055"/>
                    <a:pt x="1671" y="1048"/>
                  </a:cubicBezTo>
                  <a:lnTo>
                    <a:pt x="1678" y="1037"/>
                  </a:lnTo>
                  <a:cubicBezTo>
                    <a:pt x="1681" y="1030"/>
                    <a:pt x="1685" y="1023"/>
                    <a:pt x="1688" y="1016"/>
                  </a:cubicBezTo>
                  <a:lnTo>
                    <a:pt x="1692" y="1009"/>
                  </a:lnTo>
                  <a:cubicBezTo>
                    <a:pt x="1699" y="999"/>
                    <a:pt x="1706" y="992"/>
                    <a:pt x="1713" y="985"/>
                  </a:cubicBezTo>
                  <a:lnTo>
                    <a:pt x="1713" y="981"/>
                  </a:lnTo>
                  <a:cubicBezTo>
                    <a:pt x="1720" y="974"/>
                    <a:pt x="1723" y="967"/>
                    <a:pt x="1730" y="960"/>
                  </a:cubicBezTo>
                  <a:lnTo>
                    <a:pt x="1737" y="953"/>
                  </a:lnTo>
                  <a:lnTo>
                    <a:pt x="1748" y="939"/>
                  </a:lnTo>
                  <a:lnTo>
                    <a:pt x="1755" y="932"/>
                  </a:lnTo>
                  <a:lnTo>
                    <a:pt x="1769" y="922"/>
                  </a:lnTo>
                  <a:lnTo>
                    <a:pt x="1776" y="915"/>
                  </a:lnTo>
                  <a:lnTo>
                    <a:pt x="1790" y="904"/>
                  </a:lnTo>
                  <a:lnTo>
                    <a:pt x="1797" y="901"/>
                  </a:lnTo>
                  <a:lnTo>
                    <a:pt x="1811" y="890"/>
                  </a:lnTo>
                  <a:lnTo>
                    <a:pt x="1818" y="887"/>
                  </a:lnTo>
                  <a:lnTo>
                    <a:pt x="1821" y="883"/>
                  </a:lnTo>
                  <a:cubicBezTo>
                    <a:pt x="1825" y="880"/>
                    <a:pt x="1828" y="876"/>
                    <a:pt x="1832" y="873"/>
                  </a:cubicBezTo>
                  <a:lnTo>
                    <a:pt x="1839" y="859"/>
                  </a:lnTo>
                  <a:lnTo>
                    <a:pt x="1849" y="848"/>
                  </a:lnTo>
                  <a:lnTo>
                    <a:pt x="1860" y="834"/>
                  </a:lnTo>
                  <a:lnTo>
                    <a:pt x="1867" y="827"/>
                  </a:lnTo>
                  <a:cubicBezTo>
                    <a:pt x="1888" y="810"/>
                    <a:pt x="1905" y="785"/>
                    <a:pt x="1916" y="761"/>
                  </a:cubicBezTo>
                  <a:cubicBezTo>
                    <a:pt x="1902" y="722"/>
                    <a:pt x="1881" y="684"/>
                    <a:pt x="1856" y="652"/>
                  </a:cubicBezTo>
                  <a:lnTo>
                    <a:pt x="1839" y="624"/>
                  </a:lnTo>
                  <a:lnTo>
                    <a:pt x="1835" y="617"/>
                  </a:lnTo>
                  <a:lnTo>
                    <a:pt x="1821" y="596"/>
                  </a:lnTo>
                  <a:lnTo>
                    <a:pt x="1818" y="586"/>
                  </a:lnTo>
                  <a:lnTo>
                    <a:pt x="1807" y="568"/>
                  </a:lnTo>
                  <a:lnTo>
                    <a:pt x="1800" y="558"/>
                  </a:lnTo>
                  <a:lnTo>
                    <a:pt x="1793" y="540"/>
                  </a:lnTo>
                  <a:lnTo>
                    <a:pt x="1786" y="530"/>
                  </a:lnTo>
                  <a:lnTo>
                    <a:pt x="1779" y="516"/>
                  </a:lnTo>
                  <a:lnTo>
                    <a:pt x="1776" y="502"/>
                  </a:lnTo>
                  <a:cubicBezTo>
                    <a:pt x="1776" y="498"/>
                    <a:pt x="1772" y="491"/>
                    <a:pt x="1772" y="488"/>
                  </a:cubicBezTo>
                  <a:cubicBezTo>
                    <a:pt x="1772" y="481"/>
                    <a:pt x="1772" y="477"/>
                    <a:pt x="1769" y="474"/>
                  </a:cubicBezTo>
                  <a:cubicBezTo>
                    <a:pt x="1769" y="470"/>
                    <a:pt x="1769" y="463"/>
                    <a:pt x="1769" y="460"/>
                  </a:cubicBezTo>
                  <a:lnTo>
                    <a:pt x="1769" y="449"/>
                  </a:lnTo>
                  <a:lnTo>
                    <a:pt x="1769" y="446"/>
                  </a:lnTo>
                  <a:lnTo>
                    <a:pt x="1769" y="442"/>
                  </a:lnTo>
                  <a:cubicBezTo>
                    <a:pt x="1751" y="428"/>
                    <a:pt x="1737" y="418"/>
                    <a:pt x="1723" y="404"/>
                  </a:cubicBezTo>
                  <a:lnTo>
                    <a:pt x="1713" y="397"/>
                  </a:lnTo>
                  <a:cubicBezTo>
                    <a:pt x="1699" y="383"/>
                    <a:pt x="1685" y="372"/>
                    <a:pt x="1674" y="358"/>
                  </a:cubicBezTo>
                  <a:cubicBezTo>
                    <a:pt x="1608" y="295"/>
                    <a:pt x="1534" y="243"/>
                    <a:pt x="1450" y="204"/>
                  </a:cubicBezTo>
                  <a:cubicBezTo>
                    <a:pt x="1387" y="173"/>
                    <a:pt x="1327" y="134"/>
                    <a:pt x="1275" y="85"/>
                  </a:cubicBezTo>
                  <a:cubicBezTo>
                    <a:pt x="1236" y="47"/>
                    <a:pt x="1184" y="19"/>
                    <a:pt x="1124" y="5"/>
                  </a:cubicBezTo>
                  <a:cubicBezTo>
                    <a:pt x="1114" y="2"/>
                    <a:pt x="1103" y="1"/>
                    <a:pt x="10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0" name="Google Shape;4980;p53"/>
            <p:cNvSpPr/>
            <p:nvPr/>
          </p:nvSpPr>
          <p:spPr>
            <a:xfrm>
              <a:off x="2073244" y="1623043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0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1" name="Google Shape;4981;p53"/>
            <p:cNvSpPr/>
            <p:nvPr/>
          </p:nvSpPr>
          <p:spPr>
            <a:xfrm>
              <a:off x="2091547" y="1625134"/>
              <a:ext cx="543" cy="530"/>
            </a:xfrm>
            <a:custGeom>
              <a:avLst/>
              <a:gdLst/>
              <a:ahLst/>
              <a:cxnLst/>
              <a:rect l="l" t="t" r="r" b="b"/>
              <a:pathLst>
                <a:path w="40" h="39" extrusionOk="0">
                  <a:moveTo>
                    <a:pt x="1" y="0"/>
                  </a:moveTo>
                  <a:cubicBezTo>
                    <a:pt x="11" y="14"/>
                    <a:pt x="25" y="25"/>
                    <a:pt x="39" y="39"/>
                  </a:cubicBezTo>
                  <a:cubicBezTo>
                    <a:pt x="25" y="25"/>
                    <a:pt x="1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2" name="Google Shape;4982;p53"/>
            <p:cNvSpPr/>
            <p:nvPr/>
          </p:nvSpPr>
          <p:spPr>
            <a:xfrm>
              <a:off x="2074480" y="16233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3" name="Google Shape;4983;p53"/>
            <p:cNvSpPr/>
            <p:nvPr/>
          </p:nvSpPr>
          <p:spPr>
            <a:xfrm>
              <a:off x="2072769" y="1622853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4" name="Google Shape;4984;p53"/>
            <p:cNvSpPr/>
            <p:nvPr/>
          </p:nvSpPr>
          <p:spPr>
            <a:xfrm>
              <a:off x="2072253" y="162260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5" name="Google Shape;4985;p53"/>
            <p:cNvSpPr/>
            <p:nvPr/>
          </p:nvSpPr>
          <p:spPr>
            <a:xfrm>
              <a:off x="2074005" y="162327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6" name="Google Shape;4986;p53"/>
            <p:cNvSpPr/>
            <p:nvPr/>
          </p:nvSpPr>
          <p:spPr>
            <a:xfrm>
              <a:off x="2073679" y="162317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7" name="Google Shape;4987;p53"/>
            <p:cNvSpPr/>
            <p:nvPr/>
          </p:nvSpPr>
          <p:spPr>
            <a:xfrm>
              <a:off x="2074249" y="162332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8" name="Google Shape;4988;p53"/>
            <p:cNvSpPr/>
            <p:nvPr/>
          </p:nvSpPr>
          <p:spPr>
            <a:xfrm>
              <a:off x="2092212" y="1625745"/>
              <a:ext cx="638" cy="543"/>
            </a:xfrm>
            <a:custGeom>
              <a:avLst/>
              <a:gdLst/>
              <a:ahLst/>
              <a:cxnLst/>
              <a:rect l="l" t="t" r="r" b="b"/>
              <a:pathLst>
                <a:path w="47" h="40" extrusionOk="0">
                  <a:moveTo>
                    <a:pt x="1" y="1"/>
                  </a:moveTo>
                  <a:cubicBezTo>
                    <a:pt x="15" y="15"/>
                    <a:pt x="29" y="25"/>
                    <a:pt x="46" y="39"/>
                  </a:cubicBezTo>
                  <a:cubicBezTo>
                    <a:pt x="29" y="25"/>
                    <a:pt x="15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9" name="Google Shape;4989;p53"/>
            <p:cNvSpPr/>
            <p:nvPr/>
          </p:nvSpPr>
          <p:spPr>
            <a:xfrm>
              <a:off x="2091031" y="163572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0" name="Google Shape;4990;p53"/>
            <p:cNvSpPr/>
            <p:nvPr/>
          </p:nvSpPr>
          <p:spPr>
            <a:xfrm>
              <a:off x="2091167" y="163520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1" name="Google Shape;4991;p53"/>
            <p:cNvSpPr/>
            <p:nvPr/>
          </p:nvSpPr>
          <p:spPr>
            <a:xfrm>
              <a:off x="2091547" y="163435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2" name="Google Shape;4992;p53"/>
            <p:cNvSpPr/>
            <p:nvPr/>
          </p:nvSpPr>
          <p:spPr>
            <a:xfrm>
              <a:off x="2092362" y="163321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3" name="Google Shape;4993;p53"/>
            <p:cNvSpPr/>
            <p:nvPr/>
          </p:nvSpPr>
          <p:spPr>
            <a:xfrm>
              <a:off x="2092117" y="16335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4" name="Google Shape;4994;p53"/>
            <p:cNvSpPr/>
            <p:nvPr/>
          </p:nvSpPr>
          <p:spPr>
            <a:xfrm>
              <a:off x="2092647" y="163292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5" name="Google Shape;4995;p53"/>
            <p:cNvSpPr/>
            <p:nvPr/>
          </p:nvSpPr>
          <p:spPr>
            <a:xfrm>
              <a:off x="2091832" y="163397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6" name="Google Shape;4996;p53"/>
            <p:cNvSpPr/>
            <p:nvPr/>
          </p:nvSpPr>
          <p:spPr>
            <a:xfrm>
              <a:off x="2090746" y="1637734"/>
              <a:ext cx="14" cy="95"/>
            </a:xfrm>
            <a:custGeom>
              <a:avLst/>
              <a:gdLst/>
              <a:ahLst/>
              <a:cxnLst/>
              <a:rect l="l" t="t" r="r" b="b"/>
              <a:pathLst>
                <a:path w="1" h="7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7" name="Google Shape;4997;p53"/>
            <p:cNvSpPr/>
            <p:nvPr/>
          </p:nvSpPr>
          <p:spPr>
            <a:xfrm>
              <a:off x="2093448" y="163226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8" name="Google Shape;4998;p53"/>
            <p:cNvSpPr/>
            <p:nvPr/>
          </p:nvSpPr>
          <p:spPr>
            <a:xfrm>
              <a:off x="2090936" y="1636254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7"/>
                    <a:pt x="0" y="11"/>
                    <a:pt x="0" y="18"/>
                  </a:cubicBezTo>
                  <a:cubicBezTo>
                    <a:pt x="0" y="11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9" name="Google Shape;4999;p53"/>
            <p:cNvSpPr/>
            <p:nvPr/>
          </p:nvSpPr>
          <p:spPr>
            <a:xfrm>
              <a:off x="2090841" y="163691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cubicBezTo>
                    <a:pt x="0" y="4"/>
                    <a:pt x="0" y="7"/>
                    <a:pt x="0" y="14"/>
                  </a:cubicBez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0" name="Google Shape;5000;p53"/>
            <p:cNvSpPr/>
            <p:nvPr/>
          </p:nvSpPr>
          <p:spPr>
            <a:xfrm>
              <a:off x="2091357" y="16347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1" name="Google Shape;5001;p53"/>
            <p:cNvSpPr/>
            <p:nvPr/>
          </p:nvSpPr>
          <p:spPr>
            <a:xfrm>
              <a:off x="2093163" y="163245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2" name="Google Shape;5002;p53"/>
            <p:cNvSpPr/>
            <p:nvPr/>
          </p:nvSpPr>
          <p:spPr>
            <a:xfrm>
              <a:off x="2092878" y="163268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3" name="Google Shape;5003;p53"/>
            <p:cNvSpPr/>
            <p:nvPr/>
          </p:nvSpPr>
          <p:spPr>
            <a:xfrm>
              <a:off x="2199162" y="1650755"/>
              <a:ext cx="65131" cy="41439"/>
            </a:xfrm>
            <a:custGeom>
              <a:avLst/>
              <a:gdLst/>
              <a:ahLst/>
              <a:cxnLst/>
              <a:rect l="l" t="t" r="r" b="b"/>
              <a:pathLst>
                <a:path w="4797" h="3052" extrusionOk="0">
                  <a:moveTo>
                    <a:pt x="3319" y="0"/>
                  </a:moveTo>
                  <a:cubicBezTo>
                    <a:pt x="3260" y="18"/>
                    <a:pt x="3200" y="42"/>
                    <a:pt x="3148" y="77"/>
                  </a:cubicBezTo>
                  <a:cubicBezTo>
                    <a:pt x="3144" y="77"/>
                    <a:pt x="3144" y="81"/>
                    <a:pt x="3141" y="81"/>
                  </a:cubicBezTo>
                  <a:cubicBezTo>
                    <a:pt x="3134" y="95"/>
                    <a:pt x="3123" y="109"/>
                    <a:pt x="3109" y="119"/>
                  </a:cubicBezTo>
                  <a:cubicBezTo>
                    <a:pt x="3050" y="179"/>
                    <a:pt x="2980" y="224"/>
                    <a:pt x="2899" y="249"/>
                  </a:cubicBezTo>
                  <a:cubicBezTo>
                    <a:pt x="2882" y="256"/>
                    <a:pt x="2864" y="259"/>
                    <a:pt x="2847" y="263"/>
                  </a:cubicBezTo>
                  <a:cubicBezTo>
                    <a:pt x="2826" y="270"/>
                    <a:pt x="2801" y="273"/>
                    <a:pt x="2777" y="273"/>
                  </a:cubicBezTo>
                  <a:cubicBezTo>
                    <a:pt x="2749" y="273"/>
                    <a:pt x="2721" y="270"/>
                    <a:pt x="2689" y="266"/>
                  </a:cubicBezTo>
                  <a:cubicBezTo>
                    <a:pt x="2663" y="262"/>
                    <a:pt x="2641" y="259"/>
                    <a:pt x="2622" y="259"/>
                  </a:cubicBezTo>
                  <a:cubicBezTo>
                    <a:pt x="2593" y="259"/>
                    <a:pt x="2572" y="266"/>
                    <a:pt x="2553" y="287"/>
                  </a:cubicBezTo>
                  <a:cubicBezTo>
                    <a:pt x="2489" y="350"/>
                    <a:pt x="2403" y="393"/>
                    <a:pt x="2327" y="393"/>
                  </a:cubicBezTo>
                  <a:cubicBezTo>
                    <a:pt x="2285" y="393"/>
                    <a:pt x="2246" y="380"/>
                    <a:pt x="2217" y="350"/>
                  </a:cubicBezTo>
                  <a:cubicBezTo>
                    <a:pt x="2185" y="322"/>
                    <a:pt x="2048" y="273"/>
                    <a:pt x="1940" y="273"/>
                  </a:cubicBezTo>
                  <a:cubicBezTo>
                    <a:pt x="1828" y="263"/>
                    <a:pt x="1719" y="245"/>
                    <a:pt x="1611" y="217"/>
                  </a:cubicBezTo>
                  <a:cubicBezTo>
                    <a:pt x="1537" y="200"/>
                    <a:pt x="1464" y="186"/>
                    <a:pt x="1390" y="175"/>
                  </a:cubicBezTo>
                  <a:lnTo>
                    <a:pt x="1327" y="175"/>
                  </a:lnTo>
                  <a:lnTo>
                    <a:pt x="1296" y="179"/>
                  </a:lnTo>
                  <a:lnTo>
                    <a:pt x="1285" y="179"/>
                  </a:lnTo>
                  <a:lnTo>
                    <a:pt x="1254" y="182"/>
                  </a:lnTo>
                  <a:lnTo>
                    <a:pt x="1250" y="182"/>
                  </a:lnTo>
                  <a:cubicBezTo>
                    <a:pt x="1243" y="200"/>
                    <a:pt x="1236" y="217"/>
                    <a:pt x="1226" y="235"/>
                  </a:cubicBezTo>
                  <a:lnTo>
                    <a:pt x="1219" y="242"/>
                  </a:lnTo>
                  <a:lnTo>
                    <a:pt x="1212" y="252"/>
                  </a:lnTo>
                  <a:cubicBezTo>
                    <a:pt x="1208" y="259"/>
                    <a:pt x="1201" y="266"/>
                    <a:pt x="1198" y="270"/>
                  </a:cubicBezTo>
                  <a:lnTo>
                    <a:pt x="1191" y="277"/>
                  </a:lnTo>
                  <a:cubicBezTo>
                    <a:pt x="1184" y="284"/>
                    <a:pt x="1173" y="291"/>
                    <a:pt x="1166" y="294"/>
                  </a:cubicBezTo>
                  <a:lnTo>
                    <a:pt x="1142" y="315"/>
                  </a:lnTo>
                  <a:lnTo>
                    <a:pt x="1093" y="347"/>
                  </a:lnTo>
                  <a:cubicBezTo>
                    <a:pt x="1047" y="375"/>
                    <a:pt x="998" y="406"/>
                    <a:pt x="949" y="438"/>
                  </a:cubicBezTo>
                  <a:lnTo>
                    <a:pt x="914" y="455"/>
                  </a:lnTo>
                  <a:cubicBezTo>
                    <a:pt x="869" y="487"/>
                    <a:pt x="827" y="511"/>
                    <a:pt x="802" y="529"/>
                  </a:cubicBezTo>
                  <a:cubicBezTo>
                    <a:pt x="743" y="616"/>
                    <a:pt x="690" y="707"/>
                    <a:pt x="648" y="798"/>
                  </a:cubicBezTo>
                  <a:cubicBezTo>
                    <a:pt x="540" y="1005"/>
                    <a:pt x="417" y="1240"/>
                    <a:pt x="312" y="1345"/>
                  </a:cubicBezTo>
                  <a:cubicBezTo>
                    <a:pt x="235" y="1418"/>
                    <a:pt x="151" y="1481"/>
                    <a:pt x="56" y="1530"/>
                  </a:cubicBezTo>
                  <a:cubicBezTo>
                    <a:pt x="32" y="1544"/>
                    <a:pt x="11" y="1555"/>
                    <a:pt x="0" y="1565"/>
                  </a:cubicBezTo>
                  <a:lnTo>
                    <a:pt x="7" y="1576"/>
                  </a:lnTo>
                  <a:lnTo>
                    <a:pt x="11" y="1583"/>
                  </a:lnTo>
                  <a:lnTo>
                    <a:pt x="21" y="1597"/>
                  </a:lnTo>
                  <a:lnTo>
                    <a:pt x="25" y="1604"/>
                  </a:lnTo>
                  <a:lnTo>
                    <a:pt x="39" y="1618"/>
                  </a:lnTo>
                  <a:lnTo>
                    <a:pt x="42" y="1625"/>
                  </a:lnTo>
                  <a:lnTo>
                    <a:pt x="60" y="1642"/>
                  </a:lnTo>
                  <a:cubicBezTo>
                    <a:pt x="123" y="1716"/>
                    <a:pt x="186" y="1793"/>
                    <a:pt x="186" y="1866"/>
                  </a:cubicBezTo>
                  <a:cubicBezTo>
                    <a:pt x="186" y="1954"/>
                    <a:pt x="225" y="1996"/>
                    <a:pt x="302" y="1996"/>
                  </a:cubicBezTo>
                  <a:cubicBezTo>
                    <a:pt x="337" y="1996"/>
                    <a:pt x="368" y="2010"/>
                    <a:pt x="389" y="2034"/>
                  </a:cubicBezTo>
                  <a:cubicBezTo>
                    <a:pt x="438" y="2087"/>
                    <a:pt x="428" y="2174"/>
                    <a:pt x="417" y="2255"/>
                  </a:cubicBezTo>
                  <a:cubicBezTo>
                    <a:pt x="414" y="2286"/>
                    <a:pt x="410" y="2314"/>
                    <a:pt x="410" y="2342"/>
                  </a:cubicBezTo>
                  <a:cubicBezTo>
                    <a:pt x="435" y="2346"/>
                    <a:pt x="470" y="2353"/>
                    <a:pt x="505" y="2356"/>
                  </a:cubicBezTo>
                  <a:cubicBezTo>
                    <a:pt x="813" y="2402"/>
                    <a:pt x="1044" y="2444"/>
                    <a:pt x="1044" y="2584"/>
                  </a:cubicBezTo>
                  <a:cubicBezTo>
                    <a:pt x="1047" y="2619"/>
                    <a:pt x="1054" y="2650"/>
                    <a:pt x="1065" y="2682"/>
                  </a:cubicBezTo>
                  <a:cubicBezTo>
                    <a:pt x="1075" y="2713"/>
                    <a:pt x="1082" y="2745"/>
                    <a:pt x="1086" y="2776"/>
                  </a:cubicBezTo>
                  <a:lnTo>
                    <a:pt x="1093" y="2780"/>
                  </a:lnTo>
                  <a:lnTo>
                    <a:pt x="1103" y="2787"/>
                  </a:lnTo>
                  <a:lnTo>
                    <a:pt x="1124" y="2797"/>
                  </a:lnTo>
                  <a:lnTo>
                    <a:pt x="1131" y="2804"/>
                  </a:lnTo>
                  <a:cubicBezTo>
                    <a:pt x="1142" y="2808"/>
                    <a:pt x="1152" y="2815"/>
                    <a:pt x="1159" y="2822"/>
                  </a:cubicBezTo>
                  <a:lnTo>
                    <a:pt x="1163" y="2822"/>
                  </a:lnTo>
                  <a:cubicBezTo>
                    <a:pt x="1170" y="2829"/>
                    <a:pt x="1180" y="2836"/>
                    <a:pt x="1187" y="2843"/>
                  </a:cubicBezTo>
                  <a:lnTo>
                    <a:pt x="1198" y="2850"/>
                  </a:lnTo>
                  <a:lnTo>
                    <a:pt x="1215" y="2864"/>
                  </a:lnTo>
                  <a:lnTo>
                    <a:pt x="1222" y="2871"/>
                  </a:lnTo>
                  <a:lnTo>
                    <a:pt x="1240" y="2888"/>
                  </a:lnTo>
                  <a:lnTo>
                    <a:pt x="1247" y="2895"/>
                  </a:lnTo>
                  <a:lnTo>
                    <a:pt x="1268" y="2916"/>
                  </a:lnTo>
                  <a:cubicBezTo>
                    <a:pt x="1285" y="2934"/>
                    <a:pt x="1303" y="2951"/>
                    <a:pt x="1320" y="2965"/>
                  </a:cubicBezTo>
                  <a:cubicBezTo>
                    <a:pt x="1326" y="2965"/>
                    <a:pt x="1332" y="2965"/>
                    <a:pt x="1339" y="2965"/>
                  </a:cubicBezTo>
                  <a:cubicBezTo>
                    <a:pt x="1387" y="2965"/>
                    <a:pt x="1466" y="2976"/>
                    <a:pt x="1607" y="2997"/>
                  </a:cubicBezTo>
                  <a:cubicBezTo>
                    <a:pt x="1702" y="3018"/>
                    <a:pt x="1796" y="3028"/>
                    <a:pt x="1891" y="3032"/>
                  </a:cubicBezTo>
                  <a:lnTo>
                    <a:pt x="1915" y="3028"/>
                  </a:lnTo>
                  <a:lnTo>
                    <a:pt x="2038" y="3028"/>
                  </a:lnTo>
                  <a:cubicBezTo>
                    <a:pt x="2139" y="3028"/>
                    <a:pt x="2266" y="3035"/>
                    <a:pt x="2364" y="3042"/>
                  </a:cubicBezTo>
                  <a:lnTo>
                    <a:pt x="2402" y="3042"/>
                  </a:lnTo>
                  <a:lnTo>
                    <a:pt x="2437" y="3046"/>
                  </a:lnTo>
                  <a:lnTo>
                    <a:pt x="2441" y="3046"/>
                  </a:lnTo>
                  <a:lnTo>
                    <a:pt x="2465" y="3049"/>
                  </a:lnTo>
                  <a:lnTo>
                    <a:pt x="2493" y="3049"/>
                  </a:lnTo>
                  <a:cubicBezTo>
                    <a:pt x="2503" y="3051"/>
                    <a:pt x="2514" y="3052"/>
                    <a:pt x="2525" y="3052"/>
                  </a:cubicBezTo>
                  <a:cubicBezTo>
                    <a:pt x="2621" y="3052"/>
                    <a:pt x="2734" y="2997"/>
                    <a:pt x="2826" y="2909"/>
                  </a:cubicBezTo>
                  <a:cubicBezTo>
                    <a:pt x="2935" y="2797"/>
                    <a:pt x="3227" y="2771"/>
                    <a:pt x="3404" y="2771"/>
                  </a:cubicBezTo>
                  <a:cubicBezTo>
                    <a:pt x="3458" y="2771"/>
                    <a:pt x="3502" y="2773"/>
                    <a:pt x="3526" y="2776"/>
                  </a:cubicBezTo>
                  <a:lnTo>
                    <a:pt x="3529" y="2776"/>
                  </a:lnTo>
                  <a:cubicBezTo>
                    <a:pt x="3729" y="2801"/>
                    <a:pt x="3925" y="2832"/>
                    <a:pt x="3998" y="2920"/>
                  </a:cubicBezTo>
                  <a:cubicBezTo>
                    <a:pt x="4002" y="2923"/>
                    <a:pt x="4005" y="2930"/>
                    <a:pt x="4012" y="2937"/>
                  </a:cubicBezTo>
                  <a:cubicBezTo>
                    <a:pt x="4012" y="2941"/>
                    <a:pt x="4016" y="2941"/>
                    <a:pt x="4019" y="2944"/>
                  </a:cubicBezTo>
                  <a:lnTo>
                    <a:pt x="4023" y="2948"/>
                  </a:lnTo>
                  <a:lnTo>
                    <a:pt x="4033" y="2951"/>
                  </a:lnTo>
                  <a:lnTo>
                    <a:pt x="4040" y="2958"/>
                  </a:lnTo>
                  <a:lnTo>
                    <a:pt x="4054" y="2965"/>
                  </a:lnTo>
                  <a:lnTo>
                    <a:pt x="4065" y="2969"/>
                  </a:lnTo>
                  <a:lnTo>
                    <a:pt x="4086" y="2979"/>
                  </a:lnTo>
                  <a:lnTo>
                    <a:pt x="4096" y="2983"/>
                  </a:lnTo>
                  <a:lnTo>
                    <a:pt x="4124" y="2997"/>
                  </a:lnTo>
                  <a:lnTo>
                    <a:pt x="4135" y="3000"/>
                  </a:lnTo>
                  <a:lnTo>
                    <a:pt x="4180" y="3021"/>
                  </a:lnTo>
                  <a:lnTo>
                    <a:pt x="4187" y="3021"/>
                  </a:lnTo>
                  <a:lnTo>
                    <a:pt x="4229" y="3039"/>
                  </a:lnTo>
                  <a:cubicBezTo>
                    <a:pt x="4229" y="3018"/>
                    <a:pt x="4229" y="2993"/>
                    <a:pt x="4226" y="2972"/>
                  </a:cubicBezTo>
                  <a:cubicBezTo>
                    <a:pt x="4219" y="2927"/>
                    <a:pt x="4219" y="2885"/>
                    <a:pt x="4222" y="2839"/>
                  </a:cubicBezTo>
                  <a:cubicBezTo>
                    <a:pt x="4229" y="2647"/>
                    <a:pt x="4342" y="2353"/>
                    <a:pt x="4555" y="2332"/>
                  </a:cubicBezTo>
                  <a:lnTo>
                    <a:pt x="4576" y="2332"/>
                  </a:lnTo>
                  <a:cubicBezTo>
                    <a:pt x="4737" y="2318"/>
                    <a:pt x="4797" y="2314"/>
                    <a:pt x="4779" y="2108"/>
                  </a:cubicBezTo>
                  <a:lnTo>
                    <a:pt x="4769" y="2101"/>
                  </a:lnTo>
                  <a:lnTo>
                    <a:pt x="4758" y="2090"/>
                  </a:lnTo>
                  <a:lnTo>
                    <a:pt x="4741" y="2076"/>
                  </a:lnTo>
                  <a:lnTo>
                    <a:pt x="4730" y="2066"/>
                  </a:lnTo>
                  <a:lnTo>
                    <a:pt x="4716" y="2055"/>
                  </a:lnTo>
                  <a:lnTo>
                    <a:pt x="4706" y="2048"/>
                  </a:lnTo>
                  <a:lnTo>
                    <a:pt x="4695" y="2038"/>
                  </a:lnTo>
                  <a:lnTo>
                    <a:pt x="4688" y="2034"/>
                  </a:lnTo>
                  <a:lnTo>
                    <a:pt x="4678" y="2027"/>
                  </a:lnTo>
                  <a:lnTo>
                    <a:pt x="4671" y="2024"/>
                  </a:lnTo>
                  <a:lnTo>
                    <a:pt x="4664" y="2017"/>
                  </a:lnTo>
                  <a:lnTo>
                    <a:pt x="4660" y="2013"/>
                  </a:lnTo>
                  <a:lnTo>
                    <a:pt x="4653" y="2010"/>
                  </a:lnTo>
                  <a:lnTo>
                    <a:pt x="4646" y="2006"/>
                  </a:lnTo>
                  <a:cubicBezTo>
                    <a:pt x="4601" y="2024"/>
                    <a:pt x="4559" y="2045"/>
                    <a:pt x="4520" y="2066"/>
                  </a:cubicBezTo>
                  <a:cubicBezTo>
                    <a:pt x="4438" y="2112"/>
                    <a:pt x="4387" y="2136"/>
                    <a:pt x="4346" y="2136"/>
                  </a:cubicBezTo>
                  <a:cubicBezTo>
                    <a:pt x="4343" y="2136"/>
                    <a:pt x="4341" y="2136"/>
                    <a:pt x="4338" y="2136"/>
                  </a:cubicBezTo>
                  <a:lnTo>
                    <a:pt x="4335" y="2136"/>
                  </a:lnTo>
                  <a:cubicBezTo>
                    <a:pt x="4321" y="2136"/>
                    <a:pt x="4307" y="2132"/>
                    <a:pt x="4289" y="2129"/>
                  </a:cubicBezTo>
                  <a:cubicBezTo>
                    <a:pt x="4226" y="2118"/>
                    <a:pt x="4170" y="2097"/>
                    <a:pt x="4117" y="2062"/>
                  </a:cubicBezTo>
                  <a:lnTo>
                    <a:pt x="4110" y="2059"/>
                  </a:lnTo>
                  <a:cubicBezTo>
                    <a:pt x="4100" y="2052"/>
                    <a:pt x="4093" y="2045"/>
                    <a:pt x="4086" y="2034"/>
                  </a:cubicBezTo>
                  <a:cubicBezTo>
                    <a:pt x="4075" y="2027"/>
                    <a:pt x="4072" y="2017"/>
                    <a:pt x="4065" y="2006"/>
                  </a:cubicBezTo>
                  <a:cubicBezTo>
                    <a:pt x="4061" y="1999"/>
                    <a:pt x="4061" y="1989"/>
                    <a:pt x="4061" y="1982"/>
                  </a:cubicBezTo>
                  <a:lnTo>
                    <a:pt x="4061" y="1975"/>
                  </a:lnTo>
                  <a:cubicBezTo>
                    <a:pt x="4058" y="1968"/>
                    <a:pt x="4058" y="1961"/>
                    <a:pt x="4061" y="1957"/>
                  </a:cubicBezTo>
                  <a:lnTo>
                    <a:pt x="4061" y="1950"/>
                  </a:lnTo>
                  <a:cubicBezTo>
                    <a:pt x="4061" y="1947"/>
                    <a:pt x="4061" y="1940"/>
                    <a:pt x="4065" y="1933"/>
                  </a:cubicBezTo>
                  <a:cubicBezTo>
                    <a:pt x="4054" y="1919"/>
                    <a:pt x="4047" y="1901"/>
                    <a:pt x="4040" y="1887"/>
                  </a:cubicBezTo>
                  <a:cubicBezTo>
                    <a:pt x="4037" y="1884"/>
                    <a:pt x="4033" y="1880"/>
                    <a:pt x="4033" y="1873"/>
                  </a:cubicBezTo>
                  <a:cubicBezTo>
                    <a:pt x="4026" y="1863"/>
                    <a:pt x="4019" y="1852"/>
                    <a:pt x="4012" y="1838"/>
                  </a:cubicBezTo>
                  <a:cubicBezTo>
                    <a:pt x="4005" y="1824"/>
                    <a:pt x="4009" y="1824"/>
                    <a:pt x="4005" y="1817"/>
                  </a:cubicBezTo>
                  <a:cubicBezTo>
                    <a:pt x="4002" y="1814"/>
                    <a:pt x="3995" y="1796"/>
                    <a:pt x="3991" y="1786"/>
                  </a:cubicBezTo>
                  <a:cubicBezTo>
                    <a:pt x="3988" y="1772"/>
                    <a:pt x="3984" y="1772"/>
                    <a:pt x="3984" y="1761"/>
                  </a:cubicBezTo>
                  <a:cubicBezTo>
                    <a:pt x="3981" y="1754"/>
                    <a:pt x="3977" y="1740"/>
                    <a:pt x="3974" y="1730"/>
                  </a:cubicBezTo>
                  <a:cubicBezTo>
                    <a:pt x="3970" y="1716"/>
                    <a:pt x="3970" y="1712"/>
                    <a:pt x="3967" y="1705"/>
                  </a:cubicBezTo>
                  <a:cubicBezTo>
                    <a:pt x="3963" y="1698"/>
                    <a:pt x="3960" y="1684"/>
                    <a:pt x="3960" y="1670"/>
                  </a:cubicBezTo>
                  <a:cubicBezTo>
                    <a:pt x="3956" y="1660"/>
                    <a:pt x="3956" y="1656"/>
                    <a:pt x="3953" y="1649"/>
                  </a:cubicBezTo>
                  <a:cubicBezTo>
                    <a:pt x="3953" y="1642"/>
                    <a:pt x="3949" y="1625"/>
                    <a:pt x="3949" y="1614"/>
                  </a:cubicBezTo>
                  <a:cubicBezTo>
                    <a:pt x="3946" y="1600"/>
                    <a:pt x="3949" y="1600"/>
                    <a:pt x="3946" y="1597"/>
                  </a:cubicBezTo>
                  <a:cubicBezTo>
                    <a:pt x="3946" y="1579"/>
                    <a:pt x="3942" y="1562"/>
                    <a:pt x="3942" y="1544"/>
                  </a:cubicBezTo>
                  <a:cubicBezTo>
                    <a:pt x="3939" y="1467"/>
                    <a:pt x="3942" y="1327"/>
                    <a:pt x="4012" y="1257"/>
                  </a:cubicBezTo>
                  <a:cubicBezTo>
                    <a:pt x="4068" y="1201"/>
                    <a:pt x="3883" y="837"/>
                    <a:pt x="3662" y="581"/>
                  </a:cubicBezTo>
                  <a:lnTo>
                    <a:pt x="3648" y="564"/>
                  </a:lnTo>
                  <a:lnTo>
                    <a:pt x="3645" y="560"/>
                  </a:lnTo>
                  <a:lnTo>
                    <a:pt x="3638" y="546"/>
                  </a:lnTo>
                  <a:lnTo>
                    <a:pt x="3631" y="539"/>
                  </a:lnTo>
                  <a:lnTo>
                    <a:pt x="3620" y="525"/>
                  </a:lnTo>
                  <a:lnTo>
                    <a:pt x="3613" y="515"/>
                  </a:lnTo>
                  <a:lnTo>
                    <a:pt x="3606" y="501"/>
                  </a:lnTo>
                  <a:lnTo>
                    <a:pt x="3596" y="487"/>
                  </a:lnTo>
                  <a:lnTo>
                    <a:pt x="3589" y="476"/>
                  </a:lnTo>
                  <a:lnTo>
                    <a:pt x="3578" y="459"/>
                  </a:lnTo>
                  <a:lnTo>
                    <a:pt x="3568" y="445"/>
                  </a:lnTo>
                  <a:lnTo>
                    <a:pt x="3557" y="427"/>
                  </a:lnTo>
                  <a:lnTo>
                    <a:pt x="3547" y="413"/>
                  </a:lnTo>
                  <a:lnTo>
                    <a:pt x="3536" y="392"/>
                  </a:lnTo>
                  <a:lnTo>
                    <a:pt x="3526" y="375"/>
                  </a:lnTo>
                  <a:lnTo>
                    <a:pt x="3515" y="354"/>
                  </a:lnTo>
                  <a:lnTo>
                    <a:pt x="3505" y="336"/>
                  </a:lnTo>
                  <a:lnTo>
                    <a:pt x="3491" y="315"/>
                  </a:lnTo>
                  <a:lnTo>
                    <a:pt x="3480" y="294"/>
                  </a:lnTo>
                  <a:lnTo>
                    <a:pt x="3466" y="270"/>
                  </a:lnTo>
                  <a:lnTo>
                    <a:pt x="3452" y="249"/>
                  </a:lnTo>
                  <a:lnTo>
                    <a:pt x="3438" y="224"/>
                  </a:lnTo>
                  <a:lnTo>
                    <a:pt x="3428" y="200"/>
                  </a:lnTo>
                  <a:lnTo>
                    <a:pt x="3414" y="175"/>
                  </a:lnTo>
                  <a:lnTo>
                    <a:pt x="3396" y="144"/>
                  </a:lnTo>
                  <a:lnTo>
                    <a:pt x="3386" y="123"/>
                  </a:lnTo>
                  <a:lnTo>
                    <a:pt x="3365" y="84"/>
                  </a:lnTo>
                  <a:lnTo>
                    <a:pt x="3354" y="67"/>
                  </a:lnTo>
                  <a:lnTo>
                    <a:pt x="3330" y="21"/>
                  </a:lnTo>
                  <a:lnTo>
                    <a:pt x="3323" y="11"/>
                  </a:lnTo>
                  <a:lnTo>
                    <a:pt x="331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4" name="Google Shape;5004;p53"/>
            <p:cNvSpPr/>
            <p:nvPr/>
          </p:nvSpPr>
          <p:spPr>
            <a:xfrm>
              <a:off x="2215795" y="1653321"/>
              <a:ext cx="353" cy="720"/>
            </a:xfrm>
            <a:custGeom>
              <a:avLst/>
              <a:gdLst/>
              <a:ahLst/>
              <a:cxnLst/>
              <a:rect l="l" t="t" r="r" b="b"/>
              <a:pathLst>
                <a:path w="26" h="53" extrusionOk="0">
                  <a:moveTo>
                    <a:pt x="1" y="53"/>
                  </a:moveTo>
                  <a:cubicBezTo>
                    <a:pt x="11" y="35"/>
                    <a:pt x="18" y="18"/>
                    <a:pt x="25" y="0"/>
                  </a:cubicBezTo>
                  <a:lnTo>
                    <a:pt x="25" y="0"/>
                  </a:lnTo>
                  <a:cubicBezTo>
                    <a:pt x="18" y="18"/>
                    <a:pt x="11" y="35"/>
                    <a:pt x="1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5" name="Google Shape;5005;p53"/>
            <p:cNvSpPr/>
            <p:nvPr/>
          </p:nvSpPr>
          <p:spPr>
            <a:xfrm>
              <a:off x="2214654" y="1654841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18"/>
                  </a:move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6" name="Google Shape;5006;p53"/>
            <p:cNvSpPr/>
            <p:nvPr/>
          </p:nvSpPr>
          <p:spPr>
            <a:xfrm>
              <a:off x="2199108" y="1671623"/>
              <a:ext cx="774" cy="489"/>
            </a:xfrm>
            <a:custGeom>
              <a:avLst/>
              <a:gdLst/>
              <a:ahLst/>
              <a:cxnLst/>
              <a:rect l="l" t="t" r="r" b="b"/>
              <a:pathLst>
                <a:path w="57" h="36" extrusionOk="0">
                  <a:moveTo>
                    <a:pt x="57" y="0"/>
                  </a:moveTo>
                  <a:cubicBezTo>
                    <a:pt x="36" y="14"/>
                    <a:pt x="15" y="25"/>
                    <a:pt x="1" y="35"/>
                  </a:cubicBezTo>
                  <a:cubicBezTo>
                    <a:pt x="15" y="25"/>
                    <a:pt x="39" y="14"/>
                    <a:pt x="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7" name="Google Shape;5007;p53"/>
            <p:cNvSpPr/>
            <p:nvPr/>
          </p:nvSpPr>
          <p:spPr>
            <a:xfrm>
              <a:off x="2215319" y="165450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8" name="Google Shape;5008;p53"/>
            <p:cNvSpPr/>
            <p:nvPr/>
          </p:nvSpPr>
          <p:spPr>
            <a:xfrm>
              <a:off x="2213948" y="1655127"/>
              <a:ext cx="679" cy="434"/>
            </a:xfrm>
            <a:custGeom>
              <a:avLst/>
              <a:gdLst/>
              <a:ahLst/>
              <a:cxnLst/>
              <a:rect l="l" t="t" r="r" b="b"/>
              <a:pathLst>
                <a:path w="50" h="32" extrusionOk="0">
                  <a:moveTo>
                    <a:pt x="49" y="0"/>
                  </a:moveTo>
                  <a:lnTo>
                    <a:pt x="0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9" name="Google Shape;5009;p53"/>
            <p:cNvSpPr/>
            <p:nvPr/>
          </p:nvSpPr>
          <p:spPr>
            <a:xfrm>
              <a:off x="2215659" y="165412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0" name="Google Shape;5010;p53"/>
            <p:cNvSpPr/>
            <p:nvPr/>
          </p:nvSpPr>
          <p:spPr>
            <a:xfrm>
              <a:off x="2245977" y="1649234"/>
              <a:ext cx="20746" cy="26205"/>
            </a:xfrm>
            <a:custGeom>
              <a:avLst/>
              <a:gdLst/>
              <a:ahLst/>
              <a:cxnLst/>
              <a:rect l="l" t="t" r="r" b="b"/>
              <a:pathLst>
                <a:path w="1528" h="1930" extrusionOk="0">
                  <a:moveTo>
                    <a:pt x="316" y="0"/>
                  </a:moveTo>
                  <a:cubicBezTo>
                    <a:pt x="315" y="0"/>
                    <a:pt x="313" y="0"/>
                    <a:pt x="312" y="0"/>
                  </a:cubicBezTo>
                  <a:cubicBezTo>
                    <a:pt x="207" y="18"/>
                    <a:pt x="102" y="42"/>
                    <a:pt x="1" y="77"/>
                  </a:cubicBezTo>
                  <a:lnTo>
                    <a:pt x="11" y="98"/>
                  </a:lnTo>
                  <a:lnTo>
                    <a:pt x="25" y="126"/>
                  </a:lnTo>
                  <a:lnTo>
                    <a:pt x="43" y="158"/>
                  </a:lnTo>
                  <a:lnTo>
                    <a:pt x="57" y="179"/>
                  </a:lnTo>
                  <a:lnTo>
                    <a:pt x="81" y="228"/>
                  </a:lnTo>
                  <a:lnTo>
                    <a:pt x="95" y="252"/>
                  </a:lnTo>
                  <a:lnTo>
                    <a:pt x="109" y="273"/>
                  </a:lnTo>
                  <a:lnTo>
                    <a:pt x="120" y="298"/>
                  </a:lnTo>
                  <a:lnTo>
                    <a:pt x="134" y="319"/>
                  </a:lnTo>
                  <a:lnTo>
                    <a:pt x="144" y="340"/>
                  </a:lnTo>
                  <a:lnTo>
                    <a:pt x="158" y="361"/>
                  </a:lnTo>
                  <a:lnTo>
                    <a:pt x="169" y="382"/>
                  </a:lnTo>
                  <a:lnTo>
                    <a:pt x="179" y="399"/>
                  </a:lnTo>
                  <a:lnTo>
                    <a:pt x="190" y="417"/>
                  </a:lnTo>
                  <a:lnTo>
                    <a:pt x="200" y="434"/>
                  </a:lnTo>
                  <a:lnTo>
                    <a:pt x="211" y="452"/>
                  </a:lnTo>
                  <a:lnTo>
                    <a:pt x="218" y="469"/>
                  </a:lnTo>
                  <a:lnTo>
                    <a:pt x="228" y="483"/>
                  </a:lnTo>
                  <a:lnTo>
                    <a:pt x="239" y="497"/>
                  </a:lnTo>
                  <a:lnTo>
                    <a:pt x="246" y="511"/>
                  </a:lnTo>
                  <a:lnTo>
                    <a:pt x="256" y="525"/>
                  </a:lnTo>
                  <a:lnTo>
                    <a:pt x="263" y="539"/>
                  </a:lnTo>
                  <a:lnTo>
                    <a:pt x="270" y="550"/>
                  </a:lnTo>
                  <a:lnTo>
                    <a:pt x="277" y="560"/>
                  </a:lnTo>
                  <a:lnTo>
                    <a:pt x="284" y="574"/>
                  </a:lnTo>
                  <a:lnTo>
                    <a:pt x="291" y="581"/>
                  </a:lnTo>
                  <a:lnTo>
                    <a:pt x="298" y="592"/>
                  </a:lnTo>
                  <a:lnTo>
                    <a:pt x="302" y="599"/>
                  </a:lnTo>
                  <a:lnTo>
                    <a:pt x="312" y="609"/>
                  </a:lnTo>
                  <a:cubicBezTo>
                    <a:pt x="319" y="616"/>
                    <a:pt x="859" y="1261"/>
                    <a:pt x="655" y="1467"/>
                  </a:cubicBezTo>
                  <a:cubicBezTo>
                    <a:pt x="638" y="1485"/>
                    <a:pt x="617" y="1555"/>
                    <a:pt x="624" y="1653"/>
                  </a:cubicBezTo>
                  <a:cubicBezTo>
                    <a:pt x="624" y="1670"/>
                    <a:pt x="627" y="1684"/>
                    <a:pt x="627" y="1702"/>
                  </a:cubicBezTo>
                  <a:lnTo>
                    <a:pt x="627" y="1716"/>
                  </a:lnTo>
                  <a:cubicBezTo>
                    <a:pt x="631" y="1726"/>
                    <a:pt x="631" y="1737"/>
                    <a:pt x="634" y="1751"/>
                  </a:cubicBezTo>
                  <a:lnTo>
                    <a:pt x="634" y="1765"/>
                  </a:lnTo>
                  <a:cubicBezTo>
                    <a:pt x="638" y="1779"/>
                    <a:pt x="641" y="1793"/>
                    <a:pt x="645" y="1807"/>
                  </a:cubicBezTo>
                  <a:cubicBezTo>
                    <a:pt x="652" y="1821"/>
                    <a:pt x="655" y="1835"/>
                    <a:pt x="659" y="1852"/>
                  </a:cubicBezTo>
                  <a:lnTo>
                    <a:pt x="666" y="1863"/>
                  </a:lnTo>
                  <a:cubicBezTo>
                    <a:pt x="669" y="1870"/>
                    <a:pt x="673" y="1880"/>
                    <a:pt x="676" y="1891"/>
                  </a:cubicBezTo>
                  <a:lnTo>
                    <a:pt x="680" y="1901"/>
                  </a:lnTo>
                  <a:cubicBezTo>
                    <a:pt x="687" y="1912"/>
                    <a:pt x="690" y="1922"/>
                    <a:pt x="697" y="1929"/>
                  </a:cubicBezTo>
                  <a:cubicBezTo>
                    <a:pt x="911" y="1656"/>
                    <a:pt x="946" y="1572"/>
                    <a:pt x="950" y="1551"/>
                  </a:cubicBezTo>
                  <a:cubicBezTo>
                    <a:pt x="943" y="1471"/>
                    <a:pt x="964" y="1390"/>
                    <a:pt x="1002" y="1320"/>
                  </a:cubicBezTo>
                  <a:cubicBezTo>
                    <a:pt x="1016" y="1303"/>
                    <a:pt x="1030" y="1289"/>
                    <a:pt x="1048" y="1275"/>
                  </a:cubicBezTo>
                  <a:cubicBezTo>
                    <a:pt x="1085" y="1249"/>
                    <a:pt x="1128" y="1236"/>
                    <a:pt x="1172" y="1236"/>
                  </a:cubicBezTo>
                  <a:cubicBezTo>
                    <a:pt x="1195" y="1236"/>
                    <a:pt x="1218" y="1239"/>
                    <a:pt x="1240" y="1247"/>
                  </a:cubicBezTo>
                  <a:cubicBezTo>
                    <a:pt x="1300" y="1261"/>
                    <a:pt x="1356" y="1278"/>
                    <a:pt x="1405" y="1292"/>
                  </a:cubicBezTo>
                  <a:cubicBezTo>
                    <a:pt x="1443" y="1306"/>
                    <a:pt x="1492" y="1320"/>
                    <a:pt x="1527" y="1327"/>
                  </a:cubicBezTo>
                  <a:cubicBezTo>
                    <a:pt x="1513" y="1247"/>
                    <a:pt x="1471" y="1113"/>
                    <a:pt x="1422" y="1064"/>
                  </a:cubicBezTo>
                  <a:cubicBezTo>
                    <a:pt x="1335" y="977"/>
                    <a:pt x="1135" y="711"/>
                    <a:pt x="1065" y="487"/>
                  </a:cubicBezTo>
                  <a:cubicBezTo>
                    <a:pt x="1020" y="354"/>
                    <a:pt x="897" y="256"/>
                    <a:pt x="757" y="245"/>
                  </a:cubicBezTo>
                  <a:lnTo>
                    <a:pt x="739" y="245"/>
                  </a:lnTo>
                  <a:cubicBezTo>
                    <a:pt x="662" y="245"/>
                    <a:pt x="585" y="182"/>
                    <a:pt x="501" y="116"/>
                  </a:cubicBezTo>
                  <a:cubicBezTo>
                    <a:pt x="440" y="65"/>
                    <a:pt x="359" y="0"/>
                    <a:pt x="3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1" name="Google Shape;5011;p53"/>
            <p:cNvSpPr/>
            <p:nvPr/>
          </p:nvSpPr>
          <p:spPr>
            <a:xfrm>
              <a:off x="2249548" y="165649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2" name="Google Shape;5012;p53"/>
            <p:cNvSpPr/>
            <p:nvPr/>
          </p:nvSpPr>
          <p:spPr>
            <a:xfrm>
              <a:off x="2249304" y="1656172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3" name="Google Shape;5013;p53"/>
            <p:cNvSpPr/>
            <p:nvPr/>
          </p:nvSpPr>
          <p:spPr>
            <a:xfrm>
              <a:off x="2254776" y="1673714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0" y="0"/>
                  </a:moveTo>
                  <a:cubicBezTo>
                    <a:pt x="4" y="18"/>
                    <a:pt x="11" y="32"/>
                    <a:pt x="14" y="42"/>
                  </a:cubicBezTo>
                  <a:cubicBezTo>
                    <a:pt x="11" y="28"/>
                    <a:pt x="7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4" name="Google Shape;5014;p53"/>
            <p:cNvSpPr/>
            <p:nvPr/>
          </p:nvSpPr>
          <p:spPr>
            <a:xfrm>
              <a:off x="2254626" y="1673144"/>
              <a:ext cx="163" cy="625"/>
            </a:xfrm>
            <a:custGeom>
              <a:avLst/>
              <a:gdLst/>
              <a:ahLst/>
              <a:cxnLst/>
              <a:rect l="l" t="t" r="r" b="b"/>
              <a:pathLst>
                <a:path w="12" h="46" extrusionOk="0">
                  <a:moveTo>
                    <a:pt x="1" y="0"/>
                  </a:moveTo>
                  <a:lnTo>
                    <a:pt x="1" y="0"/>
                  </a:lnTo>
                  <a:cubicBezTo>
                    <a:pt x="4" y="14"/>
                    <a:pt x="8" y="32"/>
                    <a:pt x="11" y="46"/>
                  </a:cubicBezTo>
                  <a:cubicBezTo>
                    <a:pt x="8" y="28"/>
                    <a:pt x="4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5" name="Google Shape;5015;p53"/>
            <p:cNvSpPr/>
            <p:nvPr/>
          </p:nvSpPr>
          <p:spPr>
            <a:xfrm>
              <a:off x="2255251" y="1674950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1" y="0"/>
                  </a:moveTo>
                  <a:lnTo>
                    <a:pt x="1" y="0"/>
                  </a:lnTo>
                  <a:cubicBezTo>
                    <a:pt x="7" y="14"/>
                    <a:pt x="11" y="25"/>
                    <a:pt x="18" y="32"/>
                  </a:cubicBezTo>
                  <a:cubicBezTo>
                    <a:pt x="11" y="21"/>
                    <a:pt x="7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6" name="Google Shape;5016;p53"/>
            <p:cNvSpPr/>
            <p:nvPr/>
          </p:nvSpPr>
          <p:spPr>
            <a:xfrm>
              <a:off x="2254531" y="1672479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1" y="0"/>
                  </a:moveTo>
                  <a:cubicBezTo>
                    <a:pt x="1" y="11"/>
                    <a:pt x="4" y="25"/>
                    <a:pt x="8" y="35"/>
                  </a:cubicBezTo>
                  <a:cubicBezTo>
                    <a:pt x="4" y="25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7" name="Google Shape;5017;p53"/>
            <p:cNvSpPr/>
            <p:nvPr/>
          </p:nvSpPr>
          <p:spPr>
            <a:xfrm>
              <a:off x="2250119" y="165731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8" name="Google Shape;5018;p53"/>
            <p:cNvSpPr/>
            <p:nvPr/>
          </p:nvSpPr>
          <p:spPr>
            <a:xfrm>
              <a:off x="2249928" y="1657068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9" name="Google Shape;5019;p53"/>
            <p:cNvSpPr/>
            <p:nvPr/>
          </p:nvSpPr>
          <p:spPr>
            <a:xfrm>
              <a:off x="2254436" y="1671623"/>
              <a:ext cx="109" cy="679"/>
            </a:xfrm>
            <a:custGeom>
              <a:avLst/>
              <a:gdLst/>
              <a:ahLst/>
              <a:cxnLst/>
              <a:rect l="l" t="t" r="r" b="b"/>
              <a:pathLst>
                <a:path w="8" h="50" extrusionOk="0">
                  <a:moveTo>
                    <a:pt x="1" y="0"/>
                  </a:moveTo>
                  <a:cubicBezTo>
                    <a:pt x="4" y="18"/>
                    <a:pt x="4" y="35"/>
                    <a:pt x="8" y="49"/>
                  </a:cubicBezTo>
                  <a:cubicBezTo>
                    <a:pt x="8" y="35"/>
                    <a:pt x="4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0" name="Google Shape;5020;p53"/>
            <p:cNvSpPr/>
            <p:nvPr/>
          </p:nvSpPr>
          <p:spPr>
            <a:xfrm>
              <a:off x="2249738" y="1656837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1" name="Google Shape;5021;p53"/>
            <p:cNvSpPr/>
            <p:nvPr/>
          </p:nvSpPr>
          <p:spPr>
            <a:xfrm>
              <a:off x="2255006" y="1674420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22"/>
                    <a:pt x="4" y="11"/>
                    <a:pt x="1" y="1"/>
                  </a:cubicBezTo>
                  <a:cubicBezTo>
                    <a:pt x="4" y="11"/>
                    <a:pt x="11" y="22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2" name="Google Shape;5022;p53"/>
            <p:cNvSpPr/>
            <p:nvPr/>
          </p:nvSpPr>
          <p:spPr>
            <a:xfrm>
              <a:off x="2247933" y="1653796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3" name="Google Shape;5023;p53"/>
            <p:cNvSpPr/>
            <p:nvPr/>
          </p:nvSpPr>
          <p:spPr>
            <a:xfrm>
              <a:off x="2255482" y="16754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4" name="Google Shape;5024;p53"/>
            <p:cNvSpPr/>
            <p:nvPr/>
          </p:nvSpPr>
          <p:spPr>
            <a:xfrm>
              <a:off x="2248258" y="1654366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5" name="Google Shape;5025;p53"/>
            <p:cNvSpPr/>
            <p:nvPr/>
          </p:nvSpPr>
          <p:spPr>
            <a:xfrm>
              <a:off x="2245977" y="1650225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1"/>
                  </a:moveTo>
                  <a:lnTo>
                    <a:pt x="11" y="2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6" name="Google Shape;5026;p53"/>
            <p:cNvSpPr/>
            <p:nvPr/>
          </p:nvSpPr>
          <p:spPr>
            <a:xfrm>
              <a:off x="2247593" y="1653226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5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7" name="Google Shape;5027;p53"/>
            <p:cNvSpPr/>
            <p:nvPr/>
          </p:nvSpPr>
          <p:spPr>
            <a:xfrm>
              <a:off x="2247267" y="1652601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11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8" name="Google Shape;5028;p53"/>
            <p:cNvSpPr/>
            <p:nvPr/>
          </p:nvSpPr>
          <p:spPr>
            <a:xfrm>
              <a:off x="2246697" y="1651610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49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9" name="Google Shape;5029;p53"/>
            <p:cNvSpPr/>
            <p:nvPr/>
          </p:nvSpPr>
          <p:spPr>
            <a:xfrm>
              <a:off x="2246317" y="1650890"/>
              <a:ext cx="244" cy="448"/>
            </a:xfrm>
            <a:custGeom>
              <a:avLst/>
              <a:gdLst/>
              <a:ahLst/>
              <a:cxnLst/>
              <a:rect l="l" t="t" r="r" b="b"/>
              <a:pathLst>
                <a:path w="18" h="33" extrusionOk="0">
                  <a:moveTo>
                    <a:pt x="18" y="3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0" name="Google Shape;5030;p53"/>
            <p:cNvSpPr/>
            <p:nvPr/>
          </p:nvSpPr>
          <p:spPr>
            <a:xfrm>
              <a:off x="2249073" y="165579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1" name="Google Shape;5031;p53"/>
            <p:cNvSpPr/>
            <p:nvPr/>
          </p:nvSpPr>
          <p:spPr>
            <a:xfrm>
              <a:off x="2248829" y="165535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2" name="Google Shape;5032;p53"/>
            <p:cNvSpPr/>
            <p:nvPr/>
          </p:nvSpPr>
          <p:spPr>
            <a:xfrm>
              <a:off x="2248544" y="1654882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3" name="Google Shape;5033;p53"/>
            <p:cNvSpPr/>
            <p:nvPr/>
          </p:nvSpPr>
          <p:spPr>
            <a:xfrm>
              <a:off x="2212047" y="1690224"/>
              <a:ext cx="44073" cy="23516"/>
            </a:xfrm>
            <a:custGeom>
              <a:avLst/>
              <a:gdLst/>
              <a:ahLst/>
              <a:cxnLst/>
              <a:rect l="l" t="t" r="r" b="b"/>
              <a:pathLst>
                <a:path w="3246" h="1732" extrusionOk="0">
                  <a:moveTo>
                    <a:pt x="2473" y="1"/>
                  </a:moveTo>
                  <a:cubicBezTo>
                    <a:pt x="2300" y="1"/>
                    <a:pt x="2049" y="32"/>
                    <a:pt x="1978" y="100"/>
                  </a:cubicBezTo>
                  <a:cubicBezTo>
                    <a:pt x="1864" y="215"/>
                    <a:pt x="1722" y="283"/>
                    <a:pt x="1590" y="283"/>
                  </a:cubicBezTo>
                  <a:cubicBezTo>
                    <a:pt x="1572" y="283"/>
                    <a:pt x="1554" y="281"/>
                    <a:pt x="1537" y="279"/>
                  </a:cubicBezTo>
                  <a:cubicBezTo>
                    <a:pt x="1441" y="269"/>
                    <a:pt x="1234" y="259"/>
                    <a:pt x="1097" y="259"/>
                  </a:cubicBezTo>
                  <a:cubicBezTo>
                    <a:pt x="1041" y="259"/>
                    <a:pt x="996" y="261"/>
                    <a:pt x="977" y="265"/>
                  </a:cubicBezTo>
                  <a:cubicBezTo>
                    <a:pt x="968" y="266"/>
                    <a:pt x="957" y="267"/>
                    <a:pt x="945" y="267"/>
                  </a:cubicBezTo>
                  <a:cubicBezTo>
                    <a:pt x="886" y="267"/>
                    <a:pt x="790" y="253"/>
                    <a:pt x="648" y="230"/>
                  </a:cubicBezTo>
                  <a:cubicBezTo>
                    <a:pt x="564" y="212"/>
                    <a:pt x="480" y="202"/>
                    <a:pt x="396" y="198"/>
                  </a:cubicBezTo>
                  <a:cubicBezTo>
                    <a:pt x="388" y="200"/>
                    <a:pt x="381" y="201"/>
                    <a:pt x="374" y="201"/>
                  </a:cubicBezTo>
                  <a:cubicBezTo>
                    <a:pt x="324" y="201"/>
                    <a:pt x="280" y="160"/>
                    <a:pt x="231" y="111"/>
                  </a:cubicBezTo>
                  <a:lnTo>
                    <a:pt x="207" y="86"/>
                  </a:lnTo>
                  <a:lnTo>
                    <a:pt x="200" y="79"/>
                  </a:lnTo>
                  <a:cubicBezTo>
                    <a:pt x="189" y="69"/>
                    <a:pt x="179" y="62"/>
                    <a:pt x="168" y="51"/>
                  </a:cubicBezTo>
                  <a:lnTo>
                    <a:pt x="165" y="48"/>
                  </a:lnTo>
                  <a:cubicBezTo>
                    <a:pt x="158" y="41"/>
                    <a:pt x="147" y="34"/>
                    <a:pt x="137" y="27"/>
                  </a:cubicBezTo>
                  <a:lnTo>
                    <a:pt x="130" y="23"/>
                  </a:lnTo>
                  <a:cubicBezTo>
                    <a:pt x="123" y="16"/>
                    <a:pt x="112" y="9"/>
                    <a:pt x="102" y="6"/>
                  </a:cubicBezTo>
                  <a:lnTo>
                    <a:pt x="98" y="6"/>
                  </a:lnTo>
                  <a:cubicBezTo>
                    <a:pt x="91" y="9"/>
                    <a:pt x="88" y="13"/>
                    <a:pt x="81" y="20"/>
                  </a:cubicBezTo>
                  <a:cubicBezTo>
                    <a:pt x="77" y="23"/>
                    <a:pt x="70" y="27"/>
                    <a:pt x="63" y="30"/>
                  </a:cubicBezTo>
                  <a:cubicBezTo>
                    <a:pt x="28" y="58"/>
                    <a:pt x="7" y="97"/>
                    <a:pt x="4" y="142"/>
                  </a:cubicBezTo>
                  <a:cubicBezTo>
                    <a:pt x="0" y="202"/>
                    <a:pt x="25" y="261"/>
                    <a:pt x="70" y="304"/>
                  </a:cubicBezTo>
                  <a:cubicBezTo>
                    <a:pt x="140" y="370"/>
                    <a:pt x="333" y="594"/>
                    <a:pt x="291" y="710"/>
                  </a:cubicBezTo>
                  <a:cubicBezTo>
                    <a:pt x="274" y="746"/>
                    <a:pt x="243" y="769"/>
                    <a:pt x="204" y="769"/>
                  </a:cubicBezTo>
                  <a:cubicBezTo>
                    <a:pt x="202" y="769"/>
                    <a:pt x="199" y="769"/>
                    <a:pt x="196" y="769"/>
                  </a:cubicBezTo>
                  <a:cubicBezTo>
                    <a:pt x="165" y="773"/>
                    <a:pt x="137" y="790"/>
                    <a:pt x="119" y="815"/>
                  </a:cubicBezTo>
                  <a:cubicBezTo>
                    <a:pt x="95" y="839"/>
                    <a:pt x="77" y="874"/>
                    <a:pt x="77" y="909"/>
                  </a:cubicBezTo>
                  <a:cubicBezTo>
                    <a:pt x="81" y="958"/>
                    <a:pt x="77" y="1004"/>
                    <a:pt x="70" y="1049"/>
                  </a:cubicBezTo>
                  <a:cubicBezTo>
                    <a:pt x="70" y="1063"/>
                    <a:pt x="67" y="1081"/>
                    <a:pt x="67" y="1095"/>
                  </a:cubicBezTo>
                  <a:cubicBezTo>
                    <a:pt x="63" y="1109"/>
                    <a:pt x="63" y="1126"/>
                    <a:pt x="67" y="1140"/>
                  </a:cubicBezTo>
                  <a:lnTo>
                    <a:pt x="67" y="1147"/>
                  </a:lnTo>
                  <a:lnTo>
                    <a:pt x="67" y="1151"/>
                  </a:lnTo>
                  <a:lnTo>
                    <a:pt x="74" y="1154"/>
                  </a:lnTo>
                  <a:cubicBezTo>
                    <a:pt x="329" y="1406"/>
                    <a:pt x="371" y="1483"/>
                    <a:pt x="378" y="1529"/>
                  </a:cubicBezTo>
                  <a:cubicBezTo>
                    <a:pt x="378" y="1539"/>
                    <a:pt x="403" y="1557"/>
                    <a:pt x="417" y="1567"/>
                  </a:cubicBezTo>
                  <a:cubicBezTo>
                    <a:pt x="427" y="1578"/>
                    <a:pt x="434" y="1585"/>
                    <a:pt x="441" y="1592"/>
                  </a:cubicBezTo>
                  <a:cubicBezTo>
                    <a:pt x="452" y="1602"/>
                    <a:pt x="459" y="1613"/>
                    <a:pt x="466" y="1623"/>
                  </a:cubicBezTo>
                  <a:lnTo>
                    <a:pt x="557" y="1616"/>
                  </a:lnTo>
                  <a:lnTo>
                    <a:pt x="571" y="1616"/>
                  </a:lnTo>
                  <a:lnTo>
                    <a:pt x="662" y="1613"/>
                  </a:lnTo>
                  <a:lnTo>
                    <a:pt x="676" y="1613"/>
                  </a:lnTo>
                  <a:lnTo>
                    <a:pt x="767" y="1609"/>
                  </a:lnTo>
                  <a:lnTo>
                    <a:pt x="774" y="1609"/>
                  </a:lnTo>
                  <a:cubicBezTo>
                    <a:pt x="801" y="1609"/>
                    <a:pt x="829" y="1609"/>
                    <a:pt x="855" y="1609"/>
                  </a:cubicBezTo>
                  <a:cubicBezTo>
                    <a:pt x="1003" y="1609"/>
                    <a:pt x="1127" y="1618"/>
                    <a:pt x="1183" y="1644"/>
                  </a:cubicBezTo>
                  <a:lnTo>
                    <a:pt x="1201" y="1651"/>
                  </a:lnTo>
                  <a:cubicBezTo>
                    <a:pt x="1313" y="1683"/>
                    <a:pt x="1429" y="1704"/>
                    <a:pt x="1544" y="1714"/>
                  </a:cubicBezTo>
                  <a:lnTo>
                    <a:pt x="1565" y="1718"/>
                  </a:lnTo>
                  <a:lnTo>
                    <a:pt x="1576" y="1718"/>
                  </a:lnTo>
                  <a:cubicBezTo>
                    <a:pt x="1628" y="1725"/>
                    <a:pt x="1674" y="1728"/>
                    <a:pt x="1712" y="1732"/>
                  </a:cubicBezTo>
                  <a:lnTo>
                    <a:pt x="1737" y="1732"/>
                  </a:lnTo>
                  <a:cubicBezTo>
                    <a:pt x="1782" y="1732"/>
                    <a:pt x="1831" y="1721"/>
                    <a:pt x="1873" y="1700"/>
                  </a:cubicBezTo>
                  <a:cubicBezTo>
                    <a:pt x="1877" y="1700"/>
                    <a:pt x="1880" y="1697"/>
                    <a:pt x="1884" y="1690"/>
                  </a:cubicBezTo>
                  <a:cubicBezTo>
                    <a:pt x="1873" y="1662"/>
                    <a:pt x="1873" y="1627"/>
                    <a:pt x="1891" y="1599"/>
                  </a:cubicBezTo>
                  <a:cubicBezTo>
                    <a:pt x="1898" y="1592"/>
                    <a:pt x="1901" y="1585"/>
                    <a:pt x="1908" y="1578"/>
                  </a:cubicBezTo>
                  <a:lnTo>
                    <a:pt x="1912" y="1571"/>
                  </a:lnTo>
                  <a:cubicBezTo>
                    <a:pt x="1919" y="1567"/>
                    <a:pt x="1926" y="1560"/>
                    <a:pt x="1933" y="1557"/>
                  </a:cubicBezTo>
                  <a:lnTo>
                    <a:pt x="1936" y="1553"/>
                  </a:lnTo>
                  <a:cubicBezTo>
                    <a:pt x="1943" y="1550"/>
                    <a:pt x="1950" y="1543"/>
                    <a:pt x="1961" y="1539"/>
                  </a:cubicBezTo>
                  <a:lnTo>
                    <a:pt x="1968" y="1536"/>
                  </a:lnTo>
                  <a:lnTo>
                    <a:pt x="1989" y="1525"/>
                  </a:lnTo>
                  <a:lnTo>
                    <a:pt x="1996" y="1522"/>
                  </a:lnTo>
                  <a:lnTo>
                    <a:pt x="2024" y="1511"/>
                  </a:lnTo>
                  <a:lnTo>
                    <a:pt x="2031" y="1511"/>
                  </a:lnTo>
                  <a:lnTo>
                    <a:pt x="2055" y="1504"/>
                  </a:lnTo>
                  <a:lnTo>
                    <a:pt x="2062" y="1504"/>
                  </a:lnTo>
                  <a:lnTo>
                    <a:pt x="2094" y="1497"/>
                  </a:lnTo>
                  <a:lnTo>
                    <a:pt x="2097" y="1497"/>
                  </a:lnTo>
                  <a:lnTo>
                    <a:pt x="2122" y="1490"/>
                  </a:lnTo>
                  <a:lnTo>
                    <a:pt x="2125" y="1490"/>
                  </a:lnTo>
                  <a:cubicBezTo>
                    <a:pt x="2122" y="1473"/>
                    <a:pt x="2122" y="1455"/>
                    <a:pt x="2122" y="1434"/>
                  </a:cubicBezTo>
                  <a:lnTo>
                    <a:pt x="2122" y="1420"/>
                  </a:lnTo>
                  <a:cubicBezTo>
                    <a:pt x="2122" y="1413"/>
                    <a:pt x="2122" y="1406"/>
                    <a:pt x="2122" y="1399"/>
                  </a:cubicBezTo>
                  <a:cubicBezTo>
                    <a:pt x="2125" y="1392"/>
                    <a:pt x="2125" y="1385"/>
                    <a:pt x="2129" y="1382"/>
                  </a:cubicBezTo>
                  <a:cubicBezTo>
                    <a:pt x="2136" y="1368"/>
                    <a:pt x="2143" y="1357"/>
                    <a:pt x="2153" y="1350"/>
                  </a:cubicBezTo>
                  <a:lnTo>
                    <a:pt x="2157" y="1350"/>
                  </a:lnTo>
                  <a:cubicBezTo>
                    <a:pt x="2164" y="1347"/>
                    <a:pt x="2167" y="1343"/>
                    <a:pt x="2174" y="1340"/>
                  </a:cubicBezTo>
                  <a:cubicBezTo>
                    <a:pt x="2291" y="1308"/>
                    <a:pt x="2413" y="1294"/>
                    <a:pt x="2534" y="1294"/>
                  </a:cubicBezTo>
                  <a:cubicBezTo>
                    <a:pt x="2547" y="1294"/>
                    <a:pt x="2560" y="1294"/>
                    <a:pt x="2573" y="1294"/>
                  </a:cubicBezTo>
                  <a:cubicBezTo>
                    <a:pt x="2647" y="1298"/>
                    <a:pt x="2720" y="1312"/>
                    <a:pt x="2787" y="1340"/>
                  </a:cubicBezTo>
                  <a:cubicBezTo>
                    <a:pt x="2790" y="1343"/>
                    <a:pt x="2797" y="1343"/>
                    <a:pt x="2804" y="1347"/>
                  </a:cubicBezTo>
                  <a:lnTo>
                    <a:pt x="2846" y="1347"/>
                  </a:lnTo>
                  <a:lnTo>
                    <a:pt x="2864" y="1340"/>
                  </a:lnTo>
                  <a:lnTo>
                    <a:pt x="2867" y="1340"/>
                  </a:lnTo>
                  <a:lnTo>
                    <a:pt x="2885" y="1336"/>
                  </a:lnTo>
                  <a:lnTo>
                    <a:pt x="2899" y="1329"/>
                  </a:lnTo>
                  <a:cubicBezTo>
                    <a:pt x="2895" y="1315"/>
                    <a:pt x="2892" y="1305"/>
                    <a:pt x="2885" y="1291"/>
                  </a:cubicBezTo>
                  <a:cubicBezTo>
                    <a:pt x="2769" y="1263"/>
                    <a:pt x="2685" y="1021"/>
                    <a:pt x="2682" y="902"/>
                  </a:cubicBezTo>
                  <a:cubicBezTo>
                    <a:pt x="2678" y="787"/>
                    <a:pt x="2748" y="759"/>
                    <a:pt x="2776" y="752"/>
                  </a:cubicBezTo>
                  <a:cubicBezTo>
                    <a:pt x="2804" y="745"/>
                    <a:pt x="2867" y="650"/>
                    <a:pt x="2909" y="587"/>
                  </a:cubicBezTo>
                  <a:cubicBezTo>
                    <a:pt x="2993" y="465"/>
                    <a:pt x="3088" y="325"/>
                    <a:pt x="3207" y="286"/>
                  </a:cubicBezTo>
                  <a:cubicBezTo>
                    <a:pt x="3221" y="283"/>
                    <a:pt x="3235" y="276"/>
                    <a:pt x="3245" y="268"/>
                  </a:cubicBezTo>
                  <a:lnTo>
                    <a:pt x="3228" y="261"/>
                  </a:lnTo>
                  <a:lnTo>
                    <a:pt x="3207" y="251"/>
                  </a:lnTo>
                  <a:lnTo>
                    <a:pt x="3186" y="237"/>
                  </a:lnTo>
                  <a:lnTo>
                    <a:pt x="3168" y="230"/>
                  </a:lnTo>
                  <a:lnTo>
                    <a:pt x="3144" y="219"/>
                  </a:lnTo>
                  <a:lnTo>
                    <a:pt x="3130" y="216"/>
                  </a:lnTo>
                  <a:lnTo>
                    <a:pt x="3105" y="202"/>
                  </a:lnTo>
                  <a:lnTo>
                    <a:pt x="3095" y="198"/>
                  </a:lnTo>
                  <a:lnTo>
                    <a:pt x="3070" y="188"/>
                  </a:lnTo>
                  <a:lnTo>
                    <a:pt x="3060" y="184"/>
                  </a:lnTo>
                  <a:lnTo>
                    <a:pt x="3046" y="174"/>
                  </a:lnTo>
                  <a:lnTo>
                    <a:pt x="3035" y="170"/>
                  </a:lnTo>
                  <a:lnTo>
                    <a:pt x="3025" y="163"/>
                  </a:lnTo>
                  <a:lnTo>
                    <a:pt x="3018" y="160"/>
                  </a:lnTo>
                  <a:lnTo>
                    <a:pt x="3011" y="153"/>
                  </a:lnTo>
                  <a:lnTo>
                    <a:pt x="3004" y="149"/>
                  </a:lnTo>
                  <a:lnTo>
                    <a:pt x="2997" y="142"/>
                  </a:lnTo>
                  <a:lnTo>
                    <a:pt x="2990" y="139"/>
                  </a:lnTo>
                  <a:lnTo>
                    <a:pt x="2983" y="135"/>
                  </a:lnTo>
                  <a:lnTo>
                    <a:pt x="2979" y="132"/>
                  </a:lnTo>
                  <a:lnTo>
                    <a:pt x="2976" y="128"/>
                  </a:lnTo>
                  <a:lnTo>
                    <a:pt x="2972" y="125"/>
                  </a:lnTo>
                  <a:lnTo>
                    <a:pt x="2969" y="121"/>
                  </a:lnTo>
                  <a:lnTo>
                    <a:pt x="2965" y="118"/>
                  </a:lnTo>
                  <a:lnTo>
                    <a:pt x="2962" y="114"/>
                  </a:lnTo>
                  <a:lnTo>
                    <a:pt x="2962" y="111"/>
                  </a:lnTo>
                  <a:lnTo>
                    <a:pt x="2962" y="107"/>
                  </a:lnTo>
                  <a:lnTo>
                    <a:pt x="2962" y="104"/>
                  </a:lnTo>
                  <a:cubicBezTo>
                    <a:pt x="2948" y="83"/>
                    <a:pt x="2881" y="44"/>
                    <a:pt x="2577" y="6"/>
                  </a:cubicBezTo>
                  <a:cubicBezTo>
                    <a:pt x="2548" y="3"/>
                    <a:pt x="2513" y="1"/>
                    <a:pt x="24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4" name="Google Shape;5034;p53"/>
            <p:cNvSpPr/>
            <p:nvPr/>
          </p:nvSpPr>
          <p:spPr>
            <a:xfrm>
              <a:off x="2240994" y="1708500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0" y="29"/>
                  </a:moveTo>
                  <a:cubicBezTo>
                    <a:pt x="4" y="18"/>
                    <a:pt x="14" y="8"/>
                    <a:pt x="25" y="1"/>
                  </a:cubicBezTo>
                  <a:cubicBezTo>
                    <a:pt x="14" y="8"/>
                    <a:pt x="4" y="18"/>
                    <a:pt x="0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5" name="Google Shape;5035;p53"/>
            <p:cNvSpPr/>
            <p:nvPr/>
          </p:nvSpPr>
          <p:spPr>
            <a:xfrm>
              <a:off x="2250784" y="1708364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6" name="Google Shape;5036;p53"/>
            <p:cNvSpPr/>
            <p:nvPr/>
          </p:nvSpPr>
          <p:spPr>
            <a:xfrm>
              <a:off x="2240845" y="1709600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7" name="Google Shape;5037;p53"/>
            <p:cNvSpPr/>
            <p:nvPr/>
          </p:nvSpPr>
          <p:spPr>
            <a:xfrm>
              <a:off x="2251015" y="170826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8" name="Google Shape;5038;p53"/>
            <p:cNvSpPr/>
            <p:nvPr/>
          </p:nvSpPr>
          <p:spPr>
            <a:xfrm>
              <a:off x="2251259" y="170821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1"/>
                  </a:moveTo>
                  <a:lnTo>
                    <a:pt x="14" y="1"/>
                  </a:ln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9" name="Google Shape;5039;p53"/>
            <p:cNvSpPr/>
            <p:nvPr/>
          </p:nvSpPr>
          <p:spPr>
            <a:xfrm>
              <a:off x="2241605" y="1707644"/>
              <a:ext cx="5485" cy="679"/>
            </a:xfrm>
            <a:custGeom>
              <a:avLst/>
              <a:gdLst/>
              <a:ahLst/>
              <a:cxnLst/>
              <a:rect l="l" t="t" r="r" b="b"/>
              <a:pathLst>
                <a:path w="404" h="50" extrusionOk="0">
                  <a:moveTo>
                    <a:pt x="1" y="50"/>
                  </a:moveTo>
                  <a:lnTo>
                    <a:pt x="1" y="50"/>
                  </a:lnTo>
                  <a:cubicBezTo>
                    <a:pt x="134" y="15"/>
                    <a:pt x="267" y="1"/>
                    <a:pt x="403" y="4"/>
                  </a:cubicBezTo>
                  <a:cubicBezTo>
                    <a:pt x="267" y="1"/>
                    <a:pt x="134" y="15"/>
                    <a:pt x="1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0" name="Google Shape;5040;p53"/>
            <p:cNvSpPr/>
            <p:nvPr/>
          </p:nvSpPr>
          <p:spPr>
            <a:xfrm>
              <a:off x="2241375" y="1708310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"/>
                  </a:moveTo>
                  <a:cubicBezTo>
                    <a:pt x="11" y="4"/>
                    <a:pt x="4" y="8"/>
                    <a:pt x="0" y="11"/>
                  </a:cubicBezTo>
                  <a:cubicBezTo>
                    <a:pt x="4" y="8"/>
                    <a:pt x="11" y="4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1" name="Google Shape;5041;p53"/>
            <p:cNvSpPr/>
            <p:nvPr/>
          </p:nvSpPr>
          <p:spPr>
            <a:xfrm>
              <a:off x="2250444" y="1708405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2" y="1"/>
                  </a:moveTo>
                  <a:cubicBezTo>
                    <a:pt x="15" y="4"/>
                    <a:pt x="8" y="4"/>
                    <a:pt x="1" y="1"/>
                  </a:cubicBezTo>
                  <a:cubicBezTo>
                    <a:pt x="8" y="4"/>
                    <a:pt x="15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2" name="Google Shape;5042;p53"/>
            <p:cNvSpPr/>
            <p:nvPr/>
          </p:nvSpPr>
          <p:spPr>
            <a:xfrm>
              <a:off x="2250214" y="170845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3" name="Google Shape;5043;p53"/>
            <p:cNvSpPr/>
            <p:nvPr/>
          </p:nvSpPr>
          <p:spPr>
            <a:xfrm>
              <a:off x="2240899" y="170893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cubicBezTo>
                    <a:pt x="4" y="4"/>
                    <a:pt x="0" y="11"/>
                    <a:pt x="0" y="18"/>
                  </a:cubicBezTo>
                  <a:cubicBezTo>
                    <a:pt x="0" y="11"/>
                    <a:pt x="4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4" name="Google Shape;5044;p53"/>
            <p:cNvSpPr/>
            <p:nvPr/>
          </p:nvSpPr>
          <p:spPr>
            <a:xfrm>
              <a:off x="2249928" y="170836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cubicBezTo>
                    <a:pt x="11" y="4"/>
                    <a:pt x="7" y="0"/>
                    <a:pt x="0" y="0"/>
                  </a:cubicBezTo>
                  <a:cubicBezTo>
                    <a:pt x="7" y="0"/>
                    <a:pt x="11" y="4"/>
                    <a:pt x="18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5" name="Google Shape;5045;p53"/>
            <p:cNvSpPr/>
            <p:nvPr/>
          </p:nvSpPr>
          <p:spPr>
            <a:xfrm>
              <a:off x="2240845" y="170916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cubicBezTo>
                    <a:pt x="1" y="8"/>
                    <a:pt x="1" y="15"/>
                    <a:pt x="1" y="22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6" name="Google Shape;5046;p53"/>
            <p:cNvSpPr/>
            <p:nvPr/>
          </p:nvSpPr>
          <p:spPr>
            <a:xfrm>
              <a:off x="2255631" y="169357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7" name="Google Shape;5047;p53"/>
            <p:cNvSpPr/>
            <p:nvPr/>
          </p:nvSpPr>
          <p:spPr>
            <a:xfrm>
              <a:off x="2238849" y="1689396"/>
              <a:ext cx="8187" cy="2200"/>
            </a:xfrm>
            <a:custGeom>
              <a:avLst/>
              <a:gdLst/>
              <a:ahLst/>
              <a:cxnLst/>
              <a:rect l="l" t="t" r="r" b="b"/>
              <a:pathLst>
                <a:path w="603" h="162" extrusionOk="0">
                  <a:moveTo>
                    <a:pt x="603" y="0"/>
                  </a:moveTo>
                  <a:lnTo>
                    <a:pt x="592" y="63"/>
                  </a:lnTo>
                  <a:cubicBezTo>
                    <a:pt x="565" y="60"/>
                    <a:pt x="531" y="58"/>
                    <a:pt x="492" y="58"/>
                  </a:cubicBezTo>
                  <a:cubicBezTo>
                    <a:pt x="395" y="58"/>
                    <a:pt x="271" y="69"/>
                    <a:pt x="169" y="91"/>
                  </a:cubicBezTo>
                  <a:lnTo>
                    <a:pt x="169" y="91"/>
                  </a:lnTo>
                  <a:cubicBezTo>
                    <a:pt x="265" y="70"/>
                    <a:pt x="382" y="60"/>
                    <a:pt x="478" y="60"/>
                  </a:cubicBezTo>
                  <a:cubicBezTo>
                    <a:pt x="523" y="60"/>
                    <a:pt x="564" y="63"/>
                    <a:pt x="596" y="67"/>
                  </a:cubicBezTo>
                  <a:lnTo>
                    <a:pt x="603" y="0"/>
                  </a:lnTo>
                  <a:close/>
                  <a:moveTo>
                    <a:pt x="169" y="91"/>
                  </a:moveTo>
                  <a:cubicBezTo>
                    <a:pt x="93" y="108"/>
                    <a:pt x="30" y="131"/>
                    <a:pt x="1" y="161"/>
                  </a:cubicBezTo>
                  <a:cubicBezTo>
                    <a:pt x="30" y="131"/>
                    <a:pt x="93" y="108"/>
                    <a:pt x="169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8" name="Google Shape;5048;p53"/>
            <p:cNvSpPr/>
            <p:nvPr/>
          </p:nvSpPr>
          <p:spPr>
            <a:xfrm>
              <a:off x="2247023" y="1689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9" name="Google Shape;5049;p53"/>
            <p:cNvSpPr/>
            <p:nvPr/>
          </p:nvSpPr>
          <p:spPr>
            <a:xfrm>
              <a:off x="2213283" y="169019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0" name="Google Shape;5050;p53"/>
            <p:cNvSpPr/>
            <p:nvPr/>
          </p:nvSpPr>
          <p:spPr>
            <a:xfrm>
              <a:off x="2253581" y="169266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1" name="Google Shape;5051;p53"/>
            <p:cNvSpPr/>
            <p:nvPr/>
          </p:nvSpPr>
          <p:spPr>
            <a:xfrm>
              <a:off x="2214233" y="1690822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2" name="Google Shape;5052;p53"/>
            <p:cNvSpPr/>
            <p:nvPr/>
          </p:nvSpPr>
          <p:spPr>
            <a:xfrm>
              <a:off x="2253296" y="169253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3" name="Google Shape;5053;p53"/>
            <p:cNvSpPr/>
            <p:nvPr/>
          </p:nvSpPr>
          <p:spPr>
            <a:xfrm>
              <a:off x="2254056" y="169291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0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4" name="Google Shape;5054;p53"/>
            <p:cNvSpPr/>
            <p:nvPr/>
          </p:nvSpPr>
          <p:spPr>
            <a:xfrm>
              <a:off x="2253011" y="169238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5" name="Google Shape;5055;p53"/>
            <p:cNvSpPr/>
            <p:nvPr/>
          </p:nvSpPr>
          <p:spPr>
            <a:xfrm>
              <a:off x="2213758" y="169048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6" name="Google Shape;5056;p53"/>
            <p:cNvSpPr/>
            <p:nvPr/>
          </p:nvSpPr>
          <p:spPr>
            <a:xfrm>
              <a:off x="2214708" y="169124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7" name="Google Shape;5057;p53"/>
            <p:cNvSpPr/>
            <p:nvPr/>
          </p:nvSpPr>
          <p:spPr>
            <a:xfrm>
              <a:off x="2252820" y="169224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8" name="Google Shape;5058;p53"/>
            <p:cNvSpPr/>
            <p:nvPr/>
          </p:nvSpPr>
          <p:spPr>
            <a:xfrm>
              <a:off x="2254531" y="169314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9" name="Google Shape;5059;p53"/>
            <p:cNvSpPr/>
            <p:nvPr/>
          </p:nvSpPr>
          <p:spPr>
            <a:xfrm>
              <a:off x="2255061" y="1693334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0" name="Google Shape;5060;p53"/>
            <p:cNvSpPr/>
            <p:nvPr/>
          </p:nvSpPr>
          <p:spPr>
            <a:xfrm>
              <a:off x="2252400" y="169186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1" name="Google Shape;5061;p53"/>
            <p:cNvSpPr/>
            <p:nvPr/>
          </p:nvSpPr>
          <p:spPr>
            <a:xfrm>
              <a:off x="2252495" y="1692003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1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2" name="Google Shape;5062;p53"/>
            <p:cNvSpPr/>
            <p:nvPr/>
          </p:nvSpPr>
          <p:spPr>
            <a:xfrm>
              <a:off x="2252305" y="169181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3" name="Google Shape;5063;p53"/>
            <p:cNvSpPr/>
            <p:nvPr/>
          </p:nvSpPr>
          <p:spPr>
            <a:xfrm>
              <a:off x="2252250" y="169171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4" name="Google Shape;5064;p53"/>
            <p:cNvSpPr/>
            <p:nvPr/>
          </p:nvSpPr>
          <p:spPr>
            <a:xfrm>
              <a:off x="2252209" y="16916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5" name="Google Shape;5065;p53"/>
            <p:cNvSpPr/>
            <p:nvPr/>
          </p:nvSpPr>
          <p:spPr>
            <a:xfrm>
              <a:off x="2252630" y="169209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6" name="Google Shape;5066;p53"/>
            <p:cNvSpPr/>
            <p:nvPr/>
          </p:nvSpPr>
          <p:spPr>
            <a:xfrm>
              <a:off x="2198782" y="1705988"/>
              <a:ext cx="18031" cy="12274"/>
            </a:xfrm>
            <a:custGeom>
              <a:avLst/>
              <a:gdLst/>
              <a:ahLst/>
              <a:cxnLst/>
              <a:rect l="l" t="t" r="r" b="b"/>
              <a:pathLst>
                <a:path w="1328" h="904" extrusionOk="0">
                  <a:moveTo>
                    <a:pt x="904" y="0"/>
                  </a:moveTo>
                  <a:cubicBezTo>
                    <a:pt x="837" y="11"/>
                    <a:pt x="764" y="25"/>
                    <a:pt x="694" y="35"/>
                  </a:cubicBezTo>
                  <a:lnTo>
                    <a:pt x="690" y="35"/>
                  </a:lnTo>
                  <a:lnTo>
                    <a:pt x="655" y="42"/>
                  </a:lnTo>
                  <a:lnTo>
                    <a:pt x="652" y="42"/>
                  </a:lnTo>
                  <a:lnTo>
                    <a:pt x="617" y="49"/>
                  </a:lnTo>
                  <a:lnTo>
                    <a:pt x="582" y="56"/>
                  </a:lnTo>
                  <a:cubicBezTo>
                    <a:pt x="305" y="105"/>
                    <a:pt x="49" y="158"/>
                    <a:pt x="46" y="158"/>
                  </a:cubicBezTo>
                  <a:lnTo>
                    <a:pt x="46" y="161"/>
                  </a:lnTo>
                  <a:cubicBezTo>
                    <a:pt x="39" y="182"/>
                    <a:pt x="35" y="203"/>
                    <a:pt x="28" y="221"/>
                  </a:cubicBezTo>
                  <a:lnTo>
                    <a:pt x="28" y="231"/>
                  </a:lnTo>
                  <a:cubicBezTo>
                    <a:pt x="25" y="252"/>
                    <a:pt x="21" y="273"/>
                    <a:pt x="18" y="291"/>
                  </a:cubicBezTo>
                  <a:lnTo>
                    <a:pt x="18" y="301"/>
                  </a:lnTo>
                  <a:cubicBezTo>
                    <a:pt x="14" y="319"/>
                    <a:pt x="11" y="340"/>
                    <a:pt x="7" y="361"/>
                  </a:cubicBezTo>
                  <a:lnTo>
                    <a:pt x="7" y="364"/>
                  </a:lnTo>
                  <a:cubicBezTo>
                    <a:pt x="7" y="382"/>
                    <a:pt x="4" y="403"/>
                    <a:pt x="0" y="424"/>
                  </a:cubicBezTo>
                  <a:cubicBezTo>
                    <a:pt x="0" y="445"/>
                    <a:pt x="0" y="462"/>
                    <a:pt x="0" y="480"/>
                  </a:cubicBezTo>
                  <a:lnTo>
                    <a:pt x="0" y="487"/>
                  </a:lnTo>
                  <a:lnTo>
                    <a:pt x="0" y="532"/>
                  </a:lnTo>
                  <a:lnTo>
                    <a:pt x="0" y="539"/>
                  </a:lnTo>
                  <a:cubicBezTo>
                    <a:pt x="0" y="553"/>
                    <a:pt x="0" y="567"/>
                    <a:pt x="4" y="581"/>
                  </a:cubicBezTo>
                  <a:lnTo>
                    <a:pt x="4" y="585"/>
                  </a:lnTo>
                  <a:cubicBezTo>
                    <a:pt x="4" y="599"/>
                    <a:pt x="7" y="609"/>
                    <a:pt x="11" y="620"/>
                  </a:cubicBezTo>
                  <a:cubicBezTo>
                    <a:pt x="14" y="634"/>
                    <a:pt x="18" y="644"/>
                    <a:pt x="25" y="658"/>
                  </a:cubicBezTo>
                  <a:cubicBezTo>
                    <a:pt x="25" y="662"/>
                    <a:pt x="28" y="665"/>
                    <a:pt x="32" y="669"/>
                  </a:cubicBezTo>
                  <a:cubicBezTo>
                    <a:pt x="32" y="676"/>
                    <a:pt x="39" y="686"/>
                    <a:pt x="42" y="693"/>
                  </a:cubicBezTo>
                  <a:cubicBezTo>
                    <a:pt x="49" y="700"/>
                    <a:pt x="49" y="704"/>
                    <a:pt x="53" y="707"/>
                  </a:cubicBezTo>
                  <a:cubicBezTo>
                    <a:pt x="56" y="711"/>
                    <a:pt x="63" y="721"/>
                    <a:pt x="70" y="728"/>
                  </a:cubicBezTo>
                  <a:lnTo>
                    <a:pt x="84" y="742"/>
                  </a:lnTo>
                  <a:lnTo>
                    <a:pt x="102" y="763"/>
                  </a:lnTo>
                  <a:lnTo>
                    <a:pt x="119" y="777"/>
                  </a:lnTo>
                  <a:lnTo>
                    <a:pt x="141" y="798"/>
                  </a:lnTo>
                  <a:lnTo>
                    <a:pt x="162" y="816"/>
                  </a:lnTo>
                  <a:lnTo>
                    <a:pt x="186" y="837"/>
                  </a:lnTo>
                  <a:lnTo>
                    <a:pt x="207" y="854"/>
                  </a:lnTo>
                  <a:lnTo>
                    <a:pt x="235" y="875"/>
                  </a:lnTo>
                  <a:lnTo>
                    <a:pt x="260" y="893"/>
                  </a:lnTo>
                  <a:lnTo>
                    <a:pt x="274" y="903"/>
                  </a:lnTo>
                  <a:cubicBezTo>
                    <a:pt x="288" y="900"/>
                    <a:pt x="302" y="900"/>
                    <a:pt x="316" y="896"/>
                  </a:cubicBezTo>
                  <a:lnTo>
                    <a:pt x="519" y="896"/>
                  </a:lnTo>
                  <a:cubicBezTo>
                    <a:pt x="536" y="896"/>
                    <a:pt x="550" y="896"/>
                    <a:pt x="564" y="893"/>
                  </a:cubicBezTo>
                  <a:cubicBezTo>
                    <a:pt x="578" y="889"/>
                    <a:pt x="592" y="886"/>
                    <a:pt x="606" y="882"/>
                  </a:cubicBezTo>
                  <a:cubicBezTo>
                    <a:pt x="655" y="868"/>
                    <a:pt x="701" y="837"/>
                    <a:pt x="732" y="795"/>
                  </a:cubicBezTo>
                  <a:cubicBezTo>
                    <a:pt x="760" y="764"/>
                    <a:pt x="803" y="718"/>
                    <a:pt x="859" y="718"/>
                  </a:cubicBezTo>
                  <a:cubicBezTo>
                    <a:pt x="873" y="718"/>
                    <a:pt x="888" y="721"/>
                    <a:pt x="904" y="728"/>
                  </a:cubicBezTo>
                  <a:lnTo>
                    <a:pt x="918" y="728"/>
                  </a:lnTo>
                  <a:cubicBezTo>
                    <a:pt x="995" y="718"/>
                    <a:pt x="1187" y="627"/>
                    <a:pt x="1282" y="560"/>
                  </a:cubicBezTo>
                  <a:lnTo>
                    <a:pt x="1285" y="560"/>
                  </a:lnTo>
                  <a:lnTo>
                    <a:pt x="1303" y="546"/>
                  </a:lnTo>
                  <a:lnTo>
                    <a:pt x="1306" y="543"/>
                  </a:lnTo>
                  <a:lnTo>
                    <a:pt x="1317" y="536"/>
                  </a:lnTo>
                  <a:lnTo>
                    <a:pt x="1324" y="529"/>
                  </a:lnTo>
                  <a:lnTo>
                    <a:pt x="1327" y="525"/>
                  </a:lnTo>
                  <a:lnTo>
                    <a:pt x="1324" y="525"/>
                  </a:lnTo>
                  <a:lnTo>
                    <a:pt x="1317" y="515"/>
                  </a:lnTo>
                  <a:lnTo>
                    <a:pt x="1313" y="511"/>
                  </a:lnTo>
                  <a:lnTo>
                    <a:pt x="1303" y="504"/>
                  </a:lnTo>
                  <a:cubicBezTo>
                    <a:pt x="1264" y="476"/>
                    <a:pt x="1236" y="434"/>
                    <a:pt x="1222" y="389"/>
                  </a:cubicBezTo>
                  <a:cubicBezTo>
                    <a:pt x="1219" y="378"/>
                    <a:pt x="1187" y="315"/>
                    <a:pt x="953" y="88"/>
                  </a:cubicBezTo>
                  <a:lnTo>
                    <a:pt x="939" y="74"/>
                  </a:lnTo>
                  <a:cubicBezTo>
                    <a:pt x="921" y="53"/>
                    <a:pt x="911" y="28"/>
                    <a:pt x="9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7" name="Google Shape;5067;p53"/>
            <p:cNvSpPr/>
            <p:nvPr/>
          </p:nvSpPr>
          <p:spPr>
            <a:xfrm>
              <a:off x="2198823" y="171097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8" name="Google Shape;5068;p53"/>
            <p:cNvSpPr/>
            <p:nvPr/>
          </p:nvSpPr>
          <p:spPr>
            <a:xfrm>
              <a:off x="2198728" y="17117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9" name="Google Shape;5069;p53"/>
            <p:cNvSpPr/>
            <p:nvPr/>
          </p:nvSpPr>
          <p:spPr>
            <a:xfrm>
              <a:off x="2198728" y="171391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0" name="Google Shape;5070;p53"/>
            <p:cNvSpPr/>
            <p:nvPr/>
          </p:nvSpPr>
          <p:spPr>
            <a:xfrm>
              <a:off x="2202204" y="171815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5" y="1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1" name="Google Shape;5071;p53"/>
            <p:cNvSpPr/>
            <p:nvPr/>
          </p:nvSpPr>
          <p:spPr>
            <a:xfrm>
              <a:off x="2199447" y="1715628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cubicBezTo>
                    <a:pt x="11" y="15"/>
                    <a:pt x="4" y="8"/>
                    <a:pt x="0" y="1"/>
                  </a:cubicBezTo>
                  <a:cubicBezTo>
                    <a:pt x="4" y="8"/>
                    <a:pt x="11" y="15"/>
                    <a:pt x="14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2" name="Google Shape;5072;p53"/>
            <p:cNvSpPr/>
            <p:nvPr/>
          </p:nvSpPr>
          <p:spPr>
            <a:xfrm>
              <a:off x="2198687" y="171249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ubicBezTo>
                    <a:pt x="0" y="1"/>
                    <a:pt x="0" y="8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3" name="Google Shape;5073;p53"/>
            <p:cNvSpPr/>
            <p:nvPr/>
          </p:nvSpPr>
          <p:spPr>
            <a:xfrm>
              <a:off x="2199828" y="1716103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4" name="Google Shape;5074;p53"/>
            <p:cNvSpPr/>
            <p:nvPr/>
          </p:nvSpPr>
          <p:spPr>
            <a:xfrm>
              <a:off x="2198687" y="17133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5" name="Google Shape;5075;p53"/>
            <p:cNvSpPr/>
            <p:nvPr/>
          </p:nvSpPr>
          <p:spPr>
            <a:xfrm>
              <a:off x="2201538" y="171758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29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6" name="Google Shape;5076;p53"/>
            <p:cNvSpPr/>
            <p:nvPr/>
          </p:nvSpPr>
          <p:spPr>
            <a:xfrm>
              <a:off x="2198918" y="170998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7" name="Google Shape;5077;p53"/>
            <p:cNvSpPr/>
            <p:nvPr/>
          </p:nvSpPr>
          <p:spPr>
            <a:xfrm>
              <a:off x="2200873" y="1717108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8" name="Google Shape;5078;p53"/>
            <p:cNvSpPr/>
            <p:nvPr/>
          </p:nvSpPr>
          <p:spPr>
            <a:xfrm>
              <a:off x="2198823" y="1714447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15" y="39"/>
                  </a:moveTo>
                  <a:cubicBezTo>
                    <a:pt x="8" y="25"/>
                    <a:pt x="4" y="14"/>
                    <a:pt x="1" y="0"/>
                  </a:cubicBezTo>
                  <a:cubicBezTo>
                    <a:pt x="4" y="14"/>
                    <a:pt x="8" y="25"/>
                    <a:pt x="15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9" name="Google Shape;5079;p53"/>
            <p:cNvSpPr/>
            <p:nvPr/>
          </p:nvSpPr>
          <p:spPr>
            <a:xfrm>
              <a:off x="2200343" y="1716578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0" name="Google Shape;5080;p53"/>
            <p:cNvSpPr/>
            <p:nvPr/>
          </p:nvSpPr>
          <p:spPr>
            <a:xfrm>
              <a:off x="2199108" y="170902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1" name="Google Shape;5081;p53"/>
            <p:cNvSpPr/>
            <p:nvPr/>
          </p:nvSpPr>
          <p:spPr>
            <a:xfrm>
              <a:off x="2199108" y="1715112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5" y="25"/>
                  </a:moveTo>
                  <a:cubicBezTo>
                    <a:pt x="8" y="18"/>
                    <a:pt x="4" y="7"/>
                    <a:pt x="1" y="0"/>
                  </a:cubicBezTo>
                  <a:cubicBezTo>
                    <a:pt x="4" y="7"/>
                    <a:pt x="8" y="18"/>
                    <a:pt x="1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2" name="Google Shape;5082;p53"/>
            <p:cNvSpPr/>
            <p:nvPr/>
          </p:nvSpPr>
          <p:spPr>
            <a:xfrm>
              <a:off x="2199352" y="17082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3" name="Google Shape;5083;p53"/>
            <p:cNvSpPr/>
            <p:nvPr/>
          </p:nvSpPr>
          <p:spPr>
            <a:xfrm>
              <a:off x="2216609" y="171296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4" name="Google Shape;5084;p53"/>
            <p:cNvSpPr/>
            <p:nvPr/>
          </p:nvSpPr>
          <p:spPr>
            <a:xfrm>
              <a:off x="2216745" y="171311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5" name="Google Shape;5085;p53"/>
            <p:cNvSpPr/>
            <p:nvPr/>
          </p:nvSpPr>
          <p:spPr>
            <a:xfrm>
              <a:off x="2211097" y="1705988"/>
              <a:ext cx="434" cy="1005"/>
            </a:xfrm>
            <a:custGeom>
              <a:avLst/>
              <a:gdLst/>
              <a:ahLst/>
              <a:cxnLst/>
              <a:rect l="l" t="t" r="r" b="b"/>
              <a:pathLst>
                <a:path w="32" h="74" extrusionOk="0">
                  <a:moveTo>
                    <a:pt x="32" y="74"/>
                  </a:moveTo>
                  <a:cubicBezTo>
                    <a:pt x="14" y="53"/>
                    <a:pt x="4" y="28"/>
                    <a:pt x="0" y="0"/>
                  </a:cubicBezTo>
                  <a:lnTo>
                    <a:pt x="0" y="0"/>
                  </a:lnTo>
                  <a:cubicBezTo>
                    <a:pt x="4" y="28"/>
                    <a:pt x="14" y="53"/>
                    <a:pt x="32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6" name="Google Shape;5086;p53"/>
            <p:cNvSpPr/>
            <p:nvPr/>
          </p:nvSpPr>
          <p:spPr>
            <a:xfrm>
              <a:off x="2211572" y="1611095"/>
              <a:ext cx="130385" cy="74283"/>
            </a:xfrm>
            <a:custGeom>
              <a:avLst/>
              <a:gdLst/>
              <a:ahLst/>
              <a:cxnLst/>
              <a:rect l="l" t="t" r="r" b="b"/>
              <a:pathLst>
                <a:path w="9603" h="5471" extrusionOk="0">
                  <a:moveTo>
                    <a:pt x="6047" y="1"/>
                  </a:moveTo>
                  <a:cubicBezTo>
                    <a:pt x="5989" y="1"/>
                    <a:pt x="5932" y="7"/>
                    <a:pt x="5896" y="19"/>
                  </a:cubicBezTo>
                  <a:lnTo>
                    <a:pt x="5885" y="23"/>
                  </a:lnTo>
                  <a:cubicBezTo>
                    <a:pt x="5868" y="30"/>
                    <a:pt x="5850" y="33"/>
                    <a:pt x="5833" y="37"/>
                  </a:cubicBezTo>
                  <a:cubicBezTo>
                    <a:pt x="5819" y="37"/>
                    <a:pt x="5805" y="38"/>
                    <a:pt x="5791" y="38"/>
                  </a:cubicBezTo>
                  <a:cubicBezTo>
                    <a:pt x="5754" y="38"/>
                    <a:pt x="5718" y="35"/>
                    <a:pt x="5682" y="30"/>
                  </a:cubicBezTo>
                  <a:cubicBezTo>
                    <a:pt x="5652" y="25"/>
                    <a:pt x="5613" y="21"/>
                    <a:pt x="5581" y="21"/>
                  </a:cubicBezTo>
                  <a:cubicBezTo>
                    <a:pt x="5558" y="21"/>
                    <a:pt x="5538" y="24"/>
                    <a:pt x="5528" y="30"/>
                  </a:cubicBezTo>
                  <a:cubicBezTo>
                    <a:pt x="5504" y="44"/>
                    <a:pt x="5483" y="58"/>
                    <a:pt x="5465" y="75"/>
                  </a:cubicBezTo>
                  <a:cubicBezTo>
                    <a:pt x="5405" y="135"/>
                    <a:pt x="5325" y="170"/>
                    <a:pt x="5241" y="173"/>
                  </a:cubicBezTo>
                  <a:cubicBezTo>
                    <a:pt x="5206" y="173"/>
                    <a:pt x="5174" y="170"/>
                    <a:pt x="5139" y="159"/>
                  </a:cubicBezTo>
                  <a:cubicBezTo>
                    <a:pt x="5115" y="152"/>
                    <a:pt x="5090" y="138"/>
                    <a:pt x="5069" y="121"/>
                  </a:cubicBezTo>
                  <a:lnTo>
                    <a:pt x="5038" y="142"/>
                  </a:lnTo>
                  <a:lnTo>
                    <a:pt x="5031" y="142"/>
                  </a:lnTo>
                  <a:lnTo>
                    <a:pt x="4992" y="152"/>
                  </a:lnTo>
                  <a:lnTo>
                    <a:pt x="4985" y="152"/>
                  </a:lnTo>
                  <a:lnTo>
                    <a:pt x="4947" y="159"/>
                  </a:lnTo>
                  <a:lnTo>
                    <a:pt x="4940" y="159"/>
                  </a:lnTo>
                  <a:lnTo>
                    <a:pt x="4901" y="166"/>
                  </a:lnTo>
                  <a:lnTo>
                    <a:pt x="4863" y="173"/>
                  </a:lnTo>
                  <a:lnTo>
                    <a:pt x="4859" y="173"/>
                  </a:lnTo>
                  <a:lnTo>
                    <a:pt x="4828" y="177"/>
                  </a:lnTo>
                  <a:lnTo>
                    <a:pt x="4821" y="177"/>
                  </a:lnTo>
                  <a:lnTo>
                    <a:pt x="4796" y="180"/>
                  </a:lnTo>
                  <a:lnTo>
                    <a:pt x="4772" y="180"/>
                  </a:lnTo>
                  <a:cubicBezTo>
                    <a:pt x="4625" y="299"/>
                    <a:pt x="4495" y="432"/>
                    <a:pt x="4488" y="474"/>
                  </a:cubicBezTo>
                  <a:cubicBezTo>
                    <a:pt x="4488" y="670"/>
                    <a:pt x="4436" y="712"/>
                    <a:pt x="4401" y="730"/>
                  </a:cubicBezTo>
                  <a:lnTo>
                    <a:pt x="4387" y="733"/>
                  </a:lnTo>
                  <a:lnTo>
                    <a:pt x="4341" y="733"/>
                  </a:lnTo>
                  <a:lnTo>
                    <a:pt x="4331" y="730"/>
                  </a:lnTo>
                  <a:lnTo>
                    <a:pt x="4324" y="726"/>
                  </a:lnTo>
                  <a:lnTo>
                    <a:pt x="4306" y="719"/>
                  </a:lnTo>
                  <a:lnTo>
                    <a:pt x="4303" y="712"/>
                  </a:lnTo>
                  <a:cubicBezTo>
                    <a:pt x="4292" y="709"/>
                    <a:pt x="4285" y="702"/>
                    <a:pt x="4278" y="695"/>
                  </a:cubicBezTo>
                  <a:cubicBezTo>
                    <a:pt x="4248" y="664"/>
                    <a:pt x="4134" y="649"/>
                    <a:pt x="4030" y="649"/>
                  </a:cubicBezTo>
                  <a:cubicBezTo>
                    <a:pt x="3955" y="649"/>
                    <a:pt x="3885" y="657"/>
                    <a:pt x="3858" y="674"/>
                  </a:cubicBezTo>
                  <a:cubicBezTo>
                    <a:pt x="3839" y="685"/>
                    <a:pt x="3820" y="689"/>
                    <a:pt x="3802" y="689"/>
                  </a:cubicBezTo>
                  <a:cubicBezTo>
                    <a:pt x="3749" y="689"/>
                    <a:pt x="3699" y="651"/>
                    <a:pt x="3655" y="618"/>
                  </a:cubicBezTo>
                  <a:cubicBezTo>
                    <a:pt x="3599" y="575"/>
                    <a:pt x="3564" y="552"/>
                    <a:pt x="3534" y="552"/>
                  </a:cubicBezTo>
                  <a:cubicBezTo>
                    <a:pt x="3522" y="552"/>
                    <a:pt x="3512" y="555"/>
                    <a:pt x="3501" y="562"/>
                  </a:cubicBezTo>
                  <a:cubicBezTo>
                    <a:pt x="3465" y="581"/>
                    <a:pt x="3428" y="589"/>
                    <a:pt x="3391" y="589"/>
                  </a:cubicBezTo>
                  <a:cubicBezTo>
                    <a:pt x="3316" y="589"/>
                    <a:pt x="3245" y="558"/>
                    <a:pt x="3193" y="537"/>
                  </a:cubicBezTo>
                  <a:lnTo>
                    <a:pt x="3161" y="523"/>
                  </a:lnTo>
                  <a:cubicBezTo>
                    <a:pt x="3151" y="537"/>
                    <a:pt x="3137" y="548"/>
                    <a:pt x="3123" y="558"/>
                  </a:cubicBezTo>
                  <a:cubicBezTo>
                    <a:pt x="3102" y="569"/>
                    <a:pt x="3075" y="574"/>
                    <a:pt x="3045" y="574"/>
                  </a:cubicBezTo>
                  <a:cubicBezTo>
                    <a:pt x="2942" y="574"/>
                    <a:pt x="2801" y="519"/>
                    <a:pt x="2717" y="481"/>
                  </a:cubicBezTo>
                  <a:cubicBezTo>
                    <a:pt x="2668" y="468"/>
                    <a:pt x="2616" y="461"/>
                    <a:pt x="2566" y="461"/>
                  </a:cubicBezTo>
                  <a:cubicBezTo>
                    <a:pt x="2548" y="461"/>
                    <a:pt x="2531" y="462"/>
                    <a:pt x="2514" y="464"/>
                  </a:cubicBezTo>
                  <a:cubicBezTo>
                    <a:pt x="2490" y="464"/>
                    <a:pt x="2466" y="465"/>
                    <a:pt x="2442" y="465"/>
                  </a:cubicBezTo>
                  <a:cubicBezTo>
                    <a:pt x="2344" y="465"/>
                    <a:pt x="2251" y="453"/>
                    <a:pt x="2192" y="383"/>
                  </a:cubicBezTo>
                  <a:cubicBezTo>
                    <a:pt x="2178" y="369"/>
                    <a:pt x="2118" y="331"/>
                    <a:pt x="1842" y="310"/>
                  </a:cubicBezTo>
                  <a:lnTo>
                    <a:pt x="1758" y="303"/>
                  </a:lnTo>
                  <a:cubicBezTo>
                    <a:pt x="1642" y="296"/>
                    <a:pt x="1495" y="292"/>
                    <a:pt x="1306" y="292"/>
                  </a:cubicBezTo>
                  <a:cubicBezTo>
                    <a:pt x="1166" y="292"/>
                    <a:pt x="1117" y="348"/>
                    <a:pt x="1050" y="425"/>
                  </a:cubicBezTo>
                  <a:cubicBezTo>
                    <a:pt x="1033" y="446"/>
                    <a:pt x="1015" y="464"/>
                    <a:pt x="998" y="485"/>
                  </a:cubicBezTo>
                  <a:cubicBezTo>
                    <a:pt x="984" y="495"/>
                    <a:pt x="973" y="506"/>
                    <a:pt x="959" y="516"/>
                  </a:cubicBezTo>
                  <a:lnTo>
                    <a:pt x="949" y="523"/>
                  </a:lnTo>
                  <a:cubicBezTo>
                    <a:pt x="942" y="527"/>
                    <a:pt x="931" y="534"/>
                    <a:pt x="924" y="537"/>
                  </a:cubicBezTo>
                  <a:lnTo>
                    <a:pt x="910" y="544"/>
                  </a:lnTo>
                  <a:lnTo>
                    <a:pt x="886" y="555"/>
                  </a:lnTo>
                  <a:lnTo>
                    <a:pt x="872" y="558"/>
                  </a:lnTo>
                  <a:lnTo>
                    <a:pt x="851" y="565"/>
                  </a:lnTo>
                  <a:lnTo>
                    <a:pt x="837" y="569"/>
                  </a:lnTo>
                  <a:lnTo>
                    <a:pt x="809" y="572"/>
                  </a:lnTo>
                  <a:lnTo>
                    <a:pt x="732" y="572"/>
                  </a:lnTo>
                  <a:cubicBezTo>
                    <a:pt x="735" y="597"/>
                    <a:pt x="746" y="625"/>
                    <a:pt x="756" y="649"/>
                  </a:cubicBezTo>
                  <a:cubicBezTo>
                    <a:pt x="795" y="705"/>
                    <a:pt x="826" y="758"/>
                    <a:pt x="854" y="803"/>
                  </a:cubicBezTo>
                  <a:cubicBezTo>
                    <a:pt x="1015" y="1083"/>
                    <a:pt x="1005" y="1188"/>
                    <a:pt x="984" y="1234"/>
                  </a:cubicBezTo>
                  <a:cubicBezTo>
                    <a:pt x="980" y="1237"/>
                    <a:pt x="980" y="1244"/>
                    <a:pt x="977" y="1251"/>
                  </a:cubicBezTo>
                  <a:cubicBezTo>
                    <a:pt x="938" y="1314"/>
                    <a:pt x="882" y="1363"/>
                    <a:pt x="816" y="1391"/>
                  </a:cubicBezTo>
                  <a:cubicBezTo>
                    <a:pt x="781" y="1405"/>
                    <a:pt x="753" y="1430"/>
                    <a:pt x="725" y="1454"/>
                  </a:cubicBezTo>
                  <a:cubicBezTo>
                    <a:pt x="697" y="1489"/>
                    <a:pt x="627" y="1556"/>
                    <a:pt x="539" y="1636"/>
                  </a:cubicBezTo>
                  <a:cubicBezTo>
                    <a:pt x="434" y="1738"/>
                    <a:pt x="259" y="1902"/>
                    <a:pt x="231" y="1952"/>
                  </a:cubicBezTo>
                  <a:cubicBezTo>
                    <a:pt x="235" y="1983"/>
                    <a:pt x="238" y="2018"/>
                    <a:pt x="245" y="2050"/>
                  </a:cubicBezTo>
                  <a:cubicBezTo>
                    <a:pt x="256" y="2113"/>
                    <a:pt x="263" y="2176"/>
                    <a:pt x="266" y="2239"/>
                  </a:cubicBezTo>
                  <a:lnTo>
                    <a:pt x="294" y="2242"/>
                  </a:lnTo>
                  <a:lnTo>
                    <a:pt x="249" y="2316"/>
                  </a:lnTo>
                  <a:cubicBezTo>
                    <a:pt x="245" y="2323"/>
                    <a:pt x="242" y="2330"/>
                    <a:pt x="238" y="2340"/>
                  </a:cubicBezTo>
                  <a:lnTo>
                    <a:pt x="224" y="2365"/>
                  </a:lnTo>
                  <a:lnTo>
                    <a:pt x="214" y="2365"/>
                  </a:lnTo>
                  <a:cubicBezTo>
                    <a:pt x="158" y="2410"/>
                    <a:pt x="18" y="2620"/>
                    <a:pt x="0" y="2697"/>
                  </a:cubicBezTo>
                  <a:cubicBezTo>
                    <a:pt x="0" y="2701"/>
                    <a:pt x="0" y="2708"/>
                    <a:pt x="0" y="2711"/>
                  </a:cubicBezTo>
                  <a:cubicBezTo>
                    <a:pt x="0" y="2718"/>
                    <a:pt x="4" y="2725"/>
                    <a:pt x="4" y="2732"/>
                  </a:cubicBezTo>
                  <a:lnTo>
                    <a:pt x="4" y="2739"/>
                  </a:lnTo>
                  <a:cubicBezTo>
                    <a:pt x="7" y="2746"/>
                    <a:pt x="11" y="2750"/>
                    <a:pt x="14" y="2757"/>
                  </a:cubicBezTo>
                  <a:lnTo>
                    <a:pt x="21" y="2767"/>
                  </a:lnTo>
                  <a:cubicBezTo>
                    <a:pt x="25" y="2774"/>
                    <a:pt x="28" y="2781"/>
                    <a:pt x="35" y="2792"/>
                  </a:cubicBezTo>
                  <a:lnTo>
                    <a:pt x="42" y="2802"/>
                  </a:lnTo>
                  <a:lnTo>
                    <a:pt x="56" y="2816"/>
                  </a:lnTo>
                  <a:lnTo>
                    <a:pt x="67" y="2830"/>
                  </a:lnTo>
                  <a:lnTo>
                    <a:pt x="70" y="2834"/>
                  </a:lnTo>
                  <a:lnTo>
                    <a:pt x="91" y="2851"/>
                  </a:lnTo>
                  <a:cubicBezTo>
                    <a:pt x="105" y="2865"/>
                    <a:pt x="123" y="2876"/>
                    <a:pt x="140" y="2886"/>
                  </a:cubicBezTo>
                  <a:lnTo>
                    <a:pt x="147" y="2893"/>
                  </a:lnTo>
                  <a:lnTo>
                    <a:pt x="165" y="2904"/>
                  </a:lnTo>
                  <a:cubicBezTo>
                    <a:pt x="175" y="2907"/>
                    <a:pt x="186" y="2911"/>
                    <a:pt x="196" y="2918"/>
                  </a:cubicBezTo>
                  <a:cubicBezTo>
                    <a:pt x="207" y="2921"/>
                    <a:pt x="217" y="2925"/>
                    <a:pt x="228" y="2928"/>
                  </a:cubicBezTo>
                  <a:lnTo>
                    <a:pt x="245" y="2939"/>
                  </a:lnTo>
                  <a:lnTo>
                    <a:pt x="252" y="2942"/>
                  </a:lnTo>
                  <a:cubicBezTo>
                    <a:pt x="266" y="2949"/>
                    <a:pt x="280" y="2960"/>
                    <a:pt x="294" y="2970"/>
                  </a:cubicBezTo>
                  <a:lnTo>
                    <a:pt x="340" y="2967"/>
                  </a:lnTo>
                  <a:lnTo>
                    <a:pt x="343" y="2967"/>
                  </a:lnTo>
                  <a:lnTo>
                    <a:pt x="389" y="2963"/>
                  </a:lnTo>
                  <a:lnTo>
                    <a:pt x="396" y="2963"/>
                  </a:lnTo>
                  <a:lnTo>
                    <a:pt x="434" y="2960"/>
                  </a:lnTo>
                  <a:lnTo>
                    <a:pt x="473" y="2960"/>
                  </a:lnTo>
                  <a:cubicBezTo>
                    <a:pt x="557" y="2967"/>
                    <a:pt x="641" y="2984"/>
                    <a:pt x="721" y="3005"/>
                  </a:cubicBezTo>
                  <a:cubicBezTo>
                    <a:pt x="819" y="3030"/>
                    <a:pt x="921" y="3047"/>
                    <a:pt x="1022" y="3058"/>
                  </a:cubicBezTo>
                  <a:cubicBezTo>
                    <a:pt x="1141" y="3058"/>
                    <a:pt x="1327" y="3107"/>
                    <a:pt x="1394" y="3173"/>
                  </a:cubicBezTo>
                  <a:cubicBezTo>
                    <a:pt x="1396" y="3176"/>
                    <a:pt x="1402" y="3177"/>
                    <a:pt x="1410" y="3177"/>
                  </a:cubicBezTo>
                  <a:cubicBezTo>
                    <a:pt x="1436" y="3177"/>
                    <a:pt x="1490" y="3161"/>
                    <a:pt x="1544" y="3107"/>
                  </a:cubicBezTo>
                  <a:cubicBezTo>
                    <a:pt x="1576" y="3075"/>
                    <a:pt x="1614" y="3054"/>
                    <a:pt x="1660" y="3047"/>
                  </a:cubicBezTo>
                  <a:cubicBezTo>
                    <a:pt x="1680" y="3044"/>
                    <a:pt x="1700" y="3042"/>
                    <a:pt x="1719" y="3042"/>
                  </a:cubicBezTo>
                  <a:cubicBezTo>
                    <a:pt x="1744" y="3042"/>
                    <a:pt x="1768" y="3045"/>
                    <a:pt x="1793" y="3051"/>
                  </a:cubicBezTo>
                  <a:cubicBezTo>
                    <a:pt x="1814" y="3054"/>
                    <a:pt x="1838" y="3054"/>
                    <a:pt x="1863" y="3058"/>
                  </a:cubicBezTo>
                  <a:cubicBezTo>
                    <a:pt x="1940" y="3058"/>
                    <a:pt x="2080" y="2984"/>
                    <a:pt x="2115" y="2925"/>
                  </a:cubicBezTo>
                  <a:cubicBezTo>
                    <a:pt x="2132" y="2897"/>
                    <a:pt x="2167" y="2865"/>
                    <a:pt x="2293" y="2813"/>
                  </a:cubicBezTo>
                  <a:lnTo>
                    <a:pt x="2304" y="2809"/>
                  </a:lnTo>
                  <a:lnTo>
                    <a:pt x="2339" y="2799"/>
                  </a:lnTo>
                  <a:lnTo>
                    <a:pt x="2374" y="2785"/>
                  </a:lnTo>
                  <a:cubicBezTo>
                    <a:pt x="2398" y="2778"/>
                    <a:pt x="2426" y="2771"/>
                    <a:pt x="2451" y="2760"/>
                  </a:cubicBezTo>
                  <a:lnTo>
                    <a:pt x="2468" y="2757"/>
                  </a:lnTo>
                  <a:lnTo>
                    <a:pt x="2521" y="2739"/>
                  </a:lnTo>
                  <a:cubicBezTo>
                    <a:pt x="2615" y="2711"/>
                    <a:pt x="2713" y="2690"/>
                    <a:pt x="2811" y="2673"/>
                  </a:cubicBezTo>
                  <a:lnTo>
                    <a:pt x="2825" y="2673"/>
                  </a:lnTo>
                  <a:cubicBezTo>
                    <a:pt x="2833" y="2672"/>
                    <a:pt x="2841" y="2671"/>
                    <a:pt x="2848" y="2671"/>
                  </a:cubicBezTo>
                  <a:cubicBezTo>
                    <a:pt x="2938" y="2671"/>
                    <a:pt x="3025" y="2745"/>
                    <a:pt x="3116" y="2813"/>
                  </a:cubicBezTo>
                  <a:cubicBezTo>
                    <a:pt x="3165" y="2855"/>
                    <a:pt x="3238" y="2914"/>
                    <a:pt x="3270" y="2914"/>
                  </a:cubicBezTo>
                  <a:cubicBezTo>
                    <a:pt x="3480" y="2918"/>
                    <a:pt x="3662" y="3058"/>
                    <a:pt x="3725" y="3257"/>
                  </a:cubicBezTo>
                  <a:cubicBezTo>
                    <a:pt x="3739" y="3299"/>
                    <a:pt x="3757" y="3341"/>
                    <a:pt x="3778" y="3383"/>
                  </a:cubicBezTo>
                  <a:cubicBezTo>
                    <a:pt x="3816" y="3460"/>
                    <a:pt x="3858" y="3534"/>
                    <a:pt x="3907" y="3604"/>
                  </a:cubicBezTo>
                  <a:cubicBezTo>
                    <a:pt x="3928" y="3635"/>
                    <a:pt x="3953" y="3663"/>
                    <a:pt x="3974" y="3691"/>
                  </a:cubicBezTo>
                  <a:lnTo>
                    <a:pt x="3995" y="3716"/>
                  </a:lnTo>
                  <a:cubicBezTo>
                    <a:pt x="4009" y="3733"/>
                    <a:pt x="4019" y="3751"/>
                    <a:pt x="4033" y="3761"/>
                  </a:cubicBezTo>
                  <a:lnTo>
                    <a:pt x="4047" y="3779"/>
                  </a:lnTo>
                  <a:cubicBezTo>
                    <a:pt x="4145" y="3877"/>
                    <a:pt x="4198" y="4105"/>
                    <a:pt x="4198" y="4182"/>
                  </a:cubicBezTo>
                  <a:cubicBezTo>
                    <a:pt x="4198" y="4210"/>
                    <a:pt x="4184" y="4234"/>
                    <a:pt x="4163" y="4252"/>
                  </a:cubicBezTo>
                  <a:cubicBezTo>
                    <a:pt x="4144" y="4265"/>
                    <a:pt x="4123" y="4271"/>
                    <a:pt x="4098" y="4271"/>
                  </a:cubicBezTo>
                  <a:cubicBezTo>
                    <a:pt x="4051" y="4271"/>
                    <a:pt x="3989" y="4251"/>
                    <a:pt x="3900" y="4224"/>
                  </a:cubicBezTo>
                  <a:cubicBezTo>
                    <a:pt x="3851" y="4210"/>
                    <a:pt x="3795" y="4192"/>
                    <a:pt x="3743" y="4182"/>
                  </a:cubicBezTo>
                  <a:cubicBezTo>
                    <a:pt x="3730" y="4177"/>
                    <a:pt x="3717" y="4174"/>
                    <a:pt x="3705" y="4174"/>
                  </a:cubicBezTo>
                  <a:cubicBezTo>
                    <a:pt x="3688" y="4174"/>
                    <a:pt x="3672" y="4179"/>
                    <a:pt x="3659" y="4189"/>
                  </a:cubicBezTo>
                  <a:cubicBezTo>
                    <a:pt x="3641" y="4203"/>
                    <a:pt x="3617" y="4241"/>
                    <a:pt x="3617" y="4360"/>
                  </a:cubicBezTo>
                  <a:cubicBezTo>
                    <a:pt x="3617" y="4437"/>
                    <a:pt x="3533" y="4574"/>
                    <a:pt x="3312" y="4857"/>
                  </a:cubicBezTo>
                  <a:lnTo>
                    <a:pt x="3294" y="4882"/>
                  </a:lnTo>
                  <a:lnTo>
                    <a:pt x="3308" y="4889"/>
                  </a:lnTo>
                  <a:lnTo>
                    <a:pt x="3315" y="4892"/>
                  </a:lnTo>
                  <a:cubicBezTo>
                    <a:pt x="3340" y="4903"/>
                    <a:pt x="3365" y="4910"/>
                    <a:pt x="3386" y="4913"/>
                  </a:cubicBezTo>
                  <a:lnTo>
                    <a:pt x="3389" y="4913"/>
                  </a:lnTo>
                  <a:cubicBezTo>
                    <a:pt x="3407" y="4917"/>
                    <a:pt x="3424" y="4920"/>
                    <a:pt x="3442" y="4924"/>
                  </a:cubicBezTo>
                  <a:cubicBezTo>
                    <a:pt x="3480" y="4910"/>
                    <a:pt x="3515" y="4892"/>
                    <a:pt x="3550" y="4871"/>
                  </a:cubicBezTo>
                  <a:cubicBezTo>
                    <a:pt x="3638" y="4822"/>
                    <a:pt x="3697" y="4794"/>
                    <a:pt x="3743" y="4794"/>
                  </a:cubicBezTo>
                  <a:lnTo>
                    <a:pt x="3760" y="4794"/>
                  </a:lnTo>
                  <a:lnTo>
                    <a:pt x="3771" y="4798"/>
                  </a:lnTo>
                  <a:lnTo>
                    <a:pt x="3774" y="4798"/>
                  </a:lnTo>
                  <a:lnTo>
                    <a:pt x="3785" y="4801"/>
                  </a:lnTo>
                  <a:lnTo>
                    <a:pt x="3799" y="4808"/>
                  </a:lnTo>
                  <a:lnTo>
                    <a:pt x="3802" y="4808"/>
                  </a:lnTo>
                  <a:lnTo>
                    <a:pt x="3820" y="4815"/>
                  </a:lnTo>
                  <a:lnTo>
                    <a:pt x="3823" y="4819"/>
                  </a:lnTo>
                  <a:lnTo>
                    <a:pt x="3841" y="4833"/>
                  </a:lnTo>
                  <a:lnTo>
                    <a:pt x="3844" y="4833"/>
                  </a:lnTo>
                  <a:lnTo>
                    <a:pt x="3865" y="4850"/>
                  </a:lnTo>
                  <a:lnTo>
                    <a:pt x="3869" y="4850"/>
                  </a:lnTo>
                  <a:cubicBezTo>
                    <a:pt x="3883" y="4728"/>
                    <a:pt x="3939" y="4682"/>
                    <a:pt x="4061" y="4595"/>
                  </a:cubicBezTo>
                  <a:cubicBezTo>
                    <a:pt x="4089" y="4574"/>
                    <a:pt x="4121" y="4553"/>
                    <a:pt x="4156" y="4525"/>
                  </a:cubicBezTo>
                  <a:cubicBezTo>
                    <a:pt x="4254" y="4451"/>
                    <a:pt x="4310" y="4346"/>
                    <a:pt x="4366" y="4245"/>
                  </a:cubicBezTo>
                  <a:cubicBezTo>
                    <a:pt x="4439" y="4115"/>
                    <a:pt x="4509" y="3992"/>
                    <a:pt x="4653" y="3964"/>
                  </a:cubicBezTo>
                  <a:cubicBezTo>
                    <a:pt x="4705" y="3950"/>
                    <a:pt x="4761" y="3936"/>
                    <a:pt x="4814" y="3919"/>
                  </a:cubicBezTo>
                  <a:cubicBezTo>
                    <a:pt x="4910" y="3880"/>
                    <a:pt x="5014" y="3861"/>
                    <a:pt x="5117" y="3861"/>
                  </a:cubicBezTo>
                  <a:cubicBezTo>
                    <a:pt x="5172" y="3861"/>
                    <a:pt x="5226" y="3866"/>
                    <a:pt x="5279" y="3877"/>
                  </a:cubicBezTo>
                  <a:cubicBezTo>
                    <a:pt x="5335" y="3884"/>
                    <a:pt x="5412" y="3901"/>
                    <a:pt x="5437" y="3964"/>
                  </a:cubicBezTo>
                  <a:cubicBezTo>
                    <a:pt x="5462" y="4028"/>
                    <a:pt x="5419" y="4091"/>
                    <a:pt x="5381" y="4140"/>
                  </a:cubicBezTo>
                  <a:cubicBezTo>
                    <a:pt x="5367" y="4161"/>
                    <a:pt x="5332" y="4206"/>
                    <a:pt x="5335" y="4220"/>
                  </a:cubicBezTo>
                  <a:cubicBezTo>
                    <a:pt x="5335" y="4220"/>
                    <a:pt x="5339" y="4227"/>
                    <a:pt x="5356" y="4238"/>
                  </a:cubicBezTo>
                  <a:cubicBezTo>
                    <a:pt x="5422" y="4270"/>
                    <a:pt x="5548" y="4277"/>
                    <a:pt x="5678" y="4277"/>
                  </a:cubicBezTo>
                  <a:cubicBezTo>
                    <a:pt x="5716" y="4277"/>
                    <a:pt x="5754" y="4277"/>
                    <a:pt x="5791" y="4276"/>
                  </a:cubicBezTo>
                  <a:cubicBezTo>
                    <a:pt x="5831" y="4276"/>
                    <a:pt x="5869" y="4275"/>
                    <a:pt x="5906" y="4275"/>
                  </a:cubicBezTo>
                  <a:cubicBezTo>
                    <a:pt x="6108" y="4275"/>
                    <a:pt x="6257" y="4291"/>
                    <a:pt x="6281" y="4413"/>
                  </a:cubicBezTo>
                  <a:cubicBezTo>
                    <a:pt x="6312" y="4563"/>
                    <a:pt x="6057" y="4654"/>
                    <a:pt x="5784" y="4756"/>
                  </a:cubicBezTo>
                  <a:cubicBezTo>
                    <a:pt x="5721" y="4777"/>
                    <a:pt x="5640" y="4808"/>
                    <a:pt x="5591" y="4829"/>
                  </a:cubicBezTo>
                  <a:cubicBezTo>
                    <a:pt x="5644" y="4854"/>
                    <a:pt x="5731" y="4885"/>
                    <a:pt x="5794" y="4906"/>
                  </a:cubicBezTo>
                  <a:cubicBezTo>
                    <a:pt x="5892" y="4938"/>
                    <a:pt x="5983" y="4976"/>
                    <a:pt x="6074" y="5025"/>
                  </a:cubicBezTo>
                  <a:cubicBezTo>
                    <a:pt x="6193" y="5102"/>
                    <a:pt x="6158" y="5242"/>
                    <a:pt x="6134" y="5347"/>
                  </a:cubicBezTo>
                  <a:cubicBezTo>
                    <a:pt x="6120" y="5382"/>
                    <a:pt x="6116" y="5421"/>
                    <a:pt x="6116" y="5459"/>
                  </a:cubicBezTo>
                  <a:cubicBezTo>
                    <a:pt x="6121" y="5466"/>
                    <a:pt x="6135" y="5470"/>
                    <a:pt x="6156" y="5470"/>
                  </a:cubicBezTo>
                  <a:cubicBezTo>
                    <a:pt x="6217" y="5470"/>
                    <a:pt x="6338" y="5435"/>
                    <a:pt x="6470" y="5340"/>
                  </a:cubicBezTo>
                  <a:cubicBezTo>
                    <a:pt x="6547" y="5288"/>
                    <a:pt x="6634" y="5249"/>
                    <a:pt x="6725" y="5228"/>
                  </a:cubicBezTo>
                  <a:cubicBezTo>
                    <a:pt x="6823" y="5207"/>
                    <a:pt x="6914" y="5165"/>
                    <a:pt x="6998" y="5113"/>
                  </a:cubicBezTo>
                  <a:cubicBezTo>
                    <a:pt x="7108" y="5039"/>
                    <a:pt x="7260" y="5027"/>
                    <a:pt x="7401" y="5027"/>
                  </a:cubicBezTo>
                  <a:cubicBezTo>
                    <a:pt x="7441" y="5027"/>
                    <a:pt x="7480" y="5028"/>
                    <a:pt x="7517" y="5029"/>
                  </a:cubicBezTo>
                  <a:cubicBezTo>
                    <a:pt x="7541" y="5030"/>
                    <a:pt x="7565" y="5031"/>
                    <a:pt x="7589" y="5031"/>
                  </a:cubicBezTo>
                  <a:cubicBezTo>
                    <a:pt x="7623" y="5031"/>
                    <a:pt x="7657" y="5029"/>
                    <a:pt x="7692" y="5025"/>
                  </a:cubicBezTo>
                  <a:cubicBezTo>
                    <a:pt x="7656" y="5006"/>
                    <a:pt x="7566" y="4976"/>
                    <a:pt x="7384" y="4976"/>
                  </a:cubicBezTo>
                  <a:cubicBezTo>
                    <a:pt x="7335" y="4976"/>
                    <a:pt x="7279" y="4978"/>
                    <a:pt x="7215" y="4983"/>
                  </a:cubicBezTo>
                  <a:cubicBezTo>
                    <a:pt x="7195" y="4986"/>
                    <a:pt x="7174" y="4987"/>
                    <a:pt x="7154" y="4987"/>
                  </a:cubicBezTo>
                  <a:cubicBezTo>
                    <a:pt x="7045" y="4987"/>
                    <a:pt x="6937" y="4948"/>
                    <a:pt x="6855" y="4875"/>
                  </a:cubicBezTo>
                  <a:cubicBezTo>
                    <a:pt x="6711" y="4745"/>
                    <a:pt x="6701" y="4532"/>
                    <a:pt x="6701" y="4472"/>
                  </a:cubicBezTo>
                  <a:cubicBezTo>
                    <a:pt x="6701" y="4332"/>
                    <a:pt x="7201" y="3992"/>
                    <a:pt x="7446" y="3971"/>
                  </a:cubicBezTo>
                  <a:cubicBezTo>
                    <a:pt x="7692" y="3947"/>
                    <a:pt x="7895" y="3873"/>
                    <a:pt x="8122" y="3765"/>
                  </a:cubicBezTo>
                  <a:cubicBezTo>
                    <a:pt x="8248" y="3712"/>
                    <a:pt x="8378" y="3674"/>
                    <a:pt x="8514" y="3649"/>
                  </a:cubicBezTo>
                  <a:lnTo>
                    <a:pt x="8511" y="3632"/>
                  </a:lnTo>
                  <a:lnTo>
                    <a:pt x="8507" y="3618"/>
                  </a:lnTo>
                  <a:cubicBezTo>
                    <a:pt x="8507" y="3607"/>
                    <a:pt x="8504" y="3593"/>
                    <a:pt x="8504" y="3583"/>
                  </a:cubicBezTo>
                  <a:lnTo>
                    <a:pt x="8504" y="3576"/>
                  </a:lnTo>
                  <a:cubicBezTo>
                    <a:pt x="8504" y="3569"/>
                    <a:pt x="8500" y="3558"/>
                    <a:pt x="8500" y="3548"/>
                  </a:cubicBezTo>
                  <a:cubicBezTo>
                    <a:pt x="8497" y="3541"/>
                    <a:pt x="8500" y="3541"/>
                    <a:pt x="8500" y="3537"/>
                  </a:cubicBezTo>
                  <a:lnTo>
                    <a:pt x="8500" y="3516"/>
                  </a:lnTo>
                  <a:lnTo>
                    <a:pt x="8500" y="3506"/>
                  </a:lnTo>
                  <a:lnTo>
                    <a:pt x="8500" y="3485"/>
                  </a:lnTo>
                  <a:lnTo>
                    <a:pt x="8500" y="3474"/>
                  </a:lnTo>
                  <a:cubicBezTo>
                    <a:pt x="8500" y="3467"/>
                    <a:pt x="8500" y="3460"/>
                    <a:pt x="8504" y="3457"/>
                  </a:cubicBezTo>
                  <a:cubicBezTo>
                    <a:pt x="8504" y="3453"/>
                    <a:pt x="8504" y="3450"/>
                    <a:pt x="8507" y="3446"/>
                  </a:cubicBezTo>
                  <a:cubicBezTo>
                    <a:pt x="8511" y="3439"/>
                    <a:pt x="8514" y="3429"/>
                    <a:pt x="8518" y="3422"/>
                  </a:cubicBezTo>
                  <a:cubicBezTo>
                    <a:pt x="8528" y="3411"/>
                    <a:pt x="8539" y="3401"/>
                    <a:pt x="8553" y="3390"/>
                  </a:cubicBezTo>
                  <a:lnTo>
                    <a:pt x="8556" y="3390"/>
                  </a:lnTo>
                  <a:cubicBezTo>
                    <a:pt x="8560" y="3387"/>
                    <a:pt x="8567" y="3383"/>
                    <a:pt x="8570" y="3383"/>
                  </a:cubicBezTo>
                  <a:lnTo>
                    <a:pt x="8581" y="3380"/>
                  </a:lnTo>
                  <a:lnTo>
                    <a:pt x="8595" y="3376"/>
                  </a:lnTo>
                  <a:cubicBezTo>
                    <a:pt x="8654" y="3341"/>
                    <a:pt x="8710" y="3299"/>
                    <a:pt x="8763" y="3250"/>
                  </a:cubicBezTo>
                  <a:cubicBezTo>
                    <a:pt x="8885" y="3149"/>
                    <a:pt x="8962" y="3086"/>
                    <a:pt x="9029" y="3086"/>
                  </a:cubicBezTo>
                  <a:lnTo>
                    <a:pt x="9053" y="3086"/>
                  </a:lnTo>
                  <a:cubicBezTo>
                    <a:pt x="9081" y="3086"/>
                    <a:pt x="9123" y="3093"/>
                    <a:pt x="9169" y="3096"/>
                  </a:cubicBezTo>
                  <a:cubicBezTo>
                    <a:pt x="9218" y="3103"/>
                    <a:pt x="9274" y="3110"/>
                    <a:pt x="9330" y="3117"/>
                  </a:cubicBezTo>
                  <a:cubicBezTo>
                    <a:pt x="9358" y="3121"/>
                    <a:pt x="9389" y="3121"/>
                    <a:pt x="9417" y="3121"/>
                  </a:cubicBezTo>
                  <a:cubicBezTo>
                    <a:pt x="9428" y="3082"/>
                    <a:pt x="9442" y="3044"/>
                    <a:pt x="9459" y="3005"/>
                  </a:cubicBezTo>
                  <a:cubicBezTo>
                    <a:pt x="9484" y="2960"/>
                    <a:pt x="9501" y="2907"/>
                    <a:pt x="9512" y="2855"/>
                  </a:cubicBezTo>
                  <a:cubicBezTo>
                    <a:pt x="9505" y="2844"/>
                    <a:pt x="9498" y="2834"/>
                    <a:pt x="9487" y="2823"/>
                  </a:cubicBezTo>
                  <a:lnTo>
                    <a:pt x="9470" y="2802"/>
                  </a:lnTo>
                  <a:cubicBezTo>
                    <a:pt x="9428" y="2764"/>
                    <a:pt x="9400" y="2715"/>
                    <a:pt x="9386" y="2659"/>
                  </a:cubicBezTo>
                  <a:cubicBezTo>
                    <a:pt x="9382" y="2648"/>
                    <a:pt x="9382" y="2641"/>
                    <a:pt x="9386" y="2631"/>
                  </a:cubicBezTo>
                  <a:cubicBezTo>
                    <a:pt x="9386" y="2624"/>
                    <a:pt x="9389" y="2613"/>
                    <a:pt x="9393" y="2603"/>
                  </a:cubicBezTo>
                  <a:cubicBezTo>
                    <a:pt x="9414" y="2550"/>
                    <a:pt x="9473" y="2529"/>
                    <a:pt x="9522" y="2508"/>
                  </a:cubicBezTo>
                  <a:cubicBezTo>
                    <a:pt x="9540" y="2501"/>
                    <a:pt x="9557" y="2494"/>
                    <a:pt x="9575" y="2487"/>
                  </a:cubicBezTo>
                  <a:cubicBezTo>
                    <a:pt x="9561" y="2477"/>
                    <a:pt x="9547" y="2463"/>
                    <a:pt x="9533" y="2452"/>
                  </a:cubicBezTo>
                  <a:cubicBezTo>
                    <a:pt x="9494" y="2424"/>
                    <a:pt x="9449" y="2393"/>
                    <a:pt x="9449" y="2337"/>
                  </a:cubicBezTo>
                  <a:cubicBezTo>
                    <a:pt x="9452" y="2295"/>
                    <a:pt x="9477" y="2256"/>
                    <a:pt x="9512" y="2228"/>
                  </a:cubicBezTo>
                  <a:lnTo>
                    <a:pt x="9526" y="2214"/>
                  </a:lnTo>
                  <a:cubicBezTo>
                    <a:pt x="9557" y="2190"/>
                    <a:pt x="9586" y="2162"/>
                    <a:pt x="9603" y="2127"/>
                  </a:cubicBezTo>
                  <a:cubicBezTo>
                    <a:pt x="9603" y="2123"/>
                    <a:pt x="9603" y="2120"/>
                    <a:pt x="9603" y="2116"/>
                  </a:cubicBezTo>
                  <a:cubicBezTo>
                    <a:pt x="9600" y="2088"/>
                    <a:pt x="9543" y="2067"/>
                    <a:pt x="9477" y="2043"/>
                  </a:cubicBezTo>
                  <a:cubicBezTo>
                    <a:pt x="9424" y="2022"/>
                    <a:pt x="9372" y="1997"/>
                    <a:pt x="9323" y="1973"/>
                  </a:cubicBezTo>
                  <a:cubicBezTo>
                    <a:pt x="9253" y="1937"/>
                    <a:pt x="9176" y="1916"/>
                    <a:pt x="9099" y="1913"/>
                  </a:cubicBezTo>
                  <a:cubicBezTo>
                    <a:pt x="9018" y="1906"/>
                    <a:pt x="8938" y="1885"/>
                    <a:pt x="8864" y="1850"/>
                  </a:cubicBezTo>
                  <a:cubicBezTo>
                    <a:pt x="8798" y="1818"/>
                    <a:pt x="8675" y="1815"/>
                    <a:pt x="8588" y="1811"/>
                  </a:cubicBezTo>
                  <a:cubicBezTo>
                    <a:pt x="8476" y="1808"/>
                    <a:pt x="8385" y="1804"/>
                    <a:pt x="8378" y="1731"/>
                  </a:cubicBezTo>
                  <a:cubicBezTo>
                    <a:pt x="8350" y="1692"/>
                    <a:pt x="8315" y="1654"/>
                    <a:pt x="8280" y="1619"/>
                  </a:cubicBezTo>
                  <a:cubicBezTo>
                    <a:pt x="8231" y="1573"/>
                    <a:pt x="8185" y="1517"/>
                    <a:pt x="8143" y="1461"/>
                  </a:cubicBezTo>
                  <a:cubicBezTo>
                    <a:pt x="8143" y="1458"/>
                    <a:pt x="8140" y="1454"/>
                    <a:pt x="8129" y="1451"/>
                  </a:cubicBezTo>
                  <a:cubicBezTo>
                    <a:pt x="8122" y="1449"/>
                    <a:pt x="8114" y="1448"/>
                    <a:pt x="8105" y="1448"/>
                  </a:cubicBezTo>
                  <a:cubicBezTo>
                    <a:pt x="8059" y="1448"/>
                    <a:pt x="7992" y="1471"/>
                    <a:pt x="7933" y="1507"/>
                  </a:cubicBezTo>
                  <a:cubicBezTo>
                    <a:pt x="7877" y="1544"/>
                    <a:pt x="7810" y="1578"/>
                    <a:pt x="7734" y="1578"/>
                  </a:cubicBezTo>
                  <a:cubicBezTo>
                    <a:pt x="7687" y="1578"/>
                    <a:pt x="7636" y="1565"/>
                    <a:pt x="7583" y="1531"/>
                  </a:cubicBezTo>
                  <a:cubicBezTo>
                    <a:pt x="7555" y="1517"/>
                    <a:pt x="7531" y="1496"/>
                    <a:pt x="7506" y="1479"/>
                  </a:cubicBezTo>
                  <a:cubicBezTo>
                    <a:pt x="7464" y="1444"/>
                    <a:pt x="7418" y="1412"/>
                    <a:pt x="7390" y="1412"/>
                  </a:cubicBezTo>
                  <a:cubicBezTo>
                    <a:pt x="7383" y="1412"/>
                    <a:pt x="7380" y="1416"/>
                    <a:pt x="7376" y="1416"/>
                  </a:cubicBezTo>
                  <a:cubicBezTo>
                    <a:pt x="7346" y="1429"/>
                    <a:pt x="7307" y="1437"/>
                    <a:pt x="7268" y="1437"/>
                  </a:cubicBezTo>
                  <a:cubicBezTo>
                    <a:pt x="7214" y="1437"/>
                    <a:pt x="7159" y="1422"/>
                    <a:pt x="7121" y="1388"/>
                  </a:cubicBezTo>
                  <a:cubicBezTo>
                    <a:pt x="7075" y="1349"/>
                    <a:pt x="7061" y="1286"/>
                    <a:pt x="7082" y="1227"/>
                  </a:cubicBezTo>
                  <a:cubicBezTo>
                    <a:pt x="7103" y="1150"/>
                    <a:pt x="6942" y="912"/>
                    <a:pt x="6876" y="884"/>
                  </a:cubicBezTo>
                  <a:cubicBezTo>
                    <a:pt x="6869" y="880"/>
                    <a:pt x="6862" y="880"/>
                    <a:pt x="6858" y="880"/>
                  </a:cubicBezTo>
                  <a:cubicBezTo>
                    <a:pt x="6827" y="877"/>
                    <a:pt x="6795" y="873"/>
                    <a:pt x="6764" y="873"/>
                  </a:cubicBezTo>
                  <a:cubicBezTo>
                    <a:pt x="6683" y="873"/>
                    <a:pt x="6589" y="870"/>
                    <a:pt x="6519" y="831"/>
                  </a:cubicBezTo>
                  <a:cubicBezTo>
                    <a:pt x="6501" y="821"/>
                    <a:pt x="6484" y="810"/>
                    <a:pt x="6470" y="793"/>
                  </a:cubicBezTo>
                  <a:cubicBezTo>
                    <a:pt x="6459" y="782"/>
                    <a:pt x="6449" y="768"/>
                    <a:pt x="6442" y="754"/>
                  </a:cubicBezTo>
                  <a:cubicBezTo>
                    <a:pt x="6424" y="723"/>
                    <a:pt x="6407" y="691"/>
                    <a:pt x="6386" y="660"/>
                  </a:cubicBezTo>
                  <a:cubicBezTo>
                    <a:pt x="6375" y="642"/>
                    <a:pt x="6365" y="628"/>
                    <a:pt x="6354" y="611"/>
                  </a:cubicBezTo>
                  <a:cubicBezTo>
                    <a:pt x="6309" y="541"/>
                    <a:pt x="6281" y="467"/>
                    <a:pt x="6323" y="390"/>
                  </a:cubicBezTo>
                  <a:cubicBezTo>
                    <a:pt x="6347" y="348"/>
                    <a:pt x="6323" y="208"/>
                    <a:pt x="6284" y="107"/>
                  </a:cubicBezTo>
                  <a:cubicBezTo>
                    <a:pt x="6274" y="86"/>
                    <a:pt x="6263" y="65"/>
                    <a:pt x="6253" y="44"/>
                  </a:cubicBezTo>
                  <a:cubicBezTo>
                    <a:pt x="6233" y="16"/>
                    <a:pt x="6139" y="1"/>
                    <a:pt x="60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7" name="Google Shape;5087;p53"/>
            <p:cNvSpPr/>
            <p:nvPr/>
          </p:nvSpPr>
          <p:spPr>
            <a:xfrm>
              <a:off x="2221782" y="16200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8" name="Google Shape;5088;p53"/>
            <p:cNvSpPr/>
            <p:nvPr/>
          </p:nvSpPr>
          <p:spPr>
            <a:xfrm>
              <a:off x="2214518" y="164296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1" y="0"/>
                  </a:moveTo>
                  <a:lnTo>
                    <a:pt x="18" y="4"/>
                  </a:lnTo>
                  <a:cubicBezTo>
                    <a:pt x="14" y="11"/>
                    <a:pt x="7" y="18"/>
                    <a:pt x="0" y="25"/>
                  </a:cubicBezTo>
                  <a:lnTo>
                    <a:pt x="0" y="28"/>
                  </a:lnTo>
                  <a:lnTo>
                    <a:pt x="11" y="28"/>
                  </a:ln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9" name="Google Shape;5089;p53"/>
            <p:cNvSpPr/>
            <p:nvPr/>
          </p:nvSpPr>
          <p:spPr>
            <a:xfrm>
              <a:off x="2223113" y="1622133"/>
              <a:ext cx="2200" cy="5865"/>
            </a:xfrm>
            <a:custGeom>
              <a:avLst/>
              <a:gdLst/>
              <a:ahLst/>
              <a:cxnLst/>
              <a:rect l="l" t="t" r="r" b="b"/>
              <a:pathLst>
                <a:path w="162" h="432" extrusionOk="0">
                  <a:moveTo>
                    <a:pt x="134" y="431"/>
                  </a:moveTo>
                  <a:cubicBezTo>
                    <a:pt x="151" y="389"/>
                    <a:pt x="162" y="281"/>
                    <a:pt x="1" y="1"/>
                  </a:cubicBezTo>
                  <a:cubicBezTo>
                    <a:pt x="162" y="281"/>
                    <a:pt x="151" y="389"/>
                    <a:pt x="134" y="4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0" name="Google Shape;5090;p53"/>
            <p:cNvSpPr/>
            <p:nvPr/>
          </p:nvSpPr>
          <p:spPr>
            <a:xfrm>
              <a:off x="2213609" y="165051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1" name="Google Shape;5091;p53"/>
            <p:cNvSpPr/>
            <p:nvPr/>
          </p:nvSpPr>
          <p:spPr>
            <a:xfrm>
              <a:off x="2212808" y="1649940"/>
              <a:ext cx="679" cy="489"/>
            </a:xfrm>
            <a:custGeom>
              <a:avLst/>
              <a:gdLst/>
              <a:ahLst/>
              <a:cxnLst/>
              <a:rect l="l" t="t" r="r" b="b"/>
              <a:pathLst>
                <a:path w="50" h="36" extrusionOk="0">
                  <a:moveTo>
                    <a:pt x="0" y="1"/>
                  </a:moveTo>
                  <a:lnTo>
                    <a:pt x="7" y="8"/>
                  </a:lnTo>
                  <a:cubicBezTo>
                    <a:pt x="21" y="18"/>
                    <a:pt x="35" y="29"/>
                    <a:pt x="49" y="36"/>
                  </a:cubicBezTo>
                  <a:cubicBezTo>
                    <a:pt x="32" y="25"/>
                    <a:pt x="18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2" name="Google Shape;5092;p53"/>
            <p:cNvSpPr/>
            <p:nvPr/>
          </p:nvSpPr>
          <p:spPr>
            <a:xfrm>
              <a:off x="2214654" y="165098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3" name="Google Shape;5093;p53"/>
            <p:cNvSpPr/>
            <p:nvPr/>
          </p:nvSpPr>
          <p:spPr>
            <a:xfrm>
              <a:off x="2214994" y="1651176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18" y="8"/>
                    <a:pt x="28" y="18"/>
                    <a:pt x="42" y="29"/>
                  </a:cubicBezTo>
                  <a:cubicBezTo>
                    <a:pt x="32" y="18"/>
                    <a:pt x="18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4" name="Google Shape;5094;p53"/>
            <p:cNvSpPr/>
            <p:nvPr/>
          </p:nvSpPr>
          <p:spPr>
            <a:xfrm>
              <a:off x="2212563" y="164965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"/>
                  </a:moveTo>
                  <a:lnTo>
                    <a:pt x="15" y="15"/>
                  </a:lnTo>
                  <a:lnTo>
                    <a:pt x="15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5" name="Google Shape;5095;p53"/>
            <p:cNvSpPr/>
            <p:nvPr/>
          </p:nvSpPr>
          <p:spPr>
            <a:xfrm>
              <a:off x="2211762" y="1648664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6" name="Google Shape;5096;p53"/>
            <p:cNvSpPr/>
            <p:nvPr/>
          </p:nvSpPr>
          <p:spPr>
            <a:xfrm>
              <a:off x="2212332" y="164946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7" name="Google Shape;5097;p53"/>
            <p:cNvSpPr/>
            <p:nvPr/>
          </p:nvSpPr>
          <p:spPr>
            <a:xfrm>
              <a:off x="2212047" y="164908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8" name="Google Shape;5098;p53"/>
            <p:cNvSpPr/>
            <p:nvPr/>
          </p:nvSpPr>
          <p:spPr>
            <a:xfrm>
              <a:off x="2211667" y="164832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9" name="Google Shape;5099;p53"/>
            <p:cNvSpPr/>
            <p:nvPr/>
          </p:nvSpPr>
          <p:spPr>
            <a:xfrm>
              <a:off x="2214939" y="1641631"/>
              <a:ext cx="584" cy="1059"/>
            </a:xfrm>
            <a:custGeom>
              <a:avLst/>
              <a:gdLst/>
              <a:ahLst/>
              <a:cxnLst/>
              <a:rect l="l" t="t" r="r" b="b"/>
              <a:pathLst>
                <a:path w="43" h="78" extrusionOk="0">
                  <a:moveTo>
                    <a:pt x="15" y="0"/>
                  </a:moveTo>
                  <a:cubicBezTo>
                    <a:pt x="15" y="28"/>
                    <a:pt x="11" y="53"/>
                    <a:pt x="1" y="77"/>
                  </a:cubicBezTo>
                  <a:lnTo>
                    <a:pt x="43" y="4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0" name="Google Shape;5100;p53"/>
            <p:cNvSpPr/>
            <p:nvPr/>
          </p:nvSpPr>
          <p:spPr>
            <a:xfrm>
              <a:off x="2214518" y="1643056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18" y="0"/>
                  </a:moveTo>
                  <a:cubicBezTo>
                    <a:pt x="14" y="7"/>
                    <a:pt x="7" y="11"/>
                    <a:pt x="0" y="18"/>
                  </a:cubicBezTo>
                  <a:cubicBezTo>
                    <a:pt x="7" y="14"/>
                    <a:pt x="14" y="7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1" name="Google Shape;5101;p53"/>
            <p:cNvSpPr/>
            <p:nvPr/>
          </p:nvSpPr>
          <p:spPr>
            <a:xfrm>
              <a:off x="2212713" y="1649845"/>
              <a:ext cx="136" cy="136"/>
            </a:xfrm>
            <a:custGeom>
              <a:avLst/>
              <a:gdLst/>
              <a:ahLst/>
              <a:cxnLst/>
              <a:rect l="l" t="t" r="r" b="b"/>
              <a:pathLst>
                <a:path w="10" h="10" extrusionOk="0">
                  <a:moveTo>
                    <a:pt x="0" y="1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7" y="8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2" name="Google Shape;5102;p53"/>
            <p:cNvSpPr/>
            <p:nvPr/>
          </p:nvSpPr>
          <p:spPr>
            <a:xfrm>
              <a:off x="2216270" y="1651420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1" y="4"/>
                  </a:moveTo>
                  <a:lnTo>
                    <a:pt x="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3" name="Google Shape;5103;p53"/>
            <p:cNvSpPr/>
            <p:nvPr/>
          </p:nvSpPr>
          <p:spPr>
            <a:xfrm>
              <a:off x="2217600" y="1651366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1" y="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4" name="Google Shape;5104;p53"/>
            <p:cNvSpPr/>
            <p:nvPr/>
          </p:nvSpPr>
          <p:spPr>
            <a:xfrm>
              <a:off x="2242895" y="16493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5" name="Google Shape;5105;p53"/>
            <p:cNvSpPr/>
            <p:nvPr/>
          </p:nvSpPr>
          <p:spPr>
            <a:xfrm>
              <a:off x="2244891" y="1648609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18" y="1"/>
                  </a:moveTo>
                  <a:lnTo>
                    <a:pt x="0" y="4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6" name="Google Shape;5106;p53"/>
            <p:cNvSpPr/>
            <p:nvPr/>
          </p:nvSpPr>
          <p:spPr>
            <a:xfrm>
              <a:off x="2216989" y="1651366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0" y="4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7" name="Google Shape;5107;p53"/>
            <p:cNvSpPr/>
            <p:nvPr/>
          </p:nvSpPr>
          <p:spPr>
            <a:xfrm>
              <a:off x="2240329" y="1649424"/>
              <a:ext cx="2430" cy="1534"/>
            </a:xfrm>
            <a:custGeom>
              <a:avLst/>
              <a:gdLst/>
              <a:ahLst/>
              <a:cxnLst/>
              <a:rect l="l" t="t" r="r" b="b"/>
              <a:pathLst>
                <a:path w="179" h="113" extrusionOk="0">
                  <a:moveTo>
                    <a:pt x="179" y="0"/>
                  </a:moveTo>
                  <a:lnTo>
                    <a:pt x="179" y="0"/>
                  </a:lnTo>
                  <a:cubicBezTo>
                    <a:pt x="53" y="49"/>
                    <a:pt x="18" y="84"/>
                    <a:pt x="0" y="112"/>
                  </a:cubicBezTo>
                  <a:cubicBezTo>
                    <a:pt x="25" y="74"/>
                    <a:pt x="91" y="35"/>
                    <a:pt x="1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8" name="Google Shape;5108;p53"/>
            <p:cNvSpPr/>
            <p:nvPr/>
          </p:nvSpPr>
          <p:spPr>
            <a:xfrm>
              <a:off x="2215564" y="1651515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0" y="4"/>
                  </a:moveTo>
                  <a:lnTo>
                    <a:pt x="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9" name="Google Shape;5109;p53"/>
            <p:cNvSpPr/>
            <p:nvPr/>
          </p:nvSpPr>
          <p:spPr>
            <a:xfrm>
              <a:off x="2234151" y="1652465"/>
              <a:ext cx="1819" cy="149"/>
            </a:xfrm>
            <a:custGeom>
              <a:avLst/>
              <a:gdLst/>
              <a:ahLst/>
              <a:cxnLst/>
              <a:rect l="l" t="t" r="r" b="b"/>
              <a:pathLst>
                <a:path w="134" h="11" extrusionOk="0">
                  <a:moveTo>
                    <a:pt x="133" y="11"/>
                  </a:moveTo>
                  <a:cubicBezTo>
                    <a:pt x="91" y="4"/>
                    <a:pt x="46" y="0"/>
                    <a:pt x="0" y="7"/>
                  </a:cubicBezTo>
                  <a:cubicBezTo>
                    <a:pt x="46" y="0"/>
                    <a:pt x="91" y="4"/>
                    <a:pt x="133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0" name="Google Shape;5110;p53"/>
            <p:cNvSpPr/>
            <p:nvPr/>
          </p:nvSpPr>
          <p:spPr>
            <a:xfrm>
              <a:off x="2263764" y="1676796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1" name="Google Shape;5111;p53"/>
            <p:cNvSpPr/>
            <p:nvPr/>
          </p:nvSpPr>
          <p:spPr>
            <a:xfrm>
              <a:off x="2263479" y="1676606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18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2" name="Google Shape;5112;p53"/>
            <p:cNvSpPr/>
            <p:nvPr/>
          </p:nvSpPr>
          <p:spPr>
            <a:xfrm>
              <a:off x="2262528" y="167622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3" name="Google Shape;5113;p53"/>
            <p:cNvSpPr/>
            <p:nvPr/>
          </p:nvSpPr>
          <p:spPr>
            <a:xfrm>
              <a:off x="2262623" y="1676226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4" name="Google Shape;5114;p53"/>
            <p:cNvSpPr/>
            <p:nvPr/>
          </p:nvSpPr>
          <p:spPr>
            <a:xfrm>
              <a:off x="2257532" y="167780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5" name="Google Shape;5115;p53"/>
            <p:cNvSpPr/>
            <p:nvPr/>
          </p:nvSpPr>
          <p:spPr>
            <a:xfrm>
              <a:off x="2262814" y="167628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6" name="Google Shape;5116;p53"/>
            <p:cNvSpPr/>
            <p:nvPr/>
          </p:nvSpPr>
          <p:spPr>
            <a:xfrm>
              <a:off x="2262949" y="167632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7" name="Google Shape;5117;p53"/>
            <p:cNvSpPr/>
            <p:nvPr/>
          </p:nvSpPr>
          <p:spPr>
            <a:xfrm>
              <a:off x="2262474" y="167618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8" name="Google Shape;5118;p53"/>
            <p:cNvSpPr/>
            <p:nvPr/>
          </p:nvSpPr>
          <p:spPr>
            <a:xfrm>
              <a:off x="2256486" y="167746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9" name="Google Shape;5119;p53"/>
            <p:cNvSpPr/>
            <p:nvPr/>
          </p:nvSpPr>
          <p:spPr>
            <a:xfrm>
              <a:off x="2263194" y="1676470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0" name="Google Shape;5120;p53"/>
            <p:cNvSpPr/>
            <p:nvPr/>
          </p:nvSpPr>
          <p:spPr>
            <a:xfrm>
              <a:off x="2262148" y="1655317"/>
              <a:ext cx="720" cy="1724"/>
            </a:xfrm>
            <a:custGeom>
              <a:avLst/>
              <a:gdLst/>
              <a:ahLst/>
              <a:cxnLst/>
              <a:rect l="l" t="t" r="r" b="b"/>
              <a:pathLst>
                <a:path w="53" h="127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42"/>
                    <a:pt x="32" y="84"/>
                    <a:pt x="53" y="126"/>
                  </a:cubicBezTo>
                  <a:cubicBezTo>
                    <a:pt x="32" y="84"/>
                    <a:pt x="14" y="4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1" name="Google Shape;5121;p53"/>
            <p:cNvSpPr/>
            <p:nvPr/>
          </p:nvSpPr>
          <p:spPr>
            <a:xfrm>
              <a:off x="2245842" y="1647469"/>
              <a:ext cx="3951" cy="964"/>
            </a:xfrm>
            <a:custGeom>
              <a:avLst/>
              <a:gdLst/>
              <a:ahLst/>
              <a:cxnLst/>
              <a:rect l="l" t="t" r="r" b="b"/>
              <a:pathLst>
                <a:path w="291" h="71" extrusionOk="0">
                  <a:moveTo>
                    <a:pt x="291" y="1"/>
                  </a:moveTo>
                  <a:lnTo>
                    <a:pt x="291" y="1"/>
                  </a:lnTo>
                  <a:cubicBezTo>
                    <a:pt x="276" y="3"/>
                    <a:pt x="252" y="7"/>
                    <a:pt x="223" y="13"/>
                  </a:cubicBezTo>
                  <a:lnTo>
                    <a:pt x="223" y="13"/>
                  </a:lnTo>
                  <a:cubicBezTo>
                    <a:pt x="246" y="9"/>
                    <a:pt x="268" y="5"/>
                    <a:pt x="291" y="1"/>
                  </a:cubicBezTo>
                  <a:close/>
                  <a:moveTo>
                    <a:pt x="223" y="13"/>
                  </a:moveTo>
                  <a:cubicBezTo>
                    <a:pt x="148" y="28"/>
                    <a:pt x="73" y="46"/>
                    <a:pt x="0" y="71"/>
                  </a:cubicBezTo>
                  <a:cubicBezTo>
                    <a:pt x="84" y="45"/>
                    <a:pt x="165" y="26"/>
                    <a:pt x="223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2" name="Google Shape;5122;p53"/>
            <p:cNvSpPr/>
            <p:nvPr/>
          </p:nvSpPr>
          <p:spPr>
            <a:xfrm>
              <a:off x="2264619" y="1659974"/>
              <a:ext cx="869" cy="1195"/>
            </a:xfrm>
            <a:custGeom>
              <a:avLst/>
              <a:gdLst/>
              <a:ahLst/>
              <a:cxnLst/>
              <a:rect l="l" t="t" r="r" b="b"/>
              <a:pathLst>
                <a:path w="64" h="88" extrusionOk="0">
                  <a:moveTo>
                    <a:pt x="0" y="0"/>
                  </a:moveTo>
                  <a:lnTo>
                    <a:pt x="0" y="0"/>
                  </a:lnTo>
                  <a:cubicBezTo>
                    <a:pt x="21" y="35"/>
                    <a:pt x="42" y="63"/>
                    <a:pt x="63" y="88"/>
                  </a:cubicBezTo>
                  <a:cubicBezTo>
                    <a:pt x="42" y="63"/>
                    <a:pt x="21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3" name="Google Shape;5123;p53"/>
            <p:cNvSpPr/>
            <p:nvPr/>
          </p:nvSpPr>
          <p:spPr>
            <a:xfrm>
              <a:off x="2243371" y="1648990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0" y="15"/>
                  </a:moveTo>
                  <a:lnTo>
                    <a:pt x="0" y="15"/>
                  </a:ln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4" name="Google Shape;5124;p53"/>
            <p:cNvSpPr/>
            <p:nvPr/>
          </p:nvSpPr>
          <p:spPr>
            <a:xfrm>
              <a:off x="2256242" y="1670238"/>
              <a:ext cx="4399" cy="7142"/>
            </a:xfrm>
            <a:custGeom>
              <a:avLst/>
              <a:gdLst/>
              <a:ahLst/>
              <a:cxnLst/>
              <a:rect l="l" t="t" r="r" b="b"/>
              <a:pathLst>
                <a:path w="324" h="526" extrusionOk="0">
                  <a:moveTo>
                    <a:pt x="323" y="1"/>
                  </a:moveTo>
                  <a:lnTo>
                    <a:pt x="323" y="1"/>
                  </a:lnTo>
                  <a:cubicBezTo>
                    <a:pt x="323" y="75"/>
                    <a:pt x="251" y="195"/>
                    <a:pt x="68" y="439"/>
                  </a:cubicBezTo>
                  <a:lnTo>
                    <a:pt x="68" y="439"/>
                  </a:lnTo>
                  <a:cubicBezTo>
                    <a:pt x="254" y="194"/>
                    <a:pt x="323" y="75"/>
                    <a:pt x="323" y="1"/>
                  </a:cubicBezTo>
                  <a:close/>
                  <a:moveTo>
                    <a:pt x="68" y="439"/>
                  </a:moveTo>
                  <a:lnTo>
                    <a:pt x="68" y="439"/>
                  </a:lnTo>
                  <a:cubicBezTo>
                    <a:pt x="53" y="460"/>
                    <a:pt x="36" y="482"/>
                    <a:pt x="18" y="505"/>
                  </a:cubicBezTo>
                  <a:lnTo>
                    <a:pt x="11" y="513"/>
                  </a:lnTo>
                  <a:lnTo>
                    <a:pt x="22" y="501"/>
                  </a:lnTo>
                  <a:cubicBezTo>
                    <a:pt x="38" y="480"/>
                    <a:pt x="54" y="459"/>
                    <a:pt x="68" y="439"/>
                  </a:cubicBezTo>
                  <a:close/>
                  <a:moveTo>
                    <a:pt x="11" y="513"/>
                  </a:moveTo>
                  <a:lnTo>
                    <a:pt x="1" y="526"/>
                  </a:lnTo>
                  <a:lnTo>
                    <a:pt x="4" y="522"/>
                  </a:lnTo>
                  <a:lnTo>
                    <a:pt x="11" y="51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5" name="Google Shape;5125;p53"/>
            <p:cNvSpPr/>
            <p:nvPr/>
          </p:nvSpPr>
          <p:spPr>
            <a:xfrm>
              <a:off x="2256242" y="167732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1" y="4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6" name="Google Shape;5126;p53"/>
            <p:cNvSpPr/>
            <p:nvPr/>
          </p:nvSpPr>
          <p:spPr>
            <a:xfrm>
              <a:off x="2218985" y="1572222"/>
              <a:ext cx="67847" cy="47032"/>
            </a:xfrm>
            <a:custGeom>
              <a:avLst/>
              <a:gdLst/>
              <a:ahLst/>
              <a:cxnLst/>
              <a:rect l="l" t="t" r="r" b="b"/>
              <a:pathLst>
                <a:path w="4997" h="3464" extrusionOk="0">
                  <a:moveTo>
                    <a:pt x="2643" y="1"/>
                  </a:moveTo>
                  <a:cubicBezTo>
                    <a:pt x="2633" y="4"/>
                    <a:pt x="2622" y="8"/>
                    <a:pt x="2612" y="11"/>
                  </a:cubicBezTo>
                  <a:lnTo>
                    <a:pt x="2601" y="15"/>
                  </a:lnTo>
                  <a:lnTo>
                    <a:pt x="2580" y="25"/>
                  </a:lnTo>
                  <a:lnTo>
                    <a:pt x="2573" y="29"/>
                  </a:lnTo>
                  <a:cubicBezTo>
                    <a:pt x="2563" y="32"/>
                    <a:pt x="2556" y="36"/>
                    <a:pt x="2549" y="43"/>
                  </a:cubicBezTo>
                  <a:cubicBezTo>
                    <a:pt x="2528" y="64"/>
                    <a:pt x="2507" y="88"/>
                    <a:pt x="2493" y="116"/>
                  </a:cubicBezTo>
                  <a:cubicBezTo>
                    <a:pt x="2454" y="172"/>
                    <a:pt x="2405" y="253"/>
                    <a:pt x="2297" y="253"/>
                  </a:cubicBezTo>
                  <a:cubicBezTo>
                    <a:pt x="2269" y="253"/>
                    <a:pt x="2237" y="249"/>
                    <a:pt x="2206" y="246"/>
                  </a:cubicBezTo>
                  <a:cubicBezTo>
                    <a:pt x="2175" y="242"/>
                    <a:pt x="2145" y="239"/>
                    <a:pt x="2117" y="239"/>
                  </a:cubicBezTo>
                  <a:cubicBezTo>
                    <a:pt x="2065" y="239"/>
                    <a:pt x="2016" y="250"/>
                    <a:pt x="1964" y="288"/>
                  </a:cubicBezTo>
                  <a:cubicBezTo>
                    <a:pt x="1929" y="316"/>
                    <a:pt x="1901" y="351"/>
                    <a:pt x="1877" y="389"/>
                  </a:cubicBezTo>
                  <a:cubicBezTo>
                    <a:pt x="1852" y="424"/>
                    <a:pt x="1842" y="470"/>
                    <a:pt x="1849" y="515"/>
                  </a:cubicBezTo>
                  <a:lnTo>
                    <a:pt x="1849" y="519"/>
                  </a:lnTo>
                  <a:cubicBezTo>
                    <a:pt x="1859" y="585"/>
                    <a:pt x="1870" y="670"/>
                    <a:pt x="1838" y="729"/>
                  </a:cubicBezTo>
                  <a:cubicBezTo>
                    <a:pt x="1835" y="740"/>
                    <a:pt x="1831" y="747"/>
                    <a:pt x="1824" y="757"/>
                  </a:cubicBezTo>
                  <a:cubicBezTo>
                    <a:pt x="1796" y="785"/>
                    <a:pt x="1758" y="803"/>
                    <a:pt x="1719" y="803"/>
                  </a:cubicBezTo>
                  <a:cubicBezTo>
                    <a:pt x="1705" y="803"/>
                    <a:pt x="1705" y="803"/>
                    <a:pt x="1681" y="838"/>
                  </a:cubicBezTo>
                  <a:cubicBezTo>
                    <a:pt x="1656" y="887"/>
                    <a:pt x="1614" y="925"/>
                    <a:pt x="1562" y="946"/>
                  </a:cubicBezTo>
                  <a:cubicBezTo>
                    <a:pt x="1478" y="974"/>
                    <a:pt x="1341" y="1104"/>
                    <a:pt x="1331" y="1153"/>
                  </a:cubicBezTo>
                  <a:cubicBezTo>
                    <a:pt x="1327" y="1170"/>
                    <a:pt x="1324" y="1195"/>
                    <a:pt x="1320" y="1219"/>
                  </a:cubicBezTo>
                  <a:cubicBezTo>
                    <a:pt x="1306" y="1331"/>
                    <a:pt x="1292" y="1464"/>
                    <a:pt x="1184" y="1464"/>
                  </a:cubicBezTo>
                  <a:cubicBezTo>
                    <a:pt x="1107" y="1464"/>
                    <a:pt x="921" y="1503"/>
                    <a:pt x="879" y="1552"/>
                  </a:cubicBezTo>
                  <a:lnTo>
                    <a:pt x="862" y="1573"/>
                  </a:lnTo>
                  <a:lnTo>
                    <a:pt x="851" y="1587"/>
                  </a:lnTo>
                  <a:lnTo>
                    <a:pt x="841" y="1597"/>
                  </a:lnTo>
                  <a:cubicBezTo>
                    <a:pt x="813" y="1625"/>
                    <a:pt x="781" y="1653"/>
                    <a:pt x="750" y="1674"/>
                  </a:cubicBezTo>
                  <a:lnTo>
                    <a:pt x="732" y="1681"/>
                  </a:lnTo>
                  <a:lnTo>
                    <a:pt x="729" y="1681"/>
                  </a:lnTo>
                  <a:lnTo>
                    <a:pt x="711" y="1692"/>
                  </a:lnTo>
                  <a:lnTo>
                    <a:pt x="704" y="1692"/>
                  </a:lnTo>
                  <a:lnTo>
                    <a:pt x="686" y="1695"/>
                  </a:lnTo>
                  <a:lnTo>
                    <a:pt x="683" y="1695"/>
                  </a:lnTo>
                  <a:cubicBezTo>
                    <a:pt x="662" y="1702"/>
                    <a:pt x="641" y="1706"/>
                    <a:pt x="623" y="1706"/>
                  </a:cubicBezTo>
                  <a:lnTo>
                    <a:pt x="564" y="1706"/>
                  </a:lnTo>
                  <a:cubicBezTo>
                    <a:pt x="550" y="1706"/>
                    <a:pt x="539" y="1702"/>
                    <a:pt x="529" y="1699"/>
                  </a:cubicBezTo>
                  <a:lnTo>
                    <a:pt x="375" y="1699"/>
                  </a:lnTo>
                  <a:lnTo>
                    <a:pt x="273" y="1695"/>
                  </a:lnTo>
                  <a:lnTo>
                    <a:pt x="200" y="1695"/>
                  </a:lnTo>
                  <a:lnTo>
                    <a:pt x="200" y="1699"/>
                  </a:lnTo>
                  <a:cubicBezTo>
                    <a:pt x="175" y="1779"/>
                    <a:pt x="186" y="1863"/>
                    <a:pt x="221" y="1937"/>
                  </a:cubicBezTo>
                  <a:cubicBezTo>
                    <a:pt x="228" y="1947"/>
                    <a:pt x="235" y="1958"/>
                    <a:pt x="245" y="1968"/>
                  </a:cubicBezTo>
                  <a:cubicBezTo>
                    <a:pt x="252" y="1979"/>
                    <a:pt x="259" y="1986"/>
                    <a:pt x="266" y="1993"/>
                  </a:cubicBezTo>
                  <a:cubicBezTo>
                    <a:pt x="354" y="2070"/>
                    <a:pt x="396" y="2276"/>
                    <a:pt x="375" y="2413"/>
                  </a:cubicBezTo>
                  <a:cubicBezTo>
                    <a:pt x="361" y="2518"/>
                    <a:pt x="312" y="2560"/>
                    <a:pt x="277" y="2574"/>
                  </a:cubicBezTo>
                  <a:cubicBezTo>
                    <a:pt x="158" y="2626"/>
                    <a:pt x="14" y="2749"/>
                    <a:pt x="0" y="2795"/>
                  </a:cubicBezTo>
                  <a:cubicBezTo>
                    <a:pt x="18" y="2816"/>
                    <a:pt x="35" y="2837"/>
                    <a:pt x="60" y="2854"/>
                  </a:cubicBezTo>
                  <a:cubicBezTo>
                    <a:pt x="123" y="2907"/>
                    <a:pt x="210" y="2984"/>
                    <a:pt x="179" y="3092"/>
                  </a:cubicBezTo>
                  <a:cubicBezTo>
                    <a:pt x="161" y="3166"/>
                    <a:pt x="158" y="3239"/>
                    <a:pt x="165" y="3313"/>
                  </a:cubicBezTo>
                  <a:lnTo>
                    <a:pt x="252" y="3313"/>
                  </a:lnTo>
                  <a:lnTo>
                    <a:pt x="270" y="3309"/>
                  </a:lnTo>
                  <a:lnTo>
                    <a:pt x="277" y="3306"/>
                  </a:lnTo>
                  <a:lnTo>
                    <a:pt x="291" y="3302"/>
                  </a:lnTo>
                  <a:lnTo>
                    <a:pt x="301" y="3299"/>
                  </a:lnTo>
                  <a:lnTo>
                    <a:pt x="312" y="3295"/>
                  </a:lnTo>
                  <a:lnTo>
                    <a:pt x="326" y="3288"/>
                  </a:lnTo>
                  <a:lnTo>
                    <a:pt x="333" y="3281"/>
                  </a:lnTo>
                  <a:cubicBezTo>
                    <a:pt x="340" y="3278"/>
                    <a:pt x="347" y="3271"/>
                    <a:pt x="354" y="3264"/>
                  </a:cubicBezTo>
                  <a:cubicBezTo>
                    <a:pt x="371" y="3246"/>
                    <a:pt x="385" y="3229"/>
                    <a:pt x="403" y="3211"/>
                  </a:cubicBezTo>
                  <a:cubicBezTo>
                    <a:pt x="473" y="3127"/>
                    <a:pt x="557" y="3036"/>
                    <a:pt x="757" y="3036"/>
                  </a:cubicBezTo>
                  <a:cubicBezTo>
                    <a:pt x="1369" y="3036"/>
                    <a:pt x="1660" y="3075"/>
                    <a:pt x="1744" y="3169"/>
                  </a:cubicBezTo>
                  <a:cubicBezTo>
                    <a:pt x="1769" y="3199"/>
                    <a:pt x="1824" y="3206"/>
                    <a:pt x="1886" y="3206"/>
                  </a:cubicBezTo>
                  <a:cubicBezTo>
                    <a:pt x="1910" y="3206"/>
                    <a:pt x="1936" y="3205"/>
                    <a:pt x="1961" y="3204"/>
                  </a:cubicBezTo>
                  <a:cubicBezTo>
                    <a:pt x="1978" y="3203"/>
                    <a:pt x="1996" y="3202"/>
                    <a:pt x="2014" y="3202"/>
                  </a:cubicBezTo>
                  <a:cubicBezTo>
                    <a:pt x="2084" y="3202"/>
                    <a:pt x="2155" y="3213"/>
                    <a:pt x="2220" y="3236"/>
                  </a:cubicBezTo>
                  <a:cubicBezTo>
                    <a:pt x="2357" y="3294"/>
                    <a:pt x="2457" y="3317"/>
                    <a:pt x="2499" y="3317"/>
                  </a:cubicBezTo>
                  <a:cubicBezTo>
                    <a:pt x="2502" y="3317"/>
                    <a:pt x="2504" y="3316"/>
                    <a:pt x="2507" y="3316"/>
                  </a:cubicBezTo>
                  <a:cubicBezTo>
                    <a:pt x="2514" y="3295"/>
                    <a:pt x="2528" y="3278"/>
                    <a:pt x="2549" y="3267"/>
                  </a:cubicBezTo>
                  <a:cubicBezTo>
                    <a:pt x="2562" y="3259"/>
                    <a:pt x="2576" y="3256"/>
                    <a:pt x="2591" y="3256"/>
                  </a:cubicBezTo>
                  <a:cubicBezTo>
                    <a:pt x="2623" y="3256"/>
                    <a:pt x="2659" y="3271"/>
                    <a:pt x="2699" y="3288"/>
                  </a:cubicBezTo>
                  <a:cubicBezTo>
                    <a:pt x="2727" y="3302"/>
                    <a:pt x="2755" y="3313"/>
                    <a:pt x="2787" y="3320"/>
                  </a:cubicBezTo>
                  <a:lnTo>
                    <a:pt x="2797" y="3323"/>
                  </a:lnTo>
                  <a:lnTo>
                    <a:pt x="2801" y="3323"/>
                  </a:lnTo>
                  <a:cubicBezTo>
                    <a:pt x="2815" y="3327"/>
                    <a:pt x="2833" y="3330"/>
                    <a:pt x="2847" y="3330"/>
                  </a:cubicBezTo>
                  <a:lnTo>
                    <a:pt x="2868" y="3330"/>
                  </a:lnTo>
                  <a:cubicBezTo>
                    <a:pt x="2875" y="3327"/>
                    <a:pt x="2882" y="3323"/>
                    <a:pt x="2889" y="3320"/>
                  </a:cubicBezTo>
                  <a:cubicBezTo>
                    <a:pt x="2921" y="3302"/>
                    <a:pt x="2953" y="3295"/>
                    <a:pt x="2983" y="3295"/>
                  </a:cubicBezTo>
                  <a:cubicBezTo>
                    <a:pt x="3065" y="3295"/>
                    <a:pt x="3135" y="3349"/>
                    <a:pt x="3186" y="3390"/>
                  </a:cubicBezTo>
                  <a:cubicBezTo>
                    <a:pt x="3207" y="3404"/>
                    <a:pt x="3228" y="3421"/>
                    <a:pt x="3249" y="3432"/>
                  </a:cubicBezTo>
                  <a:cubicBezTo>
                    <a:pt x="3256" y="3428"/>
                    <a:pt x="3263" y="3425"/>
                    <a:pt x="3274" y="3425"/>
                  </a:cubicBezTo>
                  <a:lnTo>
                    <a:pt x="3281" y="3421"/>
                  </a:lnTo>
                  <a:lnTo>
                    <a:pt x="3298" y="3414"/>
                  </a:lnTo>
                  <a:lnTo>
                    <a:pt x="3309" y="3411"/>
                  </a:lnTo>
                  <a:lnTo>
                    <a:pt x="3326" y="3407"/>
                  </a:lnTo>
                  <a:lnTo>
                    <a:pt x="3340" y="3407"/>
                  </a:lnTo>
                  <a:lnTo>
                    <a:pt x="3358" y="3404"/>
                  </a:lnTo>
                  <a:lnTo>
                    <a:pt x="3372" y="3404"/>
                  </a:lnTo>
                  <a:lnTo>
                    <a:pt x="3393" y="3400"/>
                  </a:lnTo>
                  <a:lnTo>
                    <a:pt x="3589" y="3400"/>
                  </a:lnTo>
                  <a:lnTo>
                    <a:pt x="3610" y="3404"/>
                  </a:lnTo>
                  <a:lnTo>
                    <a:pt x="3631" y="3404"/>
                  </a:lnTo>
                  <a:lnTo>
                    <a:pt x="3652" y="3407"/>
                  </a:lnTo>
                  <a:lnTo>
                    <a:pt x="3669" y="3411"/>
                  </a:lnTo>
                  <a:lnTo>
                    <a:pt x="3690" y="3418"/>
                  </a:lnTo>
                  <a:lnTo>
                    <a:pt x="3708" y="3421"/>
                  </a:lnTo>
                  <a:lnTo>
                    <a:pt x="3729" y="3428"/>
                  </a:lnTo>
                  <a:lnTo>
                    <a:pt x="3743" y="3432"/>
                  </a:lnTo>
                  <a:lnTo>
                    <a:pt x="3764" y="3442"/>
                  </a:lnTo>
                  <a:lnTo>
                    <a:pt x="3774" y="3446"/>
                  </a:lnTo>
                  <a:cubicBezTo>
                    <a:pt x="3785" y="3449"/>
                    <a:pt x="3792" y="3456"/>
                    <a:pt x="3802" y="3463"/>
                  </a:cubicBezTo>
                  <a:cubicBezTo>
                    <a:pt x="3806" y="3425"/>
                    <a:pt x="3809" y="3386"/>
                    <a:pt x="3809" y="3348"/>
                  </a:cubicBezTo>
                  <a:cubicBezTo>
                    <a:pt x="3809" y="3236"/>
                    <a:pt x="4030" y="3047"/>
                    <a:pt x="4159" y="2942"/>
                  </a:cubicBezTo>
                  <a:lnTo>
                    <a:pt x="4177" y="2928"/>
                  </a:lnTo>
                  <a:lnTo>
                    <a:pt x="4345" y="2928"/>
                  </a:lnTo>
                  <a:lnTo>
                    <a:pt x="4369" y="2924"/>
                  </a:lnTo>
                  <a:lnTo>
                    <a:pt x="4373" y="2924"/>
                  </a:lnTo>
                  <a:lnTo>
                    <a:pt x="4394" y="2917"/>
                  </a:lnTo>
                  <a:lnTo>
                    <a:pt x="4404" y="2917"/>
                  </a:lnTo>
                  <a:lnTo>
                    <a:pt x="4422" y="2914"/>
                  </a:lnTo>
                  <a:lnTo>
                    <a:pt x="4429" y="2914"/>
                  </a:lnTo>
                  <a:lnTo>
                    <a:pt x="4446" y="2910"/>
                  </a:lnTo>
                  <a:lnTo>
                    <a:pt x="4453" y="2907"/>
                  </a:lnTo>
                  <a:lnTo>
                    <a:pt x="4460" y="2907"/>
                  </a:lnTo>
                  <a:cubicBezTo>
                    <a:pt x="4439" y="2851"/>
                    <a:pt x="4422" y="2791"/>
                    <a:pt x="4408" y="2731"/>
                  </a:cubicBezTo>
                  <a:cubicBezTo>
                    <a:pt x="4404" y="2714"/>
                    <a:pt x="4401" y="2696"/>
                    <a:pt x="4397" y="2682"/>
                  </a:cubicBezTo>
                  <a:cubicBezTo>
                    <a:pt x="4380" y="2616"/>
                    <a:pt x="4362" y="2560"/>
                    <a:pt x="4345" y="2507"/>
                  </a:cubicBezTo>
                  <a:cubicBezTo>
                    <a:pt x="4303" y="2360"/>
                    <a:pt x="4264" y="2248"/>
                    <a:pt x="4338" y="2161"/>
                  </a:cubicBezTo>
                  <a:cubicBezTo>
                    <a:pt x="4367" y="2128"/>
                    <a:pt x="4401" y="2116"/>
                    <a:pt x="4437" y="2116"/>
                  </a:cubicBezTo>
                  <a:cubicBezTo>
                    <a:pt x="4492" y="2116"/>
                    <a:pt x="4551" y="2143"/>
                    <a:pt x="4604" y="2164"/>
                  </a:cubicBezTo>
                  <a:cubicBezTo>
                    <a:pt x="4642" y="2185"/>
                    <a:pt x="4681" y="2199"/>
                    <a:pt x="4723" y="2206"/>
                  </a:cubicBezTo>
                  <a:cubicBezTo>
                    <a:pt x="4726" y="2208"/>
                    <a:pt x="4731" y="2209"/>
                    <a:pt x="4735" y="2209"/>
                  </a:cubicBezTo>
                  <a:cubicBezTo>
                    <a:pt x="4740" y="2209"/>
                    <a:pt x="4744" y="2208"/>
                    <a:pt x="4747" y="2206"/>
                  </a:cubicBezTo>
                  <a:cubicBezTo>
                    <a:pt x="4789" y="2189"/>
                    <a:pt x="4828" y="2171"/>
                    <a:pt x="4866" y="2150"/>
                  </a:cubicBezTo>
                  <a:cubicBezTo>
                    <a:pt x="4996" y="2073"/>
                    <a:pt x="4989" y="2028"/>
                    <a:pt x="4989" y="2028"/>
                  </a:cubicBezTo>
                  <a:cubicBezTo>
                    <a:pt x="4972" y="1947"/>
                    <a:pt x="4817" y="1818"/>
                    <a:pt x="4737" y="1797"/>
                  </a:cubicBezTo>
                  <a:cubicBezTo>
                    <a:pt x="4667" y="1779"/>
                    <a:pt x="4621" y="1716"/>
                    <a:pt x="4576" y="1650"/>
                  </a:cubicBezTo>
                  <a:cubicBezTo>
                    <a:pt x="4527" y="1583"/>
                    <a:pt x="4481" y="1517"/>
                    <a:pt x="4411" y="1492"/>
                  </a:cubicBezTo>
                  <a:cubicBezTo>
                    <a:pt x="4331" y="1457"/>
                    <a:pt x="4271" y="1391"/>
                    <a:pt x="4243" y="1310"/>
                  </a:cubicBezTo>
                  <a:lnTo>
                    <a:pt x="4233" y="1279"/>
                  </a:lnTo>
                  <a:cubicBezTo>
                    <a:pt x="4219" y="1230"/>
                    <a:pt x="4187" y="1181"/>
                    <a:pt x="4145" y="1149"/>
                  </a:cubicBezTo>
                  <a:cubicBezTo>
                    <a:pt x="4019" y="1069"/>
                    <a:pt x="4033" y="936"/>
                    <a:pt x="4047" y="827"/>
                  </a:cubicBezTo>
                  <a:cubicBezTo>
                    <a:pt x="4054" y="789"/>
                    <a:pt x="4054" y="750"/>
                    <a:pt x="4054" y="712"/>
                  </a:cubicBezTo>
                  <a:cubicBezTo>
                    <a:pt x="4051" y="663"/>
                    <a:pt x="4051" y="617"/>
                    <a:pt x="4054" y="568"/>
                  </a:cubicBezTo>
                  <a:cubicBezTo>
                    <a:pt x="4054" y="508"/>
                    <a:pt x="4058" y="410"/>
                    <a:pt x="4040" y="386"/>
                  </a:cubicBezTo>
                  <a:lnTo>
                    <a:pt x="4016" y="375"/>
                  </a:lnTo>
                  <a:cubicBezTo>
                    <a:pt x="3806" y="265"/>
                    <a:pt x="3694" y="236"/>
                    <a:pt x="3634" y="236"/>
                  </a:cubicBezTo>
                  <a:cubicBezTo>
                    <a:pt x="3615" y="236"/>
                    <a:pt x="3602" y="238"/>
                    <a:pt x="3592" y="242"/>
                  </a:cubicBezTo>
                  <a:lnTo>
                    <a:pt x="3578" y="249"/>
                  </a:lnTo>
                  <a:cubicBezTo>
                    <a:pt x="3509" y="279"/>
                    <a:pt x="3437" y="312"/>
                    <a:pt x="3370" y="312"/>
                  </a:cubicBezTo>
                  <a:cubicBezTo>
                    <a:pt x="3336" y="312"/>
                    <a:pt x="3303" y="304"/>
                    <a:pt x="3274" y="281"/>
                  </a:cubicBezTo>
                  <a:cubicBezTo>
                    <a:pt x="3270" y="277"/>
                    <a:pt x="3263" y="274"/>
                    <a:pt x="3260" y="270"/>
                  </a:cubicBezTo>
                  <a:lnTo>
                    <a:pt x="3253" y="263"/>
                  </a:lnTo>
                  <a:cubicBezTo>
                    <a:pt x="3239" y="249"/>
                    <a:pt x="3228" y="232"/>
                    <a:pt x="3218" y="214"/>
                  </a:cubicBezTo>
                  <a:cubicBezTo>
                    <a:pt x="3176" y="141"/>
                    <a:pt x="3134" y="106"/>
                    <a:pt x="3078" y="106"/>
                  </a:cubicBezTo>
                  <a:cubicBezTo>
                    <a:pt x="3064" y="106"/>
                    <a:pt x="3050" y="106"/>
                    <a:pt x="3036" y="109"/>
                  </a:cubicBezTo>
                  <a:cubicBezTo>
                    <a:pt x="3029" y="109"/>
                    <a:pt x="3022" y="109"/>
                    <a:pt x="3015" y="113"/>
                  </a:cubicBezTo>
                  <a:cubicBezTo>
                    <a:pt x="2983" y="120"/>
                    <a:pt x="2952" y="127"/>
                    <a:pt x="2920" y="127"/>
                  </a:cubicBezTo>
                  <a:cubicBezTo>
                    <a:pt x="2857" y="127"/>
                    <a:pt x="2790" y="106"/>
                    <a:pt x="2734" y="71"/>
                  </a:cubicBezTo>
                  <a:cubicBezTo>
                    <a:pt x="2710" y="53"/>
                    <a:pt x="2685" y="36"/>
                    <a:pt x="2661" y="15"/>
                  </a:cubicBezTo>
                  <a:cubicBezTo>
                    <a:pt x="2657" y="11"/>
                    <a:pt x="2650" y="4"/>
                    <a:pt x="26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7" name="Google Shape;5127;p53"/>
            <p:cNvSpPr/>
            <p:nvPr/>
          </p:nvSpPr>
          <p:spPr>
            <a:xfrm>
              <a:off x="2221972" y="1598508"/>
              <a:ext cx="353" cy="448"/>
            </a:xfrm>
            <a:custGeom>
              <a:avLst/>
              <a:gdLst/>
              <a:ahLst/>
              <a:cxnLst/>
              <a:rect l="l" t="t" r="r" b="b"/>
              <a:pathLst>
                <a:path w="26" h="33" extrusionOk="0">
                  <a:moveTo>
                    <a:pt x="25" y="32"/>
                  </a:moveTo>
                  <a:cubicBezTo>
                    <a:pt x="15" y="22"/>
                    <a:pt x="8" y="11"/>
                    <a:pt x="1" y="1"/>
                  </a:cubicBezTo>
                  <a:cubicBezTo>
                    <a:pt x="8" y="11"/>
                    <a:pt x="15" y="22"/>
                    <a:pt x="25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8" name="Google Shape;5128;p53"/>
            <p:cNvSpPr/>
            <p:nvPr/>
          </p:nvSpPr>
          <p:spPr>
            <a:xfrm>
              <a:off x="2221212" y="1594666"/>
              <a:ext cx="828" cy="3856"/>
            </a:xfrm>
            <a:custGeom>
              <a:avLst/>
              <a:gdLst/>
              <a:ahLst/>
              <a:cxnLst/>
              <a:rect l="l" t="t" r="r" b="b"/>
              <a:pathLst>
                <a:path w="61" h="284" extrusionOk="0">
                  <a:moveTo>
                    <a:pt x="39" y="0"/>
                  </a:moveTo>
                  <a:lnTo>
                    <a:pt x="39" y="0"/>
                  </a:lnTo>
                  <a:cubicBezTo>
                    <a:pt x="1" y="91"/>
                    <a:pt x="8" y="200"/>
                    <a:pt x="60" y="284"/>
                  </a:cubicBezTo>
                  <a:cubicBezTo>
                    <a:pt x="8" y="200"/>
                    <a:pt x="1" y="91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9" name="Google Shape;5129;p53"/>
            <p:cNvSpPr/>
            <p:nvPr/>
          </p:nvSpPr>
          <p:spPr>
            <a:xfrm>
              <a:off x="2277355" y="161173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0" name="Google Shape;5130;p53"/>
            <p:cNvSpPr/>
            <p:nvPr/>
          </p:nvSpPr>
          <p:spPr>
            <a:xfrm>
              <a:off x="2222923" y="1617001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1" name="Google Shape;5131;p53"/>
            <p:cNvSpPr/>
            <p:nvPr/>
          </p:nvSpPr>
          <p:spPr>
            <a:xfrm>
              <a:off x="2223547" y="1616526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0" y="18"/>
                  </a:moveTo>
                  <a:cubicBezTo>
                    <a:pt x="4" y="11"/>
                    <a:pt x="11" y="4"/>
                    <a:pt x="18" y="1"/>
                  </a:cubicBezTo>
                  <a:cubicBezTo>
                    <a:pt x="11" y="4"/>
                    <a:pt x="4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2" name="Google Shape;5132;p53"/>
            <p:cNvSpPr/>
            <p:nvPr/>
          </p:nvSpPr>
          <p:spPr>
            <a:xfrm>
              <a:off x="2223208" y="161681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3" name="Google Shape;5133;p53"/>
            <p:cNvSpPr/>
            <p:nvPr/>
          </p:nvSpPr>
          <p:spPr>
            <a:xfrm>
              <a:off x="2276785" y="161177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4" name="Google Shape;5134;p53"/>
            <p:cNvSpPr/>
            <p:nvPr/>
          </p:nvSpPr>
          <p:spPr>
            <a:xfrm>
              <a:off x="2277016" y="161177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5" name="Google Shape;5135;p53"/>
            <p:cNvSpPr/>
            <p:nvPr/>
          </p:nvSpPr>
          <p:spPr>
            <a:xfrm>
              <a:off x="2263425" y="161857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6" name="Google Shape;5136;p53"/>
            <p:cNvSpPr/>
            <p:nvPr/>
          </p:nvSpPr>
          <p:spPr>
            <a:xfrm>
              <a:off x="2257776" y="1617381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cubicBezTo>
                    <a:pt x="4" y="1"/>
                    <a:pt x="7" y="1"/>
                    <a:pt x="11" y="1"/>
                  </a:cubicBezTo>
                  <a:cubicBezTo>
                    <a:pt x="7" y="1"/>
                    <a:pt x="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7" name="Google Shape;5137;p53"/>
            <p:cNvSpPr/>
            <p:nvPr/>
          </p:nvSpPr>
          <p:spPr>
            <a:xfrm>
              <a:off x="2256812" y="1617286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8" name="Google Shape;5138;p53"/>
            <p:cNvSpPr/>
            <p:nvPr/>
          </p:nvSpPr>
          <p:spPr>
            <a:xfrm>
              <a:off x="2222638" y="1617096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9" name="Google Shape;5139;p53"/>
            <p:cNvSpPr/>
            <p:nvPr/>
          </p:nvSpPr>
          <p:spPr>
            <a:xfrm>
              <a:off x="2278305" y="161148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0" name="Google Shape;5140;p53"/>
            <p:cNvSpPr/>
            <p:nvPr/>
          </p:nvSpPr>
          <p:spPr>
            <a:xfrm>
              <a:off x="2277966" y="1611584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1" y="4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1" name="Google Shape;5141;p53"/>
            <p:cNvSpPr/>
            <p:nvPr/>
          </p:nvSpPr>
          <p:spPr>
            <a:xfrm>
              <a:off x="2270227" y="1618902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1"/>
                  </a:moveTo>
                  <a:cubicBezTo>
                    <a:pt x="11" y="4"/>
                    <a:pt x="18" y="8"/>
                    <a:pt x="28" y="15"/>
                  </a:cubicBezTo>
                  <a:cubicBezTo>
                    <a:pt x="18" y="8"/>
                    <a:pt x="11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2" name="Google Shape;5142;p53"/>
            <p:cNvSpPr/>
            <p:nvPr/>
          </p:nvSpPr>
          <p:spPr>
            <a:xfrm>
              <a:off x="2277640" y="161163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3" name="Google Shape;5143;p53"/>
            <p:cNvSpPr/>
            <p:nvPr/>
          </p:nvSpPr>
          <p:spPr>
            <a:xfrm>
              <a:off x="2222353" y="16171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4" name="Google Shape;5144;p53"/>
            <p:cNvSpPr/>
            <p:nvPr/>
          </p:nvSpPr>
          <p:spPr>
            <a:xfrm>
              <a:off x="2221972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5" name="Google Shape;5145;p53"/>
            <p:cNvSpPr/>
            <p:nvPr/>
          </p:nvSpPr>
          <p:spPr>
            <a:xfrm>
              <a:off x="2268272" y="161833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6" name="Google Shape;5146;p53"/>
            <p:cNvSpPr/>
            <p:nvPr/>
          </p:nvSpPr>
          <p:spPr>
            <a:xfrm>
              <a:off x="2267701" y="1618291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7" name="Google Shape;5147;p53"/>
            <p:cNvSpPr/>
            <p:nvPr/>
          </p:nvSpPr>
          <p:spPr>
            <a:xfrm>
              <a:off x="2276024" y="161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8" name="Google Shape;5148;p53"/>
            <p:cNvSpPr/>
            <p:nvPr/>
          </p:nvSpPr>
          <p:spPr>
            <a:xfrm>
              <a:off x="2278726" y="1611448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9" name="Google Shape;5149;p53"/>
            <p:cNvSpPr/>
            <p:nvPr/>
          </p:nvSpPr>
          <p:spPr>
            <a:xfrm>
              <a:off x="2266520" y="16181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0" name="Google Shape;5150;p53"/>
            <p:cNvSpPr/>
            <p:nvPr/>
          </p:nvSpPr>
          <p:spPr>
            <a:xfrm>
              <a:off x="2267131" y="1618237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1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1" name="Google Shape;5151;p53"/>
            <p:cNvSpPr/>
            <p:nvPr/>
          </p:nvSpPr>
          <p:spPr>
            <a:xfrm>
              <a:off x="2269792" y="1618712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2" name="Google Shape;5152;p53"/>
            <p:cNvSpPr/>
            <p:nvPr/>
          </p:nvSpPr>
          <p:spPr>
            <a:xfrm>
              <a:off x="2269317" y="1618576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0"/>
                  </a:moveTo>
                  <a:lnTo>
                    <a:pt x="22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3" name="Google Shape;5153;p53"/>
            <p:cNvSpPr/>
            <p:nvPr/>
          </p:nvSpPr>
          <p:spPr>
            <a:xfrm>
              <a:off x="2263764" y="1618427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4" name="Google Shape;5154;p53"/>
            <p:cNvSpPr/>
            <p:nvPr/>
          </p:nvSpPr>
          <p:spPr>
            <a:xfrm>
              <a:off x="2268801" y="161842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5" name="Google Shape;5155;p53"/>
            <p:cNvSpPr/>
            <p:nvPr/>
          </p:nvSpPr>
          <p:spPr>
            <a:xfrm>
              <a:off x="2264565" y="161833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6" name="Google Shape;5156;p53"/>
            <p:cNvSpPr/>
            <p:nvPr/>
          </p:nvSpPr>
          <p:spPr>
            <a:xfrm>
              <a:off x="2276445" y="16118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7" name="Google Shape;5157;p53"/>
            <p:cNvSpPr/>
            <p:nvPr/>
          </p:nvSpPr>
          <p:spPr>
            <a:xfrm>
              <a:off x="2264144" y="161838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8" name="Google Shape;5158;p53"/>
            <p:cNvSpPr/>
            <p:nvPr/>
          </p:nvSpPr>
          <p:spPr>
            <a:xfrm>
              <a:off x="2265570" y="161823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9" name="Google Shape;5159;p53"/>
            <p:cNvSpPr/>
            <p:nvPr/>
          </p:nvSpPr>
          <p:spPr>
            <a:xfrm>
              <a:off x="2266086" y="16181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0" name="Google Shape;5160;p53"/>
            <p:cNvSpPr/>
            <p:nvPr/>
          </p:nvSpPr>
          <p:spPr>
            <a:xfrm>
              <a:off x="2276255" y="16118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1" name="Google Shape;5161;p53"/>
            <p:cNvSpPr/>
            <p:nvPr/>
          </p:nvSpPr>
          <p:spPr>
            <a:xfrm>
              <a:off x="2276119" y="161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2" name="Google Shape;5162;p53"/>
            <p:cNvSpPr/>
            <p:nvPr/>
          </p:nvSpPr>
          <p:spPr>
            <a:xfrm>
              <a:off x="2265040" y="161829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3" name="Google Shape;5163;p53"/>
            <p:cNvSpPr/>
            <p:nvPr/>
          </p:nvSpPr>
          <p:spPr>
            <a:xfrm>
              <a:off x="2221307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4" name="Google Shape;5164;p53"/>
            <p:cNvSpPr/>
            <p:nvPr/>
          </p:nvSpPr>
          <p:spPr>
            <a:xfrm>
              <a:off x="2257002" y="1617340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47" y="4"/>
                  </a:moveTo>
                  <a:cubicBezTo>
                    <a:pt x="33" y="4"/>
                    <a:pt x="15" y="4"/>
                    <a:pt x="1" y="0"/>
                  </a:cubicBezTo>
                  <a:cubicBezTo>
                    <a:pt x="15" y="4"/>
                    <a:pt x="33" y="4"/>
                    <a:pt x="4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5" name="Google Shape;5165;p53"/>
            <p:cNvSpPr/>
            <p:nvPr/>
          </p:nvSpPr>
          <p:spPr>
            <a:xfrm>
              <a:off x="2221687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6" name="Google Shape;5166;p53"/>
            <p:cNvSpPr/>
            <p:nvPr/>
          </p:nvSpPr>
          <p:spPr>
            <a:xfrm>
              <a:off x="2279446" y="161129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7" name="Google Shape;5167;p53"/>
            <p:cNvSpPr/>
            <p:nvPr/>
          </p:nvSpPr>
          <p:spPr>
            <a:xfrm>
              <a:off x="2279107" y="1611353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8" name="Google Shape;5168;p53"/>
            <p:cNvSpPr/>
            <p:nvPr/>
          </p:nvSpPr>
          <p:spPr>
            <a:xfrm>
              <a:off x="2201348" y="1551829"/>
              <a:ext cx="52776" cy="23503"/>
            </a:xfrm>
            <a:custGeom>
              <a:avLst/>
              <a:gdLst/>
              <a:ahLst/>
              <a:cxnLst/>
              <a:rect l="l" t="t" r="r" b="b"/>
              <a:pathLst>
                <a:path w="3887" h="1731" extrusionOk="0">
                  <a:moveTo>
                    <a:pt x="2070" y="1"/>
                  </a:moveTo>
                  <a:lnTo>
                    <a:pt x="2038" y="4"/>
                  </a:lnTo>
                  <a:lnTo>
                    <a:pt x="2017" y="4"/>
                  </a:lnTo>
                  <a:lnTo>
                    <a:pt x="1982" y="8"/>
                  </a:lnTo>
                  <a:lnTo>
                    <a:pt x="1957" y="8"/>
                  </a:lnTo>
                  <a:lnTo>
                    <a:pt x="1919" y="11"/>
                  </a:lnTo>
                  <a:lnTo>
                    <a:pt x="1901" y="11"/>
                  </a:lnTo>
                  <a:cubicBezTo>
                    <a:pt x="1842" y="89"/>
                    <a:pt x="1852" y="152"/>
                    <a:pt x="1866" y="260"/>
                  </a:cubicBezTo>
                  <a:cubicBezTo>
                    <a:pt x="1880" y="334"/>
                    <a:pt x="1887" y="411"/>
                    <a:pt x="1884" y="491"/>
                  </a:cubicBezTo>
                  <a:cubicBezTo>
                    <a:pt x="1887" y="565"/>
                    <a:pt x="1859" y="635"/>
                    <a:pt x="1807" y="687"/>
                  </a:cubicBezTo>
                  <a:cubicBezTo>
                    <a:pt x="1733" y="753"/>
                    <a:pt x="1625" y="767"/>
                    <a:pt x="1527" y="767"/>
                  </a:cubicBezTo>
                  <a:cubicBezTo>
                    <a:pt x="1495" y="767"/>
                    <a:pt x="1464" y="766"/>
                    <a:pt x="1436" y="764"/>
                  </a:cubicBezTo>
                  <a:lnTo>
                    <a:pt x="1376" y="764"/>
                  </a:lnTo>
                  <a:cubicBezTo>
                    <a:pt x="1233" y="764"/>
                    <a:pt x="1079" y="547"/>
                    <a:pt x="911" y="285"/>
                  </a:cubicBezTo>
                  <a:cubicBezTo>
                    <a:pt x="879" y="236"/>
                    <a:pt x="855" y="194"/>
                    <a:pt x="837" y="173"/>
                  </a:cubicBezTo>
                  <a:cubicBezTo>
                    <a:pt x="835" y="171"/>
                    <a:pt x="831" y="171"/>
                    <a:pt x="828" y="171"/>
                  </a:cubicBezTo>
                  <a:cubicBezTo>
                    <a:pt x="776" y="171"/>
                    <a:pt x="625" y="278"/>
                    <a:pt x="550" y="330"/>
                  </a:cubicBezTo>
                  <a:cubicBezTo>
                    <a:pt x="498" y="365"/>
                    <a:pt x="445" y="404"/>
                    <a:pt x="400" y="432"/>
                  </a:cubicBezTo>
                  <a:cubicBezTo>
                    <a:pt x="323" y="477"/>
                    <a:pt x="312" y="551"/>
                    <a:pt x="295" y="635"/>
                  </a:cubicBezTo>
                  <a:cubicBezTo>
                    <a:pt x="277" y="715"/>
                    <a:pt x="263" y="799"/>
                    <a:pt x="186" y="862"/>
                  </a:cubicBezTo>
                  <a:cubicBezTo>
                    <a:pt x="109" y="925"/>
                    <a:pt x="1" y="1065"/>
                    <a:pt x="116" y="1289"/>
                  </a:cubicBezTo>
                  <a:lnTo>
                    <a:pt x="130" y="1289"/>
                  </a:lnTo>
                  <a:lnTo>
                    <a:pt x="162" y="1286"/>
                  </a:lnTo>
                  <a:lnTo>
                    <a:pt x="193" y="1282"/>
                  </a:lnTo>
                  <a:lnTo>
                    <a:pt x="221" y="1275"/>
                  </a:lnTo>
                  <a:lnTo>
                    <a:pt x="249" y="1272"/>
                  </a:lnTo>
                  <a:lnTo>
                    <a:pt x="277" y="1268"/>
                  </a:lnTo>
                  <a:lnTo>
                    <a:pt x="305" y="1261"/>
                  </a:lnTo>
                  <a:lnTo>
                    <a:pt x="326" y="1254"/>
                  </a:lnTo>
                  <a:lnTo>
                    <a:pt x="351" y="1247"/>
                  </a:lnTo>
                  <a:lnTo>
                    <a:pt x="372" y="1244"/>
                  </a:lnTo>
                  <a:lnTo>
                    <a:pt x="396" y="1233"/>
                  </a:lnTo>
                  <a:lnTo>
                    <a:pt x="410" y="1226"/>
                  </a:lnTo>
                  <a:lnTo>
                    <a:pt x="435" y="1216"/>
                  </a:lnTo>
                  <a:lnTo>
                    <a:pt x="445" y="1212"/>
                  </a:lnTo>
                  <a:cubicBezTo>
                    <a:pt x="456" y="1205"/>
                    <a:pt x="466" y="1198"/>
                    <a:pt x="473" y="1195"/>
                  </a:cubicBezTo>
                  <a:cubicBezTo>
                    <a:pt x="544" y="1144"/>
                    <a:pt x="649" y="1128"/>
                    <a:pt x="763" y="1128"/>
                  </a:cubicBezTo>
                  <a:cubicBezTo>
                    <a:pt x="885" y="1128"/>
                    <a:pt x="1019" y="1147"/>
                    <a:pt x="1131" y="1163"/>
                  </a:cubicBezTo>
                  <a:cubicBezTo>
                    <a:pt x="1187" y="1170"/>
                    <a:pt x="1247" y="1177"/>
                    <a:pt x="1303" y="1181"/>
                  </a:cubicBezTo>
                  <a:cubicBezTo>
                    <a:pt x="1348" y="1181"/>
                    <a:pt x="1408" y="1188"/>
                    <a:pt x="1478" y="1195"/>
                  </a:cubicBezTo>
                  <a:cubicBezTo>
                    <a:pt x="1561" y="1204"/>
                    <a:pt x="1661" y="1215"/>
                    <a:pt x="1755" y="1215"/>
                  </a:cubicBezTo>
                  <a:cubicBezTo>
                    <a:pt x="1836" y="1215"/>
                    <a:pt x="1913" y="1207"/>
                    <a:pt x="1971" y="1184"/>
                  </a:cubicBezTo>
                  <a:cubicBezTo>
                    <a:pt x="2007" y="1171"/>
                    <a:pt x="2039" y="1166"/>
                    <a:pt x="2067" y="1166"/>
                  </a:cubicBezTo>
                  <a:cubicBezTo>
                    <a:pt x="2163" y="1166"/>
                    <a:pt x="2216" y="1227"/>
                    <a:pt x="2252" y="1265"/>
                  </a:cubicBezTo>
                  <a:cubicBezTo>
                    <a:pt x="2278" y="1298"/>
                    <a:pt x="2288" y="1308"/>
                    <a:pt x="2298" y="1308"/>
                  </a:cubicBezTo>
                  <a:cubicBezTo>
                    <a:pt x="2300" y="1308"/>
                    <a:pt x="2302" y="1307"/>
                    <a:pt x="2304" y="1307"/>
                  </a:cubicBezTo>
                  <a:cubicBezTo>
                    <a:pt x="2315" y="1303"/>
                    <a:pt x="2329" y="1303"/>
                    <a:pt x="2339" y="1303"/>
                  </a:cubicBezTo>
                  <a:lnTo>
                    <a:pt x="2371" y="1303"/>
                  </a:lnTo>
                  <a:cubicBezTo>
                    <a:pt x="2385" y="1303"/>
                    <a:pt x="2395" y="1307"/>
                    <a:pt x="2406" y="1310"/>
                  </a:cubicBezTo>
                  <a:lnTo>
                    <a:pt x="2423" y="1314"/>
                  </a:lnTo>
                  <a:lnTo>
                    <a:pt x="2444" y="1321"/>
                  </a:lnTo>
                  <a:lnTo>
                    <a:pt x="2465" y="1328"/>
                  </a:lnTo>
                  <a:lnTo>
                    <a:pt x="2483" y="1335"/>
                  </a:lnTo>
                  <a:lnTo>
                    <a:pt x="2504" y="1345"/>
                  </a:lnTo>
                  <a:lnTo>
                    <a:pt x="2521" y="1352"/>
                  </a:lnTo>
                  <a:lnTo>
                    <a:pt x="2546" y="1363"/>
                  </a:lnTo>
                  <a:lnTo>
                    <a:pt x="2560" y="1370"/>
                  </a:lnTo>
                  <a:lnTo>
                    <a:pt x="2584" y="1384"/>
                  </a:lnTo>
                  <a:lnTo>
                    <a:pt x="2598" y="1394"/>
                  </a:lnTo>
                  <a:lnTo>
                    <a:pt x="2623" y="1408"/>
                  </a:lnTo>
                  <a:lnTo>
                    <a:pt x="2637" y="1415"/>
                  </a:lnTo>
                  <a:lnTo>
                    <a:pt x="2661" y="1433"/>
                  </a:lnTo>
                  <a:lnTo>
                    <a:pt x="2675" y="1440"/>
                  </a:lnTo>
                  <a:lnTo>
                    <a:pt x="2700" y="1457"/>
                  </a:lnTo>
                  <a:lnTo>
                    <a:pt x="2710" y="1464"/>
                  </a:lnTo>
                  <a:lnTo>
                    <a:pt x="2735" y="1482"/>
                  </a:lnTo>
                  <a:lnTo>
                    <a:pt x="2745" y="1489"/>
                  </a:lnTo>
                  <a:lnTo>
                    <a:pt x="2766" y="1506"/>
                  </a:lnTo>
                  <a:lnTo>
                    <a:pt x="2780" y="1513"/>
                  </a:lnTo>
                  <a:lnTo>
                    <a:pt x="2798" y="1527"/>
                  </a:lnTo>
                  <a:lnTo>
                    <a:pt x="2812" y="1538"/>
                  </a:lnTo>
                  <a:lnTo>
                    <a:pt x="2829" y="1552"/>
                  </a:lnTo>
                  <a:lnTo>
                    <a:pt x="2843" y="1562"/>
                  </a:lnTo>
                  <a:lnTo>
                    <a:pt x="2854" y="1573"/>
                  </a:lnTo>
                  <a:lnTo>
                    <a:pt x="2878" y="1590"/>
                  </a:lnTo>
                  <a:cubicBezTo>
                    <a:pt x="2892" y="1604"/>
                    <a:pt x="2910" y="1618"/>
                    <a:pt x="2927" y="1629"/>
                  </a:cubicBezTo>
                  <a:lnTo>
                    <a:pt x="2948" y="1646"/>
                  </a:lnTo>
                  <a:lnTo>
                    <a:pt x="2983" y="1667"/>
                  </a:lnTo>
                  <a:lnTo>
                    <a:pt x="3011" y="1685"/>
                  </a:lnTo>
                  <a:lnTo>
                    <a:pt x="3043" y="1706"/>
                  </a:lnTo>
                  <a:lnTo>
                    <a:pt x="3078" y="1723"/>
                  </a:lnTo>
                  <a:lnTo>
                    <a:pt x="3088" y="1730"/>
                  </a:lnTo>
                  <a:cubicBezTo>
                    <a:pt x="3116" y="1702"/>
                    <a:pt x="3148" y="1674"/>
                    <a:pt x="3179" y="1653"/>
                  </a:cubicBezTo>
                  <a:cubicBezTo>
                    <a:pt x="3245" y="1604"/>
                    <a:pt x="3324" y="1579"/>
                    <a:pt x="3405" y="1579"/>
                  </a:cubicBezTo>
                  <a:cubicBezTo>
                    <a:pt x="3415" y="1579"/>
                    <a:pt x="3425" y="1579"/>
                    <a:pt x="3435" y="1580"/>
                  </a:cubicBezTo>
                  <a:cubicBezTo>
                    <a:pt x="3463" y="1580"/>
                    <a:pt x="3487" y="1583"/>
                    <a:pt x="3512" y="1587"/>
                  </a:cubicBezTo>
                  <a:cubicBezTo>
                    <a:pt x="3536" y="1590"/>
                    <a:pt x="3564" y="1590"/>
                    <a:pt x="3589" y="1590"/>
                  </a:cubicBezTo>
                  <a:cubicBezTo>
                    <a:pt x="3624" y="1590"/>
                    <a:pt x="3638" y="1573"/>
                    <a:pt x="3673" y="1517"/>
                  </a:cubicBezTo>
                  <a:cubicBezTo>
                    <a:pt x="3697" y="1478"/>
                    <a:pt x="3725" y="1443"/>
                    <a:pt x="3760" y="1412"/>
                  </a:cubicBezTo>
                  <a:cubicBezTo>
                    <a:pt x="3771" y="1405"/>
                    <a:pt x="3785" y="1398"/>
                    <a:pt x="3795" y="1391"/>
                  </a:cubicBezTo>
                  <a:lnTo>
                    <a:pt x="3806" y="1384"/>
                  </a:lnTo>
                  <a:cubicBezTo>
                    <a:pt x="3816" y="1377"/>
                    <a:pt x="3827" y="1373"/>
                    <a:pt x="3837" y="1366"/>
                  </a:cubicBezTo>
                  <a:lnTo>
                    <a:pt x="3848" y="1363"/>
                  </a:lnTo>
                  <a:cubicBezTo>
                    <a:pt x="3858" y="1359"/>
                    <a:pt x="3872" y="1356"/>
                    <a:pt x="3886" y="1349"/>
                  </a:cubicBezTo>
                  <a:cubicBezTo>
                    <a:pt x="3879" y="1328"/>
                    <a:pt x="3876" y="1303"/>
                    <a:pt x="3869" y="1275"/>
                  </a:cubicBezTo>
                  <a:cubicBezTo>
                    <a:pt x="3855" y="1212"/>
                    <a:pt x="3837" y="1135"/>
                    <a:pt x="3809" y="1107"/>
                  </a:cubicBezTo>
                  <a:cubicBezTo>
                    <a:pt x="3711" y="1009"/>
                    <a:pt x="3603" y="876"/>
                    <a:pt x="3613" y="764"/>
                  </a:cubicBezTo>
                  <a:cubicBezTo>
                    <a:pt x="3613" y="747"/>
                    <a:pt x="3617" y="733"/>
                    <a:pt x="3624" y="719"/>
                  </a:cubicBezTo>
                  <a:cubicBezTo>
                    <a:pt x="3631" y="705"/>
                    <a:pt x="3634" y="687"/>
                    <a:pt x="3638" y="670"/>
                  </a:cubicBezTo>
                  <a:cubicBezTo>
                    <a:pt x="3652" y="603"/>
                    <a:pt x="3627" y="533"/>
                    <a:pt x="3578" y="488"/>
                  </a:cubicBezTo>
                  <a:cubicBezTo>
                    <a:pt x="3571" y="481"/>
                    <a:pt x="3564" y="474"/>
                    <a:pt x="3561" y="467"/>
                  </a:cubicBezTo>
                  <a:lnTo>
                    <a:pt x="3550" y="460"/>
                  </a:lnTo>
                  <a:cubicBezTo>
                    <a:pt x="3526" y="428"/>
                    <a:pt x="3505" y="397"/>
                    <a:pt x="3487" y="362"/>
                  </a:cubicBezTo>
                  <a:lnTo>
                    <a:pt x="3459" y="358"/>
                  </a:lnTo>
                  <a:lnTo>
                    <a:pt x="3442" y="358"/>
                  </a:lnTo>
                  <a:lnTo>
                    <a:pt x="3389" y="351"/>
                  </a:lnTo>
                  <a:lnTo>
                    <a:pt x="3379" y="351"/>
                  </a:lnTo>
                  <a:lnTo>
                    <a:pt x="3326" y="348"/>
                  </a:lnTo>
                  <a:lnTo>
                    <a:pt x="3323" y="348"/>
                  </a:lnTo>
                  <a:lnTo>
                    <a:pt x="3270" y="341"/>
                  </a:lnTo>
                  <a:cubicBezTo>
                    <a:pt x="3221" y="334"/>
                    <a:pt x="3169" y="330"/>
                    <a:pt x="3119" y="330"/>
                  </a:cubicBezTo>
                  <a:cubicBezTo>
                    <a:pt x="3091" y="330"/>
                    <a:pt x="3063" y="331"/>
                    <a:pt x="3036" y="334"/>
                  </a:cubicBezTo>
                  <a:lnTo>
                    <a:pt x="3022" y="334"/>
                  </a:lnTo>
                  <a:cubicBezTo>
                    <a:pt x="3013" y="336"/>
                    <a:pt x="3004" y="337"/>
                    <a:pt x="2994" y="337"/>
                  </a:cubicBezTo>
                  <a:cubicBezTo>
                    <a:pt x="2912" y="337"/>
                    <a:pt x="2771" y="267"/>
                    <a:pt x="2444" y="18"/>
                  </a:cubicBezTo>
                  <a:lnTo>
                    <a:pt x="24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9" name="Google Shape;5169;p53"/>
            <p:cNvSpPr/>
            <p:nvPr/>
          </p:nvSpPr>
          <p:spPr>
            <a:xfrm>
              <a:off x="2244511" y="1573173"/>
              <a:ext cx="3476" cy="1113"/>
            </a:xfrm>
            <a:custGeom>
              <a:avLst/>
              <a:gdLst/>
              <a:ahLst/>
              <a:cxnLst/>
              <a:rect l="l" t="t" r="r" b="b"/>
              <a:pathLst>
                <a:path w="256" h="82" extrusionOk="0">
                  <a:moveTo>
                    <a:pt x="256" y="8"/>
                  </a:moveTo>
                  <a:cubicBezTo>
                    <a:pt x="165" y="1"/>
                    <a:pt x="74" y="25"/>
                    <a:pt x="0" y="81"/>
                  </a:cubicBezTo>
                  <a:cubicBezTo>
                    <a:pt x="74" y="25"/>
                    <a:pt x="165" y="1"/>
                    <a:pt x="256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0" name="Google Shape;5170;p53"/>
            <p:cNvSpPr/>
            <p:nvPr/>
          </p:nvSpPr>
          <p:spPr>
            <a:xfrm>
              <a:off x="2243316" y="1574273"/>
              <a:ext cx="1208" cy="1154"/>
            </a:xfrm>
            <a:custGeom>
              <a:avLst/>
              <a:gdLst/>
              <a:ahLst/>
              <a:cxnLst/>
              <a:rect l="l" t="t" r="r" b="b"/>
              <a:pathLst>
                <a:path w="89" h="85" extrusionOk="0">
                  <a:moveTo>
                    <a:pt x="88" y="0"/>
                  </a:moveTo>
                  <a:cubicBezTo>
                    <a:pt x="57" y="25"/>
                    <a:pt x="25" y="53"/>
                    <a:pt x="1" y="84"/>
                  </a:cubicBezTo>
                  <a:lnTo>
                    <a:pt x="1" y="84"/>
                  </a:lnTo>
                  <a:cubicBezTo>
                    <a:pt x="25" y="53"/>
                    <a:pt x="57" y="25"/>
                    <a:pt x="8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1" name="Google Shape;5171;p53"/>
            <p:cNvSpPr/>
            <p:nvPr/>
          </p:nvSpPr>
          <p:spPr>
            <a:xfrm>
              <a:off x="2252820" y="1570607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2" name="Google Shape;5172;p53"/>
            <p:cNvSpPr/>
            <p:nvPr/>
          </p:nvSpPr>
          <p:spPr>
            <a:xfrm>
              <a:off x="2253445" y="157032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3" name="Google Shape;5173;p53"/>
            <p:cNvSpPr/>
            <p:nvPr/>
          </p:nvSpPr>
          <p:spPr>
            <a:xfrm>
              <a:off x="2201973" y="1568516"/>
              <a:ext cx="40502" cy="24372"/>
            </a:xfrm>
            <a:custGeom>
              <a:avLst/>
              <a:gdLst/>
              <a:ahLst/>
              <a:cxnLst/>
              <a:rect l="l" t="t" r="r" b="b"/>
              <a:pathLst>
                <a:path w="2983" h="1795" extrusionOk="0">
                  <a:moveTo>
                    <a:pt x="709" y="0"/>
                  </a:moveTo>
                  <a:cubicBezTo>
                    <a:pt x="622" y="0"/>
                    <a:pt x="546" y="11"/>
                    <a:pt x="501" y="43"/>
                  </a:cubicBezTo>
                  <a:cubicBezTo>
                    <a:pt x="490" y="53"/>
                    <a:pt x="480" y="60"/>
                    <a:pt x="466" y="67"/>
                  </a:cubicBezTo>
                  <a:lnTo>
                    <a:pt x="455" y="74"/>
                  </a:lnTo>
                  <a:lnTo>
                    <a:pt x="427" y="88"/>
                  </a:lnTo>
                  <a:lnTo>
                    <a:pt x="410" y="95"/>
                  </a:lnTo>
                  <a:lnTo>
                    <a:pt x="382" y="106"/>
                  </a:lnTo>
                  <a:lnTo>
                    <a:pt x="361" y="113"/>
                  </a:lnTo>
                  <a:lnTo>
                    <a:pt x="329" y="123"/>
                  </a:lnTo>
                  <a:lnTo>
                    <a:pt x="308" y="127"/>
                  </a:lnTo>
                  <a:lnTo>
                    <a:pt x="270" y="137"/>
                  </a:lnTo>
                  <a:lnTo>
                    <a:pt x="252" y="141"/>
                  </a:lnTo>
                  <a:cubicBezTo>
                    <a:pt x="231" y="144"/>
                    <a:pt x="210" y="148"/>
                    <a:pt x="189" y="151"/>
                  </a:cubicBezTo>
                  <a:lnTo>
                    <a:pt x="126" y="162"/>
                  </a:lnTo>
                  <a:cubicBezTo>
                    <a:pt x="200" y="358"/>
                    <a:pt x="161" y="578"/>
                    <a:pt x="25" y="739"/>
                  </a:cubicBezTo>
                  <a:cubicBezTo>
                    <a:pt x="18" y="750"/>
                    <a:pt x="7" y="760"/>
                    <a:pt x="0" y="771"/>
                  </a:cubicBezTo>
                  <a:lnTo>
                    <a:pt x="18" y="781"/>
                  </a:lnTo>
                  <a:lnTo>
                    <a:pt x="46" y="778"/>
                  </a:lnTo>
                  <a:lnTo>
                    <a:pt x="88" y="774"/>
                  </a:lnTo>
                  <a:lnTo>
                    <a:pt x="98" y="774"/>
                  </a:lnTo>
                  <a:lnTo>
                    <a:pt x="144" y="771"/>
                  </a:lnTo>
                  <a:lnTo>
                    <a:pt x="238" y="771"/>
                  </a:lnTo>
                  <a:cubicBezTo>
                    <a:pt x="298" y="771"/>
                    <a:pt x="350" y="799"/>
                    <a:pt x="385" y="841"/>
                  </a:cubicBezTo>
                  <a:cubicBezTo>
                    <a:pt x="427" y="901"/>
                    <a:pt x="553" y="946"/>
                    <a:pt x="609" y="946"/>
                  </a:cubicBezTo>
                  <a:cubicBezTo>
                    <a:pt x="618" y="946"/>
                    <a:pt x="625" y="945"/>
                    <a:pt x="630" y="943"/>
                  </a:cubicBezTo>
                  <a:lnTo>
                    <a:pt x="634" y="939"/>
                  </a:lnTo>
                  <a:cubicBezTo>
                    <a:pt x="652" y="931"/>
                    <a:pt x="672" y="928"/>
                    <a:pt x="692" y="928"/>
                  </a:cubicBezTo>
                  <a:cubicBezTo>
                    <a:pt x="709" y="928"/>
                    <a:pt x="726" y="931"/>
                    <a:pt x="742" y="936"/>
                  </a:cubicBezTo>
                  <a:lnTo>
                    <a:pt x="760" y="939"/>
                  </a:lnTo>
                  <a:cubicBezTo>
                    <a:pt x="802" y="950"/>
                    <a:pt x="840" y="967"/>
                    <a:pt x="879" y="992"/>
                  </a:cubicBezTo>
                  <a:lnTo>
                    <a:pt x="882" y="995"/>
                  </a:lnTo>
                  <a:cubicBezTo>
                    <a:pt x="935" y="1027"/>
                    <a:pt x="1026" y="1093"/>
                    <a:pt x="1026" y="1181"/>
                  </a:cubicBezTo>
                  <a:cubicBezTo>
                    <a:pt x="1026" y="1216"/>
                    <a:pt x="1019" y="1261"/>
                    <a:pt x="1012" y="1317"/>
                  </a:cubicBezTo>
                  <a:cubicBezTo>
                    <a:pt x="1005" y="1380"/>
                    <a:pt x="1001" y="1447"/>
                    <a:pt x="1001" y="1510"/>
                  </a:cubicBezTo>
                  <a:cubicBezTo>
                    <a:pt x="1106" y="1534"/>
                    <a:pt x="1208" y="1573"/>
                    <a:pt x="1302" y="1632"/>
                  </a:cubicBezTo>
                  <a:lnTo>
                    <a:pt x="1313" y="1664"/>
                  </a:lnTo>
                  <a:lnTo>
                    <a:pt x="1337" y="1678"/>
                  </a:lnTo>
                  <a:lnTo>
                    <a:pt x="1358" y="1695"/>
                  </a:lnTo>
                  <a:cubicBezTo>
                    <a:pt x="1386" y="1713"/>
                    <a:pt x="1407" y="1737"/>
                    <a:pt x="1428" y="1762"/>
                  </a:cubicBezTo>
                  <a:cubicBezTo>
                    <a:pt x="1432" y="1772"/>
                    <a:pt x="1439" y="1779"/>
                    <a:pt x="1442" y="1790"/>
                  </a:cubicBezTo>
                  <a:lnTo>
                    <a:pt x="1810" y="1790"/>
                  </a:lnTo>
                  <a:cubicBezTo>
                    <a:pt x="1824" y="1793"/>
                    <a:pt x="1838" y="1795"/>
                    <a:pt x="1851" y="1795"/>
                  </a:cubicBezTo>
                  <a:cubicBezTo>
                    <a:pt x="1916" y="1795"/>
                    <a:pt x="1964" y="1751"/>
                    <a:pt x="2020" y="1681"/>
                  </a:cubicBezTo>
                  <a:cubicBezTo>
                    <a:pt x="2101" y="1580"/>
                    <a:pt x="2332" y="1552"/>
                    <a:pt x="2409" y="1545"/>
                  </a:cubicBezTo>
                  <a:cubicBezTo>
                    <a:pt x="2419" y="1503"/>
                    <a:pt x="2430" y="1457"/>
                    <a:pt x="2433" y="1415"/>
                  </a:cubicBezTo>
                  <a:cubicBezTo>
                    <a:pt x="2433" y="1387"/>
                    <a:pt x="2437" y="1359"/>
                    <a:pt x="2444" y="1338"/>
                  </a:cubicBezTo>
                  <a:cubicBezTo>
                    <a:pt x="2465" y="1230"/>
                    <a:pt x="2647" y="1069"/>
                    <a:pt x="2762" y="1030"/>
                  </a:cubicBezTo>
                  <a:cubicBezTo>
                    <a:pt x="2783" y="1023"/>
                    <a:pt x="2794" y="1009"/>
                    <a:pt x="2811" y="981"/>
                  </a:cubicBezTo>
                  <a:cubicBezTo>
                    <a:pt x="2836" y="921"/>
                    <a:pt x="2895" y="883"/>
                    <a:pt x="2958" y="883"/>
                  </a:cubicBezTo>
                  <a:lnTo>
                    <a:pt x="2965" y="883"/>
                  </a:lnTo>
                  <a:cubicBezTo>
                    <a:pt x="2965" y="883"/>
                    <a:pt x="2983" y="858"/>
                    <a:pt x="2958" y="750"/>
                  </a:cubicBezTo>
                  <a:cubicBezTo>
                    <a:pt x="2948" y="697"/>
                    <a:pt x="2955" y="641"/>
                    <a:pt x="2976" y="589"/>
                  </a:cubicBezTo>
                  <a:lnTo>
                    <a:pt x="2965" y="585"/>
                  </a:lnTo>
                  <a:lnTo>
                    <a:pt x="2930" y="561"/>
                  </a:lnTo>
                  <a:lnTo>
                    <a:pt x="2892" y="540"/>
                  </a:lnTo>
                  <a:lnTo>
                    <a:pt x="2864" y="522"/>
                  </a:lnTo>
                  <a:lnTo>
                    <a:pt x="2822" y="494"/>
                  </a:lnTo>
                  <a:lnTo>
                    <a:pt x="2801" y="480"/>
                  </a:lnTo>
                  <a:cubicBezTo>
                    <a:pt x="2783" y="466"/>
                    <a:pt x="2762" y="452"/>
                    <a:pt x="2745" y="438"/>
                  </a:cubicBezTo>
                  <a:cubicBezTo>
                    <a:pt x="2560" y="283"/>
                    <a:pt x="2372" y="178"/>
                    <a:pt x="2293" y="178"/>
                  </a:cubicBezTo>
                  <a:cubicBezTo>
                    <a:pt x="2288" y="178"/>
                    <a:pt x="2283" y="179"/>
                    <a:pt x="2279" y="179"/>
                  </a:cubicBezTo>
                  <a:cubicBezTo>
                    <a:pt x="2269" y="181"/>
                    <a:pt x="2259" y="182"/>
                    <a:pt x="2249" y="182"/>
                  </a:cubicBezTo>
                  <a:cubicBezTo>
                    <a:pt x="2179" y="182"/>
                    <a:pt x="2131" y="130"/>
                    <a:pt x="2101" y="99"/>
                  </a:cubicBezTo>
                  <a:lnTo>
                    <a:pt x="2087" y="81"/>
                  </a:lnTo>
                  <a:cubicBezTo>
                    <a:pt x="2069" y="57"/>
                    <a:pt x="2045" y="43"/>
                    <a:pt x="2013" y="43"/>
                  </a:cubicBezTo>
                  <a:cubicBezTo>
                    <a:pt x="1999" y="43"/>
                    <a:pt x="1985" y="46"/>
                    <a:pt x="1971" y="53"/>
                  </a:cubicBezTo>
                  <a:cubicBezTo>
                    <a:pt x="1929" y="67"/>
                    <a:pt x="1887" y="78"/>
                    <a:pt x="1841" y="81"/>
                  </a:cubicBezTo>
                  <a:cubicBezTo>
                    <a:pt x="1808" y="86"/>
                    <a:pt x="1773" y="90"/>
                    <a:pt x="1739" y="90"/>
                  </a:cubicBezTo>
                  <a:cubicBezTo>
                    <a:pt x="1726" y="90"/>
                    <a:pt x="1714" y="89"/>
                    <a:pt x="1701" y="88"/>
                  </a:cubicBezTo>
                  <a:cubicBezTo>
                    <a:pt x="1603" y="88"/>
                    <a:pt x="1505" y="78"/>
                    <a:pt x="1418" y="71"/>
                  </a:cubicBezTo>
                  <a:cubicBezTo>
                    <a:pt x="1351" y="64"/>
                    <a:pt x="1295" y="57"/>
                    <a:pt x="1253" y="57"/>
                  </a:cubicBezTo>
                  <a:cubicBezTo>
                    <a:pt x="1190" y="53"/>
                    <a:pt x="1127" y="46"/>
                    <a:pt x="1064" y="36"/>
                  </a:cubicBezTo>
                  <a:cubicBezTo>
                    <a:pt x="960" y="20"/>
                    <a:pt x="825" y="0"/>
                    <a:pt x="7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4" name="Google Shape;5174;p53"/>
            <p:cNvSpPr/>
            <p:nvPr/>
          </p:nvSpPr>
          <p:spPr>
            <a:xfrm>
              <a:off x="2219786" y="15910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5" name="Google Shape;5175;p53"/>
            <p:cNvSpPr/>
            <p:nvPr/>
          </p:nvSpPr>
          <p:spPr>
            <a:xfrm>
              <a:off x="2220072" y="1591285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6" name="Google Shape;5176;p53"/>
            <p:cNvSpPr/>
            <p:nvPr/>
          </p:nvSpPr>
          <p:spPr>
            <a:xfrm>
              <a:off x="2220411" y="1591530"/>
              <a:ext cx="1154" cy="1290"/>
            </a:xfrm>
            <a:custGeom>
              <a:avLst/>
              <a:gdLst/>
              <a:ahLst/>
              <a:cxnLst/>
              <a:rect l="l" t="t" r="r" b="b"/>
              <a:pathLst>
                <a:path w="85" h="95" extrusionOk="0">
                  <a:moveTo>
                    <a:pt x="0" y="0"/>
                  </a:moveTo>
                  <a:cubicBezTo>
                    <a:pt x="12" y="9"/>
                    <a:pt x="22" y="17"/>
                    <a:pt x="31" y="26"/>
                  </a:cubicBezTo>
                  <a:lnTo>
                    <a:pt x="31" y="26"/>
                  </a:lnTo>
                  <a:cubicBezTo>
                    <a:pt x="21" y="16"/>
                    <a:pt x="11" y="8"/>
                    <a:pt x="0" y="0"/>
                  </a:cubicBezTo>
                  <a:close/>
                  <a:moveTo>
                    <a:pt x="31" y="26"/>
                  </a:moveTo>
                  <a:cubicBezTo>
                    <a:pt x="52" y="46"/>
                    <a:pt x="70" y="71"/>
                    <a:pt x="84" y="95"/>
                  </a:cubicBezTo>
                  <a:cubicBezTo>
                    <a:pt x="81" y="88"/>
                    <a:pt x="74" y="77"/>
                    <a:pt x="70" y="70"/>
                  </a:cubicBezTo>
                  <a:cubicBezTo>
                    <a:pt x="58" y="53"/>
                    <a:pt x="45" y="39"/>
                    <a:pt x="31" y="2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7" name="Google Shape;5177;p53"/>
            <p:cNvSpPr/>
            <p:nvPr/>
          </p:nvSpPr>
          <p:spPr>
            <a:xfrm>
              <a:off x="2223547" y="1592901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8" name="Google Shape;5178;p53"/>
            <p:cNvSpPr/>
            <p:nvPr/>
          </p:nvSpPr>
          <p:spPr>
            <a:xfrm>
              <a:off x="2222312" y="1592860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0" y="0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9" name="Google Shape;5179;p53"/>
            <p:cNvSpPr/>
            <p:nvPr/>
          </p:nvSpPr>
          <p:spPr>
            <a:xfrm>
              <a:off x="2224878" y="159299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0" name="Google Shape;5180;p53"/>
            <p:cNvSpPr/>
            <p:nvPr/>
          </p:nvSpPr>
          <p:spPr>
            <a:xfrm>
              <a:off x="2222923" y="1592860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0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1" name="Google Shape;5181;p53"/>
            <p:cNvSpPr/>
            <p:nvPr/>
          </p:nvSpPr>
          <p:spPr>
            <a:xfrm>
              <a:off x="2224023" y="15929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2" name="Google Shape;5182;p53"/>
            <p:cNvSpPr/>
            <p:nvPr/>
          </p:nvSpPr>
          <p:spPr>
            <a:xfrm>
              <a:off x="2221592" y="1592806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1" y="1"/>
                  </a:moveTo>
                  <a:lnTo>
                    <a:pt x="4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3" name="Google Shape;5183;p53"/>
            <p:cNvSpPr/>
            <p:nvPr/>
          </p:nvSpPr>
          <p:spPr>
            <a:xfrm>
              <a:off x="2224444" y="15929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4" name="Google Shape;5184;p53"/>
            <p:cNvSpPr/>
            <p:nvPr/>
          </p:nvSpPr>
          <p:spPr>
            <a:xfrm>
              <a:off x="2225204" y="159299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5" name="Google Shape;5185;p53"/>
            <p:cNvSpPr/>
            <p:nvPr/>
          </p:nvSpPr>
          <p:spPr>
            <a:xfrm>
              <a:off x="2242081" y="1576934"/>
              <a:ext cx="353" cy="2200"/>
            </a:xfrm>
            <a:custGeom>
              <a:avLst/>
              <a:gdLst/>
              <a:ahLst/>
              <a:cxnLst/>
              <a:rect l="l" t="t" r="r" b="b"/>
              <a:pathLst>
                <a:path w="26" h="162" extrusionOk="0">
                  <a:moveTo>
                    <a:pt x="25" y="0"/>
                  </a:moveTo>
                  <a:lnTo>
                    <a:pt x="25" y="0"/>
                  </a:lnTo>
                  <a:cubicBezTo>
                    <a:pt x="4" y="53"/>
                    <a:pt x="1" y="109"/>
                    <a:pt x="11" y="161"/>
                  </a:cubicBezTo>
                  <a:cubicBezTo>
                    <a:pt x="1" y="109"/>
                    <a:pt x="4" y="53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6" name="Google Shape;5186;p53"/>
            <p:cNvSpPr/>
            <p:nvPr/>
          </p:nvSpPr>
          <p:spPr>
            <a:xfrm>
              <a:off x="2225489" y="159305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7" name="Google Shape;5187;p53"/>
            <p:cNvSpPr/>
            <p:nvPr/>
          </p:nvSpPr>
          <p:spPr>
            <a:xfrm>
              <a:off x="2226494" y="15931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8" name="Google Shape;5188;p53"/>
            <p:cNvSpPr/>
            <p:nvPr/>
          </p:nvSpPr>
          <p:spPr>
            <a:xfrm>
              <a:off x="2226439" y="15931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9" name="Google Shape;5189;p53"/>
            <p:cNvSpPr/>
            <p:nvPr/>
          </p:nvSpPr>
          <p:spPr>
            <a:xfrm>
              <a:off x="2226154" y="159314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0" name="Google Shape;5190;p53"/>
            <p:cNvSpPr/>
            <p:nvPr/>
          </p:nvSpPr>
          <p:spPr>
            <a:xfrm>
              <a:off x="2226304" y="15931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1" name="Google Shape;5191;p53"/>
            <p:cNvSpPr/>
            <p:nvPr/>
          </p:nvSpPr>
          <p:spPr>
            <a:xfrm>
              <a:off x="2225964" y="15930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2" name="Google Shape;5192;p53"/>
            <p:cNvSpPr/>
            <p:nvPr/>
          </p:nvSpPr>
          <p:spPr>
            <a:xfrm>
              <a:off x="2225774" y="15930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3" name="Google Shape;5193;p53"/>
            <p:cNvSpPr/>
            <p:nvPr/>
          </p:nvSpPr>
          <p:spPr>
            <a:xfrm>
              <a:off x="2240044" y="157545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"/>
                  </a:moveTo>
                  <a:lnTo>
                    <a:pt x="2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4" name="Google Shape;5194;p53"/>
            <p:cNvSpPr/>
            <p:nvPr/>
          </p:nvSpPr>
          <p:spPr>
            <a:xfrm>
              <a:off x="2206195" y="1570566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5" name="Google Shape;5195;p53"/>
            <p:cNvSpPr/>
            <p:nvPr/>
          </p:nvSpPr>
          <p:spPr>
            <a:xfrm>
              <a:off x="2208151" y="1569806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7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6" name="Google Shape;5196;p53"/>
            <p:cNvSpPr/>
            <p:nvPr/>
          </p:nvSpPr>
          <p:spPr>
            <a:xfrm>
              <a:off x="2225109" y="1570036"/>
              <a:ext cx="1914" cy="109"/>
            </a:xfrm>
            <a:custGeom>
              <a:avLst/>
              <a:gdLst/>
              <a:ahLst/>
              <a:cxnLst/>
              <a:rect l="l" t="t" r="r" b="b"/>
              <a:pathLst>
                <a:path w="141" h="8" extrusionOk="0">
                  <a:moveTo>
                    <a:pt x="141" y="1"/>
                  </a:moveTo>
                  <a:cubicBezTo>
                    <a:pt x="92" y="4"/>
                    <a:pt x="46" y="8"/>
                    <a:pt x="1" y="8"/>
                  </a:cubicBezTo>
                  <a:cubicBezTo>
                    <a:pt x="46" y="8"/>
                    <a:pt x="92" y="4"/>
                    <a:pt x="1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7" name="Google Shape;5197;p53"/>
            <p:cNvSpPr/>
            <p:nvPr/>
          </p:nvSpPr>
          <p:spPr>
            <a:xfrm>
              <a:off x="2207526" y="157009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8" name="Google Shape;5198;p53"/>
            <p:cNvSpPr/>
            <p:nvPr/>
          </p:nvSpPr>
          <p:spPr>
            <a:xfrm>
              <a:off x="2240899" y="1576024"/>
              <a:ext cx="339" cy="204"/>
            </a:xfrm>
            <a:custGeom>
              <a:avLst/>
              <a:gdLst/>
              <a:ahLst/>
              <a:cxnLst/>
              <a:rect l="l" t="t" r="r" b="b"/>
              <a:pathLst>
                <a:path w="25" h="15" extrusionOk="0">
                  <a:moveTo>
                    <a:pt x="0" y="1"/>
                  </a:moveTo>
                  <a:lnTo>
                    <a:pt x="25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9" name="Google Shape;5199;p53"/>
            <p:cNvSpPr/>
            <p:nvPr/>
          </p:nvSpPr>
          <p:spPr>
            <a:xfrm>
              <a:off x="2206915" y="1570322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0" name="Google Shape;5200;p53"/>
            <p:cNvSpPr/>
            <p:nvPr/>
          </p:nvSpPr>
          <p:spPr>
            <a:xfrm>
              <a:off x="2241755" y="1576554"/>
              <a:ext cx="530" cy="299"/>
            </a:xfrm>
            <a:custGeom>
              <a:avLst/>
              <a:gdLst/>
              <a:ahLst/>
              <a:cxnLst/>
              <a:rect l="l" t="t" r="r" b="b"/>
              <a:pathLst>
                <a:path w="39" h="22" extrusionOk="0">
                  <a:moveTo>
                    <a:pt x="0" y="0"/>
                  </a:moveTo>
                  <a:lnTo>
                    <a:pt x="39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1" name="Google Shape;5201;p53"/>
            <p:cNvSpPr/>
            <p:nvPr/>
          </p:nvSpPr>
          <p:spPr>
            <a:xfrm>
              <a:off x="2204539" y="157094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2" name="Google Shape;5202;p53"/>
            <p:cNvSpPr/>
            <p:nvPr/>
          </p:nvSpPr>
          <p:spPr>
            <a:xfrm>
              <a:off x="2229345" y="1569466"/>
              <a:ext cx="1018" cy="543"/>
            </a:xfrm>
            <a:custGeom>
              <a:avLst/>
              <a:gdLst/>
              <a:ahLst/>
              <a:cxnLst/>
              <a:rect l="l" t="t" r="r" b="b"/>
              <a:pathLst>
                <a:path w="75" h="40" extrusionOk="0">
                  <a:moveTo>
                    <a:pt x="74" y="39"/>
                  </a:moveTo>
                  <a:cubicBezTo>
                    <a:pt x="57" y="15"/>
                    <a:pt x="29" y="1"/>
                    <a:pt x="1" y="1"/>
                  </a:cubicBezTo>
                  <a:cubicBezTo>
                    <a:pt x="29" y="1"/>
                    <a:pt x="57" y="15"/>
                    <a:pt x="74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3" name="Google Shape;5203;p53"/>
            <p:cNvSpPr/>
            <p:nvPr/>
          </p:nvSpPr>
          <p:spPr>
            <a:xfrm>
              <a:off x="2205394" y="157075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4" name="Google Shape;5204;p53"/>
            <p:cNvSpPr/>
            <p:nvPr/>
          </p:nvSpPr>
          <p:spPr>
            <a:xfrm>
              <a:off x="2095783" y="1657326"/>
              <a:ext cx="30481" cy="15641"/>
            </a:xfrm>
            <a:custGeom>
              <a:avLst/>
              <a:gdLst/>
              <a:ahLst/>
              <a:cxnLst/>
              <a:rect l="l" t="t" r="r" b="b"/>
              <a:pathLst>
                <a:path w="2245" h="1152" extrusionOk="0">
                  <a:moveTo>
                    <a:pt x="1318" y="1"/>
                  </a:moveTo>
                  <a:cubicBezTo>
                    <a:pt x="1265" y="1"/>
                    <a:pt x="1219" y="15"/>
                    <a:pt x="1159" y="45"/>
                  </a:cubicBezTo>
                  <a:lnTo>
                    <a:pt x="1155" y="48"/>
                  </a:lnTo>
                  <a:lnTo>
                    <a:pt x="1148" y="48"/>
                  </a:lnTo>
                  <a:lnTo>
                    <a:pt x="1138" y="52"/>
                  </a:lnTo>
                  <a:lnTo>
                    <a:pt x="1127" y="55"/>
                  </a:lnTo>
                  <a:lnTo>
                    <a:pt x="1124" y="55"/>
                  </a:lnTo>
                  <a:lnTo>
                    <a:pt x="1113" y="59"/>
                  </a:lnTo>
                  <a:lnTo>
                    <a:pt x="1106" y="59"/>
                  </a:lnTo>
                  <a:lnTo>
                    <a:pt x="1096" y="62"/>
                  </a:lnTo>
                  <a:lnTo>
                    <a:pt x="1089" y="62"/>
                  </a:lnTo>
                  <a:lnTo>
                    <a:pt x="1075" y="66"/>
                  </a:lnTo>
                  <a:lnTo>
                    <a:pt x="714" y="66"/>
                  </a:lnTo>
                  <a:cubicBezTo>
                    <a:pt x="697" y="104"/>
                    <a:pt x="658" y="132"/>
                    <a:pt x="613" y="139"/>
                  </a:cubicBezTo>
                  <a:lnTo>
                    <a:pt x="595" y="139"/>
                  </a:lnTo>
                  <a:cubicBezTo>
                    <a:pt x="494" y="153"/>
                    <a:pt x="413" y="220"/>
                    <a:pt x="382" y="318"/>
                  </a:cubicBezTo>
                  <a:cubicBezTo>
                    <a:pt x="364" y="395"/>
                    <a:pt x="301" y="447"/>
                    <a:pt x="228" y="514"/>
                  </a:cubicBezTo>
                  <a:lnTo>
                    <a:pt x="196" y="542"/>
                  </a:lnTo>
                  <a:cubicBezTo>
                    <a:pt x="123" y="598"/>
                    <a:pt x="63" y="675"/>
                    <a:pt x="28" y="763"/>
                  </a:cubicBezTo>
                  <a:cubicBezTo>
                    <a:pt x="14" y="798"/>
                    <a:pt x="7" y="833"/>
                    <a:pt x="0" y="868"/>
                  </a:cubicBezTo>
                  <a:cubicBezTo>
                    <a:pt x="7" y="857"/>
                    <a:pt x="18" y="850"/>
                    <a:pt x="28" y="840"/>
                  </a:cubicBezTo>
                  <a:lnTo>
                    <a:pt x="35" y="833"/>
                  </a:lnTo>
                  <a:cubicBezTo>
                    <a:pt x="42" y="829"/>
                    <a:pt x="49" y="822"/>
                    <a:pt x="56" y="819"/>
                  </a:cubicBezTo>
                  <a:lnTo>
                    <a:pt x="63" y="812"/>
                  </a:lnTo>
                  <a:cubicBezTo>
                    <a:pt x="74" y="805"/>
                    <a:pt x="84" y="801"/>
                    <a:pt x="91" y="798"/>
                  </a:cubicBezTo>
                  <a:lnTo>
                    <a:pt x="98" y="794"/>
                  </a:lnTo>
                  <a:cubicBezTo>
                    <a:pt x="105" y="791"/>
                    <a:pt x="112" y="787"/>
                    <a:pt x="123" y="787"/>
                  </a:cubicBezTo>
                  <a:lnTo>
                    <a:pt x="130" y="784"/>
                  </a:lnTo>
                  <a:cubicBezTo>
                    <a:pt x="137" y="784"/>
                    <a:pt x="144" y="780"/>
                    <a:pt x="154" y="780"/>
                  </a:cubicBezTo>
                  <a:lnTo>
                    <a:pt x="210" y="780"/>
                  </a:lnTo>
                  <a:cubicBezTo>
                    <a:pt x="221" y="780"/>
                    <a:pt x="228" y="784"/>
                    <a:pt x="238" y="787"/>
                  </a:cubicBezTo>
                  <a:cubicBezTo>
                    <a:pt x="305" y="812"/>
                    <a:pt x="347" y="875"/>
                    <a:pt x="347" y="948"/>
                  </a:cubicBezTo>
                  <a:cubicBezTo>
                    <a:pt x="347" y="966"/>
                    <a:pt x="357" y="980"/>
                    <a:pt x="382" y="1008"/>
                  </a:cubicBezTo>
                  <a:lnTo>
                    <a:pt x="396" y="1022"/>
                  </a:lnTo>
                  <a:lnTo>
                    <a:pt x="399" y="1025"/>
                  </a:lnTo>
                  <a:lnTo>
                    <a:pt x="410" y="1039"/>
                  </a:lnTo>
                  <a:lnTo>
                    <a:pt x="413" y="1046"/>
                  </a:lnTo>
                  <a:cubicBezTo>
                    <a:pt x="417" y="1050"/>
                    <a:pt x="424" y="1057"/>
                    <a:pt x="427" y="1064"/>
                  </a:cubicBezTo>
                  <a:lnTo>
                    <a:pt x="427" y="1067"/>
                  </a:lnTo>
                  <a:cubicBezTo>
                    <a:pt x="431" y="1074"/>
                    <a:pt x="434" y="1081"/>
                    <a:pt x="438" y="1088"/>
                  </a:cubicBezTo>
                  <a:lnTo>
                    <a:pt x="441" y="1095"/>
                  </a:lnTo>
                  <a:cubicBezTo>
                    <a:pt x="441" y="1102"/>
                    <a:pt x="445" y="1109"/>
                    <a:pt x="445" y="1116"/>
                  </a:cubicBezTo>
                  <a:lnTo>
                    <a:pt x="445" y="1123"/>
                  </a:lnTo>
                  <a:cubicBezTo>
                    <a:pt x="448" y="1130"/>
                    <a:pt x="448" y="1141"/>
                    <a:pt x="448" y="1151"/>
                  </a:cubicBezTo>
                  <a:lnTo>
                    <a:pt x="553" y="1141"/>
                  </a:lnTo>
                  <a:lnTo>
                    <a:pt x="585" y="1141"/>
                  </a:lnTo>
                  <a:lnTo>
                    <a:pt x="655" y="1137"/>
                  </a:lnTo>
                  <a:lnTo>
                    <a:pt x="837" y="1137"/>
                  </a:lnTo>
                  <a:cubicBezTo>
                    <a:pt x="875" y="1127"/>
                    <a:pt x="952" y="969"/>
                    <a:pt x="980" y="910"/>
                  </a:cubicBezTo>
                  <a:cubicBezTo>
                    <a:pt x="1026" y="822"/>
                    <a:pt x="1043" y="780"/>
                    <a:pt x="1075" y="759"/>
                  </a:cubicBezTo>
                  <a:cubicBezTo>
                    <a:pt x="1088" y="751"/>
                    <a:pt x="1104" y="746"/>
                    <a:pt x="1120" y="746"/>
                  </a:cubicBezTo>
                  <a:cubicBezTo>
                    <a:pt x="1126" y="746"/>
                    <a:pt x="1132" y="747"/>
                    <a:pt x="1138" y="749"/>
                  </a:cubicBezTo>
                  <a:cubicBezTo>
                    <a:pt x="1187" y="759"/>
                    <a:pt x="1225" y="812"/>
                    <a:pt x="1299" y="924"/>
                  </a:cubicBezTo>
                  <a:cubicBezTo>
                    <a:pt x="1344" y="1001"/>
                    <a:pt x="1400" y="1071"/>
                    <a:pt x="1463" y="1134"/>
                  </a:cubicBezTo>
                  <a:cubicBezTo>
                    <a:pt x="1467" y="1141"/>
                    <a:pt x="1470" y="1144"/>
                    <a:pt x="1477" y="1148"/>
                  </a:cubicBezTo>
                  <a:cubicBezTo>
                    <a:pt x="1495" y="1095"/>
                    <a:pt x="1502" y="1043"/>
                    <a:pt x="1499" y="990"/>
                  </a:cubicBezTo>
                  <a:cubicBezTo>
                    <a:pt x="1499" y="938"/>
                    <a:pt x="1523" y="892"/>
                    <a:pt x="1562" y="861"/>
                  </a:cubicBezTo>
                  <a:cubicBezTo>
                    <a:pt x="1606" y="827"/>
                    <a:pt x="1660" y="808"/>
                    <a:pt x="1715" y="808"/>
                  </a:cubicBezTo>
                  <a:cubicBezTo>
                    <a:pt x="1734" y="808"/>
                    <a:pt x="1753" y="811"/>
                    <a:pt x="1772" y="815"/>
                  </a:cubicBezTo>
                  <a:cubicBezTo>
                    <a:pt x="1830" y="827"/>
                    <a:pt x="1871" y="831"/>
                    <a:pt x="1898" y="831"/>
                  </a:cubicBezTo>
                  <a:cubicBezTo>
                    <a:pt x="1940" y="831"/>
                    <a:pt x="1950" y="822"/>
                    <a:pt x="1950" y="822"/>
                  </a:cubicBezTo>
                  <a:cubicBezTo>
                    <a:pt x="1950" y="819"/>
                    <a:pt x="1950" y="815"/>
                    <a:pt x="1950" y="815"/>
                  </a:cubicBezTo>
                  <a:cubicBezTo>
                    <a:pt x="1950" y="773"/>
                    <a:pt x="1964" y="731"/>
                    <a:pt x="1996" y="703"/>
                  </a:cubicBezTo>
                  <a:cubicBezTo>
                    <a:pt x="2025" y="683"/>
                    <a:pt x="2060" y="672"/>
                    <a:pt x="2096" y="672"/>
                  </a:cubicBezTo>
                  <a:cubicBezTo>
                    <a:pt x="2111" y="672"/>
                    <a:pt x="2127" y="674"/>
                    <a:pt x="2143" y="679"/>
                  </a:cubicBezTo>
                  <a:cubicBezTo>
                    <a:pt x="2153" y="679"/>
                    <a:pt x="2164" y="682"/>
                    <a:pt x="2171" y="686"/>
                  </a:cubicBezTo>
                  <a:cubicBezTo>
                    <a:pt x="2185" y="661"/>
                    <a:pt x="2192" y="637"/>
                    <a:pt x="2195" y="612"/>
                  </a:cubicBezTo>
                  <a:lnTo>
                    <a:pt x="2199" y="587"/>
                  </a:lnTo>
                  <a:lnTo>
                    <a:pt x="2244" y="545"/>
                  </a:lnTo>
                  <a:lnTo>
                    <a:pt x="2244" y="538"/>
                  </a:lnTo>
                  <a:cubicBezTo>
                    <a:pt x="2234" y="535"/>
                    <a:pt x="2223" y="535"/>
                    <a:pt x="2213" y="531"/>
                  </a:cubicBezTo>
                  <a:lnTo>
                    <a:pt x="2150" y="531"/>
                  </a:lnTo>
                  <a:cubicBezTo>
                    <a:pt x="2139" y="535"/>
                    <a:pt x="2132" y="535"/>
                    <a:pt x="2122" y="542"/>
                  </a:cubicBezTo>
                  <a:lnTo>
                    <a:pt x="2115" y="545"/>
                  </a:lnTo>
                  <a:cubicBezTo>
                    <a:pt x="2094" y="553"/>
                    <a:pt x="2071" y="557"/>
                    <a:pt x="2047" y="557"/>
                  </a:cubicBezTo>
                  <a:cubicBezTo>
                    <a:pt x="1995" y="557"/>
                    <a:pt x="1938" y="538"/>
                    <a:pt x="1880" y="500"/>
                  </a:cubicBezTo>
                  <a:cubicBezTo>
                    <a:pt x="1859" y="486"/>
                    <a:pt x="1751" y="412"/>
                    <a:pt x="1751" y="335"/>
                  </a:cubicBezTo>
                  <a:cubicBezTo>
                    <a:pt x="1751" y="328"/>
                    <a:pt x="1751" y="318"/>
                    <a:pt x="1747" y="304"/>
                  </a:cubicBezTo>
                  <a:cubicBezTo>
                    <a:pt x="1740" y="248"/>
                    <a:pt x="1740" y="195"/>
                    <a:pt x="1744" y="143"/>
                  </a:cubicBezTo>
                  <a:lnTo>
                    <a:pt x="1730" y="136"/>
                  </a:lnTo>
                  <a:lnTo>
                    <a:pt x="1702" y="122"/>
                  </a:lnTo>
                  <a:lnTo>
                    <a:pt x="1684" y="115"/>
                  </a:lnTo>
                  <a:lnTo>
                    <a:pt x="1660" y="104"/>
                  </a:lnTo>
                  <a:lnTo>
                    <a:pt x="1646" y="94"/>
                  </a:lnTo>
                  <a:lnTo>
                    <a:pt x="1625" y="87"/>
                  </a:lnTo>
                  <a:lnTo>
                    <a:pt x="1607" y="80"/>
                  </a:lnTo>
                  <a:lnTo>
                    <a:pt x="1586" y="69"/>
                  </a:lnTo>
                  <a:lnTo>
                    <a:pt x="1572" y="62"/>
                  </a:lnTo>
                  <a:lnTo>
                    <a:pt x="1555" y="55"/>
                  </a:lnTo>
                  <a:lnTo>
                    <a:pt x="1541" y="52"/>
                  </a:lnTo>
                  <a:lnTo>
                    <a:pt x="1520" y="45"/>
                  </a:lnTo>
                  <a:lnTo>
                    <a:pt x="1509" y="41"/>
                  </a:lnTo>
                  <a:lnTo>
                    <a:pt x="1484" y="31"/>
                  </a:lnTo>
                  <a:cubicBezTo>
                    <a:pt x="1415" y="11"/>
                    <a:pt x="1364" y="1"/>
                    <a:pt x="13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5" name="Google Shape;5205;p53"/>
            <p:cNvSpPr/>
            <p:nvPr/>
          </p:nvSpPr>
          <p:spPr>
            <a:xfrm>
              <a:off x="2124445" y="1664672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6" name="Google Shape;5206;p53"/>
            <p:cNvSpPr/>
            <p:nvPr/>
          </p:nvSpPr>
          <p:spPr>
            <a:xfrm>
              <a:off x="2126292" y="16646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7" name="Google Shape;5207;p53"/>
            <p:cNvSpPr/>
            <p:nvPr/>
          </p:nvSpPr>
          <p:spPr>
            <a:xfrm>
              <a:off x="2119422" y="1659349"/>
              <a:ext cx="136" cy="2539"/>
            </a:xfrm>
            <a:custGeom>
              <a:avLst/>
              <a:gdLst/>
              <a:ahLst/>
              <a:cxnLst/>
              <a:rect l="l" t="t" r="r" b="b"/>
              <a:pathLst>
                <a:path w="10" h="187" extrusionOk="0">
                  <a:moveTo>
                    <a:pt x="2" y="0"/>
                  </a:moveTo>
                  <a:cubicBezTo>
                    <a:pt x="1" y="20"/>
                    <a:pt x="0" y="40"/>
                    <a:pt x="0" y="59"/>
                  </a:cubicBezTo>
                  <a:lnTo>
                    <a:pt x="0" y="59"/>
                  </a:lnTo>
                  <a:cubicBezTo>
                    <a:pt x="0" y="40"/>
                    <a:pt x="1" y="20"/>
                    <a:pt x="2" y="0"/>
                  </a:cubicBezTo>
                  <a:close/>
                  <a:moveTo>
                    <a:pt x="0" y="59"/>
                  </a:moveTo>
                  <a:lnTo>
                    <a:pt x="0" y="59"/>
                  </a:lnTo>
                  <a:cubicBezTo>
                    <a:pt x="0" y="90"/>
                    <a:pt x="2" y="122"/>
                    <a:pt x="6" y="155"/>
                  </a:cubicBezTo>
                  <a:cubicBezTo>
                    <a:pt x="6" y="155"/>
                    <a:pt x="6" y="155"/>
                    <a:pt x="6" y="155"/>
                  </a:cubicBezTo>
                  <a:lnTo>
                    <a:pt x="6" y="155"/>
                  </a:lnTo>
                  <a:cubicBezTo>
                    <a:pt x="6" y="154"/>
                    <a:pt x="6" y="153"/>
                    <a:pt x="6" y="151"/>
                  </a:cubicBezTo>
                  <a:cubicBezTo>
                    <a:pt x="2" y="121"/>
                    <a:pt x="0" y="90"/>
                    <a:pt x="0" y="59"/>
                  </a:cubicBezTo>
                  <a:close/>
                  <a:moveTo>
                    <a:pt x="6" y="155"/>
                  </a:moveTo>
                  <a:cubicBezTo>
                    <a:pt x="7" y="170"/>
                    <a:pt x="10" y="180"/>
                    <a:pt x="10" y="186"/>
                  </a:cubicBezTo>
                  <a:cubicBezTo>
                    <a:pt x="10" y="179"/>
                    <a:pt x="10" y="169"/>
                    <a:pt x="6" y="1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8" name="Google Shape;5208;p53"/>
            <p:cNvSpPr/>
            <p:nvPr/>
          </p:nvSpPr>
          <p:spPr>
            <a:xfrm>
              <a:off x="2125681" y="1664536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9" name="Google Shape;5209;p53"/>
            <p:cNvSpPr/>
            <p:nvPr/>
          </p:nvSpPr>
          <p:spPr>
            <a:xfrm>
              <a:off x="2125206" y="166453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0" name="Google Shape;5210;p53"/>
            <p:cNvSpPr/>
            <p:nvPr/>
          </p:nvSpPr>
          <p:spPr>
            <a:xfrm>
              <a:off x="2124581" y="166453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11"/>
                  </a:moveTo>
                  <a:cubicBezTo>
                    <a:pt x="11" y="4"/>
                    <a:pt x="18" y="4"/>
                    <a:pt x="29" y="0"/>
                  </a:cubicBezTo>
                  <a:cubicBezTo>
                    <a:pt x="18" y="4"/>
                    <a:pt x="11" y="4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1" name="Google Shape;5211;p53"/>
            <p:cNvSpPr/>
            <p:nvPr/>
          </p:nvSpPr>
          <p:spPr>
            <a:xfrm>
              <a:off x="2094588" y="1586533"/>
              <a:ext cx="64181" cy="72259"/>
            </a:xfrm>
            <a:custGeom>
              <a:avLst/>
              <a:gdLst/>
              <a:ahLst/>
              <a:cxnLst/>
              <a:rect l="l" t="t" r="r" b="b"/>
              <a:pathLst>
                <a:path w="4727" h="5322" extrusionOk="0">
                  <a:moveTo>
                    <a:pt x="1488" y="1"/>
                  </a:moveTo>
                  <a:cubicBezTo>
                    <a:pt x="1534" y="74"/>
                    <a:pt x="1555" y="151"/>
                    <a:pt x="1516" y="221"/>
                  </a:cubicBezTo>
                  <a:cubicBezTo>
                    <a:pt x="1478" y="291"/>
                    <a:pt x="1516" y="372"/>
                    <a:pt x="1597" y="508"/>
                  </a:cubicBezTo>
                  <a:cubicBezTo>
                    <a:pt x="1618" y="547"/>
                    <a:pt x="1643" y="585"/>
                    <a:pt x="1664" y="627"/>
                  </a:cubicBezTo>
                  <a:cubicBezTo>
                    <a:pt x="1692" y="673"/>
                    <a:pt x="1699" y="729"/>
                    <a:pt x="1678" y="778"/>
                  </a:cubicBezTo>
                  <a:cubicBezTo>
                    <a:pt x="1646" y="841"/>
                    <a:pt x="1576" y="855"/>
                    <a:pt x="1513" y="865"/>
                  </a:cubicBezTo>
                  <a:cubicBezTo>
                    <a:pt x="1485" y="865"/>
                    <a:pt x="1460" y="872"/>
                    <a:pt x="1436" y="883"/>
                  </a:cubicBezTo>
                  <a:cubicBezTo>
                    <a:pt x="1432" y="921"/>
                    <a:pt x="1411" y="956"/>
                    <a:pt x="1376" y="977"/>
                  </a:cubicBezTo>
                  <a:cubicBezTo>
                    <a:pt x="1356" y="989"/>
                    <a:pt x="1329" y="995"/>
                    <a:pt x="1295" y="995"/>
                  </a:cubicBezTo>
                  <a:cubicBezTo>
                    <a:pt x="1212" y="995"/>
                    <a:pt x="1091" y="957"/>
                    <a:pt x="935" y="879"/>
                  </a:cubicBezTo>
                  <a:cubicBezTo>
                    <a:pt x="913" y="868"/>
                    <a:pt x="872" y="863"/>
                    <a:pt x="825" y="863"/>
                  </a:cubicBezTo>
                  <a:cubicBezTo>
                    <a:pt x="746" y="863"/>
                    <a:pt x="653" y="877"/>
                    <a:pt x="620" y="897"/>
                  </a:cubicBezTo>
                  <a:cubicBezTo>
                    <a:pt x="620" y="932"/>
                    <a:pt x="617" y="967"/>
                    <a:pt x="606" y="1002"/>
                  </a:cubicBezTo>
                  <a:cubicBezTo>
                    <a:pt x="610" y="1012"/>
                    <a:pt x="610" y="1019"/>
                    <a:pt x="613" y="1030"/>
                  </a:cubicBezTo>
                  <a:cubicBezTo>
                    <a:pt x="617" y="1040"/>
                    <a:pt x="620" y="1054"/>
                    <a:pt x="620" y="1065"/>
                  </a:cubicBezTo>
                  <a:cubicBezTo>
                    <a:pt x="624" y="1075"/>
                    <a:pt x="627" y="1089"/>
                    <a:pt x="627" y="1100"/>
                  </a:cubicBezTo>
                  <a:cubicBezTo>
                    <a:pt x="631" y="1114"/>
                    <a:pt x="634" y="1121"/>
                    <a:pt x="634" y="1131"/>
                  </a:cubicBezTo>
                  <a:cubicBezTo>
                    <a:pt x="638" y="1138"/>
                    <a:pt x="638" y="1152"/>
                    <a:pt x="641" y="1166"/>
                  </a:cubicBezTo>
                  <a:cubicBezTo>
                    <a:pt x="641" y="1177"/>
                    <a:pt x="641" y="1184"/>
                    <a:pt x="641" y="1191"/>
                  </a:cubicBezTo>
                  <a:cubicBezTo>
                    <a:pt x="645" y="1198"/>
                    <a:pt x="641" y="1212"/>
                    <a:pt x="641" y="1222"/>
                  </a:cubicBezTo>
                  <a:lnTo>
                    <a:pt x="641" y="1243"/>
                  </a:lnTo>
                  <a:lnTo>
                    <a:pt x="641" y="1275"/>
                  </a:lnTo>
                  <a:lnTo>
                    <a:pt x="641" y="1292"/>
                  </a:lnTo>
                  <a:cubicBezTo>
                    <a:pt x="641" y="1299"/>
                    <a:pt x="641" y="1313"/>
                    <a:pt x="638" y="1320"/>
                  </a:cubicBezTo>
                  <a:cubicBezTo>
                    <a:pt x="638" y="1331"/>
                    <a:pt x="638" y="1331"/>
                    <a:pt x="634" y="1338"/>
                  </a:cubicBezTo>
                  <a:cubicBezTo>
                    <a:pt x="634" y="1345"/>
                    <a:pt x="631" y="1355"/>
                    <a:pt x="627" y="1362"/>
                  </a:cubicBezTo>
                  <a:cubicBezTo>
                    <a:pt x="627" y="1366"/>
                    <a:pt x="624" y="1369"/>
                    <a:pt x="624" y="1373"/>
                  </a:cubicBezTo>
                  <a:cubicBezTo>
                    <a:pt x="620" y="1387"/>
                    <a:pt x="613" y="1397"/>
                    <a:pt x="606" y="1408"/>
                  </a:cubicBezTo>
                  <a:cubicBezTo>
                    <a:pt x="550" y="1488"/>
                    <a:pt x="477" y="1558"/>
                    <a:pt x="389" y="1607"/>
                  </a:cubicBezTo>
                  <a:lnTo>
                    <a:pt x="365" y="1625"/>
                  </a:lnTo>
                  <a:lnTo>
                    <a:pt x="361" y="1625"/>
                  </a:lnTo>
                  <a:lnTo>
                    <a:pt x="372" y="1639"/>
                  </a:lnTo>
                  <a:cubicBezTo>
                    <a:pt x="456" y="1727"/>
                    <a:pt x="571" y="1849"/>
                    <a:pt x="512" y="1954"/>
                  </a:cubicBezTo>
                  <a:cubicBezTo>
                    <a:pt x="491" y="1986"/>
                    <a:pt x="463" y="2014"/>
                    <a:pt x="431" y="2031"/>
                  </a:cubicBezTo>
                  <a:cubicBezTo>
                    <a:pt x="410" y="2042"/>
                    <a:pt x="407" y="2045"/>
                    <a:pt x="407" y="2098"/>
                  </a:cubicBezTo>
                  <a:cubicBezTo>
                    <a:pt x="407" y="2231"/>
                    <a:pt x="291" y="2301"/>
                    <a:pt x="67" y="2308"/>
                  </a:cubicBezTo>
                  <a:lnTo>
                    <a:pt x="71" y="2329"/>
                  </a:lnTo>
                  <a:cubicBezTo>
                    <a:pt x="88" y="2395"/>
                    <a:pt x="85" y="2465"/>
                    <a:pt x="60" y="2528"/>
                  </a:cubicBezTo>
                  <a:cubicBezTo>
                    <a:pt x="57" y="2539"/>
                    <a:pt x="53" y="2553"/>
                    <a:pt x="50" y="2563"/>
                  </a:cubicBezTo>
                  <a:cubicBezTo>
                    <a:pt x="29" y="2647"/>
                    <a:pt x="18" y="2735"/>
                    <a:pt x="15" y="2822"/>
                  </a:cubicBezTo>
                  <a:cubicBezTo>
                    <a:pt x="15" y="2850"/>
                    <a:pt x="8" y="2896"/>
                    <a:pt x="4" y="2927"/>
                  </a:cubicBezTo>
                  <a:cubicBezTo>
                    <a:pt x="1" y="2955"/>
                    <a:pt x="46" y="3022"/>
                    <a:pt x="71" y="3064"/>
                  </a:cubicBezTo>
                  <a:cubicBezTo>
                    <a:pt x="120" y="3137"/>
                    <a:pt x="162" y="3204"/>
                    <a:pt x="148" y="3270"/>
                  </a:cubicBezTo>
                  <a:cubicBezTo>
                    <a:pt x="134" y="3319"/>
                    <a:pt x="106" y="3365"/>
                    <a:pt x="71" y="3400"/>
                  </a:cubicBezTo>
                  <a:lnTo>
                    <a:pt x="50" y="3421"/>
                  </a:lnTo>
                  <a:lnTo>
                    <a:pt x="46" y="3428"/>
                  </a:lnTo>
                  <a:cubicBezTo>
                    <a:pt x="43" y="3431"/>
                    <a:pt x="39" y="3438"/>
                    <a:pt x="36" y="3442"/>
                  </a:cubicBezTo>
                  <a:lnTo>
                    <a:pt x="43" y="3456"/>
                  </a:lnTo>
                  <a:lnTo>
                    <a:pt x="53" y="3473"/>
                  </a:lnTo>
                  <a:lnTo>
                    <a:pt x="71" y="3494"/>
                  </a:lnTo>
                  <a:lnTo>
                    <a:pt x="74" y="3501"/>
                  </a:lnTo>
                  <a:lnTo>
                    <a:pt x="78" y="3508"/>
                  </a:lnTo>
                  <a:lnTo>
                    <a:pt x="85" y="3515"/>
                  </a:lnTo>
                  <a:lnTo>
                    <a:pt x="88" y="3526"/>
                  </a:lnTo>
                  <a:lnTo>
                    <a:pt x="95" y="3533"/>
                  </a:lnTo>
                  <a:lnTo>
                    <a:pt x="102" y="3543"/>
                  </a:lnTo>
                  <a:lnTo>
                    <a:pt x="106" y="3554"/>
                  </a:lnTo>
                  <a:lnTo>
                    <a:pt x="113" y="3561"/>
                  </a:lnTo>
                  <a:lnTo>
                    <a:pt x="120" y="3575"/>
                  </a:lnTo>
                  <a:lnTo>
                    <a:pt x="123" y="3585"/>
                  </a:lnTo>
                  <a:lnTo>
                    <a:pt x="130" y="3596"/>
                  </a:lnTo>
                  <a:lnTo>
                    <a:pt x="134" y="3606"/>
                  </a:lnTo>
                  <a:lnTo>
                    <a:pt x="141" y="3620"/>
                  </a:lnTo>
                  <a:lnTo>
                    <a:pt x="144" y="3631"/>
                  </a:lnTo>
                  <a:lnTo>
                    <a:pt x="151" y="3645"/>
                  </a:lnTo>
                  <a:lnTo>
                    <a:pt x="158" y="3659"/>
                  </a:lnTo>
                  <a:lnTo>
                    <a:pt x="162" y="3673"/>
                  </a:lnTo>
                  <a:lnTo>
                    <a:pt x="165" y="3687"/>
                  </a:lnTo>
                  <a:lnTo>
                    <a:pt x="172" y="3704"/>
                  </a:lnTo>
                  <a:lnTo>
                    <a:pt x="176" y="3718"/>
                  </a:lnTo>
                  <a:lnTo>
                    <a:pt x="183" y="3739"/>
                  </a:lnTo>
                  <a:lnTo>
                    <a:pt x="186" y="3753"/>
                  </a:lnTo>
                  <a:cubicBezTo>
                    <a:pt x="186" y="3761"/>
                    <a:pt x="190" y="3768"/>
                    <a:pt x="190" y="3775"/>
                  </a:cubicBezTo>
                  <a:lnTo>
                    <a:pt x="193" y="3789"/>
                  </a:lnTo>
                  <a:cubicBezTo>
                    <a:pt x="193" y="3796"/>
                    <a:pt x="197" y="3806"/>
                    <a:pt x="197" y="3813"/>
                  </a:cubicBezTo>
                  <a:lnTo>
                    <a:pt x="200" y="3827"/>
                  </a:lnTo>
                  <a:cubicBezTo>
                    <a:pt x="200" y="3838"/>
                    <a:pt x="204" y="3848"/>
                    <a:pt x="204" y="3859"/>
                  </a:cubicBezTo>
                  <a:lnTo>
                    <a:pt x="204" y="3869"/>
                  </a:lnTo>
                  <a:lnTo>
                    <a:pt x="228" y="3880"/>
                  </a:lnTo>
                  <a:lnTo>
                    <a:pt x="235" y="3883"/>
                  </a:lnTo>
                  <a:cubicBezTo>
                    <a:pt x="267" y="3894"/>
                    <a:pt x="295" y="3915"/>
                    <a:pt x="319" y="3943"/>
                  </a:cubicBezTo>
                  <a:cubicBezTo>
                    <a:pt x="375" y="4020"/>
                    <a:pt x="463" y="4069"/>
                    <a:pt x="557" y="4083"/>
                  </a:cubicBezTo>
                  <a:cubicBezTo>
                    <a:pt x="578" y="4086"/>
                    <a:pt x="596" y="4086"/>
                    <a:pt x="617" y="4086"/>
                  </a:cubicBezTo>
                  <a:cubicBezTo>
                    <a:pt x="697" y="4086"/>
                    <a:pt x="778" y="4114"/>
                    <a:pt x="844" y="4160"/>
                  </a:cubicBezTo>
                  <a:cubicBezTo>
                    <a:pt x="862" y="4170"/>
                    <a:pt x="879" y="4181"/>
                    <a:pt x="897" y="4184"/>
                  </a:cubicBezTo>
                  <a:cubicBezTo>
                    <a:pt x="905" y="4183"/>
                    <a:pt x="915" y="4182"/>
                    <a:pt x="925" y="4182"/>
                  </a:cubicBezTo>
                  <a:cubicBezTo>
                    <a:pt x="993" y="4182"/>
                    <a:pt x="1098" y="4213"/>
                    <a:pt x="1131" y="4286"/>
                  </a:cubicBezTo>
                  <a:cubicBezTo>
                    <a:pt x="1149" y="4324"/>
                    <a:pt x="1163" y="4398"/>
                    <a:pt x="1058" y="4482"/>
                  </a:cubicBezTo>
                  <a:cubicBezTo>
                    <a:pt x="932" y="4590"/>
                    <a:pt x="904" y="4713"/>
                    <a:pt x="872" y="4856"/>
                  </a:cubicBezTo>
                  <a:lnTo>
                    <a:pt x="862" y="4895"/>
                  </a:lnTo>
                  <a:cubicBezTo>
                    <a:pt x="851" y="4947"/>
                    <a:pt x="844" y="4996"/>
                    <a:pt x="841" y="5049"/>
                  </a:cubicBezTo>
                  <a:cubicBezTo>
                    <a:pt x="841" y="5084"/>
                    <a:pt x="837" y="5119"/>
                    <a:pt x="830" y="5154"/>
                  </a:cubicBezTo>
                  <a:lnTo>
                    <a:pt x="1184" y="5154"/>
                  </a:lnTo>
                  <a:cubicBezTo>
                    <a:pt x="1265" y="5113"/>
                    <a:pt x="1333" y="5096"/>
                    <a:pt x="1402" y="5096"/>
                  </a:cubicBezTo>
                  <a:cubicBezTo>
                    <a:pt x="1464" y="5096"/>
                    <a:pt x="1528" y="5110"/>
                    <a:pt x="1604" y="5133"/>
                  </a:cubicBezTo>
                  <a:cubicBezTo>
                    <a:pt x="1618" y="5136"/>
                    <a:pt x="1636" y="5143"/>
                    <a:pt x="1653" y="5150"/>
                  </a:cubicBezTo>
                  <a:lnTo>
                    <a:pt x="1664" y="5154"/>
                  </a:lnTo>
                  <a:lnTo>
                    <a:pt x="1716" y="5175"/>
                  </a:lnTo>
                  <a:lnTo>
                    <a:pt x="1730" y="5178"/>
                  </a:lnTo>
                  <a:lnTo>
                    <a:pt x="1793" y="5206"/>
                  </a:lnTo>
                  <a:lnTo>
                    <a:pt x="1800" y="5210"/>
                  </a:lnTo>
                  <a:lnTo>
                    <a:pt x="1870" y="5245"/>
                  </a:lnTo>
                  <a:cubicBezTo>
                    <a:pt x="1888" y="5227"/>
                    <a:pt x="1909" y="5213"/>
                    <a:pt x="1933" y="5210"/>
                  </a:cubicBezTo>
                  <a:cubicBezTo>
                    <a:pt x="1940" y="5206"/>
                    <a:pt x="1947" y="5206"/>
                    <a:pt x="1951" y="5206"/>
                  </a:cubicBezTo>
                  <a:lnTo>
                    <a:pt x="1996" y="5206"/>
                  </a:lnTo>
                  <a:lnTo>
                    <a:pt x="2014" y="5210"/>
                  </a:lnTo>
                  <a:lnTo>
                    <a:pt x="2021" y="5210"/>
                  </a:lnTo>
                  <a:lnTo>
                    <a:pt x="2035" y="5217"/>
                  </a:lnTo>
                  <a:lnTo>
                    <a:pt x="2045" y="5220"/>
                  </a:lnTo>
                  <a:lnTo>
                    <a:pt x="2059" y="5227"/>
                  </a:lnTo>
                  <a:lnTo>
                    <a:pt x="2066" y="5231"/>
                  </a:lnTo>
                  <a:lnTo>
                    <a:pt x="2080" y="5238"/>
                  </a:lnTo>
                  <a:lnTo>
                    <a:pt x="2087" y="5245"/>
                  </a:lnTo>
                  <a:lnTo>
                    <a:pt x="2101" y="5252"/>
                  </a:lnTo>
                  <a:lnTo>
                    <a:pt x="2112" y="5259"/>
                  </a:lnTo>
                  <a:lnTo>
                    <a:pt x="2140" y="5280"/>
                  </a:lnTo>
                  <a:cubicBezTo>
                    <a:pt x="2164" y="5297"/>
                    <a:pt x="2189" y="5311"/>
                    <a:pt x="2217" y="5322"/>
                  </a:cubicBezTo>
                  <a:lnTo>
                    <a:pt x="2220" y="5318"/>
                  </a:lnTo>
                  <a:cubicBezTo>
                    <a:pt x="2273" y="5230"/>
                    <a:pt x="2363" y="5198"/>
                    <a:pt x="2451" y="5198"/>
                  </a:cubicBezTo>
                  <a:cubicBezTo>
                    <a:pt x="2520" y="5198"/>
                    <a:pt x="2588" y="5217"/>
                    <a:pt x="2637" y="5245"/>
                  </a:cubicBezTo>
                  <a:cubicBezTo>
                    <a:pt x="2649" y="5253"/>
                    <a:pt x="2698" y="5279"/>
                    <a:pt x="2755" y="5279"/>
                  </a:cubicBezTo>
                  <a:cubicBezTo>
                    <a:pt x="2793" y="5279"/>
                    <a:pt x="2835" y="5267"/>
                    <a:pt x="2871" y="5231"/>
                  </a:cubicBezTo>
                  <a:cubicBezTo>
                    <a:pt x="2959" y="5145"/>
                    <a:pt x="3217" y="5092"/>
                    <a:pt x="3382" y="5092"/>
                  </a:cubicBezTo>
                  <a:cubicBezTo>
                    <a:pt x="3433" y="5092"/>
                    <a:pt x="3476" y="5098"/>
                    <a:pt x="3501" y="5108"/>
                  </a:cubicBezTo>
                  <a:cubicBezTo>
                    <a:pt x="3576" y="5142"/>
                    <a:pt x="3611" y="5151"/>
                    <a:pt x="3629" y="5151"/>
                  </a:cubicBezTo>
                  <a:cubicBezTo>
                    <a:pt x="3637" y="5151"/>
                    <a:pt x="3642" y="5149"/>
                    <a:pt x="3645" y="5147"/>
                  </a:cubicBezTo>
                  <a:cubicBezTo>
                    <a:pt x="3645" y="5147"/>
                    <a:pt x="3659" y="5122"/>
                    <a:pt x="3631" y="5031"/>
                  </a:cubicBezTo>
                  <a:cubicBezTo>
                    <a:pt x="3561" y="4786"/>
                    <a:pt x="3708" y="4720"/>
                    <a:pt x="3789" y="4685"/>
                  </a:cubicBezTo>
                  <a:cubicBezTo>
                    <a:pt x="3813" y="4678"/>
                    <a:pt x="3848" y="4660"/>
                    <a:pt x="3852" y="4653"/>
                  </a:cubicBezTo>
                  <a:cubicBezTo>
                    <a:pt x="3855" y="4639"/>
                    <a:pt x="3859" y="4629"/>
                    <a:pt x="3866" y="4618"/>
                  </a:cubicBezTo>
                  <a:cubicBezTo>
                    <a:pt x="3904" y="4559"/>
                    <a:pt x="3981" y="4524"/>
                    <a:pt x="4058" y="4485"/>
                  </a:cubicBezTo>
                  <a:cubicBezTo>
                    <a:pt x="4086" y="4475"/>
                    <a:pt x="4114" y="4461"/>
                    <a:pt x="4146" y="4443"/>
                  </a:cubicBezTo>
                  <a:lnTo>
                    <a:pt x="4132" y="4429"/>
                  </a:lnTo>
                  <a:cubicBezTo>
                    <a:pt x="4062" y="4373"/>
                    <a:pt x="3992" y="4317"/>
                    <a:pt x="3915" y="4268"/>
                  </a:cubicBezTo>
                  <a:lnTo>
                    <a:pt x="3883" y="4247"/>
                  </a:lnTo>
                  <a:lnTo>
                    <a:pt x="3880" y="4247"/>
                  </a:lnTo>
                  <a:lnTo>
                    <a:pt x="3852" y="4226"/>
                  </a:lnTo>
                  <a:lnTo>
                    <a:pt x="3845" y="4219"/>
                  </a:lnTo>
                  <a:lnTo>
                    <a:pt x="3820" y="4205"/>
                  </a:lnTo>
                  <a:lnTo>
                    <a:pt x="3764" y="4167"/>
                  </a:lnTo>
                  <a:lnTo>
                    <a:pt x="3743" y="4153"/>
                  </a:lnTo>
                  <a:lnTo>
                    <a:pt x="3740" y="4149"/>
                  </a:lnTo>
                  <a:lnTo>
                    <a:pt x="3715" y="4135"/>
                  </a:lnTo>
                  <a:cubicBezTo>
                    <a:pt x="3673" y="4107"/>
                    <a:pt x="3638" y="4083"/>
                    <a:pt x="3613" y="4065"/>
                  </a:cubicBezTo>
                  <a:cubicBezTo>
                    <a:pt x="3515" y="3999"/>
                    <a:pt x="3484" y="3859"/>
                    <a:pt x="3456" y="3736"/>
                  </a:cubicBezTo>
                  <a:cubicBezTo>
                    <a:pt x="3445" y="3683"/>
                    <a:pt x="3431" y="3631"/>
                    <a:pt x="3410" y="3582"/>
                  </a:cubicBezTo>
                  <a:cubicBezTo>
                    <a:pt x="3400" y="3564"/>
                    <a:pt x="3389" y="3543"/>
                    <a:pt x="3375" y="3522"/>
                  </a:cubicBezTo>
                  <a:cubicBezTo>
                    <a:pt x="3323" y="3442"/>
                    <a:pt x="3270" y="3358"/>
                    <a:pt x="3302" y="3281"/>
                  </a:cubicBezTo>
                  <a:cubicBezTo>
                    <a:pt x="3323" y="3235"/>
                    <a:pt x="3368" y="3200"/>
                    <a:pt x="3417" y="3193"/>
                  </a:cubicBezTo>
                  <a:lnTo>
                    <a:pt x="3438" y="3190"/>
                  </a:lnTo>
                  <a:cubicBezTo>
                    <a:pt x="3589" y="3155"/>
                    <a:pt x="3845" y="3095"/>
                    <a:pt x="3960" y="2990"/>
                  </a:cubicBezTo>
                  <a:cubicBezTo>
                    <a:pt x="4044" y="2913"/>
                    <a:pt x="4163" y="2875"/>
                    <a:pt x="4261" y="2847"/>
                  </a:cubicBezTo>
                  <a:cubicBezTo>
                    <a:pt x="4310" y="2833"/>
                    <a:pt x="4359" y="2815"/>
                    <a:pt x="4405" y="2787"/>
                  </a:cubicBezTo>
                  <a:cubicBezTo>
                    <a:pt x="4436" y="2754"/>
                    <a:pt x="4475" y="2744"/>
                    <a:pt x="4514" y="2744"/>
                  </a:cubicBezTo>
                  <a:cubicBezTo>
                    <a:pt x="4553" y="2744"/>
                    <a:pt x="4592" y="2754"/>
                    <a:pt x="4625" y="2763"/>
                  </a:cubicBezTo>
                  <a:lnTo>
                    <a:pt x="4660" y="2773"/>
                  </a:lnTo>
                  <a:lnTo>
                    <a:pt x="4664" y="2773"/>
                  </a:lnTo>
                  <a:lnTo>
                    <a:pt x="4678" y="2777"/>
                  </a:lnTo>
                  <a:lnTo>
                    <a:pt x="4692" y="2777"/>
                  </a:lnTo>
                  <a:cubicBezTo>
                    <a:pt x="4699" y="2763"/>
                    <a:pt x="4702" y="2749"/>
                    <a:pt x="4709" y="2738"/>
                  </a:cubicBezTo>
                  <a:cubicBezTo>
                    <a:pt x="4720" y="2710"/>
                    <a:pt x="4727" y="2682"/>
                    <a:pt x="4727" y="2654"/>
                  </a:cubicBezTo>
                  <a:lnTo>
                    <a:pt x="4727" y="2640"/>
                  </a:lnTo>
                  <a:lnTo>
                    <a:pt x="4727" y="2630"/>
                  </a:lnTo>
                  <a:cubicBezTo>
                    <a:pt x="4727" y="2623"/>
                    <a:pt x="4727" y="2619"/>
                    <a:pt x="4727" y="2612"/>
                  </a:cubicBezTo>
                  <a:lnTo>
                    <a:pt x="4727" y="2605"/>
                  </a:lnTo>
                  <a:cubicBezTo>
                    <a:pt x="4727" y="2598"/>
                    <a:pt x="4723" y="2591"/>
                    <a:pt x="4720" y="2588"/>
                  </a:cubicBezTo>
                  <a:lnTo>
                    <a:pt x="4720" y="2581"/>
                  </a:lnTo>
                  <a:cubicBezTo>
                    <a:pt x="4716" y="2574"/>
                    <a:pt x="4713" y="2567"/>
                    <a:pt x="4709" y="2560"/>
                  </a:cubicBezTo>
                  <a:cubicBezTo>
                    <a:pt x="4622" y="2458"/>
                    <a:pt x="4573" y="2297"/>
                    <a:pt x="4559" y="2084"/>
                  </a:cubicBezTo>
                  <a:cubicBezTo>
                    <a:pt x="4559" y="2024"/>
                    <a:pt x="4545" y="1965"/>
                    <a:pt x="4517" y="1909"/>
                  </a:cubicBezTo>
                  <a:cubicBezTo>
                    <a:pt x="4496" y="1874"/>
                    <a:pt x="4485" y="1832"/>
                    <a:pt x="4485" y="1793"/>
                  </a:cubicBezTo>
                  <a:cubicBezTo>
                    <a:pt x="4485" y="1713"/>
                    <a:pt x="4457" y="1618"/>
                    <a:pt x="4398" y="1579"/>
                  </a:cubicBezTo>
                  <a:cubicBezTo>
                    <a:pt x="4342" y="1558"/>
                    <a:pt x="4303" y="1516"/>
                    <a:pt x="4282" y="1460"/>
                  </a:cubicBezTo>
                  <a:cubicBezTo>
                    <a:pt x="4272" y="1408"/>
                    <a:pt x="4286" y="1348"/>
                    <a:pt x="4338" y="1271"/>
                  </a:cubicBezTo>
                  <a:cubicBezTo>
                    <a:pt x="4408" y="1163"/>
                    <a:pt x="4377" y="848"/>
                    <a:pt x="4342" y="760"/>
                  </a:cubicBezTo>
                  <a:cubicBezTo>
                    <a:pt x="4338" y="750"/>
                    <a:pt x="4338" y="739"/>
                    <a:pt x="4335" y="729"/>
                  </a:cubicBezTo>
                  <a:lnTo>
                    <a:pt x="4335" y="722"/>
                  </a:lnTo>
                  <a:lnTo>
                    <a:pt x="4335" y="701"/>
                  </a:lnTo>
                  <a:cubicBezTo>
                    <a:pt x="4314" y="680"/>
                    <a:pt x="4296" y="648"/>
                    <a:pt x="4293" y="617"/>
                  </a:cubicBezTo>
                  <a:cubicBezTo>
                    <a:pt x="4279" y="547"/>
                    <a:pt x="4251" y="491"/>
                    <a:pt x="4034" y="491"/>
                  </a:cubicBezTo>
                  <a:cubicBezTo>
                    <a:pt x="4009" y="491"/>
                    <a:pt x="3936" y="491"/>
                    <a:pt x="3908" y="435"/>
                  </a:cubicBezTo>
                  <a:cubicBezTo>
                    <a:pt x="3880" y="379"/>
                    <a:pt x="3922" y="316"/>
                    <a:pt x="3967" y="256"/>
                  </a:cubicBezTo>
                  <a:cubicBezTo>
                    <a:pt x="3992" y="225"/>
                    <a:pt x="4013" y="190"/>
                    <a:pt x="4027" y="155"/>
                  </a:cubicBezTo>
                  <a:lnTo>
                    <a:pt x="4027" y="155"/>
                  </a:lnTo>
                  <a:cubicBezTo>
                    <a:pt x="3992" y="169"/>
                    <a:pt x="3960" y="190"/>
                    <a:pt x="3929" y="211"/>
                  </a:cubicBezTo>
                  <a:cubicBezTo>
                    <a:pt x="3848" y="258"/>
                    <a:pt x="3755" y="315"/>
                    <a:pt x="3658" y="315"/>
                  </a:cubicBezTo>
                  <a:cubicBezTo>
                    <a:pt x="3632" y="315"/>
                    <a:pt x="3605" y="311"/>
                    <a:pt x="3578" y="302"/>
                  </a:cubicBezTo>
                  <a:cubicBezTo>
                    <a:pt x="3567" y="298"/>
                    <a:pt x="3555" y="297"/>
                    <a:pt x="3542" y="297"/>
                  </a:cubicBezTo>
                  <a:cubicBezTo>
                    <a:pt x="3429" y="297"/>
                    <a:pt x="3278" y="429"/>
                    <a:pt x="3155" y="536"/>
                  </a:cubicBezTo>
                  <a:cubicBezTo>
                    <a:pt x="3109" y="578"/>
                    <a:pt x="3064" y="617"/>
                    <a:pt x="3022" y="648"/>
                  </a:cubicBezTo>
                  <a:cubicBezTo>
                    <a:pt x="2971" y="690"/>
                    <a:pt x="2911" y="710"/>
                    <a:pt x="2850" y="710"/>
                  </a:cubicBezTo>
                  <a:cubicBezTo>
                    <a:pt x="2784" y="710"/>
                    <a:pt x="2718" y="687"/>
                    <a:pt x="2665" y="641"/>
                  </a:cubicBezTo>
                  <a:cubicBezTo>
                    <a:pt x="2584" y="564"/>
                    <a:pt x="2577" y="449"/>
                    <a:pt x="2647" y="351"/>
                  </a:cubicBezTo>
                  <a:cubicBezTo>
                    <a:pt x="2654" y="333"/>
                    <a:pt x="2665" y="319"/>
                    <a:pt x="2672" y="305"/>
                  </a:cubicBezTo>
                  <a:lnTo>
                    <a:pt x="2672" y="305"/>
                  </a:lnTo>
                  <a:cubicBezTo>
                    <a:pt x="2623" y="316"/>
                    <a:pt x="2577" y="330"/>
                    <a:pt x="2528" y="351"/>
                  </a:cubicBezTo>
                  <a:cubicBezTo>
                    <a:pt x="2476" y="369"/>
                    <a:pt x="2421" y="378"/>
                    <a:pt x="2367" y="378"/>
                  </a:cubicBezTo>
                  <a:cubicBezTo>
                    <a:pt x="2277" y="378"/>
                    <a:pt x="2189" y="352"/>
                    <a:pt x="2126" y="302"/>
                  </a:cubicBezTo>
                  <a:cubicBezTo>
                    <a:pt x="2059" y="253"/>
                    <a:pt x="2024" y="169"/>
                    <a:pt x="2038" y="85"/>
                  </a:cubicBezTo>
                  <a:cubicBezTo>
                    <a:pt x="2042" y="67"/>
                    <a:pt x="2038" y="53"/>
                    <a:pt x="2035" y="39"/>
                  </a:cubicBezTo>
                  <a:cubicBezTo>
                    <a:pt x="2002" y="42"/>
                    <a:pt x="1972" y="44"/>
                    <a:pt x="1942" y="44"/>
                  </a:cubicBezTo>
                  <a:cubicBezTo>
                    <a:pt x="1930" y="44"/>
                    <a:pt x="1917" y="44"/>
                    <a:pt x="1905" y="43"/>
                  </a:cubicBezTo>
                  <a:lnTo>
                    <a:pt x="1860" y="43"/>
                  </a:lnTo>
                  <a:lnTo>
                    <a:pt x="1849" y="39"/>
                  </a:lnTo>
                  <a:lnTo>
                    <a:pt x="1825" y="32"/>
                  </a:lnTo>
                  <a:lnTo>
                    <a:pt x="1821" y="32"/>
                  </a:lnTo>
                  <a:lnTo>
                    <a:pt x="1793" y="25"/>
                  </a:lnTo>
                  <a:lnTo>
                    <a:pt x="1790" y="25"/>
                  </a:lnTo>
                  <a:lnTo>
                    <a:pt x="1758" y="22"/>
                  </a:lnTo>
                  <a:lnTo>
                    <a:pt x="1755" y="22"/>
                  </a:lnTo>
                  <a:lnTo>
                    <a:pt x="1716" y="15"/>
                  </a:lnTo>
                  <a:lnTo>
                    <a:pt x="1709" y="15"/>
                  </a:lnTo>
                  <a:lnTo>
                    <a:pt x="1667" y="11"/>
                  </a:lnTo>
                  <a:lnTo>
                    <a:pt x="1618" y="8"/>
                  </a:lnTo>
                  <a:lnTo>
                    <a:pt x="1611" y="8"/>
                  </a:lnTo>
                  <a:lnTo>
                    <a:pt x="1562" y="4"/>
                  </a:lnTo>
                  <a:lnTo>
                    <a:pt x="1551" y="4"/>
                  </a:lnTo>
                  <a:lnTo>
                    <a:pt x="149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2" name="Google Shape;5212;p53"/>
            <p:cNvSpPr/>
            <p:nvPr/>
          </p:nvSpPr>
          <p:spPr>
            <a:xfrm>
              <a:off x="2158525" y="1622418"/>
              <a:ext cx="299" cy="1113"/>
            </a:xfrm>
            <a:custGeom>
              <a:avLst/>
              <a:gdLst/>
              <a:ahLst/>
              <a:cxnLst/>
              <a:rect l="l" t="t" r="r" b="b"/>
              <a:pathLst>
                <a:path w="22" h="82" extrusionOk="0">
                  <a:moveTo>
                    <a:pt x="21" y="1"/>
                  </a:moveTo>
                  <a:cubicBezTo>
                    <a:pt x="19" y="16"/>
                    <a:pt x="16" y="30"/>
                    <a:pt x="13" y="45"/>
                  </a:cubicBezTo>
                  <a:lnTo>
                    <a:pt x="13" y="45"/>
                  </a:lnTo>
                  <a:cubicBezTo>
                    <a:pt x="16" y="31"/>
                    <a:pt x="19" y="16"/>
                    <a:pt x="21" y="1"/>
                  </a:cubicBezTo>
                  <a:close/>
                  <a:moveTo>
                    <a:pt x="13" y="45"/>
                  </a:moveTo>
                  <a:lnTo>
                    <a:pt x="13" y="45"/>
                  </a:lnTo>
                  <a:cubicBezTo>
                    <a:pt x="10" y="54"/>
                    <a:pt x="8" y="62"/>
                    <a:pt x="5" y="70"/>
                  </a:cubicBezTo>
                  <a:lnTo>
                    <a:pt x="5" y="70"/>
                  </a:lnTo>
                  <a:lnTo>
                    <a:pt x="7" y="64"/>
                  </a:lnTo>
                  <a:cubicBezTo>
                    <a:pt x="9" y="58"/>
                    <a:pt x="11" y="51"/>
                    <a:pt x="13" y="45"/>
                  </a:cubicBezTo>
                  <a:close/>
                  <a:moveTo>
                    <a:pt x="5" y="70"/>
                  </a:moveTo>
                  <a:lnTo>
                    <a:pt x="0" y="81"/>
                  </a:lnTo>
                  <a:cubicBezTo>
                    <a:pt x="2" y="78"/>
                    <a:pt x="3" y="74"/>
                    <a:pt x="5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3" name="Google Shape;5213;p53"/>
            <p:cNvSpPr/>
            <p:nvPr/>
          </p:nvSpPr>
          <p:spPr>
            <a:xfrm>
              <a:off x="2158620" y="162142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4" name="Google Shape;5214;p53"/>
            <p:cNvSpPr/>
            <p:nvPr/>
          </p:nvSpPr>
          <p:spPr>
            <a:xfrm>
              <a:off x="2158756" y="162209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1" y="11"/>
                  </a:lnTo>
                  <a:cubicBezTo>
                    <a:pt x="4" y="7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5" name="Google Shape;5215;p53"/>
            <p:cNvSpPr/>
            <p:nvPr/>
          </p:nvSpPr>
          <p:spPr>
            <a:xfrm>
              <a:off x="2153433" y="159584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6" name="Google Shape;5216;p53"/>
            <p:cNvSpPr/>
            <p:nvPr/>
          </p:nvSpPr>
          <p:spPr>
            <a:xfrm>
              <a:off x="2158756" y="162175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7" name="Google Shape;5217;p53"/>
            <p:cNvSpPr/>
            <p:nvPr/>
          </p:nvSpPr>
          <p:spPr>
            <a:xfrm>
              <a:off x="2153433" y="1596227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8" y="32"/>
                  </a:moveTo>
                  <a:cubicBezTo>
                    <a:pt x="4" y="22"/>
                    <a:pt x="1" y="11"/>
                    <a:pt x="1" y="1"/>
                  </a:cubicBezTo>
                  <a:cubicBezTo>
                    <a:pt x="1" y="11"/>
                    <a:pt x="4" y="22"/>
                    <a:pt x="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8" name="Google Shape;5218;p53"/>
            <p:cNvSpPr/>
            <p:nvPr/>
          </p:nvSpPr>
          <p:spPr>
            <a:xfrm>
              <a:off x="2147160" y="1646763"/>
              <a:ext cx="3775" cy="2390"/>
            </a:xfrm>
            <a:custGeom>
              <a:avLst/>
              <a:gdLst/>
              <a:ahLst/>
              <a:cxnLst/>
              <a:rect l="l" t="t" r="r" b="b"/>
              <a:pathLst>
                <a:path w="278" h="176" extrusionOk="0">
                  <a:moveTo>
                    <a:pt x="277" y="0"/>
                  </a:moveTo>
                  <a:cubicBezTo>
                    <a:pt x="249" y="14"/>
                    <a:pt x="218" y="28"/>
                    <a:pt x="190" y="42"/>
                  </a:cubicBezTo>
                  <a:cubicBezTo>
                    <a:pt x="113" y="77"/>
                    <a:pt x="36" y="116"/>
                    <a:pt x="1" y="175"/>
                  </a:cubicBezTo>
                  <a:cubicBezTo>
                    <a:pt x="39" y="116"/>
                    <a:pt x="116" y="77"/>
                    <a:pt x="193" y="42"/>
                  </a:cubicBezTo>
                  <a:cubicBezTo>
                    <a:pt x="221" y="28"/>
                    <a:pt x="249" y="14"/>
                    <a:pt x="27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9" name="Google Shape;5219;p53"/>
            <p:cNvSpPr/>
            <p:nvPr/>
          </p:nvSpPr>
          <p:spPr>
            <a:xfrm>
              <a:off x="2121445" y="165702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0" name="Google Shape;5220;p53"/>
            <p:cNvSpPr/>
            <p:nvPr/>
          </p:nvSpPr>
          <p:spPr>
            <a:xfrm>
              <a:off x="2120073" y="1657123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60" y="0"/>
                  </a:moveTo>
                  <a:cubicBezTo>
                    <a:pt x="39" y="4"/>
                    <a:pt x="14" y="14"/>
                    <a:pt x="0" y="35"/>
                  </a:cubicBezTo>
                  <a:cubicBezTo>
                    <a:pt x="14" y="18"/>
                    <a:pt x="39" y="4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1" name="Google Shape;5221;p53"/>
            <p:cNvSpPr/>
            <p:nvPr/>
          </p:nvSpPr>
          <p:spPr>
            <a:xfrm>
              <a:off x="2121159" y="16570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2" name="Google Shape;5222;p53"/>
            <p:cNvSpPr/>
            <p:nvPr/>
          </p:nvSpPr>
          <p:spPr>
            <a:xfrm>
              <a:off x="2122069" y="165712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3" name="Google Shape;5223;p53"/>
            <p:cNvSpPr/>
            <p:nvPr/>
          </p:nvSpPr>
          <p:spPr>
            <a:xfrm>
              <a:off x="2123020" y="16575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4" name="Google Shape;5224;p53"/>
            <p:cNvSpPr/>
            <p:nvPr/>
          </p:nvSpPr>
          <p:spPr>
            <a:xfrm>
              <a:off x="2122680" y="165740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5" name="Google Shape;5225;p53"/>
            <p:cNvSpPr/>
            <p:nvPr/>
          </p:nvSpPr>
          <p:spPr>
            <a:xfrm>
              <a:off x="2122395" y="16572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1"/>
                  </a:moveTo>
                  <a:lnTo>
                    <a:pt x="1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6" name="Google Shape;5226;p53"/>
            <p:cNvSpPr/>
            <p:nvPr/>
          </p:nvSpPr>
          <p:spPr>
            <a:xfrm>
              <a:off x="2121730" y="1657068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7" name="Google Shape;5227;p53"/>
            <p:cNvSpPr/>
            <p:nvPr/>
          </p:nvSpPr>
          <p:spPr>
            <a:xfrm>
              <a:off x="2123305" y="1657788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0" y="0"/>
                  </a:moveTo>
                  <a:lnTo>
                    <a:pt x="32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8" name="Google Shape;5228;p53"/>
            <p:cNvSpPr/>
            <p:nvPr/>
          </p:nvSpPr>
          <p:spPr>
            <a:xfrm>
              <a:off x="2146454" y="164343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9" name="Google Shape;5229;p53"/>
            <p:cNvSpPr/>
            <p:nvPr/>
          </p:nvSpPr>
          <p:spPr>
            <a:xfrm>
              <a:off x="2146780" y="164366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0" name="Google Shape;5230;p53"/>
            <p:cNvSpPr/>
            <p:nvPr/>
          </p:nvSpPr>
          <p:spPr>
            <a:xfrm>
              <a:off x="2150867" y="16467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1" name="Google Shape;5231;p53"/>
            <p:cNvSpPr/>
            <p:nvPr/>
          </p:nvSpPr>
          <p:spPr>
            <a:xfrm>
              <a:off x="2158280" y="1623559"/>
              <a:ext cx="258" cy="543"/>
            </a:xfrm>
            <a:custGeom>
              <a:avLst/>
              <a:gdLst/>
              <a:ahLst/>
              <a:cxnLst/>
              <a:rect l="l" t="t" r="r" b="b"/>
              <a:pathLst>
                <a:path w="19" h="40" extrusionOk="0">
                  <a:moveTo>
                    <a:pt x="18" y="1"/>
                  </a:moveTo>
                  <a:lnTo>
                    <a:pt x="15" y="12"/>
                  </a:lnTo>
                  <a:lnTo>
                    <a:pt x="15" y="12"/>
                  </a:lnTo>
                  <a:cubicBezTo>
                    <a:pt x="16" y="8"/>
                    <a:pt x="17" y="5"/>
                    <a:pt x="18" y="1"/>
                  </a:cubicBezTo>
                  <a:close/>
                  <a:moveTo>
                    <a:pt x="15" y="12"/>
                  </a:moveTo>
                  <a:cubicBezTo>
                    <a:pt x="12" y="18"/>
                    <a:pt x="9" y="23"/>
                    <a:pt x="6" y="29"/>
                  </a:cubicBezTo>
                  <a:lnTo>
                    <a:pt x="6" y="29"/>
                  </a:lnTo>
                  <a:cubicBezTo>
                    <a:pt x="8" y="26"/>
                    <a:pt x="10" y="23"/>
                    <a:pt x="11" y="22"/>
                  </a:cubicBezTo>
                  <a:lnTo>
                    <a:pt x="15" y="12"/>
                  </a:lnTo>
                  <a:close/>
                  <a:moveTo>
                    <a:pt x="6" y="29"/>
                  </a:moveTo>
                  <a:cubicBezTo>
                    <a:pt x="4" y="32"/>
                    <a:pt x="3" y="36"/>
                    <a:pt x="1" y="39"/>
                  </a:cubicBezTo>
                  <a:cubicBezTo>
                    <a:pt x="3" y="36"/>
                    <a:pt x="4" y="32"/>
                    <a:pt x="6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2" name="Google Shape;5232;p53"/>
            <p:cNvSpPr/>
            <p:nvPr/>
          </p:nvSpPr>
          <p:spPr>
            <a:xfrm>
              <a:off x="2150731" y="164657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3" name="Google Shape;5233;p53"/>
            <p:cNvSpPr/>
            <p:nvPr/>
          </p:nvSpPr>
          <p:spPr>
            <a:xfrm>
              <a:off x="2157859" y="162399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4" name="Google Shape;5234;p53"/>
            <p:cNvSpPr/>
            <p:nvPr/>
          </p:nvSpPr>
          <p:spPr>
            <a:xfrm>
              <a:off x="2158090" y="16240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5" name="Google Shape;5235;p53"/>
            <p:cNvSpPr/>
            <p:nvPr/>
          </p:nvSpPr>
          <p:spPr>
            <a:xfrm>
              <a:off x="2147310" y="164404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6" name="Google Shape;5236;p53"/>
            <p:cNvSpPr/>
            <p:nvPr/>
          </p:nvSpPr>
          <p:spPr>
            <a:xfrm>
              <a:off x="2147785" y="16443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7" name="Google Shape;5237;p53"/>
            <p:cNvSpPr/>
            <p:nvPr/>
          </p:nvSpPr>
          <p:spPr>
            <a:xfrm>
              <a:off x="2145409" y="1642717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8" name="Google Shape;5238;p53"/>
            <p:cNvSpPr/>
            <p:nvPr/>
          </p:nvSpPr>
          <p:spPr>
            <a:xfrm>
              <a:off x="2145069" y="1642486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9" name="Google Shape;5239;p53"/>
            <p:cNvSpPr/>
            <p:nvPr/>
          </p:nvSpPr>
          <p:spPr>
            <a:xfrm>
              <a:off x="2158430" y="1623274"/>
              <a:ext cx="204" cy="543"/>
            </a:xfrm>
            <a:custGeom>
              <a:avLst/>
              <a:gdLst/>
              <a:ahLst/>
              <a:cxnLst/>
              <a:rect l="l" t="t" r="r" b="b"/>
              <a:pathLst>
                <a:path w="15" h="40" extrusionOk="0">
                  <a:moveTo>
                    <a:pt x="14" y="1"/>
                  </a:moveTo>
                  <a:lnTo>
                    <a:pt x="7" y="18"/>
                  </a:lnTo>
                  <a:lnTo>
                    <a:pt x="7" y="22"/>
                  </a:lnTo>
                  <a:lnTo>
                    <a:pt x="0" y="39"/>
                  </a:lnTo>
                  <a:cubicBezTo>
                    <a:pt x="7" y="25"/>
                    <a:pt x="11" y="15"/>
                    <a:pt x="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0" name="Google Shape;5240;p53"/>
            <p:cNvSpPr/>
            <p:nvPr/>
          </p:nvSpPr>
          <p:spPr>
            <a:xfrm>
              <a:off x="2150921" y="16467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1" name="Google Shape;5241;p53"/>
            <p:cNvSpPr/>
            <p:nvPr/>
          </p:nvSpPr>
          <p:spPr>
            <a:xfrm>
              <a:off x="2102911" y="1600219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7" y="36"/>
                  </a:moveTo>
                  <a:cubicBezTo>
                    <a:pt x="7" y="25"/>
                    <a:pt x="4" y="15"/>
                    <a:pt x="0" y="1"/>
                  </a:cubicBezTo>
                  <a:cubicBezTo>
                    <a:pt x="4" y="15"/>
                    <a:pt x="7" y="25"/>
                    <a:pt x="7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2" name="Google Shape;5242;p53"/>
            <p:cNvSpPr/>
            <p:nvPr/>
          </p:nvSpPr>
          <p:spPr>
            <a:xfrm>
              <a:off x="2103101" y="1604741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4"/>
                    <a:pt x="0" y="7"/>
                    <a:pt x="0" y="11"/>
                  </a:cubicBezTo>
                  <a:cubicBezTo>
                    <a:pt x="0" y="7"/>
                    <a:pt x="0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3" name="Google Shape;5243;p53"/>
            <p:cNvSpPr/>
            <p:nvPr/>
          </p:nvSpPr>
          <p:spPr>
            <a:xfrm>
              <a:off x="2103142" y="1601224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28"/>
                  </a:moveTo>
                  <a:cubicBezTo>
                    <a:pt x="4" y="18"/>
                    <a:pt x="1" y="7"/>
                    <a:pt x="1" y="0"/>
                  </a:cubicBezTo>
                  <a:cubicBezTo>
                    <a:pt x="1" y="7"/>
                    <a:pt x="4" y="18"/>
                    <a:pt x="4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4" name="Google Shape;5244;p53"/>
            <p:cNvSpPr/>
            <p:nvPr/>
          </p:nvSpPr>
          <p:spPr>
            <a:xfrm>
              <a:off x="2103291" y="1602079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28"/>
                  </a:moveTo>
                  <a:cubicBezTo>
                    <a:pt x="0" y="18"/>
                    <a:pt x="0" y="11"/>
                    <a:pt x="0" y="0"/>
                  </a:cubicBezTo>
                  <a:cubicBezTo>
                    <a:pt x="0" y="7"/>
                    <a:pt x="0" y="18"/>
                    <a:pt x="0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5" name="Google Shape;5245;p53"/>
            <p:cNvSpPr/>
            <p:nvPr/>
          </p:nvSpPr>
          <p:spPr>
            <a:xfrm>
              <a:off x="2103332" y="1602840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6" name="Google Shape;5246;p53"/>
            <p:cNvSpPr/>
            <p:nvPr/>
          </p:nvSpPr>
          <p:spPr>
            <a:xfrm>
              <a:off x="2103237" y="1604170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4"/>
                    <a:pt x="1" y="11"/>
                    <a:pt x="1" y="18"/>
                  </a:cubicBezTo>
                  <a:cubicBezTo>
                    <a:pt x="1" y="11"/>
                    <a:pt x="1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7" name="Google Shape;5247;p53"/>
            <p:cNvSpPr/>
            <p:nvPr/>
          </p:nvSpPr>
          <p:spPr>
            <a:xfrm>
              <a:off x="2103332" y="160354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ubicBezTo>
                    <a:pt x="1" y="8"/>
                    <a:pt x="1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8" name="Google Shape;5248;p53"/>
            <p:cNvSpPr/>
            <p:nvPr/>
          </p:nvSpPr>
          <p:spPr>
            <a:xfrm>
              <a:off x="2095308" y="1620572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35"/>
                  </a:moveTo>
                  <a:cubicBezTo>
                    <a:pt x="4" y="25"/>
                    <a:pt x="7" y="11"/>
                    <a:pt x="11" y="0"/>
                  </a:cubicBezTo>
                  <a:cubicBezTo>
                    <a:pt x="7" y="11"/>
                    <a:pt x="4" y="25"/>
                    <a:pt x="0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9" name="Google Shape;5249;p53"/>
            <p:cNvSpPr/>
            <p:nvPr/>
          </p:nvSpPr>
          <p:spPr>
            <a:xfrm>
              <a:off x="2095593" y="163406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0" name="Google Shape;5250;p53"/>
            <p:cNvSpPr/>
            <p:nvPr/>
          </p:nvSpPr>
          <p:spPr>
            <a:xfrm>
              <a:off x="2095308" y="1633688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1" name="Google Shape;5251;p53"/>
            <p:cNvSpPr/>
            <p:nvPr/>
          </p:nvSpPr>
          <p:spPr>
            <a:xfrm>
              <a:off x="2095159" y="1633443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2" name="Google Shape;5252;p53"/>
            <p:cNvSpPr/>
            <p:nvPr/>
          </p:nvSpPr>
          <p:spPr>
            <a:xfrm>
              <a:off x="2097345" y="163896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3" name="Google Shape;5253;p53"/>
            <p:cNvSpPr/>
            <p:nvPr/>
          </p:nvSpPr>
          <p:spPr>
            <a:xfrm>
              <a:off x="2096163" y="163505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4" name="Google Shape;5254;p53"/>
            <p:cNvSpPr/>
            <p:nvPr/>
          </p:nvSpPr>
          <p:spPr>
            <a:xfrm>
              <a:off x="2096014" y="16347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5" name="Google Shape;5255;p53"/>
            <p:cNvSpPr/>
            <p:nvPr/>
          </p:nvSpPr>
          <p:spPr>
            <a:xfrm>
              <a:off x="2097249" y="1638345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6" name="Google Shape;5256;p53"/>
            <p:cNvSpPr/>
            <p:nvPr/>
          </p:nvSpPr>
          <p:spPr>
            <a:xfrm>
              <a:off x="2097059" y="163729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7" name="Google Shape;5257;p53"/>
            <p:cNvSpPr/>
            <p:nvPr/>
          </p:nvSpPr>
          <p:spPr>
            <a:xfrm>
              <a:off x="2096774" y="1636444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8" name="Google Shape;5258;p53"/>
            <p:cNvSpPr/>
            <p:nvPr/>
          </p:nvSpPr>
          <p:spPr>
            <a:xfrm>
              <a:off x="2096639" y="163600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9" name="Google Shape;5259;p53"/>
            <p:cNvSpPr/>
            <p:nvPr/>
          </p:nvSpPr>
          <p:spPr>
            <a:xfrm>
              <a:off x="2097154" y="163777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0" name="Google Shape;5260;p53"/>
            <p:cNvSpPr/>
            <p:nvPr/>
          </p:nvSpPr>
          <p:spPr>
            <a:xfrm>
              <a:off x="2096924" y="163682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1" name="Google Shape;5261;p53"/>
            <p:cNvSpPr/>
            <p:nvPr/>
          </p:nvSpPr>
          <p:spPr>
            <a:xfrm>
              <a:off x="2096353" y="1635344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2" name="Google Shape;5262;p53"/>
            <p:cNvSpPr/>
            <p:nvPr/>
          </p:nvSpPr>
          <p:spPr>
            <a:xfrm>
              <a:off x="2096489" y="1635724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3" name="Google Shape;5263;p53"/>
            <p:cNvSpPr/>
            <p:nvPr/>
          </p:nvSpPr>
          <p:spPr>
            <a:xfrm>
              <a:off x="2095878" y="163454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4" name="Google Shape;5264;p53"/>
            <p:cNvSpPr/>
            <p:nvPr/>
          </p:nvSpPr>
          <p:spPr>
            <a:xfrm>
              <a:off x="2095729" y="163429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5" name="Google Shape;5265;p53"/>
            <p:cNvSpPr/>
            <p:nvPr/>
          </p:nvSpPr>
          <p:spPr>
            <a:xfrm>
              <a:off x="2095254" y="16329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6" name="Google Shape;5266;p53"/>
            <p:cNvSpPr/>
            <p:nvPr/>
          </p:nvSpPr>
          <p:spPr>
            <a:xfrm>
              <a:off x="2095064" y="1633063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cubicBezTo>
                    <a:pt x="8" y="4"/>
                    <a:pt x="3" y="9"/>
                    <a:pt x="1" y="14"/>
                  </a:cubicBezTo>
                  <a:lnTo>
                    <a:pt x="1" y="14"/>
                  </a:lnTo>
                  <a:cubicBezTo>
                    <a:pt x="5" y="10"/>
                    <a:pt x="8" y="4"/>
                    <a:pt x="11" y="1"/>
                  </a:cubicBezTo>
                  <a:close/>
                  <a:moveTo>
                    <a:pt x="1" y="14"/>
                  </a:moveTo>
                  <a:lnTo>
                    <a:pt x="1" y="14"/>
                  </a:lnTo>
                  <a:cubicBezTo>
                    <a:pt x="1" y="14"/>
                    <a:pt x="1" y="15"/>
                    <a:pt x="1" y="15"/>
                  </a:cubicBezTo>
                  <a:lnTo>
                    <a:pt x="1" y="18"/>
                  </a:lnTo>
                  <a:cubicBezTo>
                    <a:pt x="1" y="17"/>
                    <a:pt x="1" y="15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7" name="Google Shape;5267;p53"/>
            <p:cNvSpPr/>
            <p:nvPr/>
          </p:nvSpPr>
          <p:spPr>
            <a:xfrm>
              <a:off x="2094588" y="1626274"/>
              <a:ext cx="964" cy="1860"/>
            </a:xfrm>
            <a:custGeom>
              <a:avLst/>
              <a:gdLst/>
              <a:ahLst/>
              <a:cxnLst/>
              <a:rect l="l" t="t" r="r" b="b"/>
              <a:pathLst>
                <a:path w="71" h="137" extrusionOk="0">
                  <a:moveTo>
                    <a:pt x="71" y="137"/>
                  </a:moveTo>
                  <a:cubicBezTo>
                    <a:pt x="46" y="95"/>
                    <a:pt x="1" y="28"/>
                    <a:pt x="4" y="0"/>
                  </a:cubicBezTo>
                  <a:lnTo>
                    <a:pt x="4" y="0"/>
                  </a:lnTo>
                  <a:cubicBezTo>
                    <a:pt x="1" y="28"/>
                    <a:pt x="46" y="95"/>
                    <a:pt x="71" y="13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8" name="Google Shape;5268;p53"/>
            <p:cNvSpPr/>
            <p:nvPr/>
          </p:nvSpPr>
          <p:spPr>
            <a:xfrm>
              <a:off x="2095064" y="16333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9" name="Google Shape;5269;p53"/>
            <p:cNvSpPr/>
            <p:nvPr/>
          </p:nvSpPr>
          <p:spPr>
            <a:xfrm>
              <a:off x="2109944" y="165649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0" name="Google Shape;5270;p53"/>
            <p:cNvSpPr/>
            <p:nvPr/>
          </p:nvSpPr>
          <p:spPr>
            <a:xfrm>
              <a:off x="2110555" y="165636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1" name="Google Shape;5271;p53"/>
            <p:cNvSpPr/>
            <p:nvPr/>
          </p:nvSpPr>
          <p:spPr>
            <a:xfrm>
              <a:off x="2118118" y="1656647"/>
              <a:ext cx="869" cy="394"/>
            </a:xfrm>
            <a:custGeom>
              <a:avLst/>
              <a:gdLst/>
              <a:ahLst/>
              <a:cxnLst/>
              <a:rect l="l" t="t" r="r" b="b"/>
              <a:pathLst>
                <a:path w="64" h="29" extrusionOk="0">
                  <a:moveTo>
                    <a:pt x="1" y="0"/>
                  </a:moveTo>
                  <a:lnTo>
                    <a:pt x="64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2" name="Google Shape;5272;p53"/>
            <p:cNvSpPr/>
            <p:nvPr/>
          </p:nvSpPr>
          <p:spPr>
            <a:xfrm>
              <a:off x="2109374" y="165655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3" name="Google Shape;5273;p53"/>
            <p:cNvSpPr/>
            <p:nvPr/>
          </p:nvSpPr>
          <p:spPr>
            <a:xfrm>
              <a:off x="2110325" y="165640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4" name="Google Shape;5274;p53"/>
            <p:cNvSpPr/>
            <p:nvPr/>
          </p:nvSpPr>
          <p:spPr>
            <a:xfrm>
              <a:off x="2117222" y="1656308"/>
              <a:ext cx="774" cy="299"/>
            </a:xfrm>
            <a:custGeom>
              <a:avLst/>
              <a:gdLst/>
              <a:ahLst/>
              <a:cxnLst/>
              <a:rect l="l" t="t" r="r" b="b"/>
              <a:pathLst>
                <a:path w="57" h="22" extrusionOk="0">
                  <a:moveTo>
                    <a:pt x="0" y="1"/>
                  </a:moveTo>
                  <a:lnTo>
                    <a:pt x="56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5" name="Google Shape;5275;p53"/>
            <p:cNvSpPr/>
            <p:nvPr/>
          </p:nvSpPr>
          <p:spPr>
            <a:xfrm>
              <a:off x="2110650" y="165630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6" name="Google Shape;5276;p53"/>
            <p:cNvSpPr/>
            <p:nvPr/>
          </p:nvSpPr>
          <p:spPr>
            <a:xfrm>
              <a:off x="2110135" y="165645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7" name="Google Shape;5277;p53"/>
            <p:cNvSpPr/>
            <p:nvPr/>
          </p:nvSpPr>
          <p:spPr>
            <a:xfrm>
              <a:off x="2119069" y="1657123"/>
              <a:ext cx="964" cy="434"/>
            </a:xfrm>
            <a:custGeom>
              <a:avLst/>
              <a:gdLst/>
              <a:ahLst/>
              <a:cxnLst/>
              <a:rect l="l" t="t" r="r" b="b"/>
              <a:pathLst>
                <a:path w="71" h="32" extrusionOk="0">
                  <a:moveTo>
                    <a:pt x="1" y="0"/>
                  </a:moveTo>
                  <a:lnTo>
                    <a:pt x="7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8" name="Google Shape;5278;p53"/>
            <p:cNvSpPr/>
            <p:nvPr/>
          </p:nvSpPr>
          <p:spPr>
            <a:xfrm>
              <a:off x="2108994" y="1656593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9" name="Google Shape;5279;p53"/>
            <p:cNvSpPr/>
            <p:nvPr/>
          </p:nvSpPr>
          <p:spPr>
            <a:xfrm>
              <a:off x="2109659" y="165649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0" name="Google Shape;5280;p53"/>
            <p:cNvSpPr/>
            <p:nvPr/>
          </p:nvSpPr>
          <p:spPr>
            <a:xfrm>
              <a:off x="2116407" y="1656023"/>
              <a:ext cx="679" cy="258"/>
            </a:xfrm>
            <a:custGeom>
              <a:avLst/>
              <a:gdLst/>
              <a:ahLst/>
              <a:cxnLst/>
              <a:rect l="l" t="t" r="r" b="b"/>
              <a:pathLst>
                <a:path w="50" h="19" extrusionOk="0">
                  <a:moveTo>
                    <a:pt x="1" y="1"/>
                  </a:moveTo>
                  <a:cubicBezTo>
                    <a:pt x="15" y="4"/>
                    <a:pt x="32" y="11"/>
                    <a:pt x="50" y="18"/>
                  </a:cubicBezTo>
                  <a:cubicBezTo>
                    <a:pt x="32" y="11"/>
                    <a:pt x="1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1" name="Google Shape;5281;p53"/>
            <p:cNvSpPr/>
            <p:nvPr/>
          </p:nvSpPr>
          <p:spPr>
            <a:xfrm>
              <a:off x="2106428" y="1656552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0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2" name="Google Shape;5282;p53"/>
            <p:cNvSpPr/>
            <p:nvPr/>
          </p:nvSpPr>
          <p:spPr>
            <a:xfrm>
              <a:off x="2105898" y="1656498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3" name="Google Shape;5283;p53"/>
            <p:cNvSpPr/>
            <p:nvPr/>
          </p:nvSpPr>
          <p:spPr>
            <a:xfrm>
              <a:off x="2110460" y="165640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4" name="Google Shape;5284;p53"/>
            <p:cNvSpPr/>
            <p:nvPr/>
          </p:nvSpPr>
          <p:spPr>
            <a:xfrm>
              <a:off x="2107039" y="1656593"/>
              <a:ext cx="1969" cy="14"/>
            </a:xfrm>
            <a:custGeom>
              <a:avLst/>
              <a:gdLst/>
              <a:ahLst/>
              <a:cxnLst/>
              <a:rect l="l" t="t" r="r" b="b"/>
              <a:pathLst>
                <a:path w="145" h="1" extrusionOk="0">
                  <a:moveTo>
                    <a:pt x="144" y="1"/>
                  </a:moveTo>
                  <a:lnTo>
                    <a:pt x="1" y="1"/>
                  </a:lnTo>
                  <a:cubicBezTo>
                    <a:pt x="60" y="1"/>
                    <a:pt x="106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5" name="Google Shape;5285;p53"/>
            <p:cNvSpPr/>
            <p:nvPr/>
          </p:nvSpPr>
          <p:spPr>
            <a:xfrm>
              <a:off x="2203154" y="1406808"/>
              <a:ext cx="75925" cy="121342"/>
            </a:xfrm>
            <a:custGeom>
              <a:avLst/>
              <a:gdLst/>
              <a:ahLst/>
              <a:cxnLst/>
              <a:rect l="l" t="t" r="r" b="b"/>
              <a:pathLst>
                <a:path w="5592" h="8937" extrusionOk="0">
                  <a:moveTo>
                    <a:pt x="3667" y="1"/>
                  </a:moveTo>
                  <a:cubicBezTo>
                    <a:pt x="3594" y="1"/>
                    <a:pt x="3523" y="29"/>
                    <a:pt x="3473" y="81"/>
                  </a:cubicBezTo>
                  <a:cubicBezTo>
                    <a:pt x="3421" y="155"/>
                    <a:pt x="3298" y="155"/>
                    <a:pt x="3158" y="155"/>
                  </a:cubicBezTo>
                  <a:cubicBezTo>
                    <a:pt x="3088" y="155"/>
                    <a:pt x="2962" y="155"/>
                    <a:pt x="2938" y="176"/>
                  </a:cubicBezTo>
                  <a:cubicBezTo>
                    <a:pt x="2938" y="288"/>
                    <a:pt x="2840" y="344"/>
                    <a:pt x="2749" y="397"/>
                  </a:cubicBezTo>
                  <a:cubicBezTo>
                    <a:pt x="2658" y="446"/>
                    <a:pt x="2602" y="484"/>
                    <a:pt x="2602" y="537"/>
                  </a:cubicBezTo>
                  <a:cubicBezTo>
                    <a:pt x="2605" y="589"/>
                    <a:pt x="2612" y="638"/>
                    <a:pt x="2626" y="691"/>
                  </a:cubicBezTo>
                  <a:cubicBezTo>
                    <a:pt x="2647" y="813"/>
                    <a:pt x="2675" y="939"/>
                    <a:pt x="2602" y="1016"/>
                  </a:cubicBezTo>
                  <a:cubicBezTo>
                    <a:pt x="2566" y="1052"/>
                    <a:pt x="2517" y="1070"/>
                    <a:pt x="2468" y="1070"/>
                  </a:cubicBezTo>
                  <a:cubicBezTo>
                    <a:pt x="2460" y="1070"/>
                    <a:pt x="2452" y="1070"/>
                    <a:pt x="2444" y="1069"/>
                  </a:cubicBezTo>
                  <a:lnTo>
                    <a:pt x="2406" y="1069"/>
                  </a:lnTo>
                  <a:cubicBezTo>
                    <a:pt x="2395" y="1067"/>
                    <a:pt x="2385" y="1066"/>
                    <a:pt x="2374" y="1066"/>
                  </a:cubicBezTo>
                  <a:cubicBezTo>
                    <a:pt x="2364" y="1066"/>
                    <a:pt x="2353" y="1067"/>
                    <a:pt x="2343" y="1069"/>
                  </a:cubicBezTo>
                  <a:cubicBezTo>
                    <a:pt x="2343" y="1083"/>
                    <a:pt x="2339" y="1093"/>
                    <a:pt x="2339" y="1104"/>
                  </a:cubicBezTo>
                  <a:cubicBezTo>
                    <a:pt x="2339" y="1195"/>
                    <a:pt x="2308" y="1282"/>
                    <a:pt x="2252" y="1356"/>
                  </a:cubicBezTo>
                  <a:cubicBezTo>
                    <a:pt x="2224" y="1398"/>
                    <a:pt x="2171" y="1450"/>
                    <a:pt x="2108" y="1450"/>
                  </a:cubicBezTo>
                  <a:cubicBezTo>
                    <a:pt x="2045" y="1450"/>
                    <a:pt x="2007" y="1398"/>
                    <a:pt x="1979" y="1356"/>
                  </a:cubicBezTo>
                  <a:cubicBezTo>
                    <a:pt x="1945" y="1308"/>
                    <a:pt x="1931" y="1298"/>
                    <a:pt x="1918" y="1298"/>
                  </a:cubicBezTo>
                  <a:cubicBezTo>
                    <a:pt x="1915" y="1298"/>
                    <a:pt x="1912" y="1299"/>
                    <a:pt x="1909" y="1300"/>
                  </a:cubicBezTo>
                  <a:cubicBezTo>
                    <a:pt x="1883" y="1308"/>
                    <a:pt x="1859" y="1312"/>
                    <a:pt x="1834" y="1312"/>
                  </a:cubicBezTo>
                  <a:cubicBezTo>
                    <a:pt x="1767" y="1312"/>
                    <a:pt x="1703" y="1285"/>
                    <a:pt x="1646" y="1265"/>
                  </a:cubicBezTo>
                  <a:cubicBezTo>
                    <a:pt x="1590" y="1242"/>
                    <a:pt x="1563" y="1234"/>
                    <a:pt x="1548" y="1234"/>
                  </a:cubicBezTo>
                  <a:cubicBezTo>
                    <a:pt x="1537" y="1234"/>
                    <a:pt x="1533" y="1238"/>
                    <a:pt x="1530" y="1244"/>
                  </a:cubicBezTo>
                  <a:cubicBezTo>
                    <a:pt x="1487" y="1315"/>
                    <a:pt x="1415" y="1339"/>
                    <a:pt x="1328" y="1339"/>
                  </a:cubicBezTo>
                  <a:cubicBezTo>
                    <a:pt x="1239" y="1339"/>
                    <a:pt x="1134" y="1314"/>
                    <a:pt x="1026" y="1289"/>
                  </a:cubicBezTo>
                  <a:cubicBezTo>
                    <a:pt x="974" y="1275"/>
                    <a:pt x="918" y="1261"/>
                    <a:pt x="862" y="1251"/>
                  </a:cubicBezTo>
                  <a:cubicBezTo>
                    <a:pt x="708" y="1219"/>
                    <a:pt x="596" y="1097"/>
                    <a:pt x="498" y="988"/>
                  </a:cubicBezTo>
                  <a:cubicBezTo>
                    <a:pt x="421" y="901"/>
                    <a:pt x="347" y="820"/>
                    <a:pt x="270" y="810"/>
                  </a:cubicBezTo>
                  <a:lnTo>
                    <a:pt x="232" y="810"/>
                  </a:lnTo>
                  <a:cubicBezTo>
                    <a:pt x="221" y="813"/>
                    <a:pt x="211" y="813"/>
                    <a:pt x="200" y="817"/>
                  </a:cubicBezTo>
                  <a:lnTo>
                    <a:pt x="193" y="817"/>
                  </a:lnTo>
                  <a:cubicBezTo>
                    <a:pt x="183" y="820"/>
                    <a:pt x="172" y="824"/>
                    <a:pt x="162" y="831"/>
                  </a:cubicBezTo>
                  <a:lnTo>
                    <a:pt x="158" y="831"/>
                  </a:lnTo>
                  <a:cubicBezTo>
                    <a:pt x="134" y="841"/>
                    <a:pt x="113" y="859"/>
                    <a:pt x="92" y="876"/>
                  </a:cubicBezTo>
                  <a:cubicBezTo>
                    <a:pt x="81" y="887"/>
                    <a:pt x="71" y="897"/>
                    <a:pt x="60" y="908"/>
                  </a:cubicBezTo>
                  <a:lnTo>
                    <a:pt x="57" y="908"/>
                  </a:lnTo>
                  <a:cubicBezTo>
                    <a:pt x="46" y="918"/>
                    <a:pt x="39" y="932"/>
                    <a:pt x="29" y="943"/>
                  </a:cubicBezTo>
                  <a:lnTo>
                    <a:pt x="25" y="946"/>
                  </a:lnTo>
                  <a:cubicBezTo>
                    <a:pt x="18" y="960"/>
                    <a:pt x="8" y="974"/>
                    <a:pt x="1" y="985"/>
                  </a:cubicBezTo>
                  <a:cubicBezTo>
                    <a:pt x="64" y="1030"/>
                    <a:pt x="123" y="1083"/>
                    <a:pt x="176" y="1128"/>
                  </a:cubicBezTo>
                  <a:cubicBezTo>
                    <a:pt x="256" y="1202"/>
                    <a:pt x="340" y="1268"/>
                    <a:pt x="431" y="1328"/>
                  </a:cubicBezTo>
                  <a:cubicBezTo>
                    <a:pt x="466" y="1349"/>
                    <a:pt x="501" y="1366"/>
                    <a:pt x="540" y="1384"/>
                  </a:cubicBezTo>
                  <a:cubicBezTo>
                    <a:pt x="599" y="1412"/>
                    <a:pt x="669" y="1440"/>
                    <a:pt x="746" y="1471"/>
                  </a:cubicBezTo>
                  <a:cubicBezTo>
                    <a:pt x="1072" y="1601"/>
                    <a:pt x="1383" y="1727"/>
                    <a:pt x="1355" y="1919"/>
                  </a:cubicBezTo>
                  <a:cubicBezTo>
                    <a:pt x="1352" y="1954"/>
                    <a:pt x="1345" y="1989"/>
                    <a:pt x="1338" y="2024"/>
                  </a:cubicBezTo>
                  <a:cubicBezTo>
                    <a:pt x="1313" y="2157"/>
                    <a:pt x="1282" y="2332"/>
                    <a:pt x="1348" y="2374"/>
                  </a:cubicBezTo>
                  <a:cubicBezTo>
                    <a:pt x="1446" y="2430"/>
                    <a:pt x="1439" y="2557"/>
                    <a:pt x="1436" y="2665"/>
                  </a:cubicBezTo>
                  <a:cubicBezTo>
                    <a:pt x="1436" y="2753"/>
                    <a:pt x="1432" y="2844"/>
                    <a:pt x="1474" y="2868"/>
                  </a:cubicBezTo>
                  <a:cubicBezTo>
                    <a:pt x="1600" y="2928"/>
                    <a:pt x="1628" y="3113"/>
                    <a:pt x="1593" y="3267"/>
                  </a:cubicBezTo>
                  <a:cubicBezTo>
                    <a:pt x="1569" y="3376"/>
                    <a:pt x="1513" y="3442"/>
                    <a:pt x="1443" y="3456"/>
                  </a:cubicBezTo>
                  <a:cubicBezTo>
                    <a:pt x="1474" y="3519"/>
                    <a:pt x="1520" y="3579"/>
                    <a:pt x="1569" y="3631"/>
                  </a:cubicBezTo>
                  <a:cubicBezTo>
                    <a:pt x="1576" y="3638"/>
                    <a:pt x="1583" y="3645"/>
                    <a:pt x="1590" y="3656"/>
                  </a:cubicBezTo>
                  <a:cubicBezTo>
                    <a:pt x="1590" y="3659"/>
                    <a:pt x="1593" y="3663"/>
                    <a:pt x="1597" y="3666"/>
                  </a:cubicBezTo>
                  <a:cubicBezTo>
                    <a:pt x="1597" y="3673"/>
                    <a:pt x="1604" y="3680"/>
                    <a:pt x="1604" y="3687"/>
                  </a:cubicBezTo>
                  <a:lnTo>
                    <a:pt x="1614" y="3705"/>
                  </a:lnTo>
                  <a:cubicBezTo>
                    <a:pt x="1614" y="3708"/>
                    <a:pt x="1618" y="3715"/>
                    <a:pt x="1621" y="3722"/>
                  </a:cubicBezTo>
                  <a:lnTo>
                    <a:pt x="1625" y="3740"/>
                  </a:lnTo>
                  <a:cubicBezTo>
                    <a:pt x="1628" y="3747"/>
                    <a:pt x="1632" y="3754"/>
                    <a:pt x="1632" y="3764"/>
                  </a:cubicBezTo>
                  <a:cubicBezTo>
                    <a:pt x="1635" y="3771"/>
                    <a:pt x="1635" y="3775"/>
                    <a:pt x="1639" y="3782"/>
                  </a:cubicBezTo>
                  <a:cubicBezTo>
                    <a:pt x="1639" y="3785"/>
                    <a:pt x="1642" y="3799"/>
                    <a:pt x="1642" y="3806"/>
                  </a:cubicBezTo>
                  <a:lnTo>
                    <a:pt x="1646" y="3820"/>
                  </a:lnTo>
                  <a:cubicBezTo>
                    <a:pt x="1649" y="3834"/>
                    <a:pt x="1653" y="3848"/>
                    <a:pt x="1653" y="3859"/>
                  </a:cubicBezTo>
                  <a:lnTo>
                    <a:pt x="1653" y="3873"/>
                  </a:lnTo>
                  <a:cubicBezTo>
                    <a:pt x="1653" y="3880"/>
                    <a:pt x="1656" y="3887"/>
                    <a:pt x="1656" y="3894"/>
                  </a:cubicBezTo>
                  <a:cubicBezTo>
                    <a:pt x="1761" y="3925"/>
                    <a:pt x="1863" y="3967"/>
                    <a:pt x="1958" y="4016"/>
                  </a:cubicBezTo>
                  <a:cubicBezTo>
                    <a:pt x="1993" y="4034"/>
                    <a:pt x="2028" y="4051"/>
                    <a:pt x="2063" y="4065"/>
                  </a:cubicBezTo>
                  <a:cubicBezTo>
                    <a:pt x="2290" y="4167"/>
                    <a:pt x="2294" y="4328"/>
                    <a:pt x="2294" y="4475"/>
                  </a:cubicBezTo>
                  <a:lnTo>
                    <a:pt x="2294" y="4545"/>
                  </a:lnTo>
                  <a:lnTo>
                    <a:pt x="2294" y="4559"/>
                  </a:lnTo>
                  <a:cubicBezTo>
                    <a:pt x="2301" y="4699"/>
                    <a:pt x="2304" y="4780"/>
                    <a:pt x="2241" y="4818"/>
                  </a:cubicBezTo>
                  <a:cubicBezTo>
                    <a:pt x="2224" y="4828"/>
                    <a:pt x="2207" y="4832"/>
                    <a:pt x="2191" y="4832"/>
                  </a:cubicBezTo>
                  <a:cubicBezTo>
                    <a:pt x="2149" y="4832"/>
                    <a:pt x="2113" y="4807"/>
                    <a:pt x="2098" y="4797"/>
                  </a:cubicBezTo>
                  <a:cubicBezTo>
                    <a:pt x="2083" y="4785"/>
                    <a:pt x="2066" y="4780"/>
                    <a:pt x="2048" y="4780"/>
                  </a:cubicBezTo>
                  <a:cubicBezTo>
                    <a:pt x="2040" y="4780"/>
                    <a:pt x="2032" y="4781"/>
                    <a:pt x="2024" y="4783"/>
                  </a:cubicBezTo>
                  <a:cubicBezTo>
                    <a:pt x="2000" y="4794"/>
                    <a:pt x="1940" y="4832"/>
                    <a:pt x="1895" y="5000"/>
                  </a:cubicBezTo>
                  <a:cubicBezTo>
                    <a:pt x="1824" y="5263"/>
                    <a:pt x="1495" y="5581"/>
                    <a:pt x="1278" y="5599"/>
                  </a:cubicBezTo>
                  <a:cubicBezTo>
                    <a:pt x="1212" y="5606"/>
                    <a:pt x="1187" y="5637"/>
                    <a:pt x="1142" y="5700"/>
                  </a:cubicBezTo>
                  <a:cubicBezTo>
                    <a:pt x="1107" y="5770"/>
                    <a:pt x="1040" y="5823"/>
                    <a:pt x="967" y="5847"/>
                  </a:cubicBezTo>
                  <a:cubicBezTo>
                    <a:pt x="851" y="5879"/>
                    <a:pt x="718" y="5942"/>
                    <a:pt x="722" y="6082"/>
                  </a:cubicBezTo>
                  <a:cubicBezTo>
                    <a:pt x="729" y="6138"/>
                    <a:pt x="708" y="6190"/>
                    <a:pt x="669" y="6232"/>
                  </a:cubicBezTo>
                  <a:cubicBezTo>
                    <a:pt x="582" y="6323"/>
                    <a:pt x="414" y="6334"/>
                    <a:pt x="277" y="6334"/>
                  </a:cubicBezTo>
                  <a:cubicBezTo>
                    <a:pt x="246" y="6334"/>
                    <a:pt x="228" y="6369"/>
                    <a:pt x="197" y="6463"/>
                  </a:cubicBezTo>
                  <a:cubicBezTo>
                    <a:pt x="172" y="6540"/>
                    <a:pt x="144" y="6628"/>
                    <a:pt x="67" y="6674"/>
                  </a:cubicBezTo>
                  <a:cubicBezTo>
                    <a:pt x="22" y="6698"/>
                    <a:pt x="22" y="6719"/>
                    <a:pt x="18" y="6726"/>
                  </a:cubicBezTo>
                  <a:cubicBezTo>
                    <a:pt x="11" y="6758"/>
                    <a:pt x="39" y="6814"/>
                    <a:pt x="102" y="6894"/>
                  </a:cubicBezTo>
                  <a:cubicBezTo>
                    <a:pt x="165" y="6978"/>
                    <a:pt x="186" y="7083"/>
                    <a:pt x="165" y="7188"/>
                  </a:cubicBezTo>
                  <a:cubicBezTo>
                    <a:pt x="158" y="7220"/>
                    <a:pt x="158" y="7255"/>
                    <a:pt x="165" y="7290"/>
                  </a:cubicBezTo>
                  <a:cubicBezTo>
                    <a:pt x="172" y="7304"/>
                    <a:pt x="183" y="7325"/>
                    <a:pt x="197" y="7353"/>
                  </a:cubicBezTo>
                  <a:cubicBezTo>
                    <a:pt x="260" y="7475"/>
                    <a:pt x="375" y="7706"/>
                    <a:pt x="263" y="7955"/>
                  </a:cubicBezTo>
                  <a:cubicBezTo>
                    <a:pt x="141" y="8221"/>
                    <a:pt x="95" y="8361"/>
                    <a:pt x="88" y="8424"/>
                  </a:cubicBezTo>
                  <a:cubicBezTo>
                    <a:pt x="155" y="8427"/>
                    <a:pt x="228" y="8473"/>
                    <a:pt x="312" y="8525"/>
                  </a:cubicBezTo>
                  <a:cubicBezTo>
                    <a:pt x="392" y="8572"/>
                    <a:pt x="487" y="8631"/>
                    <a:pt x="551" y="8631"/>
                  </a:cubicBezTo>
                  <a:cubicBezTo>
                    <a:pt x="554" y="8631"/>
                    <a:pt x="557" y="8631"/>
                    <a:pt x="561" y="8630"/>
                  </a:cubicBezTo>
                  <a:cubicBezTo>
                    <a:pt x="568" y="8630"/>
                    <a:pt x="575" y="8629"/>
                    <a:pt x="582" y="8629"/>
                  </a:cubicBezTo>
                  <a:cubicBezTo>
                    <a:pt x="681" y="8629"/>
                    <a:pt x="739" y="8697"/>
                    <a:pt x="785" y="8750"/>
                  </a:cubicBezTo>
                  <a:cubicBezTo>
                    <a:pt x="821" y="8794"/>
                    <a:pt x="840" y="8812"/>
                    <a:pt x="862" y="8812"/>
                  </a:cubicBezTo>
                  <a:cubicBezTo>
                    <a:pt x="867" y="8812"/>
                    <a:pt x="873" y="8811"/>
                    <a:pt x="879" y="8809"/>
                  </a:cubicBezTo>
                  <a:cubicBezTo>
                    <a:pt x="900" y="8802"/>
                    <a:pt x="921" y="8799"/>
                    <a:pt x="946" y="8799"/>
                  </a:cubicBezTo>
                  <a:cubicBezTo>
                    <a:pt x="995" y="8802"/>
                    <a:pt x="1044" y="8820"/>
                    <a:pt x="1086" y="8848"/>
                  </a:cubicBezTo>
                  <a:cubicBezTo>
                    <a:pt x="1150" y="8886"/>
                    <a:pt x="1238" y="8936"/>
                    <a:pt x="1438" y="8936"/>
                  </a:cubicBezTo>
                  <a:cubicBezTo>
                    <a:pt x="1456" y="8936"/>
                    <a:pt x="1475" y="8936"/>
                    <a:pt x="1495" y="8935"/>
                  </a:cubicBezTo>
                  <a:cubicBezTo>
                    <a:pt x="1712" y="8928"/>
                    <a:pt x="2052" y="8827"/>
                    <a:pt x="2381" y="8732"/>
                  </a:cubicBezTo>
                  <a:cubicBezTo>
                    <a:pt x="2710" y="8637"/>
                    <a:pt x="3011" y="8546"/>
                    <a:pt x="3193" y="8546"/>
                  </a:cubicBezTo>
                  <a:cubicBezTo>
                    <a:pt x="3206" y="8547"/>
                    <a:pt x="3219" y="8547"/>
                    <a:pt x="3232" y="8547"/>
                  </a:cubicBezTo>
                  <a:cubicBezTo>
                    <a:pt x="3373" y="8547"/>
                    <a:pt x="3510" y="8530"/>
                    <a:pt x="3645" y="8501"/>
                  </a:cubicBezTo>
                  <a:cubicBezTo>
                    <a:pt x="3704" y="8410"/>
                    <a:pt x="3767" y="8326"/>
                    <a:pt x="3837" y="8245"/>
                  </a:cubicBezTo>
                  <a:lnTo>
                    <a:pt x="3865" y="8217"/>
                  </a:lnTo>
                  <a:lnTo>
                    <a:pt x="3869" y="8210"/>
                  </a:lnTo>
                  <a:lnTo>
                    <a:pt x="3900" y="8179"/>
                  </a:lnTo>
                  <a:cubicBezTo>
                    <a:pt x="4009" y="8081"/>
                    <a:pt x="4132" y="7993"/>
                    <a:pt x="4261" y="7920"/>
                  </a:cubicBezTo>
                  <a:cubicBezTo>
                    <a:pt x="4457" y="7801"/>
                    <a:pt x="4657" y="7678"/>
                    <a:pt x="4727" y="7521"/>
                  </a:cubicBezTo>
                  <a:lnTo>
                    <a:pt x="4734" y="7510"/>
                  </a:lnTo>
                  <a:cubicBezTo>
                    <a:pt x="4793" y="7384"/>
                    <a:pt x="4916" y="7276"/>
                    <a:pt x="5052" y="7174"/>
                  </a:cubicBezTo>
                  <a:lnTo>
                    <a:pt x="5101" y="7139"/>
                  </a:lnTo>
                  <a:lnTo>
                    <a:pt x="5171" y="7090"/>
                  </a:lnTo>
                  <a:cubicBezTo>
                    <a:pt x="5329" y="6975"/>
                    <a:pt x="5493" y="6856"/>
                    <a:pt x="5535" y="6747"/>
                  </a:cubicBezTo>
                  <a:cubicBezTo>
                    <a:pt x="5577" y="6635"/>
                    <a:pt x="5591" y="6596"/>
                    <a:pt x="5402" y="6376"/>
                  </a:cubicBezTo>
                  <a:cubicBezTo>
                    <a:pt x="5304" y="6264"/>
                    <a:pt x="5140" y="6166"/>
                    <a:pt x="5000" y="6082"/>
                  </a:cubicBezTo>
                  <a:cubicBezTo>
                    <a:pt x="4828" y="5980"/>
                    <a:pt x="4702" y="5907"/>
                    <a:pt x="4692" y="5809"/>
                  </a:cubicBezTo>
                  <a:cubicBezTo>
                    <a:pt x="4678" y="5697"/>
                    <a:pt x="4786" y="5648"/>
                    <a:pt x="4884" y="5606"/>
                  </a:cubicBezTo>
                  <a:cubicBezTo>
                    <a:pt x="4951" y="5574"/>
                    <a:pt x="5031" y="5536"/>
                    <a:pt x="5028" y="5501"/>
                  </a:cubicBezTo>
                  <a:cubicBezTo>
                    <a:pt x="5024" y="5441"/>
                    <a:pt x="4986" y="5417"/>
                    <a:pt x="4912" y="5375"/>
                  </a:cubicBezTo>
                  <a:cubicBezTo>
                    <a:pt x="4846" y="5343"/>
                    <a:pt x="4790" y="5294"/>
                    <a:pt x="4748" y="5235"/>
                  </a:cubicBezTo>
                  <a:cubicBezTo>
                    <a:pt x="4671" y="5116"/>
                    <a:pt x="4751" y="5018"/>
                    <a:pt x="4790" y="4965"/>
                  </a:cubicBezTo>
                  <a:cubicBezTo>
                    <a:pt x="4797" y="4958"/>
                    <a:pt x="4804" y="4951"/>
                    <a:pt x="4811" y="4944"/>
                  </a:cubicBezTo>
                  <a:cubicBezTo>
                    <a:pt x="4783" y="4930"/>
                    <a:pt x="4758" y="4920"/>
                    <a:pt x="4734" y="4909"/>
                  </a:cubicBezTo>
                  <a:cubicBezTo>
                    <a:pt x="4646" y="4874"/>
                    <a:pt x="4559" y="4839"/>
                    <a:pt x="4545" y="4762"/>
                  </a:cubicBezTo>
                  <a:cubicBezTo>
                    <a:pt x="4524" y="4675"/>
                    <a:pt x="4604" y="4636"/>
                    <a:pt x="4643" y="4619"/>
                  </a:cubicBezTo>
                  <a:cubicBezTo>
                    <a:pt x="4653" y="4612"/>
                    <a:pt x="4664" y="4608"/>
                    <a:pt x="4671" y="4601"/>
                  </a:cubicBezTo>
                  <a:cubicBezTo>
                    <a:pt x="4660" y="4580"/>
                    <a:pt x="4650" y="4556"/>
                    <a:pt x="4636" y="4531"/>
                  </a:cubicBezTo>
                  <a:cubicBezTo>
                    <a:pt x="4580" y="4426"/>
                    <a:pt x="4492" y="4268"/>
                    <a:pt x="4604" y="4125"/>
                  </a:cubicBezTo>
                  <a:cubicBezTo>
                    <a:pt x="4650" y="4072"/>
                    <a:pt x="4716" y="4034"/>
                    <a:pt x="4786" y="4023"/>
                  </a:cubicBezTo>
                  <a:cubicBezTo>
                    <a:pt x="4800" y="4020"/>
                    <a:pt x="4814" y="4016"/>
                    <a:pt x="4828" y="4009"/>
                  </a:cubicBezTo>
                  <a:cubicBezTo>
                    <a:pt x="4821" y="3960"/>
                    <a:pt x="4804" y="3915"/>
                    <a:pt x="4776" y="3873"/>
                  </a:cubicBezTo>
                  <a:cubicBezTo>
                    <a:pt x="4615" y="3582"/>
                    <a:pt x="4373" y="3222"/>
                    <a:pt x="4282" y="3085"/>
                  </a:cubicBezTo>
                  <a:lnTo>
                    <a:pt x="4261" y="3054"/>
                  </a:lnTo>
                  <a:cubicBezTo>
                    <a:pt x="4233" y="3012"/>
                    <a:pt x="4226" y="2963"/>
                    <a:pt x="4237" y="2914"/>
                  </a:cubicBezTo>
                  <a:cubicBezTo>
                    <a:pt x="4261" y="2826"/>
                    <a:pt x="4310" y="2749"/>
                    <a:pt x="4377" y="2690"/>
                  </a:cubicBezTo>
                  <a:cubicBezTo>
                    <a:pt x="4398" y="2672"/>
                    <a:pt x="4419" y="2655"/>
                    <a:pt x="4440" y="2641"/>
                  </a:cubicBezTo>
                  <a:cubicBezTo>
                    <a:pt x="4545" y="2560"/>
                    <a:pt x="4639" y="2465"/>
                    <a:pt x="4716" y="2360"/>
                  </a:cubicBezTo>
                  <a:cubicBezTo>
                    <a:pt x="4734" y="2339"/>
                    <a:pt x="4744" y="2315"/>
                    <a:pt x="4751" y="2290"/>
                  </a:cubicBezTo>
                  <a:cubicBezTo>
                    <a:pt x="4741" y="2231"/>
                    <a:pt x="4492" y="2000"/>
                    <a:pt x="4394" y="1940"/>
                  </a:cubicBezTo>
                  <a:cubicBezTo>
                    <a:pt x="4370" y="1930"/>
                    <a:pt x="4342" y="1919"/>
                    <a:pt x="4317" y="1916"/>
                  </a:cubicBezTo>
                  <a:cubicBezTo>
                    <a:pt x="4230" y="1891"/>
                    <a:pt x="4114" y="1863"/>
                    <a:pt x="4044" y="1744"/>
                  </a:cubicBezTo>
                  <a:cubicBezTo>
                    <a:pt x="4041" y="1737"/>
                    <a:pt x="4034" y="1730"/>
                    <a:pt x="4030" y="1720"/>
                  </a:cubicBezTo>
                  <a:cubicBezTo>
                    <a:pt x="4009" y="1681"/>
                    <a:pt x="3988" y="1646"/>
                    <a:pt x="3971" y="1618"/>
                  </a:cubicBezTo>
                  <a:cubicBezTo>
                    <a:pt x="3918" y="1531"/>
                    <a:pt x="3869" y="1450"/>
                    <a:pt x="3956" y="1342"/>
                  </a:cubicBezTo>
                  <a:cubicBezTo>
                    <a:pt x="4023" y="1265"/>
                    <a:pt x="4023" y="1184"/>
                    <a:pt x="4023" y="1093"/>
                  </a:cubicBezTo>
                  <a:cubicBezTo>
                    <a:pt x="4023" y="1083"/>
                    <a:pt x="4023" y="1069"/>
                    <a:pt x="4027" y="1058"/>
                  </a:cubicBezTo>
                  <a:cubicBezTo>
                    <a:pt x="4034" y="1041"/>
                    <a:pt x="4041" y="1027"/>
                    <a:pt x="4055" y="1013"/>
                  </a:cubicBezTo>
                  <a:cubicBezTo>
                    <a:pt x="4083" y="988"/>
                    <a:pt x="4118" y="974"/>
                    <a:pt x="4156" y="967"/>
                  </a:cubicBezTo>
                  <a:cubicBezTo>
                    <a:pt x="4198" y="960"/>
                    <a:pt x="4216" y="953"/>
                    <a:pt x="4226" y="939"/>
                  </a:cubicBezTo>
                  <a:cubicBezTo>
                    <a:pt x="4230" y="932"/>
                    <a:pt x="4233" y="925"/>
                    <a:pt x="4233" y="918"/>
                  </a:cubicBezTo>
                  <a:cubicBezTo>
                    <a:pt x="4233" y="908"/>
                    <a:pt x="4240" y="897"/>
                    <a:pt x="4244" y="890"/>
                  </a:cubicBezTo>
                  <a:cubicBezTo>
                    <a:pt x="4247" y="880"/>
                    <a:pt x="4247" y="876"/>
                    <a:pt x="4247" y="873"/>
                  </a:cubicBezTo>
                  <a:lnTo>
                    <a:pt x="4251" y="862"/>
                  </a:lnTo>
                  <a:cubicBezTo>
                    <a:pt x="4275" y="803"/>
                    <a:pt x="4310" y="750"/>
                    <a:pt x="4356" y="705"/>
                  </a:cubicBezTo>
                  <a:cubicBezTo>
                    <a:pt x="4356" y="677"/>
                    <a:pt x="4356" y="649"/>
                    <a:pt x="4356" y="621"/>
                  </a:cubicBezTo>
                  <a:cubicBezTo>
                    <a:pt x="4366" y="561"/>
                    <a:pt x="4370" y="502"/>
                    <a:pt x="4370" y="446"/>
                  </a:cubicBezTo>
                  <a:cubicBezTo>
                    <a:pt x="4363" y="400"/>
                    <a:pt x="4240" y="347"/>
                    <a:pt x="4146" y="305"/>
                  </a:cubicBezTo>
                  <a:cubicBezTo>
                    <a:pt x="4009" y="246"/>
                    <a:pt x="3869" y="186"/>
                    <a:pt x="3806" y="74"/>
                  </a:cubicBezTo>
                  <a:cubicBezTo>
                    <a:pt x="3781" y="29"/>
                    <a:pt x="3732" y="1"/>
                    <a:pt x="3680" y="1"/>
                  </a:cubicBezTo>
                  <a:cubicBezTo>
                    <a:pt x="3676" y="1"/>
                    <a:pt x="3671" y="1"/>
                    <a:pt x="366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6" name="Google Shape;5286;p53"/>
            <p:cNvSpPr/>
            <p:nvPr/>
          </p:nvSpPr>
          <p:spPr>
            <a:xfrm>
              <a:off x="2302786" y="1795464"/>
              <a:ext cx="154498" cy="123284"/>
            </a:xfrm>
            <a:custGeom>
              <a:avLst/>
              <a:gdLst/>
              <a:ahLst/>
              <a:cxnLst/>
              <a:rect l="l" t="t" r="r" b="b"/>
              <a:pathLst>
                <a:path w="11379" h="9080" extrusionOk="0">
                  <a:moveTo>
                    <a:pt x="2656" y="1"/>
                  </a:moveTo>
                  <a:cubicBezTo>
                    <a:pt x="2639" y="1"/>
                    <a:pt x="2622" y="1"/>
                    <a:pt x="2605" y="2"/>
                  </a:cubicBezTo>
                  <a:lnTo>
                    <a:pt x="2552" y="6"/>
                  </a:lnTo>
                  <a:cubicBezTo>
                    <a:pt x="2524" y="6"/>
                    <a:pt x="2493" y="9"/>
                    <a:pt x="2458" y="9"/>
                  </a:cubicBezTo>
                  <a:lnTo>
                    <a:pt x="2346" y="9"/>
                  </a:lnTo>
                  <a:cubicBezTo>
                    <a:pt x="2341" y="9"/>
                    <a:pt x="2337" y="9"/>
                    <a:pt x="2333" y="9"/>
                  </a:cubicBezTo>
                  <a:cubicBezTo>
                    <a:pt x="2284" y="9"/>
                    <a:pt x="2234" y="26"/>
                    <a:pt x="2199" y="58"/>
                  </a:cubicBezTo>
                  <a:cubicBezTo>
                    <a:pt x="2132" y="107"/>
                    <a:pt x="2052" y="167"/>
                    <a:pt x="1789" y="181"/>
                  </a:cubicBezTo>
                  <a:cubicBezTo>
                    <a:pt x="1478" y="198"/>
                    <a:pt x="1306" y="349"/>
                    <a:pt x="1278" y="405"/>
                  </a:cubicBezTo>
                  <a:cubicBezTo>
                    <a:pt x="1408" y="461"/>
                    <a:pt x="1733" y="730"/>
                    <a:pt x="1747" y="888"/>
                  </a:cubicBezTo>
                  <a:cubicBezTo>
                    <a:pt x="1751" y="930"/>
                    <a:pt x="1726" y="976"/>
                    <a:pt x="1684" y="997"/>
                  </a:cubicBezTo>
                  <a:cubicBezTo>
                    <a:pt x="1646" y="1021"/>
                    <a:pt x="1611" y="1056"/>
                    <a:pt x="1586" y="1098"/>
                  </a:cubicBezTo>
                  <a:cubicBezTo>
                    <a:pt x="1534" y="1172"/>
                    <a:pt x="1467" y="1263"/>
                    <a:pt x="1331" y="1263"/>
                  </a:cubicBezTo>
                  <a:cubicBezTo>
                    <a:pt x="1145" y="1263"/>
                    <a:pt x="1051" y="1291"/>
                    <a:pt x="1051" y="1350"/>
                  </a:cubicBezTo>
                  <a:cubicBezTo>
                    <a:pt x="1051" y="1424"/>
                    <a:pt x="1002" y="1515"/>
                    <a:pt x="911" y="1595"/>
                  </a:cubicBezTo>
                  <a:cubicBezTo>
                    <a:pt x="897" y="1609"/>
                    <a:pt x="883" y="1620"/>
                    <a:pt x="869" y="1630"/>
                  </a:cubicBezTo>
                  <a:lnTo>
                    <a:pt x="855" y="1641"/>
                  </a:lnTo>
                  <a:cubicBezTo>
                    <a:pt x="848" y="1648"/>
                    <a:pt x="837" y="1655"/>
                    <a:pt x="827" y="1662"/>
                  </a:cubicBezTo>
                  <a:lnTo>
                    <a:pt x="809" y="1669"/>
                  </a:lnTo>
                  <a:cubicBezTo>
                    <a:pt x="802" y="1676"/>
                    <a:pt x="792" y="1683"/>
                    <a:pt x="781" y="1686"/>
                  </a:cubicBezTo>
                  <a:lnTo>
                    <a:pt x="767" y="1693"/>
                  </a:lnTo>
                  <a:lnTo>
                    <a:pt x="735" y="1707"/>
                  </a:lnTo>
                  <a:lnTo>
                    <a:pt x="721" y="1714"/>
                  </a:lnTo>
                  <a:lnTo>
                    <a:pt x="690" y="1725"/>
                  </a:lnTo>
                  <a:lnTo>
                    <a:pt x="676" y="1728"/>
                  </a:lnTo>
                  <a:lnTo>
                    <a:pt x="644" y="1735"/>
                  </a:lnTo>
                  <a:lnTo>
                    <a:pt x="630" y="1735"/>
                  </a:lnTo>
                  <a:cubicBezTo>
                    <a:pt x="620" y="1735"/>
                    <a:pt x="613" y="1739"/>
                    <a:pt x="602" y="1739"/>
                  </a:cubicBezTo>
                  <a:lnTo>
                    <a:pt x="546" y="1739"/>
                  </a:lnTo>
                  <a:cubicBezTo>
                    <a:pt x="438" y="1718"/>
                    <a:pt x="333" y="1679"/>
                    <a:pt x="238" y="1623"/>
                  </a:cubicBezTo>
                  <a:lnTo>
                    <a:pt x="210" y="1613"/>
                  </a:lnTo>
                  <a:lnTo>
                    <a:pt x="196" y="1606"/>
                  </a:lnTo>
                  <a:cubicBezTo>
                    <a:pt x="151" y="1581"/>
                    <a:pt x="98" y="1557"/>
                    <a:pt x="46" y="1525"/>
                  </a:cubicBezTo>
                  <a:lnTo>
                    <a:pt x="18" y="1606"/>
                  </a:lnTo>
                  <a:lnTo>
                    <a:pt x="0" y="1732"/>
                  </a:lnTo>
                  <a:cubicBezTo>
                    <a:pt x="14" y="1809"/>
                    <a:pt x="18" y="1889"/>
                    <a:pt x="14" y="1966"/>
                  </a:cubicBezTo>
                  <a:cubicBezTo>
                    <a:pt x="14" y="2061"/>
                    <a:pt x="21" y="2260"/>
                    <a:pt x="49" y="2299"/>
                  </a:cubicBezTo>
                  <a:cubicBezTo>
                    <a:pt x="133" y="2330"/>
                    <a:pt x="189" y="2411"/>
                    <a:pt x="266" y="2526"/>
                  </a:cubicBezTo>
                  <a:cubicBezTo>
                    <a:pt x="340" y="2642"/>
                    <a:pt x="424" y="2754"/>
                    <a:pt x="518" y="2859"/>
                  </a:cubicBezTo>
                  <a:cubicBezTo>
                    <a:pt x="774" y="3136"/>
                    <a:pt x="1320" y="3913"/>
                    <a:pt x="1327" y="4126"/>
                  </a:cubicBezTo>
                  <a:cubicBezTo>
                    <a:pt x="1334" y="4256"/>
                    <a:pt x="1380" y="4452"/>
                    <a:pt x="1719" y="4683"/>
                  </a:cubicBezTo>
                  <a:cubicBezTo>
                    <a:pt x="1873" y="4788"/>
                    <a:pt x="1996" y="4935"/>
                    <a:pt x="2076" y="5103"/>
                  </a:cubicBezTo>
                  <a:cubicBezTo>
                    <a:pt x="2108" y="5177"/>
                    <a:pt x="2157" y="5243"/>
                    <a:pt x="2216" y="5299"/>
                  </a:cubicBezTo>
                  <a:cubicBezTo>
                    <a:pt x="2381" y="5422"/>
                    <a:pt x="2381" y="5569"/>
                    <a:pt x="2377" y="5793"/>
                  </a:cubicBezTo>
                  <a:lnTo>
                    <a:pt x="2377" y="5957"/>
                  </a:lnTo>
                  <a:cubicBezTo>
                    <a:pt x="2384" y="6255"/>
                    <a:pt x="2517" y="6657"/>
                    <a:pt x="2790" y="6822"/>
                  </a:cubicBezTo>
                  <a:cubicBezTo>
                    <a:pt x="3130" y="7028"/>
                    <a:pt x="3319" y="7246"/>
                    <a:pt x="3449" y="7575"/>
                  </a:cubicBezTo>
                  <a:cubicBezTo>
                    <a:pt x="3585" y="7918"/>
                    <a:pt x="3757" y="8208"/>
                    <a:pt x="3935" y="8387"/>
                  </a:cubicBezTo>
                  <a:cubicBezTo>
                    <a:pt x="4019" y="8464"/>
                    <a:pt x="4072" y="8569"/>
                    <a:pt x="4082" y="8681"/>
                  </a:cubicBezTo>
                  <a:cubicBezTo>
                    <a:pt x="4082" y="8730"/>
                    <a:pt x="4096" y="8775"/>
                    <a:pt x="4124" y="8814"/>
                  </a:cubicBezTo>
                  <a:cubicBezTo>
                    <a:pt x="4187" y="8898"/>
                    <a:pt x="4240" y="8985"/>
                    <a:pt x="4285" y="9080"/>
                  </a:cubicBezTo>
                  <a:lnTo>
                    <a:pt x="4310" y="9069"/>
                  </a:lnTo>
                  <a:lnTo>
                    <a:pt x="4320" y="9062"/>
                  </a:lnTo>
                  <a:lnTo>
                    <a:pt x="4352" y="9048"/>
                  </a:lnTo>
                  <a:lnTo>
                    <a:pt x="4362" y="9041"/>
                  </a:lnTo>
                  <a:lnTo>
                    <a:pt x="4380" y="9034"/>
                  </a:lnTo>
                  <a:lnTo>
                    <a:pt x="4390" y="9027"/>
                  </a:lnTo>
                  <a:lnTo>
                    <a:pt x="4401" y="9020"/>
                  </a:lnTo>
                  <a:lnTo>
                    <a:pt x="4411" y="9017"/>
                  </a:lnTo>
                  <a:lnTo>
                    <a:pt x="4422" y="9013"/>
                  </a:lnTo>
                  <a:lnTo>
                    <a:pt x="4425" y="9010"/>
                  </a:lnTo>
                  <a:lnTo>
                    <a:pt x="4436" y="9003"/>
                  </a:lnTo>
                  <a:lnTo>
                    <a:pt x="4439" y="8999"/>
                  </a:lnTo>
                  <a:lnTo>
                    <a:pt x="4446" y="8996"/>
                  </a:lnTo>
                  <a:cubicBezTo>
                    <a:pt x="4443" y="8968"/>
                    <a:pt x="4439" y="8940"/>
                    <a:pt x="4432" y="8912"/>
                  </a:cubicBezTo>
                  <a:cubicBezTo>
                    <a:pt x="4411" y="8835"/>
                    <a:pt x="4394" y="8754"/>
                    <a:pt x="4439" y="8695"/>
                  </a:cubicBezTo>
                  <a:cubicBezTo>
                    <a:pt x="4488" y="8628"/>
                    <a:pt x="4590" y="8506"/>
                    <a:pt x="4705" y="8471"/>
                  </a:cubicBezTo>
                  <a:cubicBezTo>
                    <a:pt x="4723" y="8465"/>
                    <a:pt x="4740" y="8462"/>
                    <a:pt x="4758" y="8462"/>
                  </a:cubicBezTo>
                  <a:cubicBezTo>
                    <a:pt x="4800" y="8462"/>
                    <a:pt x="4843" y="8477"/>
                    <a:pt x="4887" y="8492"/>
                  </a:cubicBezTo>
                  <a:cubicBezTo>
                    <a:pt x="4947" y="8520"/>
                    <a:pt x="5011" y="8532"/>
                    <a:pt x="5076" y="8532"/>
                  </a:cubicBezTo>
                  <a:cubicBezTo>
                    <a:pt x="5091" y="8532"/>
                    <a:pt x="5107" y="8532"/>
                    <a:pt x="5122" y="8530"/>
                  </a:cubicBezTo>
                  <a:cubicBezTo>
                    <a:pt x="5169" y="8523"/>
                    <a:pt x="5232" y="8520"/>
                    <a:pt x="5303" y="8520"/>
                  </a:cubicBezTo>
                  <a:cubicBezTo>
                    <a:pt x="5507" y="8520"/>
                    <a:pt x="5769" y="8549"/>
                    <a:pt x="5840" y="8604"/>
                  </a:cubicBezTo>
                  <a:cubicBezTo>
                    <a:pt x="5910" y="8614"/>
                    <a:pt x="5983" y="8621"/>
                    <a:pt x="6053" y="8625"/>
                  </a:cubicBezTo>
                  <a:cubicBezTo>
                    <a:pt x="6312" y="8639"/>
                    <a:pt x="6515" y="8656"/>
                    <a:pt x="6610" y="8730"/>
                  </a:cubicBezTo>
                  <a:cubicBezTo>
                    <a:pt x="6640" y="8760"/>
                    <a:pt x="6680" y="8777"/>
                    <a:pt x="6724" y="8777"/>
                  </a:cubicBezTo>
                  <a:cubicBezTo>
                    <a:pt x="6731" y="8777"/>
                    <a:pt x="6739" y="8776"/>
                    <a:pt x="6746" y="8775"/>
                  </a:cubicBezTo>
                  <a:cubicBezTo>
                    <a:pt x="6795" y="8761"/>
                    <a:pt x="6844" y="8705"/>
                    <a:pt x="6883" y="8614"/>
                  </a:cubicBezTo>
                  <a:cubicBezTo>
                    <a:pt x="6988" y="8366"/>
                    <a:pt x="7671" y="7890"/>
                    <a:pt x="7758" y="7848"/>
                  </a:cubicBezTo>
                  <a:cubicBezTo>
                    <a:pt x="7814" y="7820"/>
                    <a:pt x="7951" y="7816"/>
                    <a:pt x="8210" y="7816"/>
                  </a:cubicBezTo>
                  <a:cubicBezTo>
                    <a:pt x="8444" y="7816"/>
                    <a:pt x="8707" y="7813"/>
                    <a:pt x="8850" y="7781"/>
                  </a:cubicBezTo>
                  <a:lnTo>
                    <a:pt x="8878" y="7774"/>
                  </a:lnTo>
                  <a:cubicBezTo>
                    <a:pt x="8941" y="7757"/>
                    <a:pt x="9078" y="7718"/>
                    <a:pt x="9376" y="7627"/>
                  </a:cubicBezTo>
                  <a:lnTo>
                    <a:pt x="9379" y="7627"/>
                  </a:lnTo>
                  <a:cubicBezTo>
                    <a:pt x="10055" y="7417"/>
                    <a:pt x="10825" y="7162"/>
                    <a:pt x="11000" y="7088"/>
                  </a:cubicBezTo>
                  <a:lnTo>
                    <a:pt x="11003" y="7088"/>
                  </a:lnTo>
                  <a:lnTo>
                    <a:pt x="11014" y="7085"/>
                  </a:lnTo>
                  <a:lnTo>
                    <a:pt x="11028" y="7078"/>
                  </a:lnTo>
                  <a:cubicBezTo>
                    <a:pt x="11070" y="6997"/>
                    <a:pt x="11105" y="6913"/>
                    <a:pt x="11133" y="6822"/>
                  </a:cubicBezTo>
                  <a:lnTo>
                    <a:pt x="11150" y="6780"/>
                  </a:lnTo>
                  <a:lnTo>
                    <a:pt x="11172" y="6713"/>
                  </a:lnTo>
                  <a:cubicBezTo>
                    <a:pt x="11186" y="6675"/>
                    <a:pt x="11200" y="6633"/>
                    <a:pt x="11214" y="6591"/>
                  </a:cubicBezTo>
                  <a:lnTo>
                    <a:pt x="11221" y="6573"/>
                  </a:lnTo>
                  <a:cubicBezTo>
                    <a:pt x="11273" y="6405"/>
                    <a:pt x="11322" y="6237"/>
                    <a:pt x="11350" y="6122"/>
                  </a:cubicBezTo>
                  <a:lnTo>
                    <a:pt x="11350" y="6118"/>
                  </a:lnTo>
                  <a:cubicBezTo>
                    <a:pt x="11361" y="6073"/>
                    <a:pt x="11368" y="6041"/>
                    <a:pt x="11375" y="6017"/>
                  </a:cubicBezTo>
                  <a:cubicBezTo>
                    <a:pt x="11375" y="6006"/>
                    <a:pt x="11375" y="5999"/>
                    <a:pt x="11378" y="5989"/>
                  </a:cubicBezTo>
                  <a:cubicBezTo>
                    <a:pt x="11361" y="5877"/>
                    <a:pt x="11308" y="5775"/>
                    <a:pt x="11228" y="5691"/>
                  </a:cubicBezTo>
                  <a:cubicBezTo>
                    <a:pt x="11214" y="5677"/>
                    <a:pt x="11193" y="5663"/>
                    <a:pt x="11168" y="5663"/>
                  </a:cubicBezTo>
                  <a:cubicBezTo>
                    <a:pt x="11156" y="5665"/>
                    <a:pt x="11143" y="5666"/>
                    <a:pt x="11131" y="5666"/>
                  </a:cubicBezTo>
                  <a:cubicBezTo>
                    <a:pt x="11119" y="5666"/>
                    <a:pt x="11107" y="5665"/>
                    <a:pt x="11094" y="5663"/>
                  </a:cubicBezTo>
                  <a:lnTo>
                    <a:pt x="11021" y="5663"/>
                  </a:lnTo>
                  <a:lnTo>
                    <a:pt x="10954" y="5660"/>
                  </a:lnTo>
                  <a:cubicBezTo>
                    <a:pt x="10884" y="5653"/>
                    <a:pt x="10797" y="5646"/>
                    <a:pt x="10699" y="5639"/>
                  </a:cubicBezTo>
                  <a:cubicBezTo>
                    <a:pt x="10363" y="5607"/>
                    <a:pt x="9950" y="5558"/>
                    <a:pt x="9803" y="5520"/>
                  </a:cubicBezTo>
                  <a:lnTo>
                    <a:pt x="9796" y="5520"/>
                  </a:lnTo>
                  <a:lnTo>
                    <a:pt x="9782" y="5513"/>
                  </a:lnTo>
                  <a:lnTo>
                    <a:pt x="9775" y="5509"/>
                  </a:lnTo>
                  <a:lnTo>
                    <a:pt x="9764" y="5509"/>
                  </a:lnTo>
                  <a:lnTo>
                    <a:pt x="9754" y="5502"/>
                  </a:lnTo>
                  <a:lnTo>
                    <a:pt x="9733" y="5488"/>
                  </a:lnTo>
                  <a:lnTo>
                    <a:pt x="9722" y="5481"/>
                  </a:lnTo>
                  <a:lnTo>
                    <a:pt x="9708" y="5471"/>
                  </a:lnTo>
                  <a:lnTo>
                    <a:pt x="9694" y="5460"/>
                  </a:lnTo>
                  <a:lnTo>
                    <a:pt x="9680" y="5450"/>
                  </a:lnTo>
                  <a:lnTo>
                    <a:pt x="9666" y="5439"/>
                  </a:lnTo>
                  <a:lnTo>
                    <a:pt x="9649" y="5425"/>
                  </a:lnTo>
                  <a:lnTo>
                    <a:pt x="9635" y="5411"/>
                  </a:lnTo>
                  <a:lnTo>
                    <a:pt x="9617" y="5397"/>
                  </a:lnTo>
                  <a:lnTo>
                    <a:pt x="9600" y="5380"/>
                  </a:lnTo>
                  <a:lnTo>
                    <a:pt x="9582" y="5362"/>
                  </a:lnTo>
                  <a:lnTo>
                    <a:pt x="9565" y="5345"/>
                  </a:lnTo>
                  <a:lnTo>
                    <a:pt x="9547" y="5327"/>
                  </a:lnTo>
                  <a:lnTo>
                    <a:pt x="9530" y="5310"/>
                  </a:lnTo>
                  <a:lnTo>
                    <a:pt x="9512" y="5289"/>
                  </a:lnTo>
                  <a:lnTo>
                    <a:pt x="9498" y="5268"/>
                  </a:lnTo>
                  <a:lnTo>
                    <a:pt x="9477" y="5247"/>
                  </a:lnTo>
                  <a:lnTo>
                    <a:pt x="9463" y="5226"/>
                  </a:lnTo>
                  <a:lnTo>
                    <a:pt x="9446" y="5201"/>
                  </a:lnTo>
                  <a:lnTo>
                    <a:pt x="9432" y="5180"/>
                  </a:lnTo>
                  <a:lnTo>
                    <a:pt x="9414" y="5156"/>
                  </a:lnTo>
                  <a:lnTo>
                    <a:pt x="9400" y="5131"/>
                  </a:lnTo>
                  <a:cubicBezTo>
                    <a:pt x="9397" y="5121"/>
                    <a:pt x="9393" y="5114"/>
                    <a:pt x="9386" y="5103"/>
                  </a:cubicBezTo>
                  <a:cubicBezTo>
                    <a:pt x="9383" y="5096"/>
                    <a:pt x="9379" y="5089"/>
                    <a:pt x="9376" y="5079"/>
                  </a:cubicBezTo>
                  <a:cubicBezTo>
                    <a:pt x="9372" y="5072"/>
                    <a:pt x="9365" y="5061"/>
                    <a:pt x="9362" y="5051"/>
                  </a:cubicBezTo>
                  <a:cubicBezTo>
                    <a:pt x="9358" y="5040"/>
                    <a:pt x="9355" y="5033"/>
                    <a:pt x="9351" y="5026"/>
                  </a:cubicBezTo>
                  <a:cubicBezTo>
                    <a:pt x="9348" y="5016"/>
                    <a:pt x="9344" y="5005"/>
                    <a:pt x="9341" y="4995"/>
                  </a:cubicBezTo>
                  <a:cubicBezTo>
                    <a:pt x="9337" y="4988"/>
                    <a:pt x="9334" y="4977"/>
                    <a:pt x="9330" y="4970"/>
                  </a:cubicBezTo>
                  <a:cubicBezTo>
                    <a:pt x="9330" y="4959"/>
                    <a:pt x="9327" y="4949"/>
                    <a:pt x="9323" y="4938"/>
                  </a:cubicBezTo>
                  <a:cubicBezTo>
                    <a:pt x="9320" y="4928"/>
                    <a:pt x="9320" y="4921"/>
                    <a:pt x="9316" y="4910"/>
                  </a:cubicBezTo>
                  <a:cubicBezTo>
                    <a:pt x="9316" y="4903"/>
                    <a:pt x="9313" y="4900"/>
                    <a:pt x="9313" y="4893"/>
                  </a:cubicBezTo>
                  <a:cubicBezTo>
                    <a:pt x="9218" y="4805"/>
                    <a:pt x="9145" y="4697"/>
                    <a:pt x="9099" y="4578"/>
                  </a:cubicBezTo>
                  <a:lnTo>
                    <a:pt x="9029" y="4578"/>
                  </a:lnTo>
                  <a:lnTo>
                    <a:pt x="9004" y="4574"/>
                  </a:lnTo>
                  <a:lnTo>
                    <a:pt x="8976" y="4567"/>
                  </a:lnTo>
                  <a:lnTo>
                    <a:pt x="8973" y="4567"/>
                  </a:lnTo>
                  <a:lnTo>
                    <a:pt x="8945" y="4560"/>
                  </a:lnTo>
                  <a:lnTo>
                    <a:pt x="8941" y="4560"/>
                  </a:lnTo>
                  <a:lnTo>
                    <a:pt x="8913" y="4550"/>
                  </a:lnTo>
                  <a:lnTo>
                    <a:pt x="8910" y="4546"/>
                  </a:lnTo>
                  <a:lnTo>
                    <a:pt x="8885" y="4536"/>
                  </a:lnTo>
                  <a:lnTo>
                    <a:pt x="8875" y="4532"/>
                  </a:lnTo>
                  <a:lnTo>
                    <a:pt x="8854" y="4518"/>
                  </a:lnTo>
                  <a:lnTo>
                    <a:pt x="8843" y="4511"/>
                  </a:lnTo>
                  <a:lnTo>
                    <a:pt x="8822" y="4497"/>
                  </a:lnTo>
                  <a:lnTo>
                    <a:pt x="8812" y="4487"/>
                  </a:lnTo>
                  <a:lnTo>
                    <a:pt x="8794" y="4473"/>
                  </a:lnTo>
                  <a:lnTo>
                    <a:pt x="8780" y="4462"/>
                  </a:lnTo>
                  <a:lnTo>
                    <a:pt x="8763" y="4445"/>
                  </a:lnTo>
                  <a:lnTo>
                    <a:pt x="8752" y="4431"/>
                  </a:lnTo>
                  <a:lnTo>
                    <a:pt x="8735" y="4410"/>
                  </a:lnTo>
                  <a:lnTo>
                    <a:pt x="8721" y="4392"/>
                  </a:lnTo>
                  <a:lnTo>
                    <a:pt x="8707" y="4375"/>
                  </a:lnTo>
                  <a:lnTo>
                    <a:pt x="8696" y="4354"/>
                  </a:lnTo>
                  <a:lnTo>
                    <a:pt x="8682" y="4333"/>
                  </a:lnTo>
                  <a:cubicBezTo>
                    <a:pt x="8679" y="4322"/>
                    <a:pt x="8675" y="4315"/>
                    <a:pt x="8668" y="4308"/>
                  </a:cubicBezTo>
                  <a:cubicBezTo>
                    <a:pt x="8665" y="4298"/>
                    <a:pt x="8661" y="4291"/>
                    <a:pt x="8658" y="4284"/>
                  </a:cubicBezTo>
                  <a:cubicBezTo>
                    <a:pt x="8654" y="4277"/>
                    <a:pt x="8651" y="4266"/>
                    <a:pt x="8644" y="4256"/>
                  </a:cubicBezTo>
                  <a:cubicBezTo>
                    <a:pt x="8640" y="4249"/>
                    <a:pt x="8640" y="4245"/>
                    <a:pt x="8637" y="4238"/>
                  </a:cubicBezTo>
                  <a:cubicBezTo>
                    <a:pt x="8535" y="4151"/>
                    <a:pt x="8336" y="3881"/>
                    <a:pt x="8315" y="3706"/>
                  </a:cubicBezTo>
                  <a:cubicBezTo>
                    <a:pt x="8308" y="3657"/>
                    <a:pt x="8318" y="3605"/>
                    <a:pt x="8350" y="3566"/>
                  </a:cubicBezTo>
                  <a:cubicBezTo>
                    <a:pt x="8430" y="3479"/>
                    <a:pt x="8290" y="3230"/>
                    <a:pt x="8112" y="3069"/>
                  </a:cubicBezTo>
                  <a:lnTo>
                    <a:pt x="8038" y="2999"/>
                  </a:lnTo>
                  <a:cubicBezTo>
                    <a:pt x="7783" y="2771"/>
                    <a:pt x="7548" y="2551"/>
                    <a:pt x="7534" y="2379"/>
                  </a:cubicBezTo>
                  <a:cubicBezTo>
                    <a:pt x="7524" y="2320"/>
                    <a:pt x="7506" y="2260"/>
                    <a:pt x="7485" y="2204"/>
                  </a:cubicBezTo>
                  <a:lnTo>
                    <a:pt x="7069" y="2180"/>
                  </a:lnTo>
                  <a:lnTo>
                    <a:pt x="6788" y="1942"/>
                  </a:lnTo>
                  <a:lnTo>
                    <a:pt x="6519" y="1889"/>
                  </a:lnTo>
                  <a:lnTo>
                    <a:pt x="6470" y="1882"/>
                  </a:lnTo>
                  <a:lnTo>
                    <a:pt x="6186" y="1847"/>
                  </a:lnTo>
                  <a:lnTo>
                    <a:pt x="6151" y="1847"/>
                  </a:lnTo>
                  <a:lnTo>
                    <a:pt x="6001" y="1830"/>
                  </a:lnTo>
                  <a:lnTo>
                    <a:pt x="5952" y="1826"/>
                  </a:lnTo>
                  <a:lnTo>
                    <a:pt x="5843" y="1826"/>
                  </a:lnTo>
                  <a:cubicBezTo>
                    <a:pt x="5696" y="1826"/>
                    <a:pt x="5360" y="1777"/>
                    <a:pt x="5154" y="1592"/>
                  </a:cubicBezTo>
                  <a:cubicBezTo>
                    <a:pt x="4965" y="1424"/>
                    <a:pt x="4019" y="716"/>
                    <a:pt x="3851" y="629"/>
                  </a:cubicBezTo>
                  <a:cubicBezTo>
                    <a:pt x="3788" y="601"/>
                    <a:pt x="3676" y="524"/>
                    <a:pt x="3529" y="429"/>
                  </a:cubicBezTo>
                  <a:cubicBezTo>
                    <a:pt x="3281" y="268"/>
                    <a:pt x="2906" y="23"/>
                    <a:pt x="2794" y="9"/>
                  </a:cubicBezTo>
                  <a:cubicBezTo>
                    <a:pt x="2748" y="4"/>
                    <a:pt x="2702" y="1"/>
                    <a:pt x="26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7" name="Google Shape;5287;p53"/>
            <p:cNvSpPr/>
            <p:nvPr/>
          </p:nvSpPr>
          <p:spPr>
            <a:xfrm>
              <a:off x="2303017" y="1816074"/>
              <a:ext cx="394" cy="1059"/>
            </a:xfrm>
            <a:custGeom>
              <a:avLst/>
              <a:gdLst/>
              <a:ahLst/>
              <a:cxnLst/>
              <a:rect l="l" t="t" r="r" b="b"/>
              <a:pathLst>
                <a:path w="29" h="78" extrusionOk="0">
                  <a:moveTo>
                    <a:pt x="29" y="0"/>
                  </a:moveTo>
                  <a:lnTo>
                    <a:pt x="1" y="7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8" name="Google Shape;5288;p53"/>
            <p:cNvSpPr/>
            <p:nvPr/>
          </p:nvSpPr>
          <p:spPr>
            <a:xfrm>
              <a:off x="2334625" y="1795491"/>
              <a:ext cx="1534" cy="14"/>
            </a:xfrm>
            <a:custGeom>
              <a:avLst/>
              <a:gdLst/>
              <a:ahLst/>
              <a:cxnLst/>
              <a:rect l="l" t="t" r="r" b="b"/>
              <a:pathLst>
                <a:path w="113" h="1" extrusionOk="0">
                  <a:moveTo>
                    <a:pt x="113" y="0"/>
                  </a:moveTo>
                  <a:lnTo>
                    <a:pt x="113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9" name="Google Shape;5289;p53"/>
            <p:cNvSpPr/>
            <p:nvPr/>
          </p:nvSpPr>
          <p:spPr>
            <a:xfrm>
              <a:off x="2312765" y="1818355"/>
              <a:ext cx="434" cy="204"/>
            </a:xfrm>
            <a:custGeom>
              <a:avLst/>
              <a:gdLst/>
              <a:ahLst/>
              <a:cxnLst/>
              <a:rect l="l" t="t" r="r" b="b"/>
              <a:pathLst>
                <a:path w="32" h="15" extrusionOk="0">
                  <a:moveTo>
                    <a:pt x="32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0" name="Google Shape;5290;p53"/>
            <p:cNvSpPr/>
            <p:nvPr/>
          </p:nvSpPr>
          <p:spPr>
            <a:xfrm>
              <a:off x="2311530" y="1818776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32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1" name="Google Shape;5291;p53"/>
            <p:cNvSpPr/>
            <p:nvPr/>
          </p:nvSpPr>
          <p:spPr>
            <a:xfrm>
              <a:off x="2314571" y="1817025"/>
              <a:ext cx="584" cy="489"/>
            </a:xfrm>
            <a:custGeom>
              <a:avLst/>
              <a:gdLst/>
              <a:ahLst/>
              <a:cxnLst/>
              <a:rect l="l" t="t" r="r" b="b"/>
              <a:pathLst>
                <a:path w="43" h="36" extrusionOk="0">
                  <a:moveTo>
                    <a:pt x="43" y="0"/>
                  </a:moveTo>
                  <a:cubicBezTo>
                    <a:pt x="29" y="14"/>
                    <a:pt x="15" y="25"/>
                    <a:pt x="1" y="35"/>
                  </a:cubicBezTo>
                  <a:cubicBezTo>
                    <a:pt x="15" y="25"/>
                    <a:pt x="29" y="14"/>
                    <a:pt x="4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2" name="Google Shape;5292;p53"/>
            <p:cNvSpPr/>
            <p:nvPr/>
          </p:nvSpPr>
          <p:spPr>
            <a:xfrm>
              <a:off x="2310959" y="1818926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8" y="0"/>
                  </a:moveTo>
                  <a:cubicBezTo>
                    <a:pt x="18" y="0"/>
                    <a:pt x="11" y="0"/>
                    <a:pt x="0" y="4"/>
                  </a:cubicBezTo>
                  <a:cubicBezTo>
                    <a:pt x="11" y="0"/>
                    <a:pt x="18" y="0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3" name="Google Shape;5293;p53"/>
            <p:cNvSpPr/>
            <p:nvPr/>
          </p:nvSpPr>
          <p:spPr>
            <a:xfrm>
              <a:off x="2313376" y="1818016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33" y="1"/>
                  </a:moveTo>
                  <a:cubicBezTo>
                    <a:pt x="22" y="8"/>
                    <a:pt x="12" y="11"/>
                    <a:pt x="1" y="18"/>
                  </a:cubicBezTo>
                  <a:cubicBezTo>
                    <a:pt x="12" y="11"/>
                    <a:pt x="22" y="8"/>
                    <a:pt x="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4" name="Google Shape;5294;p53"/>
            <p:cNvSpPr/>
            <p:nvPr/>
          </p:nvSpPr>
          <p:spPr>
            <a:xfrm>
              <a:off x="2314001" y="1817595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0"/>
                  </a:moveTo>
                  <a:cubicBezTo>
                    <a:pt x="18" y="7"/>
                    <a:pt x="11" y="14"/>
                    <a:pt x="1" y="21"/>
                  </a:cubicBezTo>
                  <a:cubicBezTo>
                    <a:pt x="11" y="18"/>
                    <a:pt x="22" y="7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5" name="Google Shape;5295;p53"/>
            <p:cNvSpPr/>
            <p:nvPr/>
          </p:nvSpPr>
          <p:spPr>
            <a:xfrm>
              <a:off x="2305963" y="1817405"/>
              <a:ext cx="4250" cy="1534"/>
            </a:xfrm>
            <a:custGeom>
              <a:avLst/>
              <a:gdLst/>
              <a:ahLst/>
              <a:cxnLst/>
              <a:rect l="l" t="t" r="r" b="b"/>
              <a:pathLst>
                <a:path w="313" h="113" extrusionOk="0">
                  <a:moveTo>
                    <a:pt x="312" y="112"/>
                  </a:moveTo>
                  <a:cubicBezTo>
                    <a:pt x="204" y="91"/>
                    <a:pt x="99" y="53"/>
                    <a:pt x="1" y="0"/>
                  </a:cubicBezTo>
                  <a:cubicBezTo>
                    <a:pt x="99" y="53"/>
                    <a:pt x="204" y="91"/>
                    <a:pt x="312" y="11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6" name="Google Shape;5296;p53"/>
            <p:cNvSpPr/>
            <p:nvPr/>
          </p:nvSpPr>
          <p:spPr>
            <a:xfrm>
              <a:off x="2312141" y="1818586"/>
              <a:ext cx="448" cy="163"/>
            </a:xfrm>
            <a:custGeom>
              <a:avLst/>
              <a:gdLst/>
              <a:ahLst/>
              <a:cxnLst/>
              <a:rect l="l" t="t" r="r" b="b"/>
              <a:pathLst>
                <a:path w="33" h="12" extrusionOk="0">
                  <a:moveTo>
                    <a:pt x="32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7" name="Google Shape;5297;p53"/>
            <p:cNvSpPr/>
            <p:nvPr/>
          </p:nvSpPr>
          <p:spPr>
            <a:xfrm>
              <a:off x="2305447" y="18171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8" name="Google Shape;5298;p53"/>
            <p:cNvSpPr/>
            <p:nvPr/>
          </p:nvSpPr>
          <p:spPr>
            <a:xfrm>
              <a:off x="2310199" y="1818966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35" y="1"/>
                  </a:moveTo>
                  <a:lnTo>
                    <a:pt x="42" y="1"/>
                  </a:lnTo>
                  <a:cubicBezTo>
                    <a:pt x="28" y="1"/>
                    <a:pt x="14" y="1"/>
                    <a:pt x="0" y="1"/>
                  </a:cubicBezTo>
                  <a:cubicBezTo>
                    <a:pt x="11" y="1"/>
                    <a:pt x="25" y="1"/>
                    <a:pt x="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9" name="Google Shape;5299;p53"/>
            <p:cNvSpPr/>
            <p:nvPr/>
          </p:nvSpPr>
          <p:spPr>
            <a:xfrm>
              <a:off x="2431555" y="1853331"/>
              <a:ext cx="57338" cy="63991"/>
            </a:xfrm>
            <a:custGeom>
              <a:avLst/>
              <a:gdLst/>
              <a:ahLst/>
              <a:cxnLst/>
              <a:rect l="l" t="t" r="r" b="b"/>
              <a:pathLst>
                <a:path w="4223" h="4713" extrusionOk="0">
                  <a:moveTo>
                    <a:pt x="2451" y="1"/>
                  </a:moveTo>
                  <a:lnTo>
                    <a:pt x="2318" y="74"/>
                  </a:lnTo>
                  <a:lnTo>
                    <a:pt x="2160" y="74"/>
                  </a:lnTo>
                  <a:lnTo>
                    <a:pt x="2160" y="445"/>
                  </a:lnTo>
                  <a:lnTo>
                    <a:pt x="1807" y="894"/>
                  </a:lnTo>
                  <a:lnTo>
                    <a:pt x="1659" y="1258"/>
                  </a:lnTo>
                  <a:lnTo>
                    <a:pt x="1673" y="1258"/>
                  </a:lnTo>
                  <a:cubicBezTo>
                    <a:pt x="1680" y="1257"/>
                    <a:pt x="1686" y="1256"/>
                    <a:pt x="1692" y="1256"/>
                  </a:cubicBezTo>
                  <a:cubicBezTo>
                    <a:pt x="1712" y="1256"/>
                    <a:pt x="1732" y="1260"/>
                    <a:pt x="1751" y="1268"/>
                  </a:cubicBezTo>
                  <a:cubicBezTo>
                    <a:pt x="1761" y="1272"/>
                    <a:pt x="1775" y="1279"/>
                    <a:pt x="1786" y="1282"/>
                  </a:cubicBezTo>
                  <a:lnTo>
                    <a:pt x="1789" y="1282"/>
                  </a:lnTo>
                  <a:cubicBezTo>
                    <a:pt x="1803" y="1293"/>
                    <a:pt x="1821" y="1303"/>
                    <a:pt x="1835" y="1317"/>
                  </a:cubicBezTo>
                  <a:cubicBezTo>
                    <a:pt x="1940" y="1412"/>
                    <a:pt x="2027" y="1611"/>
                    <a:pt x="2027" y="1713"/>
                  </a:cubicBezTo>
                  <a:cubicBezTo>
                    <a:pt x="2027" y="1804"/>
                    <a:pt x="1733" y="2819"/>
                    <a:pt x="1624" y="2903"/>
                  </a:cubicBezTo>
                  <a:lnTo>
                    <a:pt x="1617" y="2910"/>
                  </a:lnTo>
                  <a:lnTo>
                    <a:pt x="1614" y="2914"/>
                  </a:lnTo>
                  <a:lnTo>
                    <a:pt x="1610" y="2914"/>
                  </a:lnTo>
                  <a:cubicBezTo>
                    <a:pt x="1456" y="2994"/>
                    <a:pt x="445" y="3320"/>
                    <a:pt x="0" y="3456"/>
                  </a:cubicBezTo>
                  <a:cubicBezTo>
                    <a:pt x="119" y="3698"/>
                    <a:pt x="266" y="4006"/>
                    <a:pt x="417" y="4314"/>
                  </a:cubicBezTo>
                  <a:lnTo>
                    <a:pt x="441" y="4363"/>
                  </a:lnTo>
                  <a:lnTo>
                    <a:pt x="455" y="4391"/>
                  </a:lnTo>
                  <a:lnTo>
                    <a:pt x="609" y="4713"/>
                  </a:lnTo>
                  <a:cubicBezTo>
                    <a:pt x="634" y="4702"/>
                    <a:pt x="658" y="4688"/>
                    <a:pt x="683" y="4674"/>
                  </a:cubicBezTo>
                  <a:cubicBezTo>
                    <a:pt x="893" y="4555"/>
                    <a:pt x="1113" y="4548"/>
                    <a:pt x="1306" y="4545"/>
                  </a:cubicBezTo>
                  <a:cubicBezTo>
                    <a:pt x="1400" y="4545"/>
                    <a:pt x="1495" y="4534"/>
                    <a:pt x="1589" y="4517"/>
                  </a:cubicBezTo>
                  <a:cubicBezTo>
                    <a:pt x="1663" y="4496"/>
                    <a:pt x="1659" y="4478"/>
                    <a:pt x="1659" y="4398"/>
                  </a:cubicBezTo>
                  <a:cubicBezTo>
                    <a:pt x="1656" y="4317"/>
                    <a:pt x="1652" y="4202"/>
                    <a:pt x="1775" y="4100"/>
                  </a:cubicBezTo>
                  <a:cubicBezTo>
                    <a:pt x="1881" y="4012"/>
                    <a:pt x="2006" y="3993"/>
                    <a:pt x="2118" y="3993"/>
                  </a:cubicBezTo>
                  <a:cubicBezTo>
                    <a:pt x="2162" y="3993"/>
                    <a:pt x="2203" y="3996"/>
                    <a:pt x="2241" y="3999"/>
                  </a:cubicBezTo>
                  <a:cubicBezTo>
                    <a:pt x="2261" y="4002"/>
                    <a:pt x="2282" y="4004"/>
                    <a:pt x="2304" y="4004"/>
                  </a:cubicBezTo>
                  <a:cubicBezTo>
                    <a:pt x="2330" y="4004"/>
                    <a:pt x="2357" y="4001"/>
                    <a:pt x="2384" y="3995"/>
                  </a:cubicBezTo>
                  <a:cubicBezTo>
                    <a:pt x="2409" y="3981"/>
                    <a:pt x="2454" y="3894"/>
                    <a:pt x="2482" y="3831"/>
                  </a:cubicBezTo>
                  <a:cubicBezTo>
                    <a:pt x="2549" y="3694"/>
                    <a:pt x="2622" y="3544"/>
                    <a:pt x="2745" y="3491"/>
                  </a:cubicBezTo>
                  <a:cubicBezTo>
                    <a:pt x="2808" y="3470"/>
                    <a:pt x="2871" y="3453"/>
                    <a:pt x="2937" y="3442"/>
                  </a:cubicBezTo>
                  <a:cubicBezTo>
                    <a:pt x="3060" y="3421"/>
                    <a:pt x="3060" y="3414"/>
                    <a:pt x="3053" y="3386"/>
                  </a:cubicBezTo>
                  <a:cubicBezTo>
                    <a:pt x="3032" y="3243"/>
                    <a:pt x="3053" y="2619"/>
                    <a:pt x="3291" y="2574"/>
                  </a:cubicBezTo>
                  <a:cubicBezTo>
                    <a:pt x="3455" y="2542"/>
                    <a:pt x="3676" y="2378"/>
                    <a:pt x="3683" y="2325"/>
                  </a:cubicBezTo>
                  <a:cubicBezTo>
                    <a:pt x="3690" y="2259"/>
                    <a:pt x="3764" y="2157"/>
                    <a:pt x="3935" y="1944"/>
                  </a:cubicBezTo>
                  <a:cubicBezTo>
                    <a:pt x="4012" y="1853"/>
                    <a:pt x="4082" y="1758"/>
                    <a:pt x="4145" y="1660"/>
                  </a:cubicBezTo>
                  <a:cubicBezTo>
                    <a:pt x="4222" y="1527"/>
                    <a:pt x="4215" y="1492"/>
                    <a:pt x="4212" y="1485"/>
                  </a:cubicBezTo>
                  <a:cubicBezTo>
                    <a:pt x="4208" y="1478"/>
                    <a:pt x="4191" y="1468"/>
                    <a:pt x="4152" y="1461"/>
                  </a:cubicBezTo>
                  <a:cubicBezTo>
                    <a:pt x="3970" y="1433"/>
                    <a:pt x="3735" y="1027"/>
                    <a:pt x="3644" y="852"/>
                  </a:cubicBezTo>
                  <a:cubicBezTo>
                    <a:pt x="3630" y="831"/>
                    <a:pt x="3522" y="813"/>
                    <a:pt x="3445" y="799"/>
                  </a:cubicBezTo>
                  <a:cubicBezTo>
                    <a:pt x="3249" y="768"/>
                    <a:pt x="2986" y="722"/>
                    <a:pt x="2748" y="533"/>
                  </a:cubicBezTo>
                  <a:cubicBezTo>
                    <a:pt x="2619" y="435"/>
                    <a:pt x="2521" y="260"/>
                    <a:pt x="24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0" name="Google Shape;5300;p53"/>
            <p:cNvSpPr/>
            <p:nvPr/>
          </p:nvSpPr>
          <p:spPr>
            <a:xfrm>
              <a:off x="2455845" y="1870778"/>
              <a:ext cx="625" cy="489"/>
            </a:xfrm>
            <a:custGeom>
              <a:avLst/>
              <a:gdLst/>
              <a:ahLst/>
              <a:cxnLst/>
              <a:rect l="l" t="t" r="r" b="b"/>
              <a:pathLst>
                <a:path w="46" h="36" extrusionOk="0">
                  <a:moveTo>
                    <a:pt x="0" y="1"/>
                  </a:moveTo>
                  <a:cubicBezTo>
                    <a:pt x="18" y="11"/>
                    <a:pt x="32" y="22"/>
                    <a:pt x="46" y="36"/>
                  </a:cubicBezTo>
                  <a:cubicBezTo>
                    <a:pt x="32" y="22"/>
                    <a:pt x="18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1" name="Google Shape;5301;p53"/>
            <p:cNvSpPr/>
            <p:nvPr/>
          </p:nvSpPr>
          <p:spPr>
            <a:xfrm>
              <a:off x="2453550" y="189278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2" name="Google Shape;5302;p53"/>
            <p:cNvSpPr/>
            <p:nvPr/>
          </p:nvSpPr>
          <p:spPr>
            <a:xfrm>
              <a:off x="2455791" y="187073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3" name="Google Shape;5303;p53"/>
            <p:cNvSpPr/>
            <p:nvPr/>
          </p:nvSpPr>
          <p:spPr>
            <a:xfrm>
              <a:off x="2453414" y="189288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4" name="Google Shape;5304;p53"/>
            <p:cNvSpPr/>
            <p:nvPr/>
          </p:nvSpPr>
          <p:spPr>
            <a:xfrm>
              <a:off x="2454270" y="1870357"/>
              <a:ext cx="1059" cy="204"/>
            </a:xfrm>
            <a:custGeom>
              <a:avLst/>
              <a:gdLst/>
              <a:ahLst/>
              <a:cxnLst/>
              <a:rect l="l" t="t" r="r" b="b"/>
              <a:pathLst>
                <a:path w="78" h="15" extrusionOk="0">
                  <a:moveTo>
                    <a:pt x="78" y="14"/>
                  </a:moveTo>
                  <a:cubicBezTo>
                    <a:pt x="53" y="4"/>
                    <a:pt x="25" y="0"/>
                    <a:pt x="0" y="4"/>
                  </a:cubicBezTo>
                  <a:lnTo>
                    <a:pt x="0" y="4"/>
                  </a:lnTo>
                  <a:cubicBezTo>
                    <a:pt x="25" y="0"/>
                    <a:pt x="53" y="4"/>
                    <a:pt x="7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5" name="Google Shape;5305;p53"/>
            <p:cNvSpPr/>
            <p:nvPr/>
          </p:nvSpPr>
          <p:spPr>
            <a:xfrm>
              <a:off x="2422037" y="1845619"/>
              <a:ext cx="5961" cy="9912"/>
            </a:xfrm>
            <a:custGeom>
              <a:avLst/>
              <a:gdLst/>
              <a:ahLst/>
              <a:cxnLst/>
              <a:rect l="l" t="t" r="r" b="b"/>
              <a:pathLst>
                <a:path w="439" h="730" extrusionOk="0">
                  <a:moveTo>
                    <a:pt x="266" y="0"/>
                  </a:moveTo>
                  <a:cubicBezTo>
                    <a:pt x="243" y="0"/>
                    <a:pt x="221" y="9"/>
                    <a:pt x="204" y="26"/>
                  </a:cubicBezTo>
                  <a:cubicBezTo>
                    <a:pt x="88" y="114"/>
                    <a:pt x="15" y="383"/>
                    <a:pt x="15" y="474"/>
                  </a:cubicBezTo>
                  <a:cubicBezTo>
                    <a:pt x="15" y="492"/>
                    <a:pt x="8" y="509"/>
                    <a:pt x="1" y="523"/>
                  </a:cubicBezTo>
                  <a:lnTo>
                    <a:pt x="8" y="537"/>
                  </a:lnTo>
                  <a:lnTo>
                    <a:pt x="11" y="548"/>
                  </a:lnTo>
                  <a:cubicBezTo>
                    <a:pt x="22" y="569"/>
                    <a:pt x="36" y="586"/>
                    <a:pt x="53" y="607"/>
                  </a:cubicBezTo>
                  <a:lnTo>
                    <a:pt x="57" y="614"/>
                  </a:lnTo>
                  <a:cubicBezTo>
                    <a:pt x="64" y="621"/>
                    <a:pt x="71" y="628"/>
                    <a:pt x="74" y="635"/>
                  </a:cubicBezTo>
                  <a:lnTo>
                    <a:pt x="78" y="639"/>
                  </a:lnTo>
                  <a:cubicBezTo>
                    <a:pt x="88" y="646"/>
                    <a:pt x="95" y="653"/>
                    <a:pt x="102" y="660"/>
                  </a:cubicBezTo>
                  <a:cubicBezTo>
                    <a:pt x="109" y="667"/>
                    <a:pt x="116" y="674"/>
                    <a:pt x="127" y="677"/>
                  </a:cubicBezTo>
                  <a:lnTo>
                    <a:pt x="130" y="681"/>
                  </a:lnTo>
                  <a:cubicBezTo>
                    <a:pt x="137" y="684"/>
                    <a:pt x="144" y="691"/>
                    <a:pt x="151" y="695"/>
                  </a:cubicBezTo>
                  <a:cubicBezTo>
                    <a:pt x="162" y="698"/>
                    <a:pt x="169" y="702"/>
                    <a:pt x="176" y="709"/>
                  </a:cubicBezTo>
                  <a:lnTo>
                    <a:pt x="200" y="716"/>
                  </a:lnTo>
                  <a:lnTo>
                    <a:pt x="204" y="716"/>
                  </a:lnTo>
                  <a:cubicBezTo>
                    <a:pt x="221" y="719"/>
                    <a:pt x="239" y="726"/>
                    <a:pt x="253" y="726"/>
                  </a:cubicBezTo>
                  <a:lnTo>
                    <a:pt x="277" y="730"/>
                  </a:lnTo>
                  <a:lnTo>
                    <a:pt x="284" y="730"/>
                  </a:lnTo>
                  <a:cubicBezTo>
                    <a:pt x="284" y="688"/>
                    <a:pt x="295" y="642"/>
                    <a:pt x="316" y="607"/>
                  </a:cubicBezTo>
                  <a:cubicBezTo>
                    <a:pt x="393" y="488"/>
                    <a:pt x="439" y="229"/>
                    <a:pt x="383" y="93"/>
                  </a:cubicBezTo>
                  <a:cubicBezTo>
                    <a:pt x="369" y="51"/>
                    <a:pt x="337" y="16"/>
                    <a:pt x="295" y="5"/>
                  </a:cubicBezTo>
                  <a:cubicBezTo>
                    <a:pt x="286" y="2"/>
                    <a:pt x="276" y="0"/>
                    <a:pt x="2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6" name="Google Shape;5306;p53"/>
            <p:cNvSpPr/>
            <p:nvPr/>
          </p:nvSpPr>
          <p:spPr>
            <a:xfrm>
              <a:off x="2425553" y="1855571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7" name="Google Shape;5307;p53"/>
            <p:cNvSpPr/>
            <p:nvPr/>
          </p:nvSpPr>
          <p:spPr>
            <a:xfrm>
              <a:off x="2422852" y="1853956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1"/>
                  </a:moveTo>
                  <a:cubicBezTo>
                    <a:pt x="11" y="14"/>
                    <a:pt x="4" y="7"/>
                    <a:pt x="0" y="0"/>
                  </a:cubicBezTo>
                  <a:cubicBezTo>
                    <a:pt x="4" y="7"/>
                    <a:pt x="11" y="14"/>
                    <a:pt x="18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8" name="Google Shape;5308;p53"/>
            <p:cNvSpPr/>
            <p:nvPr/>
          </p:nvSpPr>
          <p:spPr>
            <a:xfrm>
              <a:off x="2422037" y="185276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lnTo>
                    <a:pt x="8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9" name="Google Shape;5309;p53"/>
            <p:cNvSpPr/>
            <p:nvPr/>
          </p:nvSpPr>
          <p:spPr>
            <a:xfrm>
              <a:off x="2422186" y="1853046"/>
              <a:ext cx="584" cy="869"/>
            </a:xfrm>
            <a:custGeom>
              <a:avLst/>
              <a:gdLst/>
              <a:ahLst/>
              <a:cxnLst/>
              <a:rect l="l" t="t" r="r" b="b"/>
              <a:pathLst>
                <a:path w="43" h="64" extrusionOk="0">
                  <a:moveTo>
                    <a:pt x="42" y="64"/>
                  </a:moveTo>
                  <a:cubicBezTo>
                    <a:pt x="28" y="43"/>
                    <a:pt x="14" y="22"/>
                    <a:pt x="0" y="1"/>
                  </a:cubicBezTo>
                  <a:cubicBezTo>
                    <a:pt x="14" y="22"/>
                    <a:pt x="28" y="43"/>
                    <a:pt x="42" y="6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0" name="Google Shape;5310;p53"/>
            <p:cNvSpPr/>
            <p:nvPr/>
          </p:nvSpPr>
          <p:spPr>
            <a:xfrm>
              <a:off x="2425988" y="18556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1" name="Google Shape;5311;p53"/>
            <p:cNvSpPr/>
            <p:nvPr/>
          </p:nvSpPr>
          <p:spPr>
            <a:xfrm>
              <a:off x="2424508" y="185528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2" name="Google Shape;5312;p53"/>
            <p:cNvSpPr/>
            <p:nvPr/>
          </p:nvSpPr>
          <p:spPr>
            <a:xfrm>
              <a:off x="2424141" y="1855096"/>
              <a:ext cx="380" cy="149"/>
            </a:xfrm>
            <a:custGeom>
              <a:avLst/>
              <a:gdLst/>
              <a:ahLst/>
              <a:cxnLst/>
              <a:rect l="l" t="t" r="r" b="b"/>
              <a:pathLst>
                <a:path w="28" h="11" extrusionOk="0">
                  <a:moveTo>
                    <a:pt x="0" y="0"/>
                  </a:moveTo>
                  <a:cubicBezTo>
                    <a:pt x="10" y="4"/>
                    <a:pt x="17" y="7"/>
                    <a:pt x="28" y="11"/>
                  </a:cubicBezTo>
                  <a:cubicBezTo>
                    <a:pt x="21" y="7"/>
                    <a:pt x="1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3" name="Google Shape;5313;p53"/>
            <p:cNvSpPr/>
            <p:nvPr/>
          </p:nvSpPr>
          <p:spPr>
            <a:xfrm>
              <a:off x="2423137" y="1854281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25" y="25"/>
                  </a:moveTo>
                  <a:cubicBezTo>
                    <a:pt x="14" y="18"/>
                    <a:pt x="7" y="11"/>
                    <a:pt x="0" y="1"/>
                  </a:cubicBezTo>
                  <a:cubicBezTo>
                    <a:pt x="7" y="11"/>
                    <a:pt x="14" y="18"/>
                    <a:pt x="2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4" name="Google Shape;5314;p53"/>
            <p:cNvSpPr/>
            <p:nvPr/>
          </p:nvSpPr>
          <p:spPr>
            <a:xfrm>
              <a:off x="2423843" y="1854906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cubicBezTo>
                    <a:pt x="15" y="7"/>
                    <a:pt x="8" y="4"/>
                    <a:pt x="1" y="0"/>
                  </a:cubicBezTo>
                  <a:cubicBezTo>
                    <a:pt x="8" y="4"/>
                    <a:pt x="15" y="7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5" name="Google Shape;5315;p53"/>
            <p:cNvSpPr/>
            <p:nvPr/>
          </p:nvSpPr>
          <p:spPr>
            <a:xfrm>
              <a:off x="2423422" y="1854621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cubicBezTo>
                    <a:pt x="18" y="11"/>
                    <a:pt x="11" y="4"/>
                    <a:pt x="0" y="0"/>
                  </a:cubicBezTo>
                  <a:cubicBezTo>
                    <a:pt x="11" y="4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6" name="Google Shape;5316;p53"/>
            <p:cNvSpPr/>
            <p:nvPr/>
          </p:nvSpPr>
          <p:spPr>
            <a:xfrm>
              <a:off x="2424847" y="1855381"/>
              <a:ext cx="720" cy="204"/>
            </a:xfrm>
            <a:custGeom>
              <a:avLst/>
              <a:gdLst/>
              <a:ahLst/>
              <a:cxnLst/>
              <a:rect l="l" t="t" r="r" b="b"/>
              <a:pathLst>
                <a:path w="53" h="15" extrusionOk="0">
                  <a:moveTo>
                    <a:pt x="53" y="14"/>
                  </a:moveTo>
                  <a:cubicBezTo>
                    <a:pt x="35" y="11"/>
                    <a:pt x="18" y="7"/>
                    <a:pt x="0" y="0"/>
                  </a:cubicBezTo>
                  <a:cubicBezTo>
                    <a:pt x="18" y="7"/>
                    <a:pt x="35" y="11"/>
                    <a:pt x="53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7" name="Google Shape;5317;p53"/>
            <p:cNvSpPr/>
            <p:nvPr/>
          </p:nvSpPr>
          <p:spPr>
            <a:xfrm>
              <a:off x="2431365" y="1843827"/>
              <a:ext cx="33048" cy="26544"/>
            </a:xfrm>
            <a:custGeom>
              <a:avLst/>
              <a:gdLst/>
              <a:ahLst/>
              <a:cxnLst/>
              <a:rect l="l" t="t" r="r" b="b"/>
              <a:pathLst>
                <a:path w="2434" h="1955" extrusionOk="0">
                  <a:moveTo>
                    <a:pt x="2332" y="1"/>
                  </a:moveTo>
                  <a:cubicBezTo>
                    <a:pt x="2216" y="71"/>
                    <a:pt x="1905" y="410"/>
                    <a:pt x="1765" y="687"/>
                  </a:cubicBezTo>
                  <a:cubicBezTo>
                    <a:pt x="1602" y="1000"/>
                    <a:pt x="1194" y="1222"/>
                    <a:pt x="815" y="1222"/>
                  </a:cubicBezTo>
                  <a:cubicBezTo>
                    <a:pt x="762" y="1222"/>
                    <a:pt x="709" y="1217"/>
                    <a:pt x="658" y="1208"/>
                  </a:cubicBezTo>
                  <a:cubicBezTo>
                    <a:pt x="593" y="1196"/>
                    <a:pt x="535" y="1191"/>
                    <a:pt x="484" y="1191"/>
                  </a:cubicBezTo>
                  <a:cubicBezTo>
                    <a:pt x="286" y="1191"/>
                    <a:pt x="186" y="1270"/>
                    <a:pt x="109" y="1331"/>
                  </a:cubicBezTo>
                  <a:cubicBezTo>
                    <a:pt x="91" y="1345"/>
                    <a:pt x="74" y="1355"/>
                    <a:pt x="60" y="1366"/>
                  </a:cubicBezTo>
                  <a:cubicBezTo>
                    <a:pt x="42" y="1380"/>
                    <a:pt x="21" y="1387"/>
                    <a:pt x="0" y="1387"/>
                  </a:cubicBezTo>
                  <a:cubicBezTo>
                    <a:pt x="4" y="1397"/>
                    <a:pt x="7" y="1405"/>
                    <a:pt x="11" y="1412"/>
                  </a:cubicBezTo>
                  <a:lnTo>
                    <a:pt x="18" y="1426"/>
                  </a:lnTo>
                  <a:cubicBezTo>
                    <a:pt x="21" y="1440"/>
                    <a:pt x="28" y="1454"/>
                    <a:pt x="35" y="1468"/>
                  </a:cubicBezTo>
                  <a:lnTo>
                    <a:pt x="42" y="1478"/>
                  </a:lnTo>
                  <a:cubicBezTo>
                    <a:pt x="49" y="1489"/>
                    <a:pt x="53" y="1499"/>
                    <a:pt x="60" y="1510"/>
                  </a:cubicBezTo>
                  <a:lnTo>
                    <a:pt x="70" y="1527"/>
                  </a:lnTo>
                  <a:lnTo>
                    <a:pt x="88" y="1552"/>
                  </a:lnTo>
                  <a:lnTo>
                    <a:pt x="98" y="1566"/>
                  </a:lnTo>
                  <a:lnTo>
                    <a:pt x="112" y="1587"/>
                  </a:lnTo>
                  <a:lnTo>
                    <a:pt x="126" y="1601"/>
                  </a:lnTo>
                  <a:lnTo>
                    <a:pt x="144" y="1625"/>
                  </a:lnTo>
                  <a:lnTo>
                    <a:pt x="154" y="1636"/>
                  </a:lnTo>
                  <a:lnTo>
                    <a:pt x="175" y="1660"/>
                  </a:lnTo>
                  <a:lnTo>
                    <a:pt x="182" y="1667"/>
                  </a:lnTo>
                  <a:lnTo>
                    <a:pt x="210" y="1695"/>
                  </a:lnTo>
                  <a:lnTo>
                    <a:pt x="221" y="1706"/>
                  </a:lnTo>
                  <a:lnTo>
                    <a:pt x="238" y="1723"/>
                  </a:lnTo>
                  <a:lnTo>
                    <a:pt x="249" y="1734"/>
                  </a:lnTo>
                  <a:lnTo>
                    <a:pt x="263" y="1748"/>
                  </a:lnTo>
                  <a:lnTo>
                    <a:pt x="277" y="1755"/>
                  </a:lnTo>
                  <a:lnTo>
                    <a:pt x="291" y="1765"/>
                  </a:lnTo>
                  <a:lnTo>
                    <a:pt x="298" y="1776"/>
                  </a:lnTo>
                  <a:lnTo>
                    <a:pt x="312" y="1786"/>
                  </a:lnTo>
                  <a:lnTo>
                    <a:pt x="319" y="1790"/>
                  </a:lnTo>
                  <a:lnTo>
                    <a:pt x="336" y="1800"/>
                  </a:lnTo>
                  <a:lnTo>
                    <a:pt x="340" y="1804"/>
                  </a:lnTo>
                  <a:lnTo>
                    <a:pt x="350" y="1811"/>
                  </a:lnTo>
                  <a:cubicBezTo>
                    <a:pt x="434" y="1832"/>
                    <a:pt x="518" y="1849"/>
                    <a:pt x="602" y="1856"/>
                  </a:cubicBezTo>
                  <a:cubicBezTo>
                    <a:pt x="833" y="1888"/>
                    <a:pt x="1183" y="1926"/>
                    <a:pt x="1425" y="1947"/>
                  </a:cubicBezTo>
                  <a:lnTo>
                    <a:pt x="1540" y="1954"/>
                  </a:lnTo>
                  <a:lnTo>
                    <a:pt x="1709" y="1527"/>
                  </a:lnTo>
                  <a:lnTo>
                    <a:pt x="2048" y="1100"/>
                  </a:lnTo>
                  <a:lnTo>
                    <a:pt x="2048" y="645"/>
                  </a:lnTo>
                  <a:lnTo>
                    <a:pt x="2304" y="645"/>
                  </a:lnTo>
                  <a:lnTo>
                    <a:pt x="2433" y="568"/>
                  </a:lnTo>
                  <a:cubicBezTo>
                    <a:pt x="2405" y="445"/>
                    <a:pt x="2388" y="319"/>
                    <a:pt x="2370" y="218"/>
                  </a:cubicBezTo>
                  <a:cubicBezTo>
                    <a:pt x="2360" y="137"/>
                    <a:pt x="2346" y="50"/>
                    <a:pt x="23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8" name="Google Shape;5318;p53"/>
            <p:cNvSpPr/>
            <p:nvPr/>
          </p:nvSpPr>
          <p:spPr>
            <a:xfrm>
              <a:off x="2435682" y="1868117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9" name="Google Shape;5319;p53"/>
            <p:cNvSpPr/>
            <p:nvPr/>
          </p:nvSpPr>
          <p:spPr>
            <a:xfrm>
              <a:off x="2432695" y="1865035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0" name="Google Shape;5320;p53"/>
            <p:cNvSpPr/>
            <p:nvPr/>
          </p:nvSpPr>
          <p:spPr>
            <a:xfrm>
              <a:off x="2435397" y="186788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1" name="Google Shape;5321;p53"/>
            <p:cNvSpPr/>
            <p:nvPr/>
          </p:nvSpPr>
          <p:spPr>
            <a:xfrm>
              <a:off x="2439538" y="1869027"/>
              <a:ext cx="11174" cy="1249"/>
            </a:xfrm>
            <a:custGeom>
              <a:avLst/>
              <a:gdLst/>
              <a:ahLst/>
              <a:cxnLst/>
              <a:rect l="l" t="t" r="r" b="b"/>
              <a:pathLst>
                <a:path w="823" h="92" extrusionOk="0">
                  <a:moveTo>
                    <a:pt x="0" y="0"/>
                  </a:moveTo>
                  <a:lnTo>
                    <a:pt x="0" y="0"/>
                  </a:lnTo>
                  <a:cubicBezTo>
                    <a:pt x="231" y="32"/>
                    <a:pt x="571" y="70"/>
                    <a:pt x="823" y="91"/>
                  </a:cubicBezTo>
                  <a:cubicBezTo>
                    <a:pt x="581" y="70"/>
                    <a:pt x="235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2" name="Google Shape;5322;p53"/>
            <p:cNvSpPr/>
            <p:nvPr/>
          </p:nvSpPr>
          <p:spPr>
            <a:xfrm>
              <a:off x="2435967" y="186826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1" y="1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3" name="Google Shape;5323;p53"/>
            <p:cNvSpPr/>
            <p:nvPr/>
          </p:nvSpPr>
          <p:spPr>
            <a:xfrm>
              <a:off x="2432315" y="1864505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1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4" name="Google Shape;5324;p53"/>
            <p:cNvSpPr/>
            <p:nvPr/>
          </p:nvSpPr>
          <p:spPr>
            <a:xfrm>
              <a:off x="2431365" y="1862645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cubicBezTo>
                    <a:pt x="4" y="8"/>
                    <a:pt x="7" y="15"/>
                    <a:pt x="11" y="26"/>
                  </a:cubicBezTo>
                  <a:cubicBezTo>
                    <a:pt x="7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5" name="Google Shape;5325;p53"/>
            <p:cNvSpPr/>
            <p:nvPr/>
          </p:nvSpPr>
          <p:spPr>
            <a:xfrm>
              <a:off x="2435071" y="1867601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6" name="Google Shape;5326;p53"/>
            <p:cNvSpPr/>
            <p:nvPr/>
          </p:nvSpPr>
          <p:spPr>
            <a:xfrm>
              <a:off x="2433021" y="1865551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7" name="Google Shape;5327;p53"/>
            <p:cNvSpPr/>
            <p:nvPr/>
          </p:nvSpPr>
          <p:spPr>
            <a:xfrm>
              <a:off x="2434732" y="186731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8" name="Google Shape;5328;p53"/>
            <p:cNvSpPr/>
            <p:nvPr/>
          </p:nvSpPr>
          <p:spPr>
            <a:xfrm>
              <a:off x="2433456" y="1865985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21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9" name="Google Shape;5329;p53"/>
            <p:cNvSpPr/>
            <p:nvPr/>
          </p:nvSpPr>
          <p:spPr>
            <a:xfrm>
              <a:off x="2434352" y="1866936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8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0" name="Google Shape;5330;p53"/>
            <p:cNvSpPr/>
            <p:nvPr/>
          </p:nvSpPr>
          <p:spPr>
            <a:xfrm>
              <a:off x="2431935" y="1863840"/>
              <a:ext cx="244" cy="448"/>
            </a:xfrm>
            <a:custGeom>
              <a:avLst/>
              <a:gdLst/>
              <a:ahLst/>
              <a:cxnLst/>
              <a:rect l="l" t="t" r="r" b="b"/>
              <a:pathLst>
                <a:path w="18" h="33" extrusionOk="0">
                  <a:moveTo>
                    <a:pt x="18" y="32"/>
                  </a:moveTo>
                  <a:cubicBezTo>
                    <a:pt x="11" y="22"/>
                    <a:pt x="7" y="11"/>
                    <a:pt x="0" y="1"/>
                  </a:cubicBezTo>
                  <a:cubicBezTo>
                    <a:pt x="7" y="11"/>
                    <a:pt x="11" y="22"/>
                    <a:pt x="1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1" name="Google Shape;5331;p53"/>
            <p:cNvSpPr/>
            <p:nvPr/>
          </p:nvSpPr>
          <p:spPr>
            <a:xfrm>
              <a:off x="2433836" y="1866460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2" name="Google Shape;5332;p53"/>
            <p:cNvSpPr/>
            <p:nvPr/>
          </p:nvSpPr>
          <p:spPr>
            <a:xfrm>
              <a:off x="2431595" y="1863134"/>
              <a:ext cx="258" cy="625"/>
            </a:xfrm>
            <a:custGeom>
              <a:avLst/>
              <a:gdLst/>
              <a:ahLst/>
              <a:cxnLst/>
              <a:rect l="l" t="t" r="r" b="b"/>
              <a:pathLst>
                <a:path w="19" h="46" extrusionOk="0">
                  <a:moveTo>
                    <a:pt x="18" y="46"/>
                  </a:moveTo>
                  <a:cubicBezTo>
                    <a:pt x="11" y="32"/>
                    <a:pt x="4" y="14"/>
                    <a:pt x="1" y="0"/>
                  </a:cubicBezTo>
                  <a:cubicBezTo>
                    <a:pt x="4" y="14"/>
                    <a:pt x="11" y="32"/>
                    <a:pt x="18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3" name="Google Shape;5333;p53"/>
            <p:cNvSpPr/>
            <p:nvPr/>
          </p:nvSpPr>
          <p:spPr>
            <a:xfrm>
              <a:off x="2452274" y="1864560"/>
              <a:ext cx="2295" cy="5811"/>
            </a:xfrm>
            <a:custGeom>
              <a:avLst/>
              <a:gdLst/>
              <a:ahLst/>
              <a:cxnLst/>
              <a:rect l="l" t="t" r="r" b="b"/>
              <a:pathLst>
                <a:path w="169" h="428" extrusionOk="0">
                  <a:moveTo>
                    <a:pt x="0" y="427"/>
                  </a:moveTo>
                  <a:lnTo>
                    <a:pt x="16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4" name="Google Shape;5334;p53"/>
            <p:cNvSpPr/>
            <p:nvPr/>
          </p:nvSpPr>
          <p:spPr>
            <a:xfrm>
              <a:off x="2782384" y="1996356"/>
              <a:ext cx="29246" cy="38139"/>
            </a:xfrm>
            <a:custGeom>
              <a:avLst/>
              <a:gdLst/>
              <a:ahLst/>
              <a:cxnLst/>
              <a:rect l="l" t="t" r="r" b="b"/>
              <a:pathLst>
                <a:path w="2154" h="2809" extrusionOk="0">
                  <a:moveTo>
                    <a:pt x="1" y="1"/>
                  </a:moveTo>
                  <a:cubicBezTo>
                    <a:pt x="102" y="267"/>
                    <a:pt x="116" y="536"/>
                    <a:pt x="123" y="775"/>
                  </a:cubicBezTo>
                  <a:cubicBezTo>
                    <a:pt x="123" y="967"/>
                    <a:pt x="312" y="1244"/>
                    <a:pt x="463" y="1468"/>
                  </a:cubicBezTo>
                  <a:cubicBezTo>
                    <a:pt x="561" y="1608"/>
                    <a:pt x="641" y="1727"/>
                    <a:pt x="673" y="1811"/>
                  </a:cubicBezTo>
                  <a:cubicBezTo>
                    <a:pt x="725" y="1968"/>
                    <a:pt x="820" y="2035"/>
                    <a:pt x="1034" y="2182"/>
                  </a:cubicBezTo>
                  <a:cubicBezTo>
                    <a:pt x="1076" y="2210"/>
                    <a:pt x="1121" y="2245"/>
                    <a:pt x="1174" y="2283"/>
                  </a:cubicBezTo>
                  <a:cubicBezTo>
                    <a:pt x="1541" y="2546"/>
                    <a:pt x="2031" y="2809"/>
                    <a:pt x="2150" y="2809"/>
                  </a:cubicBezTo>
                  <a:cubicBezTo>
                    <a:pt x="2154" y="2714"/>
                    <a:pt x="1947" y="2318"/>
                    <a:pt x="1776" y="2140"/>
                  </a:cubicBezTo>
                  <a:cubicBezTo>
                    <a:pt x="1629" y="1986"/>
                    <a:pt x="1671" y="1702"/>
                    <a:pt x="1713" y="1401"/>
                  </a:cubicBezTo>
                  <a:cubicBezTo>
                    <a:pt x="1730" y="1279"/>
                    <a:pt x="1744" y="1160"/>
                    <a:pt x="1748" y="1041"/>
                  </a:cubicBezTo>
                  <a:cubicBezTo>
                    <a:pt x="1751" y="866"/>
                    <a:pt x="1667" y="810"/>
                    <a:pt x="1555" y="736"/>
                  </a:cubicBezTo>
                  <a:cubicBezTo>
                    <a:pt x="1468" y="680"/>
                    <a:pt x="1373" y="617"/>
                    <a:pt x="1331" y="487"/>
                  </a:cubicBezTo>
                  <a:cubicBezTo>
                    <a:pt x="1296" y="382"/>
                    <a:pt x="1261" y="372"/>
                    <a:pt x="1216" y="358"/>
                  </a:cubicBezTo>
                  <a:cubicBezTo>
                    <a:pt x="1142" y="347"/>
                    <a:pt x="1083" y="291"/>
                    <a:pt x="1065" y="218"/>
                  </a:cubicBezTo>
                  <a:cubicBezTo>
                    <a:pt x="1062" y="214"/>
                    <a:pt x="1062" y="211"/>
                    <a:pt x="1058" y="207"/>
                  </a:cubicBezTo>
                  <a:lnTo>
                    <a:pt x="1055" y="207"/>
                  </a:lnTo>
                  <a:lnTo>
                    <a:pt x="1044" y="218"/>
                  </a:lnTo>
                  <a:lnTo>
                    <a:pt x="1041" y="221"/>
                  </a:lnTo>
                  <a:cubicBezTo>
                    <a:pt x="1037" y="225"/>
                    <a:pt x="1034" y="228"/>
                    <a:pt x="1034" y="232"/>
                  </a:cubicBezTo>
                  <a:lnTo>
                    <a:pt x="1030" y="235"/>
                  </a:lnTo>
                  <a:cubicBezTo>
                    <a:pt x="1027" y="239"/>
                    <a:pt x="1023" y="242"/>
                    <a:pt x="1023" y="249"/>
                  </a:cubicBezTo>
                  <a:cubicBezTo>
                    <a:pt x="1020" y="253"/>
                    <a:pt x="1020" y="256"/>
                    <a:pt x="1016" y="263"/>
                  </a:cubicBezTo>
                  <a:lnTo>
                    <a:pt x="1016" y="267"/>
                  </a:lnTo>
                  <a:cubicBezTo>
                    <a:pt x="1016" y="270"/>
                    <a:pt x="1016" y="274"/>
                    <a:pt x="1016" y="277"/>
                  </a:cubicBezTo>
                  <a:lnTo>
                    <a:pt x="1016" y="284"/>
                  </a:lnTo>
                  <a:lnTo>
                    <a:pt x="1013" y="298"/>
                  </a:lnTo>
                  <a:cubicBezTo>
                    <a:pt x="1006" y="330"/>
                    <a:pt x="995" y="393"/>
                    <a:pt x="932" y="403"/>
                  </a:cubicBezTo>
                  <a:lnTo>
                    <a:pt x="915" y="403"/>
                  </a:lnTo>
                  <a:lnTo>
                    <a:pt x="901" y="407"/>
                  </a:lnTo>
                  <a:lnTo>
                    <a:pt x="897" y="407"/>
                  </a:lnTo>
                  <a:lnTo>
                    <a:pt x="876" y="410"/>
                  </a:lnTo>
                  <a:lnTo>
                    <a:pt x="845" y="410"/>
                  </a:lnTo>
                  <a:lnTo>
                    <a:pt x="820" y="414"/>
                  </a:lnTo>
                  <a:lnTo>
                    <a:pt x="810" y="414"/>
                  </a:lnTo>
                  <a:lnTo>
                    <a:pt x="782" y="417"/>
                  </a:lnTo>
                  <a:lnTo>
                    <a:pt x="617" y="417"/>
                  </a:lnTo>
                  <a:lnTo>
                    <a:pt x="596" y="414"/>
                  </a:lnTo>
                  <a:lnTo>
                    <a:pt x="582" y="410"/>
                  </a:lnTo>
                  <a:lnTo>
                    <a:pt x="561" y="407"/>
                  </a:lnTo>
                  <a:lnTo>
                    <a:pt x="547" y="403"/>
                  </a:lnTo>
                  <a:lnTo>
                    <a:pt x="529" y="400"/>
                  </a:lnTo>
                  <a:lnTo>
                    <a:pt x="519" y="396"/>
                  </a:lnTo>
                  <a:lnTo>
                    <a:pt x="501" y="386"/>
                  </a:lnTo>
                  <a:lnTo>
                    <a:pt x="491" y="382"/>
                  </a:lnTo>
                  <a:cubicBezTo>
                    <a:pt x="484" y="379"/>
                    <a:pt x="477" y="372"/>
                    <a:pt x="470" y="368"/>
                  </a:cubicBezTo>
                  <a:cubicBezTo>
                    <a:pt x="442" y="347"/>
                    <a:pt x="424" y="316"/>
                    <a:pt x="424" y="281"/>
                  </a:cubicBezTo>
                  <a:cubicBezTo>
                    <a:pt x="431" y="151"/>
                    <a:pt x="337" y="39"/>
                    <a:pt x="211" y="22"/>
                  </a:cubicBezTo>
                  <a:cubicBezTo>
                    <a:pt x="179" y="18"/>
                    <a:pt x="148" y="11"/>
                    <a:pt x="116" y="8"/>
                  </a:cubicBezTo>
                  <a:lnTo>
                    <a:pt x="88" y="8"/>
                  </a:lnTo>
                  <a:cubicBezTo>
                    <a:pt x="67" y="8"/>
                    <a:pt x="46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5" name="Google Shape;5335;p53"/>
            <p:cNvSpPr/>
            <p:nvPr/>
          </p:nvSpPr>
          <p:spPr>
            <a:xfrm>
              <a:off x="2853543" y="1995460"/>
              <a:ext cx="70169" cy="41954"/>
            </a:xfrm>
            <a:custGeom>
              <a:avLst/>
              <a:gdLst/>
              <a:ahLst/>
              <a:cxnLst/>
              <a:rect l="l" t="t" r="r" b="b"/>
              <a:pathLst>
                <a:path w="5168" h="3090" extrusionOk="0">
                  <a:moveTo>
                    <a:pt x="3859" y="0"/>
                  </a:moveTo>
                  <a:cubicBezTo>
                    <a:pt x="3718" y="0"/>
                    <a:pt x="3501" y="340"/>
                    <a:pt x="3487" y="494"/>
                  </a:cubicBezTo>
                  <a:cubicBezTo>
                    <a:pt x="3477" y="599"/>
                    <a:pt x="3386" y="648"/>
                    <a:pt x="3316" y="690"/>
                  </a:cubicBezTo>
                  <a:cubicBezTo>
                    <a:pt x="3221" y="743"/>
                    <a:pt x="3186" y="774"/>
                    <a:pt x="3193" y="848"/>
                  </a:cubicBezTo>
                  <a:cubicBezTo>
                    <a:pt x="3211" y="932"/>
                    <a:pt x="3165" y="1016"/>
                    <a:pt x="3088" y="1047"/>
                  </a:cubicBezTo>
                  <a:lnTo>
                    <a:pt x="3088" y="1054"/>
                  </a:lnTo>
                  <a:cubicBezTo>
                    <a:pt x="3092" y="1072"/>
                    <a:pt x="3099" y="1093"/>
                    <a:pt x="3102" y="1110"/>
                  </a:cubicBezTo>
                  <a:lnTo>
                    <a:pt x="3102" y="1117"/>
                  </a:lnTo>
                  <a:cubicBezTo>
                    <a:pt x="3106" y="1135"/>
                    <a:pt x="3109" y="1152"/>
                    <a:pt x="3109" y="1166"/>
                  </a:cubicBezTo>
                  <a:lnTo>
                    <a:pt x="3109" y="1170"/>
                  </a:lnTo>
                  <a:cubicBezTo>
                    <a:pt x="3113" y="1187"/>
                    <a:pt x="3116" y="1201"/>
                    <a:pt x="3116" y="1215"/>
                  </a:cubicBezTo>
                  <a:lnTo>
                    <a:pt x="3116" y="1219"/>
                  </a:lnTo>
                  <a:cubicBezTo>
                    <a:pt x="3116" y="1233"/>
                    <a:pt x="3120" y="1243"/>
                    <a:pt x="3120" y="1257"/>
                  </a:cubicBezTo>
                  <a:lnTo>
                    <a:pt x="3120" y="1261"/>
                  </a:lnTo>
                  <a:cubicBezTo>
                    <a:pt x="3120" y="1271"/>
                    <a:pt x="3120" y="1282"/>
                    <a:pt x="3120" y="1292"/>
                  </a:cubicBezTo>
                  <a:lnTo>
                    <a:pt x="3120" y="1296"/>
                  </a:lnTo>
                  <a:cubicBezTo>
                    <a:pt x="3120" y="1306"/>
                    <a:pt x="3116" y="1313"/>
                    <a:pt x="3116" y="1324"/>
                  </a:cubicBezTo>
                  <a:lnTo>
                    <a:pt x="3116" y="1327"/>
                  </a:lnTo>
                  <a:cubicBezTo>
                    <a:pt x="3113" y="1334"/>
                    <a:pt x="3109" y="1341"/>
                    <a:pt x="3106" y="1348"/>
                  </a:cubicBezTo>
                  <a:lnTo>
                    <a:pt x="3106" y="1352"/>
                  </a:lnTo>
                  <a:cubicBezTo>
                    <a:pt x="3102" y="1355"/>
                    <a:pt x="3099" y="1362"/>
                    <a:pt x="3092" y="1369"/>
                  </a:cubicBezTo>
                  <a:cubicBezTo>
                    <a:pt x="3073" y="1388"/>
                    <a:pt x="3049" y="1396"/>
                    <a:pt x="3024" y="1396"/>
                  </a:cubicBezTo>
                  <a:cubicBezTo>
                    <a:pt x="3016" y="1396"/>
                    <a:pt x="3008" y="1395"/>
                    <a:pt x="3001" y="1394"/>
                  </a:cubicBezTo>
                  <a:cubicBezTo>
                    <a:pt x="2993" y="1391"/>
                    <a:pt x="2986" y="1390"/>
                    <a:pt x="2980" y="1390"/>
                  </a:cubicBezTo>
                  <a:cubicBezTo>
                    <a:pt x="2960" y="1390"/>
                    <a:pt x="2943" y="1402"/>
                    <a:pt x="2906" y="1429"/>
                  </a:cubicBezTo>
                  <a:cubicBezTo>
                    <a:pt x="2836" y="1488"/>
                    <a:pt x="2749" y="1523"/>
                    <a:pt x="2658" y="1523"/>
                  </a:cubicBezTo>
                  <a:lnTo>
                    <a:pt x="2626" y="1523"/>
                  </a:lnTo>
                  <a:lnTo>
                    <a:pt x="2616" y="1520"/>
                  </a:lnTo>
                  <a:lnTo>
                    <a:pt x="2609" y="1516"/>
                  </a:lnTo>
                  <a:lnTo>
                    <a:pt x="2598" y="1513"/>
                  </a:lnTo>
                  <a:lnTo>
                    <a:pt x="2591" y="1509"/>
                  </a:lnTo>
                  <a:lnTo>
                    <a:pt x="2584" y="1502"/>
                  </a:lnTo>
                  <a:lnTo>
                    <a:pt x="2574" y="1499"/>
                  </a:lnTo>
                  <a:lnTo>
                    <a:pt x="2567" y="1488"/>
                  </a:lnTo>
                  <a:lnTo>
                    <a:pt x="2556" y="1481"/>
                  </a:lnTo>
                  <a:lnTo>
                    <a:pt x="2546" y="1474"/>
                  </a:lnTo>
                  <a:lnTo>
                    <a:pt x="2539" y="1464"/>
                  </a:lnTo>
                  <a:lnTo>
                    <a:pt x="2528" y="1453"/>
                  </a:lnTo>
                  <a:lnTo>
                    <a:pt x="2518" y="1443"/>
                  </a:lnTo>
                  <a:lnTo>
                    <a:pt x="2507" y="1429"/>
                  </a:lnTo>
                  <a:lnTo>
                    <a:pt x="2497" y="1418"/>
                  </a:lnTo>
                  <a:lnTo>
                    <a:pt x="2486" y="1401"/>
                  </a:lnTo>
                  <a:lnTo>
                    <a:pt x="2476" y="1387"/>
                  </a:lnTo>
                  <a:lnTo>
                    <a:pt x="2462" y="1369"/>
                  </a:lnTo>
                  <a:lnTo>
                    <a:pt x="2451" y="1352"/>
                  </a:lnTo>
                  <a:lnTo>
                    <a:pt x="2437" y="1331"/>
                  </a:lnTo>
                  <a:lnTo>
                    <a:pt x="2423" y="1313"/>
                  </a:lnTo>
                  <a:lnTo>
                    <a:pt x="2409" y="1289"/>
                  </a:lnTo>
                  <a:lnTo>
                    <a:pt x="2395" y="1268"/>
                  </a:lnTo>
                  <a:lnTo>
                    <a:pt x="2378" y="1240"/>
                  </a:lnTo>
                  <a:lnTo>
                    <a:pt x="2367" y="1219"/>
                  </a:lnTo>
                  <a:lnTo>
                    <a:pt x="2350" y="1187"/>
                  </a:lnTo>
                  <a:lnTo>
                    <a:pt x="2336" y="1163"/>
                  </a:lnTo>
                  <a:lnTo>
                    <a:pt x="2329" y="1152"/>
                  </a:lnTo>
                  <a:cubicBezTo>
                    <a:pt x="2227" y="1215"/>
                    <a:pt x="1989" y="1565"/>
                    <a:pt x="1930" y="1849"/>
                  </a:cubicBezTo>
                  <a:cubicBezTo>
                    <a:pt x="1870" y="2129"/>
                    <a:pt x="1635" y="2136"/>
                    <a:pt x="1362" y="2136"/>
                  </a:cubicBezTo>
                  <a:cubicBezTo>
                    <a:pt x="1278" y="2136"/>
                    <a:pt x="1180" y="2136"/>
                    <a:pt x="1079" y="2143"/>
                  </a:cubicBezTo>
                  <a:cubicBezTo>
                    <a:pt x="848" y="2160"/>
                    <a:pt x="830" y="2300"/>
                    <a:pt x="820" y="2528"/>
                  </a:cubicBezTo>
                  <a:cubicBezTo>
                    <a:pt x="823" y="2622"/>
                    <a:pt x="806" y="2714"/>
                    <a:pt x="774" y="2801"/>
                  </a:cubicBezTo>
                  <a:cubicBezTo>
                    <a:pt x="757" y="2840"/>
                    <a:pt x="725" y="2868"/>
                    <a:pt x="687" y="2885"/>
                  </a:cubicBezTo>
                  <a:cubicBezTo>
                    <a:pt x="665" y="2893"/>
                    <a:pt x="641" y="2896"/>
                    <a:pt x="616" y="2896"/>
                  </a:cubicBezTo>
                  <a:cubicBezTo>
                    <a:pt x="499" y="2896"/>
                    <a:pt x="347" y="2824"/>
                    <a:pt x="186" y="2752"/>
                  </a:cubicBezTo>
                  <a:cubicBezTo>
                    <a:pt x="123" y="2721"/>
                    <a:pt x="57" y="2689"/>
                    <a:pt x="1" y="2664"/>
                  </a:cubicBezTo>
                  <a:lnTo>
                    <a:pt x="1" y="2664"/>
                  </a:lnTo>
                  <a:cubicBezTo>
                    <a:pt x="4" y="2682"/>
                    <a:pt x="8" y="2696"/>
                    <a:pt x="11" y="2710"/>
                  </a:cubicBezTo>
                  <a:lnTo>
                    <a:pt x="11" y="2717"/>
                  </a:lnTo>
                  <a:cubicBezTo>
                    <a:pt x="18" y="2728"/>
                    <a:pt x="22" y="2742"/>
                    <a:pt x="25" y="2752"/>
                  </a:cubicBezTo>
                  <a:lnTo>
                    <a:pt x="25" y="2756"/>
                  </a:lnTo>
                  <a:cubicBezTo>
                    <a:pt x="29" y="2766"/>
                    <a:pt x="32" y="2773"/>
                    <a:pt x="36" y="2784"/>
                  </a:cubicBezTo>
                  <a:cubicBezTo>
                    <a:pt x="39" y="2791"/>
                    <a:pt x="43" y="2798"/>
                    <a:pt x="46" y="2805"/>
                  </a:cubicBezTo>
                  <a:lnTo>
                    <a:pt x="46" y="2808"/>
                  </a:lnTo>
                  <a:lnTo>
                    <a:pt x="53" y="2826"/>
                  </a:lnTo>
                  <a:lnTo>
                    <a:pt x="60" y="2836"/>
                  </a:lnTo>
                  <a:lnTo>
                    <a:pt x="67" y="2843"/>
                  </a:lnTo>
                  <a:lnTo>
                    <a:pt x="71" y="2847"/>
                  </a:lnTo>
                  <a:cubicBezTo>
                    <a:pt x="144" y="2850"/>
                    <a:pt x="218" y="2913"/>
                    <a:pt x="295" y="2980"/>
                  </a:cubicBezTo>
                  <a:cubicBezTo>
                    <a:pt x="349" y="3025"/>
                    <a:pt x="420" y="3089"/>
                    <a:pt x="458" y="3089"/>
                  </a:cubicBezTo>
                  <a:cubicBezTo>
                    <a:pt x="464" y="3089"/>
                    <a:pt x="469" y="3088"/>
                    <a:pt x="473" y="3085"/>
                  </a:cubicBezTo>
                  <a:cubicBezTo>
                    <a:pt x="537" y="3036"/>
                    <a:pt x="637" y="3025"/>
                    <a:pt x="749" y="3025"/>
                  </a:cubicBezTo>
                  <a:cubicBezTo>
                    <a:pt x="792" y="3025"/>
                    <a:pt x="837" y="3027"/>
                    <a:pt x="883" y="3029"/>
                  </a:cubicBezTo>
                  <a:lnTo>
                    <a:pt x="970" y="3029"/>
                  </a:lnTo>
                  <a:cubicBezTo>
                    <a:pt x="990" y="3030"/>
                    <a:pt x="1010" y="3031"/>
                    <a:pt x="1031" y="3031"/>
                  </a:cubicBezTo>
                  <a:cubicBezTo>
                    <a:pt x="1088" y="3031"/>
                    <a:pt x="1147" y="3024"/>
                    <a:pt x="1201" y="3011"/>
                  </a:cubicBezTo>
                  <a:cubicBezTo>
                    <a:pt x="1243" y="2994"/>
                    <a:pt x="1282" y="2976"/>
                    <a:pt x="1320" y="2948"/>
                  </a:cubicBezTo>
                  <a:lnTo>
                    <a:pt x="1355" y="2924"/>
                  </a:lnTo>
                  <a:cubicBezTo>
                    <a:pt x="1464" y="2831"/>
                    <a:pt x="1604" y="2779"/>
                    <a:pt x="1748" y="2779"/>
                  </a:cubicBezTo>
                  <a:cubicBezTo>
                    <a:pt x="1757" y="2779"/>
                    <a:pt x="1766" y="2780"/>
                    <a:pt x="1776" y="2780"/>
                  </a:cubicBezTo>
                  <a:cubicBezTo>
                    <a:pt x="1783" y="2780"/>
                    <a:pt x="1791" y="2779"/>
                    <a:pt x="1798" y="2779"/>
                  </a:cubicBezTo>
                  <a:cubicBezTo>
                    <a:pt x="1896" y="2779"/>
                    <a:pt x="1994" y="2821"/>
                    <a:pt x="2063" y="2892"/>
                  </a:cubicBezTo>
                  <a:cubicBezTo>
                    <a:pt x="2086" y="2916"/>
                    <a:pt x="2102" y="2931"/>
                    <a:pt x="2131" y="2931"/>
                  </a:cubicBezTo>
                  <a:cubicBezTo>
                    <a:pt x="2158" y="2931"/>
                    <a:pt x="2196" y="2917"/>
                    <a:pt x="2262" y="2885"/>
                  </a:cubicBezTo>
                  <a:cubicBezTo>
                    <a:pt x="2360" y="2836"/>
                    <a:pt x="2465" y="2801"/>
                    <a:pt x="2574" y="2784"/>
                  </a:cubicBezTo>
                  <a:cubicBezTo>
                    <a:pt x="2710" y="2756"/>
                    <a:pt x="2724" y="2752"/>
                    <a:pt x="2710" y="2626"/>
                  </a:cubicBezTo>
                  <a:cubicBezTo>
                    <a:pt x="2693" y="2503"/>
                    <a:pt x="2731" y="2381"/>
                    <a:pt x="2812" y="2286"/>
                  </a:cubicBezTo>
                  <a:cubicBezTo>
                    <a:pt x="2857" y="2230"/>
                    <a:pt x="2885" y="2192"/>
                    <a:pt x="2871" y="2111"/>
                  </a:cubicBezTo>
                  <a:cubicBezTo>
                    <a:pt x="2850" y="1964"/>
                    <a:pt x="2959" y="1919"/>
                    <a:pt x="3036" y="1887"/>
                  </a:cubicBezTo>
                  <a:cubicBezTo>
                    <a:pt x="3130" y="1849"/>
                    <a:pt x="3211" y="1817"/>
                    <a:pt x="3197" y="1621"/>
                  </a:cubicBezTo>
                  <a:cubicBezTo>
                    <a:pt x="3183" y="1523"/>
                    <a:pt x="3214" y="1425"/>
                    <a:pt x="3284" y="1352"/>
                  </a:cubicBezTo>
                  <a:cubicBezTo>
                    <a:pt x="3417" y="1211"/>
                    <a:pt x="3670" y="1193"/>
                    <a:pt x="3880" y="1193"/>
                  </a:cubicBezTo>
                  <a:cubicBezTo>
                    <a:pt x="3926" y="1193"/>
                    <a:pt x="3969" y="1194"/>
                    <a:pt x="4009" y="1194"/>
                  </a:cubicBezTo>
                  <a:lnTo>
                    <a:pt x="4135" y="1194"/>
                  </a:lnTo>
                  <a:lnTo>
                    <a:pt x="4156" y="1198"/>
                  </a:lnTo>
                  <a:lnTo>
                    <a:pt x="4167" y="1198"/>
                  </a:lnTo>
                  <a:lnTo>
                    <a:pt x="4184" y="1205"/>
                  </a:lnTo>
                  <a:lnTo>
                    <a:pt x="4198" y="1208"/>
                  </a:lnTo>
                  <a:lnTo>
                    <a:pt x="4219" y="1215"/>
                  </a:lnTo>
                  <a:lnTo>
                    <a:pt x="4233" y="1219"/>
                  </a:lnTo>
                  <a:lnTo>
                    <a:pt x="4254" y="1226"/>
                  </a:lnTo>
                  <a:lnTo>
                    <a:pt x="4272" y="1233"/>
                  </a:lnTo>
                  <a:lnTo>
                    <a:pt x="4289" y="1240"/>
                  </a:lnTo>
                  <a:lnTo>
                    <a:pt x="4310" y="1250"/>
                  </a:lnTo>
                  <a:lnTo>
                    <a:pt x="4331" y="1257"/>
                  </a:lnTo>
                  <a:lnTo>
                    <a:pt x="4352" y="1268"/>
                  </a:lnTo>
                  <a:lnTo>
                    <a:pt x="4363" y="1271"/>
                  </a:lnTo>
                  <a:lnTo>
                    <a:pt x="4380" y="1275"/>
                  </a:lnTo>
                  <a:cubicBezTo>
                    <a:pt x="4461" y="1236"/>
                    <a:pt x="4678" y="1128"/>
                    <a:pt x="4681" y="1079"/>
                  </a:cubicBezTo>
                  <a:cubicBezTo>
                    <a:pt x="4678" y="1075"/>
                    <a:pt x="4674" y="1072"/>
                    <a:pt x="4671" y="1068"/>
                  </a:cubicBezTo>
                  <a:cubicBezTo>
                    <a:pt x="4636" y="1044"/>
                    <a:pt x="4618" y="998"/>
                    <a:pt x="4632" y="960"/>
                  </a:cubicBezTo>
                  <a:cubicBezTo>
                    <a:pt x="4653" y="893"/>
                    <a:pt x="4734" y="886"/>
                    <a:pt x="4853" y="876"/>
                  </a:cubicBezTo>
                  <a:cubicBezTo>
                    <a:pt x="4958" y="865"/>
                    <a:pt x="5133" y="851"/>
                    <a:pt x="5154" y="788"/>
                  </a:cubicBezTo>
                  <a:cubicBezTo>
                    <a:pt x="5168" y="739"/>
                    <a:pt x="5154" y="690"/>
                    <a:pt x="5115" y="655"/>
                  </a:cubicBezTo>
                  <a:cubicBezTo>
                    <a:pt x="5054" y="588"/>
                    <a:pt x="4953" y="547"/>
                    <a:pt x="4887" y="547"/>
                  </a:cubicBezTo>
                  <a:cubicBezTo>
                    <a:pt x="4877" y="547"/>
                    <a:pt x="4868" y="548"/>
                    <a:pt x="4860" y="550"/>
                  </a:cubicBezTo>
                  <a:cubicBezTo>
                    <a:pt x="4820" y="559"/>
                    <a:pt x="4759" y="566"/>
                    <a:pt x="4691" y="566"/>
                  </a:cubicBezTo>
                  <a:cubicBezTo>
                    <a:pt x="4574" y="566"/>
                    <a:pt x="4437" y="546"/>
                    <a:pt x="4359" y="483"/>
                  </a:cubicBezTo>
                  <a:cubicBezTo>
                    <a:pt x="4317" y="452"/>
                    <a:pt x="4296" y="406"/>
                    <a:pt x="4296" y="357"/>
                  </a:cubicBezTo>
                  <a:cubicBezTo>
                    <a:pt x="4296" y="256"/>
                    <a:pt x="4027" y="0"/>
                    <a:pt x="38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6" name="Google Shape;5336;p53"/>
            <p:cNvSpPr/>
            <p:nvPr/>
          </p:nvSpPr>
          <p:spPr>
            <a:xfrm>
              <a:off x="2791942" y="2002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7" name="Google Shape;5337;p53"/>
            <p:cNvSpPr/>
            <p:nvPr/>
          </p:nvSpPr>
          <p:spPr>
            <a:xfrm>
              <a:off x="2790367" y="2002059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8" name="Google Shape;5338;p53"/>
            <p:cNvSpPr/>
            <p:nvPr/>
          </p:nvSpPr>
          <p:spPr>
            <a:xfrm>
              <a:off x="2792458" y="200215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9" name="Google Shape;5339;p53"/>
            <p:cNvSpPr/>
            <p:nvPr/>
          </p:nvSpPr>
          <p:spPr>
            <a:xfrm>
              <a:off x="2790843" y="2002113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0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0" name="Google Shape;5340;p53"/>
            <p:cNvSpPr/>
            <p:nvPr/>
          </p:nvSpPr>
          <p:spPr>
            <a:xfrm>
              <a:off x="2793463" y="2002059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1" name="Google Shape;5341;p53"/>
            <p:cNvSpPr/>
            <p:nvPr/>
          </p:nvSpPr>
          <p:spPr>
            <a:xfrm>
              <a:off x="2792947" y="2002113"/>
              <a:ext cx="380" cy="14"/>
            </a:xfrm>
            <a:custGeom>
              <a:avLst/>
              <a:gdLst/>
              <a:ahLst/>
              <a:cxnLst/>
              <a:rect l="l" t="t" r="r" b="b"/>
              <a:pathLst>
                <a:path w="28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2" name="Google Shape;5342;p53"/>
            <p:cNvSpPr/>
            <p:nvPr/>
          </p:nvSpPr>
          <p:spPr>
            <a:xfrm>
              <a:off x="2793938" y="2002018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3" name="Google Shape;5343;p53"/>
            <p:cNvSpPr/>
            <p:nvPr/>
          </p:nvSpPr>
          <p:spPr>
            <a:xfrm>
              <a:off x="2788657" y="2001448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0"/>
                  </a:moveTo>
                  <a:cubicBezTo>
                    <a:pt x="8" y="7"/>
                    <a:pt x="15" y="11"/>
                    <a:pt x="25" y="18"/>
                  </a:cubicBezTo>
                  <a:cubicBezTo>
                    <a:pt x="15" y="11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4" name="Google Shape;5344;p53"/>
            <p:cNvSpPr/>
            <p:nvPr/>
          </p:nvSpPr>
          <p:spPr>
            <a:xfrm>
              <a:off x="2783524" y="199654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1" y="1"/>
                  </a:moveTo>
                  <a:lnTo>
                    <a:pt x="29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5" name="Google Shape;5345;p53"/>
            <p:cNvSpPr/>
            <p:nvPr/>
          </p:nvSpPr>
          <p:spPr>
            <a:xfrm>
              <a:off x="2782343" y="1996506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0" y="0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6" name="Google Shape;5346;p53"/>
            <p:cNvSpPr/>
            <p:nvPr/>
          </p:nvSpPr>
          <p:spPr>
            <a:xfrm>
              <a:off x="2789471" y="200186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7" name="Google Shape;5347;p53"/>
            <p:cNvSpPr/>
            <p:nvPr/>
          </p:nvSpPr>
          <p:spPr>
            <a:xfrm>
              <a:off x="2789091" y="200173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8" name="Google Shape;5348;p53"/>
            <p:cNvSpPr/>
            <p:nvPr/>
          </p:nvSpPr>
          <p:spPr>
            <a:xfrm>
              <a:off x="2789892" y="200196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1"/>
                  </a:moveTo>
                  <a:lnTo>
                    <a:pt x="22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9" name="Google Shape;5349;p53"/>
            <p:cNvSpPr/>
            <p:nvPr/>
          </p:nvSpPr>
          <p:spPr>
            <a:xfrm>
              <a:off x="2794943" y="200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0" name="Google Shape;5350;p53"/>
            <p:cNvSpPr/>
            <p:nvPr/>
          </p:nvSpPr>
          <p:spPr>
            <a:xfrm>
              <a:off x="2796083" y="2000253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1" name="Google Shape;5351;p53"/>
            <p:cNvSpPr/>
            <p:nvPr/>
          </p:nvSpPr>
          <p:spPr>
            <a:xfrm>
              <a:off x="2791847" y="2002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2" name="Google Shape;5352;p53"/>
            <p:cNvSpPr/>
            <p:nvPr/>
          </p:nvSpPr>
          <p:spPr>
            <a:xfrm>
              <a:off x="2794563" y="2001923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3" name="Google Shape;5353;p53"/>
            <p:cNvSpPr/>
            <p:nvPr/>
          </p:nvSpPr>
          <p:spPr>
            <a:xfrm>
              <a:off x="2794794" y="2001923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4" name="Google Shape;5354;p53"/>
            <p:cNvSpPr/>
            <p:nvPr/>
          </p:nvSpPr>
          <p:spPr>
            <a:xfrm>
              <a:off x="2796124" y="2000022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11"/>
                  </a:moveTo>
                  <a:cubicBezTo>
                    <a:pt x="1" y="7"/>
                    <a:pt x="1" y="4"/>
                    <a:pt x="4" y="0"/>
                  </a:cubicBez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5" name="Google Shape;5355;p53"/>
            <p:cNvSpPr/>
            <p:nvPr/>
          </p:nvSpPr>
          <p:spPr>
            <a:xfrm>
              <a:off x="2796749" y="199916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6" name="Google Shape;5356;p53"/>
            <p:cNvSpPr/>
            <p:nvPr/>
          </p:nvSpPr>
          <p:spPr>
            <a:xfrm>
              <a:off x="2796559" y="1999208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7" name="Google Shape;5357;p53"/>
            <p:cNvSpPr/>
            <p:nvPr/>
          </p:nvSpPr>
          <p:spPr>
            <a:xfrm>
              <a:off x="2796178" y="1999737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4"/>
                  </a:moveTo>
                  <a:cubicBezTo>
                    <a:pt x="0" y="11"/>
                    <a:pt x="4" y="7"/>
                    <a:pt x="4" y="0"/>
                  </a:cubicBezTo>
                  <a:cubicBezTo>
                    <a:pt x="4" y="7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8" name="Google Shape;5358;p53"/>
            <p:cNvSpPr/>
            <p:nvPr/>
          </p:nvSpPr>
          <p:spPr>
            <a:xfrm>
              <a:off x="2796369" y="19993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cubicBezTo>
                    <a:pt x="4" y="4"/>
                    <a:pt x="7" y="1"/>
                    <a:pt x="11" y="1"/>
                  </a:cubicBezTo>
                  <a:cubicBezTo>
                    <a:pt x="7" y="1"/>
                    <a:pt x="4" y="4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9" name="Google Shape;5359;p53"/>
            <p:cNvSpPr/>
            <p:nvPr/>
          </p:nvSpPr>
          <p:spPr>
            <a:xfrm>
              <a:off x="2796274" y="199954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cubicBezTo>
                    <a:pt x="0" y="11"/>
                    <a:pt x="4" y="4"/>
                    <a:pt x="7" y="0"/>
                  </a:cubicBezTo>
                  <a:cubicBezTo>
                    <a:pt x="4" y="4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0" name="Google Shape;5360;p53"/>
            <p:cNvSpPr/>
            <p:nvPr/>
          </p:nvSpPr>
          <p:spPr>
            <a:xfrm>
              <a:off x="2794223" y="2001964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1" name="Google Shape;5361;p53"/>
            <p:cNvSpPr/>
            <p:nvPr/>
          </p:nvSpPr>
          <p:spPr>
            <a:xfrm>
              <a:off x="2887582" y="2010097"/>
              <a:ext cx="6572" cy="4100"/>
            </a:xfrm>
            <a:custGeom>
              <a:avLst/>
              <a:gdLst/>
              <a:ahLst/>
              <a:cxnLst/>
              <a:rect l="l" t="t" r="r" b="b"/>
              <a:pathLst>
                <a:path w="484" h="302" extrusionOk="0">
                  <a:moveTo>
                    <a:pt x="459" y="1"/>
                  </a:moveTo>
                  <a:lnTo>
                    <a:pt x="420" y="8"/>
                  </a:lnTo>
                  <a:cubicBezTo>
                    <a:pt x="378" y="18"/>
                    <a:pt x="336" y="32"/>
                    <a:pt x="301" y="57"/>
                  </a:cubicBezTo>
                  <a:cubicBezTo>
                    <a:pt x="305" y="95"/>
                    <a:pt x="287" y="134"/>
                    <a:pt x="252" y="155"/>
                  </a:cubicBezTo>
                  <a:cubicBezTo>
                    <a:pt x="234" y="166"/>
                    <a:pt x="214" y="170"/>
                    <a:pt x="193" y="170"/>
                  </a:cubicBezTo>
                  <a:cubicBezTo>
                    <a:pt x="140" y="170"/>
                    <a:pt x="77" y="142"/>
                    <a:pt x="7" y="109"/>
                  </a:cubicBezTo>
                  <a:lnTo>
                    <a:pt x="0" y="106"/>
                  </a:lnTo>
                  <a:lnTo>
                    <a:pt x="21" y="137"/>
                  </a:lnTo>
                  <a:lnTo>
                    <a:pt x="25" y="148"/>
                  </a:lnTo>
                  <a:lnTo>
                    <a:pt x="39" y="169"/>
                  </a:lnTo>
                  <a:lnTo>
                    <a:pt x="46" y="179"/>
                  </a:lnTo>
                  <a:lnTo>
                    <a:pt x="60" y="197"/>
                  </a:lnTo>
                  <a:lnTo>
                    <a:pt x="63" y="204"/>
                  </a:lnTo>
                  <a:lnTo>
                    <a:pt x="77" y="221"/>
                  </a:lnTo>
                  <a:lnTo>
                    <a:pt x="81" y="225"/>
                  </a:lnTo>
                  <a:lnTo>
                    <a:pt x="95" y="246"/>
                  </a:lnTo>
                  <a:lnTo>
                    <a:pt x="98" y="249"/>
                  </a:lnTo>
                  <a:lnTo>
                    <a:pt x="109" y="260"/>
                  </a:lnTo>
                  <a:lnTo>
                    <a:pt x="112" y="267"/>
                  </a:lnTo>
                  <a:lnTo>
                    <a:pt x="119" y="274"/>
                  </a:lnTo>
                  <a:lnTo>
                    <a:pt x="123" y="277"/>
                  </a:lnTo>
                  <a:lnTo>
                    <a:pt x="130" y="284"/>
                  </a:lnTo>
                  <a:lnTo>
                    <a:pt x="130" y="288"/>
                  </a:lnTo>
                  <a:lnTo>
                    <a:pt x="140" y="295"/>
                  </a:lnTo>
                  <a:lnTo>
                    <a:pt x="144" y="298"/>
                  </a:lnTo>
                  <a:lnTo>
                    <a:pt x="151" y="302"/>
                  </a:lnTo>
                  <a:lnTo>
                    <a:pt x="154" y="302"/>
                  </a:lnTo>
                  <a:cubicBezTo>
                    <a:pt x="214" y="302"/>
                    <a:pt x="273" y="277"/>
                    <a:pt x="319" y="235"/>
                  </a:cubicBezTo>
                  <a:cubicBezTo>
                    <a:pt x="364" y="193"/>
                    <a:pt x="424" y="169"/>
                    <a:pt x="483" y="169"/>
                  </a:cubicBezTo>
                  <a:cubicBezTo>
                    <a:pt x="483" y="162"/>
                    <a:pt x="483" y="155"/>
                    <a:pt x="483" y="148"/>
                  </a:cubicBezTo>
                  <a:lnTo>
                    <a:pt x="483" y="141"/>
                  </a:lnTo>
                  <a:cubicBezTo>
                    <a:pt x="483" y="134"/>
                    <a:pt x="480" y="123"/>
                    <a:pt x="480" y="116"/>
                  </a:cubicBezTo>
                  <a:lnTo>
                    <a:pt x="480" y="113"/>
                  </a:lnTo>
                  <a:cubicBezTo>
                    <a:pt x="480" y="102"/>
                    <a:pt x="476" y="95"/>
                    <a:pt x="473" y="85"/>
                  </a:cubicBezTo>
                  <a:lnTo>
                    <a:pt x="473" y="74"/>
                  </a:lnTo>
                  <a:lnTo>
                    <a:pt x="469" y="53"/>
                  </a:lnTo>
                  <a:lnTo>
                    <a:pt x="466" y="43"/>
                  </a:lnTo>
                  <a:lnTo>
                    <a:pt x="462" y="18"/>
                  </a:lnTo>
                  <a:lnTo>
                    <a:pt x="459" y="8"/>
                  </a:lnTo>
                  <a:lnTo>
                    <a:pt x="45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2" name="Google Shape;5362;p53"/>
            <p:cNvSpPr/>
            <p:nvPr/>
          </p:nvSpPr>
          <p:spPr>
            <a:xfrm>
              <a:off x="2888668" y="2013192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3" name="Google Shape;5363;p53"/>
            <p:cNvSpPr/>
            <p:nvPr/>
          </p:nvSpPr>
          <p:spPr>
            <a:xfrm>
              <a:off x="2888913" y="201347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4" name="Google Shape;5364;p53"/>
            <p:cNvSpPr/>
            <p:nvPr/>
          </p:nvSpPr>
          <p:spPr>
            <a:xfrm>
              <a:off x="2888438" y="2012907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5" name="Google Shape;5365;p53"/>
            <p:cNvSpPr/>
            <p:nvPr/>
          </p:nvSpPr>
          <p:spPr>
            <a:xfrm>
              <a:off x="2889049" y="2013708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6" name="Google Shape;5366;p53"/>
            <p:cNvSpPr/>
            <p:nvPr/>
          </p:nvSpPr>
          <p:spPr>
            <a:xfrm>
              <a:off x="2887582" y="2011577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0"/>
                  </a:moveTo>
                  <a:lnTo>
                    <a:pt x="2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7" name="Google Shape;5367;p53"/>
            <p:cNvSpPr/>
            <p:nvPr/>
          </p:nvSpPr>
          <p:spPr>
            <a:xfrm>
              <a:off x="2888247" y="201256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8" name="Google Shape;5368;p53"/>
            <p:cNvSpPr/>
            <p:nvPr/>
          </p:nvSpPr>
          <p:spPr>
            <a:xfrm>
              <a:off x="2889239" y="201389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9" name="Google Shape;5369;p53"/>
            <p:cNvSpPr/>
            <p:nvPr/>
          </p:nvSpPr>
          <p:spPr>
            <a:xfrm>
              <a:off x="2887908" y="2012093"/>
              <a:ext cx="204" cy="353"/>
            </a:xfrm>
            <a:custGeom>
              <a:avLst/>
              <a:gdLst/>
              <a:ahLst/>
              <a:cxnLst/>
              <a:rect l="l" t="t" r="r" b="b"/>
              <a:pathLst>
                <a:path w="15" h="26" extrusionOk="0">
                  <a:moveTo>
                    <a:pt x="15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0" name="Google Shape;5370;p53"/>
            <p:cNvSpPr/>
            <p:nvPr/>
          </p:nvSpPr>
          <p:spPr>
            <a:xfrm>
              <a:off x="2889334" y="201404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1" name="Google Shape;5371;p53"/>
            <p:cNvSpPr/>
            <p:nvPr/>
          </p:nvSpPr>
          <p:spPr>
            <a:xfrm>
              <a:off x="2893801" y="201024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0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2" name="Google Shape;5372;p53"/>
            <p:cNvSpPr/>
            <p:nvPr/>
          </p:nvSpPr>
          <p:spPr>
            <a:xfrm>
              <a:off x="2889483" y="201414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3" name="Google Shape;5373;p53"/>
            <p:cNvSpPr/>
            <p:nvPr/>
          </p:nvSpPr>
          <p:spPr>
            <a:xfrm>
              <a:off x="2889578" y="201423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4" name="Google Shape;5374;p53"/>
            <p:cNvSpPr/>
            <p:nvPr/>
          </p:nvSpPr>
          <p:spPr>
            <a:xfrm>
              <a:off x="2889619" y="2014279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5" name="Google Shape;5375;p53"/>
            <p:cNvSpPr/>
            <p:nvPr/>
          </p:nvSpPr>
          <p:spPr>
            <a:xfrm>
              <a:off x="2894181" y="2012188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11"/>
                    <a:pt x="1" y="18"/>
                    <a:pt x="4" y="25"/>
                  </a:cubicBezTo>
                  <a:cubicBezTo>
                    <a:pt x="1" y="18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6" name="Google Shape;5376;p53"/>
            <p:cNvSpPr/>
            <p:nvPr/>
          </p:nvSpPr>
          <p:spPr>
            <a:xfrm>
              <a:off x="2893950" y="2010952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lnTo>
                    <a:pt x="4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7" name="Google Shape;5377;p53"/>
            <p:cNvSpPr/>
            <p:nvPr/>
          </p:nvSpPr>
          <p:spPr>
            <a:xfrm>
              <a:off x="2894045" y="2011387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0"/>
                  </a:moveTo>
                  <a:cubicBezTo>
                    <a:pt x="0" y="3"/>
                    <a:pt x="1" y="6"/>
                    <a:pt x="2" y="10"/>
                  </a:cubicBezTo>
                  <a:lnTo>
                    <a:pt x="2" y="10"/>
                  </a:lnTo>
                  <a:lnTo>
                    <a:pt x="0" y="0"/>
                  </a:lnTo>
                  <a:close/>
                  <a:moveTo>
                    <a:pt x="2" y="10"/>
                  </a:moveTo>
                  <a:lnTo>
                    <a:pt x="4" y="28"/>
                  </a:lnTo>
                  <a:cubicBezTo>
                    <a:pt x="4" y="22"/>
                    <a:pt x="3" y="16"/>
                    <a:pt x="2" y="1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8" name="Google Shape;5378;p53"/>
            <p:cNvSpPr/>
            <p:nvPr/>
          </p:nvSpPr>
          <p:spPr>
            <a:xfrm>
              <a:off x="2894140" y="201180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1"/>
                  </a:moveTo>
                  <a:cubicBezTo>
                    <a:pt x="0" y="8"/>
                    <a:pt x="0" y="15"/>
                    <a:pt x="4" y="25"/>
                  </a:cubicBez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9" name="Google Shape;5379;p53"/>
            <p:cNvSpPr/>
            <p:nvPr/>
          </p:nvSpPr>
          <p:spPr>
            <a:xfrm>
              <a:off x="2889714" y="20143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0" name="Google Shape;5380;p53"/>
            <p:cNvSpPr/>
            <p:nvPr/>
          </p:nvSpPr>
          <p:spPr>
            <a:xfrm>
              <a:off x="2893855" y="2010477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1"/>
                  </a:moveTo>
                  <a:lnTo>
                    <a:pt x="4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1" name="Google Shape;5381;p53"/>
            <p:cNvSpPr/>
            <p:nvPr/>
          </p:nvSpPr>
          <p:spPr>
            <a:xfrm>
              <a:off x="2333674" y="1750386"/>
              <a:ext cx="69992" cy="68689"/>
            </a:xfrm>
            <a:custGeom>
              <a:avLst/>
              <a:gdLst/>
              <a:ahLst/>
              <a:cxnLst/>
              <a:rect l="l" t="t" r="r" b="b"/>
              <a:pathLst>
                <a:path w="5155" h="5059" extrusionOk="0">
                  <a:moveTo>
                    <a:pt x="2194" y="1"/>
                  </a:moveTo>
                  <a:cubicBezTo>
                    <a:pt x="2179" y="1"/>
                    <a:pt x="2163" y="2"/>
                    <a:pt x="2147" y="4"/>
                  </a:cubicBezTo>
                  <a:cubicBezTo>
                    <a:pt x="2087" y="4"/>
                    <a:pt x="2035" y="39"/>
                    <a:pt x="2010" y="91"/>
                  </a:cubicBezTo>
                  <a:lnTo>
                    <a:pt x="2052" y="102"/>
                  </a:lnTo>
                  <a:lnTo>
                    <a:pt x="1615" y="424"/>
                  </a:lnTo>
                  <a:lnTo>
                    <a:pt x="1604" y="427"/>
                  </a:lnTo>
                  <a:cubicBezTo>
                    <a:pt x="1534" y="448"/>
                    <a:pt x="1345" y="529"/>
                    <a:pt x="1303" y="648"/>
                  </a:cubicBezTo>
                  <a:cubicBezTo>
                    <a:pt x="1279" y="711"/>
                    <a:pt x="1303" y="777"/>
                    <a:pt x="1331" y="851"/>
                  </a:cubicBezTo>
                  <a:cubicBezTo>
                    <a:pt x="1366" y="938"/>
                    <a:pt x="1401" y="1036"/>
                    <a:pt x="1335" y="1117"/>
                  </a:cubicBezTo>
                  <a:cubicBezTo>
                    <a:pt x="1268" y="1201"/>
                    <a:pt x="1282" y="1400"/>
                    <a:pt x="1303" y="1491"/>
                  </a:cubicBezTo>
                  <a:cubicBezTo>
                    <a:pt x="1331" y="1596"/>
                    <a:pt x="1216" y="1789"/>
                    <a:pt x="1167" y="1869"/>
                  </a:cubicBezTo>
                  <a:lnTo>
                    <a:pt x="1156" y="1883"/>
                  </a:lnTo>
                  <a:lnTo>
                    <a:pt x="1142" y="1890"/>
                  </a:lnTo>
                  <a:lnTo>
                    <a:pt x="1139" y="1890"/>
                  </a:lnTo>
                  <a:cubicBezTo>
                    <a:pt x="974" y="1978"/>
                    <a:pt x="456" y="2255"/>
                    <a:pt x="1" y="2489"/>
                  </a:cubicBezTo>
                  <a:cubicBezTo>
                    <a:pt x="4" y="2510"/>
                    <a:pt x="4" y="2535"/>
                    <a:pt x="8" y="2549"/>
                  </a:cubicBezTo>
                  <a:lnTo>
                    <a:pt x="8" y="2552"/>
                  </a:lnTo>
                  <a:cubicBezTo>
                    <a:pt x="11" y="2573"/>
                    <a:pt x="15" y="2591"/>
                    <a:pt x="15" y="2605"/>
                  </a:cubicBezTo>
                  <a:lnTo>
                    <a:pt x="15" y="2612"/>
                  </a:lnTo>
                  <a:cubicBezTo>
                    <a:pt x="18" y="2629"/>
                    <a:pt x="22" y="2643"/>
                    <a:pt x="25" y="2657"/>
                  </a:cubicBezTo>
                  <a:lnTo>
                    <a:pt x="25" y="2661"/>
                  </a:lnTo>
                  <a:cubicBezTo>
                    <a:pt x="29" y="2675"/>
                    <a:pt x="32" y="2689"/>
                    <a:pt x="36" y="2699"/>
                  </a:cubicBezTo>
                  <a:cubicBezTo>
                    <a:pt x="39" y="2713"/>
                    <a:pt x="43" y="2727"/>
                    <a:pt x="46" y="2745"/>
                  </a:cubicBezTo>
                  <a:lnTo>
                    <a:pt x="46" y="2748"/>
                  </a:lnTo>
                  <a:lnTo>
                    <a:pt x="60" y="2797"/>
                  </a:lnTo>
                  <a:lnTo>
                    <a:pt x="74" y="2857"/>
                  </a:lnTo>
                  <a:cubicBezTo>
                    <a:pt x="99" y="2958"/>
                    <a:pt x="127" y="3081"/>
                    <a:pt x="151" y="3186"/>
                  </a:cubicBezTo>
                  <a:cubicBezTo>
                    <a:pt x="193" y="3186"/>
                    <a:pt x="232" y="3182"/>
                    <a:pt x="263" y="3182"/>
                  </a:cubicBezTo>
                  <a:lnTo>
                    <a:pt x="368" y="3182"/>
                  </a:lnTo>
                  <a:cubicBezTo>
                    <a:pt x="417" y="3182"/>
                    <a:pt x="466" y="3182"/>
                    <a:pt x="515" y="3189"/>
                  </a:cubicBezTo>
                  <a:lnTo>
                    <a:pt x="529" y="3189"/>
                  </a:lnTo>
                  <a:cubicBezTo>
                    <a:pt x="575" y="3196"/>
                    <a:pt x="617" y="3210"/>
                    <a:pt x="659" y="3231"/>
                  </a:cubicBezTo>
                  <a:lnTo>
                    <a:pt x="687" y="3242"/>
                  </a:lnTo>
                  <a:lnTo>
                    <a:pt x="701" y="3249"/>
                  </a:lnTo>
                  <a:lnTo>
                    <a:pt x="705" y="3252"/>
                  </a:lnTo>
                  <a:cubicBezTo>
                    <a:pt x="726" y="3263"/>
                    <a:pt x="747" y="3273"/>
                    <a:pt x="768" y="3284"/>
                  </a:cubicBezTo>
                  <a:cubicBezTo>
                    <a:pt x="855" y="3329"/>
                    <a:pt x="953" y="3392"/>
                    <a:pt x="1065" y="3459"/>
                  </a:cubicBezTo>
                  <a:cubicBezTo>
                    <a:pt x="1125" y="3497"/>
                    <a:pt x="1191" y="3539"/>
                    <a:pt x="1258" y="3585"/>
                  </a:cubicBezTo>
                  <a:lnTo>
                    <a:pt x="1324" y="3627"/>
                  </a:lnTo>
                  <a:cubicBezTo>
                    <a:pt x="1461" y="3714"/>
                    <a:pt x="1576" y="3791"/>
                    <a:pt x="1632" y="3819"/>
                  </a:cubicBezTo>
                  <a:cubicBezTo>
                    <a:pt x="1706" y="3861"/>
                    <a:pt x="1776" y="3907"/>
                    <a:pt x="1846" y="3956"/>
                  </a:cubicBezTo>
                  <a:lnTo>
                    <a:pt x="1933" y="4019"/>
                  </a:lnTo>
                  <a:lnTo>
                    <a:pt x="2028" y="4089"/>
                  </a:lnTo>
                  <a:cubicBezTo>
                    <a:pt x="2378" y="4338"/>
                    <a:pt x="2833" y="4688"/>
                    <a:pt x="2963" y="4800"/>
                  </a:cubicBezTo>
                  <a:cubicBezTo>
                    <a:pt x="3092" y="4915"/>
                    <a:pt x="3278" y="4968"/>
                    <a:pt x="3414" y="4989"/>
                  </a:cubicBezTo>
                  <a:cubicBezTo>
                    <a:pt x="3467" y="4996"/>
                    <a:pt x="3516" y="4999"/>
                    <a:pt x="3565" y="4999"/>
                  </a:cubicBezTo>
                  <a:lnTo>
                    <a:pt x="3582" y="4999"/>
                  </a:lnTo>
                  <a:cubicBezTo>
                    <a:pt x="3635" y="4999"/>
                    <a:pt x="3743" y="5013"/>
                    <a:pt x="3908" y="5031"/>
                  </a:cubicBezTo>
                  <a:lnTo>
                    <a:pt x="4160" y="5059"/>
                  </a:lnTo>
                  <a:lnTo>
                    <a:pt x="4167" y="5034"/>
                  </a:lnTo>
                  <a:lnTo>
                    <a:pt x="4174" y="5020"/>
                  </a:lnTo>
                  <a:lnTo>
                    <a:pt x="4198" y="4968"/>
                  </a:lnTo>
                  <a:lnTo>
                    <a:pt x="4205" y="4950"/>
                  </a:lnTo>
                  <a:lnTo>
                    <a:pt x="4223" y="4905"/>
                  </a:lnTo>
                  <a:lnTo>
                    <a:pt x="4230" y="4887"/>
                  </a:lnTo>
                  <a:lnTo>
                    <a:pt x="4247" y="4852"/>
                  </a:lnTo>
                  <a:lnTo>
                    <a:pt x="4254" y="4835"/>
                  </a:lnTo>
                  <a:lnTo>
                    <a:pt x="4268" y="4807"/>
                  </a:lnTo>
                  <a:lnTo>
                    <a:pt x="4275" y="4789"/>
                  </a:lnTo>
                  <a:lnTo>
                    <a:pt x="4286" y="4768"/>
                  </a:lnTo>
                  <a:lnTo>
                    <a:pt x="4293" y="4751"/>
                  </a:lnTo>
                  <a:lnTo>
                    <a:pt x="4303" y="4733"/>
                  </a:lnTo>
                  <a:lnTo>
                    <a:pt x="4310" y="4719"/>
                  </a:lnTo>
                  <a:lnTo>
                    <a:pt x="4317" y="4705"/>
                  </a:lnTo>
                  <a:lnTo>
                    <a:pt x="4324" y="4691"/>
                  </a:lnTo>
                  <a:lnTo>
                    <a:pt x="4328" y="4681"/>
                  </a:lnTo>
                  <a:lnTo>
                    <a:pt x="4335" y="4670"/>
                  </a:lnTo>
                  <a:lnTo>
                    <a:pt x="4342" y="4660"/>
                  </a:lnTo>
                  <a:lnTo>
                    <a:pt x="4345" y="4649"/>
                  </a:lnTo>
                  <a:lnTo>
                    <a:pt x="4349" y="4642"/>
                  </a:lnTo>
                  <a:lnTo>
                    <a:pt x="4356" y="4635"/>
                  </a:lnTo>
                  <a:lnTo>
                    <a:pt x="4359" y="4632"/>
                  </a:lnTo>
                  <a:lnTo>
                    <a:pt x="4363" y="4625"/>
                  </a:lnTo>
                  <a:lnTo>
                    <a:pt x="4363" y="4621"/>
                  </a:lnTo>
                  <a:lnTo>
                    <a:pt x="4366" y="4614"/>
                  </a:lnTo>
                  <a:lnTo>
                    <a:pt x="4370" y="4611"/>
                  </a:lnTo>
                  <a:lnTo>
                    <a:pt x="4373" y="4607"/>
                  </a:lnTo>
                  <a:lnTo>
                    <a:pt x="4377" y="4604"/>
                  </a:lnTo>
                  <a:cubicBezTo>
                    <a:pt x="4391" y="4586"/>
                    <a:pt x="4405" y="4569"/>
                    <a:pt x="4419" y="4548"/>
                  </a:cubicBezTo>
                  <a:cubicBezTo>
                    <a:pt x="4468" y="4457"/>
                    <a:pt x="4559" y="4394"/>
                    <a:pt x="4664" y="4383"/>
                  </a:cubicBezTo>
                  <a:cubicBezTo>
                    <a:pt x="4681" y="4380"/>
                    <a:pt x="4700" y="4378"/>
                    <a:pt x="4718" y="4378"/>
                  </a:cubicBezTo>
                  <a:cubicBezTo>
                    <a:pt x="4737" y="4378"/>
                    <a:pt x="4755" y="4380"/>
                    <a:pt x="4773" y="4383"/>
                  </a:cubicBezTo>
                  <a:lnTo>
                    <a:pt x="4797" y="4390"/>
                  </a:lnTo>
                  <a:lnTo>
                    <a:pt x="4818" y="4397"/>
                  </a:lnTo>
                  <a:lnTo>
                    <a:pt x="4822" y="4397"/>
                  </a:lnTo>
                  <a:lnTo>
                    <a:pt x="4843" y="4408"/>
                  </a:lnTo>
                  <a:lnTo>
                    <a:pt x="4846" y="4408"/>
                  </a:lnTo>
                  <a:lnTo>
                    <a:pt x="4864" y="4418"/>
                  </a:lnTo>
                  <a:lnTo>
                    <a:pt x="4867" y="4422"/>
                  </a:lnTo>
                  <a:lnTo>
                    <a:pt x="4888" y="4432"/>
                  </a:lnTo>
                  <a:lnTo>
                    <a:pt x="4892" y="4436"/>
                  </a:lnTo>
                  <a:lnTo>
                    <a:pt x="4909" y="4450"/>
                  </a:lnTo>
                  <a:lnTo>
                    <a:pt x="4916" y="4453"/>
                  </a:lnTo>
                  <a:lnTo>
                    <a:pt x="4930" y="4464"/>
                  </a:lnTo>
                  <a:lnTo>
                    <a:pt x="4937" y="4471"/>
                  </a:lnTo>
                  <a:lnTo>
                    <a:pt x="4955" y="4485"/>
                  </a:lnTo>
                  <a:lnTo>
                    <a:pt x="4962" y="4492"/>
                  </a:lnTo>
                  <a:lnTo>
                    <a:pt x="4976" y="4502"/>
                  </a:lnTo>
                  <a:lnTo>
                    <a:pt x="4986" y="4513"/>
                  </a:lnTo>
                  <a:lnTo>
                    <a:pt x="4997" y="4523"/>
                  </a:lnTo>
                  <a:lnTo>
                    <a:pt x="5011" y="4534"/>
                  </a:lnTo>
                  <a:lnTo>
                    <a:pt x="5021" y="4544"/>
                  </a:lnTo>
                  <a:lnTo>
                    <a:pt x="5035" y="4558"/>
                  </a:lnTo>
                  <a:cubicBezTo>
                    <a:pt x="5074" y="4530"/>
                    <a:pt x="5112" y="4509"/>
                    <a:pt x="5154" y="4488"/>
                  </a:cubicBezTo>
                  <a:lnTo>
                    <a:pt x="5144" y="4478"/>
                  </a:lnTo>
                  <a:lnTo>
                    <a:pt x="5130" y="4464"/>
                  </a:lnTo>
                  <a:lnTo>
                    <a:pt x="5112" y="4446"/>
                  </a:lnTo>
                  <a:lnTo>
                    <a:pt x="5098" y="4429"/>
                  </a:lnTo>
                  <a:lnTo>
                    <a:pt x="5081" y="4411"/>
                  </a:lnTo>
                  <a:lnTo>
                    <a:pt x="5070" y="4397"/>
                  </a:lnTo>
                  <a:lnTo>
                    <a:pt x="5049" y="4376"/>
                  </a:lnTo>
                  <a:lnTo>
                    <a:pt x="5035" y="4359"/>
                  </a:lnTo>
                  <a:lnTo>
                    <a:pt x="5018" y="4338"/>
                  </a:lnTo>
                  <a:lnTo>
                    <a:pt x="5007" y="4327"/>
                  </a:lnTo>
                  <a:lnTo>
                    <a:pt x="4997" y="4310"/>
                  </a:lnTo>
                  <a:lnTo>
                    <a:pt x="4986" y="4299"/>
                  </a:lnTo>
                  <a:lnTo>
                    <a:pt x="4976" y="4282"/>
                  </a:lnTo>
                  <a:lnTo>
                    <a:pt x="4965" y="4271"/>
                  </a:lnTo>
                  <a:lnTo>
                    <a:pt x="4958" y="4257"/>
                  </a:lnTo>
                  <a:lnTo>
                    <a:pt x="4948" y="4243"/>
                  </a:lnTo>
                  <a:lnTo>
                    <a:pt x="4941" y="4229"/>
                  </a:lnTo>
                  <a:lnTo>
                    <a:pt x="4934" y="4219"/>
                  </a:lnTo>
                  <a:lnTo>
                    <a:pt x="4927" y="4205"/>
                  </a:lnTo>
                  <a:lnTo>
                    <a:pt x="4920" y="4194"/>
                  </a:lnTo>
                  <a:lnTo>
                    <a:pt x="4916" y="4180"/>
                  </a:lnTo>
                  <a:lnTo>
                    <a:pt x="4913" y="4170"/>
                  </a:lnTo>
                  <a:cubicBezTo>
                    <a:pt x="4913" y="4166"/>
                    <a:pt x="4909" y="4163"/>
                    <a:pt x="4906" y="4156"/>
                  </a:cubicBezTo>
                  <a:lnTo>
                    <a:pt x="4902" y="4145"/>
                  </a:lnTo>
                  <a:cubicBezTo>
                    <a:pt x="4902" y="4142"/>
                    <a:pt x="4902" y="4138"/>
                    <a:pt x="4902" y="4131"/>
                  </a:cubicBezTo>
                  <a:cubicBezTo>
                    <a:pt x="4899" y="4127"/>
                    <a:pt x="4902" y="4127"/>
                    <a:pt x="4902" y="4124"/>
                  </a:cubicBezTo>
                  <a:lnTo>
                    <a:pt x="4902" y="4110"/>
                  </a:lnTo>
                  <a:lnTo>
                    <a:pt x="4902" y="4099"/>
                  </a:lnTo>
                  <a:cubicBezTo>
                    <a:pt x="4899" y="4092"/>
                    <a:pt x="4899" y="4085"/>
                    <a:pt x="4902" y="4078"/>
                  </a:cubicBezTo>
                  <a:cubicBezTo>
                    <a:pt x="4909" y="4005"/>
                    <a:pt x="4860" y="3949"/>
                    <a:pt x="4804" y="3889"/>
                  </a:cubicBezTo>
                  <a:cubicBezTo>
                    <a:pt x="4759" y="3847"/>
                    <a:pt x="4723" y="3791"/>
                    <a:pt x="4706" y="3732"/>
                  </a:cubicBezTo>
                  <a:cubicBezTo>
                    <a:pt x="4702" y="3665"/>
                    <a:pt x="4713" y="3599"/>
                    <a:pt x="4745" y="3536"/>
                  </a:cubicBezTo>
                  <a:cubicBezTo>
                    <a:pt x="4766" y="3483"/>
                    <a:pt x="4787" y="3420"/>
                    <a:pt x="4769" y="3399"/>
                  </a:cubicBezTo>
                  <a:cubicBezTo>
                    <a:pt x="4730" y="3354"/>
                    <a:pt x="4699" y="3305"/>
                    <a:pt x="4678" y="3249"/>
                  </a:cubicBezTo>
                  <a:cubicBezTo>
                    <a:pt x="4632" y="3161"/>
                    <a:pt x="4604" y="3102"/>
                    <a:pt x="4545" y="3095"/>
                  </a:cubicBezTo>
                  <a:cubicBezTo>
                    <a:pt x="4457" y="3081"/>
                    <a:pt x="4293" y="3011"/>
                    <a:pt x="4153" y="2927"/>
                  </a:cubicBezTo>
                  <a:cubicBezTo>
                    <a:pt x="3960" y="2815"/>
                    <a:pt x="3869" y="2706"/>
                    <a:pt x="3883" y="2608"/>
                  </a:cubicBezTo>
                  <a:cubicBezTo>
                    <a:pt x="3894" y="2535"/>
                    <a:pt x="3813" y="2451"/>
                    <a:pt x="3659" y="2374"/>
                  </a:cubicBezTo>
                  <a:cubicBezTo>
                    <a:pt x="3565" y="2328"/>
                    <a:pt x="3516" y="2118"/>
                    <a:pt x="3509" y="1988"/>
                  </a:cubicBezTo>
                  <a:cubicBezTo>
                    <a:pt x="3505" y="1873"/>
                    <a:pt x="3533" y="1799"/>
                    <a:pt x="3593" y="1764"/>
                  </a:cubicBezTo>
                  <a:cubicBezTo>
                    <a:pt x="3600" y="1757"/>
                    <a:pt x="3607" y="1747"/>
                    <a:pt x="3610" y="1736"/>
                  </a:cubicBezTo>
                  <a:cubicBezTo>
                    <a:pt x="3628" y="1691"/>
                    <a:pt x="3642" y="1638"/>
                    <a:pt x="3652" y="1589"/>
                  </a:cubicBezTo>
                  <a:cubicBezTo>
                    <a:pt x="3677" y="1495"/>
                    <a:pt x="3701" y="1393"/>
                    <a:pt x="3764" y="1344"/>
                  </a:cubicBezTo>
                  <a:cubicBezTo>
                    <a:pt x="3783" y="1332"/>
                    <a:pt x="3806" y="1323"/>
                    <a:pt x="3830" y="1323"/>
                  </a:cubicBezTo>
                  <a:cubicBezTo>
                    <a:pt x="3834" y="1323"/>
                    <a:pt x="3838" y="1323"/>
                    <a:pt x="3841" y="1323"/>
                  </a:cubicBezTo>
                  <a:cubicBezTo>
                    <a:pt x="3841" y="1295"/>
                    <a:pt x="3838" y="1267"/>
                    <a:pt x="3834" y="1239"/>
                  </a:cubicBezTo>
                  <a:cubicBezTo>
                    <a:pt x="3824" y="1176"/>
                    <a:pt x="3824" y="1106"/>
                    <a:pt x="3841" y="1043"/>
                  </a:cubicBezTo>
                  <a:cubicBezTo>
                    <a:pt x="3848" y="1026"/>
                    <a:pt x="3848" y="1008"/>
                    <a:pt x="3838" y="991"/>
                  </a:cubicBezTo>
                  <a:cubicBezTo>
                    <a:pt x="3799" y="955"/>
                    <a:pt x="3751" y="934"/>
                    <a:pt x="3699" y="934"/>
                  </a:cubicBezTo>
                  <a:cubicBezTo>
                    <a:pt x="3695" y="934"/>
                    <a:pt x="3691" y="934"/>
                    <a:pt x="3687" y="935"/>
                  </a:cubicBezTo>
                  <a:cubicBezTo>
                    <a:pt x="3540" y="935"/>
                    <a:pt x="3320" y="728"/>
                    <a:pt x="3320" y="546"/>
                  </a:cubicBezTo>
                  <a:cubicBezTo>
                    <a:pt x="3320" y="480"/>
                    <a:pt x="3260" y="385"/>
                    <a:pt x="3211" y="308"/>
                  </a:cubicBezTo>
                  <a:lnTo>
                    <a:pt x="3183" y="263"/>
                  </a:lnTo>
                  <a:lnTo>
                    <a:pt x="3180" y="256"/>
                  </a:lnTo>
                  <a:lnTo>
                    <a:pt x="3183" y="273"/>
                  </a:lnTo>
                  <a:cubicBezTo>
                    <a:pt x="3162" y="283"/>
                    <a:pt x="3139" y="288"/>
                    <a:pt x="3115" y="288"/>
                  </a:cubicBezTo>
                  <a:cubicBezTo>
                    <a:pt x="3034" y="288"/>
                    <a:pt x="2941" y="235"/>
                    <a:pt x="2844" y="179"/>
                  </a:cubicBezTo>
                  <a:cubicBezTo>
                    <a:pt x="2787" y="146"/>
                    <a:pt x="2694" y="94"/>
                    <a:pt x="2660" y="94"/>
                  </a:cubicBezTo>
                  <a:cubicBezTo>
                    <a:pt x="2658" y="94"/>
                    <a:pt x="2656" y="94"/>
                    <a:pt x="2654" y="95"/>
                  </a:cubicBezTo>
                  <a:cubicBezTo>
                    <a:pt x="2627" y="108"/>
                    <a:pt x="2600" y="113"/>
                    <a:pt x="2574" y="113"/>
                  </a:cubicBezTo>
                  <a:cubicBezTo>
                    <a:pt x="2516" y="113"/>
                    <a:pt x="2461" y="87"/>
                    <a:pt x="2413" y="63"/>
                  </a:cubicBezTo>
                  <a:cubicBezTo>
                    <a:pt x="2346" y="22"/>
                    <a:pt x="2272" y="1"/>
                    <a:pt x="219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2" name="Google Shape;5382;p53"/>
            <p:cNvSpPr/>
            <p:nvPr/>
          </p:nvSpPr>
          <p:spPr>
            <a:xfrm>
              <a:off x="2360965" y="1751568"/>
              <a:ext cx="584" cy="204"/>
            </a:xfrm>
            <a:custGeom>
              <a:avLst/>
              <a:gdLst/>
              <a:ahLst/>
              <a:cxnLst/>
              <a:rect l="l" t="t" r="r" b="b"/>
              <a:pathLst>
                <a:path w="43" h="15" extrusionOk="0">
                  <a:moveTo>
                    <a:pt x="0" y="1"/>
                  </a:moveTo>
                  <a:lnTo>
                    <a:pt x="42" y="15"/>
                  </a:lnTo>
                  <a:lnTo>
                    <a:pt x="42" y="15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3" name="Google Shape;5383;p53"/>
            <p:cNvSpPr/>
            <p:nvPr/>
          </p:nvSpPr>
          <p:spPr>
            <a:xfrm>
              <a:off x="2333674" y="1776048"/>
              <a:ext cx="15465" cy="8147"/>
            </a:xfrm>
            <a:custGeom>
              <a:avLst/>
              <a:gdLst/>
              <a:ahLst/>
              <a:cxnLst/>
              <a:rect l="l" t="t" r="r" b="b"/>
              <a:pathLst>
                <a:path w="1139" h="600" extrusionOk="0">
                  <a:moveTo>
                    <a:pt x="1139" y="0"/>
                  </a:moveTo>
                  <a:cubicBezTo>
                    <a:pt x="1086" y="28"/>
                    <a:pt x="501" y="340"/>
                    <a:pt x="1" y="599"/>
                  </a:cubicBezTo>
                  <a:cubicBezTo>
                    <a:pt x="452" y="368"/>
                    <a:pt x="971" y="91"/>
                    <a:pt x="11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4" name="Google Shape;5384;p53"/>
            <p:cNvSpPr/>
            <p:nvPr/>
          </p:nvSpPr>
          <p:spPr>
            <a:xfrm>
              <a:off x="2333674" y="17841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5" name="Google Shape;5385;p53"/>
            <p:cNvSpPr/>
            <p:nvPr/>
          </p:nvSpPr>
          <p:spPr>
            <a:xfrm>
              <a:off x="2334720" y="1789218"/>
              <a:ext cx="1059" cy="4481"/>
            </a:xfrm>
            <a:custGeom>
              <a:avLst/>
              <a:gdLst/>
              <a:ahLst/>
              <a:cxnLst/>
              <a:rect l="l" t="t" r="r" b="b"/>
              <a:pathLst>
                <a:path w="78" h="330" extrusionOk="0">
                  <a:moveTo>
                    <a:pt x="78" y="329"/>
                  </a:moveTo>
                  <a:cubicBezTo>
                    <a:pt x="53" y="224"/>
                    <a:pt x="25" y="105"/>
                    <a:pt x="1" y="0"/>
                  </a:cubicBezTo>
                  <a:cubicBezTo>
                    <a:pt x="25" y="105"/>
                    <a:pt x="53" y="224"/>
                    <a:pt x="78" y="3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6" name="Google Shape;5386;p53"/>
            <p:cNvSpPr/>
            <p:nvPr/>
          </p:nvSpPr>
          <p:spPr>
            <a:xfrm>
              <a:off x="2334530" y="1788403"/>
              <a:ext cx="204" cy="828"/>
            </a:xfrm>
            <a:custGeom>
              <a:avLst/>
              <a:gdLst/>
              <a:ahLst/>
              <a:cxnLst/>
              <a:rect l="l" t="t" r="r" b="b"/>
              <a:pathLst>
                <a:path w="15" h="61" extrusionOk="0">
                  <a:moveTo>
                    <a:pt x="1" y="1"/>
                  </a:moveTo>
                  <a:lnTo>
                    <a:pt x="15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7" name="Google Shape;5387;p53"/>
            <p:cNvSpPr/>
            <p:nvPr/>
          </p:nvSpPr>
          <p:spPr>
            <a:xfrm>
              <a:off x="2334340" y="1787697"/>
              <a:ext cx="204" cy="720"/>
            </a:xfrm>
            <a:custGeom>
              <a:avLst/>
              <a:gdLst/>
              <a:ahLst/>
              <a:cxnLst/>
              <a:rect l="l" t="t" r="r" b="b"/>
              <a:pathLst>
                <a:path w="15" h="53" extrusionOk="0">
                  <a:moveTo>
                    <a:pt x="1" y="0"/>
                  </a:moveTo>
                  <a:lnTo>
                    <a:pt x="15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8" name="Google Shape;5388;p53"/>
            <p:cNvSpPr/>
            <p:nvPr/>
          </p:nvSpPr>
          <p:spPr>
            <a:xfrm>
              <a:off x="2333770" y="17850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9" name="Google Shape;5389;p53"/>
            <p:cNvSpPr/>
            <p:nvPr/>
          </p:nvSpPr>
          <p:spPr>
            <a:xfrm>
              <a:off x="2334150" y="1787073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1" y="1"/>
                  </a:moveTo>
                  <a:cubicBezTo>
                    <a:pt x="4" y="11"/>
                    <a:pt x="8" y="29"/>
                    <a:pt x="15" y="43"/>
                  </a:cubicBezTo>
                  <a:cubicBezTo>
                    <a:pt x="8" y="29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0" name="Google Shape;5390;p53"/>
            <p:cNvSpPr/>
            <p:nvPr/>
          </p:nvSpPr>
          <p:spPr>
            <a:xfrm>
              <a:off x="2333865" y="178574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1" name="Google Shape;5391;p53"/>
            <p:cNvSpPr/>
            <p:nvPr/>
          </p:nvSpPr>
          <p:spPr>
            <a:xfrm>
              <a:off x="2334055" y="178646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2" name="Google Shape;5392;p53"/>
            <p:cNvSpPr/>
            <p:nvPr/>
          </p:nvSpPr>
          <p:spPr>
            <a:xfrm>
              <a:off x="2333674" y="17841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3" name="Google Shape;5393;p53"/>
            <p:cNvSpPr/>
            <p:nvPr/>
          </p:nvSpPr>
          <p:spPr>
            <a:xfrm>
              <a:off x="2369709" y="1751568"/>
              <a:ext cx="2580" cy="1249"/>
            </a:xfrm>
            <a:custGeom>
              <a:avLst/>
              <a:gdLst/>
              <a:ahLst/>
              <a:cxnLst/>
              <a:rect l="l" t="t" r="r" b="b"/>
              <a:pathLst>
                <a:path w="190" h="92" extrusionOk="0">
                  <a:moveTo>
                    <a:pt x="0" y="8"/>
                  </a:moveTo>
                  <a:cubicBezTo>
                    <a:pt x="29" y="1"/>
                    <a:pt x="130" y="57"/>
                    <a:pt x="190" y="92"/>
                  </a:cubicBezTo>
                  <a:cubicBezTo>
                    <a:pt x="130" y="57"/>
                    <a:pt x="29" y="1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4" name="Google Shape;5394;p53"/>
            <p:cNvSpPr/>
            <p:nvPr/>
          </p:nvSpPr>
          <p:spPr>
            <a:xfrm>
              <a:off x="2348135" y="1797392"/>
              <a:ext cx="2620" cy="1724"/>
            </a:xfrm>
            <a:custGeom>
              <a:avLst/>
              <a:gdLst/>
              <a:ahLst/>
              <a:cxnLst/>
              <a:rect l="l" t="t" r="r" b="b"/>
              <a:pathLst>
                <a:path w="193" h="127" extrusionOk="0">
                  <a:moveTo>
                    <a:pt x="0" y="0"/>
                  </a:moveTo>
                  <a:lnTo>
                    <a:pt x="0" y="0"/>
                  </a:lnTo>
                  <a:cubicBezTo>
                    <a:pt x="63" y="39"/>
                    <a:pt x="126" y="84"/>
                    <a:pt x="193" y="126"/>
                  </a:cubicBezTo>
                  <a:cubicBezTo>
                    <a:pt x="126" y="81"/>
                    <a:pt x="63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5" name="Google Shape;5395;p53"/>
            <p:cNvSpPr/>
            <p:nvPr/>
          </p:nvSpPr>
          <p:spPr>
            <a:xfrm>
              <a:off x="2337666" y="17936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6" name="Google Shape;5396;p53"/>
            <p:cNvSpPr/>
            <p:nvPr/>
          </p:nvSpPr>
          <p:spPr>
            <a:xfrm>
              <a:off x="2338046" y="1793590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1" y="0"/>
                  </a:moveTo>
                  <a:lnTo>
                    <a:pt x="5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7" name="Google Shape;5397;p53"/>
            <p:cNvSpPr/>
            <p:nvPr/>
          </p:nvSpPr>
          <p:spPr>
            <a:xfrm>
              <a:off x="2342663" y="1794255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0"/>
                  </a:moveTo>
                  <a:lnTo>
                    <a:pt x="25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8" name="Google Shape;5398;p53"/>
            <p:cNvSpPr/>
            <p:nvPr/>
          </p:nvSpPr>
          <p:spPr>
            <a:xfrm>
              <a:off x="2344088" y="1795016"/>
              <a:ext cx="4060" cy="2390"/>
            </a:xfrm>
            <a:custGeom>
              <a:avLst/>
              <a:gdLst/>
              <a:ahLst/>
              <a:cxnLst/>
              <a:rect l="l" t="t" r="r" b="b"/>
              <a:pathLst>
                <a:path w="299" h="176" extrusionOk="0">
                  <a:moveTo>
                    <a:pt x="1" y="0"/>
                  </a:moveTo>
                  <a:cubicBezTo>
                    <a:pt x="88" y="46"/>
                    <a:pt x="186" y="105"/>
                    <a:pt x="298" y="175"/>
                  </a:cubicBezTo>
                  <a:cubicBezTo>
                    <a:pt x="186" y="105"/>
                    <a:pt x="88" y="46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9" name="Google Shape;5399;p53"/>
            <p:cNvSpPr/>
            <p:nvPr/>
          </p:nvSpPr>
          <p:spPr>
            <a:xfrm>
              <a:off x="2343192" y="179454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0" name="Google Shape;5400;p53"/>
            <p:cNvSpPr/>
            <p:nvPr/>
          </p:nvSpPr>
          <p:spPr>
            <a:xfrm>
              <a:off x="2338712" y="1793590"/>
              <a:ext cx="2009" cy="109"/>
            </a:xfrm>
            <a:custGeom>
              <a:avLst/>
              <a:gdLst/>
              <a:ahLst/>
              <a:cxnLst/>
              <a:rect l="l" t="t" r="r" b="b"/>
              <a:pathLst>
                <a:path w="148" h="8" extrusionOk="0">
                  <a:moveTo>
                    <a:pt x="1" y="0"/>
                  </a:moveTo>
                  <a:cubicBezTo>
                    <a:pt x="50" y="0"/>
                    <a:pt x="99" y="4"/>
                    <a:pt x="148" y="7"/>
                  </a:cubicBezTo>
                  <a:cubicBezTo>
                    <a:pt x="99" y="4"/>
                    <a:pt x="50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1" name="Google Shape;5401;p53"/>
            <p:cNvSpPr/>
            <p:nvPr/>
          </p:nvSpPr>
          <p:spPr>
            <a:xfrm>
              <a:off x="2382309" y="1818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2" name="Google Shape;5402;p53"/>
            <p:cNvSpPr/>
            <p:nvPr/>
          </p:nvSpPr>
          <p:spPr>
            <a:xfrm>
              <a:off x="2386776" y="1818776"/>
              <a:ext cx="3435" cy="394"/>
            </a:xfrm>
            <a:custGeom>
              <a:avLst/>
              <a:gdLst/>
              <a:ahLst/>
              <a:cxnLst/>
              <a:rect l="l" t="t" r="r" b="b"/>
              <a:pathLst>
                <a:path w="253" h="29" extrusionOk="0">
                  <a:moveTo>
                    <a:pt x="252" y="29"/>
                  </a:moveTo>
                  <a:lnTo>
                    <a:pt x="0" y="1"/>
                  </a:lnTo>
                  <a:lnTo>
                    <a:pt x="252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3" name="Google Shape;5403;p53"/>
            <p:cNvSpPr/>
            <p:nvPr/>
          </p:nvSpPr>
          <p:spPr>
            <a:xfrm>
              <a:off x="2392098" y="1811662"/>
              <a:ext cx="11663" cy="11554"/>
            </a:xfrm>
            <a:custGeom>
              <a:avLst/>
              <a:gdLst/>
              <a:ahLst/>
              <a:cxnLst/>
              <a:rect l="l" t="t" r="r" b="b"/>
              <a:pathLst>
                <a:path w="859" h="851" extrusionOk="0">
                  <a:moveTo>
                    <a:pt x="408" y="0"/>
                  </a:moveTo>
                  <a:cubicBezTo>
                    <a:pt x="403" y="0"/>
                    <a:pt x="398" y="1"/>
                    <a:pt x="392" y="3"/>
                  </a:cubicBezTo>
                  <a:cubicBezTo>
                    <a:pt x="322" y="7"/>
                    <a:pt x="263" y="49"/>
                    <a:pt x="235" y="112"/>
                  </a:cubicBezTo>
                  <a:cubicBezTo>
                    <a:pt x="217" y="136"/>
                    <a:pt x="200" y="161"/>
                    <a:pt x="179" y="182"/>
                  </a:cubicBezTo>
                  <a:lnTo>
                    <a:pt x="175" y="185"/>
                  </a:lnTo>
                  <a:lnTo>
                    <a:pt x="172" y="192"/>
                  </a:lnTo>
                  <a:lnTo>
                    <a:pt x="168" y="196"/>
                  </a:lnTo>
                  <a:lnTo>
                    <a:pt x="165" y="199"/>
                  </a:lnTo>
                  <a:lnTo>
                    <a:pt x="161" y="206"/>
                  </a:lnTo>
                  <a:lnTo>
                    <a:pt x="161" y="210"/>
                  </a:lnTo>
                  <a:lnTo>
                    <a:pt x="158" y="217"/>
                  </a:lnTo>
                  <a:lnTo>
                    <a:pt x="158" y="220"/>
                  </a:lnTo>
                  <a:lnTo>
                    <a:pt x="151" y="234"/>
                  </a:lnTo>
                  <a:lnTo>
                    <a:pt x="147" y="238"/>
                  </a:lnTo>
                  <a:lnTo>
                    <a:pt x="140" y="252"/>
                  </a:lnTo>
                  <a:lnTo>
                    <a:pt x="140" y="255"/>
                  </a:lnTo>
                  <a:lnTo>
                    <a:pt x="130" y="273"/>
                  </a:lnTo>
                  <a:lnTo>
                    <a:pt x="126" y="280"/>
                  </a:lnTo>
                  <a:lnTo>
                    <a:pt x="119" y="301"/>
                  </a:lnTo>
                  <a:lnTo>
                    <a:pt x="116" y="308"/>
                  </a:lnTo>
                  <a:lnTo>
                    <a:pt x="102" y="332"/>
                  </a:lnTo>
                  <a:lnTo>
                    <a:pt x="102" y="336"/>
                  </a:lnTo>
                  <a:lnTo>
                    <a:pt x="88" y="367"/>
                  </a:lnTo>
                  <a:lnTo>
                    <a:pt x="88" y="371"/>
                  </a:lnTo>
                  <a:cubicBezTo>
                    <a:pt x="63" y="420"/>
                    <a:pt x="35" y="486"/>
                    <a:pt x="0" y="567"/>
                  </a:cubicBezTo>
                  <a:lnTo>
                    <a:pt x="252" y="598"/>
                  </a:lnTo>
                  <a:lnTo>
                    <a:pt x="270" y="598"/>
                  </a:lnTo>
                  <a:lnTo>
                    <a:pt x="550" y="833"/>
                  </a:lnTo>
                  <a:lnTo>
                    <a:pt x="858" y="850"/>
                  </a:lnTo>
                  <a:cubicBezTo>
                    <a:pt x="837" y="791"/>
                    <a:pt x="809" y="728"/>
                    <a:pt x="785" y="668"/>
                  </a:cubicBezTo>
                  <a:cubicBezTo>
                    <a:pt x="687" y="434"/>
                    <a:pt x="631" y="297"/>
                    <a:pt x="631" y="231"/>
                  </a:cubicBezTo>
                  <a:cubicBezTo>
                    <a:pt x="631" y="199"/>
                    <a:pt x="638" y="171"/>
                    <a:pt x="655" y="143"/>
                  </a:cubicBezTo>
                  <a:lnTo>
                    <a:pt x="641" y="133"/>
                  </a:lnTo>
                  <a:lnTo>
                    <a:pt x="620" y="112"/>
                  </a:lnTo>
                  <a:lnTo>
                    <a:pt x="599" y="94"/>
                  </a:lnTo>
                  <a:lnTo>
                    <a:pt x="582" y="77"/>
                  </a:lnTo>
                  <a:lnTo>
                    <a:pt x="564" y="63"/>
                  </a:lnTo>
                  <a:lnTo>
                    <a:pt x="543" y="49"/>
                  </a:lnTo>
                  <a:lnTo>
                    <a:pt x="529" y="38"/>
                  </a:lnTo>
                  <a:lnTo>
                    <a:pt x="512" y="28"/>
                  </a:lnTo>
                  <a:lnTo>
                    <a:pt x="498" y="21"/>
                  </a:lnTo>
                  <a:lnTo>
                    <a:pt x="484" y="10"/>
                  </a:lnTo>
                  <a:lnTo>
                    <a:pt x="470" y="7"/>
                  </a:lnTo>
                  <a:cubicBezTo>
                    <a:pt x="463" y="7"/>
                    <a:pt x="459" y="3"/>
                    <a:pt x="452" y="3"/>
                  </a:cubicBezTo>
                  <a:lnTo>
                    <a:pt x="424" y="3"/>
                  </a:lnTo>
                  <a:cubicBezTo>
                    <a:pt x="419" y="1"/>
                    <a:pt x="413" y="0"/>
                    <a:pt x="4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4" name="Google Shape;5404;p53"/>
            <p:cNvSpPr/>
            <p:nvPr/>
          </p:nvSpPr>
          <p:spPr>
            <a:xfrm>
              <a:off x="2392003" y="1819401"/>
              <a:ext cx="3435" cy="434"/>
            </a:xfrm>
            <a:custGeom>
              <a:avLst/>
              <a:gdLst/>
              <a:ahLst/>
              <a:cxnLst/>
              <a:rect l="l" t="t" r="r" b="b"/>
              <a:pathLst>
                <a:path w="253" h="32" extrusionOk="0">
                  <a:moveTo>
                    <a:pt x="0" y="0"/>
                  </a:moveTo>
                  <a:lnTo>
                    <a:pt x="0" y="0"/>
                  </a:lnTo>
                  <a:lnTo>
                    <a:pt x="252" y="32"/>
                  </a:lnTo>
                  <a:lnTo>
                    <a:pt x="252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5" name="Google Shape;5405;p53"/>
            <p:cNvSpPr/>
            <p:nvPr/>
          </p:nvSpPr>
          <p:spPr>
            <a:xfrm>
              <a:off x="2399471" y="1823053"/>
              <a:ext cx="4236" cy="204"/>
            </a:xfrm>
            <a:custGeom>
              <a:avLst/>
              <a:gdLst/>
              <a:ahLst/>
              <a:cxnLst/>
              <a:rect l="l" t="t" r="r" b="b"/>
              <a:pathLst>
                <a:path w="312" h="15" extrusionOk="0">
                  <a:moveTo>
                    <a:pt x="312" y="15"/>
                  </a:moveTo>
                  <a:lnTo>
                    <a:pt x="312" y="15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6" name="Google Shape;5406;p53"/>
            <p:cNvSpPr/>
            <p:nvPr/>
          </p:nvSpPr>
          <p:spPr>
            <a:xfrm>
              <a:off x="2397991" y="181174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7" name="Google Shape;5407;p53"/>
            <p:cNvSpPr/>
            <p:nvPr/>
          </p:nvSpPr>
          <p:spPr>
            <a:xfrm>
              <a:off x="2393185" y="1816685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8" name="Google Shape;5408;p53"/>
            <p:cNvSpPr/>
            <p:nvPr/>
          </p:nvSpPr>
          <p:spPr>
            <a:xfrm>
              <a:off x="2399702" y="181259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"/>
                  </a:moveTo>
                  <a:lnTo>
                    <a:pt x="15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9" name="Google Shape;5409;p53"/>
            <p:cNvSpPr/>
            <p:nvPr/>
          </p:nvSpPr>
          <p:spPr>
            <a:xfrm>
              <a:off x="2399227" y="181227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0"/>
                  </a:move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0" name="Google Shape;5410;p53"/>
            <p:cNvSpPr/>
            <p:nvPr/>
          </p:nvSpPr>
          <p:spPr>
            <a:xfrm>
              <a:off x="2398426" y="181183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1" name="Google Shape;5411;p53"/>
            <p:cNvSpPr/>
            <p:nvPr/>
          </p:nvSpPr>
          <p:spPr>
            <a:xfrm>
              <a:off x="2397367" y="1811743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cubicBezTo>
                    <a:pt x="8" y="1"/>
                    <a:pt x="18" y="1"/>
                    <a:pt x="29" y="1"/>
                  </a:cubicBezTo>
                  <a:cubicBezTo>
                    <a:pt x="18" y="1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2" name="Google Shape;5412;p53"/>
            <p:cNvSpPr/>
            <p:nvPr/>
          </p:nvSpPr>
          <p:spPr>
            <a:xfrm>
              <a:off x="2393755" y="181540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3" name="Google Shape;5413;p53"/>
            <p:cNvSpPr/>
            <p:nvPr/>
          </p:nvSpPr>
          <p:spPr>
            <a:xfrm>
              <a:off x="2400747" y="1813549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4" name="Google Shape;5414;p53"/>
            <p:cNvSpPr/>
            <p:nvPr/>
          </p:nvSpPr>
          <p:spPr>
            <a:xfrm>
              <a:off x="2393375" y="181616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5" name="Google Shape;5415;p53"/>
            <p:cNvSpPr/>
            <p:nvPr/>
          </p:nvSpPr>
          <p:spPr>
            <a:xfrm>
              <a:off x="2400177" y="1813033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0"/>
                  </a:moveTo>
                  <a:lnTo>
                    <a:pt x="2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6" name="Google Shape;5416;p53"/>
            <p:cNvSpPr/>
            <p:nvPr/>
          </p:nvSpPr>
          <p:spPr>
            <a:xfrm>
              <a:off x="2393565" y="181573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7" name="Google Shape;5417;p53"/>
            <p:cNvSpPr/>
            <p:nvPr/>
          </p:nvSpPr>
          <p:spPr>
            <a:xfrm>
              <a:off x="2398806" y="181202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1"/>
                  </a:moveTo>
                  <a:lnTo>
                    <a:pt x="1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8" name="Google Shape;5418;p53"/>
            <p:cNvSpPr/>
            <p:nvPr/>
          </p:nvSpPr>
          <p:spPr>
            <a:xfrm>
              <a:off x="2394420" y="1814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9" name="Google Shape;5419;p53"/>
            <p:cNvSpPr/>
            <p:nvPr/>
          </p:nvSpPr>
          <p:spPr>
            <a:xfrm>
              <a:off x="2394040" y="181483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0" name="Google Shape;5420;p53"/>
            <p:cNvSpPr/>
            <p:nvPr/>
          </p:nvSpPr>
          <p:spPr>
            <a:xfrm>
              <a:off x="2394135" y="181464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1" name="Google Shape;5421;p53"/>
            <p:cNvSpPr/>
            <p:nvPr/>
          </p:nvSpPr>
          <p:spPr>
            <a:xfrm>
              <a:off x="2394230" y="181449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2" name="Google Shape;5422;p53"/>
            <p:cNvSpPr/>
            <p:nvPr/>
          </p:nvSpPr>
          <p:spPr>
            <a:xfrm>
              <a:off x="2394380" y="18143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3" name="Google Shape;5423;p53"/>
            <p:cNvSpPr/>
            <p:nvPr/>
          </p:nvSpPr>
          <p:spPr>
            <a:xfrm>
              <a:off x="2394325" y="18144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4" name="Google Shape;5424;p53"/>
            <p:cNvSpPr/>
            <p:nvPr/>
          </p:nvSpPr>
          <p:spPr>
            <a:xfrm>
              <a:off x="2393904" y="181507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5" name="Google Shape;5425;p53"/>
            <p:cNvSpPr/>
            <p:nvPr/>
          </p:nvSpPr>
          <p:spPr>
            <a:xfrm>
              <a:off x="2013313" y="1624754"/>
              <a:ext cx="94975" cy="80080"/>
            </a:xfrm>
            <a:custGeom>
              <a:avLst/>
              <a:gdLst/>
              <a:ahLst/>
              <a:cxnLst/>
              <a:rect l="l" t="t" r="r" b="b"/>
              <a:pathLst>
                <a:path w="6995" h="5898" extrusionOk="0">
                  <a:moveTo>
                    <a:pt x="3942" y="0"/>
                  </a:moveTo>
                  <a:cubicBezTo>
                    <a:pt x="3907" y="7"/>
                    <a:pt x="3872" y="7"/>
                    <a:pt x="3837" y="7"/>
                  </a:cubicBezTo>
                  <a:cubicBezTo>
                    <a:pt x="3830" y="7"/>
                    <a:pt x="3823" y="6"/>
                    <a:pt x="3816" y="6"/>
                  </a:cubicBezTo>
                  <a:cubicBezTo>
                    <a:pt x="3753" y="6"/>
                    <a:pt x="3692" y="33"/>
                    <a:pt x="3652" y="77"/>
                  </a:cubicBezTo>
                  <a:cubicBezTo>
                    <a:pt x="3585" y="147"/>
                    <a:pt x="3557" y="259"/>
                    <a:pt x="3571" y="403"/>
                  </a:cubicBezTo>
                  <a:cubicBezTo>
                    <a:pt x="3589" y="504"/>
                    <a:pt x="3564" y="606"/>
                    <a:pt x="3501" y="686"/>
                  </a:cubicBezTo>
                  <a:cubicBezTo>
                    <a:pt x="3392" y="812"/>
                    <a:pt x="3196" y="837"/>
                    <a:pt x="2944" y="854"/>
                  </a:cubicBezTo>
                  <a:cubicBezTo>
                    <a:pt x="2780" y="868"/>
                    <a:pt x="2762" y="935"/>
                    <a:pt x="2731" y="1037"/>
                  </a:cubicBezTo>
                  <a:cubicBezTo>
                    <a:pt x="2720" y="1114"/>
                    <a:pt x="2682" y="1180"/>
                    <a:pt x="2626" y="1229"/>
                  </a:cubicBezTo>
                  <a:cubicBezTo>
                    <a:pt x="2580" y="1265"/>
                    <a:pt x="2517" y="1276"/>
                    <a:pt x="2454" y="1276"/>
                  </a:cubicBezTo>
                  <a:cubicBezTo>
                    <a:pt x="2368" y="1276"/>
                    <a:pt x="2282" y="1255"/>
                    <a:pt x="2234" y="1243"/>
                  </a:cubicBezTo>
                  <a:cubicBezTo>
                    <a:pt x="2080" y="1198"/>
                    <a:pt x="1884" y="1100"/>
                    <a:pt x="1835" y="967"/>
                  </a:cubicBezTo>
                  <a:cubicBezTo>
                    <a:pt x="1831" y="949"/>
                    <a:pt x="1810" y="938"/>
                    <a:pt x="1782" y="935"/>
                  </a:cubicBezTo>
                  <a:cubicBezTo>
                    <a:pt x="1712" y="935"/>
                    <a:pt x="1646" y="967"/>
                    <a:pt x="1607" y="1023"/>
                  </a:cubicBezTo>
                  <a:cubicBezTo>
                    <a:pt x="1604" y="1037"/>
                    <a:pt x="1590" y="1065"/>
                    <a:pt x="1632" y="1110"/>
                  </a:cubicBezTo>
                  <a:cubicBezTo>
                    <a:pt x="1747" y="1240"/>
                    <a:pt x="1803" y="1408"/>
                    <a:pt x="1793" y="1579"/>
                  </a:cubicBezTo>
                  <a:cubicBezTo>
                    <a:pt x="1789" y="1660"/>
                    <a:pt x="1754" y="1737"/>
                    <a:pt x="1695" y="1789"/>
                  </a:cubicBezTo>
                  <a:cubicBezTo>
                    <a:pt x="1663" y="1814"/>
                    <a:pt x="1628" y="1823"/>
                    <a:pt x="1591" y="1823"/>
                  </a:cubicBezTo>
                  <a:cubicBezTo>
                    <a:pt x="1538" y="1823"/>
                    <a:pt x="1482" y="1804"/>
                    <a:pt x="1429" y="1786"/>
                  </a:cubicBezTo>
                  <a:cubicBezTo>
                    <a:pt x="1369" y="1765"/>
                    <a:pt x="1317" y="1749"/>
                    <a:pt x="1275" y="1749"/>
                  </a:cubicBezTo>
                  <a:cubicBezTo>
                    <a:pt x="1252" y="1749"/>
                    <a:pt x="1232" y="1754"/>
                    <a:pt x="1215" y="1765"/>
                  </a:cubicBezTo>
                  <a:cubicBezTo>
                    <a:pt x="1173" y="1797"/>
                    <a:pt x="1136" y="1809"/>
                    <a:pt x="1104" y="1809"/>
                  </a:cubicBezTo>
                  <a:cubicBezTo>
                    <a:pt x="1036" y="1809"/>
                    <a:pt x="988" y="1756"/>
                    <a:pt x="952" y="1716"/>
                  </a:cubicBezTo>
                  <a:cubicBezTo>
                    <a:pt x="921" y="1670"/>
                    <a:pt x="875" y="1635"/>
                    <a:pt x="823" y="1614"/>
                  </a:cubicBezTo>
                  <a:cubicBezTo>
                    <a:pt x="798" y="1605"/>
                    <a:pt x="777" y="1601"/>
                    <a:pt x="756" y="1601"/>
                  </a:cubicBezTo>
                  <a:cubicBezTo>
                    <a:pt x="719" y="1601"/>
                    <a:pt x="684" y="1613"/>
                    <a:pt x="637" y="1628"/>
                  </a:cubicBezTo>
                  <a:cubicBezTo>
                    <a:pt x="557" y="1658"/>
                    <a:pt x="472" y="1675"/>
                    <a:pt x="386" y="1675"/>
                  </a:cubicBezTo>
                  <a:cubicBezTo>
                    <a:pt x="360" y="1675"/>
                    <a:pt x="334" y="1673"/>
                    <a:pt x="308" y="1670"/>
                  </a:cubicBezTo>
                  <a:cubicBezTo>
                    <a:pt x="291" y="1669"/>
                    <a:pt x="275" y="1668"/>
                    <a:pt x="260" y="1668"/>
                  </a:cubicBezTo>
                  <a:cubicBezTo>
                    <a:pt x="115" y="1668"/>
                    <a:pt x="33" y="1724"/>
                    <a:pt x="14" y="1765"/>
                  </a:cubicBezTo>
                  <a:cubicBezTo>
                    <a:pt x="0" y="1782"/>
                    <a:pt x="7" y="1807"/>
                    <a:pt x="25" y="1821"/>
                  </a:cubicBezTo>
                  <a:cubicBezTo>
                    <a:pt x="77" y="1887"/>
                    <a:pt x="98" y="1978"/>
                    <a:pt x="77" y="2059"/>
                  </a:cubicBezTo>
                  <a:cubicBezTo>
                    <a:pt x="74" y="2111"/>
                    <a:pt x="70" y="2139"/>
                    <a:pt x="91" y="2164"/>
                  </a:cubicBezTo>
                  <a:cubicBezTo>
                    <a:pt x="112" y="2192"/>
                    <a:pt x="235" y="2220"/>
                    <a:pt x="340" y="2241"/>
                  </a:cubicBezTo>
                  <a:cubicBezTo>
                    <a:pt x="476" y="2269"/>
                    <a:pt x="651" y="2304"/>
                    <a:pt x="795" y="2381"/>
                  </a:cubicBezTo>
                  <a:cubicBezTo>
                    <a:pt x="874" y="2427"/>
                    <a:pt x="963" y="2455"/>
                    <a:pt x="1055" y="2455"/>
                  </a:cubicBezTo>
                  <a:cubicBezTo>
                    <a:pt x="1060" y="2455"/>
                    <a:pt x="1066" y="2455"/>
                    <a:pt x="1071" y="2454"/>
                  </a:cubicBezTo>
                  <a:cubicBezTo>
                    <a:pt x="1080" y="2454"/>
                    <a:pt x="1089" y="2453"/>
                    <a:pt x="1097" y="2453"/>
                  </a:cubicBezTo>
                  <a:cubicBezTo>
                    <a:pt x="1165" y="2453"/>
                    <a:pt x="1229" y="2477"/>
                    <a:pt x="1281" y="2517"/>
                  </a:cubicBezTo>
                  <a:cubicBezTo>
                    <a:pt x="1309" y="2538"/>
                    <a:pt x="1341" y="2556"/>
                    <a:pt x="1369" y="2570"/>
                  </a:cubicBezTo>
                  <a:cubicBezTo>
                    <a:pt x="1457" y="2615"/>
                    <a:pt x="1481" y="2650"/>
                    <a:pt x="1488" y="2808"/>
                  </a:cubicBezTo>
                  <a:cubicBezTo>
                    <a:pt x="1495" y="2997"/>
                    <a:pt x="1646" y="3155"/>
                    <a:pt x="1870" y="3218"/>
                  </a:cubicBezTo>
                  <a:cubicBezTo>
                    <a:pt x="2090" y="3277"/>
                    <a:pt x="2066" y="3424"/>
                    <a:pt x="2052" y="3519"/>
                  </a:cubicBezTo>
                  <a:cubicBezTo>
                    <a:pt x="2038" y="3575"/>
                    <a:pt x="2038" y="3631"/>
                    <a:pt x="2055" y="3683"/>
                  </a:cubicBezTo>
                  <a:cubicBezTo>
                    <a:pt x="2108" y="3799"/>
                    <a:pt x="2069" y="3932"/>
                    <a:pt x="2027" y="4061"/>
                  </a:cubicBezTo>
                  <a:cubicBezTo>
                    <a:pt x="1996" y="4159"/>
                    <a:pt x="1964" y="4264"/>
                    <a:pt x="1982" y="4352"/>
                  </a:cubicBezTo>
                  <a:cubicBezTo>
                    <a:pt x="2017" y="4548"/>
                    <a:pt x="1898" y="5140"/>
                    <a:pt x="1751" y="5346"/>
                  </a:cubicBezTo>
                  <a:lnTo>
                    <a:pt x="1779" y="5357"/>
                  </a:lnTo>
                  <a:cubicBezTo>
                    <a:pt x="1845" y="5388"/>
                    <a:pt x="1908" y="5420"/>
                    <a:pt x="1971" y="5455"/>
                  </a:cubicBezTo>
                  <a:cubicBezTo>
                    <a:pt x="2045" y="5500"/>
                    <a:pt x="2125" y="5535"/>
                    <a:pt x="2206" y="5567"/>
                  </a:cubicBezTo>
                  <a:cubicBezTo>
                    <a:pt x="2307" y="5609"/>
                    <a:pt x="2405" y="5654"/>
                    <a:pt x="2503" y="5710"/>
                  </a:cubicBezTo>
                  <a:cubicBezTo>
                    <a:pt x="2560" y="5746"/>
                    <a:pt x="2640" y="5763"/>
                    <a:pt x="2708" y="5763"/>
                  </a:cubicBezTo>
                  <a:cubicBezTo>
                    <a:pt x="2753" y="5763"/>
                    <a:pt x="2793" y="5756"/>
                    <a:pt x="2818" y="5742"/>
                  </a:cubicBezTo>
                  <a:cubicBezTo>
                    <a:pt x="2818" y="5742"/>
                    <a:pt x="2832" y="5731"/>
                    <a:pt x="2832" y="5728"/>
                  </a:cubicBezTo>
                  <a:cubicBezTo>
                    <a:pt x="2829" y="5679"/>
                    <a:pt x="2857" y="5630"/>
                    <a:pt x="2902" y="5612"/>
                  </a:cubicBezTo>
                  <a:cubicBezTo>
                    <a:pt x="2909" y="5609"/>
                    <a:pt x="2916" y="5605"/>
                    <a:pt x="2923" y="5605"/>
                  </a:cubicBezTo>
                  <a:lnTo>
                    <a:pt x="2951" y="5605"/>
                  </a:lnTo>
                  <a:cubicBezTo>
                    <a:pt x="2962" y="5605"/>
                    <a:pt x="2972" y="5605"/>
                    <a:pt x="2983" y="5609"/>
                  </a:cubicBezTo>
                  <a:lnTo>
                    <a:pt x="2986" y="5609"/>
                  </a:lnTo>
                  <a:cubicBezTo>
                    <a:pt x="2997" y="5609"/>
                    <a:pt x="3007" y="5612"/>
                    <a:pt x="3014" y="5616"/>
                  </a:cubicBezTo>
                  <a:lnTo>
                    <a:pt x="3021" y="5616"/>
                  </a:lnTo>
                  <a:cubicBezTo>
                    <a:pt x="3032" y="5619"/>
                    <a:pt x="3039" y="5623"/>
                    <a:pt x="3049" y="5630"/>
                  </a:cubicBezTo>
                  <a:lnTo>
                    <a:pt x="3056" y="5633"/>
                  </a:lnTo>
                  <a:cubicBezTo>
                    <a:pt x="3067" y="5637"/>
                    <a:pt x="3077" y="5644"/>
                    <a:pt x="3084" y="5647"/>
                  </a:cubicBezTo>
                  <a:lnTo>
                    <a:pt x="3091" y="5651"/>
                  </a:lnTo>
                  <a:lnTo>
                    <a:pt x="3119" y="5668"/>
                  </a:lnTo>
                  <a:lnTo>
                    <a:pt x="3123" y="5672"/>
                  </a:lnTo>
                  <a:lnTo>
                    <a:pt x="3147" y="5689"/>
                  </a:lnTo>
                  <a:lnTo>
                    <a:pt x="3154" y="5696"/>
                  </a:lnTo>
                  <a:lnTo>
                    <a:pt x="3179" y="5714"/>
                  </a:lnTo>
                  <a:lnTo>
                    <a:pt x="3182" y="5717"/>
                  </a:lnTo>
                  <a:lnTo>
                    <a:pt x="3203" y="5738"/>
                  </a:lnTo>
                  <a:cubicBezTo>
                    <a:pt x="3256" y="5794"/>
                    <a:pt x="3480" y="5826"/>
                    <a:pt x="3624" y="5847"/>
                  </a:cubicBezTo>
                  <a:cubicBezTo>
                    <a:pt x="3697" y="5857"/>
                    <a:pt x="3767" y="5864"/>
                    <a:pt x="3820" y="5878"/>
                  </a:cubicBezTo>
                  <a:cubicBezTo>
                    <a:pt x="3900" y="5890"/>
                    <a:pt x="3981" y="5897"/>
                    <a:pt x="4062" y="5897"/>
                  </a:cubicBezTo>
                  <a:cubicBezTo>
                    <a:pt x="4100" y="5897"/>
                    <a:pt x="4139" y="5896"/>
                    <a:pt x="4177" y="5892"/>
                  </a:cubicBezTo>
                  <a:lnTo>
                    <a:pt x="4285" y="5892"/>
                  </a:lnTo>
                  <a:cubicBezTo>
                    <a:pt x="4282" y="5875"/>
                    <a:pt x="4278" y="5857"/>
                    <a:pt x="4271" y="5840"/>
                  </a:cubicBezTo>
                  <a:cubicBezTo>
                    <a:pt x="4229" y="5721"/>
                    <a:pt x="4243" y="5588"/>
                    <a:pt x="4310" y="5483"/>
                  </a:cubicBezTo>
                  <a:cubicBezTo>
                    <a:pt x="4397" y="5343"/>
                    <a:pt x="4572" y="5245"/>
                    <a:pt x="4775" y="5213"/>
                  </a:cubicBezTo>
                  <a:cubicBezTo>
                    <a:pt x="4809" y="5208"/>
                    <a:pt x="4846" y="5206"/>
                    <a:pt x="4886" y="5206"/>
                  </a:cubicBezTo>
                  <a:cubicBezTo>
                    <a:pt x="5199" y="5206"/>
                    <a:pt x="5683" y="5351"/>
                    <a:pt x="5826" y="5441"/>
                  </a:cubicBezTo>
                  <a:cubicBezTo>
                    <a:pt x="5868" y="5468"/>
                    <a:pt x="5914" y="5482"/>
                    <a:pt x="5963" y="5482"/>
                  </a:cubicBezTo>
                  <a:cubicBezTo>
                    <a:pt x="6083" y="5482"/>
                    <a:pt x="6220" y="5400"/>
                    <a:pt x="6372" y="5241"/>
                  </a:cubicBezTo>
                  <a:cubicBezTo>
                    <a:pt x="6463" y="5136"/>
                    <a:pt x="6578" y="5059"/>
                    <a:pt x="6704" y="5010"/>
                  </a:cubicBezTo>
                  <a:lnTo>
                    <a:pt x="6704" y="5006"/>
                  </a:lnTo>
                  <a:cubicBezTo>
                    <a:pt x="6711" y="4989"/>
                    <a:pt x="6715" y="4975"/>
                    <a:pt x="6722" y="4957"/>
                  </a:cubicBezTo>
                  <a:lnTo>
                    <a:pt x="6725" y="4943"/>
                  </a:lnTo>
                  <a:cubicBezTo>
                    <a:pt x="6732" y="4926"/>
                    <a:pt x="6739" y="4912"/>
                    <a:pt x="6746" y="4894"/>
                  </a:cubicBezTo>
                  <a:lnTo>
                    <a:pt x="6757" y="4870"/>
                  </a:lnTo>
                  <a:cubicBezTo>
                    <a:pt x="6722" y="4863"/>
                    <a:pt x="6687" y="4863"/>
                    <a:pt x="6655" y="4863"/>
                  </a:cubicBezTo>
                  <a:cubicBezTo>
                    <a:pt x="6624" y="4863"/>
                    <a:pt x="6592" y="4863"/>
                    <a:pt x="6561" y="4856"/>
                  </a:cubicBezTo>
                  <a:cubicBezTo>
                    <a:pt x="6480" y="4849"/>
                    <a:pt x="6407" y="4800"/>
                    <a:pt x="6368" y="4726"/>
                  </a:cubicBezTo>
                  <a:cubicBezTo>
                    <a:pt x="6333" y="4649"/>
                    <a:pt x="6344" y="4558"/>
                    <a:pt x="6393" y="4488"/>
                  </a:cubicBezTo>
                  <a:cubicBezTo>
                    <a:pt x="6414" y="4453"/>
                    <a:pt x="6414" y="4453"/>
                    <a:pt x="6354" y="4404"/>
                  </a:cubicBezTo>
                  <a:cubicBezTo>
                    <a:pt x="6305" y="4369"/>
                    <a:pt x="6267" y="4327"/>
                    <a:pt x="6235" y="4278"/>
                  </a:cubicBezTo>
                  <a:cubicBezTo>
                    <a:pt x="6207" y="4236"/>
                    <a:pt x="6179" y="4184"/>
                    <a:pt x="6204" y="4135"/>
                  </a:cubicBezTo>
                  <a:cubicBezTo>
                    <a:pt x="6228" y="4093"/>
                    <a:pt x="6270" y="4065"/>
                    <a:pt x="6319" y="4065"/>
                  </a:cubicBezTo>
                  <a:cubicBezTo>
                    <a:pt x="6337" y="4061"/>
                    <a:pt x="6354" y="4058"/>
                    <a:pt x="6368" y="4051"/>
                  </a:cubicBezTo>
                  <a:cubicBezTo>
                    <a:pt x="6393" y="4037"/>
                    <a:pt x="6414" y="4016"/>
                    <a:pt x="6431" y="3991"/>
                  </a:cubicBezTo>
                  <a:cubicBezTo>
                    <a:pt x="6442" y="3974"/>
                    <a:pt x="6452" y="3956"/>
                    <a:pt x="6459" y="3939"/>
                  </a:cubicBezTo>
                  <a:cubicBezTo>
                    <a:pt x="6410" y="3900"/>
                    <a:pt x="6319" y="3802"/>
                    <a:pt x="6382" y="3603"/>
                  </a:cubicBezTo>
                  <a:cubicBezTo>
                    <a:pt x="6400" y="3554"/>
                    <a:pt x="6389" y="3540"/>
                    <a:pt x="6354" y="3501"/>
                  </a:cubicBezTo>
                  <a:cubicBezTo>
                    <a:pt x="6312" y="3463"/>
                    <a:pt x="6288" y="3410"/>
                    <a:pt x="6284" y="3354"/>
                  </a:cubicBezTo>
                  <a:cubicBezTo>
                    <a:pt x="6284" y="3337"/>
                    <a:pt x="6277" y="3323"/>
                    <a:pt x="6263" y="3316"/>
                  </a:cubicBezTo>
                  <a:cubicBezTo>
                    <a:pt x="6259" y="3314"/>
                    <a:pt x="6254" y="3313"/>
                    <a:pt x="6248" y="3313"/>
                  </a:cubicBezTo>
                  <a:cubicBezTo>
                    <a:pt x="6225" y="3313"/>
                    <a:pt x="6192" y="3327"/>
                    <a:pt x="6158" y="3372"/>
                  </a:cubicBezTo>
                  <a:cubicBezTo>
                    <a:pt x="6112" y="3428"/>
                    <a:pt x="6068" y="3456"/>
                    <a:pt x="6027" y="3456"/>
                  </a:cubicBezTo>
                  <a:cubicBezTo>
                    <a:pt x="6012" y="3456"/>
                    <a:pt x="5997" y="3453"/>
                    <a:pt x="5983" y="3445"/>
                  </a:cubicBezTo>
                  <a:cubicBezTo>
                    <a:pt x="5966" y="3435"/>
                    <a:pt x="5952" y="3421"/>
                    <a:pt x="5945" y="3403"/>
                  </a:cubicBezTo>
                  <a:cubicBezTo>
                    <a:pt x="5941" y="3400"/>
                    <a:pt x="5941" y="3396"/>
                    <a:pt x="5941" y="3389"/>
                  </a:cubicBezTo>
                  <a:cubicBezTo>
                    <a:pt x="5938" y="3386"/>
                    <a:pt x="5934" y="3379"/>
                    <a:pt x="5934" y="3375"/>
                  </a:cubicBezTo>
                  <a:cubicBezTo>
                    <a:pt x="5920" y="3319"/>
                    <a:pt x="5934" y="3235"/>
                    <a:pt x="5969" y="3127"/>
                  </a:cubicBezTo>
                  <a:cubicBezTo>
                    <a:pt x="6008" y="3032"/>
                    <a:pt x="6064" y="2948"/>
                    <a:pt x="6141" y="2881"/>
                  </a:cubicBezTo>
                  <a:cubicBezTo>
                    <a:pt x="6165" y="2857"/>
                    <a:pt x="6186" y="2839"/>
                    <a:pt x="6207" y="2822"/>
                  </a:cubicBezTo>
                  <a:cubicBezTo>
                    <a:pt x="6260" y="2776"/>
                    <a:pt x="6312" y="2727"/>
                    <a:pt x="6319" y="2696"/>
                  </a:cubicBezTo>
                  <a:cubicBezTo>
                    <a:pt x="6323" y="2689"/>
                    <a:pt x="6323" y="2678"/>
                    <a:pt x="6326" y="2668"/>
                  </a:cubicBezTo>
                  <a:lnTo>
                    <a:pt x="6326" y="2664"/>
                  </a:lnTo>
                  <a:cubicBezTo>
                    <a:pt x="6330" y="2657"/>
                    <a:pt x="6333" y="2650"/>
                    <a:pt x="6337" y="2643"/>
                  </a:cubicBezTo>
                  <a:lnTo>
                    <a:pt x="6337" y="2640"/>
                  </a:lnTo>
                  <a:cubicBezTo>
                    <a:pt x="6340" y="2633"/>
                    <a:pt x="6344" y="2622"/>
                    <a:pt x="6347" y="2615"/>
                  </a:cubicBezTo>
                  <a:lnTo>
                    <a:pt x="6351" y="2608"/>
                  </a:lnTo>
                  <a:cubicBezTo>
                    <a:pt x="6354" y="2605"/>
                    <a:pt x="6358" y="2598"/>
                    <a:pt x="6361" y="2591"/>
                  </a:cubicBezTo>
                  <a:lnTo>
                    <a:pt x="6365" y="2584"/>
                  </a:lnTo>
                  <a:cubicBezTo>
                    <a:pt x="6368" y="2580"/>
                    <a:pt x="6375" y="2573"/>
                    <a:pt x="6379" y="2566"/>
                  </a:cubicBezTo>
                  <a:lnTo>
                    <a:pt x="6382" y="2559"/>
                  </a:lnTo>
                  <a:lnTo>
                    <a:pt x="6396" y="2545"/>
                  </a:lnTo>
                  <a:lnTo>
                    <a:pt x="6403" y="2538"/>
                  </a:lnTo>
                  <a:lnTo>
                    <a:pt x="6421" y="2521"/>
                  </a:lnTo>
                  <a:lnTo>
                    <a:pt x="6428" y="2514"/>
                  </a:lnTo>
                  <a:lnTo>
                    <a:pt x="6442" y="2500"/>
                  </a:lnTo>
                  <a:lnTo>
                    <a:pt x="6452" y="2496"/>
                  </a:lnTo>
                  <a:lnTo>
                    <a:pt x="6466" y="2482"/>
                  </a:lnTo>
                  <a:lnTo>
                    <a:pt x="6477" y="2475"/>
                  </a:lnTo>
                  <a:lnTo>
                    <a:pt x="6491" y="2465"/>
                  </a:lnTo>
                  <a:lnTo>
                    <a:pt x="6501" y="2458"/>
                  </a:lnTo>
                  <a:lnTo>
                    <a:pt x="6519" y="2451"/>
                  </a:lnTo>
                  <a:lnTo>
                    <a:pt x="6529" y="2444"/>
                  </a:lnTo>
                  <a:lnTo>
                    <a:pt x="6547" y="2437"/>
                  </a:lnTo>
                  <a:lnTo>
                    <a:pt x="6557" y="2433"/>
                  </a:lnTo>
                  <a:lnTo>
                    <a:pt x="6575" y="2426"/>
                  </a:lnTo>
                  <a:lnTo>
                    <a:pt x="6585" y="2423"/>
                  </a:lnTo>
                  <a:lnTo>
                    <a:pt x="6603" y="2419"/>
                  </a:lnTo>
                  <a:lnTo>
                    <a:pt x="6655" y="2419"/>
                  </a:lnTo>
                  <a:cubicBezTo>
                    <a:pt x="6662" y="2409"/>
                    <a:pt x="6666" y="2398"/>
                    <a:pt x="6669" y="2384"/>
                  </a:cubicBezTo>
                  <a:cubicBezTo>
                    <a:pt x="6683" y="2332"/>
                    <a:pt x="6690" y="2279"/>
                    <a:pt x="6694" y="2227"/>
                  </a:cubicBezTo>
                  <a:cubicBezTo>
                    <a:pt x="6697" y="2174"/>
                    <a:pt x="6704" y="2122"/>
                    <a:pt x="6715" y="2069"/>
                  </a:cubicBezTo>
                  <a:cubicBezTo>
                    <a:pt x="6715" y="2066"/>
                    <a:pt x="6715" y="2062"/>
                    <a:pt x="6715" y="2055"/>
                  </a:cubicBezTo>
                  <a:lnTo>
                    <a:pt x="6725" y="2020"/>
                  </a:lnTo>
                  <a:cubicBezTo>
                    <a:pt x="6760" y="1866"/>
                    <a:pt x="6795" y="1709"/>
                    <a:pt x="6956" y="1572"/>
                  </a:cubicBezTo>
                  <a:cubicBezTo>
                    <a:pt x="6991" y="1544"/>
                    <a:pt x="6995" y="1530"/>
                    <a:pt x="6995" y="1530"/>
                  </a:cubicBezTo>
                  <a:cubicBezTo>
                    <a:pt x="6967" y="1513"/>
                    <a:pt x="6935" y="1506"/>
                    <a:pt x="6907" y="1506"/>
                  </a:cubicBezTo>
                  <a:cubicBezTo>
                    <a:pt x="6902" y="1506"/>
                    <a:pt x="6897" y="1506"/>
                    <a:pt x="6892" y="1506"/>
                  </a:cubicBezTo>
                  <a:cubicBezTo>
                    <a:pt x="6845" y="1506"/>
                    <a:pt x="6799" y="1492"/>
                    <a:pt x="6764" y="1460"/>
                  </a:cubicBezTo>
                  <a:cubicBezTo>
                    <a:pt x="6718" y="1429"/>
                    <a:pt x="6662" y="1411"/>
                    <a:pt x="6603" y="1408"/>
                  </a:cubicBezTo>
                  <a:cubicBezTo>
                    <a:pt x="6599" y="1408"/>
                    <a:pt x="6596" y="1408"/>
                    <a:pt x="6592" y="1408"/>
                  </a:cubicBezTo>
                  <a:cubicBezTo>
                    <a:pt x="6438" y="1408"/>
                    <a:pt x="6293" y="1335"/>
                    <a:pt x="6200" y="1212"/>
                  </a:cubicBezTo>
                  <a:cubicBezTo>
                    <a:pt x="6197" y="1212"/>
                    <a:pt x="6197" y="1208"/>
                    <a:pt x="6193" y="1208"/>
                  </a:cubicBezTo>
                  <a:cubicBezTo>
                    <a:pt x="6169" y="1191"/>
                    <a:pt x="6141" y="1177"/>
                    <a:pt x="6113" y="1173"/>
                  </a:cubicBezTo>
                  <a:cubicBezTo>
                    <a:pt x="6014" y="1145"/>
                    <a:pt x="5913" y="1134"/>
                    <a:pt x="5814" y="1134"/>
                  </a:cubicBezTo>
                  <a:cubicBezTo>
                    <a:pt x="5800" y="1134"/>
                    <a:pt x="5787" y="1134"/>
                    <a:pt x="5773" y="1135"/>
                  </a:cubicBezTo>
                  <a:cubicBezTo>
                    <a:pt x="5745" y="1135"/>
                    <a:pt x="5721" y="1135"/>
                    <a:pt x="5693" y="1142"/>
                  </a:cubicBezTo>
                  <a:lnTo>
                    <a:pt x="5654" y="1142"/>
                  </a:lnTo>
                  <a:cubicBezTo>
                    <a:pt x="5647" y="1142"/>
                    <a:pt x="5637" y="1142"/>
                    <a:pt x="5630" y="1138"/>
                  </a:cubicBezTo>
                  <a:lnTo>
                    <a:pt x="5623" y="1138"/>
                  </a:lnTo>
                  <a:cubicBezTo>
                    <a:pt x="5616" y="1138"/>
                    <a:pt x="5609" y="1135"/>
                    <a:pt x="5602" y="1131"/>
                  </a:cubicBezTo>
                  <a:lnTo>
                    <a:pt x="5595" y="1128"/>
                  </a:lnTo>
                  <a:cubicBezTo>
                    <a:pt x="5588" y="1124"/>
                    <a:pt x="5581" y="1121"/>
                    <a:pt x="5574" y="1117"/>
                  </a:cubicBezTo>
                  <a:lnTo>
                    <a:pt x="5567" y="1110"/>
                  </a:lnTo>
                  <a:lnTo>
                    <a:pt x="5553" y="1096"/>
                  </a:lnTo>
                  <a:lnTo>
                    <a:pt x="5546" y="1093"/>
                  </a:lnTo>
                  <a:lnTo>
                    <a:pt x="5532" y="1075"/>
                  </a:lnTo>
                  <a:lnTo>
                    <a:pt x="5525" y="1072"/>
                  </a:lnTo>
                  <a:lnTo>
                    <a:pt x="5511" y="1054"/>
                  </a:lnTo>
                  <a:lnTo>
                    <a:pt x="5507" y="1047"/>
                  </a:lnTo>
                  <a:lnTo>
                    <a:pt x="5490" y="1026"/>
                  </a:lnTo>
                  <a:cubicBezTo>
                    <a:pt x="5460" y="986"/>
                    <a:pt x="5439" y="959"/>
                    <a:pt x="5420" y="959"/>
                  </a:cubicBezTo>
                  <a:cubicBezTo>
                    <a:pt x="5418" y="959"/>
                    <a:pt x="5417" y="959"/>
                    <a:pt x="5416" y="960"/>
                  </a:cubicBezTo>
                  <a:cubicBezTo>
                    <a:pt x="5404" y="962"/>
                    <a:pt x="5391" y="963"/>
                    <a:pt x="5379" y="963"/>
                  </a:cubicBezTo>
                  <a:cubicBezTo>
                    <a:pt x="5343" y="963"/>
                    <a:pt x="5309" y="952"/>
                    <a:pt x="5283" y="928"/>
                  </a:cubicBezTo>
                  <a:cubicBezTo>
                    <a:pt x="5265" y="917"/>
                    <a:pt x="5251" y="900"/>
                    <a:pt x="5241" y="886"/>
                  </a:cubicBezTo>
                  <a:cubicBezTo>
                    <a:pt x="5209" y="833"/>
                    <a:pt x="5192" y="777"/>
                    <a:pt x="5185" y="718"/>
                  </a:cubicBezTo>
                  <a:lnTo>
                    <a:pt x="5174" y="728"/>
                  </a:lnTo>
                  <a:cubicBezTo>
                    <a:pt x="5129" y="767"/>
                    <a:pt x="5080" y="798"/>
                    <a:pt x="5031" y="826"/>
                  </a:cubicBezTo>
                  <a:cubicBezTo>
                    <a:pt x="5011" y="836"/>
                    <a:pt x="4989" y="840"/>
                    <a:pt x="4968" y="840"/>
                  </a:cubicBezTo>
                  <a:cubicBezTo>
                    <a:pt x="4949" y="840"/>
                    <a:pt x="4930" y="837"/>
                    <a:pt x="4912" y="830"/>
                  </a:cubicBezTo>
                  <a:lnTo>
                    <a:pt x="4898" y="823"/>
                  </a:lnTo>
                  <a:cubicBezTo>
                    <a:pt x="4849" y="791"/>
                    <a:pt x="4814" y="739"/>
                    <a:pt x="4800" y="679"/>
                  </a:cubicBezTo>
                  <a:cubicBezTo>
                    <a:pt x="4793" y="651"/>
                    <a:pt x="4786" y="627"/>
                    <a:pt x="4782" y="599"/>
                  </a:cubicBezTo>
                  <a:cubicBezTo>
                    <a:pt x="4761" y="571"/>
                    <a:pt x="4649" y="518"/>
                    <a:pt x="4590" y="490"/>
                  </a:cubicBezTo>
                  <a:cubicBezTo>
                    <a:pt x="4548" y="473"/>
                    <a:pt x="4506" y="452"/>
                    <a:pt x="4474" y="434"/>
                  </a:cubicBezTo>
                  <a:cubicBezTo>
                    <a:pt x="4425" y="403"/>
                    <a:pt x="4380" y="368"/>
                    <a:pt x="4338" y="322"/>
                  </a:cubicBezTo>
                  <a:cubicBezTo>
                    <a:pt x="4317" y="301"/>
                    <a:pt x="4292" y="280"/>
                    <a:pt x="4268" y="259"/>
                  </a:cubicBezTo>
                  <a:cubicBezTo>
                    <a:pt x="4251" y="282"/>
                    <a:pt x="4225" y="293"/>
                    <a:pt x="4198" y="293"/>
                  </a:cubicBezTo>
                  <a:cubicBezTo>
                    <a:pt x="4191" y="293"/>
                    <a:pt x="4184" y="292"/>
                    <a:pt x="4177" y="291"/>
                  </a:cubicBezTo>
                  <a:cubicBezTo>
                    <a:pt x="4079" y="273"/>
                    <a:pt x="3981" y="95"/>
                    <a:pt x="3967" y="11"/>
                  </a:cubicBezTo>
                  <a:lnTo>
                    <a:pt x="3956" y="7"/>
                  </a:lnTo>
                  <a:lnTo>
                    <a:pt x="3953" y="4"/>
                  </a:lnTo>
                  <a:lnTo>
                    <a:pt x="39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6" name="Google Shape;5426;p53"/>
            <p:cNvSpPr/>
            <p:nvPr/>
          </p:nvSpPr>
          <p:spPr>
            <a:xfrm>
              <a:off x="2113407" y="1701277"/>
              <a:ext cx="5580" cy="11812"/>
            </a:xfrm>
            <a:custGeom>
              <a:avLst/>
              <a:gdLst/>
              <a:ahLst/>
              <a:cxnLst/>
              <a:rect l="l" t="t" r="r" b="b"/>
              <a:pathLst>
                <a:path w="411" h="870" extrusionOk="0">
                  <a:moveTo>
                    <a:pt x="362" y="1"/>
                  </a:moveTo>
                  <a:lnTo>
                    <a:pt x="362" y="1"/>
                  </a:lnTo>
                  <a:cubicBezTo>
                    <a:pt x="351" y="11"/>
                    <a:pt x="337" y="29"/>
                    <a:pt x="327" y="39"/>
                  </a:cubicBezTo>
                  <a:cubicBezTo>
                    <a:pt x="260" y="130"/>
                    <a:pt x="176" y="204"/>
                    <a:pt x="81" y="263"/>
                  </a:cubicBezTo>
                  <a:cubicBezTo>
                    <a:pt x="1" y="312"/>
                    <a:pt x="8" y="484"/>
                    <a:pt x="57" y="624"/>
                  </a:cubicBezTo>
                  <a:cubicBezTo>
                    <a:pt x="107" y="761"/>
                    <a:pt x="196" y="870"/>
                    <a:pt x="259" y="870"/>
                  </a:cubicBezTo>
                  <a:cubicBezTo>
                    <a:pt x="261" y="870"/>
                    <a:pt x="264" y="869"/>
                    <a:pt x="267" y="869"/>
                  </a:cubicBezTo>
                  <a:cubicBezTo>
                    <a:pt x="281" y="869"/>
                    <a:pt x="302" y="844"/>
                    <a:pt x="320" y="809"/>
                  </a:cubicBezTo>
                  <a:cubicBezTo>
                    <a:pt x="411" y="610"/>
                    <a:pt x="397" y="141"/>
                    <a:pt x="36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7" name="Google Shape;5427;p53"/>
            <p:cNvSpPr/>
            <p:nvPr/>
          </p:nvSpPr>
          <p:spPr>
            <a:xfrm>
              <a:off x="2091696" y="1640056"/>
              <a:ext cx="4616" cy="543"/>
            </a:xfrm>
            <a:custGeom>
              <a:avLst/>
              <a:gdLst/>
              <a:ahLst/>
              <a:cxnLst/>
              <a:rect l="l" t="t" r="r" b="b"/>
              <a:pathLst>
                <a:path w="340" h="40" extrusionOk="0">
                  <a:moveTo>
                    <a:pt x="34" y="0"/>
                  </a:moveTo>
                  <a:cubicBezTo>
                    <a:pt x="23" y="0"/>
                    <a:pt x="11" y="0"/>
                    <a:pt x="0" y="1"/>
                  </a:cubicBezTo>
                  <a:lnTo>
                    <a:pt x="46" y="1"/>
                  </a:lnTo>
                  <a:cubicBezTo>
                    <a:pt x="133" y="4"/>
                    <a:pt x="221" y="11"/>
                    <a:pt x="305" y="32"/>
                  </a:cubicBezTo>
                  <a:lnTo>
                    <a:pt x="340" y="39"/>
                  </a:lnTo>
                  <a:cubicBezTo>
                    <a:pt x="239" y="14"/>
                    <a:pt x="135" y="0"/>
                    <a:pt x="3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8" name="Google Shape;5428;p53"/>
            <p:cNvSpPr/>
            <p:nvPr/>
          </p:nvSpPr>
          <p:spPr>
            <a:xfrm>
              <a:off x="2083563" y="163439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9" name="Google Shape;5429;p53"/>
            <p:cNvSpPr/>
            <p:nvPr/>
          </p:nvSpPr>
          <p:spPr>
            <a:xfrm>
              <a:off x="2066972" y="1624699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0" name="Google Shape;5430;p53"/>
            <p:cNvSpPr/>
            <p:nvPr/>
          </p:nvSpPr>
          <p:spPr>
            <a:xfrm>
              <a:off x="2087840" y="1638630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" y="1"/>
                  </a:moveTo>
                  <a:lnTo>
                    <a:pt x="18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1" name="Google Shape;5431;p53"/>
            <p:cNvSpPr/>
            <p:nvPr/>
          </p:nvSpPr>
          <p:spPr>
            <a:xfrm>
              <a:off x="2089741" y="1640151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1"/>
                  </a:moveTo>
                  <a:cubicBezTo>
                    <a:pt x="8" y="4"/>
                    <a:pt x="18" y="4"/>
                    <a:pt x="25" y="8"/>
                  </a:cubicBezTo>
                  <a:cubicBezTo>
                    <a:pt x="18" y="4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2" name="Google Shape;5432;p53"/>
            <p:cNvSpPr/>
            <p:nvPr/>
          </p:nvSpPr>
          <p:spPr>
            <a:xfrm>
              <a:off x="2089361" y="1640015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0"/>
                  </a:moveTo>
                  <a:cubicBezTo>
                    <a:pt x="8" y="4"/>
                    <a:pt x="15" y="7"/>
                    <a:pt x="22" y="11"/>
                  </a:cubicBezTo>
                  <a:cubicBezTo>
                    <a:pt x="15" y="7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3" name="Google Shape;5433;p53"/>
            <p:cNvSpPr/>
            <p:nvPr/>
          </p:nvSpPr>
          <p:spPr>
            <a:xfrm>
              <a:off x="2079992" y="1635819"/>
              <a:ext cx="1629" cy="299"/>
            </a:xfrm>
            <a:custGeom>
              <a:avLst/>
              <a:gdLst/>
              <a:ahLst/>
              <a:cxnLst/>
              <a:rect l="l" t="t" r="r" b="b"/>
              <a:pathLst>
                <a:path w="120" h="22" extrusionOk="0">
                  <a:moveTo>
                    <a:pt x="120" y="1"/>
                  </a:moveTo>
                  <a:cubicBezTo>
                    <a:pt x="81" y="22"/>
                    <a:pt x="39" y="22"/>
                    <a:pt x="1" y="8"/>
                  </a:cubicBezTo>
                  <a:cubicBezTo>
                    <a:pt x="39" y="22"/>
                    <a:pt x="81" y="22"/>
                    <a:pt x="1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4" name="Google Shape;5434;p53"/>
            <p:cNvSpPr/>
            <p:nvPr/>
          </p:nvSpPr>
          <p:spPr>
            <a:xfrm>
              <a:off x="2088411" y="163929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5" name="Google Shape;5435;p53"/>
            <p:cNvSpPr/>
            <p:nvPr/>
          </p:nvSpPr>
          <p:spPr>
            <a:xfrm>
              <a:off x="2088981" y="1639825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0"/>
                  </a:moveTo>
                  <a:cubicBezTo>
                    <a:pt x="8" y="4"/>
                    <a:pt x="15" y="7"/>
                    <a:pt x="22" y="11"/>
                  </a:cubicBezTo>
                  <a:cubicBezTo>
                    <a:pt x="15" y="7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6" name="Google Shape;5436;p53"/>
            <p:cNvSpPr/>
            <p:nvPr/>
          </p:nvSpPr>
          <p:spPr>
            <a:xfrm>
              <a:off x="2090121" y="1640110"/>
              <a:ext cx="1589" cy="109"/>
            </a:xfrm>
            <a:custGeom>
              <a:avLst/>
              <a:gdLst/>
              <a:ahLst/>
              <a:cxnLst/>
              <a:rect l="l" t="t" r="r" b="b"/>
              <a:pathLst>
                <a:path w="117" h="8" extrusionOk="0">
                  <a:moveTo>
                    <a:pt x="81" y="0"/>
                  </a:moveTo>
                  <a:cubicBezTo>
                    <a:pt x="67" y="0"/>
                    <a:pt x="53" y="4"/>
                    <a:pt x="36" y="4"/>
                  </a:cubicBezTo>
                  <a:cubicBezTo>
                    <a:pt x="25" y="7"/>
                    <a:pt x="15" y="7"/>
                    <a:pt x="1" y="7"/>
                  </a:cubicBezTo>
                  <a:lnTo>
                    <a:pt x="39" y="7"/>
                  </a:lnTo>
                  <a:cubicBezTo>
                    <a:pt x="64" y="4"/>
                    <a:pt x="88" y="0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7" name="Google Shape;5437;p53"/>
            <p:cNvSpPr/>
            <p:nvPr/>
          </p:nvSpPr>
          <p:spPr>
            <a:xfrm>
              <a:off x="2088125" y="1638969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" y="0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8" name="Google Shape;5438;p53"/>
            <p:cNvSpPr/>
            <p:nvPr/>
          </p:nvSpPr>
          <p:spPr>
            <a:xfrm>
              <a:off x="2088696" y="1639580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"/>
                  </a:moveTo>
                  <a:lnTo>
                    <a:pt x="18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9" name="Google Shape;5439;p53"/>
            <p:cNvSpPr/>
            <p:nvPr/>
          </p:nvSpPr>
          <p:spPr>
            <a:xfrm>
              <a:off x="2091221" y="1640056"/>
              <a:ext cx="1100" cy="68"/>
            </a:xfrm>
            <a:custGeom>
              <a:avLst/>
              <a:gdLst/>
              <a:ahLst/>
              <a:cxnLst/>
              <a:rect l="l" t="t" r="r" b="b"/>
              <a:pathLst>
                <a:path w="81" h="5" extrusionOk="0">
                  <a:moveTo>
                    <a:pt x="81" y="1"/>
                  </a:moveTo>
                  <a:cubicBezTo>
                    <a:pt x="56" y="1"/>
                    <a:pt x="28" y="1"/>
                    <a:pt x="0" y="4"/>
                  </a:cubicBezTo>
                  <a:lnTo>
                    <a:pt x="35" y="4"/>
                  </a:lnTo>
                  <a:lnTo>
                    <a:pt x="8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0" name="Google Shape;5440;p53"/>
            <p:cNvSpPr/>
            <p:nvPr/>
          </p:nvSpPr>
          <p:spPr>
            <a:xfrm>
              <a:off x="2093923" y="1670524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8"/>
                  </a:moveTo>
                  <a:cubicBezTo>
                    <a:pt x="4" y="11"/>
                    <a:pt x="1" y="8"/>
                    <a:pt x="1" y="1"/>
                  </a:cubicBezTo>
                  <a:cubicBezTo>
                    <a:pt x="1" y="8"/>
                    <a:pt x="4" y="11"/>
                    <a:pt x="8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1" name="Google Shape;5441;p53"/>
            <p:cNvSpPr/>
            <p:nvPr/>
          </p:nvSpPr>
          <p:spPr>
            <a:xfrm>
              <a:off x="2103767" y="1657068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4" y="1"/>
                  </a:moveTo>
                  <a:lnTo>
                    <a:pt x="9" y="18"/>
                  </a:lnTo>
                  <a:lnTo>
                    <a:pt x="9" y="18"/>
                  </a:lnTo>
                  <a:cubicBezTo>
                    <a:pt x="11" y="12"/>
                    <a:pt x="13" y="6"/>
                    <a:pt x="14" y="1"/>
                  </a:cubicBezTo>
                  <a:close/>
                  <a:moveTo>
                    <a:pt x="9" y="18"/>
                  </a:moveTo>
                  <a:cubicBezTo>
                    <a:pt x="6" y="24"/>
                    <a:pt x="4" y="29"/>
                    <a:pt x="0" y="32"/>
                  </a:cubicBezTo>
                  <a:cubicBezTo>
                    <a:pt x="4" y="29"/>
                    <a:pt x="7" y="25"/>
                    <a:pt x="7" y="22"/>
                  </a:cubicBezTo>
                  <a:lnTo>
                    <a:pt x="9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2" name="Google Shape;5442;p53"/>
            <p:cNvSpPr/>
            <p:nvPr/>
          </p:nvSpPr>
          <p:spPr>
            <a:xfrm>
              <a:off x="2101676" y="1658019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3" name="Google Shape;5443;p53"/>
            <p:cNvSpPr/>
            <p:nvPr/>
          </p:nvSpPr>
          <p:spPr>
            <a:xfrm>
              <a:off x="2099585" y="1672289"/>
              <a:ext cx="502" cy="1385"/>
            </a:xfrm>
            <a:custGeom>
              <a:avLst/>
              <a:gdLst/>
              <a:ahLst/>
              <a:cxnLst/>
              <a:rect l="l" t="t" r="r" b="b"/>
              <a:pathLst>
                <a:path w="37" h="102" extrusionOk="0">
                  <a:moveTo>
                    <a:pt x="0" y="0"/>
                  </a:moveTo>
                  <a:lnTo>
                    <a:pt x="0" y="0"/>
                  </a:lnTo>
                  <a:cubicBezTo>
                    <a:pt x="24" y="26"/>
                    <a:pt x="36" y="41"/>
                    <a:pt x="37" y="62"/>
                  </a:cubicBezTo>
                  <a:lnTo>
                    <a:pt x="37" y="62"/>
                  </a:lnTo>
                  <a:cubicBezTo>
                    <a:pt x="37" y="40"/>
                    <a:pt x="24" y="26"/>
                    <a:pt x="0" y="0"/>
                  </a:cubicBezTo>
                  <a:close/>
                  <a:moveTo>
                    <a:pt x="37" y="62"/>
                  </a:moveTo>
                  <a:lnTo>
                    <a:pt x="37" y="62"/>
                  </a:lnTo>
                  <a:cubicBezTo>
                    <a:pt x="37" y="64"/>
                    <a:pt x="36" y="67"/>
                    <a:pt x="36" y="69"/>
                  </a:cubicBezTo>
                  <a:lnTo>
                    <a:pt x="36" y="69"/>
                  </a:lnTo>
                  <a:cubicBezTo>
                    <a:pt x="36" y="67"/>
                    <a:pt x="37" y="64"/>
                    <a:pt x="37" y="62"/>
                  </a:cubicBezTo>
                  <a:close/>
                  <a:moveTo>
                    <a:pt x="36" y="69"/>
                  </a:moveTo>
                  <a:cubicBezTo>
                    <a:pt x="35" y="77"/>
                    <a:pt x="33" y="87"/>
                    <a:pt x="28" y="98"/>
                  </a:cubicBezTo>
                  <a:lnTo>
                    <a:pt x="28" y="102"/>
                  </a:lnTo>
                  <a:cubicBezTo>
                    <a:pt x="33" y="89"/>
                    <a:pt x="35" y="78"/>
                    <a:pt x="36" y="6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4" name="Google Shape;5444;p53"/>
            <p:cNvSpPr/>
            <p:nvPr/>
          </p:nvSpPr>
          <p:spPr>
            <a:xfrm>
              <a:off x="2101296" y="1658209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5" name="Google Shape;5445;p53"/>
            <p:cNvSpPr/>
            <p:nvPr/>
          </p:nvSpPr>
          <p:spPr>
            <a:xfrm>
              <a:off x="2100630" y="1658684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6" name="Google Shape;5446;p53"/>
            <p:cNvSpPr/>
            <p:nvPr/>
          </p:nvSpPr>
          <p:spPr>
            <a:xfrm>
              <a:off x="2100956" y="1658453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7" name="Google Shape;5447;p53"/>
            <p:cNvSpPr/>
            <p:nvPr/>
          </p:nvSpPr>
          <p:spPr>
            <a:xfrm>
              <a:off x="2102056" y="1657829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8" name="Google Shape;5448;p53"/>
            <p:cNvSpPr/>
            <p:nvPr/>
          </p:nvSpPr>
          <p:spPr>
            <a:xfrm>
              <a:off x="2103142" y="1657543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9" name="Google Shape;5449;p53"/>
            <p:cNvSpPr/>
            <p:nvPr/>
          </p:nvSpPr>
          <p:spPr>
            <a:xfrm>
              <a:off x="2102816" y="165763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0" name="Google Shape;5450;p53"/>
            <p:cNvSpPr/>
            <p:nvPr/>
          </p:nvSpPr>
          <p:spPr>
            <a:xfrm>
              <a:off x="2102436" y="1657733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1" name="Google Shape;5451;p53"/>
            <p:cNvSpPr/>
            <p:nvPr/>
          </p:nvSpPr>
          <p:spPr>
            <a:xfrm>
              <a:off x="2100345" y="165902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2" name="Google Shape;5452;p53"/>
            <p:cNvSpPr/>
            <p:nvPr/>
          </p:nvSpPr>
          <p:spPr>
            <a:xfrm>
              <a:off x="2099395" y="1660300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cubicBezTo>
                    <a:pt x="4" y="15"/>
                    <a:pt x="7" y="8"/>
                    <a:pt x="11" y="1"/>
                  </a:cubicBezTo>
                  <a:cubicBezTo>
                    <a:pt x="7" y="8"/>
                    <a:pt x="4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3" name="Google Shape;5453;p53"/>
            <p:cNvSpPr/>
            <p:nvPr/>
          </p:nvSpPr>
          <p:spPr>
            <a:xfrm>
              <a:off x="2099585" y="165991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cubicBezTo>
                    <a:pt x="4" y="15"/>
                    <a:pt x="7" y="8"/>
                    <a:pt x="11" y="1"/>
                  </a:cubicBezTo>
                  <a:cubicBezTo>
                    <a:pt x="7" y="8"/>
                    <a:pt x="4" y="15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4" name="Google Shape;5454;p53"/>
            <p:cNvSpPr/>
            <p:nvPr/>
          </p:nvSpPr>
          <p:spPr>
            <a:xfrm>
              <a:off x="2099245" y="1660639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21"/>
                  </a:moveTo>
                  <a:cubicBezTo>
                    <a:pt x="4" y="14"/>
                    <a:pt x="8" y="7"/>
                    <a:pt x="11" y="0"/>
                  </a:cubicBezTo>
                  <a:cubicBezTo>
                    <a:pt x="8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5" name="Google Shape;5455;p53"/>
            <p:cNvSpPr/>
            <p:nvPr/>
          </p:nvSpPr>
          <p:spPr>
            <a:xfrm>
              <a:off x="2099150" y="1661019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1" y="25"/>
                  </a:moveTo>
                  <a:cubicBezTo>
                    <a:pt x="1" y="18"/>
                    <a:pt x="4" y="7"/>
                    <a:pt x="8" y="0"/>
                  </a:cubicBezTo>
                  <a:cubicBezTo>
                    <a:pt x="4" y="7"/>
                    <a:pt x="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6" name="Google Shape;5456;p53"/>
            <p:cNvSpPr/>
            <p:nvPr/>
          </p:nvSpPr>
          <p:spPr>
            <a:xfrm>
              <a:off x="2094018" y="1670958"/>
              <a:ext cx="543" cy="584"/>
            </a:xfrm>
            <a:custGeom>
              <a:avLst/>
              <a:gdLst/>
              <a:ahLst/>
              <a:cxnLst/>
              <a:rect l="l" t="t" r="r" b="b"/>
              <a:pathLst>
                <a:path w="40" h="43" extrusionOk="0">
                  <a:moveTo>
                    <a:pt x="1" y="0"/>
                  </a:moveTo>
                  <a:cubicBezTo>
                    <a:pt x="11" y="18"/>
                    <a:pt x="22" y="32"/>
                    <a:pt x="39" y="42"/>
                  </a:cubicBezTo>
                  <a:cubicBezTo>
                    <a:pt x="22" y="32"/>
                    <a:pt x="11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7" name="Google Shape;5457;p53"/>
            <p:cNvSpPr/>
            <p:nvPr/>
          </p:nvSpPr>
          <p:spPr>
            <a:xfrm>
              <a:off x="2100060" y="165930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18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8" name="Google Shape;5458;p53"/>
            <p:cNvSpPr/>
            <p:nvPr/>
          </p:nvSpPr>
          <p:spPr>
            <a:xfrm>
              <a:off x="2099816" y="1659594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1" y="0"/>
                  </a:moveTo>
                  <a:lnTo>
                    <a:pt x="11" y="0"/>
                  </a:lnTo>
                  <a:cubicBezTo>
                    <a:pt x="8" y="7"/>
                    <a:pt x="4" y="14"/>
                    <a:pt x="1" y="21"/>
                  </a:cubicBezTo>
                  <a:cubicBezTo>
                    <a:pt x="4" y="14"/>
                    <a:pt x="11" y="7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9" name="Google Shape;5459;p53"/>
            <p:cNvSpPr/>
            <p:nvPr/>
          </p:nvSpPr>
          <p:spPr>
            <a:xfrm>
              <a:off x="2096299" y="1640626"/>
              <a:ext cx="1113" cy="489"/>
            </a:xfrm>
            <a:custGeom>
              <a:avLst/>
              <a:gdLst/>
              <a:ahLst/>
              <a:cxnLst/>
              <a:rect l="l" t="t" r="r" b="b"/>
              <a:pathLst>
                <a:path w="82" h="36" extrusionOk="0">
                  <a:moveTo>
                    <a:pt x="1" y="1"/>
                  </a:moveTo>
                  <a:lnTo>
                    <a:pt x="15" y="4"/>
                  </a:lnTo>
                  <a:lnTo>
                    <a:pt x="15" y="4"/>
                  </a:lnTo>
                  <a:cubicBezTo>
                    <a:pt x="10" y="3"/>
                    <a:pt x="5" y="2"/>
                    <a:pt x="1" y="1"/>
                  </a:cubicBezTo>
                  <a:close/>
                  <a:moveTo>
                    <a:pt x="15" y="4"/>
                  </a:moveTo>
                  <a:cubicBezTo>
                    <a:pt x="38" y="11"/>
                    <a:pt x="61" y="21"/>
                    <a:pt x="81" y="36"/>
                  </a:cubicBezTo>
                  <a:cubicBezTo>
                    <a:pt x="71" y="25"/>
                    <a:pt x="53" y="15"/>
                    <a:pt x="39" y="11"/>
                  </a:cubicBez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0" name="Google Shape;5460;p53"/>
            <p:cNvSpPr/>
            <p:nvPr/>
          </p:nvSpPr>
          <p:spPr>
            <a:xfrm>
              <a:off x="2103957" y="1654937"/>
              <a:ext cx="299" cy="2145"/>
            </a:xfrm>
            <a:custGeom>
              <a:avLst/>
              <a:gdLst/>
              <a:ahLst/>
              <a:cxnLst/>
              <a:rect l="l" t="t" r="r" b="b"/>
              <a:pathLst>
                <a:path w="22" h="158" extrusionOk="0">
                  <a:moveTo>
                    <a:pt x="21" y="0"/>
                  </a:moveTo>
                  <a:lnTo>
                    <a:pt x="21" y="0"/>
                  </a:lnTo>
                  <a:cubicBezTo>
                    <a:pt x="20" y="15"/>
                    <a:pt x="19" y="32"/>
                    <a:pt x="17" y="50"/>
                  </a:cubicBezTo>
                  <a:lnTo>
                    <a:pt x="17" y="50"/>
                  </a:lnTo>
                  <a:cubicBezTo>
                    <a:pt x="19" y="33"/>
                    <a:pt x="20" y="17"/>
                    <a:pt x="21" y="0"/>
                  </a:cubicBezTo>
                  <a:close/>
                  <a:moveTo>
                    <a:pt x="17" y="50"/>
                  </a:moveTo>
                  <a:lnTo>
                    <a:pt x="17" y="50"/>
                  </a:lnTo>
                  <a:cubicBezTo>
                    <a:pt x="13" y="86"/>
                    <a:pt x="8" y="122"/>
                    <a:pt x="0" y="158"/>
                  </a:cubicBezTo>
                  <a:lnTo>
                    <a:pt x="4" y="140"/>
                  </a:lnTo>
                  <a:cubicBezTo>
                    <a:pt x="10" y="112"/>
                    <a:pt x="14" y="79"/>
                    <a:pt x="17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1" name="Google Shape;5461;p53"/>
            <p:cNvSpPr/>
            <p:nvPr/>
          </p:nvSpPr>
          <p:spPr>
            <a:xfrm>
              <a:off x="2105138" y="1644577"/>
              <a:ext cx="1969" cy="625"/>
            </a:xfrm>
            <a:custGeom>
              <a:avLst/>
              <a:gdLst/>
              <a:ahLst/>
              <a:cxnLst/>
              <a:rect l="l" t="t" r="r" b="b"/>
              <a:pathLst>
                <a:path w="145" h="46" extrusionOk="0">
                  <a:moveTo>
                    <a:pt x="1" y="0"/>
                  </a:moveTo>
                  <a:cubicBezTo>
                    <a:pt x="43" y="32"/>
                    <a:pt x="92" y="46"/>
                    <a:pt x="144" y="42"/>
                  </a:cubicBezTo>
                  <a:lnTo>
                    <a:pt x="144" y="42"/>
                  </a:lnTo>
                  <a:cubicBezTo>
                    <a:pt x="92" y="46"/>
                    <a:pt x="43" y="32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2" name="Google Shape;5462;p53"/>
            <p:cNvSpPr/>
            <p:nvPr/>
          </p:nvSpPr>
          <p:spPr>
            <a:xfrm>
              <a:off x="2095824" y="1640490"/>
              <a:ext cx="1018" cy="299"/>
            </a:xfrm>
            <a:custGeom>
              <a:avLst/>
              <a:gdLst/>
              <a:ahLst/>
              <a:cxnLst/>
              <a:rect l="l" t="t" r="r" b="b"/>
              <a:pathLst>
                <a:path w="75" h="22" extrusionOk="0">
                  <a:moveTo>
                    <a:pt x="1" y="0"/>
                  </a:moveTo>
                  <a:lnTo>
                    <a:pt x="36" y="11"/>
                  </a:lnTo>
                  <a:lnTo>
                    <a:pt x="74" y="21"/>
                  </a:lnTo>
                  <a:cubicBezTo>
                    <a:pt x="53" y="11"/>
                    <a:pt x="29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3" name="Google Shape;5463;p53"/>
            <p:cNvSpPr/>
            <p:nvPr/>
          </p:nvSpPr>
          <p:spPr>
            <a:xfrm>
              <a:off x="2103862" y="1656837"/>
              <a:ext cx="149" cy="530"/>
            </a:xfrm>
            <a:custGeom>
              <a:avLst/>
              <a:gdLst/>
              <a:ahLst/>
              <a:cxnLst/>
              <a:rect l="l" t="t" r="r" b="b"/>
              <a:pathLst>
                <a:path w="11" h="39" extrusionOk="0">
                  <a:moveTo>
                    <a:pt x="11" y="0"/>
                  </a:moveTo>
                  <a:lnTo>
                    <a:pt x="7" y="18"/>
                  </a:lnTo>
                  <a:lnTo>
                    <a:pt x="5" y="24"/>
                  </a:lnTo>
                  <a:lnTo>
                    <a:pt x="5" y="24"/>
                  </a:lnTo>
                  <a:cubicBezTo>
                    <a:pt x="8" y="16"/>
                    <a:pt x="11" y="9"/>
                    <a:pt x="11" y="0"/>
                  </a:cubicBezTo>
                  <a:close/>
                  <a:moveTo>
                    <a:pt x="5" y="24"/>
                  </a:moveTo>
                  <a:lnTo>
                    <a:pt x="5" y="24"/>
                  </a:lnTo>
                  <a:cubicBezTo>
                    <a:pt x="4" y="29"/>
                    <a:pt x="2" y="33"/>
                    <a:pt x="0" y="39"/>
                  </a:cubicBezTo>
                  <a:lnTo>
                    <a:pt x="5" y="2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4" name="Google Shape;5464;p53"/>
            <p:cNvSpPr/>
            <p:nvPr/>
          </p:nvSpPr>
          <p:spPr>
            <a:xfrm>
              <a:off x="1375130" y="1936371"/>
              <a:ext cx="14704" cy="7522"/>
            </a:xfrm>
            <a:custGeom>
              <a:avLst/>
              <a:gdLst/>
              <a:ahLst/>
              <a:cxnLst/>
              <a:rect l="l" t="t" r="r" b="b"/>
              <a:pathLst>
                <a:path w="1083" h="554" extrusionOk="0">
                  <a:moveTo>
                    <a:pt x="302" y="1"/>
                  </a:moveTo>
                  <a:cubicBezTo>
                    <a:pt x="291" y="1"/>
                    <a:pt x="232" y="32"/>
                    <a:pt x="1" y="249"/>
                  </a:cubicBezTo>
                  <a:cubicBezTo>
                    <a:pt x="239" y="382"/>
                    <a:pt x="806" y="554"/>
                    <a:pt x="960" y="554"/>
                  </a:cubicBezTo>
                  <a:cubicBezTo>
                    <a:pt x="1002" y="554"/>
                    <a:pt x="1041" y="540"/>
                    <a:pt x="1072" y="512"/>
                  </a:cubicBezTo>
                  <a:lnTo>
                    <a:pt x="1072" y="501"/>
                  </a:lnTo>
                  <a:lnTo>
                    <a:pt x="1076" y="480"/>
                  </a:lnTo>
                  <a:lnTo>
                    <a:pt x="1079" y="459"/>
                  </a:lnTo>
                  <a:lnTo>
                    <a:pt x="1079" y="442"/>
                  </a:lnTo>
                  <a:lnTo>
                    <a:pt x="1083" y="421"/>
                  </a:lnTo>
                  <a:lnTo>
                    <a:pt x="1083" y="407"/>
                  </a:lnTo>
                  <a:lnTo>
                    <a:pt x="1083" y="389"/>
                  </a:lnTo>
                  <a:lnTo>
                    <a:pt x="1083" y="375"/>
                  </a:lnTo>
                  <a:lnTo>
                    <a:pt x="1083" y="358"/>
                  </a:lnTo>
                  <a:lnTo>
                    <a:pt x="1083" y="351"/>
                  </a:lnTo>
                  <a:lnTo>
                    <a:pt x="1083" y="333"/>
                  </a:lnTo>
                  <a:lnTo>
                    <a:pt x="1083" y="326"/>
                  </a:lnTo>
                  <a:lnTo>
                    <a:pt x="1083" y="309"/>
                  </a:lnTo>
                  <a:lnTo>
                    <a:pt x="1083" y="305"/>
                  </a:lnTo>
                  <a:lnTo>
                    <a:pt x="1083" y="288"/>
                  </a:lnTo>
                  <a:lnTo>
                    <a:pt x="1083" y="260"/>
                  </a:lnTo>
                  <a:lnTo>
                    <a:pt x="1083" y="253"/>
                  </a:lnTo>
                  <a:lnTo>
                    <a:pt x="1083" y="246"/>
                  </a:lnTo>
                  <a:lnTo>
                    <a:pt x="1083" y="242"/>
                  </a:lnTo>
                  <a:lnTo>
                    <a:pt x="1083" y="239"/>
                  </a:lnTo>
                  <a:lnTo>
                    <a:pt x="1083" y="235"/>
                  </a:lnTo>
                  <a:cubicBezTo>
                    <a:pt x="1069" y="218"/>
                    <a:pt x="1048" y="211"/>
                    <a:pt x="1027" y="207"/>
                  </a:cubicBezTo>
                  <a:cubicBezTo>
                    <a:pt x="992" y="204"/>
                    <a:pt x="957" y="204"/>
                    <a:pt x="922" y="204"/>
                  </a:cubicBezTo>
                  <a:cubicBezTo>
                    <a:pt x="813" y="204"/>
                    <a:pt x="656" y="204"/>
                    <a:pt x="501" y="99"/>
                  </a:cubicBezTo>
                  <a:cubicBezTo>
                    <a:pt x="487" y="88"/>
                    <a:pt x="473" y="81"/>
                    <a:pt x="459" y="71"/>
                  </a:cubicBezTo>
                  <a:lnTo>
                    <a:pt x="442" y="64"/>
                  </a:lnTo>
                  <a:lnTo>
                    <a:pt x="407" y="46"/>
                  </a:lnTo>
                  <a:lnTo>
                    <a:pt x="386" y="36"/>
                  </a:lnTo>
                  <a:lnTo>
                    <a:pt x="351" y="22"/>
                  </a:lnTo>
                  <a:lnTo>
                    <a:pt x="326" y="8"/>
                  </a:lnTo>
                  <a:lnTo>
                    <a:pt x="30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5" name="Google Shape;5465;p53"/>
            <p:cNvSpPr/>
            <p:nvPr/>
          </p:nvSpPr>
          <p:spPr>
            <a:xfrm>
              <a:off x="1380643" y="1923581"/>
              <a:ext cx="42986" cy="21887"/>
            </a:xfrm>
            <a:custGeom>
              <a:avLst/>
              <a:gdLst/>
              <a:ahLst/>
              <a:cxnLst/>
              <a:rect l="l" t="t" r="r" b="b"/>
              <a:pathLst>
                <a:path w="3166" h="1612" extrusionOk="0">
                  <a:moveTo>
                    <a:pt x="2152" y="1"/>
                  </a:moveTo>
                  <a:cubicBezTo>
                    <a:pt x="1913" y="1"/>
                    <a:pt x="1654" y="70"/>
                    <a:pt x="1496" y="131"/>
                  </a:cubicBezTo>
                  <a:cubicBezTo>
                    <a:pt x="1422" y="160"/>
                    <a:pt x="1346" y="171"/>
                    <a:pt x="1270" y="171"/>
                  </a:cubicBezTo>
                  <a:cubicBezTo>
                    <a:pt x="1184" y="171"/>
                    <a:pt x="1098" y="158"/>
                    <a:pt x="1013" y="145"/>
                  </a:cubicBezTo>
                  <a:cubicBezTo>
                    <a:pt x="928" y="132"/>
                    <a:pt x="845" y="120"/>
                    <a:pt x="765" y="120"/>
                  </a:cubicBezTo>
                  <a:cubicBezTo>
                    <a:pt x="670" y="120"/>
                    <a:pt x="577" y="137"/>
                    <a:pt x="488" y="190"/>
                  </a:cubicBezTo>
                  <a:lnTo>
                    <a:pt x="484" y="190"/>
                  </a:lnTo>
                  <a:cubicBezTo>
                    <a:pt x="474" y="204"/>
                    <a:pt x="460" y="218"/>
                    <a:pt x="446" y="236"/>
                  </a:cubicBezTo>
                  <a:cubicBezTo>
                    <a:pt x="435" y="250"/>
                    <a:pt x="425" y="260"/>
                    <a:pt x="414" y="271"/>
                  </a:cubicBezTo>
                  <a:cubicBezTo>
                    <a:pt x="404" y="285"/>
                    <a:pt x="386" y="306"/>
                    <a:pt x="369" y="323"/>
                  </a:cubicBezTo>
                  <a:cubicBezTo>
                    <a:pt x="358" y="334"/>
                    <a:pt x="351" y="344"/>
                    <a:pt x="341" y="355"/>
                  </a:cubicBezTo>
                  <a:cubicBezTo>
                    <a:pt x="323" y="372"/>
                    <a:pt x="306" y="386"/>
                    <a:pt x="288" y="404"/>
                  </a:cubicBezTo>
                  <a:lnTo>
                    <a:pt x="264" y="428"/>
                  </a:lnTo>
                  <a:cubicBezTo>
                    <a:pt x="239" y="449"/>
                    <a:pt x="215" y="470"/>
                    <a:pt x="190" y="491"/>
                  </a:cubicBezTo>
                  <a:cubicBezTo>
                    <a:pt x="102" y="561"/>
                    <a:pt x="39" y="659"/>
                    <a:pt x="18" y="768"/>
                  </a:cubicBezTo>
                  <a:cubicBezTo>
                    <a:pt x="15" y="792"/>
                    <a:pt x="8" y="813"/>
                    <a:pt x="1" y="834"/>
                  </a:cubicBezTo>
                  <a:cubicBezTo>
                    <a:pt x="22" y="841"/>
                    <a:pt x="39" y="852"/>
                    <a:pt x="57" y="859"/>
                  </a:cubicBezTo>
                  <a:lnTo>
                    <a:pt x="71" y="866"/>
                  </a:lnTo>
                  <a:lnTo>
                    <a:pt x="113" y="890"/>
                  </a:lnTo>
                  <a:lnTo>
                    <a:pt x="127" y="897"/>
                  </a:lnTo>
                  <a:cubicBezTo>
                    <a:pt x="144" y="908"/>
                    <a:pt x="158" y="915"/>
                    <a:pt x="172" y="925"/>
                  </a:cubicBezTo>
                  <a:cubicBezTo>
                    <a:pt x="295" y="1009"/>
                    <a:pt x="414" y="1009"/>
                    <a:pt x="519" y="1009"/>
                  </a:cubicBezTo>
                  <a:cubicBezTo>
                    <a:pt x="628" y="1009"/>
                    <a:pt x="722" y="1009"/>
                    <a:pt x="785" y="1097"/>
                  </a:cubicBezTo>
                  <a:lnTo>
                    <a:pt x="792" y="1104"/>
                  </a:lnTo>
                  <a:lnTo>
                    <a:pt x="792" y="1107"/>
                  </a:lnTo>
                  <a:lnTo>
                    <a:pt x="796" y="1111"/>
                  </a:lnTo>
                  <a:lnTo>
                    <a:pt x="796" y="1114"/>
                  </a:lnTo>
                  <a:lnTo>
                    <a:pt x="799" y="1121"/>
                  </a:lnTo>
                  <a:lnTo>
                    <a:pt x="799" y="1125"/>
                  </a:lnTo>
                  <a:lnTo>
                    <a:pt x="803" y="1135"/>
                  </a:lnTo>
                  <a:lnTo>
                    <a:pt x="803" y="1139"/>
                  </a:lnTo>
                  <a:lnTo>
                    <a:pt x="803" y="1149"/>
                  </a:lnTo>
                  <a:lnTo>
                    <a:pt x="803" y="1153"/>
                  </a:lnTo>
                  <a:cubicBezTo>
                    <a:pt x="803" y="1156"/>
                    <a:pt x="803" y="1160"/>
                    <a:pt x="806" y="1167"/>
                  </a:cubicBezTo>
                  <a:lnTo>
                    <a:pt x="806" y="1170"/>
                  </a:lnTo>
                  <a:lnTo>
                    <a:pt x="806" y="1184"/>
                  </a:lnTo>
                  <a:lnTo>
                    <a:pt x="806" y="1191"/>
                  </a:lnTo>
                  <a:lnTo>
                    <a:pt x="806" y="1202"/>
                  </a:lnTo>
                  <a:lnTo>
                    <a:pt x="806" y="1212"/>
                  </a:lnTo>
                  <a:lnTo>
                    <a:pt x="806" y="1226"/>
                  </a:lnTo>
                  <a:lnTo>
                    <a:pt x="806" y="1233"/>
                  </a:lnTo>
                  <a:lnTo>
                    <a:pt x="806" y="1251"/>
                  </a:lnTo>
                  <a:lnTo>
                    <a:pt x="806" y="1261"/>
                  </a:lnTo>
                  <a:lnTo>
                    <a:pt x="806" y="1282"/>
                  </a:lnTo>
                  <a:lnTo>
                    <a:pt x="806" y="1289"/>
                  </a:lnTo>
                  <a:lnTo>
                    <a:pt x="806" y="1321"/>
                  </a:lnTo>
                  <a:lnTo>
                    <a:pt x="806" y="1331"/>
                  </a:lnTo>
                  <a:cubicBezTo>
                    <a:pt x="806" y="1338"/>
                    <a:pt x="806" y="1349"/>
                    <a:pt x="806" y="1356"/>
                  </a:cubicBezTo>
                  <a:lnTo>
                    <a:pt x="806" y="1370"/>
                  </a:lnTo>
                  <a:lnTo>
                    <a:pt x="806" y="1387"/>
                  </a:lnTo>
                  <a:cubicBezTo>
                    <a:pt x="852" y="1391"/>
                    <a:pt x="894" y="1408"/>
                    <a:pt x="929" y="1440"/>
                  </a:cubicBezTo>
                  <a:cubicBezTo>
                    <a:pt x="981" y="1482"/>
                    <a:pt x="1009" y="1545"/>
                    <a:pt x="1009" y="1611"/>
                  </a:cubicBezTo>
                  <a:lnTo>
                    <a:pt x="1111" y="1590"/>
                  </a:lnTo>
                  <a:cubicBezTo>
                    <a:pt x="1156" y="1555"/>
                    <a:pt x="1198" y="1517"/>
                    <a:pt x="1240" y="1475"/>
                  </a:cubicBezTo>
                  <a:cubicBezTo>
                    <a:pt x="1240" y="1468"/>
                    <a:pt x="1233" y="1454"/>
                    <a:pt x="1233" y="1443"/>
                  </a:cubicBezTo>
                  <a:cubicBezTo>
                    <a:pt x="1216" y="1377"/>
                    <a:pt x="1195" y="1272"/>
                    <a:pt x="1254" y="1191"/>
                  </a:cubicBezTo>
                  <a:cubicBezTo>
                    <a:pt x="1300" y="1132"/>
                    <a:pt x="1370" y="1104"/>
                    <a:pt x="1475" y="1093"/>
                  </a:cubicBezTo>
                  <a:cubicBezTo>
                    <a:pt x="1804" y="1069"/>
                    <a:pt x="1979" y="1030"/>
                    <a:pt x="2014" y="887"/>
                  </a:cubicBezTo>
                  <a:cubicBezTo>
                    <a:pt x="2047" y="737"/>
                    <a:pt x="2199" y="707"/>
                    <a:pt x="2342" y="707"/>
                  </a:cubicBezTo>
                  <a:cubicBezTo>
                    <a:pt x="2396" y="707"/>
                    <a:pt x="2449" y="711"/>
                    <a:pt x="2494" y="715"/>
                  </a:cubicBezTo>
                  <a:cubicBezTo>
                    <a:pt x="2529" y="719"/>
                    <a:pt x="2560" y="719"/>
                    <a:pt x="2595" y="719"/>
                  </a:cubicBezTo>
                  <a:cubicBezTo>
                    <a:pt x="2637" y="701"/>
                    <a:pt x="2676" y="680"/>
                    <a:pt x="2711" y="656"/>
                  </a:cubicBezTo>
                  <a:cubicBezTo>
                    <a:pt x="2826" y="586"/>
                    <a:pt x="2991" y="484"/>
                    <a:pt x="3166" y="463"/>
                  </a:cubicBezTo>
                  <a:cubicBezTo>
                    <a:pt x="3148" y="418"/>
                    <a:pt x="3089" y="390"/>
                    <a:pt x="2970" y="351"/>
                  </a:cubicBezTo>
                  <a:cubicBezTo>
                    <a:pt x="2854" y="309"/>
                    <a:pt x="2711" y="264"/>
                    <a:pt x="2592" y="141"/>
                  </a:cubicBezTo>
                  <a:cubicBezTo>
                    <a:pt x="2488" y="38"/>
                    <a:pt x="2326" y="1"/>
                    <a:pt x="21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6" name="Google Shape;5466;p53"/>
            <p:cNvSpPr/>
            <p:nvPr/>
          </p:nvSpPr>
          <p:spPr>
            <a:xfrm>
              <a:off x="1391722" y="194055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1" y="8"/>
                  </a:lnTo>
                  <a:cubicBezTo>
                    <a:pt x="4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7" name="Google Shape;5467;p53"/>
            <p:cNvSpPr/>
            <p:nvPr/>
          </p:nvSpPr>
          <p:spPr>
            <a:xfrm>
              <a:off x="1391722" y="194150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8" name="Google Shape;5468;p53"/>
            <p:cNvSpPr/>
            <p:nvPr/>
          </p:nvSpPr>
          <p:spPr>
            <a:xfrm>
              <a:off x="1391722" y="194093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ubicBezTo>
                    <a:pt x="1" y="1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9" name="Google Shape;5469;p53"/>
            <p:cNvSpPr/>
            <p:nvPr/>
          </p:nvSpPr>
          <p:spPr>
            <a:xfrm>
              <a:off x="1391586" y="193893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0" name="Google Shape;5470;p53"/>
            <p:cNvSpPr/>
            <p:nvPr/>
          </p:nvSpPr>
          <p:spPr>
            <a:xfrm>
              <a:off x="1381403" y="1935230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1" name="Google Shape;5471;p53"/>
            <p:cNvSpPr/>
            <p:nvPr/>
          </p:nvSpPr>
          <p:spPr>
            <a:xfrm>
              <a:off x="1391396" y="193851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2" name="Google Shape;5472;p53"/>
            <p:cNvSpPr/>
            <p:nvPr/>
          </p:nvSpPr>
          <p:spPr>
            <a:xfrm>
              <a:off x="1382163" y="193566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3" name="Google Shape;5473;p53"/>
            <p:cNvSpPr/>
            <p:nvPr/>
          </p:nvSpPr>
          <p:spPr>
            <a:xfrm>
              <a:off x="1391722" y="1940173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1" y="11"/>
                  </a:lnTo>
                  <a:cubicBezTo>
                    <a:pt x="4" y="8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4" name="Google Shape;5474;p53"/>
            <p:cNvSpPr/>
            <p:nvPr/>
          </p:nvSpPr>
          <p:spPr>
            <a:xfrm>
              <a:off x="1391627" y="194197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5" name="Google Shape;5475;p53"/>
            <p:cNvSpPr/>
            <p:nvPr/>
          </p:nvSpPr>
          <p:spPr>
            <a:xfrm>
              <a:off x="1391722" y="193960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6" name="Google Shape;5476;p53"/>
            <p:cNvSpPr/>
            <p:nvPr/>
          </p:nvSpPr>
          <p:spPr>
            <a:xfrm>
              <a:off x="1391722" y="19399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7" name="Google Shape;5477;p53"/>
            <p:cNvSpPr/>
            <p:nvPr/>
          </p:nvSpPr>
          <p:spPr>
            <a:xfrm>
              <a:off x="1391722" y="19394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8" name="Google Shape;5478;p53"/>
            <p:cNvSpPr/>
            <p:nvPr/>
          </p:nvSpPr>
          <p:spPr>
            <a:xfrm>
              <a:off x="1391627" y="193912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9" name="Google Shape;5479;p53"/>
            <p:cNvSpPr/>
            <p:nvPr/>
          </p:nvSpPr>
          <p:spPr>
            <a:xfrm>
              <a:off x="1391491" y="193865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0" name="Google Shape;5480;p53"/>
            <p:cNvSpPr/>
            <p:nvPr/>
          </p:nvSpPr>
          <p:spPr>
            <a:xfrm>
              <a:off x="1391532" y="193880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1" name="Google Shape;5481;p53"/>
            <p:cNvSpPr/>
            <p:nvPr/>
          </p:nvSpPr>
          <p:spPr>
            <a:xfrm>
              <a:off x="1174075" y="1791214"/>
              <a:ext cx="223703" cy="138382"/>
            </a:xfrm>
            <a:custGeom>
              <a:avLst/>
              <a:gdLst/>
              <a:ahLst/>
              <a:cxnLst/>
              <a:rect l="l" t="t" r="r" b="b"/>
              <a:pathLst>
                <a:path w="16476" h="10192" extrusionOk="0">
                  <a:moveTo>
                    <a:pt x="1142" y="0"/>
                  </a:moveTo>
                  <a:lnTo>
                    <a:pt x="0" y="151"/>
                  </a:lnTo>
                  <a:cubicBezTo>
                    <a:pt x="70" y="277"/>
                    <a:pt x="151" y="399"/>
                    <a:pt x="242" y="511"/>
                  </a:cubicBezTo>
                  <a:cubicBezTo>
                    <a:pt x="504" y="837"/>
                    <a:pt x="690" y="1401"/>
                    <a:pt x="718" y="1611"/>
                  </a:cubicBezTo>
                  <a:cubicBezTo>
                    <a:pt x="732" y="1733"/>
                    <a:pt x="949" y="1863"/>
                    <a:pt x="1163" y="1985"/>
                  </a:cubicBezTo>
                  <a:cubicBezTo>
                    <a:pt x="1229" y="2027"/>
                    <a:pt x="1299" y="2069"/>
                    <a:pt x="1366" y="2111"/>
                  </a:cubicBezTo>
                  <a:cubicBezTo>
                    <a:pt x="1691" y="2318"/>
                    <a:pt x="1709" y="2769"/>
                    <a:pt x="1660" y="2916"/>
                  </a:cubicBezTo>
                  <a:cubicBezTo>
                    <a:pt x="1640" y="2978"/>
                    <a:pt x="1586" y="2997"/>
                    <a:pt x="1520" y="2997"/>
                  </a:cubicBezTo>
                  <a:cubicBezTo>
                    <a:pt x="1471" y="2997"/>
                    <a:pt x="1415" y="2986"/>
                    <a:pt x="1362" y="2976"/>
                  </a:cubicBezTo>
                  <a:cubicBezTo>
                    <a:pt x="1320" y="2969"/>
                    <a:pt x="1278" y="2962"/>
                    <a:pt x="1236" y="2958"/>
                  </a:cubicBezTo>
                  <a:lnTo>
                    <a:pt x="1236" y="2958"/>
                  </a:lnTo>
                  <a:cubicBezTo>
                    <a:pt x="1297" y="3078"/>
                    <a:pt x="1670" y="3376"/>
                    <a:pt x="1819" y="3376"/>
                  </a:cubicBezTo>
                  <a:cubicBezTo>
                    <a:pt x="1823" y="3376"/>
                    <a:pt x="1827" y="3376"/>
                    <a:pt x="1831" y="3375"/>
                  </a:cubicBezTo>
                  <a:cubicBezTo>
                    <a:pt x="1851" y="3373"/>
                    <a:pt x="1870" y="3371"/>
                    <a:pt x="1888" y="3371"/>
                  </a:cubicBezTo>
                  <a:cubicBezTo>
                    <a:pt x="2051" y="3371"/>
                    <a:pt x="2161" y="3469"/>
                    <a:pt x="2356" y="3648"/>
                  </a:cubicBezTo>
                  <a:cubicBezTo>
                    <a:pt x="2395" y="3680"/>
                    <a:pt x="2433" y="3715"/>
                    <a:pt x="2475" y="3753"/>
                  </a:cubicBezTo>
                  <a:cubicBezTo>
                    <a:pt x="2650" y="3907"/>
                    <a:pt x="2745" y="4096"/>
                    <a:pt x="2738" y="4278"/>
                  </a:cubicBezTo>
                  <a:cubicBezTo>
                    <a:pt x="2741" y="4376"/>
                    <a:pt x="2703" y="4467"/>
                    <a:pt x="2633" y="4534"/>
                  </a:cubicBezTo>
                  <a:cubicBezTo>
                    <a:pt x="2654" y="4600"/>
                    <a:pt x="2909" y="4765"/>
                    <a:pt x="3099" y="4884"/>
                  </a:cubicBezTo>
                  <a:lnTo>
                    <a:pt x="3256" y="4985"/>
                  </a:lnTo>
                  <a:cubicBezTo>
                    <a:pt x="3736" y="5304"/>
                    <a:pt x="3855" y="5686"/>
                    <a:pt x="3865" y="5728"/>
                  </a:cubicBezTo>
                  <a:cubicBezTo>
                    <a:pt x="3865" y="5731"/>
                    <a:pt x="3865" y="5735"/>
                    <a:pt x="3869" y="5735"/>
                  </a:cubicBezTo>
                  <a:cubicBezTo>
                    <a:pt x="3897" y="5728"/>
                    <a:pt x="3970" y="5661"/>
                    <a:pt x="4005" y="5556"/>
                  </a:cubicBezTo>
                  <a:cubicBezTo>
                    <a:pt x="4030" y="5490"/>
                    <a:pt x="4009" y="5455"/>
                    <a:pt x="3967" y="5388"/>
                  </a:cubicBezTo>
                  <a:cubicBezTo>
                    <a:pt x="3914" y="5315"/>
                    <a:pt x="3883" y="5230"/>
                    <a:pt x="3883" y="5139"/>
                  </a:cubicBezTo>
                  <a:cubicBezTo>
                    <a:pt x="3883" y="5052"/>
                    <a:pt x="3788" y="5031"/>
                    <a:pt x="3592" y="5020"/>
                  </a:cubicBezTo>
                  <a:cubicBezTo>
                    <a:pt x="3550" y="5017"/>
                    <a:pt x="3508" y="5013"/>
                    <a:pt x="3477" y="5010"/>
                  </a:cubicBezTo>
                  <a:cubicBezTo>
                    <a:pt x="3347" y="4989"/>
                    <a:pt x="3351" y="4849"/>
                    <a:pt x="3354" y="4747"/>
                  </a:cubicBezTo>
                  <a:cubicBezTo>
                    <a:pt x="3358" y="4660"/>
                    <a:pt x="3361" y="4558"/>
                    <a:pt x="3305" y="4506"/>
                  </a:cubicBezTo>
                  <a:cubicBezTo>
                    <a:pt x="3116" y="4317"/>
                    <a:pt x="2976" y="3841"/>
                    <a:pt x="2938" y="3701"/>
                  </a:cubicBezTo>
                  <a:cubicBezTo>
                    <a:pt x="2902" y="3568"/>
                    <a:pt x="2773" y="3424"/>
                    <a:pt x="2640" y="3277"/>
                  </a:cubicBezTo>
                  <a:cubicBezTo>
                    <a:pt x="2524" y="3161"/>
                    <a:pt x="2423" y="3032"/>
                    <a:pt x="2339" y="2888"/>
                  </a:cubicBezTo>
                  <a:cubicBezTo>
                    <a:pt x="2164" y="2573"/>
                    <a:pt x="2006" y="2374"/>
                    <a:pt x="1922" y="2318"/>
                  </a:cubicBezTo>
                  <a:cubicBezTo>
                    <a:pt x="1894" y="2300"/>
                    <a:pt x="1873" y="2272"/>
                    <a:pt x="1866" y="2237"/>
                  </a:cubicBezTo>
                  <a:cubicBezTo>
                    <a:pt x="1859" y="2181"/>
                    <a:pt x="1898" y="2136"/>
                    <a:pt x="1929" y="2094"/>
                  </a:cubicBezTo>
                  <a:cubicBezTo>
                    <a:pt x="1978" y="2034"/>
                    <a:pt x="1978" y="2027"/>
                    <a:pt x="1971" y="2017"/>
                  </a:cubicBezTo>
                  <a:cubicBezTo>
                    <a:pt x="1922" y="1964"/>
                    <a:pt x="1859" y="1947"/>
                    <a:pt x="1772" y="1922"/>
                  </a:cubicBezTo>
                  <a:cubicBezTo>
                    <a:pt x="1702" y="1905"/>
                    <a:pt x="1635" y="1880"/>
                    <a:pt x="1569" y="1852"/>
                  </a:cubicBezTo>
                  <a:cubicBezTo>
                    <a:pt x="1348" y="1747"/>
                    <a:pt x="1226" y="1576"/>
                    <a:pt x="1226" y="1369"/>
                  </a:cubicBezTo>
                  <a:cubicBezTo>
                    <a:pt x="1226" y="1184"/>
                    <a:pt x="1107" y="732"/>
                    <a:pt x="1047" y="581"/>
                  </a:cubicBezTo>
                  <a:cubicBezTo>
                    <a:pt x="1002" y="459"/>
                    <a:pt x="1072" y="406"/>
                    <a:pt x="1093" y="392"/>
                  </a:cubicBezTo>
                  <a:cubicBezTo>
                    <a:pt x="1117" y="379"/>
                    <a:pt x="1145" y="373"/>
                    <a:pt x="1174" y="373"/>
                  </a:cubicBezTo>
                  <a:cubicBezTo>
                    <a:pt x="1243" y="373"/>
                    <a:pt x="1316" y="405"/>
                    <a:pt x="1355" y="452"/>
                  </a:cubicBezTo>
                  <a:lnTo>
                    <a:pt x="1369" y="473"/>
                  </a:lnTo>
                  <a:cubicBezTo>
                    <a:pt x="1415" y="528"/>
                    <a:pt x="1434" y="542"/>
                    <a:pt x="1448" y="542"/>
                  </a:cubicBezTo>
                  <a:cubicBezTo>
                    <a:pt x="1455" y="542"/>
                    <a:pt x="1461" y="539"/>
                    <a:pt x="1467" y="536"/>
                  </a:cubicBezTo>
                  <a:cubicBezTo>
                    <a:pt x="1504" y="517"/>
                    <a:pt x="1544" y="507"/>
                    <a:pt x="1584" y="507"/>
                  </a:cubicBezTo>
                  <a:cubicBezTo>
                    <a:pt x="1612" y="507"/>
                    <a:pt x="1640" y="512"/>
                    <a:pt x="1667" y="522"/>
                  </a:cubicBezTo>
                  <a:cubicBezTo>
                    <a:pt x="1751" y="546"/>
                    <a:pt x="1817" y="609"/>
                    <a:pt x="1849" y="686"/>
                  </a:cubicBezTo>
                  <a:cubicBezTo>
                    <a:pt x="1858" y="706"/>
                    <a:pt x="1875" y="714"/>
                    <a:pt x="1910" y="714"/>
                  </a:cubicBezTo>
                  <a:cubicBezTo>
                    <a:pt x="1930" y="714"/>
                    <a:pt x="1955" y="711"/>
                    <a:pt x="1989" y="707"/>
                  </a:cubicBezTo>
                  <a:cubicBezTo>
                    <a:pt x="2015" y="705"/>
                    <a:pt x="2042" y="702"/>
                    <a:pt x="2069" y="702"/>
                  </a:cubicBezTo>
                  <a:cubicBezTo>
                    <a:pt x="2111" y="702"/>
                    <a:pt x="2152" y="708"/>
                    <a:pt x="2188" y="732"/>
                  </a:cubicBezTo>
                  <a:cubicBezTo>
                    <a:pt x="2272" y="781"/>
                    <a:pt x="2234" y="858"/>
                    <a:pt x="2213" y="893"/>
                  </a:cubicBezTo>
                  <a:cubicBezTo>
                    <a:pt x="2178" y="963"/>
                    <a:pt x="2111" y="1096"/>
                    <a:pt x="2307" y="1446"/>
                  </a:cubicBezTo>
                  <a:cubicBezTo>
                    <a:pt x="2496" y="1779"/>
                    <a:pt x="2521" y="1835"/>
                    <a:pt x="2454" y="1919"/>
                  </a:cubicBezTo>
                  <a:cubicBezTo>
                    <a:pt x="2437" y="1943"/>
                    <a:pt x="2412" y="1975"/>
                    <a:pt x="2412" y="2094"/>
                  </a:cubicBezTo>
                  <a:cubicBezTo>
                    <a:pt x="2412" y="2244"/>
                    <a:pt x="2447" y="2265"/>
                    <a:pt x="2447" y="2265"/>
                  </a:cubicBezTo>
                  <a:cubicBezTo>
                    <a:pt x="2448" y="2266"/>
                    <a:pt x="2449" y="2266"/>
                    <a:pt x="2451" y="2266"/>
                  </a:cubicBezTo>
                  <a:cubicBezTo>
                    <a:pt x="2463" y="2266"/>
                    <a:pt x="2500" y="2251"/>
                    <a:pt x="2556" y="2195"/>
                  </a:cubicBezTo>
                  <a:cubicBezTo>
                    <a:pt x="2575" y="2176"/>
                    <a:pt x="2602" y="2163"/>
                    <a:pt x="2630" y="2163"/>
                  </a:cubicBezTo>
                  <a:cubicBezTo>
                    <a:pt x="2633" y="2163"/>
                    <a:pt x="2637" y="2163"/>
                    <a:pt x="2640" y="2164"/>
                  </a:cubicBezTo>
                  <a:cubicBezTo>
                    <a:pt x="2727" y="2167"/>
                    <a:pt x="2843" y="2269"/>
                    <a:pt x="3043" y="2514"/>
                  </a:cubicBezTo>
                  <a:cubicBezTo>
                    <a:pt x="3113" y="2601"/>
                    <a:pt x="3221" y="2647"/>
                    <a:pt x="3316" y="2689"/>
                  </a:cubicBezTo>
                  <a:cubicBezTo>
                    <a:pt x="3421" y="2731"/>
                    <a:pt x="3519" y="2776"/>
                    <a:pt x="3519" y="2871"/>
                  </a:cubicBezTo>
                  <a:cubicBezTo>
                    <a:pt x="3519" y="2944"/>
                    <a:pt x="3557" y="3137"/>
                    <a:pt x="3729" y="3168"/>
                  </a:cubicBezTo>
                  <a:cubicBezTo>
                    <a:pt x="3869" y="3193"/>
                    <a:pt x="3942" y="3288"/>
                    <a:pt x="4002" y="3365"/>
                  </a:cubicBezTo>
                  <a:cubicBezTo>
                    <a:pt x="4040" y="3414"/>
                    <a:pt x="4072" y="3452"/>
                    <a:pt x="4107" y="3463"/>
                  </a:cubicBezTo>
                  <a:cubicBezTo>
                    <a:pt x="4170" y="3470"/>
                    <a:pt x="4229" y="3512"/>
                    <a:pt x="4257" y="3568"/>
                  </a:cubicBezTo>
                  <a:cubicBezTo>
                    <a:pt x="4303" y="3648"/>
                    <a:pt x="4292" y="3764"/>
                    <a:pt x="4240" y="3879"/>
                  </a:cubicBezTo>
                  <a:cubicBezTo>
                    <a:pt x="4219" y="3918"/>
                    <a:pt x="4215" y="3960"/>
                    <a:pt x="4229" y="4002"/>
                  </a:cubicBezTo>
                  <a:cubicBezTo>
                    <a:pt x="4257" y="4072"/>
                    <a:pt x="4362" y="4145"/>
                    <a:pt x="4544" y="4215"/>
                  </a:cubicBezTo>
                  <a:cubicBezTo>
                    <a:pt x="4758" y="4299"/>
                    <a:pt x="4796" y="4352"/>
                    <a:pt x="4849" y="4439"/>
                  </a:cubicBezTo>
                  <a:cubicBezTo>
                    <a:pt x="4894" y="4516"/>
                    <a:pt x="4947" y="4583"/>
                    <a:pt x="5014" y="4642"/>
                  </a:cubicBezTo>
                  <a:cubicBezTo>
                    <a:pt x="5276" y="4891"/>
                    <a:pt x="6036" y="5724"/>
                    <a:pt x="6200" y="5962"/>
                  </a:cubicBezTo>
                  <a:cubicBezTo>
                    <a:pt x="6305" y="6123"/>
                    <a:pt x="6389" y="6298"/>
                    <a:pt x="6442" y="6484"/>
                  </a:cubicBezTo>
                  <a:cubicBezTo>
                    <a:pt x="6452" y="6512"/>
                    <a:pt x="6463" y="6543"/>
                    <a:pt x="6473" y="6571"/>
                  </a:cubicBezTo>
                  <a:cubicBezTo>
                    <a:pt x="6501" y="6652"/>
                    <a:pt x="6491" y="6743"/>
                    <a:pt x="6449" y="6820"/>
                  </a:cubicBezTo>
                  <a:cubicBezTo>
                    <a:pt x="6421" y="6883"/>
                    <a:pt x="6414" y="6911"/>
                    <a:pt x="6442" y="6956"/>
                  </a:cubicBezTo>
                  <a:cubicBezTo>
                    <a:pt x="6470" y="6991"/>
                    <a:pt x="6480" y="7040"/>
                    <a:pt x="6466" y="7082"/>
                  </a:cubicBezTo>
                  <a:cubicBezTo>
                    <a:pt x="6445" y="7142"/>
                    <a:pt x="6382" y="7159"/>
                    <a:pt x="6337" y="7173"/>
                  </a:cubicBezTo>
                  <a:cubicBezTo>
                    <a:pt x="6319" y="7177"/>
                    <a:pt x="6302" y="7180"/>
                    <a:pt x="6284" y="7187"/>
                  </a:cubicBezTo>
                  <a:cubicBezTo>
                    <a:pt x="6305" y="7317"/>
                    <a:pt x="6459" y="7783"/>
                    <a:pt x="6662" y="7800"/>
                  </a:cubicBezTo>
                  <a:cubicBezTo>
                    <a:pt x="6897" y="7821"/>
                    <a:pt x="7135" y="8038"/>
                    <a:pt x="7345" y="8227"/>
                  </a:cubicBezTo>
                  <a:cubicBezTo>
                    <a:pt x="7398" y="8269"/>
                    <a:pt x="7443" y="8315"/>
                    <a:pt x="7485" y="8350"/>
                  </a:cubicBezTo>
                  <a:cubicBezTo>
                    <a:pt x="7604" y="8448"/>
                    <a:pt x="7762" y="8476"/>
                    <a:pt x="7944" y="8507"/>
                  </a:cubicBezTo>
                  <a:cubicBezTo>
                    <a:pt x="8080" y="8528"/>
                    <a:pt x="8213" y="8560"/>
                    <a:pt x="8339" y="8605"/>
                  </a:cubicBezTo>
                  <a:cubicBezTo>
                    <a:pt x="8486" y="8665"/>
                    <a:pt x="8626" y="8738"/>
                    <a:pt x="8756" y="8829"/>
                  </a:cubicBezTo>
                  <a:cubicBezTo>
                    <a:pt x="8948" y="8948"/>
                    <a:pt x="9148" y="9074"/>
                    <a:pt x="9414" y="9148"/>
                  </a:cubicBezTo>
                  <a:cubicBezTo>
                    <a:pt x="9873" y="9281"/>
                    <a:pt x="10342" y="9481"/>
                    <a:pt x="10671" y="9691"/>
                  </a:cubicBezTo>
                  <a:cubicBezTo>
                    <a:pt x="10784" y="9763"/>
                    <a:pt x="10909" y="9791"/>
                    <a:pt x="11041" y="9791"/>
                  </a:cubicBezTo>
                  <a:cubicBezTo>
                    <a:pt x="11255" y="9791"/>
                    <a:pt x="11486" y="9715"/>
                    <a:pt x="11714" y="9624"/>
                  </a:cubicBezTo>
                  <a:cubicBezTo>
                    <a:pt x="11823" y="9582"/>
                    <a:pt x="11938" y="9558"/>
                    <a:pt x="12054" y="9558"/>
                  </a:cubicBezTo>
                  <a:cubicBezTo>
                    <a:pt x="12285" y="9558"/>
                    <a:pt x="12481" y="9645"/>
                    <a:pt x="12638" y="9719"/>
                  </a:cubicBezTo>
                  <a:cubicBezTo>
                    <a:pt x="12680" y="9736"/>
                    <a:pt x="12719" y="9757"/>
                    <a:pt x="12757" y="9771"/>
                  </a:cubicBezTo>
                  <a:cubicBezTo>
                    <a:pt x="12873" y="9813"/>
                    <a:pt x="13062" y="9971"/>
                    <a:pt x="13310" y="10191"/>
                  </a:cubicBezTo>
                  <a:cubicBezTo>
                    <a:pt x="13367" y="10107"/>
                    <a:pt x="13419" y="10037"/>
                    <a:pt x="13461" y="9978"/>
                  </a:cubicBezTo>
                  <a:lnTo>
                    <a:pt x="13465" y="9974"/>
                  </a:lnTo>
                  <a:lnTo>
                    <a:pt x="13475" y="9960"/>
                  </a:lnTo>
                  <a:lnTo>
                    <a:pt x="13493" y="9936"/>
                  </a:lnTo>
                  <a:lnTo>
                    <a:pt x="13493" y="9932"/>
                  </a:lnTo>
                  <a:cubicBezTo>
                    <a:pt x="13577" y="9820"/>
                    <a:pt x="13633" y="9750"/>
                    <a:pt x="13668" y="9705"/>
                  </a:cubicBezTo>
                  <a:lnTo>
                    <a:pt x="13678" y="9694"/>
                  </a:lnTo>
                  <a:lnTo>
                    <a:pt x="13689" y="9684"/>
                  </a:lnTo>
                  <a:lnTo>
                    <a:pt x="13696" y="9677"/>
                  </a:lnTo>
                  <a:lnTo>
                    <a:pt x="13703" y="9670"/>
                  </a:lnTo>
                  <a:lnTo>
                    <a:pt x="13710" y="9663"/>
                  </a:lnTo>
                  <a:lnTo>
                    <a:pt x="13713" y="9656"/>
                  </a:lnTo>
                  <a:lnTo>
                    <a:pt x="13717" y="9652"/>
                  </a:lnTo>
                  <a:lnTo>
                    <a:pt x="13724" y="9649"/>
                  </a:lnTo>
                  <a:lnTo>
                    <a:pt x="13745" y="9649"/>
                  </a:lnTo>
                  <a:cubicBezTo>
                    <a:pt x="13766" y="9645"/>
                    <a:pt x="13787" y="9643"/>
                    <a:pt x="13810" y="9643"/>
                  </a:cubicBezTo>
                  <a:cubicBezTo>
                    <a:pt x="13832" y="9643"/>
                    <a:pt x="13855" y="9645"/>
                    <a:pt x="13878" y="9649"/>
                  </a:cubicBezTo>
                  <a:cubicBezTo>
                    <a:pt x="13965" y="9652"/>
                    <a:pt x="14039" y="9656"/>
                    <a:pt x="14102" y="9656"/>
                  </a:cubicBezTo>
                  <a:cubicBezTo>
                    <a:pt x="14298" y="9656"/>
                    <a:pt x="14375" y="9638"/>
                    <a:pt x="14403" y="9621"/>
                  </a:cubicBezTo>
                  <a:cubicBezTo>
                    <a:pt x="14410" y="9617"/>
                    <a:pt x="14417" y="9610"/>
                    <a:pt x="14420" y="9607"/>
                  </a:cubicBezTo>
                  <a:cubicBezTo>
                    <a:pt x="14434" y="9572"/>
                    <a:pt x="14350" y="9470"/>
                    <a:pt x="14168" y="9305"/>
                  </a:cubicBezTo>
                  <a:cubicBezTo>
                    <a:pt x="14056" y="9200"/>
                    <a:pt x="14007" y="9158"/>
                    <a:pt x="14014" y="9102"/>
                  </a:cubicBezTo>
                  <a:cubicBezTo>
                    <a:pt x="14014" y="9081"/>
                    <a:pt x="14025" y="9064"/>
                    <a:pt x="14042" y="9050"/>
                  </a:cubicBezTo>
                  <a:cubicBezTo>
                    <a:pt x="14060" y="9004"/>
                    <a:pt x="14074" y="8959"/>
                    <a:pt x="14084" y="8913"/>
                  </a:cubicBezTo>
                  <a:cubicBezTo>
                    <a:pt x="14119" y="8766"/>
                    <a:pt x="14154" y="8626"/>
                    <a:pt x="14259" y="8626"/>
                  </a:cubicBezTo>
                  <a:lnTo>
                    <a:pt x="14410" y="8630"/>
                  </a:lnTo>
                  <a:cubicBezTo>
                    <a:pt x="14546" y="8630"/>
                    <a:pt x="14830" y="8637"/>
                    <a:pt x="15026" y="8637"/>
                  </a:cubicBezTo>
                  <a:lnTo>
                    <a:pt x="15134" y="8637"/>
                  </a:lnTo>
                  <a:lnTo>
                    <a:pt x="15180" y="8623"/>
                  </a:lnTo>
                  <a:lnTo>
                    <a:pt x="15239" y="8623"/>
                  </a:lnTo>
                  <a:cubicBezTo>
                    <a:pt x="15250" y="8609"/>
                    <a:pt x="15274" y="8581"/>
                    <a:pt x="15292" y="8553"/>
                  </a:cubicBezTo>
                  <a:cubicBezTo>
                    <a:pt x="15376" y="8441"/>
                    <a:pt x="15488" y="8290"/>
                    <a:pt x="15614" y="8280"/>
                  </a:cubicBezTo>
                  <a:cubicBezTo>
                    <a:pt x="15619" y="8278"/>
                    <a:pt x="15624" y="8277"/>
                    <a:pt x="15628" y="8277"/>
                  </a:cubicBezTo>
                  <a:cubicBezTo>
                    <a:pt x="15632" y="8277"/>
                    <a:pt x="15637" y="8278"/>
                    <a:pt x="15642" y="8280"/>
                  </a:cubicBezTo>
                  <a:cubicBezTo>
                    <a:pt x="15691" y="8287"/>
                    <a:pt x="15740" y="8308"/>
                    <a:pt x="15779" y="8339"/>
                  </a:cubicBezTo>
                  <a:lnTo>
                    <a:pt x="15786" y="8343"/>
                  </a:lnTo>
                  <a:lnTo>
                    <a:pt x="15807" y="8360"/>
                  </a:lnTo>
                  <a:cubicBezTo>
                    <a:pt x="15828" y="8374"/>
                    <a:pt x="15849" y="8388"/>
                    <a:pt x="15870" y="8409"/>
                  </a:cubicBezTo>
                  <a:cubicBezTo>
                    <a:pt x="15985" y="8255"/>
                    <a:pt x="16027" y="7965"/>
                    <a:pt x="16052" y="7751"/>
                  </a:cubicBezTo>
                  <a:cubicBezTo>
                    <a:pt x="16059" y="7660"/>
                    <a:pt x="16059" y="7569"/>
                    <a:pt x="16052" y="7482"/>
                  </a:cubicBezTo>
                  <a:cubicBezTo>
                    <a:pt x="16045" y="7341"/>
                    <a:pt x="16034" y="7233"/>
                    <a:pt x="16164" y="7096"/>
                  </a:cubicBezTo>
                  <a:cubicBezTo>
                    <a:pt x="16213" y="7044"/>
                    <a:pt x="16265" y="6998"/>
                    <a:pt x="16321" y="6960"/>
                  </a:cubicBezTo>
                  <a:cubicBezTo>
                    <a:pt x="16430" y="6879"/>
                    <a:pt x="16475" y="6841"/>
                    <a:pt x="16451" y="6704"/>
                  </a:cubicBezTo>
                  <a:cubicBezTo>
                    <a:pt x="16447" y="6683"/>
                    <a:pt x="16440" y="6659"/>
                    <a:pt x="16423" y="6645"/>
                  </a:cubicBezTo>
                  <a:cubicBezTo>
                    <a:pt x="16417" y="6642"/>
                    <a:pt x="16409" y="6640"/>
                    <a:pt x="16399" y="6640"/>
                  </a:cubicBezTo>
                  <a:cubicBezTo>
                    <a:pt x="16376" y="6640"/>
                    <a:pt x="16343" y="6647"/>
                    <a:pt x="16314" y="6652"/>
                  </a:cubicBezTo>
                  <a:cubicBezTo>
                    <a:pt x="16272" y="6661"/>
                    <a:pt x="16222" y="6671"/>
                    <a:pt x="16169" y="6671"/>
                  </a:cubicBezTo>
                  <a:cubicBezTo>
                    <a:pt x="16116" y="6671"/>
                    <a:pt x="16060" y="6661"/>
                    <a:pt x="16006" y="6627"/>
                  </a:cubicBezTo>
                  <a:cubicBezTo>
                    <a:pt x="15947" y="6590"/>
                    <a:pt x="15890" y="6576"/>
                    <a:pt x="15819" y="6576"/>
                  </a:cubicBezTo>
                  <a:cubicBezTo>
                    <a:pt x="15742" y="6576"/>
                    <a:pt x="15647" y="6593"/>
                    <a:pt x="15516" y="6617"/>
                  </a:cubicBezTo>
                  <a:cubicBezTo>
                    <a:pt x="15422" y="6634"/>
                    <a:pt x="15316" y="6652"/>
                    <a:pt x="15190" y="6673"/>
                  </a:cubicBezTo>
                  <a:cubicBezTo>
                    <a:pt x="14581" y="6760"/>
                    <a:pt x="14529" y="7033"/>
                    <a:pt x="14543" y="7233"/>
                  </a:cubicBezTo>
                  <a:cubicBezTo>
                    <a:pt x="14557" y="7433"/>
                    <a:pt x="14504" y="7496"/>
                    <a:pt x="14441" y="7555"/>
                  </a:cubicBezTo>
                  <a:cubicBezTo>
                    <a:pt x="14406" y="7590"/>
                    <a:pt x="14382" y="7618"/>
                    <a:pt x="14385" y="7730"/>
                  </a:cubicBezTo>
                  <a:cubicBezTo>
                    <a:pt x="14392" y="7937"/>
                    <a:pt x="14245" y="8035"/>
                    <a:pt x="14137" y="8105"/>
                  </a:cubicBezTo>
                  <a:cubicBezTo>
                    <a:pt x="14053" y="8157"/>
                    <a:pt x="14014" y="8189"/>
                    <a:pt x="14021" y="8224"/>
                  </a:cubicBezTo>
                  <a:cubicBezTo>
                    <a:pt x="14032" y="8273"/>
                    <a:pt x="14011" y="8325"/>
                    <a:pt x="13969" y="8353"/>
                  </a:cubicBezTo>
                  <a:cubicBezTo>
                    <a:pt x="13946" y="8368"/>
                    <a:pt x="13918" y="8375"/>
                    <a:pt x="13886" y="8375"/>
                  </a:cubicBezTo>
                  <a:cubicBezTo>
                    <a:pt x="13759" y="8375"/>
                    <a:pt x="13581" y="8270"/>
                    <a:pt x="13514" y="8231"/>
                  </a:cubicBezTo>
                  <a:cubicBezTo>
                    <a:pt x="13507" y="8229"/>
                    <a:pt x="13499" y="8229"/>
                    <a:pt x="13490" y="8229"/>
                  </a:cubicBezTo>
                  <a:cubicBezTo>
                    <a:pt x="13348" y="8229"/>
                    <a:pt x="12838" y="8365"/>
                    <a:pt x="12586" y="8434"/>
                  </a:cubicBezTo>
                  <a:cubicBezTo>
                    <a:pt x="12428" y="8476"/>
                    <a:pt x="12313" y="8507"/>
                    <a:pt x="12267" y="8514"/>
                  </a:cubicBezTo>
                  <a:cubicBezTo>
                    <a:pt x="12258" y="8516"/>
                    <a:pt x="12248" y="8517"/>
                    <a:pt x="12238" y="8517"/>
                  </a:cubicBezTo>
                  <a:cubicBezTo>
                    <a:pt x="12152" y="8517"/>
                    <a:pt x="12059" y="8450"/>
                    <a:pt x="11952" y="8374"/>
                  </a:cubicBezTo>
                  <a:cubicBezTo>
                    <a:pt x="11849" y="8302"/>
                    <a:pt x="11733" y="8224"/>
                    <a:pt x="11649" y="8224"/>
                  </a:cubicBezTo>
                  <a:cubicBezTo>
                    <a:pt x="11648" y="8224"/>
                    <a:pt x="11646" y="8224"/>
                    <a:pt x="11644" y="8224"/>
                  </a:cubicBezTo>
                  <a:cubicBezTo>
                    <a:pt x="11639" y="8224"/>
                    <a:pt x="11635" y="8224"/>
                    <a:pt x="11630" y="8224"/>
                  </a:cubicBezTo>
                  <a:cubicBezTo>
                    <a:pt x="11431" y="8224"/>
                    <a:pt x="11297" y="8001"/>
                    <a:pt x="11259" y="7608"/>
                  </a:cubicBezTo>
                  <a:cubicBezTo>
                    <a:pt x="11249" y="7468"/>
                    <a:pt x="11091" y="7324"/>
                    <a:pt x="10940" y="7180"/>
                  </a:cubicBezTo>
                  <a:cubicBezTo>
                    <a:pt x="10849" y="7103"/>
                    <a:pt x="10765" y="7016"/>
                    <a:pt x="10692" y="6925"/>
                  </a:cubicBezTo>
                  <a:cubicBezTo>
                    <a:pt x="10503" y="6669"/>
                    <a:pt x="10482" y="6116"/>
                    <a:pt x="10471" y="5819"/>
                  </a:cubicBezTo>
                  <a:lnTo>
                    <a:pt x="10471" y="5766"/>
                  </a:lnTo>
                  <a:cubicBezTo>
                    <a:pt x="10457" y="5437"/>
                    <a:pt x="10436" y="4887"/>
                    <a:pt x="10660" y="4268"/>
                  </a:cubicBezTo>
                  <a:cubicBezTo>
                    <a:pt x="10681" y="4212"/>
                    <a:pt x="10695" y="4156"/>
                    <a:pt x="10702" y="4096"/>
                  </a:cubicBezTo>
                  <a:lnTo>
                    <a:pt x="10685" y="4086"/>
                  </a:lnTo>
                  <a:lnTo>
                    <a:pt x="10671" y="4079"/>
                  </a:lnTo>
                  <a:lnTo>
                    <a:pt x="10657" y="4072"/>
                  </a:lnTo>
                  <a:lnTo>
                    <a:pt x="10643" y="4065"/>
                  </a:lnTo>
                  <a:lnTo>
                    <a:pt x="10629" y="4061"/>
                  </a:lnTo>
                  <a:lnTo>
                    <a:pt x="10622" y="4058"/>
                  </a:lnTo>
                  <a:lnTo>
                    <a:pt x="10604" y="4051"/>
                  </a:lnTo>
                  <a:lnTo>
                    <a:pt x="10601" y="4051"/>
                  </a:lnTo>
                  <a:cubicBezTo>
                    <a:pt x="10583" y="4044"/>
                    <a:pt x="10566" y="4040"/>
                    <a:pt x="10548" y="4040"/>
                  </a:cubicBezTo>
                  <a:cubicBezTo>
                    <a:pt x="10542" y="4041"/>
                    <a:pt x="10535" y="4041"/>
                    <a:pt x="10528" y="4041"/>
                  </a:cubicBezTo>
                  <a:cubicBezTo>
                    <a:pt x="10384" y="4041"/>
                    <a:pt x="10165" y="3938"/>
                    <a:pt x="9988" y="3858"/>
                  </a:cubicBezTo>
                  <a:cubicBezTo>
                    <a:pt x="9918" y="3823"/>
                    <a:pt x="9852" y="3792"/>
                    <a:pt x="9778" y="3771"/>
                  </a:cubicBezTo>
                  <a:cubicBezTo>
                    <a:pt x="9684" y="3771"/>
                    <a:pt x="9652" y="3673"/>
                    <a:pt x="9631" y="3582"/>
                  </a:cubicBezTo>
                  <a:lnTo>
                    <a:pt x="9624" y="3561"/>
                  </a:lnTo>
                  <a:cubicBezTo>
                    <a:pt x="9614" y="3505"/>
                    <a:pt x="9596" y="3452"/>
                    <a:pt x="9572" y="3403"/>
                  </a:cubicBezTo>
                  <a:cubicBezTo>
                    <a:pt x="9558" y="3386"/>
                    <a:pt x="9551" y="3368"/>
                    <a:pt x="9544" y="3351"/>
                  </a:cubicBezTo>
                  <a:cubicBezTo>
                    <a:pt x="9523" y="3295"/>
                    <a:pt x="9512" y="3235"/>
                    <a:pt x="9509" y="3175"/>
                  </a:cubicBezTo>
                  <a:cubicBezTo>
                    <a:pt x="9505" y="3126"/>
                    <a:pt x="9495" y="3077"/>
                    <a:pt x="9477" y="3032"/>
                  </a:cubicBezTo>
                  <a:cubicBezTo>
                    <a:pt x="9470" y="3021"/>
                    <a:pt x="9463" y="3011"/>
                    <a:pt x="9456" y="3004"/>
                  </a:cubicBezTo>
                  <a:cubicBezTo>
                    <a:pt x="9351" y="2923"/>
                    <a:pt x="9022" y="2612"/>
                    <a:pt x="8913" y="2230"/>
                  </a:cubicBezTo>
                  <a:cubicBezTo>
                    <a:pt x="8822" y="1908"/>
                    <a:pt x="8217" y="1733"/>
                    <a:pt x="8000" y="1723"/>
                  </a:cubicBezTo>
                  <a:cubicBezTo>
                    <a:pt x="7998" y="1723"/>
                    <a:pt x="7996" y="1722"/>
                    <a:pt x="7994" y="1722"/>
                  </a:cubicBezTo>
                  <a:cubicBezTo>
                    <a:pt x="7884" y="1722"/>
                    <a:pt x="7782" y="1931"/>
                    <a:pt x="7720" y="2055"/>
                  </a:cubicBezTo>
                  <a:cubicBezTo>
                    <a:pt x="7671" y="2153"/>
                    <a:pt x="7646" y="2206"/>
                    <a:pt x="7601" y="2223"/>
                  </a:cubicBezTo>
                  <a:cubicBezTo>
                    <a:pt x="7590" y="2227"/>
                    <a:pt x="7580" y="2229"/>
                    <a:pt x="7569" y="2229"/>
                  </a:cubicBezTo>
                  <a:cubicBezTo>
                    <a:pt x="7561" y="2229"/>
                    <a:pt x="7553" y="2228"/>
                    <a:pt x="7545" y="2227"/>
                  </a:cubicBezTo>
                  <a:cubicBezTo>
                    <a:pt x="7475" y="2216"/>
                    <a:pt x="7356" y="2153"/>
                    <a:pt x="7086" y="1996"/>
                  </a:cubicBezTo>
                  <a:cubicBezTo>
                    <a:pt x="7030" y="1964"/>
                    <a:pt x="6981" y="1933"/>
                    <a:pt x="6946" y="1912"/>
                  </a:cubicBezTo>
                  <a:lnTo>
                    <a:pt x="6914" y="1898"/>
                  </a:lnTo>
                  <a:cubicBezTo>
                    <a:pt x="6767" y="1824"/>
                    <a:pt x="6683" y="1674"/>
                    <a:pt x="6683" y="1488"/>
                  </a:cubicBezTo>
                  <a:cubicBezTo>
                    <a:pt x="6683" y="1366"/>
                    <a:pt x="6438" y="1142"/>
                    <a:pt x="6375" y="1124"/>
                  </a:cubicBezTo>
                  <a:cubicBezTo>
                    <a:pt x="6298" y="1096"/>
                    <a:pt x="5959" y="774"/>
                    <a:pt x="5749" y="567"/>
                  </a:cubicBezTo>
                  <a:lnTo>
                    <a:pt x="4950" y="567"/>
                  </a:lnTo>
                  <a:lnTo>
                    <a:pt x="4768" y="802"/>
                  </a:lnTo>
                  <a:lnTo>
                    <a:pt x="3172" y="812"/>
                  </a:lnTo>
                  <a:lnTo>
                    <a:pt x="3158" y="809"/>
                  </a:lnTo>
                  <a:cubicBezTo>
                    <a:pt x="3148" y="805"/>
                    <a:pt x="1968" y="371"/>
                    <a:pt x="1754" y="319"/>
                  </a:cubicBezTo>
                  <a:cubicBezTo>
                    <a:pt x="1555" y="273"/>
                    <a:pt x="1229" y="56"/>
                    <a:pt x="11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2" name="Google Shape;5482;p53"/>
            <p:cNvSpPr/>
            <p:nvPr/>
          </p:nvSpPr>
          <p:spPr>
            <a:xfrm>
              <a:off x="1356122" y="1909990"/>
              <a:ext cx="28160" cy="28771"/>
            </a:xfrm>
            <a:custGeom>
              <a:avLst/>
              <a:gdLst/>
              <a:ahLst/>
              <a:cxnLst/>
              <a:rect l="l" t="t" r="r" b="b"/>
              <a:pathLst>
                <a:path w="2074" h="2119" extrusionOk="0">
                  <a:moveTo>
                    <a:pt x="879" y="1"/>
                  </a:moveTo>
                  <a:cubicBezTo>
                    <a:pt x="851" y="60"/>
                    <a:pt x="830" y="123"/>
                    <a:pt x="816" y="186"/>
                  </a:cubicBezTo>
                  <a:cubicBezTo>
                    <a:pt x="806" y="246"/>
                    <a:pt x="788" y="302"/>
                    <a:pt x="764" y="354"/>
                  </a:cubicBezTo>
                  <a:cubicBezTo>
                    <a:pt x="788" y="382"/>
                    <a:pt x="830" y="421"/>
                    <a:pt x="865" y="452"/>
                  </a:cubicBezTo>
                  <a:cubicBezTo>
                    <a:pt x="1023" y="596"/>
                    <a:pt x="1201" y="761"/>
                    <a:pt x="1149" y="894"/>
                  </a:cubicBezTo>
                  <a:cubicBezTo>
                    <a:pt x="1108" y="1004"/>
                    <a:pt x="939" y="1031"/>
                    <a:pt x="725" y="1031"/>
                  </a:cubicBezTo>
                  <a:cubicBezTo>
                    <a:pt x="647" y="1031"/>
                    <a:pt x="563" y="1028"/>
                    <a:pt x="477" y="1023"/>
                  </a:cubicBezTo>
                  <a:cubicBezTo>
                    <a:pt x="445" y="1023"/>
                    <a:pt x="407" y="1020"/>
                    <a:pt x="386" y="1016"/>
                  </a:cubicBezTo>
                  <a:lnTo>
                    <a:pt x="375" y="1027"/>
                  </a:lnTo>
                  <a:lnTo>
                    <a:pt x="372" y="1034"/>
                  </a:lnTo>
                  <a:lnTo>
                    <a:pt x="365" y="1041"/>
                  </a:lnTo>
                  <a:lnTo>
                    <a:pt x="358" y="1048"/>
                  </a:lnTo>
                  <a:lnTo>
                    <a:pt x="351" y="1058"/>
                  </a:lnTo>
                  <a:lnTo>
                    <a:pt x="344" y="1069"/>
                  </a:lnTo>
                  <a:lnTo>
                    <a:pt x="333" y="1079"/>
                  </a:lnTo>
                  <a:lnTo>
                    <a:pt x="326" y="1090"/>
                  </a:lnTo>
                  <a:lnTo>
                    <a:pt x="316" y="1104"/>
                  </a:lnTo>
                  <a:lnTo>
                    <a:pt x="309" y="1114"/>
                  </a:lnTo>
                  <a:lnTo>
                    <a:pt x="295" y="1132"/>
                  </a:lnTo>
                  <a:lnTo>
                    <a:pt x="284" y="1142"/>
                  </a:lnTo>
                  <a:lnTo>
                    <a:pt x="270" y="1163"/>
                  </a:lnTo>
                  <a:lnTo>
                    <a:pt x="263" y="1174"/>
                  </a:lnTo>
                  <a:lnTo>
                    <a:pt x="246" y="1195"/>
                  </a:lnTo>
                  <a:lnTo>
                    <a:pt x="239" y="1205"/>
                  </a:lnTo>
                  <a:lnTo>
                    <a:pt x="218" y="1233"/>
                  </a:lnTo>
                  <a:lnTo>
                    <a:pt x="211" y="1244"/>
                  </a:lnTo>
                  <a:lnTo>
                    <a:pt x="190" y="1272"/>
                  </a:lnTo>
                  <a:lnTo>
                    <a:pt x="183" y="1282"/>
                  </a:lnTo>
                  <a:lnTo>
                    <a:pt x="155" y="1317"/>
                  </a:lnTo>
                  <a:lnTo>
                    <a:pt x="151" y="1324"/>
                  </a:lnTo>
                  <a:cubicBezTo>
                    <a:pt x="109" y="1387"/>
                    <a:pt x="57" y="1454"/>
                    <a:pt x="1" y="1534"/>
                  </a:cubicBezTo>
                  <a:lnTo>
                    <a:pt x="99" y="1618"/>
                  </a:lnTo>
                  <a:cubicBezTo>
                    <a:pt x="284" y="1786"/>
                    <a:pt x="459" y="1944"/>
                    <a:pt x="550" y="2000"/>
                  </a:cubicBezTo>
                  <a:cubicBezTo>
                    <a:pt x="626" y="2048"/>
                    <a:pt x="726" y="2057"/>
                    <a:pt x="831" y="2057"/>
                  </a:cubicBezTo>
                  <a:cubicBezTo>
                    <a:pt x="862" y="2057"/>
                    <a:pt x="893" y="2057"/>
                    <a:pt x="925" y="2056"/>
                  </a:cubicBezTo>
                  <a:lnTo>
                    <a:pt x="1012" y="2056"/>
                  </a:lnTo>
                  <a:cubicBezTo>
                    <a:pt x="1117" y="2056"/>
                    <a:pt x="1219" y="2066"/>
                    <a:pt x="1292" y="2119"/>
                  </a:cubicBezTo>
                  <a:lnTo>
                    <a:pt x="1303" y="2112"/>
                  </a:lnTo>
                  <a:lnTo>
                    <a:pt x="1310" y="2101"/>
                  </a:lnTo>
                  <a:lnTo>
                    <a:pt x="1348" y="2070"/>
                  </a:lnTo>
                  <a:lnTo>
                    <a:pt x="1359" y="2059"/>
                  </a:lnTo>
                  <a:lnTo>
                    <a:pt x="1387" y="2031"/>
                  </a:lnTo>
                  <a:lnTo>
                    <a:pt x="1401" y="2021"/>
                  </a:lnTo>
                  <a:lnTo>
                    <a:pt x="1425" y="1996"/>
                  </a:lnTo>
                  <a:lnTo>
                    <a:pt x="1439" y="1986"/>
                  </a:lnTo>
                  <a:lnTo>
                    <a:pt x="1460" y="1965"/>
                  </a:lnTo>
                  <a:lnTo>
                    <a:pt x="1471" y="1958"/>
                  </a:lnTo>
                  <a:lnTo>
                    <a:pt x="1492" y="1940"/>
                  </a:lnTo>
                  <a:lnTo>
                    <a:pt x="1502" y="1930"/>
                  </a:lnTo>
                  <a:lnTo>
                    <a:pt x="1520" y="1916"/>
                  </a:lnTo>
                  <a:lnTo>
                    <a:pt x="1527" y="1909"/>
                  </a:lnTo>
                  <a:lnTo>
                    <a:pt x="1544" y="1895"/>
                  </a:lnTo>
                  <a:lnTo>
                    <a:pt x="1551" y="1891"/>
                  </a:lnTo>
                  <a:lnTo>
                    <a:pt x="1565" y="1877"/>
                  </a:lnTo>
                  <a:lnTo>
                    <a:pt x="1572" y="1874"/>
                  </a:lnTo>
                  <a:lnTo>
                    <a:pt x="1586" y="1863"/>
                  </a:lnTo>
                  <a:lnTo>
                    <a:pt x="1593" y="1860"/>
                  </a:lnTo>
                  <a:lnTo>
                    <a:pt x="1604" y="1853"/>
                  </a:lnTo>
                  <a:lnTo>
                    <a:pt x="1607" y="1849"/>
                  </a:lnTo>
                  <a:lnTo>
                    <a:pt x="1618" y="1842"/>
                  </a:lnTo>
                  <a:lnTo>
                    <a:pt x="1621" y="1839"/>
                  </a:lnTo>
                  <a:lnTo>
                    <a:pt x="1632" y="1835"/>
                  </a:lnTo>
                  <a:lnTo>
                    <a:pt x="1635" y="1835"/>
                  </a:lnTo>
                  <a:lnTo>
                    <a:pt x="1642" y="1828"/>
                  </a:lnTo>
                  <a:lnTo>
                    <a:pt x="1646" y="1828"/>
                  </a:lnTo>
                  <a:lnTo>
                    <a:pt x="1653" y="1825"/>
                  </a:lnTo>
                  <a:lnTo>
                    <a:pt x="1660" y="1825"/>
                  </a:lnTo>
                  <a:lnTo>
                    <a:pt x="1670" y="1811"/>
                  </a:lnTo>
                  <a:cubicBezTo>
                    <a:pt x="1684" y="1790"/>
                    <a:pt x="1695" y="1765"/>
                    <a:pt x="1698" y="1737"/>
                  </a:cubicBezTo>
                  <a:cubicBezTo>
                    <a:pt x="1726" y="1601"/>
                    <a:pt x="1803" y="1478"/>
                    <a:pt x="1912" y="1394"/>
                  </a:cubicBezTo>
                  <a:cubicBezTo>
                    <a:pt x="1936" y="1377"/>
                    <a:pt x="1957" y="1356"/>
                    <a:pt x="1978" y="1335"/>
                  </a:cubicBezTo>
                  <a:lnTo>
                    <a:pt x="1986" y="1328"/>
                  </a:lnTo>
                  <a:cubicBezTo>
                    <a:pt x="2007" y="1310"/>
                    <a:pt x="2031" y="1289"/>
                    <a:pt x="2049" y="1268"/>
                  </a:cubicBezTo>
                  <a:lnTo>
                    <a:pt x="2059" y="1258"/>
                  </a:lnTo>
                  <a:lnTo>
                    <a:pt x="2073" y="1244"/>
                  </a:lnTo>
                  <a:cubicBezTo>
                    <a:pt x="2056" y="1237"/>
                    <a:pt x="2038" y="1230"/>
                    <a:pt x="2021" y="1219"/>
                  </a:cubicBezTo>
                  <a:cubicBezTo>
                    <a:pt x="1982" y="1188"/>
                    <a:pt x="1957" y="1139"/>
                    <a:pt x="1957" y="1086"/>
                  </a:cubicBezTo>
                  <a:lnTo>
                    <a:pt x="1688" y="1125"/>
                  </a:lnTo>
                  <a:lnTo>
                    <a:pt x="1688" y="1125"/>
                  </a:lnTo>
                  <a:lnTo>
                    <a:pt x="1716" y="11"/>
                  </a:lnTo>
                  <a:lnTo>
                    <a:pt x="1572" y="11"/>
                  </a:lnTo>
                  <a:cubicBezTo>
                    <a:pt x="1394" y="11"/>
                    <a:pt x="1166" y="4"/>
                    <a:pt x="1012" y="4"/>
                  </a:cubicBezTo>
                  <a:lnTo>
                    <a:pt x="87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3" name="Google Shape;5483;p53"/>
            <p:cNvSpPr/>
            <p:nvPr/>
          </p:nvSpPr>
          <p:spPr>
            <a:xfrm>
              <a:off x="1378552" y="193466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4" name="Google Shape;5484;p53"/>
            <p:cNvSpPr/>
            <p:nvPr/>
          </p:nvSpPr>
          <p:spPr>
            <a:xfrm>
              <a:off x="1374370" y="1937892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5" name="Google Shape;5485;p53"/>
            <p:cNvSpPr/>
            <p:nvPr/>
          </p:nvSpPr>
          <p:spPr>
            <a:xfrm>
              <a:off x="1373759" y="1938462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6" name="Google Shape;5486;p53"/>
            <p:cNvSpPr/>
            <p:nvPr/>
          </p:nvSpPr>
          <p:spPr>
            <a:xfrm>
              <a:off x="1377601" y="193519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7" name="Google Shape;5487;p53"/>
            <p:cNvSpPr/>
            <p:nvPr/>
          </p:nvSpPr>
          <p:spPr>
            <a:xfrm>
              <a:off x="1378362" y="193471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8" name="Google Shape;5488;p53"/>
            <p:cNvSpPr/>
            <p:nvPr/>
          </p:nvSpPr>
          <p:spPr>
            <a:xfrm>
              <a:off x="1377370" y="193538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9" name="Google Shape;5489;p53"/>
            <p:cNvSpPr/>
            <p:nvPr/>
          </p:nvSpPr>
          <p:spPr>
            <a:xfrm>
              <a:off x="1377031" y="193557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0" name="Google Shape;5490;p53"/>
            <p:cNvSpPr/>
            <p:nvPr/>
          </p:nvSpPr>
          <p:spPr>
            <a:xfrm>
              <a:off x="1376705" y="1935855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1" name="Google Shape;5491;p53"/>
            <p:cNvSpPr/>
            <p:nvPr/>
          </p:nvSpPr>
          <p:spPr>
            <a:xfrm>
              <a:off x="1375470" y="1936900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2" name="Google Shape;5492;p53"/>
            <p:cNvSpPr/>
            <p:nvPr/>
          </p:nvSpPr>
          <p:spPr>
            <a:xfrm>
              <a:off x="1377846" y="19350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3" name="Google Shape;5493;p53"/>
            <p:cNvSpPr/>
            <p:nvPr/>
          </p:nvSpPr>
          <p:spPr>
            <a:xfrm>
              <a:off x="1378076" y="1934905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4" name="Google Shape;5494;p53"/>
            <p:cNvSpPr/>
            <p:nvPr/>
          </p:nvSpPr>
          <p:spPr>
            <a:xfrm>
              <a:off x="1374899" y="193737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5" name="Google Shape;5495;p53"/>
            <p:cNvSpPr/>
            <p:nvPr/>
          </p:nvSpPr>
          <p:spPr>
            <a:xfrm>
              <a:off x="1375890" y="19365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6" name="Google Shape;5496;p53"/>
            <p:cNvSpPr/>
            <p:nvPr/>
          </p:nvSpPr>
          <p:spPr>
            <a:xfrm>
              <a:off x="1376325" y="1936140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7" name="Google Shape;5497;p53"/>
            <p:cNvSpPr/>
            <p:nvPr/>
          </p:nvSpPr>
          <p:spPr>
            <a:xfrm>
              <a:off x="1378226" y="193481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8" name="Google Shape;5498;p53"/>
            <p:cNvSpPr/>
            <p:nvPr/>
          </p:nvSpPr>
          <p:spPr>
            <a:xfrm>
              <a:off x="1378647" y="1928917"/>
              <a:ext cx="3435" cy="5716"/>
            </a:xfrm>
            <a:custGeom>
              <a:avLst/>
              <a:gdLst/>
              <a:ahLst/>
              <a:cxnLst/>
              <a:rect l="l" t="t" r="r" b="b"/>
              <a:pathLst>
                <a:path w="253" h="421" extrusionOk="0">
                  <a:moveTo>
                    <a:pt x="253" y="0"/>
                  </a:moveTo>
                  <a:lnTo>
                    <a:pt x="253" y="0"/>
                  </a:lnTo>
                  <a:cubicBezTo>
                    <a:pt x="141" y="84"/>
                    <a:pt x="64" y="207"/>
                    <a:pt x="36" y="343"/>
                  </a:cubicBezTo>
                  <a:cubicBezTo>
                    <a:pt x="32" y="368"/>
                    <a:pt x="25" y="389"/>
                    <a:pt x="15" y="410"/>
                  </a:cubicBezTo>
                  <a:lnTo>
                    <a:pt x="1" y="420"/>
                  </a:lnTo>
                  <a:lnTo>
                    <a:pt x="11" y="417"/>
                  </a:lnTo>
                  <a:cubicBezTo>
                    <a:pt x="25" y="392"/>
                    <a:pt x="36" y="368"/>
                    <a:pt x="39" y="343"/>
                  </a:cubicBezTo>
                  <a:cubicBezTo>
                    <a:pt x="67" y="207"/>
                    <a:pt x="141" y="84"/>
                    <a:pt x="2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9" name="Google Shape;5499;p53"/>
            <p:cNvSpPr/>
            <p:nvPr/>
          </p:nvSpPr>
          <p:spPr>
            <a:xfrm>
              <a:off x="1384078" y="192686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"/>
                  </a:moveTo>
                  <a:lnTo>
                    <a:pt x="14" y="1"/>
                  </a:ln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0" name="Google Shape;5500;p53"/>
            <p:cNvSpPr/>
            <p:nvPr/>
          </p:nvSpPr>
          <p:spPr>
            <a:xfrm>
              <a:off x="1383127" y="1927152"/>
              <a:ext cx="869" cy="869"/>
            </a:xfrm>
            <a:custGeom>
              <a:avLst/>
              <a:gdLst/>
              <a:ahLst/>
              <a:cxnLst/>
              <a:rect l="l" t="t" r="r" b="b"/>
              <a:pathLst>
                <a:path w="64" h="64" extrusionOk="0">
                  <a:moveTo>
                    <a:pt x="63" y="1"/>
                  </a:moveTo>
                  <a:cubicBezTo>
                    <a:pt x="39" y="22"/>
                    <a:pt x="21" y="43"/>
                    <a:pt x="0" y="64"/>
                  </a:cubicBezTo>
                  <a:cubicBezTo>
                    <a:pt x="21" y="46"/>
                    <a:pt x="42" y="22"/>
                    <a:pt x="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1" name="Google Shape;5501;p53"/>
            <p:cNvSpPr/>
            <p:nvPr/>
          </p:nvSpPr>
          <p:spPr>
            <a:xfrm>
              <a:off x="1378647" y="1934524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6" y="7"/>
                  </a:lnTo>
                  <a:lnTo>
                    <a:pt x="6" y="7"/>
                  </a:lnTo>
                  <a:cubicBezTo>
                    <a:pt x="12" y="7"/>
                    <a:pt x="15" y="4"/>
                    <a:pt x="15" y="0"/>
                  </a:cubicBezTo>
                  <a:close/>
                  <a:moveTo>
                    <a:pt x="6" y="7"/>
                  </a:moveTo>
                  <a:cubicBezTo>
                    <a:pt x="5" y="7"/>
                    <a:pt x="5" y="7"/>
                    <a:pt x="4" y="7"/>
                  </a:cubicBezTo>
                  <a:lnTo>
                    <a:pt x="1" y="7"/>
                  </a:lnTo>
                  <a:lnTo>
                    <a:pt x="1" y="11"/>
                  </a:lnTo>
                  <a:lnTo>
                    <a:pt x="6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2" name="Google Shape;5502;p53"/>
            <p:cNvSpPr/>
            <p:nvPr/>
          </p:nvSpPr>
          <p:spPr>
            <a:xfrm>
              <a:off x="1358213" y="1927342"/>
              <a:ext cx="394" cy="543"/>
            </a:xfrm>
            <a:custGeom>
              <a:avLst/>
              <a:gdLst/>
              <a:ahLst/>
              <a:cxnLst/>
              <a:rect l="l" t="t" r="r" b="b"/>
              <a:pathLst>
                <a:path w="29" h="40" extrusionOk="0">
                  <a:moveTo>
                    <a:pt x="1" y="39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3" name="Google Shape;5503;p53"/>
            <p:cNvSpPr/>
            <p:nvPr/>
          </p:nvSpPr>
          <p:spPr>
            <a:xfrm>
              <a:off x="1360874" y="1924206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4" name="Google Shape;5504;p53"/>
            <p:cNvSpPr/>
            <p:nvPr/>
          </p:nvSpPr>
          <p:spPr>
            <a:xfrm>
              <a:off x="1361064" y="192397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5" name="Google Shape;5505;p53"/>
            <p:cNvSpPr/>
            <p:nvPr/>
          </p:nvSpPr>
          <p:spPr>
            <a:xfrm>
              <a:off x="1356122" y="1927912"/>
              <a:ext cx="2064" cy="2865"/>
            </a:xfrm>
            <a:custGeom>
              <a:avLst/>
              <a:gdLst/>
              <a:ahLst/>
              <a:cxnLst/>
              <a:rect l="l" t="t" r="r" b="b"/>
              <a:pathLst>
                <a:path w="152" h="211" extrusionOk="0">
                  <a:moveTo>
                    <a:pt x="1" y="211"/>
                  </a:moveTo>
                  <a:lnTo>
                    <a:pt x="1" y="211"/>
                  </a:lnTo>
                  <a:cubicBezTo>
                    <a:pt x="57" y="134"/>
                    <a:pt x="106" y="64"/>
                    <a:pt x="151" y="1"/>
                  </a:cubicBezTo>
                  <a:cubicBezTo>
                    <a:pt x="106" y="64"/>
                    <a:pt x="57" y="134"/>
                    <a:pt x="1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6" name="Google Shape;5506;p53"/>
            <p:cNvSpPr/>
            <p:nvPr/>
          </p:nvSpPr>
          <p:spPr>
            <a:xfrm>
              <a:off x="1358647" y="1926826"/>
              <a:ext cx="339" cy="434"/>
            </a:xfrm>
            <a:custGeom>
              <a:avLst/>
              <a:gdLst/>
              <a:ahLst/>
              <a:cxnLst/>
              <a:rect l="l" t="t" r="r" b="b"/>
              <a:pathLst>
                <a:path w="25" h="32" extrusionOk="0">
                  <a:moveTo>
                    <a:pt x="0" y="32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7" name="Google Shape;5507;p53"/>
            <p:cNvSpPr/>
            <p:nvPr/>
          </p:nvSpPr>
          <p:spPr>
            <a:xfrm>
              <a:off x="1377465" y="1910085"/>
              <a:ext cx="1955" cy="14"/>
            </a:xfrm>
            <a:custGeom>
              <a:avLst/>
              <a:gdLst/>
              <a:ahLst/>
              <a:cxnLst/>
              <a:rect l="l" t="t" r="r" b="b"/>
              <a:pathLst>
                <a:path w="144" h="1" extrusionOk="0">
                  <a:moveTo>
                    <a:pt x="144" y="1"/>
                  </a:moveTo>
                  <a:lnTo>
                    <a:pt x="144" y="1"/>
                  </a:lnTo>
                  <a:lnTo>
                    <a:pt x="0" y="1"/>
                  </a:lnTo>
                  <a:cubicBezTo>
                    <a:pt x="60" y="1"/>
                    <a:pt x="105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8" name="Google Shape;5508;p53"/>
            <p:cNvSpPr/>
            <p:nvPr/>
          </p:nvSpPr>
          <p:spPr>
            <a:xfrm>
              <a:off x="1359788" y="1925441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0" y="22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9" name="Google Shape;5509;p53"/>
            <p:cNvSpPr/>
            <p:nvPr/>
          </p:nvSpPr>
          <p:spPr>
            <a:xfrm>
              <a:off x="1359448" y="1925876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0" name="Google Shape;5510;p53"/>
            <p:cNvSpPr/>
            <p:nvPr/>
          </p:nvSpPr>
          <p:spPr>
            <a:xfrm>
              <a:off x="1360113" y="192511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1" name="Google Shape;5511;p53"/>
            <p:cNvSpPr/>
            <p:nvPr/>
          </p:nvSpPr>
          <p:spPr>
            <a:xfrm>
              <a:off x="1361213" y="1923785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2" name="Google Shape;5512;p53"/>
            <p:cNvSpPr/>
            <p:nvPr/>
          </p:nvSpPr>
          <p:spPr>
            <a:xfrm>
              <a:off x="1360643" y="1924450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3" name="Google Shape;5513;p53"/>
            <p:cNvSpPr/>
            <p:nvPr/>
          </p:nvSpPr>
          <p:spPr>
            <a:xfrm>
              <a:off x="1360399" y="1924735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4" name="Google Shape;5514;p53"/>
            <p:cNvSpPr/>
            <p:nvPr/>
          </p:nvSpPr>
          <p:spPr>
            <a:xfrm>
              <a:off x="1359068" y="1926351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5" name="Google Shape;5515;p53"/>
            <p:cNvSpPr/>
            <p:nvPr/>
          </p:nvSpPr>
          <p:spPr>
            <a:xfrm>
              <a:off x="1380833" y="1905333"/>
              <a:ext cx="7386" cy="17841"/>
            </a:xfrm>
            <a:custGeom>
              <a:avLst/>
              <a:gdLst/>
              <a:ahLst/>
              <a:cxnLst/>
              <a:rect l="l" t="t" r="r" b="b"/>
              <a:pathLst>
                <a:path w="544" h="1314" extrusionOk="0">
                  <a:moveTo>
                    <a:pt x="397" y="1"/>
                  </a:moveTo>
                  <a:cubicBezTo>
                    <a:pt x="341" y="4"/>
                    <a:pt x="250" y="120"/>
                    <a:pt x="194" y="193"/>
                  </a:cubicBezTo>
                  <a:lnTo>
                    <a:pt x="173" y="225"/>
                  </a:lnTo>
                  <a:cubicBezTo>
                    <a:pt x="155" y="246"/>
                    <a:pt x="141" y="267"/>
                    <a:pt x="127" y="281"/>
                  </a:cubicBezTo>
                  <a:lnTo>
                    <a:pt x="127" y="284"/>
                  </a:lnTo>
                  <a:lnTo>
                    <a:pt x="120" y="291"/>
                  </a:lnTo>
                  <a:lnTo>
                    <a:pt x="116" y="298"/>
                  </a:lnTo>
                  <a:lnTo>
                    <a:pt x="109" y="305"/>
                  </a:lnTo>
                  <a:lnTo>
                    <a:pt x="106" y="309"/>
                  </a:lnTo>
                  <a:lnTo>
                    <a:pt x="99" y="316"/>
                  </a:lnTo>
                  <a:lnTo>
                    <a:pt x="95" y="319"/>
                  </a:lnTo>
                  <a:lnTo>
                    <a:pt x="88" y="323"/>
                  </a:lnTo>
                  <a:lnTo>
                    <a:pt x="85" y="326"/>
                  </a:lnTo>
                  <a:lnTo>
                    <a:pt x="78" y="330"/>
                  </a:lnTo>
                  <a:lnTo>
                    <a:pt x="74" y="333"/>
                  </a:lnTo>
                  <a:lnTo>
                    <a:pt x="64" y="333"/>
                  </a:lnTo>
                  <a:cubicBezTo>
                    <a:pt x="53" y="337"/>
                    <a:pt x="43" y="340"/>
                    <a:pt x="32" y="340"/>
                  </a:cubicBezTo>
                  <a:lnTo>
                    <a:pt x="1" y="1314"/>
                  </a:lnTo>
                  <a:lnTo>
                    <a:pt x="155" y="1293"/>
                  </a:lnTo>
                  <a:cubicBezTo>
                    <a:pt x="190" y="1188"/>
                    <a:pt x="253" y="1093"/>
                    <a:pt x="341" y="1023"/>
                  </a:cubicBezTo>
                  <a:cubicBezTo>
                    <a:pt x="418" y="963"/>
                    <a:pt x="397" y="771"/>
                    <a:pt x="376" y="603"/>
                  </a:cubicBezTo>
                  <a:cubicBezTo>
                    <a:pt x="351" y="379"/>
                    <a:pt x="323" y="148"/>
                    <a:pt x="512" y="102"/>
                  </a:cubicBezTo>
                  <a:cubicBezTo>
                    <a:pt x="523" y="99"/>
                    <a:pt x="533" y="95"/>
                    <a:pt x="544" y="88"/>
                  </a:cubicBezTo>
                  <a:cubicBezTo>
                    <a:pt x="523" y="74"/>
                    <a:pt x="505" y="60"/>
                    <a:pt x="491" y="46"/>
                  </a:cubicBezTo>
                  <a:lnTo>
                    <a:pt x="470" y="32"/>
                  </a:lnTo>
                  <a:lnTo>
                    <a:pt x="456" y="22"/>
                  </a:lnTo>
                  <a:lnTo>
                    <a:pt x="449" y="22"/>
                  </a:lnTo>
                  <a:cubicBezTo>
                    <a:pt x="435" y="8"/>
                    <a:pt x="418" y="1"/>
                    <a:pt x="3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6" name="Google Shape;5516;p53"/>
            <p:cNvSpPr/>
            <p:nvPr/>
          </p:nvSpPr>
          <p:spPr>
            <a:xfrm>
              <a:off x="1381973" y="190966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7" name="Google Shape;5517;p53"/>
            <p:cNvSpPr/>
            <p:nvPr/>
          </p:nvSpPr>
          <p:spPr>
            <a:xfrm>
              <a:off x="1381837" y="19098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8" name="Google Shape;5518;p53"/>
            <p:cNvSpPr/>
            <p:nvPr/>
          </p:nvSpPr>
          <p:spPr>
            <a:xfrm>
              <a:off x="1386970" y="190561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9" name="Google Shape;5519;p53"/>
            <p:cNvSpPr/>
            <p:nvPr/>
          </p:nvSpPr>
          <p:spPr>
            <a:xfrm>
              <a:off x="1382123" y="190951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0" name="Google Shape;5520;p53"/>
            <p:cNvSpPr/>
            <p:nvPr/>
          </p:nvSpPr>
          <p:spPr>
            <a:xfrm>
              <a:off x="1382543" y="1908374"/>
              <a:ext cx="584" cy="774"/>
            </a:xfrm>
            <a:custGeom>
              <a:avLst/>
              <a:gdLst/>
              <a:ahLst/>
              <a:cxnLst/>
              <a:rect l="l" t="t" r="r" b="b"/>
              <a:pathLst>
                <a:path w="43" h="57" extrusionOk="0">
                  <a:moveTo>
                    <a:pt x="1" y="57"/>
                  </a:moveTo>
                  <a:cubicBezTo>
                    <a:pt x="11" y="43"/>
                    <a:pt x="25" y="22"/>
                    <a:pt x="43" y="1"/>
                  </a:cubicBezTo>
                  <a:cubicBezTo>
                    <a:pt x="25" y="22"/>
                    <a:pt x="11" y="43"/>
                    <a:pt x="1" y="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1" name="Google Shape;5521;p53"/>
            <p:cNvSpPr/>
            <p:nvPr/>
          </p:nvSpPr>
          <p:spPr>
            <a:xfrm>
              <a:off x="1387214" y="190576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2" name="Google Shape;5522;p53"/>
            <p:cNvSpPr/>
            <p:nvPr/>
          </p:nvSpPr>
          <p:spPr>
            <a:xfrm>
              <a:off x="1382408" y="1909189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3" name="Google Shape;5523;p53"/>
            <p:cNvSpPr/>
            <p:nvPr/>
          </p:nvSpPr>
          <p:spPr>
            <a:xfrm>
              <a:off x="1381593" y="19099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4" name="Google Shape;5524;p53"/>
            <p:cNvSpPr/>
            <p:nvPr/>
          </p:nvSpPr>
          <p:spPr>
            <a:xfrm>
              <a:off x="1387499" y="1905957"/>
              <a:ext cx="720" cy="584"/>
            </a:xfrm>
            <a:custGeom>
              <a:avLst/>
              <a:gdLst/>
              <a:ahLst/>
              <a:cxnLst/>
              <a:rect l="l" t="t" r="r" b="b"/>
              <a:pathLst>
                <a:path w="53" h="43" extrusionOk="0">
                  <a:moveTo>
                    <a:pt x="0" y="0"/>
                  </a:moveTo>
                  <a:cubicBezTo>
                    <a:pt x="14" y="14"/>
                    <a:pt x="32" y="25"/>
                    <a:pt x="53" y="42"/>
                  </a:cubicBezTo>
                  <a:cubicBezTo>
                    <a:pt x="32" y="25"/>
                    <a:pt x="1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5" name="Google Shape;5525;p53"/>
            <p:cNvSpPr/>
            <p:nvPr/>
          </p:nvSpPr>
          <p:spPr>
            <a:xfrm>
              <a:off x="1382258" y="190937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6" name="Google Shape;5526;p53"/>
            <p:cNvSpPr/>
            <p:nvPr/>
          </p:nvSpPr>
          <p:spPr>
            <a:xfrm>
              <a:off x="1381688" y="190985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4" y="0"/>
                  </a:moveTo>
                  <a:lnTo>
                    <a:pt x="1" y="4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7" name="Google Shape;5527;p53"/>
            <p:cNvSpPr/>
            <p:nvPr/>
          </p:nvSpPr>
          <p:spPr>
            <a:xfrm>
              <a:off x="1380833" y="1922875"/>
              <a:ext cx="2105" cy="299"/>
            </a:xfrm>
            <a:custGeom>
              <a:avLst/>
              <a:gdLst/>
              <a:ahLst/>
              <a:cxnLst/>
              <a:rect l="l" t="t" r="r" b="b"/>
              <a:pathLst>
                <a:path w="155" h="22" extrusionOk="0">
                  <a:moveTo>
                    <a:pt x="155" y="1"/>
                  </a:moveTo>
                  <a:lnTo>
                    <a:pt x="155" y="1"/>
                  </a:ln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8" name="Google Shape;5528;p53"/>
            <p:cNvSpPr/>
            <p:nvPr/>
          </p:nvSpPr>
          <p:spPr>
            <a:xfrm>
              <a:off x="1490539" y="1892285"/>
              <a:ext cx="19416" cy="14772"/>
            </a:xfrm>
            <a:custGeom>
              <a:avLst/>
              <a:gdLst/>
              <a:ahLst/>
              <a:cxnLst/>
              <a:rect l="l" t="t" r="r" b="b"/>
              <a:pathLst>
                <a:path w="1430" h="1088" extrusionOk="0">
                  <a:moveTo>
                    <a:pt x="793" y="0"/>
                  </a:moveTo>
                  <a:cubicBezTo>
                    <a:pt x="749" y="0"/>
                    <a:pt x="711" y="8"/>
                    <a:pt x="684" y="27"/>
                  </a:cubicBezTo>
                  <a:cubicBezTo>
                    <a:pt x="659" y="45"/>
                    <a:pt x="656" y="59"/>
                    <a:pt x="652" y="69"/>
                  </a:cubicBezTo>
                  <a:cubicBezTo>
                    <a:pt x="645" y="136"/>
                    <a:pt x="757" y="262"/>
                    <a:pt x="848" y="360"/>
                  </a:cubicBezTo>
                  <a:cubicBezTo>
                    <a:pt x="964" y="489"/>
                    <a:pt x="1076" y="612"/>
                    <a:pt x="1076" y="727"/>
                  </a:cubicBezTo>
                  <a:cubicBezTo>
                    <a:pt x="1076" y="762"/>
                    <a:pt x="1058" y="794"/>
                    <a:pt x="1034" y="818"/>
                  </a:cubicBezTo>
                  <a:cubicBezTo>
                    <a:pt x="978" y="872"/>
                    <a:pt x="876" y="886"/>
                    <a:pt x="722" y="886"/>
                  </a:cubicBezTo>
                  <a:cubicBezTo>
                    <a:pt x="664" y="886"/>
                    <a:pt x="599" y="884"/>
                    <a:pt x="526" y="881"/>
                  </a:cubicBezTo>
                  <a:cubicBezTo>
                    <a:pt x="474" y="880"/>
                    <a:pt x="412" y="879"/>
                    <a:pt x="350" y="879"/>
                  </a:cubicBezTo>
                  <a:cubicBezTo>
                    <a:pt x="190" y="879"/>
                    <a:pt x="24" y="889"/>
                    <a:pt x="1" y="944"/>
                  </a:cubicBezTo>
                  <a:cubicBezTo>
                    <a:pt x="18" y="965"/>
                    <a:pt x="36" y="979"/>
                    <a:pt x="60" y="990"/>
                  </a:cubicBezTo>
                  <a:cubicBezTo>
                    <a:pt x="137" y="1035"/>
                    <a:pt x="255" y="1066"/>
                    <a:pt x="383" y="1066"/>
                  </a:cubicBezTo>
                  <a:cubicBezTo>
                    <a:pt x="462" y="1066"/>
                    <a:pt x="544" y="1055"/>
                    <a:pt x="624" y="1028"/>
                  </a:cubicBezTo>
                  <a:cubicBezTo>
                    <a:pt x="719" y="997"/>
                    <a:pt x="817" y="979"/>
                    <a:pt x="915" y="979"/>
                  </a:cubicBezTo>
                  <a:cubicBezTo>
                    <a:pt x="1065" y="983"/>
                    <a:pt x="1212" y="1018"/>
                    <a:pt x="1345" y="1088"/>
                  </a:cubicBezTo>
                  <a:lnTo>
                    <a:pt x="1345" y="1077"/>
                  </a:lnTo>
                  <a:cubicBezTo>
                    <a:pt x="1349" y="1042"/>
                    <a:pt x="1352" y="1007"/>
                    <a:pt x="1356" y="969"/>
                  </a:cubicBezTo>
                  <a:lnTo>
                    <a:pt x="1356" y="962"/>
                  </a:lnTo>
                  <a:cubicBezTo>
                    <a:pt x="1356" y="927"/>
                    <a:pt x="1359" y="892"/>
                    <a:pt x="1363" y="857"/>
                  </a:cubicBezTo>
                  <a:lnTo>
                    <a:pt x="1363" y="843"/>
                  </a:lnTo>
                  <a:cubicBezTo>
                    <a:pt x="1366" y="808"/>
                    <a:pt x="1370" y="773"/>
                    <a:pt x="1373" y="738"/>
                  </a:cubicBezTo>
                  <a:lnTo>
                    <a:pt x="1373" y="713"/>
                  </a:lnTo>
                  <a:cubicBezTo>
                    <a:pt x="1377" y="678"/>
                    <a:pt x="1380" y="647"/>
                    <a:pt x="1384" y="612"/>
                  </a:cubicBezTo>
                  <a:lnTo>
                    <a:pt x="1384" y="594"/>
                  </a:lnTo>
                  <a:cubicBezTo>
                    <a:pt x="1387" y="563"/>
                    <a:pt x="1391" y="531"/>
                    <a:pt x="1394" y="503"/>
                  </a:cubicBezTo>
                  <a:lnTo>
                    <a:pt x="1394" y="486"/>
                  </a:lnTo>
                  <a:cubicBezTo>
                    <a:pt x="1398" y="454"/>
                    <a:pt x="1401" y="423"/>
                    <a:pt x="1405" y="391"/>
                  </a:cubicBezTo>
                  <a:lnTo>
                    <a:pt x="1405" y="367"/>
                  </a:lnTo>
                  <a:cubicBezTo>
                    <a:pt x="1408" y="339"/>
                    <a:pt x="1412" y="307"/>
                    <a:pt x="1415" y="279"/>
                  </a:cubicBezTo>
                  <a:lnTo>
                    <a:pt x="1419" y="262"/>
                  </a:lnTo>
                  <a:cubicBezTo>
                    <a:pt x="1422" y="234"/>
                    <a:pt x="1426" y="209"/>
                    <a:pt x="1429" y="185"/>
                  </a:cubicBezTo>
                  <a:lnTo>
                    <a:pt x="1429" y="174"/>
                  </a:lnTo>
                  <a:cubicBezTo>
                    <a:pt x="1370" y="157"/>
                    <a:pt x="1300" y="132"/>
                    <a:pt x="1230" y="108"/>
                  </a:cubicBezTo>
                  <a:cubicBezTo>
                    <a:pt x="1077" y="57"/>
                    <a:pt x="911" y="0"/>
                    <a:pt x="7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9" name="Google Shape;5529;p53"/>
            <p:cNvSpPr/>
            <p:nvPr/>
          </p:nvSpPr>
          <p:spPr>
            <a:xfrm>
              <a:off x="1510647" y="1894932"/>
              <a:ext cx="23353" cy="13252"/>
            </a:xfrm>
            <a:custGeom>
              <a:avLst/>
              <a:gdLst/>
              <a:ahLst/>
              <a:cxnLst/>
              <a:rect l="l" t="t" r="r" b="b"/>
              <a:pathLst>
                <a:path w="1720" h="976" extrusionOk="0">
                  <a:moveTo>
                    <a:pt x="457" y="0"/>
                  </a:moveTo>
                  <a:cubicBezTo>
                    <a:pt x="412" y="0"/>
                    <a:pt x="375" y="5"/>
                    <a:pt x="347" y="14"/>
                  </a:cubicBezTo>
                  <a:cubicBezTo>
                    <a:pt x="305" y="25"/>
                    <a:pt x="262" y="30"/>
                    <a:pt x="217" y="30"/>
                  </a:cubicBezTo>
                  <a:cubicBezTo>
                    <a:pt x="173" y="30"/>
                    <a:pt x="129" y="25"/>
                    <a:pt x="85" y="14"/>
                  </a:cubicBezTo>
                  <a:lnTo>
                    <a:pt x="85" y="25"/>
                  </a:lnTo>
                  <a:cubicBezTo>
                    <a:pt x="81" y="53"/>
                    <a:pt x="78" y="81"/>
                    <a:pt x="74" y="112"/>
                  </a:cubicBezTo>
                  <a:lnTo>
                    <a:pt x="74" y="126"/>
                  </a:lnTo>
                  <a:cubicBezTo>
                    <a:pt x="71" y="154"/>
                    <a:pt x="67" y="186"/>
                    <a:pt x="64" y="214"/>
                  </a:cubicBezTo>
                  <a:lnTo>
                    <a:pt x="64" y="231"/>
                  </a:lnTo>
                  <a:cubicBezTo>
                    <a:pt x="60" y="263"/>
                    <a:pt x="57" y="294"/>
                    <a:pt x="53" y="329"/>
                  </a:cubicBezTo>
                  <a:lnTo>
                    <a:pt x="50" y="354"/>
                  </a:lnTo>
                  <a:cubicBezTo>
                    <a:pt x="46" y="385"/>
                    <a:pt x="43" y="420"/>
                    <a:pt x="39" y="452"/>
                  </a:cubicBezTo>
                  <a:lnTo>
                    <a:pt x="39" y="476"/>
                  </a:lnTo>
                  <a:cubicBezTo>
                    <a:pt x="36" y="511"/>
                    <a:pt x="32" y="546"/>
                    <a:pt x="29" y="581"/>
                  </a:cubicBezTo>
                  <a:lnTo>
                    <a:pt x="29" y="595"/>
                  </a:lnTo>
                  <a:cubicBezTo>
                    <a:pt x="25" y="630"/>
                    <a:pt x="22" y="662"/>
                    <a:pt x="18" y="697"/>
                  </a:cubicBezTo>
                  <a:lnTo>
                    <a:pt x="18" y="714"/>
                  </a:lnTo>
                  <a:cubicBezTo>
                    <a:pt x="15" y="749"/>
                    <a:pt x="15" y="781"/>
                    <a:pt x="11" y="816"/>
                  </a:cubicBezTo>
                  <a:lnTo>
                    <a:pt x="8" y="847"/>
                  </a:lnTo>
                  <a:cubicBezTo>
                    <a:pt x="4" y="879"/>
                    <a:pt x="4" y="910"/>
                    <a:pt x="1" y="942"/>
                  </a:cubicBezTo>
                  <a:lnTo>
                    <a:pt x="1" y="956"/>
                  </a:lnTo>
                  <a:cubicBezTo>
                    <a:pt x="24" y="969"/>
                    <a:pt x="43" y="976"/>
                    <a:pt x="63" y="976"/>
                  </a:cubicBezTo>
                  <a:cubicBezTo>
                    <a:pt x="101" y="976"/>
                    <a:pt x="142" y="952"/>
                    <a:pt x="218" y="907"/>
                  </a:cubicBezTo>
                  <a:cubicBezTo>
                    <a:pt x="344" y="826"/>
                    <a:pt x="480" y="760"/>
                    <a:pt x="624" y="714"/>
                  </a:cubicBezTo>
                  <a:cubicBezTo>
                    <a:pt x="743" y="672"/>
                    <a:pt x="880" y="661"/>
                    <a:pt x="1017" y="661"/>
                  </a:cubicBezTo>
                  <a:cubicBezTo>
                    <a:pt x="1096" y="661"/>
                    <a:pt x="1176" y="665"/>
                    <a:pt x="1251" y="669"/>
                  </a:cubicBezTo>
                  <a:cubicBezTo>
                    <a:pt x="1319" y="671"/>
                    <a:pt x="1387" y="674"/>
                    <a:pt x="1450" y="674"/>
                  </a:cubicBezTo>
                  <a:cubicBezTo>
                    <a:pt x="1561" y="674"/>
                    <a:pt x="1655" y="665"/>
                    <a:pt x="1695" y="627"/>
                  </a:cubicBezTo>
                  <a:cubicBezTo>
                    <a:pt x="1713" y="606"/>
                    <a:pt x="1720" y="581"/>
                    <a:pt x="1716" y="557"/>
                  </a:cubicBezTo>
                  <a:cubicBezTo>
                    <a:pt x="1716" y="504"/>
                    <a:pt x="1664" y="434"/>
                    <a:pt x="1566" y="364"/>
                  </a:cubicBezTo>
                  <a:cubicBezTo>
                    <a:pt x="1286" y="163"/>
                    <a:pt x="731" y="0"/>
                    <a:pt x="4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0" name="Google Shape;5530;p53"/>
            <p:cNvSpPr/>
            <p:nvPr/>
          </p:nvSpPr>
          <p:spPr>
            <a:xfrm>
              <a:off x="1510797" y="1904382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1" name="Google Shape;5531;p53"/>
            <p:cNvSpPr/>
            <p:nvPr/>
          </p:nvSpPr>
          <p:spPr>
            <a:xfrm>
              <a:off x="1511598" y="189645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2" name="Google Shape;5532;p53"/>
            <p:cNvSpPr/>
            <p:nvPr/>
          </p:nvSpPr>
          <p:spPr>
            <a:xfrm>
              <a:off x="1510647" y="1905998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3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3" name="Google Shape;5533;p53"/>
            <p:cNvSpPr/>
            <p:nvPr/>
          </p:nvSpPr>
          <p:spPr>
            <a:xfrm>
              <a:off x="1510552" y="190770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4" name="Google Shape;5534;p53"/>
            <p:cNvSpPr/>
            <p:nvPr/>
          </p:nvSpPr>
          <p:spPr>
            <a:xfrm>
              <a:off x="1510932" y="190282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5" name="Google Shape;5535;p53"/>
            <p:cNvSpPr/>
            <p:nvPr/>
          </p:nvSpPr>
          <p:spPr>
            <a:xfrm>
              <a:off x="1511082" y="1901056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2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6" name="Google Shape;5536;p53"/>
            <p:cNvSpPr/>
            <p:nvPr/>
          </p:nvSpPr>
          <p:spPr>
            <a:xfrm>
              <a:off x="1511462" y="189782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7" name="Google Shape;5537;p53"/>
            <p:cNvSpPr/>
            <p:nvPr/>
          </p:nvSpPr>
          <p:spPr>
            <a:xfrm>
              <a:off x="1511272" y="1899399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25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8" name="Google Shape;5538;p53"/>
            <p:cNvSpPr/>
            <p:nvPr/>
          </p:nvSpPr>
          <p:spPr>
            <a:xfrm>
              <a:off x="1511788" y="1895068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9" name="Google Shape;5539;p53"/>
            <p:cNvSpPr/>
            <p:nvPr/>
          </p:nvSpPr>
          <p:spPr>
            <a:xfrm>
              <a:off x="1394193" y="1931619"/>
              <a:ext cx="29585" cy="30481"/>
            </a:xfrm>
            <a:custGeom>
              <a:avLst/>
              <a:gdLst/>
              <a:ahLst/>
              <a:cxnLst/>
              <a:rect l="l" t="t" r="r" b="b"/>
              <a:pathLst>
                <a:path w="2179" h="2245" extrusionOk="0">
                  <a:moveTo>
                    <a:pt x="2164" y="1"/>
                  </a:moveTo>
                  <a:lnTo>
                    <a:pt x="2136" y="8"/>
                  </a:lnTo>
                  <a:lnTo>
                    <a:pt x="2108" y="15"/>
                  </a:lnTo>
                  <a:lnTo>
                    <a:pt x="2084" y="22"/>
                  </a:lnTo>
                  <a:lnTo>
                    <a:pt x="2063" y="29"/>
                  </a:lnTo>
                  <a:lnTo>
                    <a:pt x="2031" y="39"/>
                  </a:lnTo>
                  <a:lnTo>
                    <a:pt x="2007" y="50"/>
                  </a:lnTo>
                  <a:lnTo>
                    <a:pt x="1986" y="60"/>
                  </a:lnTo>
                  <a:lnTo>
                    <a:pt x="1951" y="78"/>
                  </a:lnTo>
                  <a:lnTo>
                    <a:pt x="1933" y="85"/>
                  </a:lnTo>
                  <a:lnTo>
                    <a:pt x="1905" y="102"/>
                  </a:lnTo>
                  <a:lnTo>
                    <a:pt x="1881" y="116"/>
                  </a:lnTo>
                  <a:lnTo>
                    <a:pt x="1863" y="123"/>
                  </a:lnTo>
                  <a:lnTo>
                    <a:pt x="1832" y="144"/>
                  </a:lnTo>
                  <a:lnTo>
                    <a:pt x="1818" y="151"/>
                  </a:lnTo>
                  <a:lnTo>
                    <a:pt x="1786" y="172"/>
                  </a:lnTo>
                  <a:cubicBezTo>
                    <a:pt x="1709" y="218"/>
                    <a:pt x="1660" y="249"/>
                    <a:pt x="1618" y="253"/>
                  </a:cubicBezTo>
                  <a:cubicBezTo>
                    <a:pt x="1606" y="254"/>
                    <a:pt x="1593" y="254"/>
                    <a:pt x="1580" y="254"/>
                  </a:cubicBezTo>
                  <a:cubicBezTo>
                    <a:pt x="1550" y="254"/>
                    <a:pt x="1518" y="252"/>
                    <a:pt x="1489" y="249"/>
                  </a:cubicBezTo>
                  <a:cubicBezTo>
                    <a:pt x="1439" y="245"/>
                    <a:pt x="1390" y="242"/>
                    <a:pt x="1345" y="242"/>
                  </a:cubicBezTo>
                  <a:cubicBezTo>
                    <a:pt x="1242" y="242"/>
                    <a:pt x="1160" y="259"/>
                    <a:pt x="1145" y="319"/>
                  </a:cubicBezTo>
                  <a:cubicBezTo>
                    <a:pt x="1082" y="582"/>
                    <a:pt x="753" y="610"/>
                    <a:pt x="491" y="627"/>
                  </a:cubicBezTo>
                  <a:cubicBezTo>
                    <a:pt x="487" y="627"/>
                    <a:pt x="483" y="627"/>
                    <a:pt x="479" y="627"/>
                  </a:cubicBezTo>
                  <a:cubicBezTo>
                    <a:pt x="438" y="627"/>
                    <a:pt x="397" y="644"/>
                    <a:pt x="368" y="669"/>
                  </a:cubicBezTo>
                  <a:cubicBezTo>
                    <a:pt x="340" y="704"/>
                    <a:pt x="358" y="771"/>
                    <a:pt x="368" y="816"/>
                  </a:cubicBezTo>
                  <a:cubicBezTo>
                    <a:pt x="375" y="848"/>
                    <a:pt x="379" y="876"/>
                    <a:pt x="375" y="904"/>
                  </a:cubicBezTo>
                  <a:cubicBezTo>
                    <a:pt x="375" y="914"/>
                    <a:pt x="372" y="921"/>
                    <a:pt x="368" y="928"/>
                  </a:cubicBezTo>
                  <a:lnTo>
                    <a:pt x="368" y="932"/>
                  </a:lnTo>
                  <a:cubicBezTo>
                    <a:pt x="344" y="984"/>
                    <a:pt x="232" y="1072"/>
                    <a:pt x="186" y="1107"/>
                  </a:cubicBezTo>
                  <a:lnTo>
                    <a:pt x="176" y="1114"/>
                  </a:lnTo>
                  <a:lnTo>
                    <a:pt x="4" y="1152"/>
                  </a:lnTo>
                  <a:cubicBezTo>
                    <a:pt x="1" y="1195"/>
                    <a:pt x="22" y="1233"/>
                    <a:pt x="60" y="1251"/>
                  </a:cubicBezTo>
                  <a:cubicBezTo>
                    <a:pt x="165" y="1307"/>
                    <a:pt x="277" y="1436"/>
                    <a:pt x="396" y="1573"/>
                  </a:cubicBezTo>
                  <a:cubicBezTo>
                    <a:pt x="515" y="1709"/>
                    <a:pt x="631" y="1842"/>
                    <a:pt x="725" y="1891"/>
                  </a:cubicBezTo>
                  <a:cubicBezTo>
                    <a:pt x="816" y="1937"/>
                    <a:pt x="886" y="2014"/>
                    <a:pt x="925" y="2101"/>
                  </a:cubicBezTo>
                  <a:lnTo>
                    <a:pt x="1121" y="2101"/>
                  </a:lnTo>
                  <a:lnTo>
                    <a:pt x="1142" y="2105"/>
                  </a:lnTo>
                  <a:lnTo>
                    <a:pt x="1156" y="2108"/>
                  </a:lnTo>
                  <a:lnTo>
                    <a:pt x="1177" y="2115"/>
                  </a:lnTo>
                  <a:lnTo>
                    <a:pt x="1187" y="2119"/>
                  </a:lnTo>
                  <a:cubicBezTo>
                    <a:pt x="1194" y="2122"/>
                    <a:pt x="1205" y="2126"/>
                    <a:pt x="1215" y="2129"/>
                  </a:cubicBezTo>
                  <a:cubicBezTo>
                    <a:pt x="1264" y="2144"/>
                    <a:pt x="1316" y="2154"/>
                    <a:pt x="1370" y="2154"/>
                  </a:cubicBezTo>
                  <a:cubicBezTo>
                    <a:pt x="1378" y="2154"/>
                    <a:pt x="1386" y="2154"/>
                    <a:pt x="1394" y="2154"/>
                  </a:cubicBezTo>
                  <a:lnTo>
                    <a:pt x="1426" y="2154"/>
                  </a:lnTo>
                  <a:cubicBezTo>
                    <a:pt x="1552" y="2157"/>
                    <a:pt x="1681" y="2161"/>
                    <a:pt x="1765" y="2224"/>
                  </a:cubicBezTo>
                  <a:cubicBezTo>
                    <a:pt x="1772" y="2227"/>
                    <a:pt x="1776" y="2231"/>
                    <a:pt x="1783" y="2234"/>
                  </a:cubicBezTo>
                  <a:lnTo>
                    <a:pt x="1790" y="2238"/>
                  </a:lnTo>
                  <a:lnTo>
                    <a:pt x="1807" y="2241"/>
                  </a:lnTo>
                  <a:lnTo>
                    <a:pt x="1814" y="2241"/>
                  </a:lnTo>
                  <a:lnTo>
                    <a:pt x="1835" y="2245"/>
                  </a:lnTo>
                  <a:lnTo>
                    <a:pt x="1877" y="2245"/>
                  </a:lnTo>
                  <a:cubicBezTo>
                    <a:pt x="1870" y="2234"/>
                    <a:pt x="1867" y="2224"/>
                    <a:pt x="1863" y="2217"/>
                  </a:cubicBezTo>
                  <a:cubicBezTo>
                    <a:pt x="1779" y="2073"/>
                    <a:pt x="1863" y="1842"/>
                    <a:pt x="1940" y="1615"/>
                  </a:cubicBezTo>
                  <a:cubicBezTo>
                    <a:pt x="1958" y="1566"/>
                    <a:pt x="1975" y="1517"/>
                    <a:pt x="1989" y="1471"/>
                  </a:cubicBezTo>
                  <a:cubicBezTo>
                    <a:pt x="2017" y="1384"/>
                    <a:pt x="2010" y="1223"/>
                    <a:pt x="2003" y="1068"/>
                  </a:cubicBezTo>
                  <a:cubicBezTo>
                    <a:pt x="1993" y="837"/>
                    <a:pt x="1982" y="617"/>
                    <a:pt x="2077" y="515"/>
                  </a:cubicBezTo>
                  <a:cubicBezTo>
                    <a:pt x="2143" y="442"/>
                    <a:pt x="2147" y="393"/>
                    <a:pt x="2150" y="277"/>
                  </a:cubicBezTo>
                  <a:cubicBezTo>
                    <a:pt x="2154" y="183"/>
                    <a:pt x="2164" y="92"/>
                    <a:pt x="21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0" name="Google Shape;5540;p53"/>
            <p:cNvSpPr/>
            <p:nvPr/>
          </p:nvSpPr>
          <p:spPr>
            <a:xfrm>
              <a:off x="1418863" y="193361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1" name="Google Shape;5541;p53"/>
            <p:cNvSpPr/>
            <p:nvPr/>
          </p:nvSpPr>
          <p:spPr>
            <a:xfrm>
              <a:off x="1419488" y="1933194"/>
              <a:ext cx="244" cy="149"/>
            </a:xfrm>
            <a:custGeom>
              <a:avLst/>
              <a:gdLst/>
              <a:ahLst/>
              <a:cxnLst/>
              <a:rect l="l" t="t" r="r" b="b"/>
              <a:pathLst>
                <a:path w="18" h="11" extrusionOk="0">
                  <a:moveTo>
                    <a:pt x="0" y="1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2" name="Google Shape;5542;p53"/>
            <p:cNvSpPr/>
            <p:nvPr/>
          </p:nvSpPr>
          <p:spPr>
            <a:xfrm>
              <a:off x="1421429" y="1932189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3" name="Google Shape;5543;p53"/>
            <p:cNvSpPr/>
            <p:nvPr/>
          </p:nvSpPr>
          <p:spPr>
            <a:xfrm>
              <a:off x="1420058" y="1932814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14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4" name="Google Shape;5544;p53"/>
            <p:cNvSpPr/>
            <p:nvPr/>
          </p:nvSpPr>
          <p:spPr>
            <a:xfrm>
              <a:off x="1423575" y="193161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5" name="Google Shape;5545;p53"/>
            <p:cNvSpPr/>
            <p:nvPr/>
          </p:nvSpPr>
          <p:spPr>
            <a:xfrm>
              <a:off x="1422190" y="193195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6" name="Google Shape;5546;p53"/>
            <p:cNvSpPr/>
            <p:nvPr/>
          </p:nvSpPr>
          <p:spPr>
            <a:xfrm>
              <a:off x="1422814" y="1931768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0" y="7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7" name="Google Shape;5547;p53"/>
            <p:cNvSpPr/>
            <p:nvPr/>
          </p:nvSpPr>
          <p:spPr>
            <a:xfrm>
              <a:off x="1399189" y="194425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8" name="Google Shape;5548;p53"/>
            <p:cNvSpPr/>
            <p:nvPr/>
          </p:nvSpPr>
          <p:spPr>
            <a:xfrm>
              <a:off x="1420669" y="1932433"/>
              <a:ext cx="489" cy="244"/>
            </a:xfrm>
            <a:custGeom>
              <a:avLst/>
              <a:gdLst/>
              <a:ahLst/>
              <a:cxnLst/>
              <a:rect l="l" t="t" r="r" b="b"/>
              <a:pathLst>
                <a:path w="36" h="18" extrusionOk="0">
                  <a:moveTo>
                    <a:pt x="1" y="18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9" name="Google Shape;5549;p53"/>
            <p:cNvSpPr/>
            <p:nvPr/>
          </p:nvSpPr>
          <p:spPr>
            <a:xfrm>
              <a:off x="1399135" y="1942793"/>
              <a:ext cx="204" cy="1195"/>
            </a:xfrm>
            <a:custGeom>
              <a:avLst/>
              <a:gdLst/>
              <a:ahLst/>
              <a:cxnLst/>
              <a:rect l="l" t="t" r="r" b="b"/>
              <a:pathLst>
                <a:path w="15" h="88" extrusionOk="0">
                  <a:moveTo>
                    <a:pt x="1" y="0"/>
                  </a:moveTo>
                  <a:cubicBezTo>
                    <a:pt x="11" y="28"/>
                    <a:pt x="15" y="56"/>
                    <a:pt x="11" y="88"/>
                  </a:cubicBezTo>
                  <a:cubicBezTo>
                    <a:pt x="15" y="56"/>
                    <a:pt x="11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0" name="Google Shape;5550;p53"/>
            <p:cNvSpPr/>
            <p:nvPr/>
          </p:nvSpPr>
          <p:spPr>
            <a:xfrm>
              <a:off x="1494680" y="2006254"/>
              <a:ext cx="293288" cy="299506"/>
            </a:xfrm>
            <a:custGeom>
              <a:avLst/>
              <a:gdLst/>
              <a:ahLst/>
              <a:cxnLst/>
              <a:rect l="l" t="t" r="r" b="b"/>
              <a:pathLst>
                <a:path w="21601" h="22059" extrusionOk="0">
                  <a:moveTo>
                    <a:pt x="7492" y="0"/>
                  </a:moveTo>
                  <a:lnTo>
                    <a:pt x="7482" y="4"/>
                  </a:lnTo>
                  <a:lnTo>
                    <a:pt x="7475" y="7"/>
                  </a:lnTo>
                  <a:cubicBezTo>
                    <a:pt x="7471" y="7"/>
                    <a:pt x="7468" y="11"/>
                    <a:pt x="7464" y="11"/>
                  </a:cubicBezTo>
                  <a:cubicBezTo>
                    <a:pt x="7440" y="32"/>
                    <a:pt x="7419" y="56"/>
                    <a:pt x="7408" y="81"/>
                  </a:cubicBezTo>
                  <a:cubicBezTo>
                    <a:pt x="7398" y="98"/>
                    <a:pt x="7391" y="112"/>
                    <a:pt x="7384" y="130"/>
                  </a:cubicBezTo>
                  <a:cubicBezTo>
                    <a:pt x="7359" y="193"/>
                    <a:pt x="7317" y="249"/>
                    <a:pt x="7261" y="291"/>
                  </a:cubicBezTo>
                  <a:lnTo>
                    <a:pt x="7247" y="298"/>
                  </a:lnTo>
                  <a:cubicBezTo>
                    <a:pt x="7240" y="305"/>
                    <a:pt x="7230" y="308"/>
                    <a:pt x="7223" y="308"/>
                  </a:cubicBezTo>
                  <a:cubicBezTo>
                    <a:pt x="7177" y="329"/>
                    <a:pt x="7132" y="347"/>
                    <a:pt x="7090" y="371"/>
                  </a:cubicBezTo>
                  <a:lnTo>
                    <a:pt x="7034" y="399"/>
                  </a:lnTo>
                  <a:cubicBezTo>
                    <a:pt x="6876" y="483"/>
                    <a:pt x="6701" y="574"/>
                    <a:pt x="6568" y="578"/>
                  </a:cubicBezTo>
                  <a:cubicBezTo>
                    <a:pt x="6563" y="579"/>
                    <a:pt x="6558" y="579"/>
                    <a:pt x="6553" y="579"/>
                  </a:cubicBezTo>
                  <a:cubicBezTo>
                    <a:pt x="6540" y="579"/>
                    <a:pt x="6528" y="577"/>
                    <a:pt x="6516" y="574"/>
                  </a:cubicBezTo>
                  <a:cubicBezTo>
                    <a:pt x="6493" y="570"/>
                    <a:pt x="6471" y="568"/>
                    <a:pt x="6449" y="568"/>
                  </a:cubicBezTo>
                  <a:cubicBezTo>
                    <a:pt x="6383" y="568"/>
                    <a:pt x="6318" y="587"/>
                    <a:pt x="6263" y="623"/>
                  </a:cubicBezTo>
                  <a:cubicBezTo>
                    <a:pt x="6232" y="648"/>
                    <a:pt x="6214" y="686"/>
                    <a:pt x="6218" y="725"/>
                  </a:cubicBezTo>
                  <a:cubicBezTo>
                    <a:pt x="6218" y="847"/>
                    <a:pt x="6151" y="900"/>
                    <a:pt x="6085" y="907"/>
                  </a:cubicBezTo>
                  <a:cubicBezTo>
                    <a:pt x="6079" y="907"/>
                    <a:pt x="6074" y="908"/>
                    <a:pt x="6068" y="908"/>
                  </a:cubicBezTo>
                  <a:cubicBezTo>
                    <a:pt x="5980" y="908"/>
                    <a:pt x="5898" y="830"/>
                    <a:pt x="5871" y="721"/>
                  </a:cubicBezTo>
                  <a:cubicBezTo>
                    <a:pt x="5864" y="686"/>
                    <a:pt x="5759" y="679"/>
                    <a:pt x="5679" y="669"/>
                  </a:cubicBezTo>
                  <a:cubicBezTo>
                    <a:pt x="5581" y="662"/>
                    <a:pt x="5476" y="651"/>
                    <a:pt x="5413" y="592"/>
                  </a:cubicBezTo>
                  <a:cubicBezTo>
                    <a:pt x="5392" y="574"/>
                    <a:pt x="5367" y="567"/>
                    <a:pt x="5339" y="564"/>
                  </a:cubicBezTo>
                  <a:lnTo>
                    <a:pt x="5332" y="564"/>
                  </a:lnTo>
                  <a:cubicBezTo>
                    <a:pt x="5306" y="561"/>
                    <a:pt x="5279" y="559"/>
                    <a:pt x="5252" y="559"/>
                  </a:cubicBezTo>
                  <a:cubicBezTo>
                    <a:pt x="5219" y="559"/>
                    <a:pt x="5186" y="561"/>
                    <a:pt x="5154" y="567"/>
                  </a:cubicBezTo>
                  <a:cubicBezTo>
                    <a:pt x="5360" y="697"/>
                    <a:pt x="5378" y="837"/>
                    <a:pt x="5378" y="1022"/>
                  </a:cubicBezTo>
                  <a:cubicBezTo>
                    <a:pt x="5374" y="1064"/>
                    <a:pt x="5395" y="1103"/>
                    <a:pt x="5427" y="1131"/>
                  </a:cubicBezTo>
                  <a:cubicBezTo>
                    <a:pt x="5497" y="1190"/>
                    <a:pt x="5532" y="1278"/>
                    <a:pt x="5525" y="1365"/>
                  </a:cubicBezTo>
                  <a:cubicBezTo>
                    <a:pt x="5525" y="1383"/>
                    <a:pt x="5528" y="1400"/>
                    <a:pt x="5532" y="1414"/>
                  </a:cubicBezTo>
                  <a:cubicBezTo>
                    <a:pt x="5556" y="1411"/>
                    <a:pt x="5584" y="1404"/>
                    <a:pt x="5609" y="1397"/>
                  </a:cubicBezTo>
                  <a:cubicBezTo>
                    <a:pt x="5647" y="1379"/>
                    <a:pt x="5693" y="1369"/>
                    <a:pt x="5738" y="1365"/>
                  </a:cubicBezTo>
                  <a:cubicBezTo>
                    <a:pt x="5815" y="1365"/>
                    <a:pt x="5878" y="1425"/>
                    <a:pt x="5882" y="1502"/>
                  </a:cubicBezTo>
                  <a:cubicBezTo>
                    <a:pt x="5892" y="1593"/>
                    <a:pt x="5826" y="1701"/>
                    <a:pt x="5686" y="1726"/>
                  </a:cubicBezTo>
                  <a:cubicBezTo>
                    <a:pt x="5542" y="1750"/>
                    <a:pt x="5472" y="1820"/>
                    <a:pt x="5423" y="1975"/>
                  </a:cubicBezTo>
                  <a:cubicBezTo>
                    <a:pt x="5381" y="2108"/>
                    <a:pt x="5280" y="2118"/>
                    <a:pt x="5206" y="2125"/>
                  </a:cubicBezTo>
                  <a:cubicBezTo>
                    <a:pt x="5147" y="2129"/>
                    <a:pt x="5087" y="2150"/>
                    <a:pt x="5042" y="2188"/>
                  </a:cubicBezTo>
                  <a:lnTo>
                    <a:pt x="5007" y="2216"/>
                  </a:lnTo>
                  <a:cubicBezTo>
                    <a:pt x="4937" y="2290"/>
                    <a:pt x="4853" y="2353"/>
                    <a:pt x="4765" y="2398"/>
                  </a:cubicBezTo>
                  <a:cubicBezTo>
                    <a:pt x="4738" y="2412"/>
                    <a:pt x="4710" y="2419"/>
                    <a:pt x="4682" y="2419"/>
                  </a:cubicBezTo>
                  <a:cubicBezTo>
                    <a:pt x="4648" y="2419"/>
                    <a:pt x="4614" y="2409"/>
                    <a:pt x="4583" y="2388"/>
                  </a:cubicBezTo>
                  <a:cubicBezTo>
                    <a:pt x="4564" y="2375"/>
                    <a:pt x="4547" y="2368"/>
                    <a:pt x="4527" y="2368"/>
                  </a:cubicBezTo>
                  <a:cubicBezTo>
                    <a:pt x="4488" y="2368"/>
                    <a:pt x="4443" y="2393"/>
                    <a:pt x="4366" y="2437"/>
                  </a:cubicBezTo>
                  <a:lnTo>
                    <a:pt x="4359" y="2440"/>
                  </a:lnTo>
                  <a:cubicBezTo>
                    <a:pt x="4349" y="2447"/>
                    <a:pt x="4338" y="2451"/>
                    <a:pt x="4331" y="2454"/>
                  </a:cubicBezTo>
                  <a:lnTo>
                    <a:pt x="4321" y="2458"/>
                  </a:lnTo>
                  <a:lnTo>
                    <a:pt x="4303" y="2465"/>
                  </a:lnTo>
                  <a:lnTo>
                    <a:pt x="4293" y="2468"/>
                  </a:lnTo>
                  <a:lnTo>
                    <a:pt x="4275" y="2472"/>
                  </a:lnTo>
                  <a:lnTo>
                    <a:pt x="4212" y="2472"/>
                  </a:lnTo>
                  <a:lnTo>
                    <a:pt x="4191" y="2468"/>
                  </a:lnTo>
                  <a:lnTo>
                    <a:pt x="4184" y="2468"/>
                  </a:lnTo>
                  <a:cubicBezTo>
                    <a:pt x="4177" y="2465"/>
                    <a:pt x="4170" y="2461"/>
                    <a:pt x="4159" y="2458"/>
                  </a:cubicBezTo>
                  <a:lnTo>
                    <a:pt x="4156" y="2458"/>
                  </a:lnTo>
                  <a:lnTo>
                    <a:pt x="4135" y="2447"/>
                  </a:lnTo>
                  <a:lnTo>
                    <a:pt x="4128" y="2440"/>
                  </a:lnTo>
                  <a:lnTo>
                    <a:pt x="4107" y="2430"/>
                  </a:lnTo>
                  <a:lnTo>
                    <a:pt x="4103" y="2426"/>
                  </a:lnTo>
                  <a:lnTo>
                    <a:pt x="4079" y="2405"/>
                  </a:lnTo>
                  <a:lnTo>
                    <a:pt x="4072" y="2402"/>
                  </a:lnTo>
                  <a:lnTo>
                    <a:pt x="4051" y="2384"/>
                  </a:lnTo>
                  <a:lnTo>
                    <a:pt x="4044" y="2377"/>
                  </a:lnTo>
                  <a:lnTo>
                    <a:pt x="4016" y="2356"/>
                  </a:lnTo>
                  <a:lnTo>
                    <a:pt x="3956" y="2307"/>
                  </a:lnTo>
                  <a:cubicBezTo>
                    <a:pt x="3886" y="2244"/>
                    <a:pt x="3827" y="2167"/>
                    <a:pt x="3781" y="2083"/>
                  </a:cubicBezTo>
                  <a:lnTo>
                    <a:pt x="3757" y="2045"/>
                  </a:lnTo>
                  <a:lnTo>
                    <a:pt x="3750" y="2031"/>
                  </a:lnTo>
                  <a:lnTo>
                    <a:pt x="3736" y="2006"/>
                  </a:lnTo>
                  <a:lnTo>
                    <a:pt x="3722" y="1989"/>
                  </a:lnTo>
                  <a:lnTo>
                    <a:pt x="3708" y="1968"/>
                  </a:lnTo>
                  <a:lnTo>
                    <a:pt x="3697" y="1950"/>
                  </a:lnTo>
                  <a:lnTo>
                    <a:pt x="3680" y="1929"/>
                  </a:lnTo>
                  <a:lnTo>
                    <a:pt x="3669" y="1908"/>
                  </a:lnTo>
                  <a:lnTo>
                    <a:pt x="3652" y="1887"/>
                  </a:lnTo>
                  <a:lnTo>
                    <a:pt x="3638" y="1869"/>
                  </a:lnTo>
                  <a:lnTo>
                    <a:pt x="3620" y="1848"/>
                  </a:lnTo>
                  <a:lnTo>
                    <a:pt x="3603" y="1827"/>
                  </a:lnTo>
                  <a:lnTo>
                    <a:pt x="3585" y="1806"/>
                  </a:lnTo>
                  <a:lnTo>
                    <a:pt x="3568" y="1789"/>
                  </a:lnTo>
                  <a:lnTo>
                    <a:pt x="3564" y="1785"/>
                  </a:lnTo>
                  <a:cubicBezTo>
                    <a:pt x="3522" y="1806"/>
                    <a:pt x="3466" y="1824"/>
                    <a:pt x="3414" y="1841"/>
                  </a:cubicBezTo>
                  <a:cubicBezTo>
                    <a:pt x="3302" y="1887"/>
                    <a:pt x="3183" y="1915"/>
                    <a:pt x="3060" y="1926"/>
                  </a:cubicBezTo>
                  <a:lnTo>
                    <a:pt x="3043" y="1926"/>
                  </a:lnTo>
                  <a:cubicBezTo>
                    <a:pt x="3008" y="1926"/>
                    <a:pt x="2955" y="1926"/>
                    <a:pt x="2892" y="1922"/>
                  </a:cubicBezTo>
                  <a:cubicBezTo>
                    <a:pt x="2833" y="1921"/>
                    <a:pt x="2735" y="1918"/>
                    <a:pt x="2634" y="1918"/>
                  </a:cubicBezTo>
                  <a:cubicBezTo>
                    <a:pt x="2498" y="1918"/>
                    <a:pt x="2356" y="1923"/>
                    <a:pt x="2297" y="1943"/>
                  </a:cubicBezTo>
                  <a:cubicBezTo>
                    <a:pt x="2290" y="1943"/>
                    <a:pt x="2283" y="1947"/>
                    <a:pt x="2280" y="1950"/>
                  </a:cubicBezTo>
                  <a:cubicBezTo>
                    <a:pt x="2273" y="2003"/>
                    <a:pt x="2283" y="2052"/>
                    <a:pt x="2311" y="2097"/>
                  </a:cubicBezTo>
                  <a:cubicBezTo>
                    <a:pt x="2322" y="2125"/>
                    <a:pt x="2346" y="2146"/>
                    <a:pt x="2374" y="2157"/>
                  </a:cubicBezTo>
                  <a:cubicBezTo>
                    <a:pt x="2469" y="2178"/>
                    <a:pt x="2591" y="2220"/>
                    <a:pt x="2616" y="2314"/>
                  </a:cubicBezTo>
                  <a:cubicBezTo>
                    <a:pt x="2637" y="2412"/>
                    <a:pt x="2539" y="2479"/>
                    <a:pt x="2507" y="2500"/>
                  </a:cubicBezTo>
                  <a:cubicBezTo>
                    <a:pt x="2437" y="2549"/>
                    <a:pt x="2357" y="2573"/>
                    <a:pt x="2269" y="2577"/>
                  </a:cubicBezTo>
                  <a:cubicBezTo>
                    <a:pt x="2182" y="2584"/>
                    <a:pt x="2164" y="2587"/>
                    <a:pt x="2164" y="2741"/>
                  </a:cubicBezTo>
                  <a:cubicBezTo>
                    <a:pt x="2164" y="2776"/>
                    <a:pt x="2168" y="2811"/>
                    <a:pt x="2178" y="2843"/>
                  </a:cubicBezTo>
                  <a:cubicBezTo>
                    <a:pt x="2217" y="2948"/>
                    <a:pt x="2269" y="3046"/>
                    <a:pt x="2339" y="3130"/>
                  </a:cubicBezTo>
                  <a:cubicBezTo>
                    <a:pt x="2423" y="3245"/>
                    <a:pt x="2511" y="3368"/>
                    <a:pt x="2525" y="3504"/>
                  </a:cubicBezTo>
                  <a:cubicBezTo>
                    <a:pt x="2528" y="3550"/>
                    <a:pt x="2525" y="3599"/>
                    <a:pt x="2511" y="3648"/>
                  </a:cubicBezTo>
                  <a:cubicBezTo>
                    <a:pt x="2451" y="3886"/>
                    <a:pt x="2416" y="4128"/>
                    <a:pt x="2402" y="4376"/>
                  </a:cubicBezTo>
                  <a:cubicBezTo>
                    <a:pt x="2402" y="4383"/>
                    <a:pt x="2381" y="4996"/>
                    <a:pt x="2199" y="5150"/>
                  </a:cubicBezTo>
                  <a:lnTo>
                    <a:pt x="2220" y="5178"/>
                  </a:lnTo>
                  <a:lnTo>
                    <a:pt x="2129" y="5185"/>
                  </a:lnTo>
                  <a:cubicBezTo>
                    <a:pt x="2108" y="5188"/>
                    <a:pt x="2090" y="5188"/>
                    <a:pt x="2069" y="5188"/>
                  </a:cubicBezTo>
                  <a:lnTo>
                    <a:pt x="2066" y="5188"/>
                  </a:lnTo>
                  <a:cubicBezTo>
                    <a:pt x="2027" y="5185"/>
                    <a:pt x="1985" y="5178"/>
                    <a:pt x="1950" y="5164"/>
                  </a:cubicBezTo>
                  <a:cubicBezTo>
                    <a:pt x="1911" y="5153"/>
                    <a:pt x="1876" y="5143"/>
                    <a:pt x="1840" y="5143"/>
                  </a:cubicBezTo>
                  <a:cubicBezTo>
                    <a:pt x="1795" y="5143"/>
                    <a:pt x="1751" y="5158"/>
                    <a:pt x="1698" y="5202"/>
                  </a:cubicBezTo>
                  <a:cubicBezTo>
                    <a:pt x="1625" y="5262"/>
                    <a:pt x="1534" y="5300"/>
                    <a:pt x="1443" y="5314"/>
                  </a:cubicBezTo>
                  <a:cubicBezTo>
                    <a:pt x="1411" y="5321"/>
                    <a:pt x="1383" y="5325"/>
                    <a:pt x="1355" y="5328"/>
                  </a:cubicBezTo>
                  <a:cubicBezTo>
                    <a:pt x="1324" y="5335"/>
                    <a:pt x="1299" y="5339"/>
                    <a:pt x="1271" y="5346"/>
                  </a:cubicBezTo>
                  <a:cubicBezTo>
                    <a:pt x="1184" y="5356"/>
                    <a:pt x="1103" y="5391"/>
                    <a:pt x="1033" y="5444"/>
                  </a:cubicBezTo>
                  <a:cubicBezTo>
                    <a:pt x="956" y="5503"/>
                    <a:pt x="865" y="5549"/>
                    <a:pt x="774" y="5577"/>
                  </a:cubicBezTo>
                  <a:lnTo>
                    <a:pt x="739" y="5587"/>
                  </a:lnTo>
                  <a:cubicBezTo>
                    <a:pt x="620" y="5626"/>
                    <a:pt x="578" y="5643"/>
                    <a:pt x="575" y="5720"/>
                  </a:cubicBezTo>
                  <a:cubicBezTo>
                    <a:pt x="561" y="5818"/>
                    <a:pt x="522" y="5909"/>
                    <a:pt x="466" y="5990"/>
                  </a:cubicBezTo>
                  <a:cubicBezTo>
                    <a:pt x="410" y="6081"/>
                    <a:pt x="379" y="6141"/>
                    <a:pt x="393" y="6214"/>
                  </a:cubicBezTo>
                  <a:cubicBezTo>
                    <a:pt x="438" y="6389"/>
                    <a:pt x="347" y="6438"/>
                    <a:pt x="267" y="6477"/>
                  </a:cubicBezTo>
                  <a:cubicBezTo>
                    <a:pt x="218" y="6501"/>
                    <a:pt x="172" y="6533"/>
                    <a:pt x="134" y="6568"/>
                  </a:cubicBezTo>
                  <a:cubicBezTo>
                    <a:pt x="81" y="6624"/>
                    <a:pt x="88" y="6659"/>
                    <a:pt x="99" y="6715"/>
                  </a:cubicBezTo>
                  <a:cubicBezTo>
                    <a:pt x="120" y="6788"/>
                    <a:pt x="106" y="6865"/>
                    <a:pt x="56" y="6921"/>
                  </a:cubicBezTo>
                  <a:cubicBezTo>
                    <a:pt x="0" y="6988"/>
                    <a:pt x="92" y="7131"/>
                    <a:pt x="183" y="7268"/>
                  </a:cubicBezTo>
                  <a:lnTo>
                    <a:pt x="211" y="7313"/>
                  </a:lnTo>
                  <a:cubicBezTo>
                    <a:pt x="235" y="7352"/>
                    <a:pt x="260" y="7390"/>
                    <a:pt x="288" y="7425"/>
                  </a:cubicBezTo>
                  <a:cubicBezTo>
                    <a:pt x="375" y="7555"/>
                    <a:pt x="463" y="7674"/>
                    <a:pt x="445" y="7824"/>
                  </a:cubicBezTo>
                  <a:cubicBezTo>
                    <a:pt x="438" y="7859"/>
                    <a:pt x="449" y="7894"/>
                    <a:pt x="473" y="7922"/>
                  </a:cubicBezTo>
                  <a:cubicBezTo>
                    <a:pt x="499" y="7949"/>
                    <a:pt x="547" y="7963"/>
                    <a:pt x="609" y="7963"/>
                  </a:cubicBezTo>
                  <a:cubicBezTo>
                    <a:pt x="621" y="7963"/>
                    <a:pt x="635" y="7962"/>
                    <a:pt x="648" y="7961"/>
                  </a:cubicBezTo>
                  <a:cubicBezTo>
                    <a:pt x="654" y="7960"/>
                    <a:pt x="659" y="7960"/>
                    <a:pt x="665" y="7960"/>
                  </a:cubicBezTo>
                  <a:cubicBezTo>
                    <a:pt x="780" y="7960"/>
                    <a:pt x="806" y="8066"/>
                    <a:pt x="823" y="8133"/>
                  </a:cubicBezTo>
                  <a:cubicBezTo>
                    <a:pt x="848" y="8231"/>
                    <a:pt x="862" y="8269"/>
                    <a:pt x="946" y="8269"/>
                  </a:cubicBezTo>
                  <a:cubicBezTo>
                    <a:pt x="1012" y="8269"/>
                    <a:pt x="1079" y="8273"/>
                    <a:pt x="1138" y="8276"/>
                  </a:cubicBezTo>
                  <a:cubicBezTo>
                    <a:pt x="1191" y="8280"/>
                    <a:pt x="1242" y="8283"/>
                    <a:pt x="1289" y="8283"/>
                  </a:cubicBezTo>
                  <a:cubicBezTo>
                    <a:pt x="1379" y="8283"/>
                    <a:pt x="1450" y="8271"/>
                    <a:pt x="1471" y="8227"/>
                  </a:cubicBezTo>
                  <a:cubicBezTo>
                    <a:pt x="1516" y="8122"/>
                    <a:pt x="1613" y="8025"/>
                    <a:pt x="1707" y="8025"/>
                  </a:cubicBezTo>
                  <a:cubicBezTo>
                    <a:pt x="1716" y="8025"/>
                    <a:pt x="1725" y="8026"/>
                    <a:pt x="1733" y="8027"/>
                  </a:cubicBezTo>
                  <a:cubicBezTo>
                    <a:pt x="1772" y="8034"/>
                    <a:pt x="1838" y="8069"/>
                    <a:pt x="1838" y="8206"/>
                  </a:cubicBezTo>
                  <a:cubicBezTo>
                    <a:pt x="1838" y="8238"/>
                    <a:pt x="1838" y="8280"/>
                    <a:pt x="1835" y="8329"/>
                  </a:cubicBezTo>
                  <a:cubicBezTo>
                    <a:pt x="1831" y="8448"/>
                    <a:pt x="1821" y="8805"/>
                    <a:pt x="1877" y="8857"/>
                  </a:cubicBezTo>
                  <a:cubicBezTo>
                    <a:pt x="1898" y="8850"/>
                    <a:pt x="1915" y="8843"/>
                    <a:pt x="1933" y="8840"/>
                  </a:cubicBezTo>
                  <a:lnTo>
                    <a:pt x="1943" y="8840"/>
                  </a:lnTo>
                  <a:cubicBezTo>
                    <a:pt x="2027" y="8821"/>
                    <a:pt x="2113" y="8812"/>
                    <a:pt x="2199" y="8812"/>
                  </a:cubicBezTo>
                  <a:cubicBezTo>
                    <a:pt x="2242" y="8812"/>
                    <a:pt x="2285" y="8814"/>
                    <a:pt x="2329" y="8819"/>
                  </a:cubicBezTo>
                  <a:lnTo>
                    <a:pt x="2329" y="8815"/>
                  </a:lnTo>
                  <a:lnTo>
                    <a:pt x="2395" y="8822"/>
                  </a:lnTo>
                  <a:cubicBezTo>
                    <a:pt x="2444" y="8829"/>
                    <a:pt x="2497" y="8836"/>
                    <a:pt x="2546" y="8847"/>
                  </a:cubicBezTo>
                  <a:lnTo>
                    <a:pt x="2549" y="8847"/>
                  </a:lnTo>
                  <a:lnTo>
                    <a:pt x="2581" y="8857"/>
                  </a:lnTo>
                  <a:lnTo>
                    <a:pt x="2598" y="8861"/>
                  </a:lnTo>
                  <a:lnTo>
                    <a:pt x="2637" y="8871"/>
                  </a:lnTo>
                  <a:cubicBezTo>
                    <a:pt x="2677" y="8885"/>
                    <a:pt x="2719" y="8892"/>
                    <a:pt x="2761" y="8892"/>
                  </a:cubicBezTo>
                  <a:cubicBezTo>
                    <a:pt x="2863" y="8892"/>
                    <a:pt x="2964" y="8851"/>
                    <a:pt x="3036" y="8777"/>
                  </a:cubicBezTo>
                  <a:cubicBezTo>
                    <a:pt x="3106" y="8710"/>
                    <a:pt x="3190" y="8661"/>
                    <a:pt x="3281" y="8633"/>
                  </a:cubicBezTo>
                  <a:cubicBezTo>
                    <a:pt x="3365" y="8602"/>
                    <a:pt x="3442" y="8563"/>
                    <a:pt x="3519" y="8521"/>
                  </a:cubicBezTo>
                  <a:cubicBezTo>
                    <a:pt x="3564" y="8497"/>
                    <a:pt x="3610" y="8469"/>
                    <a:pt x="3655" y="8441"/>
                  </a:cubicBezTo>
                  <a:cubicBezTo>
                    <a:pt x="3841" y="8329"/>
                    <a:pt x="4012" y="8220"/>
                    <a:pt x="4198" y="8220"/>
                  </a:cubicBezTo>
                  <a:cubicBezTo>
                    <a:pt x="4272" y="8217"/>
                    <a:pt x="4345" y="8210"/>
                    <a:pt x="4419" y="8196"/>
                  </a:cubicBezTo>
                  <a:cubicBezTo>
                    <a:pt x="4494" y="8184"/>
                    <a:pt x="4563" y="8174"/>
                    <a:pt x="4620" y="8174"/>
                  </a:cubicBezTo>
                  <a:cubicBezTo>
                    <a:pt x="4682" y="8174"/>
                    <a:pt x="4731" y="8185"/>
                    <a:pt x="4762" y="8220"/>
                  </a:cubicBezTo>
                  <a:cubicBezTo>
                    <a:pt x="4790" y="8252"/>
                    <a:pt x="4797" y="8297"/>
                    <a:pt x="4779" y="8339"/>
                  </a:cubicBezTo>
                  <a:cubicBezTo>
                    <a:pt x="4737" y="8483"/>
                    <a:pt x="4706" y="9057"/>
                    <a:pt x="4944" y="9344"/>
                  </a:cubicBezTo>
                  <a:cubicBezTo>
                    <a:pt x="5180" y="9623"/>
                    <a:pt x="5301" y="9717"/>
                    <a:pt x="5461" y="9717"/>
                  </a:cubicBezTo>
                  <a:cubicBezTo>
                    <a:pt x="5484" y="9717"/>
                    <a:pt x="5507" y="9715"/>
                    <a:pt x="5532" y="9711"/>
                  </a:cubicBezTo>
                  <a:cubicBezTo>
                    <a:pt x="5563" y="9707"/>
                    <a:pt x="5591" y="9705"/>
                    <a:pt x="5615" y="9705"/>
                  </a:cubicBezTo>
                  <a:cubicBezTo>
                    <a:pt x="5714" y="9705"/>
                    <a:pt x="5763" y="9735"/>
                    <a:pt x="5805" y="9760"/>
                  </a:cubicBezTo>
                  <a:cubicBezTo>
                    <a:pt x="5836" y="9782"/>
                    <a:pt x="5872" y="9793"/>
                    <a:pt x="5908" y="9793"/>
                  </a:cubicBezTo>
                  <a:cubicBezTo>
                    <a:pt x="5913" y="9793"/>
                    <a:pt x="5919" y="9792"/>
                    <a:pt x="5924" y="9792"/>
                  </a:cubicBezTo>
                  <a:cubicBezTo>
                    <a:pt x="5933" y="9791"/>
                    <a:pt x="5942" y="9791"/>
                    <a:pt x="5950" y="9791"/>
                  </a:cubicBezTo>
                  <a:cubicBezTo>
                    <a:pt x="6074" y="9791"/>
                    <a:pt x="6100" y="9886"/>
                    <a:pt x="6113" y="9935"/>
                  </a:cubicBezTo>
                  <a:cubicBezTo>
                    <a:pt x="6127" y="9984"/>
                    <a:pt x="6130" y="9984"/>
                    <a:pt x="6158" y="9984"/>
                  </a:cubicBezTo>
                  <a:cubicBezTo>
                    <a:pt x="6481" y="9984"/>
                    <a:pt x="6677" y="10086"/>
                    <a:pt x="6677" y="10261"/>
                  </a:cubicBezTo>
                  <a:lnTo>
                    <a:pt x="6677" y="10268"/>
                  </a:lnTo>
                  <a:cubicBezTo>
                    <a:pt x="6695" y="10287"/>
                    <a:pt x="6759" y="10291"/>
                    <a:pt x="6825" y="10291"/>
                  </a:cubicBezTo>
                  <a:cubicBezTo>
                    <a:pt x="6859" y="10291"/>
                    <a:pt x="6892" y="10290"/>
                    <a:pt x="6922" y="10289"/>
                  </a:cubicBezTo>
                  <a:cubicBezTo>
                    <a:pt x="6949" y="10288"/>
                    <a:pt x="6977" y="10287"/>
                    <a:pt x="7004" y="10287"/>
                  </a:cubicBezTo>
                  <a:cubicBezTo>
                    <a:pt x="7043" y="10287"/>
                    <a:pt x="7082" y="10288"/>
                    <a:pt x="7121" y="10293"/>
                  </a:cubicBezTo>
                  <a:cubicBezTo>
                    <a:pt x="7167" y="10296"/>
                    <a:pt x="7212" y="10314"/>
                    <a:pt x="7251" y="10342"/>
                  </a:cubicBezTo>
                  <a:lnTo>
                    <a:pt x="7286" y="10370"/>
                  </a:lnTo>
                  <a:cubicBezTo>
                    <a:pt x="7387" y="10457"/>
                    <a:pt x="7517" y="10562"/>
                    <a:pt x="7482" y="10772"/>
                  </a:cubicBezTo>
                  <a:cubicBezTo>
                    <a:pt x="7471" y="10839"/>
                    <a:pt x="7513" y="10902"/>
                    <a:pt x="7552" y="10961"/>
                  </a:cubicBezTo>
                  <a:cubicBezTo>
                    <a:pt x="7590" y="11024"/>
                    <a:pt x="7629" y="11084"/>
                    <a:pt x="7611" y="11150"/>
                  </a:cubicBezTo>
                  <a:cubicBezTo>
                    <a:pt x="7597" y="11192"/>
                    <a:pt x="7566" y="11224"/>
                    <a:pt x="7527" y="11241"/>
                  </a:cubicBezTo>
                  <a:cubicBezTo>
                    <a:pt x="7499" y="11255"/>
                    <a:pt x="7489" y="11259"/>
                    <a:pt x="7534" y="11360"/>
                  </a:cubicBezTo>
                  <a:lnTo>
                    <a:pt x="7545" y="11381"/>
                  </a:lnTo>
                  <a:cubicBezTo>
                    <a:pt x="7587" y="11458"/>
                    <a:pt x="7615" y="11542"/>
                    <a:pt x="7629" y="11630"/>
                  </a:cubicBezTo>
                  <a:cubicBezTo>
                    <a:pt x="7639" y="11801"/>
                    <a:pt x="7860" y="11847"/>
                    <a:pt x="8070" y="11847"/>
                  </a:cubicBezTo>
                  <a:lnTo>
                    <a:pt x="8157" y="11847"/>
                  </a:lnTo>
                  <a:cubicBezTo>
                    <a:pt x="8204" y="11845"/>
                    <a:pt x="8246" y="11843"/>
                    <a:pt x="8285" y="11843"/>
                  </a:cubicBezTo>
                  <a:cubicBezTo>
                    <a:pt x="8436" y="11843"/>
                    <a:pt x="8531" y="11863"/>
                    <a:pt x="8595" y="11924"/>
                  </a:cubicBezTo>
                  <a:cubicBezTo>
                    <a:pt x="8669" y="11990"/>
                    <a:pt x="8679" y="12095"/>
                    <a:pt x="8679" y="12186"/>
                  </a:cubicBezTo>
                  <a:cubicBezTo>
                    <a:pt x="8679" y="12302"/>
                    <a:pt x="8739" y="12362"/>
                    <a:pt x="8812" y="12435"/>
                  </a:cubicBezTo>
                  <a:cubicBezTo>
                    <a:pt x="8840" y="12460"/>
                    <a:pt x="8865" y="12484"/>
                    <a:pt x="8889" y="12516"/>
                  </a:cubicBezTo>
                  <a:cubicBezTo>
                    <a:pt x="8938" y="12568"/>
                    <a:pt x="8973" y="12631"/>
                    <a:pt x="8998" y="12698"/>
                  </a:cubicBezTo>
                  <a:cubicBezTo>
                    <a:pt x="9050" y="12855"/>
                    <a:pt x="9008" y="13016"/>
                    <a:pt x="8973" y="13160"/>
                  </a:cubicBezTo>
                  <a:cubicBezTo>
                    <a:pt x="8945" y="13258"/>
                    <a:pt x="8924" y="13349"/>
                    <a:pt x="8935" y="13419"/>
                  </a:cubicBezTo>
                  <a:cubicBezTo>
                    <a:pt x="8938" y="13436"/>
                    <a:pt x="8938" y="13454"/>
                    <a:pt x="8938" y="13471"/>
                  </a:cubicBezTo>
                  <a:lnTo>
                    <a:pt x="8938" y="13496"/>
                  </a:lnTo>
                  <a:lnTo>
                    <a:pt x="8938" y="13520"/>
                  </a:lnTo>
                  <a:cubicBezTo>
                    <a:pt x="8938" y="13527"/>
                    <a:pt x="8938" y="13541"/>
                    <a:pt x="8935" y="13552"/>
                  </a:cubicBezTo>
                  <a:lnTo>
                    <a:pt x="8931" y="13566"/>
                  </a:lnTo>
                  <a:cubicBezTo>
                    <a:pt x="8931" y="13580"/>
                    <a:pt x="8928" y="13590"/>
                    <a:pt x="8924" y="13601"/>
                  </a:cubicBezTo>
                  <a:cubicBezTo>
                    <a:pt x="8921" y="13615"/>
                    <a:pt x="8921" y="13611"/>
                    <a:pt x="8917" y="13618"/>
                  </a:cubicBezTo>
                  <a:cubicBezTo>
                    <a:pt x="8917" y="13622"/>
                    <a:pt x="8910" y="13639"/>
                    <a:pt x="8907" y="13650"/>
                  </a:cubicBezTo>
                  <a:cubicBezTo>
                    <a:pt x="8903" y="13660"/>
                    <a:pt x="8900" y="13667"/>
                    <a:pt x="8896" y="13678"/>
                  </a:cubicBezTo>
                  <a:cubicBezTo>
                    <a:pt x="8889" y="13685"/>
                    <a:pt x="8889" y="13688"/>
                    <a:pt x="8886" y="13692"/>
                  </a:cubicBezTo>
                  <a:cubicBezTo>
                    <a:pt x="8872" y="13723"/>
                    <a:pt x="8851" y="13755"/>
                    <a:pt x="8826" y="13779"/>
                  </a:cubicBezTo>
                  <a:cubicBezTo>
                    <a:pt x="8819" y="13793"/>
                    <a:pt x="8809" y="13804"/>
                    <a:pt x="8798" y="13814"/>
                  </a:cubicBezTo>
                  <a:lnTo>
                    <a:pt x="8805" y="13825"/>
                  </a:lnTo>
                  <a:lnTo>
                    <a:pt x="8812" y="13835"/>
                  </a:lnTo>
                  <a:cubicBezTo>
                    <a:pt x="8819" y="13846"/>
                    <a:pt x="8823" y="13853"/>
                    <a:pt x="8826" y="13860"/>
                  </a:cubicBezTo>
                  <a:lnTo>
                    <a:pt x="8833" y="13867"/>
                  </a:lnTo>
                  <a:cubicBezTo>
                    <a:pt x="8837" y="13877"/>
                    <a:pt x="8844" y="13888"/>
                    <a:pt x="8847" y="13898"/>
                  </a:cubicBezTo>
                  <a:lnTo>
                    <a:pt x="8851" y="13905"/>
                  </a:lnTo>
                  <a:cubicBezTo>
                    <a:pt x="8854" y="13912"/>
                    <a:pt x="8858" y="13919"/>
                    <a:pt x="8861" y="13926"/>
                  </a:cubicBezTo>
                  <a:lnTo>
                    <a:pt x="8865" y="13937"/>
                  </a:lnTo>
                  <a:cubicBezTo>
                    <a:pt x="8865" y="13944"/>
                    <a:pt x="8868" y="13951"/>
                    <a:pt x="8868" y="13958"/>
                  </a:cubicBezTo>
                  <a:cubicBezTo>
                    <a:pt x="8868" y="13965"/>
                    <a:pt x="8868" y="13965"/>
                    <a:pt x="8868" y="13968"/>
                  </a:cubicBezTo>
                  <a:cubicBezTo>
                    <a:pt x="8868" y="13975"/>
                    <a:pt x="8868" y="13982"/>
                    <a:pt x="8868" y="13986"/>
                  </a:cubicBezTo>
                  <a:lnTo>
                    <a:pt x="8868" y="13996"/>
                  </a:lnTo>
                  <a:cubicBezTo>
                    <a:pt x="8868" y="14007"/>
                    <a:pt x="8868" y="14014"/>
                    <a:pt x="8865" y="14024"/>
                  </a:cubicBezTo>
                  <a:cubicBezTo>
                    <a:pt x="8851" y="14080"/>
                    <a:pt x="8809" y="14126"/>
                    <a:pt x="8756" y="14150"/>
                  </a:cubicBezTo>
                  <a:cubicBezTo>
                    <a:pt x="8756" y="14150"/>
                    <a:pt x="8753" y="14154"/>
                    <a:pt x="8753" y="14154"/>
                  </a:cubicBezTo>
                  <a:cubicBezTo>
                    <a:pt x="8760" y="14196"/>
                    <a:pt x="8774" y="14234"/>
                    <a:pt x="8795" y="14269"/>
                  </a:cubicBezTo>
                  <a:cubicBezTo>
                    <a:pt x="8851" y="14389"/>
                    <a:pt x="8935" y="14564"/>
                    <a:pt x="8886" y="14781"/>
                  </a:cubicBezTo>
                  <a:lnTo>
                    <a:pt x="8886" y="14784"/>
                  </a:lnTo>
                  <a:cubicBezTo>
                    <a:pt x="8851" y="14942"/>
                    <a:pt x="8826" y="15057"/>
                    <a:pt x="8851" y="15092"/>
                  </a:cubicBezTo>
                  <a:cubicBezTo>
                    <a:pt x="8872" y="15110"/>
                    <a:pt x="8893" y="15120"/>
                    <a:pt x="8917" y="15124"/>
                  </a:cubicBezTo>
                  <a:cubicBezTo>
                    <a:pt x="8980" y="15134"/>
                    <a:pt x="9043" y="15141"/>
                    <a:pt x="9106" y="15145"/>
                  </a:cubicBezTo>
                  <a:cubicBezTo>
                    <a:pt x="9204" y="15145"/>
                    <a:pt x="9306" y="15162"/>
                    <a:pt x="9404" y="15190"/>
                  </a:cubicBezTo>
                  <a:cubicBezTo>
                    <a:pt x="9421" y="15197"/>
                    <a:pt x="9439" y="15204"/>
                    <a:pt x="9453" y="15208"/>
                  </a:cubicBezTo>
                  <a:cubicBezTo>
                    <a:pt x="9477" y="15216"/>
                    <a:pt x="9490" y="15220"/>
                    <a:pt x="9501" y="15220"/>
                  </a:cubicBezTo>
                  <a:cubicBezTo>
                    <a:pt x="9513" y="15220"/>
                    <a:pt x="9523" y="15214"/>
                    <a:pt x="9544" y="15201"/>
                  </a:cubicBezTo>
                  <a:cubicBezTo>
                    <a:pt x="9561" y="15190"/>
                    <a:pt x="9586" y="15183"/>
                    <a:pt x="9610" y="15180"/>
                  </a:cubicBezTo>
                  <a:cubicBezTo>
                    <a:pt x="9624" y="15180"/>
                    <a:pt x="9642" y="15183"/>
                    <a:pt x="9659" y="15187"/>
                  </a:cubicBezTo>
                  <a:cubicBezTo>
                    <a:pt x="9666" y="15187"/>
                    <a:pt x="9673" y="15190"/>
                    <a:pt x="9680" y="15194"/>
                  </a:cubicBezTo>
                  <a:cubicBezTo>
                    <a:pt x="9789" y="15236"/>
                    <a:pt x="9890" y="15393"/>
                    <a:pt x="9957" y="15533"/>
                  </a:cubicBezTo>
                  <a:cubicBezTo>
                    <a:pt x="9981" y="15586"/>
                    <a:pt x="10002" y="15642"/>
                    <a:pt x="10020" y="15701"/>
                  </a:cubicBezTo>
                  <a:cubicBezTo>
                    <a:pt x="10072" y="15897"/>
                    <a:pt x="10181" y="16181"/>
                    <a:pt x="10233" y="16254"/>
                  </a:cubicBezTo>
                  <a:lnTo>
                    <a:pt x="10275" y="16230"/>
                  </a:lnTo>
                  <a:cubicBezTo>
                    <a:pt x="10346" y="16190"/>
                    <a:pt x="10447" y="16132"/>
                    <a:pt x="10561" y="16132"/>
                  </a:cubicBezTo>
                  <a:cubicBezTo>
                    <a:pt x="10588" y="16132"/>
                    <a:pt x="10615" y="16135"/>
                    <a:pt x="10643" y="16142"/>
                  </a:cubicBezTo>
                  <a:cubicBezTo>
                    <a:pt x="10664" y="16149"/>
                    <a:pt x="10689" y="16156"/>
                    <a:pt x="10706" y="16167"/>
                  </a:cubicBezTo>
                  <a:cubicBezTo>
                    <a:pt x="10713" y="16170"/>
                    <a:pt x="10720" y="16174"/>
                    <a:pt x="10724" y="16177"/>
                  </a:cubicBezTo>
                  <a:cubicBezTo>
                    <a:pt x="10755" y="16202"/>
                    <a:pt x="10780" y="16230"/>
                    <a:pt x="10794" y="16265"/>
                  </a:cubicBezTo>
                  <a:cubicBezTo>
                    <a:pt x="10843" y="16401"/>
                    <a:pt x="10797" y="16629"/>
                    <a:pt x="10748" y="16867"/>
                  </a:cubicBezTo>
                  <a:cubicBezTo>
                    <a:pt x="10727" y="16965"/>
                    <a:pt x="10706" y="17060"/>
                    <a:pt x="10699" y="17137"/>
                  </a:cubicBezTo>
                  <a:lnTo>
                    <a:pt x="10738" y="17137"/>
                  </a:lnTo>
                  <a:cubicBezTo>
                    <a:pt x="10752" y="17136"/>
                    <a:pt x="10767" y="17136"/>
                    <a:pt x="10781" y="17136"/>
                  </a:cubicBezTo>
                  <a:cubicBezTo>
                    <a:pt x="10853" y="17136"/>
                    <a:pt x="10923" y="17143"/>
                    <a:pt x="10993" y="17158"/>
                  </a:cubicBezTo>
                  <a:lnTo>
                    <a:pt x="11000" y="17161"/>
                  </a:lnTo>
                  <a:lnTo>
                    <a:pt x="11007" y="17165"/>
                  </a:lnTo>
                  <a:lnTo>
                    <a:pt x="11014" y="17168"/>
                  </a:lnTo>
                  <a:cubicBezTo>
                    <a:pt x="11158" y="17238"/>
                    <a:pt x="11189" y="17875"/>
                    <a:pt x="11154" y="18057"/>
                  </a:cubicBezTo>
                  <a:lnTo>
                    <a:pt x="11154" y="18061"/>
                  </a:lnTo>
                  <a:cubicBezTo>
                    <a:pt x="11151" y="18071"/>
                    <a:pt x="11147" y="18078"/>
                    <a:pt x="11147" y="18085"/>
                  </a:cubicBezTo>
                  <a:cubicBezTo>
                    <a:pt x="11109" y="18180"/>
                    <a:pt x="10972" y="18243"/>
                    <a:pt x="10755" y="18341"/>
                  </a:cubicBezTo>
                  <a:cubicBezTo>
                    <a:pt x="10650" y="18379"/>
                    <a:pt x="10552" y="18428"/>
                    <a:pt x="10457" y="18484"/>
                  </a:cubicBezTo>
                  <a:cubicBezTo>
                    <a:pt x="10265" y="18611"/>
                    <a:pt x="9768" y="19076"/>
                    <a:pt x="9530" y="19461"/>
                  </a:cubicBezTo>
                  <a:cubicBezTo>
                    <a:pt x="9502" y="19503"/>
                    <a:pt x="9474" y="19549"/>
                    <a:pt x="9442" y="19591"/>
                  </a:cubicBezTo>
                  <a:cubicBezTo>
                    <a:pt x="9358" y="19703"/>
                    <a:pt x="9267" y="19808"/>
                    <a:pt x="9169" y="19909"/>
                  </a:cubicBezTo>
                  <a:lnTo>
                    <a:pt x="9155" y="19923"/>
                  </a:lnTo>
                  <a:lnTo>
                    <a:pt x="9162" y="19923"/>
                  </a:lnTo>
                  <a:lnTo>
                    <a:pt x="9173" y="19920"/>
                  </a:lnTo>
                  <a:lnTo>
                    <a:pt x="9180" y="19916"/>
                  </a:lnTo>
                  <a:lnTo>
                    <a:pt x="9197" y="19913"/>
                  </a:lnTo>
                  <a:lnTo>
                    <a:pt x="9204" y="19913"/>
                  </a:lnTo>
                  <a:lnTo>
                    <a:pt x="9222" y="19909"/>
                  </a:lnTo>
                  <a:lnTo>
                    <a:pt x="9225" y="19909"/>
                  </a:lnTo>
                  <a:cubicBezTo>
                    <a:pt x="9243" y="19907"/>
                    <a:pt x="9260" y="19904"/>
                    <a:pt x="9277" y="19904"/>
                  </a:cubicBezTo>
                  <a:cubicBezTo>
                    <a:pt x="9284" y="19904"/>
                    <a:pt x="9292" y="19905"/>
                    <a:pt x="9299" y="19906"/>
                  </a:cubicBezTo>
                  <a:lnTo>
                    <a:pt x="9341" y="19906"/>
                  </a:lnTo>
                  <a:lnTo>
                    <a:pt x="9358" y="19913"/>
                  </a:lnTo>
                  <a:lnTo>
                    <a:pt x="9376" y="19916"/>
                  </a:lnTo>
                  <a:lnTo>
                    <a:pt x="9393" y="19920"/>
                  </a:lnTo>
                  <a:lnTo>
                    <a:pt x="9411" y="19927"/>
                  </a:lnTo>
                  <a:lnTo>
                    <a:pt x="9432" y="19934"/>
                  </a:lnTo>
                  <a:lnTo>
                    <a:pt x="9449" y="19941"/>
                  </a:lnTo>
                  <a:lnTo>
                    <a:pt x="9470" y="19951"/>
                  </a:lnTo>
                  <a:lnTo>
                    <a:pt x="9488" y="19962"/>
                  </a:lnTo>
                  <a:lnTo>
                    <a:pt x="9509" y="19972"/>
                  </a:lnTo>
                  <a:lnTo>
                    <a:pt x="9530" y="19990"/>
                  </a:lnTo>
                  <a:lnTo>
                    <a:pt x="9551" y="20000"/>
                  </a:lnTo>
                  <a:lnTo>
                    <a:pt x="9572" y="20021"/>
                  </a:lnTo>
                  <a:lnTo>
                    <a:pt x="9589" y="20035"/>
                  </a:lnTo>
                  <a:cubicBezTo>
                    <a:pt x="9600" y="20042"/>
                    <a:pt x="9607" y="20053"/>
                    <a:pt x="9617" y="20063"/>
                  </a:cubicBezTo>
                  <a:lnTo>
                    <a:pt x="9631" y="20077"/>
                  </a:lnTo>
                  <a:cubicBezTo>
                    <a:pt x="9645" y="20091"/>
                    <a:pt x="9659" y="20105"/>
                    <a:pt x="9677" y="20123"/>
                  </a:cubicBezTo>
                  <a:cubicBezTo>
                    <a:pt x="9750" y="20214"/>
                    <a:pt x="9810" y="20315"/>
                    <a:pt x="9852" y="20424"/>
                  </a:cubicBezTo>
                  <a:cubicBezTo>
                    <a:pt x="9859" y="20438"/>
                    <a:pt x="9866" y="20455"/>
                    <a:pt x="9869" y="20466"/>
                  </a:cubicBezTo>
                  <a:cubicBezTo>
                    <a:pt x="9880" y="20459"/>
                    <a:pt x="9887" y="20448"/>
                    <a:pt x="9894" y="20438"/>
                  </a:cubicBezTo>
                  <a:cubicBezTo>
                    <a:pt x="9936" y="20389"/>
                    <a:pt x="9992" y="20319"/>
                    <a:pt x="10072" y="20319"/>
                  </a:cubicBezTo>
                  <a:lnTo>
                    <a:pt x="10076" y="20319"/>
                  </a:lnTo>
                  <a:cubicBezTo>
                    <a:pt x="10132" y="20319"/>
                    <a:pt x="10184" y="20354"/>
                    <a:pt x="10230" y="20424"/>
                  </a:cubicBezTo>
                  <a:cubicBezTo>
                    <a:pt x="10314" y="20539"/>
                    <a:pt x="10489" y="20648"/>
                    <a:pt x="10626" y="20732"/>
                  </a:cubicBezTo>
                  <a:cubicBezTo>
                    <a:pt x="10703" y="20774"/>
                    <a:pt x="10776" y="20827"/>
                    <a:pt x="10839" y="20886"/>
                  </a:cubicBezTo>
                  <a:cubicBezTo>
                    <a:pt x="10871" y="20914"/>
                    <a:pt x="10902" y="20935"/>
                    <a:pt x="10937" y="20956"/>
                  </a:cubicBezTo>
                  <a:cubicBezTo>
                    <a:pt x="11060" y="21033"/>
                    <a:pt x="11224" y="21138"/>
                    <a:pt x="11224" y="21359"/>
                  </a:cubicBezTo>
                  <a:cubicBezTo>
                    <a:pt x="11224" y="21404"/>
                    <a:pt x="11217" y="21460"/>
                    <a:pt x="11214" y="21523"/>
                  </a:cubicBezTo>
                  <a:cubicBezTo>
                    <a:pt x="11214" y="21541"/>
                    <a:pt x="11210" y="21558"/>
                    <a:pt x="11207" y="21576"/>
                  </a:cubicBezTo>
                  <a:lnTo>
                    <a:pt x="11207" y="21586"/>
                  </a:lnTo>
                  <a:cubicBezTo>
                    <a:pt x="11207" y="21604"/>
                    <a:pt x="11207" y="21625"/>
                    <a:pt x="11203" y="21642"/>
                  </a:cubicBezTo>
                  <a:lnTo>
                    <a:pt x="11203" y="21653"/>
                  </a:lnTo>
                  <a:cubicBezTo>
                    <a:pt x="11203" y="21674"/>
                    <a:pt x="11200" y="21695"/>
                    <a:pt x="11200" y="21716"/>
                  </a:cubicBezTo>
                  <a:lnTo>
                    <a:pt x="11200" y="21719"/>
                  </a:lnTo>
                  <a:lnTo>
                    <a:pt x="11200" y="21775"/>
                  </a:lnTo>
                  <a:lnTo>
                    <a:pt x="11200" y="21786"/>
                  </a:lnTo>
                  <a:lnTo>
                    <a:pt x="11200" y="21845"/>
                  </a:lnTo>
                  <a:lnTo>
                    <a:pt x="11200" y="21859"/>
                  </a:lnTo>
                  <a:cubicBezTo>
                    <a:pt x="11200" y="21880"/>
                    <a:pt x="11203" y="21901"/>
                    <a:pt x="11207" y="21919"/>
                  </a:cubicBezTo>
                  <a:lnTo>
                    <a:pt x="11207" y="21929"/>
                  </a:lnTo>
                  <a:cubicBezTo>
                    <a:pt x="11210" y="21947"/>
                    <a:pt x="11214" y="21964"/>
                    <a:pt x="11217" y="21985"/>
                  </a:cubicBezTo>
                  <a:lnTo>
                    <a:pt x="11217" y="21996"/>
                  </a:lnTo>
                  <a:cubicBezTo>
                    <a:pt x="11221" y="22013"/>
                    <a:pt x="11224" y="22034"/>
                    <a:pt x="11231" y="22055"/>
                  </a:cubicBezTo>
                  <a:lnTo>
                    <a:pt x="11231" y="22059"/>
                  </a:lnTo>
                  <a:cubicBezTo>
                    <a:pt x="11291" y="21992"/>
                    <a:pt x="11357" y="21933"/>
                    <a:pt x="11427" y="21884"/>
                  </a:cubicBezTo>
                  <a:cubicBezTo>
                    <a:pt x="11637" y="21733"/>
                    <a:pt x="11669" y="21632"/>
                    <a:pt x="11714" y="21488"/>
                  </a:cubicBezTo>
                  <a:cubicBezTo>
                    <a:pt x="11742" y="21397"/>
                    <a:pt x="11777" y="21310"/>
                    <a:pt x="11819" y="21226"/>
                  </a:cubicBezTo>
                  <a:cubicBezTo>
                    <a:pt x="11865" y="21142"/>
                    <a:pt x="11896" y="21047"/>
                    <a:pt x="11907" y="20953"/>
                  </a:cubicBezTo>
                  <a:cubicBezTo>
                    <a:pt x="11924" y="20795"/>
                    <a:pt x="12001" y="20648"/>
                    <a:pt x="12124" y="20543"/>
                  </a:cubicBezTo>
                  <a:cubicBezTo>
                    <a:pt x="12229" y="20441"/>
                    <a:pt x="12225" y="20368"/>
                    <a:pt x="12222" y="20280"/>
                  </a:cubicBezTo>
                  <a:cubicBezTo>
                    <a:pt x="12218" y="20172"/>
                    <a:pt x="12215" y="20049"/>
                    <a:pt x="12432" y="19948"/>
                  </a:cubicBezTo>
                  <a:cubicBezTo>
                    <a:pt x="12503" y="19915"/>
                    <a:pt x="12563" y="19898"/>
                    <a:pt x="12613" y="19898"/>
                  </a:cubicBezTo>
                  <a:cubicBezTo>
                    <a:pt x="12665" y="19898"/>
                    <a:pt x="12705" y="19916"/>
                    <a:pt x="12733" y="19951"/>
                  </a:cubicBezTo>
                  <a:cubicBezTo>
                    <a:pt x="12852" y="20105"/>
                    <a:pt x="12604" y="20445"/>
                    <a:pt x="12523" y="20546"/>
                  </a:cubicBezTo>
                  <a:cubicBezTo>
                    <a:pt x="12491" y="20589"/>
                    <a:pt x="12460" y="20624"/>
                    <a:pt x="12435" y="20659"/>
                  </a:cubicBezTo>
                  <a:lnTo>
                    <a:pt x="12470" y="20634"/>
                  </a:lnTo>
                  <a:cubicBezTo>
                    <a:pt x="12768" y="20413"/>
                    <a:pt x="12905" y="20119"/>
                    <a:pt x="13066" y="19780"/>
                  </a:cubicBezTo>
                  <a:cubicBezTo>
                    <a:pt x="13094" y="19717"/>
                    <a:pt x="13125" y="19654"/>
                    <a:pt x="13153" y="19591"/>
                  </a:cubicBezTo>
                  <a:cubicBezTo>
                    <a:pt x="13353" y="19181"/>
                    <a:pt x="13524" y="19003"/>
                    <a:pt x="13748" y="18971"/>
                  </a:cubicBezTo>
                  <a:cubicBezTo>
                    <a:pt x="13825" y="18961"/>
                    <a:pt x="13888" y="18737"/>
                    <a:pt x="13850" y="18253"/>
                  </a:cubicBezTo>
                  <a:cubicBezTo>
                    <a:pt x="13843" y="18173"/>
                    <a:pt x="13832" y="18096"/>
                    <a:pt x="13822" y="18019"/>
                  </a:cubicBezTo>
                  <a:cubicBezTo>
                    <a:pt x="13790" y="17791"/>
                    <a:pt x="13759" y="17574"/>
                    <a:pt x="13871" y="17399"/>
                  </a:cubicBezTo>
                  <a:cubicBezTo>
                    <a:pt x="13913" y="17333"/>
                    <a:pt x="13934" y="17252"/>
                    <a:pt x="13934" y="17175"/>
                  </a:cubicBezTo>
                  <a:cubicBezTo>
                    <a:pt x="13937" y="17091"/>
                    <a:pt x="13944" y="16969"/>
                    <a:pt x="14098" y="16969"/>
                  </a:cubicBezTo>
                  <a:cubicBezTo>
                    <a:pt x="14238" y="16969"/>
                    <a:pt x="14508" y="16703"/>
                    <a:pt x="14743" y="16468"/>
                  </a:cubicBezTo>
                  <a:cubicBezTo>
                    <a:pt x="15023" y="16188"/>
                    <a:pt x="15212" y="16156"/>
                    <a:pt x="15499" y="16132"/>
                  </a:cubicBezTo>
                  <a:cubicBezTo>
                    <a:pt x="15618" y="16121"/>
                    <a:pt x="15628" y="16104"/>
                    <a:pt x="15639" y="16079"/>
                  </a:cubicBezTo>
                  <a:cubicBezTo>
                    <a:pt x="15667" y="16020"/>
                    <a:pt x="15723" y="15974"/>
                    <a:pt x="15789" y="15964"/>
                  </a:cubicBezTo>
                  <a:cubicBezTo>
                    <a:pt x="15908" y="15932"/>
                    <a:pt x="16003" y="15838"/>
                    <a:pt x="16094" y="15747"/>
                  </a:cubicBezTo>
                  <a:cubicBezTo>
                    <a:pt x="16125" y="15715"/>
                    <a:pt x="16157" y="15684"/>
                    <a:pt x="16188" y="15656"/>
                  </a:cubicBezTo>
                  <a:cubicBezTo>
                    <a:pt x="16241" y="15607"/>
                    <a:pt x="16329" y="15591"/>
                    <a:pt x="16439" y="15591"/>
                  </a:cubicBezTo>
                  <a:cubicBezTo>
                    <a:pt x="16544" y="15591"/>
                    <a:pt x="16668" y="15605"/>
                    <a:pt x="16801" y="15621"/>
                  </a:cubicBezTo>
                  <a:cubicBezTo>
                    <a:pt x="16913" y="15635"/>
                    <a:pt x="17029" y="15645"/>
                    <a:pt x="17141" y="15649"/>
                  </a:cubicBezTo>
                  <a:lnTo>
                    <a:pt x="17235" y="15649"/>
                  </a:lnTo>
                  <a:cubicBezTo>
                    <a:pt x="17257" y="15649"/>
                    <a:pt x="17279" y="15649"/>
                    <a:pt x="17300" y="15649"/>
                  </a:cubicBezTo>
                  <a:cubicBezTo>
                    <a:pt x="17415" y="15649"/>
                    <a:pt x="17511" y="15646"/>
                    <a:pt x="17543" y="15614"/>
                  </a:cubicBezTo>
                  <a:cubicBezTo>
                    <a:pt x="17557" y="15596"/>
                    <a:pt x="17564" y="15579"/>
                    <a:pt x="17561" y="15558"/>
                  </a:cubicBezTo>
                  <a:cubicBezTo>
                    <a:pt x="17561" y="15337"/>
                    <a:pt x="17722" y="15162"/>
                    <a:pt x="17928" y="15162"/>
                  </a:cubicBezTo>
                  <a:cubicBezTo>
                    <a:pt x="18051" y="15162"/>
                    <a:pt x="18103" y="15155"/>
                    <a:pt x="18103" y="14938"/>
                  </a:cubicBezTo>
                  <a:cubicBezTo>
                    <a:pt x="18103" y="14686"/>
                    <a:pt x="18180" y="14515"/>
                    <a:pt x="18348" y="14389"/>
                  </a:cubicBezTo>
                  <a:cubicBezTo>
                    <a:pt x="18443" y="14318"/>
                    <a:pt x="18481" y="14168"/>
                    <a:pt x="18513" y="14031"/>
                  </a:cubicBezTo>
                  <a:cubicBezTo>
                    <a:pt x="18523" y="13989"/>
                    <a:pt x="18530" y="13951"/>
                    <a:pt x="18544" y="13912"/>
                  </a:cubicBezTo>
                  <a:cubicBezTo>
                    <a:pt x="18562" y="13842"/>
                    <a:pt x="18614" y="13790"/>
                    <a:pt x="18681" y="13765"/>
                  </a:cubicBezTo>
                  <a:cubicBezTo>
                    <a:pt x="18726" y="13741"/>
                    <a:pt x="18747" y="13730"/>
                    <a:pt x="18747" y="13639"/>
                  </a:cubicBezTo>
                  <a:cubicBezTo>
                    <a:pt x="18751" y="13510"/>
                    <a:pt x="18768" y="13384"/>
                    <a:pt x="18793" y="13258"/>
                  </a:cubicBezTo>
                  <a:cubicBezTo>
                    <a:pt x="18814" y="13163"/>
                    <a:pt x="18828" y="13069"/>
                    <a:pt x="18832" y="12974"/>
                  </a:cubicBezTo>
                  <a:cubicBezTo>
                    <a:pt x="18832" y="12827"/>
                    <a:pt x="18933" y="12775"/>
                    <a:pt x="19007" y="12733"/>
                  </a:cubicBezTo>
                  <a:cubicBezTo>
                    <a:pt x="19052" y="12715"/>
                    <a:pt x="19091" y="12684"/>
                    <a:pt x="19122" y="12645"/>
                  </a:cubicBezTo>
                  <a:cubicBezTo>
                    <a:pt x="19143" y="12610"/>
                    <a:pt x="19140" y="12568"/>
                    <a:pt x="19129" y="12484"/>
                  </a:cubicBezTo>
                  <a:cubicBezTo>
                    <a:pt x="19101" y="12316"/>
                    <a:pt x="19115" y="12141"/>
                    <a:pt x="19175" y="11980"/>
                  </a:cubicBezTo>
                  <a:cubicBezTo>
                    <a:pt x="19259" y="11742"/>
                    <a:pt x="19231" y="11507"/>
                    <a:pt x="19203" y="11280"/>
                  </a:cubicBezTo>
                  <a:cubicBezTo>
                    <a:pt x="19185" y="11164"/>
                    <a:pt x="19175" y="11049"/>
                    <a:pt x="19171" y="10933"/>
                  </a:cubicBezTo>
                  <a:cubicBezTo>
                    <a:pt x="19171" y="10562"/>
                    <a:pt x="19171" y="10212"/>
                    <a:pt x="19315" y="10082"/>
                  </a:cubicBezTo>
                  <a:cubicBezTo>
                    <a:pt x="19353" y="10047"/>
                    <a:pt x="19360" y="10026"/>
                    <a:pt x="19360" y="10023"/>
                  </a:cubicBezTo>
                  <a:cubicBezTo>
                    <a:pt x="19357" y="10019"/>
                    <a:pt x="19357" y="10005"/>
                    <a:pt x="19290" y="9974"/>
                  </a:cubicBezTo>
                  <a:cubicBezTo>
                    <a:pt x="19227" y="9946"/>
                    <a:pt x="19199" y="9872"/>
                    <a:pt x="19227" y="9809"/>
                  </a:cubicBezTo>
                  <a:cubicBezTo>
                    <a:pt x="19254" y="9737"/>
                    <a:pt x="19323" y="9690"/>
                    <a:pt x="19400" y="9690"/>
                  </a:cubicBezTo>
                  <a:cubicBezTo>
                    <a:pt x="19412" y="9690"/>
                    <a:pt x="19425" y="9692"/>
                    <a:pt x="19437" y="9694"/>
                  </a:cubicBezTo>
                  <a:cubicBezTo>
                    <a:pt x="19476" y="9708"/>
                    <a:pt x="19511" y="9732"/>
                    <a:pt x="19542" y="9760"/>
                  </a:cubicBezTo>
                  <a:cubicBezTo>
                    <a:pt x="19594" y="9803"/>
                    <a:pt x="19630" y="9828"/>
                    <a:pt x="19667" y="9828"/>
                  </a:cubicBezTo>
                  <a:cubicBezTo>
                    <a:pt x="19685" y="9828"/>
                    <a:pt x="19704" y="9822"/>
                    <a:pt x="19724" y="9809"/>
                  </a:cubicBezTo>
                  <a:cubicBezTo>
                    <a:pt x="19843" y="9736"/>
                    <a:pt x="19980" y="9386"/>
                    <a:pt x="20088" y="9106"/>
                  </a:cubicBezTo>
                  <a:lnTo>
                    <a:pt x="20134" y="8994"/>
                  </a:lnTo>
                  <a:cubicBezTo>
                    <a:pt x="20249" y="8696"/>
                    <a:pt x="20435" y="8637"/>
                    <a:pt x="20585" y="8591"/>
                  </a:cubicBezTo>
                  <a:cubicBezTo>
                    <a:pt x="20620" y="8581"/>
                    <a:pt x="20655" y="8570"/>
                    <a:pt x="20690" y="8556"/>
                  </a:cubicBezTo>
                  <a:cubicBezTo>
                    <a:pt x="20820" y="8500"/>
                    <a:pt x="21181" y="8126"/>
                    <a:pt x="21419" y="7513"/>
                  </a:cubicBezTo>
                  <a:cubicBezTo>
                    <a:pt x="21601" y="7040"/>
                    <a:pt x="21471" y="6571"/>
                    <a:pt x="21366" y="6193"/>
                  </a:cubicBezTo>
                  <a:cubicBezTo>
                    <a:pt x="21345" y="6113"/>
                    <a:pt x="21324" y="6035"/>
                    <a:pt x="21307" y="5965"/>
                  </a:cubicBezTo>
                  <a:cubicBezTo>
                    <a:pt x="21250" y="5726"/>
                    <a:pt x="21198" y="5684"/>
                    <a:pt x="21091" y="5684"/>
                  </a:cubicBezTo>
                  <a:cubicBezTo>
                    <a:pt x="21065" y="5684"/>
                    <a:pt x="21035" y="5686"/>
                    <a:pt x="21002" y="5689"/>
                  </a:cubicBezTo>
                  <a:cubicBezTo>
                    <a:pt x="20971" y="5692"/>
                    <a:pt x="20939" y="5696"/>
                    <a:pt x="20901" y="5699"/>
                  </a:cubicBezTo>
                  <a:cubicBezTo>
                    <a:pt x="20883" y="5700"/>
                    <a:pt x="20866" y="5701"/>
                    <a:pt x="20849" y="5701"/>
                  </a:cubicBezTo>
                  <a:cubicBezTo>
                    <a:pt x="20427" y="5701"/>
                    <a:pt x="19986" y="5456"/>
                    <a:pt x="19539" y="4975"/>
                  </a:cubicBezTo>
                  <a:cubicBezTo>
                    <a:pt x="19146" y="4547"/>
                    <a:pt x="18764" y="4431"/>
                    <a:pt x="18442" y="4431"/>
                  </a:cubicBezTo>
                  <a:cubicBezTo>
                    <a:pt x="18279" y="4431"/>
                    <a:pt x="18131" y="4461"/>
                    <a:pt x="18005" y="4495"/>
                  </a:cubicBezTo>
                  <a:cubicBezTo>
                    <a:pt x="17940" y="4513"/>
                    <a:pt x="17874" y="4520"/>
                    <a:pt x="17809" y="4520"/>
                  </a:cubicBezTo>
                  <a:cubicBezTo>
                    <a:pt x="17576" y="4520"/>
                    <a:pt x="17351" y="4423"/>
                    <a:pt x="17165" y="4341"/>
                  </a:cubicBezTo>
                  <a:cubicBezTo>
                    <a:pt x="17078" y="4303"/>
                    <a:pt x="16987" y="4268"/>
                    <a:pt x="16892" y="4243"/>
                  </a:cubicBezTo>
                  <a:cubicBezTo>
                    <a:pt x="16875" y="4239"/>
                    <a:pt x="16858" y="4237"/>
                    <a:pt x="16840" y="4237"/>
                  </a:cubicBezTo>
                  <a:cubicBezTo>
                    <a:pt x="16712" y="4237"/>
                    <a:pt x="16578" y="4343"/>
                    <a:pt x="16454" y="4436"/>
                  </a:cubicBezTo>
                  <a:cubicBezTo>
                    <a:pt x="16384" y="4499"/>
                    <a:pt x="16304" y="4551"/>
                    <a:pt x="16216" y="4590"/>
                  </a:cubicBezTo>
                  <a:cubicBezTo>
                    <a:pt x="16192" y="4600"/>
                    <a:pt x="16171" y="4604"/>
                    <a:pt x="16152" y="4604"/>
                  </a:cubicBezTo>
                  <a:cubicBezTo>
                    <a:pt x="16124" y="4604"/>
                    <a:pt x="16102" y="4594"/>
                    <a:pt x="16083" y="4576"/>
                  </a:cubicBezTo>
                  <a:cubicBezTo>
                    <a:pt x="16034" y="4520"/>
                    <a:pt x="16069" y="4443"/>
                    <a:pt x="16132" y="4310"/>
                  </a:cubicBezTo>
                  <a:cubicBezTo>
                    <a:pt x="16174" y="4212"/>
                    <a:pt x="16230" y="4089"/>
                    <a:pt x="16237" y="4002"/>
                  </a:cubicBezTo>
                  <a:cubicBezTo>
                    <a:pt x="16237" y="3949"/>
                    <a:pt x="16157" y="3746"/>
                    <a:pt x="14991" y="3291"/>
                  </a:cubicBezTo>
                  <a:cubicBezTo>
                    <a:pt x="14809" y="3219"/>
                    <a:pt x="14657" y="3183"/>
                    <a:pt x="14543" y="3183"/>
                  </a:cubicBezTo>
                  <a:cubicBezTo>
                    <a:pt x="14473" y="3183"/>
                    <a:pt x="14416" y="3196"/>
                    <a:pt x="14375" y="3224"/>
                  </a:cubicBezTo>
                  <a:cubicBezTo>
                    <a:pt x="14312" y="3266"/>
                    <a:pt x="14280" y="3350"/>
                    <a:pt x="14280" y="3473"/>
                  </a:cubicBezTo>
                  <a:cubicBezTo>
                    <a:pt x="14280" y="3546"/>
                    <a:pt x="14273" y="3623"/>
                    <a:pt x="14221" y="3658"/>
                  </a:cubicBezTo>
                  <a:cubicBezTo>
                    <a:pt x="14200" y="3675"/>
                    <a:pt x="14179" y="3680"/>
                    <a:pt x="14158" y="3680"/>
                  </a:cubicBezTo>
                  <a:cubicBezTo>
                    <a:pt x="14129" y="3680"/>
                    <a:pt x="14102" y="3670"/>
                    <a:pt x="14077" y="3662"/>
                  </a:cubicBezTo>
                  <a:cubicBezTo>
                    <a:pt x="14052" y="3654"/>
                    <a:pt x="14029" y="3646"/>
                    <a:pt x="14008" y="3646"/>
                  </a:cubicBezTo>
                  <a:cubicBezTo>
                    <a:pt x="13967" y="3646"/>
                    <a:pt x="13930" y="3673"/>
                    <a:pt x="13888" y="3767"/>
                  </a:cubicBezTo>
                  <a:cubicBezTo>
                    <a:pt x="13791" y="3983"/>
                    <a:pt x="13656" y="4006"/>
                    <a:pt x="13595" y="4006"/>
                  </a:cubicBezTo>
                  <a:cubicBezTo>
                    <a:pt x="13588" y="4006"/>
                    <a:pt x="13582" y="4005"/>
                    <a:pt x="13577" y="4005"/>
                  </a:cubicBezTo>
                  <a:cubicBezTo>
                    <a:pt x="13500" y="3998"/>
                    <a:pt x="13437" y="3949"/>
                    <a:pt x="13419" y="3875"/>
                  </a:cubicBezTo>
                  <a:cubicBezTo>
                    <a:pt x="13405" y="3805"/>
                    <a:pt x="13440" y="3739"/>
                    <a:pt x="13517" y="3693"/>
                  </a:cubicBezTo>
                  <a:cubicBezTo>
                    <a:pt x="13696" y="3588"/>
                    <a:pt x="13885" y="3333"/>
                    <a:pt x="13958" y="3102"/>
                  </a:cubicBezTo>
                  <a:cubicBezTo>
                    <a:pt x="13965" y="3088"/>
                    <a:pt x="13955" y="3070"/>
                    <a:pt x="13934" y="3049"/>
                  </a:cubicBezTo>
                  <a:cubicBezTo>
                    <a:pt x="13813" y="2936"/>
                    <a:pt x="13454" y="2855"/>
                    <a:pt x="13184" y="2855"/>
                  </a:cubicBezTo>
                  <a:cubicBezTo>
                    <a:pt x="13088" y="2855"/>
                    <a:pt x="13002" y="2865"/>
                    <a:pt x="12943" y="2888"/>
                  </a:cubicBezTo>
                  <a:cubicBezTo>
                    <a:pt x="12831" y="2934"/>
                    <a:pt x="12807" y="3028"/>
                    <a:pt x="12782" y="3151"/>
                  </a:cubicBezTo>
                  <a:cubicBezTo>
                    <a:pt x="12768" y="3228"/>
                    <a:pt x="12758" y="3301"/>
                    <a:pt x="12691" y="3333"/>
                  </a:cubicBezTo>
                  <a:cubicBezTo>
                    <a:pt x="12672" y="3339"/>
                    <a:pt x="12653" y="3342"/>
                    <a:pt x="12634" y="3342"/>
                  </a:cubicBezTo>
                  <a:cubicBezTo>
                    <a:pt x="12599" y="3342"/>
                    <a:pt x="12565" y="3332"/>
                    <a:pt x="12533" y="3312"/>
                  </a:cubicBezTo>
                  <a:cubicBezTo>
                    <a:pt x="12414" y="3252"/>
                    <a:pt x="12358" y="3116"/>
                    <a:pt x="12400" y="2990"/>
                  </a:cubicBezTo>
                  <a:cubicBezTo>
                    <a:pt x="12438" y="2865"/>
                    <a:pt x="12559" y="2737"/>
                    <a:pt x="12699" y="2737"/>
                  </a:cubicBezTo>
                  <a:cubicBezTo>
                    <a:pt x="12705" y="2737"/>
                    <a:pt x="12710" y="2737"/>
                    <a:pt x="12716" y="2738"/>
                  </a:cubicBezTo>
                  <a:cubicBezTo>
                    <a:pt x="12717" y="2738"/>
                    <a:pt x="12719" y="2738"/>
                    <a:pt x="12721" y="2738"/>
                  </a:cubicBezTo>
                  <a:cubicBezTo>
                    <a:pt x="12772" y="2738"/>
                    <a:pt x="12932" y="2682"/>
                    <a:pt x="13199" y="2097"/>
                  </a:cubicBezTo>
                  <a:cubicBezTo>
                    <a:pt x="13258" y="1968"/>
                    <a:pt x="13202" y="1915"/>
                    <a:pt x="13017" y="1792"/>
                  </a:cubicBezTo>
                  <a:cubicBezTo>
                    <a:pt x="12922" y="1733"/>
                    <a:pt x="12838" y="1663"/>
                    <a:pt x="12761" y="1586"/>
                  </a:cubicBezTo>
                  <a:cubicBezTo>
                    <a:pt x="12646" y="1456"/>
                    <a:pt x="12600" y="1229"/>
                    <a:pt x="12555" y="1008"/>
                  </a:cubicBezTo>
                  <a:cubicBezTo>
                    <a:pt x="12523" y="840"/>
                    <a:pt x="12484" y="655"/>
                    <a:pt x="12421" y="578"/>
                  </a:cubicBezTo>
                  <a:lnTo>
                    <a:pt x="12418" y="581"/>
                  </a:lnTo>
                  <a:lnTo>
                    <a:pt x="12393" y="606"/>
                  </a:lnTo>
                  <a:lnTo>
                    <a:pt x="12372" y="630"/>
                  </a:lnTo>
                  <a:lnTo>
                    <a:pt x="12348" y="655"/>
                  </a:lnTo>
                  <a:lnTo>
                    <a:pt x="12323" y="679"/>
                  </a:lnTo>
                  <a:lnTo>
                    <a:pt x="12302" y="704"/>
                  </a:lnTo>
                  <a:lnTo>
                    <a:pt x="12278" y="732"/>
                  </a:lnTo>
                  <a:lnTo>
                    <a:pt x="12257" y="756"/>
                  </a:lnTo>
                  <a:lnTo>
                    <a:pt x="12229" y="784"/>
                  </a:lnTo>
                  <a:lnTo>
                    <a:pt x="12208" y="809"/>
                  </a:lnTo>
                  <a:lnTo>
                    <a:pt x="12183" y="837"/>
                  </a:lnTo>
                  <a:lnTo>
                    <a:pt x="12162" y="861"/>
                  </a:lnTo>
                  <a:lnTo>
                    <a:pt x="12138" y="893"/>
                  </a:lnTo>
                  <a:lnTo>
                    <a:pt x="12120" y="917"/>
                  </a:lnTo>
                  <a:lnTo>
                    <a:pt x="12096" y="945"/>
                  </a:lnTo>
                  <a:lnTo>
                    <a:pt x="12075" y="973"/>
                  </a:lnTo>
                  <a:lnTo>
                    <a:pt x="12054" y="1001"/>
                  </a:lnTo>
                  <a:lnTo>
                    <a:pt x="12036" y="1026"/>
                  </a:lnTo>
                  <a:lnTo>
                    <a:pt x="12015" y="1057"/>
                  </a:lnTo>
                  <a:lnTo>
                    <a:pt x="11998" y="1082"/>
                  </a:lnTo>
                  <a:lnTo>
                    <a:pt x="11977" y="1110"/>
                  </a:lnTo>
                  <a:lnTo>
                    <a:pt x="11959" y="1134"/>
                  </a:lnTo>
                  <a:lnTo>
                    <a:pt x="11942" y="1162"/>
                  </a:lnTo>
                  <a:lnTo>
                    <a:pt x="11928" y="1187"/>
                  </a:lnTo>
                  <a:lnTo>
                    <a:pt x="11910" y="1215"/>
                  </a:lnTo>
                  <a:lnTo>
                    <a:pt x="11900" y="1239"/>
                  </a:lnTo>
                  <a:cubicBezTo>
                    <a:pt x="11893" y="1250"/>
                    <a:pt x="11889" y="1257"/>
                    <a:pt x="11882" y="1267"/>
                  </a:cubicBezTo>
                  <a:lnTo>
                    <a:pt x="11872" y="1288"/>
                  </a:lnTo>
                  <a:cubicBezTo>
                    <a:pt x="11868" y="1299"/>
                    <a:pt x="11861" y="1309"/>
                    <a:pt x="11858" y="1320"/>
                  </a:cubicBezTo>
                  <a:lnTo>
                    <a:pt x="11851" y="1337"/>
                  </a:lnTo>
                  <a:cubicBezTo>
                    <a:pt x="11844" y="1351"/>
                    <a:pt x="11840" y="1369"/>
                    <a:pt x="11833" y="1383"/>
                  </a:cubicBezTo>
                  <a:cubicBezTo>
                    <a:pt x="11750" y="1639"/>
                    <a:pt x="11626" y="1645"/>
                    <a:pt x="11493" y="1645"/>
                  </a:cubicBezTo>
                  <a:cubicBezTo>
                    <a:pt x="11487" y="1645"/>
                    <a:pt x="11480" y="1645"/>
                    <a:pt x="11473" y="1645"/>
                  </a:cubicBezTo>
                  <a:lnTo>
                    <a:pt x="11417" y="1645"/>
                  </a:lnTo>
                  <a:cubicBezTo>
                    <a:pt x="11347" y="1645"/>
                    <a:pt x="11280" y="1652"/>
                    <a:pt x="11217" y="1673"/>
                  </a:cubicBezTo>
                  <a:cubicBezTo>
                    <a:pt x="11196" y="1680"/>
                    <a:pt x="11179" y="1684"/>
                    <a:pt x="11161" y="1691"/>
                  </a:cubicBezTo>
                  <a:lnTo>
                    <a:pt x="11151" y="1691"/>
                  </a:lnTo>
                  <a:cubicBezTo>
                    <a:pt x="11133" y="1694"/>
                    <a:pt x="11119" y="1698"/>
                    <a:pt x="11105" y="1701"/>
                  </a:cubicBezTo>
                  <a:lnTo>
                    <a:pt x="11095" y="1701"/>
                  </a:lnTo>
                  <a:cubicBezTo>
                    <a:pt x="11081" y="1705"/>
                    <a:pt x="11067" y="1705"/>
                    <a:pt x="11049" y="1705"/>
                  </a:cubicBezTo>
                  <a:lnTo>
                    <a:pt x="10990" y="1705"/>
                  </a:lnTo>
                  <a:cubicBezTo>
                    <a:pt x="10895" y="1705"/>
                    <a:pt x="10804" y="1673"/>
                    <a:pt x="10727" y="1614"/>
                  </a:cubicBezTo>
                  <a:lnTo>
                    <a:pt x="10724" y="1621"/>
                  </a:lnTo>
                  <a:lnTo>
                    <a:pt x="10682" y="1568"/>
                  </a:lnTo>
                  <a:cubicBezTo>
                    <a:pt x="10671" y="1558"/>
                    <a:pt x="10661" y="1547"/>
                    <a:pt x="10650" y="1537"/>
                  </a:cubicBezTo>
                  <a:lnTo>
                    <a:pt x="10636" y="1516"/>
                  </a:lnTo>
                  <a:cubicBezTo>
                    <a:pt x="10626" y="1505"/>
                    <a:pt x="10619" y="1491"/>
                    <a:pt x="10608" y="1481"/>
                  </a:cubicBezTo>
                  <a:cubicBezTo>
                    <a:pt x="10595" y="1458"/>
                    <a:pt x="10558" y="1451"/>
                    <a:pt x="10511" y="1451"/>
                  </a:cubicBezTo>
                  <a:cubicBezTo>
                    <a:pt x="10457" y="1451"/>
                    <a:pt x="10388" y="1461"/>
                    <a:pt x="10328" y="1470"/>
                  </a:cubicBezTo>
                  <a:cubicBezTo>
                    <a:pt x="10252" y="1485"/>
                    <a:pt x="10174" y="1492"/>
                    <a:pt x="10097" y="1492"/>
                  </a:cubicBezTo>
                  <a:cubicBezTo>
                    <a:pt x="10082" y="1492"/>
                    <a:pt x="10067" y="1492"/>
                    <a:pt x="10051" y="1491"/>
                  </a:cubicBezTo>
                  <a:cubicBezTo>
                    <a:pt x="10045" y="1491"/>
                    <a:pt x="10039" y="1491"/>
                    <a:pt x="10034" y="1491"/>
                  </a:cubicBezTo>
                  <a:cubicBezTo>
                    <a:pt x="10000" y="1491"/>
                    <a:pt x="9990" y="1506"/>
                    <a:pt x="9978" y="1600"/>
                  </a:cubicBezTo>
                  <a:cubicBezTo>
                    <a:pt x="9967" y="1673"/>
                    <a:pt x="9953" y="1778"/>
                    <a:pt x="9859" y="1831"/>
                  </a:cubicBezTo>
                  <a:cubicBezTo>
                    <a:pt x="9848" y="1834"/>
                    <a:pt x="9838" y="1838"/>
                    <a:pt x="9827" y="1841"/>
                  </a:cubicBezTo>
                  <a:lnTo>
                    <a:pt x="9817" y="1845"/>
                  </a:lnTo>
                  <a:lnTo>
                    <a:pt x="9796" y="1852"/>
                  </a:lnTo>
                  <a:lnTo>
                    <a:pt x="9754" y="1852"/>
                  </a:lnTo>
                  <a:cubicBezTo>
                    <a:pt x="9733" y="1852"/>
                    <a:pt x="9715" y="1848"/>
                    <a:pt x="9698" y="1848"/>
                  </a:cubicBezTo>
                  <a:lnTo>
                    <a:pt x="9684" y="1848"/>
                  </a:lnTo>
                  <a:lnTo>
                    <a:pt x="9687" y="1855"/>
                  </a:lnTo>
                  <a:lnTo>
                    <a:pt x="9568" y="1824"/>
                  </a:lnTo>
                  <a:lnTo>
                    <a:pt x="9516" y="1810"/>
                  </a:lnTo>
                  <a:cubicBezTo>
                    <a:pt x="9440" y="1792"/>
                    <a:pt x="9358" y="1771"/>
                    <a:pt x="9298" y="1771"/>
                  </a:cubicBezTo>
                  <a:cubicBezTo>
                    <a:pt x="9263" y="1771"/>
                    <a:pt x="9235" y="1778"/>
                    <a:pt x="9218" y="1796"/>
                  </a:cubicBezTo>
                  <a:cubicBezTo>
                    <a:pt x="9170" y="1857"/>
                    <a:pt x="9099" y="1891"/>
                    <a:pt x="9022" y="1891"/>
                  </a:cubicBezTo>
                  <a:cubicBezTo>
                    <a:pt x="9015" y="1891"/>
                    <a:pt x="9008" y="1891"/>
                    <a:pt x="9001" y="1891"/>
                  </a:cubicBezTo>
                  <a:cubicBezTo>
                    <a:pt x="8963" y="1891"/>
                    <a:pt x="8963" y="1891"/>
                    <a:pt x="8952" y="1915"/>
                  </a:cubicBezTo>
                  <a:cubicBezTo>
                    <a:pt x="8896" y="2024"/>
                    <a:pt x="8777" y="2031"/>
                    <a:pt x="8690" y="2038"/>
                  </a:cubicBezTo>
                  <a:cubicBezTo>
                    <a:pt x="8651" y="2041"/>
                    <a:pt x="8592" y="2045"/>
                    <a:pt x="8581" y="2059"/>
                  </a:cubicBezTo>
                  <a:cubicBezTo>
                    <a:pt x="8532" y="2115"/>
                    <a:pt x="8462" y="2143"/>
                    <a:pt x="8388" y="2143"/>
                  </a:cubicBezTo>
                  <a:lnTo>
                    <a:pt x="8315" y="2143"/>
                  </a:lnTo>
                  <a:lnTo>
                    <a:pt x="8301" y="2139"/>
                  </a:lnTo>
                  <a:lnTo>
                    <a:pt x="8290" y="2139"/>
                  </a:lnTo>
                  <a:lnTo>
                    <a:pt x="8276" y="2136"/>
                  </a:lnTo>
                  <a:lnTo>
                    <a:pt x="8262" y="2132"/>
                  </a:lnTo>
                  <a:lnTo>
                    <a:pt x="8248" y="2125"/>
                  </a:lnTo>
                  <a:lnTo>
                    <a:pt x="8234" y="2122"/>
                  </a:lnTo>
                  <a:lnTo>
                    <a:pt x="8220" y="2115"/>
                  </a:lnTo>
                  <a:lnTo>
                    <a:pt x="8206" y="2111"/>
                  </a:lnTo>
                  <a:lnTo>
                    <a:pt x="8192" y="2104"/>
                  </a:lnTo>
                  <a:lnTo>
                    <a:pt x="8175" y="2097"/>
                  </a:lnTo>
                  <a:lnTo>
                    <a:pt x="8161" y="2090"/>
                  </a:lnTo>
                  <a:lnTo>
                    <a:pt x="8143" y="2080"/>
                  </a:lnTo>
                  <a:lnTo>
                    <a:pt x="8129" y="2069"/>
                  </a:lnTo>
                  <a:lnTo>
                    <a:pt x="8108" y="2059"/>
                  </a:lnTo>
                  <a:lnTo>
                    <a:pt x="8094" y="2048"/>
                  </a:lnTo>
                  <a:lnTo>
                    <a:pt x="8077" y="2038"/>
                  </a:lnTo>
                  <a:lnTo>
                    <a:pt x="8059" y="2024"/>
                  </a:lnTo>
                  <a:lnTo>
                    <a:pt x="8042" y="2010"/>
                  </a:lnTo>
                  <a:lnTo>
                    <a:pt x="8024" y="1996"/>
                  </a:lnTo>
                  <a:lnTo>
                    <a:pt x="8003" y="1982"/>
                  </a:lnTo>
                  <a:lnTo>
                    <a:pt x="7986" y="1961"/>
                  </a:lnTo>
                  <a:lnTo>
                    <a:pt x="7968" y="1947"/>
                  </a:lnTo>
                  <a:lnTo>
                    <a:pt x="7944" y="1922"/>
                  </a:lnTo>
                  <a:lnTo>
                    <a:pt x="7930" y="1908"/>
                  </a:lnTo>
                  <a:cubicBezTo>
                    <a:pt x="7916" y="1898"/>
                    <a:pt x="7905" y="1883"/>
                    <a:pt x="7891" y="1869"/>
                  </a:cubicBezTo>
                  <a:cubicBezTo>
                    <a:pt x="7688" y="1642"/>
                    <a:pt x="7639" y="1330"/>
                    <a:pt x="7660" y="1113"/>
                  </a:cubicBezTo>
                  <a:cubicBezTo>
                    <a:pt x="7674" y="963"/>
                    <a:pt x="7720" y="851"/>
                    <a:pt x="7786" y="802"/>
                  </a:cubicBezTo>
                  <a:cubicBezTo>
                    <a:pt x="7839" y="756"/>
                    <a:pt x="7863" y="683"/>
                    <a:pt x="7849" y="613"/>
                  </a:cubicBezTo>
                  <a:cubicBezTo>
                    <a:pt x="7846" y="546"/>
                    <a:pt x="7807" y="487"/>
                    <a:pt x="7748" y="455"/>
                  </a:cubicBezTo>
                  <a:cubicBezTo>
                    <a:pt x="7629" y="403"/>
                    <a:pt x="7622" y="273"/>
                    <a:pt x="7615" y="172"/>
                  </a:cubicBezTo>
                  <a:cubicBezTo>
                    <a:pt x="7608" y="46"/>
                    <a:pt x="7597" y="11"/>
                    <a:pt x="75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1" name="Google Shape;5551;p53"/>
            <p:cNvSpPr/>
            <p:nvPr/>
          </p:nvSpPr>
          <p:spPr>
            <a:xfrm>
              <a:off x="1610849" y="2278130"/>
              <a:ext cx="35193" cy="37406"/>
            </a:xfrm>
            <a:custGeom>
              <a:avLst/>
              <a:gdLst/>
              <a:ahLst/>
              <a:cxnLst/>
              <a:rect l="l" t="t" r="r" b="b"/>
              <a:pathLst>
                <a:path w="2592" h="2755" extrusionOk="0">
                  <a:moveTo>
                    <a:pt x="725" y="1"/>
                  </a:moveTo>
                  <a:cubicBezTo>
                    <a:pt x="692" y="1"/>
                    <a:pt x="659" y="8"/>
                    <a:pt x="627" y="22"/>
                  </a:cubicBezTo>
                  <a:cubicBezTo>
                    <a:pt x="617" y="25"/>
                    <a:pt x="603" y="29"/>
                    <a:pt x="592" y="32"/>
                  </a:cubicBezTo>
                  <a:lnTo>
                    <a:pt x="575" y="36"/>
                  </a:lnTo>
                  <a:cubicBezTo>
                    <a:pt x="568" y="36"/>
                    <a:pt x="557" y="39"/>
                    <a:pt x="547" y="39"/>
                  </a:cubicBezTo>
                  <a:lnTo>
                    <a:pt x="466" y="39"/>
                  </a:lnTo>
                  <a:cubicBezTo>
                    <a:pt x="417" y="92"/>
                    <a:pt x="375" y="155"/>
                    <a:pt x="347" y="221"/>
                  </a:cubicBezTo>
                  <a:lnTo>
                    <a:pt x="347" y="225"/>
                  </a:lnTo>
                  <a:cubicBezTo>
                    <a:pt x="344" y="232"/>
                    <a:pt x="344" y="242"/>
                    <a:pt x="340" y="249"/>
                  </a:cubicBezTo>
                  <a:lnTo>
                    <a:pt x="340" y="256"/>
                  </a:lnTo>
                  <a:cubicBezTo>
                    <a:pt x="340" y="263"/>
                    <a:pt x="337" y="270"/>
                    <a:pt x="337" y="281"/>
                  </a:cubicBezTo>
                  <a:lnTo>
                    <a:pt x="337" y="323"/>
                  </a:lnTo>
                  <a:cubicBezTo>
                    <a:pt x="326" y="428"/>
                    <a:pt x="302" y="529"/>
                    <a:pt x="267" y="628"/>
                  </a:cubicBezTo>
                  <a:lnTo>
                    <a:pt x="249" y="691"/>
                  </a:lnTo>
                  <a:cubicBezTo>
                    <a:pt x="235" y="733"/>
                    <a:pt x="225" y="778"/>
                    <a:pt x="211" y="820"/>
                  </a:cubicBezTo>
                  <a:cubicBezTo>
                    <a:pt x="179" y="950"/>
                    <a:pt x="158" y="1083"/>
                    <a:pt x="155" y="1216"/>
                  </a:cubicBezTo>
                  <a:cubicBezTo>
                    <a:pt x="155" y="1331"/>
                    <a:pt x="137" y="1447"/>
                    <a:pt x="106" y="1559"/>
                  </a:cubicBezTo>
                  <a:cubicBezTo>
                    <a:pt x="92" y="1594"/>
                    <a:pt x="81" y="1622"/>
                    <a:pt x="71" y="1646"/>
                  </a:cubicBezTo>
                  <a:cubicBezTo>
                    <a:pt x="29" y="1734"/>
                    <a:pt x="8" y="1832"/>
                    <a:pt x="8" y="1926"/>
                  </a:cubicBezTo>
                  <a:cubicBezTo>
                    <a:pt x="1" y="2143"/>
                    <a:pt x="43" y="2161"/>
                    <a:pt x="81" y="2171"/>
                  </a:cubicBezTo>
                  <a:cubicBezTo>
                    <a:pt x="106" y="2178"/>
                    <a:pt x="127" y="2192"/>
                    <a:pt x="148" y="2210"/>
                  </a:cubicBezTo>
                  <a:cubicBezTo>
                    <a:pt x="155" y="2217"/>
                    <a:pt x="158" y="2224"/>
                    <a:pt x="162" y="2227"/>
                  </a:cubicBezTo>
                  <a:cubicBezTo>
                    <a:pt x="162" y="2227"/>
                    <a:pt x="162" y="2234"/>
                    <a:pt x="165" y="2234"/>
                  </a:cubicBezTo>
                  <a:cubicBezTo>
                    <a:pt x="169" y="2241"/>
                    <a:pt x="169" y="2245"/>
                    <a:pt x="172" y="2252"/>
                  </a:cubicBezTo>
                  <a:lnTo>
                    <a:pt x="172" y="2259"/>
                  </a:lnTo>
                  <a:cubicBezTo>
                    <a:pt x="172" y="2266"/>
                    <a:pt x="172" y="2273"/>
                    <a:pt x="172" y="2276"/>
                  </a:cubicBezTo>
                  <a:lnTo>
                    <a:pt x="172" y="2290"/>
                  </a:lnTo>
                  <a:lnTo>
                    <a:pt x="172" y="2308"/>
                  </a:lnTo>
                  <a:lnTo>
                    <a:pt x="172" y="2322"/>
                  </a:lnTo>
                  <a:cubicBezTo>
                    <a:pt x="172" y="2329"/>
                    <a:pt x="172" y="2336"/>
                    <a:pt x="172" y="2343"/>
                  </a:cubicBezTo>
                  <a:cubicBezTo>
                    <a:pt x="169" y="2350"/>
                    <a:pt x="169" y="2357"/>
                    <a:pt x="169" y="2360"/>
                  </a:cubicBezTo>
                  <a:cubicBezTo>
                    <a:pt x="165" y="2367"/>
                    <a:pt x="165" y="2378"/>
                    <a:pt x="162" y="2385"/>
                  </a:cubicBezTo>
                  <a:lnTo>
                    <a:pt x="155" y="2406"/>
                  </a:lnTo>
                  <a:cubicBezTo>
                    <a:pt x="155" y="2416"/>
                    <a:pt x="151" y="2427"/>
                    <a:pt x="148" y="2434"/>
                  </a:cubicBezTo>
                  <a:lnTo>
                    <a:pt x="137" y="2458"/>
                  </a:lnTo>
                  <a:lnTo>
                    <a:pt x="137" y="2469"/>
                  </a:lnTo>
                  <a:cubicBezTo>
                    <a:pt x="174" y="2503"/>
                    <a:pt x="203" y="2526"/>
                    <a:pt x="248" y="2526"/>
                  </a:cubicBezTo>
                  <a:cubicBezTo>
                    <a:pt x="254" y="2526"/>
                    <a:pt x="260" y="2526"/>
                    <a:pt x="267" y="2525"/>
                  </a:cubicBezTo>
                  <a:cubicBezTo>
                    <a:pt x="295" y="2525"/>
                    <a:pt x="323" y="2521"/>
                    <a:pt x="351" y="2521"/>
                  </a:cubicBezTo>
                  <a:cubicBezTo>
                    <a:pt x="564" y="2521"/>
                    <a:pt x="774" y="2609"/>
                    <a:pt x="1005" y="2714"/>
                  </a:cubicBezTo>
                  <a:cubicBezTo>
                    <a:pt x="1074" y="2744"/>
                    <a:pt x="1110" y="2755"/>
                    <a:pt x="1135" y="2755"/>
                  </a:cubicBezTo>
                  <a:cubicBezTo>
                    <a:pt x="1153" y="2755"/>
                    <a:pt x="1166" y="2749"/>
                    <a:pt x="1180" y="2742"/>
                  </a:cubicBezTo>
                  <a:cubicBezTo>
                    <a:pt x="1231" y="2716"/>
                    <a:pt x="1285" y="2702"/>
                    <a:pt x="1340" y="2702"/>
                  </a:cubicBezTo>
                  <a:cubicBezTo>
                    <a:pt x="1365" y="2702"/>
                    <a:pt x="1390" y="2705"/>
                    <a:pt x="1415" y="2711"/>
                  </a:cubicBezTo>
                  <a:cubicBezTo>
                    <a:pt x="1508" y="2723"/>
                    <a:pt x="1607" y="2734"/>
                    <a:pt x="1709" y="2734"/>
                  </a:cubicBezTo>
                  <a:cubicBezTo>
                    <a:pt x="1870" y="2734"/>
                    <a:pt x="2037" y="2706"/>
                    <a:pt x="2196" y="2609"/>
                  </a:cubicBezTo>
                  <a:cubicBezTo>
                    <a:pt x="2322" y="2532"/>
                    <a:pt x="2402" y="2413"/>
                    <a:pt x="2497" y="2276"/>
                  </a:cubicBezTo>
                  <a:cubicBezTo>
                    <a:pt x="2528" y="2234"/>
                    <a:pt x="2556" y="2189"/>
                    <a:pt x="2591" y="2147"/>
                  </a:cubicBezTo>
                  <a:lnTo>
                    <a:pt x="2591" y="2140"/>
                  </a:lnTo>
                  <a:cubicBezTo>
                    <a:pt x="2588" y="2133"/>
                    <a:pt x="2584" y="2126"/>
                    <a:pt x="2581" y="2119"/>
                  </a:cubicBezTo>
                  <a:cubicBezTo>
                    <a:pt x="2581" y="2112"/>
                    <a:pt x="2577" y="2105"/>
                    <a:pt x="2574" y="2098"/>
                  </a:cubicBezTo>
                  <a:cubicBezTo>
                    <a:pt x="2570" y="2087"/>
                    <a:pt x="2567" y="2084"/>
                    <a:pt x="2567" y="2077"/>
                  </a:cubicBezTo>
                  <a:cubicBezTo>
                    <a:pt x="2563" y="2070"/>
                    <a:pt x="2560" y="2059"/>
                    <a:pt x="2560" y="2052"/>
                  </a:cubicBezTo>
                  <a:cubicBezTo>
                    <a:pt x="2556" y="2042"/>
                    <a:pt x="2553" y="2038"/>
                    <a:pt x="2553" y="2031"/>
                  </a:cubicBezTo>
                  <a:cubicBezTo>
                    <a:pt x="2549" y="2024"/>
                    <a:pt x="2549" y="2014"/>
                    <a:pt x="2546" y="2007"/>
                  </a:cubicBezTo>
                  <a:cubicBezTo>
                    <a:pt x="2546" y="1996"/>
                    <a:pt x="2542" y="1993"/>
                    <a:pt x="2542" y="1986"/>
                  </a:cubicBezTo>
                  <a:cubicBezTo>
                    <a:pt x="2542" y="1979"/>
                    <a:pt x="2539" y="1968"/>
                    <a:pt x="2539" y="1961"/>
                  </a:cubicBezTo>
                  <a:cubicBezTo>
                    <a:pt x="2535" y="1951"/>
                    <a:pt x="2535" y="1947"/>
                    <a:pt x="2535" y="1940"/>
                  </a:cubicBezTo>
                  <a:cubicBezTo>
                    <a:pt x="2532" y="1933"/>
                    <a:pt x="2532" y="1923"/>
                    <a:pt x="2532" y="1916"/>
                  </a:cubicBezTo>
                  <a:cubicBezTo>
                    <a:pt x="2528" y="1905"/>
                    <a:pt x="2532" y="1902"/>
                    <a:pt x="2528" y="1895"/>
                  </a:cubicBezTo>
                  <a:cubicBezTo>
                    <a:pt x="2525" y="1888"/>
                    <a:pt x="2528" y="1877"/>
                    <a:pt x="2525" y="1870"/>
                  </a:cubicBezTo>
                  <a:cubicBezTo>
                    <a:pt x="2521" y="1860"/>
                    <a:pt x="2525" y="1856"/>
                    <a:pt x="2525" y="1849"/>
                  </a:cubicBezTo>
                  <a:lnTo>
                    <a:pt x="2525" y="1825"/>
                  </a:lnTo>
                  <a:lnTo>
                    <a:pt x="2525" y="1804"/>
                  </a:lnTo>
                  <a:lnTo>
                    <a:pt x="2525" y="1779"/>
                  </a:lnTo>
                  <a:lnTo>
                    <a:pt x="2525" y="1758"/>
                  </a:lnTo>
                  <a:lnTo>
                    <a:pt x="2525" y="1734"/>
                  </a:lnTo>
                  <a:lnTo>
                    <a:pt x="2525" y="1716"/>
                  </a:lnTo>
                  <a:lnTo>
                    <a:pt x="2525" y="1692"/>
                  </a:lnTo>
                  <a:lnTo>
                    <a:pt x="2525" y="1674"/>
                  </a:lnTo>
                  <a:lnTo>
                    <a:pt x="2525" y="1650"/>
                  </a:lnTo>
                  <a:lnTo>
                    <a:pt x="2525" y="1632"/>
                  </a:lnTo>
                  <a:lnTo>
                    <a:pt x="2525" y="1608"/>
                  </a:lnTo>
                  <a:lnTo>
                    <a:pt x="2525" y="1590"/>
                  </a:lnTo>
                  <a:lnTo>
                    <a:pt x="2525" y="1569"/>
                  </a:lnTo>
                  <a:lnTo>
                    <a:pt x="2525" y="1552"/>
                  </a:lnTo>
                  <a:lnTo>
                    <a:pt x="2525" y="1527"/>
                  </a:lnTo>
                  <a:lnTo>
                    <a:pt x="2525" y="1513"/>
                  </a:lnTo>
                  <a:lnTo>
                    <a:pt x="2528" y="1478"/>
                  </a:lnTo>
                  <a:cubicBezTo>
                    <a:pt x="2535" y="1419"/>
                    <a:pt x="2539" y="1366"/>
                    <a:pt x="2539" y="1324"/>
                  </a:cubicBezTo>
                  <a:cubicBezTo>
                    <a:pt x="2539" y="1177"/>
                    <a:pt x="2423" y="1104"/>
                    <a:pt x="2315" y="1034"/>
                  </a:cubicBezTo>
                  <a:cubicBezTo>
                    <a:pt x="2269" y="1009"/>
                    <a:pt x="2224" y="974"/>
                    <a:pt x="2185" y="939"/>
                  </a:cubicBezTo>
                  <a:cubicBezTo>
                    <a:pt x="2129" y="890"/>
                    <a:pt x="2070" y="848"/>
                    <a:pt x="2003" y="810"/>
                  </a:cubicBezTo>
                  <a:cubicBezTo>
                    <a:pt x="1852" y="719"/>
                    <a:pt x="1667" y="607"/>
                    <a:pt x="1569" y="466"/>
                  </a:cubicBezTo>
                  <a:cubicBezTo>
                    <a:pt x="1541" y="428"/>
                    <a:pt x="1523" y="417"/>
                    <a:pt x="1516" y="417"/>
                  </a:cubicBezTo>
                  <a:cubicBezTo>
                    <a:pt x="1495" y="417"/>
                    <a:pt x="1460" y="463"/>
                    <a:pt x="1439" y="487"/>
                  </a:cubicBezTo>
                  <a:cubicBezTo>
                    <a:pt x="1404" y="533"/>
                    <a:pt x="1373" y="572"/>
                    <a:pt x="1324" y="579"/>
                  </a:cubicBezTo>
                  <a:cubicBezTo>
                    <a:pt x="1317" y="580"/>
                    <a:pt x="1311" y="580"/>
                    <a:pt x="1305" y="580"/>
                  </a:cubicBezTo>
                  <a:cubicBezTo>
                    <a:pt x="1231" y="580"/>
                    <a:pt x="1203" y="507"/>
                    <a:pt x="1177" y="442"/>
                  </a:cubicBezTo>
                  <a:cubicBezTo>
                    <a:pt x="1138" y="347"/>
                    <a:pt x="1086" y="256"/>
                    <a:pt x="1019" y="176"/>
                  </a:cubicBezTo>
                  <a:cubicBezTo>
                    <a:pt x="923" y="61"/>
                    <a:pt x="822" y="1"/>
                    <a:pt x="7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2" name="Google Shape;5552;p53"/>
            <p:cNvSpPr/>
            <p:nvPr/>
          </p:nvSpPr>
          <p:spPr>
            <a:xfrm>
              <a:off x="1645078" y="2303846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cubicBezTo>
                    <a:pt x="0" y="8"/>
                    <a:pt x="0" y="15"/>
                    <a:pt x="4" y="22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3" name="Google Shape;5553;p53"/>
            <p:cNvSpPr/>
            <p:nvPr/>
          </p:nvSpPr>
          <p:spPr>
            <a:xfrm>
              <a:off x="1644983" y="2300289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cubicBezTo>
                    <a:pt x="4" y="7"/>
                    <a:pt x="0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4" name="Google Shape;5554;p53"/>
            <p:cNvSpPr/>
            <p:nvPr/>
          </p:nvSpPr>
          <p:spPr>
            <a:xfrm>
              <a:off x="1645173" y="230447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0"/>
                  </a:moveTo>
                  <a:cubicBezTo>
                    <a:pt x="0" y="7"/>
                    <a:pt x="4" y="14"/>
                    <a:pt x="4" y="21"/>
                  </a:cubicBezTo>
                  <a:cubicBezTo>
                    <a:pt x="4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5" name="Google Shape;5555;p53"/>
            <p:cNvSpPr/>
            <p:nvPr/>
          </p:nvSpPr>
          <p:spPr>
            <a:xfrm>
              <a:off x="1645024" y="230323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0"/>
                  </a:moveTo>
                  <a:lnTo>
                    <a:pt x="1" y="21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6" name="Google Shape;5556;p53"/>
            <p:cNvSpPr/>
            <p:nvPr/>
          </p:nvSpPr>
          <p:spPr>
            <a:xfrm>
              <a:off x="1645268" y="230508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cubicBezTo>
                    <a:pt x="0" y="8"/>
                    <a:pt x="4" y="15"/>
                    <a:pt x="7" y="22"/>
                  </a:cubicBezTo>
                  <a:cubicBezTo>
                    <a:pt x="4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7" name="Google Shape;5557;p53"/>
            <p:cNvSpPr/>
            <p:nvPr/>
          </p:nvSpPr>
          <p:spPr>
            <a:xfrm>
              <a:off x="1644983" y="2301999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8" name="Google Shape;5558;p53"/>
            <p:cNvSpPr/>
            <p:nvPr/>
          </p:nvSpPr>
          <p:spPr>
            <a:xfrm>
              <a:off x="1644983" y="230261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9" name="Google Shape;5559;p53"/>
            <p:cNvSpPr/>
            <p:nvPr/>
          </p:nvSpPr>
          <p:spPr>
            <a:xfrm>
              <a:off x="1644983" y="2300859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ubicBezTo>
                    <a:pt x="0" y="11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0" name="Google Shape;5560;p53"/>
            <p:cNvSpPr/>
            <p:nvPr/>
          </p:nvSpPr>
          <p:spPr>
            <a:xfrm>
              <a:off x="1645838" y="230694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4" y="7"/>
                    <a:pt x="4" y="14"/>
                    <a:pt x="7" y="21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1" name="Google Shape;5561;p53"/>
            <p:cNvSpPr/>
            <p:nvPr/>
          </p:nvSpPr>
          <p:spPr>
            <a:xfrm>
              <a:off x="1645594" y="2306317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1"/>
                  </a:moveTo>
                  <a:cubicBezTo>
                    <a:pt x="4" y="8"/>
                    <a:pt x="4" y="15"/>
                    <a:pt x="8" y="22"/>
                  </a:cubicBezTo>
                  <a:cubicBezTo>
                    <a:pt x="8" y="15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2" name="Google Shape;5562;p53"/>
            <p:cNvSpPr/>
            <p:nvPr/>
          </p:nvSpPr>
          <p:spPr>
            <a:xfrm>
              <a:off x="1645404" y="2305706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0"/>
                  </a:moveTo>
                  <a:cubicBezTo>
                    <a:pt x="1" y="7"/>
                    <a:pt x="4" y="14"/>
                    <a:pt x="8" y="21"/>
                  </a:cubicBezTo>
                  <a:cubicBezTo>
                    <a:pt x="8" y="14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3" name="Google Shape;5563;p53"/>
            <p:cNvSpPr/>
            <p:nvPr/>
          </p:nvSpPr>
          <p:spPr>
            <a:xfrm>
              <a:off x="1617312" y="2278700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4" name="Google Shape;5564;p53"/>
            <p:cNvSpPr/>
            <p:nvPr/>
          </p:nvSpPr>
          <p:spPr>
            <a:xfrm>
              <a:off x="1618032" y="2278660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5" name="Google Shape;5565;p53"/>
            <p:cNvSpPr/>
            <p:nvPr/>
          </p:nvSpPr>
          <p:spPr>
            <a:xfrm>
              <a:off x="1645024" y="2299718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6" name="Google Shape;5566;p53"/>
            <p:cNvSpPr/>
            <p:nvPr/>
          </p:nvSpPr>
          <p:spPr>
            <a:xfrm>
              <a:off x="1645078" y="2299189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1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7" name="Google Shape;5567;p53"/>
            <p:cNvSpPr/>
            <p:nvPr/>
          </p:nvSpPr>
          <p:spPr>
            <a:xfrm>
              <a:off x="1644983" y="2301429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8" name="Google Shape;5568;p53"/>
            <p:cNvSpPr/>
            <p:nvPr/>
          </p:nvSpPr>
          <p:spPr>
            <a:xfrm>
              <a:off x="1645119" y="2298673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9" name="Google Shape;5569;p53"/>
            <p:cNvSpPr/>
            <p:nvPr/>
          </p:nvSpPr>
          <p:spPr>
            <a:xfrm>
              <a:off x="1618697" y="2278565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0" name="Google Shape;5570;p53"/>
            <p:cNvSpPr/>
            <p:nvPr/>
          </p:nvSpPr>
          <p:spPr>
            <a:xfrm>
              <a:off x="1533091" y="2481100"/>
              <a:ext cx="1575" cy="3014"/>
            </a:xfrm>
            <a:custGeom>
              <a:avLst/>
              <a:gdLst/>
              <a:ahLst/>
              <a:cxnLst/>
              <a:rect l="l" t="t" r="r" b="b"/>
              <a:pathLst>
                <a:path w="116" h="222" extrusionOk="0">
                  <a:moveTo>
                    <a:pt x="11" y="0"/>
                  </a:moveTo>
                  <a:cubicBezTo>
                    <a:pt x="7" y="74"/>
                    <a:pt x="4" y="151"/>
                    <a:pt x="0" y="221"/>
                  </a:cubicBezTo>
                  <a:cubicBezTo>
                    <a:pt x="32" y="190"/>
                    <a:pt x="70" y="162"/>
                    <a:pt x="112" y="137"/>
                  </a:cubicBezTo>
                  <a:cubicBezTo>
                    <a:pt x="116" y="137"/>
                    <a:pt x="116" y="120"/>
                    <a:pt x="98" y="91"/>
                  </a:cubicBezTo>
                  <a:cubicBezTo>
                    <a:pt x="77" y="53"/>
                    <a:pt x="46" y="25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1" name="Google Shape;5571;p53"/>
            <p:cNvSpPr/>
            <p:nvPr/>
          </p:nvSpPr>
          <p:spPr>
            <a:xfrm>
              <a:off x="1496866" y="2211818"/>
              <a:ext cx="147845" cy="264069"/>
            </a:xfrm>
            <a:custGeom>
              <a:avLst/>
              <a:gdLst/>
              <a:ahLst/>
              <a:cxnLst/>
              <a:rect l="l" t="t" r="r" b="b"/>
              <a:pathLst>
                <a:path w="10889" h="19449" extrusionOk="0">
                  <a:moveTo>
                    <a:pt x="4099" y="0"/>
                  </a:moveTo>
                  <a:cubicBezTo>
                    <a:pt x="4066" y="0"/>
                    <a:pt x="4027" y="28"/>
                    <a:pt x="3949" y="110"/>
                  </a:cubicBezTo>
                  <a:cubicBezTo>
                    <a:pt x="3855" y="208"/>
                    <a:pt x="3753" y="299"/>
                    <a:pt x="3641" y="376"/>
                  </a:cubicBezTo>
                  <a:cubicBezTo>
                    <a:pt x="3617" y="397"/>
                    <a:pt x="3589" y="414"/>
                    <a:pt x="3561" y="435"/>
                  </a:cubicBezTo>
                  <a:lnTo>
                    <a:pt x="3561" y="442"/>
                  </a:lnTo>
                  <a:lnTo>
                    <a:pt x="3561" y="463"/>
                  </a:lnTo>
                  <a:lnTo>
                    <a:pt x="3561" y="488"/>
                  </a:lnTo>
                  <a:lnTo>
                    <a:pt x="3561" y="509"/>
                  </a:lnTo>
                  <a:lnTo>
                    <a:pt x="3561" y="537"/>
                  </a:lnTo>
                  <a:lnTo>
                    <a:pt x="3561" y="558"/>
                  </a:lnTo>
                  <a:lnTo>
                    <a:pt x="3557" y="586"/>
                  </a:lnTo>
                  <a:lnTo>
                    <a:pt x="3557" y="607"/>
                  </a:lnTo>
                  <a:lnTo>
                    <a:pt x="3554" y="635"/>
                  </a:lnTo>
                  <a:lnTo>
                    <a:pt x="3550" y="656"/>
                  </a:lnTo>
                  <a:lnTo>
                    <a:pt x="3547" y="684"/>
                  </a:lnTo>
                  <a:lnTo>
                    <a:pt x="3543" y="705"/>
                  </a:lnTo>
                  <a:lnTo>
                    <a:pt x="3540" y="733"/>
                  </a:lnTo>
                  <a:lnTo>
                    <a:pt x="3536" y="750"/>
                  </a:lnTo>
                  <a:lnTo>
                    <a:pt x="3533" y="778"/>
                  </a:lnTo>
                  <a:lnTo>
                    <a:pt x="3529" y="796"/>
                  </a:lnTo>
                  <a:lnTo>
                    <a:pt x="3526" y="824"/>
                  </a:lnTo>
                  <a:lnTo>
                    <a:pt x="3522" y="841"/>
                  </a:lnTo>
                  <a:lnTo>
                    <a:pt x="3515" y="866"/>
                  </a:lnTo>
                  <a:lnTo>
                    <a:pt x="3512" y="883"/>
                  </a:lnTo>
                  <a:lnTo>
                    <a:pt x="3508" y="904"/>
                  </a:lnTo>
                  <a:lnTo>
                    <a:pt x="3505" y="922"/>
                  </a:lnTo>
                  <a:lnTo>
                    <a:pt x="3498" y="943"/>
                  </a:lnTo>
                  <a:lnTo>
                    <a:pt x="3494" y="960"/>
                  </a:lnTo>
                  <a:lnTo>
                    <a:pt x="3491" y="978"/>
                  </a:lnTo>
                  <a:lnTo>
                    <a:pt x="3484" y="995"/>
                  </a:lnTo>
                  <a:lnTo>
                    <a:pt x="3480" y="1009"/>
                  </a:lnTo>
                  <a:lnTo>
                    <a:pt x="3473" y="1023"/>
                  </a:lnTo>
                  <a:cubicBezTo>
                    <a:pt x="3473" y="1030"/>
                    <a:pt x="3470" y="1034"/>
                    <a:pt x="3470" y="1037"/>
                  </a:cubicBezTo>
                  <a:lnTo>
                    <a:pt x="3466" y="1048"/>
                  </a:lnTo>
                  <a:cubicBezTo>
                    <a:pt x="3463" y="1055"/>
                    <a:pt x="3459" y="1062"/>
                    <a:pt x="3456" y="1069"/>
                  </a:cubicBezTo>
                  <a:cubicBezTo>
                    <a:pt x="3421" y="1132"/>
                    <a:pt x="3319" y="1198"/>
                    <a:pt x="3155" y="1300"/>
                  </a:cubicBezTo>
                  <a:cubicBezTo>
                    <a:pt x="3050" y="1367"/>
                    <a:pt x="2854" y="1489"/>
                    <a:pt x="2840" y="1538"/>
                  </a:cubicBezTo>
                  <a:cubicBezTo>
                    <a:pt x="2836" y="1584"/>
                    <a:pt x="2840" y="1629"/>
                    <a:pt x="2847" y="1675"/>
                  </a:cubicBezTo>
                  <a:cubicBezTo>
                    <a:pt x="2850" y="1713"/>
                    <a:pt x="2854" y="1752"/>
                    <a:pt x="2857" y="1794"/>
                  </a:cubicBezTo>
                  <a:cubicBezTo>
                    <a:pt x="2857" y="1846"/>
                    <a:pt x="2843" y="1895"/>
                    <a:pt x="2815" y="1941"/>
                  </a:cubicBezTo>
                  <a:cubicBezTo>
                    <a:pt x="2808" y="1951"/>
                    <a:pt x="2798" y="1962"/>
                    <a:pt x="2787" y="1969"/>
                  </a:cubicBezTo>
                  <a:cubicBezTo>
                    <a:pt x="2798" y="2028"/>
                    <a:pt x="2812" y="2088"/>
                    <a:pt x="2840" y="2140"/>
                  </a:cubicBezTo>
                  <a:cubicBezTo>
                    <a:pt x="2896" y="2287"/>
                    <a:pt x="2973" y="2490"/>
                    <a:pt x="2822" y="2571"/>
                  </a:cubicBezTo>
                  <a:cubicBezTo>
                    <a:pt x="2805" y="2581"/>
                    <a:pt x="2798" y="2588"/>
                    <a:pt x="2798" y="2592"/>
                  </a:cubicBezTo>
                  <a:cubicBezTo>
                    <a:pt x="2794" y="2606"/>
                    <a:pt x="2822" y="2651"/>
                    <a:pt x="2840" y="2676"/>
                  </a:cubicBezTo>
                  <a:cubicBezTo>
                    <a:pt x="2878" y="2739"/>
                    <a:pt x="2945" y="2844"/>
                    <a:pt x="2850" y="2928"/>
                  </a:cubicBezTo>
                  <a:cubicBezTo>
                    <a:pt x="2798" y="2966"/>
                    <a:pt x="2745" y="2998"/>
                    <a:pt x="2689" y="3026"/>
                  </a:cubicBezTo>
                  <a:cubicBezTo>
                    <a:pt x="2623" y="3061"/>
                    <a:pt x="2542" y="3106"/>
                    <a:pt x="2542" y="3138"/>
                  </a:cubicBezTo>
                  <a:cubicBezTo>
                    <a:pt x="2542" y="3299"/>
                    <a:pt x="2518" y="3579"/>
                    <a:pt x="2339" y="3660"/>
                  </a:cubicBezTo>
                  <a:cubicBezTo>
                    <a:pt x="2220" y="3712"/>
                    <a:pt x="2133" y="3929"/>
                    <a:pt x="2133" y="4090"/>
                  </a:cubicBezTo>
                  <a:cubicBezTo>
                    <a:pt x="2133" y="4118"/>
                    <a:pt x="2129" y="4143"/>
                    <a:pt x="2119" y="4167"/>
                  </a:cubicBezTo>
                  <a:cubicBezTo>
                    <a:pt x="2098" y="4216"/>
                    <a:pt x="2056" y="4255"/>
                    <a:pt x="2003" y="4272"/>
                  </a:cubicBezTo>
                  <a:cubicBezTo>
                    <a:pt x="1971" y="4290"/>
                    <a:pt x="1961" y="4293"/>
                    <a:pt x="1968" y="4325"/>
                  </a:cubicBezTo>
                  <a:cubicBezTo>
                    <a:pt x="1971" y="4335"/>
                    <a:pt x="1975" y="4346"/>
                    <a:pt x="1982" y="4363"/>
                  </a:cubicBezTo>
                  <a:cubicBezTo>
                    <a:pt x="2049" y="4559"/>
                    <a:pt x="2129" y="4780"/>
                    <a:pt x="2059" y="4913"/>
                  </a:cubicBezTo>
                  <a:cubicBezTo>
                    <a:pt x="2035" y="4962"/>
                    <a:pt x="1989" y="4997"/>
                    <a:pt x="1936" y="5007"/>
                  </a:cubicBezTo>
                  <a:cubicBezTo>
                    <a:pt x="1873" y="5025"/>
                    <a:pt x="1849" y="5140"/>
                    <a:pt x="1828" y="5231"/>
                  </a:cubicBezTo>
                  <a:cubicBezTo>
                    <a:pt x="1810" y="5322"/>
                    <a:pt x="1786" y="5431"/>
                    <a:pt x="1698" y="5438"/>
                  </a:cubicBezTo>
                  <a:cubicBezTo>
                    <a:pt x="1656" y="5487"/>
                    <a:pt x="1625" y="5771"/>
                    <a:pt x="1740" y="5925"/>
                  </a:cubicBezTo>
                  <a:cubicBezTo>
                    <a:pt x="1873" y="6089"/>
                    <a:pt x="1940" y="6296"/>
                    <a:pt x="1936" y="6506"/>
                  </a:cubicBezTo>
                  <a:cubicBezTo>
                    <a:pt x="1940" y="6565"/>
                    <a:pt x="1964" y="6625"/>
                    <a:pt x="1999" y="6674"/>
                  </a:cubicBezTo>
                  <a:cubicBezTo>
                    <a:pt x="2049" y="6758"/>
                    <a:pt x="2112" y="6863"/>
                    <a:pt x="2063" y="7003"/>
                  </a:cubicBezTo>
                  <a:cubicBezTo>
                    <a:pt x="2042" y="7066"/>
                    <a:pt x="2028" y="7132"/>
                    <a:pt x="2021" y="7199"/>
                  </a:cubicBezTo>
                  <a:cubicBezTo>
                    <a:pt x="2003" y="7314"/>
                    <a:pt x="1985" y="7426"/>
                    <a:pt x="1887" y="7493"/>
                  </a:cubicBezTo>
                  <a:cubicBezTo>
                    <a:pt x="1859" y="7514"/>
                    <a:pt x="1852" y="7574"/>
                    <a:pt x="1849" y="7633"/>
                  </a:cubicBezTo>
                  <a:cubicBezTo>
                    <a:pt x="1838" y="7728"/>
                    <a:pt x="1828" y="7843"/>
                    <a:pt x="1712" y="7896"/>
                  </a:cubicBezTo>
                  <a:cubicBezTo>
                    <a:pt x="1688" y="7924"/>
                    <a:pt x="1723" y="8092"/>
                    <a:pt x="1740" y="8172"/>
                  </a:cubicBezTo>
                  <a:lnTo>
                    <a:pt x="1747" y="8207"/>
                  </a:lnTo>
                  <a:cubicBezTo>
                    <a:pt x="1782" y="8368"/>
                    <a:pt x="1807" y="8508"/>
                    <a:pt x="1730" y="8575"/>
                  </a:cubicBezTo>
                  <a:cubicBezTo>
                    <a:pt x="1695" y="8603"/>
                    <a:pt x="1660" y="8624"/>
                    <a:pt x="1625" y="8645"/>
                  </a:cubicBezTo>
                  <a:cubicBezTo>
                    <a:pt x="1492" y="8729"/>
                    <a:pt x="1341" y="8820"/>
                    <a:pt x="1341" y="9068"/>
                  </a:cubicBezTo>
                  <a:cubicBezTo>
                    <a:pt x="1341" y="9219"/>
                    <a:pt x="1352" y="9341"/>
                    <a:pt x="1359" y="9450"/>
                  </a:cubicBezTo>
                  <a:cubicBezTo>
                    <a:pt x="1373" y="9594"/>
                    <a:pt x="1380" y="9706"/>
                    <a:pt x="1355" y="9807"/>
                  </a:cubicBezTo>
                  <a:cubicBezTo>
                    <a:pt x="1352" y="9821"/>
                    <a:pt x="1352" y="9825"/>
                    <a:pt x="1387" y="9853"/>
                  </a:cubicBezTo>
                  <a:cubicBezTo>
                    <a:pt x="1471" y="9912"/>
                    <a:pt x="1509" y="10014"/>
                    <a:pt x="1488" y="10112"/>
                  </a:cubicBezTo>
                  <a:cubicBezTo>
                    <a:pt x="1460" y="10280"/>
                    <a:pt x="1324" y="10297"/>
                    <a:pt x="1243" y="10308"/>
                  </a:cubicBezTo>
                  <a:cubicBezTo>
                    <a:pt x="1219" y="10308"/>
                    <a:pt x="1198" y="10315"/>
                    <a:pt x="1177" y="10322"/>
                  </a:cubicBezTo>
                  <a:cubicBezTo>
                    <a:pt x="1173" y="10374"/>
                    <a:pt x="1177" y="10427"/>
                    <a:pt x="1184" y="10479"/>
                  </a:cubicBezTo>
                  <a:cubicBezTo>
                    <a:pt x="1198" y="10616"/>
                    <a:pt x="1215" y="10770"/>
                    <a:pt x="1089" y="10791"/>
                  </a:cubicBezTo>
                  <a:cubicBezTo>
                    <a:pt x="1065" y="10794"/>
                    <a:pt x="995" y="10805"/>
                    <a:pt x="995" y="11071"/>
                  </a:cubicBezTo>
                  <a:cubicBezTo>
                    <a:pt x="998" y="11179"/>
                    <a:pt x="963" y="11288"/>
                    <a:pt x="893" y="11372"/>
                  </a:cubicBezTo>
                  <a:cubicBezTo>
                    <a:pt x="872" y="11396"/>
                    <a:pt x="855" y="11424"/>
                    <a:pt x="848" y="11456"/>
                  </a:cubicBezTo>
                  <a:cubicBezTo>
                    <a:pt x="844" y="11498"/>
                    <a:pt x="869" y="11550"/>
                    <a:pt x="897" y="11606"/>
                  </a:cubicBezTo>
                  <a:cubicBezTo>
                    <a:pt x="935" y="11677"/>
                    <a:pt x="960" y="11750"/>
                    <a:pt x="963" y="11827"/>
                  </a:cubicBezTo>
                  <a:cubicBezTo>
                    <a:pt x="963" y="11855"/>
                    <a:pt x="970" y="11911"/>
                    <a:pt x="974" y="11967"/>
                  </a:cubicBezTo>
                  <a:lnTo>
                    <a:pt x="981" y="12009"/>
                  </a:lnTo>
                  <a:cubicBezTo>
                    <a:pt x="988" y="12086"/>
                    <a:pt x="991" y="12160"/>
                    <a:pt x="991" y="12230"/>
                  </a:cubicBezTo>
                  <a:cubicBezTo>
                    <a:pt x="991" y="12363"/>
                    <a:pt x="970" y="12464"/>
                    <a:pt x="879" y="12482"/>
                  </a:cubicBezTo>
                  <a:cubicBezTo>
                    <a:pt x="862" y="12496"/>
                    <a:pt x="827" y="12573"/>
                    <a:pt x="809" y="12702"/>
                  </a:cubicBezTo>
                  <a:cubicBezTo>
                    <a:pt x="806" y="12734"/>
                    <a:pt x="802" y="12765"/>
                    <a:pt x="802" y="12797"/>
                  </a:cubicBezTo>
                  <a:cubicBezTo>
                    <a:pt x="795" y="12846"/>
                    <a:pt x="802" y="12895"/>
                    <a:pt x="823" y="12940"/>
                  </a:cubicBezTo>
                  <a:cubicBezTo>
                    <a:pt x="904" y="12996"/>
                    <a:pt x="942" y="13094"/>
                    <a:pt x="928" y="13189"/>
                  </a:cubicBezTo>
                  <a:cubicBezTo>
                    <a:pt x="928" y="13206"/>
                    <a:pt x="925" y="13224"/>
                    <a:pt x="921" y="13241"/>
                  </a:cubicBezTo>
                  <a:cubicBezTo>
                    <a:pt x="914" y="13266"/>
                    <a:pt x="904" y="13290"/>
                    <a:pt x="893" y="13315"/>
                  </a:cubicBezTo>
                  <a:cubicBezTo>
                    <a:pt x="907" y="13336"/>
                    <a:pt x="921" y="13353"/>
                    <a:pt x="939" y="13371"/>
                  </a:cubicBezTo>
                  <a:cubicBezTo>
                    <a:pt x="988" y="13427"/>
                    <a:pt x="1093" y="13549"/>
                    <a:pt x="963" y="13679"/>
                  </a:cubicBezTo>
                  <a:cubicBezTo>
                    <a:pt x="939" y="13703"/>
                    <a:pt x="921" y="13732"/>
                    <a:pt x="914" y="13767"/>
                  </a:cubicBezTo>
                  <a:cubicBezTo>
                    <a:pt x="914" y="13784"/>
                    <a:pt x="918" y="13802"/>
                    <a:pt x="925" y="13816"/>
                  </a:cubicBezTo>
                  <a:cubicBezTo>
                    <a:pt x="940" y="13838"/>
                    <a:pt x="967" y="13857"/>
                    <a:pt x="1007" y="13857"/>
                  </a:cubicBezTo>
                  <a:cubicBezTo>
                    <a:pt x="1023" y="13857"/>
                    <a:pt x="1041" y="13854"/>
                    <a:pt x="1061" y="13847"/>
                  </a:cubicBezTo>
                  <a:cubicBezTo>
                    <a:pt x="1078" y="13842"/>
                    <a:pt x="1096" y="13840"/>
                    <a:pt x="1114" y="13840"/>
                  </a:cubicBezTo>
                  <a:cubicBezTo>
                    <a:pt x="1157" y="13840"/>
                    <a:pt x="1200" y="13855"/>
                    <a:pt x="1233" y="13882"/>
                  </a:cubicBezTo>
                  <a:cubicBezTo>
                    <a:pt x="1310" y="13942"/>
                    <a:pt x="1341" y="14043"/>
                    <a:pt x="1310" y="14134"/>
                  </a:cubicBezTo>
                  <a:cubicBezTo>
                    <a:pt x="1287" y="14189"/>
                    <a:pt x="1236" y="14223"/>
                    <a:pt x="1179" y="14223"/>
                  </a:cubicBezTo>
                  <a:cubicBezTo>
                    <a:pt x="1173" y="14223"/>
                    <a:pt x="1168" y="14222"/>
                    <a:pt x="1163" y="14222"/>
                  </a:cubicBezTo>
                  <a:cubicBezTo>
                    <a:pt x="1114" y="14222"/>
                    <a:pt x="1047" y="14222"/>
                    <a:pt x="998" y="14229"/>
                  </a:cubicBezTo>
                  <a:cubicBezTo>
                    <a:pt x="1149" y="14348"/>
                    <a:pt x="1215" y="14449"/>
                    <a:pt x="1201" y="14544"/>
                  </a:cubicBezTo>
                  <a:cubicBezTo>
                    <a:pt x="1191" y="14610"/>
                    <a:pt x="1142" y="14663"/>
                    <a:pt x="1054" y="14694"/>
                  </a:cubicBezTo>
                  <a:cubicBezTo>
                    <a:pt x="977" y="14726"/>
                    <a:pt x="981" y="14743"/>
                    <a:pt x="1002" y="14841"/>
                  </a:cubicBezTo>
                  <a:cubicBezTo>
                    <a:pt x="1026" y="14918"/>
                    <a:pt x="1030" y="14999"/>
                    <a:pt x="1012" y="15076"/>
                  </a:cubicBezTo>
                  <a:cubicBezTo>
                    <a:pt x="1002" y="15139"/>
                    <a:pt x="1009" y="15198"/>
                    <a:pt x="1030" y="15258"/>
                  </a:cubicBezTo>
                  <a:lnTo>
                    <a:pt x="1037" y="15282"/>
                  </a:lnTo>
                  <a:cubicBezTo>
                    <a:pt x="1061" y="15352"/>
                    <a:pt x="1082" y="15419"/>
                    <a:pt x="1051" y="15478"/>
                  </a:cubicBezTo>
                  <a:cubicBezTo>
                    <a:pt x="1044" y="15485"/>
                    <a:pt x="1040" y="15496"/>
                    <a:pt x="1033" y="15503"/>
                  </a:cubicBezTo>
                  <a:cubicBezTo>
                    <a:pt x="1012" y="15527"/>
                    <a:pt x="984" y="15541"/>
                    <a:pt x="953" y="15552"/>
                  </a:cubicBezTo>
                  <a:cubicBezTo>
                    <a:pt x="942" y="15555"/>
                    <a:pt x="935" y="15559"/>
                    <a:pt x="935" y="15583"/>
                  </a:cubicBezTo>
                  <a:cubicBezTo>
                    <a:pt x="935" y="15597"/>
                    <a:pt x="935" y="15611"/>
                    <a:pt x="935" y="15625"/>
                  </a:cubicBezTo>
                  <a:cubicBezTo>
                    <a:pt x="935" y="15636"/>
                    <a:pt x="935" y="15643"/>
                    <a:pt x="939" y="15657"/>
                  </a:cubicBezTo>
                  <a:cubicBezTo>
                    <a:pt x="946" y="15744"/>
                    <a:pt x="963" y="15902"/>
                    <a:pt x="778" y="15930"/>
                  </a:cubicBezTo>
                  <a:cubicBezTo>
                    <a:pt x="697" y="15941"/>
                    <a:pt x="694" y="15969"/>
                    <a:pt x="683" y="16053"/>
                  </a:cubicBezTo>
                  <a:cubicBezTo>
                    <a:pt x="676" y="16119"/>
                    <a:pt x="662" y="16210"/>
                    <a:pt x="578" y="16277"/>
                  </a:cubicBezTo>
                  <a:cubicBezTo>
                    <a:pt x="561" y="16294"/>
                    <a:pt x="557" y="16308"/>
                    <a:pt x="610" y="16399"/>
                  </a:cubicBezTo>
                  <a:cubicBezTo>
                    <a:pt x="655" y="16473"/>
                    <a:pt x="736" y="16616"/>
                    <a:pt x="589" y="16707"/>
                  </a:cubicBezTo>
                  <a:cubicBezTo>
                    <a:pt x="526" y="16749"/>
                    <a:pt x="515" y="16816"/>
                    <a:pt x="505" y="16889"/>
                  </a:cubicBezTo>
                  <a:cubicBezTo>
                    <a:pt x="491" y="16970"/>
                    <a:pt x="473" y="17096"/>
                    <a:pt x="323" y="17096"/>
                  </a:cubicBezTo>
                  <a:cubicBezTo>
                    <a:pt x="193" y="17096"/>
                    <a:pt x="109" y="17299"/>
                    <a:pt x="95" y="17404"/>
                  </a:cubicBezTo>
                  <a:cubicBezTo>
                    <a:pt x="88" y="17435"/>
                    <a:pt x="81" y="17467"/>
                    <a:pt x="71" y="17498"/>
                  </a:cubicBezTo>
                  <a:cubicBezTo>
                    <a:pt x="39" y="17614"/>
                    <a:pt x="1" y="17757"/>
                    <a:pt x="95" y="17859"/>
                  </a:cubicBezTo>
                  <a:cubicBezTo>
                    <a:pt x="99" y="17866"/>
                    <a:pt x="106" y="17873"/>
                    <a:pt x="113" y="17880"/>
                  </a:cubicBezTo>
                  <a:cubicBezTo>
                    <a:pt x="120" y="17891"/>
                    <a:pt x="130" y="17905"/>
                    <a:pt x="137" y="17919"/>
                  </a:cubicBezTo>
                  <a:cubicBezTo>
                    <a:pt x="141" y="17926"/>
                    <a:pt x="144" y="17933"/>
                    <a:pt x="148" y="17940"/>
                  </a:cubicBezTo>
                  <a:cubicBezTo>
                    <a:pt x="176" y="18003"/>
                    <a:pt x="179" y="18073"/>
                    <a:pt x="165" y="18139"/>
                  </a:cubicBezTo>
                  <a:cubicBezTo>
                    <a:pt x="158" y="18181"/>
                    <a:pt x="155" y="18192"/>
                    <a:pt x="165" y="18199"/>
                  </a:cubicBezTo>
                  <a:cubicBezTo>
                    <a:pt x="165" y="18202"/>
                    <a:pt x="169" y="18202"/>
                    <a:pt x="172" y="18206"/>
                  </a:cubicBezTo>
                  <a:cubicBezTo>
                    <a:pt x="227" y="18220"/>
                    <a:pt x="283" y="18227"/>
                    <a:pt x="336" y="18227"/>
                  </a:cubicBezTo>
                  <a:cubicBezTo>
                    <a:pt x="347" y="18227"/>
                    <a:pt x="358" y="18227"/>
                    <a:pt x="368" y="18227"/>
                  </a:cubicBezTo>
                  <a:cubicBezTo>
                    <a:pt x="512" y="18230"/>
                    <a:pt x="645" y="18234"/>
                    <a:pt x="701" y="18314"/>
                  </a:cubicBezTo>
                  <a:cubicBezTo>
                    <a:pt x="729" y="18353"/>
                    <a:pt x="732" y="18402"/>
                    <a:pt x="715" y="18444"/>
                  </a:cubicBezTo>
                  <a:cubicBezTo>
                    <a:pt x="708" y="18468"/>
                    <a:pt x="701" y="18489"/>
                    <a:pt x="697" y="18514"/>
                  </a:cubicBezTo>
                  <a:cubicBezTo>
                    <a:pt x="683" y="18594"/>
                    <a:pt x="676" y="18671"/>
                    <a:pt x="680" y="18752"/>
                  </a:cubicBezTo>
                  <a:cubicBezTo>
                    <a:pt x="676" y="18832"/>
                    <a:pt x="687" y="18909"/>
                    <a:pt x="708" y="18986"/>
                  </a:cubicBezTo>
                  <a:cubicBezTo>
                    <a:pt x="767" y="18997"/>
                    <a:pt x="802" y="19053"/>
                    <a:pt x="841" y="19109"/>
                  </a:cubicBezTo>
                  <a:cubicBezTo>
                    <a:pt x="875" y="19163"/>
                    <a:pt x="905" y="19214"/>
                    <a:pt x="939" y="19214"/>
                  </a:cubicBezTo>
                  <a:cubicBezTo>
                    <a:pt x="940" y="19214"/>
                    <a:pt x="941" y="19214"/>
                    <a:pt x="942" y="19214"/>
                  </a:cubicBezTo>
                  <a:cubicBezTo>
                    <a:pt x="993" y="19207"/>
                    <a:pt x="1309" y="19168"/>
                    <a:pt x="1593" y="19168"/>
                  </a:cubicBezTo>
                  <a:cubicBezTo>
                    <a:pt x="1725" y="19168"/>
                    <a:pt x="1849" y="19177"/>
                    <a:pt x="1936" y="19200"/>
                  </a:cubicBezTo>
                  <a:cubicBezTo>
                    <a:pt x="1947" y="19203"/>
                    <a:pt x="1961" y="19207"/>
                    <a:pt x="1975" y="19210"/>
                  </a:cubicBezTo>
                  <a:lnTo>
                    <a:pt x="1989" y="19217"/>
                  </a:lnTo>
                  <a:lnTo>
                    <a:pt x="2014" y="19224"/>
                  </a:lnTo>
                  <a:lnTo>
                    <a:pt x="2031" y="19231"/>
                  </a:lnTo>
                  <a:lnTo>
                    <a:pt x="2056" y="19242"/>
                  </a:lnTo>
                  <a:lnTo>
                    <a:pt x="2070" y="19252"/>
                  </a:lnTo>
                  <a:lnTo>
                    <a:pt x="2094" y="19263"/>
                  </a:lnTo>
                  <a:lnTo>
                    <a:pt x="2112" y="19273"/>
                  </a:lnTo>
                  <a:lnTo>
                    <a:pt x="2133" y="19287"/>
                  </a:lnTo>
                  <a:lnTo>
                    <a:pt x="2150" y="19298"/>
                  </a:lnTo>
                  <a:lnTo>
                    <a:pt x="2171" y="19312"/>
                  </a:lnTo>
                  <a:lnTo>
                    <a:pt x="2185" y="19326"/>
                  </a:lnTo>
                  <a:lnTo>
                    <a:pt x="2206" y="19340"/>
                  </a:lnTo>
                  <a:lnTo>
                    <a:pt x="2224" y="19354"/>
                  </a:lnTo>
                  <a:lnTo>
                    <a:pt x="2231" y="19357"/>
                  </a:lnTo>
                  <a:cubicBezTo>
                    <a:pt x="2245" y="19357"/>
                    <a:pt x="2262" y="19354"/>
                    <a:pt x="2280" y="19354"/>
                  </a:cubicBezTo>
                  <a:cubicBezTo>
                    <a:pt x="2367" y="19361"/>
                    <a:pt x="2451" y="19378"/>
                    <a:pt x="2532" y="19410"/>
                  </a:cubicBezTo>
                  <a:cubicBezTo>
                    <a:pt x="2577" y="19427"/>
                    <a:pt x="2623" y="19441"/>
                    <a:pt x="2672" y="19448"/>
                  </a:cubicBezTo>
                  <a:cubicBezTo>
                    <a:pt x="2633" y="19385"/>
                    <a:pt x="2588" y="19322"/>
                    <a:pt x="2535" y="19266"/>
                  </a:cubicBezTo>
                  <a:cubicBezTo>
                    <a:pt x="2430" y="19140"/>
                    <a:pt x="2367" y="19056"/>
                    <a:pt x="2374" y="18986"/>
                  </a:cubicBezTo>
                  <a:cubicBezTo>
                    <a:pt x="2374" y="18920"/>
                    <a:pt x="2364" y="18853"/>
                    <a:pt x="2346" y="18787"/>
                  </a:cubicBezTo>
                  <a:cubicBezTo>
                    <a:pt x="2329" y="18720"/>
                    <a:pt x="2318" y="18650"/>
                    <a:pt x="2315" y="18580"/>
                  </a:cubicBezTo>
                  <a:cubicBezTo>
                    <a:pt x="2315" y="18559"/>
                    <a:pt x="2315" y="18535"/>
                    <a:pt x="2311" y="18503"/>
                  </a:cubicBezTo>
                  <a:cubicBezTo>
                    <a:pt x="2297" y="18356"/>
                    <a:pt x="2283" y="18136"/>
                    <a:pt x="2451" y="18017"/>
                  </a:cubicBezTo>
                  <a:cubicBezTo>
                    <a:pt x="2500" y="17978"/>
                    <a:pt x="2546" y="17936"/>
                    <a:pt x="2588" y="17884"/>
                  </a:cubicBezTo>
                  <a:cubicBezTo>
                    <a:pt x="2633" y="17832"/>
                    <a:pt x="2678" y="17781"/>
                    <a:pt x="2754" y="17781"/>
                  </a:cubicBezTo>
                  <a:cubicBezTo>
                    <a:pt x="2767" y="17781"/>
                    <a:pt x="2780" y="17783"/>
                    <a:pt x="2794" y="17785"/>
                  </a:cubicBezTo>
                  <a:cubicBezTo>
                    <a:pt x="2799" y="17786"/>
                    <a:pt x="2803" y="17786"/>
                    <a:pt x="2808" y="17786"/>
                  </a:cubicBezTo>
                  <a:cubicBezTo>
                    <a:pt x="2849" y="17786"/>
                    <a:pt x="2892" y="17772"/>
                    <a:pt x="2924" y="17743"/>
                  </a:cubicBezTo>
                  <a:cubicBezTo>
                    <a:pt x="3008" y="17673"/>
                    <a:pt x="3057" y="17568"/>
                    <a:pt x="3053" y="17460"/>
                  </a:cubicBezTo>
                  <a:cubicBezTo>
                    <a:pt x="3067" y="17145"/>
                    <a:pt x="3214" y="17022"/>
                    <a:pt x="3456" y="16816"/>
                  </a:cubicBezTo>
                  <a:lnTo>
                    <a:pt x="3466" y="16805"/>
                  </a:lnTo>
                  <a:cubicBezTo>
                    <a:pt x="3575" y="16718"/>
                    <a:pt x="3687" y="16637"/>
                    <a:pt x="3802" y="16564"/>
                  </a:cubicBezTo>
                  <a:cubicBezTo>
                    <a:pt x="3914" y="16490"/>
                    <a:pt x="4061" y="16392"/>
                    <a:pt x="4090" y="16343"/>
                  </a:cubicBezTo>
                  <a:cubicBezTo>
                    <a:pt x="4047" y="16256"/>
                    <a:pt x="4090" y="16119"/>
                    <a:pt x="4135" y="15976"/>
                  </a:cubicBezTo>
                  <a:cubicBezTo>
                    <a:pt x="4156" y="15916"/>
                    <a:pt x="4170" y="15857"/>
                    <a:pt x="4181" y="15793"/>
                  </a:cubicBezTo>
                  <a:cubicBezTo>
                    <a:pt x="4149" y="15765"/>
                    <a:pt x="3991" y="15751"/>
                    <a:pt x="3907" y="15741"/>
                  </a:cubicBezTo>
                  <a:cubicBezTo>
                    <a:pt x="3830" y="15737"/>
                    <a:pt x="3753" y="15723"/>
                    <a:pt x="3680" y="15702"/>
                  </a:cubicBezTo>
                  <a:cubicBezTo>
                    <a:pt x="3578" y="15667"/>
                    <a:pt x="3326" y="15503"/>
                    <a:pt x="3228" y="15251"/>
                  </a:cubicBezTo>
                  <a:cubicBezTo>
                    <a:pt x="3169" y="15093"/>
                    <a:pt x="3183" y="14918"/>
                    <a:pt x="3267" y="14775"/>
                  </a:cubicBezTo>
                  <a:cubicBezTo>
                    <a:pt x="3389" y="14551"/>
                    <a:pt x="3652" y="14278"/>
                    <a:pt x="4219" y="14229"/>
                  </a:cubicBezTo>
                  <a:lnTo>
                    <a:pt x="4230" y="14229"/>
                  </a:lnTo>
                  <a:cubicBezTo>
                    <a:pt x="4233" y="14208"/>
                    <a:pt x="4233" y="14187"/>
                    <a:pt x="4233" y="14166"/>
                  </a:cubicBezTo>
                  <a:cubicBezTo>
                    <a:pt x="4233" y="14099"/>
                    <a:pt x="4233" y="14001"/>
                    <a:pt x="4321" y="13949"/>
                  </a:cubicBezTo>
                  <a:cubicBezTo>
                    <a:pt x="4408" y="13896"/>
                    <a:pt x="4436" y="13816"/>
                    <a:pt x="4436" y="13630"/>
                  </a:cubicBezTo>
                  <a:cubicBezTo>
                    <a:pt x="4436" y="13406"/>
                    <a:pt x="4436" y="13035"/>
                    <a:pt x="4713" y="13007"/>
                  </a:cubicBezTo>
                  <a:cubicBezTo>
                    <a:pt x="4765" y="13003"/>
                    <a:pt x="4814" y="12986"/>
                    <a:pt x="4860" y="12958"/>
                  </a:cubicBezTo>
                  <a:lnTo>
                    <a:pt x="4846" y="12951"/>
                  </a:lnTo>
                  <a:cubicBezTo>
                    <a:pt x="4744" y="12923"/>
                    <a:pt x="4671" y="12839"/>
                    <a:pt x="4678" y="12758"/>
                  </a:cubicBezTo>
                  <a:cubicBezTo>
                    <a:pt x="4681" y="12716"/>
                    <a:pt x="4709" y="12625"/>
                    <a:pt x="4881" y="12604"/>
                  </a:cubicBezTo>
                  <a:cubicBezTo>
                    <a:pt x="4895" y="12601"/>
                    <a:pt x="4909" y="12600"/>
                    <a:pt x="4924" y="12600"/>
                  </a:cubicBezTo>
                  <a:cubicBezTo>
                    <a:pt x="5011" y="12600"/>
                    <a:pt x="5093" y="12653"/>
                    <a:pt x="5129" y="12734"/>
                  </a:cubicBezTo>
                  <a:cubicBezTo>
                    <a:pt x="5154" y="12776"/>
                    <a:pt x="5161" y="12786"/>
                    <a:pt x="5192" y="12786"/>
                  </a:cubicBezTo>
                  <a:cubicBezTo>
                    <a:pt x="5262" y="12786"/>
                    <a:pt x="5381" y="12699"/>
                    <a:pt x="5409" y="12608"/>
                  </a:cubicBezTo>
                  <a:cubicBezTo>
                    <a:pt x="5430" y="12559"/>
                    <a:pt x="5409" y="12506"/>
                    <a:pt x="5367" y="12482"/>
                  </a:cubicBezTo>
                  <a:cubicBezTo>
                    <a:pt x="5329" y="12452"/>
                    <a:pt x="5300" y="12439"/>
                    <a:pt x="5275" y="12439"/>
                  </a:cubicBezTo>
                  <a:cubicBezTo>
                    <a:pt x="5240" y="12439"/>
                    <a:pt x="5212" y="12465"/>
                    <a:pt x="5175" y="12503"/>
                  </a:cubicBezTo>
                  <a:cubicBezTo>
                    <a:pt x="5140" y="12545"/>
                    <a:pt x="5094" y="12576"/>
                    <a:pt x="5045" y="12590"/>
                  </a:cubicBezTo>
                  <a:cubicBezTo>
                    <a:pt x="5033" y="12593"/>
                    <a:pt x="5021" y="12595"/>
                    <a:pt x="5009" y="12595"/>
                  </a:cubicBezTo>
                  <a:cubicBezTo>
                    <a:pt x="4937" y="12595"/>
                    <a:pt x="4876" y="12545"/>
                    <a:pt x="4828" y="12506"/>
                  </a:cubicBezTo>
                  <a:cubicBezTo>
                    <a:pt x="4793" y="12478"/>
                    <a:pt x="4755" y="12447"/>
                    <a:pt x="4727" y="12447"/>
                  </a:cubicBezTo>
                  <a:cubicBezTo>
                    <a:pt x="4699" y="12447"/>
                    <a:pt x="4629" y="12436"/>
                    <a:pt x="4608" y="12324"/>
                  </a:cubicBezTo>
                  <a:cubicBezTo>
                    <a:pt x="4597" y="12272"/>
                    <a:pt x="4594" y="12216"/>
                    <a:pt x="4597" y="12160"/>
                  </a:cubicBezTo>
                  <a:cubicBezTo>
                    <a:pt x="4601" y="12107"/>
                    <a:pt x="4594" y="12051"/>
                    <a:pt x="4583" y="11995"/>
                  </a:cubicBezTo>
                  <a:cubicBezTo>
                    <a:pt x="4538" y="11894"/>
                    <a:pt x="4443" y="11589"/>
                    <a:pt x="4566" y="11421"/>
                  </a:cubicBezTo>
                  <a:cubicBezTo>
                    <a:pt x="4596" y="11380"/>
                    <a:pt x="4638" y="11363"/>
                    <a:pt x="4688" y="11363"/>
                  </a:cubicBezTo>
                  <a:cubicBezTo>
                    <a:pt x="4774" y="11363"/>
                    <a:pt x="4885" y="11412"/>
                    <a:pt x="5014" y="11470"/>
                  </a:cubicBezTo>
                  <a:cubicBezTo>
                    <a:pt x="5164" y="11536"/>
                    <a:pt x="5336" y="11613"/>
                    <a:pt x="5497" y="11624"/>
                  </a:cubicBezTo>
                  <a:cubicBezTo>
                    <a:pt x="5519" y="11626"/>
                    <a:pt x="5542" y="11627"/>
                    <a:pt x="5564" y="11627"/>
                  </a:cubicBezTo>
                  <a:cubicBezTo>
                    <a:pt x="5720" y="11627"/>
                    <a:pt x="5872" y="11574"/>
                    <a:pt x="5994" y="11473"/>
                  </a:cubicBezTo>
                  <a:cubicBezTo>
                    <a:pt x="6025" y="11449"/>
                    <a:pt x="6050" y="11414"/>
                    <a:pt x="6057" y="11375"/>
                  </a:cubicBezTo>
                  <a:cubicBezTo>
                    <a:pt x="6053" y="11337"/>
                    <a:pt x="6043" y="11298"/>
                    <a:pt x="6032" y="11260"/>
                  </a:cubicBezTo>
                  <a:cubicBezTo>
                    <a:pt x="5994" y="11130"/>
                    <a:pt x="5938" y="10931"/>
                    <a:pt x="6134" y="10798"/>
                  </a:cubicBezTo>
                  <a:cubicBezTo>
                    <a:pt x="6201" y="10756"/>
                    <a:pt x="6208" y="10731"/>
                    <a:pt x="6211" y="10728"/>
                  </a:cubicBezTo>
                  <a:cubicBezTo>
                    <a:pt x="6211" y="10714"/>
                    <a:pt x="6190" y="10682"/>
                    <a:pt x="6169" y="10651"/>
                  </a:cubicBezTo>
                  <a:cubicBezTo>
                    <a:pt x="6134" y="10602"/>
                    <a:pt x="6102" y="10546"/>
                    <a:pt x="6081" y="10486"/>
                  </a:cubicBezTo>
                  <a:cubicBezTo>
                    <a:pt x="6036" y="10336"/>
                    <a:pt x="6095" y="10220"/>
                    <a:pt x="6173" y="10175"/>
                  </a:cubicBezTo>
                  <a:cubicBezTo>
                    <a:pt x="6201" y="10156"/>
                    <a:pt x="6232" y="10148"/>
                    <a:pt x="6262" y="10148"/>
                  </a:cubicBezTo>
                  <a:cubicBezTo>
                    <a:pt x="6308" y="10148"/>
                    <a:pt x="6353" y="10167"/>
                    <a:pt x="6386" y="10203"/>
                  </a:cubicBezTo>
                  <a:cubicBezTo>
                    <a:pt x="6409" y="10220"/>
                    <a:pt x="6491" y="10230"/>
                    <a:pt x="6615" y="10230"/>
                  </a:cubicBezTo>
                  <a:cubicBezTo>
                    <a:pt x="6863" y="10230"/>
                    <a:pt x="7279" y="10191"/>
                    <a:pt x="7734" y="10098"/>
                  </a:cubicBezTo>
                  <a:cubicBezTo>
                    <a:pt x="8371" y="9968"/>
                    <a:pt x="8704" y="9748"/>
                    <a:pt x="8725" y="9639"/>
                  </a:cubicBezTo>
                  <a:cubicBezTo>
                    <a:pt x="8749" y="9523"/>
                    <a:pt x="8879" y="9355"/>
                    <a:pt x="9061" y="9131"/>
                  </a:cubicBezTo>
                  <a:cubicBezTo>
                    <a:pt x="9120" y="9058"/>
                    <a:pt x="9176" y="8984"/>
                    <a:pt x="9229" y="8904"/>
                  </a:cubicBezTo>
                  <a:cubicBezTo>
                    <a:pt x="9257" y="8858"/>
                    <a:pt x="9264" y="8802"/>
                    <a:pt x="9239" y="8753"/>
                  </a:cubicBezTo>
                  <a:cubicBezTo>
                    <a:pt x="9211" y="8694"/>
                    <a:pt x="9141" y="8652"/>
                    <a:pt x="9047" y="8638"/>
                  </a:cubicBezTo>
                  <a:cubicBezTo>
                    <a:pt x="8945" y="8627"/>
                    <a:pt x="8854" y="8561"/>
                    <a:pt x="8819" y="8463"/>
                  </a:cubicBezTo>
                  <a:cubicBezTo>
                    <a:pt x="8774" y="8340"/>
                    <a:pt x="8809" y="8172"/>
                    <a:pt x="8910" y="8057"/>
                  </a:cubicBezTo>
                  <a:cubicBezTo>
                    <a:pt x="8942" y="8018"/>
                    <a:pt x="8938" y="7994"/>
                    <a:pt x="8931" y="7976"/>
                  </a:cubicBezTo>
                  <a:cubicBezTo>
                    <a:pt x="8903" y="7910"/>
                    <a:pt x="8784" y="7850"/>
                    <a:pt x="8648" y="7836"/>
                  </a:cubicBezTo>
                  <a:cubicBezTo>
                    <a:pt x="8487" y="7819"/>
                    <a:pt x="8206" y="7731"/>
                    <a:pt x="8150" y="7567"/>
                  </a:cubicBezTo>
                  <a:cubicBezTo>
                    <a:pt x="8133" y="7514"/>
                    <a:pt x="8129" y="7437"/>
                    <a:pt x="8224" y="7349"/>
                  </a:cubicBezTo>
                  <a:cubicBezTo>
                    <a:pt x="8282" y="7291"/>
                    <a:pt x="8336" y="7264"/>
                    <a:pt x="8388" y="7264"/>
                  </a:cubicBezTo>
                  <a:cubicBezTo>
                    <a:pt x="8401" y="7264"/>
                    <a:pt x="8414" y="7265"/>
                    <a:pt x="8427" y="7269"/>
                  </a:cubicBezTo>
                  <a:lnTo>
                    <a:pt x="8427" y="7262"/>
                  </a:lnTo>
                  <a:lnTo>
                    <a:pt x="8434" y="7241"/>
                  </a:lnTo>
                  <a:lnTo>
                    <a:pt x="8434" y="7234"/>
                  </a:lnTo>
                  <a:cubicBezTo>
                    <a:pt x="8438" y="7223"/>
                    <a:pt x="8438" y="7216"/>
                    <a:pt x="8441" y="7209"/>
                  </a:cubicBezTo>
                  <a:lnTo>
                    <a:pt x="8441" y="7206"/>
                  </a:lnTo>
                  <a:cubicBezTo>
                    <a:pt x="8441" y="7202"/>
                    <a:pt x="8441" y="7195"/>
                    <a:pt x="8445" y="7192"/>
                  </a:cubicBezTo>
                  <a:lnTo>
                    <a:pt x="8445" y="7188"/>
                  </a:lnTo>
                  <a:lnTo>
                    <a:pt x="8445" y="7178"/>
                  </a:lnTo>
                  <a:lnTo>
                    <a:pt x="8434" y="7174"/>
                  </a:lnTo>
                  <a:cubicBezTo>
                    <a:pt x="8329" y="7136"/>
                    <a:pt x="8266" y="7059"/>
                    <a:pt x="8273" y="6800"/>
                  </a:cubicBezTo>
                  <a:cubicBezTo>
                    <a:pt x="8273" y="6688"/>
                    <a:pt x="8298" y="6576"/>
                    <a:pt x="8347" y="6474"/>
                  </a:cubicBezTo>
                  <a:cubicBezTo>
                    <a:pt x="8382" y="6394"/>
                    <a:pt x="8417" y="6313"/>
                    <a:pt x="8420" y="6089"/>
                  </a:cubicBezTo>
                  <a:cubicBezTo>
                    <a:pt x="8431" y="5876"/>
                    <a:pt x="8469" y="5666"/>
                    <a:pt x="8539" y="5466"/>
                  </a:cubicBezTo>
                  <a:cubicBezTo>
                    <a:pt x="8574" y="5368"/>
                    <a:pt x="8599" y="5263"/>
                    <a:pt x="8606" y="5158"/>
                  </a:cubicBezTo>
                  <a:cubicBezTo>
                    <a:pt x="8606" y="5140"/>
                    <a:pt x="8606" y="5126"/>
                    <a:pt x="8609" y="5112"/>
                  </a:cubicBezTo>
                  <a:lnTo>
                    <a:pt x="8609" y="5105"/>
                  </a:lnTo>
                  <a:cubicBezTo>
                    <a:pt x="8613" y="5074"/>
                    <a:pt x="8623" y="5046"/>
                    <a:pt x="8637" y="5018"/>
                  </a:cubicBezTo>
                  <a:cubicBezTo>
                    <a:pt x="8658" y="4972"/>
                    <a:pt x="8683" y="4934"/>
                    <a:pt x="8711" y="4895"/>
                  </a:cubicBezTo>
                  <a:lnTo>
                    <a:pt x="8711" y="4895"/>
                  </a:lnTo>
                  <a:lnTo>
                    <a:pt x="8704" y="4902"/>
                  </a:lnTo>
                  <a:lnTo>
                    <a:pt x="8756" y="4843"/>
                  </a:lnTo>
                  <a:cubicBezTo>
                    <a:pt x="8802" y="4787"/>
                    <a:pt x="8858" y="4731"/>
                    <a:pt x="8914" y="4668"/>
                  </a:cubicBezTo>
                  <a:cubicBezTo>
                    <a:pt x="8987" y="4591"/>
                    <a:pt x="9064" y="4503"/>
                    <a:pt x="9138" y="4412"/>
                  </a:cubicBezTo>
                  <a:cubicBezTo>
                    <a:pt x="9183" y="4360"/>
                    <a:pt x="9222" y="4300"/>
                    <a:pt x="9260" y="4241"/>
                  </a:cubicBezTo>
                  <a:cubicBezTo>
                    <a:pt x="9446" y="3936"/>
                    <a:pt x="9817" y="3555"/>
                    <a:pt x="10072" y="3344"/>
                  </a:cubicBezTo>
                  <a:cubicBezTo>
                    <a:pt x="10121" y="3302"/>
                    <a:pt x="10174" y="3264"/>
                    <a:pt x="10226" y="3225"/>
                  </a:cubicBezTo>
                  <a:cubicBezTo>
                    <a:pt x="10314" y="3173"/>
                    <a:pt x="10405" y="3127"/>
                    <a:pt x="10503" y="3089"/>
                  </a:cubicBezTo>
                  <a:lnTo>
                    <a:pt x="10545" y="3068"/>
                  </a:lnTo>
                  <a:cubicBezTo>
                    <a:pt x="10671" y="3015"/>
                    <a:pt x="10846" y="2938"/>
                    <a:pt x="10867" y="2889"/>
                  </a:cubicBezTo>
                  <a:cubicBezTo>
                    <a:pt x="10867" y="2886"/>
                    <a:pt x="10871" y="2882"/>
                    <a:pt x="10871" y="2875"/>
                  </a:cubicBezTo>
                  <a:cubicBezTo>
                    <a:pt x="10885" y="2791"/>
                    <a:pt x="10888" y="2704"/>
                    <a:pt x="10881" y="2616"/>
                  </a:cubicBezTo>
                  <a:cubicBezTo>
                    <a:pt x="10881" y="2592"/>
                    <a:pt x="10878" y="2564"/>
                    <a:pt x="10874" y="2536"/>
                  </a:cubicBezTo>
                  <a:lnTo>
                    <a:pt x="10874" y="2529"/>
                  </a:lnTo>
                  <a:cubicBezTo>
                    <a:pt x="10871" y="2501"/>
                    <a:pt x="10867" y="2469"/>
                    <a:pt x="10864" y="2441"/>
                  </a:cubicBezTo>
                  <a:lnTo>
                    <a:pt x="10864" y="2431"/>
                  </a:lnTo>
                  <a:cubicBezTo>
                    <a:pt x="10864" y="2413"/>
                    <a:pt x="10860" y="2396"/>
                    <a:pt x="10857" y="2378"/>
                  </a:cubicBezTo>
                  <a:cubicBezTo>
                    <a:pt x="10857" y="2361"/>
                    <a:pt x="10853" y="2354"/>
                    <a:pt x="10853" y="2343"/>
                  </a:cubicBezTo>
                  <a:cubicBezTo>
                    <a:pt x="10839" y="2242"/>
                    <a:pt x="10818" y="2161"/>
                    <a:pt x="10797" y="2137"/>
                  </a:cubicBezTo>
                  <a:cubicBezTo>
                    <a:pt x="10782" y="2130"/>
                    <a:pt x="10735" y="2119"/>
                    <a:pt x="10609" y="2119"/>
                  </a:cubicBezTo>
                  <a:cubicBezTo>
                    <a:pt x="10593" y="2119"/>
                    <a:pt x="10577" y="2119"/>
                    <a:pt x="10559" y="2119"/>
                  </a:cubicBezTo>
                  <a:lnTo>
                    <a:pt x="10542" y="2119"/>
                  </a:lnTo>
                  <a:lnTo>
                    <a:pt x="10542" y="2130"/>
                  </a:lnTo>
                  <a:lnTo>
                    <a:pt x="10542" y="2151"/>
                  </a:lnTo>
                  <a:lnTo>
                    <a:pt x="10542" y="2175"/>
                  </a:lnTo>
                  <a:lnTo>
                    <a:pt x="10542" y="2196"/>
                  </a:lnTo>
                  <a:lnTo>
                    <a:pt x="10542" y="2224"/>
                  </a:lnTo>
                  <a:lnTo>
                    <a:pt x="10542" y="2245"/>
                  </a:lnTo>
                  <a:cubicBezTo>
                    <a:pt x="10542" y="2252"/>
                    <a:pt x="10542" y="2266"/>
                    <a:pt x="10538" y="2277"/>
                  </a:cubicBezTo>
                  <a:cubicBezTo>
                    <a:pt x="10535" y="2287"/>
                    <a:pt x="10538" y="2291"/>
                    <a:pt x="10538" y="2298"/>
                  </a:cubicBezTo>
                  <a:cubicBezTo>
                    <a:pt x="10538" y="2305"/>
                    <a:pt x="10535" y="2319"/>
                    <a:pt x="10535" y="2333"/>
                  </a:cubicBezTo>
                  <a:cubicBezTo>
                    <a:pt x="10535" y="2343"/>
                    <a:pt x="10535" y="2347"/>
                    <a:pt x="10531" y="2354"/>
                  </a:cubicBezTo>
                  <a:cubicBezTo>
                    <a:pt x="10528" y="2361"/>
                    <a:pt x="10528" y="2378"/>
                    <a:pt x="10528" y="2389"/>
                  </a:cubicBezTo>
                  <a:cubicBezTo>
                    <a:pt x="10524" y="2399"/>
                    <a:pt x="10524" y="2403"/>
                    <a:pt x="10524" y="2413"/>
                  </a:cubicBezTo>
                  <a:cubicBezTo>
                    <a:pt x="10521" y="2420"/>
                    <a:pt x="10517" y="2434"/>
                    <a:pt x="10517" y="2448"/>
                  </a:cubicBezTo>
                  <a:lnTo>
                    <a:pt x="10510" y="2473"/>
                  </a:lnTo>
                  <a:cubicBezTo>
                    <a:pt x="10510" y="2483"/>
                    <a:pt x="10507" y="2494"/>
                    <a:pt x="10503" y="2508"/>
                  </a:cubicBezTo>
                  <a:lnTo>
                    <a:pt x="10500" y="2532"/>
                  </a:lnTo>
                  <a:cubicBezTo>
                    <a:pt x="10496" y="2543"/>
                    <a:pt x="10493" y="2557"/>
                    <a:pt x="10489" y="2567"/>
                  </a:cubicBezTo>
                  <a:lnTo>
                    <a:pt x="10482" y="2592"/>
                  </a:lnTo>
                  <a:cubicBezTo>
                    <a:pt x="10479" y="2602"/>
                    <a:pt x="10475" y="2613"/>
                    <a:pt x="10472" y="2623"/>
                  </a:cubicBezTo>
                  <a:cubicBezTo>
                    <a:pt x="10468" y="2637"/>
                    <a:pt x="10468" y="2641"/>
                    <a:pt x="10465" y="2648"/>
                  </a:cubicBezTo>
                  <a:cubicBezTo>
                    <a:pt x="10461" y="2658"/>
                    <a:pt x="10458" y="2669"/>
                    <a:pt x="10454" y="2683"/>
                  </a:cubicBezTo>
                  <a:cubicBezTo>
                    <a:pt x="10451" y="2693"/>
                    <a:pt x="10447" y="2697"/>
                    <a:pt x="10444" y="2704"/>
                  </a:cubicBezTo>
                  <a:cubicBezTo>
                    <a:pt x="10444" y="2714"/>
                    <a:pt x="10437" y="2725"/>
                    <a:pt x="10433" y="2735"/>
                  </a:cubicBezTo>
                  <a:cubicBezTo>
                    <a:pt x="10430" y="2746"/>
                    <a:pt x="10426" y="2749"/>
                    <a:pt x="10423" y="2756"/>
                  </a:cubicBezTo>
                  <a:cubicBezTo>
                    <a:pt x="10419" y="2763"/>
                    <a:pt x="10416" y="2777"/>
                    <a:pt x="10412" y="2784"/>
                  </a:cubicBezTo>
                  <a:cubicBezTo>
                    <a:pt x="10405" y="2795"/>
                    <a:pt x="10405" y="2798"/>
                    <a:pt x="10402" y="2805"/>
                  </a:cubicBezTo>
                  <a:cubicBezTo>
                    <a:pt x="10398" y="2812"/>
                    <a:pt x="10391" y="2823"/>
                    <a:pt x="10388" y="2833"/>
                  </a:cubicBezTo>
                  <a:cubicBezTo>
                    <a:pt x="10381" y="2840"/>
                    <a:pt x="10381" y="2844"/>
                    <a:pt x="10377" y="2851"/>
                  </a:cubicBezTo>
                  <a:cubicBezTo>
                    <a:pt x="10374" y="2854"/>
                    <a:pt x="10367" y="2868"/>
                    <a:pt x="10360" y="2875"/>
                  </a:cubicBezTo>
                  <a:lnTo>
                    <a:pt x="10353" y="2889"/>
                  </a:lnTo>
                  <a:cubicBezTo>
                    <a:pt x="10342" y="2900"/>
                    <a:pt x="10335" y="2910"/>
                    <a:pt x="10325" y="2921"/>
                  </a:cubicBezTo>
                  <a:cubicBezTo>
                    <a:pt x="10295" y="2960"/>
                    <a:pt x="10248" y="2981"/>
                    <a:pt x="10199" y="2981"/>
                  </a:cubicBezTo>
                  <a:cubicBezTo>
                    <a:pt x="10196" y="2981"/>
                    <a:pt x="10192" y="2981"/>
                    <a:pt x="10188" y="2980"/>
                  </a:cubicBezTo>
                  <a:cubicBezTo>
                    <a:pt x="10186" y="2980"/>
                    <a:pt x="10185" y="2980"/>
                    <a:pt x="10183" y="2980"/>
                  </a:cubicBezTo>
                  <a:cubicBezTo>
                    <a:pt x="10131" y="2980"/>
                    <a:pt x="10067" y="3031"/>
                    <a:pt x="10009" y="3082"/>
                  </a:cubicBezTo>
                  <a:cubicBezTo>
                    <a:pt x="9944" y="3139"/>
                    <a:pt x="9875" y="3196"/>
                    <a:pt x="9795" y="3196"/>
                  </a:cubicBezTo>
                  <a:cubicBezTo>
                    <a:pt x="9782" y="3196"/>
                    <a:pt x="9768" y="3194"/>
                    <a:pt x="9754" y="3190"/>
                  </a:cubicBezTo>
                  <a:cubicBezTo>
                    <a:pt x="9751" y="3190"/>
                    <a:pt x="9748" y="3189"/>
                    <a:pt x="9744" y="3189"/>
                  </a:cubicBezTo>
                  <a:cubicBezTo>
                    <a:pt x="9712" y="3189"/>
                    <a:pt x="9661" y="3218"/>
                    <a:pt x="9610" y="3243"/>
                  </a:cubicBezTo>
                  <a:lnTo>
                    <a:pt x="9589" y="3253"/>
                  </a:lnTo>
                  <a:lnTo>
                    <a:pt x="9582" y="3257"/>
                  </a:lnTo>
                  <a:lnTo>
                    <a:pt x="9561" y="3267"/>
                  </a:lnTo>
                  <a:lnTo>
                    <a:pt x="9558" y="3267"/>
                  </a:lnTo>
                  <a:cubicBezTo>
                    <a:pt x="9540" y="3278"/>
                    <a:pt x="9523" y="3285"/>
                    <a:pt x="9505" y="3292"/>
                  </a:cubicBezTo>
                  <a:lnTo>
                    <a:pt x="9498" y="3292"/>
                  </a:lnTo>
                  <a:lnTo>
                    <a:pt x="9477" y="3302"/>
                  </a:lnTo>
                  <a:lnTo>
                    <a:pt x="9470" y="3302"/>
                  </a:lnTo>
                  <a:lnTo>
                    <a:pt x="9442" y="3309"/>
                  </a:lnTo>
                  <a:lnTo>
                    <a:pt x="9418" y="3313"/>
                  </a:lnTo>
                  <a:lnTo>
                    <a:pt x="9351" y="3313"/>
                  </a:lnTo>
                  <a:cubicBezTo>
                    <a:pt x="9344" y="3313"/>
                    <a:pt x="9334" y="3309"/>
                    <a:pt x="9327" y="3306"/>
                  </a:cubicBezTo>
                  <a:lnTo>
                    <a:pt x="9320" y="3306"/>
                  </a:lnTo>
                  <a:lnTo>
                    <a:pt x="9299" y="3299"/>
                  </a:lnTo>
                  <a:lnTo>
                    <a:pt x="9288" y="3295"/>
                  </a:lnTo>
                  <a:cubicBezTo>
                    <a:pt x="9281" y="3292"/>
                    <a:pt x="9271" y="3285"/>
                    <a:pt x="9260" y="3281"/>
                  </a:cubicBezTo>
                  <a:cubicBezTo>
                    <a:pt x="9223" y="3258"/>
                    <a:pt x="9180" y="3251"/>
                    <a:pt x="9134" y="3251"/>
                  </a:cubicBezTo>
                  <a:cubicBezTo>
                    <a:pt x="9096" y="3251"/>
                    <a:pt x="9056" y="3256"/>
                    <a:pt x="9015" y="3260"/>
                  </a:cubicBezTo>
                  <a:cubicBezTo>
                    <a:pt x="8978" y="3265"/>
                    <a:pt x="8939" y="3269"/>
                    <a:pt x="8899" y="3269"/>
                  </a:cubicBezTo>
                  <a:cubicBezTo>
                    <a:pt x="8842" y="3269"/>
                    <a:pt x="8785" y="3260"/>
                    <a:pt x="8735" y="3229"/>
                  </a:cubicBezTo>
                  <a:cubicBezTo>
                    <a:pt x="8721" y="3222"/>
                    <a:pt x="8707" y="3215"/>
                    <a:pt x="8690" y="3211"/>
                  </a:cubicBezTo>
                  <a:cubicBezTo>
                    <a:pt x="8623" y="3201"/>
                    <a:pt x="8557" y="3194"/>
                    <a:pt x="8487" y="3190"/>
                  </a:cubicBezTo>
                  <a:cubicBezTo>
                    <a:pt x="8392" y="3187"/>
                    <a:pt x="8305" y="3180"/>
                    <a:pt x="8249" y="3148"/>
                  </a:cubicBezTo>
                  <a:cubicBezTo>
                    <a:pt x="8238" y="3145"/>
                    <a:pt x="8227" y="3138"/>
                    <a:pt x="8220" y="3127"/>
                  </a:cubicBezTo>
                  <a:cubicBezTo>
                    <a:pt x="8203" y="3110"/>
                    <a:pt x="8196" y="3085"/>
                    <a:pt x="8196" y="3061"/>
                  </a:cubicBezTo>
                  <a:cubicBezTo>
                    <a:pt x="8199" y="3005"/>
                    <a:pt x="8231" y="2956"/>
                    <a:pt x="8277" y="2928"/>
                  </a:cubicBezTo>
                  <a:cubicBezTo>
                    <a:pt x="8326" y="2893"/>
                    <a:pt x="8378" y="2854"/>
                    <a:pt x="8378" y="2697"/>
                  </a:cubicBezTo>
                  <a:cubicBezTo>
                    <a:pt x="8378" y="2508"/>
                    <a:pt x="8539" y="2322"/>
                    <a:pt x="8669" y="2172"/>
                  </a:cubicBezTo>
                  <a:cubicBezTo>
                    <a:pt x="8725" y="2109"/>
                    <a:pt x="8798" y="2021"/>
                    <a:pt x="8809" y="1986"/>
                  </a:cubicBezTo>
                  <a:cubicBezTo>
                    <a:pt x="8767" y="1941"/>
                    <a:pt x="8543" y="1853"/>
                    <a:pt x="8378" y="1783"/>
                  </a:cubicBezTo>
                  <a:cubicBezTo>
                    <a:pt x="8059" y="1657"/>
                    <a:pt x="7863" y="1573"/>
                    <a:pt x="7800" y="1489"/>
                  </a:cubicBezTo>
                  <a:cubicBezTo>
                    <a:pt x="7702" y="1363"/>
                    <a:pt x="7562" y="1233"/>
                    <a:pt x="7237" y="1202"/>
                  </a:cubicBezTo>
                  <a:cubicBezTo>
                    <a:pt x="7097" y="1195"/>
                    <a:pt x="6964" y="1135"/>
                    <a:pt x="6866" y="1034"/>
                  </a:cubicBezTo>
                  <a:lnTo>
                    <a:pt x="6831" y="999"/>
                  </a:lnTo>
                  <a:cubicBezTo>
                    <a:pt x="6761" y="929"/>
                    <a:pt x="6687" y="866"/>
                    <a:pt x="6603" y="813"/>
                  </a:cubicBezTo>
                  <a:cubicBezTo>
                    <a:pt x="6586" y="803"/>
                    <a:pt x="6568" y="792"/>
                    <a:pt x="6551" y="782"/>
                  </a:cubicBezTo>
                  <a:lnTo>
                    <a:pt x="6533" y="768"/>
                  </a:lnTo>
                  <a:lnTo>
                    <a:pt x="6502" y="743"/>
                  </a:lnTo>
                  <a:lnTo>
                    <a:pt x="6477" y="726"/>
                  </a:lnTo>
                  <a:lnTo>
                    <a:pt x="6446" y="701"/>
                  </a:lnTo>
                  <a:lnTo>
                    <a:pt x="6421" y="684"/>
                  </a:lnTo>
                  <a:lnTo>
                    <a:pt x="6390" y="656"/>
                  </a:lnTo>
                  <a:lnTo>
                    <a:pt x="6365" y="635"/>
                  </a:lnTo>
                  <a:lnTo>
                    <a:pt x="6334" y="607"/>
                  </a:lnTo>
                  <a:lnTo>
                    <a:pt x="6309" y="582"/>
                  </a:lnTo>
                  <a:lnTo>
                    <a:pt x="6278" y="554"/>
                  </a:lnTo>
                  <a:lnTo>
                    <a:pt x="6253" y="530"/>
                  </a:lnTo>
                  <a:lnTo>
                    <a:pt x="6222" y="502"/>
                  </a:lnTo>
                  <a:lnTo>
                    <a:pt x="6197" y="477"/>
                  </a:lnTo>
                  <a:lnTo>
                    <a:pt x="6169" y="446"/>
                  </a:lnTo>
                  <a:lnTo>
                    <a:pt x="6144" y="421"/>
                  </a:lnTo>
                  <a:lnTo>
                    <a:pt x="6116" y="390"/>
                  </a:lnTo>
                  <a:lnTo>
                    <a:pt x="6092" y="365"/>
                  </a:lnTo>
                  <a:lnTo>
                    <a:pt x="6064" y="334"/>
                  </a:lnTo>
                  <a:lnTo>
                    <a:pt x="6043" y="309"/>
                  </a:lnTo>
                  <a:lnTo>
                    <a:pt x="6015" y="278"/>
                  </a:lnTo>
                  <a:lnTo>
                    <a:pt x="5994" y="253"/>
                  </a:lnTo>
                  <a:lnTo>
                    <a:pt x="5969" y="222"/>
                  </a:lnTo>
                  <a:lnTo>
                    <a:pt x="5952" y="197"/>
                  </a:lnTo>
                  <a:lnTo>
                    <a:pt x="5927" y="169"/>
                  </a:lnTo>
                  <a:lnTo>
                    <a:pt x="5910" y="148"/>
                  </a:lnTo>
                  <a:lnTo>
                    <a:pt x="5889" y="120"/>
                  </a:lnTo>
                  <a:lnTo>
                    <a:pt x="5875" y="96"/>
                  </a:lnTo>
                  <a:lnTo>
                    <a:pt x="5857" y="71"/>
                  </a:lnTo>
                  <a:lnTo>
                    <a:pt x="5843" y="50"/>
                  </a:lnTo>
                  <a:lnTo>
                    <a:pt x="5836" y="43"/>
                  </a:lnTo>
                  <a:lnTo>
                    <a:pt x="5791" y="36"/>
                  </a:lnTo>
                  <a:cubicBezTo>
                    <a:pt x="5715" y="29"/>
                    <a:pt x="5582" y="15"/>
                    <a:pt x="5487" y="15"/>
                  </a:cubicBezTo>
                  <a:cubicBezTo>
                    <a:pt x="5439" y="15"/>
                    <a:pt x="5400" y="19"/>
                    <a:pt x="5385" y="29"/>
                  </a:cubicBezTo>
                  <a:cubicBezTo>
                    <a:pt x="5364" y="64"/>
                    <a:pt x="5343" y="99"/>
                    <a:pt x="5329" y="138"/>
                  </a:cubicBezTo>
                  <a:lnTo>
                    <a:pt x="5318" y="159"/>
                  </a:lnTo>
                  <a:cubicBezTo>
                    <a:pt x="5248" y="299"/>
                    <a:pt x="5185" y="435"/>
                    <a:pt x="5084" y="435"/>
                  </a:cubicBezTo>
                  <a:cubicBezTo>
                    <a:pt x="5031" y="435"/>
                    <a:pt x="4989" y="404"/>
                    <a:pt x="4958" y="337"/>
                  </a:cubicBezTo>
                  <a:cubicBezTo>
                    <a:pt x="4951" y="327"/>
                    <a:pt x="4947" y="316"/>
                    <a:pt x="4940" y="309"/>
                  </a:cubicBezTo>
                  <a:cubicBezTo>
                    <a:pt x="4849" y="169"/>
                    <a:pt x="4667" y="148"/>
                    <a:pt x="4475" y="127"/>
                  </a:cubicBezTo>
                  <a:lnTo>
                    <a:pt x="4377" y="113"/>
                  </a:lnTo>
                  <a:cubicBezTo>
                    <a:pt x="4300" y="103"/>
                    <a:pt x="4230" y="75"/>
                    <a:pt x="4167" y="29"/>
                  </a:cubicBezTo>
                  <a:cubicBezTo>
                    <a:pt x="4140" y="12"/>
                    <a:pt x="4121" y="0"/>
                    <a:pt x="40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2" name="Google Shape;5572;p53"/>
            <p:cNvSpPr/>
            <p:nvPr/>
          </p:nvSpPr>
          <p:spPr>
            <a:xfrm>
              <a:off x="1532711" y="2487712"/>
              <a:ext cx="24589" cy="16850"/>
            </a:xfrm>
            <a:custGeom>
              <a:avLst/>
              <a:gdLst/>
              <a:ahLst/>
              <a:cxnLst/>
              <a:rect l="l" t="t" r="r" b="b"/>
              <a:pathLst>
                <a:path w="1811" h="1241" extrusionOk="0">
                  <a:moveTo>
                    <a:pt x="182" y="0"/>
                  </a:moveTo>
                  <a:cubicBezTo>
                    <a:pt x="165" y="0"/>
                    <a:pt x="147" y="4"/>
                    <a:pt x="133" y="7"/>
                  </a:cubicBezTo>
                  <a:cubicBezTo>
                    <a:pt x="116" y="10"/>
                    <a:pt x="99" y="12"/>
                    <a:pt x="82" y="12"/>
                  </a:cubicBezTo>
                  <a:cubicBezTo>
                    <a:pt x="61" y="12"/>
                    <a:pt x="40" y="9"/>
                    <a:pt x="21" y="4"/>
                  </a:cubicBezTo>
                  <a:cubicBezTo>
                    <a:pt x="4" y="434"/>
                    <a:pt x="0" y="774"/>
                    <a:pt x="7" y="977"/>
                  </a:cubicBezTo>
                  <a:lnTo>
                    <a:pt x="7" y="984"/>
                  </a:lnTo>
                  <a:cubicBezTo>
                    <a:pt x="7" y="1001"/>
                    <a:pt x="11" y="1022"/>
                    <a:pt x="11" y="1036"/>
                  </a:cubicBezTo>
                  <a:lnTo>
                    <a:pt x="11" y="1043"/>
                  </a:lnTo>
                  <a:lnTo>
                    <a:pt x="11" y="1064"/>
                  </a:lnTo>
                  <a:lnTo>
                    <a:pt x="11" y="1078"/>
                  </a:lnTo>
                  <a:lnTo>
                    <a:pt x="11" y="1103"/>
                  </a:lnTo>
                  <a:lnTo>
                    <a:pt x="11" y="1120"/>
                  </a:lnTo>
                  <a:lnTo>
                    <a:pt x="11" y="1131"/>
                  </a:lnTo>
                  <a:cubicBezTo>
                    <a:pt x="11" y="1138"/>
                    <a:pt x="11" y="1141"/>
                    <a:pt x="14" y="1148"/>
                  </a:cubicBezTo>
                  <a:lnTo>
                    <a:pt x="14" y="1152"/>
                  </a:lnTo>
                  <a:cubicBezTo>
                    <a:pt x="46" y="1152"/>
                    <a:pt x="102" y="1148"/>
                    <a:pt x="151" y="1145"/>
                  </a:cubicBezTo>
                  <a:cubicBezTo>
                    <a:pt x="224" y="1141"/>
                    <a:pt x="301" y="1138"/>
                    <a:pt x="375" y="1134"/>
                  </a:cubicBezTo>
                  <a:lnTo>
                    <a:pt x="651" y="1134"/>
                  </a:lnTo>
                  <a:lnTo>
                    <a:pt x="676" y="1138"/>
                  </a:lnTo>
                  <a:lnTo>
                    <a:pt x="700" y="1138"/>
                  </a:lnTo>
                  <a:lnTo>
                    <a:pt x="721" y="1141"/>
                  </a:lnTo>
                  <a:lnTo>
                    <a:pt x="746" y="1141"/>
                  </a:lnTo>
                  <a:lnTo>
                    <a:pt x="767" y="1148"/>
                  </a:lnTo>
                  <a:lnTo>
                    <a:pt x="788" y="1152"/>
                  </a:lnTo>
                  <a:lnTo>
                    <a:pt x="809" y="1155"/>
                  </a:lnTo>
                  <a:lnTo>
                    <a:pt x="826" y="1159"/>
                  </a:lnTo>
                  <a:lnTo>
                    <a:pt x="847" y="1166"/>
                  </a:lnTo>
                  <a:lnTo>
                    <a:pt x="865" y="1173"/>
                  </a:lnTo>
                  <a:lnTo>
                    <a:pt x="879" y="1180"/>
                  </a:lnTo>
                  <a:lnTo>
                    <a:pt x="896" y="1187"/>
                  </a:lnTo>
                  <a:lnTo>
                    <a:pt x="910" y="1194"/>
                  </a:lnTo>
                  <a:lnTo>
                    <a:pt x="921" y="1197"/>
                  </a:lnTo>
                  <a:lnTo>
                    <a:pt x="963" y="1215"/>
                  </a:lnTo>
                  <a:cubicBezTo>
                    <a:pt x="1005" y="1232"/>
                    <a:pt x="1034" y="1240"/>
                    <a:pt x="1056" y="1240"/>
                  </a:cubicBezTo>
                  <a:cubicBezTo>
                    <a:pt x="1076" y="1240"/>
                    <a:pt x="1090" y="1233"/>
                    <a:pt x="1103" y="1218"/>
                  </a:cubicBezTo>
                  <a:cubicBezTo>
                    <a:pt x="1183" y="1131"/>
                    <a:pt x="1327" y="1113"/>
                    <a:pt x="1474" y="1099"/>
                  </a:cubicBezTo>
                  <a:cubicBezTo>
                    <a:pt x="1593" y="1089"/>
                    <a:pt x="1716" y="1075"/>
                    <a:pt x="1796" y="1026"/>
                  </a:cubicBezTo>
                  <a:lnTo>
                    <a:pt x="1810" y="1015"/>
                  </a:lnTo>
                  <a:cubicBezTo>
                    <a:pt x="1772" y="1001"/>
                    <a:pt x="1677" y="984"/>
                    <a:pt x="1464" y="977"/>
                  </a:cubicBezTo>
                  <a:cubicBezTo>
                    <a:pt x="1211" y="966"/>
                    <a:pt x="819" y="648"/>
                    <a:pt x="469" y="350"/>
                  </a:cubicBezTo>
                  <a:cubicBezTo>
                    <a:pt x="420" y="305"/>
                    <a:pt x="378" y="270"/>
                    <a:pt x="347" y="245"/>
                  </a:cubicBezTo>
                  <a:cubicBezTo>
                    <a:pt x="280" y="193"/>
                    <a:pt x="235" y="119"/>
                    <a:pt x="214" y="39"/>
                  </a:cubicBezTo>
                  <a:cubicBezTo>
                    <a:pt x="210" y="25"/>
                    <a:pt x="203" y="14"/>
                    <a:pt x="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3" name="Google Shape;5573;p53"/>
            <p:cNvSpPr/>
            <p:nvPr/>
          </p:nvSpPr>
          <p:spPr>
            <a:xfrm>
              <a:off x="1640177" y="2240588"/>
              <a:ext cx="3245" cy="244"/>
            </a:xfrm>
            <a:custGeom>
              <a:avLst/>
              <a:gdLst/>
              <a:ahLst/>
              <a:cxnLst/>
              <a:rect l="l" t="t" r="r" b="b"/>
              <a:pathLst>
                <a:path w="239" h="18" extrusionOk="0">
                  <a:moveTo>
                    <a:pt x="1" y="0"/>
                  </a:moveTo>
                  <a:lnTo>
                    <a:pt x="1" y="0"/>
                  </a:lnTo>
                  <a:cubicBezTo>
                    <a:pt x="165" y="0"/>
                    <a:pt x="221" y="11"/>
                    <a:pt x="239" y="18"/>
                  </a:cubicBezTo>
                  <a:cubicBezTo>
                    <a:pt x="221" y="11"/>
                    <a:pt x="169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4" name="Google Shape;5574;p53"/>
            <p:cNvSpPr/>
            <p:nvPr/>
          </p:nvSpPr>
          <p:spPr>
            <a:xfrm>
              <a:off x="1639946" y="22405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5" name="Google Shape;5575;p53"/>
            <p:cNvSpPr/>
            <p:nvPr/>
          </p:nvSpPr>
          <p:spPr>
            <a:xfrm>
              <a:off x="1620924" y="2257221"/>
              <a:ext cx="12709" cy="14555"/>
            </a:xfrm>
            <a:custGeom>
              <a:avLst/>
              <a:gdLst/>
              <a:ahLst/>
              <a:cxnLst/>
              <a:rect l="l" t="t" r="r" b="b"/>
              <a:pathLst>
                <a:path w="936" h="1072" extrusionOk="0">
                  <a:moveTo>
                    <a:pt x="935" y="0"/>
                  </a:moveTo>
                  <a:cubicBezTo>
                    <a:pt x="680" y="214"/>
                    <a:pt x="309" y="596"/>
                    <a:pt x="123" y="900"/>
                  </a:cubicBezTo>
                  <a:cubicBezTo>
                    <a:pt x="85" y="960"/>
                    <a:pt x="46" y="1016"/>
                    <a:pt x="1" y="1072"/>
                  </a:cubicBezTo>
                  <a:cubicBezTo>
                    <a:pt x="46" y="1016"/>
                    <a:pt x="85" y="960"/>
                    <a:pt x="123" y="900"/>
                  </a:cubicBezTo>
                  <a:cubicBezTo>
                    <a:pt x="309" y="596"/>
                    <a:pt x="680" y="214"/>
                    <a:pt x="9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6" name="Google Shape;5576;p53"/>
            <p:cNvSpPr/>
            <p:nvPr/>
          </p:nvSpPr>
          <p:spPr>
            <a:xfrm>
              <a:off x="1615031" y="2277560"/>
              <a:ext cx="733" cy="828"/>
            </a:xfrm>
            <a:custGeom>
              <a:avLst/>
              <a:gdLst/>
              <a:ahLst/>
              <a:cxnLst/>
              <a:rect l="l" t="t" r="r" b="b"/>
              <a:pathLst>
                <a:path w="54" h="61" extrusionOk="0">
                  <a:moveTo>
                    <a:pt x="53" y="1"/>
                  </a:moveTo>
                  <a:lnTo>
                    <a:pt x="1" y="60"/>
                  </a:lnTo>
                  <a:lnTo>
                    <a:pt x="8" y="60"/>
                  </a:lnTo>
                  <a:cubicBezTo>
                    <a:pt x="22" y="43"/>
                    <a:pt x="36" y="22"/>
                    <a:pt x="5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7" name="Google Shape;5577;p53"/>
            <p:cNvSpPr/>
            <p:nvPr/>
          </p:nvSpPr>
          <p:spPr>
            <a:xfrm>
              <a:off x="1644453" y="2246291"/>
              <a:ext cx="109" cy="1100"/>
            </a:xfrm>
            <a:custGeom>
              <a:avLst/>
              <a:gdLst/>
              <a:ahLst/>
              <a:cxnLst/>
              <a:rect l="l" t="t" r="r" b="b"/>
              <a:pathLst>
                <a:path w="8" h="81" extrusionOk="0">
                  <a:moveTo>
                    <a:pt x="8" y="81"/>
                  </a:moveTo>
                  <a:cubicBezTo>
                    <a:pt x="8" y="56"/>
                    <a:pt x="4" y="28"/>
                    <a:pt x="1" y="0"/>
                  </a:cubicBezTo>
                  <a:cubicBezTo>
                    <a:pt x="4" y="28"/>
                    <a:pt x="8" y="56"/>
                    <a:pt x="8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8" name="Google Shape;5578;p53"/>
            <p:cNvSpPr/>
            <p:nvPr/>
          </p:nvSpPr>
          <p:spPr>
            <a:xfrm>
              <a:off x="1644358" y="2245001"/>
              <a:ext cx="109" cy="1208"/>
            </a:xfrm>
            <a:custGeom>
              <a:avLst/>
              <a:gdLst/>
              <a:ahLst/>
              <a:cxnLst/>
              <a:rect l="l" t="t" r="r" b="b"/>
              <a:pathLst>
                <a:path w="8" h="89" extrusionOk="0">
                  <a:moveTo>
                    <a:pt x="8" y="88"/>
                  </a:moveTo>
                  <a:cubicBezTo>
                    <a:pt x="8" y="57"/>
                    <a:pt x="4" y="29"/>
                    <a:pt x="1" y="1"/>
                  </a:cubicBezTo>
                  <a:cubicBezTo>
                    <a:pt x="4" y="29"/>
                    <a:pt x="8" y="57"/>
                    <a:pt x="8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9" name="Google Shape;5579;p53"/>
            <p:cNvSpPr/>
            <p:nvPr/>
          </p:nvSpPr>
          <p:spPr>
            <a:xfrm>
              <a:off x="1644168" y="2243671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1"/>
                  </a:moveTo>
                  <a:cubicBezTo>
                    <a:pt x="1" y="11"/>
                    <a:pt x="4" y="22"/>
                    <a:pt x="4" y="36"/>
                  </a:cubicBezTo>
                  <a:cubicBezTo>
                    <a:pt x="4" y="22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0" name="Google Shape;5580;p53"/>
            <p:cNvSpPr/>
            <p:nvPr/>
          </p:nvSpPr>
          <p:spPr>
            <a:xfrm>
              <a:off x="1644358" y="22449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1" name="Google Shape;5581;p53"/>
            <p:cNvSpPr/>
            <p:nvPr/>
          </p:nvSpPr>
          <p:spPr>
            <a:xfrm>
              <a:off x="1635710" y="2253745"/>
              <a:ext cx="3720" cy="1914"/>
            </a:xfrm>
            <a:custGeom>
              <a:avLst/>
              <a:gdLst/>
              <a:ahLst/>
              <a:cxnLst/>
              <a:rect l="l" t="t" r="r" b="b"/>
              <a:pathLst>
                <a:path w="274" h="141" extrusionOk="0">
                  <a:moveTo>
                    <a:pt x="0" y="141"/>
                  </a:moveTo>
                  <a:cubicBezTo>
                    <a:pt x="88" y="88"/>
                    <a:pt x="179" y="43"/>
                    <a:pt x="274" y="1"/>
                  </a:cubicBezTo>
                  <a:cubicBezTo>
                    <a:pt x="179" y="43"/>
                    <a:pt x="88" y="88"/>
                    <a:pt x="0" y="1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2" name="Google Shape;5582;p53"/>
            <p:cNvSpPr/>
            <p:nvPr/>
          </p:nvSpPr>
          <p:spPr>
            <a:xfrm>
              <a:off x="1614081" y="228003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3" name="Google Shape;5583;p53"/>
            <p:cNvSpPr/>
            <p:nvPr/>
          </p:nvSpPr>
          <p:spPr>
            <a:xfrm>
              <a:off x="1611284" y="231011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4" name="Google Shape;5584;p53"/>
            <p:cNvSpPr/>
            <p:nvPr/>
          </p:nvSpPr>
          <p:spPr>
            <a:xfrm>
              <a:off x="1611379" y="23097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5" name="Google Shape;5585;p53"/>
            <p:cNvSpPr/>
            <p:nvPr/>
          </p:nvSpPr>
          <p:spPr>
            <a:xfrm>
              <a:off x="1611379" y="23095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6" name="Google Shape;5586;p53"/>
            <p:cNvSpPr/>
            <p:nvPr/>
          </p:nvSpPr>
          <p:spPr>
            <a:xfrm>
              <a:off x="1613700" y="2281226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7" name="Google Shape;5587;p53"/>
            <p:cNvSpPr/>
            <p:nvPr/>
          </p:nvSpPr>
          <p:spPr>
            <a:xfrm>
              <a:off x="1611134" y="23105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8" name="Google Shape;5588;p53"/>
            <p:cNvSpPr/>
            <p:nvPr/>
          </p:nvSpPr>
          <p:spPr>
            <a:xfrm>
              <a:off x="1481659" y="2178417"/>
              <a:ext cx="61465" cy="331549"/>
            </a:xfrm>
            <a:custGeom>
              <a:avLst/>
              <a:gdLst/>
              <a:ahLst/>
              <a:cxnLst/>
              <a:rect l="l" t="t" r="r" b="b"/>
              <a:pathLst>
                <a:path w="4527" h="24419" extrusionOk="0">
                  <a:moveTo>
                    <a:pt x="3295" y="0"/>
                  </a:moveTo>
                  <a:lnTo>
                    <a:pt x="3288" y="28"/>
                  </a:lnTo>
                  <a:cubicBezTo>
                    <a:pt x="3253" y="151"/>
                    <a:pt x="3207" y="322"/>
                    <a:pt x="3067" y="389"/>
                  </a:cubicBezTo>
                  <a:lnTo>
                    <a:pt x="3056" y="396"/>
                  </a:lnTo>
                  <a:lnTo>
                    <a:pt x="3042" y="406"/>
                  </a:lnTo>
                  <a:lnTo>
                    <a:pt x="3039" y="406"/>
                  </a:lnTo>
                  <a:lnTo>
                    <a:pt x="3018" y="420"/>
                  </a:lnTo>
                  <a:lnTo>
                    <a:pt x="2990" y="445"/>
                  </a:lnTo>
                  <a:cubicBezTo>
                    <a:pt x="2990" y="480"/>
                    <a:pt x="2983" y="522"/>
                    <a:pt x="2979" y="564"/>
                  </a:cubicBezTo>
                  <a:cubicBezTo>
                    <a:pt x="2972" y="676"/>
                    <a:pt x="2958" y="802"/>
                    <a:pt x="2990" y="879"/>
                  </a:cubicBezTo>
                  <a:cubicBezTo>
                    <a:pt x="3067" y="1075"/>
                    <a:pt x="3105" y="1975"/>
                    <a:pt x="3028" y="2325"/>
                  </a:cubicBezTo>
                  <a:cubicBezTo>
                    <a:pt x="2972" y="2605"/>
                    <a:pt x="2899" y="2881"/>
                    <a:pt x="2811" y="3154"/>
                  </a:cubicBezTo>
                  <a:cubicBezTo>
                    <a:pt x="2787" y="3228"/>
                    <a:pt x="2811" y="3256"/>
                    <a:pt x="2853" y="3298"/>
                  </a:cubicBezTo>
                  <a:cubicBezTo>
                    <a:pt x="2881" y="3326"/>
                    <a:pt x="2958" y="3406"/>
                    <a:pt x="2867" y="3494"/>
                  </a:cubicBezTo>
                  <a:cubicBezTo>
                    <a:pt x="2815" y="3550"/>
                    <a:pt x="2818" y="3707"/>
                    <a:pt x="2825" y="3925"/>
                  </a:cubicBezTo>
                  <a:cubicBezTo>
                    <a:pt x="2825" y="4002"/>
                    <a:pt x="2829" y="4086"/>
                    <a:pt x="2829" y="4177"/>
                  </a:cubicBezTo>
                  <a:cubicBezTo>
                    <a:pt x="2829" y="4422"/>
                    <a:pt x="2741" y="4765"/>
                    <a:pt x="2671" y="5038"/>
                  </a:cubicBezTo>
                  <a:cubicBezTo>
                    <a:pt x="2633" y="5167"/>
                    <a:pt x="2605" y="5297"/>
                    <a:pt x="2584" y="5430"/>
                  </a:cubicBezTo>
                  <a:cubicBezTo>
                    <a:pt x="2577" y="5524"/>
                    <a:pt x="2549" y="5615"/>
                    <a:pt x="2507" y="5696"/>
                  </a:cubicBezTo>
                  <a:cubicBezTo>
                    <a:pt x="2465" y="5790"/>
                    <a:pt x="2426" y="5878"/>
                    <a:pt x="2440" y="5990"/>
                  </a:cubicBezTo>
                  <a:cubicBezTo>
                    <a:pt x="2465" y="6242"/>
                    <a:pt x="2328" y="6393"/>
                    <a:pt x="2174" y="6519"/>
                  </a:cubicBezTo>
                  <a:cubicBezTo>
                    <a:pt x="2143" y="6547"/>
                    <a:pt x="2227" y="6694"/>
                    <a:pt x="2272" y="6778"/>
                  </a:cubicBezTo>
                  <a:cubicBezTo>
                    <a:pt x="2339" y="6897"/>
                    <a:pt x="2409" y="7023"/>
                    <a:pt x="2402" y="7128"/>
                  </a:cubicBezTo>
                  <a:cubicBezTo>
                    <a:pt x="2395" y="7226"/>
                    <a:pt x="2346" y="7296"/>
                    <a:pt x="2293" y="7366"/>
                  </a:cubicBezTo>
                  <a:cubicBezTo>
                    <a:pt x="2227" y="7457"/>
                    <a:pt x="2164" y="7544"/>
                    <a:pt x="2195" y="7705"/>
                  </a:cubicBezTo>
                  <a:cubicBezTo>
                    <a:pt x="2255" y="8017"/>
                    <a:pt x="2223" y="8497"/>
                    <a:pt x="2206" y="8756"/>
                  </a:cubicBezTo>
                  <a:cubicBezTo>
                    <a:pt x="2199" y="8829"/>
                    <a:pt x="2195" y="8889"/>
                    <a:pt x="2195" y="8917"/>
                  </a:cubicBezTo>
                  <a:cubicBezTo>
                    <a:pt x="2195" y="8980"/>
                    <a:pt x="2171" y="9036"/>
                    <a:pt x="2129" y="9078"/>
                  </a:cubicBezTo>
                  <a:cubicBezTo>
                    <a:pt x="2090" y="9120"/>
                    <a:pt x="2055" y="9162"/>
                    <a:pt x="2076" y="9284"/>
                  </a:cubicBezTo>
                  <a:cubicBezTo>
                    <a:pt x="2097" y="9435"/>
                    <a:pt x="2045" y="9529"/>
                    <a:pt x="1996" y="9631"/>
                  </a:cubicBezTo>
                  <a:cubicBezTo>
                    <a:pt x="1933" y="9736"/>
                    <a:pt x="1894" y="9855"/>
                    <a:pt x="1880" y="9981"/>
                  </a:cubicBezTo>
                  <a:cubicBezTo>
                    <a:pt x="1852" y="10258"/>
                    <a:pt x="1695" y="10615"/>
                    <a:pt x="1565" y="10902"/>
                  </a:cubicBezTo>
                  <a:cubicBezTo>
                    <a:pt x="1520" y="11000"/>
                    <a:pt x="1481" y="11091"/>
                    <a:pt x="1453" y="11161"/>
                  </a:cubicBezTo>
                  <a:cubicBezTo>
                    <a:pt x="1425" y="11234"/>
                    <a:pt x="1404" y="11297"/>
                    <a:pt x="1387" y="11353"/>
                  </a:cubicBezTo>
                  <a:cubicBezTo>
                    <a:pt x="1334" y="11514"/>
                    <a:pt x="1292" y="11640"/>
                    <a:pt x="1135" y="11640"/>
                  </a:cubicBezTo>
                  <a:cubicBezTo>
                    <a:pt x="1132" y="11640"/>
                    <a:pt x="1129" y="11640"/>
                    <a:pt x="1126" y="11640"/>
                  </a:cubicBezTo>
                  <a:cubicBezTo>
                    <a:pt x="1108" y="11640"/>
                    <a:pt x="1091" y="11650"/>
                    <a:pt x="1082" y="11665"/>
                  </a:cubicBezTo>
                  <a:cubicBezTo>
                    <a:pt x="1058" y="11703"/>
                    <a:pt x="1054" y="11794"/>
                    <a:pt x="1124" y="11948"/>
                  </a:cubicBezTo>
                  <a:cubicBezTo>
                    <a:pt x="1184" y="12078"/>
                    <a:pt x="1170" y="12201"/>
                    <a:pt x="1156" y="12309"/>
                  </a:cubicBezTo>
                  <a:cubicBezTo>
                    <a:pt x="1142" y="12425"/>
                    <a:pt x="1128" y="12523"/>
                    <a:pt x="1194" y="12631"/>
                  </a:cubicBezTo>
                  <a:cubicBezTo>
                    <a:pt x="1341" y="12880"/>
                    <a:pt x="1306" y="12995"/>
                    <a:pt x="1243" y="13188"/>
                  </a:cubicBezTo>
                  <a:lnTo>
                    <a:pt x="1226" y="13244"/>
                  </a:lnTo>
                  <a:cubicBezTo>
                    <a:pt x="1201" y="13321"/>
                    <a:pt x="1166" y="13394"/>
                    <a:pt x="1124" y="13461"/>
                  </a:cubicBezTo>
                  <a:cubicBezTo>
                    <a:pt x="1079" y="13527"/>
                    <a:pt x="1054" y="13604"/>
                    <a:pt x="1058" y="13685"/>
                  </a:cubicBezTo>
                  <a:cubicBezTo>
                    <a:pt x="1054" y="13776"/>
                    <a:pt x="1036" y="13863"/>
                    <a:pt x="1005" y="13947"/>
                  </a:cubicBezTo>
                  <a:cubicBezTo>
                    <a:pt x="963" y="14070"/>
                    <a:pt x="931" y="14175"/>
                    <a:pt x="980" y="14301"/>
                  </a:cubicBezTo>
                  <a:cubicBezTo>
                    <a:pt x="1051" y="14483"/>
                    <a:pt x="1065" y="14588"/>
                    <a:pt x="1019" y="14651"/>
                  </a:cubicBezTo>
                  <a:cubicBezTo>
                    <a:pt x="988" y="14695"/>
                    <a:pt x="940" y="14719"/>
                    <a:pt x="891" y="14719"/>
                  </a:cubicBezTo>
                  <a:cubicBezTo>
                    <a:pt x="885" y="14719"/>
                    <a:pt x="878" y="14718"/>
                    <a:pt x="872" y="14718"/>
                  </a:cubicBezTo>
                  <a:cubicBezTo>
                    <a:pt x="805" y="14718"/>
                    <a:pt x="749" y="14900"/>
                    <a:pt x="704" y="15253"/>
                  </a:cubicBezTo>
                  <a:cubicBezTo>
                    <a:pt x="693" y="15365"/>
                    <a:pt x="672" y="15526"/>
                    <a:pt x="693" y="15547"/>
                  </a:cubicBezTo>
                  <a:cubicBezTo>
                    <a:pt x="699" y="15553"/>
                    <a:pt x="718" y="15555"/>
                    <a:pt x="744" y="15555"/>
                  </a:cubicBezTo>
                  <a:cubicBezTo>
                    <a:pt x="779" y="15555"/>
                    <a:pt x="826" y="15551"/>
                    <a:pt x="868" y="15547"/>
                  </a:cubicBezTo>
                  <a:lnTo>
                    <a:pt x="889" y="15547"/>
                  </a:lnTo>
                  <a:cubicBezTo>
                    <a:pt x="994" y="15540"/>
                    <a:pt x="994" y="15232"/>
                    <a:pt x="994" y="15029"/>
                  </a:cubicBezTo>
                  <a:cubicBezTo>
                    <a:pt x="991" y="14935"/>
                    <a:pt x="994" y="14837"/>
                    <a:pt x="1005" y="14742"/>
                  </a:cubicBezTo>
                  <a:cubicBezTo>
                    <a:pt x="1019" y="14627"/>
                    <a:pt x="1065" y="14567"/>
                    <a:pt x="1138" y="14567"/>
                  </a:cubicBezTo>
                  <a:cubicBezTo>
                    <a:pt x="1152" y="14567"/>
                    <a:pt x="1163" y="14567"/>
                    <a:pt x="1177" y="14564"/>
                  </a:cubicBezTo>
                  <a:cubicBezTo>
                    <a:pt x="1177" y="14553"/>
                    <a:pt x="1177" y="14546"/>
                    <a:pt x="1177" y="14539"/>
                  </a:cubicBezTo>
                  <a:cubicBezTo>
                    <a:pt x="1180" y="14452"/>
                    <a:pt x="1243" y="14378"/>
                    <a:pt x="1327" y="14364"/>
                  </a:cubicBezTo>
                  <a:cubicBezTo>
                    <a:pt x="1344" y="14357"/>
                    <a:pt x="1362" y="14354"/>
                    <a:pt x="1380" y="14354"/>
                  </a:cubicBezTo>
                  <a:cubicBezTo>
                    <a:pt x="1410" y="14354"/>
                    <a:pt x="1440" y="14363"/>
                    <a:pt x="1464" y="14378"/>
                  </a:cubicBezTo>
                  <a:cubicBezTo>
                    <a:pt x="1509" y="14413"/>
                    <a:pt x="1509" y="14473"/>
                    <a:pt x="1506" y="14515"/>
                  </a:cubicBezTo>
                  <a:cubicBezTo>
                    <a:pt x="1502" y="14536"/>
                    <a:pt x="1506" y="14553"/>
                    <a:pt x="1509" y="14571"/>
                  </a:cubicBezTo>
                  <a:cubicBezTo>
                    <a:pt x="1611" y="14599"/>
                    <a:pt x="1677" y="14662"/>
                    <a:pt x="1688" y="14732"/>
                  </a:cubicBezTo>
                  <a:cubicBezTo>
                    <a:pt x="1695" y="14781"/>
                    <a:pt x="1677" y="14854"/>
                    <a:pt x="1562" y="14931"/>
                  </a:cubicBezTo>
                  <a:cubicBezTo>
                    <a:pt x="1509" y="14963"/>
                    <a:pt x="1516" y="15008"/>
                    <a:pt x="1541" y="15113"/>
                  </a:cubicBezTo>
                  <a:cubicBezTo>
                    <a:pt x="1562" y="15197"/>
                    <a:pt x="1586" y="15288"/>
                    <a:pt x="1534" y="15372"/>
                  </a:cubicBezTo>
                  <a:lnTo>
                    <a:pt x="1499" y="15421"/>
                  </a:lnTo>
                  <a:cubicBezTo>
                    <a:pt x="1411" y="15554"/>
                    <a:pt x="1359" y="15649"/>
                    <a:pt x="1404" y="15747"/>
                  </a:cubicBezTo>
                  <a:cubicBezTo>
                    <a:pt x="1446" y="15820"/>
                    <a:pt x="1436" y="15918"/>
                    <a:pt x="1373" y="15978"/>
                  </a:cubicBezTo>
                  <a:cubicBezTo>
                    <a:pt x="1338" y="16020"/>
                    <a:pt x="1317" y="16072"/>
                    <a:pt x="1313" y="16128"/>
                  </a:cubicBezTo>
                  <a:cubicBezTo>
                    <a:pt x="1306" y="16185"/>
                    <a:pt x="1320" y="16241"/>
                    <a:pt x="1345" y="16290"/>
                  </a:cubicBezTo>
                  <a:cubicBezTo>
                    <a:pt x="1383" y="16339"/>
                    <a:pt x="1369" y="16409"/>
                    <a:pt x="1317" y="16440"/>
                  </a:cubicBezTo>
                  <a:cubicBezTo>
                    <a:pt x="1320" y="16451"/>
                    <a:pt x="1331" y="16468"/>
                    <a:pt x="1334" y="16479"/>
                  </a:cubicBezTo>
                  <a:cubicBezTo>
                    <a:pt x="1355" y="16524"/>
                    <a:pt x="1380" y="16577"/>
                    <a:pt x="1355" y="16629"/>
                  </a:cubicBezTo>
                  <a:cubicBezTo>
                    <a:pt x="1338" y="16661"/>
                    <a:pt x="1310" y="16682"/>
                    <a:pt x="1271" y="16685"/>
                  </a:cubicBezTo>
                  <a:cubicBezTo>
                    <a:pt x="1268" y="16689"/>
                    <a:pt x="1264" y="16689"/>
                    <a:pt x="1261" y="16692"/>
                  </a:cubicBezTo>
                  <a:cubicBezTo>
                    <a:pt x="1250" y="16713"/>
                    <a:pt x="1278" y="16790"/>
                    <a:pt x="1341" y="16920"/>
                  </a:cubicBezTo>
                  <a:cubicBezTo>
                    <a:pt x="1366" y="16958"/>
                    <a:pt x="1369" y="17007"/>
                    <a:pt x="1352" y="17046"/>
                  </a:cubicBezTo>
                  <a:cubicBezTo>
                    <a:pt x="1324" y="17102"/>
                    <a:pt x="1257" y="17109"/>
                    <a:pt x="1194" y="17116"/>
                  </a:cubicBezTo>
                  <a:cubicBezTo>
                    <a:pt x="1142" y="17119"/>
                    <a:pt x="1093" y="17133"/>
                    <a:pt x="1047" y="17161"/>
                  </a:cubicBezTo>
                  <a:cubicBezTo>
                    <a:pt x="1033" y="17172"/>
                    <a:pt x="1026" y="17175"/>
                    <a:pt x="1072" y="17252"/>
                  </a:cubicBezTo>
                  <a:cubicBezTo>
                    <a:pt x="1110" y="17315"/>
                    <a:pt x="1163" y="17406"/>
                    <a:pt x="1110" y="17504"/>
                  </a:cubicBezTo>
                  <a:cubicBezTo>
                    <a:pt x="1093" y="17543"/>
                    <a:pt x="1054" y="17574"/>
                    <a:pt x="1008" y="17581"/>
                  </a:cubicBezTo>
                  <a:cubicBezTo>
                    <a:pt x="1001" y="17583"/>
                    <a:pt x="993" y="17583"/>
                    <a:pt x="985" y="17583"/>
                  </a:cubicBezTo>
                  <a:cubicBezTo>
                    <a:pt x="886" y="17583"/>
                    <a:pt x="778" y="17484"/>
                    <a:pt x="697" y="17410"/>
                  </a:cubicBezTo>
                  <a:lnTo>
                    <a:pt x="658" y="17378"/>
                  </a:lnTo>
                  <a:cubicBezTo>
                    <a:pt x="634" y="17357"/>
                    <a:pt x="616" y="17326"/>
                    <a:pt x="616" y="17294"/>
                  </a:cubicBezTo>
                  <a:cubicBezTo>
                    <a:pt x="613" y="17238"/>
                    <a:pt x="648" y="17186"/>
                    <a:pt x="700" y="17130"/>
                  </a:cubicBezTo>
                  <a:lnTo>
                    <a:pt x="679" y="17130"/>
                  </a:lnTo>
                  <a:cubicBezTo>
                    <a:pt x="658" y="17126"/>
                    <a:pt x="634" y="17126"/>
                    <a:pt x="609" y="17126"/>
                  </a:cubicBezTo>
                  <a:lnTo>
                    <a:pt x="609" y="17130"/>
                  </a:lnTo>
                  <a:cubicBezTo>
                    <a:pt x="620" y="17284"/>
                    <a:pt x="497" y="17319"/>
                    <a:pt x="413" y="17343"/>
                  </a:cubicBezTo>
                  <a:cubicBezTo>
                    <a:pt x="364" y="17350"/>
                    <a:pt x="315" y="17375"/>
                    <a:pt x="277" y="17410"/>
                  </a:cubicBezTo>
                  <a:cubicBezTo>
                    <a:pt x="259" y="17427"/>
                    <a:pt x="259" y="17441"/>
                    <a:pt x="305" y="17501"/>
                  </a:cubicBezTo>
                  <a:cubicBezTo>
                    <a:pt x="333" y="17539"/>
                    <a:pt x="364" y="17581"/>
                    <a:pt x="347" y="17630"/>
                  </a:cubicBezTo>
                  <a:cubicBezTo>
                    <a:pt x="336" y="17665"/>
                    <a:pt x="308" y="17690"/>
                    <a:pt x="273" y="17697"/>
                  </a:cubicBezTo>
                  <a:cubicBezTo>
                    <a:pt x="186" y="17732"/>
                    <a:pt x="109" y="17784"/>
                    <a:pt x="46" y="17851"/>
                  </a:cubicBezTo>
                  <a:cubicBezTo>
                    <a:pt x="70" y="17833"/>
                    <a:pt x="98" y="17823"/>
                    <a:pt x="126" y="17819"/>
                  </a:cubicBezTo>
                  <a:cubicBezTo>
                    <a:pt x="138" y="17817"/>
                    <a:pt x="150" y="17816"/>
                    <a:pt x="162" y="17816"/>
                  </a:cubicBezTo>
                  <a:cubicBezTo>
                    <a:pt x="251" y="17816"/>
                    <a:pt x="333" y="17873"/>
                    <a:pt x="361" y="17963"/>
                  </a:cubicBezTo>
                  <a:cubicBezTo>
                    <a:pt x="364" y="17973"/>
                    <a:pt x="371" y="17984"/>
                    <a:pt x="378" y="17991"/>
                  </a:cubicBezTo>
                  <a:lnTo>
                    <a:pt x="424" y="17977"/>
                  </a:lnTo>
                  <a:cubicBezTo>
                    <a:pt x="470" y="17960"/>
                    <a:pt x="519" y="17951"/>
                    <a:pt x="567" y="17951"/>
                  </a:cubicBezTo>
                  <a:cubicBezTo>
                    <a:pt x="588" y="17951"/>
                    <a:pt x="609" y="17953"/>
                    <a:pt x="630" y="17956"/>
                  </a:cubicBezTo>
                  <a:cubicBezTo>
                    <a:pt x="753" y="17987"/>
                    <a:pt x="830" y="18110"/>
                    <a:pt x="805" y="18232"/>
                  </a:cubicBezTo>
                  <a:cubicBezTo>
                    <a:pt x="789" y="18313"/>
                    <a:pt x="738" y="18367"/>
                    <a:pt x="675" y="18367"/>
                  </a:cubicBezTo>
                  <a:cubicBezTo>
                    <a:pt x="670" y="18367"/>
                    <a:pt x="664" y="18366"/>
                    <a:pt x="658" y="18366"/>
                  </a:cubicBezTo>
                  <a:cubicBezTo>
                    <a:pt x="644" y="18369"/>
                    <a:pt x="634" y="18376"/>
                    <a:pt x="623" y="18383"/>
                  </a:cubicBezTo>
                  <a:cubicBezTo>
                    <a:pt x="571" y="18453"/>
                    <a:pt x="546" y="18544"/>
                    <a:pt x="560" y="18632"/>
                  </a:cubicBezTo>
                  <a:cubicBezTo>
                    <a:pt x="560" y="18646"/>
                    <a:pt x="567" y="18649"/>
                    <a:pt x="567" y="18649"/>
                  </a:cubicBezTo>
                  <a:cubicBezTo>
                    <a:pt x="576" y="18656"/>
                    <a:pt x="592" y="18658"/>
                    <a:pt x="612" y="18658"/>
                  </a:cubicBezTo>
                  <a:cubicBezTo>
                    <a:pt x="656" y="18658"/>
                    <a:pt x="720" y="18646"/>
                    <a:pt x="763" y="18639"/>
                  </a:cubicBezTo>
                  <a:cubicBezTo>
                    <a:pt x="824" y="18627"/>
                    <a:pt x="885" y="18616"/>
                    <a:pt x="941" y="18616"/>
                  </a:cubicBezTo>
                  <a:cubicBezTo>
                    <a:pt x="971" y="18616"/>
                    <a:pt x="1000" y="18619"/>
                    <a:pt x="1026" y="18628"/>
                  </a:cubicBezTo>
                  <a:cubicBezTo>
                    <a:pt x="1110" y="18656"/>
                    <a:pt x="1166" y="18737"/>
                    <a:pt x="1166" y="18821"/>
                  </a:cubicBezTo>
                  <a:cubicBezTo>
                    <a:pt x="1170" y="18898"/>
                    <a:pt x="1138" y="18961"/>
                    <a:pt x="1089" y="18982"/>
                  </a:cubicBezTo>
                  <a:cubicBezTo>
                    <a:pt x="1077" y="18987"/>
                    <a:pt x="1063" y="18990"/>
                    <a:pt x="1050" y="18990"/>
                  </a:cubicBezTo>
                  <a:cubicBezTo>
                    <a:pt x="1021" y="18990"/>
                    <a:pt x="993" y="18978"/>
                    <a:pt x="973" y="18954"/>
                  </a:cubicBezTo>
                  <a:cubicBezTo>
                    <a:pt x="908" y="18889"/>
                    <a:pt x="819" y="18827"/>
                    <a:pt x="762" y="18827"/>
                  </a:cubicBezTo>
                  <a:cubicBezTo>
                    <a:pt x="758" y="18827"/>
                    <a:pt x="753" y="18827"/>
                    <a:pt x="749" y="18828"/>
                  </a:cubicBezTo>
                  <a:cubicBezTo>
                    <a:pt x="732" y="18828"/>
                    <a:pt x="718" y="18842"/>
                    <a:pt x="711" y="18856"/>
                  </a:cubicBezTo>
                  <a:cubicBezTo>
                    <a:pt x="659" y="18946"/>
                    <a:pt x="592" y="18975"/>
                    <a:pt x="524" y="18975"/>
                  </a:cubicBezTo>
                  <a:cubicBezTo>
                    <a:pt x="451" y="18975"/>
                    <a:pt x="377" y="18941"/>
                    <a:pt x="322" y="18915"/>
                  </a:cubicBezTo>
                  <a:lnTo>
                    <a:pt x="301" y="18905"/>
                  </a:lnTo>
                  <a:cubicBezTo>
                    <a:pt x="300" y="18904"/>
                    <a:pt x="298" y="18904"/>
                    <a:pt x="297" y="18904"/>
                  </a:cubicBezTo>
                  <a:cubicBezTo>
                    <a:pt x="270" y="18904"/>
                    <a:pt x="187" y="18930"/>
                    <a:pt x="95" y="18992"/>
                  </a:cubicBezTo>
                  <a:cubicBezTo>
                    <a:pt x="56" y="19020"/>
                    <a:pt x="21" y="19055"/>
                    <a:pt x="0" y="19097"/>
                  </a:cubicBezTo>
                  <a:cubicBezTo>
                    <a:pt x="63" y="19146"/>
                    <a:pt x="112" y="19209"/>
                    <a:pt x="144" y="19283"/>
                  </a:cubicBezTo>
                  <a:cubicBezTo>
                    <a:pt x="151" y="19297"/>
                    <a:pt x="158" y="19311"/>
                    <a:pt x="165" y="19325"/>
                  </a:cubicBezTo>
                  <a:cubicBezTo>
                    <a:pt x="235" y="19314"/>
                    <a:pt x="340" y="19262"/>
                    <a:pt x="378" y="19195"/>
                  </a:cubicBezTo>
                  <a:cubicBezTo>
                    <a:pt x="413" y="19119"/>
                    <a:pt x="499" y="19049"/>
                    <a:pt x="583" y="19049"/>
                  </a:cubicBezTo>
                  <a:cubicBezTo>
                    <a:pt x="592" y="19049"/>
                    <a:pt x="601" y="19050"/>
                    <a:pt x="609" y="19052"/>
                  </a:cubicBezTo>
                  <a:cubicBezTo>
                    <a:pt x="651" y="19062"/>
                    <a:pt x="725" y="19097"/>
                    <a:pt x="732" y="19244"/>
                  </a:cubicBezTo>
                  <a:cubicBezTo>
                    <a:pt x="742" y="19426"/>
                    <a:pt x="602" y="19454"/>
                    <a:pt x="529" y="19468"/>
                  </a:cubicBezTo>
                  <a:cubicBezTo>
                    <a:pt x="483" y="19479"/>
                    <a:pt x="455" y="19486"/>
                    <a:pt x="448" y="19503"/>
                  </a:cubicBezTo>
                  <a:cubicBezTo>
                    <a:pt x="399" y="19626"/>
                    <a:pt x="308" y="19727"/>
                    <a:pt x="137" y="19857"/>
                  </a:cubicBezTo>
                  <a:cubicBezTo>
                    <a:pt x="91" y="19892"/>
                    <a:pt x="98" y="19923"/>
                    <a:pt x="112" y="19944"/>
                  </a:cubicBezTo>
                  <a:cubicBezTo>
                    <a:pt x="123" y="19966"/>
                    <a:pt x="144" y="19979"/>
                    <a:pt x="168" y="19979"/>
                  </a:cubicBezTo>
                  <a:cubicBezTo>
                    <a:pt x="175" y="19979"/>
                    <a:pt x="182" y="19978"/>
                    <a:pt x="189" y="19976"/>
                  </a:cubicBezTo>
                  <a:cubicBezTo>
                    <a:pt x="207" y="19961"/>
                    <a:pt x="227" y="19954"/>
                    <a:pt x="246" y="19954"/>
                  </a:cubicBezTo>
                  <a:cubicBezTo>
                    <a:pt x="304" y="19954"/>
                    <a:pt x="356" y="20012"/>
                    <a:pt x="333" y="20077"/>
                  </a:cubicBezTo>
                  <a:cubicBezTo>
                    <a:pt x="329" y="20133"/>
                    <a:pt x="333" y="20133"/>
                    <a:pt x="361" y="20137"/>
                  </a:cubicBezTo>
                  <a:cubicBezTo>
                    <a:pt x="371" y="20140"/>
                    <a:pt x="380" y="20142"/>
                    <a:pt x="390" y="20142"/>
                  </a:cubicBezTo>
                  <a:cubicBezTo>
                    <a:pt x="411" y="20142"/>
                    <a:pt x="431" y="20134"/>
                    <a:pt x="448" y="20119"/>
                  </a:cubicBezTo>
                  <a:cubicBezTo>
                    <a:pt x="469" y="20084"/>
                    <a:pt x="473" y="20042"/>
                    <a:pt x="455" y="20004"/>
                  </a:cubicBezTo>
                  <a:cubicBezTo>
                    <a:pt x="427" y="19902"/>
                    <a:pt x="476" y="19720"/>
                    <a:pt x="585" y="19654"/>
                  </a:cubicBezTo>
                  <a:cubicBezTo>
                    <a:pt x="612" y="19637"/>
                    <a:pt x="642" y="19628"/>
                    <a:pt x="673" y="19628"/>
                  </a:cubicBezTo>
                  <a:cubicBezTo>
                    <a:pt x="717" y="19628"/>
                    <a:pt x="762" y="19646"/>
                    <a:pt x="795" y="19682"/>
                  </a:cubicBezTo>
                  <a:cubicBezTo>
                    <a:pt x="924" y="19804"/>
                    <a:pt x="844" y="19937"/>
                    <a:pt x="791" y="20014"/>
                  </a:cubicBezTo>
                  <a:cubicBezTo>
                    <a:pt x="770" y="20046"/>
                    <a:pt x="753" y="20081"/>
                    <a:pt x="742" y="20119"/>
                  </a:cubicBezTo>
                  <a:cubicBezTo>
                    <a:pt x="739" y="20193"/>
                    <a:pt x="725" y="20263"/>
                    <a:pt x="700" y="20333"/>
                  </a:cubicBezTo>
                  <a:cubicBezTo>
                    <a:pt x="676" y="20396"/>
                    <a:pt x="662" y="20463"/>
                    <a:pt x="658" y="20529"/>
                  </a:cubicBezTo>
                  <a:cubicBezTo>
                    <a:pt x="662" y="20603"/>
                    <a:pt x="613" y="20666"/>
                    <a:pt x="546" y="20687"/>
                  </a:cubicBezTo>
                  <a:cubicBezTo>
                    <a:pt x="511" y="20704"/>
                    <a:pt x="511" y="20704"/>
                    <a:pt x="511" y="20732"/>
                  </a:cubicBezTo>
                  <a:cubicBezTo>
                    <a:pt x="522" y="20837"/>
                    <a:pt x="434" y="20872"/>
                    <a:pt x="364" y="20886"/>
                  </a:cubicBezTo>
                  <a:cubicBezTo>
                    <a:pt x="413" y="20963"/>
                    <a:pt x="361" y="21051"/>
                    <a:pt x="333" y="21096"/>
                  </a:cubicBezTo>
                  <a:cubicBezTo>
                    <a:pt x="319" y="21117"/>
                    <a:pt x="308" y="21142"/>
                    <a:pt x="301" y="21166"/>
                  </a:cubicBezTo>
                  <a:cubicBezTo>
                    <a:pt x="315" y="21156"/>
                    <a:pt x="326" y="21145"/>
                    <a:pt x="340" y="21135"/>
                  </a:cubicBezTo>
                  <a:cubicBezTo>
                    <a:pt x="379" y="21098"/>
                    <a:pt x="434" y="21051"/>
                    <a:pt x="507" y="21051"/>
                  </a:cubicBezTo>
                  <a:cubicBezTo>
                    <a:pt x="526" y="21051"/>
                    <a:pt x="546" y="21054"/>
                    <a:pt x="567" y="21061"/>
                  </a:cubicBezTo>
                  <a:cubicBezTo>
                    <a:pt x="592" y="21072"/>
                    <a:pt x="620" y="21086"/>
                    <a:pt x="644" y="21096"/>
                  </a:cubicBezTo>
                  <a:cubicBezTo>
                    <a:pt x="664" y="21105"/>
                    <a:pt x="676" y="21111"/>
                    <a:pt x="691" y="21111"/>
                  </a:cubicBezTo>
                  <a:cubicBezTo>
                    <a:pt x="711" y="21111"/>
                    <a:pt x="737" y="21101"/>
                    <a:pt x="795" y="21075"/>
                  </a:cubicBezTo>
                  <a:cubicBezTo>
                    <a:pt x="825" y="21062"/>
                    <a:pt x="856" y="21056"/>
                    <a:pt x="887" y="21056"/>
                  </a:cubicBezTo>
                  <a:cubicBezTo>
                    <a:pt x="931" y="21056"/>
                    <a:pt x="975" y="21069"/>
                    <a:pt x="1012" y="21096"/>
                  </a:cubicBezTo>
                  <a:cubicBezTo>
                    <a:pt x="1061" y="21135"/>
                    <a:pt x="1086" y="21194"/>
                    <a:pt x="1075" y="21257"/>
                  </a:cubicBezTo>
                  <a:cubicBezTo>
                    <a:pt x="1061" y="21317"/>
                    <a:pt x="1012" y="21366"/>
                    <a:pt x="949" y="21383"/>
                  </a:cubicBezTo>
                  <a:cubicBezTo>
                    <a:pt x="882" y="21404"/>
                    <a:pt x="823" y="21443"/>
                    <a:pt x="770" y="21495"/>
                  </a:cubicBezTo>
                  <a:cubicBezTo>
                    <a:pt x="806" y="21485"/>
                    <a:pt x="855" y="21471"/>
                    <a:pt x="904" y="21471"/>
                  </a:cubicBezTo>
                  <a:cubicBezTo>
                    <a:pt x="971" y="21471"/>
                    <a:pt x="1038" y="21497"/>
                    <a:pt x="1068" y="21590"/>
                  </a:cubicBezTo>
                  <a:cubicBezTo>
                    <a:pt x="1072" y="21607"/>
                    <a:pt x="1079" y="21625"/>
                    <a:pt x="1089" y="21639"/>
                  </a:cubicBezTo>
                  <a:cubicBezTo>
                    <a:pt x="1110" y="21611"/>
                    <a:pt x="1121" y="21579"/>
                    <a:pt x="1121" y="21544"/>
                  </a:cubicBezTo>
                  <a:cubicBezTo>
                    <a:pt x="1121" y="21474"/>
                    <a:pt x="1173" y="21415"/>
                    <a:pt x="1243" y="21408"/>
                  </a:cubicBezTo>
                  <a:cubicBezTo>
                    <a:pt x="1250" y="21407"/>
                    <a:pt x="1256" y="21407"/>
                    <a:pt x="1263" y="21407"/>
                  </a:cubicBezTo>
                  <a:cubicBezTo>
                    <a:pt x="1388" y="21407"/>
                    <a:pt x="1560" y="21526"/>
                    <a:pt x="1600" y="21649"/>
                  </a:cubicBezTo>
                  <a:cubicBezTo>
                    <a:pt x="1618" y="21702"/>
                    <a:pt x="1604" y="21761"/>
                    <a:pt x="1565" y="21800"/>
                  </a:cubicBezTo>
                  <a:cubicBezTo>
                    <a:pt x="1490" y="21889"/>
                    <a:pt x="1300" y="21939"/>
                    <a:pt x="1146" y="21939"/>
                  </a:cubicBezTo>
                  <a:cubicBezTo>
                    <a:pt x="1108" y="21939"/>
                    <a:pt x="1072" y="21936"/>
                    <a:pt x="1040" y="21929"/>
                  </a:cubicBezTo>
                  <a:cubicBezTo>
                    <a:pt x="1030" y="21926"/>
                    <a:pt x="1020" y="21925"/>
                    <a:pt x="1010" y="21925"/>
                  </a:cubicBezTo>
                  <a:cubicBezTo>
                    <a:pt x="977" y="21925"/>
                    <a:pt x="943" y="21942"/>
                    <a:pt x="924" y="21971"/>
                  </a:cubicBezTo>
                  <a:cubicBezTo>
                    <a:pt x="896" y="22031"/>
                    <a:pt x="903" y="22101"/>
                    <a:pt x="949" y="22153"/>
                  </a:cubicBezTo>
                  <a:cubicBezTo>
                    <a:pt x="977" y="22192"/>
                    <a:pt x="998" y="22192"/>
                    <a:pt x="1005" y="22192"/>
                  </a:cubicBezTo>
                  <a:cubicBezTo>
                    <a:pt x="1006" y="22192"/>
                    <a:pt x="1007" y="22192"/>
                    <a:pt x="1008" y="22192"/>
                  </a:cubicBezTo>
                  <a:cubicBezTo>
                    <a:pt x="1068" y="22192"/>
                    <a:pt x="1160" y="22103"/>
                    <a:pt x="1233" y="22027"/>
                  </a:cubicBezTo>
                  <a:lnTo>
                    <a:pt x="1250" y="22013"/>
                  </a:lnTo>
                  <a:cubicBezTo>
                    <a:pt x="1322" y="21939"/>
                    <a:pt x="1489" y="21910"/>
                    <a:pt x="1658" y="21910"/>
                  </a:cubicBezTo>
                  <a:cubicBezTo>
                    <a:pt x="1769" y="21910"/>
                    <a:pt x="1880" y="21923"/>
                    <a:pt x="1968" y="21943"/>
                  </a:cubicBezTo>
                  <a:cubicBezTo>
                    <a:pt x="2101" y="21975"/>
                    <a:pt x="2174" y="22020"/>
                    <a:pt x="2195" y="22087"/>
                  </a:cubicBezTo>
                  <a:cubicBezTo>
                    <a:pt x="2209" y="22122"/>
                    <a:pt x="2206" y="22164"/>
                    <a:pt x="2181" y="22195"/>
                  </a:cubicBezTo>
                  <a:cubicBezTo>
                    <a:pt x="2149" y="22241"/>
                    <a:pt x="2090" y="22250"/>
                    <a:pt x="2022" y="22250"/>
                  </a:cubicBezTo>
                  <a:cubicBezTo>
                    <a:pt x="2001" y="22250"/>
                    <a:pt x="1979" y="22249"/>
                    <a:pt x="1957" y="22248"/>
                  </a:cubicBezTo>
                  <a:cubicBezTo>
                    <a:pt x="1947" y="22247"/>
                    <a:pt x="1936" y="22247"/>
                    <a:pt x="1926" y="22247"/>
                  </a:cubicBezTo>
                  <a:cubicBezTo>
                    <a:pt x="1900" y="22247"/>
                    <a:pt x="1873" y="22249"/>
                    <a:pt x="1849" y="22251"/>
                  </a:cubicBezTo>
                  <a:cubicBezTo>
                    <a:pt x="1800" y="22339"/>
                    <a:pt x="1642" y="22388"/>
                    <a:pt x="1544" y="22388"/>
                  </a:cubicBezTo>
                  <a:cubicBezTo>
                    <a:pt x="1446" y="22388"/>
                    <a:pt x="1415" y="22342"/>
                    <a:pt x="1397" y="22307"/>
                  </a:cubicBezTo>
                  <a:cubicBezTo>
                    <a:pt x="1362" y="22314"/>
                    <a:pt x="1334" y="22328"/>
                    <a:pt x="1310" y="22346"/>
                  </a:cubicBezTo>
                  <a:cubicBezTo>
                    <a:pt x="1261" y="22374"/>
                    <a:pt x="1229" y="22423"/>
                    <a:pt x="1219" y="22476"/>
                  </a:cubicBezTo>
                  <a:cubicBezTo>
                    <a:pt x="1215" y="22528"/>
                    <a:pt x="1194" y="22577"/>
                    <a:pt x="1159" y="22619"/>
                  </a:cubicBezTo>
                  <a:lnTo>
                    <a:pt x="1184" y="22626"/>
                  </a:lnTo>
                  <a:cubicBezTo>
                    <a:pt x="1198" y="22630"/>
                    <a:pt x="1210" y="22633"/>
                    <a:pt x="1221" y="22633"/>
                  </a:cubicBezTo>
                  <a:cubicBezTo>
                    <a:pt x="1253" y="22633"/>
                    <a:pt x="1272" y="22612"/>
                    <a:pt x="1306" y="22570"/>
                  </a:cubicBezTo>
                  <a:cubicBezTo>
                    <a:pt x="1365" y="22501"/>
                    <a:pt x="1442" y="22415"/>
                    <a:pt x="1625" y="22415"/>
                  </a:cubicBezTo>
                  <a:cubicBezTo>
                    <a:pt x="1639" y="22415"/>
                    <a:pt x="1652" y="22415"/>
                    <a:pt x="1667" y="22416"/>
                  </a:cubicBezTo>
                  <a:cubicBezTo>
                    <a:pt x="1677" y="22417"/>
                    <a:pt x="1687" y="22417"/>
                    <a:pt x="1697" y="22417"/>
                  </a:cubicBezTo>
                  <a:cubicBezTo>
                    <a:pt x="1827" y="22417"/>
                    <a:pt x="1932" y="22356"/>
                    <a:pt x="2020" y="22307"/>
                  </a:cubicBezTo>
                  <a:cubicBezTo>
                    <a:pt x="2085" y="22268"/>
                    <a:pt x="2144" y="22235"/>
                    <a:pt x="2200" y="22235"/>
                  </a:cubicBezTo>
                  <a:cubicBezTo>
                    <a:pt x="2214" y="22235"/>
                    <a:pt x="2227" y="22237"/>
                    <a:pt x="2241" y="22241"/>
                  </a:cubicBezTo>
                  <a:cubicBezTo>
                    <a:pt x="2286" y="22255"/>
                    <a:pt x="2321" y="22290"/>
                    <a:pt x="2339" y="22332"/>
                  </a:cubicBezTo>
                  <a:cubicBezTo>
                    <a:pt x="2388" y="22430"/>
                    <a:pt x="2356" y="22535"/>
                    <a:pt x="2255" y="22612"/>
                  </a:cubicBezTo>
                  <a:cubicBezTo>
                    <a:pt x="2184" y="22666"/>
                    <a:pt x="2087" y="22700"/>
                    <a:pt x="1997" y="22700"/>
                  </a:cubicBezTo>
                  <a:cubicBezTo>
                    <a:pt x="1931" y="22700"/>
                    <a:pt x="1869" y="22682"/>
                    <a:pt x="1824" y="22640"/>
                  </a:cubicBezTo>
                  <a:cubicBezTo>
                    <a:pt x="1813" y="22627"/>
                    <a:pt x="1797" y="22620"/>
                    <a:pt x="1782" y="22620"/>
                  </a:cubicBezTo>
                  <a:cubicBezTo>
                    <a:pt x="1774" y="22620"/>
                    <a:pt x="1765" y="22622"/>
                    <a:pt x="1758" y="22626"/>
                  </a:cubicBezTo>
                  <a:cubicBezTo>
                    <a:pt x="1705" y="22654"/>
                    <a:pt x="1646" y="22759"/>
                    <a:pt x="1653" y="22854"/>
                  </a:cubicBezTo>
                  <a:cubicBezTo>
                    <a:pt x="1660" y="22896"/>
                    <a:pt x="1642" y="22938"/>
                    <a:pt x="1611" y="22966"/>
                  </a:cubicBezTo>
                  <a:cubicBezTo>
                    <a:pt x="1585" y="22985"/>
                    <a:pt x="1554" y="22993"/>
                    <a:pt x="1517" y="22993"/>
                  </a:cubicBezTo>
                  <a:cubicBezTo>
                    <a:pt x="1441" y="22993"/>
                    <a:pt x="1342" y="22957"/>
                    <a:pt x="1226" y="22917"/>
                  </a:cubicBezTo>
                  <a:cubicBezTo>
                    <a:pt x="1152" y="22889"/>
                    <a:pt x="1079" y="22864"/>
                    <a:pt x="1001" y="22850"/>
                  </a:cubicBezTo>
                  <a:cubicBezTo>
                    <a:pt x="994" y="22848"/>
                    <a:pt x="987" y="22847"/>
                    <a:pt x="981" y="22847"/>
                  </a:cubicBezTo>
                  <a:cubicBezTo>
                    <a:pt x="974" y="22847"/>
                    <a:pt x="968" y="22848"/>
                    <a:pt x="963" y="22850"/>
                  </a:cubicBezTo>
                  <a:cubicBezTo>
                    <a:pt x="959" y="22878"/>
                    <a:pt x="998" y="22980"/>
                    <a:pt x="1117" y="23102"/>
                  </a:cubicBezTo>
                  <a:cubicBezTo>
                    <a:pt x="1161" y="23149"/>
                    <a:pt x="1193" y="23163"/>
                    <a:pt x="1230" y="23163"/>
                  </a:cubicBezTo>
                  <a:cubicBezTo>
                    <a:pt x="1249" y="23163"/>
                    <a:pt x="1269" y="23159"/>
                    <a:pt x="1292" y="23155"/>
                  </a:cubicBezTo>
                  <a:cubicBezTo>
                    <a:pt x="1321" y="23147"/>
                    <a:pt x="1350" y="23144"/>
                    <a:pt x="1379" y="23144"/>
                  </a:cubicBezTo>
                  <a:cubicBezTo>
                    <a:pt x="1449" y="23144"/>
                    <a:pt x="1516" y="23164"/>
                    <a:pt x="1576" y="23204"/>
                  </a:cubicBezTo>
                  <a:cubicBezTo>
                    <a:pt x="1635" y="23242"/>
                    <a:pt x="1691" y="23288"/>
                    <a:pt x="1740" y="23340"/>
                  </a:cubicBezTo>
                  <a:cubicBezTo>
                    <a:pt x="1758" y="23361"/>
                    <a:pt x="1775" y="23375"/>
                    <a:pt x="1796" y="23389"/>
                  </a:cubicBezTo>
                  <a:cubicBezTo>
                    <a:pt x="1796" y="23389"/>
                    <a:pt x="1810" y="23389"/>
                    <a:pt x="1849" y="23354"/>
                  </a:cubicBezTo>
                  <a:cubicBezTo>
                    <a:pt x="1859" y="23347"/>
                    <a:pt x="1866" y="23337"/>
                    <a:pt x="1877" y="23330"/>
                  </a:cubicBezTo>
                  <a:lnTo>
                    <a:pt x="1852" y="23319"/>
                  </a:lnTo>
                  <a:cubicBezTo>
                    <a:pt x="1821" y="23309"/>
                    <a:pt x="1789" y="23295"/>
                    <a:pt x="1761" y="23277"/>
                  </a:cubicBezTo>
                  <a:cubicBezTo>
                    <a:pt x="1691" y="23232"/>
                    <a:pt x="1670" y="23137"/>
                    <a:pt x="1712" y="23064"/>
                  </a:cubicBezTo>
                  <a:cubicBezTo>
                    <a:pt x="1742" y="23007"/>
                    <a:pt x="1804" y="22966"/>
                    <a:pt x="1889" y="22966"/>
                  </a:cubicBezTo>
                  <a:cubicBezTo>
                    <a:pt x="1934" y="22966"/>
                    <a:pt x="1985" y="22977"/>
                    <a:pt x="2041" y="23004"/>
                  </a:cubicBezTo>
                  <a:cubicBezTo>
                    <a:pt x="2074" y="23019"/>
                    <a:pt x="2109" y="23027"/>
                    <a:pt x="2144" y="23027"/>
                  </a:cubicBezTo>
                  <a:cubicBezTo>
                    <a:pt x="2198" y="23027"/>
                    <a:pt x="2251" y="23009"/>
                    <a:pt x="2293" y="22973"/>
                  </a:cubicBezTo>
                  <a:cubicBezTo>
                    <a:pt x="2374" y="22903"/>
                    <a:pt x="2405" y="22794"/>
                    <a:pt x="2374" y="22693"/>
                  </a:cubicBezTo>
                  <a:cubicBezTo>
                    <a:pt x="2279" y="22307"/>
                    <a:pt x="2699" y="22160"/>
                    <a:pt x="2899" y="22090"/>
                  </a:cubicBezTo>
                  <a:cubicBezTo>
                    <a:pt x="2946" y="22075"/>
                    <a:pt x="2985" y="22068"/>
                    <a:pt x="3015" y="22068"/>
                  </a:cubicBezTo>
                  <a:cubicBezTo>
                    <a:pt x="3094" y="22068"/>
                    <a:pt x="3123" y="22109"/>
                    <a:pt x="3134" y="22139"/>
                  </a:cubicBezTo>
                  <a:cubicBezTo>
                    <a:pt x="3179" y="22248"/>
                    <a:pt x="3025" y="22420"/>
                    <a:pt x="2874" y="22483"/>
                  </a:cubicBezTo>
                  <a:cubicBezTo>
                    <a:pt x="2755" y="22532"/>
                    <a:pt x="2734" y="22556"/>
                    <a:pt x="2731" y="22570"/>
                  </a:cubicBezTo>
                  <a:cubicBezTo>
                    <a:pt x="2727" y="22581"/>
                    <a:pt x="2731" y="22605"/>
                    <a:pt x="2811" y="22693"/>
                  </a:cubicBezTo>
                  <a:cubicBezTo>
                    <a:pt x="2835" y="22718"/>
                    <a:pt x="2860" y="22730"/>
                    <a:pt x="2890" y="22730"/>
                  </a:cubicBezTo>
                  <a:cubicBezTo>
                    <a:pt x="2922" y="22730"/>
                    <a:pt x="2961" y="22717"/>
                    <a:pt x="3014" y="22696"/>
                  </a:cubicBezTo>
                  <a:cubicBezTo>
                    <a:pt x="3062" y="22679"/>
                    <a:pt x="3118" y="22658"/>
                    <a:pt x="3173" y="22658"/>
                  </a:cubicBezTo>
                  <a:cubicBezTo>
                    <a:pt x="3219" y="22658"/>
                    <a:pt x="3266" y="22672"/>
                    <a:pt x="3309" y="22714"/>
                  </a:cubicBezTo>
                  <a:cubicBezTo>
                    <a:pt x="3344" y="22745"/>
                    <a:pt x="3358" y="22791"/>
                    <a:pt x="3351" y="22836"/>
                  </a:cubicBezTo>
                  <a:cubicBezTo>
                    <a:pt x="3333" y="22903"/>
                    <a:pt x="3256" y="22927"/>
                    <a:pt x="3172" y="22955"/>
                  </a:cubicBezTo>
                  <a:cubicBezTo>
                    <a:pt x="3116" y="22973"/>
                    <a:pt x="3032" y="22997"/>
                    <a:pt x="3014" y="23032"/>
                  </a:cubicBezTo>
                  <a:cubicBezTo>
                    <a:pt x="3004" y="23057"/>
                    <a:pt x="3035" y="23102"/>
                    <a:pt x="3060" y="23148"/>
                  </a:cubicBezTo>
                  <a:cubicBezTo>
                    <a:pt x="3095" y="23204"/>
                    <a:pt x="3137" y="23270"/>
                    <a:pt x="3116" y="23344"/>
                  </a:cubicBezTo>
                  <a:cubicBezTo>
                    <a:pt x="3098" y="23393"/>
                    <a:pt x="3056" y="23431"/>
                    <a:pt x="3007" y="23452"/>
                  </a:cubicBezTo>
                  <a:cubicBezTo>
                    <a:pt x="2986" y="23465"/>
                    <a:pt x="2961" y="23471"/>
                    <a:pt x="2936" y="23471"/>
                  </a:cubicBezTo>
                  <a:cubicBezTo>
                    <a:pt x="2914" y="23471"/>
                    <a:pt x="2891" y="23466"/>
                    <a:pt x="2871" y="23456"/>
                  </a:cubicBezTo>
                  <a:cubicBezTo>
                    <a:pt x="2790" y="23410"/>
                    <a:pt x="2776" y="23295"/>
                    <a:pt x="2762" y="23172"/>
                  </a:cubicBezTo>
                  <a:cubicBezTo>
                    <a:pt x="2755" y="23116"/>
                    <a:pt x="2741" y="23022"/>
                    <a:pt x="2724" y="23004"/>
                  </a:cubicBezTo>
                  <a:cubicBezTo>
                    <a:pt x="2718" y="23000"/>
                    <a:pt x="2708" y="22997"/>
                    <a:pt x="2697" y="22997"/>
                  </a:cubicBezTo>
                  <a:cubicBezTo>
                    <a:pt x="2687" y="22997"/>
                    <a:pt x="2678" y="22999"/>
                    <a:pt x="2671" y="23008"/>
                  </a:cubicBezTo>
                  <a:cubicBezTo>
                    <a:pt x="2657" y="23022"/>
                    <a:pt x="2633" y="23106"/>
                    <a:pt x="2699" y="23256"/>
                  </a:cubicBezTo>
                  <a:cubicBezTo>
                    <a:pt x="2724" y="23309"/>
                    <a:pt x="2769" y="23417"/>
                    <a:pt x="2699" y="23463"/>
                  </a:cubicBezTo>
                  <a:cubicBezTo>
                    <a:pt x="2692" y="23468"/>
                    <a:pt x="2679" y="23477"/>
                    <a:pt x="2656" y="23477"/>
                  </a:cubicBezTo>
                  <a:cubicBezTo>
                    <a:pt x="2607" y="23477"/>
                    <a:pt x="2512" y="23436"/>
                    <a:pt x="2325" y="23232"/>
                  </a:cubicBezTo>
                  <a:cubicBezTo>
                    <a:pt x="2314" y="23214"/>
                    <a:pt x="2297" y="23207"/>
                    <a:pt x="2279" y="23207"/>
                  </a:cubicBezTo>
                  <a:cubicBezTo>
                    <a:pt x="2258" y="23214"/>
                    <a:pt x="2244" y="23228"/>
                    <a:pt x="2241" y="23249"/>
                  </a:cubicBezTo>
                  <a:cubicBezTo>
                    <a:pt x="2234" y="23284"/>
                    <a:pt x="2244" y="23323"/>
                    <a:pt x="2276" y="23344"/>
                  </a:cubicBezTo>
                  <a:cubicBezTo>
                    <a:pt x="2293" y="23365"/>
                    <a:pt x="2339" y="23410"/>
                    <a:pt x="2318" y="23466"/>
                  </a:cubicBezTo>
                  <a:cubicBezTo>
                    <a:pt x="2297" y="23522"/>
                    <a:pt x="2237" y="23529"/>
                    <a:pt x="2171" y="23533"/>
                  </a:cubicBezTo>
                  <a:cubicBezTo>
                    <a:pt x="2048" y="23543"/>
                    <a:pt x="2013" y="23557"/>
                    <a:pt x="2013" y="23610"/>
                  </a:cubicBezTo>
                  <a:cubicBezTo>
                    <a:pt x="2013" y="23627"/>
                    <a:pt x="2017" y="23645"/>
                    <a:pt x="2020" y="23659"/>
                  </a:cubicBezTo>
                  <a:cubicBezTo>
                    <a:pt x="2048" y="23659"/>
                    <a:pt x="2073" y="23652"/>
                    <a:pt x="2101" y="23645"/>
                  </a:cubicBezTo>
                  <a:cubicBezTo>
                    <a:pt x="2152" y="23630"/>
                    <a:pt x="2207" y="23623"/>
                    <a:pt x="2261" y="23623"/>
                  </a:cubicBezTo>
                  <a:cubicBezTo>
                    <a:pt x="2295" y="23623"/>
                    <a:pt x="2330" y="23625"/>
                    <a:pt x="2363" y="23631"/>
                  </a:cubicBezTo>
                  <a:cubicBezTo>
                    <a:pt x="2524" y="23666"/>
                    <a:pt x="2556" y="23813"/>
                    <a:pt x="2580" y="23932"/>
                  </a:cubicBezTo>
                  <a:cubicBezTo>
                    <a:pt x="2587" y="23995"/>
                    <a:pt x="2612" y="24054"/>
                    <a:pt x="2647" y="24107"/>
                  </a:cubicBezTo>
                  <a:cubicBezTo>
                    <a:pt x="2650" y="24082"/>
                    <a:pt x="2650" y="24047"/>
                    <a:pt x="2654" y="24023"/>
                  </a:cubicBezTo>
                  <a:cubicBezTo>
                    <a:pt x="2661" y="23890"/>
                    <a:pt x="2671" y="23718"/>
                    <a:pt x="2808" y="23690"/>
                  </a:cubicBezTo>
                  <a:cubicBezTo>
                    <a:pt x="2820" y="23688"/>
                    <a:pt x="2832" y="23687"/>
                    <a:pt x="2842" y="23687"/>
                  </a:cubicBezTo>
                  <a:cubicBezTo>
                    <a:pt x="2946" y="23687"/>
                    <a:pt x="2971" y="23803"/>
                    <a:pt x="2990" y="23879"/>
                  </a:cubicBezTo>
                  <a:cubicBezTo>
                    <a:pt x="3014" y="24005"/>
                    <a:pt x="3046" y="24142"/>
                    <a:pt x="3228" y="24201"/>
                  </a:cubicBezTo>
                  <a:cubicBezTo>
                    <a:pt x="3256" y="24212"/>
                    <a:pt x="3281" y="24219"/>
                    <a:pt x="3298" y="24222"/>
                  </a:cubicBezTo>
                  <a:cubicBezTo>
                    <a:pt x="3270" y="24149"/>
                    <a:pt x="3295" y="24061"/>
                    <a:pt x="3365" y="24019"/>
                  </a:cubicBezTo>
                  <a:cubicBezTo>
                    <a:pt x="3393" y="23995"/>
                    <a:pt x="3424" y="23984"/>
                    <a:pt x="3459" y="23984"/>
                  </a:cubicBezTo>
                  <a:cubicBezTo>
                    <a:pt x="3575" y="23984"/>
                    <a:pt x="3683" y="24110"/>
                    <a:pt x="3781" y="24226"/>
                  </a:cubicBezTo>
                  <a:cubicBezTo>
                    <a:pt x="3851" y="24310"/>
                    <a:pt x="3932" y="24404"/>
                    <a:pt x="3988" y="24418"/>
                  </a:cubicBezTo>
                  <a:lnTo>
                    <a:pt x="3998" y="24418"/>
                  </a:lnTo>
                  <a:cubicBezTo>
                    <a:pt x="3970" y="24324"/>
                    <a:pt x="3921" y="24233"/>
                    <a:pt x="3851" y="24163"/>
                  </a:cubicBezTo>
                  <a:cubicBezTo>
                    <a:pt x="3820" y="24135"/>
                    <a:pt x="3802" y="24093"/>
                    <a:pt x="3799" y="24051"/>
                  </a:cubicBezTo>
                  <a:lnTo>
                    <a:pt x="3736" y="24051"/>
                  </a:lnTo>
                  <a:cubicBezTo>
                    <a:pt x="3722" y="24051"/>
                    <a:pt x="3711" y="24047"/>
                    <a:pt x="3701" y="24037"/>
                  </a:cubicBezTo>
                  <a:cubicBezTo>
                    <a:pt x="3694" y="24030"/>
                    <a:pt x="3687" y="24023"/>
                    <a:pt x="3683" y="24016"/>
                  </a:cubicBezTo>
                  <a:cubicBezTo>
                    <a:pt x="3638" y="23925"/>
                    <a:pt x="3610" y="23582"/>
                    <a:pt x="3676" y="22244"/>
                  </a:cubicBezTo>
                  <a:lnTo>
                    <a:pt x="3652" y="22244"/>
                  </a:lnTo>
                  <a:cubicBezTo>
                    <a:pt x="3626" y="22245"/>
                    <a:pt x="3599" y="22246"/>
                    <a:pt x="3571" y="22246"/>
                  </a:cubicBezTo>
                  <a:cubicBezTo>
                    <a:pt x="3442" y="22246"/>
                    <a:pt x="3297" y="22232"/>
                    <a:pt x="3225" y="22143"/>
                  </a:cubicBezTo>
                  <a:cubicBezTo>
                    <a:pt x="3183" y="22090"/>
                    <a:pt x="3172" y="22020"/>
                    <a:pt x="3193" y="21957"/>
                  </a:cubicBezTo>
                  <a:cubicBezTo>
                    <a:pt x="3197" y="21933"/>
                    <a:pt x="3207" y="21912"/>
                    <a:pt x="3221" y="21894"/>
                  </a:cubicBezTo>
                  <a:lnTo>
                    <a:pt x="3218" y="21891"/>
                  </a:lnTo>
                  <a:cubicBezTo>
                    <a:pt x="3200" y="21880"/>
                    <a:pt x="3186" y="21870"/>
                    <a:pt x="3172" y="21859"/>
                  </a:cubicBezTo>
                  <a:lnTo>
                    <a:pt x="3162" y="21852"/>
                  </a:lnTo>
                  <a:cubicBezTo>
                    <a:pt x="3148" y="21845"/>
                    <a:pt x="3137" y="21835"/>
                    <a:pt x="3123" y="21828"/>
                  </a:cubicBezTo>
                  <a:lnTo>
                    <a:pt x="3116" y="21824"/>
                  </a:lnTo>
                  <a:cubicBezTo>
                    <a:pt x="3098" y="21817"/>
                    <a:pt x="3084" y="21810"/>
                    <a:pt x="3067" y="21803"/>
                  </a:cubicBezTo>
                  <a:lnTo>
                    <a:pt x="3056" y="21800"/>
                  </a:lnTo>
                  <a:cubicBezTo>
                    <a:pt x="3042" y="21793"/>
                    <a:pt x="3025" y="21789"/>
                    <a:pt x="3011" y="21786"/>
                  </a:cubicBezTo>
                  <a:cubicBezTo>
                    <a:pt x="2937" y="21766"/>
                    <a:pt x="2827" y="21758"/>
                    <a:pt x="2704" y="21758"/>
                  </a:cubicBezTo>
                  <a:cubicBezTo>
                    <a:pt x="2481" y="21758"/>
                    <a:pt x="2219" y="21783"/>
                    <a:pt x="2066" y="21803"/>
                  </a:cubicBezTo>
                  <a:cubicBezTo>
                    <a:pt x="2060" y="21804"/>
                    <a:pt x="2053" y="21805"/>
                    <a:pt x="2047" y="21805"/>
                  </a:cubicBezTo>
                  <a:cubicBezTo>
                    <a:pt x="2027" y="21805"/>
                    <a:pt x="2007" y="21801"/>
                    <a:pt x="1989" y="21793"/>
                  </a:cubicBezTo>
                  <a:cubicBezTo>
                    <a:pt x="1919" y="21768"/>
                    <a:pt x="1873" y="21695"/>
                    <a:pt x="1838" y="21639"/>
                  </a:cubicBezTo>
                  <a:cubicBezTo>
                    <a:pt x="1824" y="21614"/>
                    <a:pt x="1807" y="21593"/>
                    <a:pt x="1789" y="21572"/>
                  </a:cubicBezTo>
                  <a:cubicBezTo>
                    <a:pt x="1758" y="21569"/>
                    <a:pt x="1733" y="21555"/>
                    <a:pt x="1716" y="21530"/>
                  </a:cubicBezTo>
                  <a:cubicBezTo>
                    <a:pt x="1649" y="21436"/>
                    <a:pt x="1642" y="21131"/>
                    <a:pt x="1681" y="20939"/>
                  </a:cubicBezTo>
                  <a:cubicBezTo>
                    <a:pt x="1684" y="20914"/>
                    <a:pt x="1691" y="20886"/>
                    <a:pt x="1702" y="20862"/>
                  </a:cubicBezTo>
                  <a:cubicBezTo>
                    <a:pt x="1702" y="20858"/>
                    <a:pt x="1705" y="20851"/>
                    <a:pt x="1705" y="20844"/>
                  </a:cubicBezTo>
                  <a:cubicBezTo>
                    <a:pt x="1684" y="20820"/>
                    <a:pt x="1544" y="20816"/>
                    <a:pt x="1474" y="20813"/>
                  </a:cubicBezTo>
                  <a:cubicBezTo>
                    <a:pt x="1376" y="20813"/>
                    <a:pt x="1285" y="20809"/>
                    <a:pt x="1226" y="20778"/>
                  </a:cubicBezTo>
                  <a:cubicBezTo>
                    <a:pt x="1117" y="20725"/>
                    <a:pt x="1135" y="20634"/>
                    <a:pt x="1145" y="20575"/>
                  </a:cubicBezTo>
                  <a:cubicBezTo>
                    <a:pt x="1156" y="20515"/>
                    <a:pt x="1163" y="20466"/>
                    <a:pt x="1107" y="20403"/>
                  </a:cubicBezTo>
                  <a:cubicBezTo>
                    <a:pt x="1058" y="20351"/>
                    <a:pt x="1029" y="20284"/>
                    <a:pt x="1019" y="20217"/>
                  </a:cubicBezTo>
                  <a:cubicBezTo>
                    <a:pt x="1012" y="20116"/>
                    <a:pt x="1022" y="20014"/>
                    <a:pt x="1054" y="19920"/>
                  </a:cubicBezTo>
                  <a:cubicBezTo>
                    <a:pt x="1061" y="19899"/>
                    <a:pt x="1068" y="19878"/>
                    <a:pt x="1072" y="19857"/>
                  </a:cubicBezTo>
                  <a:cubicBezTo>
                    <a:pt x="1072" y="19850"/>
                    <a:pt x="1072" y="19846"/>
                    <a:pt x="1075" y="19839"/>
                  </a:cubicBezTo>
                  <a:cubicBezTo>
                    <a:pt x="1093" y="19703"/>
                    <a:pt x="1205" y="19423"/>
                    <a:pt x="1436" y="19423"/>
                  </a:cubicBezTo>
                  <a:cubicBezTo>
                    <a:pt x="1464" y="19423"/>
                    <a:pt x="1471" y="19423"/>
                    <a:pt x="1485" y="19325"/>
                  </a:cubicBezTo>
                  <a:cubicBezTo>
                    <a:pt x="1499" y="19241"/>
                    <a:pt x="1516" y="19129"/>
                    <a:pt x="1628" y="19055"/>
                  </a:cubicBezTo>
                  <a:cubicBezTo>
                    <a:pt x="1656" y="19038"/>
                    <a:pt x="1670" y="19031"/>
                    <a:pt x="1607" y="18926"/>
                  </a:cubicBezTo>
                  <a:cubicBezTo>
                    <a:pt x="1562" y="18849"/>
                    <a:pt x="1492" y="18726"/>
                    <a:pt x="1607" y="18635"/>
                  </a:cubicBezTo>
                  <a:cubicBezTo>
                    <a:pt x="1646" y="18604"/>
                    <a:pt x="1653" y="18562"/>
                    <a:pt x="1663" y="18495"/>
                  </a:cubicBezTo>
                  <a:cubicBezTo>
                    <a:pt x="1670" y="18411"/>
                    <a:pt x="1688" y="18285"/>
                    <a:pt x="1866" y="18261"/>
                  </a:cubicBezTo>
                  <a:cubicBezTo>
                    <a:pt x="1919" y="18253"/>
                    <a:pt x="1926" y="18243"/>
                    <a:pt x="1915" y="18127"/>
                  </a:cubicBezTo>
                  <a:cubicBezTo>
                    <a:pt x="1908" y="18050"/>
                    <a:pt x="1894" y="17921"/>
                    <a:pt x="2020" y="17882"/>
                  </a:cubicBezTo>
                  <a:cubicBezTo>
                    <a:pt x="2027" y="17882"/>
                    <a:pt x="2034" y="17879"/>
                    <a:pt x="2041" y="17875"/>
                  </a:cubicBezTo>
                  <a:cubicBezTo>
                    <a:pt x="2038" y="17844"/>
                    <a:pt x="2031" y="17809"/>
                    <a:pt x="2020" y="17781"/>
                  </a:cubicBezTo>
                  <a:cubicBezTo>
                    <a:pt x="1996" y="17714"/>
                    <a:pt x="1985" y="17648"/>
                    <a:pt x="1982" y="17581"/>
                  </a:cubicBezTo>
                  <a:cubicBezTo>
                    <a:pt x="1985" y="17553"/>
                    <a:pt x="1985" y="17529"/>
                    <a:pt x="1992" y="17504"/>
                  </a:cubicBezTo>
                  <a:cubicBezTo>
                    <a:pt x="2003" y="17445"/>
                    <a:pt x="1999" y="17385"/>
                    <a:pt x="1982" y="17329"/>
                  </a:cubicBezTo>
                  <a:cubicBezTo>
                    <a:pt x="1961" y="17235"/>
                    <a:pt x="1933" y="17102"/>
                    <a:pt x="2115" y="17032"/>
                  </a:cubicBezTo>
                  <a:cubicBezTo>
                    <a:pt x="2153" y="17018"/>
                    <a:pt x="2178" y="17000"/>
                    <a:pt x="2178" y="16983"/>
                  </a:cubicBezTo>
                  <a:cubicBezTo>
                    <a:pt x="2181" y="16955"/>
                    <a:pt x="2143" y="16885"/>
                    <a:pt x="2017" y="16787"/>
                  </a:cubicBezTo>
                  <a:cubicBezTo>
                    <a:pt x="1989" y="16762"/>
                    <a:pt x="1915" y="16706"/>
                    <a:pt x="1940" y="16636"/>
                  </a:cubicBezTo>
                  <a:cubicBezTo>
                    <a:pt x="1968" y="16552"/>
                    <a:pt x="2087" y="16552"/>
                    <a:pt x="2269" y="16552"/>
                  </a:cubicBezTo>
                  <a:cubicBezTo>
                    <a:pt x="2286" y="16552"/>
                    <a:pt x="2293" y="16549"/>
                    <a:pt x="2297" y="16545"/>
                  </a:cubicBezTo>
                  <a:lnTo>
                    <a:pt x="2297" y="16542"/>
                  </a:lnTo>
                  <a:cubicBezTo>
                    <a:pt x="2297" y="16538"/>
                    <a:pt x="2297" y="16531"/>
                    <a:pt x="2297" y="16524"/>
                  </a:cubicBezTo>
                  <a:cubicBezTo>
                    <a:pt x="2297" y="16510"/>
                    <a:pt x="2293" y="16496"/>
                    <a:pt x="2286" y="16482"/>
                  </a:cubicBezTo>
                  <a:cubicBezTo>
                    <a:pt x="2283" y="16475"/>
                    <a:pt x="2276" y="16465"/>
                    <a:pt x="2272" y="16461"/>
                  </a:cubicBezTo>
                  <a:cubicBezTo>
                    <a:pt x="2259" y="16443"/>
                    <a:pt x="2242" y="16434"/>
                    <a:pt x="2222" y="16434"/>
                  </a:cubicBezTo>
                  <a:cubicBezTo>
                    <a:pt x="2216" y="16434"/>
                    <a:pt x="2209" y="16435"/>
                    <a:pt x="2202" y="16437"/>
                  </a:cubicBezTo>
                  <a:cubicBezTo>
                    <a:pt x="2172" y="16446"/>
                    <a:pt x="2142" y="16450"/>
                    <a:pt x="2113" y="16450"/>
                  </a:cubicBezTo>
                  <a:cubicBezTo>
                    <a:pt x="2030" y="16450"/>
                    <a:pt x="1958" y="16413"/>
                    <a:pt x="1919" y="16346"/>
                  </a:cubicBezTo>
                  <a:cubicBezTo>
                    <a:pt x="1863" y="16251"/>
                    <a:pt x="1884" y="16135"/>
                    <a:pt x="1975" y="16048"/>
                  </a:cubicBezTo>
                  <a:cubicBezTo>
                    <a:pt x="2010" y="16013"/>
                    <a:pt x="2010" y="15995"/>
                    <a:pt x="1943" y="15918"/>
                  </a:cubicBezTo>
                  <a:cubicBezTo>
                    <a:pt x="1898" y="15866"/>
                    <a:pt x="1838" y="15799"/>
                    <a:pt x="1880" y="15719"/>
                  </a:cubicBezTo>
                  <a:cubicBezTo>
                    <a:pt x="1915" y="15649"/>
                    <a:pt x="1919" y="15551"/>
                    <a:pt x="1852" y="15509"/>
                  </a:cubicBezTo>
                  <a:cubicBezTo>
                    <a:pt x="1747" y="15439"/>
                    <a:pt x="1772" y="15180"/>
                    <a:pt x="1800" y="15054"/>
                  </a:cubicBezTo>
                  <a:cubicBezTo>
                    <a:pt x="1831" y="14914"/>
                    <a:pt x="1884" y="14833"/>
                    <a:pt x="1954" y="14816"/>
                  </a:cubicBezTo>
                  <a:cubicBezTo>
                    <a:pt x="1982" y="14763"/>
                    <a:pt x="1961" y="14539"/>
                    <a:pt x="1950" y="14438"/>
                  </a:cubicBezTo>
                  <a:cubicBezTo>
                    <a:pt x="1943" y="14378"/>
                    <a:pt x="1940" y="14322"/>
                    <a:pt x="1940" y="14287"/>
                  </a:cubicBezTo>
                  <a:cubicBezTo>
                    <a:pt x="1933" y="14231"/>
                    <a:pt x="1912" y="14175"/>
                    <a:pt x="1884" y="14126"/>
                  </a:cubicBezTo>
                  <a:cubicBezTo>
                    <a:pt x="1849" y="14056"/>
                    <a:pt x="1814" y="13979"/>
                    <a:pt x="1824" y="13902"/>
                  </a:cubicBezTo>
                  <a:cubicBezTo>
                    <a:pt x="1835" y="13849"/>
                    <a:pt x="1859" y="13800"/>
                    <a:pt x="1894" y="13758"/>
                  </a:cubicBezTo>
                  <a:cubicBezTo>
                    <a:pt x="1947" y="13695"/>
                    <a:pt x="1975" y="13615"/>
                    <a:pt x="1971" y="13534"/>
                  </a:cubicBezTo>
                  <a:cubicBezTo>
                    <a:pt x="1971" y="13373"/>
                    <a:pt x="1992" y="13160"/>
                    <a:pt x="2164" y="13125"/>
                  </a:cubicBezTo>
                  <a:cubicBezTo>
                    <a:pt x="2171" y="13069"/>
                    <a:pt x="2167" y="13013"/>
                    <a:pt x="2160" y="12957"/>
                  </a:cubicBezTo>
                  <a:cubicBezTo>
                    <a:pt x="2150" y="12894"/>
                    <a:pt x="2150" y="12831"/>
                    <a:pt x="2153" y="12768"/>
                  </a:cubicBezTo>
                  <a:cubicBezTo>
                    <a:pt x="2167" y="12663"/>
                    <a:pt x="2272" y="12649"/>
                    <a:pt x="2332" y="12638"/>
                  </a:cubicBezTo>
                  <a:cubicBezTo>
                    <a:pt x="2419" y="12628"/>
                    <a:pt x="2454" y="12617"/>
                    <a:pt x="2465" y="12551"/>
                  </a:cubicBezTo>
                  <a:cubicBezTo>
                    <a:pt x="2472" y="12523"/>
                    <a:pt x="2468" y="12491"/>
                    <a:pt x="2458" y="12463"/>
                  </a:cubicBezTo>
                  <a:cubicBezTo>
                    <a:pt x="2444" y="12442"/>
                    <a:pt x="2430" y="12425"/>
                    <a:pt x="2409" y="12411"/>
                  </a:cubicBezTo>
                  <a:cubicBezTo>
                    <a:pt x="2370" y="12379"/>
                    <a:pt x="2311" y="12330"/>
                    <a:pt x="2335" y="12232"/>
                  </a:cubicBezTo>
                  <a:cubicBezTo>
                    <a:pt x="2353" y="12152"/>
                    <a:pt x="2346" y="12054"/>
                    <a:pt x="2335" y="11917"/>
                  </a:cubicBezTo>
                  <a:cubicBezTo>
                    <a:pt x="2325" y="11812"/>
                    <a:pt x="2314" y="11682"/>
                    <a:pt x="2314" y="11525"/>
                  </a:cubicBezTo>
                  <a:cubicBezTo>
                    <a:pt x="2314" y="11203"/>
                    <a:pt x="2524" y="11077"/>
                    <a:pt x="2661" y="10989"/>
                  </a:cubicBezTo>
                  <a:cubicBezTo>
                    <a:pt x="2692" y="10972"/>
                    <a:pt x="2720" y="10954"/>
                    <a:pt x="2748" y="10933"/>
                  </a:cubicBezTo>
                  <a:cubicBezTo>
                    <a:pt x="2773" y="10902"/>
                    <a:pt x="2738" y="10744"/>
                    <a:pt x="2720" y="10657"/>
                  </a:cubicBezTo>
                  <a:cubicBezTo>
                    <a:pt x="2678" y="10468"/>
                    <a:pt x="2640" y="10289"/>
                    <a:pt x="2762" y="10233"/>
                  </a:cubicBezTo>
                  <a:cubicBezTo>
                    <a:pt x="2804" y="10216"/>
                    <a:pt x="2811" y="10170"/>
                    <a:pt x="2822" y="10079"/>
                  </a:cubicBezTo>
                  <a:cubicBezTo>
                    <a:pt x="2829" y="9995"/>
                    <a:pt x="2839" y="9900"/>
                    <a:pt x="2916" y="9844"/>
                  </a:cubicBezTo>
                  <a:cubicBezTo>
                    <a:pt x="2962" y="9809"/>
                    <a:pt x="2976" y="9746"/>
                    <a:pt x="2990" y="9638"/>
                  </a:cubicBezTo>
                  <a:cubicBezTo>
                    <a:pt x="3000" y="9561"/>
                    <a:pt x="3018" y="9487"/>
                    <a:pt x="3039" y="9417"/>
                  </a:cubicBezTo>
                  <a:cubicBezTo>
                    <a:pt x="3067" y="9337"/>
                    <a:pt x="3035" y="9281"/>
                    <a:pt x="2986" y="9200"/>
                  </a:cubicBezTo>
                  <a:cubicBezTo>
                    <a:pt x="2937" y="9130"/>
                    <a:pt x="2909" y="9046"/>
                    <a:pt x="2906" y="8962"/>
                  </a:cubicBezTo>
                  <a:cubicBezTo>
                    <a:pt x="2906" y="8910"/>
                    <a:pt x="2902" y="8861"/>
                    <a:pt x="2895" y="8808"/>
                  </a:cubicBezTo>
                  <a:cubicBezTo>
                    <a:pt x="2871" y="8682"/>
                    <a:pt x="2818" y="8560"/>
                    <a:pt x="2738" y="8458"/>
                  </a:cubicBezTo>
                  <a:cubicBezTo>
                    <a:pt x="2601" y="8280"/>
                    <a:pt x="2612" y="7979"/>
                    <a:pt x="2675" y="7845"/>
                  </a:cubicBezTo>
                  <a:cubicBezTo>
                    <a:pt x="2685" y="7828"/>
                    <a:pt x="2696" y="7810"/>
                    <a:pt x="2713" y="7793"/>
                  </a:cubicBezTo>
                  <a:cubicBezTo>
                    <a:pt x="2727" y="7779"/>
                    <a:pt x="2748" y="7768"/>
                    <a:pt x="2773" y="7761"/>
                  </a:cubicBezTo>
                  <a:cubicBezTo>
                    <a:pt x="2783" y="7730"/>
                    <a:pt x="2794" y="7695"/>
                    <a:pt x="2801" y="7660"/>
                  </a:cubicBezTo>
                  <a:cubicBezTo>
                    <a:pt x="2825" y="7541"/>
                    <a:pt x="2860" y="7376"/>
                    <a:pt x="3000" y="7338"/>
                  </a:cubicBezTo>
                  <a:cubicBezTo>
                    <a:pt x="3018" y="7334"/>
                    <a:pt x="3035" y="7324"/>
                    <a:pt x="3042" y="7306"/>
                  </a:cubicBezTo>
                  <a:cubicBezTo>
                    <a:pt x="3088" y="7226"/>
                    <a:pt x="3011" y="7016"/>
                    <a:pt x="2955" y="6865"/>
                  </a:cubicBezTo>
                  <a:cubicBezTo>
                    <a:pt x="2899" y="6704"/>
                    <a:pt x="2965" y="6645"/>
                    <a:pt x="3046" y="6610"/>
                  </a:cubicBezTo>
                  <a:cubicBezTo>
                    <a:pt x="3088" y="6592"/>
                    <a:pt x="3098" y="6585"/>
                    <a:pt x="3098" y="6547"/>
                  </a:cubicBezTo>
                  <a:cubicBezTo>
                    <a:pt x="3098" y="6344"/>
                    <a:pt x="3207" y="6074"/>
                    <a:pt x="3386" y="5994"/>
                  </a:cubicBezTo>
                  <a:cubicBezTo>
                    <a:pt x="3477" y="5955"/>
                    <a:pt x="3512" y="5752"/>
                    <a:pt x="3512" y="5594"/>
                  </a:cubicBezTo>
                  <a:cubicBezTo>
                    <a:pt x="3512" y="5482"/>
                    <a:pt x="3620" y="5423"/>
                    <a:pt x="3725" y="5367"/>
                  </a:cubicBezTo>
                  <a:cubicBezTo>
                    <a:pt x="3774" y="5342"/>
                    <a:pt x="3820" y="5314"/>
                    <a:pt x="3862" y="5283"/>
                  </a:cubicBezTo>
                  <a:cubicBezTo>
                    <a:pt x="3862" y="5279"/>
                    <a:pt x="3862" y="5279"/>
                    <a:pt x="3865" y="5279"/>
                  </a:cubicBezTo>
                  <a:cubicBezTo>
                    <a:pt x="3855" y="5251"/>
                    <a:pt x="3841" y="5223"/>
                    <a:pt x="3827" y="5202"/>
                  </a:cubicBezTo>
                  <a:cubicBezTo>
                    <a:pt x="3792" y="5146"/>
                    <a:pt x="3750" y="5083"/>
                    <a:pt x="3767" y="5013"/>
                  </a:cubicBezTo>
                  <a:cubicBezTo>
                    <a:pt x="3781" y="4968"/>
                    <a:pt x="3813" y="4933"/>
                    <a:pt x="3855" y="4912"/>
                  </a:cubicBezTo>
                  <a:cubicBezTo>
                    <a:pt x="3872" y="4905"/>
                    <a:pt x="3879" y="4884"/>
                    <a:pt x="3876" y="4859"/>
                  </a:cubicBezTo>
                  <a:cubicBezTo>
                    <a:pt x="3865" y="4786"/>
                    <a:pt x="3844" y="4712"/>
                    <a:pt x="3813" y="4646"/>
                  </a:cubicBezTo>
                  <a:cubicBezTo>
                    <a:pt x="3778" y="4548"/>
                    <a:pt x="3739" y="4457"/>
                    <a:pt x="3760" y="4387"/>
                  </a:cubicBezTo>
                  <a:cubicBezTo>
                    <a:pt x="3764" y="4366"/>
                    <a:pt x="3778" y="4345"/>
                    <a:pt x="3795" y="4331"/>
                  </a:cubicBezTo>
                  <a:cubicBezTo>
                    <a:pt x="3830" y="4303"/>
                    <a:pt x="3823" y="4240"/>
                    <a:pt x="3813" y="4145"/>
                  </a:cubicBezTo>
                  <a:cubicBezTo>
                    <a:pt x="3802" y="4089"/>
                    <a:pt x="3802" y="4033"/>
                    <a:pt x="3806" y="3977"/>
                  </a:cubicBezTo>
                  <a:cubicBezTo>
                    <a:pt x="3820" y="3879"/>
                    <a:pt x="3956" y="3785"/>
                    <a:pt x="4184" y="3644"/>
                  </a:cubicBezTo>
                  <a:cubicBezTo>
                    <a:pt x="4282" y="3581"/>
                    <a:pt x="4418" y="3497"/>
                    <a:pt x="4439" y="3459"/>
                  </a:cubicBezTo>
                  <a:cubicBezTo>
                    <a:pt x="4439" y="3455"/>
                    <a:pt x="4443" y="3452"/>
                    <a:pt x="4446" y="3448"/>
                  </a:cubicBezTo>
                  <a:lnTo>
                    <a:pt x="4446" y="3441"/>
                  </a:lnTo>
                  <a:lnTo>
                    <a:pt x="4450" y="3431"/>
                  </a:lnTo>
                  <a:lnTo>
                    <a:pt x="4453" y="3424"/>
                  </a:lnTo>
                  <a:lnTo>
                    <a:pt x="4457" y="3410"/>
                  </a:lnTo>
                  <a:lnTo>
                    <a:pt x="4460" y="3399"/>
                  </a:lnTo>
                  <a:lnTo>
                    <a:pt x="4464" y="3385"/>
                  </a:lnTo>
                  <a:lnTo>
                    <a:pt x="4467" y="3375"/>
                  </a:lnTo>
                  <a:lnTo>
                    <a:pt x="4471" y="3357"/>
                  </a:lnTo>
                  <a:lnTo>
                    <a:pt x="4474" y="3347"/>
                  </a:lnTo>
                  <a:cubicBezTo>
                    <a:pt x="4478" y="3336"/>
                    <a:pt x="4478" y="3326"/>
                    <a:pt x="4481" y="3315"/>
                  </a:cubicBezTo>
                  <a:lnTo>
                    <a:pt x="4481" y="3308"/>
                  </a:lnTo>
                  <a:lnTo>
                    <a:pt x="4488" y="3284"/>
                  </a:lnTo>
                  <a:lnTo>
                    <a:pt x="4488" y="3266"/>
                  </a:lnTo>
                  <a:lnTo>
                    <a:pt x="4495" y="3245"/>
                  </a:lnTo>
                  <a:lnTo>
                    <a:pt x="4495" y="3228"/>
                  </a:lnTo>
                  <a:lnTo>
                    <a:pt x="4499" y="3207"/>
                  </a:lnTo>
                  <a:lnTo>
                    <a:pt x="4502" y="3189"/>
                  </a:lnTo>
                  <a:lnTo>
                    <a:pt x="4506" y="3168"/>
                  </a:lnTo>
                  <a:lnTo>
                    <a:pt x="4509" y="3147"/>
                  </a:lnTo>
                  <a:lnTo>
                    <a:pt x="4513" y="3123"/>
                  </a:lnTo>
                  <a:lnTo>
                    <a:pt x="4516" y="3105"/>
                  </a:lnTo>
                  <a:cubicBezTo>
                    <a:pt x="4516" y="3091"/>
                    <a:pt x="4520" y="3074"/>
                    <a:pt x="4520" y="3060"/>
                  </a:cubicBezTo>
                  <a:lnTo>
                    <a:pt x="4523" y="3035"/>
                  </a:lnTo>
                  <a:lnTo>
                    <a:pt x="4527" y="3014"/>
                  </a:lnTo>
                  <a:lnTo>
                    <a:pt x="4527" y="2990"/>
                  </a:lnTo>
                  <a:lnTo>
                    <a:pt x="4527" y="2976"/>
                  </a:lnTo>
                  <a:lnTo>
                    <a:pt x="4513" y="2997"/>
                  </a:lnTo>
                  <a:lnTo>
                    <a:pt x="4478" y="3014"/>
                  </a:lnTo>
                  <a:cubicBezTo>
                    <a:pt x="4396" y="3053"/>
                    <a:pt x="4344" y="3063"/>
                    <a:pt x="4313" y="3063"/>
                  </a:cubicBezTo>
                  <a:cubicBezTo>
                    <a:pt x="4293" y="3063"/>
                    <a:pt x="4281" y="3059"/>
                    <a:pt x="4275" y="3056"/>
                  </a:cubicBezTo>
                  <a:lnTo>
                    <a:pt x="4268" y="3053"/>
                  </a:lnTo>
                  <a:lnTo>
                    <a:pt x="4257" y="3049"/>
                  </a:lnTo>
                  <a:cubicBezTo>
                    <a:pt x="4254" y="3046"/>
                    <a:pt x="4250" y="3046"/>
                    <a:pt x="4243" y="3042"/>
                  </a:cubicBezTo>
                  <a:lnTo>
                    <a:pt x="4236" y="3035"/>
                  </a:lnTo>
                  <a:cubicBezTo>
                    <a:pt x="4233" y="3032"/>
                    <a:pt x="4229" y="3028"/>
                    <a:pt x="4226" y="3025"/>
                  </a:cubicBezTo>
                  <a:lnTo>
                    <a:pt x="4219" y="3018"/>
                  </a:lnTo>
                  <a:cubicBezTo>
                    <a:pt x="4215" y="3011"/>
                    <a:pt x="4212" y="3004"/>
                    <a:pt x="4208" y="2997"/>
                  </a:cubicBezTo>
                  <a:cubicBezTo>
                    <a:pt x="4191" y="2948"/>
                    <a:pt x="4180" y="2899"/>
                    <a:pt x="4180" y="2850"/>
                  </a:cubicBezTo>
                  <a:cubicBezTo>
                    <a:pt x="4180" y="2829"/>
                    <a:pt x="4180" y="2804"/>
                    <a:pt x="4177" y="2783"/>
                  </a:cubicBezTo>
                  <a:cubicBezTo>
                    <a:pt x="4173" y="2654"/>
                    <a:pt x="4166" y="2493"/>
                    <a:pt x="4089" y="2419"/>
                  </a:cubicBezTo>
                  <a:cubicBezTo>
                    <a:pt x="4002" y="2332"/>
                    <a:pt x="3988" y="2209"/>
                    <a:pt x="3974" y="2104"/>
                  </a:cubicBezTo>
                  <a:cubicBezTo>
                    <a:pt x="3963" y="2006"/>
                    <a:pt x="3953" y="1947"/>
                    <a:pt x="3918" y="1929"/>
                  </a:cubicBezTo>
                  <a:cubicBezTo>
                    <a:pt x="3788" y="1873"/>
                    <a:pt x="3655" y="1691"/>
                    <a:pt x="3641" y="1547"/>
                  </a:cubicBezTo>
                  <a:cubicBezTo>
                    <a:pt x="3627" y="1477"/>
                    <a:pt x="3655" y="1407"/>
                    <a:pt x="3708" y="1365"/>
                  </a:cubicBezTo>
                  <a:cubicBezTo>
                    <a:pt x="3746" y="1337"/>
                    <a:pt x="3750" y="1292"/>
                    <a:pt x="3746" y="1218"/>
                  </a:cubicBezTo>
                  <a:cubicBezTo>
                    <a:pt x="3743" y="1141"/>
                    <a:pt x="3739" y="1047"/>
                    <a:pt x="3820" y="980"/>
                  </a:cubicBezTo>
                  <a:lnTo>
                    <a:pt x="3823" y="973"/>
                  </a:lnTo>
                  <a:cubicBezTo>
                    <a:pt x="3813" y="963"/>
                    <a:pt x="3792" y="949"/>
                    <a:pt x="3774" y="935"/>
                  </a:cubicBezTo>
                  <a:cubicBezTo>
                    <a:pt x="3704" y="886"/>
                    <a:pt x="3641" y="830"/>
                    <a:pt x="3585" y="763"/>
                  </a:cubicBezTo>
                  <a:cubicBezTo>
                    <a:pt x="3491" y="648"/>
                    <a:pt x="3505" y="518"/>
                    <a:pt x="3519" y="413"/>
                  </a:cubicBezTo>
                  <a:cubicBezTo>
                    <a:pt x="3529" y="301"/>
                    <a:pt x="3533" y="238"/>
                    <a:pt x="3466" y="189"/>
                  </a:cubicBezTo>
                  <a:cubicBezTo>
                    <a:pt x="3456" y="182"/>
                    <a:pt x="3442" y="172"/>
                    <a:pt x="3431" y="161"/>
                  </a:cubicBezTo>
                  <a:lnTo>
                    <a:pt x="3421" y="151"/>
                  </a:lnTo>
                  <a:lnTo>
                    <a:pt x="3403" y="133"/>
                  </a:lnTo>
                  <a:lnTo>
                    <a:pt x="3386" y="119"/>
                  </a:lnTo>
                  <a:lnTo>
                    <a:pt x="3375" y="109"/>
                  </a:lnTo>
                  <a:cubicBezTo>
                    <a:pt x="3347" y="74"/>
                    <a:pt x="3319" y="39"/>
                    <a:pt x="32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9" name="Google Shape;5589;p53"/>
            <p:cNvSpPr/>
            <p:nvPr/>
          </p:nvSpPr>
          <p:spPr>
            <a:xfrm>
              <a:off x="1538223" y="2504929"/>
              <a:ext cx="4671" cy="855"/>
            </a:xfrm>
            <a:custGeom>
              <a:avLst/>
              <a:gdLst/>
              <a:ahLst/>
              <a:cxnLst/>
              <a:rect l="l" t="t" r="r" b="b"/>
              <a:pathLst>
                <a:path w="344" h="63" extrusionOk="0">
                  <a:moveTo>
                    <a:pt x="97" y="0"/>
                  </a:moveTo>
                  <a:cubicBezTo>
                    <a:pt x="64" y="0"/>
                    <a:pt x="32" y="1"/>
                    <a:pt x="0" y="3"/>
                  </a:cubicBezTo>
                  <a:lnTo>
                    <a:pt x="63" y="20"/>
                  </a:lnTo>
                  <a:cubicBezTo>
                    <a:pt x="101" y="31"/>
                    <a:pt x="198" y="62"/>
                    <a:pt x="265" y="62"/>
                  </a:cubicBezTo>
                  <a:cubicBezTo>
                    <a:pt x="285" y="62"/>
                    <a:pt x="303" y="59"/>
                    <a:pt x="315" y="52"/>
                  </a:cubicBezTo>
                  <a:cubicBezTo>
                    <a:pt x="333" y="45"/>
                    <a:pt x="340" y="31"/>
                    <a:pt x="343" y="13"/>
                  </a:cubicBezTo>
                  <a:lnTo>
                    <a:pt x="336" y="13"/>
                  </a:lnTo>
                  <a:lnTo>
                    <a:pt x="319" y="10"/>
                  </a:lnTo>
                  <a:lnTo>
                    <a:pt x="294" y="6"/>
                  </a:lnTo>
                  <a:lnTo>
                    <a:pt x="280" y="6"/>
                  </a:lnTo>
                  <a:lnTo>
                    <a:pt x="245" y="3"/>
                  </a:lnTo>
                  <a:lnTo>
                    <a:pt x="193" y="3"/>
                  </a:lnTo>
                  <a:cubicBezTo>
                    <a:pt x="161" y="1"/>
                    <a:pt x="129" y="0"/>
                    <a:pt x="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0" name="Google Shape;5590;p53"/>
            <p:cNvSpPr/>
            <p:nvPr/>
          </p:nvSpPr>
          <p:spPr>
            <a:xfrm>
              <a:off x="1490593" y="2404157"/>
              <a:ext cx="3476" cy="4236"/>
            </a:xfrm>
            <a:custGeom>
              <a:avLst/>
              <a:gdLst/>
              <a:ahLst/>
              <a:cxnLst/>
              <a:rect l="l" t="t" r="r" b="b"/>
              <a:pathLst>
                <a:path w="256" h="312" extrusionOk="0">
                  <a:moveTo>
                    <a:pt x="42" y="0"/>
                  </a:moveTo>
                  <a:cubicBezTo>
                    <a:pt x="32" y="0"/>
                    <a:pt x="21" y="2"/>
                    <a:pt x="11" y="7"/>
                  </a:cubicBezTo>
                  <a:lnTo>
                    <a:pt x="0" y="10"/>
                  </a:lnTo>
                  <a:cubicBezTo>
                    <a:pt x="25" y="52"/>
                    <a:pt x="56" y="87"/>
                    <a:pt x="88" y="122"/>
                  </a:cubicBezTo>
                  <a:cubicBezTo>
                    <a:pt x="144" y="178"/>
                    <a:pt x="189" y="241"/>
                    <a:pt x="221" y="311"/>
                  </a:cubicBezTo>
                  <a:lnTo>
                    <a:pt x="224" y="308"/>
                  </a:lnTo>
                  <a:cubicBezTo>
                    <a:pt x="256" y="262"/>
                    <a:pt x="235" y="168"/>
                    <a:pt x="179" y="91"/>
                  </a:cubicBezTo>
                  <a:cubicBezTo>
                    <a:pt x="144" y="44"/>
                    <a:pt x="93" y="0"/>
                    <a:pt x="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1" name="Google Shape;5591;p53"/>
            <p:cNvSpPr/>
            <p:nvPr/>
          </p:nvSpPr>
          <p:spPr>
            <a:xfrm>
              <a:off x="1481225" y="2421916"/>
              <a:ext cx="163" cy="869"/>
            </a:xfrm>
            <a:custGeom>
              <a:avLst/>
              <a:gdLst/>
              <a:ahLst/>
              <a:cxnLst/>
              <a:rect l="l" t="t" r="r" b="b"/>
              <a:pathLst>
                <a:path w="12" h="64" extrusionOk="0">
                  <a:moveTo>
                    <a:pt x="11" y="1"/>
                  </a:moveTo>
                  <a:lnTo>
                    <a:pt x="11" y="1"/>
                  </a:lnTo>
                  <a:cubicBezTo>
                    <a:pt x="8" y="15"/>
                    <a:pt x="1" y="25"/>
                    <a:pt x="1" y="39"/>
                  </a:cubicBezTo>
                  <a:cubicBezTo>
                    <a:pt x="1" y="46"/>
                    <a:pt x="1" y="53"/>
                    <a:pt x="4" y="64"/>
                  </a:cubicBezTo>
                  <a:lnTo>
                    <a:pt x="4" y="57"/>
                  </a:lnTo>
                  <a:cubicBezTo>
                    <a:pt x="4" y="36"/>
                    <a:pt x="8" y="1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2" name="Google Shape;5592;p53"/>
            <p:cNvSpPr/>
            <p:nvPr/>
          </p:nvSpPr>
          <p:spPr>
            <a:xfrm>
              <a:off x="1543206" y="221900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3" name="Google Shape;5593;p53"/>
            <p:cNvSpPr/>
            <p:nvPr/>
          </p:nvSpPr>
          <p:spPr>
            <a:xfrm>
              <a:off x="1542351" y="2224132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4" name="Google Shape;5594;p53"/>
            <p:cNvSpPr/>
            <p:nvPr/>
          </p:nvSpPr>
          <p:spPr>
            <a:xfrm>
              <a:off x="1542446" y="2223617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8" y="0"/>
                  </a:moveTo>
                  <a:cubicBezTo>
                    <a:pt x="4" y="11"/>
                    <a:pt x="1" y="21"/>
                    <a:pt x="1" y="32"/>
                  </a:cubicBezTo>
                  <a:cubicBezTo>
                    <a:pt x="1" y="21"/>
                    <a:pt x="4" y="11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5" name="Google Shape;5595;p53"/>
            <p:cNvSpPr/>
            <p:nvPr/>
          </p:nvSpPr>
          <p:spPr>
            <a:xfrm>
              <a:off x="1542256" y="222451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6" name="Google Shape;5596;p53"/>
            <p:cNvSpPr/>
            <p:nvPr/>
          </p:nvSpPr>
          <p:spPr>
            <a:xfrm>
              <a:off x="1542066" y="2225137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7" name="Google Shape;5597;p53"/>
            <p:cNvSpPr/>
            <p:nvPr/>
          </p:nvSpPr>
          <p:spPr>
            <a:xfrm>
              <a:off x="1532466" y="2238158"/>
              <a:ext cx="1874" cy="6381"/>
            </a:xfrm>
            <a:custGeom>
              <a:avLst/>
              <a:gdLst/>
              <a:ahLst/>
              <a:cxnLst/>
              <a:rect l="l" t="t" r="r" b="b"/>
              <a:pathLst>
                <a:path w="138" h="470" extrusionOk="0">
                  <a:moveTo>
                    <a:pt x="74" y="256"/>
                  </a:moveTo>
                  <a:cubicBezTo>
                    <a:pt x="106" y="323"/>
                    <a:pt x="127" y="396"/>
                    <a:pt x="137" y="470"/>
                  </a:cubicBezTo>
                  <a:cubicBezTo>
                    <a:pt x="127" y="396"/>
                    <a:pt x="106" y="323"/>
                    <a:pt x="74" y="256"/>
                  </a:cubicBezTo>
                  <a:cubicBezTo>
                    <a:pt x="36" y="162"/>
                    <a:pt x="1" y="67"/>
                    <a:pt x="18" y="1"/>
                  </a:cubicBezTo>
                  <a:cubicBezTo>
                    <a:pt x="1" y="67"/>
                    <a:pt x="36" y="162"/>
                    <a:pt x="74" y="2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8" name="Google Shape;5598;p53"/>
            <p:cNvSpPr/>
            <p:nvPr/>
          </p:nvSpPr>
          <p:spPr>
            <a:xfrm>
              <a:off x="1542161" y="2224893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9" name="Google Shape;5599;p53"/>
            <p:cNvSpPr/>
            <p:nvPr/>
          </p:nvSpPr>
          <p:spPr>
            <a:xfrm>
              <a:off x="1543016" y="2220141"/>
              <a:ext cx="68" cy="584"/>
            </a:xfrm>
            <a:custGeom>
              <a:avLst/>
              <a:gdLst/>
              <a:ahLst/>
              <a:cxnLst/>
              <a:rect l="l" t="t" r="r" b="b"/>
              <a:pathLst>
                <a:path w="5" h="43" extrusionOk="0">
                  <a:moveTo>
                    <a:pt x="4" y="1"/>
                  </a:moveTo>
                  <a:cubicBezTo>
                    <a:pt x="4" y="15"/>
                    <a:pt x="1" y="29"/>
                    <a:pt x="1" y="43"/>
                  </a:cubicBezTo>
                  <a:cubicBezTo>
                    <a:pt x="1" y="29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0" name="Google Shape;5600;p53"/>
            <p:cNvSpPr/>
            <p:nvPr/>
          </p:nvSpPr>
          <p:spPr>
            <a:xfrm>
              <a:off x="1531611" y="2504576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5" y="22"/>
                  </a:moveTo>
                  <a:cubicBezTo>
                    <a:pt x="8" y="15"/>
                    <a:pt x="4" y="8"/>
                    <a:pt x="1" y="1"/>
                  </a:cubicBezTo>
                  <a:cubicBezTo>
                    <a:pt x="4" y="8"/>
                    <a:pt x="8" y="15"/>
                    <a:pt x="15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1" name="Google Shape;5601;p53"/>
            <p:cNvSpPr/>
            <p:nvPr/>
          </p:nvSpPr>
          <p:spPr>
            <a:xfrm>
              <a:off x="1508556" y="2474447"/>
              <a:ext cx="1059" cy="149"/>
            </a:xfrm>
            <a:custGeom>
              <a:avLst/>
              <a:gdLst/>
              <a:ahLst/>
              <a:cxnLst/>
              <a:rect l="l" t="t" r="r" b="b"/>
              <a:pathLst>
                <a:path w="78" h="11" extrusionOk="0">
                  <a:moveTo>
                    <a:pt x="78" y="7"/>
                  </a:moveTo>
                  <a:lnTo>
                    <a:pt x="78" y="7"/>
                  </a:lnTo>
                  <a:cubicBezTo>
                    <a:pt x="53" y="11"/>
                    <a:pt x="25" y="7"/>
                    <a:pt x="1" y="0"/>
                  </a:cubicBezTo>
                  <a:cubicBezTo>
                    <a:pt x="25" y="7"/>
                    <a:pt x="53" y="11"/>
                    <a:pt x="78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2" name="Google Shape;5602;p53"/>
            <p:cNvSpPr/>
            <p:nvPr/>
          </p:nvSpPr>
          <p:spPr>
            <a:xfrm>
              <a:off x="1542921" y="2220955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0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3" name="Google Shape;5603;p53"/>
            <p:cNvSpPr/>
            <p:nvPr/>
          </p:nvSpPr>
          <p:spPr>
            <a:xfrm>
              <a:off x="153299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4" name="Google Shape;5604;p53"/>
            <p:cNvSpPr/>
            <p:nvPr/>
          </p:nvSpPr>
          <p:spPr>
            <a:xfrm>
              <a:off x="1542826" y="2221566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5" name="Google Shape;5605;p53"/>
            <p:cNvSpPr/>
            <p:nvPr/>
          </p:nvSpPr>
          <p:spPr>
            <a:xfrm>
              <a:off x="1540830" y="2504861"/>
              <a:ext cx="638" cy="68"/>
            </a:xfrm>
            <a:custGeom>
              <a:avLst/>
              <a:gdLst/>
              <a:ahLst/>
              <a:cxnLst/>
              <a:rect l="l" t="t" r="r" b="b"/>
              <a:pathLst>
                <a:path w="47" h="5" extrusionOk="0">
                  <a:moveTo>
                    <a:pt x="1" y="1"/>
                  </a:moveTo>
                  <a:lnTo>
                    <a:pt x="46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6" name="Google Shape;5606;p53"/>
            <p:cNvSpPr/>
            <p:nvPr/>
          </p:nvSpPr>
          <p:spPr>
            <a:xfrm>
              <a:off x="1543111" y="2219530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7" name="Google Shape;5607;p53"/>
            <p:cNvSpPr/>
            <p:nvPr/>
          </p:nvSpPr>
          <p:spPr>
            <a:xfrm>
              <a:off x="1508516" y="2416173"/>
              <a:ext cx="149" cy="1059"/>
            </a:xfrm>
            <a:custGeom>
              <a:avLst/>
              <a:gdLst/>
              <a:ahLst/>
              <a:cxnLst/>
              <a:rect l="l" t="t" r="r" b="b"/>
              <a:pathLst>
                <a:path w="11" h="78" extrusionOk="0">
                  <a:moveTo>
                    <a:pt x="0" y="77"/>
                  </a:moveTo>
                  <a:cubicBezTo>
                    <a:pt x="0" y="49"/>
                    <a:pt x="4" y="25"/>
                    <a:pt x="11" y="0"/>
                  </a:cubicBezTo>
                  <a:cubicBezTo>
                    <a:pt x="4" y="25"/>
                    <a:pt x="0" y="49"/>
                    <a:pt x="0" y="7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8" name="Google Shape;5608;p53"/>
            <p:cNvSpPr/>
            <p:nvPr/>
          </p:nvSpPr>
          <p:spPr>
            <a:xfrm>
              <a:off x="1512738" y="2402867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1" y="18"/>
                  </a:lnTo>
                  <a:cubicBezTo>
                    <a:pt x="4" y="11"/>
                    <a:pt x="4" y="7"/>
                    <a:pt x="4" y="0"/>
                  </a:cubicBezTo>
                  <a:cubicBezTo>
                    <a:pt x="4" y="7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9" name="Google Shape;5609;p53"/>
            <p:cNvSpPr/>
            <p:nvPr/>
          </p:nvSpPr>
          <p:spPr>
            <a:xfrm>
              <a:off x="1507660" y="2400396"/>
              <a:ext cx="3910" cy="1724"/>
            </a:xfrm>
            <a:custGeom>
              <a:avLst/>
              <a:gdLst/>
              <a:ahLst/>
              <a:cxnLst/>
              <a:rect l="l" t="t" r="r" b="b"/>
              <a:pathLst>
                <a:path w="288" h="127" extrusionOk="0">
                  <a:moveTo>
                    <a:pt x="287" y="91"/>
                  </a:moveTo>
                  <a:cubicBezTo>
                    <a:pt x="168" y="126"/>
                    <a:pt x="56" y="91"/>
                    <a:pt x="0" y="0"/>
                  </a:cubicBezTo>
                  <a:cubicBezTo>
                    <a:pt x="56" y="91"/>
                    <a:pt x="168" y="126"/>
                    <a:pt x="287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0" name="Google Shape;5610;p53"/>
            <p:cNvSpPr/>
            <p:nvPr/>
          </p:nvSpPr>
          <p:spPr>
            <a:xfrm>
              <a:off x="1542541" y="2223141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8" y="0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1" name="Google Shape;5611;p53"/>
            <p:cNvSpPr/>
            <p:nvPr/>
          </p:nvSpPr>
          <p:spPr>
            <a:xfrm>
              <a:off x="1542785" y="222213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2" name="Google Shape;5612;p53"/>
            <p:cNvSpPr/>
            <p:nvPr/>
          </p:nvSpPr>
          <p:spPr>
            <a:xfrm>
              <a:off x="1541590" y="2504915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1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3" name="Google Shape;5613;p53"/>
            <p:cNvSpPr/>
            <p:nvPr/>
          </p:nvSpPr>
          <p:spPr>
            <a:xfrm>
              <a:off x="1542636" y="2222666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4" name="Google Shape;5614;p53"/>
            <p:cNvSpPr/>
            <p:nvPr/>
          </p:nvSpPr>
          <p:spPr>
            <a:xfrm>
              <a:off x="1514978" y="2347728"/>
              <a:ext cx="204" cy="1195"/>
            </a:xfrm>
            <a:custGeom>
              <a:avLst/>
              <a:gdLst/>
              <a:ahLst/>
              <a:cxnLst/>
              <a:rect l="l" t="t" r="r" b="b"/>
              <a:pathLst>
                <a:path w="15" h="88" extrusionOk="0">
                  <a:moveTo>
                    <a:pt x="7" y="88"/>
                  </a:moveTo>
                  <a:cubicBezTo>
                    <a:pt x="14" y="60"/>
                    <a:pt x="14" y="28"/>
                    <a:pt x="0" y="0"/>
                  </a:cubicBezTo>
                  <a:cubicBezTo>
                    <a:pt x="14" y="28"/>
                    <a:pt x="14" y="60"/>
                    <a:pt x="7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5" name="Google Shape;5615;p53"/>
            <p:cNvSpPr/>
            <p:nvPr/>
          </p:nvSpPr>
          <p:spPr>
            <a:xfrm>
              <a:off x="1530620" y="2480530"/>
              <a:ext cx="1005" cy="24059"/>
            </a:xfrm>
            <a:custGeom>
              <a:avLst/>
              <a:gdLst/>
              <a:ahLst/>
              <a:cxnLst/>
              <a:rect l="l" t="t" r="r" b="b"/>
              <a:pathLst>
                <a:path w="74" h="1772" extrusionOk="0">
                  <a:moveTo>
                    <a:pt x="74" y="1772"/>
                  </a:moveTo>
                  <a:cubicBezTo>
                    <a:pt x="25" y="1681"/>
                    <a:pt x="0" y="1338"/>
                    <a:pt x="63" y="0"/>
                  </a:cubicBezTo>
                  <a:lnTo>
                    <a:pt x="63" y="0"/>
                  </a:lnTo>
                  <a:cubicBezTo>
                    <a:pt x="0" y="1338"/>
                    <a:pt x="25" y="1681"/>
                    <a:pt x="74" y="17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6" name="Google Shape;5616;p53"/>
            <p:cNvSpPr/>
            <p:nvPr/>
          </p:nvSpPr>
          <p:spPr>
            <a:xfrm>
              <a:off x="1523858" y="247486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7" name="Google Shape;5617;p53"/>
            <p:cNvSpPr/>
            <p:nvPr/>
          </p:nvSpPr>
          <p:spPr>
            <a:xfrm>
              <a:off x="1525243" y="2475724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8" name="Google Shape;5618;p53"/>
            <p:cNvSpPr/>
            <p:nvPr/>
          </p:nvSpPr>
          <p:spPr>
            <a:xfrm>
              <a:off x="1524483" y="247524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9" name="Google Shape;5619;p53"/>
            <p:cNvSpPr/>
            <p:nvPr/>
          </p:nvSpPr>
          <p:spPr>
            <a:xfrm>
              <a:off x="1523057" y="247448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0" name="Google Shape;5620;p53"/>
            <p:cNvSpPr/>
            <p:nvPr/>
          </p:nvSpPr>
          <p:spPr>
            <a:xfrm>
              <a:off x="1495386" y="2453008"/>
              <a:ext cx="1208" cy="2539"/>
            </a:xfrm>
            <a:custGeom>
              <a:avLst/>
              <a:gdLst/>
              <a:ahLst/>
              <a:cxnLst/>
              <a:rect l="l" t="t" r="r" b="b"/>
              <a:pathLst>
                <a:path w="89" h="187" extrusionOk="0">
                  <a:moveTo>
                    <a:pt x="1" y="0"/>
                  </a:moveTo>
                  <a:cubicBezTo>
                    <a:pt x="11" y="70"/>
                    <a:pt x="40" y="134"/>
                    <a:pt x="89" y="186"/>
                  </a:cubicBezTo>
                  <a:cubicBezTo>
                    <a:pt x="40" y="134"/>
                    <a:pt x="11" y="7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1" name="Google Shape;5621;p53"/>
            <p:cNvSpPr/>
            <p:nvPr/>
          </p:nvSpPr>
          <p:spPr>
            <a:xfrm>
              <a:off x="1542215" y="250495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2" name="Google Shape;5622;p53"/>
            <p:cNvSpPr/>
            <p:nvPr/>
          </p:nvSpPr>
          <p:spPr>
            <a:xfrm>
              <a:off x="1531801" y="2504861"/>
              <a:ext cx="543" cy="258"/>
            </a:xfrm>
            <a:custGeom>
              <a:avLst/>
              <a:gdLst/>
              <a:ahLst/>
              <a:cxnLst/>
              <a:rect l="l" t="t" r="r" b="b"/>
              <a:pathLst>
                <a:path w="40" h="19" extrusionOk="0">
                  <a:moveTo>
                    <a:pt x="1" y="1"/>
                  </a:moveTo>
                  <a:cubicBezTo>
                    <a:pt x="11" y="11"/>
                    <a:pt x="25" y="15"/>
                    <a:pt x="39" y="18"/>
                  </a:cubicBezTo>
                  <a:cubicBezTo>
                    <a:pt x="25" y="15"/>
                    <a:pt x="1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3" name="Google Shape;5623;p53"/>
            <p:cNvSpPr/>
            <p:nvPr/>
          </p:nvSpPr>
          <p:spPr>
            <a:xfrm>
              <a:off x="153246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4" name="Google Shape;5624;p53"/>
            <p:cNvSpPr/>
            <p:nvPr/>
          </p:nvSpPr>
          <p:spPr>
            <a:xfrm>
              <a:off x="153265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5" name="Google Shape;5625;p53"/>
            <p:cNvSpPr/>
            <p:nvPr/>
          </p:nvSpPr>
          <p:spPr>
            <a:xfrm>
              <a:off x="1542785" y="250510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6" name="Google Shape;5626;p53"/>
            <p:cNvSpPr/>
            <p:nvPr/>
          </p:nvSpPr>
          <p:spPr>
            <a:xfrm>
              <a:off x="1522297" y="2306412"/>
              <a:ext cx="625" cy="3014"/>
            </a:xfrm>
            <a:custGeom>
              <a:avLst/>
              <a:gdLst/>
              <a:ahLst/>
              <a:cxnLst/>
              <a:rect l="l" t="t" r="r" b="b"/>
              <a:pathLst>
                <a:path w="46" h="222" extrusionOk="0">
                  <a:moveTo>
                    <a:pt x="46" y="1"/>
                  </a:moveTo>
                  <a:cubicBezTo>
                    <a:pt x="25" y="71"/>
                    <a:pt x="7" y="144"/>
                    <a:pt x="0" y="221"/>
                  </a:cubicBezTo>
                  <a:cubicBezTo>
                    <a:pt x="7" y="144"/>
                    <a:pt x="25" y="71"/>
                    <a:pt x="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7" name="Google Shape;5627;p53"/>
            <p:cNvSpPr/>
            <p:nvPr/>
          </p:nvSpPr>
          <p:spPr>
            <a:xfrm>
              <a:off x="1541930" y="222536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"/>
                  </a:moveTo>
                  <a:cubicBezTo>
                    <a:pt x="4" y="4"/>
                    <a:pt x="4" y="11"/>
                    <a:pt x="0" y="15"/>
                  </a:cubicBezTo>
                  <a:cubicBezTo>
                    <a:pt x="4" y="11"/>
                    <a:pt x="4" y="4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8" name="Google Shape;5628;p53"/>
            <p:cNvSpPr/>
            <p:nvPr/>
          </p:nvSpPr>
          <p:spPr>
            <a:xfrm>
              <a:off x="1538223" y="2504834"/>
              <a:ext cx="2620" cy="41"/>
            </a:xfrm>
            <a:custGeom>
              <a:avLst/>
              <a:gdLst/>
              <a:ahLst/>
              <a:cxnLst/>
              <a:rect l="l" t="t" r="r" b="b"/>
              <a:pathLst>
                <a:path w="193" h="3" extrusionOk="0">
                  <a:moveTo>
                    <a:pt x="97" y="0"/>
                  </a:moveTo>
                  <a:cubicBezTo>
                    <a:pt x="64" y="0"/>
                    <a:pt x="32" y="1"/>
                    <a:pt x="0" y="3"/>
                  </a:cubicBezTo>
                  <a:lnTo>
                    <a:pt x="193" y="3"/>
                  </a:lnTo>
                  <a:cubicBezTo>
                    <a:pt x="161" y="1"/>
                    <a:pt x="129" y="0"/>
                    <a:pt x="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9" name="Google Shape;5629;p53"/>
            <p:cNvSpPr/>
            <p:nvPr/>
          </p:nvSpPr>
          <p:spPr>
            <a:xfrm>
              <a:off x="1518495" y="2283982"/>
              <a:ext cx="815" cy="434"/>
            </a:xfrm>
            <a:custGeom>
              <a:avLst/>
              <a:gdLst/>
              <a:ahLst/>
              <a:cxnLst/>
              <a:rect l="l" t="t" r="r" b="b"/>
              <a:pathLst>
                <a:path w="60" h="32" extrusionOk="0">
                  <a:moveTo>
                    <a:pt x="60" y="0"/>
                  </a:moveTo>
                  <a:cubicBezTo>
                    <a:pt x="39" y="4"/>
                    <a:pt x="14" y="14"/>
                    <a:pt x="0" y="32"/>
                  </a:cubicBezTo>
                  <a:cubicBezTo>
                    <a:pt x="14" y="14"/>
                    <a:pt x="39" y="4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0" name="Google Shape;5630;p53"/>
            <p:cNvSpPr/>
            <p:nvPr/>
          </p:nvSpPr>
          <p:spPr>
            <a:xfrm>
              <a:off x="1578290" y="2191723"/>
              <a:ext cx="61669" cy="63298"/>
            </a:xfrm>
            <a:custGeom>
              <a:avLst/>
              <a:gdLst/>
              <a:ahLst/>
              <a:cxnLst/>
              <a:rect l="l" t="t" r="r" b="b"/>
              <a:pathLst>
                <a:path w="4542" h="4662" extrusionOk="0">
                  <a:moveTo>
                    <a:pt x="1803" y="0"/>
                  </a:moveTo>
                  <a:cubicBezTo>
                    <a:pt x="1628" y="0"/>
                    <a:pt x="1453" y="0"/>
                    <a:pt x="1334" y="60"/>
                  </a:cubicBezTo>
                  <a:cubicBezTo>
                    <a:pt x="1250" y="105"/>
                    <a:pt x="1142" y="105"/>
                    <a:pt x="1030" y="105"/>
                  </a:cubicBezTo>
                  <a:cubicBezTo>
                    <a:pt x="900" y="105"/>
                    <a:pt x="771" y="105"/>
                    <a:pt x="680" y="168"/>
                  </a:cubicBezTo>
                  <a:cubicBezTo>
                    <a:pt x="473" y="305"/>
                    <a:pt x="277" y="560"/>
                    <a:pt x="284" y="623"/>
                  </a:cubicBezTo>
                  <a:cubicBezTo>
                    <a:pt x="291" y="683"/>
                    <a:pt x="249" y="1478"/>
                    <a:pt x="77" y="1534"/>
                  </a:cubicBezTo>
                  <a:cubicBezTo>
                    <a:pt x="74" y="1537"/>
                    <a:pt x="67" y="1537"/>
                    <a:pt x="60" y="1541"/>
                  </a:cubicBezTo>
                  <a:lnTo>
                    <a:pt x="0" y="1541"/>
                  </a:lnTo>
                  <a:lnTo>
                    <a:pt x="11" y="1555"/>
                  </a:lnTo>
                  <a:lnTo>
                    <a:pt x="25" y="1572"/>
                  </a:lnTo>
                  <a:lnTo>
                    <a:pt x="49" y="1604"/>
                  </a:lnTo>
                  <a:lnTo>
                    <a:pt x="60" y="1618"/>
                  </a:lnTo>
                  <a:lnTo>
                    <a:pt x="102" y="1667"/>
                  </a:lnTo>
                  <a:lnTo>
                    <a:pt x="144" y="1716"/>
                  </a:lnTo>
                  <a:lnTo>
                    <a:pt x="158" y="1730"/>
                  </a:lnTo>
                  <a:lnTo>
                    <a:pt x="190" y="1768"/>
                  </a:lnTo>
                  <a:lnTo>
                    <a:pt x="207" y="1786"/>
                  </a:lnTo>
                  <a:lnTo>
                    <a:pt x="239" y="1817"/>
                  </a:lnTo>
                  <a:lnTo>
                    <a:pt x="256" y="1835"/>
                  </a:lnTo>
                  <a:lnTo>
                    <a:pt x="291" y="1870"/>
                  </a:lnTo>
                  <a:lnTo>
                    <a:pt x="305" y="1887"/>
                  </a:lnTo>
                  <a:lnTo>
                    <a:pt x="344" y="1926"/>
                  </a:lnTo>
                  <a:lnTo>
                    <a:pt x="354" y="1936"/>
                  </a:lnTo>
                  <a:lnTo>
                    <a:pt x="407" y="1982"/>
                  </a:lnTo>
                  <a:lnTo>
                    <a:pt x="417" y="1992"/>
                  </a:lnTo>
                  <a:lnTo>
                    <a:pt x="456" y="2027"/>
                  </a:lnTo>
                  <a:lnTo>
                    <a:pt x="473" y="2041"/>
                  </a:lnTo>
                  <a:lnTo>
                    <a:pt x="505" y="2069"/>
                  </a:lnTo>
                  <a:lnTo>
                    <a:pt x="526" y="2083"/>
                  </a:lnTo>
                  <a:lnTo>
                    <a:pt x="554" y="2108"/>
                  </a:lnTo>
                  <a:lnTo>
                    <a:pt x="571" y="2122"/>
                  </a:lnTo>
                  <a:lnTo>
                    <a:pt x="606" y="2146"/>
                  </a:lnTo>
                  <a:lnTo>
                    <a:pt x="620" y="2157"/>
                  </a:lnTo>
                  <a:cubicBezTo>
                    <a:pt x="634" y="2167"/>
                    <a:pt x="648" y="2174"/>
                    <a:pt x="662" y="2185"/>
                  </a:cubicBezTo>
                  <a:cubicBezTo>
                    <a:pt x="757" y="2241"/>
                    <a:pt x="841" y="2307"/>
                    <a:pt x="914" y="2388"/>
                  </a:cubicBezTo>
                  <a:cubicBezTo>
                    <a:pt x="1002" y="2475"/>
                    <a:pt x="1061" y="2535"/>
                    <a:pt x="1243" y="2552"/>
                  </a:cubicBezTo>
                  <a:cubicBezTo>
                    <a:pt x="1618" y="2591"/>
                    <a:pt x="1789" y="2752"/>
                    <a:pt x="1894" y="2889"/>
                  </a:cubicBezTo>
                  <a:cubicBezTo>
                    <a:pt x="1943" y="2952"/>
                    <a:pt x="2220" y="3064"/>
                    <a:pt x="2420" y="3144"/>
                  </a:cubicBezTo>
                  <a:cubicBezTo>
                    <a:pt x="2745" y="3277"/>
                    <a:pt x="2882" y="3337"/>
                    <a:pt x="2920" y="3407"/>
                  </a:cubicBezTo>
                  <a:cubicBezTo>
                    <a:pt x="2973" y="3498"/>
                    <a:pt x="2885" y="3603"/>
                    <a:pt x="2763" y="3743"/>
                  </a:cubicBezTo>
                  <a:cubicBezTo>
                    <a:pt x="2647" y="3872"/>
                    <a:pt x="2504" y="4040"/>
                    <a:pt x="2504" y="4180"/>
                  </a:cubicBezTo>
                  <a:cubicBezTo>
                    <a:pt x="2504" y="4397"/>
                    <a:pt x="2409" y="4471"/>
                    <a:pt x="2350" y="4516"/>
                  </a:cubicBezTo>
                  <a:lnTo>
                    <a:pt x="2336" y="4527"/>
                  </a:lnTo>
                  <a:cubicBezTo>
                    <a:pt x="2388" y="4534"/>
                    <a:pt x="2437" y="4537"/>
                    <a:pt x="2486" y="4541"/>
                  </a:cubicBezTo>
                  <a:cubicBezTo>
                    <a:pt x="2605" y="4544"/>
                    <a:pt x="2724" y="4551"/>
                    <a:pt x="2801" y="4600"/>
                  </a:cubicBezTo>
                  <a:cubicBezTo>
                    <a:pt x="2826" y="4614"/>
                    <a:pt x="2857" y="4618"/>
                    <a:pt x="2885" y="4618"/>
                  </a:cubicBezTo>
                  <a:cubicBezTo>
                    <a:pt x="2924" y="4618"/>
                    <a:pt x="2959" y="4614"/>
                    <a:pt x="2997" y="4611"/>
                  </a:cubicBezTo>
                  <a:lnTo>
                    <a:pt x="3050" y="4604"/>
                  </a:lnTo>
                  <a:lnTo>
                    <a:pt x="3064" y="4604"/>
                  </a:lnTo>
                  <a:cubicBezTo>
                    <a:pt x="3085" y="4604"/>
                    <a:pt x="3106" y="4600"/>
                    <a:pt x="3123" y="4600"/>
                  </a:cubicBezTo>
                  <a:lnTo>
                    <a:pt x="3162" y="4600"/>
                  </a:lnTo>
                  <a:cubicBezTo>
                    <a:pt x="3176" y="4600"/>
                    <a:pt x="3190" y="4600"/>
                    <a:pt x="3200" y="4604"/>
                  </a:cubicBezTo>
                  <a:cubicBezTo>
                    <a:pt x="3214" y="4607"/>
                    <a:pt x="3225" y="4611"/>
                    <a:pt x="3239" y="4614"/>
                  </a:cubicBezTo>
                  <a:lnTo>
                    <a:pt x="3246" y="4614"/>
                  </a:lnTo>
                  <a:cubicBezTo>
                    <a:pt x="3256" y="4618"/>
                    <a:pt x="3270" y="4621"/>
                    <a:pt x="3281" y="4625"/>
                  </a:cubicBezTo>
                  <a:lnTo>
                    <a:pt x="3288" y="4628"/>
                  </a:lnTo>
                  <a:cubicBezTo>
                    <a:pt x="3298" y="4632"/>
                    <a:pt x="3312" y="4639"/>
                    <a:pt x="3323" y="4646"/>
                  </a:cubicBezTo>
                  <a:cubicBezTo>
                    <a:pt x="3341" y="4657"/>
                    <a:pt x="3360" y="4662"/>
                    <a:pt x="3380" y="4662"/>
                  </a:cubicBezTo>
                  <a:cubicBezTo>
                    <a:pt x="3425" y="4662"/>
                    <a:pt x="3477" y="4638"/>
                    <a:pt x="3547" y="4604"/>
                  </a:cubicBezTo>
                  <a:cubicBezTo>
                    <a:pt x="3611" y="4569"/>
                    <a:pt x="3675" y="4537"/>
                    <a:pt x="3741" y="4537"/>
                  </a:cubicBezTo>
                  <a:cubicBezTo>
                    <a:pt x="3754" y="4537"/>
                    <a:pt x="3768" y="4538"/>
                    <a:pt x="3781" y="4541"/>
                  </a:cubicBezTo>
                  <a:cubicBezTo>
                    <a:pt x="3784" y="4541"/>
                    <a:pt x="3786" y="4542"/>
                    <a:pt x="3788" y="4542"/>
                  </a:cubicBezTo>
                  <a:cubicBezTo>
                    <a:pt x="3821" y="4542"/>
                    <a:pt x="3873" y="4499"/>
                    <a:pt x="3921" y="4457"/>
                  </a:cubicBezTo>
                  <a:cubicBezTo>
                    <a:pt x="3988" y="4401"/>
                    <a:pt x="4065" y="4334"/>
                    <a:pt x="4159" y="4327"/>
                  </a:cubicBezTo>
                  <a:lnTo>
                    <a:pt x="4198" y="4327"/>
                  </a:lnTo>
                  <a:cubicBezTo>
                    <a:pt x="4208" y="4324"/>
                    <a:pt x="4219" y="4317"/>
                    <a:pt x="4226" y="4310"/>
                  </a:cubicBezTo>
                  <a:cubicBezTo>
                    <a:pt x="4338" y="4191"/>
                    <a:pt x="4433" y="3778"/>
                    <a:pt x="4408" y="3599"/>
                  </a:cubicBezTo>
                  <a:lnTo>
                    <a:pt x="4401" y="3599"/>
                  </a:lnTo>
                  <a:lnTo>
                    <a:pt x="4401" y="3529"/>
                  </a:lnTo>
                  <a:lnTo>
                    <a:pt x="4401" y="3470"/>
                  </a:lnTo>
                  <a:lnTo>
                    <a:pt x="4405" y="3470"/>
                  </a:lnTo>
                  <a:cubicBezTo>
                    <a:pt x="4415" y="3382"/>
                    <a:pt x="4436" y="3281"/>
                    <a:pt x="4461" y="3169"/>
                  </a:cubicBezTo>
                  <a:cubicBezTo>
                    <a:pt x="4492" y="3011"/>
                    <a:pt x="4541" y="2766"/>
                    <a:pt x="4520" y="2661"/>
                  </a:cubicBezTo>
                  <a:cubicBezTo>
                    <a:pt x="4517" y="2640"/>
                    <a:pt x="4506" y="2622"/>
                    <a:pt x="4489" y="2612"/>
                  </a:cubicBezTo>
                  <a:cubicBezTo>
                    <a:pt x="4464" y="2598"/>
                    <a:pt x="4436" y="2591"/>
                    <a:pt x="4408" y="2591"/>
                  </a:cubicBezTo>
                  <a:cubicBezTo>
                    <a:pt x="4324" y="2591"/>
                    <a:pt x="4243" y="2636"/>
                    <a:pt x="4180" y="2671"/>
                  </a:cubicBezTo>
                  <a:cubicBezTo>
                    <a:pt x="4145" y="2696"/>
                    <a:pt x="4103" y="2713"/>
                    <a:pt x="4058" y="2717"/>
                  </a:cubicBezTo>
                  <a:cubicBezTo>
                    <a:pt x="4002" y="2717"/>
                    <a:pt x="3953" y="2675"/>
                    <a:pt x="3862" y="2440"/>
                  </a:cubicBezTo>
                  <a:cubicBezTo>
                    <a:pt x="3806" y="2307"/>
                    <a:pt x="3757" y="2150"/>
                    <a:pt x="3732" y="2062"/>
                  </a:cubicBezTo>
                  <a:cubicBezTo>
                    <a:pt x="3690" y="1908"/>
                    <a:pt x="3557" y="1674"/>
                    <a:pt x="3470" y="1642"/>
                  </a:cubicBezTo>
                  <a:cubicBezTo>
                    <a:pt x="3465" y="1640"/>
                    <a:pt x="3461" y="1640"/>
                    <a:pt x="3458" y="1640"/>
                  </a:cubicBezTo>
                  <a:cubicBezTo>
                    <a:pt x="3456" y="1640"/>
                    <a:pt x="3454" y="1640"/>
                    <a:pt x="3452" y="1642"/>
                  </a:cubicBezTo>
                  <a:cubicBezTo>
                    <a:pt x="3418" y="1668"/>
                    <a:pt x="3377" y="1682"/>
                    <a:pt x="3335" y="1682"/>
                  </a:cubicBezTo>
                  <a:cubicBezTo>
                    <a:pt x="3305" y="1682"/>
                    <a:pt x="3274" y="1675"/>
                    <a:pt x="3246" y="1660"/>
                  </a:cubicBezTo>
                  <a:cubicBezTo>
                    <a:pt x="3148" y="1621"/>
                    <a:pt x="3046" y="1604"/>
                    <a:pt x="2941" y="1604"/>
                  </a:cubicBezTo>
                  <a:cubicBezTo>
                    <a:pt x="2756" y="1593"/>
                    <a:pt x="2647" y="1576"/>
                    <a:pt x="2591" y="1499"/>
                  </a:cubicBezTo>
                  <a:cubicBezTo>
                    <a:pt x="2525" y="1415"/>
                    <a:pt x="2553" y="1296"/>
                    <a:pt x="2602" y="1082"/>
                  </a:cubicBezTo>
                  <a:lnTo>
                    <a:pt x="2602" y="1079"/>
                  </a:lnTo>
                  <a:cubicBezTo>
                    <a:pt x="2640" y="907"/>
                    <a:pt x="2574" y="767"/>
                    <a:pt x="2518" y="655"/>
                  </a:cubicBezTo>
                  <a:cubicBezTo>
                    <a:pt x="2472" y="553"/>
                    <a:pt x="2413" y="431"/>
                    <a:pt x="2535" y="364"/>
                  </a:cubicBezTo>
                  <a:cubicBezTo>
                    <a:pt x="2546" y="357"/>
                    <a:pt x="2560" y="347"/>
                    <a:pt x="2570" y="336"/>
                  </a:cubicBezTo>
                  <a:cubicBezTo>
                    <a:pt x="2574" y="333"/>
                    <a:pt x="2577" y="329"/>
                    <a:pt x="2577" y="326"/>
                  </a:cubicBezTo>
                  <a:cubicBezTo>
                    <a:pt x="2577" y="322"/>
                    <a:pt x="2577" y="322"/>
                    <a:pt x="2577" y="319"/>
                  </a:cubicBezTo>
                  <a:lnTo>
                    <a:pt x="2577" y="315"/>
                  </a:lnTo>
                  <a:cubicBezTo>
                    <a:pt x="2577" y="315"/>
                    <a:pt x="2577" y="312"/>
                    <a:pt x="2577" y="312"/>
                  </a:cubicBezTo>
                  <a:lnTo>
                    <a:pt x="2577" y="308"/>
                  </a:lnTo>
                  <a:lnTo>
                    <a:pt x="2577" y="298"/>
                  </a:lnTo>
                  <a:lnTo>
                    <a:pt x="2577" y="294"/>
                  </a:lnTo>
                  <a:lnTo>
                    <a:pt x="2574" y="284"/>
                  </a:lnTo>
                  <a:lnTo>
                    <a:pt x="2570" y="277"/>
                  </a:lnTo>
                  <a:lnTo>
                    <a:pt x="2563" y="263"/>
                  </a:lnTo>
                  <a:lnTo>
                    <a:pt x="2560" y="259"/>
                  </a:lnTo>
                  <a:cubicBezTo>
                    <a:pt x="2556" y="252"/>
                    <a:pt x="2553" y="245"/>
                    <a:pt x="2546" y="235"/>
                  </a:cubicBezTo>
                  <a:lnTo>
                    <a:pt x="2542" y="231"/>
                  </a:lnTo>
                  <a:lnTo>
                    <a:pt x="2532" y="210"/>
                  </a:lnTo>
                  <a:cubicBezTo>
                    <a:pt x="2518" y="217"/>
                    <a:pt x="2507" y="221"/>
                    <a:pt x="2493" y="224"/>
                  </a:cubicBezTo>
                  <a:lnTo>
                    <a:pt x="2486" y="224"/>
                  </a:lnTo>
                  <a:cubicBezTo>
                    <a:pt x="2476" y="228"/>
                    <a:pt x="2465" y="228"/>
                    <a:pt x="2455" y="228"/>
                  </a:cubicBezTo>
                  <a:cubicBezTo>
                    <a:pt x="2378" y="228"/>
                    <a:pt x="2304" y="179"/>
                    <a:pt x="2230" y="126"/>
                  </a:cubicBezTo>
                  <a:cubicBezTo>
                    <a:pt x="2143" y="67"/>
                    <a:pt x="2045" y="0"/>
                    <a:pt x="19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1" name="Google Shape;5631;p53"/>
            <p:cNvSpPr/>
            <p:nvPr/>
          </p:nvSpPr>
          <p:spPr>
            <a:xfrm>
              <a:off x="1613184" y="219562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2" name="Google Shape;5632;p53"/>
            <p:cNvSpPr/>
            <p:nvPr/>
          </p:nvSpPr>
          <p:spPr>
            <a:xfrm>
              <a:off x="1612804" y="2194954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0" y="0"/>
                  </a:moveTo>
                  <a:cubicBezTo>
                    <a:pt x="7" y="11"/>
                    <a:pt x="11" y="18"/>
                    <a:pt x="14" y="25"/>
                  </a:cubicBezTo>
                  <a:cubicBezTo>
                    <a:pt x="11" y="18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3" name="Google Shape;5633;p53"/>
            <p:cNvSpPr/>
            <p:nvPr/>
          </p:nvSpPr>
          <p:spPr>
            <a:xfrm>
              <a:off x="1613035" y="219533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0"/>
                  </a:moveTo>
                  <a:lnTo>
                    <a:pt x="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4" name="Google Shape;5634;p53"/>
            <p:cNvSpPr/>
            <p:nvPr/>
          </p:nvSpPr>
          <p:spPr>
            <a:xfrm>
              <a:off x="1638086" y="2239733"/>
              <a:ext cx="109" cy="910"/>
            </a:xfrm>
            <a:custGeom>
              <a:avLst/>
              <a:gdLst/>
              <a:ahLst/>
              <a:cxnLst/>
              <a:rect l="l" t="t" r="r" b="b"/>
              <a:pathLst>
                <a:path w="8" h="67" extrusionOk="0">
                  <a:moveTo>
                    <a:pt x="1" y="0"/>
                  </a:moveTo>
                  <a:lnTo>
                    <a:pt x="1" y="67"/>
                  </a:lnTo>
                  <a:lnTo>
                    <a:pt x="8" y="67"/>
                  </a:lnTo>
                  <a:cubicBezTo>
                    <a:pt x="4" y="53"/>
                    <a:pt x="4" y="42"/>
                    <a:pt x="4" y="32"/>
                  </a:cubicBezTo>
                  <a:lnTo>
                    <a:pt x="4" y="18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5" name="Google Shape;5635;p53"/>
            <p:cNvSpPr/>
            <p:nvPr/>
          </p:nvSpPr>
          <p:spPr>
            <a:xfrm>
              <a:off x="1612560" y="2194615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5" y="22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6" name="Google Shape;5636;p53"/>
            <p:cNvSpPr/>
            <p:nvPr/>
          </p:nvSpPr>
          <p:spPr>
            <a:xfrm>
              <a:off x="1625201" y="2214031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7" y="0"/>
                  </a:moveTo>
                  <a:cubicBezTo>
                    <a:pt x="4" y="0"/>
                    <a:pt x="3" y="1"/>
                    <a:pt x="1" y="3"/>
                  </a:cubicBezTo>
                  <a:cubicBezTo>
                    <a:pt x="1" y="3"/>
                    <a:pt x="1" y="4"/>
                    <a:pt x="2" y="4"/>
                  </a:cubicBezTo>
                  <a:cubicBezTo>
                    <a:pt x="3" y="4"/>
                    <a:pt x="7" y="2"/>
                    <a:pt x="14" y="2"/>
                  </a:cubicBezTo>
                  <a:cubicBezTo>
                    <a:pt x="16" y="2"/>
                    <a:pt x="19" y="2"/>
                    <a:pt x="22" y="3"/>
                  </a:cubicBezTo>
                  <a:cubicBezTo>
                    <a:pt x="15" y="1"/>
                    <a:pt x="10" y="0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7" name="Google Shape;5637;p53"/>
            <p:cNvSpPr/>
            <p:nvPr/>
          </p:nvSpPr>
          <p:spPr>
            <a:xfrm>
              <a:off x="1613184" y="2196095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cubicBezTo>
                    <a:pt x="4" y="14"/>
                    <a:pt x="7" y="11"/>
                    <a:pt x="11" y="7"/>
                  </a:cubicBezTo>
                  <a:cubicBezTo>
                    <a:pt x="11" y="4"/>
                    <a:pt x="11" y="0"/>
                    <a:pt x="11" y="0"/>
                  </a:cubicBezTo>
                  <a:cubicBezTo>
                    <a:pt x="11" y="0"/>
                    <a:pt x="11" y="4"/>
                    <a:pt x="11" y="7"/>
                  </a:cubicBezTo>
                  <a:cubicBezTo>
                    <a:pt x="7" y="11"/>
                    <a:pt x="4" y="14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8" name="Google Shape;5638;p53"/>
            <p:cNvSpPr/>
            <p:nvPr/>
          </p:nvSpPr>
          <p:spPr>
            <a:xfrm>
              <a:off x="1639280" y="2227228"/>
              <a:ext cx="434" cy="679"/>
            </a:xfrm>
            <a:custGeom>
              <a:avLst/>
              <a:gdLst/>
              <a:ahLst/>
              <a:cxnLst/>
              <a:rect l="l" t="t" r="r" b="b"/>
              <a:pathLst>
                <a:path w="32" h="50" extrusionOk="0">
                  <a:moveTo>
                    <a:pt x="32" y="49"/>
                  </a:moveTo>
                  <a:cubicBezTo>
                    <a:pt x="28" y="32"/>
                    <a:pt x="18" y="11"/>
                    <a:pt x="0" y="0"/>
                  </a:cubicBezTo>
                  <a:lnTo>
                    <a:pt x="0" y="0"/>
                  </a:lnTo>
                  <a:cubicBezTo>
                    <a:pt x="18" y="11"/>
                    <a:pt x="28" y="32"/>
                    <a:pt x="32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9" name="Google Shape;5639;p53"/>
            <p:cNvSpPr/>
            <p:nvPr/>
          </p:nvSpPr>
          <p:spPr>
            <a:xfrm>
              <a:off x="1613320" y="219600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cubicBezTo>
                    <a:pt x="1" y="4"/>
                    <a:pt x="1" y="4"/>
                    <a:pt x="1" y="7"/>
                  </a:cubicBezTo>
                  <a:cubicBezTo>
                    <a:pt x="1" y="4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0" name="Google Shape;5640;p53"/>
            <p:cNvSpPr/>
            <p:nvPr/>
          </p:nvSpPr>
          <p:spPr>
            <a:xfrm>
              <a:off x="1613280" y="2195810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1" name="Google Shape;5641;p53"/>
            <p:cNvSpPr/>
            <p:nvPr/>
          </p:nvSpPr>
          <p:spPr>
            <a:xfrm>
              <a:off x="1638181" y="2226943"/>
              <a:ext cx="1113" cy="299"/>
            </a:xfrm>
            <a:custGeom>
              <a:avLst/>
              <a:gdLst/>
              <a:ahLst/>
              <a:cxnLst/>
              <a:rect l="l" t="t" r="r" b="b"/>
              <a:pathLst>
                <a:path w="82" h="22" extrusionOk="0">
                  <a:moveTo>
                    <a:pt x="1" y="0"/>
                  </a:moveTo>
                  <a:cubicBezTo>
                    <a:pt x="29" y="4"/>
                    <a:pt x="57" y="11"/>
                    <a:pt x="81" y="21"/>
                  </a:cubicBezTo>
                  <a:cubicBezTo>
                    <a:pt x="57" y="11"/>
                    <a:pt x="29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2" name="Google Shape;5642;p53"/>
            <p:cNvSpPr/>
            <p:nvPr/>
          </p:nvSpPr>
          <p:spPr>
            <a:xfrm>
              <a:off x="1634759" y="2250514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1"/>
                  </a:moveTo>
                  <a:cubicBezTo>
                    <a:pt x="14" y="1"/>
                    <a:pt x="28" y="1"/>
                    <a:pt x="42" y="1"/>
                  </a:cubicBezTo>
                  <a:cubicBezTo>
                    <a:pt x="28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3" name="Google Shape;5643;p53"/>
            <p:cNvSpPr/>
            <p:nvPr/>
          </p:nvSpPr>
          <p:spPr>
            <a:xfrm>
              <a:off x="1581101" y="2216013"/>
              <a:ext cx="489" cy="489"/>
            </a:xfrm>
            <a:custGeom>
              <a:avLst/>
              <a:gdLst/>
              <a:ahLst/>
              <a:cxnLst/>
              <a:rect l="l" t="t" r="r" b="b"/>
              <a:pathLst>
                <a:path w="36" h="36" extrusionOk="0">
                  <a:moveTo>
                    <a:pt x="35" y="3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4" name="Google Shape;5644;p53"/>
            <p:cNvSpPr/>
            <p:nvPr/>
          </p:nvSpPr>
          <p:spPr>
            <a:xfrm>
              <a:off x="1580436" y="2215294"/>
              <a:ext cx="489" cy="489"/>
            </a:xfrm>
            <a:custGeom>
              <a:avLst/>
              <a:gdLst/>
              <a:ahLst/>
              <a:cxnLst/>
              <a:rect l="l" t="t" r="r" b="b"/>
              <a:pathLst>
                <a:path w="36" h="36" extrusionOk="0">
                  <a:moveTo>
                    <a:pt x="35" y="36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5" name="Google Shape;5645;p53"/>
            <p:cNvSpPr/>
            <p:nvPr/>
          </p:nvSpPr>
          <p:spPr>
            <a:xfrm>
              <a:off x="1581807" y="2216719"/>
              <a:ext cx="448" cy="489"/>
            </a:xfrm>
            <a:custGeom>
              <a:avLst/>
              <a:gdLst/>
              <a:ahLst/>
              <a:cxnLst/>
              <a:rect l="l" t="t" r="r" b="b"/>
              <a:pathLst>
                <a:path w="33" h="36" extrusionOk="0">
                  <a:moveTo>
                    <a:pt x="32" y="36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6" name="Google Shape;5646;p53"/>
            <p:cNvSpPr/>
            <p:nvPr/>
          </p:nvSpPr>
          <p:spPr>
            <a:xfrm>
              <a:off x="1582472" y="2217439"/>
              <a:ext cx="543" cy="530"/>
            </a:xfrm>
            <a:custGeom>
              <a:avLst/>
              <a:gdLst/>
              <a:ahLst/>
              <a:cxnLst/>
              <a:rect l="l" t="t" r="r" b="b"/>
              <a:pathLst>
                <a:path w="40" h="39" extrusionOk="0">
                  <a:moveTo>
                    <a:pt x="39" y="39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7" name="Google Shape;5647;p53"/>
            <p:cNvSpPr/>
            <p:nvPr/>
          </p:nvSpPr>
          <p:spPr>
            <a:xfrm>
              <a:off x="1638140" y="2238878"/>
              <a:ext cx="14" cy="869"/>
            </a:xfrm>
            <a:custGeom>
              <a:avLst/>
              <a:gdLst/>
              <a:ahLst/>
              <a:cxnLst/>
              <a:rect l="l" t="t" r="r" b="b"/>
              <a:pathLst>
                <a:path w="1" h="64" extrusionOk="0">
                  <a:moveTo>
                    <a:pt x="0" y="0"/>
                  </a:moveTo>
                  <a:lnTo>
                    <a:pt x="0" y="63"/>
                  </a:lnTo>
                  <a:lnTo>
                    <a:pt x="0" y="56"/>
                  </a:lnTo>
                  <a:lnTo>
                    <a:pt x="0" y="28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8" name="Google Shape;5648;p53"/>
            <p:cNvSpPr/>
            <p:nvPr/>
          </p:nvSpPr>
          <p:spPr>
            <a:xfrm>
              <a:off x="1579662" y="2214438"/>
              <a:ext cx="638" cy="679"/>
            </a:xfrm>
            <a:custGeom>
              <a:avLst/>
              <a:gdLst/>
              <a:ahLst/>
              <a:cxnLst/>
              <a:rect l="l" t="t" r="r" b="b"/>
              <a:pathLst>
                <a:path w="47" h="50" extrusionOk="0">
                  <a:moveTo>
                    <a:pt x="46" y="5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9" name="Google Shape;5649;p53"/>
            <p:cNvSpPr/>
            <p:nvPr/>
          </p:nvSpPr>
          <p:spPr>
            <a:xfrm>
              <a:off x="1579146" y="2213773"/>
              <a:ext cx="530" cy="679"/>
            </a:xfrm>
            <a:custGeom>
              <a:avLst/>
              <a:gdLst/>
              <a:ahLst/>
              <a:cxnLst/>
              <a:rect l="l" t="t" r="r" b="b"/>
              <a:pathLst>
                <a:path w="39" h="50" extrusionOk="0">
                  <a:moveTo>
                    <a:pt x="39" y="50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0" name="Google Shape;5650;p53"/>
            <p:cNvSpPr/>
            <p:nvPr/>
          </p:nvSpPr>
          <p:spPr>
            <a:xfrm>
              <a:off x="1578290" y="221268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0"/>
                  </a:moveTo>
                  <a:lnTo>
                    <a:pt x="1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1" name="Google Shape;5651;p53"/>
            <p:cNvSpPr/>
            <p:nvPr/>
          </p:nvSpPr>
          <p:spPr>
            <a:xfrm>
              <a:off x="1619932" y="2254220"/>
              <a:ext cx="774" cy="68"/>
            </a:xfrm>
            <a:custGeom>
              <a:avLst/>
              <a:gdLst/>
              <a:ahLst/>
              <a:cxnLst/>
              <a:rect l="l" t="t" r="r" b="b"/>
              <a:pathLst>
                <a:path w="57" h="5" extrusionOk="0">
                  <a:moveTo>
                    <a:pt x="56" y="1"/>
                  </a:moveTo>
                  <a:cubicBezTo>
                    <a:pt x="39" y="1"/>
                    <a:pt x="18" y="1"/>
                    <a:pt x="0" y="4"/>
                  </a:cubicBezTo>
                  <a:cubicBezTo>
                    <a:pt x="18" y="4"/>
                    <a:pt x="39" y="1"/>
                    <a:pt x="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2" name="Google Shape;5652;p53"/>
            <p:cNvSpPr/>
            <p:nvPr/>
          </p:nvSpPr>
          <p:spPr>
            <a:xfrm>
              <a:off x="1578616" y="2213108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29" y="36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3" name="Google Shape;5653;p53"/>
            <p:cNvSpPr/>
            <p:nvPr/>
          </p:nvSpPr>
          <p:spPr>
            <a:xfrm>
              <a:off x="1622254" y="225441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4" name="Google Shape;5654;p53"/>
            <p:cNvSpPr/>
            <p:nvPr/>
          </p:nvSpPr>
          <p:spPr>
            <a:xfrm>
              <a:off x="1618982" y="2254275"/>
              <a:ext cx="774" cy="109"/>
            </a:xfrm>
            <a:custGeom>
              <a:avLst/>
              <a:gdLst/>
              <a:ahLst/>
              <a:cxnLst/>
              <a:rect l="l" t="t" r="r" b="b"/>
              <a:pathLst>
                <a:path w="57" h="8" extrusionOk="0">
                  <a:moveTo>
                    <a:pt x="56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5" name="Google Shape;5655;p53"/>
            <p:cNvSpPr/>
            <p:nvPr/>
          </p:nvSpPr>
          <p:spPr>
            <a:xfrm>
              <a:off x="1621263" y="22542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6" name="Google Shape;5656;p53"/>
            <p:cNvSpPr/>
            <p:nvPr/>
          </p:nvSpPr>
          <p:spPr>
            <a:xfrm>
              <a:off x="1617461" y="2254370"/>
              <a:ext cx="1534" cy="109"/>
            </a:xfrm>
            <a:custGeom>
              <a:avLst/>
              <a:gdLst/>
              <a:ahLst/>
              <a:cxnLst/>
              <a:rect l="l" t="t" r="r" b="b"/>
              <a:pathLst>
                <a:path w="113" h="8" extrusionOk="0">
                  <a:moveTo>
                    <a:pt x="112" y="0"/>
                  </a:moveTo>
                  <a:cubicBezTo>
                    <a:pt x="74" y="4"/>
                    <a:pt x="39" y="7"/>
                    <a:pt x="0" y="7"/>
                  </a:cubicBezTo>
                  <a:cubicBezTo>
                    <a:pt x="39" y="7"/>
                    <a:pt x="74" y="4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7" name="Google Shape;5657;p53"/>
            <p:cNvSpPr/>
            <p:nvPr/>
          </p:nvSpPr>
          <p:spPr>
            <a:xfrm>
              <a:off x="1622824" y="225460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8" name="Google Shape;5658;p53"/>
            <p:cNvSpPr/>
            <p:nvPr/>
          </p:nvSpPr>
          <p:spPr>
            <a:xfrm>
              <a:off x="1621779" y="22543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9" name="Google Shape;5659;p53"/>
            <p:cNvSpPr/>
            <p:nvPr/>
          </p:nvSpPr>
          <p:spPr>
            <a:xfrm>
              <a:off x="1584712" y="2219475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35" y="3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0" name="Google Shape;5660;p53"/>
            <p:cNvSpPr/>
            <p:nvPr/>
          </p:nvSpPr>
          <p:spPr>
            <a:xfrm>
              <a:off x="1583137" y="2218050"/>
              <a:ext cx="679" cy="679"/>
            </a:xfrm>
            <a:custGeom>
              <a:avLst/>
              <a:gdLst/>
              <a:ahLst/>
              <a:cxnLst/>
              <a:rect l="l" t="t" r="r" b="b"/>
              <a:pathLst>
                <a:path w="50" h="50" extrusionOk="0">
                  <a:moveTo>
                    <a:pt x="50" y="5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1" name="Google Shape;5661;p53"/>
            <p:cNvSpPr/>
            <p:nvPr/>
          </p:nvSpPr>
          <p:spPr>
            <a:xfrm>
              <a:off x="1586084" y="2220616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2" name="Google Shape;5662;p53"/>
            <p:cNvSpPr/>
            <p:nvPr/>
          </p:nvSpPr>
          <p:spPr>
            <a:xfrm>
              <a:off x="1583952" y="2218810"/>
              <a:ext cx="584" cy="543"/>
            </a:xfrm>
            <a:custGeom>
              <a:avLst/>
              <a:gdLst/>
              <a:ahLst/>
              <a:cxnLst/>
              <a:rect l="l" t="t" r="r" b="b"/>
              <a:pathLst>
                <a:path w="43" h="40" extrusionOk="0">
                  <a:moveTo>
                    <a:pt x="42" y="3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3" name="Google Shape;5663;p53"/>
            <p:cNvSpPr/>
            <p:nvPr/>
          </p:nvSpPr>
          <p:spPr>
            <a:xfrm>
              <a:off x="1585418" y="2220100"/>
              <a:ext cx="448" cy="339"/>
            </a:xfrm>
            <a:custGeom>
              <a:avLst/>
              <a:gdLst/>
              <a:ahLst/>
              <a:cxnLst/>
              <a:rect l="l" t="t" r="r" b="b"/>
              <a:pathLst>
                <a:path w="33" h="25" extrusionOk="0">
                  <a:moveTo>
                    <a:pt x="32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4" name="Google Shape;5664;p53"/>
            <p:cNvSpPr/>
            <p:nvPr/>
          </p:nvSpPr>
          <p:spPr>
            <a:xfrm>
              <a:off x="1586749" y="2221050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43" y="28"/>
                  </a:moveTo>
                  <a:cubicBezTo>
                    <a:pt x="29" y="21"/>
                    <a:pt x="15" y="11"/>
                    <a:pt x="1" y="0"/>
                  </a:cubicBezTo>
                  <a:cubicBezTo>
                    <a:pt x="15" y="11"/>
                    <a:pt x="29" y="21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5" name="Google Shape;5665;p53"/>
            <p:cNvSpPr/>
            <p:nvPr/>
          </p:nvSpPr>
          <p:spPr>
            <a:xfrm>
              <a:off x="1638086" y="2239638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7"/>
                  </a:moveTo>
                  <a:lnTo>
                    <a:pt x="1" y="25"/>
                  </a:lnTo>
                  <a:lnTo>
                    <a:pt x="1" y="0"/>
                  </a:ln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6" name="Google Shape;5666;p53"/>
            <p:cNvSpPr/>
            <p:nvPr/>
          </p:nvSpPr>
          <p:spPr>
            <a:xfrm>
              <a:off x="1638086" y="2240168"/>
              <a:ext cx="68" cy="475"/>
            </a:xfrm>
            <a:custGeom>
              <a:avLst/>
              <a:gdLst/>
              <a:ahLst/>
              <a:cxnLst/>
              <a:rect l="l" t="t" r="r" b="b"/>
              <a:pathLst>
                <a:path w="5" h="35" extrusionOk="0">
                  <a:moveTo>
                    <a:pt x="1" y="0"/>
                  </a:moveTo>
                  <a:cubicBezTo>
                    <a:pt x="1" y="11"/>
                    <a:pt x="4" y="24"/>
                    <a:pt x="4" y="35"/>
                  </a:cubicBezTo>
                  <a:cubicBezTo>
                    <a:pt x="4" y="21"/>
                    <a:pt x="1" y="1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7" name="Google Shape;5667;p53"/>
            <p:cNvSpPr/>
            <p:nvPr/>
          </p:nvSpPr>
          <p:spPr>
            <a:xfrm>
              <a:off x="1638140" y="2239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8" name="Google Shape;5668;p53"/>
            <p:cNvSpPr/>
            <p:nvPr/>
          </p:nvSpPr>
          <p:spPr>
            <a:xfrm>
              <a:off x="1405367" y="1962046"/>
              <a:ext cx="22118" cy="18031"/>
            </a:xfrm>
            <a:custGeom>
              <a:avLst/>
              <a:gdLst/>
              <a:ahLst/>
              <a:cxnLst/>
              <a:rect l="l" t="t" r="r" b="b"/>
              <a:pathLst>
                <a:path w="1629" h="1328" extrusionOk="0">
                  <a:moveTo>
                    <a:pt x="137" y="0"/>
                  </a:moveTo>
                  <a:cubicBezTo>
                    <a:pt x="151" y="77"/>
                    <a:pt x="119" y="158"/>
                    <a:pt x="56" y="207"/>
                  </a:cubicBezTo>
                  <a:cubicBezTo>
                    <a:pt x="18" y="245"/>
                    <a:pt x="0" y="294"/>
                    <a:pt x="11" y="347"/>
                  </a:cubicBezTo>
                  <a:cubicBezTo>
                    <a:pt x="21" y="448"/>
                    <a:pt x="91" y="532"/>
                    <a:pt x="186" y="567"/>
                  </a:cubicBezTo>
                  <a:cubicBezTo>
                    <a:pt x="243" y="589"/>
                    <a:pt x="275" y="597"/>
                    <a:pt x="296" y="597"/>
                  </a:cubicBezTo>
                  <a:cubicBezTo>
                    <a:pt x="319" y="597"/>
                    <a:pt x="327" y="587"/>
                    <a:pt x="336" y="574"/>
                  </a:cubicBezTo>
                  <a:cubicBezTo>
                    <a:pt x="366" y="528"/>
                    <a:pt x="415" y="501"/>
                    <a:pt x="467" y="501"/>
                  </a:cubicBezTo>
                  <a:cubicBezTo>
                    <a:pt x="470" y="501"/>
                    <a:pt x="473" y="501"/>
                    <a:pt x="477" y="501"/>
                  </a:cubicBezTo>
                  <a:cubicBezTo>
                    <a:pt x="585" y="501"/>
                    <a:pt x="631" y="585"/>
                    <a:pt x="662" y="641"/>
                  </a:cubicBezTo>
                  <a:cubicBezTo>
                    <a:pt x="690" y="690"/>
                    <a:pt x="701" y="704"/>
                    <a:pt x="718" y="704"/>
                  </a:cubicBezTo>
                  <a:cubicBezTo>
                    <a:pt x="813" y="704"/>
                    <a:pt x="974" y="770"/>
                    <a:pt x="1079" y="879"/>
                  </a:cubicBezTo>
                  <a:cubicBezTo>
                    <a:pt x="1142" y="942"/>
                    <a:pt x="1173" y="1026"/>
                    <a:pt x="1173" y="1114"/>
                  </a:cubicBezTo>
                  <a:cubicBezTo>
                    <a:pt x="1163" y="1166"/>
                    <a:pt x="1177" y="1222"/>
                    <a:pt x="1212" y="1264"/>
                  </a:cubicBezTo>
                  <a:cubicBezTo>
                    <a:pt x="1250" y="1303"/>
                    <a:pt x="1320" y="1324"/>
                    <a:pt x="1422" y="1324"/>
                  </a:cubicBezTo>
                  <a:cubicBezTo>
                    <a:pt x="1450" y="1324"/>
                    <a:pt x="1478" y="1324"/>
                    <a:pt x="1509" y="1327"/>
                  </a:cubicBezTo>
                  <a:lnTo>
                    <a:pt x="1509" y="1324"/>
                  </a:lnTo>
                  <a:cubicBezTo>
                    <a:pt x="1516" y="1303"/>
                    <a:pt x="1523" y="1285"/>
                    <a:pt x="1530" y="1268"/>
                  </a:cubicBezTo>
                  <a:cubicBezTo>
                    <a:pt x="1537" y="1250"/>
                    <a:pt x="1541" y="1236"/>
                    <a:pt x="1544" y="1222"/>
                  </a:cubicBezTo>
                  <a:cubicBezTo>
                    <a:pt x="1562" y="1191"/>
                    <a:pt x="1569" y="1152"/>
                    <a:pt x="1565" y="1117"/>
                  </a:cubicBezTo>
                  <a:cubicBezTo>
                    <a:pt x="1562" y="1107"/>
                    <a:pt x="1562" y="1096"/>
                    <a:pt x="1558" y="1086"/>
                  </a:cubicBezTo>
                  <a:lnTo>
                    <a:pt x="1558" y="1072"/>
                  </a:lnTo>
                  <a:lnTo>
                    <a:pt x="1558" y="1044"/>
                  </a:lnTo>
                  <a:lnTo>
                    <a:pt x="1558" y="1026"/>
                  </a:lnTo>
                  <a:lnTo>
                    <a:pt x="1558" y="998"/>
                  </a:lnTo>
                  <a:lnTo>
                    <a:pt x="1558" y="977"/>
                  </a:lnTo>
                  <a:cubicBezTo>
                    <a:pt x="1558" y="973"/>
                    <a:pt x="1562" y="959"/>
                    <a:pt x="1562" y="949"/>
                  </a:cubicBezTo>
                  <a:cubicBezTo>
                    <a:pt x="1565" y="935"/>
                    <a:pt x="1565" y="935"/>
                    <a:pt x="1569" y="924"/>
                  </a:cubicBezTo>
                  <a:cubicBezTo>
                    <a:pt x="1569" y="917"/>
                    <a:pt x="1572" y="903"/>
                    <a:pt x="1576" y="893"/>
                  </a:cubicBezTo>
                  <a:cubicBezTo>
                    <a:pt x="1576" y="882"/>
                    <a:pt x="1579" y="879"/>
                    <a:pt x="1579" y="872"/>
                  </a:cubicBezTo>
                  <a:cubicBezTo>
                    <a:pt x="1583" y="865"/>
                    <a:pt x="1586" y="851"/>
                    <a:pt x="1593" y="840"/>
                  </a:cubicBezTo>
                  <a:cubicBezTo>
                    <a:pt x="1597" y="826"/>
                    <a:pt x="1597" y="823"/>
                    <a:pt x="1600" y="816"/>
                  </a:cubicBezTo>
                  <a:cubicBezTo>
                    <a:pt x="1604" y="809"/>
                    <a:pt x="1611" y="795"/>
                    <a:pt x="1618" y="784"/>
                  </a:cubicBezTo>
                  <a:cubicBezTo>
                    <a:pt x="1621" y="770"/>
                    <a:pt x="1621" y="770"/>
                    <a:pt x="1628" y="763"/>
                  </a:cubicBezTo>
                  <a:lnTo>
                    <a:pt x="1628" y="760"/>
                  </a:lnTo>
                  <a:cubicBezTo>
                    <a:pt x="1453" y="560"/>
                    <a:pt x="1289" y="357"/>
                    <a:pt x="1138" y="140"/>
                  </a:cubicBezTo>
                  <a:lnTo>
                    <a:pt x="1114" y="140"/>
                  </a:lnTo>
                  <a:cubicBezTo>
                    <a:pt x="1096" y="140"/>
                    <a:pt x="1075" y="144"/>
                    <a:pt x="1058" y="144"/>
                  </a:cubicBezTo>
                  <a:lnTo>
                    <a:pt x="1023" y="144"/>
                  </a:lnTo>
                  <a:lnTo>
                    <a:pt x="995" y="140"/>
                  </a:lnTo>
                  <a:lnTo>
                    <a:pt x="984" y="140"/>
                  </a:lnTo>
                  <a:lnTo>
                    <a:pt x="960" y="137"/>
                  </a:lnTo>
                  <a:lnTo>
                    <a:pt x="953" y="137"/>
                  </a:lnTo>
                  <a:cubicBezTo>
                    <a:pt x="942" y="137"/>
                    <a:pt x="932" y="133"/>
                    <a:pt x="925" y="130"/>
                  </a:cubicBezTo>
                  <a:lnTo>
                    <a:pt x="918" y="126"/>
                  </a:lnTo>
                  <a:cubicBezTo>
                    <a:pt x="907" y="123"/>
                    <a:pt x="900" y="119"/>
                    <a:pt x="893" y="116"/>
                  </a:cubicBezTo>
                  <a:lnTo>
                    <a:pt x="886" y="112"/>
                  </a:lnTo>
                  <a:cubicBezTo>
                    <a:pt x="876" y="109"/>
                    <a:pt x="869" y="102"/>
                    <a:pt x="858" y="95"/>
                  </a:cubicBezTo>
                  <a:cubicBezTo>
                    <a:pt x="809" y="60"/>
                    <a:pt x="694" y="56"/>
                    <a:pt x="592" y="53"/>
                  </a:cubicBezTo>
                  <a:cubicBezTo>
                    <a:pt x="491" y="49"/>
                    <a:pt x="396" y="46"/>
                    <a:pt x="329" y="14"/>
                  </a:cubicBezTo>
                  <a:cubicBezTo>
                    <a:pt x="322" y="11"/>
                    <a:pt x="315" y="7"/>
                    <a:pt x="308" y="4"/>
                  </a:cubicBezTo>
                  <a:lnTo>
                    <a:pt x="301" y="4"/>
                  </a:lnTo>
                  <a:lnTo>
                    <a:pt x="27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9" name="Google Shape;5669;p53"/>
            <p:cNvSpPr/>
            <p:nvPr/>
          </p:nvSpPr>
          <p:spPr>
            <a:xfrm>
              <a:off x="1408599" y="1961951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0" name="Google Shape;5670;p53"/>
            <p:cNvSpPr/>
            <p:nvPr/>
          </p:nvSpPr>
          <p:spPr>
            <a:xfrm>
              <a:off x="1407553" y="19619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1" name="Google Shape;5671;p53"/>
            <p:cNvSpPr/>
            <p:nvPr/>
          </p:nvSpPr>
          <p:spPr>
            <a:xfrm>
              <a:off x="1418918" y="1963988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2" name="Google Shape;5672;p53"/>
            <p:cNvSpPr/>
            <p:nvPr/>
          </p:nvSpPr>
          <p:spPr>
            <a:xfrm>
              <a:off x="1408123" y="19619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3" name="Google Shape;5673;p53"/>
            <p:cNvSpPr/>
            <p:nvPr/>
          </p:nvSpPr>
          <p:spPr>
            <a:xfrm>
              <a:off x="1407214" y="196195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4" name="Google Shape;5674;p53"/>
            <p:cNvSpPr/>
            <p:nvPr/>
          </p:nvSpPr>
          <p:spPr>
            <a:xfrm>
              <a:off x="1419773" y="19640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5" name="Google Shape;5675;p53"/>
            <p:cNvSpPr/>
            <p:nvPr/>
          </p:nvSpPr>
          <p:spPr>
            <a:xfrm>
              <a:off x="1420533" y="196398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6" name="Google Shape;5676;p53"/>
            <p:cNvSpPr/>
            <p:nvPr/>
          </p:nvSpPr>
          <p:spPr>
            <a:xfrm>
              <a:off x="1418442" y="1963893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7" name="Google Shape;5677;p53"/>
            <p:cNvSpPr/>
            <p:nvPr/>
          </p:nvSpPr>
          <p:spPr>
            <a:xfrm>
              <a:off x="1417057" y="1963322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1" y="1"/>
                  </a:moveTo>
                  <a:cubicBezTo>
                    <a:pt x="8" y="8"/>
                    <a:pt x="18" y="11"/>
                    <a:pt x="25" y="18"/>
                  </a:cubicBezTo>
                  <a:cubicBezTo>
                    <a:pt x="18" y="11"/>
                    <a:pt x="8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8" name="Google Shape;5678;p53"/>
            <p:cNvSpPr/>
            <p:nvPr/>
          </p:nvSpPr>
          <p:spPr>
            <a:xfrm>
              <a:off x="1417533" y="196360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1"/>
                  </a:moveTo>
                  <a:cubicBezTo>
                    <a:pt x="8" y="4"/>
                    <a:pt x="15" y="8"/>
                    <a:pt x="22" y="8"/>
                  </a:cubicBezTo>
                  <a:cubicBezTo>
                    <a:pt x="15" y="8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9" name="Google Shape;5679;p53"/>
            <p:cNvSpPr/>
            <p:nvPr/>
          </p:nvSpPr>
          <p:spPr>
            <a:xfrm>
              <a:off x="1409115" y="1961992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1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0" name="Google Shape;5680;p53"/>
            <p:cNvSpPr/>
            <p:nvPr/>
          </p:nvSpPr>
          <p:spPr>
            <a:xfrm>
              <a:off x="1409549" y="196208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cubicBezTo>
                    <a:pt x="7" y="1"/>
                    <a:pt x="14" y="4"/>
                    <a:pt x="21" y="8"/>
                  </a:cubicBezTo>
                  <a:cubicBezTo>
                    <a:pt x="14" y="4"/>
                    <a:pt x="7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1" name="Google Shape;5681;p53"/>
            <p:cNvSpPr/>
            <p:nvPr/>
          </p:nvSpPr>
          <p:spPr>
            <a:xfrm>
              <a:off x="1417913" y="1963757"/>
              <a:ext cx="448" cy="149"/>
            </a:xfrm>
            <a:custGeom>
              <a:avLst/>
              <a:gdLst/>
              <a:ahLst/>
              <a:cxnLst/>
              <a:rect l="l" t="t" r="r" b="b"/>
              <a:pathLst>
                <a:path w="33" h="11" extrusionOk="0">
                  <a:moveTo>
                    <a:pt x="1" y="0"/>
                  </a:moveTo>
                  <a:cubicBezTo>
                    <a:pt x="11" y="4"/>
                    <a:pt x="22" y="7"/>
                    <a:pt x="32" y="11"/>
                  </a:cubicBezTo>
                  <a:cubicBezTo>
                    <a:pt x="22" y="7"/>
                    <a:pt x="1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2" name="Google Shape;5682;p53"/>
            <p:cNvSpPr/>
            <p:nvPr/>
          </p:nvSpPr>
          <p:spPr>
            <a:xfrm>
              <a:off x="1427662" y="1972433"/>
              <a:ext cx="41031" cy="16768"/>
            </a:xfrm>
            <a:custGeom>
              <a:avLst/>
              <a:gdLst/>
              <a:ahLst/>
              <a:cxnLst/>
              <a:rect l="l" t="t" r="r" b="b"/>
              <a:pathLst>
                <a:path w="3022" h="1235" extrusionOk="0">
                  <a:moveTo>
                    <a:pt x="1846" y="0"/>
                  </a:moveTo>
                  <a:cubicBezTo>
                    <a:pt x="1649" y="0"/>
                    <a:pt x="1430" y="158"/>
                    <a:pt x="1268" y="307"/>
                  </a:cubicBezTo>
                  <a:cubicBezTo>
                    <a:pt x="1141" y="422"/>
                    <a:pt x="1003" y="464"/>
                    <a:pt x="867" y="464"/>
                  </a:cubicBezTo>
                  <a:cubicBezTo>
                    <a:pt x="668" y="464"/>
                    <a:pt x="473" y="374"/>
                    <a:pt x="319" y="289"/>
                  </a:cubicBezTo>
                  <a:cubicBezTo>
                    <a:pt x="231" y="237"/>
                    <a:pt x="151" y="166"/>
                    <a:pt x="81" y="89"/>
                  </a:cubicBezTo>
                  <a:lnTo>
                    <a:pt x="77" y="100"/>
                  </a:lnTo>
                  <a:lnTo>
                    <a:pt x="74" y="114"/>
                  </a:lnTo>
                  <a:cubicBezTo>
                    <a:pt x="70" y="124"/>
                    <a:pt x="67" y="131"/>
                    <a:pt x="63" y="142"/>
                  </a:cubicBezTo>
                  <a:cubicBezTo>
                    <a:pt x="63" y="145"/>
                    <a:pt x="60" y="149"/>
                    <a:pt x="60" y="152"/>
                  </a:cubicBezTo>
                  <a:cubicBezTo>
                    <a:pt x="56" y="166"/>
                    <a:pt x="53" y="177"/>
                    <a:pt x="53" y="187"/>
                  </a:cubicBezTo>
                  <a:lnTo>
                    <a:pt x="53" y="191"/>
                  </a:lnTo>
                  <a:cubicBezTo>
                    <a:pt x="49" y="205"/>
                    <a:pt x="49" y="215"/>
                    <a:pt x="46" y="226"/>
                  </a:cubicBezTo>
                  <a:lnTo>
                    <a:pt x="46" y="237"/>
                  </a:lnTo>
                  <a:lnTo>
                    <a:pt x="46" y="261"/>
                  </a:lnTo>
                  <a:lnTo>
                    <a:pt x="46" y="268"/>
                  </a:lnTo>
                  <a:lnTo>
                    <a:pt x="46" y="286"/>
                  </a:lnTo>
                  <a:lnTo>
                    <a:pt x="46" y="293"/>
                  </a:lnTo>
                  <a:cubicBezTo>
                    <a:pt x="49" y="300"/>
                    <a:pt x="49" y="307"/>
                    <a:pt x="49" y="314"/>
                  </a:cubicBezTo>
                  <a:cubicBezTo>
                    <a:pt x="60" y="366"/>
                    <a:pt x="56" y="426"/>
                    <a:pt x="35" y="478"/>
                  </a:cubicBezTo>
                  <a:cubicBezTo>
                    <a:pt x="28" y="499"/>
                    <a:pt x="21" y="524"/>
                    <a:pt x="11" y="541"/>
                  </a:cubicBezTo>
                  <a:lnTo>
                    <a:pt x="0" y="580"/>
                  </a:lnTo>
                  <a:cubicBezTo>
                    <a:pt x="228" y="618"/>
                    <a:pt x="518" y="723"/>
                    <a:pt x="669" y="909"/>
                  </a:cubicBezTo>
                  <a:cubicBezTo>
                    <a:pt x="714" y="972"/>
                    <a:pt x="784" y="1014"/>
                    <a:pt x="861" y="1028"/>
                  </a:cubicBezTo>
                  <a:cubicBezTo>
                    <a:pt x="956" y="1042"/>
                    <a:pt x="1033" y="1101"/>
                    <a:pt x="1075" y="1185"/>
                  </a:cubicBezTo>
                  <a:cubicBezTo>
                    <a:pt x="1088" y="1214"/>
                    <a:pt x="1116" y="1235"/>
                    <a:pt x="1148" y="1235"/>
                  </a:cubicBezTo>
                  <a:cubicBezTo>
                    <a:pt x="1150" y="1235"/>
                    <a:pt x="1153" y="1234"/>
                    <a:pt x="1156" y="1234"/>
                  </a:cubicBezTo>
                  <a:cubicBezTo>
                    <a:pt x="1243" y="1234"/>
                    <a:pt x="1352" y="1140"/>
                    <a:pt x="1383" y="1077"/>
                  </a:cubicBezTo>
                  <a:cubicBezTo>
                    <a:pt x="1394" y="1059"/>
                    <a:pt x="1394" y="1049"/>
                    <a:pt x="1334" y="989"/>
                  </a:cubicBezTo>
                  <a:cubicBezTo>
                    <a:pt x="1278" y="944"/>
                    <a:pt x="1240" y="884"/>
                    <a:pt x="1219" y="814"/>
                  </a:cubicBezTo>
                  <a:cubicBezTo>
                    <a:pt x="1198" y="699"/>
                    <a:pt x="1303" y="657"/>
                    <a:pt x="1373" y="629"/>
                  </a:cubicBezTo>
                  <a:cubicBezTo>
                    <a:pt x="1450" y="601"/>
                    <a:pt x="1495" y="576"/>
                    <a:pt x="1513" y="520"/>
                  </a:cubicBezTo>
                  <a:cubicBezTo>
                    <a:pt x="1534" y="440"/>
                    <a:pt x="1600" y="373"/>
                    <a:pt x="1698" y="324"/>
                  </a:cubicBezTo>
                  <a:cubicBezTo>
                    <a:pt x="1800" y="277"/>
                    <a:pt x="1921" y="250"/>
                    <a:pt x="2029" y="250"/>
                  </a:cubicBezTo>
                  <a:cubicBezTo>
                    <a:pt x="2097" y="250"/>
                    <a:pt x="2160" y="261"/>
                    <a:pt x="2209" y="282"/>
                  </a:cubicBezTo>
                  <a:cubicBezTo>
                    <a:pt x="2356" y="345"/>
                    <a:pt x="2444" y="426"/>
                    <a:pt x="2468" y="520"/>
                  </a:cubicBezTo>
                  <a:cubicBezTo>
                    <a:pt x="2486" y="597"/>
                    <a:pt x="2458" y="678"/>
                    <a:pt x="2388" y="758"/>
                  </a:cubicBezTo>
                  <a:cubicBezTo>
                    <a:pt x="2318" y="839"/>
                    <a:pt x="2531" y="1070"/>
                    <a:pt x="2661" y="1192"/>
                  </a:cubicBezTo>
                  <a:lnTo>
                    <a:pt x="2671" y="1182"/>
                  </a:lnTo>
                  <a:lnTo>
                    <a:pt x="2692" y="1161"/>
                  </a:lnTo>
                  <a:lnTo>
                    <a:pt x="2731" y="1122"/>
                  </a:lnTo>
                  <a:lnTo>
                    <a:pt x="2752" y="1101"/>
                  </a:lnTo>
                  <a:lnTo>
                    <a:pt x="2783" y="1066"/>
                  </a:lnTo>
                  <a:lnTo>
                    <a:pt x="2804" y="1045"/>
                  </a:lnTo>
                  <a:lnTo>
                    <a:pt x="2832" y="1017"/>
                  </a:lnTo>
                  <a:lnTo>
                    <a:pt x="2853" y="1000"/>
                  </a:lnTo>
                  <a:lnTo>
                    <a:pt x="2878" y="975"/>
                  </a:lnTo>
                  <a:lnTo>
                    <a:pt x="2895" y="958"/>
                  </a:lnTo>
                  <a:lnTo>
                    <a:pt x="2920" y="937"/>
                  </a:lnTo>
                  <a:lnTo>
                    <a:pt x="2934" y="923"/>
                  </a:lnTo>
                  <a:lnTo>
                    <a:pt x="2955" y="905"/>
                  </a:lnTo>
                  <a:lnTo>
                    <a:pt x="2966" y="895"/>
                  </a:lnTo>
                  <a:cubicBezTo>
                    <a:pt x="2976" y="888"/>
                    <a:pt x="2983" y="881"/>
                    <a:pt x="2990" y="874"/>
                  </a:cubicBezTo>
                  <a:lnTo>
                    <a:pt x="2994" y="874"/>
                  </a:lnTo>
                  <a:lnTo>
                    <a:pt x="2997" y="870"/>
                  </a:lnTo>
                  <a:lnTo>
                    <a:pt x="3001" y="863"/>
                  </a:lnTo>
                  <a:lnTo>
                    <a:pt x="3001" y="860"/>
                  </a:lnTo>
                  <a:lnTo>
                    <a:pt x="3004" y="853"/>
                  </a:lnTo>
                  <a:lnTo>
                    <a:pt x="3004" y="849"/>
                  </a:lnTo>
                  <a:cubicBezTo>
                    <a:pt x="3004" y="846"/>
                    <a:pt x="3008" y="839"/>
                    <a:pt x="3011" y="835"/>
                  </a:cubicBezTo>
                  <a:cubicBezTo>
                    <a:pt x="3015" y="828"/>
                    <a:pt x="3015" y="821"/>
                    <a:pt x="3018" y="814"/>
                  </a:cubicBezTo>
                  <a:lnTo>
                    <a:pt x="3018" y="807"/>
                  </a:lnTo>
                  <a:lnTo>
                    <a:pt x="3022" y="793"/>
                  </a:lnTo>
                  <a:cubicBezTo>
                    <a:pt x="2945" y="723"/>
                    <a:pt x="2860" y="590"/>
                    <a:pt x="2755" y="433"/>
                  </a:cubicBezTo>
                  <a:lnTo>
                    <a:pt x="2710" y="366"/>
                  </a:lnTo>
                  <a:cubicBezTo>
                    <a:pt x="2591" y="184"/>
                    <a:pt x="2398" y="138"/>
                    <a:pt x="2213" y="96"/>
                  </a:cubicBezTo>
                  <a:cubicBezTo>
                    <a:pt x="2129" y="79"/>
                    <a:pt x="2052" y="58"/>
                    <a:pt x="1975" y="26"/>
                  </a:cubicBezTo>
                  <a:cubicBezTo>
                    <a:pt x="1933" y="8"/>
                    <a:pt x="1890" y="0"/>
                    <a:pt x="18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3" name="Google Shape;5683;p53"/>
            <p:cNvSpPr/>
            <p:nvPr/>
          </p:nvSpPr>
          <p:spPr>
            <a:xfrm>
              <a:off x="1428272" y="1975013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1"/>
                  </a:moveTo>
                  <a:cubicBezTo>
                    <a:pt x="4" y="11"/>
                    <a:pt x="1" y="25"/>
                    <a:pt x="1" y="36"/>
                  </a:cubicBezTo>
                  <a:cubicBezTo>
                    <a:pt x="4" y="25"/>
                    <a:pt x="4" y="15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4" name="Google Shape;5684;p53"/>
            <p:cNvSpPr/>
            <p:nvPr/>
          </p:nvSpPr>
          <p:spPr>
            <a:xfrm>
              <a:off x="1428272" y="197563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ubicBezTo>
                    <a:pt x="1" y="8"/>
                    <a:pt x="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5" name="Google Shape;5685;p53"/>
            <p:cNvSpPr/>
            <p:nvPr/>
          </p:nvSpPr>
          <p:spPr>
            <a:xfrm>
              <a:off x="1428707" y="197364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ubicBezTo>
                    <a:pt x="4" y="7"/>
                    <a:pt x="7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6" name="Google Shape;5686;p53"/>
            <p:cNvSpPr/>
            <p:nvPr/>
          </p:nvSpPr>
          <p:spPr>
            <a:xfrm>
              <a:off x="1428272" y="1976072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7" name="Google Shape;5687;p53"/>
            <p:cNvSpPr/>
            <p:nvPr/>
          </p:nvSpPr>
          <p:spPr>
            <a:xfrm>
              <a:off x="1427797" y="1978923"/>
              <a:ext cx="299" cy="869"/>
            </a:xfrm>
            <a:custGeom>
              <a:avLst/>
              <a:gdLst/>
              <a:ahLst/>
              <a:cxnLst/>
              <a:rect l="l" t="t" r="r" b="b"/>
              <a:pathLst>
                <a:path w="22" h="64" extrusionOk="0">
                  <a:moveTo>
                    <a:pt x="22" y="0"/>
                  </a:moveTo>
                  <a:lnTo>
                    <a:pt x="22" y="0"/>
                  </a:lnTo>
                  <a:cubicBezTo>
                    <a:pt x="15" y="18"/>
                    <a:pt x="8" y="42"/>
                    <a:pt x="1" y="63"/>
                  </a:cubicBezTo>
                  <a:cubicBezTo>
                    <a:pt x="11" y="42"/>
                    <a:pt x="18" y="21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8" name="Google Shape;5688;p53"/>
            <p:cNvSpPr/>
            <p:nvPr/>
          </p:nvSpPr>
          <p:spPr>
            <a:xfrm>
              <a:off x="1428082" y="1976642"/>
              <a:ext cx="394" cy="2295"/>
            </a:xfrm>
            <a:custGeom>
              <a:avLst/>
              <a:gdLst/>
              <a:ahLst/>
              <a:cxnLst/>
              <a:rect l="l" t="t" r="r" b="b"/>
              <a:pathLst>
                <a:path w="29" h="169" extrusionOk="0">
                  <a:moveTo>
                    <a:pt x="18" y="0"/>
                  </a:moveTo>
                  <a:lnTo>
                    <a:pt x="18" y="0"/>
                  </a:lnTo>
                  <a:cubicBezTo>
                    <a:pt x="29" y="56"/>
                    <a:pt x="25" y="116"/>
                    <a:pt x="1" y="168"/>
                  </a:cubicBezTo>
                  <a:cubicBezTo>
                    <a:pt x="25" y="116"/>
                    <a:pt x="29" y="56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9" name="Google Shape;5689;p53"/>
            <p:cNvSpPr/>
            <p:nvPr/>
          </p:nvSpPr>
          <p:spPr>
            <a:xfrm>
              <a:off x="1428272" y="1976397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1" y="8"/>
                    <a:pt x="1" y="1"/>
                  </a:cubicBezTo>
                  <a:cubicBezTo>
                    <a:pt x="1" y="8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0" name="Google Shape;5690;p53"/>
            <p:cNvSpPr/>
            <p:nvPr/>
          </p:nvSpPr>
          <p:spPr>
            <a:xfrm>
              <a:off x="1428368" y="1974497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15"/>
                    <a:pt x="1" y="25"/>
                    <a:pt x="1" y="35"/>
                  </a:cubicBezTo>
                  <a:cubicBezTo>
                    <a:pt x="4" y="25"/>
                    <a:pt x="4" y="15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1" name="Google Shape;5691;p53"/>
            <p:cNvSpPr/>
            <p:nvPr/>
          </p:nvSpPr>
          <p:spPr>
            <a:xfrm>
              <a:off x="1427662" y="1979778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35"/>
                  </a:moveTo>
                  <a:lnTo>
                    <a:pt x="0" y="35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2" name="Google Shape;5692;p53"/>
            <p:cNvSpPr/>
            <p:nvPr/>
          </p:nvSpPr>
          <p:spPr>
            <a:xfrm>
              <a:off x="1428558" y="197396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8"/>
                    <a:pt x="1" y="18"/>
                    <a:pt x="1" y="29"/>
                  </a:cubicBezTo>
                  <a:cubicBezTo>
                    <a:pt x="1" y="18"/>
                    <a:pt x="4" y="11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3" name="Google Shape;5693;p53"/>
            <p:cNvSpPr/>
            <p:nvPr/>
          </p:nvSpPr>
          <p:spPr>
            <a:xfrm>
              <a:off x="1456704" y="1951401"/>
              <a:ext cx="86665" cy="123066"/>
            </a:xfrm>
            <a:custGeom>
              <a:avLst/>
              <a:gdLst/>
              <a:ahLst/>
              <a:cxnLst/>
              <a:rect l="l" t="t" r="r" b="b"/>
              <a:pathLst>
                <a:path w="6383" h="9064" extrusionOk="0">
                  <a:moveTo>
                    <a:pt x="4068" y="1"/>
                  </a:moveTo>
                  <a:cubicBezTo>
                    <a:pt x="4013" y="1"/>
                    <a:pt x="3957" y="46"/>
                    <a:pt x="3869" y="130"/>
                  </a:cubicBezTo>
                  <a:cubicBezTo>
                    <a:pt x="3781" y="210"/>
                    <a:pt x="3683" y="301"/>
                    <a:pt x="3554" y="319"/>
                  </a:cubicBezTo>
                  <a:cubicBezTo>
                    <a:pt x="3414" y="340"/>
                    <a:pt x="3347" y="399"/>
                    <a:pt x="3270" y="466"/>
                  </a:cubicBezTo>
                  <a:cubicBezTo>
                    <a:pt x="3221" y="515"/>
                    <a:pt x="3162" y="557"/>
                    <a:pt x="3099" y="592"/>
                  </a:cubicBezTo>
                  <a:cubicBezTo>
                    <a:pt x="3015" y="627"/>
                    <a:pt x="2920" y="648"/>
                    <a:pt x="2825" y="648"/>
                  </a:cubicBezTo>
                  <a:cubicBezTo>
                    <a:pt x="2748" y="655"/>
                    <a:pt x="2640" y="665"/>
                    <a:pt x="2640" y="697"/>
                  </a:cubicBezTo>
                  <a:cubicBezTo>
                    <a:pt x="2636" y="728"/>
                    <a:pt x="2629" y="791"/>
                    <a:pt x="2577" y="816"/>
                  </a:cubicBezTo>
                  <a:cubicBezTo>
                    <a:pt x="2563" y="823"/>
                    <a:pt x="2550" y="826"/>
                    <a:pt x="2536" y="826"/>
                  </a:cubicBezTo>
                  <a:cubicBezTo>
                    <a:pt x="2498" y="826"/>
                    <a:pt x="2459" y="801"/>
                    <a:pt x="2423" y="777"/>
                  </a:cubicBezTo>
                  <a:cubicBezTo>
                    <a:pt x="2384" y="753"/>
                    <a:pt x="2346" y="732"/>
                    <a:pt x="2304" y="718"/>
                  </a:cubicBezTo>
                  <a:cubicBezTo>
                    <a:pt x="2301" y="717"/>
                    <a:pt x="2298" y="717"/>
                    <a:pt x="2294" y="717"/>
                  </a:cubicBezTo>
                  <a:cubicBezTo>
                    <a:pt x="2259" y="717"/>
                    <a:pt x="2181" y="748"/>
                    <a:pt x="2076" y="833"/>
                  </a:cubicBezTo>
                  <a:cubicBezTo>
                    <a:pt x="1961" y="931"/>
                    <a:pt x="1870" y="1057"/>
                    <a:pt x="1873" y="1124"/>
                  </a:cubicBezTo>
                  <a:cubicBezTo>
                    <a:pt x="1873" y="1148"/>
                    <a:pt x="1877" y="1169"/>
                    <a:pt x="1880" y="1194"/>
                  </a:cubicBezTo>
                  <a:cubicBezTo>
                    <a:pt x="1898" y="1355"/>
                    <a:pt x="1915" y="1537"/>
                    <a:pt x="1649" y="1705"/>
                  </a:cubicBezTo>
                  <a:cubicBezTo>
                    <a:pt x="1467" y="1821"/>
                    <a:pt x="1338" y="2013"/>
                    <a:pt x="1233" y="2164"/>
                  </a:cubicBezTo>
                  <a:cubicBezTo>
                    <a:pt x="1191" y="2227"/>
                    <a:pt x="1156" y="2279"/>
                    <a:pt x="1121" y="2321"/>
                  </a:cubicBezTo>
                  <a:cubicBezTo>
                    <a:pt x="1093" y="2360"/>
                    <a:pt x="1047" y="2384"/>
                    <a:pt x="998" y="2384"/>
                  </a:cubicBezTo>
                  <a:lnTo>
                    <a:pt x="998" y="2388"/>
                  </a:lnTo>
                  <a:cubicBezTo>
                    <a:pt x="995" y="2405"/>
                    <a:pt x="988" y="2419"/>
                    <a:pt x="984" y="2433"/>
                  </a:cubicBezTo>
                  <a:lnTo>
                    <a:pt x="981" y="2440"/>
                  </a:lnTo>
                  <a:cubicBezTo>
                    <a:pt x="977" y="2451"/>
                    <a:pt x="970" y="2461"/>
                    <a:pt x="967" y="2472"/>
                  </a:cubicBezTo>
                  <a:lnTo>
                    <a:pt x="963" y="2475"/>
                  </a:lnTo>
                  <a:cubicBezTo>
                    <a:pt x="956" y="2486"/>
                    <a:pt x="949" y="2496"/>
                    <a:pt x="942" y="2503"/>
                  </a:cubicBezTo>
                  <a:lnTo>
                    <a:pt x="939" y="2510"/>
                  </a:lnTo>
                  <a:cubicBezTo>
                    <a:pt x="932" y="2517"/>
                    <a:pt x="925" y="2524"/>
                    <a:pt x="914" y="2531"/>
                  </a:cubicBezTo>
                  <a:lnTo>
                    <a:pt x="900" y="2542"/>
                  </a:lnTo>
                  <a:lnTo>
                    <a:pt x="897" y="2549"/>
                  </a:lnTo>
                  <a:lnTo>
                    <a:pt x="886" y="2556"/>
                  </a:lnTo>
                  <a:lnTo>
                    <a:pt x="879" y="2563"/>
                  </a:lnTo>
                  <a:lnTo>
                    <a:pt x="869" y="2573"/>
                  </a:lnTo>
                  <a:lnTo>
                    <a:pt x="858" y="2580"/>
                  </a:lnTo>
                  <a:lnTo>
                    <a:pt x="848" y="2591"/>
                  </a:lnTo>
                  <a:lnTo>
                    <a:pt x="841" y="2598"/>
                  </a:lnTo>
                  <a:lnTo>
                    <a:pt x="827" y="2612"/>
                  </a:lnTo>
                  <a:lnTo>
                    <a:pt x="816" y="2619"/>
                  </a:lnTo>
                  <a:lnTo>
                    <a:pt x="798" y="2636"/>
                  </a:lnTo>
                  <a:lnTo>
                    <a:pt x="788" y="2647"/>
                  </a:lnTo>
                  <a:lnTo>
                    <a:pt x="770" y="2664"/>
                  </a:lnTo>
                  <a:lnTo>
                    <a:pt x="760" y="2675"/>
                  </a:lnTo>
                  <a:lnTo>
                    <a:pt x="746" y="2685"/>
                  </a:lnTo>
                  <a:lnTo>
                    <a:pt x="735" y="2699"/>
                  </a:lnTo>
                  <a:lnTo>
                    <a:pt x="721" y="2710"/>
                  </a:lnTo>
                  <a:lnTo>
                    <a:pt x="711" y="2724"/>
                  </a:lnTo>
                  <a:lnTo>
                    <a:pt x="697" y="2734"/>
                  </a:lnTo>
                  <a:lnTo>
                    <a:pt x="686" y="2748"/>
                  </a:lnTo>
                  <a:lnTo>
                    <a:pt x="676" y="2759"/>
                  </a:lnTo>
                  <a:lnTo>
                    <a:pt x="662" y="2773"/>
                  </a:lnTo>
                  <a:lnTo>
                    <a:pt x="658" y="2780"/>
                  </a:lnTo>
                  <a:lnTo>
                    <a:pt x="599" y="2836"/>
                  </a:lnTo>
                  <a:cubicBezTo>
                    <a:pt x="651" y="2885"/>
                    <a:pt x="697" y="2927"/>
                    <a:pt x="732" y="2965"/>
                  </a:cubicBezTo>
                  <a:cubicBezTo>
                    <a:pt x="823" y="3056"/>
                    <a:pt x="865" y="3186"/>
                    <a:pt x="848" y="3315"/>
                  </a:cubicBezTo>
                  <a:cubicBezTo>
                    <a:pt x="841" y="3347"/>
                    <a:pt x="844" y="3375"/>
                    <a:pt x="851" y="3403"/>
                  </a:cubicBezTo>
                  <a:cubicBezTo>
                    <a:pt x="974" y="3644"/>
                    <a:pt x="897" y="3746"/>
                    <a:pt x="834" y="3788"/>
                  </a:cubicBezTo>
                  <a:cubicBezTo>
                    <a:pt x="784" y="3872"/>
                    <a:pt x="848" y="4443"/>
                    <a:pt x="939" y="4541"/>
                  </a:cubicBezTo>
                  <a:cubicBezTo>
                    <a:pt x="1054" y="4674"/>
                    <a:pt x="988" y="4793"/>
                    <a:pt x="900" y="4950"/>
                  </a:cubicBezTo>
                  <a:cubicBezTo>
                    <a:pt x="879" y="4989"/>
                    <a:pt x="851" y="5038"/>
                    <a:pt x="827" y="5087"/>
                  </a:cubicBezTo>
                  <a:cubicBezTo>
                    <a:pt x="704" y="5328"/>
                    <a:pt x="585" y="5472"/>
                    <a:pt x="322" y="5486"/>
                  </a:cubicBezTo>
                  <a:cubicBezTo>
                    <a:pt x="235" y="5493"/>
                    <a:pt x="200" y="5577"/>
                    <a:pt x="165" y="5689"/>
                  </a:cubicBezTo>
                  <a:cubicBezTo>
                    <a:pt x="140" y="5759"/>
                    <a:pt x="116" y="5832"/>
                    <a:pt x="49" y="5839"/>
                  </a:cubicBezTo>
                  <a:cubicBezTo>
                    <a:pt x="21" y="5878"/>
                    <a:pt x="7" y="5927"/>
                    <a:pt x="0" y="5973"/>
                  </a:cubicBezTo>
                  <a:lnTo>
                    <a:pt x="11" y="5983"/>
                  </a:lnTo>
                  <a:lnTo>
                    <a:pt x="28" y="5997"/>
                  </a:lnTo>
                  <a:lnTo>
                    <a:pt x="53" y="6015"/>
                  </a:lnTo>
                  <a:lnTo>
                    <a:pt x="74" y="6029"/>
                  </a:lnTo>
                  <a:lnTo>
                    <a:pt x="98" y="6050"/>
                  </a:lnTo>
                  <a:lnTo>
                    <a:pt x="119" y="6060"/>
                  </a:lnTo>
                  <a:lnTo>
                    <a:pt x="147" y="6081"/>
                  </a:lnTo>
                  <a:lnTo>
                    <a:pt x="165" y="6095"/>
                  </a:lnTo>
                  <a:lnTo>
                    <a:pt x="193" y="6113"/>
                  </a:lnTo>
                  <a:lnTo>
                    <a:pt x="214" y="6123"/>
                  </a:lnTo>
                  <a:lnTo>
                    <a:pt x="242" y="6141"/>
                  </a:lnTo>
                  <a:lnTo>
                    <a:pt x="259" y="6155"/>
                  </a:lnTo>
                  <a:lnTo>
                    <a:pt x="287" y="6169"/>
                  </a:lnTo>
                  <a:lnTo>
                    <a:pt x="308" y="6183"/>
                  </a:lnTo>
                  <a:lnTo>
                    <a:pt x="333" y="6197"/>
                  </a:lnTo>
                  <a:lnTo>
                    <a:pt x="354" y="6207"/>
                  </a:lnTo>
                  <a:lnTo>
                    <a:pt x="378" y="6221"/>
                  </a:lnTo>
                  <a:lnTo>
                    <a:pt x="396" y="6232"/>
                  </a:lnTo>
                  <a:lnTo>
                    <a:pt x="420" y="6242"/>
                  </a:lnTo>
                  <a:lnTo>
                    <a:pt x="438" y="6253"/>
                  </a:lnTo>
                  <a:lnTo>
                    <a:pt x="459" y="6263"/>
                  </a:lnTo>
                  <a:lnTo>
                    <a:pt x="476" y="6270"/>
                  </a:lnTo>
                  <a:lnTo>
                    <a:pt x="497" y="6281"/>
                  </a:lnTo>
                  <a:lnTo>
                    <a:pt x="511" y="6288"/>
                  </a:lnTo>
                  <a:lnTo>
                    <a:pt x="529" y="6295"/>
                  </a:lnTo>
                  <a:lnTo>
                    <a:pt x="543" y="6298"/>
                  </a:lnTo>
                  <a:lnTo>
                    <a:pt x="557" y="6305"/>
                  </a:lnTo>
                  <a:lnTo>
                    <a:pt x="567" y="6309"/>
                  </a:lnTo>
                  <a:lnTo>
                    <a:pt x="585" y="6312"/>
                  </a:lnTo>
                  <a:lnTo>
                    <a:pt x="606" y="6312"/>
                  </a:lnTo>
                  <a:cubicBezTo>
                    <a:pt x="700" y="6312"/>
                    <a:pt x="763" y="6379"/>
                    <a:pt x="834" y="6449"/>
                  </a:cubicBezTo>
                  <a:cubicBezTo>
                    <a:pt x="876" y="6494"/>
                    <a:pt x="928" y="6540"/>
                    <a:pt x="981" y="6575"/>
                  </a:cubicBezTo>
                  <a:lnTo>
                    <a:pt x="1002" y="6582"/>
                  </a:lnTo>
                  <a:cubicBezTo>
                    <a:pt x="1053" y="6609"/>
                    <a:pt x="1111" y="6621"/>
                    <a:pt x="1169" y="6621"/>
                  </a:cubicBezTo>
                  <a:cubicBezTo>
                    <a:pt x="1202" y="6621"/>
                    <a:pt x="1235" y="6617"/>
                    <a:pt x="1268" y="6610"/>
                  </a:cubicBezTo>
                  <a:cubicBezTo>
                    <a:pt x="1285" y="6606"/>
                    <a:pt x="1303" y="6599"/>
                    <a:pt x="1313" y="6589"/>
                  </a:cubicBezTo>
                  <a:cubicBezTo>
                    <a:pt x="1334" y="6564"/>
                    <a:pt x="1362" y="6550"/>
                    <a:pt x="1394" y="6550"/>
                  </a:cubicBezTo>
                  <a:lnTo>
                    <a:pt x="1418" y="6550"/>
                  </a:lnTo>
                  <a:lnTo>
                    <a:pt x="1432" y="6554"/>
                  </a:lnTo>
                  <a:lnTo>
                    <a:pt x="1439" y="6554"/>
                  </a:lnTo>
                  <a:lnTo>
                    <a:pt x="1450" y="6557"/>
                  </a:lnTo>
                  <a:lnTo>
                    <a:pt x="1457" y="6561"/>
                  </a:lnTo>
                  <a:lnTo>
                    <a:pt x="1471" y="6564"/>
                  </a:lnTo>
                  <a:lnTo>
                    <a:pt x="1478" y="6568"/>
                  </a:lnTo>
                  <a:lnTo>
                    <a:pt x="1492" y="6578"/>
                  </a:lnTo>
                  <a:lnTo>
                    <a:pt x="1495" y="6582"/>
                  </a:lnTo>
                  <a:lnTo>
                    <a:pt x="1513" y="6592"/>
                  </a:lnTo>
                  <a:lnTo>
                    <a:pt x="1534" y="6606"/>
                  </a:lnTo>
                  <a:lnTo>
                    <a:pt x="1537" y="6610"/>
                  </a:lnTo>
                  <a:lnTo>
                    <a:pt x="1558" y="6627"/>
                  </a:lnTo>
                  <a:cubicBezTo>
                    <a:pt x="1649" y="6708"/>
                    <a:pt x="1737" y="6799"/>
                    <a:pt x="1821" y="6890"/>
                  </a:cubicBezTo>
                  <a:lnTo>
                    <a:pt x="1835" y="6886"/>
                  </a:lnTo>
                  <a:lnTo>
                    <a:pt x="1870" y="6883"/>
                  </a:lnTo>
                  <a:lnTo>
                    <a:pt x="1901" y="6876"/>
                  </a:lnTo>
                  <a:lnTo>
                    <a:pt x="1929" y="6872"/>
                  </a:lnTo>
                  <a:lnTo>
                    <a:pt x="1957" y="6865"/>
                  </a:lnTo>
                  <a:lnTo>
                    <a:pt x="1985" y="6862"/>
                  </a:lnTo>
                  <a:lnTo>
                    <a:pt x="2010" y="6858"/>
                  </a:lnTo>
                  <a:lnTo>
                    <a:pt x="2230" y="6858"/>
                  </a:lnTo>
                  <a:lnTo>
                    <a:pt x="2241" y="6862"/>
                  </a:lnTo>
                  <a:lnTo>
                    <a:pt x="2248" y="6862"/>
                  </a:lnTo>
                  <a:lnTo>
                    <a:pt x="2258" y="6865"/>
                  </a:lnTo>
                  <a:lnTo>
                    <a:pt x="2265" y="6865"/>
                  </a:lnTo>
                  <a:lnTo>
                    <a:pt x="2272" y="6869"/>
                  </a:lnTo>
                  <a:lnTo>
                    <a:pt x="2276" y="6869"/>
                  </a:lnTo>
                  <a:lnTo>
                    <a:pt x="2283" y="6872"/>
                  </a:lnTo>
                  <a:lnTo>
                    <a:pt x="2286" y="6872"/>
                  </a:lnTo>
                  <a:lnTo>
                    <a:pt x="2293" y="6876"/>
                  </a:lnTo>
                  <a:lnTo>
                    <a:pt x="2300" y="6879"/>
                  </a:lnTo>
                  <a:cubicBezTo>
                    <a:pt x="2388" y="6932"/>
                    <a:pt x="2423" y="7033"/>
                    <a:pt x="2454" y="7131"/>
                  </a:cubicBezTo>
                  <a:cubicBezTo>
                    <a:pt x="2500" y="7261"/>
                    <a:pt x="2528" y="7320"/>
                    <a:pt x="2594" y="7327"/>
                  </a:cubicBezTo>
                  <a:cubicBezTo>
                    <a:pt x="2724" y="7341"/>
                    <a:pt x="2843" y="7408"/>
                    <a:pt x="2920" y="7513"/>
                  </a:cubicBezTo>
                  <a:cubicBezTo>
                    <a:pt x="2976" y="7576"/>
                    <a:pt x="3004" y="7660"/>
                    <a:pt x="2997" y="7744"/>
                  </a:cubicBezTo>
                  <a:cubicBezTo>
                    <a:pt x="2994" y="7761"/>
                    <a:pt x="3036" y="7796"/>
                    <a:pt x="3064" y="7821"/>
                  </a:cubicBezTo>
                  <a:cubicBezTo>
                    <a:pt x="3130" y="7877"/>
                    <a:pt x="3221" y="7957"/>
                    <a:pt x="3207" y="8084"/>
                  </a:cubicBezTo>
                  <a:cubicBezTo>
                    <a:pt x="3207" y="8084"/>
                    <a:pt x="3214" y="8098"/>
                    <a:pt x="3256" y="8112"/>
                  </a:cubicBezTo>
                  <a:cubicBezTo>
                    <a:pt x="3311" y="8128"/>
                    <a:pt x="3384" y="8135"/>
                    <a:pt x="3457" y="8135"/>
                  </a:cubicBezTo>
                  <a:cubicBezTo>
                    <a:pt x="3580" y="8135"/>
                    <a:pt x="3704" y="8116"/>
                    <a:pt x="3732" y="8101"/>
                  </a:cubicBezTo>
                  <a:cubicBezTo>
                    <a:pt x="3793" y="8053"/>
                    <a:pt x="3886" y="8021"/>
                    <a:pt x="3975" y="8021"/>
                  </a:cubicBezTo>
                  <a:cubicBezTo>
                    <a:pt x="4029" y="8021"/>
                    <a:pt x="4081" y="8033"/>
                    <a:pt x="4124" y="8059"/>
                  </a:cubicBezTo>
                  <a:cubicBezTo>
                    <a:pt x="4133" y="8063"/>
                    <a:pt x="4143" y="8065"/>
                    <a:pt x="4156" y="8065"/>
                  </a:cubicBezTo>
                  <a:cubicBezTo>
                    <a:pt x="4187" y="8065"/>
                    <a:pt x="4229" y="8055"/>
                    <a:pt x="4271" y="8045"/>
                  </a:cubicBezTo>
                  <a:lnTo>
                    <a:pt x="4303" y="8038"/>
                  </a:lnTo>
                  <a:lnTo>
                    <a:pt x="4306" y="8038"/>
                  </a:lnTo>
                  <a:lnTo>
                    <a:pt x="4334" y="8031"/>
                  </a:lnTo>
                  <a:lnTo>
                    <a:pt x="4341" y="8031"/>
                  </a:lnTo>
                  <a:cubicBezTo>
                    <a:pt x="4362" y="8028"/>
                    <a:pt x="4383" y="8024"/>
                    <a:pt x="4404" y="8024"/>
                  </a:cubicBezTo>
                  <a:lnTo>
                    <a:pt x="4408" y="8024"/>
                  </a:lnTo>
                  <a:cubicBezTo>
                    <a:pt x="4418" y="8024"/>
                    <a:pt x="4429" y="8024"/>
                    <a:pt x="4439" y="8028"/>
                  </a:cubicBezTo>
                  <a:lnTo>
                    <a:pt x="4446" y="8028"/>
                  </a:lnTo>
                  <a:cubicBezTo>
                    <a:pt x="4457" y="8028"/>
                    <a:pt x="4467" y="8031"/>
                    <a:pt x="4474" y="8035"/>
                  </a:cubicBezTo>
                  <a:cubicBezTo>
                    <a:pt x="4604" y="8080"/>
                    <a:pt x="4726" y="8147"/>
                    <a:pt x="4835" y="8227"/>
                  </a:cubicBezTo>
                  <a:cubicBezTo>
                    <a:pt x="4873" y="8255"/>
                    <a:pt x="4901" y="8294"/>
                    <a:pt x="4919" y="8336"/>
                  </a:cubicBezTo>
                  <a:cubicBezTo>
                    <a:pt x="4933" y="8374"/>
                    <a:pt x="4929" y="8416"/>
                    <a:pt x="4908" y="8451"/>
                  </a:cubicBezTo>
                  <a:cubicBezTo>
                    <a:pt x="4870" y="8511"/>
                    <a:pt x="4824" y="8567"/>
                    <a:pt x="4779" y="8619"/>
                  </a:cubicBezTo>
                  <a:cubicBezTo>
                    <a:pt x="4726" y="8675"/>
                    <a:pt x="4607" y="8812"/>
                    <a:pt x="4625" y="8847"/>
                  </a:cubicBezTo>
                  <a:cubicBezTo>
                    <a:pt x="4639" y="8875"/>
                    <a:pt x="4695" y="8910"/>
                    <a:pt x="4747" y="8941"/>
                  </a:cubicBezTo>
                  <a:lnTo>
                    <a:pt x="4786" y="8962"/>
                  </a:lnTo>
                  <a:lnTo>
                    <a:pt x="4793" y="8969"/>
                  </a:lnTo>
                  <a:lnTo>
                    <a:pt x="4831" y="8994"/>
                  </a:lnTo>
                  <a:lnTo>
                    <a:pt x="4838" y="9001"/>
                  </a:lnTo>
                  <a:cubicBezTo>
                    <a:pt x="4852" y="9008"/>
                    <a:pt x="4863" y="9018"/>
                    <a:pt x="4873" y="9025"/>
                  </a:cubicBezTo>
                  <a:lnTo>
                    <a:pt x="4877" y="9029"/>
                  </a:lnTo>
                  <a:cubicBezTo>
                    <a:pt x="4887" y="9039"/>
                    <a:pt x="4901" y="9050"/>
                    <a:pt x="4912" y="9060"/>
                  </a:cubicBezTo>
                  <a:lnTo>
                    <a:pt x="4915" y="9064"/>
                  </a:lnTo>
                  <a:lnTo>
                    <a:pt x="4919" y="9060"/>
                  </a:lnTo>
                  <a:cubicBezTo>
                    <a:pt x="4922" y="9057"/>
                    <a:pt x="4926" y="9050"/>
                    <a:pt x="4929" y="9046"/>
                  </a:cubicBezTo>
                  <a:lnTo>
                    <a:pt x="4933" y="9043"/>
                  </a:lnTo>
                  <a:cubicBezTo>
                    <a:pt x="4936" y="9036"/>
                    <a:pt x="4940" y="9029"/>
                    <a:pt x="4943" y="9022"/>
                  </a:cubicBezTo>
                  <a:lnTo>
                    <a:pt x="4947" y="9015"/>
                  </a:lnTo>
                  <a:cubicBezTo>
                    <a:pt x="4950" y="9011"/>
                    <a:pt x="4954" y="9001"/>
                    <a:pt x="4954" y="8994"/>
                  </a:cubicBezTo>
                  <a:lnTo>
                    <a:pt x="4957" y="8983"/>
                  </a:lnTo>
                  <a:cubicBezTo>
                    <a:pt x="4961" y="8976"/>
                    <a:pt x="4965" y="8969"/>
                    <a:pt x="4968" y="8959"/>
                  </a:cubicBezTo>
                  <a:lnTo>
                    <a:pt x="4972" y="8948"/>
                  </a:lnTo>
                  <a:cubicBezTo>
                    <a:pt x="4975" y="8938"/>
                    <a:pt x="4979" y="8927"/>
                    <a:pt x="4982" y="8917"/>
                  </a:cubicBezTo>
                  <a:lnTo>
                    <a:pt x="4986" y="8903"/>
                  </a:lnTo>
                  <a:cubicBezTo>
                    <a:pt x="4989" y="8892"/>
                    <a:pt x="4993" y="8885"/>
                    <a:pt x="4993" y="8875"/>
                  </a:cubicBezTo>
                  <a:lnTo>
                    <a:pt x="5000" y="8857"/>
                  </a:lnTo>
                  <a:cubicBezTo>
                    <a:pt x="5000" y="8847"/>
                    <a:pt x="5003" y="8836"/>
                    <a:pt x="5007" y="8826"/>
                  </a:cubicBezTo>
                  <a:lnTo>
                    <a:pt x="5010" y="8808"/>
                  </a:lnTo>
                  <a:cubicBezTo>
                    <a:pt x="5014" y="8798"/>
                    <a:pt x="5014" y="8787"/>
                    <a:pt x="5017" y="8777"/>
                  </a:cubicBezTo>
                  <a:lnTo>
                    <a:pt x="5021" y="8756"/>
                  </a:lnTo>
                  <a:cubicBezTo>
                    <a:pt x="5021" y="8745"/>
                    <a:pt x="5024" y="8735"/>
                    <a:pt x="5028" y="8724"/>
                  </a:cubicBezTo>
                  <a:lnTo>
                    <a:pt x="5031" y="8703"/>
                  </a:lnTo>
                  <a:cubicBezTo>
                    <a:pt x="5031" y="8693"/>
                    <a:pt x="5035" y="8682"/>
                    <a:pt x="5035" y="8672"/>
                  </a:cubicBezTo>
                  <a:cubicBezTo>
                    <a:pt x="5038" y="8658"/>
                    <a:pt x="5038" y="8654"/>
                    <a:pt x="5038" y="8647"/>
                  </a:cubicBezTo>
                  <a:cubicBezTo>
                    <a:pt x="5042" y="8640"/>
                    <a:pt x="5042" y="8626"/>
                    <a:pt x="5045" y="8616"/>
                  </a:cubicBezTo>
                  <a:lnTo>
                    <a:pt x="5045" y="8595"/>
                  </a:lnTo>
                  <a:cubicBezTo>
                    <a:pt x="5045" y="8584"/>
                    <a:pt x="5049" y="8574"/>
                    <a:pt x="5049" y="8563"/>
                  </a:cubicBezTo>
                  <a:cubicBezTo>
                    <a:pt x="5052" y="8553"/>
                    <a:pt x="5049" y="8549"/>
                    <a:pt x="5052" y="8542"/>
                  </a:cubicBezTo>
                  <a:cubicBezTo>
                    <a:pt x="5056" y="8535"/>
                    <a:pt x="5052" y="8518"/>
                    <a:pt x="5056" y="8507"/>
                  </a:cubicBezTo>
                  <a:cubicBezTo>
                    <a:pt x="5059" y="8497"/>
                    <a:pt x="5056" y="8497"/>
                    <a:pt x="5056" y="8490"/>
                  </a:cubicBezTo>
                  <a:lnTo>
                    <a:pt x="5056" y="8455"/>
                  </a:lnTo>
                  <a:lnTo>
                    <a:pt x="5056" y="8441"/>
                  </a:lnTo>
                  <a:lnTo>
                    <a:pt x="5056" y="8392"/>
                  </a:lnTo>
                  <a:cubicBezTo>
                    <a:pt x="5070" y="8136"/>
                    <a:pt x="5108" y="7880"/>
                    <a:pt x="5171" y="7628"/>
                  </a:cubicBezTo>
                  <a:cubicBezTo>
                    <a:pt x="5210" y="7488"/>
                    <a:pt x="5122" y="7366"/>
                    <a:pt x="5021" y="7226"/>
                  </a:cubicBezTo>
                  <a:cubicBezTo>
                    <a:pt x="4933" y="7100"/>
                    <a:pt x="4831" y="6963"/>
                    <a:pt x="4817" y="6795"/>
                  </a:cubicBezTo>
                  <a:lnTo>
                    <a:pt x="4817" y="6760"/>
                  </a:lnTo>
                  <a:cubicBezTo>
                    <a:pt x="4817" y="6505"/>
                    <a:pt x="4915" y="6477"/>
                    <a:pt x="5045" y="6466"/>
                  </a:cubicBezTo>
                  <a:cubicBezTo>
                    <a:pt x="5108" y="6463"/>
                    <a:pt x="5168" y="6445"/>
                    <a:pt x="5217" y="6414"/>
                  </a:cubicBezTo>
                  <a:cubicBezTo>
                    <a:pt x="5241" y="6400"/>
                    <a:pt x="5259" y="6382"/>
                    <a:pt x="5273" y="6361"/>
                  </a:cubicBezTo>
                  <a:cubicBezTo>
                    <a:pt x="5266" y="6354"/>
                    <a:pt x="5234" y="6330"/>
                    <a:pt x="5133" y="6305"/>
                  </a:cubicBezTo>
                  <a:cubicBezTo>
                    <a:pt x="5119" y="6302"/>
                    <a:pt x="5101" y="6298"/>
                    <a:pt x="5087" y="6291"/>
                  </a:cubicBezTo>
                  <a:cubicBezTo>
                    <a:pt x="5045" y="6263"/>
                    <a:pt x="5007" y="6228"/>
                    <a:pt x="4982" y="6183"/>
                  </a:cubicBezTo>
                  <a:cubicBezTo>
                    <a:pt x="4947" y="6120"/>
                    <a:pt x="4929" y="6050"/>
                    <a:pt x="4929" y="5980"/>
                  </a:cubicBezTo>
                  <a:cubicBezTo>
                    <a:pt x="4929" y="5962"/>
                    <a:pt x="4933" y="5941"/>
                    <a:pt x="4940" y="5920"/>
                  </a:cubicBezTo>
                  <a:cubicBezTo>
                    <a:pt x="4967" y="5833"/>
                    <a:pt x="5102" y="5805"/>
                    <a:pt x="5391" y="5805"/>
                  </a:cubicBezTo>
                  <a:cubicBezTo>
                    <a:pt x="5475" y="5805"/>
                    <a:pt x="5571" y="5808"/>
                    <a:pt x="5682" y="5811"/>
                  </a:cubicBezTo>
                  <a:cubicBezTo>
                    <a:pt x="5742" y="5811"/>
                    <a:pt x="5794" y="5815"/>
                    <a:pt x="5829" y="5815"/>
                  </a:cubicBezTo>
                  <a:lnTo>
                    <a:pt x="5885" y="5815"/>
                  </a:lnTo>
                  <a:cubicBezTo>
                    <a:pt x="5952" y="5804"/>
                    <a:pt x="6015" y="5787"/>
                    <a:pt x="6078" y="5769"/>
                  </a:cubicBezTo>
                  <a:lnTo>
                    <a:pt x="6081" y="5769"/>
                  </a:lnTo>
                  <a:lnTo>
                    <a:pt x="6106" y="5759"/>
                  </a:lnTo>
                  <a:lnTo>
                    <a:pt x="6134" y="5752"/>
                  </a:lnTo>
                  <a:lnTo>
                    <a:pt x="6137" y="5752"/>
                  </a:lnTo>
                  <a:cubicBezTo>
                    <a:pt x="6193" y="5731"/>
                    <a:pt x="6242" y="5713"/>
                    <a:pt x="6284" y="5696"/>
                  </a:cubicBezTo>
                  <a:lnTo>
                    <a:pt x="6337" y="5671"/>
                  </a:lnTo>
                  <a:lnTo>
                    <a:pt x="6344" y="5668"/>
                  </a:lnTo>
                  <a:cubicBezTo>
                    <a:pt x="6365" y="5657"/>
                    <a:pt x="6375" y="5654"/>
                    <a:pt x="6382" y="5647"/>
                  </a:cubicBezTo>
                  <a:lnTo>
                    <a:pt x="6382" y="5640"/>
                  </a:lnTo>
                  <a:lnTo>
                    <a:pt x="6382" y="5633"/>
                  </a:lnTo>
                  <a:lnTo>
                    <a:pt x="6382" y="5619"/>
                  </a:lnTo>
                  <a:lnTo>
                    <a:pt x="6382" y="5612"/>
                  </a:lnTo>
                  <a:lnTo>
                    <a:pt x="6382" y="5598"/>
                  </a:lnTo>
                  <a:lnTo>
                    <a:pt x="6382" y="5591"/>
                  </a:lnTo>
                  <a:cubicBezTo>
                    <a:pt x="6382" y="5587"/>
                    <a:pt x="6382" y="5580"/>
                    <a:pt x="6379" y="5573"/>
                  </a:cubicBezTo>
                  <a:cubicBezTo>
                    <a:pt x="6379" y="5570"/>
                    <a:pt x="6379" y="5570"/>
                    <a:pt x="6379" y="5566"/>
                  </a:cubicBezTo>
                  <a:cubicBezTo>
                    <a:pt x="6379" y="5563"/>
                    <a:pt x="6375" y="5556"/>
                    <a:pt x="6375" y="5549"/>
                  </a:cubicBezTo>
                  <a:cubicBezTo>
                    <a:pt x="6372" y="5545"/>
                    <a:pt x="6372" y="5542"/>
                    <a:pt x="6372" y="5538"/>
                  </a:cubicBezTo>
                  <a:cubicBezTo>
                    <a:pt x="6368" y="5535"/>
                    <a:pt x="6365" y="5528"/>
                    <a:pt x="6361" y="5524"/>
                  </a:cubicBezTo>
                  <a:cubicBezTo>
                    <a:pt x="6358" y="5517"/>
                    <a:pt x="6358" y="5517"/>
                    <a:pt x="6354" y="5514"/>
                  </a:cubicBezTo>
                  <a:cubicBezTo>
                    <a:pt x="6351" y="5507"/>
                    <a:pt x="6347" y="5500"/>
                    <a:pt x="6340" y="5496"/>
                  </a:cubicBezTo>
                  <a:cubicBezTo>
                    <a:pt x="6337" y="5493"/>
                    <a:pt x="6337" y="5489"/>
                    <a:pt x="6333" y="5486"/>
                  </a:cubicBezTo>
                  <a:cubicBezTo>
                    <a:pt x="6323" y="5475"/>
                    <a:pt x="6312" y="5465"/>
                    <a:pt x="6302" y="5458"/>
                  </a:cubicBezTo>
                  <a:cubicBezTo>
                    <a:pt x="6239" y="5412"/>
                    <a:pt x="6197" y="5342"/>
                    <a:pt x="6190" y="5262"/>
                  </a:cubicBezTo>
                  <a:cubicBezTo>
                    <a:pt x="6176" y="5139"/>
                    <a:pt x="6253" y="5027"/>
                    <a:pt x="6316" y="4954"/>
                  </a:cubicBezTo>
                  <a:cubicBezTo>
                    <a:pt x="6358" y="4901"/>
                    <a:pt x="6326" y="4849"/>
                    <a:pt x="6186" y="4709"/>
                  </a:cubicBezTo>
                  <a:cubicBezTo>
                    <a:pt x="6158" y="4681"/>
                    <a:pt x="6130" y="4649"/>
                    <a:pt x="6102" y="4621"/>
                  </a:cubicBezTo>
                  <a:cubicBezTo>
                    <a:pt x="5931" y="4429"/>
                    <a:pt x="6057" y="3819"/>
                    <a:pt x="6225" y="3543"/>
                  </a:cubicBezTo>
                  <a:cubicBezTo>
                    <a:pt x="6246" y="3508"/>
                    <a:pt x="6253" y="3483"/>
                    <a:pt x="6246" y="3476"/>
                  </a:cubicBezTo>
                  <a:cubicBezTo>
                    <a:pt x="6228" y="3448"/>
                    <a:pt x="6154" y="3438"/>
                    <a:pt x="6062" y="3438"/>
                  </a:cubicBezTo>
                  <a:cubicBezTo>
                    <a:pt x="5919" y="3438"/>
                    <a:pt x="5734" y="3461"/>
                    <a:pt x="5651" y="3469"/>
                  </a:cubicBezTo>
                  <a:cubicBezTo>
                    <a:pt x="5609" y="3475"/>
                    <a:pt x="5568" y="3477"/>
                    <a:pt x="5528" y="3477"/>
                  </a:cubicBezTo>
                  <a:cubicBezTo>
                    <a:pt x="5253" y="3477"/>
                    <a:pt x="5014" y="3353"/>
                    <a:pt x="4824" y="3112"/>
                  </a:cubicBezTo>
                  <a:cubicBezTo>
                    <a:pt x="4757" y="3025"/>
                    <a:pt x="4684" y="2996"/>
                    <a:pt x="4574" y="2996"/>
                  </a:cubicBezTo>
                  <a:cubicBezTo>
                    <a:pt x="4507" y="2996"/>
                    <a:pt x="4428" y="3007"/>
                    <a:pt x="4327" y="3021"/>
                  </a:cubicBezTo>
                  <a:cubicBezTo>
                    <a:pt x="4201" y="3039"/>
                    <a:pt x="4072" y="3049"/>
                    <a:pt x="3942" y="3056"/>
                  </a:cubicBezTo>
                  <a:lnTo>
                    <a:pt x="3890" y="3056"/>
                  </a:lnTo>
                  <a:cubicBezTo>
                    <a:pt x="3788" y="3053"/>
                    <a:pt x="3687" y="3011"/>
                    <a:pt x="3617" y="2937"/>
                  </a:cubicBezTo>
                  <a:cubicBezTo>
                    <a:pt x="3463" y="2766"/>
                    <a:pt x="3494" y="2475"/>
                    <a:pt x="3515" y="2300"/>
                  </a:cubicBezTo>
                  <a:lnTo>
                    <a:pt x="3519" y="2262"/>
                  </a:lnTo>
                  <a:cubicBezTo>
                    <a:pt x="3529" y="2188"/>
                    <a:pt x="3484" y="2150"/>
                    <a:pt x="3410" y="2097"/>
                  </a:cubicBezTo>
                  <a:cubicBezTo>
                    <a:pt x="3347" y="2052"/>
                    <a:pt x="3277" y="1999"/>
                    <a:pt x="3277" y="1908"/>
                  </a:cubicBezTo>
                  <a:cubicBezTo>
                    <a:pt x="3277" y="1880"/>
                    <a:pt x="3270" y="1873"/>
                    <a:pt x="3267" y="1870"/>
                  </a:cubicBezTo>
                  <a:cubicBezTo>
                    <a:pt x="3237" y="1855"/>
                    <a:pt x="3206" y="1848"/>
                    <a:pt x="3174" y="1848"/>
                  </a:cubicBezTo>
                  <a:cubicBezTo>
                    <a:pt x="3167" y="1848"/>
                    <a:pt x="3161" y="1848"/>
                    <a:pt x="3155" y="1849"/>
                  </a:cubicBezTo>
                  <a:cubicBezTo>
                    <a:pt x="3130" y="1849"/>
                    <a:pt x="3106" y="1852"/>
                    <a:pt x="3092" y="1852"/>
                  </a:cubicBezTo>
                  <a:cubicBezTo>
                    <a:pt x="3084" y="1854"/>
                    <a:pt x="3077" y="1855"/>
                    <a:pt x="3070" y="1855"/>
                  </a:cubicBezTo>
                  <a:cubicBezTo>
                    <a:pt x="3034" y="1855"/>
                    <a:pt x="3000" y="1835"/>
                    <a:pt x="2983" y="1803"/>
                  </a:cubicBezTo>
                  <a:cubicBezTo>
                    <a:pt x="2945" y="1733"/>
                    <a:pt x="2997" y="1645"/>
                    <a:pt x="3120" y="1498"/>
                  </a:cubicBezTo>
                  <a:cubicBezTo>
                    <a:pt x="3179" y="1418"/>
                    <a:pt x="3179" y="1358"/>
                    <a:pt x="3186" y="1183"/>
                  </a:cubicBezTo>
                  <a:lnTo>
                    <a:pt x="3186" y="1131"/>
                  </a:lnTo>
                  <a:cubicBezTo>
                    <a:pt x="3190" y="963"/>
                    <a:pt x="3337" y="823"/>
                    <a:pt x="3480" y="686"/>
                  </a:cubicBezTo>
                  <a:cubicBezTo>
                    <a:pt x="3554" y="620"/>
                    <a:pt x="3620" y="550"/>
                    <a:pt x="3680" y="476"/>
                  </a:cubicBezTo>
                  <a:cubicBezTo>
                    <a:pt x="3690" y="462"/>
                    <a:pt x="3701" y="448"/>
                    <a:pt x="3715" y="438"/>
                  </a:cubicBezTo>
                  <a:cubicBezTo>
                    <a:pt x="3718" y="434"/>
                    <a:pt x="3722" y="431"/>
                    <a:pt x="3729" y="424"/>
                  </a:cubicBezTo>
                  <a:cubicBezTo>
                    <a:pt x="3739" y="417"/>
                    <a:pt x="3746" y="410"/>
                    <a:pt x="3757" y="403"/>
                  </a:cubicBezTo>
                  <a:cubicBezTo>
                    <a:pt x="3764" y="399"/>
                    <a:pt x="3771" y="396"/>
                    <a:pt x="3778" y="392"/>
                  </a:cubicBezTo>
                  <a:cubicBezTo>
                    <a:pt x="3781" y="389"/>
                    <a:pt x="3795" y="378"/>
                    <a:pt x="3809" y="375"/>
                  </a:cubicBezTo>
                  <a:lnTo>
                    <a:pt x="3830" y="364"/>
                  </a:lnTo>
                  <a:cubicBezTo>
                    <a:pt x="3837" y="361"/>
                    <a:pt x="3844" y="357"/>
                    <a:pt x="3848" y="357"/>
                  </a:cubicBezTo>
                  <a:cubicBezTo>
                    <a:pt x="3883" y="294"/>
                    <a:pt x="3946" y="249"/>
                    <a:pt x="4016" y="238"/>
                  </a:cubicBezTo>
                  <a:cubicBezTo>
                    <a:pt x="4142" y="214"/>
                    <a:pt x="4215" y="161"/>
                    <a:pt x="4219" y="123"/>
                  </a:cubicBezTo>
                  <a:cubicBezTo>
                    <a:pt x="4226" y="95"/>
                    <a:pt x="4191" y="56"/>
                    <a:pt x="4131" y="21"/>
                  </a:cubicBezTo>
                  <a:cubicBezTo>
                    <a:pt x="4109" y="8"/>
                    <a:pt x="4088" y="1"/>
                    <a:pt x="40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4" name="Google Shape;5694;p53"/>
            <p:cNvSpPr/>
            <p:nvPr/>
          </p:nvSpPr>
          <p:spPr>
            <a:xfrm>
              <a:off x="1525392" y="2067095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4" y="0"/>
                  </a:moveTo>
                  <a:cubicBezTo>
                    <a:pt x="0" y="11"/>
                    <a:pt x="0" y="21"/>
                    <a:pt x="0" y="32"/>
                  </a:cubicBezTo>
                  <a:cubicBezTo>
                    <a:pt x="0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5" name="Google Shape;5695;p53"/>
            <p:cNvSpPr/>
            <p:nvPr/>
          </p:nvSpPr>
          <p:spPr>
            <a:xfrm>
              <a:off x="1536743" y="2029771"/>
              <a:ext cx="2675" cy="679"/>
            </a:xfrm>
            <a:custGeom>
              <a:avLst/>
              <a:gdLst/>
              <a:ahLst/>
              <a:cxnLst/>
              <a:rect l="l" t="t" r="r" b="b"/>
              <a:pathLst>
                <a:path w="197" h="50" extrusionOk="0">
                  <a:moveTo>
                    <a:pt x="1" y="50"/>
                  </a:moveTo>
                  <a:cubicBezTo>
                    <a:pt x="67" y="39"/>
                    <a:pt x="134" y="22"/>
                    <a:pt x="197" y="1"/>
                  </a:cubicBezTo>
                  <a:cubicBezTo>
                    <a:pt x="134" y="22"/>
                    <a:pt x="67" y="39"/>
                    <a:pt x="1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6" name="Google Shape;5696;p53"/>
            <p:cNvSpPr/>
            <p:nvPr/>
          </p:nvSpPr>
          <p:spPr>
            <a:xfrm>
              <a:off x="1540124" y="202954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7" name="Google Shape;5697;p53"/>
            <p:cNvSpPr/>
            <p:nvPr/>
          </p:nvSpPr>
          <p:spPr>
            <a:xfrm>
              <a:off x="1536363" y="2030436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8" name="Google Shape;5698;p53"/>
            <p:cNvSpPr/>
            <p:nvPr/>
          </p:nvSpPr>
          <p:spPr>
            <a:xfrm>
              <a:off x="1542215" y="2028440"/>
              <a:ext cx="720" cy="353"/>
            </a:xfrm>
            <a:custGeom>
              <a:avLst/>
              <a:gdLst/>
              <a:ahLst/>
              <a:cxnLst/>
              <a:rect l="l" t="t" r="r" b="b"/>
              <a:pathLst>
                <a:path w="53" h="26" extrusionOk="0">
                  <a:moveTo>
                    <a:pt x="53" y="1"/>
                  </a:moveTo>
                  <a:lnTo>
                    <a:pt x="28" y="11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9" name="Google Shape;5699;p53"/>
            <p:cNvSpPr/>
            <p:nvPr/>
          </p:nvSpPr>
          <p:spPr>
            <a:xfrm>
              <a:off x="1525433" y="2066335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0"/>
                  </a:moveTo>
                  <a:lnTo>
                    <a:pt x="1" y="35"/>
                  </a:lnTo>
                  <a:cubicBezTo>
                    <a:pt x="4" y="25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0" name="Google Shape;5700;p53"/>
            <p:cNvSpPr/>
            <p:nvPr/>
          </p:nvSpPr>
          <p:spPr>
            <a:xfrm>
              <a:off x="1525487" y="2065520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0" y="1"/>
                  </a:moveTo>
                  <a:lnTo>
                    <a:pt x="0" y="46"/>
                  </a:lnTo>
                  <a:cubicBezTo>
                    <a:pt x="0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1" name="Google Shape;5701;p53"/>
            <p:cNvSpPr/>
            <p:nvPr/>
          </p:nvSpPr>
          <p:spPr>
            <a:xfrm>
              <a:off x="1539459" y="2029676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2" name="Google Shape;5702;p53"/>
            <p:cNvSpPr/>
            <p:nvPr/>
          </p:nvSpPr>
          <p:spPr>
            <a:xfrm>
              <a:off x="1525202" y="2068521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7" y="0"/>
                  </a:moveTo>
                  <a:cubicBezTo>
                    <a:pt x="4" y="11"/>
                    <a:pt x="0" y="21"/>
                    <a:pt x="0" y="32"/>
                  </a:cubicBezTo>
                  <a:cubicBezTo>
                    <a:pt x="4" y="21"/>
                    <a:pt x="4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3" name="Google Shape;5703;p53"/>
            <p:cNvSpPr/>
            <p:nvPr/>
          </p:nvSpPr>
          <p:spPr>
            <a:xfrm>
              <a:off x="1524157" y="2073178"/>
              <a:ext cx="95" cy="394"/>
            </a:xfrm>
            <a:custGeom>
              <a:avLst/>
              <a:gdLst/>
              <a:ahLst/>
              <a:cxnLst/>
              <a:rect l="l" t="t" r="r" b="b"/>
              <a:pathLst>
                <a:path w="7" h="29" extrusionOk="0">
                  <a:moveTo>
                    <a:pt x="7" y="0"/>
                  </a:moveTo>
                  <a:cubicBezTo>
                    <a:pt x="4" y="11"/>
                    <a:pt x="4" y="18"/>
                    <a:pt x="0" y="28"/>
                  </a:cubicBezTo>
                  <a:cubicBezTo>
                    <a:pt x="4" y="18"/>
                    <a:pt x="7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4" name="Google Shape;5704;p53"/>
            <p:cNvSpPr/>
            <p:nvPr/>
          </p:nvSpPr>
          <p:spPr>
            <a:xfrm>
              <a:off x="1525338" y="2067855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1" y="7"/>
                    <a:pt x="1" y="18"/>
                    <a:pt x="1" y="32"/>
                  </a:cubicBezTo>
                  <a:cubicBezTo>
                    <a:pt x="1" y="21"/>
                    <a:pt x="1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5" name="Google Shape;5705;p53"/>
            <p:cNvSpPr/>
            <p:nvPr/>
          </p:nvSpPr>
          <p:spPr>
            <a:xfrm>
              <a:off x="1524483" y="2071983"/>
              <a:ext cx="163" cy="448"/>
            </a:xfrm>
            <a:custGeom>
              <a:avLst/>
              <a:gdLst/>
              <a:ahLst/>
              <a:cxnLst/>
              <a:rect l="l" t="t" r="r" b="b"/>
              <a:pathLst>
                <a:path w="12" h="33" extrusionOk="0">
                  <a:moveTo>
                    <a:pt x="11" y="1"/>
                  </a:moveTo>
                  <a:lnTo>
                    <a:pt x="1" y="32"/>
                  </a:lnTo>
                  <a:cubicBezTo>
                    <a:pt x="4" y="25"/>
                    <a:pt x="8" y="15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6" name="Google Shape;5706;p53"/>
            <p:cNvSpPr/>
            <p:nvPr/>
          </p:nvSpPr>
          <p:spPr>
            <a:xfrm>
              <a:off x="1523953" y="2073653"/>
              <a:ext cx="163" cy="339"/>
            </a:xfrm>
            <a:custGeom>
              <a:avLst/>
              <a:gdLst/>
              <a:ahLst/>
              <a:cxnLst/>
              <a:rect l="l" t="t" r="r" b="b"/>
              <a:pathLst>
                <a:path w="12" h="25" extrusionOk="0">
                  <a:moveTo>
                    <a:pt x="1" y="25"/>
                  </a:moveTo>
                  <a:cubicBezTo>
                    <a:pt x="4" y="18"/>
                    <a:pt x="8" y="11"/>
                    <a:pt x="12" y="0"/>
                  </a:cubicBezTo>
                  <a:cubicBezTo>
                    <a:pt x="8" y="11"/>
                    <a:pt x="4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7" name="Google Shape;5707;p53"/>
            <p:cNvSpPr/>
            <p:nvPr/>
          </p:nvSpPr>
          <p:spPr>
            <a:xfrm>
              <a:off x="1523532" y="20746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8" name="Google Shape;5708;p53"/>
            <p:cNvSpPr/>
            <p:nvPr/>
          </p:nvSpPr>
          <p:spPr>
            <a:xfrm>
              <a:off x="1523573" y="2074413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cubicBezTo>
                    <a:pt x="4" y="7"/>
                    <a:pt x="8" y="4"/>
                    <a:pt x="11" y="0"/>
                  </a:cubicBezTo>
                  <a:cubicBezTo>
                    <a:pt x="8" y="4"/>
                    <a:pt x="4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9" name="Google Shape;5709;p53"/>
            <p:cNvSpPr/>
            <p:nvPr/>
          </p:nvSpPr>
          <p:spPr>
            <a:xfrm>
              <a:off x="1523763" y="2074074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" y="18"/>
                  </a:moveTo>
                  <a:cubicBezTo>
                    <a:pt x="4" y="15"/>
                    <a:pt x="8" y="8"/>
                    <a:pt x="11" y="1"/>
                  </a:cubicBezTo>
                  <a:cubicBezTo>
                    <a:pt x="8" y="8"/>
                    <a:pt x="4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0" name="Google Shape;5710;p53"/>
            <p:cNvSpPr/>
            <p:nvPr/>
          </p:nvSpPr>
          <p:spPr>
            <a:xfrm>
              <a:off x="1524347" y="2072608"/>
              <a:ext cx="95" cy="434"/>
            </a:xfrm>
            <a:custGeom>
              <a:avLst/>
              <a:gdLst/>
              <a:ahLst/>
              <a:cxnLst/>
              <a:rect l="l" t="t" r="r" b="b"/>
              <a:pathLst>
                <a:path w="7" h="32" extrusionOk="0">
                  <a:moveTo>
                    <a:pt x="0" y="32"/>
                  </a:moveTo>
                  <a:cubicBezTo>
                    <a:pt x="0" y="21"/>
                    <a:pt x="4" y="11"/>
                    <a:pt x="7" y="0"/>
                  </a:cubicBezTo>
                  <a:cubicBezTo>
                    <a:pt x="4" y="11"/>
                    <a:pt x="0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1" name="Google Shape;5711;p53"/>
            <p:cNvSpPr/>
            <p:nvPr/>
          </p:nvSpPr>
          <p:spPr>
            <a:xfrm>
              <a:off x="1525107" y="2069281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32"/>
                  </a:moveTo>
                  <a:cubicBezTo>
                    <a:pt x="0" y="21"/>
                    <a:pt x="4" y="11"/>
                    <a:pt x="4" y="0"/>
                  </a:cubicBezTo>
                  <a:cubicBezTo>
                    <a:pt x="4" y="11"/>
                    <a:pt x="0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2" name="Google Shape;5712;p53"/>
            <p:cNvSpPr/>
            <p:nvPr/>
          </p:nvSpPr>
          <p:spPr>
            <a:xfrm>
              <a:off x="1524822" y="2070707"/>
              <a:ext cx="95" cy="434"/>
            </a:xfrm>
            <a:custGeom>
              <a:avLst/>
              <a:gdLst/>
              <a:ahLst/>
              <a:cxnLst/>
              <a:rect l="l" t="t" r="r" b="b"/>
              <a:pathLst>
                <a:path w="7" h="32" extrusionOk="0">
                  <a:moveTo>
                    <a:pt x="7" y="0"/>
                  </a:moveTo>
                  <a:cubicBezTo>
                    <a:pt x="4" y="11"/>
                    <a:pt x="0" y="21"/>
                    <a:pt x="0" y="32"/>
                  </a:cubicBezTo>
                  <a:cubicBezTo>
                    <a:pt x="4" y="21"/>
                    <a:pt x="4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3" name="Google Shape;5713;p53"/>
            <p:cNvSpPr/>
            <p:nvPr/>
          </p:nvSpPr>
          <p:spPr>
            <a:xfrm>
              <a:off x="1524958" y="2069987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11"/>
                    <a:pt x="1" y="22"/>
                    <a:pt x="1" y="32"/>
                  </a:cubicBezTo>
                  <a:cubicBezTo>
                    <a:pt x="4" y="22"/>
                    <a:pt x="4" y="11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4" name="Google Shape;5714;p53"/>
            <p:cNvSpPr/>
            <p:nvPr/>
          </p:nvSpPr>
          <p:spPr>
            <a:xfrm>
              <a:off x="1524673" y="207137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0"/>
                  </a:moveTo>
                  <a:cubicBezTo>
                    <a:pt x="4" y="11"/>
                    <a:pt x="1" y="21"/>
                    <a:pt x="1" y="35"/>
                  </a:cubicBezTo>
                  <a:cubicBezTo>
                    <a:pt x="1" y="25"/>
                    <a:pt x="4" y="1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5" name="Google Shape;5715;p53"/>
            <p:cNvSpPr/>
            <p:nvPr/>
          </p:nvSpPr>
          <p:spPr>
            <a:xfrm>
              <a:off x="1467063" y="198766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6" name="Google Shape;5716;p53"/>
            <p:cNvSpPr/>
            <p:nvPr/>
          </p:nvSpPr>
          <p:spPr>
            <a:xfrm>
              <a:off x="1467783" y="1986906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7" name="Google Shape;5717;p53"/>
            <p:cNvSpPr/>
            <p:nvPr/>
          </p:nvSpPr>
          <p:spPr>
            <a:xfrm>
              <a:off x="1466724" y="198799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8" name="Google Shape;5718;p53"/>
            <p:cNvSpPr/>
            <p:nvPr/>
          </p:nvSpPr>
          <p:spPr>
            <a:xfrm>
              <a:off x="1467389" y="1987287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18"/>
                  </a:moveTo>
                  <a:lnTo>
                    <a:pt x="1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9" name="Google Shape;5719;p53"/>
            <p:cNvSpPr/>
            <p:nvPr/>
          </p:nvSpPr>
          <p:spPr>
            <a:xfrm>
              <a:off x="1468163" y="1986662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0" name="Google Shape;5720;p53"/>
            <p:cNvSpPr/>
            <p:nvPr/>
          </p:nvSpPr>
          <p:spPr>
            <a:xfrm>
              <a:off x="1469344" y="1985481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25" y="0"/>
                  </a:moveTo>
                  <a:cubicBezTo>
                    <a:pt x="15" y="7"/>
                    <a:pt x="8" y="14"/>
                    <a:pt x="1" y="21"/>
                  </a:cubicBezTo>
                  <a:cubicBezTo>
                    <a:pt x="8" y="14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1" name="Google Shape;5721;p53"/>
            <p:cNvSpPr/>
            <p:nvPr/>
          </p:nvSpPr>
          <p:spPr>
            <a:xfrm>
              <a:off x="1465828" y="198899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2" name="Google Shape;5722;p53"/>
            <p:cNvSpPr/>
            <p:nvPr/>
          </p:nvSpPr>
          <p:spPr>
            <a:xfrm>
              <a:off x="1466059" y="198865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3" name="Google Shape;5723;p53"/>
            <p:cNvSpPr/>
            <p:nvPr/>
          </p:nvSpPr>
          <p:spPr>
            <a:xfrm>
              <a:off x="1466398" y="1988332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4" name="Google Shape;5724;p53"/>
            <p:cNvSpPr/>
            <p:nvPr/>
          </p:nvSpPr>
          <p:spPr>
            <a:xfrm>
              <a:off x="1470010" y="1984476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6"/>
                  </a:moveTo>
                  <a:cubicBezTo>
                    <a:pt x="8" y="25"/>
                    <a:pt x="11" y="15"/>
                    <a:pt x="18" y="1"/>
                  </a:cubicBezTo>
                  <a:cubicBezTo>
                    <a:pt x="11" y="15"/>
                    <a:pt x="8" y="25"/>
                    <a:pt x="1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5" name="Google Shape;5725;p53"/>
            <p:cNvSpPr/>
            <p:nvPr/>
          </p:nvSpPr>
          <p:spPr>
            <a:xfrm>
              <a:off x="1468448" y="198637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6" name="Google Shape;5726;p53"/>
            <p:cNvSpPr/>
            <p:nvPr/>
          </p:nvSpPr>
          <p:spPr>
            <a:xfrm>
              <a:off x="1469154" y="198576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1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7" name="Google Shape;5727;p53"/>
            <p:cNvSpPr/>
            <p:nvPr/>
          </p:nvSpPr>
          <p:spPr>
            <a:xfrm>
              <a:off x="1470295" y="1983811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1" y="43"/>
                  </a:moveTo>
                  <a:cubicBezTo>
                    <a:pt x="4" y="29"/>
                    <a:pt x="11" y="15"/>
                    <a:pt x="15" y="1"/>
                  </a:cubicBezTo>
                  <a:cubicBezTo>
                    <a:pt x="11" y="15"/>
                    <a:pt x="4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8" name="Google Shape;5728;p53"/>
            <p:cNvSpPr/>
            <p:nvPr/>
          </p:nvSpPr>
          <p:spPr>
            <a:xfrm>
              <a:off x="1469725" y="1985006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28"/>
                  </a:moveTo>
                  <a:cubicBezTo>
                    <a:pt x="8" y="18"/>
                    <a:pt x="15" y="11"/>
                    <a:pt x="22" y="0"/>
                  </a:cubicBezTo>
                  <a:cubicBezTo>
                    <a:pt x="15" y="11"/>
                    <a:pt x="8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9" name="Google Shape;5729;p53"/>
            <p:cNvSpPr/>
            <p:nvPr/>
          </p:nvSpPr>
          <p:spPr>
            <a:xfrm>
              <a:off x="1468679" y="198614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0" name="Google Shape;5730;p53"/>
            <p:cNvSpPr/>
            <p:nvPr/>
          </p:nvSpPr>
          <p:spPr>
            <a:xfrm>
              <a:off x="1468964" y="198595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1" name="Google Shape;5731;p53"/>
            <p:cNvSpPr/>
            <p:nvPr/>
          </p:nvSpPr>
          <p:spPr>
            <a:xfrm>
              <a:off x="1527008" y="2118853"/>
              <a:ext cx="88322" cy="99360"/>
            </a:xfrm>
            <a:custGeom>
              <a:avLst/>
              <a:gdLst/>
              <a:ahLst/>
              <a:cxnLst/>
              <a:rect l="l" t="t" r="r" b="b"/>
              <a:pathLst>
                <a:path w="6505" h="7318" extrusionOk="0">
                  <a:moveTo>
                    <a:pt x="2265" y="1"/>
                  </a:moveTo>
                  <a:cubicBezTo>
                    <a:pt x="2192" y="1"/>
                    <a:pt x="2122" y="8"/>
                    <a:pt x="2048" y="22"/>
                  </a:cubicBezTo>
                  <a:cubicBezTo>
                    <a:pt x="1971" y="36"/>
                    <a:pt x="1891" y="46"/>
                    <a:pt x="1810" y="46"/>
                  </a:cubicBezTo>
                  <a:cubicBezTo>
                    <a:pt x="1663" y="46"/>
                    <a:pt x="1505" y="144"/>
                    <a:pt x="1337" y="246"/>
                  </a:cubicBezTo>
                  <a:cubicBezTo>
                    <a:pt x="1292" y="274"/>
                    <a:pt x="1243" y="302"/>
                    <a:pt x="1197" y="330"/>
                  </a:cubicBezTo>
                  <a:cubicBezTo>
                    <a:pt x="1113" y="375"/>
                    <a:pt x="1029" y="417"/>
                    <a:pt x="942" y="449"/>
                  </a:cubicBezTo>
                  <a:cubicBezTo>
                    <a:pt x="910" y="463"/>
                    <a:pt x="882" y="473"/>
                    <a:pt x="854" y="484"/>
                  </a:cubicBezTo>
                  <a:cubicBezTo>
                    <a:pt x="812" y="505"/>
                    <a:pt x="774" y="529"/>
                    <a:pt x="739" y="561"/>
                  </a:cubicBezTo>
                  <a:cubicBezTo>
                    <a:pt x="651" y="652"/>
                    <a:pt x="529" y="708"/>
                    <a:pt x="403" y="718"/>
                  </a:cubicBezTo>
                  <a:cubicBezTo>
                    <a:pt x="390" y="720"/>
                    <a:pt x="377" y="721"/>
                    <a:pt x="364" y="721"/>
                  </a:cubicBezTo>
                  <a:cubicBezTo>
                    <a:pt x="351" y="721"/>
                    <a:pt x="338" y="720"/>
                    <a:pt x="326" y="718"/>
                  </a:cubicBezTo>
                  <a:cubicBezTo>
                    <a:pt x="284" y="715"/>
                    <a:pt x="242" y="708"/>
                    <a:pt x="203" y="690"/>
                  </a:cubicBezTo>
                  <a:lnTo>
                    <a:pt x="175" y="683"/>
                  </a:lnTo>
                  <a:lnTo>
                    <a:pt x="165" y="680"/>
                  </a:lnTo>
                  <a:lnTo>
                    <a:pt x="154" y="676"/>
                  </a:lnTo>
                  <a:lnTo>
                    <a:pt x="158" y="690"/>
                  </a:lnTo>
                  <a:lnTo>
                    <a:pt x="186" y="746"/>
                  </a:lnTo>
                  <a:lnTo>
                    <a:pt x="196" y="764"/>
                  </a:lnTo>
                  <a:lnTo>
                    <a:pt x="235" y="837"/>
                  </a:lnTo>
                  <a:lnTo>
                    <a:pt x="238" y="848"/>
                  </a:lnTo>
                  <a:lnTo>
                    <a:pt x="273" y="918"/>
                  </a:lnTo>
                  <a:lnTo>
                    <a:pt x="284" y="935"/>
                  </a:lnTo>
                  <a:lnTo>
                    <a:pt x="322" y="1009"/>
                  </a:lnTo>
                  <a:cubicBezTo>
                    <a:pt x="382" y="1114"/>
                    <a:pt x="434" y="1222"/>
                    <a:pt x="483" y="1334"/>
                  </a:cubicBezTo>
                  <a:cubicBezTo>
                    <a:pt x="550" y="1520"/>
                    <a:pt x="434" y="1607"/>
                    <a:pt x="364" y="1660"/>
                  </a:cubicBezTo>
                  <a:cubicBezTo>
                    <a:pt x="350" y="1674"/>
                    <a:pt x="336" y="1684"/>
                    <a:pt x="326" y="1691"/>
                  </a:cubicBezTo>
                  <a:cubicBezTo>
                    <a:pt x="305" y="1744"/>
                    <a:pt x="322" y="1958"/>
                    <a:pt x="375" y="2329"/>
                  </a:cubicBezTo>
                  <a:cubicBezTo>
                    <a:pt x="382" y="2367"/>
                    <a:pt x="385" y="2399"/>
                    <a:pt x="389" y="2416"/>
                  </a:cubicBezTo>
                  <a:cubicBezTo>
                    <a:pt x="399" y="2497"/>
                    <a:pt x="350" y="2584"/>
                    <a:pt x="301" y="2668"/>
                  </a:cubicBezTo>
                  <a:cubicBezTo>
                    <a:pt x="277" y="2717"/>
                    <a:pt x="228" y="2805"/>
                    <a:pt x="235" y="2829"/>
                  </a:cubicBezTo>
                  <a:cubicBezTo>
                    <a:pt x="329" y="2910"/>
                    <a:pt x="263" y="3043"/>
                    <a:pt x="200" y="3158"/>
                  </a:cubicBezTo>
                  <a:cubicBezTo>
                    <a:pt x="168" y="3225"/>
                    <a:pt x="130" y="3302"/>
                    <a:pt x="130" y="3347"/>
                  </a:cubicBezTo>
                  <a:cubicBezTo>
                    <a:pt x="130" y="3386"/>
                    <a:pt x="154" y="3403"/>
                    <a:pt x="214" y="3438"/>
                  </a:cubicBezTo>
                  <a:cubicBezTo>
                    <a:pt x="270" y="3473"/>
                    <a:pt x="340" y="3515"/>
                    <a:pt x="340" y="3606"/>
                  </a:cubicBezTo>
                  <a:cubicBezTo>
                    <a:pt x="340" y="3750"/>
                    <a:pt x="144" y="4027"/>
                    <a:pt x="14" y="4100"/>
                  </a:cubicBezTo>
                  <a:lnTo>
                    <a:pt x="11" y="4104"/>
                  </a:lnTo>
                  <a:lnTo>
                    <a:pt x="7" y="4107"/>
                  </a:lnTo>
                  <a:lnTo>
                    <a:pt x="7" y="4111"/>
                  </a:lnTo>
                  <a:lnTo>
                    <a:pt x="4" y="4114"/>
                  </a:lnTo>
                  <a:lnTo>
                    <a:pt x="4" y="4121"/>
                  </a:lnTo>
                  <a:cubicBezTo>
                    <a:pt x="4" y="4125"/>
                    <a:pt x="4" y="4125"/>
                    <a:pt x="4" y="4128"/>
                  </a:cubicBezTo>
                  <a:cubicBezTo>
                    <a:pt x="0" y="4132"/>
                    <a:pt x="4" y="4132"/>
                    <a:pt x="4" y="4135"/>
                  </a:cubicBezTo>
                  <a:lnTo>
                    <a:pt x="4" y="4146"/>
                  </a:lnTo>
                  <a:lnTo>
                    <a:pt x="4" y="4156"/>
                  </a:lnTo>
                  <a:lnTo>
                    <a:pt x="4" y="4170"/>
                  </a:lnTo>
                  <a:lnTo>
                    <a:pt x="4" y="4184"/>
                  </a:lnTo>
                  <a:lnTo>
                    <a:pt x="4" y="4205"/>
                  </a:lnTo>
                  <a:lnTo>
                    <a:pt x="4" y="4219"/>
                  </a:lnTo>
                  <a:lnTo>
                    <a:pt x="4" y="4223"/>
                  </a:lnTo>
                  <a:cubicBezTo>
                    <a:pt x="18" y="4240"/>
                    <a:pt x="32" y="4261"/>
                    <a:pt x="42" y="4282"/>
                  </a:cubicBezTo>
                  <a:cubicBezTo>
                    <a:pt x="81" y="4356"/>
                    <a:pt x="137" y="4422"/>
                    <a:pt x="200" y="4471"/>
                  </a:cubicBezTo>
                  <a:lnTo>
                    <a:pt x="203" y="4475"/>
                  </a:lnTo>
                  <a:cubicBezTo>
                    <a:pt x="214" y="4482"/>
                    <a:pt x="221" y="4489"/>
                    <a:pt x="228" y="4492"/>
                  </a:cubicBezTo>
                  <a:cubicBezTo>
                    <a:pt x="235" y="4499"/>
                    <a:pt x="242" y="4506"/>
                    <a:pt x="245" y="4513"/>
                  </a:cubicBezTo>
                  <a:cubicBezTo>
                    <a:pt x="252" y="4517"/>
                    <a:pt x="256" y="4524"/>
                    <a:pt x="259" y="4527"/>
                  </a:cubicBezTo>
                  <a:lnTo>
                    <a:pt x="263" y="4534"/>
                  </a:lnTo>
                  <a:cubicBezTo>
                    <a:pt x="270" y="4545"/>
                    <a:pt x="277" y="4555"/>
                    <a:pt x="284" y="4569"/>
                  </a:cubicBezTo>
                  <a:cubicBezTo>
                    <a:pt x="326" y="4650"/>
                    <a:pt x="315" y="4741"/>
                    <a:pt x="305" y="4818"/>
                  </a:cubicBezTo>
                  <a:cubicBezTo>
                    <a:pt x="294" y="4912"/>
                    <a:pt x="284" y="4993"/>
                    <a:pt x="343" y="5066"/>
                  </a:cubicBezTo>
                  <a:cubicBezTo>
                    <a:pt x="392" y="5126"/>
                    <a:pt x="448" y="5175"/>
                    <a:pt x="511" y="5217"/>
                  </a:cubicBezTo>
                  <a:cubicBezTo>
                    <a:pt x="571" y="5262"/>
                    <a:pt x="620" y="5297"/>
                    <a:pt x="623" y="5357"/>
                  </a:cubicBezTo>
                  <a:cubicBezTo>
                    <a:pt x="620" y="5402"/>
                    <a:pt x="599" y="5441"/>
                    <a:pt x="564" y="5465"/>
                  </a:cubicBezTo>
                  <a:cubicBezTo>
                    <a:pt x="532" y="5493"/>
                    <a:pt x="532" y="5535"/>
                    <a:pt x="536" y="5602"/>
                  </a:cubicBezTo>
                  <a:lnTo>
                    <a:pt x="536" y="5633"/>
                  </a:lnTo>
                  <a:cubicBezTo>
                    <a:pt x="543" y="5703"/>
                    <a:pt x="522" y="5773"/>
                    <a:pt x="476" y="5829"/>
                  </a:cubicBezTo>
                  <a:cubicBezTo>
                    <a:pt x="466" y="5840"/>
                    <a:pt x="455" y="5847"/>
                    <a:pt x="445" y="5857"/>
                  </a:cubicBezTo>
                  <a:cubicBezTo>
                    <a:pt x="441" y="5861"/>
                    <a:pt x="424" y="5875"/>
                    <a:pt x="427" y="5920"/>
                  </a:cubicBezTo>
                  <a:cubicBezTo>
                    <a:pt x="452" y="6036"/>
                    <a:pt x="525" y="6138"/>
                    <a:pt x="627" y="6197"/>
                  </a:cubicBezTo>
                  <a:cubicBezTo>
                    <a:pt x="735" y="6246"/>
                    <a:pt x="749" y="6369"/>
                    <a:pt x="763" y="6474"/>
                  </a:cubicBezTo>
                  <a:cubicBezTo>
                    <a:pt x="774" y="6561"/>
                    <a:pt x="784" y="6656"/>
                    <a:pt x="840" y="6712"/>
                  </a:cubicBezTo>
                  <a:cubicBezTo>
                    <a:pt x="952" y="6824"/>
                    <a:pt x="959" y="7013"/>
                    <a:pt x="966" y="7163"/>
                  </a:cubicBezTo>
                  <a:cubicBezTo>
                    <a:pt x="966" y="7188"/>
                    <a:pt x="966" y="7216"/>
                    <a:pt x="970" y="7237"/>
                  </a:cubicBezTo>
                  <a:lnTo>
                    <a:pt x="970" y="7247"/>
                  </a:lnTo>
                  <a:lnTo>
                    <a:pt x="970" y="7265"/>
                  </a:lnTo>
                  <a:lnTo>
                    <a:pt x="970" y="7286"/>
                  </a:lnTo>
                  <a:lnTo>
                    <a:pt x="970" y="7296"/>
                  </a:lnTo>
                  <a:cubicBezTo>
                    <a:pt x="970" y="7300"/>
                    <a:pt x="970" y="7310"/>
                    <a:pt x="973" y="7317"/>
                  </a:cubicBezTo>
                  <a:cubicBezTo>
                    <a:pt x="1001" y="7314"/>
                    <a:pt x="1078" y="7289"/>
                    <a:pt x="1222" y="7198"/>
                  </a:cubicBezTo>
                  <a:cubicBezTo>
                    <a:pt x="1348" y="7118"/>
                    <a:pt x="1463" y="7023"/>
                    <a:pt x="1568" y="6918"/>
                  </a:cubicBezTo>
                  <a:lnTo>
                    <a:pt x="1610" y="6876"/>
                  </a:lnTo>
                  <a:cubicBezTo>
                    <a:pt x="1717" y="6763"/>
                    <a:pt x="1792" y="6719"/>
                    <a:pt x="1861" y="6719"/>
                  </a:cubicBezTo>
                  <a:cubicBezTo>
                    <a:pt x="1871" y="6719"/>
                    <a:pt x="1881" y="6720"/>
                    <a:pt x="1891" y="6722"/>
                  </a:cubicBezTo>
                  <a:lnTo>
                    <a:pt x="1912" y="6729"/>
                  </a:lnTo>
                  <a:cubicBezTo>
                    <a:pt x="1926" y="6736"/>
                    <a:pt x="1940" y="6740"/>
                    <a:pt x="1954" y="6747"/>
                  </a:cubicBezTo>
                  <a:cubicBezTo>
                    <a:pt x="1971" y="6757"/>
                    <a:pt x="1985" y="6764"/>
                    <a:pt x="1999" y="6775"/>
                  </a:cubicBezTo>
                  <a:cubicBezTo>
                    <a:pt x="2045" y="6810"/>
                    <a:pt x="2097" y="6831"/>
                    <a:pt x="2153" y="6838"/>
                  </a:cubicBezTo>
                  <a:lnTo>
                    <a:pt x="2248" y="6852"/>
                  </a:lnTo>
                  <a:cubicBezTo>
                    <a:pt x="2468" y="6876"/>
                    <a:pt x="2720" y="6904"/>
                    <a:pt x="2832" y="7135"/>
                  </a:cubicBezTo>
                  <a:cubicBezTo>
                    <a:pt x="2836" y="7142"/>
                    <a:pt x="2843" y="7149"/>
                    <a:pt x="2846" y="7156"/>
                  </a:cubicBezTo>
                  <a:cubicBezTo>
                    <a:pt x="2878" y="7125"/>
                    <a:pt x="2934" y="7013"/>
                    <a:pt x="2962" y="6957"/>
                  </a:cubicBezTo>
                  <a:lnTo>
                    <a:pt x="2983" y="6908"/>
                  </a:lnTo>
                  <a:cubicBezTo>
                    <a:pt x="3000" y="6869"/>
                    <a:pt x="3021" y="6834"/>
                    <a:pt x="3049" y="6799"/>
                  </a:cubicBezTo>
                  <a:cubicBezTo>
                    <a:pt x="3092" y="6754"/>
                    <a:pt x="3166" y="6739"/>
                    <a:pt x="3272" y="6739"/>
                  </a:cubicBezTo>
                  <a:cubicBezTo>
                    <a:pt x="3355" y="6739"/>
                    <a:pt x="3458" y="6748"/>
                    <a:pt x="3581" y="6761"/>
                  </a:cubicBezTo>
                  <a:lnTo>
                    <a:pt x="3655" y="6771"/>
                  </a:lnTo>
                  <a:cubicBezTo>
                    <a:pt x="3691" y="6776"/>
                    <a:pt x="3729" y="6780"/>
                    <a:pt x="3767" y="6780"/>
                  </a:cubicBezTo>
                  <a:cubicBezTo>
                    <a:pt x="3781" y="6780"/>
                    <a:pt x="3795" y="6779"/>
                    <a:pt x="3809" y="6778"/>
                  </a:cubicBezTo>
                  <a:cubicBezTo>
                    <a:pt x="3826" y="6743"/>
                    <a:pt x="3844" y="6705"/>
                    <a:pt x="3851" y="6663"/>
                  </a:cubicBezTo>
                  <a:lnTo>
                    <a:pt x="3851" y="6659"/>
                  </a:lnTo>
                  <a:lnTo>
                    <a:pt x="3858" y="6638"/>
                  </a:lnTo>
                  <a:lnTo>
                    <a:pt x="3858" y="6631"/>
                  </a:lnTo>
                  <a:lnTo>
                    <a:pt x="3861" y="6614"/>
                  </a:lnTo>
                  <a:lnTo>
                    <a:pt x="3865" y="6589"/>
                  </a:lnTo>
                  <a:lnTo>
                    <a:pt x="3865" y="6586"/>
                  </a:lnTo>
                  <a:cubicBezTo>
                    <a:pt x="3910" y="6383"/>
                    <a:pt x="3942" y="6089"/>
                    <a:pt x="3931" y="6008"/>
                  </a:cubicBezTo>
                  <a:cubicBezTo>
                    <a:pt x="3907" y="5840"/>
                    <a:pt x="4208" y="5539"/>
                    <a:pt x="4380" y="5427"/>
                  </a:cubicBezTo>
                  <a:cubicBezTo>
                    <a:pt x="4502" y="5343"/>
                    <a:pt x="4663" y="5343"/>
                    <a:pt x="4800" y="5339"/>
                  </a:cubicBezTo>
                  <a:lnTo>
                    <a:pt x="4873" y="5339"/>
                  </a:lnTo>
                  <a:cubicBezTo>
                    <a:pt x="4881" y="5340"/>
                    <a:pt x="4888" y="5340"/>
                    <a:pt x="4896" y="5340"/>
                  </a:cubicBezTo>
                  <a:cubicBezTo>
                    <a:pt x="4948" y="5340"/>
                    <a:pt x="4999" y="5330"/>
                    <a:pt x="5048" y="5311"/>
                  </a:cubicBezTo>
                  <a:cubicBezTo>
                    <a:pt x="5164" y="5252"/>
                    <a:pt x="5311" y="5241"/>
                    <a:pt x="5461" y="5238"/>
                  </a:cubicBezTo>
                  <a:lnTo>
                    <a:pt x="5710" y="5238"/>
                  </a:lnTo>
                  <a:cubicBezTo>
                    <a:pt x="5857" y="5238"/>
                    <a:pt x="5979" y="5318"/>
                    <a:pt x="6074" y="5385"/>
                  </a:cubicBezTo>
                  <a:cubicBezTo>
                    <a:pt x="6134" y="5423"/>
                    <a:pt x="6190" y="5465"/>
                    <a:pt x="6225" y="5465"/>
                  </a:cubicBezTo>
                  <a:cubicBezTo>
                    <a:pt x="6246" y="5462"/>
                    <a:pt x="6267" y="5455"/>
                    <a:pt x="6284" y="5441"/>
                  </a:cubicBezTo>
                  <a:cubicBezTo>
                    <a:pt x="6340" y="5399"/>
                    <a:pt x="6386" y="5339"/>
                    <a:pt x="6407" y="5273"/>
                  </a:cubicBezTo>
                  <a:cubicBezTo>
                    <a:pt x="6410" y="5259"/>
                    <a:pt x="6414" y="5245"/>
                    <a:pt x="6417" y="5231"/>
                  </a:cubicBezTo>
                  <a:lnTo>
                    <a:pt x="6417" y="5224"/>
                  </a:lnTo>
                  <a:cubicBezTo>
                    <a:pt x="6421" y="5213"/>
                    <a:pt x="6421" y="5203"/>
                    <a:pt x="6421" y="5189"/>
                  </a:cubicBezTo>
                  <a:lnTo>
                    <a:pt x="6421" y="5182"/>
                  </a:lnTo>
                  <a:cubicBezTo>
                    <a:pt x="6421" y="5164"/>
                    <a:pt x="6421" y="5150"/>
                    <a:pt x="6417" y="5136"/>
                  </a:cubicBezTo>
                  <a:cubicBezTo>
                    <a:pt x="6403" y="5038"/>
                    <a:pt x="6428" y="4933"/>
                    <a:pt x="6456" y="4821"/>
                  </a:cubicBezTo>
                  <a:cubicBezTo>
                    <a:pt x="6466" y="4790"/>
                    <a:pt x="6473" y="4758"/>
                    <a:pt x="6480" y="4723"/>
                  </a:cubicBezTo>
                  <a:cubicBezTo>
                    <a:pt x="6494" y="4674"/>
                    <a:pt x="6501" y="4625"/>
                    <a:pt x="6501" y="4576"/>
                  </a:cubicBezTo>
                  <a:cubicBezTo>
                    <a:pt x="6505" y="4527"/>
                    <a:pt x="6498" y="4482"/>
                    <a:pt x="6484" y="4436"/>
                  </a:cubicBezTo>
                  <a:cubicBezTo>
                    <a:pt x="6452" y="4352"/>
                    <a:pt x="6400" y="4282"/>
                    <a:pt x="6333" y="4223"/>
                  </a:cubicBezTo>
                  <a:cubicBezTo>
                    <a:pt x="6253" y="4142"/>
                    <a:pt x="6158" y="4051"/>
                    <a:pt x="6158" y="3879"/>
                  </a:cubicBezTo>
                  <a:cubicBezTo>
                    <a:pt x="6158" y="3788"/>
                    <a:pt x="6148" y="3739"/>
                    <a:pt x="6120" y="3711"/>
                  </a:cubicBezTo>
                  <a:cubicBezTo>
                    <a:pt x="6095" y="3694"/>
                    <a:pt x="6067" y="3680"/>
                    <a:pt x="6036" y="3676"/>
                  </a:cubicBezTo>
                  <a:cubicBezTo>
                    <a:pt x="5980" y="3670"/>
                    <a:pt x="5925" y="3667"/>
                    <a:pt x="5869" y="3667"/>
                  </a:cubicBezTo>
                  <a:cubicBezTo>
                    <a:pt x="5837" y="3667"/>
                    <a:pt x="5805" y="3668"/>
                    <a:pt x="5773" y="3669"/>
                  </a:cubicBezTo>
                  <a:lnTo>
                    <a:pt x="5755" y="3669"/>
                  </a:lnTo>
                  <a:cubicBezTo>
                    <a:pt x="5730" y="3670"/>
                    <a:pt x="5705" y="3671"/>
                    <a:pt x="5681" y="3671"/>
                  </a:cubicBezTo>
                  <a:cubicBezTo>
                    <a:pt x="5232" y="3671"/>
                    <a:pt x="5118" y="3490"/>
                    <a:pt x="5108" y="3337"/>
                  </a:cubicBezTo>
                  <a:cubicBezTo>
                    <a:pt x="5097" y="3263"/>
                    <a:pt x="5073" y="3197"/>
                    <a:pt x="5038" y="3134"/>
                  </a:cubicBezTo>
                  <a:cubicBezTo>
                    <a:pt x="4992" y="3039"/>
                    <a:pt x="4922" y="2896"/>
                    <a:pt x="5080" y="2819"/>
                  </a:cubicBezTo>
                  <a:cubicBezTo>
                    <a:pt x="5083" y="2815"/>
                    <a:pt x="5090" y="2812"/>
                    <a:pt x="5094" y="2808"/>
                  </a:cubicBezTo>
                  <a:cubicBezTo>
                    <a:pt x="5083" y="2780"/>
                    <a:pt x="5069" y="2752"/>
                    <a:pt x="5052" y="2728"/>
                  </a:cubicBezTo>
                  <a:cubicBezTo>
                    <a:pt x="5006" y="2658"/>
                    <a:pt x="4943" y="2560"/>
                    <a:pt x="4964" y="2448"/>
                  </a:cubicBezTo>
                  <a:cubicBezTo>
                    <a:pt x="4985" y="2315"/>
                    <a:pt x="4922" y="2259"/>
                    <a:pt x="4814" y="2168"/>
                  </a:cubicBezTo>
                  <a:lnTo>
                    <a:pt x="4775" y="2136"/>
                  </a:lnTo>
                  <a:cubicBezTo>
                    <a:pt x="4753" y="2117"/>
                    <a:pt x="4672" y="2115"/>
                    <a:pt x="4598" y="2115"/>
                  </a:cubicBezTo>
                  <a:cubicBezTo>
                    <a:pt x="4577" y="2115"/>
                    <a:pt x="4556" y="2115"/>
                    <a:pt x="4537" y="2115"/>
                  </a:cubicBezTo>
                  <a:cubicBezTo>
                    <a:pt x="4506" y="2116"/>
                    <a:pt x="4475" y="2117"/>
                    <a:pt x="4445" y="2117"/>
                  </a:cubicBezTo>
                  <a:cubicBezTo>
                    <a:pt x="4341" y="2117"/>
                    <a:pt x="4248" y="2107"/>
                    <a:pt x="4194" y="2056"/>
                  </a:cubicBezTo>
                  <a:cubicBezTo>
                    <a:pt x="4170" y="2031"/>
                    <a:pt x="4152" y="1993"/>
                    <a:pt x="4156" y="1958"/>
                  </a:cubicBezTo>
                  <a:cubicBezTo>
                    <a:pt x="4156" y="1842"/>
                    <a:pt x="3910" y="1810"/>
                    <a:pt x="3767" y="1810"/>
                  </a:cubicBezTo>
                  <a:cubicBezTo>
                    <a:pt x="3637" y="1810"/>
                    <a:pt x="3613" y="1716"/>
                    <a:pt x="3599" y="1667"/>
                  </a:cubicBezTo>
                  <a:cubicBezTo>
                    <a:pt x="3588" y="1625"/>
                    <a:pt x="3586" y="1617"/>
                    <a:pt x="3569" y="1617"/>
                  </a:cubicBezTo>
                  <a:cubicBezTo>
                    <a:pt x="3565" y="1617"/>
                    <a:pt x="3560" y="1617"/>
                    <a:pt x="3553" y="1618"/>
                  </a:cubicBezTo>
                  <a:lnTo>
                    <a:pt x="3536" y="1618"/>
                  </a:lnTo>
                  <a:cubicBezTo>
                    <a:pt x="3530" y="1618"/>
                    <a:pt x="3525" y="1618"/>
                    <a:pt x="3519" y="1618"/>
                  </a:cubicBezTo>
                  <a:cubicBezTo>
                    <a:pt x="3458" y="1618"/>
                    <a:pt x="3398" y="1601"/>
                    <a:pt x="3350" y="1569"/>
                  </a:cubicBezTo>
                  <a:cubicBezTo>
                    <a:pt x="3315" y="1547"/>
                    <a:pt x="3288" y="1529"/>
                    <a:pt x="3224" y="1529"/>
                  </a:cubicBezTo>
                  <a:cubicBezTo>
                    <a:pt x="3207" y="1529"/>
                    <a:pt x="3186" y="1531"/>
                    <a:pt x="3161" y="1534"/>
                  </a:cubicBezTo>
                  <a:cubicBezTo>
                    <a:pt x="3130" y="1538"/>
                    <a:pt x="3101" y="1540"/>
                    <a:pt x="3072" y="1540"/>
                  </a:cubicBezTo>
                  <a:cubicBezTo>
                    <a:pt x="2847" y="1540"/>
                    <a:pt x="2691" y="1404"/>
                    <a:pt x="2458" y="1124"/>
                  </a:cubicBezTo>
                  <a:cubicBezTo>
                    <a:pt x="2185" y="802"/>
                    <a:pt x="2209" y="193"/>
                    <a:pt x="226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2" name="Google Shape;5732;p53"/>
            <p:cNvSpPr/>
            <p:nvPr/>
          </p:nvSpPr>
          <p:spPr>
            <a:xfrm>
              <a:off x="1596443" y="2164147"/>
              <a:ext cx="8812" cy="4820"/>
            </a:xfrm>
            <a:custGeom>
              <a:avLst/>
              <a:gdLst/>
              <a:ahLst/>
              <a:cxnLst/>
              <a:rect l="l" t="t" r="r" b="b"/>
              <a:pathLst>
                <a:path w="649" h="355" extrusionOk="0">
                  <a:moveTo>
                    <a:pt x="648" y="337"/>
                  </a:moveTo>
                  <a:cubicBezTo>
                    <a:pt x="134" y="354"/>
                    <a:pt x="11" y="165"/>
                    <a:pt x="1" y="1"/>
                  </a:cubicBezTo>
                  <a:cubicBezTo>
                    <a:pt x="11" y="165"/>
                    <a:pt x="134" y="354"/>
                    <a:pt x="648" y="33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3" name="Google Shape;5733;p53"/>
            <p:cNvSpPr/>
            <p:nvPr/>
          </p:nvSpPr>
          <p:spPr>
            <a:xfrm>
              <a:off x="1614230" y="2188587"/>
              <a:ext cx="54" cy="625"/>
            </a:xfrm>
            <a:custGeom>
              <a:avLst/>
              <a:gdLst/>
              <a:ahLst/>
              <a:cxnLst/>
              <a:rect l="l" t="t" r="r" b="b"/>
              <a:pathLst>
                <a:path w="4" h="46" extrusionOk="0">
                  <a:moveTo>
                    <a:pt x="0" y="0"/>
                  </a:moveTo>
                  <a:cubicBezTo>
                    <a:pt x="4" y="14"/>
                    <a:pt x="4" y="32"/>
                    <a:pt x="4" y="46"/>
                  </a:cubicBezTo>
                  <a:cubicBezTo>
                    <a:pt x="4" y="32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4" name="Google Shape;5734;p53"/>
            <p:cNvSpPr/>
            <p:nvPr/>
          </p:nvSpPr>
          <p:spPr>
            <a:xfrm>
              <a:off x="1584047" y="2146754"/>
              <a:ext cx="4616" cy="923"/>
            </a:xfrm>
            <a:custGeom>
              <a:avLst/>
              <a:gdLst/>
              <a:ahLst/>
              <a:cxnLst/>
              <a:rect l="l" t="t" r="r" b="b"/>
              <a:pathLst>
                <a:path w="340" h="68" extrusionOk="0">
                  <a:moveTo>
                    <a:pt x="340" y="60"/>
                  </a:moveTo>
                  <a:cubicBezTo>
                    <a:pt x="200" y="64"/>
                    <a:pt x="67" y="67"/>
                    <a:pt x="0" y="1"/>
                  </a:cubicBezTo>
                  <a:cubicBezTo>
                    <a:pt x="67" y="67"/>
                    <a:pt x="200" y="64"/>
                    <a:pt x="340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5" name="Google Shape;5735;p53"/>
            <p:cNvSpPr/>
            <p:nvPr/>
          </p:nvSpPr>
          <p:spPr>
            <a:xfrm>
              <a:off x="1612370" y="2190433"/>
              <a:ext cx="1724" cy="2349"/>
            </a:xfrm>
            <a:custGeom>
              <a:avLst/>
              <a:gdLst/>
              <a:ahLst/>
              <a:cxnLst/>
              <a:rect l="l" t="t" r="r" b="b"/>
              <a:pathLst>
                <a:path w="127" h="173" extrusionOk="0">
                  <a:moveTo>
                    <a:pt x="127" y="1"/>
                  </a:moveTo>
                  <a:cubicBezTo>
                    <a:pt x="114" y="34"/>
                    <a:pt x="99" y="63"/>
                    <a:pt x="82" y="90"/>
                  </a:cubicBezTo>
                  <a:lnTo>
                    <a:pt x="82" y="90"/>
                  </a:lnTo>
                  <a:cubicBezTo>
                    <a:pt x="100" y="63"/>
                    <a:pt x="115" y="33"/>
                    <a:pt x="127" y="1"/>
                  </a:cubicBezTo>
                  <a:close/>
                  <a:moveTo>
                    <a:pt x="82" y="90"/>
                  </a:moveTo>
                  <a:cubicBezTo>
                    <a:pt x="70" y="108"/>
                    <a:pt x="56" y="124"/>
                    <a:pt x="40" y="140"/>
                  </a:cubicBezTo>
                  <a:lnTo>
                    <a:pt x="40" y="140"/>
                  </a:lnTo>
                  <a:cubicBezTo>
                    <a:pt x="47" y="133"/>
                    <a:pt x="54" y="126"/>
                    <a:pt x="60" y="120"/>
                  </a:cubicBezTo>
                  <a:cubicBezTo>
                    <a:pt x="68" y="110"/>
                    <a:pt x="75" y="100"/>
                    <a:pt x="82" y="90"/>
                  </a:cubicBezTo>
                  <a:close/>
                  <a:moveTo>
                    <a:pt x="40" y="140"/>
                  </a:moveTo>
                  <a:lnTo>
                    <a:pt x="40" y="140"/>
                  </a:lnTo>
                  <a:cubicBezTo>
                    <a:pt x="32" y="147"/>
                    <a:pt x="24" y="154"/>
                    <a:pt x="15" y="162"/>
                  </a:cubicBezTo>
                  <a:lnTo>
                    <a:pt x="1" y="172"/>
                  </a:lnTo>
                  <a:cubicBezTo>
                    <a:pt x="15" y="162"/>
                    <a:pt x="28" y="151"/>
                    <a:pt x="40" y="14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6" name="Google Shape;5736;p53"/>
            <p:cNvSpPr/>
            <p:nvPr/>
          </p:nvSpPr>
          <p:spPr>
            <a:xfrm>
              <a:off x="1614040" y="2189917"/>
              <a:ext cx="149" cy="530"/>
            </a:xfrm>
            <a:custGeom>
              <a:avLst/>
              <a:gdLst/>
              <a:ahLst/>
              <a:cxnLst/>
              <a:rect l="l" t="t" r="r" b="b"/>
              <a:pathLst>
                <a:path w="11" h="39" extrusionOk="0">
                  <a:moveTo>
                    <a:pt x="11" y="0"/>
                  </a:moveTo>
                  <a:cubicBezTo>
                    <a:pt x="7" y="11"/>
                    <a:pt x="4" y="25"/>
                    <a:pt x="0" y="39"/>
                  </a:cubicBezTo>
                  <a:cubicBezTo>
                    <a:pt x="4" y="25"/>
                    <a:pt x="7" y="1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7" name="Google Shape;5737;p53"/>
            <p:cNvSpPr/>
            <p:nvPr/>
          </p:nvSpPr>
          <p:spPr>
            <a:xfrm>
              <a:off x="1529140" y="2128031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8" name="Google Shape;5738;p53"/>
            <p:cNvSpPr/>
            <p:nvPr/>
          </p:nvSpPr>
          <p:spPr>
            <a:xfrm>
              <a:off x="1614230" y="2189293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1"/>
                  </a:moveTo>
                  <a:cubicBezTo>
                    <a:pt x="4" y="15"/>
                    <a:pt x="0" y="25"/>
                    <a:pt x="0" y="36"/>
                  </a:cubicBezTo>
                  <a:cubicBezTo>
                    <a:pt x="0" y="25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9" name="Google Shape;5739;p53"/>
            <p:cNvSpPr/>
            <p:nvPr/>
          </p:nvSpPr>
          <p:spPr>
            <a:xfrm>
              <a:off x="1529425" y="212812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0"/>
                  </a:moveTo>
                  <a:lnTo>
                    <a:pt x="29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0" name="Google Shape;5740;p53"/>
            <p:cNvSpPr/>
            <p:nvPr/>
          </p:nvSpPr>
          <p:spPr>
            <a:xfrm>
              <a:off x="1575290" y="21408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1" name="Google Shape;5741;p53"/>
            <p:cNvSpPr/>
            <p:nvPr/>
          </p:nvSpPr>
          <p:spPr>
            <a:xfrm>
              <a:off x="1615085" y="2180983"/>
              <a:ext cx="299" cy="2009"/>
            </a:xfrm>
            <a:custGeom>
              <a:avLst/>
              <a:gdLst/>
              <a:ahLst/>
              <a:cxnLst/>
              <a:rect l="l" t="t" r="r" b="b"/>
              <a:pathLst>
                <a:path w="22" h="148" extrusionOk="0">
                  <a:moveTo>
                    <a:pt x="21" y="0"/>
                  </a:moveTo>
                  <a:cubicBezTo>
                    <a:pt x="18" y="49"/>
                    <a:pt x="11" y="98"/>
                    <a:pt x="0" y="147"/>
                  </a:cubicBezTo>
                  <a:cubicBezTo>
                    <a:pt x="11" y="98"/>
                    <a:pt x="18" y="49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2" name="Google Shape;5742;p53"/>
            <p:cNvSpPr/>
            <p:nvPr/>
          </p:nvSpPr>
          <p:spPr>
            <a:xfrm>
              <a:off x="1595493" y="2161391"/>
              <a:ext cx="964" cy="2770"/>
            </a:xfrm>
            <a:custGeom>
              <a:avLst/>
              <a:gdLst/>
              <a:ahLst/>
              <a:cxnLst/>
              <a:rect l="l" t="t" r="r" b="b"/>
              <a:pathLst>
                <a:path w="71" h="204" extrusionOk="0">
                  <a:moveTo>
                    <a:pt x="1" y="1"/>
                  </a:moveTo>
                  <a:cubicBezTo>
                    <a:pt x="36" y="64"/>
                    <a:pt x="60" y="134"/>
                    <a:pt x="71" y="204"/>
                  </a:cubicBezTo>
                  <a:cubicBezTo>
                    <a:pt x="60" y="134"/>
                    <a:pt x="36" y="6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3" name="Google Shape;5743;p53"/>
            <p:cNvSpPr/>
            <p:nvPr/>
          </p:nvSpPr>
          <p:spPr>
            <a:xfrm>
              <a:off x="1543736" y="2212822"/>
              <a:ext cx="4711" cy="3775"/>
            </a:xfrm>
            <a:custGeom>
              <a:avLst/>
              <a:gdLst/>
              <a:ahLst/>
              <a:cxnLst/>
              <a:rect l="l" t="t" r="r" b="b"/>
              <a:pathLst>
                <a:path w="347" h="278" extrusionOk="0">
                  <a:moveTo>
                    <a:pt x="347" y="1"/>
                  </a:moveTo>
                  <a:cubicBezTo>
                    <a:pt x="245" y="96"/>
                    <a:pt x="137" y="185"/>
                    <a:pt x="23" y="262"/>
                  </a:cubicBezTo>
                  <a:lnTo>
                    <a:pt x="23" y="262"/>
                  </a:lnTo>
                  <a:lnTo>
                    <a:pt x="53" y="242"/>
                  </a:lnTo>
                  <a:cubicBezTo>
                    <a:pt x="158" y="172"/>
                    <a:pt x="256" y="88"/>
                    <a:pt x="347" y="1"/>
                  </a:cubicBezTo>
                  <a:close/>
                  <a:moveTo>
                    <a:pt x="23" y="262"/>
                  </a:moveTo>
                  <a:lnTo>
                    <a:pt x="0" y="277"/>
                  </a:lnTo>
                  <a:cubicBezTo>
                    <a:pt x="8" y="272"/>
                    <a:pt x="16" y="267"/>
                    <a:pt x="23" y="26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4" name="Google Shape;5744;p53"/>
            <p:cNvSpPr/>
            <p:nvPr/>
          </p:nvSpPr>
          <p:spPr>
            <a:xfrm>
              <a:off x="1568542" y="2210324"/>
              <a:ext cx="8092" cy="855"/>
            </a:xfrm>
            <a:custGeom>
              <a:avLst/>
              <a:gdLst/>
              <a:ahLst/>
              <a:cxnLst/>
              <a:rect l="l" t="t" r="r" b="b"/>
              <a:pathLst>
                <a:path w="596" h="63" extrusionOk="0">
                  <a:moveTo>
                    <a:pt x="210" y="0"/>
                  </a:moveTo>
                  <a:cubicBezTo>
                    <a:pt x="107" y="0"/>
                    <a:pt x="36" y="17"/>
                    <a:pt x="1" y="62"/>
                  </a:cubicBezTo>
                  <a:cubicBezTo>
                    <a:pt x="38" y="17"/>
                    <a:pt x="109" y="1"/>
                    <a:pt x="213" y="0"/>
                  </a:cubicBezTo>
                  <a:lnTo>
                    <a:pt x="213" y="0"/>
                  </a:lnTo>
                  <a:cubicBezTo>
                    <a:pt x="292" y="1"/>
                    <a:pt x="389" y="10"/>
                    <a:pt x="505" y="24"/>
                  </a:cubicBezTo>
                  <a:lnTo>
                    <a:pt x="596" y="34"/>
                  </a:lnTo>
                  <a:lnTo>
                    <a:pt x="522" y="24"/>
                  </a:lnTo>
                  <a:cubicBezTo>
                    <a:pt x="401" y="10"/>
                    <a:pt x="299" y="0"/>
                    <a:pt x="217" y="0"/>
                  </a:cubicBezTo>
                  <a:cubicBezTo>
                    <a:pt x="216" y="0"/>
                    <a:pt x="214" y="0"/>
                    <a:pt x="213" y="0"/>
                  </a:cubicBezTo>
                  <a:lnTo>
                    <a:pt x="213" y="0"/>
                  </a:lnTo>
                  <a:cubicBezTo>
                    <a:pt x="212" y="0"/>
                    <a:pt x="211" y="0"/>
                    <a:pt x="2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5" name="Google Shape;5745;p53"/>
            <p:cNvSpPr/>
            <p:nvPr/>
          </p:nvSpPr>
          <p:spPr>
            <a:xfrm>
              <a:off x="1530375" y="2180128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cubicBezTo>
                    <a:pt x="8" y="11"/>
                    <a:pt x="4" y="7"/>
                    <a:pt x="1" y="0"/>
                  </a:cubicBezTo>
                  <a:cubicBezTo>
                    <a:pt x="4" y="7"/>
                    <a:pt x="8" y="11"/>
                    <a:pt x="1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6" name="Google Shape;5746;p53"/>
            <p:cNvSpPr/>
            <p:nvPr/>
          </p:nvSpPr>
          <p:spPr>
            <a:xfrm>
              <a:off x="1527049" y="2176177"/>
              <a:ext cx="2675" cy="3340"/>
            </a:xfrm>
            <a:custGeom>
              <a:avLst/>
              <a:gdLst/>
              <a:ahLst/>
              <a:cxnLst/>
              <a:rect l="l" t="t" r="r" b="b"/>
              <a:pathLst>
                <a:path w="197" h="246" extrusionOk="0">
                  <a:moveTo>
                    <a:pt x="39" y="60"/>
                  </a:moveTo>
                  <a:cubicBezTo>
                    <a:pt x="29" y="39"/>
                    <a:pt x="15" y="18"/>
                    <a:pt x="1" y="1"/>
                  </a:cubicBezTo>
                  <a:lnTo>
                    <a:pt x="1" y="1"/>
                  </a:lnTo>
                  <a:cubicBezTo>
                    <a:pt x="15" y="18"/>
                    <a:pt x="29" y="39"/>
                    <a:pt x="39" y="60"/>
                  </a:cubicBezTo>
                  <a:cubicBezTo>
                    <a:pt x="78" y="134"/>
                    <a:pt x="134" y="197"/>
                    <a:pt x="197" y="246"/>
                  </a:cubicBezTo>
                  <a:cubicBezTo>
                    <a:pt x="134" y="197"/>
                    <a:pt x="78" y="134"/>
                    <a:pt x="39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7" name="Google Shape;5747;p53"/>
            <p:cNvSpPr/>
            <p:nvPr/>
          </p:nvSpPr>
          <p:spPr>
            <a:xfrm>
              <a:off x="1540314" y="2216583"/>
              <a:ext cx="3435" cy="1629"/>
            </a:xfrm>
            <a:custGeom>
              <a:avLst/>
              <a:gdLst/>
              <a:ahLst/>
              <a:cxnLst/>
              <a:rect l="l" t="t" r="r" b="b"/>
              <a:pathLst>
                <a:path w="253" h="120" extrusionOk="0">
                  <a:moveTo>
                    <a:pt x="252" y="0"/>
                  </a:moveTo>
                  <a:lnTo>
                    <a:pt x="224" y="18"/>
                  </a:lnTo>
                  <a:cubicBezTo>
                    <a:pt x="177" y="47"/>
                    <a:pt x="133" y="72"/>
                    <a:pt x="96" y="89"/>
                  </a:cubicBezTo>
                  <a:lnTo>
                    <a:pt x="96" y="89"/>
                  </a:lnTo>
                  <a:cubicBezTo>
                    <a:pt x="135" y="71"/>
                    <a:pt x="187" y="43"/>
                    <a:pt x="252" y="0"/>
                  </a:cubicBezTo>
                  <a:close/>
                  <a:moveTo>
                    <a:pt x="96" y="89"/>
                  </a:moveTo>
                  <a:cubicBezTo>
                    <a:pt x="48" y="110"/>
                    <a:pt x="17" y="117"/>
                    <a:pt x="0" y="119"/>
                  </a:cubicBezTo>
                  <a:cubicBezTo>
                    <a:pt x="21" y="119"/>
                    <a:pt x="54" y="109"/>
                    <a:pt x="96" y="8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8" name="Google Shape;5748;p53"/>
            <p:cNvSpPr/>
            <p:nvPr/>
          </p:nvSpPr>
          <p:spPr>
            <a:xfrm>
              <a:off x="1530565" y="2180413"/>
              <a:ext cx="353" cy="489"/>
            </a:xfrm>
            <a:custGeom>
              <a:avLst/>
              <a:gdLst/>
              <a:ahLst/>
              <a:cxnLst/>
              <a:rect l="l" t="t" r="r" b="b"/>
              <a:pathLst>
                <a:path w="26" h="36" extrusionOk="0">
                  <a:moveTo>
                    <a:pt x="25" y="35"/>
                  </a:moveTo>
                  <a:cubicBezTo>
                    <a:pt x="18" y="25"/>
                    <a:pt x="11" y="11"/>
                    <a:pt x="1" y="0"/>
                  </a:cubicBezTo>
                  <a:cubicBezTo>
                    <a:pt x="11" y="11"/>
                    <a:pt x="18" y="25"/>
                    <a:pt x="25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9" name="Google Shape;5749;p53"/>
            <p:cNvSpPr/>
            <p:nvPr/>
          </p:nvSpPr>
          <p:spPr>
            <a:xfrm>
              <a:off x="1540260" y="221781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0" name="Google Shape;5750;p53"/>
            <p:cNvSpPr/>
            <p:nvPr/>
          </p:nvSpPr>
          <p:spPr>
            <a:xfrm>
              <a:off x="1540124" y="2216149"/>
              <a:ext cx="109" cy="1018"/>
            </a:xfrm>
            <a:custGeom>
              <a:avLst/>
              <a:gdLst/>
              <a:ahLst/>
              <a:cxnLst/>
              <a:rect l="l" t="t" r="r" b="b"/>
              <a:pathLst>
                <a:path w="8" h="75" extrusionOk="0">
                  <a:moveTo>
                    <a:pt x="0" y="1"/>
                  </a:moveTo>
                  <a:cubicBezTo>
                    <a:pt x="4" y="25"/>
                    <a:pt x="4" y="50"/>
                    <a:pt x="7" y="74"/>
                  </a:cubicBezTo>
                  <a:cubicBezTo>
                    <a:pt x="7" y="50"/>
                    <a:pt x="4" y="2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1" name="Google Shape;5751;p53"/>
            <p:cNvSpPr/>
            <p:nvPr/>
          </p:nvSpPr>
          <p:spPr>
            <a:xfrm>
              <a:off x="1540219" y="2217289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8"/>
                    <a:pt x="4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2" name="Google Shape;5752;p53"/>
            <p:cNvSpPr/>
            <p:nvPr/>
          </p:nvSpPr>
          <p:spPr>
            <a:xfrm>
              <a:off x="1533512" y="2195335"/>
              <a:ext cx="869" cy="2675"/>
            </a:xfrm>
            <a:custGeom>
              <a:avLst/>
              <a:gdLst/>
              <a:ahLst/>
              <a:cxnLst/>
              <a:rect l="l" t="t" r="r" b="b"/>
              <a:pathLst>
                <a:path w="64" h="197" extrusionOk="0">
                  <a:moveTo>
                    <a:pt x="60" y="0"/>
                  </a:moveTo>
                  <a:cubicBezTo>
                    <a:pt x="64" y="70"/>
                    <a:pt x="43" y="140"/>
                    <a:pt x="1" y="196"/>
                  </a:cubicBezTo>
                  <a:cubicBezTo>
                    <a:pt x="43" y="140"/>
                    <a:pt x="64" y="70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3" name="Google Shape;5753;p53"/>
            <p:cNvSpPr/>
            <p:nvPr/>
          </p:nvSpPr>
          <p:spPr>
            <a:xfrm>
              <a:off x="1530090" y="21798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4" name="Google Shape;5754;p53"/>
            <p:cNvSpPr/>
            <p:nvPr/>
          </p:nvSpPr>
          <p:spPr>
            <a:xfrm>
              <a:off x="1543355" y="2216108"/>
              <a:ext cx="1100" cy="720"/>
            </a:xfrm>
            <a:custGeom>
              <a:avLst/>
              <a:gdLst/>
              <a:ahLst/>
              <a:cxnLst/>
              <a:rect l="l" t="t" r="r" b="b"/>
              <a:pathLst>
                <a:path w="81" h="53" extrusionOk="0">
                  <a:moveTo>
                    <a:pt x="81" y="0"/>
                  </a:moveTo>
                  <a:lnTo>
                    <a:pt x="28" y="32"/>
                  </a:lnTo>
                  <a:lnTo>
                    <a:pt x="28" y="35"/>
                  </a:lnTo>
                  <a:lnTo>
                    <a:pt x="28" y="35"/>
                  </a:lnTo>
                  <a:cubicBezTo>
                    <a:pt x="46" y="23"/>
                    <a:pt x="63" y="12"/>
                    <a:pt x="81" y="0"/>
                  </a:cubicBezTo>
                  <a:close/>
                  <a:moveTo>
                    <a:pt x="28" y="35"/>
                  </a:moveTo>
                  <a:lnTo>
                    <a:pt x="28" y="35"/>
                  </a:lnTo>
                  <a:cubicBezTo>
                    <a:pt x="19" y="41"/>
                    <a:pt x="10" y="47"/>
                    <a:pt x="0" y="53"/>
                  </a:cubicBezTo>
                  <a:lnTo>
                    <a:pt x="28" y="35"/>
                  </a:lnTo>
                  <a:lnTo>
                    <a:pt x="28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5" name="Google Shape;5755;p53"/>
            <p:cNvSpPr/>
            <p:nvPr/>
          </p:nvSpPr>
          <p:spPr>
            <a:xfrm>
              <a:off x="1579281" y="2208980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6" name="Google Shape;5756;p53"/>
            <p:cNvSpPr/>
            <p:nvPr/>
          </p:nvSpPr>
          <p:spPr>
            <a:xfrm>
              <a:off x="1579376" y="2208641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7" name="Google Shape;5757;p53"/>
            <p:cNvSpPr/>
            <p:nvPr/>
          </p:nvSpPr>
          <p:spPr>
            <a:xfrm>
              <a:off x="1576620" y="2210786"/>
              <a:ext cx="2105" cy="122"/>
            </a:xfrm>
            <a:custGeom>
              <a:avLst/>
              <a:gdLst/>
              <a:ahLst/>
              <a:cxnLst/>
              <a:rect l="l" t="t" r="r" b="b"/>
              <a:pathLst>
                <a:path w="155" h="9" extrusionOk="0">
                  <a:moveTo>
                    <a:pt x="1" y="0"/>
                  </a:moveTo>
                  <a:cubicBezTo>
                    <a:pt x="38" y="5"/>
                    <a:pt x="73" y="8"/>
                    <a:pt x="109" y="9"/>
                  </a:cubicBezTo>
                  <a:lnTo>
                    <a:pt x="109" y="9"/>
                  </a:lnTo>
                  <a:cubicBezTo>
                    <a:pt x="84" y="8"/>
                    <a:pt x="60" y="6"/>
                    <a:pt x="36" y="4"/>
                  </a:cubicBezTo>
                  <a:lnTo>
                    <a:pt x="1" y="0"/>
                  </a:lnTo>
                  <a:close/>
                  <a:moveTo>
                    <a:pt x="155" y="7"/>
                  </a:moveTo>
                  <a:lnTo>
                    <a:pt x="155" y="7"/>
                  </a:lnTo>
                  <a:cubicBezTo>
                    <a:pt x="141" y="8"/>
                    <a:pt x="127" y="9"/>
                    <a:pt x="113" y="9"/>
                  </a:cubicBezTo>
                  <a:cubicBezTo>
                    <a:pt x="112" y="9"/>
                    <a:pt x="111" y="9"/>
                    <a:pt x="109" y="9"/>
                  </a:cubicBezTo>
                  <a:lnTo>
                    <a:pt x="109" y="9"/>
                  </a:lnTo>
                  <a:cubicBezTo>
                    <a:pt x="113" y="9"/>
                    <a:pt x="116" y="9"/>
                    <a:pt x="119" y="9"/>
                  </a:cubicBezTo>
                  <a:cubicBezTo>
                    <a:pt x="131" y="9"/>
                    <a:pt x="143" y="8"/>
                    <a:pt x="15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8" name="Google Shape;5758;p53"/>
            <p:cNvSpPr/>
            <p:nvPr/>
          </p:nvSpPr>
          <p:spPr>
            <a:xfrm>
              <a:off x="1595588" y="2189958"/>
              <a:ext cx="5621" cy="1018"/>
            </a:xfrm>
            <a:custGeom>
              <a:avLst/>
              <a:gdLst/>
              <a:ahLst/>
              <a:cxnLst/>
              <a:rect l="l" t="t" r="r" b="b"/>
              <a:pathLst>
                <a:path w="414" h="75" extrusionOk="0">
                  <a:moveTo>
                    <a:pt x="414" y="1"/>
                  </a:moveTo>
                  <a:cubicBezTo>
                    <a:pt x="263" y="1"/>
                    <a:pt x="116" y="15"/>
                    <a:pt x="1" y="74"/>
                  </a:cubicBezTo>
                  <a:cubicBezTo>
                    <a:pt x="116" y="15"/>
                    <a:pt x="263" y="4"/>
                    <a:pt x="4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9" name="Google Shape;5759;p53"/>
            <p:cNvSpPr/>
            <p:nvPr/>
          </p:nvSpPr>
          <p:spPr>
            <a:xfrm>
              <a:off x="1611609" y="2192768"/>
              <a:ext cx="774" cy="299"/>
            </a:xfrm>
            <a:custGeom>
              <a:avLst/>
              <a:gdLst/>
              <a:ahLst/>
              <a:cxnLst/>
              <a:rect l="l" t="t" r="r" b="b"/>
              <a:pathLst>
                <a:path w="57" h="22" extrusionOk="0">
                  <a:moveTo>
                    <a:pt x="57" y="0"/>
                  </a:moveTo>
                  <a:cubicBezTo>
                    <a:pt x="39" y="11"/>
                    <a:pt x="18" y="18"/>
                    <a:pt x="1" y="21"/>
                  </a:cubicBezTo>
                  <a:cubicBezTo>
                    <a:pt x="15" y="21"/>
                    <a:pt x="29" y="18"/>
                    <a:pt x="43" y="11"/>
                  </a:cubicBezTo>
                  <a:lnTo>
                    <a:pt x="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0" name="Google Shape;5760;p53"/>
            <p:cNvSpPr/>
            <p:nvPr/>
          </p:nvSpPr>
          <p:spPr>
            <a:xfrm>
              <a:off x="1579526" y="220826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1" name="Google Shape;5761;p53"/>
            <p:cNvSpPr/>
            <p:nvPr/>
          </p:nvSpPr>
          <p:spPr>
            <a:xfrm>
              <a:off x="1612180" y="2192619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9" y="1"/>
                  </a:moveTo>
                  <a:lnTo>
                    <a:pt x="29" y="1"/>
                  </a:lnTo>
                  <a:cubicBezTo>
                    <a:pt x="18" y="8"/>
                    <a:pt x="8" y="15"/>
                    <a:pt x="1" y="18"/>
                  </a:cubicBezTo>
                  <a:lnTo>
                    <a:pt x="15" y="11"/>
                  </a:ln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2" name="Google Shape;5762;p53"/>
            <p:cNvSpPr/>
            <p:nvPr/>
          </p:nvSpPr>
          <p:spPr>
            <a:xfrm>
              <a:off x="1575385" y="2210636"/>
              <a:ext cx="1724" cy="204"/>
            </a:xfrm>
            <a:custGeom>
              <a:avLst/>
              <a:gdLst/>
              <a:ahLst/>
              <a:cxnLst/>
              <a:rect l="l" t="t" r="r" b="b"/>
              <a:pathLst>
                <a:path w="127" h="15" extrusionOk="0">
                  <a:moveTo>
                    <a:pt x="1" y="1"/>
                  </a:moveTo>
                  <a:lnTo>
                    <a:pt x="92" y="11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3" name="Google Shape;5763;p53"/>
            <p:cNvSpPr/>
            <p:nvPr/>
          </p:nvSpPr>
          <p:spPr>
            <a:xfrm>
              <a:off x="1438877" y="2046607"/>
              <a:ext cx="93508" cy="136291"/>
            </a:xfrm>
            <a:custGeom>
              <a:avLst/>
              <a:gdLst/>
              <a:ahLst/>
              <a:cxnLst/>
              <a:rect l="l" t="t" r="r" b="b"/>
              <a:pathLst>
                <a:path w="6887" h="10038" extrusionOk="0">
                  <a:moveTo>
                    <a:pt x="3333" y="0"/>
                  </a:moveTo>
                  <a:lnTo>
                    <a:pt x="3312" y="4"/>
                  </a:lnTo>
                  <a:lnTo>
                    <a:pt x="3295" y="7"/>
                  </a:lnTo>
                  <a:lnTo>
                    <a:pt x="3274" y="11"/>
                  </a:lnTo>
                  <a:lnTo>
                    <a:pt x="3232" y="18"/>
                  </a:lnTo>
                  <a:lnTo>
                    <a:pt x="3249" y="39"/>
                  </a:lnTo>
                  <a:lnTo>
                    <a:pt x="3263" y="56"/>
                  </a:lnTo>
                  <a:lnTo>
                    <a:pt x="3281" y="81"/>
                  </a:lnTo>
                  <a:lnTo>
                    <a:pt x="3295" y="98"/>
                  </a:lnTo>
                  <a:lnTo>
                    <a:pt x="3309" y="119"/>
                  </a:lnTo>
                  <a:lnTo>
                    <a:pt x="3319" y="133"/>
                  </a:lnTo>
                  <a:cubicBezTo>
                    <a:pt x="3326" y="147"/>
                    <a:pt x="3333" y="161"/>
                    <a:pt x="3340" y="175"/>
                  </a:cubicBezTo>
                  <a:cubicBezTo>
                    <a:pt x="3340" y="179"/>
                    <a:pt x="3344" y="182"/>
                    <a:pt x="3347" y="189"/>
                  </a:cubicBezTo>
                  <a:cubicBezTo>
                    <a:pt x="3347" y="193"/>
                    <a:pt x="3351" y="203"/>
                    <a:pt x="3354" y="210"/>
                  </a:cubicBezTo>
                  <a:cubicBezTo>
                    <a:pt x="3354" y="217"/>
                    <a:pt x="3358" y="217"/>
                    <a:pt x="3358" y="224"/>
                  </a:cubicBezTo>
                  <a:cubicBezTo>
                    <a:pt x="3358" y="231"/>
                    <a:pt x="3361" y="235"/>
                    <a:pt x="3361" y="242"/>
                  </a:cubicBezTo>
                  <a:lnTo>
                    <a:pt x="3361" y="259"/>
                  </a:lnTo>
                  <a:cubicBezTo>
                    <a:pt x="3361" y="263"/>
                    <a:pt x="3361" y="270"/>
                    <a:pt x="3361" y="273"/>
                  </a:cubicBezTo>
                  <a:cubicBezTo>
                    <a:pt x="3354" y="329"/>
                    <a:pt x="3323" y="378"/>
                    <a:pt x="3277" y="410"/>
                  </a:cubicBezTo>
                  <a:lnTo>
                    <a:pt x="3274" y="413"/>
                  </a:lnTo>
                  <a:cubicBezTo>
                    <a:pt x="3239" y="438"/>
                    <a:pt x="3218" y="469"/>
                    <a:pt x="3211" y="511"/>
                  </a:cubicBezTo>
                  <a:lnTo>
                    <a:pt x="3204" y="529"/>
                  </a:lnTo>
                  <a:cubicBezTo>
                    <a:pt x="3186" y="606"/>
                    <a:pt x="3162" y="721"/>
                    <a:pt x="2983" y="959"/>
                  </a:cubicBezTo>
                  <a:cubicBezTo>
                    <a:pt x="2966" y="980"/>
                    <a:pt x="2948" y="1005"/>
                    <a:pt x="2927" y="1026"/>
                  </a:cubicBezTo>
                  <a:cubicBezTo>
                    <a:pt x="2647" y="1348"/>
                    <a:pt x="2227" y="1464"/>
                    <a:pt x="1975" y="1537"/>
                  </a:cubicBezTo>
                  <a:cubicBezTo>
                    <a:pt x="1936" y="1544"/>
                    <a:pt x="1905" y="1555"/>
                    <a:pt x="1873" y="1565"/>
                  </a:cubicBezTo>
                  <a:cubicBezTo>
                    <a:pt x="1712" y="1614"/>
                    <a:pt x="1611" y="1887"/>
                    <a:pt x="1516" y="2153"/>
                  </a:cubicBezTo>
                  <a:cubicBezTo>
                    <a:pt x="1485" y="2237"/>
                    <a:pt x="1457" y="2321"/>
                    <a:pt x="1422" y="2398"/>
                  </a:cubicBezTo>
                  <a:cubicBezTo>
                    <a:pt x="1355" y="2559"/>
                    <a:pt x="1285" y="2636"/>
                    <a:pt x="1198" y="2647"/>
                  </a:cubicBezTo>
                  <a:lnTo>
                    <a:pt x="1180" y="2647"/>
                  </a:lnTo>
                  <a:cubicBezTo>
                    <a:pt x="1170" y="2647"/>
                    <a:pt x="1156" y="2647"/>
                    <a:pt x="1145" y="2643"/>
                  </a:cubicBezTo>
                  <a:cubicBezTo>
                    <a:pt x="1135" y="2640"/>
                    <a:pt x="1121" y="2636"/>
                    <a:pt x="1110" y="2629"/>
                  </a:cubicBezTo>
                  <a:cubicBezTo>
                    <a:pt x="1040" y="2598"/>
                    <a:pt x="981" y="2521"/>
                    <a:pt x="921" y="2437"/>
                  </a:cubicBezTo>
                  <a:cubicBezTo>
                    <a:pt x="890" y="2397"/>
                    <a:pt x="868" y="2384"/>
                    <a:pt x="839" y="2384"/>
                  </a:cubicBezTo>
                  <a:cubicBezTo>
                    <a:pt x="822" y="2384"/>
                    <a:pt x="802" y="2388"/>
                    <a:pt x="778" y="2395"/>
                  </a:cubicBezTo>
                  <a:cubicBezTo>
                    <a:pt x="751" y="2404"/>
                    <a:pt x="723" y="2408"/>
                    <a:pt x="696" y="2408"/>
                  </a:cubicBezTo>
                  <a:cubicBezTo>
                    <a:pt x="628" y="2408"/>
                    <a:pt x="561" y="2382"/>
                    <a:pt x="512" y="2335"/>
                  </a:cubicBezTo>
                  <a:cubicBezTo>
                    <a:pt x="470" y="2300"/>
                    <a:pt x="435" y="2258"/>
                    <a:pt x="407" y="2209"/>
                  </a:cubicBezTo>
                  <a:cubicBezTo>
                    <a:pt x="400" y="2195"/>
                    <a:pt x="393" y="2178"/>
                    <a:pt x="393" y="2157"/>
                  </a:cubicBezTo>
                  <a:cubicBezTo>
                    <a:pt x="396" y="2108"/>
                    <a:pt x="421" y="2062"/>
                    <a:pt x="456" y="2031"/>
                  </a:cubicBezTo>
                  <a:cubicBezTo>
                    <a:pt x="473" y="2010"/>
                    <a:pt x="487" y="1992"/>
                    <a:pt x="501" y="1971"/>
                  </a:cubicBezTo>
                  <a:cubicBezTo>
                    <a:pt x="505" y="1968"/>
                    <a:pt x="505" y="1961"/>
                    <a:pt x="508" y="1957"/>
                  </a:cubicBezTo>
                  <a:lnTo>
                    <a:pt x="508" y="1954"/>
                  </a:lnTo>
                  <a:cubicBezTo>
                    <a:pt x="508" y="1950"/>
                    <a:pt x="508" y="1947"/>
                    <a:pt x="508" y="1943"/>
                  </a:cubicBezTo>
                  <a:lnTo>
                    <a:pt x="508" y="1936"/>
                  </a:lnTo>
                  <a:cubicBezTo>
                    <a:pt x="505" y="1929"/>
                    <a:pt x="505" y="1926"/>
                    <a:pt x="505" y="1922"/>
                  </a:cubicBezTo>
                  <a:cubicBezTo>
                    <a:pt x="505" y="1919"/>
                    <a:pt x="505" y="1919"/>
                    <a:pt x="501" y="1915"/>
                  </a:cubicBezTo>
                  <a:cubicBezTo>
                    <a:pt x="498" y="1912"/>
                    <a:pt x="498" y="1905"/>
                    <a:pt x="498" y="1901"/>
                  </a:cubicBezTo>
                  <a:lnTo>
                    <a:pt x="491" y="1891"/>
                  </a:lnTo>
                  <a:lnTo>
                    <a:pt x="484" y="1873"/>
                  </a:lnTo>
                  <a:lnTo>
                    <a:pt x="477" y="1863"/>
                  </a:lnTo>
                  <a:lnTo>
                    <a:pt x="466" y="1845"/>
                  </a:lnTo>
                  <a:lnTo>
                    <a:pt x="456" y="1835"/>
                  </a:lnTo>
                  <a:lnTo>
                    <a:pt x="442" y="1814"/>
                  </a:lnTo>
                  <a:lnTo>
                    <a:pt x="431" y="1803"/>
                  </a:lnTo>
                  <a:lnTo>
                    <a:pt x="431" y="1800"/>
                  </a:lnTo>
                  <a:cubicBezTo>
                    <a:pt x="295" y="1852"/>
                    <a:pt x="144" y="2052"/>
                    <a:pt x="57" y="2230"/>
                  </a:cubicBezTo>
                  <a:cubicBezTo>
                    <a:pt x="0" y="2349"/>
                    <a:pt x="116" y="2591"/>
                    <a:pt x="190" y="2748"/>
                  </a:cubicBezTo>
                  <a:cubicBezTo>
                    <a:pt x="221" y="2811"/>
                    <a:pt x="246" y="2874"/>
                    <a:pt x="267" y="2941"/>
                  </a:cubicBezTo>
                  <a:cubicBezTo>
                    <a:pt x="281" y="2979"/>
                    <a:pt x="277" y="3021"/>
                    <a:pt x="253" y="3056"/>
                  </a:cubicBezTo>
                  <a:cubicBezTo>
                    <a:pt x="227" y="3085"/>
                    <a:pt x="191" y="3099"/>
                    <a:pt x="153" y="3099"/>
                  </a:cubicBezTo>
                  <a:cubicBezTo>
                    <a:pt x="149" y="3099"/>
                    <a:pt x="145" y="3099"/>
                    <a:pt x="141" y="3099"/>
                  </a:cubicBezTo>
                  <a:cubicBezTo>
                    <a:pt x="127" y="3099"/>
                    <a:pt x="116" y="3102"/>
                    <a:pt x="102" y="3102"/>
                  </a:cubicBezTo>
                  <a:cubicBezTo>
                    <a:pt x="102" y="3106"/>
                    <a:pt x="99" y="3109"/>
                    <a:pt x="99" y="3113"/>
                  </a:cubicBezTo>
                  <a:cubicBezTo>
                    <a:pt x="99" y="3169"/>
                    <a:pt x="333" y="3309"/>
                    <a:pt x="442" y="3375"/>
                  </a:cubicBezTo>
                  <a:cubicBezTo>
                    <a:pt x="529" y="3428"/>
                    <a:pt x="606" y="3477"/>
                    <a:pt x="669" y="3522"/>
                  </a:cubicBezTo>
                  <a:cubicBezTo>
                    <a:pt x="788" y="3610"/>
                    <a:pt x="893" y="3785"/>
                    <a:pt x="995" y="3953"/>
                  </a:cubicBezTo>
                  <a:cubicBezTo>
                    <a:pt x="1061" y="4068"/>
                    <a:pt x="1135" y="4180"/>
                    <a:pt x="1222" y="4282"/>
                  </a:cubicBezTo>
                  <a:cubicBezTo>
                    <a:pt x="1359" y="4425"/>
                    <a:pt x="1404" y="4558"/>
                    <a:pt x="1485" y="4779"/>
                  </a:cubicBezTo>
                  <a:cubicBezTo>
                    <a:pt x="1520" y="4873"/>
                    <a:pt x="1562" y="4992"/>
                    <a:pt x="1621" y="5139"/>
                  </a:cubicBezTo>
                  <a:cubicBezTo>
                    <a:pt x="1810" y="5598"/>
                    <a:pt x="2196" y="6396"/>
                    <a:pt x="2462" y="6736"/>
                  </a:cubicBezTo>
                  <a:cubicBezTo>
                    <a:pt x="2633" y="6953"/>
                    <a:pt x="2899" y="7342"/>
                    <a:pt x="2794" y="7513"/>
                  </a:cubicBezTo>
                  <a:cubicBezTo>
                    <a:pt x="2759" y="7573"/>
                    <a:pt x="2805" y="7800"/>
                    <a:pt x="2980" y="7923"/>
                  </a:cubicBezTo>
                  <a:cubicBezTo>
                    <a:pt x="3043" y="7968"/>
                    <a:pt x="3106" y="8017"/>
                    <a:pt x="3165" y="8070"/>
                  </a:cubicBezTo>
                  <a:cubicBezTo>
                    <a:pt x="3365" y="8252"/>
                    <a:pt x="3589" y="8406"/>
                    <a:pt x="3834" y="8525"/>
                  </a:cubicBezTo>
                  <a:cubicBezTo>
                    <a:pt x="4793" y="9004"/>
                    <a:pt x="5332" y="9341"/>
                    <a:pt x="5437" y="9523"/>
                  </a:cubicBezTo>
                  <a:cubicBezTo>
                    <a:pt x="5549" y="9708"/>
                    <a:pt x="5896" y="9901"/>
                    <a:pt x="6029" y="9971"/>
                  </a:cubicBezTo>
                  <a:lnTo>
                    <a:pt x="6067" y="9995"/>
                  </a:lnTo>
                  <a:cubicBezTo>
                    <a:pt x="6085" y="10006"/>
                    <a:pt x="6099" y="10020"/>
                    <a:pt x="6109" y="10037"/>
                  </a:cubicBezTo>
                  <a:lnTo>
                    <a:pt x="6123" y="10027"/>
                  </a:lnTo>
                  <a:lnTo>
                    <a:pt x="6134" y="10023"/>
                  </a:lnTo>
                  <a:cubicBezTo>
                    <a:pt x="6141" y="10016"/>
                    <a:pt x="6151" y="10013"/>
                    <a:pt x="6158" y="10009"/>
                  </a:cubicBezTo>
                  <a:cubicBezTo>
                    <a:pt x="6214" y="9971"/>
                    <a:pt x="6253" y="9915"/>
                    <a:pt x="6270" y="9848"/>
                  </a:cubicBezTo>
                  <a:cubicBezTo>
                    <a:pt x="6288" y="9810"/>
                    <a:pt x="6299" y="9768"/>
                    <a:pt x="6309" y="9729"/>
                  </a:cubicBezTo>
                  <a:cubicBezTo>
                    <a:pt x="6320" y="9684"/>
                    <a:pt x="6334" y="9638"/>
                    <a:pt x="6355" y="9596"/>
                  </a:cubicBezTo>
                  <a:lnTo>
                    <a:pt x="6365" y="9565"/>
                  </a:lnTo>
                  <a:lnTo>
                    <a:pt x="6365" y="9561"/>
                  </a:lnTo>
                  <a:cubicBezTo>
                    <a:pt x="6365" y="9551"/>
                    <a:pt x="6365" y="9544"/>
                    <a:pt x="6362" y="9533"/>
                  </a:cubicBezTo>
                  <a:lnTo>
                    <a:pt x="6362" y="9530"/>
                  </a:lnTo>
                  <a:lnTo>
                    <a:pt x="6362" y="9502"/>
                  </a:lnTo>
                  <a:lnTo>
                    <a:pt x="6362" y="9498"/>
                  </a:lnTo>
                  <a:lnTo>
                    <a:pt x="6362" y="9467"/>
                  </a:lnTo>
                  <a:lnTo>
                    <a:pt x="6362" y="9460"/>
                  </a:lnTo>
                  <a:cubicBezTo>
                    <a:pt x="6362" y="9449"/>
                    <a:pt x="6365" y="9439"/>
                    <a:pt x="6365" y="9428"/>
                  </a:cubicBezTo>
                  <a:lnTo>
                    <a:pt x="6365" y="9425"/>
                  </a:lnTo>
                  <a:cubicBezTo>
                    <a:pt x="6369" y="9414"/>
                    <a:pt x="6372" y="9404"/>
                    <a:pt x="6376" y="9393"/>
                  </a:cubicBezTo>
                  <a:lnTo>
                    <a:pt x="6376" y="9390"/>
                  </a:lnTo>
                  <a:cubicBezTo>
                    <a:pt x="6379" y="9383"/>
                    <a:pt x="6383" y="9372"/>
                    <a:pt x="6390" y="9362"/>
                  </a:cubicBezTo>
                  <a:lnTo>
                    <a:pt x="6390" y="9358"/>
                  </a:lnTo>
                  <a:cubicBezTo>
                    <a:pt x="6397" y="9348"/>
                    <a:pt x="6404" y="9341"/>
                    <a:pt x="6411" y="9334"/>
                  </a:cubicBezTo>
                  <a:lnTo>
                    <a:pt x="6414" y="9327"/>
                  </a:lnTo>
                  <a:cubicBezTo>
                    <a:pt x="6425" y="9320"/>
                    <a:pt x="6435" y="9313"/>
                    <a:pt x="6446" y="9306"/>
                  </a:cubicBezTo>
                  <a:cubicBezTo>
                    <a:pt x="6540" y="9253"/>
                    <a:pt x="6701" y="9015"/>
                    <a:pt x="6701" y="8927"/>
                  </a:cubicBezTo>
                  <a:cubicBezTo>
                    <a:pt x="6701" y="8913"/>
                    <a:pt x="6677" y="8896"/>
                    <a:pt x="6638" y="8871"/>
                  </a:cubicBezTo>
                  <a:cubicBezTo>
                    <a:pt x="6582" y="8836"/>
                    <a:pt x="6491" y="8784"/>
                    <a:pt x="6491" y="8668"/>
                  </a:cubicBezTo>
                  <a:cubicBezTo>
                    <a:pt x="6491" y="8591"/>
                    <a:pt x="6537" y="8504"/>
                    <a:pt x="6579" y="8420"/>
                  </a:cubicBezTo>
                  <a:cubicBezTo>
                    <a:pt x="6607" y="8371"/>
                    <a:pt x="6656" y="8273"/>
                    <a:pt x="6645" y="8248"/>
                  </a:cubicBezTo>
                  <a:cubicBezTo>
                    <a:pt x="6551" y="8171"/>
                    <a:pt x="6621" y="8042"/>
                    <a:pt x="6680" y="7930"/>
                  </a:cubicBezTo>
                  <a:cubicBezTo>
                    <a:pt x="6712" y="7870"/>
                    <a:pt x="6757" y="7790"/>
                    <a:pt x="6750" y="7755"/>
                  </a:cubicBezTo>
                  <a:cubicBezTo>
                    <a:pt x="6750" y="7734"/>
                    <a:pt x="6747" y="7706"/>
                    <a:pt x="6740" y="7667"/>
                  </a:cubicBezTo>
                  <a:cubicBezTo>
                    <a:pt x="6666" y="7156"/>
                    <a:pt x="6663" y="6981"/>
                    <a:pt x="6722" y="6925"/>
                  </a:cubicBezTo>
                  <a:cubicBezTo>
                    <a:pt x="6740" y="6907"/>
                    <a:pt x="6757" y="6893"/>
                    <a:pt x="6778" y="6879"/>
                  </a:cubicBezTo>
                  <a:cubicBezTo>
                    <a:pt x="6848" y="6823"/>
                    <a:pt x="6887" y="6792"/>
                    <a:pt x="6852" y="6704"/>
                  </a:cubicBezTo>
                  <a:cubicBezTo>
                    <a:pt x="6831" y="6641"/>
                    <a:pt x="6764" y="6519"/>
                    <a:pt x="6698" y="6389"/>
                  </a:cubicBezTo>
                  <a:lnTo>
                    <a:pt x="6670" y="6333"/>
                  </a:lnTo>
                  <a:lnTo>
                    <a:pt x="6638" y="6277"/>
                  </a:lnTo>
                  <a:lnTo>
                    <a:pt x="6635" y="6270"/>
                  </a:lnTo>
                  <a:lnTo>
                    <a:pt x="6610" y="6221"/>
                  </a:lnTo>
                  <a:lnTo>
                    <a:pt x="6603" y="6204"/>
                  </a:lnTo>
                  <a:lnTo>
                    <a:pt x="6582" y="6165"/>
                  </a:lnTo>
                  <a:lnTo>
                    <a:pt x="6572" y="6144"/>
                  </a:lnTo>
                  <a:lnTo>
                    <a:pt x="6554" y="6109"/>
                  </a:lnTo>
                  <a:lnTo>
                    <a:pt x="6544" y="6088"/>
                  </a:lnTo>
                  <a:lnTo>
                    <a:pt x="6530" y="6057"/>
                  </a:lnTo>
                  <a:lnTo>
                    <a:pt x="6519" y="6032"/>
                  </a:lnTo>
                  <a:lnTo>
                    <a:pt x="6505" y="6004"/>
                  </a:lnTo>
                  <a:lnTo>
                    <a:pt x="6495" y="5983"/>
                  </a:lnTo>
                  <a:lnTo>
                    <a:pt x="6491" y="5973"/>
                  </a:lnTo>
                  <a:cubicBezTo>
                    <a:pt x="6435" y="5967"/>
                    <a:pt x="6379" y="5964"/>
                    <a:pt x="6324" y="5964"/>
                  </a:cubicBezTo>
                  <a:cubicBezTo>
                    <a:pt x="6208" y="5964"/>
                    <a:pt x="6102" y="5977"/>
                    <a:pt x="6032" y="6001"/>
                  </a:cubicBezTo>
                  <a:cubicBezTo>
                    <a:pt x="6017" y="6007"/>
                    <a:pt x="6000" y="6010"/>
                    <a:pt x="5984" y="6010"/>
                  </a:cubicBezTo>
                  <a:cubicBezTo>
                    <a:pt x="5958" y="6010"/>
                    <a:pt x="5932" y="6002"/>
                    <a:pt x="5910" y="5987"/>
                  </a:cubicBezTo>
                  <a:cubicBezTo>
                    <a:pt x="5805" y="5910"/>
                    <a:pt x="5801" y="5661"/>
                    <a:pt x="5812" y="5346"/>
                  </a:cubicBezTo>
                  <a:cubicBezTo>
                    <a:pt x="5812" y="5301"/>
                    <a:pt x="5815" y="5259"/>
                    <a:pt x="5815" y="5227"/>
                  </a:cubicBezTo>
                  <a:cubicBezTo>
                    <a:pt x="5815" y="5210"/>
                    <a:pt x="5815" y="5196"/>
                    <a:pt x="5808" y="5178"/>
                  </a:cubicBezTo>
                  <a:cubicBezTo>
                    <a:pt x="5759" y="5206"/>
                    <a:pt x="5721" y="5248"/>
                    <a:pt x="5696" y="5301"/>
                  </a:cubicBezTo>
                  <a:cubicBezTo>
                    <a:pt x="5648" y="5413"/>
                    <a:pt x="5534" y="5436"/>
                    <a:pt x="5398" y="5436"/>
                  </a:cubicBezTo>
                  <a:cubicBezTo>
                    <a:pt x="5348" y="5436"/>
                    <a:pt x="5295" y="5433"/>
                    <a:pt x="5241" y="5430"/>
                  </a:cubicBezTo>
                  <a:cubicBezTo>
                    <a:pt x="5178" y="5427"/>
                    <a:pt x="5119" y="5423"/>
                    <a:pt x="5056" y="5423"/>
                  </a:cubicBezTo>
                  <a:cubicBezTo>
                    <a:pt x="4860" y="5423"/>
                    <a:pt x="4825" y="5273"/>
                    <a:pt x="4804" y="5185"/>
                  </a:cubicBezTo>
                  <a:cubicBezTo>
                    <a:pt x="4800" y="5161"/>
                    <a:pt x="4790" y="5136"/>
                    <a:pt x="4779" y="5115"/>
                  </a:cubicBezTo>
                  <a:lnTo>
                    <a:pt x="4772" y="5115"/>
                  </a:lnTo>
                  <a:cubicBezTo>
                    <a:pt x="4756" y="5116"/>
                    <a:pt x="4740" y="5117"/>
                    <a:pt x="4724" y="5117"/>
                  </a:cubicBezTo>
                  <a:cubicBezTo>
                    <a:pt x="4626" y="5117"/>
                    <a:pt x="4543" y="5089"/>
                    <a:pt x="4489" y="5038"/>
                  </a:cubicBezTo>
                  <a:cubicBezTo>
                    <a:pt x="4436" y="4982"/>
                    <a:pt x="4415" y="4905"/>
                    <a:pt x="4426" y="4831"/>
                  </a:cubicBezTo>
                  <a:cubicBezTo>
                    <a:pt x="4436" y="4733"/>
                    <a:pt x="4370" y="4639"/>
                    <a:pt x="4289" y="4527"/>
                  </a:cubicBezTo>
                  <a:cubicBezTo>
                    <a:pt x="4261" y="4488"/>
                    <a:pt x="4237" y="4450"/>
                    <a:pt x="4209" y="4404"/>
                  </a:cubicBezTo>
                  <a:lnTo>
                    <a:pt x="4180" y="4362"/>
                  </a:lnTo>
                  <a:cubicBezTo>
                    <a:pt x="4065" y="4184"/>
                    <a:pt x="3946" y="3998"/>
                    <a:pt x="4068" y="3858"/>
                  </a:cubicBezTo>
                  <a:cubicBezTo>
                    <a:pt x="4089" y="3834"/>
                    <a:pt x="4089" y="3816"/>
                    <a:pt x="4079" y="3764"/>
                  </a:cubicBezTo>
                  <a:cubicBezTo>
                    <a:pt x="4051" y="3669"/>
                    <a:pt x="4079" y="3568"/>
                    <a:pt x="4152" y="3501"/>
                  </a:cubicBezTo>
                  <a:cubicBezTo>
                    <a:pt x="4202" y="3456"/>
                    <a:pt x="4258" y="3417"/>
                    <a:pt x="4317" y="3386"/>
                  </a:cubicBezTo>
                  <a:cubicBezTo>
                    <a:pt x="4391" y="3351"/>
                    <a:pt x="4394" y="3347"/>
                    <a:pt x="4377" y="3274"/>
                  </a:cubicBezTo>
                  <a:cubicBezTo>
                    <a:pt x="4345" y="3141"/>
                    <a:pt x="4408" y="3035"/>
                    <a:pt x="4464" y="2944"/>
                  </a:cubicBezTo>
                  <a:cubicBezTo>
                    <a:pt x="4510" y="2885"/>
                    <a:pt x="4541" y="2811"/>
                    <a:pt x="4552" y="2734"/>
                  </a:cubicBezTo>
                  <a:cubicBezTo>
                    <a:pt x="4566" y="2566"/>
                    <a:pt x="4688" y="2524"/>
                    <a:pt x="4811" y="2486"/>
                  </a:cubicBezTo>
                  <a:cubicBezTo>
                    <a:pt x="4870" y="2468"/>
                    <a:pt x="4926" y="2444"/>
                    <a:pt x="4982" y="2416"/>
                  </a:cubicBezTo>
                  <a:cubicBezTo>
                    <a:pt x="5010" y="2402"/>
                    <a:pt x="5038" y="2384"/>
                    <a:pt x="5063" y="2363"/>
                  </a:cubicBezTo>
                  <a:cubicBezTo>
                    <a:pt x="5147" y="2300"/>
                    <a:pt x="5248" y="2255"/>
                    <a:pt x="5353" y="2237"/>
                  </a:cubicBezTo>
                  <a:cubicBezTo>
                    <a:pt x="5381" y="2234"/>
                    <a:pt x="5413" y="2227"/>
                    <a:pt x="5444" y="2223"/>
                  </a:cubicBezTo>
                  <a:cubicBezTo>
                    <a:pt x="5549" y="2206"/>
                    <a:pt x="5644" y="2192"/>
                    <a:pt x="5724" y="2122"/>
                  </a:cubicBezTo>
                  <a:cubicBezTo>
                    <a:pt x="5735" y="2115"/>
                    <a:pt x="5742" y="2108"/>
                    <a:pt x="5752" y="2101"/>
                  </a:cubicBezTo>
                  <a:lnTo>
                    <a:pt x="5763" y="2094"/>
                  </a:lnTo>
                  <a:lnTo>
                    <a:pt x="5784" y="2083"/>
                  </a:lnTo>
                  <a:lnTo>
                    <a:pt x="5794" y="2076"/>
                  </a:lnTo>
                  <a:lnTo>
                    <a:pt x="5812" y="2066"/>
                  </a:lnTo>
                  <a:lnTo>
                    <a:pt x="5822" y="2062"/>
                  </a:lnTo>
                  <a:lnTo>
                    <a:pt x="5843" y="2055"/>
                  </a:lnTo>
                  <a:lnTo>
                    <a:pt x="5850" y="2052"/>
                  </a:lnTo>
                  <a:lnTo>
                    <a:pt x="5868" y="2045"/>
                  </a:lnTo>
                  <a:lnTo>
                    <a:pt x="5878" y="2045"/>
                  </a:lnTo>
                  <a:lnTo>
                    <a:pt x="5892" y="2041"/>
                  </a:lnTo>
                  <a:lnTo>
                    <a:pt x="5906" y="2041"/>
                  </a:lnTo>
                  <a:cubicBezTo>
                    <a:pt x="5920" y="2041"/>
                    <a:pt x="5938" y="2038"/>
                    <a:pt x="5952" y="2038"/>
                  </a:cubicBezTo>
                  <a:cubicBezTo>
                    <a:pt x="5938" y="2031"/>
                    <a:pt x="5927" y="2024"/>
                    <a:pt x="5913" y="2013"/>
                  </a:cubicBezTo>
                  <a:lnTo>
                    <a:pt x="5910" y="2013"/>
                  </a:lnTo>
                  <a:cubicBezTo>
                    <a:pt x="5899" y="2003"/>
                    <a:pt x="5889" y="1996"/>
                    <a:pt x="5882" y="1989"/>
                  </a:cubicBezTo>
                  <a:lnTo>
                    <a:pt x="5875" y="1985"/>
                  </a:lnTo>
                  <a:cubicBezTo>
                    <a:pt x="5864" y="1975"/>
                    <a:pt x="5857" y="1968"/>
                    <a:pt x="5847" y="1957"/>
                  </a:cubicBezTo>
                  <a:lnTo>
                    <a:pt x="5843" y="1950"/>
                  </a:lnTo>
                  <a:cubicBezTo>
                    <a:pt x="5836" y="1940"/>
                    <a:pt x="5829" y="1929"/>
                    <a:pt x="5822" y="1919"/>
                  </a:cubicBezTo>
                  <a:cubicBezTo>
                    <a:pt x="5766" y="1803"/>
                    <a:pt x="5882" y="1674"/>
                    <a:pt x="5994" y="1544"/>
                  </a:cubicBezTo>
                  <a:cubicBezTo>
                    <a:pt x="6036" y="1499"/>
                    <a:pt x="6074" y="1453"/>
                    <a:pt x="6109" y="1401"/>
                  </a:cubicBezTo>
                  <a:lnTo>
                    <a:pt x="6109" y="1394"/>
                  </a:lnTo>
                  <a:cubicBezTo>
                    <a:pt x="6102" y="1366"/>
                    <a:pt x="6046" y="1292"/>
                    <a:pt x="5745" y="1173"/>
                  </a:cubicBezTo>
                  <a:cubicBezTo>
                    <a:pt x="5735" y="1172"/>
                    <a:pt x="5724" y="1172"/>
                    <a:pt x="5713" y="1172"/>
                  </a:cubicBezTo>
                  <a:cubicBezTo>
                    <a:pt x="5679" y="1172"/>
                    <a:pt x="5645" y="1176"/>
                    <a:pt x="5616" y="1187"/>
                  </a:cubicBezTo>
                  <a:cubicBezTo>
                    <a:pt x="5569" y="1199"/>
                    <a:pt x="5518" y="1213"/>
                    <a:pt x="5470" y="1213"/>
                  </a:cubicBezTo>
                  <a:cubicBezTo>
                    <a:pt x="5435" y="1213"/>
                    <a:pt x="5401" y="1206"/>
                    <a:pt x="5371" y="1187"/>
                  </a:cubicBezTo>
                  <a:cubicBezTo>
                    <a:pt x="5348" y="1175"/>
                    <a:pt x="5322" y="1169"/>
                    <a:pt x="5296" y="1169"/>
                  </a:cubicBezTo>
                  <a:cubicBezTo>
                    <a:pt x="5291" y="1169"/>
                    <a:pt x="5285" y="1169"/>
                    <a:pt x="5280" y="1170"/>
                  </a:cubicBezTo>
                  <a:cubicBezTo>
                    <a:pt x="5220" y="1173"/>
                    <a:pt x="5168" y="1191"/>
                    <a:pt x="5119" y="1222"/>
                  </a:cubicBezTo>
                  <a:cubicBezTo>
                    <a:pt x="5070" y="1259"/>
                    <a:pt x="4922" y="1284"/>
                    <a:pt x="4774" y="1284"/>
                  </a:cubicBezTo>
                  <a:cubicBezTo>
                    <a:pt x="4655" y="1284"/>
                    <a:pt x="4536" y="1268"/>
                    <a:pt x="4468" y="1229"/>
                  </a:cubicBezTo>
                  <a:cubicBezTo>
                    <a:pt x="4412" y="1205"/>
                    <a:pt x="4380" y="1145"/>
                    <a:pt x="4387" y="1086"/>
                  </a:cubicBezTo>
                  <a:cubicBezTo>
                    <a:pt x="4394" y="1030"/>
                    <a:pt x="4356" y="995"/>
                    <a:pt x="4289" y="938"/>
                  </a:cubicBezTo>
                  <a:cubicBezTo>
                    <a:pt x="4226" y="882"/>
                    <a:pt x="4163" y="830"/>
                    <a:pt x="4177" y="739"/>
                  </a:cubicBezTo>
                  <a:cubicBezTo>
                    <a:pt x="4177" y="690"/>
                    <a:pt x="4159" y="644"/>
                    <a:pt x="4124" y="609"/>
                  </a:cubicBezTo>
                  <a:cubicBezTo>
                    <a:pt x="4068" y="536"/>
                    <a:pt x="3988" y="487"/>
                    <a:pt x="3893" y="473"/>
                  </a:cubicBezTo>
                  <a:cubicBezTo>
                    <a:pt x="3732" y="459"/>
                    <a:pt x="3683" y="312"/>
                    <a:pt x="3641" y="189"/>
                  </a:cubicBezTo>
                  <a:cubicBezTo>
                    <a:pt x="3617" y="116"/>
                    <a:pt x="3589" y="35"/>
                    <a:pt x="3543" y="7"/>
                  </a:cubicBezTo>
                  <a:lnTo>
                    <a:pt x="3536" y="4"/>
                  </a:lnTo>
                  <a:lnTo>
                    <a:pt x="3494" y="4"/>
                  </a:lnTo>
                  <a:cubicBezTo>
                    <a:pt x="3477" y="4"/>
                    <a:pt x="3463" y="0"/>
                    <a:pt x="34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4" name="Google Shape;5764;p53"/>
            <p:cNvSpPr/>
            <p:nvPr/>
          </p:nvSpPr>
          <p:spPr>
            <a:xfrm>
              <a:off x="1518685" y="2074223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5" name="Google Shape;5765;p53"/>
            <p:cNvSpPr/>
            <p:nvPr/>
          </p:nvSpPr>
          <p:spPr>
            <a:xfrm>
              <a:off x="1517545" y="2074549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0" y="1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6" name="Google Shape;5766;p53"/>
            <p:cNvSpPr/>
            <p:nvPr/>
          </p:nvSpPr>
          <p:spPr>
            <a:xfrm>
              <a:off x="1518305" y="2074318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0" y="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7" name="Google Shape;5767;p53"/>
            <p:cNvSpPr/>
            <p:nvPr/>
          </p:nvSpPr>
          <p:spPr>
            <a:xfrm>
              <a:off x="1517110" y="207479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8" name="Google Shape;5768;p53"/>
            <p:cNvSpPr/>
            <p:nvPr/>
          </p:nvSpPr>
          <p:spPr>
            <a:xfrm>
              <a:off x="1516594" y="2075024"/>
              <a:ext cx="434" cy="353"/>
            </a:xfrm>
            <a:custGeom>
              <a:avLst/>
              <a:gdLst/>
              <a:ahLst/>
              <a:cxnLst/>
              <a:rect l="l" t="t" r="r" b="b"/>
              <a:pathLst>
                <a:path w="32" h="26" extrusionOk="0">
                  <a:moveTo>
                    <a:pt x="0" y="25"/>
                  </a:moveTo>
                  <a:cubicBezTo>
                    <a:pt x="11" y="15"/>
                    <a:pt x="21" y="8"/>
                    <a:pt x="32" y="1"/>
                  </a:cubicBezTo>
                  <a:cubicBezTo>
                    <a:pt x="21" y="8"/>
                    <a:pt x="11" y="1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9" name="Google Shape;5769;p53"/>
            <p:cNvSpPr/>
            <p:nvPr/>
          </p:nvSpPr>
          <p:spPr>
            <a:xfrm>
              <a:off x="1519065" y="20742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0" name="Google Shape;5770;p53"/>
            <p:cNvSpPr/>
            <p:nvPr/>
          </p:nvSpPr>
          <p:spPr>
            <a:xfrm>
              <a:off x="1504184" y="2079356"/>
              <a:ext cx="2349" cy="964"/>
            </a:xfrm>
            <a:custGeom>
              <a:avLst/>
              <a:gdLst/>
              <a:ahLst/>
              <a:cxnLst/>
              <a:rect l="l" t="t" r="r" b="b"/>
              <a:pathLst>
                <a:path w="173" h="71" extrusionOk="0">
                  <a:moveTo>
                    <a:pt x="1" y="70"/>
                  </a:moveTo>
                  <a:cubicBezTo>
                    <a:pt x="60" y="49"/>
                    <a:pt x="120" y="28"/>
                    <a:pt x="172" y="0"/>
                  </a:cubicBezTo>
                  <a:cubicBezTo>
                    <a:pt x="120" y="28"/>
                    <a:pt x="60" y="49"/>
                    <a:pt x="1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1" name="Google Shape;5771;p53"/>
            <p:cNvSpPr/>
            <p:nvPr/>
          </p:nvSpPr>
          <p:spPr>
            <a:xfrm>
              <a:off x="1517925" y="207441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7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2" name="Google Shape;5772;p53"/>
            <p:cNvSpPr/>
            <p:nvPr/>
          </p:nvSpPr>
          <p:spPr>
            <a:xfrm>
              <a:off x="1522052" y="218235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3" name="Google Shape;5773;p53"/>
            <p:cNvSpPr/>
            <p:nvPr/>
          </p:nvSpPr>
          <p:spPr>
            <a:xfrm>
              <a:off x="1518305" y="2072988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cubicBezTo>
                    <a:pt x="18" y="21"/>
                    <a:pt x="11" y="11"/>
                    <a:pt x="0" y="0"/>
                  </a:cubicBezTo>
                  <a:cubicBezTo>
                    <a:pt x="11" y="11"/>
                    <a:pt x="18" y="21"/>
                    <a:pt x="28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4" name="Google Shape;5774;p53"/>
            <p:cNvSpPr/>
            <p:nvPr/>
          </p:nvSpPr>
          <p:spPr>
            <a:xfrm>
              <a:off x="1485176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5" name="Google Shape;5775;p53"/>
            <p:cNvSpPr/>
            <p:nvPr/>
          </p:nvSpPr>
          <p:spPr>
            <a:xfrm>
              <a:off x="1485692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6" name="Google Shape;5776;p53"/>
            <p:cNvSpPr/>
            <p:nvPr/>
          </p:nvSpPr>
          <p:spPr>
            <a:xfrm>
              <a:off x="1486411" y="204626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7" name="Google Shape;5777;p53"/>
            <p:cNvSpPr/>
            <p:nvPr/>
          </p:nvSpPr>
          <p:spPr>
            <a:xfrm>
              <a:off x="1486982" y="204645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8" name="Google Shape;5778;p53"/>
            <p:cNvSpPr/>
            <p:nvPr/>
          </p:nvSpPr>
          <p:spPr>
            <a:xfrm>
              <a:off x="1486506" y="204632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9" name="Google Shape;5779;p53"/>
            <p:cNvSpPr/>
            <p:nvPr/>
          </p:nvSpPr>
          <p:spPr>
            <a:xfrm>
              <a:off x="1486792" y="204641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0" name="Google Shape;5780;p53"/>
            <p:cNvSpPr/>
            <p:nvPr/>
          </p:nvSpPr>
          <p:spPr>
            <a:xfrm>
              <a:off x="1486887" y="204645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1" name="Google Shape;5781;p53"/>
            <p:cNvSpPr/>
            <p:nvPr/>
          </p:nvSpPr>
          <p:spPr>
            <a:xfrm>
              <a:off x="1517965" y="207251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22" y="32"/>
                  </a:moveTo>
                  <a:cubicBezTo>
                    <a:pt x="15" y="21"/>
                    <a:pt x="8" y="11"/>
                    <a:pt x="1" y="0"/>
                  </a:cubicBezTo>
                  <a:cubicBezTo>
                    <a:pt x="8" y="11"/>
                    <a:pt x="15" y="21"/>
                    <a:pt x="2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2" name="Google Shape;5782;p53"/>
            <p:cNvSpPr/>
            <p:nvPr/>
          </p:nvSpPr>
          <p:spPr>
            <a:xfrm>
              <a:off x="1484171" y="204626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3" name="Google Shape;5783;p53"/>
            <p:cNvSpPr/>
            <p:nvPr/>
          </p:nvSpPr>
          <p:spPr>
            <a:xfrm>
              <a:off x="1485407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4" name="Google Shape;5784;p53"/>
            <p:cNvSpPr/>
            <p:nvPr/>
          </p:nvSpPr>
          <p:spPr>
            <a:xfrm>
              <a:off x="1483655" y="204636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5" name="Google Shape;5785;p53"/>
            <p:cNvSpPr/>
            <p:nvPr/>
          </p:nvSpPr>
          <p:spPr>
            <a:xfrm>
              <a:off x="1482800" y="2046417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0" y="7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6" name="Google Shape;5786;p53"/>
            <p:cNvSpPr/>
            <p:nvPr/>
          </p:nvSpPr>
          <p:spPr>
            <a:xfrm>
              <a:off x="1519201" y="2073789"/>
              <a:ext cx="543" cy="353"/>
            </a:xfrm>
            <a:custGeom>
              <a:avLst/>
              <a:gdLst/>
              <a:ahLst/>
              <a:cxnLst/>
              <a:rect l="l" t="t" r="r" b="b"/>
              <a:pathLst>
                <a:path w="40" h="26" extrusionOk="0">
                  <a:moveTo>
                    <a:pt x="39" y="25"/>
                  </a:moveTo>
                  <a:cubicBezTo>
                    <a:pt x="25" y="18"/>
                    <a:pt x="15" y="8"/>
                    <a:pt x="1" y="1"/>
                  </a:cubicBezTo>
                  <a:cubicBezTo>
                    <a:pt x="15" y="8"/>
                    <a:pt x="25" y="18"/>
                    <a:pt x="3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7" name="Google Shape;5787;p53"/>
            <p:cNvSpPr/>
            <p:nvPr/>
          </p:nvSpPr>
          <p:spPr>
            <a:xfrm>
              <a:off x="1510606" y="2062248"/>
              <a:ext cx="1249" cy="299"/>
            </a:xfrm>
            <a:custGeom>
              <a:avLst/>
              <a:gdLst/>
              <a:ahLst/>
              <a:cxnLst/>
              <a:rect l="l" t="t" r="r" b="b"/>
              <a:pathLst>
                <a:path w="92" h="22" extrusionOk="0">
                  <a:moveTo>
                    <a:pt x="0" y="0"/>
                  </a:moveTo>
                  <a:cubicBezTo>
                    <a:pt x="32" y="0"/>
                    <a:pt x="63" y="7"/>
                    <a:pt x="91" y="21"/>
                  </a:cubicBezTo>
                  <a:cubicBezTo>
                    <a:pt x="63" y="7"/>
                    <a:pt x="32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8" name="Google Shape;5788;p53"/>
            <p:cNvSpPr/>
            <p:nvPr/>
          </p:nvSpPr>
          <p:spPr>
            <a:xfrm>
              <a:off x="1518726" y="2073463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1"/>
                  </a:moveTo>
                  <a:cubicBezTo>
                    <a:pt x="22" y="14"/>
                    <a:pt x="11" y="7"/>
                    <a:pt x="1" y="0"/>
                  </a:cubicBezTo>
                  <a:cubicBezTo>
                    <a:pt x="11" y="7"/>
                    <a:pt x="22" y="14"/>
                    <a:pt x="32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9" name="Google Shape;5789;p53"/>
            <p:cNvSpPr/>
            <p:nvPr/>
          </p:nvSpPr>
          <p:spPr>
            <a:xfrm>
              <a:off x="1484646" y="204626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0" name="Google Shape;5790;p53"/>
            <p:cNvSpPr/>
            <p:nvPr/>
          </p:nvSpPr>
          <p:spPr>
            <a:xfrm>
              <a:off x="1486642" y="204636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1" name="Google Shape;5791;p53"/>
            <p:cNvSpPr/>
            <p:nvPr/>
          </p:nvSpPr>
          <p:spPr>
            <a:xfrm>
              <a:off x="1526003" y="2172945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9" y="1"/>
                  </a:moveTo>
                  <a:cubicBezTo>
                    <a:pt x="18" y="8"/>
                    <a:pt x="11" y="15"/>
                    <a:pt x="1" y="22"/>
                  </a:cubicBezTo>
                  <a:cubicBezTo>
                    <a:pt x="11" y="15"/>
                    <a:pt x="18" y="8"/>
                    <a:pt x="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2" name="Google Shape;5792;p53"/>
            <p:cNvSpPr/>
            <p:nvPr/>
          </p:nvSpPr>
          <p:spPr>
            <a:xfrm>
              <a:off x="1525677" y="2173325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0" y="25"/>
                  </a:moveTo>
                  <a:cubicBezTo>
                    <a:pt x="7" y="15"/>
                    <a:pt x="14" y="8"/>
                    <a:pt x="21" y="1"/>
                  </a:cubicBezTo>
                  <a:cubicBezTo>
                    <a:pt x="14" y="8"/>
                    <a:pt x="7" y="1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3" name="Google Shape;5793;p53"/>
            <p:cNvSpPr/>
            <p:nvPr/>
          </p:nvSpPr>
          <p:spPr>
            <a:xfrm>
              <a:off x="1529425" y="21325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4" name="Google Shape;5794;p53"/>
            <p:cNvSpPr/>
            <p:nvPr/>
          </p:nvSpPr>
          <p:spPr>
            <a:xfrm>
              <a:off x="1527714" y="2129212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5" name="Google Shape;5795;p53"/>
            <p:cNvSpPr/>
            <p:nvPr/>
          </p:nvSpPr>
          <p:spPr>
            <a:xfrm>
              <a:off x="1527049" y="2127787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6" name="Google Shape;5796;p53"/>
            <p:cNvSpPr/>
            <p:nvPr/>
          </p:nvSpPr>
          <p:spPr>
            <a:xfrm>
              <a:off x="1527388" y="2128452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7" name="Google Shape;5797;p53"/>
            <p:cNvSpPr/>
            <p:nvPr/>
          </p:nvSpPr>
          <p:spPr>
            <a:xfrm>
              <a:off x="1525202" y="2175661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lnTo>
                    <a:pt x="0" y="25"/>
                  </a:lnTo>
                  <a:cubicBezTo>
                    <a:pt x="4" y="18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8" name="Google Shape;5798;p53"/>
            <p:cNvSpPr/>
            <p:nvPr/>
          </p:nvSpPr>
          <p:spPr>
            <a:xfrm>
              <a:off x="1525243" y="2176041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cubicBezTo>
                    <a:pt x="1" y="11"/>
                    <a:pt x="1" y="21"/>
                    <a:pt x="1" y="28"/>
                  </a:cubicBez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9" name="Google Shape;5799;p53"/>
            <p:cNvSpPr/>
            <p:nvPr/>
          </p:nvSpPr>
          <p:spPr>
            <a:xfrm>
              <a:off x="1528094" y="2129973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0" name="Google Shape;5800;p53"/>
            <p:cNvSpPr/>
            <p:nvPr/>
          </p:nvSpPr>
          <p:spPr>
            <a:xfrm>
              <a:off x="1525243" y="2174615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4" y="11"/>
                    <a:pt x="1" y="21"/>
                    <a:pt x="1" y="32"/>
                  </a:cubicBezTo>
                  <a:cubicBezTo>
                    <a:pt x="1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1" name="Google Shape;5801;p53"/>
            <p:cNvSpPr/>
            <p:nvPr/>
          </p:nvSpPr>
          <p:spPr>
            <a:xfrm>
              <a:off x="1525297" y="2174181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1"/>
                  </a:moveTo>
                  <a:cubicBezTo>
                    <a:pt x="7" y="8"/>
                    <a:pt x="4" y="18"/>
                    <a:pt x="0" y="29"/>
                  </a:cubicBezTo>
                  <a:cubicBezTo>
                    <a:pt x="4" y="18"/>
                    <a:pt x="7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2" name="Google Shape;5802;p53"/>
            <p:cNvSpPr/>
            <p:nvPr/>
          </p:nvSpPr>
          <p:spPr>
            <a:xfrm>
              <a:off x="1525433" y="2173706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5" y="1"/>
                  </a:moveTo>
                  <a:cubicBezTo>
                    <a:pt x="11" y="11"/>
                    <a:pt x="4" y="22"/>
                    <a:pt x="1" y="32"/>
                  </a:cubicBezTo>
                  <a:cubicBezTo>
                    <a:pt x="4" y="22"/>
                    <a:pt x="11" y="11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3" name="Google Shape;5803;p53"/>
            <p:cNvSpPr/>
            <p:nvPr/>
          </p:nvSpPr>
          <p:spPr>
            <a:xfrm>
              <a:off x="1528950" y="213168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4" name="Google Shape;5804;p53"/>
            <p:cNvSpPr/>
            <p:nvPr/>
          </p:nvSpPr>
          <p:spPr>
            <a:xfrm>
              <a:off x="1525202" y="2175131"/>
              <a:ext cx="54" cy="448"/>
            </a:xfrm>
            <a:custGeom>
              <a:avLst/>
              <a:gdLst/>
              <a:ahLst/>
              <a:cxnLst/>
              <a:rect l="l" t="t" r="r" b="b"/>
              <a:pathLst>
                <a:path w="4" h="33" extrusionOk="0">
                  <a:moveTo>
                    <a:pt x="0" y="1"/>
                  </a:moveTo>
                  <a:lnTo>
                    <a:pt x="0" y="32"/>
                  </a:lnTo>
                  <a:cubicBezTo>
                    <a:pt x="0" y="22"/>
                    <a:pt x="4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5" name="Google Shape;5805;p53"/>
            <p:cNvSpPr/>
            <p:nvPr/>
          </p:nvSpPr>
          <p:spPr>
            <a:xfrm>
              <a:off x="1528529" y="2130787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6" name="Google Shape;5806;p53"/>
            <p:cNvSpPr/>
            <p:nvPr/>
          </p:nvSpPr>
          <p:spPr>
            <a:xfrm>
              <a:off x="1499201" y="1953967"/>
              <a:ext cx="99781" cy="84031"/>
            </a:xfrm>
            <a:custGeom>
              <a:avLst/>
              <a:gdLst/>
              <a:ahLst/>
              <a:cxnLst/>
              <a:rect l="l" t="t" r="r" b="b"/>
              <a:pathLst>
                <a:path w="7349" h="6189" extrusionOk="0">
                  <a:moveTo>
                    <a:pt x="1908" y="0"/>
                  </a:moveTo>
                  <a:cubicBezTo>
                    <a:pt x="1877" y="0"/>
                    <a:pt x="1870" y="7"/>
                    <a:pt x="1870" y="7"/>
                  </a:cubicBezTo>
                  <a:cubicBezTo>
                    <a:pt x="1863" y="39"/>
                    <a:pt x="1863" y="67"/>
                    <a:pt x="1870" y="95"/>
                  </a:cubicBezTo>
                  <a:cubicBezTo>
                    <a:pt x="1877" y="175"/>
                    <a:pt x="1894" y="294"/>
                    <a:pt x="1778" y="347"/>
                  </a:cubicBezTo>
                  <a:cubicBezTo>
                    <a:pt x="1740" y="364"/>
                    <a:pt x="1684" y="385"/>
                    <a:pt x="1617" y="410"/>
                  </a:cubicBezTo>
                  <a:cubicBezTo>
                    <a:pt x="1435" y="473"/>
                    <a:pt x="1096" y="592"/>
                    <a:pt x="1075" y="725"/>
                  </a:cubicBezTo>
                  <a:cubicBezTo>
                    <a:pt x="1061" y="802"/>
                    <a:pt x="1113" y="921"/>
                    <a:pt x="1166" y="1040"/>
                  </a:cubicBezTo>
                  <a:cubicBezTo>
                    <a:pt x="1243" y="1215"/>
                    <a:pt x="1323" y="1393"/>
                    <a:pt x="1250" y="1544"/>
                  </a:cubicBezTo>
                  <a:cubicBezTo>
                    <a:pt x="1209" y="1625"/>
                    <a:pt x="1126" y="1677"/>
                    <a:pt x="1032" y="1677"/>
                  </a:cubicBezTo>
                  <a:cubicBezTo>
                    <a:pt x="1028" y="1677"/>
                    <a:pt x="1025" y="1677"/>
                    <a:pt x="1022" y="1677"/>
                  </a:cubicBezTo>
                  <a:cubicBezTo>
                    <a:pt x="847" y="1677"/>
                    <a:pt x="634" y="1526"/>
                    <a:pt x="550" y="1348"/>
                  </a:cubicBezTo>
                  <a:cubicBezTo>
                    <a:pt x="473" y="1187"/>
                    <a:pt x="595" y="994"/>
                    <a:pt x="693" y="840"/>
                  </a:cubicBezTo>
                  <a:cubicBezTo>
                    <a:pt x="732" y="781"/>
                    <a:pt x="805" y="662"/>
                    <a:pt x="795" y="634"/>
                  </a:cubicBezTo>
                  <a:cubicBezTo>
                    <a:pt x="742" y="543"/>
                    <a:pt x="711" y="441"/>
                    <a:pt x="700" y="336"/>
                  </a:cubicBezTo>
                  <a:lnTo>
                    <a:pt x="693" y="343"/>
                  </a:lnTo>
                  <a:lnTo>
                    <a:pt x="686" y="347"/>
                  </a:lnTo>
                  <a:cubicBezTo>
                    <a:pt x="679" y="354"/>
                    <a:pt x="672" y="361"/>
                    <a:pt x="665" y="371"/>
                  </a:cubicBezTo>
                  <a:cubicBezTo>
                    <a:pt x="637" y="406"/>
                    <a:pt x="606" y="445"/>
                    <a:pt x="574" y="480"/>
                  </a:cubicBezTo>
                  <a:lnTo>
                    <a:pt x="567" y="487"/>
                  </a:lnTo>
                  <a:cubicBezTo>
                    <a:pt x="529" y="522"/>
                    <a:pt x="490" y="560"/>
                    <a:pt x="452" y="595"/>
                  </a:cubicBezTo>
                  <a:cubicBezTo>
                    <a:pt x="329" y="714"/>
                    <a:pt x="200" y="837"/>
                    <a:pt x="200" y="952"/>
                  </a:cubicBezTo>
                  <a:lnTo>
                    <a:pt x="200" y="1001"/>
                  </a:lnTo>
                  <a:cubicBezTo>
                    <a:pt x="193" y="1187"/>
                    <a:pt x="193" y="1281"/>
                    <a:pt x="105" y="1397"/>
                  </a:cubicBezTo>
                  <a:cubicBezTo>
                    <a:pt x="67" y="1439"/>
                    <a:pt x="32" y="1488"/>
                    <a:pt x="0" y="1537"/>
                  </a:cubicBezTo>
                  <a:cubicBezTo>
                    <a:pt x="15" y="1536"/>
                    <a:pt x="30" y="1536"/>
                    <a:pt x="44" y="1536"/>
                  </a:cubicBezTo>
                  <a:cubicBezTo>
                    <a:pt x="119" y="1536"/>
                    <a:pt x="188" y="1546"/>
                    <a:pt x="238" y="1593"/>
                  </a:cubicBezTo>
                  <a:cubicBezTo>
                    <a:pt x="277" y="1628"/>
                    <a:pt x="294" y="1677"/>
                    <a:pt x="294" y="1726"/>
                  </a:cubicBezTo>
                  <a:cubicBezTo>
                    <a:pt x="294" y="1751"/>
                    <a:pt x="329" y="1779"/>
                    <a:pt x="371" y="1810"/>
                  </a:cubicBezTo>
                  <a:cubicBezTo>
                    <a:pt x="445" y="1866"/>
                    <a:pt x="550" y="1943"/>
                    <a:pt x="532" y="2094"/>
                  </a:cubicBezTo>
                  <a:lnTo>
                    <a:pt x="529" y="2136"/>
                  </a:lnTo>
                  <a:cubicBezTo>
                    <a:pt x="511" y="2276"/>
                    <a:pt x="480" y="2542"/>
                    <a:pt x="595" y="2668"/>
                  </a:cubicBezTo>
                  <a:cubicBezTo>
                    <a:pt x="641" y="2717"/>
                    <a:pt x="713" y="2745"/>
                    <a:pt x="806" y="2745"/>
                  </a:cubicBezTo>
                  <a:cubicBezTo>
                    <a:pt x="811" y="2745"/>
                    <a:pt x="817" y="2745"/>
                    <a:pt x="823" y="2745"/>
                  </a:cubicBezTo>
                  <a:cubicBezTo>
                    <a:pt x="945" y="2741"/>
                    <a:pt x="1068" y="2727"/>
                    <a:pt x="1190" y="2710"/>
                  </a:cubicBezTo>
                  <a:cubicBezTo>
                    <a:pt x="1284" y="2697"/>
                    <a:pt x="1370" y="2685"/>
                    <a:pt x="1450" y="2685"/>
                  </a:cubicBezTo>
                  <a:cubicBezTo>
                    <a:pt x="1589" y="2685"/>
                    <a:pt x="1708" y="2721"/>
                    <a:pt x="1810" y="2850"/>
                  </a:cubicBezTo>
                  <a:cubicBezTo>
                    <a:pt x="1974" y="3060"/>
                    <a:pt x="2185" y="3167"/>
                    <a:pt x="2423" y="3167"/>
                  </a:cubicBezTo>
                  <a:cubicBezTo>
                    <a:pt x="2454" y="3167"/>
                    <a:pt x="2485" y="3165"/>
                    <a:pt x="2517" y="3161"/>
                  </a:cubicBezTo>
                  <a:cubicBezTo>
                    <a:pt x="2669" y="3141"/>
                    <a:pt x="2812" y="3125"/>
                    <a:pt x="2931" y="3125"/>
                  </a:cubicBezTo>
                  <a:cubicBezTo>
                    <a:pt x="3080" y="3125"/>
                    <a:pt x="3192" y="3150"/>
                    <a:pt x="3238" y="3224"/>
                  </a:cubicBezTo>
                  <a:cubicBezTo>
                    <a:pt x="3277" y="3280"/>
                    <a:pt x="3270" y="3350"/>
                    <a:pt x="3221" y="3431"/>
                  </a:cubicBezTo>
                  <a:cubicBezTo>
                    <a:pt x="3056" y="3697"/>
                    <a:pt x="2976" y="4233"/>
                    <a:pt x="3081" y="4352"/>
                  </a:cubicBezTo>
                  <a:cubicBezTo>
                    <a:pt x="3109" y="4383"/>
                    <a:pt x="3137" y="4411"/>
                    <a:pt x="3161" y="4436"/>
                  </a:cubicBezTo>
                  <a:cubicBezTo>
                    <a:pt x="3280" y="4558"/>
                    <a:pt x="3427" y="4709"/>
                    <a:pt x="3294" y="4859"/>
                  </a:cubicBezTo>
                  <a:cubicBezTo>
                    <a:pt x="3228" y="4936"/>
                    <a:pt x="3193" y="5013"/>
                    <a:pt x="3200" y="5073"/>
                  </a:cubicBezTo>
                  <a:cubicBezTo>
                    <a:pt x="3207" y="5115"/>
                    <a:pt x="3228" y="5150"/>
                    <a:pt x="3263" y="5174"/>
                  </a:cubicBezTo>
                  <a:cubicBezTo>
                    <a:pt x="3371" y="5251"/>
                    <a:pt x="3420" y="5388"/>
                    <a:pt x="3385" y="5514"/>
                  </a:cubicBezTo>
                  <a:lnTo>
                    <a:pt x="3385" y="5521"/>
                  </a:lnTo>
                  <a:cubicBezTo>
                    <a:pt x="3382" y="5538"/>
                    <a:pt x="3368" y="5552"/>
                    <a:pt x="3354" y="5563"/>
                  </a:cubicBezTo>
                  <a:lnTo>
                    <a:pt x="3361" y="5570"/>
                  </a:lnTo>
                  <a:cubicBezTo>
                    <a:pt x="3378" y="5594"/>
                    <a:pt x="3399" y="5615"/>
                    <a:pt x="3417" y="5636"/>
                  </a:cubicBezTo>
                  <a:lnTo>
                    <a:pt x="3420" y="5640"/>
                  </a:lnTo>
                  <a:cubicBezTo>
                    <a:pt x="3434" y="5664"/>
                    <a:pt x="3452" y="5685"/>
                    <a:pt x="3466" y="5706"/>
                  </a:cubicBezTo>
                  <a:lnTo>
                    <a:pt x="3476" y="5720"/>
                  </a:lnTo>
                  <a:cubicBezTo>
                    <a:pt x="3490" y="5742"/>
                    <a:pt x="3504" y="5759"/>
                    <a:pt x="3515" y="5780"/>
                  </a:cubicBezTo>
                  <a:lnTo>
                    <a:pt x="3525" y="5798"/>
                  </a:lnTo>
                  <a:lnTo>
                    <a:pt x="3560" y="5854"/>
                  </a:lnTo>
                  <a:cubicBezTo>
                    <a:pt x="3599" y="5924"/>
                    <a:pt x="3648" y="5990"/>
                    <a:pt x="3707" y="6046"/>
                  </a:cubicBezTo>
                  <a:lnTo>
                    <a:pt x="3767" y="6095"/>
                  </a:lnTo>
                  <a:cubicBezTo>
                    <a:pt x="3849" y="6163"/>
                    <a:pt x="3884" y="6189"/>
                    <a:pt x="3915" y="6189"/>
                  </a:cubicBezTo>
                  <a:cubicBezTo>
                    <a:pt x="3930" y="6189"/>
                    <a:pt x="3945" y="6182"/>
                    <a:pt x="3963" y="6172"/>
                  </a:cubicBezTo>
                  <a:lnTo>
                    <a:pt x="3970" y="6169"/>
                  </a:lnTo>
                  <a:cubicBezTo>
                    <a:pt x="4047" y="6125"/>
                    <a:pt x="4120" y="6083"/>
                    <a:pt x="4199" y="6083"/>
                  </a:cubicBezTo>
                  <a:cubicBezTo>
                    <a:pt x="4228" y="6083"/>
                    <a:pt x="4258" y="6089"/>
                    <a:pt x="4289" y="6102"/>
                  </a:cubicBezTo>
                  <a:cubicBezTo>
                    <a:pt x="4299" y="6109"/>
                    <a:pt x="4313" y="6116"/>
                    <a:pt x="4327" y="6127"/>
                  </a:cubicBezTo>
                  <a:lnTo>
                    <a:pt x="4334" y="6127"/>
                  </a:lnTo>
                  <a:cubicBezTo>
                    <a:pt x="4339" y="6129"/>
                    <a:pt x="4344" y="6129"/>
                    <a:pt x="4349" y="6129"/>
                  </a:cubicBezTo>
                  <a:cubicBezTo>
                    <a:pt x="4403" y="6129"/>
                    <a:pt x="4501" y="6042"/>
                    <a:pt x="4590" y="5966"/>
                  </a:cubicBezTo>
                  <a:lnTo>
                    <a:pt x="4625" y="5934"/>
                  </a:lnTo>
                  <a:cubicBezTo>
                    <a:pt x="4691" y="5878"/>
                    <a:pt x="4775" y="5847"/>
                    <a:pt x="4859" y="5843"/>
                  </a:cubicBezTo>
                  <a:cubicBezTo>
                    <a:pt x="4936" y="5833"/>
                    <a:pt x="4954" y="5829"/>
                    <a:pt x="4964" y="5784"/>
                  </a:cubicBezTo>
                  <a:cubicBezTo>
                    <a:pt x="5027" y="5584"/>
                    <a:pt x="5139" y="5479"/>
                    <a:pt x="5328" y="5444"/>
                  </a:cubicBezTo>
                  <a:cubicBezTo>
                    <a:pt x="5398" y="5430"/>
                    <a:pt x="5423" y="5384"/>
                    <a:pt x="5419" y="5356"/>
                  </a:cubicBezTo>
                  <a:cubicBezTo>
                    <a:pt x="5419" y="5342"/>
                    <a:pt x="5412" y="5342"/>
                    <a:pt x="5405" y="5342"/>
                  </a:cubicBezTo>
                  <a:cubicBezTo>
                    <a:pt x="5374" y="5346"/>
                    <a:pt x="5346" y="5353"/>
                    <a:pt x="5318" y="5367"/>
                  </a:cubicBezTo>
                  <a:cubicBezTo>
                    <a:pt x="5278" y="5380"/>
                    <a:pt x="5237" y="5393"/>
                    <a:pt x="5197" y="5393"/>
                  </a:cubicBezTo>
                  <a:cubicBezTo>
                    <a:pt x="5171" y="5393"/>
                    <a:pt x="5146" y="5387"/>
                    <a:pt x="5122" y="5370"/>
                  </a:cubicBezTo>
                  <a:cubicBezTo>
                    <a:pt x="5080" y="5332"/>
                    <a:pt x="5059" y="5279"/>
                    <a:pt x="5062" y="5223"/>
                  </a:cubicBezTo>
                  <a:lnTo>
                    <a:pt x="5062" y="5213"/>
                  </a:lnTo>
                  <a:cubicBezTo>
                    <a:pt x="5066" y="5157"/>
                    <a:pt x="5045" y="5104"/>
                    <a:pt x="5003" y="5069"/>
                  </a:cubicBezTo>
                  <a:cubicBezTo>
                    <a:pt x="4943" y="5020"/>
                    <a:pt x="4912" y="4943"/>
                    <a:pt x="4915" y="4866"/>
                  </a:cubicBezTo>
                  <a:cubicBezTo>
                    <a:pt x="4915" y="4691"/>
                    <a:pt x="4898" y="4611"/>
                    <a:pt x="4733" y="4513"/>
                  </a:cubicBezTo>
                  <a:cubicBezTo>
                    <a:pt x="4677" y="4481"/>
                    <a:pt x="4649" y="4439"/>
                    <a:pt x="4653" y="4394"/>
                  </a:cubicBezTo>
                  <a:cubicBezTo>
                    <a:pt x="4656" y="4366"/>
                    <a:pt x="4674" y="4324"/>
                    <a:pt x="4744" y="4299"/>
                  </a:cubicBezTo>
                  <a:cubicBezTo>
                    <a:pt x="4787" y="4283"/>
                    <a:pt x="4854" y="4272"/>
                    <a:pt x="4924" y="4272"/>
                  </a:cubicBezTo>
                  <a:cubicBezTo>
                    <a:pt x="5020" y="4272"/>
                    <a:pt x="5122" y="4292"/>
                    <a:pt x="5174" y="4345"/>
                  </a:cubicBezTo>
                  <a:cubicBezTo>
                    <a:pt x="5202" y="4373"/>
                    <a:pt x="5290" y="4380"/>
                    <a:pt x="5360" y="4387"/>
                  </a:cubicBezTo>
                  <a:cubicBezTo>
                    <a:pt x="5489" y="4397"/>
                    <a:pt x="5640" y="4411"/>
                    <a:pt x="5664" y="4541"/>
                  </a:cubicBezTo>
                  <a:cubicBezTo>
                    <a:pt x="5678" y="4594"/>
                    <a:pt x="5716" y="4622"/>
                    <a:pt x="5735" y="4622"/>
                  </a:cubicBezTo>
                  <a:cubicBezTo>
                    <a:pt x="5736" y="4622"/>
                    <a:pt x="5737" y="4621"/>
                    <a:pt x="5738" y="4621"/>
                  </a:cubicBezTo>
                  <a:cubicBezTo>
                    <a:pt x="5741" y="4621"/>
                    <a:pt x="5748" y="4607"/>
                    <a:pt x="5748" y="4572"/>
                  </a:cubicBezTo>
                  <a:cubicBezTo>
                    <a:pt x="5748" y="4492"/>
                    <a:pt x="5783" y="4418"/>
                    <a:pt x="5846" y="4369"/>
                  </a:cubicBezTo>
                  <a:cubicBezTo>
                    <a:pt x="5922" y="4312"/>
                    <a:pt x="6015" y="4282"/>
                    <a:pt x="6110" y="4282"/>
                  </a:cubicBezTo>
                  <a:cubicBezTo>
                    <a:pt x="6143" y="4282"/>
                    <a:pt x="6175" y="4285"/>
                    <a:pt x="6207" y="4292"/>
                  </a:cubicBezTo>
                  <a:cubicBezTo>
                    <a:pt x="6214" y="4293"/>
                    <a:pt x="6221" y="4294"/>
                    <a:pt x="6229" y="4294"/>
                  </a:cubicBezTo>
                  <a:cubicBezTo>
                    <a:pt x="6325" y="4294"/>
                    <a:pt x="6511" y="4199"/>
                    <a:pt x="6638" y="4131"/>
                  </a:cubicBezTo>
                  <a:cubicBezTo>
                    <a:pt x="6704" y="4093"/>
                    <a:pt x="6774" y="4061"/>
                    <a:pt x="6844" y="4033"/>
                  </a:cubicBezTo>
                  <a:cubicBezTo>
                    <a:pt x="6851" y="4030"/>
                    <a:pt x="6855" y="4030"/>
                    <a:pt x="6858" y="4026"/>
                  </a:cubicBezTo>
                  <a:cubicBezTo>
                    <a:pt x="6890" y="3998"/>
                    <a:pt x="6914" y="3960"/>
                    <a:pt x="6928" y="3918"/>
                  </a:cubicBezTo>
                  <a:lnTo>
                    <a:pt x="6935" y="3904"/>
                  </a:lnTo>
                  <a:lnTo>
                    <a:pt x="6928" y="3893"/>
                  </a:lnTo>
                  <a:lnTo>
                    <a:pt x="6911" y="3869"/>
                  </a:lnTo>
                  <a:lnTo>
                    <a:pt x="6890" y="3844"/>
                  </a:lnTo>
                  <a:lnTo>
                    <a:pt x="6872" y="3820"/>
                  </a:lnTo>
                  <a:lnTo>
                    <a:pt x="6855" y="3795"/>
                  </a:lnTo>
                  <a:lnTo>
                    <a:pt x="6837" y="3774"/>
                  </a:lnTo>
                  <a:lnTo>
                    <a:pt x="6823" y="3753"/>
                  </a:lnTo>
                  <a:lnTo>
                    <a:pt x="6806" y="3732"/>
                  </a:lnTo>
                  <a:lnTo>
                    <a:pt x="6792" y="3715"/>
                  </a:lnTo>
                  <a:lnTo>
                    <a:pt x="6778" y="3697"/>
                  </a:lnTo>
                  <a:lnTo>
                    <a:pt x="6767" y="3680"/>
                  </a:lnTo>
                  <a:lnTo>
                    <a:pt x="6753" y="3665"/>
                  </a:lnTo>
                  <a:lnTo>
                    <a:pt x="6743" y="3651"/>
                  </a:lnTo>
                  <a:lnTo>
                    <a:pt x="6732" y="3637"/>
                  </a:lnTo>
                  <a:lnTo>
                    <a:pt x="6718" y="3623"/>
                  </a:lnTo>
                  <a:lnTo>
                    <a:pt x="6711" y="3613"/>
                  </a:lnTo>
                  <a:lnTo>
                    <a:pt x="6697" y="3599"/>
                  </a:lnTo>
                  <a:lnTo>
                    <a:pt x="6690" y="3592"/>
                  </a:lnTo>
                  <a:lnTo>
                    <a:pt x="6680" y="3578"/>
                  </a:lnTo>
                  <a:lnTo>
                    <a:pt x="6673" y="3571"/>
                  </a:lnTo>
                  <a:lnTo>
                    <a:pt x="6666" y="3560"/>
                  </a:lnTo>
                  <a:lnTo>
                    <a:pt x="6659" y="3557"/>
                  </a:lnTo>
                  <a:lnTo>
                    <a:pt x="6652" y="3546"/>
                  </a:lnTo>
                  <a:lnTo>
                    <a:pt x="6648" y="3543"/>
                  </a:lnTo>
                  <a:lnTo>
                    <a:pt x="6638" y="3532"/>
                  </a:lnTo>
                  <a:lnTo>
                    <a:pt x="6638" y="3529"/>
                  </a:lnTo>
                  <a:lnTo>
                    <a:pt x="6631" y="3522"/>
                  </a:lnTo>
                  <a:lnTo>
                    <a:pt x="6627" y="3522"/>
                  </a:lnTo>
                  <a:lnTo>
                    <a:pt x="6620" y="3515"/>
                  </a:lnTo>
                  <a:lnTo>
                    <a:pt x="6613" y="3508"/>
                  </a:lnTo>
                  <a:cubicBezTo>
                    <a:pt x="6501" y="3417"/>
                    <a:pt x="6571" y="3319"/>
                    <a:pt x="6606" y="3273"/>
                  </a:cubicBezTo>
                  <a:cubicBezTo>
                    <a:pt x="6641" y="3228"/>
                    <a:pt x="6655" y="3207"/>
                    <a:pt x="6652" y="3175"/>
                  </a:cubicBezTo>
                  <a:cubicBezTo>
                    <a:pt x="6641" y="3102"/>
                    <a:pt x="6638" y="3018"/>
                    <a:pt x="6690" y="2951"/>
                  </a:cubicBezTo>
                  <a:cubicBezTo>
                    <a:pt x="6743" y="2885"/>
                    <a:pt x="6827" y="2853"/>
                    <a:pt x="6967" y="2843"/>
                  </a:cubicBezTo>
                  <a:cubicBezTo>
                    <a:pt x="7037" y="2839"/>
                    <a:pt x="7082" y="2818"/>
                    <a:pt x="7089" y="2787"/>
                  </a:cubicBezTo>
                  <a:cubicBezTo>
                    <a:pt x="7089" y="2734"/>
                    <a:pt x="7061" y="2692"/>
                    <a:pt x="7016" y="2671"/>
                  </a:cubicBezTo>
                  <a:cubicBezTo>
                    <a:pt x="6967" y="2647"/>
                    <a:pt x="6939" y="2594"/>
                    <a:pt x="6935" y="2542"/>
                  </a:cubicBezTo>
                  <a:cubicBezTo>
                    <a:pt x="6935" y="2405"/>
                    <a:pt x="7103" y="2251"/>
                    <a:pt x="7212" y="2185"/>
                  </a:cubicBezTo>
                  <a:cubicBezTo>
                    <a:pt x="7219" y="2185"/>
                    <a:pt x="7222" y="2181"/>
                    <a:pt x="7226" y="2178"/>
                  </a:cubicBezTo>
                  <a:lnTo>
                    <a:pt x="7233" y="2171"/>
                  </a:lnTo>
                  <a:lnTo>
                    <a:pt x="7243" y="2160"/>
                  </a:lnTo>
                  <a:lnTo>
                    <a:pt x="7250" y="2157"/>
                  </a:lnTo>
                  <a:lnTo>
                    <a:pt x="7261" y="2143"/>
                  </a:lnTo>
                  <a:lnTo>
                    <a:pt x="7271" y="2136"/>
                  </a:lnTo>
                  <a:lnTo>
                    <a:pt x="7285" y="2115"/>
                  </a:lnTo>
                  <a:lnTo>
                    <a:pt x="7289" y="2108"/>
                  </a:lnTo>
                  <a:cubicBezTo>
                    <a:pt x="7296" y="2101"/>
                    <a:pt x="7303" y="2090"/>
                    <a:pt x="7310" y="2080"/>
                  </a:cubicBezTo>
                  <a:lnTo>
                    <a:pt x="7317" y="2069"/>
                  </a:lnTo>
                  <a:lnTo>
                    <a:pt x="7334" y="2045"/>
                  </a:lnTo>
                  <a:lnTo>
                    <a:pt x="7341" y="2031"/>
                  </a:lnTo>
                  <a:lnTo>
                    <a:pt x="7348" y="2017"/>
                  </a:lnTo>
                  <a:cubicBezTo>
                    <a:pt x="7179" y="1971"/>
                    <a:pt x="6976" y="1960"/>
                    <a:pt x="6823" y="1960"/>
                  </a:cubicBezTo>
                  <a:cubicBezTo>
                    <a:pt x="6755" y="1960"/>
                    <a:pt x="6696" y="1962"/>
                    <a:pt x="6655" y="1964"/>
                  </a:cubicBezTo>
                  <a:cubicBezTo>
                    <a:pt x="6651" y="1964"/>
                    <a:pt x="6645" y="1964"/>
                    <a:pt x="6637" y="1964"/>
                  </a:cubicBezTo>
                  <a:cubicBezTo>
                    <a:pt x="6608" y="1964"/>
                    <a:pt x="6558" y="1960"/>
                    <a:pt x="6533" y="1915"/>
                  </a:cubicBezTo>
                  <a:cubicBezTo>
                    <a:pt x="6501" y="1859"/>
                    <a:pt x="6543" y="1789"/>
                    <a:pt x="6606" y="1702"/>
                  </a:cubicBezTo>
                  <a:cubicBezTo>
                    <a:pt x="6659" y="1625"/>
                    <a:pt x="6729" y="1526"/>
                    <a:pt x="6732" y="1449"/>
                  </a:cubicBezTo>
                  <a:cubicBezTo>
                    <a:pt x="6739" y="1330"/>
                    <a:pt x="6340" y="1274"/>
                    <a:pt x="6148" y="1243"/>
                  </a:cubicBezTo>
                  <a:cubicBezTo>
                    <a:pt x="6078" y="1232"/>
                    <a:pt x="6018" y="1222"/>
                    <a:pt x="5972" y="1211"/>
                  </a:cubicBezTo>
                  <a:cubicBezTo>
                    <a:pt x="5818" y="1180"/>
                    <a:pt x="5769" y="1075"/>
                    <a:pt x="5776" y="998"/>
                  </a:cubicBezTo>
                  <a:cubicBezTo>
                    <a:pt x="5790" y="900"/>
                    <a:pt x="5860" y="823"/>
                    <a:pt x="5955" y="798"/>
                  </a:cubicBezTo>
                  <a:cubicBezTo>
                    <a:pt x="5881" y="778"/>
                    <a:pt x="5806" y="768"/>
                    <a:pt x="5731" y="768"/>
                  </a:cubicBezTo>
                  <a:cubicBezTo>
                    <a:pt x="5689" y="768"/>
                    <a:pt x="5647" y="771"/>
                    <a:pt x="5605" y="777"/>
                  </a:cubicBezTo>
                  <a:cubicBezTo>
                    <a:pt x="5290" y="823"/>
                    <a:pt x="4838" y="1001"/>
                    <a:pt x="4572" y="1145"/>
                  </a:cubicBezTo>
                  <a:cubicBezTo>
                    <a:pt x="4531" y="1167"/>
                    <a:pt x="4488" y="1177"/>
                    <a:pt x="4443" y="1177"/>
                  </a:cubicBezTo>
                  <a:cubicBezTo>
                    <a:pt x="4307" y="1177"/>
                    <a:pt x="4155" y="1088"/>
                    <a:pt x="4005" y="1001"/>
                  </a:cubicBezTo>
                  <a:cubicBezTo>
                    <a:pt x="3863" y="918"/>
                    <a:pt x="3717" y="831"/>
                    <a:pt x="3601" y="831"/>
                  </a:cubicBezTo>
                  <a:cubicBezTo>
                    <a:pt x="3577" y="831"/>
                    <a:pt x="3554" y="835"/>
                    <a:pt x="3532" y="844"/>
                  </a:cubicBezTo>
                  <a:cubicBezTo>
                    <a:pt x="3404" y="896"/>
                    <a:pt x="3248" y="931"/>
                    <a:pt x="3108" y="931"/>
                  </a:cubicBezTo>
                  <a:cubicBezTo>
                    <a:pt x="2996" y="931"/>
                    <a:pt x="2895" y="909"/>
                    <a:pt x="2825" y="858"/>
                  </a:cubicBezTo>
                  <a:cubicBezTo>
                    <a:pt x="2759" y="812"/>
                    <a:pt x="2724" y="739"/>
                    <a:pt x="2727" y="658"/>
                  </a:cubicBezTo>
                  <a:cubicBezTo>
                    <a:pt x="2741" y="557"/>
                    <a:pt x="2706" y="455"/>
                    <a:pt x="2636" y="382"/>
                  </a:cubicBezTo>
                  <a:cubicBezTo>
                    <a:pt x="2585" y="330"/>
                    <a:pt x="2513" y="303"/>
                    <a:pt x="2420" y="303"/>
                  </a:cubicBezTo>
                  <a:cubicBezTo>
                    <a:pt x="2405" y="303"/>
                    <a:pt x="2390" y="303"/>
                    <a:pt x="2374" y="305"/>
                  </a:cubicBezTo>
                  <a:cubicBezTo>
                    <a:pt x="2360" y="306"/>
                    <a:pt x="2348" y="306"/>
                    <a:pt x="2336" y="306"/>
                  </a:cubicBezTo>
                  <a:cubicBezTo>
                    <a:pt x="2161" y="306"/>
                    <a:pt x="2094" y="194"/>
                    <a:pt x="2045" y="112"/>
                  </a:cubicBezTo>
                  <a:cubicBezTo>
                    <a:pt x="1999" y="39"/>
                    <a:pt x="1975" y="0"/>
                    <a:pt x="19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7" name="Google Shape;5807;p53"/>
            <p:cNvSpPr/>
            <p:nvPr/>
          </p:nvSpPr>
          <p:spPr>
            <a:xfrm>
              <a:off x="1578575" y="2011862"/>
              <a:ext cx="4915" cy="1385"/>
            </a:xfrm>
            <a:custGeom>
              <a:avLst/>
              <a:gdLst/>
              <a:ahLst/>
              <a:cxnLst/>
              <a:rect l="l" t="t" r="r" b="b"/>
              <a:pathLst>
                <a:path w="362" h="102" extrusionOk="0">
                  <a:moveTo>
                    <a:pt x="0" y="102"/>
                  </a:moveTo>
                  <a:cubicBezTo>
                    <a:pt x="105" y="28"/>
                    <a:pt x="235" y="0"/>
                    <a:pt x="361" y="28"/>
                  </a:cubicBezTo>
                  <a:cubicBezTo>
                    <a:pt x="235" y="0"/>
                    <a:pt x="105" y="28"/>
                    <a:pt x="0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8" name="Google Shape;5808;p53"/>
            <p:cNvSpPr/>
            <p:nvPr/>
          </p:nvSpPr>
          <p:spPr>
            <a:xfrm>
              <a:off x="1547062" y="2032676"/>
              <a:ext cx="489" cy="774"/>
            </a:xfrm>
            <a:custGeom>
              <a:avLst/>
              <a:gdLst/>
              <a:ahLst/>
              <a:cxnLst/>
              <a:rect l="l" t="t" r="r" b="b"/>
              <a:pathLst>
                <a:path w="36" h="57" extrusionOk="0">
                  <a:moveTo>
                    <a:pt x="35" y="57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9" name="Google Shape;5809;p53"/>
            <p:cNvSpPr/>
            <p:nvPr/>
          </p:nvSpPr>
          <p:spPr>
            <a:xfrm>
              <a:off x="1557381" y="2036817"/>
              <a:ext cx="625" cy="339"/>
            </a:xfrm>
            <a:custGeom>
              <a:avLst/>
              <a:gdLst/>
              <a:ahLst/>
              <a:cxnLst/>
              <a:rect l="l" t="t" r="r" b="b"/>
              <a:pathLst>
                <a:path w="46" h="25" extrusionOk="0">
                  <a:moveTo>
                    <a:pt x="0" y="0"/>
                  </a:moveTo>
                  <a:cubicBezTo>
                    <a:pt x="14" y="7"/>
                    <a:pt x="28" y="14"/>
                    <a:pt x="39" y="21"/>
                  </a:cubicBezTo>
                  <a:lnTo>
                    <a:pt x="46" y="25"/>
                  </a:lnTo>
                  <a:lnTo>
                    <a:pt x="39" y="21"/>
                  </a:lnTo>
                  <a:cubicBezTo>
                    <a:pt x="28" y="14"/>
                    <a:pt x="1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0" name="Google Shape;5810;p53"/>
            <p:cNvSpPr/>
            <p:nvPr/>
          </p:nvSpPr>
          <p:spPr>
            <a:xfrm>
              <a:off x="1592316" y="2006960"/>
              <a:ext cx="1100" cy="1684"/>
            </a:xfrm>
            <a:custGeom>
              <a:avLst/>
              <a:gdLst/>
              <a:ahLst/>
              <a:cxnLst/>
              <a:rect l="l" t="t" r="r" b="b"/>
              <a:pathLst>
                <a:path w="81" h="124" extrusionOk="0">
                  <a:moveTo>
                    <a:pt x="74" y="15"/>
                  </a:moveTo>
                  <a:cubicBezTo>
                    <a:pt x="56" y="57"/>
                    <a:pt x="32" y="92"/>
                    <a:pt x="0" y="123"/>
                  </a:cubicBezTo>
                  <a:cubicBezTo>
                    <a:pt x="32" y="92"/>
                    <a:pt x="56" y="57"/>
                    <a:pt x="74" y="15"/>
                  </a:cubicBezTo>
                  <a:lnTo>
                    <a:pt x="81" y="1"/>
                  </a:lnTo>
                  <a:lnTo>
                    <a:pt x="8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1" name="Google Shape;5811;p53"/>
            <p:cNvSpPr/>
            <p:nvPr/>
          </p:nvSpPr>
          <p:spPr>
            <a:xfrm>
              <a:off x="1547537" y="2033436"/>
              <a:ext cx="2009" cy="2634"/>
            </a:xfrm>
            <a:custGeom>
              <a:avLst/>
              <a:gdLst/>
              <a:ahLst/>
              <a:cxnLst/>
              <a:rect l="l" t="t" r="r" b="b"/>
              <a:pathLst>
                <a:path w="148" h="194" extrusionOk="0">
                  <a:moveTo>
                    <a:pt x="0" y="1"/>
                  </a:moveTo>
                  <a:cubicBezTo>
                    <a:pt x="39" y="71"/>
                    <a:pt x="88" y="137"/>
                    <a:pt x="147" y="193"/>
                  </a:cubicBezTo>
                  <a:cubicBezTo>
                    <a:pt x="88" y="137"/>
                    <a:pt x="39" y="7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2" name="Google Shape;5812;p53"/>
            <p:cNvSpPr/>
            <p:nvPr/>
          </p:nvSpPr>
          <p:spPr>
            <a:xfrm>
              <a:off x="1546397" y="2031576"/>
              <a:ext cx="530" cy="869"/>
            </a:xfrm>
            <a:custGeom>
              <a:avLst/>
              <a:gdLst/>
              <a:ahLst/>
              <a:cxnLst/>
              <a:rect l="l" t="t" r="r" b="b"/>
              <a:pathLst>
                <a:path w="39" h="64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26"/>
                    <a:pt x="28" y="43"/>
                    <a:pt x="39" y="64"/>
                  </a:cubicBezTo>
                  <a:cubicBezTo>
                    <a:pt x="28" y="43"/>
                    <a:pt x="14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3" name="Google Shape;5813;p53"/>
            <p:cNvSpPr/>
            <p:nvPr/>
          </p:nvSpPr>
          <p:spPr>
            <a:xfrm>
              <a:off x="1545582" y="2030544"/>
              <a:ext cx="679" cy="910"/>
            </a:xfrm>
            <a:custGeom>
              <a:avLst/>
              <a:gdLst/>
              <a:ahLst/>
              <a:cxnLst/>
              <a:rect l="l" t="t" r="r" b="b"/>
              <a:pathLst>
                <a:path w="50" h="67" extrusionOk="0">
                  <a:moveTo>
                    <a:pt x="1" y="0"/>
                  </a:moveTo>
                  <a:cubicBezTo>
                    <a:pt x="18" y="21"/>
                    <a:pt x="36" y="46"/>
                    <a:pt x="50" y="66"/>
                  </a:cubicBezTo>
                  <a:cubicBezTo>
                    <a:pt x="36" y="42"/>
                    <a:pt x="18" y="2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4" name="Google Shape;5814;p53"/>
            <p:cNvSpPr/>
            <p:nvPr/>
          </p:nvSpPr>
          <p:spPr>
            <a:xfrm>
              <a:off x="1544822" y="2029580"/>
              <a:ext cx="774" cy="923"/>
            </a:xfrm>
            <a:custGeom>
              <a:avLst/>
              <a:gdLst/>
              <a:ahLst/>
              <a:cxnLst/>
              <a:rect l="l" t="t" r="r" b="b"/>
              <a:pathLst>
                <a:path w="57" h="68" extrusionOk="0">
                  <a:moveTo>
                    <a:pt x="1" y="1"/>
                  </a:moveTo>
                  <a:cubicBezTo>
                    <a:pt x="18" y="25"/>
                    <a:pt x="39" y="50"/>
                    <a:pt x="57" y="67"/>
                  </a:cubicBezTo>
                  <a:cubicBezTo>
                    <a:pt x="39" y="46"/>
                    <a:pt x="22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5" name="Google Shape;5815;p53"/>
            <p:cNvSpPr/>
            <p:nvPr/>
          </p:nvSpPr>
          <p:spPr>
            <a:xfrm>
              <a:off x="1506941" y="196037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6" name="Google Shape;5816;p53"/>
            <p:cNvSpPr/>
            <p:nvPr/>
          </p:nvSpPr>
          <p:spPr>
            <a:xfrm>
              <a:off x="1508651" y="195843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7" name="Google Shape;5817;p53"/>
            <p:cNvSpPr/>
            <p:nvPr/>
          </p:nvSpPr>
          <p:spPr>
            <a:xfrm>
              <a:off x="1508271" y="1958624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1" y="21"/>
                  </a:moveTo>
                  <a:cubicBezTo>
                    <a:pt x="8" y="14"/>
                    <a:pt x="15" y="7"/>
                    <a:pt x="22" y="0"/>
                  </a:cubicBezTo>
                  <a:cubicBezTo>
                    <a:pt x="15" y="7"/>
                    <a:pt x="8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8" name="Google Shape;5818;p53"/>
            <p:cNvSpPr/>
            <p:nvPr/>
          </p:nvSpPr>
          <p:spPr>
            <a:xfrm>
              <a:off x="1507280" y="1990084"/>
              <a:ext cx="3096" cy="1086"/>
            </a:xfrm>
            <a:custGeom>
              <a:avLst/>
              <a:gdLst/>
              <a:ahLst/>
              <a:cxnLst/>
              <a:rect l="l" t="t" r="r" b="b"/>
              <a:pathLst>
                <a:path w="228" h="80" extrusionOk="0">
                  <a:moveTo>
                    <a:pt x="0" y="1"/>
                  </a:moveTo>
                  <a:cubicBezTo>
                    <a:pt x="52" y="52"/>
                    <a:pt x="121" y="80"/>
                    <a:pt x="193" y="80"/>
                  </a:cubicBezTo>
                  <a:cubicBezTo>
                    <a:pt x="205" y="80"/>
                    <a:pt x="216" y="79"/>
                    <a:pt x="228" y="78"/>
                  </a:cubicBezTo>
                  <a:lnTo>
                    <a:pt x="228" y="78"/>
                  </a:lnTo>
                  <a:cubicBezTo>
                    <a:pt x="222" y="78"/>
                    <a:pt x="216" y="78"/>
                    <a:pt x="211" y="78"/>
                  </a:cubicBezTo>
                  <a:cubicBezTo>
                    <a:pt x="118" y="78"/>
                    <a:pt x="50" y="50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9" name="Google Shape;5819;p53"/>
            <p:cNvSpPr/>
            <p:nvPr/>
          </p:nvSpPr>
          <p:spPr>
            <a:xfrm>
              <a:off x="1614271" y="1998868"/>
              <a:ext cx="28730" cy="30970"/>
            </a:xfrm>
            <a:custGeom>
              <a:avLst/>
              <a:gdLst/>
              <a:ahLst/>
              <a:cxnLst/>
              <a:rect l="l" t="t" r="r" b="b"/>
              <a:pathLst>
                <a:path w="2116" h="2281" extrusionOk="0">
                  <a:moveTo>
                    <a:pt x="758" y="0"/>
                  </a:moveTo>
                  <a:cubicBezTo>
                    <a:pt x="705" y="0"/>
                    <a:pt x="641" y="31"/>
                    <a:pt x="575" y="85"/>
                  </a:cubicBezTo>
                  <a:cubicBezTo>
                    <a:pt x="561" y="96"/>
                    <a:pt x="543" y="106"/>
                    <a:pt x="526" y="110"/>
                  </a:cubicBezTo>
                  <a:lnTo>
                    <a:pt x="522" y="117"/>
                  </a:lnTo>
                  <a:lnTo>
                    <a:pt x="515" y="145"/>
                  </a:lnTo>
                  <a:lnTo>
                    <a:pt x="508" y="162"/>
                  </a:lnTo>
                  <a:lnTo>
                    <a:pt x="501" y="183"/>
                  </a:lnTo>
                  <a:lnTo>
                    <a:pt x="494" y="204"/>
                  </a:lnTo>
                  <a:lnTo>
                    <a:pt x="487" y="222"/>
                  </a:lnTo>
                  <a:cubicBezTo>
                    <a:pt x="487" y="229"/>
                    <a:pt x="484" y="236"/>
                    <a:pt x="484" y="243"/>
                  </a:cubicBezTo>
                  <a:cubicBezTo>
                    <a:pt x="480" y="250"/>
                    <a:pt x="480" y="253"/>
                    <a:pt x="480" y="260"/>
                  </a:cubicBezTo>
                  <a:cubicBezTo>
                    <a:pt x="477" y="264"/>
                    <a:pt x="477" y="271"/>
                    <a:pt x="473" y="278"/>
                  </a:cubicBezTo>
                  <a:cubicBezTo>
                    <a:pt x="473" y="285"/>
                    <a:pt x="473" y="288"/>
                    <a:pt x="473" y="292"/>
                  </a:cubicBezTo>
                  <a:cubicBezTo>
                    <a:pt x="470" y="295"/>
                    <a:pt x="473" y="306"/>
                    <a:pt x="473" y="313"/>
                  </a:cubicBezTo>
                  <a:lnTo>
                    <a:pt x="473" y="323"/>
                  </a:lnTo>
                  <a:cubicBezTo>
                    <a:pt x="473" y="330"/>
                    <a:pt x="473" y="337"/>
                    <a:pt x="473" y="341"/>
                  </a:cubicBezTo>
                  <a:lnTo>
                    <a:pt x="473" y="348"/>
                  </a:lnTo>
                  <a:cubicBezTo>
                    <a:pt x="473" y="355"/>
                    <a:pt x="473" y="362"/>
                    <a:pt x="477" y="369"/>
                  </a:cubicBezTo>
                  <a:cubicBezTo>
                    <a:pt x="501" y="415"/>
                    <a:pt x="512" y="467"/>
                    <a:pt x="498" y="516"/>
                  </a:cubicBezTo>
                  <a:cubicBezTo>
                    <a:pt x="494" y="534"/>
                    <a:pt x="491" y="548"/>
                    <a:pt x="484" y="562"/>
                  </a:cubicBezTo>
                  <a:cubicBezTo>
                    <a:pt x="417" y="681"/>
                    <a:pt x="242" y="712"/>
                    <a:pt x="172" y="723"/>
                  </a:cubicBezTo>
                  <a:cubicBezTo>
                    <a:pt x="127" y="726"/>
                    <a:pt x="106" y="838"/>
                    <a:pt x="88" y="926"/>
                  </a:cubicBezTo>
                  <a:cubicBezTo>
                    <a:pt x="71" y="1017"/>
                    <a:pt x="50" y="1111"/>
                    <a:pt x="1" y="1167"/>
                  </a:cubicBezTo>
                  <a:cubicBezTo>
                    <a:pt x="18" y="1202"/>
                    <a:pt x="109" y="1283"/>
                    <a:pt x="172" y="1342"/>
                  </a:cubicBezTo>
                  <a:cubicBezTo>
                    <a:pt x="288" y="1444"/>
                    <a:pt x="417" y="1559"/>
                    <a:pt x="459" y="1678"/>
                  </a:cubicBezTo>
                  <a:lnTo>
                    <a:pt x="470" y="1696"/>
                  </a:lnTo>
                  <a:lnTo>
                    <a:pt x="470" y="1699"/>
                  </a:lnTo>
                  <a:lnTo>
                    <a:pt x="477" y="1717"/>
                  </a:lnTo>
                  <a:lnTo>
                    <a:pt x="477" y="1724"/>
                  </a:lnTo>
                  <a:lnTo>
                    <a:pt x="487" y="1741"/>
                  </a:lnTo>
                  <a:lnTo>
                    <a:pt x="491" y="1752"/>
                  </a:lnTo>
                  <a:lnTo>
                    <a:pt x="498" y="1769"/>
                  </a:lnTo>
                  <a:lnTo>
                    <a:pt x="505" y="1780"/>
                  </a:lnTo>
                  <a:lnTo>
                    <a:pt x="512" y="1801"/>
                  </a:lnTo>
                  <a:lnTo>
                    <a:pt x="519" y="1811"/>
                  </a:lnTo>
                  <a:lnTo>
                    <a:pt x="529" y="1832"/>
                  </a:lnTo>
                  <a:lnTo>
                    <a:pt x="536" y="1846"/>
                  </a:lnTo>
                  <a:lnTo>
                    <a:pt x="547" y="1867"/>
                  </a:lnTo>
                  <a:lnTo>
                    <a:pt x="554" y="1881"/>
                  </a:lnTo>
                  <a:lnTo>
                    <a:pt x="564" y="1902"/>
                  </a:lnTo>
                  <a:lnTo>
                    <a:pt x="575" y="1920"/>
                  </a:lnTo>
                  <a:lnTo>
                    <a:pt x="585" y="1941"/>
                  </a:lnTo>
                  <a:lnTo>
                    <a:pt x="596" y="1962"/>
                  </a:lnTo>
                  <a:lnTo>
                    <a:pt x="606" y="1979"/>
                  </a:lnTo>
                  <a:lnTo>
                    <a:pt x="620" y="2004"/>
                  </a:lnTo>
                  <a:lnTo>
                    <a:pt x="631" y="2021"/>
                  </a:lnTo>
                  <a:lnTo>
                    <a:pt x="645" y="2053"/>
                  </a:lnTo>
                  <a:lnTo>
                    <a:pt x="655" y="2067"/>
                  </a:lnTo>
                  <a:lnTo>
                    <a:pt x="673" y="2102"/>
                  </a:lnTo>
                  <a:lnTo>
                    <a:pt x="680" y="2112"/>
                  </a:lnTo>
                  <a:lnTo>
                    <a:pt x="701" y="2151"/>
                  </a:lnTo>
                  <a:lnTo>
                    <a:pt x="708" y="2158"/>
                  </a:lnTo>
                  <a:lnTo>
                    <a:pt x="732" y="2203"/>
                  </a:lnTo>
                  <a:lnTo>
                    <a:pt x="736" y="2210"/>
                  </a:lnTo>
                  <a:lnTo>
                    <a:pt x="760" y="2256"/>
                  </a:lnTo>
                  <a:cubicBezTo>
                    <a:pt x="806" y="2270"/>
                    <a:pt x="855" y="2277"/>
                    <a:pt x="900" y="2280"/>
                  </a:cubicBezTo>
                  <a:lnTo>
                    <a:pt x="928" y="2266"/>
                  </a:lnTo>
                  <a:lnTo>
                    <a:pt x="970" y="2266"/>
                  </a:lnTo>
                  <a:cubicBezTo>
                    <a:pt x="974" y="2266"/>
                    <a:pt x="981" y="2263"/>
                    <a:pt x="988" y="2259"/>
                  </a:cubicBezTo>
                  <a:cubicBezTo>
                    <a:pt x="995" y="2256"/>
                    <a:pt x="1002" y="2249"/>
                    <a:pt x="1009" y="2242"/>
                  </a:cubicBezTo>
                  <a:cubicBezTo>
                    <a:pt x="1026" y="2207"/>
                    <a:pt x="1037" y="2165"/>
                    <a:pt x="1040" y="2126"/>
                  </a:cubicBezTo>
                  <a:cubicBezTo>
                    <a:pt x="1054" y="2043"/>
                    <a:pt x="1073" y="1905"/>
                    <a:pt x="1231" y="1905"/>
                  </a:cubicBezTo>
                  <a:cubicBezTo>
                    <a:pt x="1238" y="1905"/>
                    <a:pt x="1246" y="1905"/>
                    <a:pt x="1254" y="1906"/>
                  </a:cubicBezTo>
                  <a:cubicBezTo>
                    <a:pt x="1267" y="1906"/>
                    <a:pt x="1281" y="1907"/>
                    <a:pt x="1294" y="1907"/>
                  </a:cubicBezTo>
                  <a:cubicBezTo>
                    <a:pt x="1362" y="1907"/>
                    <a:pt x="1432" y="1899"/>
                    <a:pt x="1499" y="1885"/>
                  </a:cubicBezTo>
                  <a:cubicBezTo>
                    <a:pt x="1541" y="1881"/>
                    <a:pt x="1583" y="1874"/>
                    <a:pt x="1621" y="1871"/>
                  </a:cubicBezTo>
                  <a:lnTo>
                    <a:pt x="1625" y="1871"/>
                  </a:lnTo>
                  <a:lnTo>
                    <a:pt x="1653" y="1867"/>
                  </a:lnTo>
                  <a:lnTo>
                    <a:pt x="1776" y="1867"/>
                  </a:lnTo>
                  <a:lnTo>
                    <a:pt x="1790" y="1871"/>
                  </a:lnTo>
                  <a:lnTo>
                    <a:pt x="1800" y="1874"/>
                  </a:lnTo>
                  <a:lnTo>
                    <a:pt x="1814" y="1878"/>
                  </a:lnTo>
                  <a:lnTo>
                    <a:pt x="1825" y="1881"/>
                  </a:lnTo>
                  <a:lnTo>
                    <a:pt x="1835" y="1885"/>
                  </a:lnTo>
                  <a:lnTo>
                    <a:pt x="1846" y="1892"/>
                  </a:lnTo>
                  <a:lnTo>
                    <a:pt x="1856" y="1895"/>
                  </a:lnTo>
                  <a:lnTo>
                    <a:pt x="1867" y="1902"/>
                  </a:lnTo>
                  <a:lnTo>
                    <a:pt x="1877" y="1909"/>
                  </a:lnTo>
                  <a:lnTo>
                    <a:pt x="1884" y="1920"/>
                  </a:lnTo>
                  <a:lnTo>
                    <a:pt x="1895" y="1927"/>
                  </a:lnTo>
                  <a:lnTo>
                    <a:pt x="1902" y="1937"/>
                  </a:lnTo>
                  <a:lnTo>
                    <a:pt x="1905" y="1944"/>
                  </a:lnTo>
                  <a:lnTo>
                    <a:pt x="1937" y="1895"/>
                  </a:lnTo>
                  <a:lnTo>
                    <a:pt x="1951" y="1874"/>
                  </a:lnTo>
                  <a:lnTo>
                    <a:pt x="1958" y="1867"/>
                  </a:lnTo>
                  <a:lnTo>
                    <a:pt x="1968" y="1846"/>
                  </a:lnTo>
                  <a:lnTo>
                    <a:pt x="1972" y="1839"/>
                  </a:lnTo>
                  <a:lnTo>
                    <a:pt x="1986" y="1822"/>
                  </a:lnTo>
                  <a:lnTo>
                    <a:pt x="2003" y="1790"/>
                  </a:lnTo>
                  <a:lnTo>
                    <a:pt x="2007" y="1783"/>
                  </a:lnTo>
                  <a:lnTo>
                    <a:pt x="2010" y="1776"/>
                  </a:lnTo>
                  <a:cubicBezTo>
                    <a:pt x="2038" y="1720"/>
                    <a:pt x="2045" y="1332"/>
                    <a:pt x="1951" y="1104"/>
                  </a:cubicBezTo>
                  <a:cubicBezTo>
                    <a:pt x="1877" y="912"/>
                    <a:pt x="1888" y="698"/>
                    <a:pt x="1972" y="509"/>
                  </a:cubicBezTo>
                  <a:cubicBezTo>
                    <a:pt x="1993" y="460"/>
                    <a:pt x="2024" y="418"/>
                    <a:pt x="2063" y="383"/>
                  </a:cubicBezTo>
                  <a:lnTo>
                    <a:pt x="2063" y="380"/>
                  </a:lnTo>
                  <a:lnTo>
                    <a:pt x="2063" y="376"/>
                  </a:lnTo>
                  <a:lnTo>
                    <a:pt x="2063" y="373"/>
                  </a:lnTo>
                  <a:lnTo>
                    <a:pt x="2063" y="369"/>
                  </a:lnTo>
                  <a:lnTo>
                    <a:pt x="2063" y="366"/>
                  </a:lnTo>
                  <a:lnTo>
                    <a:pt x="2063" y="362"/>
                  </a:lnTo>
                  <a:lnTo>
                    <a:pt x="2063" y="358"/>
                  </a:lnTo>
                  <a:lnTo>
                    <a:pt x="2066" y="351"/>
                  </a:lnTo>
                  <a:lnTo>
                    <a:pt x="2066" y="348"/>
                  </a:lnTo>
                  <a:lnTo>
                    <a:pt x="2070" y="341"/>
                  </a:lnTo>
                  <a:lnTo>
                    <a:pt x="2070" y="337"/>
                  </a:lnTo>
                  <a:lnTo>
                    <a:pt x="2077" y="320"/>
                  </a:lnTo>
                  <a:lnTo>
                    <a:pt x="2080" y="306"/>
                  </a:lnTo>
                  <a:lnTo>
                    <a:pt x="2084" y="299"/>
                  </a:lnTo>
                  <a:lnTo>
                    <a:pt x="2087" y="285"/>
                  </a:lnTo>
                  <a:lnTo>
                    <a:pt x="2091" y="278"/>
                  </a:lnTo>
                  <a:lnTo>
                    <a:pt x="2094" y="264"/>
                  </a:lnTo>
                  <a:lnTo>
                    <a:pt x="2098" y="253"/>
                  </a:lnTo>
                  <a:lnTo>
                    <a:pt x="2101" y="243"/>
                  </a:lnTo>
                  <a:lnTo>
                    <a:pt x="2105" y="229"/>
                  </a:lnTo>
                  <a:lnTo>
                    <a:pt x="2108" y="215"/>
                  </a:lnTo>
                  <a:lnTo>
                    <a:pt x="2115" y="201"/>
                  </a:lnTo>
                  <a:lnTo>
                    <a:pt x="2115" y="197"/>
                  </a:lnTo>
                  <a:cubicBezTo>
                    <a:pt x="1964" y="140"/>
                    <a:pt x="1829" y="96"/>
                    <a:pt x="1712" y="96"/>
                  </a:cubicBezTo>
                  <a:cubicBezTo>
                    <a:pt x="1693" y="96"/>
                    <a:pt x="1674" y="97"/>
                    <a:pt x="1656" y="99"/>
                  </a:cubicBezTo>
                  <a:cubicBezTo>
                    <a:pt x="1579" y="110"/>
                    <a:pt x="1499" y="124"/>
                    <a:pt x="1422" y="141"/>
                  </a:cubicBezTo>
                  <a:cubicBezTo>
                    <a:pt x="1316" y="165"/>
                    <a:pt x="1212" y="188"/>
                    <a:pt x="1121" y="188"/>
                  </a:cubicBezTo>
                  <a:cubicBezTo>
                    <a:pt x="1025" y="188"/>
                    <a:pt x="944" y="163"/>
                    <a:pt x="890" y="85"/>
                  </a:cubicBezTo>
                  <a:cubicBezTo>
                    <a:pt x="865" y="43"/>
                    <a:pt x="823" y="12"/>
                    <a:pt x="774" y="1"/>
                  </a:cubicBezTo>
                  <a:cubicBezTo>
                    <a:pt x="769" y="1"/>
                    <a:pt x="764" y="0"/>
                    <a:pt x="75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0" name="Google Shape;5820;p53"/>
            <p:cNvSpPr/>
            <p:nvPr/>
          </p:nvSpPr>
          <p:spPr>
            <a:xfrm>
              <a:off x="1636321" y="2024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1" name="Google Shape;5821;p53"/>
            <p:cNvSpPr/>
            <p:nvPr/>
          </p:nvSpPr>
          <p:spPr>
            <a:xfrm>
              <a:off x="1639185" y="202444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2" name="Google Shape;5822;p53"/>
            <p:cNvSpPr/>
            <p:nvPr/>
          </p:nvSpPr>
          <p:spPr>
            <a:xfrm>
              <a:off x="1636796" y="2024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3" name="Google Shape;5823;p53"/>
            <p:cNvSpPr/>
            <p:nvPr/>
          </p:nvSpPr>
          <p:spPr>
            <a:xfrm>
              <a:off x="1638900" y="202431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4" name="Google Shape;5824;p53"/>
            <p:cNvSpPr/>
            <p:nvPr/>
          </p:nvSpPr>
          <p:spPr>
            <a:xfrm>
              <a:off x="1626871" y="202963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5" name="Google Shape;5825;p53"/>
            <p:cNvSpPr/>
            <p:nvPr/>
          </p:nvSpPr>
          <p:spPr>
            <a:xfrm>
              <a:off x="1639471" y="20245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6" name="Google Shape;5826;p53"/>
            <p:cNvSpPr/>
            <p:nvPr/>
          </p:nvSpPr>
          <p:spPr>
            <a:xfrm>
              <a:off x="1627441" y="2029255"/>
              <a:ext cx="530" cy="339"/>
            </a:xfrm>
            <a:custGeom>
              <a:avLst/>
              <a:gdLst/>
              <a:ahLst/>
              <a:cxnLst/>
              <a:rect l="l" t="t" r="r" b="b"/>
              <a:pathLst>
                <a:path w="39" h="25" extrusionOk="0">
                  <a:moveTo>
                    <a:pt x="0" y="25"/>
                  </a:moveTo>
                  <a:cubicBezTo>
                    <a:pt x="4" y="25"/>
                    <a:pt x="11" y="21"/>
                    <a:pt x="18" y="18"/>
                  </a:cubicBezTo>
                  <a:cubicBezTo>
                    <a:pt x="25" y="14"/>
                    <a:pt x="32" y="7"/>
                    <a:pt x="39" y="0"/>
                  </a:cubicBezTo>
                  <a:cubicBezTo>
                    <a:pt x="32" y="7"/>
                    <a:pt x="25" y="14"/>
                    <a:pt x="18" y="18"/>
                  </a:cubicBezTo>
                  <a:cubicBezTo>
                    <a:pt x="11" y="21"/>
                    <a:pt x="4" y="2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7" name="Google Shape;5827;p53"/>
            <p:cNvSpPr/>
            <p:nvPr/>
          </p:nvSpPr>
          <p:spPr>
            <a:xfrm>
              <a:off x="1627156" y="202958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8" name="Google Shape;5828;p53"/>
            <p:cNvSpPr/>
            <p:nvPr/>
          </p:nvSpPr>
          <p:spPr>
            <a:xfrm>
              <a:off x="1638561" y="2024258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9" name="Google Shape;5829;p53"/>
            <p:cNvSpPr/>
            <p:nvPr/>
          </p:nvSpPr>
          <p:spPr>
            <a:xfrm>
              <a:off x="1637475" y="20241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0" name="Google Shape;5830;p53"/>
            <p:cNvSpPr/>
            <p:nvPr/>
          </p:nvSpPr>
          <p:spPr>
            <a:xfrm>
              <a:off x="1637230" y="20241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1" name="Google Shape;5831;p53"/>
            <p:cNvSpPr/>
            <p:nvPr/>
          </p:nvSpPr>
          <p:spPr>
            <a:xfrm>
              <a:off x="1638235" y="202421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2" name="Google Shape;5832;p53"/>
            <p:cNvSpPr/>
            <p:nvPr/>
          </p:nvSpPr>
          <p:spPr>
            <a:xfrm>
              <a:off x="1639756" y="202478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0"/>
                  </a:moveTo>
                  <a:lnTo>
                    <a:pt x="7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3" name="Google Shape;5833;p53"/>
            <p:cNvSpPr/>
            <p:nvPr/>
          </p:nvSpPr>
          <p:spPr>
            <a:xfrm>
              <a:off x="1637855" y="202416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4" name="Google Shape;5834;p53"/>
            <p:cNvSpPr/>
            <p:nvPr/>
          </p:nvSpPr>
          <p:spPr>
            <a:xfrm>
              <a:off x="1639946" y="2025018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5" name="Google Shape;5835;p53"/>
            <p:cNvSpPr/>
            <p:nvPr/>
          </p:nvSpPr>
          <p:spPr>
            <a:xfrm>
              <a:off x="1589940" y="1981910"/>
              <a:ext cx="32613" cy="51690"/>
            </a:xfrm>
            <a:custGeom>
              <a:avLst/>
              <a:gdLst/>
              <a:ahLst/>
              <a:cxnLst/>
              <a:rect l="l" t="t" r="r" b="b"/>
              <a:pathLst>
                <a:path w="2402" h="3807" extrusionOk="0">
                  <a:moveTo>
                    <a:pt x="791" y="1"/>
                  </a:moveTo>
                  <a:cubicBezTo>
                    <a:pt x="784" y="15"/>
                    <a:pt x="774" y="32"/>
                    <a:pt x="767" y="43"/>
                  </a:cubicBezTo>
                  <a:lnTo>
                    <a:pt x="756" y="57"/>
                  </a:lnTo>
                  <a:lnTo>
                    <a:pt x="739" y="85"/>
                  </a:lnTo>
                  <a:lnTo>
                    <a:pt x="728" y="99"/>
                  </a:lnTo>
                  <a:lnTo>
                    <a:pt x="711" y="123"/>
                  </a:lnTo>
                  <a:lnTo>
                    <a:pt x="700" y="137"/>
                  </a:lnTo>
                  <a:lnTo>
                    <a:pt x="683" y="158"/>
                  </a:lnTo>
                  <a:lnTo>
                    <a:pt x="672" y="169"/>
                  </a:lnTo>
                  <a:lnTo>
                    <a:pt x="655" y="186"/>
                  </a:lnTo>
                  <a:lnTo>
                    <a:pt x="644" y="197"/>
                  </a:lnTo>
                  <a:lnTo>
                    <a:pt x="627" y="211"/>
                  </a:lnTo>
                  <a:lnTo>
                    <a:pt x="620" y="218"/>
                  </a:lnTo>
                  <a:cubicBezTo>
                    <a:pt x="613" y="225"/>
                    <a:pt x="602" y="228"/>
                    <a:pt x="595" y="235"/>
                  </a:cubicBezTo>
                  <a:cubicBezTo>
                    <a:pt x="553" y="260"/>
                    <a:pt x="518" y="288"/>
                    <a:pt x="483" y="323"/>
                  </a:cubicBezTo>
                  <a:cubicBezTo>
                    <a:pt x="462" y="344"/>
                    <a:pt x="441" y="368"/>
                    <a:pt x="420" y="393"/>
                  </a:cubicBezTo>
                  <a:cubicBezTo>
                    <a:pt x="413" y="407"/>
                    <a:pt x="403" y="421"/>
                    <a:pt x="396" y="438"/>
                  </a:cubicBezTo>
                  <a:cubicBezTo>
                    <a:pt x="389" y="449"/>
                    <a:pt x="385" y="463"/>
                    <a:pt x="385" y="477"/>
                  </a:cubicBezTo>
                  <a:cubicBezTo>
                    <a:pt x="385" y="484"/>
                    <a:pt x="385" y="487"/>
                    <a:pt x="399" y="494"/>
                  </a:cubicBezTo>
                  <a:cubicBezTo>
                    <a:pt x="501" y="554"/>
                    <a:pt x="557" y="659"/>
                    <a:pt x="536" y="753"/>
                  </a:cubicBezTo>
                  <a:cubicBezTo>
                    <a:pt x="525" y="795"/>
                    <a:pt x="483" y="900"/>
                    <a:pt x="294" y="914"/>
                  </a:cubicBezTo>
                  <a:cubicBezTo>
                    <a:pt x="196" y="921"/>
                    <a:pt x="133" y="939"/>
                    <a:pt x="109" y="970"/>
                  </a:cubicBezTo>
                  <a:cubicBezTo>
                    <a:pt x="91" y="995"/>
                    <a:pt x="88" y="1030"/>
                    <a:pt x="98" y="1093"/>
                  </a:cubicBezTo>
                  <a:cubicBezTo>
                    <a:pt x="105" y="1166"/>
                    <a:pt x="81" y="1236"/>
                    <a:pt x="32" y="1289"/>
                  </a:cubicBezTo>
                  <a:cubicBezTo>
                    <a:pt x="18" y="1303"/>
                    <a:pt x="11" y="1317"/>
                    <a:pt x="0" y="1334"/>
                  </a:cubicBezTo>
                  <a:cubicBezTo>
                    <a:pt x="0" y="1334"/>
                    <a:pt x="7" y="1338"/>
                    <a:pt x="14" y="1348"/>
                  </a:cubicBezTo>
                  <a:cubicBezTo>
                    <a:pt x="25" y="1355"/>
                    <a:pt x="32" y="1362"/>
                    <a:pt x="42" y="1369"/>
                  </a:cubicBezTo>
                  <a:lnTo>
                    <a:pt x="49" y="1380"/>
                  </a:lnTo>
                  <a:lnTo>
                    <a:pt x="70" y="1401"/>
                  </a:lnTo>
                  <a:lnTo>
                    <a:pt x="84" y="1418"/>
                  </a:lnTo>
                  <a:lnTo>
                    <a:pt x="109" y="1443"/>
                  </a:lnTo>
                  <a:lnTo>
                    <a:pt x="123" y="1460"/>
                  </a:lnTo>
                  <a:lnTo>
                    <a:pt x="147" y="1492"/>
                  </a:lnTo>
                  <a:lnTo>
                    <a:pt x="165" y="1513"/>
                  </a:lnTo>
                  <a:lnTo>
                    <a:pt x="193" y="1548"/>
                  </a:lnTo>
                  <a:lnTo>
                    <a:pt x="214" y="1572"/>
                  </a:lnTo>
                  <a:lnTo>
                    <a:pt x="245" y="1615"/>
                  </a:lnTo>
                  <a:lnTo>
                    <a:pt x="266" y="1643"/>
                  </a:lnTo>
                  <a:lnTo>
                    <a:pt x="305" y="1692"/>
                  </a:lnTo>
                  <a:lnTo>
                    <a:pt x="322" y="1716"/>
                  </a:lnTo>
                  <a:lnTo>
                    <a:pt x="329" y="1727"/>
                  </a:lnTo>
                  <a:lnTo>
                    <a:pt x="336" y="1723"/>
                  </a:lnTo>
                  <a:lnTo>
                    <a:pt x="343" y="1713"/>
                  </a:lnTo>
                  <a:cubicBezTo>
                    <a:pt x="382" y="1678"/>
                    <a:pt x="434" y="1657"/>
                    <a:pt x="490" y="1657"/>
                  </a:cubicBezTo>
                  <a:lnTo>
                    <a:pt x="497" y="1657"/>
                  </a:lnTo>
                  <a:cubicBezTo>
                    <a:pt x="508" y="1657"/>
                    <a:pt x="522" y="1660"/>
                    <a:pt x="536" y="1660"/>
                  </a:cubicBezTo>
                  <a:cubicBezTo>
                    <a:pt x="658" y="1678"/>
                    <a:pt x="700" y="1762"/>
                    <a:pt x="714" y="1842"/>
                  </a:cubicBezTo>
                  <a:cubicBezTo>
                    <a:pt x="718" y="1860"/>
                    <a:pt x="721" y="1874"/>
                    <a:pt x="721" y="1888"/>
                  </a:cubicBezTo>
                  <a:cubicBezTo>
                    <a:pt x="725" y="1909"/>
                    <a:pt x="725" y="1930"/>
                    <a:pt x="725" y="1951"/>
                  </a:cubicBezTo>
                  <a:cubicBezTo>
                    <a:pt x="732" y="2045"/>
                    <a:pt x="739" y="2105"/>
                    <a:pt x="784" y="2126"/>
                  </a:cubicBezTo>
                  <a:cubicBezTo>
                    <a:pt x="886" y="2175"/>
                    <a:pt x="952" y="2273"/>
                    <a:pt x="963" y="2388"/>
                  </a:cubicBezTo>
                  <a:cubicBezTo>
                    <a:pt x="977" y="2504"/>
                    <a:pt x="935" y="2619"/>
                    <a:pt x="844" y="2696"/>
                  </a:cubicBezTo>
                  <a:cubicBezTo>
                    <a:pt x="840" y="2700"/>
                    <a:pt x="837" y="2703"/>
                    <a:pt x="833" y="2707"/>
                  </a:cubicBezTo>
                  <a:cubicBezTo>
                    <a:pt x="795" y="2766"/>
                    <a:pt x="774" y="2840"/>
                    <a:pt x="770" y="2913"/>
                  </a:cubicBezTo>
                  <a:cubicBezTo>
                    <a:pt x="753" y="3102"/>
                    <a:pt x="795" y="3375"/>
                    <a:pt x="970" y="3568"/>
                  </a:cubicBezTo>
                  <a:cubicBezTo>
                    <a:pt x="1159" y="3778"/>
                    <a:pt x="1299" y="3806"/>
                    <a:pt x="1365" y="3806"/>
                  </a:cubicBezTo>
                  <a:cubicBezTo>
                    <a:pt x="1401" y="3806"/>
                    <a:pt x="1436" y="3792"/>
                    <a:pt x="1460" y="3768"/>
                  </a:cubicBezTo>
                  <a:cubicBezTo>
                    <a:pt x="1506" y="3712"/>
                    <a:pt x="1586" y="3705"/>
                    <a:pt x="1660" y="3698"/>
                  </a:cubicBezTo>
                  <a:cubicBezTo>
                    <a:pt x="1737" y="3694"/>
                    <a:pt x="1796" y="3687"/>
                    <a:pt x="1814" y="3648"/>
                  </a:cubicBezTo>
                  <a:cubicBezTo>
                    <a:pt x="1838" y="3591"/>
                    <a:pt x="1897" y="3551"/>
                    <a:pt x="1958" y="3551"/>
                  </a:cubicBezTo>
                  <a:cubicBezTo>
                    <a:pt x="1967" y="3551"/>
                    <a:pt x="1976" y="3552"/>
                    <a:pt x="1985" y="3554"/>
                  </a:cubicBezTo>
                  <a:cubicBezTo>
                    <a:pt x="1991" y="3555"/>
                    <a:pt x="1997" y="3555"/>
                    <a:pt x="2003" y="3555"/>
                  </a:cubicBezTo>
                  <a:cubicBezTo>
                    <a:pt x="2042" y="3555"/>
                    <a:pt x="2079" y="3535"/>
                    <a:pt x="2101" y="3501"/>
                  </a:cubicBezTo>
                  <a:cubicBezTo>
                    <a:pt x="2111" y="3494"/>
                    <a:pt x="2118" y="3487"/>
                    <a:pt x="2129" y="3480"/>
                  </a:cubicBezTo>
                  <a:lnTo>
                    <a:pt x="2136" y="3473"/>
                  </a:lnTo>
                  <a:cubicBezTo>
                    <a:pt x="2143" y="3470"/>
                    <a:pt x="2153" y="3463"/>
                    <a:pt x="2160" y="3459"/>
                  </a:cubicBezTo>
                  <a:lnTo>
                    <a:pt x="2164" y="3456"/>
                  </a:lnTo>
                  <a:cubicBezTo>
                    <a:pt x="2174" y="3452"/>
                    <a:pt x="2185" y="3449"/>
                    <a:pt x="2195" y="3445"/>
                  </a:cubicBezTo>
                  <a:lnTo>
                    <a:pt x="2206" y="3442"/>
                  </a:lnTo>
                  <a:lnTo>
                    <a:pt x="2230" y="3438"/>
                  </a:lnTo>
                  <a:lnTo>
                    <a:pt x="2237" y="3438"/>
                  </a:lnTo>
                  <a:cubicBezTo>
                    <a:pt x="2248" y="3438"/>
                    <a:pt x="2258" y="3438"/>
                    <a:pt x="2269" y="3435"/>
                  </a:cubicBezTo>
                  <a:lnTo>
                    <a:pt x="2335" y="3435"/>
                  </a:lnTo>
                  <a:lnTo>
                    <a:pt x="2381" y="3442"/>
                  </a:lnTo>
                  <a:lnTo>
                    <a:pt x="2388" y="3442"/>
                  </a:lnTo>
                  <a:lnTo>
                    <a:pt x="2402" y="3445"/>
                  </a:lnTo>
                  <a:lnTo>
                    <a:pt x="2395" y="3428"/>
                  </a:lnTo>
                  <a:lnTo>
                    <a:pt x="2370" y="3386"/>
                  </a:lnTo>
                  <a:lnTo>
                    <a:pt x="2360" y="3368"/>
                  </a:lnTo>
                  <a:lnTo>
                    <a:pt x="2328" y="3312"/>
                  </a:lnTo>
                  <a:lnTo>
                    <a:pt x="2318" y="3295"/>
                  </a:lnTo>
                  <a:lnTo>
                    <a:pt x="2290" y="3239"/>
                  </a:lnTo>
                  <a:lnTo>
                    <a:pt x="2286" y="3232"/>
                  </a:lnTo>
                  <a:lnTo>
                    <a:pt x="2255" y="3176"/>
                  </a:lnTo>
                  <a:lnTo>
                    <a:pt x="2248" y="3162"/>
                  </a:lnTo>
                  <a:lnTo>
                    <a:pt x="2220" y="3109"/>
                  </a:lnTo>
                  <a:lnTo>
                    <a:pt x="2216" y="3099"/>
                  </a:lnTo>
                  <a:lnTo>
                    <a:pt x="2195" y="3057"/>
                  </a:lnTo>
                  <a:lnTo>
                    <a:pt x="2192" y="3046"/>
                  </a:lnTo>
                  <a:cubicBezTo>
                    <a:pt x="2181" y="3032"/>
                    <a:pt x="2178" y="3015"/>
                    <a:pt x="2171" y="3004"/>
                  </a:cubicBezTo>
                  <a:lnTo>
                    <a:pt x="2167" y="2994"/>
                  </a:lnTo>
                  <a:cubicBezTo>
                    <a:pt x="2160" y="2980"/>
                    <a:pt x="2153" y="2966"/>
                    <a:pt x="2150" y="2955"/>
                  </a:cubicBezTo>
                  <a:cubicBezTo>
                    <a:pt x="2118" y="2868"/>
                    <a:pt x="2003" y="2763"/>
                    <a:pt x="1898" y="2672"/>
                  </a:cubicBezTo>
                  <a:cubicBezTo>
                    <a:pt x="1775" y="2560"/>
                    <a:pt x="1684" y="2479"/>
                    <a:pt x="1681" y="2399"/>
                  </a:cubicBezTo>
                  <a:cubicBezTo>
                    <a:pt x="1681" y="2367"/>
                    <a:pt x="1691" y="2336"/>
                    <a:pt x="1716" y="2315"/>
                  </a:cubicBezTo>
                  <a:cubicBezTo>
                    <a:pt x="1740" y="2290"/>
                    <a:pt x="1758" y="2206"/>
                    <a:pt x="1772" y="2136"/>
                  </a:cubicBezTo>
                  <a:cubicBezTo>
                    <a:pt x="1800" y="2000"/>
                    <a:pt x="1831" y="1842"/>
                    <a:pt x="1968" y="1825"/>
                  </a:cubicBezTo>
                  <a:cubicBezTo>
                    <a:pt x="2073" y="1814"/>
                    <a:pt x="2157" y="1776"/>
                    <a:pt x="2178" y="1734"/>
                  </a:cubicBezTo>
                  <a:cubicBezTo>
                    <a:pt x="2188" y="1713"/>
                    <a:pt x="2188" y="1685"/>
                    <a:pt x="2174" y="1664"/>
                  </a:cubicBezTo>
                  <a:lnTo>
                    <a:pt x="2174" y="1660"/>
                  </a:lnTo>
                  <a:cubicBezTo>
                    <a:pt x="2167" y="1650"/>
                    <a:pt x="2164" y="1639"/>
                    <a:pt x="2160" y="1629"/>
                  </a:cubicBezTo>
                  <a:cubicBezTo>
                    <a:pt x="2160" y="1622"/>
                    <a:pt x="2160" y="1618"/>
                    <a:pt x="2157" y="1611"/>
                  </a:cubicBezTo>
                  <a:cubicBezTo>
                    <a:pt x="2157" y="1604"/>
                    <a:pt x="2157" y="1597"/>
                    <a:pt x="2153" y="1586"/>
                  </a:cubicBezTo>
                  <a:lnTo>
                    <a:pt x="2153" y="1569"/>
                  </a:lnTo>
                  <a:lnTo>
                    <a:pt x="2153" y="1544"/>
                  </a:lnTo>
                  <a:lnTo>
                    <a:pt x="2153" y="1527"/>
                  </a:lnTo>
                  <a:cubicBezTo>
                    <a:pt x="2153" y="1520"/>
                    <a:pt x="2153" y="1509"/>
                    <a:pt x="2157" y="1502"/>
                  </a:cubicBezTo>
                  <a:cubicBezTo>
                    <a:pt x="2160" y="1492"/>
                    <a:pt x="2160" y="1488"/>
                    <a:pt x="2164" y="1481"/>
                  </a:cubicBezTo>
                  <a:cubicBezTo>
                    <a:pt x="2164" y="1474"/>
                    <a:pt x="2167" y="1464"/>
                    <a:pt x="2167" y="1453"/>
                  </a:cubicBezTo>
                  <a:lnTo>
                    <a:pt x="2174" y="1432"/>
                  </a:lnTo>
                  <a:cubicBezTo>
                    <a:pt x="2178" y="1422"/>
                    <a:pt x="2178" y="1415"/>
                    <a:pt x="2181" y="1404"/>
                  </a:cubicBezTo>
                  <a:lnTo>
                    <a:pt x="2188" y="1383"/>
                  </a:lnTo>
                  <a:lnTo>
                    <a:pt x="2199" y="1352"/>
                  </a:lnTo>
                  <a:lnTo>
                    <a:pt x="2206" y="1331"/>
                  </a:lnTo>
                  <a:lnTo>
                    <a:pt x="2209" y="1324"/>
                  </a:lnTo>
                  <a:cubicBezTo>
                    <a:pt x="2132" y="1278"/>
                    <a:pt x="2055" y="1184"/>
                    <a:pt x="1978" y="1089"/>
                  </a:cubicBezTo>
                  <a:cubicBezTo>
                    <a:pt x="1919" y="1019"/>
                    <a:pt x="1824" y="900"/>
                    <a:pt x="1789" y="897"/>
                  </a:cubicBezTo>
                  <a:cubicBezTo>
                    <a:pt x="1684" y="897"/>
                    <a:pt x="1583" y="851"/>
                    <a:pt x="1516" y="771"/>
                  </a:cubicBezTo>
                  <a:cubicBezTo>
                    <a:pt x="1450" y="694"/>
                    <a:pt x="1425" y="592"/>
                    <a:pt x="1446" y="494"/>
                  </a:cubicBezTo>
                  <a:cubicBezTo>
                    <a:pt x="1457" y="428"/>
                    <a:pt x="1394" y="389"/>
                    <a:pt x="1246" y="316"/>
                  </a:cubicBezTo>
                  <a:cubicBezTo>
                    <a:pt x="1120" y="260"/>
                    <a:pt x="1008" y="183"/>
                    <a:pt x="914" y="88"/>
                  </a:cubicBezTo>
                  <a:cubicBezTo>
                    <a:pt x="879" y="50"/>
                    <a:pt x="837" y="22"/>
                    <a:pt x="7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6" name="Google Shape;5836;p53"/>
            <p:cNvSpPr/>
            <p:nvPr/>
          </p:nvSpPr>
          <p:spPr>
            <a:xfrm>
              <a:off x="1596688" y="2004394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0" y="1"/>
                  </a:moveTo>
                  <a:cubicBezTo>
                    <a:pt x="14" y="1"/>
                    <a:pt x="28" y="1"/>
                    <a:pt x="42" y="4"/>
                  </a:cubicBezTo>
                  <a:cubicBezTo>
                    <a:pt x="28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7" name="Google Shape;5837;p53"/>
            <p:cNvSpPr/>
            <p:nvPr/>
          </p:nvSpPr>
          <p:spPr>
            <a:xfrm>
              <a:off x="1594502" y="200515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8" name="Google Shape;5838;p53"/>
            <p:cNvSpPr/>
            <p:nvPr/>
          </p:nvSpPr>
          <p:spPr>
            <a:xfrm>
              <a:off x="1621019" y="202849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9" name="Google Shape;5839;p53"/>
            <p:cNvSpPr/>
            <p:nvPr/>
          </p:nvSpPr>
          <p:spPr>
            <a:xfrm>
              <a:off x="1594638" y="2004394"/>
              <a:ext cx="1969" cy="774"/>
            </a:xfrm>
            <a:custGeom>
              <a:avLst/>
              <a:gdLst/>
              <a:ahLst/>
              <a:cxnLst/>
              <a:rect l="l" t="t" r="r" b="b"/>
              <a:pathLst>
                <a:path w="145" h="57" extrusionOk="0">
                  <a:moveTo>
                    <a:pt x="144" y="1"/>
                  </a:moveTo>
                  <a:cubicBezTo>
                    <a:pt x="92" y="1"/>
                    <a:pt x="39" y="18"/>
                    <a:pt x="1" y="57"/>
                  </a:cubicBezTo>
                  <a:cubicBezTo>
                    <a:pt x="39" y="18"/>
                    <a:pt x="92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0" name="Google Shape;5840;p53"/>
            <p:cNvSpPr/>
            <p:nvPr/>
          </p:nvSpPr>
          <p:spPr>
            <a:xfrm>
              <a:off x="1621494" y="202853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1" name="Google Shape;5841;p53"/>
            <p:cNvSpPr/>
            <p:nvPr/>
          </p:nvSpPr>
          <p:spPr>
            <a:xfrm>
              <a:off x="1619878" y="2028589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25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2" name="Google Shape;5842;p53"/>
            <p:cNvSpPr/>
            <p:nvPr/>
          </p:nvSpPr>
          <p:spPr>
            <a:xfrm>
              <a:off x="1619362" y="2028684"/>
              <a:ext cx="434" cy="149"/>
            </a:xfrm>
            <a:custGeom>
              <a:avLst/>
              <a:gdLst/>
              <a:ahLst/>
              <a:cxnLst/>
              <a:rect l="l" t="t" r="r" b="b"/>
              <a:pathLst>
                <a:path w="32" h="11" extrusionOk="0">
                  <a:moveTo>
                    <a:pt x="32" y="0"/>
                  </a:moveTo>
                  <a:cubicBezTo>
                    <a:pt x="21" y="4"/>
                    <a:pt x="11" y="7"/>
                    <a:pt x="0" y="11"/>
                  </a:cubicBezTo>
                  <a:cubicBezTo>
                    <a:pt x="11" y="7"/>
                    <a:pt x="21" y="4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3" name="Google Shape;5843;p53"/>
            <p:cNvSpPr/>
            <p:nvPr/>
          </p:nvSpPr>
          <p:spPr>
            <a:xfrm>
              <a:off x="1620353" y="2028494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32" y="0"/>
                  </a:moveTo>
                  <a:cubicBezTo>
                    <a:pt x="22" y="0"/>
                    <a:pt x="11" y="0"/>
                    <a:pt x="1" y="4"/>
                  </a:cubicBezTo>
                  <a:cubicBezTo>
                    <a:pt x="11" y="4"/>
                    <a:pt x="22" y="4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4" name="Google Shape;5844;p53"/>
            <p:cNvSpPr/>
            <p:nvPr/>
          </p:nvSpPr>
          <p:spPr>
            <a:xfrm>
              <a:off x="1618507" y="2029160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8" y="0"/>
                  </a:moveTo>
                  <a:cubicBezTo>
                    <a:pt x="18" y="7"/>
                    <a:pt x="7" y="14"/>
                    <a:pt x="0" y="21"/>
                  </a:cubicBezTo>
                  <a:cubicBezTo>
                    <a:pt x="7" y="14"/>
                    <a:pt x="18" y="7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5" name="Google Shape;5845;p53"/>
            <p:cNvSpPr/>
            <p:nvPr/>
          </p:nvSpPr>
          <p:spPr>
            <a:xfrm>
              <a:off x="1618928" y="2028874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0"/>
                  </a:moveTo>
                  <a:cubicBezTo>
                    <a:pt x="18" y="4"/>
                    <a:pt x="8" y="7"/>
                    <a:pt x="1" y="14"/>
                  </a:cubicBezTo>
                  <a:cubicBezTo>
                    <a:pt x="8" y="7"/>
                    <a:pt x="18" y="4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6" name="Google Shape;5846;p53"/>
            <p:cNvSpPr/>
            <p:nvPr/>
          </p:nvSpPr>
          <p:spPr>
            <a:xfrm>
              <a:off x="1622254" y="202863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7" name="Google Shape;5847;p53"/>
            <p:cNvSpPr/>
            <p:nvPr/>
          </p:nvSpPr>
          <p:spPr>
            <a:xfrm>
              <a:off x="1599444" y="198362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8" name="Google Shape;5848;p53"/>
            <p:cNvSpPr/>
            <p:nvPr/>
          </p:nvSpPr>
          <p:spPr>
            <a:xfrm>
              <a:off x="1591365" y="2001489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9" name="Google Shape;5849;p53"/>
            <p:cNvSpPr/>
            <p:nvPr/>
          </p:nvSpPr>
          <p:spPr>
            <a:xfrm>
              <a:off x="1594067" y="2004869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8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0" name="Google Shape;5850;p53"/>
            <p:cNvSpPr/>
            <p:nvPr/>
          </p:nvSpPr>
          <p:spPr>
            <a:xfrm>
              <a:off x="1599064" y="1984055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1" name="Google Shape;5851;p53"/>
            <p:cNvSpPr/>
            <p:nvPr/>
          </p:nvSpPr>
          <p:spPr>
            <a:xfrm>
              <a:off x="1599824" y="1983105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2" name="Google Shape;5852;p53"/>
            <p:cNvSpPr/>
            <p:nvPr/>
          </p:nvSpPr>
          <p:spPr>
            <a:xfrm>
              <a:off x="1593266" y="2003824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1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3" name="Google Shape;5853;p53"/>
            <p:cNvSpPr/>
            <p:nvPr/>
          </p:nvSpPr>
          <p:spPr>
            <a:xfrm>
              <a:off x="1591936" y="2002154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4" name="Google Shape;5854;p53"/>
            <p:cNvSpPr/>
            <p:nvPr/>
          </p:nvSpPr>
          <p:spPr>
            <a:xfrm>
              <a:off x="1590890" y="200097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5" name="Google Shape;5855;p53"/>
            <p:cNvSpPr/>
            <p:nvPr/>
          </p:nvSpPr>
          <p:spPr>
            <a:xfrm>
              <a:off x="1598344" y="198481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6" name="Google Shape;5856;p53"/>
            <p:cNvSpPr/>
            <p:nvPr/>
          </p:nvSpPr>
          <p:spPr>
            <a:xfrm>
              <a:off x="1592547" y="2002914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7" name="Google Shape;5857;p53"/>
            <p:cNvSpPr/>
            <p:nvPr/>
          </p:nvSpPr>
          <p:spPr>
            <a:xfrm>
              <a:off x="1595303" y="1987287"/>
              <a:ext cx="353" cy="584"/>
            </a:xfrm>
            <a:custGeom>
              <a:avLst/>
              <a:gdLst/>
              <a:ahLst/>
              <a:cxnLst/>
              <a:rect l="l" t="t" r="r" b="b"/>
              <a:pathLst>
                <a:path w="26" h="43" extrusionOk="0">
                  <a:moveTo>
                    <a:pt x="1" y="42"/>
                  </a:moveTo>
                  <a:cubicBezTo>
                    <a:pt x="8" y="28"/>
                    <a:pt x="15" y="11"/>
                    <a:pt x="25" y="0"/>
                  </a:cubicBezTo>
                  <a:cubicBezTo>
                    <a:pt x="15" y="11"/>
                    <a:pt x="8" y="28"/>
                    <a:pt x="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8" name="Google Shape;5858;p53"/>
            <p:cNvSpPr/>
            <p:nvPr/>
          </p:nvSpPr>
          <p:spPr>
            <a:xfrm>
              <a:off x="1600245" y="1982534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9" name="Google Shape;5859;p53"/>
            <p:cNvSpPr/>
            <p:nvPr/>
          </p:nvSpPr>
          <p:spPr>
            <a:xfrm>
              <a:off x="1598684" y="1984476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0" name="Google Shape;5860;p53"/>
            <p:cNvSpPr/>
            <p:nvPr/>
          </p:nvSpPr>
          <p:spPr>
            <a:xfrm>
              <a:off x="1596498" y="1985101"/>
              <a:ext cx="1534" cy="1195"/>
            </a:xfrm>
            <a:custGeom>
              <a:avLst/>
              <a:gdLst/>
              <a:ahLst/>
              <a:cxnLst/>
              <a:rect l="l" t="t" r="r" b="b"/>
              <a:pathLst>
                <a:path w="113" h="88" extrusionOk="0">
                  <a:moveTo>
                    <a:pt x="112" y="0"/>
                  </a:moveTo>
                  <a:lnTo>
                    <a:pt x="112" y="0"/>
                  </a:lnTo>
                  <a:cubicBezTo>
                    <a:pt x="74" y="25"/>
                    <a:pt x="35" y="56"/>
                    <a:pt x="0" y="88"/>
                  </a:cubicBezTo>
                  <a:cubicBezTo>
                    <a:pt x="35" y="56"/>
                    <a:pt x="74" y="25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1" name="Google Shape;5861;p53"/>
            <p:cNvSpPr/>
            <p:nvPr/>
          </p:nvSpPr>
          <p:spPr>
            <a:xfrm>
              <a:off x="1590456" y="200053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2" name="Google Shape;5862;p53"/>
            <p:cNvSpPr/>
            <p:nvPr/>
          </p:nvSpPr>
          <p:spPr>
            <a:xfrm>
              <a:off x="1619783" y="1999968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8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3" name="Google Shape;5863;p53"/>
            <p:cNvSpPr/>
            <p:nvPr/>
          </p:nvSpPr>
          <p:spPr>
            <a:xfrm>
              <a:off x="1619213" y="2003783"/>
              <a:ext cx="68" cy="190"/>
            </a:xfrm>
            <a:custGeom>
              <a:avLst/>
              <a:gdLst/>
              <a:ahLst/>
              <a:cxnLst/>
              <a:rect l="l" t="t" r="r" b="b"/>
              <a:pathLst>
                <a:path w="5" h="14" extrusionOk="0">
                  <a:moveTo>
                    <a:pt x="1" y="0"/>
                  </a:moveTo>
                  <a:cubicBezTo>
                    <a:pt x="1" y="4"/>
                    <a:pt x="1" y="11"/>
                    <a:pt x="4" y="14"/>
                  </a:cubicBezTo>
                  <a:cubicBezTo>
                    <a:pt x="4" y="11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4" name="Google Shape;5864;p53"/>
            <p:cNvSpPr/>
            <p:nvPr/>
          </p:nvSpPr>
          <p:spPr>
            <a:xfrm>
              <a:off x="1619267" y="2001964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cubicBezTo>
                    <a:pt x="0" y="11"/>
                    <a:pt x="0" y="18"/>
                    <a:pt x="0" y="22"/>
                  </a:cubicBezTo>
                  <a:cubicBezTo>
                    <a:pt x="0" y="18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5" name="Google Shape;5865;p53"/>
            <p:cNvSpPr/>
            <p:nvPr/>
          </p:nvSpPr>
          <p:spPr>
            <a:xfrm>
              <a:off x="1619362" y="200135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lnTo>
                    <a:pt x="0" y="21"/>
                  </a:lnTo>
                  <a:cubicBezTo>
                    <a:pt x="4" y="14"/>
                    <a:pt x="7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6" name="Google Shape;5866;p53"/>
            <p:cNvSpPr/>
            <p:nvPr/>
          </p:nvSpPr>
          <p:spPr>
            <a:xfrm>
              <a:off x="1619552" y="200068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7" name="Google Shape;5867;p53"/>
            <p:cNvSpPr/>
            <p:nvPr/>
          </p:nvSpPr>
          <p:spPr>
            <a:xfrm>
              <a:off x="1619172" y="2003199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ubicBezTo>
                    <a:pt x="0" y="8"/>
                    <a:pt x="0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8" name="Google Shape;5868;p53"/>
            <p:cNvSpPr/>
            <p:nvPr/>
          </p:nvSpPr>
          <p:spPr>
            <a:xfrm>
              <a:off x="1620598" y="2025073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9" name="Google Shape;5869;p53"/>
            <p:cNvSpPr/>
            <p:nvPr/>
          </p:nvSpPr>
          <p:spPr>
            <a:xfrm>
              <a:off x="1619118" y="2022031"/>
              <a:ext cx="258" cy="530"/>
            </a:xfrm>
            <a:custGeom>
              <a:avLst/>
              <a:gdLst/>
              <a:ahLst/>
              <a:cxnLst/>
              <a:rect l="l" t="t" r="r" b="b"/>
              <a:pathLst>
                <a:path w="19" h="39" extrusionOk="0">
                  <a:moveTo>
                    <a:pt x="1" y="0"/>
                  </a:moveTo>
                  <a:cubicBezTo>
                    <a:pt x="8" y="11"/>
                    <a:pt x="11" y="25"/>
                    <a:pt x="18" y="39"/>
                  </a:cubicBezTo>
                  <a:cubicBezTo>
                    <a:pt x="11" y="25"/>
                    <a:pt x="8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0" name="Google Shape;5870;p53"/>
            <p:cNvSpPr/>
            <p:nvPr/>
          </p:nvSpPr>
          <p:spPr>
            <a:xfrm>
              <a:off x="1622118" y="2027924"/>
              <a:ext cx="339" cy="584"/>
            </a:xfrm>
            <a:custGeom>
              <a:avLst/>
              <a:gdLst/>
              <a:ahLst/>
              <a:cxnLst/>
              <a:rect l="l" t="t" r="r" b="b"/>
              <a:pathLst>
                <a:path w="25" h="43" extrusionOk="0">
                  <a:moveTo>
                    <a:pt x="0" y="0"/>
                  </a:moveTo>
                  <a:lnTo>
                    <a:pt x="25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1" name="Google Shape;5871;p53"/>
            <p:cNvSpPr/>
            <p:nvPr/>
          </p:nvSpPr>
          <p:spPr>
            <a:xfrm>
              <a:off x="1619172" y="2002588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0" y="7"/>
                    <a:pt x="0" y="14"/>
                    <a:pt x="4" y="21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2" name="Google Shape;5872;p53"/>
            <p:cNvSpPr/>
            <p:nvPr/>
          </p:nvSpPr>
          <p:spPr>
            <a:xfrm>
              <a:off x="1619742" y="2023403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0" y="1"/>
                  </a:moveTo>
                  <a:lnTo>
                    <a:pt x="21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3" name="Google Shape;5873;p53"/>
            <p:cNvSpPr/>
            <p:nvPr/>
          </p:nvSpPr>
          <p:spPr>
            <a:xfrm>
              <a:off x="1621548" y="2026879"/>
              <a:ext cx="434" cy="815"/>
            </a:xfrm>
            <a:custGeom>
              <a:avLst/>
              <a:gdLst/>
              <a:ahLst/>
              <a:cxnLst/>
              <a:rect l="l" t="t" r="r" b="b"/>
              <a:pathLst>
                <a:path w="32" h="60" extrusionOk="0">
                  <a:moveTo>
                    <a:pt x="0" y="0"/>
                  </a:moveTo>
                  <a:lnTo>
                    <a:pt x="32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4" name="Google Shape;5874;p53"/>
            <p:cNvSpPr/>
            <p:nvPr/>
          </p:nvSpPr>
          <p:spPr>
            <a:xfrm>
              <a:off x="1621073" y="2025928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5" name="Google Shape;5875;p53"/>
            <p:cNvSpPr/>
            <p:nvPr/>
          </p:nvSpPr>
          <p:spPr>
            <a:xfrm>
              <a:off x="1620123" y="202412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6" name="Google Shape;5876;p53"/>
            <p:cNvSpPr/>
            <p:nvPr/>
          </p:nvSpPr>
          <p:spPr>
            <a:xfrm>
              <a:off x="1619403" y="2022642"/>
              <a:ext cx="299" cy="638"/>
            </a:xfrm>
            <a:custGeom>
              <a:avLst/>
              <a:gdLst/>
              <a:ahLst/>
              <a:cxnLst/>
              <a:rect l="l" t="t" r="r" b="b"/>
              <a:pathLst>
                <a:path w="22" h="47" extrusionOk="0">
                  <a:moveTo>
                    <a:pt x="1" y="1"/>
                  </a:moveTo>
                  <a:cubicBezTo>
                    <a:pt x="8" y="15"/>
                    <a:pt x="15" y="32"/>
                    <a:pt x="22" y="46"/>
                  </a:cubicBezTo>
                  <a:cubicBezTo>
                    <a:pt x="15" y="32"/>
                    <a:pt x="8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7" name="Google Shape;5877;p53"/>
            <p:cNvSpPr/>
            <p:nvPr/>
          </p:nvSpPr>
          <p:spPr>
            <a:xfrm>
              <a:off x="1619457" y="200444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8" name="Google Shape;5878;p53"/>
            <p:cNvSpPr/>
            <p:nvPr/>
          </p:nvSpPr>
          <p:spPr>
            <a:xfrm>
              <a:off x="1641466" y="2001964"/>
              <a:ext cx="20488" cy="25689"/>
            </a:xfrm>
            <a:custGeom>
              <a:avLst/>
              <a:gdLst/>
              <a:ahLst/>
              <a:cxnLst/>
              <a:rect l="l" t="t" r="r" b="b"/>
              <a:pathLst>
                <a:path w="1509" h="1892" extrusionOk="0">
                  <a:moveTo>
                    <a:pt x="256" y="1"/>
                  </a:moveTo>
                  <a:lnTo>
                    <a:pt x="256" y="8"/>
                  </a:lnTo>
                  <a:lnTo>
                    <a:pt x="249" y="25"/>
                  </a:lnTo>
                  <a:lnTo>
                    <a:pt x="242" y="43"/>
                  </a:lnTo>
                  <a:lnTo>
                    <a:pt x="238" y="57"/>
                  </a:lnTo>
                  <a:lnTo>
                    <a:pt x="231" y="78"/>
                  </a:lnTo>
                  <a:lnTo>
                    <a:pt x="228" y="88"/>
                  </a:lnTo>
                  <a:lnTo>
                    <a:pt x="221" y="106"/>
                  </a:lnTo>
                  <a:lnTo>
                    <a:pt x="221" y="113"/>
                  </a:lnTo>
                  <a:lnTo>
                    <a:pt x="214" y="130"/>
                  </a:lnTo>
                  <a:lnTo>
                    <a:pt x="214" y="138"/>
                  </a:lnTo>
                  <a:cubicBezTo>
                    <a:pt x="207" y="152"/>
                    <a:pt x="203" y="162"/>
                    <a:pt x="196" y="173"/>
                  </a:cubicBezTo>
                  <a:lnTo>
                    <a:pt x="196" y="176"/>
                  </a:lnTo>
                  <a:lnTo>
                    <a:pt x="193" y="190"/>
                  </a:lnTo>
                  <a:lnTo>
                    <a:pt x="193" y="194"/>
                  </a:lnTo>
                  <a:lnTo>
                    <a:pt x="186" y="201"/>
                  </a:lnTo>
                  <a:lnTo>
                    <a:pt x="186" y="204"/>
                  </a:lnTo>
                  <a:lnTo>
                    <a:pt x="182" y="211"/>
                  </a:lnTo>
                  <a:lnTo>
                    <a:pt x="182" y="215"/>
                  </a:lnTo>
                  <a:lnTo>
                    <a:pt x="179" y="222"/>
                  </a:lnTo>
                  <a:lnTo>
                    <a:pt x="179" y="225"/>
                  </a:lnTo>
                  <a:lnTo>
                    <a:pt x="175" y="229"/>
                  </a:lnTo>
                  <a:lnTo>
                    <a:pt x="175" y="232"/>
                  </a:lnTo>
                  <a:lnTo>
                    <a:pt x="172" y="236"/>
                  </a:lnTo>
                  <a:lnTo>
                    <a:pt x="168" y="239"/>
                  </a:lnTo>
                  <a:lnTo>
                    <a:pt x="165" y="243"/>
                  </a:lnTo>
                  <a:cubicBezTo>
                    <a:pt x="158" y="246"/>
                    <a:pt x="154" y="253"/>
                    <a:pt x="147" y="260"/>
                  </a:cubicBezTo>
                  <a:cubicBezTo>
                    <a:pt x="63" y="355"/>
                    <a:pt x="0" y="614"/>
                    <a:pt x="84" y="817"/>
                  </a:cubicBezTo>
                  <a:cubicBezTo>
                    <a:pt x="161" y="999"/>
                    <a:pt x="186" y="1286"/>
                    <a:pt x="172" y="1464"/>
                  </a:cubicBezTo>
                  <a:cubicBezTo>
                    <a:pt x="168" y="1492"/>
                    <a:pt x="165" y="1517"/>
                    <a:pt x="158" y="1545"/>
                  </a:cubicBezTo>
                  <a:cubicBezTo>
                    <a:pt x="154" y="1562"/>
                    <a:pt x="151" y="1580"/>
                    <a:pt x="144" y="1597"/>
                  </a:cubicBezTo>
                  <a:lnTo>
                    <a:pt x="137" y="1608"/>
                  </a:lnTo>
                  <a:lnTo>
                    <a:pt x="137" y="1611"/>
                  </a:lnTo>
                  <a:lnTo>
                    <a:pt x="133" y="1615"/>
                  </a:lnTo>
                  <a:lnTo>
                    <a:pt x="133" y="1618"/>
                  </a:lnTo>
                  <a:lnTo>
                    <a:pt x="130" y="1622"/>
                  </a:lnTo>
                  <a:lnTo>
                    <a:pt x="130" y="1625"/>
                  </a:lnTo>
                  <a:lnTo>
                    <a:pt x="126" y="1632"/>
                  </a:lnTo>
                  <a:lnTo>
                    <a:pt x="126" y="1636"/>
                  </a:lnTo>
                  <a:lnTo>
                    <a:pt x="123" y="1643"/>
                  </a:lnTo>
                  <a:lnTo>
                    <a:pt x="119" y="1650"/>
                  </a:lnTo>
                  <a:lnTo>
                    <a:pt x="112" y="1657"/>
                  </a:lnTo>
                  <a:lnTo>
                    <a:pt x="109" y="1664"/>
                  </a:lnTo>
                  <a:lnTo>
                    <a:pt x="105" y="1671"/>
                  </a:lnTo>
                  <a:lnTo>
                    <a:pt x="98" y="1685"/>
                  </a:lnTo>
                  <a:lnTo>
                    <a:pt x="95" y="1688"/>
                  </a:lnTo>
                  <a:lnTo>
                    <a:pt x="81" y="1709"/>
                  </a:lnTo>
                  <a:cubicBezTo>
                    <a:pt x="63" y="1737"/>
                    <a:pt x="42" y="1769"/>
                    <a:pt x="14" y="1814"/>
                  </a:cubicBezTo>
                  <a:cubicBezTo>
                    <a:pt x="14" y="1821"/>
                    <a:pt x="14" y="1832"/>
                    <a:pt x="18" y="1839"/>
                  </a:cubicBezTo>
                  <a:cubicBezTo>
                    <a:pt x="74" y="1875"/>
                    <a:pt x="137" y="1892"/>
                    <a:pt x="201" y="1892"/>
                  </a:cubicBezTo>
                  <a:cubicBezTo>
                    <a:pt x="225" y="1892"/>
                    <a:pt x="249" y="1889"/>
                    <a:pt x="273" y="1884"/>
                  </a:cubicBezTo>
                  <a:lnTo>
                    <a:pt x="280" y="1884"/>
                  </a:lnTo>
                  <a:lnTo>
                    <a:pt x="315" y="1874"/>
                  </a:lnTo>
                  <a:lnTo>
                    <a:pt x="329" y="1874"/>
                  </a:lnTo>
                  <a:cubicBezTo>
                    <a:pt x="343" y="1867"/>
                    <a:pt x="361" y="1863"/>
                    <a:pt x="375" y="1860"/>
                  </a:cubicBezTo>
                  <a:cubicBezTo>
                    <a:pt x="453" y="1835"/>
                    <a:pt x="535" y="1823"/>
                    <a:pt x="614" y="1823"/>
                  </a:cubicBezTo>
                  <a:cubicBezTo>
                    <a:pt x="634" y="1823"/>
                    <a:pt x="653" y="1824"/>
                    <a:pt x="672" y="1825"/>
                  </a:cubicBezTo>
                  <a:cubicBezTo>
                    <a:pt x="691" y="1825"/>
                    <a:pt x="707" y="1826"/>
                    <a:pt x="723" y="1826"/>
                  </a:cubicBezTo>
                  <a:cubicBezTo>
                    <a:pt x="817" y="1826"/>
                    <a:pt x="856" y="1807"/>
                    <a:pt x="907" y="1653"/>
                  </a:cubicBezTo>
                  <a:cubicBezTo>
                    <a:pt x="914" y="1636"/>
                    <a:pt x="921" y="1615"/>
                    <a:pt x="931" y="1594"/>
                  </a:cubicBezTo>
                  <a:cubicBezTo>
                    <a:pt x="935" y="1587"/>
                    <a:pt x="938" y="1580"/>
                    <a:pt x="938" y="1573"/>
                  </a:cubicBezTo>
                  <a:cubicBezTo>
                    <a:pt x="945" y="1559"/>
                    <a:pt x="952" y="1545"/>
                    <a:pt x="959" y="1531"/>
                  </a:cubicBezTo>
                  <a:lnTo>
                    <a:pt x="973" y="1506"/>
                  </a:lnTo>
                  <a:cubicBezTo>
                    <a:pt x="980" y="1492"/>
                    <a:pt x="987" y="1478"/>
                    <a:pt x="994" y="1468"/>
                  </a:cubicBezTo>
                  <a:lnTo>
                    <a:pt x="1008" y="1440"/>
                  </a:lnTo>
                  <a:lnTo>
                    <a:pt x="1033" y="1401"/>
                  </a:lnTo>
                  <a:lnTo>
                    <a:pt x="1047" y="1377"/>
                  </a:lnTo>
                  <a:lnTo>
                    <a:pt x="1075" y="1338"/>
                  </a:lnTo>
                  <a:lnTo>
                    <a:pt x="1089" y="1314"/>
                  </a:lnTo>
                  <a:lnTo>
                    <a:pt x="1120" y="1268"/>
                  </a:lnTo>
                  <a:lnTo>
                    <a:pt x="1134" y="1251"/>
                  </a:lnTo>
                  <a:cubicBezTo>
                    <a:pt x="1166" y="1205"/>
                    <a:pt x="1197" y="1167"/>
                    <a:pt x="1229" y="1128"/>
                  </a:cubicBezTo>
                  <a:lnTo>
                    <a:pt x="1243" y="1111"/>
                  </a:lnTo>
                  <a:lnTo>
                    <a:pt x="1278" y="1069"/>
                  </a:lnTo>
                  <a:lnTo>
                    <a:pt x="1295" y="1051"/>
                  </a:lnTo>
                  <a:lnTo>
                    <a:pt x="1327" y="1016"/>
                  </a:lnTo>
                  <a:lnTo>
                    <a:pt x="1344" y="995"/>
                  </a:lnTo>
                  <a:lnTo>
                    <a:pt x="1372" y="960"/>
                  </a:lnTo>
                  <a:lnTo>
                    <a:pt x="1390" y="943"/>
                  </a:lnTo>
                  <a:lnTo>
                    <a:pt x="1418" y="911"/>
                  </a:lnTo>
                  <a:lnTo>
                    <a:pt x="1432" y="897"/>
                  </a:lnTo>
                  <a:lnTo>
                    <a:pt x="1463" y="862"/>
                  </a:lnTo>
                  <a:lnTo>
                    <a:pt x="1470" y="855"/>
                  </a:lnTo>
                  <a:lnTo>
                    <a:pt x="1509" y="817"/>
                  </a:lnTo>
                  <a:cubicBezTo>
                    <a:pt x="1407" y="740"/>
                    <a:pt x="1309" y="652"/>
                    <a:pt x="1225" y="558"/>
                  </a:cubicBezTo>
                  <a:cubicBezTo>
                    <a:pt x="1050" y="376"/>
                    <a:pt x="847" y="173"/>
                    <a:pt x="662" y="134"/>
                  </a:cubicBezTo>
                  <a:cubicBezTo>
                    <a:pt x="522" y="99"/>
                    <a:pt x="389" y="57"/>
                    <a:pt x="2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9" name="Google Shape;5879;p53"/>
            <p:cNvSpPr/>
            <p:nvPr/>
          </p:nvSpPr>
          <p:spPr>
            <a:xfrm>
              <a:off x="1659470" y="2015473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0" name="Google Shape;5880;p53"/>
            <p:cNvSpPr/>
            <p:nvPr/>
          </p:nvSpPr>
          <p:spPr>
            <a:xfrm>
              <a:off x="1656714" y="2018936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1" name="Google Shape;5881;p53"/>
            <p:cNvSpPr/>
            <p:nvPr/>
          </p:nvSpPr>
          <p:spPr>
            <a:xfrm>
              <a:off x="1660760" y="201414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2" name="Google Shape;5882;p53"/>
            <p:cNvSpPr/>
            <p:nvPr/>
          </p:nvSpPr>
          <p:spPr>
            <a:xfrm>
              <a:off x="1654487" y="2022412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4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3" name="Google Shape;5883;p53"/>
            <p:cNvSpPr/>
            <p:nvPr/>
          </p:nvSpPr>
          <p:spPr>
            <a:xfrm>
              <a:off x="1660095" y="2014808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18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4" name="Google Shape;5884;p53"/>
            <p:cNvSpPr/>
            <p:nvPr/>
          </p:nvSpPr>
          <p:spPr>
            <a:xfrm>
              <a:off x="1655478" y="2020646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1"/>
                  </a:moveTo>
                  <a:lnTo>
                    <a:pt x="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5" name="Google Shape;5885;p53"/>
            <p:cNvSpPr/>
            <p:nvPr/>
          </p:nvSpPr>
          <p:spPr>
            <a:xfrm>
              <a:off x="1654962" y="2021556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4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6" name="Google Shape;5886;p53"/>
            <p:cNvSpPr/>
            <p:nvPr/>
          </p:nvSpPr>
          <p:spPr>
            <a:xfrm>
              <a:off x="1656049" y="2019791"/>
              <a:ext cx="258" cy="353"/>
            </a:xfrm>
            <a:custGeom>
              <a:avLst/>
              <a:gdLst/>
              <a:ahLst/>
              <a:cxnLst/>
              <a:rect l="l" t="t" r="r" b="b"/>
              <a:pathLst>
                <a:path w="19" h="26" extrusionOk="0">
                  <a:moveTo>
                    <a:pt x="18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7" name="Google Shape;5887;p53"/>
            <p:cNvSpPr/>
            <p:nvPr/>
          </p:nvSpPr>
          <p:spPr>
            <a:xfrm>
              <a:off x="1645933" y="2026634"/>
              <a:ext cx="4711" cy="774"/>
            </a:xfrm>
            <a:custGeom>
              <a:avLst/>
              <a:gdLst/>
              <a:ahLst/>
              <a:cxnLst/>
              <a:rect l="l" t="t" r="r" b="b"/>
              <a:pathLst>
                <a:path w="347" h="57" extrusionOk="0">
                  <a:moveTo>
                    <a:pt x="46" y="43"/>
                  </a:moveTo>
                  <a:cubicBezTo>
                    <a:pt x="32" y="46"/>
                    <a:pt x="14" y="50"/>
                    <a:pt x="0" y="57"/>
                  </a:cubicBezTo>
                  <a:cubicBezTo>
                    <a:pt x="14" y="50"/>
                    <a:pt x="32" y="46"/>
                    <a:pt x="46" y="43"/>
                  </a:cubicBezTo>
                  <a:cubicBezTo>
                    <a:pt x="144" y="11"/>
                    <a:pt x="245" y="1"/>
                    <a:pt x="347" y="8"/>
                  </a:cubicBezTo>
                  <a:cubicBezTo>
                    <a:pt x="245" y="1"/>
                    <a:pt x="144" y="11"/>
                    <a:pt x="46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8" name="Google Shape;5888;p53"/>
            <p:cNvSpPr/>
            <p:nvPr/>
          </p:nvSpPr>
          <p:spPr>
            <a:xfrm>
              <a:off x="1658194" y="2017035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4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9" name="Google Shape;5889;p53"/>
            <p:cNvSpPr/>
            <p:nvPr/>
          </p:nvSpPr>
          <p:spPr>
            <a:xfrm>
              <a:off x="1645268" y="2027395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0" name="Google Shape;5890;p53"/>
            <p:cNvSpPr/>
            <p:nvPr/>
          </p:nvSpPr>
          <p:spPr>
            <a:xfrm>
              <a:off x="1658859" y="2016234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1" name="Google Shape;5891;p53"/>
            <p:cNvSpPr/>
            <p:nvPr/>
          </p:nvSpPr>
          <p:spPr>
            <a:xfrm>
              <a:off x="1661371" y="201361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2" name="Google Shape;5892;p53"/>
            <p:cNvSpPr/>
            <p:nvPr/>
          </p:nvSpPr>
          <p:spPr>
            <a:xfrm>
              <a:off x="1654107" y="2023308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1"/>
                  </a:moveTo>
                  <a:cubicBezTo>
                    <a:pt x="7" y="8"/>
                    <a:pt x="4" y="15"/>
                    <a:pt x="0" y="22"/>
                  </a:cubicBezTo>
                  <a:cubicBezTo>
                    <a:pt x="4" y="15"/>
                    <a:pt x="7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3" name="Google Shape;5893;p53"/>
            <p:cNvSpPr/>
            <p:nvPr/>
          </p:nvSpPr>
          <p:spPr>
            <a:xfrm>
              <a:off x="1641697" y="2026919"/>
              <a:ext cx="3476" cy="733"/>
            </a:xfrm>
            <a:custGeom>
              <a:avLst/>
              <a:gdLst/>
              <a:ahLst/>
              <a:cxnLst/>
              <a:rect l="l" t="t" r="r" b="b"/>
              <a:pathLst>
                <a:path w="256" h="54" extrusionOk="0">
                  <a:moveTo>
                    <a:pt x="1" y="1"/>
                  </a:moveTo>
                  <a:cubicBezTo>
                    <a:pt x="54" y="37"/>
                    <a:pt x="118" y="54"/>
                    <a:pt x="183" y="54"/>
                  </a:cubicBezTo>
                  <a:cubicBezTo>
                    <a:pt x="183" y="54"/>
                    <a:pt x="183" y="54"/>
                    <a:pt x="184" y="54"/>
                  </a:cubicBezTo>
                  <a:lnTo>
                    <a:pt x="184" y="54"/>
                  </a:lnTo>
                  <a:cubicBezTo>
                    <a:pt x="184" y="54"/>
                    <a:pt x="184" y="54"/>
                    <a:pt x="184" y="54"/>
                  </a:cubicBezTo>
                  <a:cubicBezTo>
                    <a:pt x="208" y="54"/>
                    <a:pt x="232" y="51"/>
                    <a:pt x="256" y="46"/>
                  </a:cubicBezTo>
                  <a:lnTo>
                    <a:pt x="256" y="46"/>
                  </a:lnTo>
                  <a:cubicBezTo>
                    <a:pt x="232" y="51"/>
                    <a:pt x="208" y="54"/>
                    <a:pt x="184" y="54"/>
                  </a:cubicBezTo>
                  <a:lnTo>
                    <a:pt x="184" y="54"/>
                  </a:lnTo>
                  <a:cubicBezTo>
                    <a:pt x="120" y="54"/>
                    <a:pt x="56" y="36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4" name="Google Shape;5894;p53"/>
            <p:cNvSpPr/>
            <p:nvPr/>
          </p:nvSpPr>
          <p:spPr>
            <a:xfrm>
              <a:off x="1643123" y="2023688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5" name="Google Shape;5895;p53"/>
            <p:cNvSpPr/>
            <p:nvPr/>
          </p:nvSpPr>
          <p:spPr>
            <a:xfrm>
              <a:off x="1643082" y="202383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6" name="Google Shape;5896;p53"/>
            <p:cNvSpPr/>
            <p:nvPr/>
          </p:nvSpPr>
          <p:spPr>
            <a:xfrm>
              <a:off x="1642458" y="2013097"/>
              <a:ext cx="1344" cy="8798"/>
            </a:xfrm>
            <a:custGeom>
              <a:avLst/>
              <a:gdLst/>
              <a:ahLst/>
              <a:cxnLst/>
              <a:rect l="l" t="t" r="r" b="b"/>
              <a:pathLst>
                <a:path w="99" h="648" extrusionOk="0">
                  <a:moveTo>
                    <a:pt x="1" y="1"/>
                  </a:moveTo>
                  <a:lnTo>
                    <a:pt x="1" y="1"/>
                  </a:lnTo>
                  <a:cubicBezTo>
                    <a:pt x="74" y="183"/>
                    <a:pt x="95" y="473"/>
                    <a:pt x="85" y="648"/>
                  </a:cubicBezTo>
                  <a:cubicBezTo>
                    <a:pt x="99" y="473"/>
                    <a:pt x="74" y="18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7" name="Google Shape;5897;p53"/>
            <p:cNvSpPr/>
            <p:nvPr/>
          </p:nvSpPr>
          <p:spPr>
            <a:xfrm>
              <a:off x="1644128" y="20043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8" name="Google Shape;5898;p53"/>
            <p:cNvSpPr/>
            <p:nvPr/>
          </p:nvSpPr>
          <p:spPr>
            <a:xfrm>
              <a:off x="1644358" y="200378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9" name="Google Shape;5899;p53"/>
            <p:cNvSpPr/>
            <p:nvPr/>
          </p:nvSpPr>
          <p:spPr>
            <a:xfrm>
              <a:off x="1644834" y="200205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0" name="Google Shape;5900;p53"/>
            <p:cNvSpPr/>
            <p:nvPr/>
          </p:nvSpPr>
          <p:spPr>
            <a:xfrm>
              <a:off x="1644033" y="200454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1" name="Google Shape;5901;p53"/>
            <p:cNvSpPr/>
            <p:nvPr/>
          </p:nvSpPr>
          <p:spPr>
            <a:xfrm>
              <a:off x="1643028" y="202387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2" name="Google Shape;5902;p53"/>
            <p:cNvSpPr/>
            <p:nvPr/>
          </p:nvSpPr>
          <p:spPr>
            <a:xfrm>
              <a:off x="1643693" y="20051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3" name="Google Shape;5903;p53"/>
            <p:cNvSpPr/>
            <p:nvPr/>
          </p:nvSpPr>
          <p:spPr>
            <a:xfrm>
              <a:off x="1644453" y="200338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4" name="Google Shape;5904;p53"/>
            <p:cNvSpPr/>
            <p:nvPr/>
          </p:nvSpPr>
          <p:spPr>
            <a:xfrm>
              <a:off x="1642607" y="202459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5" name="Google Shape;5905;p53"/>
            <p:cNvSpPr/>
            <p:nvPr/>
          </p:nvSpPr>
          <p:spPr>
            <a:xfrm>
              <a:off x="1642987" y="202402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6" name="Google Shape;5906;p53"/>
            <p:cNvSpPr/>
            <p:nvPr/>
          </p:nvSpPr>
          <p:spPr>
            <a:xfrm>
              <a:off x="1642702" y="202440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7" name="Google Shape;5907;p53"/>
            <p:cNvSpPr/>
            <p:nvPr/>
          </p:nvSpPr>
          <p:spPr>
            <a:xfrm>
              <a:off x="1643652" y="20052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8" name="Google Shape;5908;p53"/>
            <p:cNvSpPr/>
            <p:nvPr/>
          </p:nvSpPr>
          <p:spPr>
            <a:xfrm>
              <a:off x="1642838" y="202425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9" name="Google Shape;5909;p53"/>
            <p:cNvSpPr/>
            <p:nvPr/>
          </p:nvSpPr>
          <p:spPr>
            <a:xfrm>
              <a:off x="1643408" y="2021882"/>
              <a:ext cx="163" cy="1113"/>
            </a:xfrm>
            <a:custGeom>
              <a:avLst/>
              <a:gdLst/>
              <a:ahLst/>
              <a:cxnLst/>
              <a:rect l="l" t="t" r="r" b="b"/>
              <a:pathLst>
                <a:path w="12" h="82" extrusionOk="0">
                  <a:moveTo>
                    <a:pt x="1" y="81"/>
                  </a:moveTo>
                  <a:cubicBezTo>
                    <a:pt x="4" y="53"/>
                    <a:pt x="11" y="29"/>
                    <a:pt x="11" y="1"/>
                  </a:cubicBezTo>
                  <a:cubicBezTo>
                    <a:pt x="11" y="29"/>
                    <a:pt x="4" y="53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0" name="Google Shape;5910;p53"/>
            <p:cNvSpPr/>
            <p:nvPr/>
          </p:nvSpPr>
          <p:spPr>
            <a:xfrm>
              <a:off x="1644698" y="200258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1" name="Google Shape;5911;p53"/>
            <p:cNvSpPr/>
            <p:nvPr/>
          </p:nvSpPr>
          <p:spPr>
            <a:xfrm>
              <a:off x="1643937" y="200473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2" name="Google Shape;5912;p53"/>
            <p:cNvSpPr/>
            <p:nvPr/>
          </p:nvSpPr>
          <p:spPr>
            <a:xfrm>
              <a:off x="1642267" y="20252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3" name="Google Shape;5913;p53"/>
            <p:cNvSpPr/>
            <p:nvPr/>
          </p:nvSpPr>
          <p:spPr>
            <a:xfrm>
              <a:off x="1644603" y="2003009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4" name="Google Shape;5914;p53"/>
            <p:cNvSpPr/>
            <p:nvPr/>
          </p:nvSpPr>
          <p:spPr>
            <a:xfrm>
              <a:off x="1642892" y="20241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5" name="Google Shape;5915;p53"/>
            <p:cNvSpPr/>
            <p:nvPr/>
          </p:nvSpPr>
          <p:spPr>
            <a:xfrm>
              <a:off x="1643598" y="20052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6" name="Google Shape;5916;p53"/>
            <p:cNvSpPr/>
            <p:nvPr/>
          </p:nvSpPr>
          <p:spPr>
            <a:xfrm>
              <a:off x="1643842" y="200486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7" name="Google Shape;5917;p53"/>
            <p:cNvSpPr/>
            <p:nvPr/>
          </p:nvSpPr>
          <p:spPr>
            <a:xfrm>
              <a:off x="1642458" y="202488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8" name="Google Shape;5918;p53"/>
            <p:cNvSpPr/>
            <p:nvPr/>
          </p:nvSpPr>
          <p:spPr>
            <a:xfrm>
              <a:off x="1643747" y="200496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9" name="Google Shape;5919;p53"/>
            <p:cNvSpPr/>
            <p:nvPr/>
          </p:nvSpPr>
          <p:spPr>
            <a:xfrm>
              <a:off x="1415781" y="1868483"/>
              <a:ext cx="74445" cy="23055"/>
            </a:xfrm>
            <a:custGeom>
              <a:avLst/>
              <a:gdLst/>
              <a:ahLst/>
              <a:cxnLst/>
              <a:rect l="l" t="t" r="r" b="b"/>
              <a:pathLst>
                <a:path w="5483" h="1698" extrusionOk="0">
                  <a:moveTo>
                    <a:pt x="1463" y="0"/>
                  </a:moveTo>
                  <a:cubicBezTo>
                    <a:pt x="950" y="0"/>
                    <a:pt x="486" y="202"/>
                    <a:pt x="210" y="411"/>
                  </a:cubicBezTo>
                  <a:cubicBezTo>
                    <a:pt x="67" y="516"/>
                    <a:pt x="11" y="597"/>
                    <a:pt x="0" y="628"/>
                  </a:cubicBezTo>
                  <a:cubicBezTo>
                    <a:pt x="13" y="640"/>
                    <a:pt x="31" y="646"/>
                    <a:pt x="54" y="646"/>
                  </a:cubicBezTo>
                  <a:cubicBezTo>
                    <a:pt x="212" y="646"/>
                    <a:pt x="577" y="372"/>
                    <a:pt x="746" y="247"/>
                  </a:cubicBezTo>
                  <a:lnTo>
                    <a:pt x="847" y="170"/>
                  </a:lnTo>
                  <a:cubicBezTo>
                    <a:pt x="912" y="121"/>
                    <a:pt x="989" y="94"/>
                    <a:pt x="1068" y="94"/>
                  </a:cubicBezTo>
                  <a:cubicBezTo>
                    <a:pt x="1113" y="94"/>
                    <a:pt x="1158" y="103"/>
                    <a:pt x="1201" y="121"/>
                  </a:cubicBezTo>
                  <a:cubicBezTo>
                    <a:pt x="1337" y="177"/>
                    <a:pt x="1439" y="289"/>
                    <a:pt x="1484" y="429"/>
                  </a:cubicBezTo>
                  <a:cubicBezTo>
                    <a:pt x="1484" y="429"/>
                    <a:pt x="1519" y="562"/>
                    <a:pt x="2346" y="597"/>
                  </a:cubicBezTo>
                  <a:cubicBezTo>
                    <a:pt x="2668" y="611"/>
                    <a:pt x="2843" y="761"/>
                    <a:pt x="3011" y="908"/>
                  </a:cubicBezTo>
                  <a:cubicBezTo>
                    <a:pt x="3154" y="1034"/>
                    <a:pt x="3291" y="1150"/>
                    <a:pt x="3522" y="1202"/>
                  </a:cubicBezTo>
                  <a:cubicBezTo>
                    <a:pt x="3683" y="1241"/>
                    <a:pt x="3770" y="1290"/>
                    <a:pt x="3805" y="1360"/>
                  </a:cubicBezTo>
                  <a:cubicBezTo>
                    <a:pt x="3841" y="1433"/>
                    <a:pt x="3805" y="1507"/>
                    <a:pt x="3781" y="1563"/>
                  </a:cubicBezTo>
                  <a:cubicBezTo>
                    <a:pt x="3770" y="1580"/>
                    <a:pt x="3763" y="1601"/>
                    <a:pt x="3760" y="1622"/>
                  </a:cubicBezTo>
                  <a:cubicBezTo>
                    <a:pt x="3770" y="1633"/>
                    <a:pt x="3781" y="1640"/>
                    <a:pt x="3795" y="1643"/>
                  </a:cubicBezTo>
                  <a:cubicBezTo>
                    <a:pt x="3902" y="1682"/>
                    <a:pt x="4174" y="1698"/>
                    <a:pt x="4469" y="1698"/>
                  </a:cubicBezTo>
                  <a:cubicBezTo>
                    <a:pt x="4899" y="1698"/>
                    <a:pt x="5379" y="1665"/>
                    <a:pt x="5482" y="1619"/>
                  </a:cubicBezTo>
                  <a:cubicBezTo>
                    <a:pt x="5426" y="1493"/>
                    <a:pt x="4842" y="1115"/>
                    <a:pt x="4527" y="1115"/>
                  </a:cubicBezTo>
                  <a:cubicBezTo>
                    <a:pt x="4352" y="1115"/>
                    <a:pt x="4044" y="961"/>
                    <a:pt x="3623" y="751"/>
                  </a:cubicBezTo>
                  <a:cubicBezTo>
                    <a:pt x="3112" y="495"/>
                    <a:pt x="2475" y="180"/>
                    <a:pt x="1866" y="44"/>
                  </a:cubicBezTo>
                  <a:cubicBezTo>
                    <a:pt x="1730" y="14"/>
                    <a:pt x="1595" y="0"/>
                    <a:pt x="14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0" name="Google Shape;5920;p53"/>
            <p:cNvSpPr/>
            <p:nvPr/>
          </p:nvSpPr>
          <p:spPr>
            <a:xfrm>
              <a:off x="1460410" y="1905007"/>
              <a:ext cx="815" cy="434"/>
            </a:xfrm>
            <a:custGeom>
              <a:avLst/>
              <a:gdLst/>
              <a:ahLst/>
              <a:cxnLst/>
              <a:rect l="l" t="t" r="r" b="b"/>
              <a:pathLst>
                <a:path w="60" h="32" extrusionOk="0">
                  <a:moveTo>
                    <a:pt x="56" y="0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1" name="Google Shape;5921;p53"/>
            <p:cNvSpPr/>
            <p:nvPr/>
          </p:nvSpPr>
          <p:spPr>
            <a:xfrm>
              <a:off x="1461402" y="1905075"/>
              <a:ext cx="13333" cy="3286"/>
            </a:xfrm>
            <a:custGeom>
              <a:avLst/>
              <a:gdLst/>
              <a:ahLst/>
              <a:cxnLst/>
              <a:rect l="l" t="t" r="r" b="b"/>
              <a:pathLst>
                <a:path w="982" h="242" extrusionOk="0">
                  <a:moveTo>
                    <a:pt x="141" y="0"/>
                  </a:moveTo>
                  <a:cubicBezTo>
                    <a:pt x="79" y="0"/>
                    <a:pt x="29" y="5"/>
                    <a:pt x="1" y="13"/>
                  </a:cubicBezTo>
                  <a:cubicBezTo>
                    <a:pt x="95" y="103"/>
                    <a:pt x="511" y="241"/>
                    <a:pt x="798" y="241"/>
                  </a:cubicBezTo>
                  <a:cubicBezTo>
                    <a:pt x="812" y="241"/>
                    <a:pt x="825" y="241"/>
                    <a:pt x="838" y="240"/>
                  </a:cubicBezTo>
                  <a:cubicBezTo>
                    <a:pt x="925" y="237"/>
                    <a:pt x="967" y="216"/>
                    <a:pt x="981" y="198"/>
                  </a:cubicBezTo>
                  <a:cubicBezTo>
                    <a:pt x="971" y="181"/>
                    <a:pt x="911" y="135"/>
                    <a:pt x="736" y="83"/>
                  </a:cubicBezTo>
                  <a:cubicBezTo>
                    <a:pt x="525" y="26"/>
                    <a:pt x="293" y="0"/>
                    <a:pt x="14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2" name="Google Shape;5922;p53"/>
            <p:cNvSpPr/>
            <p:nvPr/>
          </p:nvSpPr>
          <p:spPr>
            <a:xfrm>
              <a:off x="1545446" y="1904002"/>
              <a:ext cx="11039" cy="3720"/>
            </a:xfrm>
            <a:custGeom>
              <a:avLst/>
              <a:gdLst/>
              <a:ahLst/>
              <a:cxnLst/>
              <a:rect l="l" t="t" r="r" b="b"/>
              <a:pathLst>
                <a:path w="813" h="274" extrusionOk="0">
                  <a:moveTo>
                    <a:pt x="308" y="1"/>
                  </a:moveTo>
                  <a:cubicBezTo>
                    <a:pt x="179" y="1"/>
                    <a:pt x="63" y="18"/>
                    <a:pt x="21" y="60"/>
                  </a:cubicBezTo>
                  <a:cubicBezTo>
                    <a:pt x="14" y="67"/>
                    <a:pt x="0" y="78"/>
                    <a:pt x="28" y="120"/>
                  </a:cubicBezTo>
                  <a:cubicBezTo>
                    <a:pt x="109" y="246"/>
                    <a:pt x="260" y="274"/>
                    <a:pt x="371" y="274"/>
                  </a:cubicBezTo>
                  <a:cubicBezTo>
                    <a:pt x="396" y="274"/>
                    <a:pt x="418" y="272"/>
                    <a:pt x="438" y="270"/>
                  </a:cubicBezTo>
                  <a:cubicBezTo>
                    <a:pt x="641" y="253"/>
                    <a:pt x="795" y="165"/>
                    <a:pt x="809" y="130"/>
                  </a:cubicBezTo>
                  <a:cubicBezTo>
                    <a:pt x="813" y="120"/>
                    <a:pt x="781" y="99"/>
                    <a:pt x="781" y="99"/>
                  </a:cubicBezTo>
                  <a:cubicBezTo>
                    <a:pt x="687" y="36"/>
                    <a:pt x="483" y="1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3" name="Google Shape;5923;p53"/>
            <p:cNvSpPr/>
            <p:nvPr/>
          </p:nvSpPr>
          <p:spPr>
            <a:xfrm>
              <a:off x="1591976" y="2466518"/>
              <a:ext cx="8907" cy="7115"/>
            </a:xfrm>
            <a:custGeom>
              <a:avLst/>
              <a:gdLst/>
              <a:ahLst/>
              <a:cxnLst/>
              <a:rect l="l" t="t" r="r" b="b"/>
              <a:pathLst>
                <a:path w="656" h="524" extrusionOk="0">
                  <a:moveTo>
                    <a:pt x="619" y="1"/>
                  </a:moveTo>
                  <a:cubicBezTo>
                    <a:pt x="614" y="1"/>
                    <a:pt x="610" y="1"/>
                    <a:pt x="606" y="3"/>
                  </a:cubicBezTo>
                  <a:cubicBezTo>
                    <a:pt x="431" y="3"/>
                    <a:pt x="78" y="255"/>
                    <a:pt x="18" y="434"/>
                  </a:cubicBezTo>
                  <a:cubicBezTo>
                    <a:pt x="1" y="486"/>
                    <a:pt x="18" y="500"/>
                    <a:pt x="43" y="511"/>
                  </a:cubicBezTo>
                  <a:cubicBezTo>
                    <a:pt x="59" y="519"/>
                    <a:pt x="79" y="523"/>
                    <a:pt x="100" y="523"/>
                  </a:cubicBezTo>
                  <a:cubicBezTo>
                    <a:pt x="197" y="523"/>
                    <a:pt x="338" y="442"/>
                    <a:pt x="470" y="304"/>
                  </a:cubicBezTo>
                  <a:cubicBezTo>
                    <a:pt x="620" y="147"/>
                    <a:pt x="655" y="28"/>
                    <a:pt x="645" y="7"/>
                  </a:cubicBezTo>
                  <a:cubicBezTo>
                    <a:pt x="641" y="3"/>
                    <a:pt x="638" y="3"/>
                    <a:pt x="634" y="3"/>
                  </a:cubicBezTo>
                  <a:cubicBezTo>
                    <a:pt x="629" y="1"/>
                    <a:pt x="624" y="1"/>
                    <a:pt x="6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4" name="Google Shape;5924;p53"/>
            <p:cNvSpPr/>
            <p:nvPr/>
          </p:nvSpPr>
          <p:spPr>
            <a:xfrm>
              <a:off x="1602621" y="2468718"/>
              <a:ext cx="10862" cy="5540"/>
            </a:xfrm>
            <a:custGeom>
              <a:avLst/>
              <a:gdLst/>
              <a:ahLst/>
              <a:cxnLst/>
              <a:rect l="l" t="t" r="r" b="b"/>
              <a:pathLst>
                <a:path w="800" h="408" extrusionOk="0">
                  <a:moveTo>
                    <a:pt x="660" y="1"/>
                  </a:moveTo>
                  <a:cubicBezTo>
                    <a:pt x="633" y="1"/>
                    <a:pt x="604" y="5"/>
                    <a:pt x="572" y="13"/>
                  </a:cubicBezTo>
                  <a:cubicBezTo>
                    <a:pt x="309" y="72"/>
                    <a:pt x="29" y="317"/>
                    <a:pt x="1" y="401"/>
                  </a:cubicBezTo>
                  <a:cubicBezTo>
                    <a:pt x="15" y="405"/>
                    <a:pt x="32" y="407"/>
                    <a:pt x="53" y="407"/>
                  </a:cubicBezTo>
                  <a:cubicBezTo>
                    <a:pt x="197" y="407"/>
                    <a:pt x="491" y="316"/>
                    <a:pt x="684" y="188"/>
                  </a:cubicBezTo>
                  <a:cubicBezTo>
                    <a:pt x="782" y="121"/>
                    <a:pt x="799" y="79"/>
                    <a:pt x="799" y="72"/>
                  </a:cubicBezTo>
                  <a:cubicBezTo>
                    <a:pt x="772" y="25"/>
                    <a:pt x="725" y="1"/>
                    <a:pt x="6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5" name="Google Shape;5925;p53"/>
            <p:cNvSpPr/>
            <p:nvPr/>
          </p:nvSpPr>
          <p:spPr>
            <a:xfrm>
              <a:off x="1441633" y="2034672"/>
              <a:ext cx="41181" cy="45838"/>
            </a:xfrm>
            <a:custGeom>
              <a:avLst/>
              <a:gdLst/>
              <a:ahLst/>
              <a:cxnLst/>
              <a:rect l="l" t="t" r="r" b="b"/>
              <a:pathLst>
                <a:path w="3033" h="3376" extrusionOk="0">
                  <a:moveTo>
                    <a:pt x="1117" y="1"/>
                  </a:moveTo>
                  <a:cubicBezTo>
                    <a:pt x="1110" y="25"/>
                    <a:pt x="1100" y="46"/>
                    <a:pt x="1082" y="64"/>
                  </a:cubicBezTo>
                  <a:cubicBezTo>
                    <a:pt x="1019" y="141"/>
                    <a:pt x="869" y="197"/>
                    <a:pt x="687" y="207"/>
                  </a:cubicBezTo>
                  <a:cubicBezTo>
                    <a:pt x="578" y="214"/>
                    <a:pt x="564" y="295"/>
                    <a:pt x="564" y="494"/>
                  </a:cubicBezTo>
                  <a:lnTo>
                    <a:pt x="564" y="540"/>
                  </a:lnTo>
                  <a:cubicBezTo>
                    <a:pt x="564" y="659"/>
                    <a:pt x="494" y="715"/>
                    <a:pt x="435" y="764"/>
                  </a:cubicBezTo>
                  <a:cubicBezTo>
                    <a:pt x="386" y="795"/>
                    <a:pt x="344" y="841"/>
                    <a:pt x="319" y="893"/>
                  </a:cubicBezTo>
                  <a:cubicBezTo>
                    <a:pt x="302" y="932"/>
                    <a:pt x="291" y="974"/>
                    <a:pt x="291" y="1019"/>
                  </a:cubicBezTo>
                  <a:cubicBezTo>
                    <a:pt x="284" y="1096"/>
                    <a:pt x="270" y="1152"/>
                    <a:pt x="141" y="1219"/>
                  </a:cubicBezTo>
                  <a:cubicBezTo>
                    <a:pt x="81" y="1240"/>
                    <a:pt x="32" y="1289"/>
                    <a:pt x="11" y="1352"/>
                  </a:cubicBezTo>
                  <a:cubicBezTo>
                    <a:pt x="1" y="1404"/>
                    <a:pt x="11" y="1457"/>
                    <a:pt x="43" y="1499"/>
                  </a:cubicBezTo>
                  <a:cubicBezTo>
                    <a:pt x="141" y="1642"/>
                    <a:pt x="78" y="1772"/>
                    <a:pt x="39" y="1859"/>
                  </a:cubicBezTo>
                  <a:cubicBezTo>
                    <a:pt x="32" y="1877"/>
                    <a:pt x="25" y="1895"/>
                    <a:pt x="18" y="1912"/>
                  </a:cubicBezTo>
                  <a:cubicBezTo>
                    <a:pt x="46" y="1937"/>
                    <a:pt x="74" y="1958"/>
                    <a:pt x="106" y="1979"/>
                  </a:cubicBezTo>
                  <a:cubicBezTo>
                    <a:pt x="179" y="2021"/>
                    <a:pt x="249" y="2073"/>
                    <a:pt x="312" y="2129"/>
                  </a:cubicBezTo>
                  <a:cubicBezTo>
                    <a:pt x="346" y="2161"/>
                    <a:pt x="365" y="2171"/>
                    <a:pt x="381" y="2171"/>
                  </a:cubicBezTo>
                  <a:cubicBezTo>
                    <a:pt x="393" y="2171"/>
                    <a:pt x="403" y="2165"/>
                    <a:pt x="417" y="2157"/>
                  </a:cubicBezTo>
                  <a:cubicBezTo>
                    <a:pt x="431" y="2150"/>
                    <a:pt x="458" y="2134"/>
                    <a:pt x="490" y="2134"/>
                  </a:cubicBezTo>
                  <a:cubicBezTo>
                    <a:pt x="522" y="2134"/>
                    <a:pt x="559" y="2150"/>
                    <a:pt x="592" y="2206"/>
                  </a:cubicBezTo>
                  <a:cubicBezTo>
                    <a:pt x="634" y="2290"/>
                    <a:pt x="631" y="2392"/>
                    <a:pt x="582" y="2472"/>
                  </a:cubicBezTo>
                  <a:cubicBezTo>
                    <a:pt x="536" y="2549"/>
                    <a:pt x="459" y="2609"/>
                    <a:pt x="372" y="2633"/>
                  </a:cubicBezTo>
                  <a:lnTo>
                    <a:pt x="375" y="2640"/>
                  </a:lnTo>
                  <a:lnTo>
                    <a:pt x="386" y="2654"/>
                  </a:lnTo>
                  <a:cubicBezTo>
                    <a:pt x="393" y="2665"/>
                    <a:pt x="396" y="2675"/>
                    <a:pt x="403" y="2686"/>
                  </a:cubicBezTo>
                  <a:lnTo>
                    <a:pt x="410" y="2700"/>
                  </a:lnTo>
                  <a:cubicBezTo>
                    <a:pt x="417" y="2710"/>
                    <a:pt x="421" y="2721"/>
                    <a:pt x="424" y="2735"/>
                  </a:cubicBezTo>
                  <a:cubicBezTo>
                    <a:pt x="424" y="2738"/>
                    <a:pt x="428" y="2742"/>
                    <a:pt x="428" y="2745"/>
                  </a:cubicBezTo>
                  <a:cubicBezTo>
                    <a:pt x="431" y="2756"/>
                    <a:pt x="435" y="2770"/>
                    <a:pt x="435" y="2784"/>
                  </a:cubicBezTo>
                  <a:lnTo>
                    <a:pt x="435" y="2794"/>
                  </a:lnTo>
                  <a:cubicBezTo>
                    <a:pt x="438" y="2805"/>
                    <a:pt x="438" y="2812"/>
                    <a:pt x="435" y="2822"/>
                  </a:cubicBezTo>
                  <a:lnTo>
                    <a:pt x="435" y="2836"/>
                  </a:lnTo>
                  <a:cubicBezTo>
                    <a:pt x="435" y="2843"/>
                    <a:pt x="431" y="2854"/>
                    <a:pt x="431" y="2861"/>
                  </a:cubicBezTo>
                  <a:cubicBezTo>
                    <a:pt x="431" y="2864"/>
                    <a:pt x="431" y="2868"/>
                    <a:pt x="428" y="2871"/>
                  </a:cubicBezTo>
                  <a:cubicBezTo>
                    <a:pt x="421" y="2882"/>
                    <a:pt x="417" y="2896"/>
                    <a:pt x="410" y="2906"/>
                  </a:cubicBezTo>
                  <a:cubicBezTo>
                    <a:pt x="393" y="2927"/>
                    <a:pt x="375" y="2952"/>
                    <a:pt x="354" y="2973"/>
                  </a:cubicBezTo>
                  <a:cubicBezTo>
                    <a:pt x="344" y="2987"/>
                    <a:pt x="333" y="3001"/>
                    <a:pt x="323" y="3015"/>
                  </a:cubicBezTo>
                  <a:cubicBezTo>
                    <a:pt x="344" y="3046"/>
                    <a:pt x="372" y="3074"/>
                    <a:pt x="400" y="3099"/>
                  </a:cubicBezTo>
                  <a:cubicBezTo>
                    <a:pt x="430" y="3127"/>
                    <a:pt x="456" y="3136"/>
                    <a:pt x="484" y="3136"/>
                  </a:cubicBezTo>
                  <a:cubicBezTo>
                    <a:pt x="504" y="3136"/>
                    <a:pt x="525" y="3131"/>
                    <a:pt x="550" y="3127"/>
                  </a:cubicBezTo>
                  <a:lnTo>
                    <a:pt x="592" y="3116"/>
                  </a:lnTo>
                  <a:lnTo>
                    <a:pt x="596" y="3116"/>
                  </a:lnTo>
                  <a:cubicBezTo>
                    <a:pt x="610" y="3116"/>
                    <a:pt x="624" y="3113"/>
                    <a:pt x="638" y="3113"/>
                  </a:cubicBezTo>
                  <a:lnTo>
                    <a:pt x="666" y="3113"/>
                  </a:lnTo>
                  <a:lnTo>
                    <a:pt x="683" y="3116"/>
                  </a:lnTo>
                  <a:lnTo>
                    <a:pt x="690" y="3116"/>
                  </a:lnTo>
                  <a:lnTo>
                    <a:pt x="704" y="3120"/>
                  </a:lnTo>
                  <a:lnTo>
                    <a:pt x="711" y="3123"/>
                  </a:lnTo>
                  <a:lnTo>
                    <a:pt x="725" y="3130"/>
                  </a:lnTo>
                  <a:lnTo>
                    <a:pt x="732" y="3134"/>
                  </a:lnTo>
                  <a:cubicBezTo>
                    <a:pt x="739" y="3137"/>
                    <a:pt x="746" y="3141"/>
                    <a:pt x="753" y="3144"/>
                  </a:cubicBezTo>
                  <a:lnTo>
                    <a:pt x="760" y="3151"/>
                  </a:lnTo>
                  <a:lnTo>
                    <a:pt x="774" y="3162"/>
                  </a:lnTo>
                  <a:lnTo>
                    <a:pt x="781" y="3169"/>
                  </a:lnTo>
                  <a:lnTo>
                    <a:pt x="799" y="3186"/>
                  </a:lnTo>
                  <a:lnTo>
                    <a:pt x="806" y="3193"/>
                  </a:lnTo>
                  <a:cubicBezTo>
                    <a:pt x="813" y="3200"/>
                    <a:pt x="820" y="3207"/>
                    <a:pt x="827" y="3218"/>
                  </a:cubicBezTo>
                  <a:cubicBezTo>
                    <a:pt x="858" y="3267"/>
                    <a:pt x="897" y="3309"/>
                    <a:pt x="939" y="3351"/>
                  </a:cubicBezTo>
                  <a:cubicBezTo>
                    <a:pt x="949" y="3365"/>
                    <a:pt x="967" y="3372"/>
                    <a:pt x="988" y="3375"/>
                  </a:cubicBezTo>
                  <a:cubicBezTo>
                    <a:pt x="995" y="3375"/>
                    <a:pt x="1040" y="3361"/>
                    <a:pt x="1103" y="3207"/>
                  </a:cubicBezTo>
                  <a:cubicBezTo>
                    <a:pt x="1135" y="3134"/>
                    <a:pt x="1166" y="3053"/>
                    <a:pt x="1194" y="2966"/>
                  </a:cubicBezTo>
                  <a:cubicBezTo>
                    <a:pt x="1303" y="2672"/>
                    <a:pt x="1415" y="2364"/>
                    <a:pt x="1639" y="2297"/>
                  </a:cubicBezTo>
                  <a:cubicBezTo>
                    <a:pt x="1670" y="2287"/>
                    <a:pt x="1705" y="2280"/>
                    <a:pt x="1740" y="2269"/>
                  </a:cubicBezTo>
                  <a:cubicBezTo>
                    <a:pt x="2014" y="2192"/>
                    <a:pt x="2427" y="2077"/>
                    <a:pt x="2679" y="1737"/>
                  </a:cubicBezTo>
                  <a:cubicBezTo>
                    <a:pt x="2840" y="1523"/>
                    <a:pt x="2864" y="1429"/>
                    <a:pt x="2878" y="1359"/>
                  </a:cubicBezTo>
                  <a:cubicBezTo>
                    <a:pt x="2892" y="1282"/>
                    <a:pt x="2934" y="1215"/>
                    <a:pt x="2994" y="1170"/>
                  </a:cubicBezTo>
                  <a:lnTo>
                    <a:pt x="3008" y="1159"/>
                  </a:lnTo>
                  <a:lnTo>
                    <a:pt x="3015" y="1152"/>
                  </a:lnTo>
                  <a:lnTo>
                    <a:pt x="3018" y="1149"/>
                  </a:lnTo>
                  <a:lnTo>
                    <a:pt x="3025" y="1142"/>
                  </a:lnTo>
                  <a:lnTo>
                    <a:pt x="3029" y="1135"/>
                  </a:lnTo>
                  <a:lnTo>
                    <a:pt x="3029" y="1131"/>
                  </a:lnTo>
                  <a:cubicBezTo>
                    <a:pt x="3029" y="1128"/>
                    <a:pt x="3029" y="1128"/>
                    <a:pt x="3029" y="1124"/>
                  </a:cubicBezTo>
                  <a:lnTo>
                    <a:pt x="3029" y="1117"/>
                  </a:lnTo>
                  <a:cubicBezTo>
                    <a:pt x="3032" y="1082"/>
                    <a:pt x="2983" y="1016"/>
                    <a:pt x="2927" y="949"/>
                  </a:cubicBezTo>
                  <a:lnTo>
                    <a:pt x="2917" y="935"/>
                  </a:lnTo>
                  <a:lnTo>
                    <a:pt x="2892" y="911"/>
                  </a:lnTo>
                  <a:lnTo>
                    <a:pt x="2885" y="900"/>
                  </a:lnTo>
                  <a:lnTo>
                    <a:pt x="2857" y="872"/>
                  </a:lnTo>
                  <a:lnTo>
                    <a:pt x="2833" y="844"/>
                  </a:lnTo>
                  <a:cubicBezTo>
                    <a:pt x="2808" y="816"/>
                    <a:pt x="2763" y="764"/>
                    <a:pt x="2714" y="715"/>
                  </a:cubicBezTo>
                  <a:lnTo>
                    <a:pt x="2693" y="694"/>
                  </a:lnTo>
                  <a:lnTo>
                    <a:pt x="2682" y="683"/>
                  </a:lnTo>
                  <a:lnTo>
                    <a:pt x="2651" y="652"/>
                  </a:lnTo>
                  <a:lnTo>
                    <a:pt x="2619" y="624"/>
                  </a:lnTo>
                  <a:cubicBezTo>
                    <a:pt x="2602" y="603"/>
                    <a:pt x="2581" y="585"/>
                    <a:pt x="2560" y="571"/>
                  </a:cubicBezTo>
                  <a:cubicBezTo>
                    <a:pt x="2553" y="564"/>
                    <a:pt x="2542" y="557"/>
                    <a:pt x="2532" y="554"/>
                  </a:cubicBezTo>
                  <a:cubicBezTo>
                    <a:pt x="2525" y="557"/>
                    <a:pt x="2521" y="564"/>
                    <a:pt x="2514" y="568"/>
                  </a:cubicBezTo>
                  <a:cubicBezTo>
                    <a:pt x="2465" y="603"/>
                    <a:pt x="2386" y="623"/>
                    <a:pt x="2300" y="623"/>
                  </a:cubicBezTo>
                  <a:cubicBezTo>
                    <a:pt x="2214" y="623"/>
                    <a:pt x="2120" y="603"/>
                    <a:pt x="2042" y="557"/>
                  </a:cubicBezTo>
                  <a:cubicBezTo>
                    <a:pt x="1975" y="515"/>
                    <a:pt x="1916" y="466"/>
                    <a:pt x="1866" y="410"/>
                  </a:cubicBezTo>
                  <a:cubicBezTo>
                    <a:pt x="1814" y="358"/>
                    <a:pt x="1772" y="312"/>
                    <a:pt x="1733" y="312"/>
                  </a:cubicBezTo>
                  <a:lnTo>
                    <a:pt x="1695" y="312"/>
                  </a:lnTo>
                  <a:lnTo>
                    <a:pt x="1674" y="305"/>
                  </a:lnTo>
                  <a:lnTo>
                    <a:pt x="1660" y="302"/>
                  </a:lnTo>
                  <a:lnTo>
                    <a:pt x="1639" y="295"/>
                  </a:lnTo>
                  <a:lnTo>
                    <a:pt x="1625" y="291"/>
                  </a:lnTo>
                  <a:lnTo>
                    <a:pt x="1597" y="281"/>
                  </a:lnTo>
                  <a:lnTo>
                    <a:pt x="1583" y="274"/>
                  </a:lnTo>
                  <a:lnTo>
                    <a:pt x="1548" y="260"/>
                  </a:lnTo>
                  <a:lnTo>
                    <a:pt x="1541" y="256"/>
                  </a:lnTo>
                  <a:lnTo>
                    <a:pt x="1495" y="232"/>
                  </a:lnTo>
                  <a:lnTo>
                    <a:pt x="1481" y="225"/>
                  </a:lnTo>
                  <a:lnTo>
                    <a:pt x="1450" y="207"/>
                  </a:lnTo>
                  <a:lnTo>
                    <a:pt x="1432" y="197"/>
                  </a:lnTo>
                  <a:lnTo>
                    <a:pt x="1401" y="183"/>
                  </a:lnTo>
                  <a:lnTo>
                    <a:pt x="1380" y="169"/>
                  </a:lnTo>
                  <a:lnTo>
                    <a:pt x="1352" y="151"/>
                  </a:lnTo>
                  <a:lnTo>
                    <a:pt x="1331" y="141"/>
                  </a:lnTo>
                  <a:lnTo>
                    <a:pt x="1299" y="123"/>
                  </a:lnTo>
                  <a:lnTo>
                    <a:pt x="1285" y="113"/>
                  </a:lnTo>
                  <a:lnTo>
                    <a:pt x="1236" y="85"/>
                  </a:lnTo>
                  <a:lnTo>
                    <a:pt x="1226" y="74"/>
                  </a:lnTo>
                  <a:lnTo>
                    <a:pt x="1191" y="53"/>
                  </a:lnTo>
                  <a:lnTo>
                    <a:pt x="1173" y="39"/>
                  </a:lnTo>
                  <a:lnTo>
                    <a:pt x="1149" y="22"/>
                  </a:lnTo>
                  <a:lnTo>
                    <a:pt x="1128" y="8"/>
                  </a:lnTo>
                  <a:lnTo>
                    <a:pt x="111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6" name="Google Shape;5926;p53"/>
            <p:cNvSpPr/>
            <p:nvPr/>
          </p:nvSpPr>
          <p:spPr>
            <a:xfrm>
              <a:off x="1464633" y="2038813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7" name="Google Shape;5927;p53"/>
            <p:cNvSpPr/>
            <p:nvPr/>
          </p:nvSpPr>
          <p:spPr>
            <a:xfrm>
              <a:off x="1462501" y="203805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8" name="Google Shape;5928;p53"/>
            <p:cNvSpPr/>
            <p:nvPr/>
          </p:nvSpPr>
          <p:spPr>
            <a:xfrm>
              <a:off x="1475767" y="2042140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0" y="18"/>
                  </a:moveTo>
                  <a:cubicBezTo>
                    <a:pt x="7" y="11"/>
                    <a:pt x="11" y="7"/>
                    <a:pt x="18" y="0"/>
                  </a:cubicBezTo>
                  <a:cubicBezTo>
                    <a:pt x="11" y="7"/>
                    <a:pt x="7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9" name="Google Shape;5929;p53"/>
            <p:cNvSpPr/>
            <p:nvPr/>
          </p:nvSpPr>
          <p:spPr>
            <a:xfrm>
              <a:off x="1463112" y="203833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0" name="Google Shape;5930;p53"/>
            <p:cNvSpPr/>
            <p:nvPr/>
          </p:nvSpPr>
          <p:spPr>
            <a:xfrm>
              <a:off x="1464158" y="203871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1" name="Google Shape;5931;p53"/>
            <p:cNvSpPr/>
            <p:nvPr/>
          </p:nvSpPr>
          <p:spPr>
            <a:xfrm>
              <a:off x="1463642" y="203856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2" name="Google Shape;5932;p53"/>
            <p:cNvSpPr/>
            <p:nvPr/>
          </p:nvSpPr>
          <p:spPr>
            <a:xfrm>
              <a:off x="1478048" y="2043891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3" name="Google Shape;5933;p53"/>
            <p:cNvSpPr/>
            <p:nvPr/>
          </p:nvSpPr>
          <p:spPr>
            <a:xfrm>
              <a:off x="1478428" y="2044326"/>
              <a:ext cx="1670" cy="1819"/>
            </a:xfrm>
            <a:custGeom>
              <a:avLst/>
              <a:gdLst/>
              <a:ahLst/>
              <a:cxnLst/>
              <a:rect l="l" t="t" r="r" b="b"/>
              <a:pathLst>
                <a:path w="123" h="134" extrusionOk="0">
                  <a:moveTo>
                    <a:pt x="0" y="1"/>
                  </a:moveTo>
                  <a:lnTo>
                    <a:pt x="0" y="1"/>
                  </a:lnTo>
                  <a:cubicBezTo>
                    <a:pt x="49" y="49"/>
                    <a:pt x="91" y="98"/>
                    <a:pt x="116" y="130"/>
                  </a:cubicBezTo>
                  <a:lnTo>
                    <a:pt x="123" y="133"/>
                  </a:lnTo>
                  <a:cubicBezTo>
                    <a:pt x="98" y="105"/>
                    <a:pt x="53" y="5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4" name="Google Shape;5934;p53"/>
            <p:cNvSpPr/>
            <p:nvPr/>
          </p:nvSpPr>
          <p:spPr>
            <a:xfrm>
              <a:off x="1459026" y="2036152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5" name="Google Shape;5935;p53"/>
            <p:cNvSpPr/>
            <p:nvPr/>
          </p:nvSpPr>
          <p:spPr>
            <a:xfrm>
              <a:off x="1457559" y="2035147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6" name="Google Shape;5936;p53"/>
            <p:cNvSpPr/>
            <p:nvPr/>
          </p:nvSpPr>
          <p:spPr>
            <a:xfrm>
              <a:off x="1458265" y="203562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7" name="Google Shape;5937;p53"/>
            <p:cNvSpPr/>
            <p:nvPr/>
          </p:nvSpPr>
          <p:spPr>
            <a:xfrm>
              <a:off x="1477192" y="2043090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0"/>
                  </a:moveTo>
                  <a:lnTo>
                    <a:pt x="32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8" name="Google Shape;5938;p53"/>
            <p:cNvSpPr/>
            <p:nvPr/>
          </p:nvSpPr>
          <p:spPr>
            <a:xfrm>
              <a:off x="1460356" y="2036912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9" name="Google Shape;5939;p53"/>
            <p:cNvSpPr/>
            <p:nvPr/>
          </p:nvSpPr>
          <p:spPr>
            <a:xfrm>
              <a:off x="1456935" y="203472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0" name="Google Shape;5940;p53"/>
            <p:cNvSpPr/>
            <p:nvPr/>
          </p:nvSpPr>
          <p:spPr>
            <a:xfrm>
              <a:off x="1459691" y="2036532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1" name="Google Shape;5941;p53"/>
            <p:cNvSpPr/>
            <p:nvPr/>
          </p:nvSpPr>
          <p:spPr>
            <a:xfrm>
              <a:off x="1461021" y="2037293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2" name="Google Shape;5942;p53"/>
            <p:cNvSpPr/>
            <p:nvPr/>
          </p:nvSpPr>
          <p:spPr>
            <a:xfrm>
              <a:off x="1461687" y="203767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3" name="Google Shape;5943;p53"/>
            <p:cNvSpPr/>
            <p:nvPr/>
          </p:nvSpPr>
          <p:spPr>
            <a:xfrm>
              <a:off x="1452522" y="207797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11"/>
                    <a:pt x="14" y="18"/>
                    <a:pt x="21" y="29"/>
                  </a:cubicBezTo>
                  <a:cubicBezTo>
                    <a:pt x="14" y="18"/>
                    <a:pt x="7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4" name="Google Shape;5944;p53"/>
            <p:cNvSpPr/>
            <p:nvPr/>
          </p:nvSpPr>
          <p:spPr>
            <a:xfrm>
              <a:off x="1480084" y="2046131"/>
              <a:ext cx="733" cy="815"/>
            </a:xfrm>
            <a:custGeom>
              <a:avLst/>
              <a:gdLst/>
              <a:ahLst/>
              <a:cxnLst/>
              <a:rect l="l" t="t" r="r" b="b"/>
              <a:pathLst>
                <a:path w="54" h="60" extrusionOk="0">
                  <a:moveTo>
                    <a:pt x="1" y="0"/>
                  </a:moveTo>
                  <a:lnTo>
                    <a:pt x="25" y="28"/>
                  </a:lnTo>
                  <a:lnTo>
                    <a:pt x="53" y="60"/>
                  </a:lnTo>
                  <a:lnTo>
                    <a:pt x="15" y="14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5" name="Google Shape;5945;p53"/>
            <p:cNvSpPr/>
            <p:nvPr/>
          </p:nvSpPr>
          <p:spPr>
            <a:xfrm>
              <a:off x="1449100" y="2076925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39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6" name="Google Shape;5946;p53"/>
            <p:cNvSpPr/>
            <p:nvPr/>
          </p:nvSpPr>
          <p:spPr>
            <a:xfrm>
              <a:off x="1446724" y="207046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7" name="Google Shape;5947;p53"/>
            <p:cNvSpPr/>
            <p:nvPr/>
          </p:nvSpPr>
          <p:spPr>
            <a:xfrm>
              <a:off x="1451897" y="2077400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8" name="Google Shape;5948;p53"/>
            <p:cNvSpPr/>
            <p:nvPr/>
          </p:nvSpPr>
          <p:spPr>
            <a:xfrm>
              <a:off x="1447390" y="2071698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4"/>
                    <a:pt x="4" y="11"/>
                    <a:pt x="4" y="11"/>
                  </a:cubicBezTo>
                  <a:cubicBezTo>
                    <a:pt x="4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9" name="Google Shape;5949;p53"/>
            <p:cNvSpPr/>
            <p:nvPr/>
          </p:nvSpPr>
          <p:spPr>
            <a:xfrm>
              <a:off x="1447104" y="207108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0" name="Google Shape;5950;p53"/>
            <p:cNvSpPr/>
            <p:nvPr/>
          </p:nvSpPr>
          <p:spPr>
            <a:xfrm>
              <a:off x="1447580" y="207293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1" name="Google Shape;5951;p53"/>
            <p:cNvSpPr/>
            <p:nvPr/>
          </p:nvSpPr>
          <p:spPr>
            <a:xfrm>
              <a:off x="1482705" y="2049974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2" name="Google Shape;5952;p53"/>
            <p:cNvSpPr/>
            <p:nvPr/>
          </p:nvSpPr>
          <p:spPr>
            <a:xfrm>
              <a:off x="1452807" y="2078351"/>
              <a:ext cx="1534" cy="1819"/>
            </a:xfrm>
            <a:custGeom>
              <a:avLst/>
              <a:gdLst/>
              <a:ahLst/>
              <a:cxnLst/>
              <a:rect l="l" t="t" r="r" b="b"/>
              <a:pathLst>
                <a:path w="113" h="134" extrusionOk="0">
                  <a:moveTo>
                    <a:pt x="0" y="1"/>
                  </a:moveTo>
                  <a:lnTo>
                    <a:pt x="0" y="1"/>
                  </a:lnTo>
                  <a:cubicBezTo>
                    <a:pt x="35" y="50"/>
                    <a:pt x="70" y="92"/>
                    <a:pt x="112" y="134"/>
                  </a:cubicBezTo>
                  <a:cubicBezTo>
                    <a:pt x="70" y="92"/>
                    <a:pt x="35" y="4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3" name="Google Shape;5953;p53"/>
            <p:cNvSpPr/>
            <p:nvPr/>
          </p:nvSpPr>
          <p:spPr>
            <a:xfrm>
              <a:off x="1482460" y="2050313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4" name="Google Shape;5954;p53"/>
            <p:cNvSpPr/>
            <p:nvPr/>
          </p:nvSpPr>
          <p:spPr>
            <a:xfrm>
              <a:off x="1482610" y="205012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5" name="Google Shape;5955;p53"/>
            <p:cNvSpPr/>
            <p:nvPr/>
          </p:nvSpPr>
          <p:spPr>
            <a:xfrm>
              <a:off x="1447390" y="2073463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4"/>
                    <a:pt x="0" y="7"/>
                    <a:pt x="0" y="11"/>
                  </a:cubicBezTo>
                  <a:cubicBezTo>
                    <a:pt x="4" y="7"/>
                    <a:pt x="4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6" name="Google Shape;5956;p53"/>
            <p:cNvSpPr/>
            <p:nvPr/>
          </p:nvSpPr>
          <p:spPr>
            <a:xfrm>
              <a:off x="1481320" y="2047598"/>
              <a:ext cx="1453" cy="2295"/>
            </a:xfrm>
            <a:custGeom>
              <a:avLst/>
              <a:gdLst/>
              <a:ahLst/>
              <a:cxnLst/>
              <a:rect l="l" t="t" r="r" b="b"/>
              <a:pathLst>
                <a:path w="107" h="169" extrusionOk="0">
                  <a:moveTo>
                    <a:pt x="1" y="1"/>
                  </a:moveTo>
                  <a:cubicBezTo>
                    <a:pt x="43" y="50"/>
                    <a:pt x="78" y="93"/>
                    <a:pt x="95" y="127"/>
                  </a:cubicBezTo>
                  <a:lnTo>
                    <a:pt x="95" y="127"/>
                  </a:lnTo>
                  <a:cubicBezTo>
                    <a:pt x="77" y="91"/>
                    <a:pt x="41" y="46"/>
                    <a:pt x="1" y="1"/>
                  </a:cubicBezTo>
                  <a:close/>
                  <a:moveTo>
                    <a:pt x="95" y="127"/>
                  </a:moveTo>
                  <a:cubicBezTo>
                    <a:pt x="103" y="143"/>
                    <a:pt x="107" y="158"/>
                    <a:pt x="106" y="169"/>
                  </a:cubicBezTo>
                  <a:cubicBezTo>
                    <a:pt x="107" y="157"/>
                    <a:pt x="103" y="143"/>
                    <a:pt x="95" y="12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7" name="Google Shape;5957;p53"/>
            <p:cNvSpPr/>
            <p:nvPr/>
          </p:nvSpPr>
          <p:spPr>
            <a:xfrm>
              <a:off x="1451571" y="2077170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4"/>
                  </a:moveTo>
                  <a:cubicBezTo>
                    <a:pt x="14" y="7"/>
                    <a:pt x="7" y="4"/>
                    <a:pt x="0" y="0"/>
                  </a:cubicBezTo>
                  <a:cubicBezTo>
                    <a:pt x="7" y="4"/>
                    <a:pt x="14" y="7"/>
                    <a:pt x="2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8" name="Google Shape;5958;p53"/>
            <p:cNvSpPr/>
            <p:nvPr/>
          </p:nvSpPr>
          <p:spPr>
            <a:xfrm>
              <a:off x="1450947" y="2076980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9" name="Google Shape;5959;p53"/>
            <p:cNvSpPr/>
            <p:nvPr/>
          </p:nvSpPr>
          <p:spPr>
            <a:xfrm>
              <a:off x="1452237" y="2077645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0" name="Google Shape;5960;p53"/>
            <p:cNvSpPr/>
            <p:nvPr/>
          </p:nvSpPr>
          <p:spPr>
            <a:xfrm>
              <a:off x="1449671" y="2076884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0"/>
                  </a:moveTo>
                  <a:cubicBezTo>
                    <a:pt x="28" y="0"/>
                    <a:pt x="14" y="0"/>
                    <a:pt x="0" y="4"/>
                  </a:cubicBezTo>
                  <a:cubicBezTo>
                    <a:pt x="14" y="0"/>
                    <a:pt x="28" y="0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1" name="Google Shape;5961;p53"/>
            <p:cNvSpPr/>
            <p:nvPr/>
          </p:nvSpPr>
          <p:spPr>
            <a:xfrm>
              <a:off x="1450621" y="207688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2" name="Google Shape;5962;p53"/>
            <p:cNvSpPr/>
            <p:nvPr/>
          </p:nvSpPr>
          <p:spPr>
            <a:xfrm>
              <a:off x="1451286" y="2077075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3" name="Google Shape;5963;p53"/>
            <p:cNvSpPr/>
            <p:nvPr/>
          </p:nvSpPr>
          <p:spPr>
            <a:xfrm>
              <a:off x="1450336" y="207688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4" name="Google Shape;5964;p53"/>
            <p:cNvSpPr/>
            <p:nvPr/>
          </p:nvSpPr>
          <p:spPr>
            <a:xfrm>
              <a:off x="1447580" y="207241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5" name="Google Shape;5965;p53"/>
            <p:cNvSpPr/>
            <p:nvPr/>
          </p:nvSpPr>
          <p:spPr>
            <a:xfrm>
              <a:off x="1480899" y="2047082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6" name="Google Shape;5966;p53"/>
            <p:cNvSpPr/>
            <p:nvPr/>
          </p:nvSpPr>
          <p:spPr>
            <a:xfrm>
              <a:off x="1479989" y="2046077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8" y="4"/>
                  </a:moveTo>
                  <a:lnTo>
                    <a:pt x="1" y="1"/>
                  </a:lnTo>
                  <a:lnTo>
                    <a:pt x="8" y="4"/>
                  </a:lnTo>
                  <a:lnTo>
                    <a:pt x="22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7" name="Google Shape;5967;p53"/>
            <p:cNvSpPr/>
            <p:nvPr/>
          </p:nvSpPr>
          <p:spPr>
            <a:xfrm>
              <a:off x="1504429" y="1192826"/>
              <a:ext cx="453000" cy="337170"/>
            </a:xfrm>
            <a:custGeom>
              <a:avLst/>
              <a:gdLst/>
              <a:ahLst/>
              <a:cxnLst/>
              <a:rect l="l" t="t" r="r" b="b"/>
              <a:pathLst>
                <a:path w="33364" h="24833" extrusionOk="0">
                  <a:moveTo>
                    <a:pt x="22952" y="0"/>
                  </a:moveTo>
                  <a:cubicBezTo>
                    <a:pt x="22824" y="0"/>
                    <a:pt x="22695" y="5"/>
                    <a:pt x="22570" y="14"/>
                  </a:cubicBezTo>
                  <a:cubicBezTo>
                    <a:pt x="22217" y="39"/>
                    <a:pt x="21667" y="46"/>
                    <a:pt x="21184" y="53"/>
                  </a:cubicBezTo>
                  <a:cubicBezTo>
                    <a:pt x="20778" y="60"/>
                    <a:pt x="20431" y="63"/>
                    <a:pt x="20291" y="77"/>
                  </a:cubicBezTo>
                  <a:cubicBezTo>
                    <a:pt x="20179" y="91"/>
                    <a:pt x="20067" y="112"/>
                    <a:pt x="19958" y="144"/>
                  </a:cubicBezTo>
                  <a:cubicBezTo>
                    <a:pt x="19822" y="186"/>
                    <a:pt x="19679" y="207"/>
                    <a:pt x="19539" y="207"/>
                  </a:cubicBezTo>
                  <a:cubicBezTo>
                    <a:pt x="19528" y="207"/>
                    <a:pt x="19518" y="207"/>
                    <a:pt x="19507" y="207"/>
                  </a:cubicBezTo>
                  <a:cubicBezTo>
                    <a:pt x="19486" y="205"/>
                    <a:pt x="19464" y="205"/>
                    <a:pt x="19443" y="205"/>
                  </a:cubicBezTo>
                  <a:cubicBezTo>
                    <a:pt x="19233" y="205"/>
                    <a:pt x="19032" y="265"/>
                    <a:pt x="19006" y="319"/>
                  </a:cubicBezTo>
                  <a:cubicBezTo>
                    <a:pt x="19003" y="329"/>
                    <a:pt x="19017" y="347"/>
                    <a:pt x="19024" y="357"/>
                  </a:cubicBezTo>
                  <a:cubicBezTo>
                    <a:pt x="19160" y="504"/>
                    <a:pt x="19104" y="620"/>
                    <a:pt x="19073" y="662"/>
                  </a:cubicBezTo>
                  <a:cubicBezTo>
                    <a:pt x="19008" y="754"/>
                    <a:pt x="18871" y="802"/>
                    <a:pt x="18752" y="802"/>
                  </a:cubicBezTo>
                  <a:cubicBezTo>
                    <a:pt x="18703" y="802"/>
                    <a:pt x="18658" y="794"/>
                    <a:pt x="18621" y="777"/>
                  </a:cubicBezTo>
                  <a:cubicBezTo>
                    <a:pt x="18548" y="753"/>
                    <a:pt x="18506" y="676"/>
                    <a:pt x="18523" y="599"/>
                  </a:cubicBezTo>
                  <a:cubicBezTo>
                    <a:pt x="18530" y="553"/>
                    <a:pt x="18488" y="518"/>
                    <a:pt x="18450" y="497"/>
                  </a:cubicBezTo>
                  <a:cubicBezTo>
                    <a:pt x="18354" y="440"/>
                    <a:pt x="18210" y="411"/>
                    <a:pt x="18077" y="411"/>
                  </a:cubicBezTo>
                  <a:cubicBezTo>
                    <a:pt x="17957" y="411"/>
                    <a:pt x="17846" y="435"/>
                    <a:pt x="17788" y="483"/>
                  </a:cubicBezTo>
                  <a:cubicBezTo>
                    <a:pt x="17724" y="536"/>
                    <a:pt x="17624" y="555"/>
                    <a:pt x="17500" y="555"/>
                  </a:cubicBezTo>
                  <a:cubicBezTo>
                    <a:pt x="17346" y="555"/>
                    <a:pt x="17155" y="525"/>
                    <a:pt x="16958" y="494"/>
                  </a:cubicBezTo>
                  <a:cubicBezTo>
                    <a:pt x="16798" y="469"/>
                    <a:pt x="16599" y="437"/>
                    <a:pt x="16462" y="437"/>
                  </a:cubicBezTo>
                  <a:cubicBezTo>
                    <a:pt x="16387" y="437"/>
                    <a:pt x="16330" y="447"/>
                    <a:pt x="16311" y="473"/>
                  </a:cubicBezTo>
                  <a:cubicBezTo>
                    <a:pt x="16195" y="623"/>
                    <a:pt x="15719" y="651"/>
                    <a:pt x="15057" y="672"/>
                  </a:cubicBezTo>
                  <a:cubicBezTo>
                    <a:pt x="14858" y="672"/>
                    <a:pt x="14658" y="686"/>
                    <a:pt x="14462" y="707"/>
                  </a:cubicBezTo>
                  <a:cubicBezTo>
                    <a:pt x="14515" y="742"/>
                    <a:pt x="14609" y="791"/>
                    <a:pt x="14676" y="826"/>
                  </a:cubicBezTo>
                  <a:cubicBezTo>
                    <a:pt x="14931" y="956"/>
                    <a:pt x="15085" y="1040"/>
                    <a:pt x="15064" y="1159"/>
                  </a:cubicBezTo>
                  <a:cubicBezTo>
                    <a:pt x="15040" y="1274"/>
                    <a:pt x="14868" y="1285"/>
                    <a:pt x="14543" y="1299"/>
                  </a:cubicBezTo>
                  <a:cubicBezTo>
                    <a:pt x="14389" y="1306"/>
                    <a:pt x="14105" y="1323"/>
                    <a:pt x="14060" y="1369"/>
                  </a:cubicBezTo>
                  <a:cubicBezTo>
                    <a:pt x="14067" y="1376"/>
                    <a:pt x="14070" y="1386"/>
                    <a:pt x="14077" y="1393"/>
                  </a:cubicBezTo>
                  <a:cubicBezTo>
                    <a:pt x="14189" y="1523"/>
                    <a:pt x="14427" y="1645"/>
                    <a:pt x="14686" y="1772"/>
                  </a:cubicBezTo>
                  <a:cubicBezTo>
                    <a:pt x="14970" y="1915"/>
                    <a:pt x="15267" y="2066"/>
                    <a:pt x="15463" y="2262"/>
                  </a:cubicBezTo>
                  <a:cubicBezTo>
                    <a:pt x="15519" y="2314"/>
                    <a:pt x="15642" y="2440"/>
                    <a:pt x="15572" y="2528"/>
                  </a:cubicBezTo>
                  <a:cubicBezTo>
                    <a:pt x="15549" y="2555"/>
                    <a:pt x="15511" y="2566"/>
                    <a:pt x="15463" y="2566"/>
                  </a:cubicBezTo>
                  <a:cubicBezTo>
                    <a:pt x="15233" y="2566"/>
                    <a:pt x="14774" y="2300"/>
                    <a:pt x="14672" y="2234"/>
                  </a:cubicBezTo>
                  <a:cubicBezTo>
                    <a:pt x="14480" y="2108"/>
                    <a:pt x="14263" y="2066"/>
                    <a:pt x="14053" y="2024"/>
                  </a:cubicBezTo>
                  <a:cubicBezTo>
                    <a:pt x="13818" y="1975"/>
                    <a:pt x="13594" y="1929"/>
                    <a:pt x="13447" y="1772"/>
                  </a:cubicBezTo>
                  <a:cubicBezTo>
                    <a:pt x="13251" y="1565"/>
                    <a:pt x="12657" y="1411"/>
                    <a:pt x="12299" y="1411"/>
                  </a:cubicBezTo>
                  <a:cubicBezTo>
                    <a:pt x="12191" y="1411"/>
                    <a:pt x="12104" y="1426"/>
                    <a:pt x="12057" y="1456"/>
                  </a:cubicBezTo>
                  <a:cubicBezTo>
                    <a:pt x="12050" y="1463"/>
                    <a:pt x="12033" y="1474"/>
                    <a:pt x="12033" y="1488"/>
                  </a:cubicBezTo>
                  <a:cubicBezTo>
                    <a:pt x="12033" y="1554"/>
                    <a:pt x="12239" y="1691"/>
                    <a:pt x="12376" y="1786"/>
                  </a:cubicBezTo>
                  <a:cubicBezTo>
                    <a:pt x="12607" y="1943"/>
                    <a:pt x="12750" y="2045"/>
                    <a:pt x="12750" y="2164"/>
                  </a:cubicBezTo>
                  <a:cubicBezTo>
                    <a:pt x="12750" y="2202"/>
                    <a:pt x="12733" y="2241"/>
                    <a:pt x="12701" y="2269"/>
                  </a:cubicBezTo>
                  <a:cubicBezTo>
                    <a:pt x="12662" y="2301"/>
                    <a:pt x="12604" y="2313"/>
                    <a:pt x="12535" y="2313"/>
                  </a:cubicBezTo>
                  <a:cubicBezTo>
                    <a:pt x="12449" y="2313"/>
                    <a:pt x="12346" y="2295"/>
                    <a:pt x="12239" y="2276"/>
                  </a:cubicBezTo>
                  <a:cubicBezTo>
                    <a:pt x="12165" y="2262"/>
                    <a:pt x="12063" y="2245"/>
                    <a:pt x="12004" y="2245"/>
                  </a:cubicBezTo>
                  <a:cubicBezTo>
                    <a:pt x="11985" y="2245"/>
                    <a:pt x="11970" y="2247"/>
                    <a:pt x="11963" y="2251"/>
                  </a:cubicBezTo>
                  <a:cubicBezTo>
                    <a:pt x="11945" y="2264"/>
                    <a:pt x="11925" y="2270"/>
                    <a:pt x="11903" y="2270"/>
                  </a:cubicBezTo>
                  <a:cubicBezTo>
                    <a:pt x="11816" y="2270"/>
                    <a:pt x="11694" y="2178"/>
                    <a:pt x="11518" y="2045"/>
                  </a:cubicBezTo>
                  <a:cubicBezTo>
                    <a:pt x="11322" y="1898"/>
                    <a:pt x="11077" y="1712"/>
                    <a:pt x="10923" y="1712"/>
                  </a:cubicBezTo>
                  <a:cubicBezTo>
                    <a:pt x="10853" y="1712"/>
                    <a:pt x="10839" y="1726"/>
                    <a:pt x="10835" y="1730"/>
                  </a:cubicBezTo>
                  <a:cubicBezTo>
                    <a:pt x="10818" y="1754"/>
                    <a:pt x="10846" y="1849"/>
                    <a:pt x="10867" y="1926"/>
                  </a:cubicBezTo>
                  <a:cubicBezTo>
                    <a:pt x="10909" y="2062"/>
                    <a:pt x="10933" y="2199"/>
                    <a:pt x="10937" y="2342"/>
                  </a:cubicBezTo>
                  <a:cubicBezTo>
                    <a:pt x="10937" y="2615"/>
                    <a:pt x="10695" y="2818"/>
                    <a:pt x="10524" y="2878"/>
                  </a:cubicBezTo>
                  <a:cubicBezTo>
                    <a:pt x="10489" y="2890"/>
                    <a:pt x="10461" y="2894"/>
                    <a:pt x="10437" y="2894"/>
                  </a:cubicBezTo>
                  <a:cubicBezTo>
                    <a:pt x="10384" y="2894"/>
                    <a:pt x="10357" y="2871"/>
                    <a:pt x="10345" y="2857"/>
                  </a:cubicBezTo>
                  <a:cubicBezTo>
                    <a:pt x="10310" y="2811"/>
                    <a:pt x="10317" y="2752"/>
                    <a:pt x="10366" y="2678"/>
                  </a:cubicBezTo>
                  <a:cubicBezTo>
                    <a:pt x="10454" y="2542"/>
                    <a:pt x="10457" y="2265"/>
                    <a:pt x="10377" y="2017"/>
                  </a:cubicBezTo>
                  <a:cubicBezTo>
                    <a:pt x="10317" y="1831"/>
                    <a:pt x="10219" y="1702"/>
                    <a:pt x="10107" y="1660"/>
                  </a:cubicBezTo>
                  <a:cubicBezTo>
                    <a:pt x="10067" y="1644"/>
                    <a:pt x="10017" y="1637"/>
                    <a:pt x="9959" y="1637"/>
                  </a:cubicBezTo>
                  <a:cubicBezTo>
                    <a:pt x="9770" y="1637"/>
                    <a:pt x="9502" y="1709"/>
                    <a:pt x="9242" y="1779"/>
                  </a:cubicBezTo>
                  <a:cubicBezTo>
                    <a:pt x="8974" y="1849"/>
                    <a:pt x="8693" y="1923"/>
                    <a:pt x="8489" y="1923"/>
                  </a:cubicBezTo>
                  <a:cubicBezTo>
                    <a:pt x="8479" y="1923"/>
                    <a:pt x="8470" y="1922"/>
                    <a:pt x="8462" y="1922"/>
                  </a:cubicBezTo>
                  <a:cubicBezTo>
                    <a:pt x="8437" y="1921"/>
                    <a:pt x="8412" y="1921"/>
                    <a:pt x="8387" y="1921"/>
                  </a:cubicBezTo>
                  <a:cubicBezTo>
                    <a:pt x="8048" y="1921"/>
                    <a:pt x="7760" y="2007"/>
                    <a:pt x="7741" y="2069"/>
                  </a:cubicBezTo>
                  <a:cubicBezTo>
                    <a:pt x="7741" y="2076"/>
                    <a:pt x="7751" y="2108"/>
                    <a:pt x="7835" y="2153"/>
                  </a:cubicBezTo>
                  <a:cubicBezTo>
                    <a:pt x="7965" y="2230"/>
                    <a:pt x="8028" y="2307"/>
                    <a:pt x="8024" y="2381"/>
                  </a:cubicBezTo>
                  <a:cubicBezTo>
                    <a:pt x="8021" y="2430"/>
                    <a:pt x="7989" y="2475"/>
                    <a:pt x="7947" y="2496"/>
                  </a:cubicBezTo>
                  <a:cubicBezTo>
                    <a:pt x="7913" y="2513"/>
                    <a:pt x="7868" y="2521"/>
                    <a:pt x="7815" y="2521"/>
                  </a:cubicBezTo>
                  <a:cubicBezTo>
                    <a:pt x="7699" y="2521"/>
                    <a:pt x="7548" y="2478"/>
                    <a:pt x="7408" y="2377"/>
                  </a:cubicBezTo>
                  <a:cubicBezTo>
                    <a:pt x="7318" y="2314"/>
                    <a:pt x="7159" y="2287"/>
                    <a:pt x="6983" y="2287"/>
                  </a:cubicBezTo>
                  <a:cubicBezTo>
                    <a:pt x="6839" y="2287"/>
                    <a:pt x="6684" y="2305"/>
                    <a:pt x="6547" y="2335"/>
                  </a:cubicBezTo>
                  <a:cubicBezTo>
                    <a:pt x="6379" y="2370"/>
                    <a:pt x="6291" y="2412"/>
                    <a:pt x="6263" y="2437"/>
                  </a:cubicBezTo>
                  <a:cubicBezTo>
                    <a:pt x="6386" y="2528"/>
                    <a:pt x="6477" y="2703"/>
                    <a:pt x="6505" y="2902"/>
                  </a:cubicBezTo>
                  <a:cubicBezTo>
                    <a:pt x="6533" y="3084"/>
                    <a:pt x="6505" y="3249"/>
                    <a:pt x="6431" y="3350"/>
                  </a:cubicBezTo>
                  <a:cubicBezTo>
                    <a:pt x="6386" y="3410"/>
                    <a:pt x="6327" y="3432"/>
                    <a:pt x="6257" y="3432"/>
                  </a:cubicBezTo>
                  <a:cubicBezTo>
                    <a:pt x="6158" y="3432"/>
                    <a:pt x="6036" y="3387"/>
                    <a:pt x="5903" y="3340"/>
                  </a:cubicBezTo>
                  <a:cubicBezTo>
                    <a:pt x="5739" y="3279"/>
                    <a:pt x="5555" y="3212"/>
                    <a:pt x="5380" y="3212"/>
                  </a:cubicBezTo>
                  <a:cubicBezTo>
                    <a:pt x="5364" y="3212"/>
                    <a:pt x="5348" y="3213"/>
                    <a:pt x="5332" y="3214"/>
                  </a:cubicBezTo>
                  <a:cubicBezTo>
                    <a:pt x="5146" y="3228"/>
                    <a:pt x="4534" y="3469"/>
                    <a:pt x="3953" y="3767"/>
                  </a:cubicBezTo>
                  <a:cubicBezTo>
                    <a:pt x="3189" y="4152"/>
                    <a:pt x="2913" y="4401"/>
                    <a:pt x="2916" y="4467"/>
                  </a:cubicBezTo>
                  <a:cubicBezTo>
                    <a:pt x="2960" y="4560"/>
                    <a:pt x="3197" y="4573"/>
                    <a:pt x="3428" y="4573"/>
                  </a:cubicBezTo>
                  <a:cubicBezTo>
                    <a:pt x="3476" y="4573"/>
                    <a:pt x="3525" y="4573"/>
                    <a:pt x="3571" y="4572"/>
                  </a:cubicBezTo>
                  <a:cubicBezTo>
                    <a:pt x="3626" y="4571"/>
                    <a:pt x="3681" y="4571"/>
                    <a:pt x="3734" y="4571"/>
                  </a:cubicBezTo>
                  <a:cubicBezTo>
                    <a:pt x="3936" y="4571"/>
                    <a:pt x="4116" y="4581"/>
                    <a:pt x="4229" y="4642"/>
                  </a:cubicBezTo>
                  <a:cubicBezTo>
                    <a:pt x="4310" y="4688"/>
                    <a:pt x="4362" y="4775"/>
                    <a:pt x="4362" y="4870"/>
                  </a:cubicBezTo>
                  <a:cubicBezTo>
                    <a:pt x="4376" y="5150"/>
                    <a:pt x="4065" y="5563"/>
                    <a:pt x="3781" y="5759"/>
                  </a:cubicBezTo>
                  <a:cubicBezTo>
                    <a:pt x="3596" y="5882"/>
                    <a:pt x="3207" y="5892"/>
                    <a:pt x="2829" y="5903"/>
                  </a:cubicBezTo>
                  <a:cubicBezTo>
                    <a:pt x="2542" y="5910"/>
                    <a:pt x="2104" y="5920"/>
                    <a:pt x="2094" y="6018"/>
                  </a:cubicBezTo>
                  <a:cubicBezTo>
                    <a:pt x="2076" y="6186"/>
                    <a:pt x="1768" y="6256"/>
                    <a:pt x="1180" y="6375"/>
                  </a:cubicBezTo>
                  <a:cubicBezTo>
                    <a:pt x="686" y="6473"/>
                    <a:pt x="7" y="6610"/>
                    <a:pt x="7" y="6820"/>
                  </a:cubicBezTo>
                  <a:cubicBezTo>
                    <a:pt x="0" y="6984"/>
                    <a:pt x="116" y="7131"/>
                    <a:pt x="280" y="7159"/>
                  </a:cubicBezTo>
                  <a:cubicBezTo>
                    <a:pt x="364" y="7177"/>
                    <a:pt x="448" y="7184"/>
                    <a:pt x="536" y="7187"/>
                  </a:cubicBezTo>
                  <a:cubicBezTo>
                    <a:pt x="763" y="7198"/>
                    <a:pt x="1019" y="7212"/>
                    <a:pt x="1222" y="7439"/>
                  </a:cubicBezTo>
                  <a:cubicBezTo>
                    <a:pt x="1356" y="7591"/>
                    <a:pt x="1632" y="7659"/>
                    <a:pt x="1931" y="7659"/>
                  </a:cubicBezTo>
                  <a:cubicBezTo>
                    <a:pt x="2172" y="7659"/>
                    <a:pt x="2427" y="7615"/>
                    <a:pt x="2636" y="7534"/>
                  </a:cubicBezTo>
                  <a:cubicBezTo>
                    <a:pt x="2768" y="7484"/>
                    <a:pt x="2898" y="7459"/>
                    <a:pt x="3018" y="7459"/>
                  </a:cubicBezTo>
                  <a:cubicBezTo>
                    <a:pt x="3168" y="7459"/>
                    <a:pt x="3302" y="7497"/>
                    <a:pt x="3406" y="7572"/>
                  </a:cubicBezTo>
                  <a:cubicBezTo>
                    <a:pt x="3522" y="7649"/>
                    <a:pt x="3589" y="7782"/>
                    <a:pt x="3582" y="7923"/>
                  </a:cubicBezTo>
                  <a:cubicBezTo>
                    <a:pt x="3578" y="7965"/>
                    <a:pt x="3561" y="8007"/>
                    <a:pt x="3526" y="8035"/>
                  </a:cubicBezTo>
                  <a:cubicBezTo>
                    <a:pt x="3474" y="8079"/>
                    <a:pt x="3392" y="8095"/>
                    <a:pt x="3279" y="8095"/>
                  </a:cubicBezTo>
                  <a:cubicBezTo>
                    <a:pt x="3168" y="8095"/>
                    <a:pt x="3028" y="8080"/>
                    <a:pt x="2857" y="8059"/>
                  </a:cubicBezTo>
                  <a:cubicBezTo>
                    <a:pt x="2692" y="8040"/>
                    <a:pt x="2516" y="8018"/>
                    <a:pt x="2367" y="8018"/>
                  </a:cubicBezTo>
                  <a:cubicBezTo>
                    <a:pt x="2247" y="8018"/>
                    <a:pt x="2144" y="8032"/>
                    <a:pt x="2080" y="8073"/>
                  </a:cubicBezTo>
                  <a:cubicBezTo>
                    <a:pt x="1901" y="8182"/>
                    <a:pt x="1562" y="8192"/>
                    <a:pt x="1260" y="8203"/>
                  </a:cubicBezTo>
                  <a:cubicBezTo>
                    <a:pt x="1082" y="8210"/>
                    <a:pt x="809" y="8217"/>
                    <a:pt x="767" y="8262"/>
                  </a:cubicBezTo>
                  <a:cubicBezTo>
                    <a:pt x="795" y="8371"/>
                    <a:pt x="1054" y="8392"/>
                    <a:pt x="1302" y="8416"/>
                  </a:cubicBezTo>
                  <a:cubicBezTo>
                    <a:pt x="1432" y="8430"/>
                    <a:pt x="1572" y="8444"/>
                    <a:pt x="1702" y="8469"/>
                  </a:cubicBezTo>
                  <a:cubicBezTo>
                    <a:pt x="1842" y="8493"/>
                    <a:pt x="1919" y="8535"/>
                    <a:pt x="1943" y="8602"/>
                  </a:cubicBezTo>
                  <a:cubicBezTo>
                    <a:pt x="1971" y="8686"/>
                    <a:pt x="1912" y="8759"/>
                    <a:pt x="1856" y="8833"/>
                  </a:cubicBezTo>
                  <a:cubicBezTo>
                    <a:pt x="1817" y="8882"/>
                    <a:pt x="1775" y="8934"/>
                    <a:pt x="1772" y="8973"/>
                  </a:cubicBezTo>
                  <a:cubicBezTo>
                    <a:pt x="1765" y="9025"/>
                    <a:pt x="1793" y="9043"/>
                    <a:pt x="1975" y="9102"/>
                  </a:cubicBezTo>
                  <a:cubicBezTo>
                    <a:pt x="2115" y="9144"/>
                    <a:pt x="2251" y="9200"/>
                    <a:pt x="2381" y="9267"/>
                  </a:cubicBezTo>
                  <a:cubicBezTo>
                    <a:pt x="2674" y="9410"/>
                    <a:pt x="3018" y="9487"/>
                    <a:pt x="3166" y="9487"/>
                  </a:cubicBezTo>
                  <a:cubicBezTo>
                    <a:pt x="3184" y="9487"/>
                    <a:pt x="3199" y="9486"/>
                    <a:pt x="3210" y="9484"/>
                  </a:cubicBezTo>
                  <a:cubicBezTo>
                    <a:pt x="3203" y="9477"/>
                    <a:pt x="3200" y="9470"/>
                    <a:pt x="3193" y="9466"/>
                  </a:cubicBezTo>
                  <a:cubicBezTo>
                    <a:pt x="3137" y="9403"/>
                    <a:pt x="3116" y="9347"/>
                    <a:pt x="3137" y="9295"/>
                  </a:cubicBezTo>
                  <a:cubicBezTo>
                    <a:pt x="3154" y="9239"/>
                    <a:pt x="3210" y="9200"/>
                    <a:pt x="3301" y="9186"/>
                  </a:cubicBezTo>
                  <a:cubicBezTo>
                    <a:pt x="3333" y="9181"/>
                    <a:pt x="3371" y="9178"/>
                    <a:pt x="3412" y="9178"/>
                  </a:cubicBezTo>
                  <a:cubicBezTo>
                    <a:pt x="3568" y="9178"/>
                    <a:pt x="3769" y="9221"/>
                    <a:pt x="3844" y="9316"/>
                  </a:cubicBezTo>
                  <a:cubicBezTo>
                    <a:pt x="3849" y="9322"/>
                    <a:pt x="3857" y="9325"/>
                    <a:pt x="3868" y="9325"/>
                  </a:cubicBezTo>
                  <a:cubicBezTo>
                    <a:pt x="3906" y="9325"/>
                    <a:pt x="3976" y="9293"/>
                    <a:pt x="4044" y="9263"/>
                  </a:cubicBezTo>
                  <a:cubicBezTo>
                    <a:pt x="4151" y="9211"/>
                    <a:pt x="4282" y="9150"/>
                    <a:pt x="4421" y="9150"/>
                  </a:cubicBezTo>
                  <a:cubicBezTo>
                    <a:pt x="4459" y="9150"/>
                    <a:pt x="4498" y="9155"/>
                    <a:pt x="4537" y="9165"/>
                  </a:cubicBezTo>
                  <a:cubicBezTo>
                    <a:pt x="4561" y="9172"/>
                    <a:pt x="4583" y="9174"/>
                    <a:pt x="4605" y="9174"/>
                  </a:cubicBezTo>
                  <a:cubicBezTo>
                    <a:pt x="4690" y="9174"/>
                    <a:pt x="4758" y="9130"/>
                    <a:pt x="4828" y="9085"/>
                  </a:cubicBezTo>
                  <a:cubicBezTo>
                    <a:pt x="4894" y="9041"/>
                    <a:pt x="4971" y="8991"/>
                    <a:pt x="5062" y="8991"/>
                  </a:cubicBezTo>
                  <a:cubicBezTo>
                    <a:pt x="5110" y="8991"/>
                    <a:pt x="5163" y="9005"/>
                    <a:pt x="5220" y="9043"/>
                  </a:cubicBezTo>
                  <a:cubicBezTo>
                    <a:pt x="5325" y="9113"/>
                    <a:pt x="5658" y="9179"/>
                    <a:pt x="5976" y="9242"/>
                  </a:cubicBezTo>
                  <a:cubicBezTo>
                    <a:pt x="6365" y="9316"/>
                    <a:pt x="6764" y="9396"/>
                    <a:pt x="6977" y="9508"/>
                  </a:cubicBezTo>
                  <a:cubicBezTo>
                    <a:pt x="7096" y="9571"/>
                    <a:pt x="7222" y="9624"/>
                    <a:pt x="7352" y="9669"/>
                  </a:cubicBezTo>
                  <a:cubicBezTo>
                    <a:pt x="7646" y="9778"/>
                    <a:pt x="7926" y="9879"/>
                    <a:pt x="7884" y="10142"/>
                  </a:cubicBezTo>
                  <a:cubicBezTo>
                    <a:pt x="7839" y="10422"/>
                    <a:pt x="8245" y="10643"/>
                    <a:pt x="8605" y="10800"/>
                  </a:cubicBezTo>
                  <a:cubicBezTo>
                    <a:pt x="9144" y="11038"/>
                    <a:pt x="9155" y="11591"/>
                    <a:pt x="9144" y="11752"/>
                  </a:cubicBezTo>
                  <a:cubicBezTo>
                    <a:pt x="9137" y="11871"/>
                    <a:pt x="9263" y="11983"/>
                    <a:pt x="9372" y="12082"/>
                  </a:cubicBezTo>
                  <a:cubicBezTo>
                    <a:pt x="9480" y="12180"/>
                    <a:pt x="9589" y="12278"/>
                    <a:pt x="9522" y="12383"/>
                  </a:cubicBezTo>
                  <a:cubicBezTo>
                    <a:pt x="9459" y="12488"/>
                    <a:pt x="9547" y="12652"/>
                    <a:pt x="9785" y="12862"/>
                  </a:cubicBezTo>
                  <a:cubicBezTo>
                    <a:pt x="9841" y="12904"/>
                    <a:pt x="9873" y="12971"/>
                    <a:pt x="9876" y="13037"/>
                  </a:cubicBezTo>
                  <a:cubicBezTo>
                    <a:pt x="9876" y="13156"/>
                    <a:pt x="9768" y="13247"/>
                    <a:pt x="9662" y="13338"/>
                  </a:cubicBezTo>
                  <a:cubicBezTo>
                    <a:pt x="9526" y="13454"/>
                    <a:pt x="9484" y="13503"/>
                    <a:pt x="9519" y="13552"/>
                  </a:cubicBezTo>
                  <a:cubicBezTo>
                    <a:pt x="9606" y="13664"/>
                    <a:pt x="9578" y="13807"/>
                    <a:pt x="9554" y="13933"/>
                  </a:cubicBezTo>
                  <a:cubicBezTo>
                    <a:pt x="9533" y="14035"/>
                    <a:pt x="9512" y="14130"/>
                    <a:pt x="9554" y="14186"/>
                  </a:cubicBezTo>
                  <a:cubicBezTo>
                    <a:pt x="9582" y="14228"/>
                    <a:pt x="9641" y="14256"/>
                    <a:pt x="9736" y="14270"/>
                  </a:cubicBezTo>
                  <a:cubicBezTo>
                    <a:pt x="9776" y="14276"/>
                    <a:pt x="9812" y="14279"/>
                    <a:pt x="9845" y="14279"/>
                  </a:cubicBezTo>
                  <a:cubicBezTo>
                    <a:pt x="10015" y="14279"/>
                    <a:pt x="10088" y="14200"/>
                    <a:pt x="10170" y="14112"/>
                  </a:cubicBezTo>
                  <a:cubicBezTo>
                    <a:pt x="10254" y="14017"/>
                    <a:pt x="10349" y="13912"/>
                    <a:pt x="10552" y="13912"/>
                  </a:cubicBezTo>
                  <a:cubicBezTo>
                    <a:pt x="10618" y="13912"/>
                    <a:pt x="10713" y="13919"/>
                    <a:pt x="10762" y="13986"/>
                  </a:cubicBezTo>
                  <a:cubicBezTo>
                    <a:pt x="10814" y="14049"/>
                    <a:pt x="10793" y="14140"/>
                    <a:pt x="10772" y="14224"/>
                  </a:cubicBezTo>
                  <a:cubicBezTo>
                    <a:pt x="10744" y="14340"/>
                    <a:pt x="10727" y="14420"/>
                    <a:pt x="10793" y="14483"/>
                  </a:cubicBezTo>
                  <a:cubicBezTo>
                    <a:pt x="10877" y="14567"/>
                    <a:pt x="11010" y="14606"/>
                    <a:pt x="11164" y="14651"/>
                  </a:cubicBezTo>
                  <a:cubicBezTo>
                    <a:pt x="11360" y="14711"/>
                    <a:pt x="11605" y="14784"/>
                    <a:pt x="11840" y="14980"/>
                  </a:cubicBezTo>
                  <a:cubicBezTo>
                    <a:pt x="12127" y="15222"/>
                    <a:pt x="12075" y="15358"/>
                    <a:pt x="12040" y="15404"/>
                  </a:cubicBezTo>
                  <a:cubicBezTo>
                    <a:pt x="12008" y="15443"/>
                    <a:pt x="11959" y="15463"/>
                    <a:pt x="11899" y="15463"/>
                  </a:cubicBezTo>
                  <a:cubicBezTo>
                    <a:pt x="11799" y="15463"/>
                    <a:pt x="11667" y="15410"/>
                    <a:pt x="11532" y="15309"/>
                  </a:cubicBezTo>
                  <a:cubicBezTo>
                    <a:pt x="11344" y="15172"/>
                    <a:pt x="10956" y="15130"/>
                    <a:pt x="10640" y="15130"/>
                  </a:cubicBezTo>
                  <a:cubicBezTo>
                    <a:pt x="10456" y="15130"/>
                    <a:pt x="10297" y="15144"/>
                    <a:pt x="10216" y="15162"/>
                  </a:cubicBezTo>
                  <a:cubicBezTo>
                    <a:pt x="10415" y="15325"/>
                    <a:pt x="11234" y="15768"/>
                    <a:pt x="11512" y="15768"/>
                  </a:cubicBezTo>
                  <a:cubicBezTo>
                    <a:pt x="11532" y="15768"/>
                    <a:pt x="11549" y="15766"/>
                    <a:pt x="11563" y="15761"/>
                  </a:cubicBezTo>
                  <a:cubicBezTo>
                    <a:pt x="11595" y="15750"/>
                    <a:pt x="11626" y="15745"/>
                    <a:pt x="11659" y="15745"/>
                  </a:cubicBezTo>
                  <a:cubicBezTo>
                    <a:pt x="11825" y="15745"/>
                    <a:pt x="11996" y="15879"/>
                    <a:pt x="12096" y="16037"/>
                  </a:cubicBezTo>
                  <a:cubicBezTo>
                    <a:pt x="12194" y="16199"/>
                    <a:pt x="12204" y="16349"/>
                    <a:pt x="12117" y="16433"/>
                  </a:cubicBezTo>
                  <a:cubicBezTo>
                    <a:pt x="12033" y="16521"/>
                    <a:pt x="12029" y="16741"/>
                    <a:pt x="12029" y="16916"/>
                  </a:cubicBezTo>
                  <a:cubicBezTo>
                    <a:pt x="12033" y="16997"/>
                    <a:pt x="12033" y="17081"/>
                    <a:pt x="12022" y="17161"/>
                  </a:cubicBezTo>
                  <a:cubicBezTo>
                    <a:pt x="12015" y="17203"/>
                    <a:pt x="11994" y="17242"/>
                    <a:pt x="11959" y="17266"/>
                  </a:cubicBezTo>
                  <a:cubicBezTo>
                    <a:pt x="11920" y="17294"/>
                    <a:pt x="11871" y="17303"/>
                    <a:pt x="11813" y="17303"/>
                  </a:cubicBezTo>
                  <a:cubicBezTo>
                    <a:pt x="11746" y="17303"/>
                    <a:pt x="11668" y="17290"/>
                    <a:pt x="11584" y="17277"/>
                  </a:cubicBezTo>
                  <a:cubicBezTo>
                    <a:pt x="11501" y="17257"/>
                    <a:pt x="11417" y="17247"/>
                    <a:pt x="11334" y="17247"/>
                  </a:cubicBezTo>
                  <a:cubicBezTo>
                    <a:pt x="11312" y="17247"/>
                    <a:pt x="11291" y="17247"/>
                    <a:pt x="11269" y="17249"/>
                  </a:cubicBezTo>
                  <a:cubicBezTo>
                    <a:pt x="10989" y="17284"/>
                    <a:pt x="10891" y="17368"/>
                    <a:pt x="10891" y="17571"/>
                  </a:cubicBezTo>
                  <a:cubicBezTo>
                    <a:pt x="10891" y="17732"/>
                    <a:pt x="10779" y="17861"/>
                    <a:pt x="10667" y="17991"/>
                  </a:cubicBezTo>
                  <a:cubicBezTo>
                    <a:pt x="10566" y="18110"/>
                    <a:pt x="10457" y="18236"/>
                    <a:pt x="10436" y="18387"/>
                  </a:cubicBezTo>
                  <a:cubicBezTo>
                    <a:pt x="10412" y="18562"/>
                    <a:pt x="10520" y="18614"/>
                    <a:pt x="10709" y="18684"/>
                  </a:cubicBezTo>
                  <a:cubicBezTo>
                    <a:pt x="10793" y="18712"/>
                    <a:pt x="10870" y="18747"/>
                    <a:pt x="10944" y="18793"/>
                  </a:cubicBezTo>
                  <a:cubicBezTo>
                    <a:pt x="10986" y="18817"/>
                    <a:pt x="11014" y="18866"/>
                    <a:pt x="11017" y="18915"/>
                  </a:cubicBezTo>
                  <a:cubicBezTo>
                    <a:pt x="11014" y="19003"/>
                    <a:pt x="10919" y="19055"/>
                    <a:pt x="10804" y="19122"/>
                  </a:cubicBezTo>
                  <a:cubicBezTo>
                    <a:pt x="10695" y="19181"/>
                    <a:pt x="10562" y="19258"/>
                    <a:pt x="10552" y="19342"/>
                  </a:cubicBezTo>
                  <a:cubicBezTo>
                    <a:pt x="10527" y="19521"/>
                    <a:pt x="11021" y="19930"/>
                    <a:pt x="11276" y="20067"/>
                  </a:cubicBezTo>
                  <a:cubicBezTo>
                    <a:pt x="11441" y="20154"/>
                    <a:pt x="11420" y="20403"/>
                    <a:pt x="11399" y="20645"/>
                  </a:cubicBezTo>
                  <a:cubicBezTo>
                    <a:pt x="11388" y="20792"/>
                    <a:pt x="11374" y="20946"/>
                    <a:pt x="11406" y="21044"/>
                  </a:cubicBezTo>
                  <a:cubicBezTo>
                    <a:pt x="11422" y="21104"/>
                    <a:pt x="11443" y="21117"/>
                    <a:pt x="11482" y="21117"/>
                  </a:cubicBezTo>
                  <a:cubicBezTo>
                    <a:pt x="11495" y="21117"/>
                    <a:pt x="11511" y="21115"/>
                    <a:pt x="11528" y="21114"/>
                  </a:cubicBezTo>
                  <a:cubicBezTo>
                    <a:pt x="11544" y="21113"/>
                    <a:pt x="11560" y="21111"/>
                    <a:pt x="11577" y="21111"/>
                  </a:cubicBezTo>
                  <a:cubicBezTo>
                    <a:pt x="11615" y="21111"/>
                    <a:pt x="11654" y="21118"/>
                    <a:pt x="11686" y="21152"/>
                  </a:cubicBezTo>
                  <a:cubicBezTo>
                    <a:pt x="11735" y="21198"/>
                    <a:pt x="11742" y="21257"/>
                    <a:pt x="11731" y="21362"/>
                  </a:cubicBezTo>
                  <a:cubicBezTo>
                    <a:pt x="11714" y="21537"/>
                    <a:pt x="11784" y="21597"/>
                    <a:pt x="11861" y="21667"/>
                  </a:cubicBezTo>
                  <a:cubicBezTo>
                    <a:pt x="11924" y="21723"/>
                    <a:pt x="11994" y="21786"/>
                    <a:pt x="12005" y="21898"/>
                  </a:cubicBezTo>
                  <a:cubicBezTo>
                    <a:pt x="12008" y="21950"/>
                    <a:pt x="12075" y="21982"/>
                    <a:pt x="12176" y="22031"/>
                  </a:cubicBezTo>
                  <a:cubicBezTo>
                    <a:pt x="12302" y="22090"/>
                    <a:pt x="12495" y="22178"/>
                    <a:pt x="12421" y="22395"/>
                  </a:cubicBezTo>
                  <a:cubicBezTo>
                    <a:pt x="12355" y="22602"/>
                    <a:pt x="12484" y="22763"/>
                    <a:pt x="12596" y="22903"/>
                  </a:cubicBezTo>
                  <a:cubicBezTo>
                    <a:pt x="12624" y="22938"/>
                    <a:pt x="12649" y="22969"/>
                    <a:pt x="12670" y="23001"/>
                  </a:cubicBezTo>
                  <a:cubicBezTo>
                    <a:pt x="12740" y="23085"/>
                    <a:pt x="12820" y="23158"/>
                    <a:pt x="12904" y="23228"/>
                  </a:cubicBezTo>
                  <a:cubicBezTo>
                    <a:pt x="13069" y="23372"/>
                    <a:pt x="13240" y="23522"/>
                    <a:pt x="13293" y="23662"/>
                  </a:cubicBezTo>
                  <a:cubicBezTo>
                    <a:pt x="13358" y="23832"/>
                    <a:pt x="13535" y="24038"/>
                    <a:pt x="13744" y="24038"/>
                  </a:cubicBezTo>
                  <a:cubicBezTo>
                    <a:pt x="13771" y="24038"/>
                    <a:pt x="13800" y="24034"/>
                    <a:pt x="13828" y="24026"/>
                  </a:cubicBezTo>
                  <a:cubicBezTo>
                    <a:pt x="13873" y="24014"/>
                    <a:pt x="13913" y="24009"/>
                    <a:pt x="13948" y="24009"/>
                  </a:cubicBezTo>
                  <a:cubicBezTo>
                    <a:pt x="14066" y="24009"/>
                    <a:pt x="14138" y="24066"/>
                    <a:pt x="14200" y="24117"/>
                  </a:cubicBezTo>
                  <a:cubicBezTo>
                    <a:pt x="14256" y="24161"/>
                    <a:pt x="14293" y="24189"/>
                    <a:pt x="14351" y="24189"/>
                  </a:cubicBezTo>
                  <a:cubicBezTo>
                    <a:pt x="14357" y="24189"/>
                    <a:pt x="14364" y="24188"/>
                    <a:pt x="14371" y="24187"/>
                  </a:cubicBezTo>
                  <a:cubicBezTo>
                    <a:pt x="14399" y="24180"/>
                    <a:pt x="14424" y="24180"/>
                    <a:pt x="14452" y="24180"/>
                  </a:cubicBezTo>
                  <a:cubicBezTo>
                    <a:pt x="14700" y="24180"/>
                    <a:pt x="15019" y="24313"/>
                    <a:pt x="15089" y="24503"/>
                  </a:cubicBezTo>
                  <a:cubicBezTo>
                    <a:pt x="15131" y="24615"/>
                    <a:pt x="15656" y="24776"/>
                    <a:pt x="15992" y="24832"/>
                  </a:cubicBezTo>
                  <a:cubicBezTo>
                    <a:pt x="15996" y="24832"/>
                    <a:pt x="16001" y="24833"/>
                    <a:pt x="16005" y="24833"/>
                  </a:cubicBezTo>
                  <a:cubicBezTo>
                    <a:pt x="16054" y="24833"/>
                    <a:pt x="16092" y="24777"/>
                    <a:pt x="16153" y="24667"/>
                  </a:cubicBezTo>
                  <a:cubicBezTo>
                    <a:pt x="16202" y="24576"/>
                    <a:pt x="16262" y="24471"/>
                    <a:pt x="16353" y="24418"/>
                  </a:cubicBezTo>
                  <a:cubicBezTo>
                    <a:pt x="16416" y="24387"/>
                    <a:pt x="16444" y="24163"/>
                    <a:pt x="16465" y="24012"/>
                  </a:cubicBezTo>
                  <a:cubicBezTo>
                    <a:pt x="16496" y="23778"/>
                    <a:pt x="16521" y="23592"/>
                    <a:pt x="16640" y="23557"/>
                  </a:cubicBezTo>
                  <a:cubicBezTo>
                    <a:pt x="16664" y="23543"/>
                    <a:pt x="16703" y="23424"/>
                    <a:pt x="16689" y="23204"/>
                  </a:cubicBezTo>
                  <a:cubicBezTo>
                    <a:pt x="16678" y="22973"/>
                    <a:pt x="16615" y="22836"/>
                    <a:pt x="16587" y="22826"/>
                  </a:cubicBezTo>
                  <a:cubicBezTo>
                    <a:pt x="16496" y="22794"/>
                    <a:pt x="16444" y="22696"/>
                    <a:pt x="16468" y="22605"/>
                  </a:cubicBezTo>
                  <a:cubicBezTo>
                    <a:pt x="16493" y="22513"/>
                    <a:pt x="16592" y="22416"/>
                    <a:pt x="16798" y="22416"/>
                  </a:cubicBezTo>
                  <a:cubicBezTo>
                    <a:pt x="16828" y="22416"/>
                    <a:pt x="16860" y="22419"/>
                    <a:pt x="16895" y="22423"/>
                  </a:cubicBezTo>
                  <a:cubicBezTo>
                    <a:pt x="16917" y="22426"/>
                    <a:pt x="16936" y="22428"/>
                    <a:pt x="16953" y="22428"/>
                  </a:cubicBezTo>
                  <a:cubicBezTo>
                    <a:pt x="17073" y="22428"/>
                    <a:pt x="17096" y="22356"/>
                    <a:pt x="17126" y="22258"/>
                  </a:cubicBezTo>
                  <a:cubicBezTo>
                    <a:pt x="17154" y="22181"/>
                    <a:pt x="17186" y="22083"/>
                    <a:pt x="17287" y="22055"/>
                  </a:cubicBezTo>
                  <a:cubicBezTo>
                    <a:pt x="17340" y="22038"/>
                    <a:pt x="17357" y="21971"/>
                    <a:pt x="17375" y="21866"/>
                  </a:cubicBezTo>
                  <a:cubicBezTo>
                    <a:pt x="17396" y="21761"/>
                    <a:pt x="17413" y="21660"/>
                    <a:pt x="17515" y="21632"/>
                  </a:cubicBezTo>
                  <a:cubicBezTo>
                    <a:pt x="17522" y="21632"/>
                    <a:pt x="17539" y="21628"/>
                    <a:pt x="17550" y="21597"/>
                  </a:cubicBezTo>
                  <a:cubicBezTo>
                    <a:pt x="17567" y="21509"/>
                    <a:pt x="17550" y="21418"/>
                    <a:pt x="17494" y="21348"/>
                  </a:cubicBezTo>
                  <a:cubicBezTo>
                    <a:pt x="17448" y="21296"/>
                    <a:pt x="17434" y="21222"/>
                    <a:pt x="17459" y="21156"/>
                  </a:cubicBezTo>
                  <a:cubicBezTo>
                    <a:pt x="17494" y="21072"/>
                    <a:pt x="17595" y="21009"/>
                    <a:pt x="17746" y="20984"/>
                  </a:cubicBezTo>
                  <a:cubicBezTo>
                    <a:pt x="17788" y="20977"/>
                    <a:pt x="17805" y="20960"/>
                    <a:pt x="17809" y="20925"/>
                  </a:cubicBezTo>
                  <a:cubicBezTo>
                    <a:pt x="17816" y="20865"/>
                    <a:pt x="17760" y="20760"/>
                    <a:pt x="17620" y="20708"/>
                  </a:cubicBezTo>
                  <a:cubicBezTo>
                    <a:pt x="17480" y="20655"/>
                    <a:pt x="17427" y="20557"/>
                    <a:pt x="17420" y="20484"/>
                  </a:cubicBezTo>
                  <a:cubicBezTo>
                    <a:pt x="17413" y="20424"/>
                    <a:pt x="17441" y="20365"/>
                    <a:pt x="17494" y="20333"/>
                  </a:cubicBezTo>
                  <a:cubicBezTo>
                    <a:pt x="17513" y="20323"/>
                    <a:pt x="17542" y="20313"/>
                    <a:pt x="17581" y="20313"/>
                  </a:cubicBezTo>
                  <a:cubicBezTo>
                    <a:pt x="17628" y="20313"/>
                    <a:pt x="17689" y="20328"/>
                    <a:pt x="17763" y="20382"/>
                  </a:cubicBezTo>
                  <a:cubicBezTo>
                    <a:pt x="17841" y="20435"/>
                    <a:pt x="17908" y="20455"/>
                    <a:pt x="17953" y="20455"/>
                  </a:cubicBezTo>
                  <a:cubicBezTo>
                    <a:pt x="17979" y="20455"/>
                    <a:pt x="17998" y="20448"/>
                    <a:pt x="18008" y="20438"/>
                  </a:cubicBezTo>
                  <a:cubicBezTo>
                    <a:pt x="18026" y="20417"/>
                    <a:pt x="18015" y="20375"/>
                    <a:pt x="17980" y="20330"/>
                  </a:cubicBezTo>
                  <a:cubicBezTo>
                    <a:pt x="17931" y="20277"/>
                    <a:pt x="17917" y="20200"/>
                    <a:pt x="17945" y="20133"/>
                  </a:cubicBezTo>
                  <a:cubicBezTo>
                    <a:pt x="18012" y="19983"/>
                    <a:pt x="18310" y="19923"/>
                    <a:pt x="18544" y="19902"/>
                  </a:cubicBezTo>
                  <a:cubicBezTo>
                    <a:pt x="18716" y="19885"/>
                    <a:pt x="18845" y="19825"/>
                    <a:pt x="18908" y="19738"/>
                  </a:cubicBezTo>
                  <a:cubicBezTo>
                    <a:pt x="18950" y="19671"/>
                    <a:pt x="18964" y="19587"/>
                    <a:pt x="18940" y="19514"/>
                  </a:cubicBezTo>
                  <a:cubicBezTo>
                    <a:pt x="18908" y="19423"/>
                    <a:pt x="18947" y="19325"/>
                    <a:pt x="19031" y="19276"/>
                  </a:cubicBezTo>
                  <a:cubicBezTo>
                    <a:pt x="19069" y="19253"/>
                    <a:pt x="19113" y="19241"/>
                    <a:pt x="19156" y="19241"/>
                  </a:cubicBezTo>
                  <a:cubicBezTo>
                    <a:pt x="19211" y="19241"/>
                    <a:pt x="19266" y="19260"/>
                    <a:pt x="19311" y="19297"/>
                  </a:cubicBezTo>
                  <a:cubicBezTo>
                    <a:pt x="19367" y="19353"/>
                    <a:pt x="19377" y="19440"/>
                    <a:pt x="19335" y="19510"/>
                  </a:cubicBezTo>
                  <a:cubicBezTo>
                    <a:pt x="19276" y="19633"/>
                    <a:pt x="19279" y="19734"/>
                    <a:pt x="19297" y="19759"/>
                  </a:cubicBezTo>
                  <a:cubicBezTo>
                    <a:pt x="19314" y="19752"/>
                    <a:pt x="19332" y="19741"/>
                    <a:pt x="19346" y="19727"/>
                  </a:cubicBezTo>
                  <a:cubicBezTo>
                    <a:pt x="19447" y="19622"/>
                    <a:pt x="19584" y="19615"/>
                    <a:pt x="19776" y="19601"/>
                  </a:cubicBezTo>
                  <a:cubicBezTo>
                    <a:pt x="19983" y="19591"/>
                    <a:pt x="20190" y="19556"/>
                    <a:pt x="20389" y="19500"/>
                  </a:cubicBezTo>
                  <a:cubicBezTo>
                    <a:pt x="20925" y="19342"/>
                    <a:pt x="21439" y="18901"/>
                    <a:pt x="21558" y="18492"/>
                  </a:cubicBezTo>
                  <a:cubicBezTo>
                    <a:pt x="21635" y="18240"/>
                    <a:pt x="21852" y="18134"/>
                    <a:pt x="22027" y="18050"/>
                  </a:cubicBezTo>
                  <a:cubicBezTo>
                    <a:pt x="22209" y="17963"/>
                    <a:pt x="22259" y="17924"/>
                    <a:pt x="22238" y="17847"/>
                  </a:cubicBezTo>
                  <a:cubicBezTo>
                    <a:pt x="22181" y="17651"/>
                    <a:pt x="22252" y="17557"/>
                    <a:pt x="22301" y="17518"/>
                  </a:cubicBezTo>
                  <a:cubicBezTo>
                    <a:pt x="22338" y="17487"/>
                    <a:pt x="22396" y="17459"/>
                    <a:pt x="22485" y="17459"/>
                  </a:cubicBezTo>
                  <a:cubicBezTo>
                    <a:pt x="22573" y="17459"/>
                    <a:pt x="22690" y="17486"/>
                    <a:pt x="22847" y="17560"/>
                  </a:cubicBezTo>
                  <a:cubicBezTo>
                    <a:pt x="22892" y="17588"/>
                    <a:pt x="22945" y="17606"/>
                    <a:pt x="23001" y="17616"/>
                  </a:cubicBezTo>
                  <a:cubicBezTo>
                    <a:pt x="23004" y="17613"/>
                    <a:pt x="23008" y="17602"/>
                    <a:pt x="23008" y="17595"/>
                  </a:cubicBezTo>
                  <a:cubicBezTo>
                    <a:pt x="23046" y="17515"/>
                    <a:pt x="23109" y="17424"/>
                    <a:pt x="23351" y="17424"/>
                  </a:cubicBezTo>
                  <a:cubicBezTo>
                    <a:pt x="23571" y="17424"/>
                    <a:pt x="23655" y="17385"/>
                    <a:pt x="23743" y="17343"/>
                  </a:cubicBezTo>
                  <a:cubicBezTo>
                    <a:pt x="23866" y="17283"/>
                    <a:pt x="24000" y="17249"/>
                    <a:pt x="24139" y="17249"/>
                  </a:cubicBezTo>
                  <a:cubicBezTo>
                    <a:pt x="24146" y="17249"/>
                    <a:pt x="24153" y="17249"/>
                    <a:pt x="24159" y="17249"/>
                  </a:cubicBezTo>
                  <a:cubicBezTo>
                    <a:pt x="24618" y="17231"/>
                    <a:pt x="25710" y="17032"/>
                    <a:pt x="26074" y="16727"/>
                  </a:cubicBezTo>
                  <a:cubicBezTo>
                    <a:pt x="26319" y="16524"/>
                    <a:pt x="26729" y="16342"/>
                    <a:pt x="27090" y="16181"/>
                  </a:cubicBezTo>
                  <a:cubicBezTo>
                    <a:pt x="27275" y="16104"/>
                    <a:pt x="27457" y="16013"/>
                    <a:pt x="27636" y="15915"/>
                  </a:cubicBezTo>
                  <a:cubicBezTo>
                    <a:pt x="27692" y="15880"/>
                    <a:pt x="27748" y="15841"/>
                    <a:pt x="27800" y="15799"/>
                  </a:cubicBezTo>
                  <a:lnTo>
                    <a:pt x="27800" y="15799"/>
                  </a:lnTo>
                  <a:cubicBezTo>
                    <a:pt x="27676" y="15840"/>
                    <a:pt x="27516" y="15861"/>
                    <a:pt x="27349" y="15861"/>
                  </a:cubicBezTo>
                  <a:cubicBezTo>
                    <a:pt x="27196" y="15861"/>
                    <a:pt x="27037" y="15843"/>
                    <a:pt x="26894" y="15806"/>
                  </a:cubicBezTo>
                  <a:cubicBezTo>
                    <a:pt x="26820" y="15789"/>
                    <a:pt x="26733" y="15757"/>
                    <a:pt x="26642" y="15729"/>
                  </a:cubicBezTo>
                  <a:cubicBezTo>
                    <a:pt x="26449" y="15662"/>
                    <a:pt x="26225" y="15585"/>
                    <a:pt x="26021" y="15585"/>
                  </a:cubicBezTo>
                  <a:cubicBezTo>
                    <a:pt x="25917" y="15585"/>
                    <a:pt x="25819" y="15605"/>
                    <a:pt x="25731" y="15656"/>
                  </a:cubicBezTo>
                  <a:cubicBezTo>
                    <a:pt x="25701" y="15671"/>
                    <a:pt x="25627" y="15714"/>
                    <a:pt x="25558" y="15714"/>
                  </a:cubicBezTo>
                  <a:cubicBezTo>
                    <a:pt x="25531" y="15714"/>
                    <a:pt x="25505" y="15707"/>
                    <a:pt x="25483" y="15691"/>
                  </a:cubicBezTo>
                  <a:cubicBezTo>
                    <a:pt x="25458" y="15673"/>
                    <a:pt x="25423" y="15628"/>
                    <a:pt x="25444" y="15544"/>
                  </a:cubicBezTo>
                  <a:cubicBezTo>
                    <a:pt x="25479" y="15414"/>
                    <a:pt x="25640" y="15211"/>
                    <a:pt x="25850" y="15176"/>
                  </a:cubicBezTo>
                  <a:cubicBezTo>
                    <a:pt x="25941" y="15162"/>
                    <a:pt x="25973" y="15141"/>
                    <a:pt x="25980" y="15127"/>
                  </a:cubicBezTo>
                  <a:cubicBezTo>
                    <a:pt x="26001" y="15096"/>
                    <a:pt x="25973" y="15015"/>
                    <a:pt x="25945" y="14921"/>
                  </a:cubicBezTo>
                  <a:cubicBezTo>
                    <a:pt x="25927" y="14868"/>
                    <a:pt x="25910" y="14809"/>
                    <a:pt x="25892" y="14739"/>
                  </a:cubicBezTo>
                  <a:cubicBezTo>
                    <a:pt x="25854" y="14592"/>
                    <a:pt x="25934" y="14536"/>
                    <a:pt x="25976" y="14518"/>
                  </a:cubicBezTo>
                  <a:cubicBezTo>
                    <a:pt x="26003" y="14506"/>
                    <a:pt x="26035" y="14500"/>
                    <a:pt x="26071" y="14500"/>
                  </a:cubicBezTo>
                  <a:cubicBezTo>
                    <a:pt x="26280" y="14500"/>
                    <a:pt x="26614" y="14700"/>
                    <a:pt x="26785" y="14945"/>
                  </a:cubicBezTo>
                  <a:cubicBezTo>
                    <a:pt x="26969" y="15210"/>
                    <a:pt x="27293" y="15365"/>
                    <a:pt x="27621" y="15365"/>
                  </a:cubicBezTo>
                  <a:cubicBezTo>
                    <a:pt x="27718" y="15365"/>
                    <a:pt x="27815" y="15351"/>
                    <a:pt x="27909" y="15323"/>
                  </a:cubicBezTo>
                  <a:cubicBezTo>
                    <a:pt x="28105" y="15267"/>
                    <a:pt x="28084" y="15176"/>
                    <a:pt x="28042" y="15012"/>
                  </a:cubicBezTo>
                  <a:cubicBezTo>
                    <a:pt x="28010" y="14886"/>
                    <a:pt x="27975" y="14746"/>
                    <a:pt x="28066" y="14620"/>
                  </a:cubicBezTo>
                  <a:cubicBezTo>
                    <a:pt x="28066" y="14620"/>
                    <a:pt x="28070" y="14616"/>
                    <a:pt x="28066" y="14609"/>
                  </a:cubicBezTo>
                  <a:cubicBezTo>
                    <a:pt x="28045" y="14480"/>
                    <a:pt x="27618" y="14193"/>
                    <a:pt x="27310" y="13979"/>
                  </a:cubicBezTo>
                  <a:cubicBezTo>
                    <a:pt x="26915" y="13713"/>
                    <a:pt x="26673" y="13541"/>
                    <a:pt x="26635" y="13419"/>
                  </a:cubicBezTo>
                  <a:cubicBezTo>
                    <a:pt x="26603" y="13324"/>
                    <a:pt x="26635" y="13272"/>
                    <a:pt x="26663" y="13244"/>
                  </a:cubicBezTo>
                  <a:cubicBezTo>
                    <a:pt x="26694" y="13215"/>
                    <a:pt x="26739" y="13202"/>
                    <a:pt x="26797" y="13202"/>
                  </a:cubicBezTo>
                  <a:cubicBezTo>
                    <a:pt x="26947" y="13202"/>
                    <a:pt x="27188" y="13289"/>
                    <a:pt x="27531" y="13433"/>
                  </a:cubicBezTo>
                  <a:cubicBezTo>
                    <a:pt x="27580" y="13456"/>
                    <a:pt x="27624" y="13467"/>
                    <a:pt x="27665" y="13467"/>
                  </a:cubicBezTo>
                  <a:cubicBezTo>
                    <a:pt x="27706" y="13467"/>
                    <a:pt x="27743" y="13456"/>
                    <a:pt x="27776" y="13433"/>
                  </a:cubicBezTo>
                  <a:cubicBezTo>
                    <a:pt x="27909" y="13345"/>
                    <a:pt x="27958" y="13083"/>
                    <a:pt x="27958" y="12929"/>
                  </a:cubicBezTo>
                  <a:cubicBezTo>
                    <a:pt x="27958" y="12911"/>
                    <a:pt x="27930" y="12897"/>
                    <a:pt x="27919" y="12890"/>
                  </a:cubicBezTo>
                  <a:cubicBezTo>
                    <a:pt x="27837" y="12841"/>
                    <a:pt x="27677" y="12817"/>
                    <a:pt x="27495" y="12817"/>
                  </a:cubicBezTo>
                  <a:cubicBezTo>
                    <a:pt x="27233" y="12817"/>
                    <a:pt x="26927" y="12868"/>
                    <a:pt x="26743" y="12971"/>
                  </a:cubicBezTo>
                  <a:cubicBezTo>
                    <a:pt x="26673" y="13014"/>
                    <a:pt x="26593" y="13035"/>
                    <a:pt x="26513" y="13035"/>
                  </a:cubicBezTo>
                  <a:cubicBezTo>
                    <a:pt x="26418" y="13035"/>
                    <a:pt x="26322" y="13005"/>
                    <a:pt x="26242" y="12946"/>
                  </a:cubicBezTo>
                  <a:cubicBezTo>
                    <a:pt x="26155" y="12876"/>
                    <a:pt x="26113" y="12778"/>
                    <a:pt x="26141" y="12691"/>
                  </a:cubicBezTo>
                  <a:cubicBezTo>
                    <a:pt x="26158" y="12628"/>
                    <a:pt x="26221" y="12519"/>
                    <a:pt x="26463" y="12491"/>
                  </a:cubicBezTo>
                  <a:cubicBezTo>
                    <a:pt x="26645" y="12470"/>
                    <a:pt x="26666" y="12435"/>
                    <a:pt x="26670" y="12432"/>
                  </a:cubicBezTo>
                  <a:cubicBezTo>
                    <a:pt x="26677" y="12418"/>
                    <a:pt x="26649" y="12369"/>
                    <a:pt x="26635" y="12344"/>
                  </a:cubicBezTo>
                  <a:cubicBezTo>
                    <a:pt x="26596" y="12267"/>
                    <a:pt x="26537" y="12155"/>
                    <a:pt x="26635" y="12057"/>
                  </a:cubicBezTo>
                  <a:cubicBezTo>
                    <a:pt x="26667" y="12024"/>
                    <a:pt x="26707" y="12010"/>
                    <a:pt x="26755" y="12010"/>
                  </a:cubicBezTo>
                  <a:cubicBezTo>
                    <a:pt x="26870" y="12010"/>
                    <a:pt x="27026" y="12093"/>
                    <a:pt x="27212" y="12190"/>
                  </a:cubicBezTo>
                  <a:cubicBezTo>
                    <a:pt x="27402" y="12288"/>
                    <a:pt x="27630" y="12409"/>
                    <a:pt x="27794" y="12409"/>
                  </a:cubicBezTo>
                  <a:cubicBezTo>
                    <a:pt x="27823" y="12409"/>
                    <a:pt x="27850" y="12405"/>
                    <a:pt x="27874" y="12397"/>
                  </a:cubicBezTo>
                  <a:cubicBezTo>
                    <a:pt x="28003" y="12362"/>
                    <a:pt x="28136" y="12341"/>
                    <a:pt x="28273" y="12337"/>
                  </a:cubicBezTo>
                  <a:cubicBezTo>
                    <a:pt x="28452" y="12327"/>
                    <a:pt x="28606" y="12320"/>
                    <a:pt x="28777" y="12183"/>
                  </a:cubicBezTo>
                  <a:cubicBezTo>
                    <a:pt x="28795" y="12169"/>
                    <a:pt x="28819" y="12145"/>
                    <a:pt x="28816" y="12124"/>
                  </a:cubicBezTo>
                  <a:cubicBezTo>
                    <a:pt x="28809" y="12043"/>
                    <a:pt x="28574" y="11924"/>
                    <a:pt x="28416" y="11843"/>
                  </a:cubicBezTo>
                  <a:cubicBezTo>
                    <a:pt x="28262" y="11763"/>
                    <a:pt x="28108" y="11682"/>
                    <a:pt x="28038" y="11598"/>
                  </a:cubicBezTo>
                  <a:cubicBezTo>
                    <a:pt x="28003" y="11563"/>
                    <a:pt x="27993" y="11511"/>
                    <a:pt x="28014" y="11469"/>
                  </a:cubicBezTo>
                  <a:cubicBezTo>
                    <a:pt x="28055" y="11387"/>
                    <a:pt x="28210" y="11349"/>
                    <a:pt x="28574" y="11349"/>
                  </a:cubicBezTo>
                  <a:cubicBezTo>
                    <a:pt x="28736" y="11349"/>
                    <a:pt x="28940" y="11357"/>
                    <a:pt x="29194" y="11371"/>
                  </a:cubicBezTo>
                  <a:lnTo>
                    <a:pt x="29306" y="11378"/>
                  </a:lnTo>
                  <a:cubicBezTo>
                    <a:pt x="29309" y="11378"/>
                    <a:pt x="29311" y="11378"/>
                    <a:pt x="29314" y="11378"/>
                  </a:cubicBezTo>
                  <a:cubicBezTo>
                    <a:pt x="29402" y="11378"/>
                    <a:pt x="29482" y="11326"/>
                    <a:pt x="29516" y="11245"/>
                  </a:cubicBezTo>
                  <a:cubicBezTo>
                    <a:pt x="29540" y="11210"/>
                    <a:pt x="29544" y="11168"/>
                    <a:pt x="29526" y="11126"/>
                  </a:cubicBezTo>
                  <a:cubicBezTo>
                    <a:pt x="29524" y="11123"/>
                    <a:pt x="29520" y="11122"/>
                    <a:pt x="29514" y="11122"/>
                  </a:cubicBezTo>
                  <a:cubicBezTo>
                    <a:pt x="29504" y="11122"/>
                    <a:pt x="29488" y="11126"/>
                    <a:pt x="29470" y="11133"/>
                  </a:cubicBezTo>
                  <a:cubicBezTo>
                    <a:pt x="29437" y="11145"/>
                    <a:pt x="29397" y="11151"/>
                    <a:pt x="29351" y="11151"/>
                  </a:cubicBezTo>
                  <a:cubicBezTo>
                    <a:pt x="29079" y="11151"/>
                    <a:pt x="28618" y="10945"/>
                    <a:pt x="28445" y="10727"/>
                  </a:cubicBezTo>
                  <a:cubicBezTo>
                    <a:pt x="28329" y="10583"/>
                    <a:pt x="28371" y="10471"/>
                    <a:pt x="28406" y="10422"/>
                  </a:cubicBezTo>
                  <a:cubicBezTo>
                    <a:pt x="28489" y="10297"/>
                    <a:pt x="28597" y="10267"/>
                    <a:pt x="28712" y="10267"/>
                  </a:cubicBezTo>
                  <a:cubicBezTo>
                    <a:pt x="28771" y="10267"/>
                    <a:pt x="28832" y="10275"/>
                    <a:pt x="28893" y="10282"/>
                  </a:cubicBezTo>
                  <a:cubicBezTo>
                    <a:pt x="28963" y="10293"/>
                    <a:pt x="29033" y="10303"/>
                    <a:pt x="29105" y="10303"/>
                  </a:cubicBezTo>
                  <a:cubicBezTo>
                    <a:pt x="29196" y="10303"/>
                    <a:pt x="29289" y="10287"/>
                    <a:pt x="29386" y="10237"/>
                  </a:cubicBezTo>
                  <a:cubicBezTo>
                    <a:pt x="29568" y="10142"/>
                    <a:pt x="29533" y="9911"/>
                    <a:pt x="29509" y="9813"/>
                  </a:cubicBezTo>
                  <a:cubicBezTo>
                    <a:pt x="29453" y="9578"/>
                    <a:pt x="29281" y="9358"/>
                    <a:pt x="29159" y="9358"/>
                  </a:cubicBezTo>
                  <a:cubicBezTo>
                    <a:pt x="29148" y="9358"/>
                    <a:pt x="28122" y="9319"/>
                    <a:pt x="28122" y="9053"/>
                  </a:cubicBezTo>
                  <a:cubicBezTo>
                    <a:pt x="28115" y="9022"/>
                    <a:pt x="28000" y="8959"/>
                    <a:pt x="27937" y="8924"/>
                  </a:cubicBezTo>
                  <a:cubicBezTo>
                    <a:pt x="27811" y="8854"/>
                    <a:pt x="27702" y="8791"/>
                    <a:pt x="27692" y="8700"/>
                  </a:cubicBezTo>
                  <a:cubicBezTo>
                    <a:pt x="27685" y="8654"/>
                    <a:pt x="27706" y="8609"/>
                    <a:pt x="27741" y="8584"/>
                  </a:cubicBezTo>
                  <a:cubicBezTo>
                    <a:pt x="27789" y="8540"/>
                    <a:pt x="27839" y="8525"/>
                    <a:pt x="27889" y="8525"/>
                  </a:cubicBezTo>
                  <a:cubicBezTo>
                    <a:pt x="27938" y="8525"/>
                    <a:pt x="27987" y="8539"/>
                    <a:pt x="28035" y="8553"/>
                  </a:cubicBezTo>
                  <a:cubicBezTo>
                    <a:pt x="28090" y="8568"/>
                    <a:pt x="28148" y="8584"/>
                    <a:pt x="28213" y="8584"/>
                  </a:cubicBezTo>
                  <a:cubicBezTo>
                    <a:pt x="28293" y="8584"/>
                    <a:pt x="28384" y="8560"/>
                    <a:pt x="28490" y="8483"/>
                  </a:cubicBezTo>
                  <a:cubicBezTo>
                    <a:pt x="28613" y="8391"/>
                    <a:pt x="28771" y="8360"/>
                    <a:pt x="28942" y="8360"/>
                  </a:cubicBezTo>
                  <a:cubicBezTo>
                    <a:pt x="29123" y="8360"/>
                    <a:pt x="29318" y="8394"/>
                    <a:pt x="29502" y="8427"/>
                  </a:cubicBezTo>
                  <a:cubicBezTo>
                    <a:pt x="29654" y="8451"/>
                    <a:pt x="29799" y="8477"/>
                    <a:pt x="29910" y="8477"/>
                  </a:cubicBezTo>
                  <a:cubicBezTo>
                    <a:pt x="29944" y="8477"/>
                    <a:pt x="29975" y="8474"/>
                    <a:pt x="30002" y="8469"/>
                  </a:cubicBezTo>
                  <a:cubicBezTo>
                    <a:pt x="30058" y="8458"/>
                    <a:pt x="30062" y="8434"/>
                    <a:pt x="30065" y="8423"/>
                  </a:cubicBezTo>
                  <a:cubicBezTo>
                    <a:pt x="30086" y="8336"/>
                    <a:pt x="29971" y="8150"/>
                    <a:pt x="29841" y="8052"/>
                  </a:cubicBezTo>
                  <a:cubicBezTo>
                    <a:pt x="29800" y="8021"/>
                    <a:pt x="29760" y="8003"/>
                    <a:pt x="29734" y="8003"/>
                  </a:cubicBezTo>
                  <a:cubicBezTo>
                    <a:pt x="29725" y="8003"/>
                    <a:pt x="29717" y="8005"/>
                    <a:pt x="29712" y="8010"/>
                  </a:cubicBezTo>
                  <a:cubicBezTo>
                    <a:pt x="29624" y="8060"/>
                    <a:pt x="29456" y="8096"/>
                    <a:pt x="29282" y="8096"/>
                  </a:cubicBezTo>
                  <a:cubicBezTo>
                    <a:pt x="29151" y="8096"/>
                    <a:pt x="29016" y="8075"/>
                    <a:pt x="28910" y="8024"/>
                  </a:cubicBezTo>
                  <a:cubicBezTo>
                    <a:pt x="28802" y="7979"/>
                    <a:pt x="28725" y="7884"/>
                    <a:pt x="28707" y="7768"/>
                  </a:cubicBezTo>
                  <a:cubicBezTo>
                    <a:pt x="28693" y="7705"/>
                    <a:pt x="28711" y="7642"/>
                    <a:pt x="28753" y="7597"/>
                  </a:cubicBezTo>
                  <a:cubicBezTo>
                    <a:pt x="28799" y="7550"/>
                    <a:pt x="28868" y="7536"/>
                    <a:pt x="28947" y="7536"/>
                  </a:cubicBezTo>
                  <a:cubicBezTo>
                    <a:pt x="29017" y="7536"/>
                    <a:pt x="29096" y="7547"/>
                    <a:pt x="29176" y="7558"/>
                  </a:cubicBezTo>
                  <a:cubicBezTo>
                    <a:pt x="29236" y="7565"/>
                    <a:pt x="29322" y="7577"/>
                    <a:pt x="29385" y="7577"/>
                  </a:cubicBezTo>
                  <a:cubicBezTo>
                    <a:pt x="29417" y="7577"/>
                    <a:pt x="29443" y="7574"/>
                    <a:pt x="29456" y="7565"/>
                  </a:cubicBezTo>
                  <a:cubicBezTo>
                    <a:pt x="29418" y="7492"/>
                    <a:pt x="29092" y="7324"/>
                    <a:pt x="28784" y="7296"/>
                  </a:cubicBezTo>
                  <a:cubicBezTo>
                    <a:pt x="28761" y="7293"/>
                    <a:pt x="28733" y="7291"/>
                    <a:pt x="28704" y="7291"/>
                  </a:cubicBezTo>
                  <a:cubicBezTo>
                    <a:pt x="28614" y="7291"/>
                    <a:pt x="28510" y="7310"/>
                    <a:pt x="28476" y="7383"/>
                  </a:cubicBezTo>
                  <a:cubicBezTo>
                    <a:pt x="28393" y="7540"/>
                    <a:pt x="28231" y="7638"/>
                    <a:pt x="28054" y="7638"/>
                  </a:cubicBezTo>
                  <a:cubicBezTo>
                    <a:pt x="28038" y="7638"/>
                    <a:pt x="28021" y="7637"/>
                    <a:pt x="28003" y="7635"/>
                  </a:cubicBezTo>
                  <a:cubicBezTo>
                    <a:pt x="27905" y="7625"/>
                    <a:pt x="27842" y="7583"/>
                    <a:pt x="27828" y="7516"/>
                  </a:cubicBezTo>
                  <a:cubicBezTo>
                    <a:pt x="27818" y="7474"/>
                    <a:pt x="27828" y="7404"/>
                    <a:pt x="27944" y="7331"/>
                  </a:cubicBezTo>
                  <a:cubicBezTo>
                    <a:pt x="28213" y="7163"/>
                    <a:pt x="28287" y="6659"/>
                    <a:pt x="28255" y="6375"/>
                  </a:cubicBezTo>
                  <a:cubicBezTo>
                    <a:pt x="28234" y="6204"/>
                    <a:pt x="28455" y="6127"/>
                    <a:pt x="28711" y="6039"/>
                  </a:cubicBezTo>
                  <a:cubicBezTo>
                    <a:pt x="29047" y="5924"/>
                    <a:pt x="29281" y="5826"/>
                    <a:pt x="29225" y="5640"/>
                  </a:cubicBezTo>
                  <a:cubicBezTo>
                    <a:pt x="29187" y="5524"/>
                    <a:pt x="29204" y="5395"/>
                    <a:pt x="29281" y="5293"/>
                  </a:cubicBezTo>
                  <a:cubicBezTo>
                    <a:pt x="29481" y="5027"/>
                    <a:pt x="30030" y="5006"/>
                    <a:pt x="30195" y="5006"/>
                  </a:cubicBezTo>
                  <a:cubicBezTo>
                    <a:pt x="30251" y="5006"/>
                    <a:pt x="30275" y="4996"/>
                    <a:pt x="30279" y="4985"/>
                  </a:cubicBezTo>
                  <a:cubicBezTo>
                    <a:pt x="30282" y="4978"/>
                    <a:pt x="30279" y="4947"/>
                    <a:pt x="30247" y="4898"/>
                  </a:cubicBezTo>
                  <a:cubicBezTo>
                    <a:pt x="30174" y="4795"/>
                    <a:pt x="30019" y="4699"/>
                    <a:pt x="29872" y="4699"/>
                  </a:cubicBezTo>
                  <a:cubicBezTo>
                    <a:pt x="29858" y="4699"/>
                    <a:pt x="29845" y="4700"/>
                    <a:pt x="29831" y="4702"/>
                  </a:cubicBezTo>
                  <a:cubicBezTo>
                    <a:pt x="29691" y="4719"/>
                    <a:pt x="29537" y="4807"/>
                    <a:pt x="29404" y="4880"/>
                  </a:cubicBezTo>
                  <a:cubicBezTo>
                    <a:pt x="29265" y="4957"/>
                    <a:pt x="29132" y="5031"/>
                    <a:pt x="29018" y="5031"/>
                  </a:cubicBezTo>
                  <a:cubicBezTo>
                    <a:pt x="28964" y="5031"/>
                    <a:pt x="28915" y="5015"/>
                    <a:pt x="28872" y="4975"/>
                  </a:cubicBezTo>
                  <a:cubicBezTo>
                    <a:pt x="28823" y="4933"/>
                    <a:pt x="28805" y="4863"/>
                    <a:pt x="28830" y="4800"/>
                  </a:cubicBezTo>
                  <a:cubicBezTo>
                    <a:pt x="28907" y="4607"/>
                    <a:pt x="29376" y="4408"/>
                    <a:pt x="29659" y="4408"/>
                  </a:cubicBezTo>
                  <a:cubicBezTo>
                    <a:pt x="30016" y="4408"/>
                    <a:pt x="30755" y="4369"/>
                    <a:pt x="31000" y="4222"/>
                  </a:cubicBezTo>
                  <a:cubicBezTo>
                    <a:pt x="31007" y="4219"/>
                    <a:pt x="31014" y="4215"/>
                    <a:pt x="31021" y="4208"/>
                  </a:cubicBezTo>
                  <a:cubicBezTo>
                    <a:pt x="30957" y="4155"/>
                    <a:pt x="30639" y="4084"/>
                    <a:pt x="30300" y="4084"/>
                  </a:cubicBezTo>
                  <a:cubicBezTo>
                    <a:pt x="30214" y="4084"/>
                    <a:pt x="30126" y="4089"/>
                    <a:pt x="30041" y="4100"/>
                  </a:cubicBezTo>
                  <a:cubicBezTo>
                    <a:pt x="29989" y="4106"/>
                    <a:pt x="29924" y="4113"/>
                    <a:pt x="29860" y="4113"/>
                  </a:cubicBezTo>
                  <a:cubicBezTo>
                    <a:pt x="29759" y="4113"/>
                    <a:pt x="29661" y="4097"/>
                    <a:pt x="29624" y="4044"/>
                  </a:cubicBezTo>
                  <a:cubicBezTo>
                    <a:pt x="29603" y="4016"/>
                    <a:pt x="29600" y="3981"/>
                    <a:pt x="29617" y="3953"/>
                  </a:cubicBezTo>
                  <a:cubicBezTo>
                    <a:pt x="29684" y="3820"/>
                    <a:pt x="30111" y="3795"/>
                    <a:pt x="30289" y="3792"/>
                  </a:cubicBezTo>
                  <a:cubicBezTo>
                    <a:pt x="30727" y="3785"/>
                    <a:pt x="30867" y="3729"/>
                    <a:pt x="31011" y="3669"/>
                  </a:cubicBezTo>
                  <a:cubicBezTo>
                    <a:pt x="31161" y="3606"/>
                    <a:pt x="31319" y="3567"/>
                    <a:pt x="31480" y="3550"/>
                  </a:cubicBezTo>
                  <a:cubicBezTo>
                    <a:pt x="31760" y="3518"/>
                    <a:pt x="31830" y="3445"/>
                    <a:pt x="31896" y="3378"/>
                  </a:cubicBezTo>
                  <a:cubicBezTo>
                    <a:pt x="31959" y="3312"/>
                    <a:pt x="32019" y="3252"/>
                    <a:pt x="32197" y="3242"/>
                  </a:cubicBezTo>
                  <a:cubicBezTo>
                    <a:pt x="32547" y="3228"/>
                    <a:pt x="33321" y="2874"/>
                    <a:pt x="33363" y="2745"/>
                  </a:cubicBezTo>
                  <a:cubicBezTo>
                    <a:pt x="33276" y="2608"/>
                    <a:pt x="32159" y="2276"/>
                    <a:pt x="31553" y="2276"/>
                  </a:cubicBezTo>
                  <a:cubicBezTo>
                    <a:pt x="30853" y="2276"/>
                    <a:pt x="30528" y="2416"/>
                    <a:pt x="30503" y="2731"/>
                  </a:cubicBezTo>
                  <a:cubicBezTo>
                    <a:pt x="30499" y="2804"/>
                    <a:pt x="30468" y="2871"/>
                    <a:pt x="30408" y="2916"/>
                  </a:cubicBezTo>
                  <a:cubicBezTo>
                    <a:pt x="30360" y="2951"/>
                    <a:pt x="30299" y="2964"/>
                    <a:pt x="30229" y="2964"/>
                  </a:cubicBezTo>
                  <a:cubicBezTo>
                    <a:pt x="30121" y="2964"/>
                    <a:pt x="29992" y="2933"/>
                    <a:pt x="29859" y="2899"/>
                  </a:cubicBezTo>
                  <a:cubicBezTo>
                    <a:pt x="29728" y="2867"/>
                    <a:pt x="29586" y="2831"/>
                    <a:pt x="29473" y="2831"/>
                  </a:cubicBezTo>
                  <a:cubicBezTo>
                    <a:pt x="29425" y="2831"/>
                    <a:pt x="29382" y="2838"/>
                    <a:pt x="29348" y="2853"/>
                  </a:cubicBezTo>
                  <a:cubicBezTo>
                    <a:pt x="29297" y="2876"/>
                    <a:pt x="29253" y="2886"/>
                    <a:pt x="29217" y="2886"/>
                  </a:cubicBezTo>
                  <a:cubicBezTo>
                    <a:pt x="29098" y="2886"/>
                    <a:pt x="29048" y="2786"/>
                    <a:pt x="29019" y="2727"/>
                  </a:cubicBezTo>
                  <a:cubicBezTo>
                    <a:pt x="29001" y="2689"/>
                    <a:pt x="28984" y="2654"/>
                    <a:pt x="28963" y="2647"/>
                  </a:cubicBezTo>
                  <a:cubicBezTo>
                    <a:pt x="28960" y="2646"/>
                    <a:pt x="28956" y="2645"/>
                    <a:pt x="28951" y="2645"/>
                  </a:cubicBezTo>
                  <a:cubicBezTo>
                    <a:pt x="28935" y="2645"/>
                    <a:pt x="28909" y="2651"/>
                    <a:pt x="28865" y="2671"/>
                  </a:cubicBezTo>
                  <a:cubicBezTo>
                    <a:pt x="28711" y="2759"/>
                    <a:pt x="28564" y="2860"/>
                    <a:pt x="28427" y="2976"/>
                  </a:cubicBezTo>
                  <a:cubicBezTo>
                    <a:pt x="28227" y="3130"/>
                    <a:pt x="28017" y="3291"/>
                    <a:pt x="27797" y="3385"/>
                  </a:cubicBezTo>
                  <a:cubicBezTo>
                    <a:pt x="27611" y="3462"/>
                    <a:pt x="27447" y="3599"/>
                    <a:pt x="27303" y="3718"/>
                  </a:cubicBezTo>
                  <a:cubicBezTo>
                    <a:pt x="27139" y="3851"/>
                    <a:pt x="26995" y="3970"/>
                    <a:pt x="26855" y="3988"/>
                  </a:cubicBezTo>
                  <a:cubicBezTo>
                    <a:pt x="26847" y="3990"/>
                    <a:pt x="26839" y="3991"/>
                    <a:pt x="26831" y="3991"/>
                  </a:cubicBezTo>
                  <a:cubicBezTo>
                    <a:pt x="26797" y="3991"/>
                    <a:pt x="26764" y="3973"/>
                    <a:pt x="26747" y="3939"/>
                  </a:cubicBezTo>
                  <a:cubicBezTo>
                    <a:pt x="26712" y="3872"/>
                    <a:pt x="26670" y="3785"/>
                    <a:pt x="27709" y="2745"/>
                  </a:cubicBezTo>
                  <a:cubicBezTo>
                    <a:pt x="27874" y="2580"/>
                    <a:pt x="27930" y="2395"/>
                    <a:pt x="27860" y="2251"/>
                  </a:cubicBezTo>
                  <a:cubicBezTo>
                    <a:pt x="27804" y="2131"/>
                    <a:pt x="27669" y="2062"/>
                    <a:pt x="27494" y="2062"/>
                  </a:cubicBezTo>
                  <a:cubicBezTo>
                    <a:pt x="27471" y="2062"/>
                    <a:pt x="27447" y="2063"/>
                    <a:pt x="27422" y="2066"/>
                  </a:cubicBezTo>
                  <a:cubicBezTo>
                    <a:pt x="27149" y="2090"/>
                    <a:pt x="27076" y="2192"/>
                    <a:pt x="27002" y="2297"/>
                  </a:cubicBezTo>
                  <a:cubicBezTo>
                    <a:pt x="26943" y="2377"/>
                    <a:pt x="26880" y="2468"/>
                    <a:pt x="26733" y="2500"/>
                  </a:cubicBezTo>
                  <a:cubicBezTo>
                    <a:pt x="26645" y="2521"/>
                    <a:pt x="26421" y="2612"/>
                    <a:pt x="26190" y="2710"/>
                  </a:cubicBezTo>
                  <a:cubicBezTo>
                    <a:pt x="25648" y="2935"/>
                    <a:pt x="25259" y="3090"/>
                    <a:pt x="25061" y="3090"/>
                  </a:cubicBezTo>
                  <a:cubicBezTo>
                    <a:pt x="25025" y="3090"/>
                    <a:pt x="24995" y="3085"/>
                    <a:pt x="24972" y="3074"/>
                  </a:cubicBezTo>
                  <a:cubicBezTo>
                    <a:pt x="24944" y="3060"/>
                    <a:pt x="24919" y="3035"/>
                    <a:pt x="24909" y="3004"/>
                  </a:cubicBezTo>
                  <a:cubicBezTo>
                    <a:pt x="24860" y="2839"/>
                    <a:pt x="25136" y="2706"/>
                    <a:pt x="25591" y="2500"/>
                  </a:cubicBezTo>
                  <a:cubicBezTo>
                    <a:pt x="25745" y="2433"/>
                    <a:pt x="25945" y="2342"/>
                    <a:pt x="26018" y="2286"/>
                  </a:cubicBezTo>
                  <a:cubicBezTo>
                    <a:pt x="25887" y="2240"/>
                    <a:pt x="25456" y="2211"/>
                    <a:pt x="24986" y="2211"/>
                  </a:cubicBezTo>
                  <a:cubicBezTo>
                    <a:pt x="24605" y="2211"/>
                    <a:pt x="24198" y="2230"/>
                    <a:pt x="23900" y="2272"/>
                  </a:cubicBezTo>
                  <a:cubicBezTo>
                    <a:pt x="23659" y="2307"/>
                    <a:pt x="23354" y="2381"/>
                    <a:pt x="23057" y="2447"/>
                  </a:cubicBezTo>
                  <a:cubicBezTo>
                    <a:pt x="22618" y="2550"/>
                    <a:pt x="22313" y="2619"/>
                    <a:pt x="22133" y="2619"/>
                  </a:cubicBezTo>
                  <a:cubicBezTo>
                    <a:pt x="22062" y="2619"/>
                    <a:pt x="22010" y="2608"/>
                    <a:pt x="21978" y="2584"/>
                  </a:cubicBezTo>
                  <a:cubicBezTo>
                    <a:pt x="21950" y="2566"/>
                    <a:pt x="21936" y="2538"/>
                    <a:pt x="21933" y="2507"/>
                  </a:cubicBezTo>
                  <a:cubicBezTo>
                    <a:pt x="21929" y="2440"/>
                    <a:pt x="21919" y="2318"/>
                    <a:pt x="22763" y="2118"/>
                  </a:cubicBezTo>
                  <a:cubicBezTo>
                    <a:pt x="23200" y="2017"/>
                    <a:pt x="23645" y="1940"/>
                    <a:pt x="24093" y="1887"/>
                  </a:cubicBezTo>
                  <a:cubicBezTo>
                    <a:pt x="24370" y="1856"/>
                    <a:pt x="24720" y="1852"/>
                    <a:pt x="25087" y="1852"/>
                  </a:cubicBezTo>
                  <a:cubicBezTo>
                    <a:pt x="25693" y="1852"/>
                    <a:pt x="26312" y="1849"/>
                    <a:pt x="26649" y="1712"/>
                  </a:cubicBezTo>
                  <a:cubicBezTo>
                    <a:pt x="26915" y="1603"/>
                    <a:pt x="27240" y="1540"/>
                    <a:pt x="27531" y="1488"/>
                  </a:cubicBezTo>
                  <a:cubicBezTo>
                    <a:pt x="27800" y="1439"/>
                    <a:pt x="28080" y="1386"/>
                    <a:pt x="28143" y="1313"/>
                  </a:cubicBezTo>
                  <a:cubicBezTo>
                    <a:pt x="28143" y="1313"/>
                    <a:pt x="28143" y="1309"/>
                    <a:pt x="28143" y="1309"/>
                  </a:cubicBezTo>
                  <a:cubicBezTo>
                    <a:pt x="28140" y="1215"/>
                    <a:pt x="27600" y="1014"/>
                    <a:pt x="27222" y="1014"/>
                  </a:cubicBezTo>
                  <a:cubicBezTo>
                    <a:pt x="27207" y="1014"/>
                    <a:pt x="27192" y="1015"/>
                    <a:pt x="27177" y="1015"/>
                  </a:cubicBezTo>
                  <a:cubicBezTo>
                    <a:pt x="27132" y="1017"/>
                    <a:pt x="27086" y="1018"/>
                    <a:pt x="27038" y="1018"/>
                  </a:cubicBezTo>
                  <a:cubicBezTo>
                    <a:pt x="26788" y="1018"/>
                    <a:pt x="26516" y="989"/>
                    <a:pt x="26411" y="868"/>
                  </a:cubicBezTo>
                  <a:cubicBezTo>
                    <a:pt x="26372" y="826"/>
                    <a:pt x="26355" y="770"/>
                    <a:pt x="26365" y="714"/>
                  </a:cubicBezTo>
                  <a:cubicBezTo>
                    <a:pt x="26376" y="658"/>
                    <a:pt x="26165" y="592"/>
                    <a:pt x="26053" y="553"/>
                  </a:cubicBezTo>
                  <a:cubicBezTo>
                    <a:pt x="25892" y="501"/>
                    <a:pt x="25756" y="455"/>
                    <a:pt x="25710" y="368"/>
                  </a:cubicBezTo>
                  <a:cubicBezTo>
                    <a:pt x="25654" y="326"/>
                    <a:pt x="25329" y="319"/>
                    <a:pt x="25087" y="312"/>
                  </a:cubicBezTo>
                  <a:cubicBezTo>
                    <a:pt x="24723" y="301"/>
                    <a:pt x="24345" y="287"/>
                    <a:pt x="24198" y="196"/>
                  </a:cubicBezTo>
                  <a:cubicBezTo>
                    <a:pt x="24006" y="78"/>
                    <a:pt x="23485" y="0"/>
                    <a:pt x="229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8" name="Google Shape;5968;p53"/>
            <p:cNvSpPr/>
            <p:nvPr/>
          </p:nvSpPr>
          <p:spPr>
            <a:xfrm>
              <a:off x="1636850" y="1405097"/>
              <a:ext cx="21547" cy="12491"/>
            </a:xfrm>
            <a:custGeom>
              <a:avLst/>
              <a:gdLst/>
              <a:ahLst/>
              <a:cxnLst/>
              <a:rect l="l" t="t" r="r" b="b"/>
              <a:pathLst>
                <a:path w="1587" h="920" extrusionOk="0">
                  <a:moveTo>
                    <a:pt x="456" y="1"/>
                  </a:moveTo>
                  <a:cubicBezTo>
                    <a:pt x="435" y="1"/>
                    <a:pt x="414" y="1"/>
                    <a:pt x="393" y="4"/>
                  </a:cubicBezTo>
                  <a:cubicBezTo>
                    <a:pt x="291" y="11"/>
                    <a:pt x="218" y="43"/>
                    <a:pt x="207" y="81"/>
                  </a:cubicBezTo>
                  <a:cubicBezTo>
                    <a:pt x="190" y="120"/>
                    <a:pt x="165" y="158"/>
                    <a:pt x="137" y="190"/>
                  </a:cubicBezTo>
                  <a:cubicBezTo>
                    <a:pt x="50" y="295"/>
                    <a:pt x="1" y="368"/>
                    <a:pt x="113" y="484"/>
                  </a:cubicBezTo>
                  <a:cubicBezTo>
                    <a:pt x="183" y="565"/>
                    <a:pt x="274" y="621"/>
                    <a:pt x="375" y="649"/>
                  </a:cubicBezTo>
                  <a:cubicBezTo>
                    <a:pt x="501" y="684"/>
                    <a:pt x="613" y="750"/>
                    <a:pt x="708" y="838"/>
                  </a:cubicBezTo>
                  <a:cubicBezTo>
                    <a:pt x="768" y="895"/>
                    <a:pt x="875" y="919"/>
                    <a:pt x="992" y="919"/>
                  </a:cubicBezTo>
                  <a:cubicBezTo>
                    <a:pt x="1112" y="919"/>
                    <a:pt x="1244" y="894"/>
                    <a:pt x="1352" y="852"/>
                  </a:cubicBezTo>
                  <a:cubicBezTo>
                    <a:pt x="1488" y="796"/>
                    <a:pt x="1579" y="719"/>
                    <a:pt x="1583" y="656"/>
                  </a:cubicBezTo>
                  <a:cubicBezTo>
                    <a:pt x="1586" y="579"/>
                    <a:pt x="1569" y="568"/>
                    <a:pt x="1471" y="537"/>
                  </a:cubicBezTo>
                  <a:cubicBezTo>
                    <a:pt x="1376" y="505"/>
                    <a:pt x="1247" y="459"/>
                    <a:pt x="1152" y="284"/>
                  </a:cubicBezTo>
                  <a:cubicBezTo>
                    <a:pt x="1065" y="116"/>
                    <a:pt x="718" y="1"/>
                    <a:pt x="4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9" name="Google Shape;5969;p53"/>
            <p:cNvSpPr/>
            <p:nvPr/>
          </p:nvSpPr>
          <p:spPr>
            <a:xfrm>
              <a:off x="1089269" y="1627361"/>
              <a:ext cx="38085" cy="22688"/>
            </a:xfrm>
            <a:custGeom>
              <a:avLst/>
              <a:gdLst/>
              <a:ahLst/>
              <a:cxnLst/>
              <a:rect l="l" t="t" r="r" b="b"/>
              <a:pathLst>
                <a:path w="2805" h="1671" extrusionOk="0">
                  <a:moveTo>
                    <a:pt x="175" y="1"/>
                  </a:moveTo>
                  <a:cubicBezTo>
                    <a:pt x="111" y="1"/>
                    <a:pt x="57" y="24"/>
                    <a:pt x="1" y="60"/>
                  </a:cubicBezTo>
                  <a:cubicBezTo>
                    <a:pt x="11" y="67"/>
                    <a:pt x="29" y="74"/>
                    <a:pt x="39" y="81"/>
                  </a:cubicBezTo>
                  <a:cubicBezTo>
                    <a:pt x="109" y="120"/>
                    <a:pt x="207" y="169"/>
                    <a:pt x="197" y="267"/>
                  </a:cubicBezTo>
                  <a:cubicBezTo>
                    <a:pt x="193" y="291"/>
                    <a:pt x="204" y="316"/>
                    <a:pt x="221" y="333"/>
                  </a:cubicBezTo>
                  <a:cubicBezTo>
                    <a:pt x="255" y="357"/>
                    <a:pt x="294" y="370"/>
                    <a:pt x="333" y="370"/>
                  </a:cubicBezTo>
                  <a:cubicBezTo>
                    <a:pt x="348" y="370"/>
                    <a:pt x="362" y="369"/>
                    <a:pt x="375" y="365"/>
                  </a:cubicBezTo>
                  <a:cubicBezTo>
                    <a:pt x="385" y="364"/>
                    <a:pt x="393" y="363"/>
                    <a:pt x="402" y="363"/>
                  </a:cubicBezTo>
                  <a:cubicBezTo>
                    <a:pt x="503" y="363"/>
                    <a:pt x="573" y="452"/>
                    <a:pt x="634" y="533"/>
                  </a:cubicBezTo>
                  <a:cubicBezTo>
                    <a:pt x="680" y="589"/>
                    <a:pt x="729" y="652"/>
                    <a:pt x="767" y="655"/>
                  </a:cubicBezTo>
                  <a:cubicBezTo>
                    <a:pt x="862" y="662"/>
                    <a:pt x="922" y="732"/>
                    <a:pt x="974" y="792"/>
                  </a:cubicBezTo>
                  <a:cubicBezTo>
                    <a:pt x="1027" y="855"/>
                    <a:pt x="1069" y="897"/>
                    <a:pt x="1125" y="897"/>
                  </a:cubicBezTo>
                  <a:cubicBezTo>
                    <a:pt x="1286" y="897"/>
                    <a:pt x="1352" y="1027"/>
                    <a:pt x="1408" y="1128"/>
                  </a:cubicBezTo>
                  <a:cubicBezTo>
                    <a:pt x="1426" y="1163"/>
                    <a:pt x="1447" y="1195"/>
                    <a:pt x="1468" y="1226"/>
                  </a:cubicBezTo>
                  <a:cubicBezTo>
                    <a:pt x="1489" y="1254"/>
                    <a:pt x="1531" y="1258"/>
                    <a:pt x="1590" y="1261"/>
                  </a:cubicBezTo>
                  <a:cubicBezTo>
                    <a:pt x="1646" y="1265"/>
                    <a:pt x="1762" y="1272"/>
                    <a:pt x="1762" y="1387"/>
                  </a:cubicBezTo>
                  <a:cubicBezTo>
                    <a:pt x="1762" y="1412"/>
                    <a:pt x="1814" y="1461"/>
                    <a:pt x="1853" y="1492"/>
                  </a:cubicBezTo>
                  <a:cubicBezTo>
                    <a:pt x="1902" y="1534"/>
                    <a:pt x="1947" y="1583"/>
                    <a:pt x="1982" y="1636"/>
                  </a:cubicBezTo>
                  <a:lnTo>
                    <a:pt x="2003" y="1639"/>
                  </a:lnTo>
                  <a:lnTo>
                    <a:pt x="2070" y="1646"/>
                  </a:lnTo>
                  <a:lnTo>
                    <a:pt x="2143" y="1653"/>
                  </a:lnTo>
                  <a:lnTo>
                    <a:pt x="2178" y="1657"/>
                  </a:lnTo>
                  <a:cubicBezTo>
                    <a:pt x="2248" y="1664"/>
                    <a:pt x="2318" y="1671"/>
                    <a:pt x="2388" y="1671"/>
                  </a:cubicBezTo>
                  <a:lnTo>
                    <a:pt x="2581" y="1671"/>
                  </a:lnTo>
                  <a:lnTo>
                    <a:pt x="2619" y="1667"/>
                  </a:lnTo>
                  <a:cubicBezTo>
                    <a:pt x="2640" y="1667"/>
                    <a:pt x="2658" y="1660"/>
                    <a:pt x="2675" y="1660"/>
                  </a:cubicBezTo>
                  <a:lnTo>
                    <a:pt x="2714" y="1653"/>
                  </a:lnTo>
                  <a:lnTo>
                    <a:pt x="2742" y="1646"/>
                  </a:lnTo>
                  <a:cubicBezTo>
                    <a:pt x="2749" y="1573"/>
                    <a:pt x="2770" y="1506"/>
                    <a:pt x="2805" y="1443"/>
                  </a:cubicBezTo>
                  <a:cubicBezTo>
                    <a:pt x="2791" y="1440"/>
                    <a:pt x="2773" y="1436"/>
                    <a:pt x="2759" y="1433"/>
                  </a:cubicBezTo>
                  <a:cubicBezTo>
                    <a:pt x="2654" y="1422"/>
                    <a:pt x="2553" y="1377"/>
                    <a:pt x="2476" y="1303"/>
                  </a:cubicBezTo>
                  <a:cubicBezTo>
                    <a:pt x="2409" y="1233"/>
                    <a:pt x="2283" y="1202"/>
                    <a:pt x="2164" y="1170"/>
                  </a:cubicBezTo>
                  <a:cubicBezTo>
                    <a:pt x="2014" y="1135"/>
                    <a:pt x="1874" y="1100"/>
                    <a:pt x="1828" y="988"/>
                  </a:cubicBezTo>
                  <a:cubicBezTo>
                    <a:pt x="1765" y="817"/>
                    <a:pt x="1408" y="316"/>
                    <a:pt x="1254" y="316"/>
                  </a:cubicBezTo>
                  <a:lnTo>
                    <a:pt x="1251" y="316"/>
                  </a:lnTo>
                  <a:cubicBezTo>
                    <a:pt x="1202" y="319"/>
                    <a:pt x="1146" y="322"/>
                    <a:pt x="1087" y="322"/>
                  </a:cubicBezTo>
                  <a:cubicBezTo>
                    <a:pt x="909" y="322"/>
                    <a:pt x="694" y="294"/>
                    <a:pt x="494" y="144"/>
                  </a:cubicBezTo>
                  <a:cubicBezTo>
                    <a:pt x="357" y="41"/>
                    <a:pt x="258" y="1"/>
                    <a:pt x="17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0" name="Google Shape;5970;p53"/>
            <p:cNvSpPr/>
            <p:nvPr/>
          </p:nvSpPr>
          <p:spPr>
            <a:xfrm>
              <a:off x="1108006" y="1344093"/>
              <a:ext cx="76156" cy="49612"/>
            </a:xfrm>
            <a:custGeom>
              <a:avLst/>
              <a:gdLst/>
              <a:ahLst/>
              <a:cxnLst/>
              <a:rect l="l" t="t" r="r" b="b"/>
              <a:pathLst>
                <a:path w="5609" h="3654" extrusionOk="0">
                  <a:moveTo>
                    <a:pt x="2303" y="0"/>
                  </a:moveTo>
                  <a:cubicBezTo>
                    <a:pt x="2146" y="0"/>
                    <a:pt x="1724" y="92"/>
                    <a:pt x="1432" y="156"/>
                  </a:cubicBezTo>
                  <a:cubicBezTo>
                    <a:pt x="1113" y="226"/>
                    <a:pt x="816" y="293"/>
                    <a:pt x="679" y="293"/>
                  </a:cubicBezTo>
                  <a:cubicBezTo>
                    <a:pt x="674" y="292"/>
                    <a:pt x="669" y="292"/>
                    <a:pt x="663" y="292"/>
                  </a:cubicBezTo>
                  <a:cubicBezTo>
                    <a:pt x="646" y="292"/>
                    <a:pt x="629" y="295"/>
                    <a:pt x="616" y="303"/>
                  </a:cubicBezTo>
                  <a:cubicBezTo>
                    <a:pt x="616" y="349"/>
                    <a:pt x="739" y="513"/>
                    <a:pt x="959" y="685"/>
                  </a:cubicBezTo>
                  <a:cubicBezTo>
                    <a:pt x="998" y="713"/>
                    <a:pt x="1022" y="755"/>
                    <a:pt x="1026" y="800"/>
                  </a:cubicBezTo>
                  <a:cubicBezTo>
                    <a:pt x="1040" y="930"/>
                    <a:pt x="907" y="1091"/>
                    <a:pt x="763" y="1256"/>
                  </a:cubicBezTo>
                  <a:cubicBezTo>
                    <a:pt x="693" y="1336"/>
                    <a:pt x="585" y="1469"/>
                    <a:pt x="578" y="1515"/>
                  </a:cubicBezTo>
                  <a:cubicBezTo>
                    <a:pt x="613" y="1546"/>
                    <a:pt x="634" y="1585"/>
                    <a:pt x="634" y="1630"/>
                  </a:cubicBezTo>
                  <a:cubicBezTo>
                    <a:pt x="648" y="1798"/>
                    <a:pt x="441" y="2036"/>
                    <a:pt x="151" y="2365"/>
                  </a:cubicBezTo>
                  <a:lnTo>
                    <a:pt x="95" y="2428"/>
                  </a:lnTo>
                  <a:cubicBezTo>
                    <a:pt x="32" y="2502"/>
                    <a:pt x="0" y="2565"/>
                    <a:pt x="14" y="2596"/>
                  </a:cubicBezTo>
                  <a:cubicBezTo>
                    <a:pt x="42" y="2670"/>
                    <a:pt x="273" y="2705"/>
                    <a:pt x="459" y="2733"/>
                  </a:cubicBezTo>
                  <a:cubicBezTo>
                    <a:pt x="553" y="2747"/>
                    <a:pt x="651" y="2764"/>
                    <a:pt x="742" y="2782"/>
                  </a:cubicBezTo>
                  <a:cubicBezTo>
                    <a:pt x="1005" y="2841"/>
                    <a:pt x="1134" y="3104"/>
                    <a:pt x="1250" y="3335"/>
                  </a:cubicBezTo>
                  <a:cubicBezTo>
                    <a:pt x="1330" y="3500"/>
                    <a:pt x="1407" y="3654"/>
                    <a:pt x="1505" y="3654"/>
                  </a:cubicBezTo>
                  <a:cubicBezTo>
                    <a:pt x="1544" y="3654"/>
                    <a:pt x="1547" y="3647"/>
                    <a:pt x="1572" y="3598"/>
                  </a:cubicBezTo>
                  <a:cubicBezTo>
                    <a:pt x="1600" y="3524"/>
                    <a:pt x="1649" y="3412"/>
                    <a:pt x="1866" y="3412"/>
                  </a:cubicBezTo>
                  <a:cubicBezTo>
                    <a:pt x="1876" y="3413"/>
                    <a:pt x="1886" y="3413"/>
                    <a:pt x="1895" y="3413"/>
                  </a:cubicBezTo>
                  <a:cubicBezTo>
                    <a:pt x="1972" y="3413"/>
                    <a:pt x="2045" y="3389"/>
                    <a:pt x="2104" y="3342"/>
                  </a:cubicBezTo>
                  <a:cubicBezTo>
                    <a:pt x="2159" y="3305"/>
                    <a:pt x="2220" y="3266"/>
                    <a:pt x="2346" y="3266"/>
                  </a:cubicBezTo>
                  <a:cubicBezTo>
                    <a:pt x="2364" y="3266"/>
                    <a:pt x="2384" y="3267"/>
                    <a:pt x="2405" y="3269"/>
                  </a:cubicBezTo>
                  <a:cubicBezTo>
                    <a:pt x="2426" y="3270"/>
                    <a:pt x="2447" y="3271"/>
                    <a:pt x="2470" y="3271"/>
                  </a:cubicBezTo>
                  <a:cubicBezTo>
                    <a:pt x="2574" y="3271"/>
                    <a:pt x="2696" y="3253"/>
                    <a:pt x="2776" y="3181"/>
                  </a:cubicBezTo>
                  <a:cubicBezTo>
                    <a:pt x="2836" y="3122"/>
                    <a:pt x="2867" y="3034"/>
                    <a:pt x="2867" y="2918"/>
                  </a:cubicBezTo>
                  <a:cubicBezTo>
                    <a:pt x="2867" y="2516"/>
                    <a:pt x="3151" y="2390"/>
                    <a:pt x="3427" y="2320"/>
                  </a:cubicBezTo>
                  <a:cubicBezTo>
                    <a:pt x="3515" y="2299"/>
                    <a:pt x="3529" y="2250"/>
                    <a:pt x="3546" y="2145"/>
                  </a:cubicBezTo>
                  <a:cubicBezTo>
                    <a:pt x="3567" y="2019"/>
                    <a:pt x="3599" y="1851"/>
                    <a:pt x="3865" y="1788"/>
                  </a:cubicBezTo>
                  <a:cubicBezTo>
                    <a:pt x="4271" y="1693"/>
                    <a:pt x="5402" y="1210"/>
                    <a:pt x="5587" y="1070"/>
                  </a:cubicBezTo>
                  <a:cubicBezTo>
                    <a:pt x="5591" y="1067"/>
                    <a:pt x="5608" y="1053"/>
                    <a:pt x="5608" y="1046"/>
                  </a:cubicBezTo>
                  <a:cubicBezTo>
                    <a:pt x="5605" y="976"/>
                    <a:pt x="5356" y="832"/>
                    <a:pt x="5153" y="716"/>
                  </a:cubicBezTo>
                  <a:cubicBezTo>
                    <a:pt x="5076" y="671"/>
                    <a:pt x="4996" y="622"/>
                    <a:pt x="4912" y="573"/>
                  </a:cubicBezTo>
                  <a:cubicBezTo>
                    <a:pt x="4650" y="411"/>
                    <a:pt x="4437" y="332"/>
                    <a:pt x="4246" y="332"/>
                  </a:cubicBezTo>
                  <a:cubicBezTo>
                    <a:pt x="4111" y="332"/>
                    <a:pt x="3987" y="372"/>
                    <a:pt x="3865" y="450"/>
                  </a:cubicBezTo>
                  <a:cubicBezTo>
                    <a:pt x="3792" y="498"/>
                    <a:pt x="3738" y="520"/>
                    <a:pt x="3692" y="520"/>
                  </a:cubicBezTo>
                  <a:cubicBezTo>
                    <a:pt x="3674" y="520"/>
                    <a:pt x="3657" y="517"/>
                    <a:pt x="3641" y="510"/>
                  </a:cubicBezTo>
                  <a:cubicBezTo>
                    <a:pt x="3581" y="482"/>
                    <a:pt x="3574" y="415"/>
                    <a:pt x="3567" y="366"/>
                  </a:cubicBezTo>
                  <a:cubicBezTo>
                    <a:pt x="3567" y="349"/>
                    <a:pt x="3564" y="335"/>
                    <a:pt x="3560" y="321"/>
                  </a:cubicBezTo>
                  <a:cubicBezTo>
                    <a:pt x="3546" y="324"/>
                    <a:pt x="3532" y="328"/>
                    <a:pt x="3518" y="335"/>
                  </a:cubicBezTo>
                  <a:cubicBezTo>
                    <a:pt x="3469" y="357"/>
                    <a:pt x="3407" y="367"/>
                    <a:pt x="3337" y="367"/>
                  </a:cubicBezTo>
                  <a:cubicBezTo>
                    <a:pt x="2994" y="367"/>
                    <a:pt x="2463" y="131"/>
                    <a:pt x="2353" y="6"/>
                  </a:cubicBezTo>
                  <a:cubicBezTo>
                    <a:pt x="2342" y="2"/>
                    <a:pt x="2325" y="0"/>
                    <a:pt x="23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1" name="Google Shape;5971;p53"/>
            <p:cNvSpPr/>
            <p:nvPr/>
          </p:nvSpPr>
          <p:spPr>
            <a:xfrm>
              <a:off x="1158773" y="1355960"/>
              <a:ext cx="133616" cy="70277"/>
            </a:xfrm>
            <a:custGeom>
              <a:avLst/>
              <a:gdLst/>
              <a:ahLst/>
              <a:cxnLst/>
              <a:rect l="l" t="t" r="r" b="b"/>
              <a:pathLst>
                <a:path w="9841" h="5176" extrusionOk="0">
                  <a:moveTo>
                    <a:pt x="7395" y="0"/>
                  </a:moveTo>
                  <a:cubicBezTo>
                    <a:pt x="7091" y="0"/>
                    <a:pt x="6765" y="137"/>
                    <a:pt x="6690" y="207"/>
                  </a:cubicBezTo>
                  <a:cubicBezTo>
                    <a:pt x="6729" y="242"/>
                    <a:pt x="6813" y="298"/>
                    <a:pt x="6890" y="354"/>
                  </a:cubicBezTo>
                  <a:cubicBezTo>
                    <a:pt x="7177" y="550"/>
                    <a:pt x="7362" y="690"/>
                    <a:pt x="7362" y="809"/>
                  </a:cubicBezTo>
                  <a:cubicBezTo>
                    <a:pt x="7366" y="840"/>
                    <a:pt x="7348" y="872"/>
                    <a:pt x="7320" y="889"/>
                  </a:cubicBezTo>
                  <a:cubicBezTo>
                    <a:pt x="7308" y="896"/>
                    <a:pt x="7294" y="899"/>
                    <a:pt x="7279" y="899"/>
                  </a:cubicBezTo>
                  <a:cubicBezTo>
                    <a:pt x="7222" y="899"/>
                    <a:pt x="7146" y="851"/>
                    <a:pt x="7023" y="770"/>
                  </a:cubicBezTo>
                  <a:cubicBezTo>
                    <a:pt x="6910" y="694"/>
                    <a:pt x="6715" y="565"/>
                    <a:pt x="6618" y="565"/>
                  </a:cubicBezTo>
                  <a:cubicBezTo>
                    <a:pt x="6603" y="565"/>
                    <a:pt x="6591" y="568"/>
                    <a:pt x="6582" y="574"/>
                  </a:cubicBezTo>
                  <a:cubicBezTo>
                    <a:pt x="6540" y="599"/>
                    <a:pt x="6498" y="608"/>
                    <a:pt x="6457" y="608"/>
                  </a:cubicBezTo>
                  <a:cubicBezTo>
                    <a:pt x="6382" y="608"/>
                    <a:pt x="6310" y="576"/>
                    <a:pt x="6249" y="546"/>
                  </a:cubicBezTo>
                  <a:cubicBezTo>
                    <a:pt x="6184" y="516"/>
                    <a:pt x="6140" y="497"/>
                    <a:pt x="6105" y="497"/>
                  </a:cubicBezTo>
                  <a:cubicBezTo>
                    <a:pt x="6071" y="497"/>
                    <a:pt x="6045" y="514"/>
                    <a:pt x="6018" y="553"/>
                  </a:cubicBezTo>
                  <a:cubicBezTo>
                    <a:pt x="5881" y="749"/>
                    <a:pt x="6218" y="1537"/>
                    <a:pt x="6382" y="1817"/>
                  </a:cubicBezTo>
                  <a:cubicBezTo>
                    <a:pt x="6435" y="1901"/>
                    <a:pt x="6445" y="1971"/>
                    <a:pt x="6417" y="2030"/>
                  </a:cubicBezTo>
                  <a:cubicBezTo>
                    <a:pt x="6375" y="2132"/>
                    <a:pt x="6235" y="2160"/>
                    <a:pt x="6105" y="2185"/>
                  </a:cubicBezTo>
                  <a:cubicBezTo>
                    <a:pt x="6070" y="2192"/>
                    <a:pt x="6035" y="2199"/>
                    <a:pt x="6004" y="2206"/>
                  </a:cubicBezTo>
                  <a:cubicBezTo>
                    <a:pt x="5990" y="2209"/>
                    <a:pt x="5977" y="2211"/>
                    <a:pt x="5964" y="2211"/>
                  </a:cubicBezTo>
                  <a:cubicBezTo>
                    <a:pt x="5822" y="2211"/>
                    <a:pt x="5763" y="1983"/>
                    <a:pt x="5696" y="1726"/>
                  </a:cubicBezTo>
                  <a:cubicBezTo>
                    <a:pt x="5654" y="1544"/>
                    <a:pt x="5598" y="1341"/>
                    <a:pt x="5521" y="1232"/>
                  </a:cubicBezTo>
                  <a:cubicBezTo>
                    <a:pt x="5384" y="1047"/>
                    <a:pt x="4919" y="826"/>
                    <a:pt x="4695" y="812"/>
                  </a:cubicBezTo>
                  <a:cubicBezTo>
                    <a:pt x="4688" y="812"/>
                    <a:pt x="4682" y="811"/>
                    <a:pt x="4676" y="811"/>
                  </a:cubicBezTo>
                  <a:cubicBezTo>
                    <a:pt x="4640" y="811"/>
                    <a:pt x="4624" y="820"/>
                    <a:pt x="4621" y="823"/>
                  </a:cubicBezTo>
                  <a:cubicBezTo>
                    <a:pt x="4611" y="858"/>
                    <a:pt x="4677" y="893"/>
                    <a:pt x="4772" y="938"/>
                  </a:cubicBezTo>
                  <a:cubicBezTo>
                    <a:pt x="4901" y="1001"/>
                    <a:pt x="5087" y="1089"/>
                    <a:pt x="5034" y="1288"/>
                  </a:cubicBezTo>
                  <a:cubicBezTo>
                    <a:pt x="5024" y="1341"/>
                    <a:pt x="4992" y="1383"/>
                    <a:pt x="4947" y="1411"/>
                  </a:cubicBezTo>
                  <a:cubicBezTo>
                    <a:pt x="4926" y="1421"/>
                    <a:pt x="4905" y="1425"/>
                    <a:pt x="4883" y="1425"/>
                  </a:cubicBezTo>
                  <a:cubicBezTo>
                    <a:pt x="4829" y="1425"/>
                    <a:pt x="4772" y="1401"/>
                    <a:pt x="4712" y="1376"/>
                  </a:cubicBezTo>
                  <a:cubicBezTo>
                    <a:pt x="4639" y="1344"/>
                    <a:pt x="4574" y="1320"/>
                    <a:pt x="4514" y="1320"/>
                  </a:cubicBezTo>
                  <a:cubicBezTo>
                    <a:pt x="4469" y="1320"/>
                    <a:pt x="4425" y="1334"/>
                    <a:pt x="4383" y="1369"/>
                  </a:cubicBezTo>
                  <a:cubicBezTo>
                    <a:pt x="4290" y="1446"/>
                    <a:pt x="4222" y="1492"/>
                    <a:pt x="4165" y="1492"/>
                  </a:cubicBezTo>
                  <a:cubicBezTo>
                    <a:pt x="4147" y="1492"/>
                    <a:pt x="4130" y="1488"/>
                    <a:pt x="4114" y="1477"/>
                  </a:cubicBezTo>
                  <a:cubicBezTo>
                    <a:pt x="4050" y="1439"/>
                    <a:pt x="4065" y="1341"/>
                    <a:pt x="4096" y="1201"/>
                  </a:cubicBezTo>
                  <a:lnTo>
                    <a:pt x="4107" y="1159"/>
                  </a:lnTo>
                  <a:cubicBezTo>
                    <a:pt x="4114" y="1113"/>
                    <a:pt x="4096" y="1068"/>
                    <a:pt x="4065" y="1036"/>
                  </a:cubicBezTo>
                  <a:cubicBezTo>
                    <a:pt x="3962" y="921"/>
                    <a:pt x="3714" y="817"/>
                    <a:pt x="3419" y="817"/>
                  </a:cubicBezTo>
                  <a:cubicBezTo>
                    <a:pt x="3382" y="817"/>
                    <a:pt x="3344" y="819"/>
                    <a:pt x="3305" y="823"/>
                  </a:cubicBezTo>
                  <a:cubicBezTo>
                    <a:pt x="3053" y="851"/>
                    <a:pt x="3053" y="945"/>
                    <a:pt x="3053" y="1078"/>
                  </a:cubicBezTo>
                  <a:cubicBezTo>
                    <a:pt x="3053" y="1162"/>
                    <a:pt x="3053" y="1253"/>
                    <a:pt x="2979" y="1320"/>
                  </a:cubicBezTo>
                  <a:cubicBezTo>
                    <a:pt x="2933" y="1358"/>
                    <a:pt x="2856" y="1373"/>
                    <a:pt x="2771" y="1373"/>
                  </a:cubicBezTo>
                  <a:cubicBezTo>
                    <a:pt x="2629" y="1373"/>
                    <a:pt x="2466" y="1332"/>
                    <a:pt x="2388" y="1288"/>
                  </a:cubicBezTo>
                  <a:cubicBezTo>
                    <a:pt x="2314" y="1246"/>
                    <a:pt x="2300" y="1197"/>
                    <a:pt x="2307" y="1162"/>
                  </a:cubicBezTo>
                  <a:cubicBezTo>
                    <a:pt x="2321" y="1085"/>
                    <a:pt x="2423" y="1054"/>
                    <a:pt x="2510" y="1033"/>
                  </a:cubicBezTo>
                  <a:cubicBezTo>
                    <a:pt x="2598" y="1012"/>
                    <a:pt x="2710" y="977"/>
                    <a:pt x="2738" y="910"/>
                  </a:cubicBezTo>
                  <a:cubicBezTo>
                    <a:pt x="2773" y="823"/>
                    <a:pt x="2678" y="679"/>
                    <a:pt x="2587" y="536"/>
                  </a:cubicBezTo>
                  <a:lnTo>
                    <a:pt x="2566" y="501"/>
                  </a:lnTo>
                  <a:cubicBezTo>
                    <a:pt x="2535" y="451"/>
                    <a:pt x="2487" y="430"/>
                    <a:pt x="2420" y="430"/>
                  </a:cubicBezTo>
                  <a:cubicBezTo>
                    <a:pt x="2292" y="430"/>
                    <a:pt x="2094" y="509"/>
                    <a:pt x="1806" y="627"/>
                  </a:cubicBezTo>
                  <a:cubicBezTo>
                    <a:pt x="1645" y="693"/>
                    <a:pt x="1463" y="770"/>
                    <a:pt x="1260" y="844"/>
                  </a:cubicBezTo>
                  <a:cubicBezTo>
                    <a:pt x="718" y="1036"/>
                    <a:pt x="406" y="1236"/>
                    <a:pt x="319" y="1323"/>
                  </a:cubicBezTo>
                  <a:cubicBezTo>
                    <a:pt x="347" y="1344"/>
                    <a:pt x="364" y="1372"/>
                    <a:pt x="371" y="1404"/>
                  </a:cubicBezTo>
                  <a:cubicBezTo>
                    <a:pt x="396" y="1509"/>
                    <a:pt x="312" y="1638"/>
                    <a:pt x="116" y="1799"/>
                  </a:cubicBezTo>
                  <a:cubicBezTo>
                    <a:pt x="60" y="1845"/>
                    <a:pt x="0" y="1915"/>
                    <a:pt x="25" y="1988"/>
                  </a:cubicBezTo>
                  <a:cubicBezTo>
                    <a:pt x="56" y="2076"/>
                    <a:pt x="200" y="2143"/>
                    <a:pt x="340" y="2143"/>
                  </a:cubicBezTo>
                  <a:cubicBezTo>
                    <a:pt x="420" y="2143"/>
                    <a:pt x="473" y="2160"/>
                    <a:pt x="508" y="2199"/>
                  </a:cubicBezTo>
                  <a:cubicBezTo>
                    <a:pt x="539" y="2237"/>
                    <a:pt x="553" y="2290"/>
                    <a:pt x="546" y="2342"/>
                  </a:cubicBezTo>
                  <a:cubicBezTo>
                    <a:pt x="543" y="2402"/>
                    <a:pt x="546" y="2405"/>
                    <a:pt x="578" y="2416"/>
                  </a:cubicBezTo>
                  <a:cubicBezTo>
                    <a:pt x="582" y="2417"/>
                    <a:pt x="587" y="2417"/>
                    <a:pt x="594" y="2417"/>
                  </a:cubicBezTo>
                  <a:cubicBezTo>
                    <a:pt x="661" y="2417"/>
                    <a:pt x="837" y="2370"/>
                    <a:pt x="980" y="2332"/>
                  </a:cubicBezTo>
                  <a:cubicBezTo>
                    <a:pt x="1212" y="2268"/>
                    <a:pt x="1463" y="2199"/>
                    <a:pt x="1656" y="2199"/>
                  </a:cubicBezTo>
                  <a:cubicBezTo>
                    <a:pt x="1748" y="2199"/>
                    <a:pt x="1827" y="2215"/>
                    <a:pt x="1883" y="2255"/>
                  </a:cubicBezTo>
                  <a:cubicBezTo>
                    <a:pt x="1922" y="2276"/>
                    <a:pt x="1939" y="2318"/>
                    <a:pt x="1932" y="2360"/>
                  </a:cubicBezTo>
                  <a:cubicBezTo>
                    <a:pt x="1915" y="2454"/>
                    <a:pt x="1764" y="2493"/>
                    <a:pt x="1313" y="2587"/>
                  </a:cubicBezTo>
                  <a:cubicBezTo>
                    <a:pt x="1064" y="2640"/>
                    <a:pt x="480" y="2762"/>
                    <a:pt x="480" y="2864"/>
                  </a:cubicBezTo>
                  <a:cubicBezTo>
                    <a:pt x="487" y="2902"/>
                    <a:pt x="504" y="2937"/>
                    <a:pt x="536" y="2958"/>
                  </a:cubicBezTo>
                  <a:cubicBezTo>
                    <a:pt x="701" y="3093"/>
                    <a:pt x="1122" y="3178"/>
                    <a:pt x="1542" y="3178"/>
                  </a:cubicBezTo>
                  <a:cubicBezTo>
                    <a:pt x="1700" y="3178"/>
                    <a:pt x="1858" y="3166"/>
                    <a:pt x="2003" y="3140"/>
                  </a:cubicBezTo>
                  <a:cubicBezTo>
                    <a:pt x="2140" y="3116"/>
                    <a:pt x="2302" y="3105"/>
                    <a:pt x="2472" y="3105"/>
                  </a:cubicBezTo>
                  <a:cubicBezTo>
                    <a:pt x="3051" y="3105"/>
                    <a:pt x="3728" y="3231"/>
                    <a:pt x="3893" y="3371"/>
                  </a:cubicBezTo>
                  <a:cubicBezTo>
                    <a:pt x="3928" y="3396"/>
                    <a:pt x="3945" y="3431"/>
                    <a:pt x="3949" y="3469"/>
                  </a:cubicBezTo>
                  <a:cubicBezTo>
                    <a:pt x="3949" y="3504"/>
                    <a:pt x="3935" y="3536"/>
                    <a:pt x="3910" y="3557"/>
                  </a:cubicBezTo>
                  <a:cubicBezTo>
                    <a:pt x="3832" y="3633"/>
                    <a:pt x="3620" y="3658"/>
                    <a:pt x="3304" y="3658"/>
                  </a:cubicBezTo>
                  <a:cubicBezTo>
                    <a:pt x="3114" y="3658"/>
                    <a:pt x="2886" y="3649"/>
                    <a:pt x="2626" y="3637"/>
                  </a:cubicBezTo>
                  <a:lnTo>
                    <a:pt x="2472" y="3634"/>
                  </a:lnTo>
                  <a:cubicBezTo>
                    <a:pt x="2431" y="3632"/>
                    <a:pt x="2390" y="3631"/>
                    <a:pt x="2347" y="3631"/>
                  </a:cubicBezTo>
                  <a:cubicBezTo>
                    <a:pt x="1735" y="3631"/>
                    <a:pt x="984" y="3813"/>
                    <a:pt x="942" y="3917"/>
                  </a:cubicBezTo>
                  <a:cubicBezTo>
                    <a:pt x="980" y="4068"/>
                    <a:pt x="1001" y="4082"/>
                    <a:pt x="1435" y="4278"/>
                  </a:cubicBezTo>
                  <a:lnTo>
                    <a:pt x="1656" y="4380"/>
                  </a:lnTo>
                  <a:cubicBezTo>
                    <a:pt x="1833" y="4462"/>
                    <a:pt x="2011" y="4484"/>
                    <a:pt x="2177" y="4484"/>
                  </a:cubicBezTo>
                  <a:cubicBezTo>
                    <a:pt x="2280" y="4484"/>
                    <a:pt x="2378" y="4475"/>
                    <a:pt x="2468" y="4467"/>
                  </a:cubicBezTo>
                  <a:cubicBezTo>
                    <a:pt x="2545" y="4460"/>
                    <a:pt x="2612" y="4453"/>
                    <a:pt x="2675" y="4453"/>
                  </a:cubicBezTo>
                  <a:cubicBezTo>
                    <a:pt x="2769" y="4453"/>
                    <a:pt x="2843" y="4467"/>
                    <a:pt x="2895" y="4520"/>
                  </a:cubicBezTo>
                  <a:cubicBezTo>
                    <a:pt x="2944" y="4569"/>
                    <a:pt x="2965" y="4642"/>
                    <a:pt x="2955" y="4712"/>
                  </a:cubicBezTo>
                  <a:cubicBezTo>
                    <a:pt x="2944" y="4800"/>
                    <a:pt x="2972" y="4891"/>
                    <a:pt x="3028" y="4961"/>
                  </a:cubicBezTo>
                  <a:cubicBezTo>
                    <a:pt x="3172" y="5118"/>
                    <a:pt x="3553" y="5160"/>
                    <a:pt x="4082" y="5174"/>
                  </a:cubicBezTo>
                  <a:cubicBezTo>
                    <a:pt x="4106" y="5175"/>
                    <a:pt x="4130" y="5175"/>
                    <a:pt x="4153" y="5175"/>
                  </a:cubicBezTo>
                  <a:cubicBezTo>
                    <a:pt x="4595" y="5175"/>
                    <a:pt x="4908" y="5053"/>
                    <a:pt x="5164" y="4950"/>
                  </a:cubicBezTo>
                  <a:cubicBezTo>
                    <a:pt x="5353" y="4875"/>
                    <a:pt x="5521" y="4809"/>
                    <a:pt x="5694" y="4809"/>
                  </a:cubicBezTo>
                  <a:cubicBezTo>
                    <a:pt x="5706" y="4809"/>
                    <a:pt x="5718" y="4809"/>
                    <a:pt x="5731" y="4810"/>
                  </a:cubicBezTo>
                  <a:cubicBezTo>
                    <a:pt x="5780" y="4813"/>
                    <a:pt x="5826" y="4815"/>
                    <a:pt x="5868" y="4815"/>
                  </a:cubicBezTo>
                  <a:cubicBezTo>
                    <a:pt x="6174" y="4815"/>
                    <a:pt x="6320" y="4733"/>
                    <a:pt x="6477" y="4502"/>
                  </a:cubicBezTo>
                  <a:cubicBezTo>
                    <a:pt x="6581" y="4347"/>
                    <a:pt x="6680" y="4312"/>
                    <a:pt x="6752" y="4312"/>
                  </a:cubicBezTo>
                  <a:cubicBezTo>
                    <a:pt x="6760" y="4312"/>
                    <a:pt x="6767" y="4312"/>
                    <a:pt x="6774" y="4313"/>
                  </a:cubicBezTo>
                  <a:cubicBezTo>
                    <a:pt x="6893" y="4331"/>
                    <a:pt x="6974" y="4446"/>
                    <a:pt x="7005" y="4541"/>
                  </a:cubicBezTo>
                  <a:cubicBezTo>
                    <a:pt x="7019" y="4583"/>
                    <a:pt x="7219" y="4618"/>
                    <a:pt x="7317" y="4635"/>
                  </a:cubicBezTo>
                  <a:cubicBezTo>
                    <a:pt x="7474" y="4663"/>
                    <a:pt x="7621" y="4688"/>
                    <a:pt x="7695" y="4758"/>
                  </a:cubicBezTo>
                  <a:cubicBezTo>
                    <a:pt x="7823" y="4888"/>
                    <a:pt x="8108" y="4941"/>
                    <a:pt x="8415" y="4941"/>
                  </a:cubicBezTo>
                  <a:cubicBezTo>
                    <a:pt x="8760" y="4941"/>
                    <a:pt x="9133" y="4874"/>
                    <a:pt x="9340" y="4772"/>
                  </a:cubicBezTo>
                  <a:cubicBezTo>
                    <a:pt x="9410" y="4733"/>
                    <a:pt x="9442" y="4688"/>
                    <a:pt x="9438" y="4628"/>
                  </a:cubicBezTo>
                  <a:cubicBezTo>
                    <a:pt x="9428" y="4523"/>
                    <a:pt x="9312" y="4394"/>
                    <a:pt x="9193" y="4355"/>
                  </a:cubicBezTo>
                  <a:cubicBezTo>
                    <a:pt x="9178" y="4348"/>
                    <a:pt x="9161" y="4345"/>
                    <a:pt x="9146" y="4345"/>
                  </a:cubicBezTo>
                  <a:cubicBezTo>
                    <a:pt x="9112" y="4345"/>
                    <a:pt x="9080" y="4359"/>
                    <a:pt x="9057" y="4383"/>
                  </a:cubicBezTo>
                  <a:cubicBezTo>
                    <a:pt x="8958" y="4508"/>
                    <a:pt x="8862" y="4540"/>
                    <a:pt x="8793" y="4540"/>
                  </a:cubicBezTo>
                  <a:cubicBezTo>
                    <a:pt x="8781" y="4540"/>
                    <a:pt x="8769" y="4539"/>
                    <a:pt x="8759" y="4537"/>
                  </a:cubicBezTo>
                  <a:cubicBezTo>
                    <a:pt x="8654" y="4516"/>
                    <a:pt x="8570" y="4443"/>
                    <a:pt x="8532" y="4345"/>
                  </a:cubicBezTo>
                  <a:cubicBezTo>
                    <a:pt x="8476" y="4226"/>
                    <a:pt x="8623" y="4159"/>
                    <a:pt x="8780" y="4089"/>
                  </a:cubicBezTo>
                  <a:cubicBezTo>
                    <a:pt x="8889" y="4043"/>
                    <a:pt x="9011" y="3987"/>
                    <a:pt x="9067" y="3921"/>
                  </a:cubicBezTo>
                  <a:cubicBezTo>
                    <a:pt x="9104" y="3878"/>
                    <a:pt x="9154" y="3862"/>
                    <a:pt x="9211" y="3862"/>
                  </a:cubicBezTo>
                  <a:cubicBezTo>
                    <a:pt x="9299" y="3862"/>
                    <a:pt x="9403" y="3900"/>
                    <a:pt x="9505" y="3938"/>
                  </a:cubicBezTo>
                  <a:cubicBezTo>
                    <a:pt x="9590" y="3969"/>
                    <a:pt x="9697" y="4008"/>
                    <a:pt x="9761" y="4008"/>
                  </a:cubicBezTo>
                  <a:cubicBezTo>
                    <a:pt x="9778" y="4008"/>
                    <a:pt x="9793" y="4005"/>
                    <a:pt x="9802" y="3998"/>
                  </a:cubicBezTo>
                  <a:cubicBezTo>
                    <a:pt x="9820" y="3987"/>
                    <a:pt x="9827" y="3956"/>
                    <a:pt x="9827" y="3935"/>
                  </a:cubicBezTo>
                  <a:cubicBezTo>
                    <a:pt x="9841" y="3721"/>
                    <a:pt x="9512" y="3571"/>
                    <a:pt x="9221" y="3438"/>
                  </a:cubicBezTo>
                  <a:cubicBezTo>
                    <a:pt x="9106" y="3389"/>
                    <a:pt x="8994" y="3329"/>
                    <a:pt x="8885" y="3266"/>
                  </a:cubicBezTo>
                  <a:cubicBezTo>
                    <a:pt x="8794" y="3203"/>
                    <a:pt x="8693" y="3158"/>
                    <a:pt x="8588" y="3130"/>
                  </a:cubicBezTo>
                  <a:cubicBezTo>
                    <a:pt x="8378" y="3063"/>
                    <a:pt x="8181" y="2962"/>
                    <a:pt x="8010" y="2825"/>
                  </a:cubicBezTo>
                  <a:cubicBezTo>
                    <a:pt x="7723" y="2615"/>
                    <a:pt x="7793" y="2437"/>
                    <a:pt x="7845" y="2307"/>
                  </a:cubicBezTo>
                  <a:cubicBezTo>
                    <a:pt x="7887" y="2202"/>
                    <a:pt x="7908" y="2143"/>
                    <a:pt x="7789" y="2048"/>
                  </a:cubicBezTo>
                  <a:cubicBezTo>
                    <a:pt x="7558" y="1866"/>
                    <a:pt x="7439" y="1509"/>
                    <a:pt x="7422" y="1236"/>
                  </a:cubicBezTo>
                  <a:cubicBezTo>
                    <a:pt x="7408" y="1005"/>
                    <a:pt x="7460" y="819"/>
                    <a:pt x="7565" y="714"/>
                  </a:cubicBezTo>
                  <a:cubicBezTo>
                    <a:pt x="7831" y="448"/>
                    <a:pt x="7866" y="294"/>
                    <a:pt x="7849" y="214"/>
                  </a:cubicBezTo>
                  <a:cubicBezTo>
                    <a:pt x="7835" y="144"/>
                    <a:pt x="7772" y="88"/>
                    <a:pt x="7663" y="46"/>
                  </a:cubicBezTo>
                  <a:cubicBezTo>
                    <a:pt x="7581" y="13"/>
                    <a:pt x="7489" y="0"/>
                    <a:pt x="73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2" name="Google Shape;5972;p53"/>
            <p:cNvSpPr/>
            <p:nvPr/>
          </p:nvSpPr>
          <p:spPr>
            <a:xfrm>
              <a:off x="1158243" y="1321487"/>
              <a:ext cx="9857" cy="6436"/>
            </a:xfrm>
            <a:custGeom>
              <a:avLst/>
              <a:gdLst/>
              <a:ahLst/>
              <a:cxnLst/>
              <a:rect l="l" t="t" r="r" b="b"/>
              <a:pathLst>
                <a:path w="726" h="474" extrusionOk="0">
                  <a:moveTo>
                    <a:pt x="725" y="1"/>
                  </a:moveTo>
                  <a:lnTo>
                    <a:pt x="725" y="1"/>
                  </a:lnTo>
                  <a:cubicBezTo>
                    <a:pt x="596" y="15"/>
                    <a:pt x="123" y="326"/>
                    <a:pt x="1" y="474"/>
                  </a:cubicBezTo>
                  <a:cubicBezTo>
                    <a:pt x="7" y="474"/>
                    <a:pt x="13" y="474"/>
                    <a:pt x="19" y="474"/>
                  </a:cubicBezTo>
                  <a:cubicBezTo>
                    <a:pt x="257" y="474"/>
                    <a:pt x="473" y="341"/>
                    <a:pt x="596" y="221"/>
                  </a:cubicBezTo>
                  <a:cubicBezTo>
                    <a:pt x="673" y="141"/>
                    <a:pt x="722" y="60"/>
                    <a:pt x="7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3" name="Google Shape;5973;p53"/>
            <p:cNvSpPr/>
            <p:nvPr/>
          </p:nvSpPr>
          <p:spPr>
            <a:xfrm>
              <a:off x="1130627" y="1298310"/>
              <a:ext cx="52871" cy="25947"/>
            </a:xfrm>
            <a:custGeom>
              <a:avLst/>
              <a:gdLst/>
              <a:ahLst/>
              <a:cxnLst/>
              <a:rect l="l" t="t" r="r" b="b"/>
              <a:pathLst>
                <a:path w="3894" h="1911" extrusionOk="0">
                  <a:moveTo>
                    <a:pt x="3369" y="1"/>
                  </a:moveTo>
                  <a:cubicBezTo>
                    <a:pt x="3360" y="1"/>
                    <a:pt x="3352" y="3"/>
                    <a:pt x="3344" y="6"/>
                  </a:cubicBezTo>
                  <a:cubicBezTo>
                    <a:pt x="3291" y="31"/>
                    <a:pt x="3253" y="143"/>
                    <a:pt x="3253" y="231"/>
                  </a:cubicBezTo>
                  <a:cubicBezTo>
                    <a:pt x="3253" y="273"/>
                    <a:pt x="3232" y="308"/>
                    <a:pt x="3200" y="332"/>
                  </a:cubicBezTo>
                  <a:cubicBezTo>
                    <a:pt x="3166" y="356"/>
                    <a:pt x="3115" y="365"/>
                    <a:pt x="3054" y="365"/>
                  </a:cubicBezTo>
                  <a:cubicBezTo>
                    <a:pt x="2851" y="365"/>
                    <a:pt x="2545" y="260"/>
                    <a:pt x="2437" y="220"/>
                  </a:cubicBezTo>
                  <a:cubicBezTo>
                    <a:pt x="2416" y="212"/>
                    <a:pt x="2395" y="209"/>
                    <a:pt x="2372" y="209"/>
                  </a:cubicBezTo>
                  <a:cubicBezTo>
                    <a:pt x="2239" y="209"/>
                    <a:pt x="2075" y="333"/>
                    <a:pt x="1901" y="462"/>
                  </a:cubicBezTo>
                  <a:cubicBezTo>
                    <a:pt x="1772" y="560"/>
                    <a:pt x="1635" y="651"/>
                    <a:pt x="1495" y="724"/>
                  </a:cubicBezTo>
                  <a:cubicBezTo>
                    <a:pt x="1366" y="794"/>
                    <a:pt x="1254" y="885"/>
                    <a:pt x="1163" y="997"/>
                  </a:cubicBezTo>
                  <a:cubicBezTo>
                    <a:pt x="1047" y="1123"/>
                    <a:pt x="937" y="1243"/>
                    <a:pt x="719" y="1243"/>
                  </a:cubicBezTo>
                  <a:cubicBezTo>
                    <a:pt x="708" y="1243"/>
                    <a:pt x="696" y="1243"/>
                    <a:pt x="683" y="1242"/>
                  </a:cubicBezTo>
                  <a:cubicBezTo>
                    <a:pt x="670" y="1241"/>
                    <a:pt x="657" y="1241"/>
                    <a:pt x="643" y="1241"/>
                  </a:cubicBezTo>
                  <a:cubicBezTo>
                    <a:pt x="374" y="1241"/>
                    <a:pt x="57" y="1432"/>
                    <a:pt x="1" y="1512"/>
                  </a:cubicBezTo>
                  <a:cubicBezTo>
                    <a:pt x="106" y="1564"/>
                    <a:pt x="109" y="1687"/>
                    <a:pt x="113" y="1771"/>
                  </a:cubicBezTo>
                  <a:cubicBezTo>
                    <a:pt x="113" y="1788"/>
                    <a:pt x="113" y="1806"/>
                    <a:pt x="116" y="1823"/>
                  </a:cubicBezTo>
                  <a:lnTo>
                    <a:pt x="127" y="1820"/>
                  </a:lnTo>
                  <a:cubicBezTo>
                    <a:pt x="260" y="1752"/>
                    <a:pt x="334" y="1715"/>
                    <a:pt x="420" y="1715"/>
                  </a:cubicBezTo>
                  <a:cubicBezTo>
                    <a:pt x="462" y="1715"/>
                    <a:pt x="507" y="1724"/>
                    <a:pt x="564" y="1743"/>
                  </a:cubicBezTo>
                  <a:cubicBezTo>
                    <a:pt x="597" y="1754"/>
                    <a:pt x="624" y="1760"/>
                    <a:pt x="649" y="1760"/>
                  </a:cubicBezTo>
                  <a:cubicBezTo>
                    <a:pt x="730" y="1760"/>
                    <a:pt x="776" y="1701"/>
                    <a:pt x="841" y="1606"/>
                  </a:cubicBezTo>
                  <a:cubicBezTo>
                    <a:pt x="869" y="1568"/>
                    <a:pt x="900" y="1526"/>
                    <a:pt x="932" y="1491"/>
                  </a:cubicBezTo>
                  <a:cubicBezTo>
                    <a:pt x="953" y="1470"/>
                    <a:pt x="981" y="1456"/>
                    <a:pt x="1009" y="1456"/>
                  </a:cubicBezTo>
                  <a:cubicBezTo>
                    <a:pt x="1016" y="1456"/>
                    <a:pt x="1023" y="1456"/>
                    <a:pt x="1030" y="1459"/>
                  </a:cubicBezTo>
                  <a:cubicBezTo>
                    <a:pt x="1093" y="1473"/>
                    <a:pt x="1114" y="1540"/>
                    <a:pt x="1142" y="1631"/>
                  </a:cubicBezTo>
                  <a:cubicBezTo>
                    <a:pt x="1191" y="1785"/>
                    <a:pt x="1240" y="1911"/>
                    <a:pt x="1366" y="1911"/>
                  </a:cubicBezTo>
                  <a:cubicBezTo>
                    <a:pt x="1446" y="1911"/>
                    <a:pt x="1488" y="1823"/>
                    <a:pt x="1541" y="1694"/>
                  </a:cubicBezTo>
                  <a:cubicBezTo>
                    <a:pt x="1583" y="1592"/>
                    <a:pt x="1621" y="1498"/>
                    <a:pt x="1709" y="1473"/>
                  </a:cubicBezTo>
                  <a:cubicBezTo>
                    <a:pt x="1723" y="1470"/>
                    <a:pt x="1738" y="1468"/>
                    <a:pt x="1752" y="1468"/>
                  </a:cubicBezTo>
                  <a:cubicBezTo>
                    <a:pt x="1793" y="1468"/>
                    <a:pt x="1833" y="1482"/>
                    <a:pt x="1866" y="1508"/>
                  </a:cubicBezTo>
                  <a:cubicBezTo>
                    <a:pt x="1899" y="1532"/>
                    <a:pt x="1942" y="1556"/>
                    <a:pt x="1978" y="1556"/>
                  </a:cubicBezTo>
                  <a:cubicBezTo>
                    <a:pt x="1984" y="1556"/>
                    <a:pt x="1990" y="1555"/>
                    <a:pt x="1996" y="1554"/>
                  </a:cubicBezTo>
                  <a:cubicBezTo>
                    <a:pt x="2063" y="1529"/>
                    <a:pt x="2105" y="1389"/>
                    <a:pt x="2129" y="1305"/>
                  </a:cubicBezTo>
                  <a:cubicBezTo>
                    <a:pt x="2136" y="1274"/>
                    <a:pt x="2143" y="1239"/>
                    <a:pt x="2154" y="1204"/>
                  </a:cubicBezTo>
                  <a:cubicBezTo>
                    <a:pt x="2189" y="1032"/>
                    <a:pt x="2234" y="794"/>
                    <a:pt x="2497" y="749"/>
                  </a:cubicBezTo>
                  <a:cubicBezTo>
                    <a:pt x="2519" y="745"/>
                    <a:pt x="2539" y="743"/>
                    <a:pt x="2557" y="743"/>
                  </a:cubicBezTo>
                  <a:cubicBezTo>
                    <a:pt x="2603" y="743"/>
                    <a:pt x="2637" y="755"/>
                    <a:pt x="2665" y="780"/>
                  </a:cubicBezTo>
                  <a:cubicBezTo>
                    <a:pt x="2724" y="833"/>
                    <a:pt x="2717" y="917"/>
                    <a:pt x="2710" y="1011"/>
                  </a:cubicBezTo>
                  <a:cubicBezTo>
                    <a:pt x="2703" y="1102"/>
                    <a:pt x="2693" y="1190"/>
                    <a:pt x="2735" y="1267"/>
                  </a:cubicBezTo>
                  <a:cubicBezTo>
                    <a:pt x="2788" y="1360"/>
                    <a:pt x="2843" y="1374"/>
                    <a:pt x="2877" y="1374"/>
                  </a:cubicBezTo>
                  <a:cubicBezTo>
                    <a:pt x="2888" y="1374"/>
                    <a:pt x="2897" y="1373"/>
                    <a:pt x="2903" y="1372"/>
                  </a:cubicBezTo>
                  <a:cubicBezTo>
                    <a:pt x="3004" y="1344"/>
                    <a:pt x="3085" y="1267"/>
                    <a:pt x="3120" y="1165"/>
                  </a:cubicBezTo>
                  <a:cubicBezTo>
                    <a:pt x="3141" y="1050"/>
                    <a:pt x="3277" y="1029"/>
                    <a:pt x="3396" y="1015"/>
                  </a:cubicBezTo>
                  <a:cubicBezTo>
                    <a:pt x="3445" y="1008"/>
                    <a:pt x="3547" y="994"/>
                    <a:pt x="3557" y="973"/>
                  </a:cubicBezTo>
                  <a:cubicBezTo>
                    <a:pt x="3557" y="973"/>
                    <a:pt x="3557" y="969"/>
                    <a:pt x="3557" y="969"/>
                  </a:cubicBezTo>
                  <a:cubicBezTo>
                    <a:pt x="3550" y="903"/>
                    <a:pt x="3561" y="833"/>
                    <a:pt x="3585" y="773"/>
                  </a:cubicBezTo>
                  <a:cubicBezTo>
                    <a:pt x="3620" y="710"/>
                    <a:pt x="3613" y="633"/>
                    <a:pt x="3568" y="581"/>
                  </a:cubicBezTo>
                  <a:cubicBezTo>
                    <a:pt x="3533" y="535"/>
                    <a:pt x="3522" y="479"/>
                    <a:pt x="3540" y="427"/>
                  </a:cubicBezTo>
                  <a:cubicBezTo>
                    <a:pt x="3564" y="353"/>
                    <a:pt x="3645" y="329"/>
                    <a:pt x="3729" y="301"/>
                  </a:cubicBezTo>
                  <a:cubicBezTo>
                    <a:pt x="3788" y="283"/>
                    <a:pt x="3841" y="259"/>
                    <a:pt x="3893" y="227"/>
                  </a:cubicBezTo>
                  <a:lnTo>
                    <a:pt x="3886" y="227"/>
                  </a:lnTo>
                  <a:cubicBezTo>
                    <a:pt x="3785" y="213"/>
                    <a:pt x="3624" y="185"/>
                    <a:pt x="3484" y="62"/>
                  </a:cubicBezTo>
                  <a:cubicBezTo>
                    <a:pt x="3450" y="34"/>
                    <a:pt x="3406" y="1"/>
                    <a:pt x="336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4" name="Google Shape;5974;p53"/>
            <p:cNvSpPr/>
            <p:nvPr/>
          </p:nvSpPr>
          <p:spPr>
            <a:xfrm>
              <a:off x="1171549" y="1310367"/>
              <a:ext cx="86380" cy="35437"/>
            </a:xfrm>
            <a:custGeom>
              <a:avLst/>
              <a:gdLst/>
              <a:ahLst/>
              <a:cxnLst/>
              <a:rect l="l" t="t" r="r" b="b"/>
              <a:pathLst>
                <a:path w="6362" h="2610" extrusionOk="0">
                  <a:moveTo>
                    <a:pt x="4622" y="0"/>
                  </a:moveTo>
                  <a:cubicBezTo>
                    <a:pt x="4610" y="0"/>
                    <a:pt x="4596" y="2"/>
                    <a:pt x="4580" y="4"/>
                  </a:cubicBezTo>
                  <a:cubicBezTo>
                    <a:pt x="4391" y="32"/>
                    <a:pt x="4034" y="260"/>
                    <a:pt x="3943" y="410"/>
                  </a:cubicBezTo>
                  <a:cubicBezTo>
                    <a:pt x="3925" y="442"/>
                    <a:pt x="3925" y="456"/>
                    <a:pt x="3925" y="456"/>
                  </a:cubicBezTo>
                  <a:cubicBezTo>
                    <a:pt x="3929" y="459"/>
                    <a:pt x="3929" y="480"/>
                    <a:pt x="3988" y="487"/>
                  </a:cubicBezTo>
                  <a:cubicBezTo>
                    <a:pt x="4184" y="512"/>
                    <a:pt x="4293" y="575"/>
                    <a:pt x="4307" y="676"/>
                  </a:cubicBezTo>
                  <a:cubicBezTo>
                    <a:pt x="4324" y="799"/>
                    <a:pt x="4198" y="907"/>
                    <a:pt x="4076" y="967"/>
                  </a:cubicBezTo>
                  <a:cubicBezTo>
                    <a:pt x="4125" y="998"/>
                    <a:pt x="4174" y="1026"/>
                    <a:pt x="4226" y="1051"/>
                  </a:cubicBezTo>
                  <a:cubicBezTo>
                    <a:pt x="4391" y="1135"/>
                    <a:pt x="4489" y="1191"/>
                    <a:pt x="4513" y="1271"/>
                  </a:cubicBezTo>
                  <a:cubicBezTo>
                    <a:pt x="4520" y="1303"/>
                    <a:pt x="4517" y="1338"/>
                    <a:pt x="4496" y="1366"/>
                  </a:cubicBezTo>
                  <a:cubicBezTo>
                    <a:pt x="4449" y="1435"/>
                    <a:pt x="4305" y="1457"/>
                    <a:pt x="4145" y="1457"/>
                  </a:cubicBezTo>
                  <a:cubicBezTo>
                    <a:pt x="3957" y="1457"/>
                    <a:pt x="3746" y="1427"/>
                    <a:pt x="3642" y="1408"/>
                  </a:cubicBezTo>
                  <a:cubicBezTo>
                    <a:pt x="3320" y="1342"/>
                    <a:pt x="3141" y="1247"/>
                    <a:pt x="3117" y="1124"/>
                  </a:cubicBezTo>
                  <a:cubicBezTo>
                    <a:pt x="3109" y="1079"/>
                    <a:pt x="3029" y="984"/>
                    <a:pt x="2847" y="869"/>
                  </a:cubicBezTo>
                  <a:cubicBezTo>
                    <a:pt x="2598" y="713"/>
                    <a:pt x="2247" y="580"/>
                    <a:pt x="2017" y="580"/>
                  </a:cubicBezTo>
                  <a:cubicBezTo>
                    <a:pt x="1978" y="580"/>
                    <a:pt x="1943" y="584"/>
                    <a:pt x="1912" y="592"/>
                  </a:cubicBezTo>
                  <a:cubicBezTo>
                    <a:pt x="1866" y="605"/>
                    <a:pt x="1826" y="610"/>
                    <a:pt x="1791" y="610"/>
                  </a:cubicBezTo>
                  <a:cubicBezTo>
                    <a:pt x="1646" y="610"/>
                    <a:pt x="1589" y="517"/>
                    <a:pt x="1541" y="438"/>
                  </a:cubicBezTo>
                  <a:cubicBezTo>
                    <a:pt x="1492" y="358"/>
                    <a:pt x="1450" y="288"/>
                    <a:pt x="1310" y="277"/>
                  </a:cubicBezTo>
                  <a:cubicBezTo>
                    <a:pt x="1298" y="276"/>
                    <a:pt x="1288" y="276"/>
                    <a:pt x="1277" y="276"/>
                  </a:cubicBezTo>
                  <a:cubicBezTo>
                    <a:pt x="1153" y="276"/>
                    <a:pt x="1116" y="333"/>
                    <a:pt x="1062" y="410"/>
                  </a:cubicBezTo>
                  <a:cubicBezTo>
                    <a:pt x="1002" y="494"/>
                    <a:pt x="932" y="603"/>
                    <a:pt x="736" y="617"/>
                  </a:cubicBezTo>
                  <a:cubicBezTo>
                    <a:pt x="613" y="624"/>
                    <a:pt x="557" y="680"/>
                    <a:pt x="561" y="725"/>
                  </a:cubicBezTo>
                  <a:cubicBezTo>
                    <a:pt x="561" y="785"/>
                    <a:pt x="648" y="848"/>
                    <a:pt x="806" y="848"/>
                  </a:cubicBezTo>
                  <a:cubicBezTo>
                    <a:pt x="932" y="848"/>
                    <a:pt x="1149" y="862"/>
                    <a:pt x="1195" y="935"/>
                  </a:cubicBezTo>
                  <a:cubicBezTo>
                    <a:pt x="1209" y="960"/>
                    <a:pt x="1209" y="988"/>
                    <a:pt x="1195" y="1012"/>
                  </a:cubicBezTo>
                  <a:cubicBezTo>
                    <a:pt x="1179" y="1037"/>
                    <a:pt x="1154" y="1079"/>
                    <a:pt x="898" y="1079"/>
                  </a:cubicBezTo>
                  <a:cubicBezTo>
                    <a:pt x="857" y="1079"/>
                    <a:pt x="810" y="1078"/>
                    <a:pt x="757" y="1075"/>
                  </a:cubicBezTo>
                  <a:cubicBezTo>
                    <a:pt x="744" y="1075"/>
                    <a:pt x="732" y="1075"/>
                    <a:pt x="720" y="1075"/>
                  </a:cubicBezTo>
                  <a:cubicBezTo>
                    <a:pt x="488" y="1075"/>
                    <a:pt x="326" y="1167"/>
                    <a:pt x="256" y="1250"/>
                  </a:cubicBezTo>
                  <a:cubicBezTo>
                    <a:pt x="225" y="1289"/>
                    <a:pt x="221" y="1314"/>
                    <a:pt x="221" y="1317"/>
                  </a:cubicBezTo>
                  <a:cubicBezTo>
                    <a:pt x="235" y="1319"/>
                    <a:pt x="248" y="1321"/>
                    <a:pt x="261" y="1321"/>
                  </a:cubicBezTo>
                  <a:cubicBezTo>
                    <a:pt x="285" y="1321"/>
                    <a:pt x="307" y="1317"/>
                    <a:pt x="330" y="1310"/>
                  </a:cubicBezTo>
                  <a:cubicBezTo>
                    <a:pt x="477" y="1271"/>
                    <a:pt x="624" y="1250"/>
                    <a:pt x="774" y="1240"/>
                  </a:cubicBezTo>
                  <a:cubicBezTo>
                    <a:pt x="818" y="1236"/>
                    <a:pt x="855" y="1235"/>
                    <a:pt x="887" y="1235"/>
                  </a:cubicBezTo>
                  <a:cubicBezTo>
                    <a:pt x="1011" y="1235"/>
                    <a:pt x="1047" y="1261"/>
                    <a:pt x="1058" y="1303"/>
                  </a:cubicBezTo>
                  <a:cubicBezTo>
                    <a:pt x="1083" y="1384"/>
                    <a:pt x="981" y="1419"/>
                    <a:pt x="925" y="1433"/>
                  </a:cubicBezTo>
                  <a:cubicBezTo>
                    <a:pt x="792" y="1471"/>
                    <a:pt x="655" y="1503"/>
                    <a:pt x="519" y="1527"/>
                  </a:cubicBezTo>
                  <a:cubicBezTo>
                    <a:pt x="347" y="1559"/>
                    <a:pt x="74" y="1611"/>
                    <a:pt x="1" y="1657"/>
                  </a:cubicBezTo>
                  <a:cubicBezTo>
                    <a:pt x="39" y="1681"/>
                    <a:pt x="137" y="1699"/>
                    <a:pt x="225" y="1713"/>
                  </a:cubicBezTo>
                  <a:cubicBezTo>
                    <a:pt x="375" y="1734"/>
                    <a:pt x="522" y="1769"/>
                    <a:pt x="662" y="1818"/>
                  </a:cubicBezTo>
                  <a:cubicBezTo>
                    <a:pt x="819" y="1877"/>
                    <a:pt x="936" y="1922"/>
                    <a:pt x="1041" y="1922"/>
                  </a:cubicBezTo>
                  <a:cubicBezTo>
                    <a:pt x="1145" y="1922"/>
                    <a:pt x="1237" y="1878"/>
                    <a:pt x="1345" y="1762"/>
                  </a:cubicBezTo>
                  <a:cubicBezTo>
                    <a:pt x="1628" y="1451"/>
                    <a:pt x="1756" y="1394"/>
                    <a:pt x="1820" y="1394"/>
                  </a:cubicBezTo>
                  <a:cubicBezTo>
                    <a:pt x="1844" y="1394"/>
                    <a:pt x="1859" y="1402"/>
                    <a:pt x="1870" y="1408"/>
                  </a:cubicBezTo>
                  <a:cubicBezTo>
                    <a:pt x="1958" y="1461"/>
                    <a:pt x="1909" y="1597"/>
                    <a:pt x="1891" y="1657"/>
                  </a:cubicBezTo>
                  <a:cubicBezTo>
                    <a:pt x="1870" y="1716"/>
                    <a:pt x="1874" y="1741"/>
                    <a:pt x="1877" y="1744"/>
                  </a:cubicBezTo>
                  <a:cubicBezTo>
                    <a:pt x="1887" y="1755"/>
                    <a:pt x="1911" y="1759"/>
                    <a:pt x="1945" y="1759"/>
                  </a:cubicBezTo>
                  <a:cubicBezTo>
                    <a:pt x="2024" y="1759"/>
                    <a:pt x="2151" y="1737"/>
                    <a:pt x="2259" y="1720"/>
                  </a:cubicBezTo>
                  <a:cubicBezTo>
                    <a:pt x="2458" y="1678"/>
                    <a:pt x="2665" y="1653"/>
                    <a:pt x="2868" y="1643"/>
                  </a:cubicBezTo>
                  <a:lnTo>
                    <a:pt x="2931" y="1643"/>
                  </a:lnTo>
                  <a:cubicBezTo>
                    <a:pt x="3036" y="1643"/>
                    <a:pt x="3180" y="1657"/>
                    <a:pt x="3183" y="1762"/>
                  </a:cubicBezTo>
                  <a:cubicBezTo>
                    <a:pt x="3194" y="1961"/>
                    <a:pt x="2511" y="2182"/>
                    <a:pt x="2073" y="2213"/>
                  </a:cubicBezTo>
                  <a:cubicBezTo>
                    <a:pt x="1762" y="2234"/>
                    <a:pt x="1671" y="2318"/>
                    <a:pt x="1667" y="2357"/>
                  </a:cubicBezTo>
                  <a:cubicBezTo>
                    <a:pt x="1664" y="2416"/>
                    <a:pt x="1786" y="2528"/>
                    <a:pt x="2063" y="2591"/>
                  </a:cubicBezTo>
                  <a:cubicBezTo>
                    <a:pt x="2119" y="2604"/>
                    <a:pt x="2183" y="2610"/>
                    <a:pt x="2251" y="2610"/>
                  </a:cubicBezTo>
                  <a:cubicBezTo>
                    <a:pt x="2808" y="2610"/>
                    <a:pt x="3715" y="2228"/>
                    <a:pt x="3943" y="2003"/>
                  </a:cubicBezTo>
                  <a:cubicBezTo>
                    <a:pt x="4026" y="1918"/>
                    <a:pt x="4110" y="1891"/>
                    <a:pt x="4191" y="1891"/>
                  </a:cubicBezTo>
                  <a:cubicBezTo>
                    <a:pt x="4272" y="1891"/>
                    <a:pt x="4350" y="1919"/>
                    <a:pt x="4419" y="1944"/>
                  </a:cubicBezTo>
                  <a:cubicBezTo>
                    <a:pt x="4491" y="1969"/>
                    <a:pt x="4550" y="1988"/>
                    <a:pt x="4604" y="1988"/>
                  </a:cubicBezTo>
                  <a:cubicBezTo>
                    <a:pt x="4646" y="1988"/>
                    <a:pt x="4685" y="1976"/>
                    <a:pt x="4727" y="1947"/>
                  </a:cubicBezTo>
                  <a:cubicBezTo>
                    <a:pt x="4829" y="1873"/>
                    <a:pt x="4958" y="1851"/>
                    <a:pt x="5100" y="1851"/>
                  </a:cubicBezTo>
                  <a:cubicBezTo>
                    <a:pt x="5193" y="1851"/>
                    <a:pt x="5291" y="1860"/>
                    <a:pt x="5392" y="1870"/>
                  </a:cubicBezTo>
                  <a:cubicBezTo>
                    <a:pt x="5498" y="1880"/>
                    <a:pt x="5608" y="1889"/>
                    <a:pt x="5716" y="1889"/>
                  </a:cubicBezTo>
                  <a:cubicBezTo>
                    <a:pt x="5808" y="1889"/>
                    <a:pt x="5899" y="1882"/>
                    <a:pt x="5987" y="1863"/>
                  </a:cubicBezTo>
                  <a:cubicBezTo>
                    <a:pt x="6215" y="1818"/>
                    <a:pt x="6316" y="1559"/>
                    <a:pt x="6337" y="1349"/>
                  </a:cubicBezTo>
                  <a:cubicBezTo>
                    <a:pt x="6362" y="1121"/>
                    <a:pt x="6292" y="925"/>
                    <a:pt x="6169" y="872"/>
                  </a:cubicBezTo>
                  <a:cubicBezTo>
                    <a:pt x="6117" y="850"/>
                    <a:pt x="6076" y="840"/>
                    <a:pt x="6041" y="840"/>
                  </a:cubicBezTo>
                  <a:cubicBezTo>
                    <a:pt x="5968" y="840"/>
                    <a:pt x="5924" y="882"/>
                    <a:pt x="5865" y="939"/>
                  </a:cubicBezTo>
                  <a:cubicBezTo>
                    <a:pt x="5795" y="1016"/>
                    <a:pt x="5704" y="1072"/>
                    <a:pt x="5602" y="1096"/>
                  </a:cubicBezTo>
                  <a:cubicBezTo>
                    <a:pt x="5580" y="1100"/>
                    <a:pt x="5559" y="1102"/>
                    <a:pt x="5539" y="1102"/>
                  </a:cubicBezTo>
                  <a:cubicBezTo>
                    <a:pt x="5343" y="1102"/>
                    <a:pt x="5210" y="929"/>
                    <a:pt x="5080" y="764"/>
                  </a:cubicBezTo>
                  <a:cubicBezTo>
                    <a:pt x="5028" y="694"/>
                    <a:pt x="4972" y="631"/>
                    <a:pt x="4912" y="568"/>
                  </a:cubicBezTo>
                  <a:cubicBezTo>
                    <a:pt x="4807" y="463"/>
                    <a:pt x="4776" y="319"/>
                    <a:pt x="4751" y="207"/>
                  </a:cubicBezTo>
                  <a:cubicBezTo>
                    <a:pt x="4718" y="51"/>
                    <a:pt x="4698" y="0"/>
                    <a:pt x="46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5" name="Google Shape;5975;p53"/>
            <p:cNvSpPr/>
            <p:nvPr/>
          </p:nvSpPr>
          <p:spPr>
            <a:xfrm>
              <a:off x="1190001" y="1292064"/>
              <a:ext cx="7943" cy="3136"/>
            </a:xfrm>
            <a:custGeom>
              <a:avLst/>
              <a:gdLst/>
              <a:ahLst/>
              <a:cxnLst/>
              <a:rect l="l" t="t" r="r" b="b"/>
              <a:pathLst>
                <a:path w="585" h="231" extrusionOk="0">
                  <a:moveTo>
                    <a:pt x="212" y="1"/>
                  </a:moveTo>
                  <a:cubicBezTo>
                    <a:pt x="128" y="1"/>
                    <a:pt x="50" y="8"/>
                    <a:pt x="0" y="18"/>
                  </a:cubicBezTo>
                  <a:cubicBezTo>
                    <a:pt x="111" y="129"/>
                    <a:pt x="287" y="230"/>
                    <a:pt x="419" y="230"/>
                  </a:cubicBezTo>
                  <a:cubicBezTo>
                    <a:pt x="429" y="230"/>
                    <a:pt x="439" y="230"/>
                    <a:pt x="448" y="228"/>
                  </a:cubicBezTo>
                  <a:cubicBezTo>
                    <a:pt x="504" y="221"/>
                    <a:pt x="553" y="183"/>
                    <a:pt x="571" y="130"/>
                  </a:cubicBezTo>
                  <a:cubicBezTo>
                    <a:pt x="585" y="109"/>
                    <a:pt x="578" y="85"/>
                    <a:pt x="560" y="71"/>
                  </a:cubicBezTo>
                  <a:cubicBezTo>
                    <a:pt x="495" y="19"/>
                    <a:pt x="347" y="1"/>
                    <a:pt x="21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6" name="Google Shape;5976;p53"/>
            <p:cNvSpPr/>
            <p:nvPr/>
          </p:nvSpPr>
          <p:spPr>
            <a:xfrm>
              <a:off x="1203443" y="1290258"/>
              <a:ext cx="23829" cy="10971"/>
            </a:xfrm>
            <a:custGeom>
              <a:avLst/>
              <a:gdLst/>
              <a:ahLst/>
              <a:cxnLst/>
              <a:rect l="l" t="t" r="r" b="b"/>
              <a:pathLst>
                <a:path w="1755" h="808" extrusionOk="0">
                  <a:moveTo>
                    <a:pt x="1496" y="1"/>
                  </a:moveTo>
                  <a:cubicBezTo>
                    <a:pt x="1440" y="1"/>
                    <a:pt x="1380" y="4"/>
                    <a:pt x="1328" y="15"/>
                  </a:cubicBezTo>
                  <a:cubicBezTo>
                    <a:pt x="1226" y="29"/>
                    <a:pt x="1111" y="39"/>
                    <a:pt x="992" y="50"/>
                  </a:cubicBezTo>
                  <a:cubicBezTo>
                    <a:pt x="575" y="95"/>
                    <a:pt x="1" y="151"/>
                    <a:pt x="1" y="386"/>
                  </a:cubicBezTo>
                  <a:cubicBezTo>
                    <a:pt x="1" y="620"/>
                    <a:pt x="109" y="757"/>
                    <a:pt x="666" y="806"/>
                  </a:cubicBezTo>
                  <a:cubicBezTo>
                    <a:pt x="683" y="807"/>
                    <a:pt x="701" y="807"/>
                    <a:pt x="718" y="807"/>
                  </a:cubicBezTo>
                  <a:cubicBezTo>
                    <a:pt x="952" y="807"/>
                    <a:pt x="1180" y="721"/>
                    <a:pt x="1356" y="561"/>
                  </a:cubicBezTo>
                  <a:cubicBezTo>
                    <a:pt x="1391" y="533"/>
                    <a:pt x="1422" y="494"/>
                    <a:pt x="1443" y="452"/>
                  </a:cubicBezTo>
                  <a:lnTo>
                    <a:pt x="1440" y="452"/>
                  </a:lnTo>
                  <a:cubicBezTo>
                    <a:pt x="1282" y="452"/>
                    <a:pt x="1244" y="393"/>
                    <a:pt x="1240" y="344"/>
                  </a:cubicBezTo>
                  <a:cubicBezTo>
                    <a:pt x="1233" y="228"/>
                    <a:pt x="1436" y="134"/>
                    <a:pt x="1646" y="102"/>
                  </a:cubicBezTo>
                  <a:cubicBezTo>
                    <a:pt x="1685" y="99"/>
                    <a:pt x="1723" y="85"/>
                    <a:pt x="1755" y="64"/>
                  </a:cubicBezTo>
                  <a:cubicBezTo>
                    <a:pt x="1737" y="43"/>
                    <a:pt x="1657" y="1"/>
                    <a:pt x="14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7" name="Google Shape;5977;p53"/>
            <p:cNvSpPr/>
            <p:nvPr/>
          </p:nvSpPr>
          <p:spPr>
            <a:xfrm>
              <a:off x="1201067" y="1279519"/>
              <a:ext cx="29300" cy="6789"/>
            </a:xfrm>
            <a:custGeom>
              <a:avLst/>
              <a:gdLst/>
              <a:ahLst/>
              <a:cxnLst/>
              <a:rect l="l" t="t" r="r" b="b"/>
              <a:pathLst>
                <a:path w="2158" h="500" extrusionOk="0">
                  <a:moveTo>
                    <a:pt x="1450" y="1"/>
                  </a:moveTo>
                  <a:cubicBezTo>
                    <a:pt x="1284" y="1"/>
                    <a:pt x="1135" y="26"/>
                    <a:pt x="1065" y="67"/>
                  </a:cubicBezTo>
                  <a:cubicBezTo>
                    <a:pt x="967" y="127"/>
                    <a:pt x="764" y="165"/>
                    <a:pt x="547" y="211"/>
                  </a:cubicBezTo>
                  <a:cubicBezTo>
                    <a:pt x="358" y="246"/>
                    <a:pt x="43" y="309"/>
                    <a:pt x="1" y="368"/>
                  </a:cubicBezTo>
                  <a:cubicBezTo>
                    <a:pt x="8" y="379"/>
                    <a:pt x="15" y="389"/>
                    <a:pt x="29" y="396"/>
                  </a:cubicBezTo>
                  <a:cubicBezTo>
                    <a:pt x="72" y="430"/>
                    <a:pt x="117" y="441"/>
                    <a:pt x="166" y="441"/>
                  </a:cubicBezTo>
                  <a:cubicBezTo>
                    <a:pt x="210" y="441"/>
                    <a:pt x="257" y="432"/>
                    <a:pt x="309" y="424"/>
                  </a:cubicBezTo>
                  <a:cubicBezTo>
                    <a:pt x="367" y="413"/>
                    <a:pt x="428" y="402"/>
                    <a:pt x="492" y="402"/>
                  </a:cubicBezTo>
                  <a:cubicBezTo>
                    <a:pt x="548" y="402"/>
                    <a:pt x="606" y="410"/>
                    <a:pt x="666" y="435"/>
                  </a:cubicBezTo>
                  <a:cubicBezTo>
                    <a:pt x="692" y="445"/>
                    <a:pt x="718" y="450"/>
                    <a:pt x="745" y="450"/>
                  </a:cubicBezTo>
                  <a:cubicBezTo>
                    <a:pt x="815" y="450"/>
                    <a:pt x="887" y="419"/>
                    <a:pt x="964" y="386"/>
                  </a:cubicBezTo>
                  <a:cubicBezTo>
                    <a:pt x="1037" y="347"/>
                    <a:pt x="1114" y="326"/>
                    <a:pt x="1195" y="319"/>
                  </a:cubicBezTo>
                  <a:cubicBezTo>
                    <a:pt x="1247" y="319"/>
                    <a:pt x="1300" y="337"/>
                    <a:pt x="1342" y="375"/>
                  </a:cubicBezTo>
                  <a:cubicBezTo>
                    <a:pt x="1410" y="436"/>
                    <a:pt x="1626" y="499"/>
                    <a:pt x="1821" y="499"/>
                  </a:cubicBezTo>
                  <a:cubicBezTo>
                    <a:pt x="1905" y="499"/>
                    <a:pt x="1986" y="488"/>
                    <a:pt x="2049" y="459"/>
                  </a:cubicBezTo>
                  <a:cubicBezTo>
                    <a:pt x="2112" y="435"/>
                    <a:pt x="2157" y="372"/>
                    <a:pt x="2154" y="302"/>
                  </a:cubicBezTo>
                  <a:cubicBezTo>
                    <a:pt x="2154" y="232"/>
                    <a:pt x="2108" y="172"/>
                    <a:pt x="2017" y="120"/>
                  </a:cubicBezTo>
                  <a:cubicBezTo>
                    <a:pt x="1871" y="36"/>
                    <a:pt x="1648" y="1"/>
                    <a:pt x="14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8" name="Google Shape;5978;p53"/>
            <p:cNvSpPr/>
            <p:nvPr/>
          </p:nvSpPr>
          <p:spPr>
            <a:xfrm>
              <a:off x="1259015" y="1268100"/>
              <a:ext cx="46978" cy="24073"/>
            </a:xfrm>
            <a:custGeom>
              <a:avLst/>
              <a:gdLst/>
              <a:ahLst/>
              <a:cxnLst/>
              <a:rect l="l" t="t" r="r" b="b"/>
              <a:pathLst>
                <a:path w="3460" h="1773" extrusionOk="0">
                  <a:moveTo>
                    <a:pt x="643" y="1"/>
                  </a:moveTo>
                  <a:cubicBezTo>
                    <a:pt x="408" y="1"/>
                    <a:pt x="193" y="23"/>
                    <a:pt x="84" y="64"/>
                  </a:cubicBezTo>
                  <a:cubicBezTo>
                    <a:pt x="42" y="78"/>
                    <a:pt x="11" y="120"/>
                    <a:pt x="11" y="166"/>
                  </a:cubicBezTo>
                  <a:cubicBezTo>
                    <a:pt x="0" y="289"/>
                    <a:pt x="98" y="457"/>
                    <a:pt x="214" y="527"/>
                  </a:cubicBezTo>
                  <a:cubicBezTo>
                    <a:pt x="241" y="546"/>
                    <a:pt x="272" y="556"/>
                    <a:pt x="304" y="556"/>
                  </a:cubicBezTo>
                  <a:cubicBezTo>
                    <a:pt x="333" y="556"/>
                    <a:pt x="363" y="547"/>
                    <a:pt x="389" y="530"/>
                  </a:cubicBezTo>
                  <a:cubicBezTo>
                    <a:pt x="463" y="481"/>
                    <a:pt x="551" y="459"/>
                    <a:pt x="642" y="459"/>
                  </a:cubicBezTo>
                  <a:cubicBezTo>
                    <a:pt x="803" y="459"/>
                    <a:pt x="974" y="527"/>
                    <a:pt x="1093" y="628"/>
                  </a:cubicBezTo>
                  <a:cubicBezTo>
                    <a:pt x="1212" y="730"/>
                    <a:pt x="1257" y="849"/>
                    <a:pt x="1215" y="950"/>
                  </a:cubicBezTo>
                  <a:cubicBezTo>
                    <a:pt x="1167" y="1058"/>
                    <a:pt x="1028" y="1084"/>
                    <a:pt x="861" y="1084"/>
                  </a:cubicBezTo>
                  <a:cubicBezTo>
                    <a:pt x="784" y="1084"/>
                    <a:pt x="702" y="1078"/>
                    <a:pt x="620" y="1073"/>
                  </a:cubicBezTo>
                  <a:cubicBezTo>
                    <a:pt x="570" y="1067"/>
                    <a:pt x="520" y="1064"/>
                    <a:pt x="470" y="1064"/>
                  </a:cubicBezTo>
                  <a:cubicBezTo>
                    <a:pt x="430" y="1064"/>
                    <a:pt x="390" y="1066"/>
                    <a:pt x="350" y="1069"/>
                  </a:cubicBezTo>
                  <a:cubicBezTo>
                    <a:pt x="399" y="1191"/>
                    <a:pt x="504" y="1253"/>
                    <a:pt x="667" y="1253"/>
                  </a:cubicBezTo>
                  <a:cubicBezTo>
                    <a:pt x="751" y="1253"/>
                    <a:pt x="851" y="1236"/>
                    <a:pt x="967" y="1202"/>
                  </a:cubicBezTo>
                  <a:cubicBezTo>
                    <a:pt x="1138" y="1150"/>
                    <a:pt x="1317" y="1122"/>
                    <a:pt x="1495" y="1122"/>
                  </a:cubicBezTo>
                  <a:cubicBezTo>
                    <a:pt x="1856" y="1122"/>
                    <a:pt x="2206" y="1248"/>
                    <a:pt x="2479" y="1482"/>
                  </a:cubicBezTo>
                  <a:cubicBezTo>
                    <a:pt x="2749" y="1699"/>
                    <a:pt x="2945" y="1773"/>
                    <a:pt x="3090" y="1773"/>
                  </a:cubicBezTo>
                  <a:cubicBezTo>
                    <a:pt x="3242" y="1773"/>
                    <a:pt x="3339" y="1692"/>
                    <a:pt x="3407" y="1612"/>
                  </a:cubicBezTo>
                  <a:cubicBezTo>
                    <a:pt x="3438" y="1580"/>
                    <a:pt x="3459" y="1542"/>
                    <a:pt x="3459" y="1496"/>
                  </a:cubicBezTo>
                  <a:cubicBezTo>
                    <a:pt x="3456" y="1447"/>
                    <a:pt x="3389" y="1398"/>
                    <a:pt x="3330" y="1349"/>
                  </a:cubicBezTo>
                  <a:cubicBezTo>
                    <a:pt x="3235" y="1276"/>
                    <a:pt x="3102" y="1174"/>
                    <a:pt x="3179" y="1020"/>
                  </a:cubicBezTo>
                  <a:cubicBezTo>
                    <a:pt x="3197" y="992"/>
                    <a:pt x="3197" y="957"/>
                    <a:pt x="3179" y="933"/>
                  </a:cubicBezTo>
                  <a:cubicBezTo>
                    <a:pt x="3109" y="817"/>
                    <a:pt x="2794" y="723"/>
                    <a:pt x="2584" y="723"/>
                  </a:cubicBezTo>
                  <a:cubicBezTo>
                    <a:pt x="2423" y="723"/>
                    <a:pt x="2321" y="593"/>
                    <a:pt x="2230" y="478"/>
                  </a:cubicBezTo>
                  <a:cubicBezTo>
                    <a:pt x="2151" y="378"/>
                    <a:pt x="2104" y="325"/>
                    <a:pt x="2057" y="325"/>
                  </a:cubicBezTo>
                  <a:cubicBezTo>
                    <a:pt x="2049" y="325"/>
                    <a:pt x="2040" y="327"/>
                    <a:pt x="2031" y="331"/>
                  </a:cubicBezTo>
                  <a:cubicBezTo>
                    <a:pt x="1985" y="352"/>
                    <a:pt x="1943" y="376"/>
                    <a:pt x="1901" y="397"/>
                  </a:cubicBezTo>
                  <a:cubicBezTo>
                    <a:pt x="1833" y="435"/>
                    <a:pt x="1770" y="470"/>
                    <a:pt x="1714" y="470"/>
                  </a:cubicBezTo>
                  <a:cubicBezTo>
                    <a:pt x="1692" y="470"/>
                    <a:pt x="1672" y="465"/>
                    <a:pt x="1653" y="453"/>
                  </a:cubicBezTo>
                  <a:cubicBezTo>
                    <a:pt x="1579" y="411"/>
                    <a:pt x="1572" y="313"/>
                    <a:pt x="1572" y="222"/>
                  </a:cubicBezTo>
                  <a:cubicBezTo>
                    <a:pt x="1572" y="197"/>
                    <a:pt x="1555" y="176"/>
                    <a:pt x="1520" y="152"/>
                  </a:cubicBezTo>
                  <a:cubicBezTo>
                    <a:pt x="1368" y="48"/>
                    <a:pt x="985" y="1"/>
                    <a:pt x="64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9" name="Google Shape;5979;p53"/>
            <p:cNvSpPr/>
            <p:nvPr/>
          </p:nvSpPr>
          <p:spPr>
            <a:xfrm>
              <a:off x="1256395" y="1294400"/>
              <a:ext cx="10332" cy="9328"/>
            </a:xfrm>
            <a:custGeom>
              <a:avLst/>
              <a:gdLst/>
              <a:ahLst/>
              <a:cxnLst/>
              <a:rect l="l" t="t" r="r" b="b"/>
              <a:pathLst>
                <a:path w="761" h="687" extrusionOk="0">
                  <a:moveTo>
                    <a:pt x="53" y="0"/>
                  </a:moveTo>
                  <a:cubicBezTo>
                    <a:pt x="43" y="0"/>
                    <a:pt x="32" y="7"/>
                    <a:pt x="29" y="39"/>
                  </a:cubicBezTo>
                  <a:cubicBezTo>
                    <a:pt x="1" y="249"/>
                    <a:pt x="267" y="554"/>
                    <a:pt x="505" y="655"/>
                  </a:cubicBezTo>
                  <a:cubicBezTo>
                    <a:pt x="540" y="670"/>
                    <a:pt x="589" y="687"/>
                    <a:pt x="636" y="687"/>
                  </a:cubicBezTo>
                  <a:cubicBezTo>
                    <a:pt x="674" y="687"/>
                    <a:pt x="711" y="676"/>
                    <a:pt x="736" y="645"/>
                  </a:cubicBezTo>
                  <a:cubicBezTo>
                    <a:pt x="760" y="617"/>
                    <a:pt x="746" y="550"/>
                    <a:pt x="697" y="473"/>
                  </a:cubicBezTo>
                  <a:cubicBezTo>
                    <a:pt x="554" y="242"/>
                    <a:pt x="211" y="0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0" name="Google Shape;5980;p53"/>
            <p:cNvSpPr/>
            <p:nvPr/>
          </p:nvSpPr>
          <p:spPr>
            <a:xfrm>
              <a:off x="1300753" y="1256369"/>
              <a:ext cx="8703" cy="4698"/>
            </a:xfrm>
            <a:custGeom>
              <a:avLst/>
              <a:gdLst/>
              <a:ahLst/>
              <a:cxnLst/>
              <a:rect l="l" t="t" r="r" b="b"/>
              <a:pathLst>
                <a:path w="641" h="346" extrusionOk="0">
                  <a:moveTo>
                    <a:pt x="0" y="1"/>
                  </a:moveTo>
                  <a:cubicBezTo>
                    <a:pt x="18" y="15"/>
                    <a:pt x="39" y="36"/>
                    <a:pt x="63" y="57"/>
                  </a:cubicBezTo>
                  <a:cubicBezTo>
                    <a:pt x="183" y="166"/>
                    <a:pt x="378" y="345"/>
                    <a:pt x="511" y="345"/>
                  </a:cubicBezTo>
                  <a:cubicBezTo>
                    <a:pt x="518" y="345"/>
                    <a:pt x="525" y="345"/>
                    <a:pt x="532" y="344"/>
                  </a:cubicBezTo>
                  <a:cubicBezTo>
                    <a:pt x="571" y="337"/>
                    <a:pt x="602" y="312"/>
                    <a:pt x="620" y="277"/>
                  </a:cubicBezTo>
                  <a:cubicBezTo>
                    <a:pt x="627" y="263"/>
                    <a:pt x="641" y="242"/>
                    <a:pt x="599" y="200"/>
                  </a:cubicBezTo>
                  <a:cubicBezTo>
                    <a:pt x="480" y="74"/>
                    <a:pt x="140" y="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1" name="Google Shape;5981;p53"/>
            <p:cNvSpPr/>
            <p:nvPr/>
          </p:nvSpPr>
          <p:spPr>
            <a:xfrm>
              <a:off x="1265858" y="1330814"/>
              <a:ext cx="6626" cy="4901"/>
            </a:xfrm>
            <a:custGeom>
              <a:avLst/>
              <a:gdLst/>
              <a:ahLst/>
              <a:cxnLst/>
              <a:rect l="l" t="t" r="r" b="b"/>
              <a:pathLst>
                <a:path w="488" h="361" extrusionOk="0">
                  <a:moveTo>
                    <a:pt x="175" y="0"/>
                  </a:moveTo>
                  <a:cubicBezTo>
                    <a:pt x="119" y="0"/>
                    <a:pt x="70" y="39"/>
                    <a:pt x="56" y="91"/>
                  </a:cubicBezTo>
                  <a:cubicBezTo>
                    <a:pt x="0" y="217"/>
                    <a:pt x="56" y="284"/>
                    <a:pt x="112" y="319"/>
                  </a:cubicBezTo>
                  <a:cubicBezTo>
                    <a:pt x="155" y="346"/>
                    <a:pt x="213" y="360"/>
                    <a:pt x="271" y="360"/>
                  </a:cubicBezTo>
                  <a:cubicBezTo>
                    <a:pt x="341" y="360"/>
                    <a:pt x="411" y="339"/>
                    <a:pt x="456" y="291"/>
                  </a:cubicBezTo>
                  <a:cubicBezTo>
                    <a:pt x="463" y="280"/>
                    <a:pt x="487" y="252"/>
                    <a:pt x="459" y="189"/>
                  </a:cubicBezTo>
                  <a:cubicBezTo>
                    <a:pt x="403" y="84"/>
                    <a:pt x="298" y="14"/>
                    <a:pt x="1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2" name="Google Shape;5982;p53"/>
            <p:cNvSpPr/>
            <p:nvPr/>
          </p:nvSpPr>
          <p:spPr>
            <a:xfrm>
              <a:off x="1266945" y="1309756"/>
              <a:ext cx="52260" cy="27454"/>
            </a:xfrm>
            <a:custGeom>
              <a:avLst/>
              <a:gdLst/>
              <a:ahLst/>
              <a:cxnLst/>
              <a:rect l="l" t="t" r="r" b="b"/>
              <a:pathLst>
                <a:path w="3849" h="2022" extrusionOk="0">
                  <a:moveTo>
                    <a:pt x="2006" y="0"/>
                  </a:moveTo>
                  <a:cubicBezTo>
                    <a:pt x="1991" y="0"/>
                    <a:pt x="1986" y="4"/>
                    <a:pt x="1986" y="4"/>
                  </a:cubicBezTo>
                  <a:cubicBezTo>
                    <a:pt x="1961" y="49"/>
                    <a:pt x="2094" y="322"/>
                    <a:pt x="2361" y="550"/>
                  </a:cubicBezTo>
                  <a:cubicBezTo>
                    <a:pt x="2424" y="602"/>
                    <a:pt x="2539" y="704"/>
                    <a:pt x="2476" y="784"/>
                  </a:cubicBezTo>
                  <a:cubicBezTo>
                    <a:pt x="2457" y="809"/>
                    <a:pt x="2425" y="820"/>
                    <a:pt x="2383" y="820"/>
                  </a:cubicBezTo>
                  <a:cubicBezTo>
                    <a:pt x="2183" y="820"/>
                    <a:pt x="1772" y="567"/>
                    <a:pt x="1650" y="483"/>
                  </a:cubicBezTo>
                  <a:cubicBezTo>
                    <a:pt x="1567" y="428"/>
                    <a:pt x="1496" y="398"/>
                    <a:pt x="1451" y="398"/>
                  </a:cubicBezTo>
                  <a:cubicBezTo>
                    <a:pt x="1433" y="398"/>
                    <a:pt x="1420" y="403"/>
                    <a:pt x="1412" y="413"/>
                  </a:cubicBezTo>
                  <a:cubicBezTo>
                    <a:pt x="1366" y="480"/>
                    <a:pt x="1422" y="683"/>
                    <a:pt x="1531" y="763"/>
                  </a:cubicBezTo>
                  <a:cubicBezTo>
                    <a:pt x="1615" y="826"/>
                    <a:pt x="1650" y="910"/>
                    <a:pt x="1632" y="987"/>
                  </a:cubicBezTo>
                  <a:cubicBezTo>
                    <a:pt x="1618" y="1050"/>
                    <a:pt x="1566" y="1099"/>
                    <a:pt x="1503" y="1110"/>
                  </a:cubicBezTo>
                  <a:cubicBezTo>
                    <a:pt x="1488" y="1113"/>
                    <a:pt x="1474" y="1114"/>
                    <a:pt x="1459" y="1114"/>
                  </a:cubicBezTo>
                  <a:cubicBezTo>
                    <a:pt x="1343" y="1114"/>
                    <a:pt x="1212" y="1031"/>
                    <a:pt x="1100" y="879"/>
                  </a:cubicBezTo>
                  <a:cubicBezTo>
                    <a:pt x="1034" y="791"/>
                    <a:pt x="974" y="704"/>
                    <a:pt x="922" y="620"/>
                  </a:cubicBezTo>
                  <a:cubicBezTo>
                    <a:pt x="729" y="329"/>
                    <a:pt x="575" y="98"/>
                    <a:pt x="250" y="81"/>
                  </a:cubicBezTo>
                  <a:cubicBezTo>
                    <a:pt x="242" y="80"/>
                    <a:pt x="235" y="80"/>
                    <a:pt x="228" y="80"/>
                  </a:cubicBezTo>
                  <a:cubicBezTo>
                    <a:pt x="139" y="80"/>
                    <a:pt x="80" y="102"/>
                    <a:pt x="57" y="147"/>
                  </a:cubicBezTo>
                  <a:cubicBezTo>
                    <a:pt x="1" y="249"/>
                    <a:pt x="102" y="487"/>
                    <a:pt x="232" y="655"/>
                  </a:cubicBezTo>
                  <a:cubicBezTo>
                    <a:pt x="414" y="889"/>
                    <a:pt x="593" y="984"/>
                    <a:pt x="845" y="1117"/>
                  </a:cubicBezTo>
                  <a:cubicBezTo>
                    <a:pt x="922" y="1155"/>
                    <a:pt x="999" y="1197"/>
                    <a:pt x="1086" y="1246"/>
                  </a:cubicBezTo>
                  <a:cubicBezTo>
                    <a:pt x="1178" y="1298"/>
                    <a:pt x="1287" y="1316"/>
                    <a:pt x="1403" y="1316"/>
                  </a:cubicBezTo>
                  <a:cubicBezTo>
                    <a:pt x="1557" y="1316"/>
                    <a:pt x="1723" y="1283"/>
                    <a:pt x="1877" y="1253"/>
                  </a:cubicBezTo>
                  <a:cubicBezTo>
                    <a:pt x="2003" y="1225"/>
                    <a:pt x="2133" y="1208"/>
                    <a:pt x="2259" y="1201"/>
                  </a:cubicBezTo>
                  <a:cubicBezTo>
                    <a:pt x="2301" y="1201"/>
                    <a:pt x="2340" y="1204"/>
                    <a:pt x="2382" y="1215"/>
                  </a:cubicBezTo>
                  <a:cubicBezTo>
                    <a:pt x="2434" y="1222"/>
                    <a:pt x="2480" y="1257"/>
                    <a:pt x="2504" y="1309"/>
                  </a:cubicBezTo>
                  <a:cubicBezTo>
                    <a:pt x="2536" y="1394"/>
                    <a:pt x="2473" y="1485"/>
                    <a:pt x="2399" y="1586"/>
                  </a:cubicBezTo>
                  <a:cubicBezTo>
                    <a:pt x="2297" y="1730"/>
                    <a:pt x="2231" y="1838"/>
                    <a:pt x="2294" y="1919"/>
                  </a:cubicBezTo>
                  <a:cubicBezTo>
                    <a:pt x="2359" y="1996"/>
                    <a:pt x="2477" y="2021"/>
                    <a:pt x="2620" y="2021"/>
                  </a:cubicBezTo>
                  <a:cubicBezTo>
                    <a:pt x="2747" y="2021"/>
                    <a:pt x="2893" y="2001"/>
                    <a:pt x="3036" y="1982"/>
                  </a:cubicBezTo>
                  <a:cubicBezTo>
                    <a:pt x="3152" y="1964"/>
                    <a:pt x="3271" y="1947"/>
                    <a:pt x="3379" y="1940"/>
                  </a:cubicBezTo>
                  <a:cubicBezTo>
                    <a:pt x="3582" y="1929"/>
                    <a:pt x="3600" y="1873"/>
                    <a:pt x="3631" y="1772"/>
                  </a:cubicBezTo>
                  <a:cubicBezTo>
                    <a:pt x="3659" y="1667"/>
                    <a:pt x="3722" y="1579"/>
                    <a:pt x="3806" y="1516"/>
                  </a:cubicBezTo>
                  <a:cubicBezTo>
                    <a:pt x="3824" y="1506"/>
                    <a:pt x="3834" y="1495"/>
                    <a:pt x="3848" y="1485"/>
                  </a:cubicBezTo>
                  <a:cubicBezTo>
                    <a:pt x="3838" y="1471"/>
                    <a:pt x="3824" y="1460"/>
                    <a:pt x="3813" y="1446"/>
                  </a:cubicBezTo>
                  <a:cubicBezTo>
                    <a:pt x="3743" y="1380"/>
                    <a:pt x="3610" y="1253"/>
                    <a:pt x="3736" y="984"/>
                  </a:cubicBezTo>
                  <a:cubicBezTo>
                    <a:pt x="3820" y="809"/>
                    <a:pt x="3670" y="581"/>
                    <a:pt x="3600" y="494"/>
                  </a:cubicBezTo>
                  <a:cubicBezTo>
                    <a:pt x="3456" y="312"/>
                    <a:pt x="3288" y="207"/>
                    <a:pt x="3232" y="200"/>
                  </a:cubicBezTo>
                  <a:cubicBezTo>
                    <a:pt x="3225" y="249"/>
                    <a:pt x="3197" y="294"/>
                    <a:pt x="3155" y="319"/>
                  </a:cubicBezTo>
                  <a:cubicBezTo>
                    <a:pt x="3124" y="337"/>
                    <a:pt x="3086" y="346"/>
                    <a:pt x="3040" y="346"/>
                  </a:cubicBezTo>
                  <a:cubicBezTo>
                    <a:pt x="2895" y="346"/>
                    <a:pt x="2677" y="261"/>
                    <a:pt x="2371" y="133"/>
                  </a:cubicBezTo>
                  <a:cubicBezTo>
                    <a:pt x="2290" y="98"/>
                    <a:pt x="2203" y="60"/>
                    <a:pt x="2122" y="32"/>
                  </a:cubicBezTo>
                  <a:cubicBezTo>
                    <a:pt x="2061" y="6"/>
                    <a:pt x="2025" y="0"/>
                    <a:pt x="20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3" name="Google Shape;5983;p53"/>
            <p:cNvSpPr/>
            <p:nvPr/>
          </p:nvSpPr>
          <p:spPr>
            <a:xfrm>
              <a:off x="1309917" y="1312268"/>
              <a:ext cx="923" cy="109"/>
            </a:xfrm>
            <a:custGeom>
              <a:avLst/>
              <a:gdLst/>
              <a:ahLst/>
              <a:cxnLst/>
              <a:rect l="l" t="t" r="r" b="b"/>
              <a:pathLst>
                <a:path w="68" h="8" extrusionOk="0">
                  <a:moveTo>
                    <a:pt x="1" y="1"/>
                  </a:moveTo>
                  <a:lnTo>
                    <a:pt x="64" y="8"/>
                  </a:lnTo>
                  <a:cubicBezTo>
                    <a:pt x="64" y="8"/>
                    <a:pt x="64" y="4"/>
                    <a:pt x="67" y="4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4" name="Google Shape;5984;p53"/>
            <p:cNvSpPr/>
            <p:nvPr/>
          </p:nvSpPr>
          <p:spPr>
            <a:xfrm>
              <a:off x="1314344" y="1277224"/>
              <a:ext cx="23109" cy="14718"/>
            </a:xfrm>
            <a:custGeom>
              <a:avLst/>
              <a:gdLst/>
              <a:ahLst/>
              <a:cxnLst/>
              <a:rect l="l" t="t" r="r" b="b"/>
              <a:pathLst>
                <a:path w="1702" h="1084" extrusionOk="0">
                  <a:moveTo>
                    <a:pt x="82" y="1"/>
                  </a:moveTo>
                  <a:cubicBezTo>
                    <a:pt x="68" y="1"/>
                    <a:pt x="54" y="8"/>
                    <a:pt x="42" y="19"/>
                  </a:cubicBezTo>
                  <a:cubicBezTo>
                    <a:pt x="0" y="82"/>
                    <a:pt x="42" y="310"/>
                    <a:pt x="186" y="579"/>
                  </a:cubicBezTo>
                  <a:cubicBezTo>
                    <a:pt x="347" y="877"/>
                    <a:pt x="553" y="1083"/>
                    <a:pt x="693" y="1083"/>
                  </a:cubicBezTo>
                  <a:cubicBezTo>
                    <a:pt x="711" y="1084"/>
                    <a:pt x="729" y="1084"/>
                    <a:pt x="747" y="1084"/>
                  </a:cubicBezTo>
                  <a:cubicBezTo>
                    <a:pt x="1051" y="1084"/>
                    <a:pt x="1354" y="1028"/>
                    <a:pt x="1639" y="919"/>
                  </a:cubicBezTo>
                  <a:cubicBezTo>
                    <a:pt x="1656" y="912"/>
                    <a:pt x="1674" y="905"/>
                    <a:pt x="1691" y="898"/>
                  </a:cubicBezTo>
                  <a:lnTo>
                    <a:pt x="1684" y="891"/>
                  </a:lnTo>
                  <a:cubicBezTo>
                    <a:pt x="1628" y="838"/>
                    <a:pt x="1509" y="726"/>
                    <a:pt x="1660" y="530"/>
                  </a:cubicBezTo>
                  <a:cubicBezTo>
                    <a:pt x="1702" y="471"/>
                    <a:pt x="1681" y="453"/>
                    <a:pt x="1670" y="443"/>
                  </a:cubicBezTo>
                  <a:cubicBezTo>
                    <a:pt x="1615" y="385"/>
                    <a:pt x="1469" y="364"/>
                    <a:pt x="1350" y="364"/>
                  </a:cubicBezTo>
                  <a:cubicBezTo>
                    <a:pt x="1273" y="364"/>
                    <a:pt x="1207" y="373"/>
                    <a:pt x="1184" y="387"/>
                  </a:cubicBezTo>
                  <a:cubicBezTo>
                    <a:pt x="1173" y="401"/>
                    <a:pt x="1159" y="411"/>
                    <a:pt x="1138" y="418"/>
                  </a:cubicBezTo>
                  <a:cubicBezTo>
                    <a:pt x="1128" y="422"/>
                    <a:pt x="1118" y="423"/>
                    <a:pt x="1106" y="423"/>
                  </a:cubicBezTo>
                  <a:cubicBezTo>
                    <a:pt x="1045" y="423"/>
                    <a:pt x="946" y="376"/>
                    <a:pt x="728" y="264"/>
                  </a:cubicBezTo>
                  <a:cubicBezTo>
                    <a:pt x="581" y="187"/>
                    <a:pt x="228" y="2"/>
                    <a:pt x="91" y="2"/>
                  </a:cubicBezTo>
                  <a:cubicBezTo>
                    <a:pt x="88" y="1"/>
                    <a:pt x="85" y="1"/>
                    <a:pt x="8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5" name="Google Shape;5985;p53"/>
            <p:cNvSpPr/>
            <p:nvPr/>
          </p:nvSpPr>
          <p:spPr>
            <a:xfrm>
              <a:off x="1329265" y="1294739"/>
              <a:ext cx="19973" cy="4548"/>
            </a:xfrm>
            <a:custGeom>
              <a:avLst/>
              <a:gdLst/>
              <a:ahLst/>
              <a:cxnLst/>
              <a:rect l="l" t="t" r="r" b="b"/>
              <a:pathLst>
                <a:path w="1471" h="335" extrusionOk="0">
                  <a:moveTo>
                    <a:pt x="1308" y="1"/>
                  </a:moveTo>
                  <a:cubicBezTo>
                    <a:pt x="1170" y="1"/>
                    <a:pt x="971" y="13"/>
                    <a:pt x="729" y="45"/>
                  </a:cubicBezTo>
                  <a:cubicBezTo>
                    <a:pt x="305" y="101"/>
                    <a:pt x="60" y="178"/>
                    <a:pt x="1" y="224"/>
                  </a:cubicBezTo>
                  <a:cubicBezTo>
                    <a:pt x="104" y="298"/>
                    <a:pt x="253" y="335"/>
                    <a:pt x="432" y="335"/>
                  </a:cubicBezTo>
                  <a:cubicBezTo>
                    <a:pt x="568" y="335"/>
                    <a:pt x="721" y="313"/>
                    <a:pt x="886" y="269"/>
                  </a:cubicBezTo>
                  <a:cubicBezTo>
                    <a:pt x="1177" y="192"/>
                    <a:pt x="1397" y="77"/>
                    <a:pt x="1471" y="10"/>
                  </a:cubicBezTo>
                  <a:cubicBezTo>
                    <a:pt x="1436" y="4"/>
                    <a:pt x="1380" y="1"/>
                    <a:pt x="1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6" name="Google Shape;5986;p53"/>
            <p:cNvSpPr/>
            <p:nvPr/>
          </p:nvSpPr>
          <p:spPr>
            <a:xfrm>
              <a:off x="1324934" y="1329592"/>
              <a:ext cx="24684" cy="12138"/>
            </a:xfrm>
            <a:custGeom>
              <a:avLst/>
              <a:gdLst/>
              <a:ahLst/>
              <a:cxnLst/>
              <a:rect l="l" t="t" r="r" b="b"/>
              <a:pathLst>
                <a:path w="1818" h="894" extrusionOk="0">
                  <a:moveTo>
                    <a:pt x="1010" y="1"/>
                  </a:moveTo>
                  <a:cubicBezTo>
                    <a:pt x="808" y="1"/>
                    <a:pt x="576" y="84"/>
                    <a:pt x="386" y="188"/>
                  </a:cubicBezTo>
                  <a:cubicBezTo>
                    <a:pt x="134" y="328"/>
                    <a:pt x="4" y="472"/>
                    <a:pt x="1" y="517"/>
                  </a:cubicBezTo>
                  <a:cubicBezTo>
                    <a:pt x="196" y="665"/>
                    <a:pt x="1095" y="893"/>
                    <a:pt x="1549" y="893"/>
                  </a:cubicBezTo>
                  <a:cubicBezTo>
                    <a:pt x="1568" y="893"/>
                    <a:pt x="1587" y="893"/>
                    <a:pt x="1604" y="892"/>
                  </a:cubicBezTo>
                  <a:cubicBezTo>
                    <a:pt x="1699" y="885"/>
                    <a:pt x="1758" y="853"/>
                    <a:pt x="1772" y="797"/>
                  </a:cubicBezTo>
                  <a:cubicBezTo>
                    <a:pt x="1818" y="657"/>
                    <a:pt x="1650" y="346"/>
                    <a:pt x="1303" y="87"/>
                  </a:cubicBezTo>
                  <a:cubicBezTo>
                    <a:pt x="1223" y="26"/>
                    <a:pt x="1121" y="1"/>
                    <a:pt x="101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7" name="Google Shape;5987;p53"/>
            <p:cNvSpPr/>
            <p:nvPr/>
          </p:nvSpPr>
          <p:spPr>
            <a:xfrm>
              <a:off x="1281500" y="1350040"/>
              <a:ext cx="45593" cy="39266"/>
            </a:xfrm>
            <a:custGeom>
              <a:avLst/>
              <a:gdLst/>
              <a:ahLst/>
              <a:cxnLst/>
              <a:rect l="l" t="t" r="r" b="b"/>
              <a:pathLst>
                <a:path w="3358" h="2892" extrusionOk="0">
                  <a:moveTo>
                    <a:pt x="2471" y="1"/>
                  </a:moveTo>
                  <a:cubicBezTo>
                    <a:pt x="2395" y="1"/>
                    <a:pt x="2319" y="10"/>
                    <a:pt x="2244" y="30"/>
                  </a:cubicBezTo>
                  <a:cubicBezTo>
                    <a:pt x="2136" y="47"/>
                    <a:pt x="2031" y="82"/>
                    <a:pt x="1936" y="135"/>
                  </a:cubicBezTo>
                  <a:lnTo>
                    <a:pt x="1947" y="142"/>
                  </a:lnTo>
                  <a:cubicBezTo>
                    <a:pt x="2073" y="191"/>
                    <a:pt x="2139" y="254"/>
                    <a:pt x="2146" y="327"/>
                  </a:cubicBezTo>
                  <a:cubicBezTo>
                    <a:pt x="2146" y="376"/>
                    <a:pt x="2118" y="425"/>
                    <a:pt x="2073" y="447"/>
                  </a:cubicBezTo>
                  <a:cubicBezTo>
                    <a:pt x="2035" y="468"/>
                    <a:pt x="1985" y="480"/>
                    <a:pt x="1927" y="480"/>
                  </a:cubicBezTo>
                  <a:cubicBezTo>
                    <a:pt x="1823" y="480"/>
                    <a:pt x="1694" y="442"/>
                    <a:pt x="1569" y="352"/>
                  </a:cubicBezTo>
                  <a:cubicBezTo>
                    <a:pt x="1507" y="307"/>
                    <a:pt x="1421" y="289"/>
                    <a:pt x="1326" y="289"/>
                  </a:cubicBezTo>
                  <a:cubicBezTo>
                    <a:pt x="1084" y="289"/>
                    <a:pt x="784" y="409"/>
                    <a:pt x="686" y="538"/>
                  </a:cubicBezTo>
                  <a:cubicBezTo>
                    <a:pt x="641" y="597"/>
                    <a:pt x="648" y="639"/>
                    <a:pt x="704" y="685"/>
                  </a:cubicBezTo>
                  <a:cubicBezTo>
                    <a:pt x="784" y="751"/>
                    <a:pt x="942" y="751"/>
                    <a:pt x="1085" y="751"/>
                  </a:cubicBezTo>
                  <a:cubicBezTo>
                    <a:pt x="1257" y="751"/>
                    <a:pt x="1404" y="755"/>
                    <a:pt x="1457" y="863"/>
                  </a:cubicBezTo>
                  <a:cubicBezTo>
                    <a:pt x="1502" y="951"/>
                    <a:pt x="1460" y="1070"/>
                    <a:pt x="1320" y="1259"/>
                  </a:cubicBezTo>
                  <a:cubicBezTo>
                    <a:pt x="1201" y="1423"/>
                    <a:pt x="1085" y="1511"/>
                    <a:pt x="966" y="1528"/>
                  </a:cubicBezTo>
                  <a:cubicBezTo>
                    <a:pt x="953" y="1530"/>
                    <a:pt x="939" y="1531"/>
                    <a:pt x="926" y="1531"/>
                  </a:cubicBezTo>
                  <a:cubicBezTo>
                    <a:pt x="790" y="1531"/>
                    <a:pt x="679" y="1439"/>
                    <a:pt x="571" y="1353"/>
                  </a:cubicBezTo>
                  <a:cubicBezTo>
                    <a:pt x="462" y="1266"/>
                    <a:pt x="355" y="1181"/>
                    <a:pt x="234" y="1181"/>
                  </a:cubicBezTo>
                  <a:cubicBezTo>
                    <a:pt x="219" y="1181"/>
                    <a:pt x="204" y="1183"/>
                    <a:pt x="189" y="1185"/>
                  </a:cubicBezTo>
                  <a:cubicBezTo>
                    <a:pt x="109" y="1199"/>
                    <a:pt x="14" y="1234"/>
                    <a:pt x="7" y="1336"/>
                  </a:cubicBezTo>
                  <a:cubicBezTo>
                    <a:pt x="0" y="1476"/>
                    <a:pt x="179" y="1731"/>
                    <a:pt x="609" y="1861"/>
                  </a:cubicBezTo>
                  <a:cubicBezTo>
                    <a:pt x="1012" y="1980"/>
                    <a:pt x="1159" y="2169"/>
                    <a:pt x="1310" y="2365"/>
                  </a:cubicBezTo>
                  <a:cubicBezTo>
                    <a:pt x="1429" y="2533"/>
                    <a:pt x="1576" y="2677"/>
                    <a:pt x="1740" y="2792"/>
                  </a:cubicBezTo>
                  <a:cubicBezTo>
                    <a:pt x="1844" y="2862"/>
                    <a:pt x="1911" y="2891"/>
                    <a:pt x="1964" y="2891"/>
                  </a:cubicBezTo>
                  <a:cubicBezTo>
                    <a:pt x="2032" y="2891"/>
                    <a:pt x="2074" y="2842"/>
                    <a:pt x="2136" y="2771"/>
                  </a:cubicBezTo>
                  <a:cubicBezTo>
                    <a:pt x="2231" y="2659"/>
                    <a:pt x="2355" y="2511"/>
                    <a:pt x="2648" y="2511"/>
                  </a:cubicBezTo>
                  <a:cubicBezTo>
                    <a:pt x="2658" y="2511"/>
                    <a:pt x="2668" y="2512"/>
                    <a:pt x="2678" y="2512"/>
                  </a:cubicBezTo>
                  <a:lnTo>
                    <a:pt x="2696" y="2512"/>
                  </a:lnTo>
                  <a:cubicBezTo>
                    <a:pt x="3112" y="2512"/>
                    <a:pt x="3214" y="1931"/>
                    <a:pt x="3284" y="1504"/>
                  </a:cubicBezTo>
                  <a:cubicBezTo>
                    <a:pt x="3305" y="1395"/>
                    <a:pt x="3319" y="1301"/>
                    <a:pt x="3340" y="1227"/>
                  </a:cubicBezTo>
                  <a:cubicBezTo>
                    <a:pt x="3358" y="1154"/>
                    <a:pt x="3344" y="1091"/>
                    <a:pt x="3291" y="1059"/>
                  </a:cubicBezTo>
                  <a:cubicBezTo>
                    <a:pt x="3264" y="1044"/>
                    <a:pt x="3234" y="1036"/>
                    <a:pt x="3205" y="1036"/>
                  </a:cubicBezTo>
                  <a:cubicBezTo>
                    <a:pt x="3174" y="1036"/>
                    <a:pt x="3143" y="1045"/>
                    <a:pt x="3116" y="1063"/>
                  </a:cubicBezTo>
                  <a:cubicBezTo>
                    <a:pt x="3112" y="1070"/>
                    <a:pt x="3091" y="1087"/>
                    <a:pt x="3119" y="1140"/>
                  </a:cubicBezTo>
                  <a:cubicBezTo>
                    <a:pt x="3207" y="1304"/>
                    <a:pt x="3200" y="1479"/>
                    <a:pt x="3140" y="1556"/>
                  </a:cubicBezTo>
                  <a:cubicBezTo>
                    <a:pt x="3124" y="1582"/>
                    <a:pt x="3093" y="1598"/>
                    <a:pt x="3062" y="1598"/>
                  </a:cubicBezTo>
                  <a:cubicBezTo>
                    <a:pt x="3054" y="1598"/>
                    <a:pt x="3047" y="1597"/>
                    <a:pt x="3039" y="1595"/>
                  </a:cubicBezTo>
                  <a:cubicBezTo>
                    <a:pt x="2979" y="1581"/>
                    <a:pt x="2944" y="1518"/>
                    <a:pt x="2927" y="1399"/>
                  </a:cubicBezTo>
                  <a:cubicBezTo>
                    <a:pt x="2912" y="1317"/>
                    <a:pt x="2871" y="1296"/>
                    <a:pt x="2741" y="1296"/>
                  </a:cubicBezTo>
                  <a:cubicBezTo>
                    <a:pt x="2720" y="1296"/>
                    <a:pt x="2697" y="1296"/>
                    <a:pt x="2671" y="1297"/>
                  </a:cubicBezTo>
                  <a:cubicBezTo>
                    <a:pt x="2650" y="1298"/>
                    <a:pt x="2627" y="1298"/>
                    <a:pt x="2604" y="1298"/>
                  </a:cubicBezTo>
                  <a:cubicBezTo>
                    <a:pt x="2479" y="1298"/>
                    <a:pt x="2341" y="1282"/>
                    <a:pt x="2258" y="1161"/>
                  </a:cubicBezTo>
                  <a:cubicBezTo>
                    <a:pt x="2223" y="1119"/>
                    <a:pt x="2213" y="1063"/>
                    <a:pt x="2227" y="1014"/>
                  </a:cubicBezTo>
                  <a:cubicBezTo>
                    <a:pt x="2255" y="909"/>
                    <a:pt x="2384" y="853"/>
                    <a:pt x="2545" y="786"/>
                  </a:cubicBezTo>
                  <a:cubicBezTo>
                    <a:pt x="2706" y="716"/>
                    <a:pt x="2888" y="639"/>
                    <a:pt x="2958" y="510"/>
                  </a:cubicBezTo>
                  <a:cubicBezTo>
                    <a:pt x="2983" y="464"/>
                    <a:pt x="2976" y="443"/>
                    <a:pt x="2972" y="436"/>
                  </a:cubicBezTo>
                  <a:cubicBezTo>
                    <a:pt x="2955" y="383"/>
                    <a:pt x="2853" y="345"/>
                    <a:pt x="2773" y="310"/>
                  </a:cubicBezTo>
                  <a:cubicBezTo>
                    <a:pt x="2668" y="268"/>
                    <a:pt x="2566" y="226"/>
                    <a:pt x="2542" y="138"/>
                  </a:cubicBezTo>
                  <a:cubicBezTo>
                    <a:pt x="2528" y="93"/>
                    <a:pt x="2538" y="44"/>
                    <a:pt x="2566" y="5"/>
                  </a:cubicBezTo>
                  <a:cubicBezTo>
                    <a:pt x="2535" y="2"/>
                    <a:pt x="2503" y="1"/>
                    <a:pt x="24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8" name="Google Shape;5988;p53"/>
            <p:cNvSpPr/>
            <p:nvPr/>
          </p:nvSpPr>
          <p:spPr>
            <a:xfrm>
              <a:off x="1325029" y="1306674"/>
              <a:ext cx="126216" cy="36999"/>
            </a:xfrm>
            <a:custGeom>
              <a:avLst/>
              <a:gdLst/>
              <a:ahLst/>
              <a:cxnLst/>
              <a:rect l="l" t="t" r="r" b="b"/>
              <a:pathLst>
                <a:path w="9296" h="2725" extrusionOk="0">
                  <a:moveTo>
                    <a:pt x="643" y="0"/>
                  </a:moveTo>
                  <a:cubicBezTo>
                    <a:pt x="357" y="0"/>
                    <a:pt x="92" y="44"/>
                    <a:pt x="22" y="129"/>
                  </a:cubicBezTo>
                  <a:cubicBezTo>
                    <a:pt x="15" y="140"/>
                    <a:pt x="1" y="157"/>
                    <a:pt x="32" y="203"/>
                  </a:cubicBezTo>
                  <a:cubicBezTo>
                    <a:pt x="156" y="381"/>
                    <a:pt x="1100" y="749"/>
                    <a:pt x="1505" y="749"/>
                  </a:cubicBezTo>
                  <a:cubicBezTo>
                    <a:pt x="1513" y="749"/>
                    <a:pt x="1520" y="749"/>
                    <a:pt x="1527" y="749"/>
                  </a:cubicBezTo>
                  <a:cubicBezTo>
                    <a:pt x="1601" y="745"/>
                    <a:pt x="1636" y="731"/>
                    <a:pt x="1643" y="717"/>
                  </a:cubicBezTo>
                  <a:cubicBezTo>
                    <a:pt x="1671" y="665"/>
                    <a:pt x="1723" y="630"/>
                    <a:pt x="1786" y="623"/>
                  </a:cubicBezTo>
                  <a:cubicBezTo>
                    <a:pt x="1790" y="623"/>
                    <a:pt x="1794" y="622"/>
                    <a:pt x="1798" y="622"/>
                  </a:cubicBezTo>
                  <a:cubicBezTo>
                    <a:pt x="1959" y="622"/>
                    <a:pt x="2142" y="840"/>
                    <a:pt x="2382" y="1144"/>
                  </a:cubicBezTo>
                  <a:cubicBezTo>
                    <a:pt x="2417" y="1186"/>
                    <a:pt x="2448" y="1232"/>
                    <a:pt x="2480" y="1267"/>
                  </a:cubicBezTo>
                  <a:cubicBezTo>
                    <a:pt x="2609" y="1428"/>
                    <a:pt x="2567" y="1547"/>
                    <a:pt x="2522" y="1666"/>
                  </a:cubicBezTo>
                  <a:cubicBezTo>
                    <a:pt x="2455" y="1817"/>
                    <a:pt x="2455" y="1985"/>
                    <a:pt x="2515" y="2135"/>
                  </a:cubicBezTo>
                  <a:lnTo>
                    <a:pt x="2515" y="2139"/>
                  </a:lnTo>
                  <a:cubicBezTo>
                    <a:pt x="2588" y="2343"/>
                    <a:pt x="2648" y="2372"/>
                    <a:pt x="2735" y="2372"/>
                  </a:cubicBezTo>
                  <a:cubicBezTo>
                    <a:pt x="2753" y="2372"/>
                    <a:pt x="2771" y="2371"/>
                    <a:pt x="2791" y="2370"/>
                  </a:cubicBezTo>
                  <a:cubicBezTo>
                    <a:pt x="2815" y="2368"/>
                    <a:pt x="2842" y="2366"/>
                    <a:pt x="2869" y="2366"/>
                  </a:cubicBezTo>
                  <a:cubicBezTo>
                    <a:pt x="2944" y="2366"/>
                    <a:pt x="3030" y="2380"/>
                    <a:pt x="3120" y="2447"/>
                  </a:cubicBezTo>
                  <a:cubicBezTo>
                    <a:pt x="3288" y="2567"/>
                    <a:pt x="3505" y="2650"/>
                    <a:pt x="3686" y="2650"/>
                  </a:cubicBezTo>
                  <a:cubicBezTo>
                    <a:pt x="3784" y="2650"/>
                    <a:pt x="3872" y="2626"/>
                    <a:pt x="3936" y="2569"/>
                  </a:cubicBezTo>
                  <a:cubicBezTo>
                    <a:pt x="3978" y="2534"/>
                    <a:pt x="4013" y="2503"/>
                    <a:pt x="4044" y="2471"/>
                  </a:cubicBezTo>
                  <a:cubicBezTo>
                    <a:pt x="4146" y="2377"/>
                    <a:pt x="4216" y="2310"/>
                    <a:pt x="4290" y="2310"/>
                  </a:cubicBezTo>
                  <a:lnTo>
                    <a:pt x="4314" y="2310"/>
                  </a:lnTo>
                  <a:cubicBezTo>
                    <a:pt x="4370" y="2328"/>
                    <a:pt x="4412" y="2370"/>
                    <a:pt x="4430" y="2422"/>
                  </a:cubicBezTo>
                  <a:cubicBezTo>
                    <a:pt x="4535" y="2671"/>
                    <a:pt x="5165" y="2702"/>
                    <a:pt x="6190" y="2723"/>
                  </a:cubicBezTo>
                  <a:cubicBezTo>
                    <a:pt x="6218" y="2724"/>
                    <a:pt x="6245" y="2724"/>
                    <a:pt x="6270" y="2724"/>
                  </a:cubicBezTo>
                  <a:cubicBezTo>
                    <a:pt x="6872" y="2724"/>
                    <a:pt x="7024" y="2572"/>
                    <a:pt x="7115" y="2478"/>
                  </a:cubicBezTo>
                  <a:cubicBezTo>
                    <a:pt x="7166" y="2427"/>
                    <a:pt x="7211" y="2388"/>
                    <a:pt x="7277" y="2388"/>
                  </a:cubicBezTo>
                  <a:cubicBezTo>
                    <a:pt x="7319" y="2388"/>
                    <a:pt x="7368" y="2403"/>
                    <a:pt x="7433" y="2440"/>
                  </a:cubicBezTo>
                  <a:cubicBezTo>
                    <a:pt x="7627" y="2551"/>
                    <a:pt x="8001" y="2599"/>
                    <a:pt x="8339" y="2599"/>
                  </a:cubicBezTo>
                  <a:cubicBezTo>
                    <a:pt x="8531" y="2599"/>
                    <a:pt x="8712" y="2583"/>
                    <a:pt x="8841" y="2555"/>
                  </a:cubicBezTo>
                  <a:cubicBezTo>
                    <a:pt x="9131" y="2492"/>
                    <a:pt x="9296" y="2002"/>
                    <a:pt x="9275" y="1757"/>
                  </a:cubicBezTo>
                  <a:cubicBezTo>
                    <a:pt x="9229" y="1687"/>
                    <a:pt x="8764" y="1561"/>
                    <a:pt x="7902" y="1498"/>
                  </a:cubicBezTo>
                  <a:cubicBezTo>
                    <a:pt x="7656" y="1480"/>
                    <a:pt x="7422" y="1472"/>
                    <a:pt x="7212" y="1472"/>
                  </a:cubicBezTo>
                  <a:cubicBezTo>
                    <a:pt x="6761" y="1472"/>
                    <a:pt x="6419" y="1511"/>
                    <a:pt x="6292" y="1586"/>
                  </a:cubicBezTo>
                  <a:cubicBezTo>
                    <a:pt x="6154" y="1665"/>
                    <a:pt x="5995" y="1691"/>
                    <a:pt x="5831" y="1691"/>
                  </a:cubicBezTo>
                  <a:cubicBezTo>
                    <a:pt x="5678" y="1691"/>
                    <a:pt x="5522" y="1669"/>
                    <a:pt x="5375" y="1649"/>
                  </a:cubicBezTo>
                  <a:cubicBezTo>
                    <a:pt x="5236" y="1629"/>
                    <a:pt x="5103" y="1610"/>
                    <a:pt x="4986" y="1610"/>
                  </a:cubicBezTo>
                  <a:cubicBezTo>
                    <a:pt x="4890" y="1610"/>
                    <a:pt x="4805" y="1623"/>
                    <a:pt x="4738" y="1659"/>
                  </a:cubicBezTo>
                  <a:cubicBezTo>
                    <a:pt x="4661" y="1701"/>
                    <a:pt x="4600" y="1718"/>
                    <a:pt x="4548" y="1718"/>
                  </a:cubicBezTo>
                  <a:cubicBezTo>
                    <a:pt x="4454" y="1718"/>
                    <a:pt x="4393" y="1662"/>
                    <a:pt x="4332" y="1603"/>
                  </a:cubicBezTo>
                  <a:cubicBezTo>
                    <a:pt x="4233" y="1515"/>
                    <a:pt x="4118" y="1414"/>
                    <a:pt x="3806" y="1400"/>
                  </a:cubicBezTo>
                  <a:cubicBezTo>
                    <a:pt x="3600" y="1393"/>
                    <a:pt x="3502" y="1354"/>
                    <a:pt x="3474" y="1270"/>
                  </a:cubicBezTo>
                  <a:cubicBezTo>
                    <a:pt x="3439" y="1148"/>
                    <a:pt x="3600" y="1032"/>
                    <a:pt x="3768" y="910"/>
                  </a:cubicBezTo>
                  <a:cubicBezTo>
                    <a:pt x="3820" y="875"/>
                    <a:pt x="3869" y="836"/>
                    <a:pt x="3918" y="794"/>
                  </a:cubicBezTo>
                  <a:cubicBezTo>
                    <a:pt x="3826" y="680"/>
                    <a:pt x="3133" y="437"/>
                    <a:pt x="2700" y="437"/>
                  </a:cubicBezTo>
                  <a:cubicBezTo>
                    <a:pt x="2641" y="437"/>
                    <a:pt x="2586" y="441"/>
                    <a:pt x="2539" y="451"/>
                  </a:cubicBezTo>
                  <a:cubicBezTo>
                    <a:pt x="2461" y="468"/>
                    <a:pt x="2388" y="476"/>
                    <a:pt x="2319" y="476"/>
                  </a:cubicBezTo>
                  <a:cubicBezTo>
                    <a:pt x="2056" y="476"/>
                    <a:pt x="1848" y="367"/>
                    <a:pt x="1615" y="248"/>
                  </a:cubicBezTo>
                  <a:cubicBezTo>
                    <a:pt x="1527" y="199"/>
                    <a:pt x="1436" y="154"/>
                    <a:pt x="1335" y="108"/>
                  </a:cubicBezTo>
                  <a:cubicBezTo>
                    <a:pt x="1171" y="35"/>
                    <a:pt x="899" y="0"/>
                    <a:pt x="64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9" name="Google Shape;5989;p53"/>
            <p:cNvSpPr/>
            <p:nvPr/>
          </p:nvSpPr>
          <p:spPr>
            <a:xfrm>
              <a:off x="1366386" y="1297251"/>
              <a:ext cx="10237" cy="5092"/>
            </a:xfrm>
            <a:custGeom>
              <a:avLst/>
              <a:gdLst/>
              <a:ahLst/>
              <a:cxnLst/>
              <a:rect l="l" t="t" r="r" b="b"/>
              <a:pathLst>
                <a:path w="754" h="375" extrusionOk="0">
                  <a:moveTo>
                    <a:pt x="415" y="0"/>
                  </a:moveTo>
                  <a:cubicBezTo>
                    <a:pt x="409" y="0"/>
                    <a:pt x="402" y="0"/>
                    <a:pt x="396" y="0"/>
                  </a:cubicBezTo>
                  <a:cubicBezTo>
                    <a:pt x="391" y="0"/>
                    <a:pt x="386" y="0"/>
                    <a:pt x="380" y="0"/>
                  </a:cubicBezTo>
                  <a:cubicBezTo>
                    <a:pt x="281" y="0"/>
                    <a:pt x="185" y="31"/>
                    <a:pt x="102" y="88"/>
                  </a:cubicBezTo>
                  <a:cubicBezTo>
                    <a:pt x="36" y="133"/>
                    <a:pt x="1" y="190"/>
                    <a:pt x="8" y="235"/>
                  </a:cubicBezTo>
                  <a:cubicBezTo>
                    <a:pt x="11" y="277"/>
                    <a:pt x="57" y="312"/>
                    <a:pt x="134" y="344"/>
                  </a:cubicBezTo>
                  <a:cubicBezTo>
                    <a:pt x="191" y="365"/>
                    <a:pt x="253" y="374"/>
                    <a:pt x="314" y="374"/>
                  </a:cubicBezTo>
                  <a:cubicBezTo>
                    <a:pt x="504" y="374"/>
                    <a:pt x="688" y="286"/>
                    <a:pt x="725" y="197"/>
                  </a:cubicBezTo>
                  <a:cubicBezTo>
                    <a:pt x="753" y="133"/>
                    <a:pt x="680" y="84"/>
                    <a:pt x="613" y="49"/>
                  </a:cubicBezTo>
                  <a:cubicBezTo>
                    <a:pt x="552" y="17"/>
                    <a:pt x="483" y="0"/>
                    <a:pt x="4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0" name="Google Shape;5990;p53"/>
            <p:cNvSpPr/>
            <p:nvPr/>
          </p:nvSpPr>
          <p:spPr>
            <a:xfrm>
              <a:off x="1325409" y="1232744"/>
              <a:ext cx="83529" cy="54948"/>
            </a:xfrm>
            <a:custGeom>
              <a:avLst/>
              <a:gdLst/>
              <a:ahLst/>
              <a:cxnLst/>
              <a:rect l="l" t="t" r="r" b="b"/>
              <a:pathLst>
                <a:path w="6152" h="4047" extrusionOk="0">
                  <a:moveTo>
                    <a:pt x="1533" y="1"/>
                  </a:moveTo>
                  <a:cubicBezTo>
                    <a:pt x="1488" y="1"/>
                    <a:pt x="1454" y="5"/>
                    <a:pt x="1433" y="8"/>
                  </a:cubicBezTo>
                  <a:cubicBezTo>
                    <a:pt x="1384" y="15"/>
                    <a:pt x="1342" y="29"/>
                    <a:pt x="1300" y="53"/>
                  </a:cubicBezTo>
                  <a:cubicBezTo>
                    <a:pt x="1314" y="57"/>
                    <a:pt x="1331" y="64"/>
                    <a:pt x="1345" y="64"/>
                  </a:cubicBezTo>
                  <a:cubicBezTo>
                    <a:pt x="1573" y="109"/>
                    <a:pt x="1702" y="197"/>
                    <a:pt x="1688" y="305"/>
                  </a:cubicBezTo>
                  <a:cubicBezTo>
                    <a:pt x="1679" y="371"/>
                    <a:pt x="1609" y="438"/>
                    <a:pt x="1445" y="438"/>
                  </a:cubicBezTo>
                  <a:cubicBezTo>
                    <a:pt x="1424" y="438"/>
                    <a:pt x="1401" y="437"/>
                    <a:pt x="1377" y="435"/>
                  </a:cubicBezTo>
                  <a:cubicBezTo>
                    <a:pt x="1325" y="431"/>
                    <a:pt x="1273" y="429"/>
                    <a:pt x="1223" y="429"/>
                  </a:cubicBezTo>
                  <a:cubicBezTo>
                    <a:pt x="1086" y="429"/>
                    <a:pt x="962" y="442"/>
                    <a:pt x="901" y="463"/>
                  </a:cubicBezTo>
                  <a:cubicBezTo>
                    <a:pt x="946" y="487"/>
                    <a:pt x="995" y="512"/>
                    <a:pt x="1041" y="529"/>
                  </a:cubicBezTo>
                  <a:cubicBezTo>
                    <a:pt x="1174" y="578"/>
                    <a:pt x="1303" y="641"/>
                    <a:pt x="1286" y="746"/>
                  </a:cubicBezTo>
                  <a:cubicBezTo>
                    <a:pt x="1261" y="894"/>
                    <a:pt x="876" y="922"/>
                    <a:pt x="558" y="922"/>
                  </a:cubicBezTo>
                  <a:cubicBezTo>
                    <a:pt x="390" y="922"/>
                    <a:pt x="323" y="1020"/>
                    <a:pt x="320" y="1104"/>
                  </a:cubicBezTo>
                  <a:cubicBezTo>
                    <a:pt x="309" y="1223"/>
                    <a:pt x="414" y="1366"/>
                    <a:pt x="663" y="1398"/>
                  </a:cubicBezTo>
                  <a:cubicBezTo>
                    <a:pt x="838" y="1422"/>
                    <a:pt x="943" y="1475"/>
                    <a:pt x="971" y="1555"/>
                  </a:cubicBezTo>
                  <a:cubicBezTo>
                    <a:pt x="988" y="1608"/>
                    <a:pt x="974" y="1664"/>
                    <a:pt x="932" y="1699"/>
                  </a:cubicBezTo>
                  <a:cubicBezTo>
                    <a:pt x="868" y="1770"/>
                    <a:pt x="727" y="1823"/>
                    <a:pt x="561" y="1823"/>
                  </a:cubicBezTo>
                  <a:cubicBezTo>
                    <a:pt x="492" y="1823"/>
                    <a:pt x="418" y="1814"/>
                    <a:pt x="344" y="1793"/>
                  </a:cubicBezTo>
                  <a:cubicBezTo>
                    <a:pt x="256" y="1769"/>
                    <a:pt x="187" y="1760"/>
                    <a:pt x="135" y="1760"/>
                  </a:cubicBezTo>
                  <a:cubicBezTo>
                    <a:pt x="54" y="1760"/>
                    <a:pt x="14" y="1782"/>
                    <a:pt x="8" y="1797"/>
                  </a:cubicBezTo>
                  <a:cubicBezTo>
                    <a:pt x="1" y="1818"/>
                    <a:pt x="36" y="1884"/>
                    <a:pt x="197" y="1965"/>
                  </a:cubicBezTo>
                  <a:cubicBezTo>
                    <a:pt x="334" y="2028"/>
                    <a:pt x="439" y="2143"/>
                    <a:pt x="481" y="2287"/>
                  </a:cubicBezTo>
                  <a:cubicBezTo>
                    <a:pt x="519" y="2385"/>
                    <a:pt x="554" y="2472"/>
                    <a:pt x="729" y="2546"/>
                  </a:cubicBezTo>
                  <a:cubicBezTo>
                    <a:pt x="795" y="2575"/>
                    <a:pt x="890" y="2586"/>
                    <a:pt x="999" y="2586"/>
                  </a:cubicBezTo>
                  <a:cubicBezTo>
                    <a:pt x="1163" y="2586"/>
                    <a:pt x="1359" y="2562"/>
                    <a:pt x="1541" y="2539"/>
                  </a:cubicBezTo>
                  <a:cubicBezTo>
                    <a:pt x="1728" y="2514"/>
                    <a:pt x="1897" y="2492"/>
                    <a:pt x="2034" y="2492"/>
                  </a:cubicBezTo>
                  <a:cubicBezTo>
                    <a:pt x="2205" y="2492"/>
                    <a:pt x="2325" y="2526"/>
                    <a:pt x="2364" y="2633"/>
                  </a:cubicBezTo>
                  <a:cubicBezTo>
                    <a:pt x="2382" y="2672"/>
                    <a:pt x="2378" y="2717"/>
                    <a:pt x="2357" y="2756"/>
                  </a:cubicBezTo>
                  <a:cubicBezTo>
                    <a:pt x="2291" y="2875"/>
                    <a:pt x="2066" y="2931"/>
                    <a:pt x="1737" y="3001"/>
                  </a:cubicBezTo>
                  <a:cubicBezTo>
                    <a:pt x="1622" y="3022"/>
                    <a:pt x="1510" y="3050"/>
                    <a:pt x="1401" y="3089"/>
                  </a:cubicBezTo>
                  <a:cubicBezTo>
                    <a:pt x="1503" y="3162"/>
                    <a:pt x="1608" y="3225"/>
                    <a:pt x="1716" y="3281"/>
                  </a:cubicBezTo>
                  <a:cubicBezTo>
                    <a:pt x="1989" y="3432"/>
                    <a:pt x="2154" y="3530"/>
                    <a:pt x="2182" y="3638"/>
                  </a:cubicBezTo>
                  <a:cubicBezTo>
                    <a:pt x="2186" y="3663"/>
                    <a:pt x="2186" y="3691"/>
                    <a:pt x="2175" y="3715"/>
                  </a:cubicBezTo>
                  <a:cubicBezTo>
                    <a:pt x="2252" y="3803"/>
                    <a:pt x="2770" y="4002"/>
                    <a:pt x="3131" y="4041"/>
                  </a:cubicBezTo>
                  <a:cubicBezTo>
                    <a:pt x="3169" y="4045"/>
                    <a:pt x="3200" y="4046"/>
                    <a:pt x="3226" y="4046"/>
                  </a:cubicBezTo>
                  <a:cubicBezTo>
                    <a:pt x="3319" y="4046"/>
                    <a:pt x="3341" y="4027"/>
                    <a:pt x="3341" y="4027"/>
                  </a:cubicBezTo>
                  <a:cubicBezTo>
                    <a:pt x="3416" y="3905"/>
                    <a:pt x="3548" y="3864"/>
                    <a:pt x="3694" y="3864"/>
                  </a:cubicBezTo>
                  <a:cubicBezTo>
                    <a:pt x="3868" y="3864"/>
                    <a:pt x="4060" y="3923"/>
                    <a:pt x="4195" y="3974"/>
                  </a:cubicBezTo>
                  <a:cubicBezTo>
                    <a:pt x="4206" y="3978"/>
                    <a:pt x="4217" y="3981"/>
                    <a:pt x="4227" y="3981"/>
                  </a:cubicBezTo>
                  <a:cubicBezTo>
                    <a:pt x="4311" y="3981"/>
                    <a:pt x="4368" y="3847"/>
                    <a:pt x="4440" y="3663"/>
                  </a:cubicBezTo>
                  <a:cubicBezTo>
                    <a:pt x="4500" y="3512"/>
                    <a:pt x="4549" y="3383"/>
                    <a:pt x="4643" y="3355"/>
                  </a:cubicBezTo>
                  <a:cubicBezTo>
                    <a:pt x="4655" y="3352"/>
                    <a:pt x="4668" y="3350"/>
                    <a:pt x="4680" y="3350"/>
                  </a:cubicBezTo>
                  <a:cubicBezTo>
                    <a:pt x="4711" y="3350"/>
                    <a:pt x="4741" y="3359"/>
                    <a:pt x="4766" y="3379"/>
                  </a:cubicBezTo>
                  <a:cubicBezTo>
                    <a:pt x="4776" y="3390"/>
                    <a:pt x="4794" y="3393"/>
                    <a:pt x="4811" y="3393"/>
                  </a:cubicBezTo>
                  <a:cubicBezTo>
                    <a:pt x="4832" y="3390"/>
                    <a:pt x="4871" y="3327"/>
                    <a:pt x="4902" y="3271"/>
                  </a:cubicBezTo>
                  <a:cubicBezTo>
                    <a:pt x="4969" y="3152"/>
                    <a:pt x="5063" y="2991"/>
                    <a:pt x="5263" y="2910"/>
                  </a:cubicBezTo>
                  <a:cubicBezTo>
                    <a:pt x="5420" y="2854"/>
                    <a:pt x="5581" y="2812"/>
                    <a:pt x="5746" y="2780"/>
                  </a:cubicBezTo>
                  <a:cubicBezTo>
                    <a:pt x="5910" y="2749"/>
                    <a:pt x="6134" y="2703"/>
                    <a:pt x="6145" y="2644"/>
                  </a:cubicBezTo>
                  <a:cubicBezTo>
                    <a:pt x="6152" y="2612"/>
                    <a:pt x="6141" y="2577"/>
                    <a:pt x="6117" y="2556"/>
                  </a:cubicBezTo>
                  <a:cubicBezTo>
                    <a:pt x="6091" y="2527"/>
                    <a:pt x="6013" y="2468"/>
                    <a:pt x="5814" y="2468"/>
                  </a:cubicBezTo>
                  <a:cubicBezTo>
                    <a:pt x="5775" y="2468"/>
                    <a:pt x="5732" y="2471"/>
                    <a:pt x="5683" y="2476"/>
                  </a:cubicBezTo>
                  <a:cubicBezTo>
                    <a:pt x="5630" y="2482"/>
                    <a:pt x="5579" y="2485"/>
                    <a:pt x="5530" y="2485"/>
                  </a:cubicBezTo>
                  <a:cubicBezTo>
                    <a:pt x="5294" y="2485"/>
                    <a:pt x="5109" y="2416"/>
                    <a:pt x="5042" y="2297"/>
                  </a:cubicBezTo>
                  <a:cubicBezTo>
                    <a:pt x="5014" y="2245"/>
                    <a:pt x="4986" y="2143"/>
                    <a:pt x="5091" y="2007"/>
                  </a:cubicBezTo>
                  <a:cubicBezTo>
                    <a:pt x="5105" y="1996"/>
                    <a:pt x="5112" y="1975"/>
                    <a:pt x="5112" y="1958"/>
                  </a:cubicBezTo>
                  <a:cubicBezTo>
                    <a:pt x="5105" y="1919"/>
                    <a:pt x="5028" y="1867"/>
                    <a:pt x="4965" y="1828"/>
                  </a:cubicBezTo>
                  <a:cubicBezTo>
                    <a:pt x="4874" y="1769"/>
                    <a:pt x="4787" y="1716"/>
                    <a:pt x="4783" y="1629"/>
                  </a:cubicBezTo>
                  <a:cubicBezTo>
                    <a:pt x="4783" y="1569"/>
                    <a:pt x="4811" y="1517"/>
                    <a:pt x="4860" y="1485"/>
                  </a:cubicBezTo>
                  <a:cubicBezTo>
                    <a:pt x="4892" y="1461"/>
                    <a:pt x="4885" y="1450"/>
                    <a:pt x="4881" y="1443"/>
                  </a:cubicBezTo>
                  <a:cubicBezTo>
                    <a:pt x="4856" y="1399"/>
                    <a:pt x="4743" y="1357"/>
                    <a:pt x="4658" y="1357"/>
                  </a:cubicBezTo>
                  <a:cubicBezTo>
                    <a:pt x="4635" y="1357"/>
                    <a:pt x="4614" y="1360"/>
                    <a:pt x="4598" y="1366"/>
                  </a:cubicBezTo>
                  <a:cubicBezTo>
                    <a:pt x="4580" y="1373"/>
                    <a:pt x="4566" y="1384"/>
                    <a:pt x="4577" y="1422"/>
                  </a:cubicBezTo>
                  <a:cubicBezTo>
                    <a:pt x="4608" y="1548"/>
                    <a:pt x="4552" y="1611"/>
                    <a:pt x="4489" y="1625"/>
                  </a:cubicBezTo>
                  <a:cubicBezTo>
                    <a:pt x="4476" y="1629"/>
                    <a:pt x="4462" y="1630"/>
                    <a:pt x="4448" y="1630"/>
                  </a:cubicBezTo>
                  <a:cubicBezTo>
                    <a:pt x="4282" y="1630"/>
                    <a:pt x="3997" y="1424"/>
                    <a:pt x="3939" y="1216"/>
                  </a:cubicBezTo>
                  <a:cubicBezTo>
                    <a:pt x="3915" y="1125"/>
                    <a:pt x="3677" y="1034"/>
                    <a:pt x="3421" y="936"/>
                  </a:cubicBezTo>
                  <a:cubicBezTo>
                    <a:pt x="3057" y="796"/>
                    <a:pt x="2602" y="624"/>
                    <a:pt x="2238" y="298"/>
                  </a:cubicBezTo>
                  <a:cubicBezTo>
                    <a:pt x="1951" y="44"/>
                    <a:pt x="1683" y="1"/>
                    <a:pt x="15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1" name="Google Shape;5991;p53"/>
            <p:cNvSpPr/>
            <p:nvPr/>
          </p:nvSpPr>
          <p:spPr>
            <a:xfrm>
              <a:off x="1360263" y="1200633"/>
              <a:ext cx="230111" cy="117201"/>
            </a:xfrm>
            <a:custGeom>
              <a:avLst/>
              <a:gdLst/>
              <a:ahLst/>
              <a:cxnLst/>
              <a:rect l="l" t="t" r="r" b="b"/>
              <a:pathLst>
                <a:path w="16948" h="8632" extrusionOk="0">
                  <a:moveTo>
                    <a:pt x="10770" y="0"/>
                  </a:moveTo>
                  <a:cubicBezTo>
                    <a:pt x="10609" y="0"/>
                    <a:pt x="10441" y="49"/>
                    <a:pt x="10342" y="118"/>
                  </a:cubicBezTo>
                  <a:cubicBezTo>
                    <a:pt x="10324" y="129"/>
                    <a:pt x="10261" y="178"/>
                    <a:pt x="10279" y="213"/>
                  </a:cubicBezTo>
                  <a:cubicBezTo>
                    <a:pt x="10338" y="349"/>
                    <a:pt x="10289" y="412"/>
                    <a:pt x="10258" y="437"/>
                  </a:cubicBezTo>
                  <a:cubicBezTo>
                    <a:pt x="10232" y="456"/>
                    <a:pt x="10200" y="465"/>
                    <a:pt x="10165" y="465"/>
                  </a:cubicBezTo>
                  <a:cubicBezTo>
                    <a:pt x="10048" y="465"/>
                    <a:pt x="9890" y="370"/>
                    <a:pt x="9764" y="265"/>
                  </a:cubicBezTo>
                  <a:cubicBezTo>
                    <a:pt x="9683" y="197"/>
                    <a:pt x="9574" y="175"/>
                    <a:pt x="9448" y="175"/>
                  </a:cubicBezTo>
                  <a:cubicBezTo>
                    <a:pt x="9339" y="175"/>
                    <a:pt x="9218" y="192"/>
                    <a:pt x="9088" y="209"/>
                  </a:cubicBezTo>
                  <a:cubicBezTo>
                    <a:pt x="8943" y="226"/>
                    <a:pt x="8796" y="244"/>
                    <a:pt x="8647" y="244"/>
                  </a:cubicBezTo>
                  <a:cubicBezTo>
                    <a:pt x="8577" y="244"/>
                    <a:pt x="8507" y="240"/>
                    <a:pt x="8437" y="230"/>
                  </a:cubicBezTo>
                  <a:cubicBezTo>
                    <a:pt x="8404" y="226"/>
                    <a:pt x="8375" y="224"/>
                    <a:pt x="8349" y="224"/>
                  </a:cubicBezTo>
                  <a:cubicBezTo>
                    <a:pt x="8217" y="224"/>
                    <a:pt x="8164" y="278"/>
                    <a:pt x="8108" y="342"/>
                  </a:cubicBezTo>
                  <a:cubicBezTo>
                    <a:pt x="8038" y="414"/>
                    <a:pt x="7970" y="471"/>
                    <a:pt x="7853" y="471"/>
                  </a:cubicBezTo>
                  <a:cubicBezTo>
                    <a:pt x="7781" y="471"/>
                    <a:pt x="7692" y="450"/>
                    <a:pt x="7572" y="398"/>
                  </a:cubicBezTo>
                  <a:cubicBezTo>
                    <a:pt x="7362" y="305"/>
                    <a:pt x="7137" y="258"/>
                    <a:pt x="6911" y="258"/>
                  </a:cubicBezTo>
                  <a:cubicBezTo>
                    <a:pt x="6840" y="258"/>
                    <a:pt x="6768" y="263"/>
                    <a:pt x="6697" y="272"/>
                  </a:cubicBezTo>
                  <a:cubicBezTo>
                    <a:pt x="6725" y="304"/>
                    <a:pt x="6736" y="349"/>
                    <a:pt x="6722" y="388"/>
                  </a:cubicBezTo>
                  <a:cubicBezTo>
                    <a:pt x="6691" y="469"/>
                    <a:pt x="6576" y="519"/>
                    <a:pt x="6445" y="519"/>
                  </a:cubicBezTo>
                  <a:cubicBezTo>
                    <a:pt x="6395" y="519"/>
                    <a:pt x="6342" y="512"/>
                    <a:pt x="6291" y="496"/>
                  </a:cubicBezTo>
                  <a:cubicBezTo>
                    <a:pt x="6245" y="482"/>
                    <a:pt x="6200" y="476"/>
                    <a:pt x="6159" y="476"/>
                  </a:cubicBezTo>
                  <a:cubicBezTo>
                    <a:pt x="6098" y="476"/>
                    <a:pt x="6047" y="491"/>
                    <a:pt x="6022" y="521"/>
                  </a:cubicBezTo>
                  <a:cubicBezTo>
                    <a:pt x="5987" y="563"/>
                    <a:pt x="6008" y="626"/>
                    <a:pt x="6029" y="671"/>
                  </a:cubicBezTo>
                  <a:cubicBezTo>
                    <a:pt x="6053" y="710"/>
                    <a:pt x="6053" y="755"/>
                    <a:pt x="6029" y="794"/>
                  </a:cubicBezTo>
                  <a:cubicBezTo>
                    <a:pt x="5993" y="849"/>
                    <a:pt x="5916" y="865"/>
                    <a:pt x="5791" y="865"/>
                  </a:cubicBezTo>
                  <a:cubicBezTo>
                    <a:pt x="5734" y="865"/>
                    <a:pt x="5666" y="861"/>
                    <a:pt x="5587" y="857"/>
                  </a:cubicBezTo>
                  <a:cubicBezTo>
                    <a:pt x="5515" y="852"/>
                    <a:pt x="5424" y="845"/>
                    <a:pt x="5344" y="845"/>
                  </a:cubicBezTo>
                  <a:cubicBezTo>
                    <a:pt x="5253" y="845"/>
                    <a:pt x="5174" y="854"/>
                    <a:pt x="5146" y="881"/>
                  </a:cubicBezTo>
                  <a:cubicBezTo>
                    <a:pt x="5143" y="885"/>
                    <a:pt x="5139" y="888"/>
                    <a:pt x="5139" y="895"/>
                  </a:cubicBezTo>
                  <a:cubicBezTo>
                    <a:pt x="5139" y="1032"/>
                    <a:pt x="5055" y="1158"/>
                    <a:pt x="4929" y="1211"/>
                  </a:cubicBezTo>
                  <a:cubicBezTo>
                    <a:pt x="4869" y="1239"/>
                    <a:pt x="4803" y="1253"/>
                    <a:pt x="4736" y="1253"/>
                  </a:cubicBezTo>
                  <a:cubicBezTo>
                    <a:pt x="4614" y="1253"/>
                    <a:pt x="4487" y="1206"/>
                    <a:pt x="4376" y="1116"/>
                  </a:cubicBezTo>
                  <a:cubicBezTo>
                    <a:pt x="4206" y="972"/>
                    <a:pt x="3822" y="904"/>
                    <a:pt x="3614" y="904"/>
                  </a:cubicBezTo>
                  <a:cubicBezTo>
                    <a:pt x="3569" y="904"/>
                    <a:pt x="3533" y="907"/>
                    <a:pt x="3508" y="913"/>
                  </a:cubicBezTo>
                  <a:lnTo>
                    <a:pt x="3515" y="916"/>
                  </a:lnTo>
                  <a:cubicBezTo>
                    <a:pt x="3571" y="962"/>
                    <a:pt x="3592" y="1007"/>
                    <a:pt x="3578" y="1056"/>
                  </a:cubicBezTo>
                  <a:cubicBezTo>
                    <a:pt x="3550" y="1148"/>
                    <a:pt x="3406" y="1165"/>
                    <a:pt x="3207" y="1190"/>
                  </a:cubicBezTo>
                  <a:cubicBezTo>
                    <a:pt x="3130" y="1197"/>
                    <a:pt x="3053" y="1211"/>
                    <a:pt x="2976" y="1228"/>
                  </a:cubicBezTo>
                  <a:lnTo>
                    <a:pt x="2979" y="1232"/>
                  </a:lnTo>
                  <a:cubicBezTo>
                    <a:pt x="3102" y="1323"/>
                    <a:pt x="3088" y="1414"/>
                    <a:pt x="3067" y="1463"/>
                  </a:cubicBezTo>
                  <a:cubicBezTo>
                    <a:pt x="3009" y="1587"/>
                    <a:pt x="2790" y="1656"/>
                    <a:pt x="2658" y="1656"/>
                  </a:cubicBezTo>
                  <a:cubicBezTo>
                    <a:pt x="2638" y="1656"/>
                    <a:pt x="2620" y="1655"/>
                    <a:pt x="2605" y="1652"/>
                  </a:cubicBezTo>
                  <a:cubicBezTo>
                    <a:pt x="2556" y="1645"/>
                    <a:pt x="2517" y="1606"/>
                    <a:pt x="2510" y="1557"/>
                  </a:cubicBezTo>
                  <a:cubicBezTo>
                    <a:pt x="2493" y="1526"/>
                    <a:pt x="2374" y="1456"/>
                    <a:pt x="2199" y="1421"/>
                  </a:cubicBezTo>
                  <a:cubicBezTo>
                    <a:pt x="2136" y="1408"/>
                    <a:pt x="2078" y="1402"/>
                    <a:pt x="2024" y="1402"/>
                  </a:cubicBezTo>
                  <a:cubicBezTo>
                    <a:pt x="1916" y="1402"/>
                    <a:pt x="1828" y="1427"/>
                    <a:pt x="1772" y="1477"/>
                  </a:cubicBezTo>
                  <a:cubicBezTo>
                    <a:pt x="1698" y="1547"/>
                    <a:pt x="1631" y="1620"/>
                    <a:pt x="1572" y="1704"/>
                  </a:cubicBezTo>
                  <a:cubicBezTo>
                    <a:pt x="1498" y="1802"/>
                    <a:pt x="1442" y="1872"/>
                    <a:pt x="1362" y="1876"/>
                  </a:cubicBezTo>
                  <a:cubicBezTo>
                    <a:pt x="1313" y="1872"/>
                    <a:pt x="1267" y="1848"/>
                    <a:pt x="1239" y="1809"/>
                  </a:cubicBezTo>
                  <a:cubicBezTo>
                    <a:pt x="1208" y="1771"/>
                    <a:pt x="1117" y="1749"/>
                    <a:pt x="982" y="1749"/>
                  </a:cubicBezTo>
                  <a:cubicBezTo>
                    <a:pt x="781" y="1749"/>
                    <a:pt x="484" y="1799"/>
                    <a:pt x="151" y="1925"/>
                  </a:cubicBezTo>
                  <a:cubicBezTo>
                    <a:pt x="95" y="1942"/>
                    <a:pt x="46" y="1970"/>
                    <a:pt x="0" y="2005"/>
                  </a:cubicBezTo>
                  <a:cubicBezTo>
                    <a:pt x="25" y="2021"/>
                    <a:pt x="80" y="2031"/>
                    <a:pt x="150" y="2031"/>
                  </a:cubicBezTo>
                  <a:cubicBezTo>
                    <a:pt x="254" y="2031"/>
                    <a:pt x="389" y="2007"/>
                    <a:pt x="501" y="1935"/>
                  </a:cubicBezTo>
                  <a:cubicBezTo>
                    <a:pt x="637" y="1847"/>
                    <a:pt x="766" y="1813"/>
                    <a:pt x="861" y="1813"/>
                  </a:cubicBezTo>
                  <a:cubicBezTo>
                    <a:pt x="910" y="1813"/>
                    <a:pt x="950" y="1822"/>
                    <a:pt x="977" y="1837"/>
                  </a:cubicBezTo>
                  <a:cubicBezTo>
                    <a:pt x="1019" y="1858"/>
                    <a:pt x="1043" y="1900"/>
                    <a:pt x="1043" y="1942"/>
                  </a:cubicBezTo>
                  <a:cubicBezTo>
                    <a:pt x="1043" y="2009"/>
                    <a:pt x="987" y="2068"/>
                    <a:pt x="882" y="2117"/>
                  </a:cubicBezTo>
                  <a:cubicBezTo>
                    <a:pt x="837" y="2138"/>
                    <a:pt x="798" y="2163"/>
                    <a:pt x="763" y="2194"/>
                  </a:cubicBezTo>
                  <a:cubicBezTo>
                    <a:pt x="788" y="2202"/>
                    <a:pt x="843" y="2215"/>
                    <a:pt x="958" y="2215"/>
                  </a:cubicBezTo>
                  <a:cubicBezTo>
                    <a:pt x="990" y="2215"/>
                    <a:pt x="1026" y="2214"/>
                    <a:pt x="1068" y="2212"/>
                  </a:cubicBezTo>
                  <a:cubicBezTo>
                    <a:pt x="1098" y="2210"/>
                    <a:pt x="1125" y="2209"/>
                    <a:pt x="1148" y="2209"/>
                  </a:cubicBezTo>
                  <a:cubicBezTo>
                    <a:pt x="1220" y="2209"/>
                    <a:pt x="1266" y="2221"/>
                    <a:pt x="1281" y="2268"/>
                  </a:cubicBezTo>
                  <a:cubicBezTo>
                    <a:pt x="1302" y="2331"/>
                    <a:pt x="1250" y="2366"/>
                    <a:pt x="1176" y="2415"/>
                  </a:cubicBezTo>
                  <a:cubicBezTo>
                    <a:pt x="1099" y="2467"/>
                    <a:pt x="966" y="2558"/>
                    <a:pt x="966" y="2642"/>
                  </a:cubicBezTo>
                  <a:cubicBezTo>
                    <a:pt x="966" y="2698"/>
                    <a:pt x="1015" y="2719"/>
                    <a:pt x="1162" y="2747"/>
                  </a:cubicBezTo>
                  <a:cubicBezTo>
                    <a:pt x="1288" y="2772"/>
                    <a:pt x="1460" y="2807"/>
                    <a:pt x="1477" y="2975"/>
                  </a:cubicBezTo>
                  <a:cubicBezTo>
                    <a:pt x="1477" y="2992"/>
                    <a:pt x="1509" y="3031"/>
                    <a:pt x="1607" y="3066"/>
                  </a:cubicBezTo>
                  <a:cubicBezTo>
                    <a:pt x="1735" y="3115"/>
                    <a:pt x="1927" y="3144"/>
                    <a:pt x="2121" y="3144"/>
                  </a:cubicBezTo>
                  <a:cubicBezTo>
                    <a:pt x="2372" y="3144"/>
                    <a:pt x="2627" y="3095"/>
                    <a:pt x="2752" y="2978"/>
                  </a:cubicBezTo>
                  <a:cubicBezTo>
                    <a:pt x="2824" y="2912"/>
                    <a:pt x="2898" y="2854"/>
                    <a:pt x="2965" y="2854"/>
                  </a:cubicBezTo>
                  <a:cubicBezTo>
                    <a:pt x="2982" y="2854"/>
                    <a:pt x="2998" y="2858"/>
                    <a:pt x="3014" y="2866"/>
                  </a:cubicBezTo>
                  <a:cubicBezTo>
                    <a:pt x="3098" y="2912"/>
                    <a:pt x="3074" y="3045"/>
                    <a:pt x="3046" y="3196"/>
                  </a:cubicBezTo>
                  <a:cubicBezTo>
                    <a:pt x="3039" y="3231"/>
                    <a:pt x="3035" y="3262"/>
                    <a:pt x="3032" y="3294"/>
                  </a:cubicBezTo>
                  <a:cubicBezTo>
                    <a:pt x="3096" y="3370"/>
                    <a:pt x="3600" y="3470"/>
                    <a:pt x="4019" y="3470"/>
                  </a:cubicBezTo>
                  <a:cubicBezTo>
                    <a:pt x="4100" y="3470"/>
                    <a:pt x="4179" y="3467"/>
                    <a:pt x="4250" y="3458"/>
                  </a:cubicBezTo>
                  <a:cubicBezTo>
                    <a:pt x="4432" y="3437"/>
                    <a:pt x="4453" y="3399"/>
                    <a:pt x="4453" y="3399"/>
                  </a:cubicBezTo>
                  <a:cubicBezTo>
                    <a:pt x="4499" y="3244"/>
                    <a:pt x="4596" y="3197"/>
                    <a:pt x="4715" y="3197"/>
                  </a:cubicBezTo>
                  <a:cubicBezTo>
                    <a:pt x="4805" y="3197"/>
                    <a:pt x="4908" y="3224"/>
                    <a:pt x="5010" y="3252"/>
                  </a:cubicBezTo>
                  <a:cubicBezTo>
                    <a:pt x="5041" y="3262"/>
                    <a:pt x="5076" y="3269"/>
                    <a:pt x="5115" y="3280"/>
                  </a:cubicBezTo>
                  <a:cubicBezTo>
                    <a:pt x="5138" y="3285"/>
                    <a:pt x="5170" y="3288"/>
                    <a:pt x="5209" y="3288"/>
                  </a:cubicBezTo>
                  <a:cubicBezTo>
                    <a:pt x="5542" y="3288"/>
                    <a:pt x="6400" y="3086"/>
                    <a:pt x="6697" y="2873"/>
                  </a:cubicBezTo>
                  <a:cubicBezTo>
                    <a:pt x="6771" y="2821"/>
                    <a:pt x="6778" y="2786"/>
                    <a:pt x="6778" y="2779"/>
                  </a:cubicBezTo>
                  <a:cubicBezTo>
                    <a:pt x="6788" y="2653"/>
                    <a:pt x="6862" y="2628"/>
                    <a:pt x="6893" y="2625"/>
                  </a:cubicBezTo>
                  <a:cubicBezTo>
                    <a:pt x="6899" y="2624"/>
                    <a:pt x="6904" y="2624"/>
                    <a:pt x="6910" y="2624"/>
                  </a:cubicBezTo>
                  <a:cubicBezTo>
                    <a:pt x="6985" y="2624"/>
                    <a:pt x="7057" y="2688"/>
                    <a:pt x="7096" y="2786"/>
                  </a:cubicBezTo>
                  <a:cubicBezTo>
                    <a:pt x="7152" y="2926"/>
                    <a:pt x="7124" y="3136"/>
                    <a:pt x="6883" y="3301"/>
                  </a:cubicBezTo>
                  <a:cubicBezTo>
                    <a:pt x="6568" y="3514"/>
                    <a:pt x="6074" y="3567"/>
                    <a:pt x="5636" y="3612"/>
                  </a:cubicBezTo>
                  <a:cubicBezTo>
                    <a:pt x="5416" y="3637"/>
                    <a:pt x="5206" y="3654"/>
                    <a:pt x="5069" y="3700"/>
                  </a:cubicBezTo>
                  <a:cubicBezTo>
                    <a:pt x="4999" y="3721"/>
                    <a:pt x="4989" y="3738"/>
                    <a:pt x="4985" y="3738"/>
                  </a:cubicBezTo>
                  <a:cubicBezTo>
                    <a:pt x="4985" y="3798"/>
                    <a:pt x="5244" y="3962"/>
                    <a:pt x="5398" y="4060"/>
                  </a:cubicBezTo>
                  <a:cubicBezTo>
                    <a:pt x="5524" y="4141"/>
                    <a:pt x="5654" y="4225"/>
                    <a:pt x="5769" y="4312"/>
                  </a:cubicBezTo>
                  <a:cubicBezTo>
                    <a:pt x="5868" y="4386"/>
                    <a:pt x="5906" y="4445"/>
                    <a:pt x="5896" y="4501"/>
                  </a:cubicBezTo>
                  <a:cubicBezTo>
                    <a:pt x="5885" y="4543"/>
                    <a:pt x="5854" y="4575"/>
                    <a:pt x="5815" y="4582"/>
                  </a:cubicBezTo>
                  <a:cubicBezTo>
                    <a:pt x="5794" y="4588"/>
                    <a:pt x="5768" y="4591"/>
                    <a:pt x="5737" y="4591"/>
                  </a:cubicBezTo>
                  <a:cubicBezTo>
                    <a:pt x="5499" y="4591"/>
                    <a:pt x="5006" y="4405"/>
                    <a:pt x="4758" y="4141"/>
                  </a:cubicBezTo>
                  <a:cubicBezTo>
                    <a:pt x="4525" y="3893"/>
                    <a:pt x="4054" y="3765"/>
                    <a:pt x="3387" y="3765"/>
                  </a:cubicBezTo>
                  <a:cubicBezTo>
                    <a:pt x="3291" y="3765"/>
                    <a:pt x="3192" y="3768"/>
                    <a:pt x="3088" y="3773"/>
                  </a:cubicBezTo>
                  <a:cubicBezTo>
                    <a:pt x="2871" y="3787"/>
                    <a:pt x="2857" y="4029"/>
                    <a:pt x="2860" y="4102"/>
                  </a:cubicBezTo>
                  <a:cubicBezTo>
                    <a:pt x="2864" y="4298"/>
                    <a:pt x="2969" y="4515"/>
                    <a:pt x="3109" y="4515"/>
                  </a:cubicBezTo>
                  <a:cubicBezTo>
                    <a:pt x="3550" y="4515"/>
                    <a:pt x="3883" y="4729"/>
                    <a:pt x="4184" y="5201"/>
                  </a:cubicBezTo>
                  <a:cubicBezTo>
                    <a:pt x="4366" y="5485"/>
                    <a:pt x="4663" y="5569"/>
                    <a:pt x="4901" y="5639"/>
                  </a:cubicBezTo>
                  <a:cubicBezTo>
                    <a:pt x="5094" y="5695"/>
                    <a:pt x="5262" y="5741"/>
                    <a:pt x="5262" y="5895"/>
                  </a:cubicBezTo>
                  <a:cubicBezTo>
                    <a:pt x="5262" y="5933"/>
                    <a:pt x="5241" y="5975"/>
                    <a:pt x="5209" y="5996"/>
                  </a:cubicBezTo>
                  <a:cubicBezTo>
                    <a:pt x="5178" y="6019"/>
                    <a:pt x="5135" y="6030"/>
                    <a:pt x="5079" y="6030"/>
                  </a:cubicBezTo>
                  <a:cubicBezTo>
                    <a:pt x="4932" y="6030"/>
                    <a:pt x="4698" y="5958"/>
                    <a:pt x="4359" y="5849"/>
                  </a:cubicBezTo>
                  <a:cubicBezTo>
                    <a:pt x="4145" y="5776"/>
                    <a:pt x="3925" y="5716"/>
                    <a:pt x="3704" y="5667"/>
                  </a:cubicBezTo>
                  <a:cubicBezTo>
                    <a:pt x="3646" y="5657"/>
                    <a:pt x="3584" y="5651"/>
                    <a:pt x="3518" y="5651"/>
                  </a:cubicBezTo>
                  <a:cubicBezTo>
                    <a:pt x="3194" y="5651"/>
                    <a:pt x="2798" y="5775"/>
                    <a:pt x="2559" y="5961"/>
                  </a:cubicBezTo>
                  <a:cubicBezTo>
                    <a:pt x="2479" y="6024"/>
                    <a:pt x="2381" y="6122"/>
                    <a:pt x="2374" y="6238"/>
                  </a:cubicBezTo>
                  <a:cubicBezTo>
                    <a:pt x="2367" y="6297"/>
                    <a:pt x="2398" y="6353"/>
                    <a:pt x="2451" y="6381"/>
                  </a:cubicBezTo>
                  <a:cubicBezTo>
                    <a:pt x="2519" y="6424"/>
                    <a:pt x="2621" y="6444"/>
                    <a:pt x="2740" y="6444"/>
                  </a:cubicBezTo>
                  <a:cubicBezTo>
                    <a:pt x="2993" y="6444"/>
                    <a:pt x="3326" y="6354"/>
                    <a:pt x="3585" y="6199"/>
                  </a:cubicBezTo>
                  <a:cubicBezTo>
                    <a:pt x="3727" y="6116"/>
                    <a:pt x="3812" y="6077"/>
                    <a:pt x="3867" y="6077"/>
                  </a:cubicBezTo>
                  <a:cubicBezTo>
                    <a:pt x="3898" y="6077"/>
                    <a:pt x="3919" y="6089"/>
                    <a:pt x="3935" y="6112"/>
                  </a:cubicBezTo>
                  <a:cubicBezTo>
                    <a:pt x="3963" y="6150"/>
                    <a:pt x="4012" y="6217"/>
                    <a:pt x="3539" y="6644"/>
                  </a:cubicBezTo>
                  <a:cubicBezTo>
                    <a:pt x="3522" y="6665"/>
                    <a:pt x="3511" y="6679"/>
                    <a:pt x="3511" y="6693"/>
                  </a:cubicBezTo>
                  <a:cubicBezTo>
                    <a:pt x="3518" y="6749"/>
                    <a:pt x="3676" y="6843"/>
                    <a:pt x="3792" y="6913"/>
                  </a:cubicBezTo>
                  <a:cubicBezTo>
                    <a:pt x="3988" y="7032"/>
                    <a:pt x="4191" y="7155"/>
                    <a:pt x="4191" y="7323"/>
                  </a:cubicBezTo>
                  <a:cubicBezTo>
                    <a:pt x="4191" y="7453"/>
                    <a:pt x="4100" y="7544"/>
                    <a:pt x="3942" y="7565"/>
                  </a:cubicBezTo>
                  <a:cubicBezTo>
                    <a:pt x="3917" y="7568"/>
                    <a:pt x="3892" y="7569"/>
                    <a:pt x="3866" y="7569"/>
                  </a:cubicBezTo>
                  <a:cubicBezTo>
                    <a:pt x="3644" y="7569"/>
                    <a:pt x="3387" y="7452"/>
                    <a:pt x="3336" y="7270"/>
                  </a:cubicBezTo>
                  <a:cubicBezTo>
                    <a:pt x="3279" y="7062"/>
                    <a:pt x="3106" y="6827"/>
                    <a:pt x="2603" y="6827"/>
                  </a:cubicBezTo>
                  <a:cubicBezTo>
                    <a:pt x="2558" y="6827"/>
                    <a:pt x="2509" y="6829"/>
                    <a:pt x="2458" y="6833"/>
                  </a:cubicBezTo>
                  <a:cubicBezTo>
                    <a:pt x="2241" y="6847"/>
                    <a:pt x="2101" y="6920"/>
                    <a:pt x="2101" y="7015"/>
                  </a:cubicBezTo>
                  <a:cubicBezTo>
                    <a:pt x="2097" y="7109"/>
                    <a:pt x="2213" y="7211"/>
                    <a:pt x="2388" y="7235"/>
                  </a:cubicBezTo>
                  <a:cubicBezTo>
                    <a:pt x="2643" y="7267"/>
                    <a:pt x="2748" y="7390"/>
                    <a:pt x="2745" y="7498"/>
                  </a:cubicBezTo>
                  <a:cubicBezTo>
                    <a:pt x="2738" y="7596"/>
                    <a:pt x="2633" y="7705"/>
                    <a:pt x="2356" y="7705"/>
                  </a:cubicBezTo>
                  <a:cubicBezTo>
                    <a:pt x="1978" y="7705"/>
                    <a:pt x="1320" y="7901"/>
                    <a:pt x="1253" y="8069"/>
                  </a:cubicBezTo>
                  <a:cubicBezTo>
                    <a:pt x="1246" y="8079"/>
                    <a:pt x="1236" y="8104"/>
                    <a:pt x="1285" y="8149"/>
                  </a:cubicBezTo>
                  <a:cubicBezTo>
                    <a:pt x="1400" y="8255"/>
                    <a:pt x="1652" y="8280"/>
                    <a:pt x="1921" y="8280"/>
                  </a:cubicBezTo>
                  <a:cubicBezTo>
                    <a:pt x="2054" y="8280"/>
                    <a:pt x="2191" y="8274"/>
                    <a:pt x="2318" y="8268"/>
                  </a:cubicBezTo>
                  <a:cubicBezTo>
                    <a:pt x="2451" y="8262"/>
                    <a:pt x="2567" y="8258"/>
                    <a:pt x="2668" y="8258"/>
                  </a:cubicBezTo>
                  <a:cubicBezTo>
                    <a:pt x="2869" y="8258"/>
                    <a:pt x="3005" y="8276"/>
                    <a:pt x="3077" y="8342"/>
                  </a:cubicBezTo>
                  <a:cubicBezTo>
                    <a:pt x="3191" y="8441"/>
                    <a:pt x="3426" y="8509"/>
                    <a:pt x="3634" y="8509"/>
                  </a:cubicBezTo>
                  <a:cubicBezTo>
                    <a:pt x="3669" y="8509"/>
                    <a:pt x="3703" y="8507"/>
                    <a:pt x="3735" y="8503"/>
                  </a:cubicBezTo>
                  <a:cubicBezTo>
                    <a:pt x="3841" y="8489"/>
                    <a:pt x="3918" y="8454"/>
                    <a:pt x="3949" y="8405"/>
                  </a:cubicBezTo>
                  <a:cubicBezTo>
                    <a:pt x="4044" y="8261"/>
                    <a:pt x="4236" y="8230"/>
                    <a:pt x="4471" y="8230"/>
                  </a:cubicBezTo>
                  <a:cubicBezTo>
                    <a:pt x="4565" y="8230"/>
                    <a:pt x="4667" y="8237"/>
                    <a:pt x="4772" y="8240"/>
                  </a:cubicBezTo>
                  <a:cubicBezTo>
                    <a:pt x="4887" y="8247"/>
                    <a:pt x="5003" y="8254"/>
                    <a:pt x="5122" y="8254"/>
                  </a:cubicBezTo>
                  <a:cubicBezTo>
                    <a:pt x="5626" y="8254"/>
                    <a:pt x="5759" y="8331"/>
                    <a:pt x="5990" y="8534"/>
                  </a:cubicBezTo>
                  <a:cubicBezTo>
                    <a:pt x="6067" y="8602"/>
                    <a:pt x="6170" y="8632"/>
                    <a:pt x="6281" y="8632"/>
                  </a:cubicBezTo>
                  <a:cubicBezTo>
                    <a:pt x="6450" y="8632"/>
                    <a:pt x="6638" y="8564"/>
                    <a:pt x="6781" y="8461"/>
                  </a:cubicBezTo>
                  <a:cubicBezTo>
                    <a:pt x="7061" y="8258"/>
                    <a:pt x="7072" y="8254"/>
                    <a:pt x="7425" y="8254"/>
                  </a:cubicBezTo>
                  <a:cubicBezTo>
                    <a:pt x="7551" y="8254"/>
                    <a:pt x="7642" y="8219"/>
                    <a:pt x="7674" y="8160"/>
                  </a:cubicBezTo>
                  <a:cubicBezTo>
                    <a:pt x="7709" y="8097"/>
                    <a:pt x="7688" y="7988"/>
                    <a:pt x="7614" y="7869"/>
                  </a:cubicBezTo>
                  <a:cubicBezTo>
                    <a:pt x="7589" y="7829"/>
                    <a:pt x="7554" y="7813"/>
                    <a:pt x="7510" y="7813"/>
                  </a:cubicBezTo>
                  <a:cubicBezTo>
                    <a:pt x="7449" y="7813"/>
                    <a:pt x="7370" y="7844"/>
                    <a:pt x="7275" y="7887"/>
                  </a:cubicBezTo>
                  <a:cubicBezTo>
                    <a:pt x="7200" y="7918"/>
                    <a:pt x="7133" y="7949"/>
                    <a:pt x="7073" y="7949"/>
                  </a:cubicBezTo>
                  <a:cubicBezTo>
                    <a:pt x="7052" y="7949"/>
                    <a:pt x="7032" y="7945"/>
                    <a:pt x="7012" y="7936"/>
                  </a:cubicBezTo>
                  <a:cubicBezTo>
                    <a:pt x="6981" y="7918"/>
                    <a:pt x="6956" y="7887"/>
                    <a:pt x="6949" y="7848"/>
                  </a:cubicBezTo>
                  <a:cubicBezTo>
                    <a:pt x="6915" y="7710"/>
                    <a:pt x="6717" y="7639"/>
                    <a:pt x="6389" y="7639"/>
                  </a:cubicBezTo>
                  <a:cubicBezTo>
                    <a:pt x="6244" y="7639"/>
                    <a:pt x="6074" y="7652"/>
                    <a:pt x="5882" y="7680"/>
                  </a:cubicBezTo>
                  <a:cubicBezTo>
                    <a:pt x="5822" y="7688"/>
                    <a:pt x="5769" y="7692"/>
                    <a:pt x="5723" y="7692"/>
                  </a:cubicBezTo>
                  <a:cubicBezTo>
                    <a:pt x="5536" y="7692"/>
                    <a:pt x="5457" y="7631"/>
                    <a:pt x="5423" y="7572"/>
                  </a:cubicBezTo>
                  <a:cubicBezTo>
                    <a:pt x="5388" y="7502"/>
                    <a:pt x="5398" y="7418"/>
                    <a:pt x="5451" y="7358"/>
                  </a:cubicBezTo>
                  <a:cubicBezTo>
                    <a:pt x="5512" y="7280"/>
                    <a:pt x="5631" y="7215"/>
                    <a:pt x="5776" y="7215"/>
                  </a:cubicBezTo>
                  <a:cubicBezTo>
                    <a:pt x="5821" y="7215"/>
                    <a:pt x="5868" y="7221"/>
                    <a:pt x="5917" y="7235"/>
                  </a:cubicBezTo>
                  <a:cubicBezTo>
                    <a:pt x="6071" y="7281"/>
                    <a:pt x="6255" y="7303"/>
                    <a:pt x="6457" y="7303"/>
                  </a:cubicBezTo>
                  <a:cubicBezTo>
                    <a:pt x="6722" y="7303"/>
                    <a:pt x="7017" y="7264"/>
                    <a:pt x="7310" y="7186"/>
                  </a:cubicBezTo>
                  <a:cubicBezTo>
                    <a:pt x="7450" y="7151"/>
                    <a:pt x="7485" y="7113"/>
                    <a:pt x="7492" y="7092"/>
                  </a:cubicBezTo>
                  <a:cubicBezTo>
                    <a:pt x="7506" y="7057"/>
                    <a:pt x="7471" y="6994"/>
                    <a:pt x="7439" y="6934"/>
                  </a:cubicBezTo>
                  <a:cubicBezTo>
                    <a:pt x="7394" y="6868"/>
                    <a:pt x="7366" y="6794"/>
                    <a:pt x="7359" y="6714"/>
                  </a:cubicBezTo>
                  <a:cubicBezTo>
                    <a:pt x="7359" y="6675"/>
                    <a:pt x="7376" y="6637"/>
                    <a:pt x="7404" y="6609"/>
                  </a:cubicBezTo>
                  <a:cubicBezTo>
                    <a:pt x="7461" y="6556"/>
                    <a:pt x="7561" y="6539"/>
                    <a:pt x="7706" y="6539"/>
                  </a:cubicBezTo>
                  <a:cubicBezTo>
                    <a:pt x="7801" y="6539"/>
                    <a:pt x="7917" y="6547"/>
                    <a:pt x="8052" y="6556"/>
                  </a:cubicBezTo>
                  <a:cubicBezTo>
                    <a:pt x="8182" y="6567"/>
                    <a:pt x="8322" y="6577"/>
                    <a:pt x="8444" y="6577"/>
                  </a:cubicBezTo>
                  <a:cubicBezTo>
                    <a:pt x="8843" y="6577"/>
                    <a:pt x="9449" y="5895"/>
                    <a:pt x="9470" y="5524"/>
                  </a:cubicBezTo>
                  <a:cubicBezTo>
                    <a:pt x="9473" y="5482"/>
                    <a:pt x="9459" y="5443"/>
                    <a:pt x="9431" y="5415"/>
                  </a:cubicBezTo>
                  <a:cubicBezTo>
                    <a:pt x="9313" y="5289"/>
                    <a:pt x="8963" y="5267"/>
                    <a:pt x="8637" y="5267"/>
                  </a:cubicBezTo>
                  <a:cubicBezTo>
                    <a:pt x="8528" y="5267"/>
                    <a:pt x="8422" y="5270"/>
                    <a:pt x="8329" y="5272"/>
                  </a:cubicBezTo>
                  <a:cubicBezTo>
                    <a:pt x="8241" y="5275"/>
                    <a:pt x="8154" y="5279"/>
                    <a:pt x="8080" y="5279"/>
                  </a:cubicBezTo>
                  <a:cubicBezTo>
                    <a:pt x="7965" y="5279"/>
                    <a:pt x="7905" y="5258"/>
                    <a:pt x="7880" y="5212"/>
                  </a:cubicBezTo>
                  <a:cubicBezTo>
                    <a:pt x="7863" y="5184"/>
                    <a:pt x="7866" y="5149"/>
                    <a:pt x="7884" y="5121"/>
                  </a:cubicBezTo>
                  <a:cubicBezTo>
                    <a:pt x="7964" y="4993"/>
                    <a:pt x="8541" y="4826"/>
                    <a:pt x="9155" y="4826"/>
                  </a:cubicBezTo>
                  <a:cubicBezTo>
                    <a:pt x="9210" y="4826"/>
                    <a:pt x="9267" y="4827"/>
                    <a:pt x="9323" y="4830"/>
                  </a:cubicBezTo>
                  <a:cubicBezTo>
                    <a:pt x="9372" y="4833"/>
                    <a:pt x="9419" y="4834"/>
                    <a:pt x="9462" y="4834"/>
                  </a:cubicBezTo>
                  <a:cubicBezTo>
                    <a:pt x="9659" y="4834"/>
                    <a:pt x="9787" y="4807"/>
                    <a:pt x="9844" y="4750"/>
                  </a:cubicBezTo>
                  <a:cubicBezTo>
                    <a:pt x="9886" y="4711"/>
                    <a:pt x="9890" y="4659"/>
                    <a:pt x="9886" y="4575"/>
                  </a:cubicBezTo>
                  <a:cubicBezTo>
                    <a:pt x="9883" y="4494"/>
                    <a:pt x="9879" y="4400"/>
                    <a:pt x="9956" y="4340"/>
                  </a:cubicBezTo>
                  <a:cubicBezTo>
                    <a:pt x="10003" y="4299"/>
                    <a:pt x="10061" y="4284"/>
                    <a:pt x="10126" y="4284"/>
                  </a:cubicBezTo>
                  <a:cubicBezTo>
                    <a:pt x="10213" y="4284"/>
                    <a:pt x="10313" y="4310"/>
                    <a:pt x="10422" y="4340"/>
                  </a:cubicBezTo>
                  <a:cubicBezTo>
                    <a:pt x="10560" y="4376"/>
                    <a:pt x="10712" y="4415"/>
                    <a:pt x="10871" y="4415"/>
                  </a:cubicBezTo>
                  <a:cubicBezTo>
                    <a:pt x="10930" y="4415"/>
                    <a:pt x="10991" y="4410"/>
                    <a:pt x="11052" y="4396"/>
                  </a:cubicBezTo>
                  <a:cubicBezTo>
                    <a:pt x="11259" y="4354"/>
                    <a:pt x="11269" y="4256"/>
                    <a:pt x="11290" y="4144"/>
                  </a:cubicBezTo>
                  <a:cubicBezTo>
                    <a:pt x="11304" y="4046"/>
                    <a:pt x="11325" y="3910"/>
                    <a:pt x="11525" y="3910"/>
                  </a:cubicBezTo>
                  <a:cubicBezTo>
                    <a:pt x="11672" y="3910"/>
                    <a:pt x="12008" y="3717"/>
                    <a:pt x="12516" y="3423"/>
                  </a:cubicBezTo>
                  <a:cubicBezTo>
                    <a:pt x="12719" y="3304"/>
                    <a:pt x="12950" y="3171"/>
                    <a:pt x="13216" y="3020"/>
                  </a:cubicBezTo>
                  <a:cubicBezTo>
                    <a:pt x="13720" y="2740"/>
                    <a:pt x="14165" y="2621"/>
                    <a:pt x="14494" y="2537"/>
                  </a:cubicBezTo>
                  <a:cubicBezTo>
                    <a:pt x="14788" y="2460"/>
                    <a:pt x="14984" y="2408"/>
                    <a:pt x="15001" y="2292"/>
                  </a:cubicBezTo>
                  <a:cubicBezTo>
                    <a:pt x="15005" y="2289"/>
                    <a:pt x="15001" y="2282"/>
                    <a:pt x="14998" y="2278"/>
                  </a:cubicBezTo>
                  <a:cubicBezTo>
                    <a:pt x="14961" y="2239"/>
                    <a:pt x="14842" y="2226"/>
                    <a:pt x="14691" y="2226"/>
                  </a:cubicBezTo>
                  <a:cubicBezTo>
                    <a:pt x="14506" y="2226"/>
                    <a:pt x="14275" y="2245"/>
                    <a:pt x="14094" y="2261"/>
                  </a:cubicBezTo>
                  <a:cubicBezTo>
                    <a:pt x="13892" y="2279"/>
                    <a:pt x="13733" y="2291"/>
                    <a:pt x="13615" y="2291"/>
                  </a:cubicBezTo>
                  <a:cubicBezTo>
                    <a:pt x="13527" y="2291"/>
                    <a:pt x="13462" y="2284"/>
                    <a:pt x="13419" y="2268"/>
                  </a:cubicBezTo>
                  <a:cubicBezTo>
                    <a:pt x="13366" y="2254"/>
                    <a:pt x="13335" y="2201"/>
                    <a:pt x="13349" y="2149"/>
                  </a:cubicBezTo>
                  <a:cubicBezTo>
                    <a:pt x="13400" y="1991"/>
                    <a:pt x="14228" y="1839"/>
                    <a:pt x="14606" y="1839"/>
                  </a:cubicBezTo>
                  <a:cubicBezTo>
                    <a:pt x="14665" y="1839"/>
                    <a:pt x="14713" y="1843"/>
                    <a:pt x="14746" y="1851"/>
                  </a:cubicBezTo>
                  <a:cubicBezTo>
                    <a:pt x="14801" y="1865"/>
                    <a:pt x="14861" y="1874"/>
                    <a:pt x="14930" y="1874"/>
                  </a:cubicBezTo>
                  <a:cubicBezTo>
                    <a:pt x="15190" y="1874"/>
                    <a:pt x="15583" y="1755"/>
                    <a:pt x="16374" y="1368"/>
                  </a:cubicBezTo>
                  <a:cubicBezTo>
                    <a:pt x="16948" y="1088"/>
                    <a:pt x="16941" y="979"/>
                    <a:pt x="16941" y="979"/>
                  </a:cubicBezTo>
                  <a:cubicBezTo>
                    <a:pt x="16931" y="961"/>
                    <a:pt x="16864" y="941"/>
                    <a:pt x="16754" y="941"/>
                  </a:cubicBezTo>
                  <a:cubicBezTo>
                    <a:pt x="16700" y="941"/>
                    <a:pt x="16634" y="946"/>
                    <a:pt x="16559" y="958"/>
                  </a:cubicBezTo>
                  <a:cubicBezTo>
                    <a:pt x="16483" y="972"/>
                    <a:pt x="16407" y="978"/>
                    <a:pt x="16331" y="978"/>
                  </a:cubicBezTo>
                  <a:cubicBezTo>
                    <a:pt x="16089" y="978"/>
                    <a:pt x="15862" y="912"/>
                    <a:pt x="15736" y="797"/>
                  </a:cubicBezTo>
                  <a:cubicBezTo>
                    <a:pt x="15663" y="738"/>
                    <a:pt x="15624" y="643"/>
                    <a:pt x="15631" y="549"/>
                  </a:cubicBezTo>
                  <a:cubicBezTo>
                    <a:pt x="15631" y="524"/>
                    <a:pt x="15628" y="517"/>
                    <a:pt x="15624" y="517"/>
                  </a:cubicBezTo>
                  <a:cubicBezTo>
                    <a:pt x="15605" y="496"/>
                    <a:pt x="15547" y="490"/>
                    <a:pt x="15484" y="490"/>
                  </a:cubicBezTo>
                  <a:cubicBezTo>
                    <a:pt x="15434" y="490"/>
                    <a:pt x="15380" y="493"/>
                    <a:pt x="15337" y="496"/>
                  </a:cubicBezTo>
                  <a:cubicBezTo>
                    <a:pt x="15291" y="499"/>
                    <a:pt x="15246" y="502"/>
                    <a:pt x="15205" y="502"/>
                  </a:cubicBezTo>
                  <a:cubicBezTo>
                    <a:pt x="15101" y="502"/>
                    <a:pt x="15020" y="483"/>
                    <a:pt x="15005" y="398"/>
                  </a:cubicBezTo>
                  <a:cubicBezTo>
                    <a:pt x="14989" y="384"/>
                    <a:pt x="14944" y="376"/>
                    <a:pt x="14875" y="376"/>
                  </a:cubicBezTo>
                  <a:cubicBezTo>
                    <a:pt x="14688" y="376"/>
                    <a:pt x="14323" y="438"/>
                    <a:pt x="13853" y="619"/>
                  </a:cubicBezTo>
                  <a:cubicBezTo>
                    <a:pt x="13717" y="671"/>
                    <a:pt x="13637" y="691"/>
                    <a:pt x="13586" y="691"/>
                  </a:cubicBezTo>
                  <a:cubicBezTo>
                    <a:pt x="13552" y="691"/>
                    <a:pt x="13530" y="682"/>
                    <a:pt x="13513" y="668"/>
                  </a:cubicBezTo>
                  <a:cubicBezTo>
                    <a:pt x="13489" y="647"/>
                    <a:pt x="13478" y="615"/>
                    <a:pt x="13482" y="584"/>
                  </a:cubicBezTo>
                  <a:cubicBezTo>
                    <a:pt x="13499" y="489"/>
                    <a:pt x="13695" y="335"/>
                    <a:pt x="13863" y="237"/>
                  </a:cubicBezTo>
                  <a:cubicBezTo>
                    <a:pt x="13769" y="234"/>
                    <a:pt x="13653" y="230"/>
                    <a:pt x="13545" y="227"/>
                  </a:cubicBezTo>
                  <a:cubicBezTo>
                    <a:pt x="12862" y="209"/>
                    <a:pt x="12281" y="185"/>
                    <a:pt x="12096" y="52"/>
                  </a:cubicBezTo>
                  <a:cubicBezTo>
                    <a:pt x="12057" y="25"/>
                    <a:pt x="12017" y="13"/>
                    <a:pt x="11974" y="13"/>
                  </a:cubicBezTo>
                  <a:cubicBezTo>
                    <a:pt x="11894" y="13"/>
                    <a:pt x="11802" y="54"/>
                    <a:pt x="11686" y="111"/>
                  </a:cubicBezTo>
                  <a:cubicBezTo>
                    <a:pt x="11580" y="163"/>
                    <a:pt x="11465" y="220"/>
                    <a:pt x="11350" y="220"/>
                  </a:cubicBezTo>
                  <a:cubicBezTo>
                    <a:pt x="11270" y="220"/>
                    <a:pt x="11191" y="193"/>
                    <a:pt x="11115" y="118"/>
                  </a:cubicBezTo>
                  <a:cubicBezTo>
                    <a:pt x="11033" y="34"/>
                    <a:pt x="10903" y="0"/>
                    <a:pt x="107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2" name="Google Shape;5992;p53"/>
            <p:cNvSpPr/>
            <p:nvPr/>
          </p:nvSpPr>
          <p:spPr>
            <a:xfrm>
              <a:off x="1448150" y="1504498"/>
              <a:ext cx="5567" cy="6476"/>
            </a:xfrm>
            <a:custGeom>
              <a:avLst/>
              <a:gdLst/>
              <a:ahLst/>
              <a:cxnLst/>
              <a:rect l="l" t="t" r="r" b="b"/>
              <a:pathLst>
                <a:path w="410" h="477" extrusionOk="0">
                  <a:moveTo>
                    <a:pt x="252" y="0"/>
                  </a:moveTo>
                  <a:cubicBezTo>
                    <a:pt x="165" y="0"/>
                    <a:pt x="81" y="49"/>
                    <a:pt x="42" y="130"/>
                  </a:cubicBezTo>
                  <a:cubicBezTo>
                    <a:pt x="0" y="228"/>
                    <a:pt x="7" y="340"/>
                    <a:pt x="67" y="427"/>
                  </a:cubicBezTo>
                  <a:cubicBezTo>
                    <a:pt x="86" y="459"/>
                    <a:pt x="120" y="477"/>
                    <a:pt x="158" y="477"/>
                  </a:cubicBezTo>
                  <a:cubicBezTo>
                    <a:pt x="161" y="477"/>
                    <a:pt x="165" y="477"/>
                    <a:pt x="168" y="476"/>
                  </a:cubicBezTo>
                  <a:cubicBezTo>
                    <a:pt x="235" y="466"/>
                    <a:pt x="410" y="231"/>
                    <a:pt x="396" y="84"/>
                  </a:cubicBezTo>
                  <a:cubicBezTo>
                    <a:pt x="396" y="56"/>
                    <a:pt x="389" y="0"/>
                    <a:pt x="2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3" name="Google Shape;5993;p53"/>
            <p:cNvSpPr/>
            <p:nvPr/>
          </p:nvSpPr>
          <p:spPr>
            <a:xfrm>
              <a:off x="1420818" y="1496650"/>
              <a:ext cx="12410" cy="7807"/>
            </a:xfrm>
            <a:custGeom>
              <a:avLst/>
              <a:gdLst/>
              <a:ahLst/>
              <a:cxnLst/>
              <a:rect l="l" t="t" r="r" b="b"/>
              <a:pathLst>
                <a:path w="914" h="575" extrusionOk="0">
                  <a:moveTo>
                    <a:pt x="875" y="0"/>
                  </a:moveTo>
                  <a:cubicBezTo>
                    <a:pt x="697" y="4"/>
                    <a:pt x="165" y="186"/>
                    <a:pt x="39" y="393"/>
                  </a:cubicBezTo>
                  <a:cubicBezTo>
                    <a:pt x="18" y="428"/>
                    <a:pt x="0" y="473"/>
                    <a:pt x="91" y="533"/>
                  </a:cubicBezTo>
                  <a:cubicBezTo>
                    <a:pt x="140" y="563"/>
                    <a:pt x="192" y="575"/>
                    <a:pt x="244" y="575"/>
                  </a:cubicBezTo>
                  <a:cubicBezTo>
                    <a:pt x="373" y="575"/>
                    <a:pt x="500" y="500"/>
                    <a:pt x="578" y="445"/>
                  </a:cubicBezTo>
                  <a:cubicBezTo>
                    <a:pt x="791" y="291"/>
                    <a:pt x="914" y="81"/>
                    <a:pt x="914" y="8"/>
                  </a:cubicBezTo>
                  <a:cubicBezTo>
                    <a:pt x="900" y="0"/>
                    <a:pt x="886" y="0"/>
                    <a:pt x="87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4" name="Google Shape;5994;p53"/>
            <p:cNvSpPr/>
            <p:nvPr/>
          </p:nvSpPr>
          <p:spPr>
            <a:xfrm>
              <a:off x="1395483" y="1461851"/>
              <a:ext cx="49110" cy="30699"/>
            </a:xfrm>
            <a:custGeom>
              <a:avLst/>
              <a:gdLst/>
              <a:ahLst/>
              <a:cxnLst/>
              <a:rect l="l" t="t" r="r" b="b"/>
              <a:pathLst>
                <a:path w="3617" h="2261" extrusionOk="0">
                  <a:moveTo>
                    <a:pt x="1029" y="1"/>
                  </a:moveTo>
                  <a:cubicBezTo>
                    <a:pt x="900" y="1"/>
                    <a:pt x="641" y="169"/>
                    <a:pt x="627" y="438"/>
                  </a:cubicBezTo>
                  <a:cubicBezTo>
                    <a:pt x="623" y="575"/>
                    <a:pt x="581" y="712"/>
                    <a:pt x="504" y="827"/>
                  </a:cubicBezTo>
                  <a:cubicBezTo>
                    <a:pt x="452" y="915"/>
                    <a:pt x="417" y="967"/>
                    <a:pt x="476" y="1167"/>
                  </a:cubicBezTo>
                  <a:cubicBezTo>
                    <a:pt x="560" y="1450"/>
                    <a:pt x="340" y="1608"/>
                    <a:pt x="175" y="1720"/>
                  </a:cubicBezTo>
                  <a:cubicBezTo>
                    <a:pt x="70" y="1797"/>
                    <a:pt x="0" y="1849"/>
                    <a:pt x="18" y="1891"/>
                  </a:cubicBezTo>
                  <a:cubicBezTo>
                    <a:pt x="26" y="1923"/>
                    <a:pt x="43" y="1939"/>
                    <a:pt x="83" y="1939"/>
                  </a:cubicBezTo>
                  <a:cubicBezTo>
                    <a:pt x="123" y="1939"/>
                    <a:pt x="186" y="1923"/>
                    <a:pt x="287" y="1891"/>
                  </a:cubicBezTo>
                  <a:cubicBezTo>
                    <a:pt x="399" y="1853"/>
                    <a:pt x="515" y="1828"/>
                    <a:pt x="634" y="1825"/>
                  </a:cubicBezTo>
                  <a:cubicBezTo>
                    <a:pt x="641" y="1824"/>
                    <a:pt x="647" y="1823"/>
                    <a:pt x="654" y="1823"/>
                  </a:cubicBezTo>
                  <a:cubicBezTo>
                    <a:pt x="700" y="1823"/>
                    <a:pt x="747" y="1844"/>
                    <a:pt x="781" y="1877"/>
                  </a:cubicBezTo>
                  <a:cubicBezTo>
                    <a:pt x="830" y="1933"/>
                    <a:pt x="823" y="2014"/>
                    <a:pt x="816" y="2084"/>
                  </a:cubicBezTo>
                  <a:cubicBezTo>
                    <a:pt x="812" y="2140"/>
                    <a:pt x="805" y="2196"/>
                    <a:pt x="830" y="2224"/>
                  </a:cubicBezTo>
                  <a:cubicBezTo>
                    <a:pt x="858" y="2248"/>
                    <a:pt x="893" y="2259"/>
                    <a:pt x="931" y="2259"/>
                  </a:cubicBezTo>
                  <a:cubicBezTo>
                    <a:pt x="941" y="2260"/>
                    <a:pt x="951" y="2260"/>
                    <a:pt x="961" y="2260"/>
                  </a:cubicBezTo>
                  <a:cubicBezTo>
                    <a:pt x="1229" y="2260"/>
                    <a:pt x="1681" y="1958"/>
                    <a:pt x="1789" y="1783"/>
                  </a:cubicBezTo>
                  <a:cubicBezTo>
                    <a:pt x="1852" y="1678"/>
                    <a:pt x="1954" y="1604"/>
                    <a:pt x="2069" y="1580"/>
                  </a:cubicBezTo>
                  <a:cubicBezTo>
                    <a:pt x="2097" y="1574"/>
                    <a:pt x="2126" y="1571"/>
                    <a:pt x="2155" y="1571"/>
                  </a:cubicBezTo>
                  <a:cubicBezTo>
                    <a:pt x="2287" y="1571"/>
                    <a:pt x="2433" y="1628"/>
                    <a:pt x="2587" y="1737"/>
                  </a:cubicBezTo>
                  <a:cubicBezTo>
                    <a:pt x="2758" y="1858"/>
                    <a:pt x="3032" y="1920"/>
                    <a:pt x="3254" y="1920"/>
                  </a:cubicBezTo>
                  <a:cubicBezTo>
                    <a:pt x="3355" y="1920"/>
                    <a:pt x="3446" y="1907"/>
                    <a:pt x="3512" y="1881"/>
                  </a:cubicBezTo>
                  <a:cubicBezTo>
                    <a:pt x="3547" y="1867"/>
                    <a:pt x="3592" y="1842"/>
                    <a:pt x="3603" y="1804"/>
                  </a:cubicBezTo>
                  <a:cubicBezTo>
                    <a:pt x="3617" y="1734"/>
                    <a:pt x="3421" y="1650"/>
                    <a:pt x="3277" y="1587"/>
                  </a:cubicBezTo>
                  <a:cubicBezTo>
                    <a:pt x="3053" y="1489"/>
                    <a:pt x="2818" y="1384"/>
                    <a:pt x="2850" y="1198"/>
                  </a:cubicBezTo>
                  <a:cubicBezTo>
                    <a:pt x="2874" y="1058"/>
                    <a:pt x="2423" y="883"/>
                    <a:pt x="2150" y="778"/>
                  </a:cubicBezTo>
                  <a:cubicBezTo>
                    <a:pt x="2038" y="736"/>
                    <a:pt x="1926" y="691"/>
                    <a:pt x="1817" y="638"/>
                  </a:cubicBezTo>
                  <a:cubicBezTo>
                    <a:pt x="1744" y="600"/>
                    <a:pt x="1674" y="568"/>
                    <a:pt x="1597" y="537"/>
                  </a:cubicBezTo>
                  <a:cubicBezTo>
                    <a:pt x="1366" y="442"/>
                    <a:pt x="1103" y="330"/>
                    <a:pt x="1103" y="71"/>
                  </a:cubicBezTo>
                  <a:cubicBezTo>
                    <a:pt x="1103" y="32"/>
                    <a:pt x="1089" y="4"/>
                    <a:pt x="10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5" name="Google Shape;5995;p53"/>
            <p:cNvSpPr/>
            <p:nvPr/>
          </p:nvSpPr>
          <p:spPr>
            <a:xfrm>
              <a:off x="1373895" y="1355132"/>
              <a:ext cx="215339" cy="153181"/>
            </a:xfrm>
            <a:custGeom>
              <a:avLst/>
              <a:gdLst/>
              <a:ahLst/>
              <a:cxnLst/>
              <a:rect l="l" t="t" r="r" b="b"/>
              <a:pathLst>
                <a:path w="15860" h="11282" extrusionOk="0">
                  <a:moveTo>
                    <a:pt x="2393" y="1"/>
                  </a:moveTo>
                  <a:cubicBezTo>
                    <a:pt x="1949" y="1"/>
                    <a:pt x="1184" y="158"/>
                    <a:pt x="673" y="625"/>
                  </a:cubicBezTo>
                  <a:cubicBezTo>
                    <a:pt x="172" y="1080"/>
                    <a:pt x="1" y="1727"/>
                    <a:pt x="183" y="2452"/>
                  </a:cubicBezTo>
                  <a:cubicBezTo>
                    <a:pt x="200" y="2519"/>
                    <a:pt x="494" y="2536"/>
                    <a:pt x="687" y="2547"/>
                  </a:cubicBezTo>
                  <a:cubicBezTo>
                    <a:pt x="890" y="2557"/>
                    <a:pt x="1121" y="2571"/>
                    <a:pt x="1300" y="2624"/>
                  </a:cubicBezTo>
                  <a:cubicBezTo>
                    <a:pt x="1552" y="2697"/>
                    <a:pt x="1587" y="2795"/>
                    <a:pt x="1569" y="2862"/>
                  </a:cubicBezTo>
                  <a:cubicBezTo>
                    <a:pt x="1550" y="2961"/>
                    <a:pt x="1415" y="3004"/>
                    <a:pt x="1269" y="3004"/>
                  </a:cubicBezTo>
                  <a:cubicBezTo>
                    <a:pt x="1229" y="3004"/>
                    <a:pt x="1188" y="3001"/>
                    <a:pt x="1149" y="2995"/>
                  </a:cubicBezTo>
                  <a:lnTo>
                    <a:pt x="1093" y="2988"/>
                  </a:lnTo>
                  <a:cubicBezTo>
                    <a:pt x="956" y="2965"/>
                    <a:pt x="745" y="2933"/>
                    <a:pt x="590" y="2933"/>
                  </a:cubicBezTo>
                  <a:cubicBezTo>
                    <a:pt x="504" y="2933"/>
                    <a:pt x="436" y="2943"/>
                    <a:pt x="407" y="2970"/>
                  </a:cubicBezTo>
                  <a:cubicBezTo>
                    <a:pt x="400" y="2977"/>
                    <a:pt x="400" y="2988"/>
                    <a:pt x="400" y="2995"/>
                  </a:cubicBezTo>
                  <a:cubicBezTo>
                    <a:pt x="407" y="3044"/>
                    <a:pt x="480" y="3142"/>
                    <a:pt x="634" y="3250"/>
                  </a:cubicBezTo>
                  <a:cubicBezTo>
                    <a:pt x="813" y="3372"/>
                    <a:pt x="1074" y="3486"/>
                    <a:pt x="1281" y="3486"/>
                  </a:cubicBezTo>
                  <a:cubicBezTo>
                    <a:pt x="1318" y="3486"/>
                    <a:pt x="1354" y="3482"/>
                    <a:pt x="1387" y="3474"/>
                  </a:cubicBezTo>
                  <a:cubicBezTo>
                    <a:pt x="1543" y="3435"/>
                    <a:pt x="1644" y="3410"/>
                    <a:pt x="1720" y="3410"/>
                  </a:cubicBezTo>
                  <a:cubicBezTo>
                    <a:pt x="1838" y="3410"/>
                    <a:pt x="1897" y="3469"/>
                    <a:pt x="2014" y="3618"/>
                  </a:cubicBezTo>
                  <a:cubicBezTo>
                    <a:pt x="2119" y="3754"/>
                    <a:pt x="2392" y="3754"/>
                    <a:pt x="2714" y="3754"/>
                  </a:cubicBezTo>
                  <a:cubicBezTo>
                    <a:pt x="2826" y="3754"/>
                    <a:pt x="2942" y="3754"/>
                    <a:pt x="3057" y="3761"/>
                  </a:cubicBezTo>
                  <a:cubicBezTo>
                    <a:pt x="3358" y="3779"/>
                    <a:pt x="3680" y="3852"/>
                    <a:pt x="3939" y="3912"/>
                  </a:cubicBezTo>
                  <a:cubicBezTo>
                    <a:pt x="4079" y="3943"/>
                    <a:pt x="4198" y="3971"/>
                    <a:pt x="4275" y="3982"/>
                  </a:cubicBezTo>
                  <a:cubicBezTo>
                    <a:pt x="4289" y="3983"/>
                    <a:pt x="4303" y="3984"/>
                    <a:pt x="4317" y="3984"/>
                  </a:cubicBezTo>
                  <a:cubicBezTo>
                    <a:pt x="4504" y="3984"/>
                    <a:pt x="4717" y="3860"/>
                    <a:pt x="4769" y="3768"/>
                  </a:cubicBezTo>
                  <a:cubicBezTo>
                    <a:pt x="4792" y="3728"/>
                    <a:pt x="4837" y="3710"/>
                    <a:pt x="4915" y="3710"/>
                  </a:cubicBezTo>
                  <a:cubicBezTo>
                    <a:pt x="5027" y="3710"/>
                    <a:pt x="5204" y="3747"/>
                    <a:pt x="5480" y="3810"/>
                  </a:cubicBezTo>
                  <a:cubicBezTo>
                    <a:pt x="5683" y="3856"/>
                    <a:pt x="5910" y="3910"/>
                    <a:pt x="6029" y="3910"/>
                  </a:cubicBezTo>
                  <a:cubicBezTo>
                    <a:pt x="6039" y="3910"/>
                    <a:pt x="6049" y="3909"/>
                    <a:pt x="6057" y="3908"/>
                  </a:cubicBezTo>
                  <a:cubicBezTo>
                    <a:pt x="6106" y="3901"/>
                    <a:pt x="6134" y="3887"/>
                    <a:pt x="6134" y="3877"/>
                  </a:cubicBezTo>
                  <a:cubicBezTo>
                    <a:pt x="6141" y="3838"/>
                    <a:pt x="6064" y="3737"/>
                    <a:pt x="5963" y="3695"/>
                  </a:cubicBezTo>
                  <a:cubicBezTo>
                    <a:pt x="5889" y="3660"/>
                    <a:pt x="5837" y="3586"/>
                    <a:pt x="5833" y="3506"/>
                  </a:cubicBezTo>
                  <a:cubicBezTo>
                    <a:pt x="5823" y="3425"/>
                    <a:pt x="5858" y="3348"/>
                    <a:pt x="5921" y="3303"/>
                  </a:cubicBezTo>
                  <a:cubicBezTo>
                    <a:pt x="5943" y="3289"/>
                    <a:pt x="5975" y="3273"/>
                    <a:pt x="6020" y="3273"/>
                  </a:cubicBezTo>
                  <a:cubicBezTo>
                    <a:pt x="6055" y="3273"/>
                    <a:pt x="6096" y="3282"/>
                    <a:pt x="6145" y="3310"/>
                  </a:cubicBezTo>
                  <a:cubicBezTo>
                    <a:pt x="6211" y="3345"/>
                    <a:pt x="6281" y="3376"/>
                    <a:pt x="6351" y="3404"/>
                  </a:cubicBezTo>
                  <a:cubicBezTo>
                    <a:pt x="6558" y="3488"/>
                    <a:pt x="6768" y="3576"/>
                    <a:pt x="6831" y="3758"/>
                  </a:cubicBezTo>
                  <a:cubicBezTo>
                    <a:pt x="6848" y="3817"/>
                    <a:pt x="6887" y="3835"/>
                    <a:pt x="6950" y="3856"/>
                  </a:cubicBezTo>
                  <a:cubicBezTo>
                    <a:pt x="7013" y="3880"/>
                    <a:pt x="7104" y="3912"/>
                    <a:pt x="7125" y="4034"/>
                  </a:cubicBezTo>
                  <a:cubicBezTo>
                    <a:pt x="7136" y="4083"/>
                    <a:pt x="7353" y="4185"/>
                    <a:pt x="7479" y="4245"/>
                  </a:cubicBezTo>
                  <a:cubicBezTo>
                    <a:pt x="7720" y="4360"/>
                    <a:pt x="7934" y="4458"/>
                    <a:pt x="7948" y="4595"/>
                  </a:cubicBezTo>
                  <a:cubicBezTo>
                    <a:pt x="7965" y="4731"/>
                    <a:pt x="7780" y="4815"/>
                    <a:pt x="7598" y="4892"/>
                  </a:cubicBezTo>
                  <a:cubicBezTo>
                    <a:pt x="7528" y="4920"/>
                    <a:pt x="7405" y="4973"/>
                    <a:pt x="7381" y="5004"/>
                  </a:cubicBezTo>
                  <a:cubicBezTo>
                    <a:pt x="7384" y="5008"/>
                    <a:pt x="7388" y="5011"/>
                    <a:pt x="7391" y="5011"/>
                  </a:cubicBezTo>
                  <a:cubicBezTo>
                    <a:pt x="7417" y="5032"/>
                    <a:pt x="7446" y="5041"/>
                    <a:pt x="7479" y="5041"/>
                  </a:cubicBezTo>
                  <a:cubicBezTo>
                    <a:pt x="7559" y="5041"/>
                    <a:pt x="7663" y="4987"/>
                    <a:pt x="7797" y="4913"/>
                  </a:cubicBezTo>
                  <a:cubicBezTo>
                    <a:pt x="7927" y="4843"/>
                    <a:pt x="8060" y="4766"/>
                    <a:pt x="8193" y="4756"/>
                  </a:cubicBezTo>
                  <a:cubicBezTo>
                    <a:pt x="8199" y="4755"/>
                    <a:pt x="8206" y="4755"/>
                    <a:pt x="8212" y="4755"/>
                  </a:cubicBezTo>
                  <a:cubicBezTo>
                    <a:pt x="8395" y="4755"/>
                    <a:pt x="8479" y="4950"/>
                    <a:pt x="8546" y="5106"/>
                  </a:cubicBezTo>
                  <a:cubicBezTo>
                    <a:pt x="8581" y="5186"/>
                    <a:pt x="8623" y="5284"/>
                    <a:pt x="8658" y="5298"/>
                  </a:cubicBezTo>
                  <a:cubicBezTo>
                    <a:pt x="8660" y="5298"/>
                    <a:pt x="8663" y="5299"/>
                    <a:pt x="8666" y="5299"/>
                  </a:cubicBezTo>
                  <a:cubicBezTo>
                    <a:pt x="8670" y="5299"/>
                    <a:pt x="8674" y="5298"/>
                    <a:pt x="8679" y="5295"/>
                  </a:cubicBezTo>
                  <a:cubicBezTo>
                    <a:pt x="8743" y="5266"/>
                    <a:pt x="8804" y="5253"/>
                    <a:pt x="8863" y="5253"/>
                  </a:cubicBezTo>
                  <a:cubicBezTo>
                    <a:pt x="9137" y="5253"/>
                    <a:pt x="9361" y="5535"/>
                    <a:pt x="9586" y="5851"/>
                  </a:cubicBezTo>
                  <a:cubicBezTo>
                    <a:pt x="9810" y="6170"/>
                    <a:pt x="9705" y="6471"/>
                    <a:pt x="9635" y="6671"/>
                  </a:cubicBezTo>
                  <a:cubicBezTo>
                    <a:pt x="9614" y="6720"/>
                    <a:pt x="9604" y="6772"/>
                    <a:pt x="9597" y="6825"/>
                  </a:cubicBezTo>
                  <a:cubicBezTo>
                    <a:pt x="9610" y="6844"/>
                    <a:pt x="9674" y="6856"/>
                    <a:pt x="9764" y="6856"/>
                  </a:cubicBezTo>
                  <a:cubicBezTo>
                    <a:pt x="9932" y="6856"/>
                    <a:pt x="10193" y="6815"/>
                    <a:pt x="10398" y="6706"/>
                  </a:cubicBezTo>
                  <a:cubicBezTo>
                    <a:pt x="10467" y="6669"/>
                    <a:pt x="10533" y="6653"/>
                    <a:pt x="10598" y="6653"/>
                  </a:cubicBezTo>
                  <a:cubicBezTo>
                    <a:pt x="10829" y="6653"/>
                    <a:pt x="11036" y="6854"/>
                    <a:pt x="11211" y="7021"/>
                  </a:cubicBezTo>
                  <a:cubicBezTo>
                    <a:pt x="11249" y="7059"/>
                    <a:pt x="11288" y="7094"/>
                    <a:pt x="11323" y="7126"/>
                  </a:cubicBezTo>
                  <a:cubicBezTo>
                    <a:pt x="11393" y="7182"/>
                    <a:pt x="11400" y="7283"/>
                    <a:pt x="11340" y="7350"/>
                  </a:cubicBezTo>
                  <a:cubicBezTo>
                    <a:pt x="11219" y="7506"/>
                    <a:pt x="10774" y="7682"/>
                    <a:pt x="10551" y="7682"/>
                  </a:cubicBezTo>
                  <a:cubicBezTo>
                    <a:pt x="10508" y="7682"/>
                    <a:pt x="10474" y="7675"/>
                    <a:pt x="10451" y="7661"/>
                  </a:cubicBezTo>
                  <a:cubicBezTo>
                    <a:pt x="10409" y="7637"/>
                    <a:pt x="10395" y="7577"/>
                    <a:pt x="10419" y="7535"/>
                  </a:cubicBezTo>
                  <a:cubicBezTo>
                    <a:pt x="10426" y="7521"/>
                    <a:pt x="10416" y="7476"/>
                    <a:pt x="10353" y="7409"/>
                  </a:cubicBezTo>
                  <a:cubicBezTo>
                    <a:pt x="10216" y="7256"/>
                    <a:pt x="9862" y="7052"/>
                    <a:pt x="9476" y="7052"/>
                  </a:cubicBezTo>
                  <a:cubicBezTo>
                    <a:pt x="9359" y="7052"/>
                    <a:pt x="9239" y="7070"/>
                    <a:pt x="9121" y="7115"/>
                  </a:cubicBezTo>
                  <a:cubicBezTo>
                    <a:pt x="8938" y="7185"/>
                    <a:pt x="8830" y="7266"/>
                    <a:pt x="8798" y="7360"/>
                  </a:cubicBezTo>
                  <a:cubicBezTo>
                    <a:pt x="8753" y="7483"/>
                    <a:pt x="8840" y="7630"/>
                    <a:pt x="8914" y="7759"/>
                  </a:cubicBezTo>
                  <a:cubicBezTo>
                    <a:pt x="8956" y="7822"/>
                    <a:pt x="8988" y="7889"/>
                    <a:pt x="9012" y="7955"/>
                  </a:cubicBezTo>
                  <a:cubicBezTo>
                    <a:pt x="9033" y="8036"/>
                    <a:pt x="9005" y="8123"/>
                    <a:pt x="8942" y="8176"/>
                  </a:cubicBezTo>
                  <a:cubicBezTo>
                    <a:pt x="8807" y="8304"/>
                    <a:pt x="8523" y="8392"/>
                    <a:pt x="8201" y="8392"/>
                  </a:cubicBezTo>
                  <a:cubicBezTo>
                    <a:pt x="8021" y="8392"/>
                    <a:pt x="7829" y="8365"/>
                    <a:pt x="7643" y="8302"/>
                  </a:cubicBezTo>
                  <a:cubicBezTo>
                    <a:pt x="7499" y="8254"/>
                    <a:pt x="7403" y="8236"/>
                    <a:pt x="7336" y="8236"/>
                  </a:cubicBezTo>
                  <a:cubicBezTo>
                    <a:pt x="7229" y="8236"/>
                    <a:pt x="7196" y="8281"/>
                    <a:pt x="7164" y="8326"/>
                  </a:cubicBezTo>
                  <a:cubicBezTo>
                    <a:pt x="7115" y="8404"/>
                    <a:pt x="7031" y="8453"/>
                    <a:pt x="6940" y="8453"/>
                  </a:cubicBezTo>
                  <a:cubicBezTo>
                    <a:pt x="6824" y="8453"/>
                    <a:pt x="6691" y="8554"/>
                    <a:pt x="6631" y="8691"/>
                  </a:cubicBezTo>
                  <a:cubicBezTo>
                    <a:pt x="6575" y="8799"/>
                    <a:pt x="6593" y="8932"/>
                    <a:pt x="6673" y="9020"/>
                  </a:cubicBezTo>
                  <a:cubicBezTo>
                    <a:pt x="6746" y="9100"/>
                    <a:pt x="6857" y="9125"/>
                    <a:pt x="6988" y="9125"/>
                  </a:cubicBezTo>
                  <a:cubicBezTo>
                    <a:pt x="7098" y="9125"/>
                    <a:pt x="7222" y="9107"/>
                    <a:pt x="7349" y="9090"/>
                  </a:cubicBezTo>
                  <a:cubicBezTo>
                    <a:pt x="7484" y="9061"/>
                    <a:pt x="7621" y="9047"/>
                    <a:pt x="7758" y="9047"/>
                  </a:cubicBezTo>
                  <a:cubicBezTo>
                    <a:pt x="7891" y="9047"/>
                    <a:pt x="8023" y="9060"/>
                    <a:pt x="8154" y="9086"/>
                  </a:cubicBezTo>
                  <a:cubicBezTo>
                    <a:pt x="8186" y="9094"/>
                    <a:pt x="8215" y="9098"/>
                    <a:pt x="8246" y="9098"/>
                  </a:cubicBezTo>
                  <a:cubicBezTo>
                    <a:pt x="8256" y="9098"/>
                    <a:pt x="8266" y="9098"/>
                    <a:pt x="8277" y="9097"/>
                  </a:cubicBezTo>
                  <a:cubicBezTo>
                    <a:pt x="8277" y="9097"/>
                    <a:pt x="8291" y="9090"/>
                    <a:pt x="8308" y="9002"/>
                  </a:cubicBezTo>
                  <a:cubicBezTo>
                    <a:pt x="8319" y="8943"/>
                    <a:pt x="8354" y="8890"/>
                    <a:pt x="8403" y="8859"/>
                  </a:cubicBezTo>
                  <a:cubicBezTo>
                    <a:pt x="8467" y="8823"/>
                    <a:pt x="8540" y="8806"/>
                    <a:pt x="8614" y="8806"/>
                  </a:cubicBezTo>
                  <a:cubicBezTo>
                    <a:pt x="8620" y="8806"/>
                    <a:pt x="8627" y="8806"/>
                    <a:pt x="8634" y="8806"/>
                  </a:cubicBezTo>
                  <a:cubicBezTo>
                    <a:pt x="8791" y="8806"/>
                    <a:pt x="8984" y="8852"/>
                    <a:pt x="9159" y="8894"/>
                  </a:cubicBezTo>
                  <a:lnTo>
                    <a:pt x="9208" y="8904"/>
                  </a:lnTo>
                  <a:cubicBezTo>
                    <a:pt x="9383" y="8946"/>
                    <a:pt x="9460" y="9079"/>
                    <a:pt x="9523" y="9202"/>
                  </a:cubicBezTo>
                  <a:cubicBezTo>
                    <a:pt x="9597" y="9328"/>
                    <a:pt x="9656" y="9440"/>
                    <a:pt x="9831" y="9464"/>
                  </a:cubicBezTo>
                  <a:cubicBezTo>
                    <a:pt x="10104" y="9496"/>
                    <a:pt x="10104" y="9692"/>
                    <a:pt x="10101" y="9846"/>
                  </a:cubicBezTo>
                  <a:cubicBezTo>
                    <a:pt x="10101" y="9965"/>
                    <a:pt x="10097" y="10087"/>
                    <a:pt x="10188" y="10189"/>
                  </a:cubicBezTo>
                  <a:cubicBezTo>
                    <a:pt x="10290" y="10301"/>
                    <a:pt x="10535" y="10332"/>
                    <a:pt x="10769" y="10364"/>
                  </a:cubicBezTo>
                  <a:cubicBezTo>
                    <a:pt x="11046" y="10399"/>
                    <a:pt x="11333" y="10434"/>
                    <a:pt x="11494" y="10599"/>
                  </a:cubicBezTo>
                  <a:cubicBezTo>
                    <a:pt x="11724" y="10829"/>
                    <a:pt x="12636" y="11282"/>
                    <a:pt x="13004" y="11282"/>
                  </a:cubicBezTo>
                  <a:cubicBezTo>
                    <a:pt x="13011" y="11282"/>
                    <a:pt x="13017" y="11282"/>
                    <a:pt x="13024" y="11281"/>
                  </a:cubicBezTo>
                  <a:cubicBezTo>
                    <a:pt x="13048" y="11281"/>
                    <a:pt x="13076" y="11274"/>
                    <a:pt x="13097" y="11260"/>
                  </a:cubicBezTo>
                  <a:cubicBezTo>
                    <a:pt x="13104" y="11246"/>
                    <a:pt x="13104" y="11222"/>
                    <a:pt x="13090" y="11187"/>
                  </a:cubicBezTo>
                  <a:cubicBezTo>
                    <a:pt x="12971" y="10819"/>
                    <a:pt x="11977" y="9982"/>
                    <a:pt x="11701" y="9909"/>
                  </a:cubicBezTo>
                  <a:cubicBezTo>
                    <a:pt x="11631" y="9891"/>
                    <a:pt x="11561" y="9863"/>
                    <a:pt x="11554" y="9800"/>
                  </a:cubicBezTo>
                  <a:cubicBezTo>
                    <a:pt x="11550" y="9765"/>
                    <a:pt x="11568" y="9730"/>
                    <a:pt x="11603" y="9713"/>
                  </a:cubicBezTo>
                  <a:cubicBezTo>
                    <a:pt x="11639" y="9692"/>
                    <a:pt x="11712" y="9680"/>
                    <a:pt x="11806" y="9680"/>
                  </a:cubicBezTo>
                  <a:cubicBezTo>
                    <a:pt x="12019" y="9680"/>
                    <a:pt x="12338" y="9745"/>
                    <a:pt x="12583" y="9937"/>
                  </a:cubicBezTo>
                  <a:cubicBezTo>
                    <a:pt x="12855" y="10155"/>
                    <a:pt x="13182" y="10282"/>
                    <a:pt x="13456" y="10282"/>
                  </a:cubicBezTo>
                  <a:cubicBezTo>
                    <a:pt x="13489" y="10282"/>
                    <a:pt x="13521" y="10280"/>
                    <a:pt x="13553" y="10276"/>
                  </a:cubicBezTo>
                  <a:cubicBezTo>
                    <a:pt x="13717" y="10259"/>
                    <a:pt x="13868" y="10175"/>
                    <a:pt x="13969" y="10045"/>
                  </a:cubicBezTo>
                  <a:cubicBezTo>
                    <a:pt x="14050" y="9940"/>
                    <a:pt x="14060" y="9888"/>
                    <a:pt x="14053" y="9860"/>
                  </a:cubicBezTo>
                  <a:cubicBezTo>
                    <a:pt x="14046" y="9818"/>
                    <a:pt x="13983" y="9786"/>
                    <a:pt x="13913" y="9755"/>
                  </a:cubicBezTo>
                  <a:cubicBezTo>
                    <a:pt x="13808" y="9702"/>
                    <a:pt x="13665" y="9629"/>
                    <a:pt x="13665" y="9457"/>
                  </a:cubicBezTo>
                  <a:cubicBezTo>
                    <a:pt x="13665" y="9177"/>
                    <a:pt x="13472" y="8771"/>
                    <a:pt x="13171" y="8771"/>
                  </a:cubicBezTo>
                  <a:cubicBezTo>
                    <a:pt x="12859" y="8771"/>
                    <a:pt x="12205" y="8295"/>
                    <a:pt x="12145" y="8022"/>
                  </a:cubicBezTo>
                  <a:cubicBezTo>
                    <a:pt x="12124" y="7938"/>
                    <a:pt x="12166" y="7850"/>
                    <a:pt x="12247" y="7819"/>
                  </a:cubicBezTo>
                  <a:cubicBezTo>
                    <a:pt x="12355" y="7770"/>
                    <a:pt x="12345" y="7738"/>
                    <a:pt x="12310" y="7637"/>
                  </a:cubicBezTo>
                  <a:cubicBezTo>
                    <a:pt x="12275" y="7532"/>
                    <a:pt x="12226" y="7388"/>
                    <a:pt x="12373" y="7231"/>
                  </a:cubicBezTo>
                  <a:cubicBezTo>
                    <a:pt x="12438" y="7158"/>
                    <a:pt x="12504" y="7131"/>
                    <a:pt x="12569" y="7131"/>
                  </a:cubicBezTo>
                  <a:cubicBezTo>
                    <a:pt x="12689" y="7131"/>
                    <a:pt x="12805" y="7225"/>
                    <a:pt x="12905" y="7304"/>
                  </a:cubicBezTo>
                  <a:cubicBezTo>
                    <a:pt x="13003" y="7385"/>
                    <a:pt x="13104" y="7465"/>
                    <a:pt x="13203" y="7476"/>
                  </a:cubicBezTo>
                  <a:cubicBezTo>
                    <a:pt x="13392" y="7490"/>
                    <a:pt x="13493" y="7626"/>
                    <a:pt x="13623" y="7801"/>
                  </a:cubicBezTo>
                  <a:cubicBezTo>
                    <a:pt x="13742" y="7973"/>
                    <a:pt x="13882" y="8130"/>
                    <a:pt x="14039" y="8267"/>
                  </a:cubicBezTo>
                  <a:cubicBezTo>
                    <a:pt x="14216" y="8415"/>
                    <a:pt x="14309" y="8445"/>
                    <a:pt x="14356" y="8445"/>
                  </a:cubicBezTo>
                  <a:cubicBezTo>
                    <a:pt x="14365" y="8445"/>
                    <a:pt x="14373" y="8444"/>
                    <a:pt x="14379" y="8442"/>
                  </a:cubicBezTo>
                  <a:cubicBezTo>
                    <a:pt x="14442" y="8421"/>
                    <a:pt x="14477" y="8302"/>
                    <a:pt x="14508" y="8183"/>
                  </a:cubicBezTo>
                  <a:lnTo>
                    <a:pt x="14515" y="8151"/>
                  </a:lnTo>
                  <a:cubicBezTo>
                    <a:pt x="14564" y="7976"/>
                    <a:pt x="14750" y="7959"/>
                    <a:pt x="14883" y="7948"/>
                  </a:cubicBezTo>
                  <a:cubicBezTo>
                    <a:pt x="14939" y="7945"/>
                    <a:pt x="14991" y="7934"/>
                    <a:pt x="15040" y="7920"/>
                  </a:cubicBezTo>
                  <a:cubicBezTo>
                    <a:pt x="15061" y="7910"/>
                    <a:pt x="15075" y="7899"/>
                    <a:pt x="15072" y="7861"/>
                  </a:cubicBezTo>
                  <a:cubicBezTo>
                    <a:pt x="15044" y="7556"/>
                    <a:pt x="15499" y="7220"/>
                    <a:pt x="15814" y="7091"/>
                  </a:cubicBezTo>
                  <a:cubicBezTo>
                    <a:pt x="15849" y="7077"/>
                    <a:pt x="15860" y="7063"/>
                    <a:pt x="15860" y="7063"/>
                  </a:cubicBezTo>
                  <a:cubicBezTo>
                    <a:pt x="15860" y="7059"/>
                    <a:pt x="15856" y="7045"/>
                    <a:pt x="15835" y="7024"/>
                  </a:cubicBezTo>
                  <a:cubicBezTo>
                    <a:pt x="15743" y="6929"/>
                    <a:pt x="15480" y="6827"/>
                    <a:pt x="15257" y="6827"/>
                  </a:cubicBezTo>
                  <a:cubicBezTo>
                    <a:pt x="15243" y="6827"/>
                    <a:pt x="15229" y="6827"/>
                    <a:pt x="15216" y="6828"/>
                  </a:cubicBezTo>
                  <a:cubicBezTo>
                    <a:pt x="15197" y="6829"/>
                    <a:pt x="15180" y="6830"/>
                    <a:pt x="15163" y="6830"/>
                  </a:cubicBezTo>
                  <a:cubicBezTo>
                    <a:pt x="15019" y="6830"/>
                    <a:pt x="14904" y="6791"/>
                    <a:pt x="14820" y="6713"/>
                  </a:cubicBezTo>
                  <a:cubicBezTo>
                    <a:pt x="14701" y="6601"/>
                    <a:pt x="14683" y="6436"/>
                    <a:pt x="14683" y="6349"/>
                  </a:cubicBezTo>
                  <a:cubicBezTo>
                    <a:pt x="14683" y="6335"/>
                    <a:pt x="14641" y="6268"/>
                    <a:pt x="14487" y="6163"/>
                  </a:cubicBezTo>
                  <a:cubicBezTo>
                    <a:pt x="14265" y="6009"/>
                    <a:pt x="13988" y="5898"/>
                    <a:pt x="13847" y="5898"/>
                  </a:cubicBezTo>
                  <a:cubicBezTo>
                    <a:pt x="13828" y="5898"/>
                    <a:pt x="13811" y="5900"/>
                    <a:pt x="13798" y="5904"/>
                  </a:cubicBezTo>
                  <a:cubicBezTo>
                    <a:pt x="13771" y="5912"/>
                    <a:pt x="13744" y="5915"/>
                    <a:pt x="13715" y="5915"/>
                  </a:cubicBezTo>
                  <a:cubicBezTo>
                    <a:pt x="13575" y="5915"/>
                    <a:pt x="13413" y="5830"/>
                    <a:pt x="13245" y="5743"/>
                  </a:cubicBezTo>
                  <a:cubicBezTo>
                    <a:pt x="13090" y="5662"/>
                    <a:pt x="12933" y="5578"/>
                    <a:pt x="12803" y="5568"/>
                  </a:cubicBezTo>
                  <a:cubicBezTo>
                    <a:pt x="12583" y="5550"/>
                    <a:pt x="12278" y="5428"/>
                    <a:pt x="12117" y="5232"/>
                  </a:cubicBezTo>
                  <a:cubicBezTo>
                    <a:pt x="12037" y="5134"/>
                    <a:pt x="11998" y="5011"/>
                    <a:pt x="12016" y="4885"/>
                  </a:cubicBezTo>
                  <a:cubicBezTo>
                    <a:pt x="12019" y="4826"/>
                    <a:pt x="12051" y="4770"/>
                    <a:pt x="12100" y="4735"/>
                  </a:cubicBezTo>
                  <a:cubicBezTo>
                    <a:pt x="12141" y="4704"/>
                    <a:pt x="12193" y="4694"/>
                    <a:pt x="12249" y="4694"/>
                  </a:cubicBezTo>
                  <a:cubicBezTo>
                    <a:pt x="12317" y="4694"/>
                    <a:pt x="12391" y="4709"/>
                    <a:pt x="12464" y="4724"/>
                  </a:cubicBezTo>
                  <a:cubicBezTo>
                    <a:pt x="12543" y="4739"/>
                    <a:pt x="12610" y="4751"/>
                    <a:pt x="12661" y="4751"/>
                  </a:cubicBezTo>
                  <a:cubicBezTo>
                    <a:pt x="12715" y="4751"/>
                    <a:pt x="12752" y="4738"/>
                    <a:pt x="12768" y="4700"/>
                  </a:cubicBezTo>
                  <a:cubicBezTo>
                    <a:pt x="12775" y="4689"/>
                    <a:pt x="12779" y="4675"/>
                    <a:pt x="12775" y="4665"/>
                  </a:cubicBezTo>
                  <a:cubicBezTo>
                    <a:pt x="12754" y="4630"/>
                    <a:pt x="12600" y="4612"/>
                    <a:pt x="12513" y="4598"/>
                  </a:cubicBezTo>
                  <a:cubicBezTo>
                    <a:pt x="12338" y="4577"/>
                    <a:pt x="12152" y="4556"/>
                    <a:pt x="12135" y="4420"/>
                  </a:cubicBezTo>
                  <a:cubicBezTo>
                    <a:pt x="12114" y="4245"/>
                    <a:pt x="12236" y="4210"/>
                    <a:pt x="12324" y="4185"/>
                  </a:cubicBezTo>
                  <a:cubicBezTo>
                    <a:pt x="12376" y="4174"/>
                    <a:pt x="12429" y="4150"/>
                    <a:pt x="12474" y="4118"/>
                  </a:cubicBezTo>
                  <a:cubicBezTo>
                    <a:pt x="12488" y="4108"/>
                    <a:pt x="12495" y="4090"/>
                    <a:pt x="12492" y="4076"/>
                  </a:cubicBezTo>
                  <a:cubicBezTo>
                    <a:pt x="12485" y="3989"/>
                    <a:pt x="12327" y="3842"/>
                    <a:pt x="12194" y="3765"/>
                  </a:cubicBezTo>
                  <a:cubicBezTo>
                    <a:pt x="12181" y="3757"/>
                    <a:pt x="12171" y="3753"/>
                    <a:pt x="12160" y="3753"/>
                  </a:cubicBezTo>
                  <a:cubicBezTo>
                    <a:pt x="12137" y="3753"/>
                    <a:pt x="12113" y="3775"/>
                    <a:pt x="12065" y="3828"/>
                  </a:cubicBezTo>
                  <a:cubicBezTo>
                    <a:pt x="12009" y="3891"/>
                    <a:pt x="11942" y="3964"/>
                    <a:pt x="11837" y="3964"/>
                  </a:cubicBezTo>
                  <a:cubicBezTo>
                    <a:pt x="11832" y="3965"/>
                    <a:pt x="11826" y="3966"/>
                    <a:pt x="11821" y="3966"/>
                  </a:cubicBezTo>
                  <a:cubicBezTo>
                    <a:pt x="11775" y="3966"/>
                    <a:pt x="11733" y="3939"/>
                    <a:pt x="11711" y="3898"/>
                  </a:cubicBezTo>
                  <a:cubicBezTo>
                    <a:pt x="11652" y="3786"/>
                    <a:pt x="11771" y="3579"/>
                    <a:pt x="11879" y="3425"/>
                  </a:cubicBezTo>
                  <a:cubicBezTo>
                    <a:pt x="11879" y="3425"/>
                    <a:pt x="11879" y="3422"/>
                    <a:pt x="11879" y="3422"/>
                  </a:cubicBezTo>
                  <a:cubicBezTo>
                    <a:pt x="11879" y="3418"/>
                    <a:pt x="11869" y="3397"/>
                    <a:pt x="11827" y="3369"/>
                  </a:cubicBezTo>
                  <a:cubicBezTo>
                    <a:pt x="11706" y="3296"/>
                    <a:pt x="11462" y="3236"/>
                    <a:pt x="11272" y="3236"/>
                  </a:cubicBezTo>
                  <a:cubicBezTo>
                    <a:pt x="11208" y="3236"/>
                    <a:pt x="11151" y="3242"/>
                    <a:pt x="11106" y="3257"/>
                  </a:cubicBezTo>
                  <a:cubicBezTo>
                    <a:pt x="11040" y="3279"/>
                    <a:pt x="10981" y="3290"/>
                    <a:pt x="10928" y="3290"/>
                  </a:cubicBezTo>
                  <a:cubicBezTo>
                    <a:pt x="10862" y="3290"/>
                    <a:pt x="10806" y="3273"/>
                    <a:pt x="10759" y="3240"/>
                  </a:cubicBezTo>
                  <a:cubicBezTo>
                    <a:pt x="10675" y="3177"/>
                    <a:pt x="10629" y="3068"/>
                    <a:pt x="10629" y="2928"/>
                  </a:cubicBezTo>
                  <a:cubicBezTo>
                    <a:pt x="10629" y="2928"/>
                    <a:pt x="10629" y="2925"/>
                    <a:pt x="10629" y="2921"/>
                  </a:cubicBezTo>
                  <a:cubicBezTo>
                    <a:pt x="10623" y="2915"/>
                    <a:pt x="10608" y="2911"/>
                    <a:pt x="10588" y="2911"/>
                  </a:cubicBezTo>
                  <a:cubicBezTo>
                    <a:pt x="10479" y="2911"/>
                    <a:pt x="10199" y="3001"/>
                    <a:pt x="10031" y="3128"/>
                  </a:cubicBezTo>
                  <a:cubicBezTo>
                    <a:pt x="9985" y="3163"/>
                    <a:pt x="9929" y="3180"/>
                    <a:pt x="9873" y="3180"/>
                  </a:cubicBezTo>
                  <a:cubicBezTo>
                    <a:pt x="9823" y="3180"/>
                    <a:pt x="9773" y="3166"/>
                    <a:pt x="9730" y="3138"/>
                  </a:cubicBezTo>
                  <a:cubicBezTo>
                    <a:pt x="9656" y="3089"/>
                    <a:pt x="9618" y="3016"/>
                    <a:pt x="9635" y="2949"/>
                  </a:cubicBezTo>
                  <a:cubicBezTo>
                    <a:pt x="9642" y="2914"/>
                    <a:pt x="9677" y="2851"/>
                    <a:pt x="9793" y="2841"/>
                  </a:cubicBezTo>
                  <a:cubicBezTo>
                    <a:pt x="9943" y="2827"/>
                    <a:pt x="10108" y="2736"/>
                    <a:pt x="10174" y="2634"/>
                  </a:cubicBezTo>
                  <a:cubicBezTo>
                    <a:pt x="10202" y="2592"/>
                    <a:pt x="10209" y="2540"/>
                    <a:pt x="10192" y="2491"/>
                  </a:cubicBezTo>
                  <a:cubicBezTo>
                    <a:pt x="10171" y="2428"/>
                    <a:pt x="10048" y="2375"/>
                    <a:pt x="9898" y="2368"/>
                  </a:cubicBezTo>
                  <a:cubicBezTo>
                    <a:pt x="9887" y="2368"/>
                    <a:pt x="9875" y="2367"/>
                    <a:pt x="9864" y="2367"/>
                  </a:cubicBezTo>
                  <a:cubicBezTo>
                    <a:pt x="9713" y="2367"/>
                    <a:pt x="9540" y="2411"/>
                    <a:pt x="9488" y="2522"/>
                  </a:cubicBezTo>
                  <a:cubicBezTo>
                    <a:pt x="9462" y="2591"/>
                    <a:pt x="9397" y="2634"/>
                    <a:pt x="9326" y="2634"/>
                  </a:cubicBezTo>
                  <a:cubicBezTo>
                    <a:pt x="9310" y="2634"/>
                    <a:pt x="9294" y="2632"/>
                    <a:pt x="9278" y="2627"/>
                  </a:cubicBezTo>
                  <a:cubicBezTo>
                    <a:pt x="9065" y="2582"/>
                    <a:pt x="8732" y="2190"/>
                    <a:pt x="8732" y="1986"/>
                  </a:cubicBezTo>
                  <a:cubicBezTo>
                    <a:pt x="8732" y="1951"/>
                    <a:pt x="8574" y="1930"/>
                    <a:pt x="8490" y="1920"/>
                  </a:cubicBezTo>
                  <a:cubicBezTo>
                    <a:pt x="8326" y="1902"/>
                    <a:pt x="8154" y="1881"/>
                    <a:pt x="8081" y="1773"/>
                  </a:cubicBezTo>
                  <a:cubicBezTo>
                    <a:pt x="8042" y="1713"/>
                    <a:pt x="8035" y="1643"/>
                    <a:pt x="8056" y="1580"/>
                  </a:cubicBezTo>
                  <a:cubicBezTo>
                    <a:pt x="8067" y="1545"/>
                    <a:pt x="8060" y="1507"/>
                    <a:pt x="8035" y="1479"/>
                  </a:cubicBezTo>
                  <a:cubicBezTo>
                    <a:pt x="7885" y="1283"/>
                    <a:pt x="7209" y="1202"/>
                    <a:pt x="6957" y="1202"/>
                  </a:cubicBezTo>
                  <a:cubicBezTo>
                    <a:pt x="6785" y="1202"/>
                    <a:pt x="6565" y="1304"/>
                    <a:pt x="6467" y="1423"/>
                  </a:cubicBezTo>
                  <a:cubicBezTo>
                    <a:pt x="6425" y="1468"/>
                    <a:pt x="6404" y="1528"/>
                    <a:pt x="6414" y="1584"/>
                  </a:cubicBezTo>
                  <a:cubicBezTo>
                    <a:pt x="6432" y="1685"/>
                    <a:pt x="6400" y="1738"/>
                    <a:pt x="6369" y="1766"/>
                  </a:cubicBezTo>
                  <a:cubicBezTo>
                    <a:pt x="6337" y="1791"/>
                    <a:pt x="6301" y="1804"/>
                    <a:pt x="6264" y="1804"/>
                  </a:cubicBezTo>
                  <a:cubicBezTo>
                    <a:pt x="6239" y="1804"/>
                    <a:pt x="6214" y="1798"/>
                    <a:pt x="6190" y="1787"/>
                  </a:cubicBezTo>
                  <a:cubicBezTo>
                    <a:pt x="6061" y="1738"/>
                    <a:pt x="5970" y="1622"/>
                    <a:pt x="5945" y="1489"/>
                  </a:cubicBezTo>
                  <a:cubicBezTo>
                    <a:pt x="5945" y="1486"/>
                    <a:pt x="5942" y="1475"/>
                    <a:pt x="5938" y="1472"/>
                  </a:cubicBezTo>
                  <a:cubicBezTo>
                    <a:pt x="5933" y="1469"/>
                    <a:pt x="5926" y="1468"/>
                    <a:pt x="5918" y="1468"/>
                  </a:cubicBezTo>
                  <a:cubicBezTo>
                    <a:pt x="5838" y="1468"/>
                    <a:pt x="5635" y="1587"/>
                    <a:pt x="5508" y="1657"/>
                  </a:cubicBezTo>
                  <a:cubicBezTo>
                    <a:pt x="5347" y="1752"/>
                    <a:pt x="5203" y="1832"/>
                    <a:pt x="5112" y="1832"/>
                  </a:cubicBezTo>
                  <a:cubicBezTo>
                    <a:pt x="5077" y="1832"/>
                    <a:pt x="5042" y="1818"/>
                    <a:pt x="5018" y="1790"/>
                  </a:cubicBezTo>
                  <a:cubicBezTo>
                    <a:pt x="4958" y="1713"/>
                    <a:pt x="4986" y="1566"/>
                    <a:pt x="5035" y="1328"/>
                  </a:cubicBezTo>
                  <a:cubicBezTo>
                    <a:pt x="5070" y="1160"/>
                    <a:pt x="5116" y="954"/>
                    <a:pt x="5077" y="873"/>
                  </a:cubicBezTo>
                  <a:cubicBezTo>
                    <a:pt x="5042" y="793"/>
                    <a:pt x="4997" y="719"/>
                    <a:pt x="4941" y="653"/>
                  </a:cubicBezTo>
                  <a:cubicBezTo>
                    <a:pt x="4836" y="520"/>
                    <a:pt x="4751" y="373"/>
                    <a:pt x="4688" y="215"/>
                  </a:cubicBezTo>
                  <a:cubicBezTo>
                    <a:pt x="4653" y="128"/>
                    <a:pt x="4569" y="68"/>
                    <a:pt x="4440" y="47"/>
                  </a:cubicBezTo>
                  <a:cubicBezTo>
                    <a:pt x="4400" y="40"/>
                    <a:pt x="4357" y="37"/>
                    <a:pt x="4314" y="37"/>
                  </a:cubicBezTo>
                  <a:cubicBezTo>
                    <a:pt x="4081" y="37"/>
                    <a:pt x="3824" y="133"/>
                    <a:pt x="3733" y="236"/>
                  </a:cubicBezTo>
                  <a:cubicBezTo>
                    <a:pt x="3631" y="348"/>
                    <a:pt x="3449" y="387"/>
                    <a:pt x="3239" y="429"/>
                  </a:cubicBezTo>
                  <a:cubicBezTo>
                    <a:pt x="3005" y="474"/>
                    <a:pt x="2738" y="527"/>
                    <a:pt x="2567" y="698"/>
                  </a:cubicBezTo>
                  <a:cubicBezTo>
                    <a:pt x="2479" y="786"/>
                    <a:pt x="2441" y="873"/>
                    <a:pt x="2444" y="968"/>
                  </a:cubicBezTo>
                  <a:cubicBezTo>
                    <a:pt x="2448" y="1059"/>
                    <a:pt x="2500" y="1213"/>
                    <a:pt x="2731" y="1405"/>
                  </a:cubicBezTo>
                  <a:cubicBezTo>
                    <a:pt x="2760" y="1426"/>
                    <a:pt x="2777" y="1461"/>
                    <a:pt x="2774" y="1496"/>
                  </a:cubicBezTo>
                  <a:cubicBezTo>
                    <a:pt x="2774" y="1577"/>
                    <a:pt x="2693" y="1633"/>
                    <a:pt x="2591" y="1706"/>
                  </a:cubicBezTo>
                  <a:cubicBezTo>
                    <a:pt x="2525" y="1755"/>
                    <a:pt x="2416" y="1832"/>
                    <a:pt x="2416" y="1878"/>
                  </a:cubicBezTo>
                  <a:cubicBezTo>
                    <a:pt x="2416" y="1888"/>
                    <a:pt x="2423" y="1899"/>
                    <a:pt x="2441" y="1913"/>
                  </a:cubicBezTo>
                  <a:cubicBezTo>
                    <a:pt x="2518" y="1972"/>
                    <a:pt x="2605" y="2014"/>
                    <a:pt x="2703" y="2039"/>
                  </a:cubicBezTo>
                  <a:cubicBezTo>
                    <a:pt x="2854" y="2081"/>
                    <a:pt x="3026" y="2134"/>
                    <a:pt x="3043" y="2372"/>
                  </a:cubicBezTo>
                  <a:cubicBezTo>
                    <a:pt x="3057" y="2452"/>
                    <a:pt x="3005" y="2529"/>
                    <a:pt x="2924" y="2547"/>
                  </a:cubicBezTo>
                  <a:cubicBezTo>
                    <a:pt x="2906" y="2551"/>
                    <a:pt x="2886" y="2553"/>
                    <a:pt x="2864" y="2553"/>
                  </a:cubicBezTo>
                  <a:cubicBezTo>
                    <a:pt x="2607" y="2553"/>
                    <a:pt x="2100" y="2265"/>
                    <a:pt x="1996" y="2039"/>
                  </a:cubicBezTo>
                  <a:cubicBezTo>
                    <a:pt x="1933" y="1899"/>
                    <a:pt x="1940" y="1769"/>
                    <a:pt x="1947" y="1654"/>
                  </a:cubicBezTo>
                  <a:cubicBezTo>
                    <a:pt x="1954" y="1531"/>
                    <a:pt x="1961" y="1433"/>
                    <a:pt x="1888" y="1349"/>
                  </a:cubicBezTo>
                  <a:cubicBezTo>
                    <a:pt x="1660" y="1087"/>
                    <a:pt x="1919" y="768"/>
                    <a:pt x="2178" y="485"/>
                  </a:cubicBezTo>
                  <a:cubicBezTo>
                    <a:pt x="2294" y="362"/>
                    <a:pt x="2430" y="257"/>
                    <a:pt x="2581" y="180"/>
                  </a:cubicBezTo>
                  <a:cubicBezTo>
                    <a:pt x="2689" y="121"/>
                    <a:pt x="2717" y="103"/>
                    <a:pt x="2721" y="50"/>
                  </a:cubicBezTo>
                  <a:cubicBezTo>
                    <a:pt x="2703" y="40"/>
                    <a:pt x="2647" y="15"/>
                    <a:pt x="2511" y="5"/>
                  </a:cubicBezTo>
                  <a:cubicBezTo>
                    <a:pt x="2475" y="2"/>
                    <a:pt x="2435" y="1"/>
                    <a:pt x="23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6" name="Google Shape;5996;p53"/>
            <p:cNvSpPr/>
            <p:nvPr/>
          </p:nvSpPr>
          <p:spPr>
            <a:xfrm>
              <a:off x="1468014" y="1430297"/>
              <a:ext cx="17841" cy="12722"/>
            </a:xfrm>
            <a:custGeom>
              <a:avLst/>
              <a:gdLst/>
              <a:ahLst/>
              <a:cxnLst/>
              <a:rect l="l" t="t" r="r" b="b"/>
              <a:pathLst>
                <a:path w="1314" h="937" extrusionOk="0">
                  <a:moveTo>
                    <a:pt x="676" y="0"/>
                  </a:moveTo>
                  <a:cubicBezTo>
                    <a:pt x="624" y="0"/>
                    <a:pt x="571" y="4"/>
                    <a:pt x="512" y="7"/>
                  </a:cubicBezTo>
                  <a:cubicBezTo>
                    <a:pt x="379" y="21"/>
                    <a:pt x="169" y="158"/>
                    <a:pt x="71" y="347"/>
                  </a:cubicBezTo>
                  <a:cubicBezTo>
                    <a:pt x="1" y="476"/>
                    <a:pt x="4" y="634"/>
                    <a:pt x="78" y="757"/>
                  </a:cubicBezTo>
                  <a:cubicBezTo>
                    <a:pt x="159" y="892"/>
                    <a:pt x="284" y="937"/>
                    <a:pt x="425" y="937"/>
                  </a:cubicBezTo>
                  <a:cubicBezTo>
                    <a:pt x="575" y="937"/>
                    <a:pt x="741" y="886"/>
                    <a:pt x="890" y="841"/>
                  </a:cubicBezTo>
                  <a:cubicBezTo>
                    <a:pt x="967" y="813"/>
                    <a:pt x="1047" y="792"/>
                    <a:pt x="1128" y="778"/>
                  </a:cubicBezTo>
                  <a:cubicBezTo>
                    <a:pt x="1187" y="767"/>
                    <a:pt x="1236" y="728"/>
                    <a:pt x="1257" y="672"/>
                  </a:cubicBezTo>
                  <a:cubicBezTo>
                    <a:pt x="1313" y="539"/>
                    <a:pt x="1268" y="301"/>
                    <a:pt x="1159" y="151"/>
                  </a:cubicBezTo>
                  <a:cubicBezTo>
                    <a:pt x="1089" y="53"/>
                    <a:pt x="914" y="0"/>
                    <a:pt x="6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7" name="Google Shape;5997;p53"/>
            <p:cNvSpPr/>
            <p:nvPr/>
          </p:nvSpPr>
          <p:spPr>
            <a:xfrm>
              <a:off x="1442393" y="1355322"/>
              <a:ext cx="32667" cy="14188"/>
            </a:xfrm>
            <a:custGeom>
              <a:avLst/>
              <a:gdLst/>
              <a:ahLst/>
              <a:cxnLst/>
              <a:rect l="l" t="t" r="r" b="b"/>
              <a:pathLst>
                <a:path w="2406" h="1045" extrusionOk="0">
                  <a:moveTo>
                    <a:pt x="180" y="1"/>
                  </a:moveTo>
                  <a:cubicBezTo>
                    <a:pt x="127" y="1"/>
                    <a:pt x="79" y="31"/>
                    <a:pt x="57" y="82"/>
                  </a:cubicBezTo>
                  <a:cubicBezTo>
                    <a:pt x="1" y="201"/>
                    <a:pt x="46" y="247"/>
                    <a:pt x="162" y="341"/>
                  </a:cubicBezTo>
                  <a:cubicBezTo>
                    <a:pt x="263" y="425"/>
                    <a:pt x="386" y="534"/>
                    <a:pt x="400" y="730"/>
                  </a:cubicBezTo>
                  <a:cubicBezTo>
                    <a:pt x="407" y="845"/>
                    <a:pt x="477" y="947"/>
                    <a:pt x="578" y="996"/>
                  </a:cubicBezTo>
                  <a:cubicBezTo>
                    <a:pt x="642" y="1029"/>
                    <a:pt x="717" y="1045"/>
                    <a:pt x="795" y="1045"/>
                  </a:cubicBezTo>
                  <a:cubicBezTo>
                    <a:pt x="907" y="1045"/>
                    <a:pt x="1025" y="1011"/>
                    <a:pt x="1124" y="947"/>
                  </a:cubicBezTo>
                  <a:cubicBezTo>
                    <a:pt x="1256" y="861"/>
                    <a:pt x="1455" y="845"/>
                    <a:pt x="1669" y="845"/>
                  </a:cubicBezTo>
                  <a:cubicBezTo>
                    <a:pt x="1744" y="845"/>
                    <a:pt x="1821" y="847"/>
                    <a:pt x="1898" y="849"/>
                  </a:cubicBezTo>
                  <a:cubicBezTo>
                    <a:pt x="1967" y="851"/>
                    <a:pt x="2038" y="853"/>
                    <a:pt x="2105" y="853"/>
                  </a:cubicBezTo>
                  <a:cubicBezTo>
                    <a:pt x="2240" y="853"/>
                    <a:pt x="2355" y="844"/>
                    <a:pt x="2395" y="807"/>
                  </a:cubicBezTo>
                  <a:cubicBezTo>
                    <a:pt x="2402" y="800"/>
                    <a:pt x="2406" y="793"/>
                    <a:pt x="2402" y="782"/>
                  </a:cubicBezTo>
                  <a:cubicBezTo>
                    <a:pt x="2402" y="768"/>
                    <a:pt x="2395" y="712"/>
                    <a:pt x="2269" y="607"/>
                  </a:cubicBezTo>
                  <a:cubicBezTo>
                    <a:pt x="1985" y="378"/>
                    <a:pt x="1446" y="160"/>
                    <a:pt x="1172" y="160"/>
                  </a:cubicBezTo>
                  <a:cubicBezTo>
                    <a:pt x="1145" y="160"/>
                    <a:pt x="1121" y="162"/>
                    <a:pt x="1100" y="166"/>
                  </a:cubicBezTo>
                  <a:cubicBezTo>
                    <a:pt x="1066" y="173"/>
                    <a:pt x="1031" y="176"/>
                    <a:pt x="996" y="176"/>
                  </a:cubicBezTo>
                  <a:cubicBezTo>
                    <a:pt x="854" y="176"/>
                    <a:pt x="698" y="127"/>
                    <a:pt x="547" y="82"/>
                  </a:cubicBezTo>
                  <a:cubicBezTo>
                    <a:pt x="400" y="36"/>
                    <a:pt x="284" y="1"/>
                    <a:pt x="197" y="1"/>
                  </a:cubicBezTo>
                  <a:cubicBezTo>
                    <a:pt x="191" y="1"/>
                    <a:pt x="186" y="1"/>
                    <a:pt x="1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8" name="Google Shape;5998;p53"/>
            <p:cNvSpPr/>
            <p:nvPr/>
          </p:nvSpPr>
          <p:spPr>
            <a:xfrm>
              <a:off x="1605052" y="1620450"/>
              <a:ext cx="47684" cy="43136"/>
            </a:xfrm>
            <a:custGeom>
              <a:avLst/>
              <a:gdLst/>
              <a:ahLst/>
              <a:cxnLst/>
              <a:rect l="l" t="t" r="r" b="b"/>
              <a:pathLst>
                <a:path w="3512" h="3177" extrusionOk="0">
                  <a:moveTo>
                    <a:pt x="1779" y="1"/>
                  </a:moveTo>
                  <a:cubicBezTo>
                    <a:pt x="1737" y="1"/>
                    <a:pt x="1694" y="10"/>
                    <a:pt x="1656" y="27"/>
                  </a:cubicBezTo>
                  <a:cubicBezTo>
                    <a:pt x="1432" y="114"/>
                    <a:pt x="806" y="979"/>
                    <a:pt x="806" y="1196"/>
                  </a:cubicBezTo>
                  <a:cubicBezTo>
                    <a:pt x="806" y="1392"/>
                    <a:pt x="795" y="1609"/>
                    <a:pt x="683" y="1718"/>
                  </a:cubicBezTo>
                  <a:cubicBezTo>
                    <a:pt x="639" y="1756"/>
                    <a:pt x="582" y="1780"/>
                    <a:pt x="525" y="1780"/>
                  </a:cubicBezTo>
                  <a:cubicBezTo>
                    <a:pt x="515" y="1780"/>
                    <a:pt x="504" y="1779"/>
                    <a:pt x="494" y="1777"/>
                  </a:cubicBezTo>
                  <a:cubicBezTo>
                    <a:pt x="489" y="1777"/>
                    <a:pt x="483" y="1777"/>
                    <a:pt x="478" y="1777"/>
                  </a:cubicBezTo>
                  <a:cubicBezTo>
                    <a:pt x="356" y="1777"/>
                    <a:pt x="227" y="1850"/>
                    <a:pt x="200" y="1921"/>
                  </a:cubicBezTo>
                  <a:cubicBezTo>
                    <a:pt x="196" y="1931"/>
                    <a:pt x="189" y="1952"/>
                    <a:pt x="231" y="1984"/>
                  </a:cubicBezTo>
                  <a:cubicBezTo>
                    <a:pt x="259" y="2005"/>
                    <a:pt x="281" y="2040"/>
                    <a:pt x="288" y="2075"/>
                  </a:cubicBezTo>
                  <a:cubicBezTo>
                    <a:pt x="298" y="2162"/>
                    <a:pt x="228" y="2250"/>
                    <a:pt x="147" y="2351"/>
                  </a:cubicBezTo>
                  <a:cubicBezTo>
                    <a:pt x="81" y="2435"/>
                    <a:pt x="0" y="2537"/>
                    <a:pt x="11" y="2593"/>
                  </a:cubicBezTo>
                  <a:cubicBezTo>
                    <a:pt x="11" y="2600"/>
                    <a:pt x="18" y="2617"/>
                    <a:pt x="60" y="2642"/>
                  </a:cubicBezTo>
                  <a:cubicBezTo>
                    <a:pt x="105" y="2667"/>
                    <a:pt x="160" y="2676"/>
                    <a:pt x="221" y="2676"/>
                  </a:cubicBezTo>
                  <a:cubicBezTo>
                    <a:pt x="299" y="2676"/>
                    <a:pt x="386" y="2661"/>
                    <a:pt x="477" y="2645"/>
                  </a:cubicBezTo>
                  <a:cubicBezTo>
                    <a:pt x="582" y="2626"/>
                    <a:pt x="688" y="2615"/>
                    <a:pt x="796" y="2615"/>
                  </a:cubicBezTo>
                  <a:cubicBezTo>
                    <a:pt x="824" y="2615"/>
                    <a:pt x="851" y="2616"/>
                    <a:pt x="879" y="2617"/>
                  </a:cubicBezTo>
                  <a:cubicBezTo>
                    <a:pt x="983" y="2630"/>
                    <a:pt x="1077" y="2639"/>
                    <a:pt x="1164" y="2639"/>
                  </a:cubicBezTo>
                  <a:cubicBezTo>
                    <a:pt x="1326" y="2639"/>
                    <a:pt x="1466" y="2607"/>
                    <a:pt x="1607" y="2502"/>
                  </a:cubicBezTo>
                  <a:cubicBezTo>
                    <a:pt x="1671" y="2454"/>
                    <a:pt x="1725" y="2436"/>
                    <a:pt x="1771" y="2436"/>
                  </a:cubicBezTo>
                  <a:cubicBezTo>
                    <a:pt x="1852" y="2436"/>
                    <a:pt x="1909" y="2491"/>
                    <a:pt x="1954" y="2533"/>
                  </a:cubicBezTo>
                  <a:cubicBezTo>
                    <a:pt x="2009" y="2586"/>
                    <a:pt x="2049" y="2619"/>
                    <a:pt x="2112" y="2619"/>
                  </a:cubicBezTo>
                  <a:cubicBezTo>
                    <a:pt x="2121" y="2619"/>
                    <a:pt x="2130" y="2619"/>
                    <a:pt x="2139" y="2617"/>
                  </a:cubicBezTo>
                  <a:cubicBezTo>
                    <a:pt x="2151" y="2616"/>
                    <a:pt x="2167" y="2614"/>
                    <a:pt x="2185" y="2614"/>
                  </a:cubicBezTo>
                  <a:cubicBezTo>
                    <a:pt x="2223" y="2614"/>
                    <a:pt x="2269" y="2623"/>
                    <a:pt x="2290" y="2663"/>
                  </a:cubicBezTo>
                  <a:cubicBezTo>
                    <a:pt x="2325" y="2722"/>
                    <a:pt x="2276" y="2782"/>
                    <a:pt x="2209" y="2859"/>
                  </a:cubicBezTo>
                  <a:cubicBezTo>
                    <a:pt x="2160" y="2918"/>
                    <a:pt x="2083" y="3002"/>
                    <a:pt x="2083" y="3058"/>
                  </a:cubicBezTo>
                  <a:cubicBezTo>
                    <a:pt x="2143" y="3027"/>
                    <a:pt x="2199" y="2992"/>
                    <a:pt x="2255" y="2950"/>
                  </a:cubicBezTo>
                  <a:cubicBezTo>
                    <a:pt x="2318" y="2901"/>
                    <a:pt x="2388" y="2859"/>
                    <a:pt x="2458" y="2820"/>
                  </a:cubicBezTo>
                  <a:cubicBezTo>
                    <a:pt x="2518" y="2789"/>
                    <a:pt x="2584" y="2775"/>
                    <a:pt x="2651" y="2775"/>
                  </a:cubicBezTo>
                  <a:cubicBezTo>
                    <a:pt x="2655" y="2775"/>
                    <a:pt x="2660" y="2775"/>
                    <a:pt x="2664" y="2775"/>
                  </a:cubicBezTo>
                  <a:cubicBezTo>
                    <a:pt x="2740" y="2775"/>
                    <a:pt x="2815" y="2802"/>
                    <a:pt x="2871" y="2855"/>
                  </a:cubicBezTo>
                  <a:cubicBezTo>
                    <a:pt x="2927" y="2918"/>
                    <a:pt x="2931" y="3009"/>
                    <a:pt x="2885" y="3076"/>
                  </a:cubicBezTo>
                  <a:cubicBezTo>
                    <a:pt x="2889" y="3093"/>
                    <a:pt x="2966" y="3149"/>
                    <a:pt x="3113" y="3170"/>
                  </a:cubicBezTo>
                  <a:cubicBezTo>
                    <a:pt x="3140" y="3174"/>
                    <a:pt x="3168" y="3176"/>
                    <a:pt x="3197" y="3176"/>
                  </a:cubicBezTo>
                  <a:cubicBezTo>
                    <a:pt x="3301" y="3176"/>
                    <a:pt x="3409" y="3149"/>
                    <a:pt x="3452" y="3072"/>
                  </a:cubicBezTo>
                  <a:cubicBezTo>
                    <a:pt x="3512" y="2967"/>
                    <a:pt x="3477" y="2820"/>
                    <a:pt x="3417" y="2726"/>
                  </a:cubicBezTo>
                  <a:cubicBezTo>
                    <a:pt x="3375" y="2663"/>
                    <a:pt x="3340" y="2642"/>
                    <a:pt x="3330" y="2642"/>
                  </a:cubicBezTo>
                  <a:lnTo>
                    <a:pt x="3323" y="2652"/>
                  </a:lnTo>
                  <a:cubicBezTo>
                    <a:pt x="3286" y="2726"/>
                    <a:pt x="3235" y="2741"/>
                    <a:pt x="3202" y="2741"/>
                  </a:cubicBezTo>
                  <a:cubicBezTo>
                    <a:pt x="3198" y="2741"/>
                    <a:pt x="3194" y="2740"/>
                    <a:pt x="3190" y="2740"/>
                  </a:cubicBezTo>
                  <a:cubicBezTo>
                    <a:pt x="3127" y="2726"/>
                    <a:pt x="3081" y="2677"/>
                    <a:pt x="3071" y="2617"/>
                  </a:cubicBezTo>
                  <a:cubicBezTo>
                    <a:pt x="3039" y="2488"/>
                    <a:pt x="3088" y="2355"/>
                    <a:pt x="3193" y="2278"/>
                  </a:cubicBezTo>
                  <a:cubicBezTo>
                    <a:pt x="3214" y="2264"/>
                    <a:pt x="3232" y="2246"/>
                    <a:pt x="3246" y="2229"/>
                  </a:cubicBezTo>
                  <a:cubicBezTo>
                    <a:pt x="3225" y="2225"/>
                    <a:pt x="3204" y="2223"/>
                    <a:pt x="3183" y="2223"/>
                  </a:cubicBezTo>
                  <a:cubicBezTo>
                    <a:pt x="3131" y="2223"/>
                    <a:pt x="3081" y="2235"/>
                    <a:pt x="3036" y="2260"/>
                  </a:cubicBezTo>
                  <a:cubicBezTo>
                    <a:pt x="3015" y="2274"/>
                    <a:pt x="2991" y="2280"/>
                    <a:pt x="2968" y="2280"/>
                  </a:cubicBezTo>
                  <a:cubicBezTo>
                    <a:pt x="2917" y="2280"/>
                    <a:pt x="2868" y="2251"/>
                    <a:pt x="2847" y="2201"/>
                  </a:cubicBezTo>
                  <a:cubicBezTo>
                    <a:pt x="2780" y="2071"/>
                    <a:pt x="2833" y="1732"/>
                    <a:pt x="2990" y="1620"/>
                  </a:cubicBezTo>
                  <a:cubicBezTo>
                    <a:pt x="2924" y="1585"/>
                    <a:pt x="2854" y="1560"/>
                    <a:pt x="2784" y="1550"/>
                  </a:cubicBezTo>
                  <a:cubicBezTo>
                    <a:pt x="2768" y="1547"/>
                    <a:pt x="2752" y="1545"/>
                    <a:pt x="2736" y="1545"/>
                  </a:cubicBezTo>
                  <a:cubicBezTo>
                    <a:pt x="2713" y="1545"/>
                    <a:pt x="2691" y="1548"/>
                    <a:pt x="2668" y="1557"/>
                  </a:cubicBezTo>
                  <a:cubicBezTo>
                    <a:pt x="2668" y="1637"/>
                    <a:pt x="2612" y="1693"/>
                    <a:pt x="2521" y="1707"/>
                  </a:cubicBezTo>
                  <a:cubicBezTo>
                    <a:pt x="2507" y="1709"/>
                    <a:pt x="2492" y="1710"/>
                    <a:pt x="2476" y="1710"/>
                  </a:cubicBezTo>
                  <a:cubicBezTo>
                    <a:pt x="2322" y="1710"/>
                    <a:pt x="2097" y="1619"/>
                    <a:pt x="2055" y="1476"/>
                  </a:cubicBezTo>
                  <a:cubicBezTo>
                    <a:pt x="2041" y="1424"/>
                    <a:pt x="1975" y="1382"/>
                    <a:pt x="1919" y="1343"/>
                  </a:cubicBezTo>
                  <a:cubicBezTo>
                    <a:pt x="1856" y="1301"/>
                    <a:pt x="1793" y="1259"/>
                    <a:pt x="1786" y="1192"/>
                  </a:cubicBezTo>
                  <a:cubicBezTo>
                    <a:pt x="1782" y="1161"/>
                    <a:pt x="1793" y="1129"/>
                    <a:pt x="1810" y="1105"/>
                  </a:cubicBezTo>
                  <a:cubicBezTo>
                    <a:pt x="1774" y="1095"/>
                    <a:pt x="1735" y="1090"/>
                    <a:pt x="1696" y="1090"/>
                  </a:cubicBezTo>
                  <a:cubicBezTo>
                    <a:pt x="1664" y="1090"/>
                    <a:pt x="1632" y="1094"/>
                    <a:pt x="1600" y="1101"/>
                  </a:cubicBezTo>
                  <a:cubicBezTo>
                    <a:pt x="1569" y="1112"/>
                    <a:pt x="1527" y="1129"/>
                    <a:pt x="1520" y="1164"/>
                  </a:cubicBezTo>
                  <a:cubicBezTo>
                    <a:pt x="1499" y="1248"/>
                    <a:pt x="1457" y="1270"/>
                    <a:pt x="1425" y="1273"/>
                  </a:cubicBezTo>
                  <a:cubicBezTo>
                    <a:pt x="1423" y="1273"/>
                    <a:pt x="1420" y="1273"/>
                    <a:pt x="1417" y="1273"/>
                  </a:cubicBezTo>
                  <a:cubicBezTo>
                    <a:pt x="1378" y="1273"/>
                    <a:pt x="1340" y="1249"/>
                    <a:pt x="1327" y="1210"/>
                  </a:cubicBezTo>
                  <a:cubicBezTo>
                    <a:pt x="1278" y="1112"/>
                    <a:pt x="1285" y="895"/>
                    <a:pt x="1457" y="716"/>
                  </a:cubicBezTo>
                  <a:cubicBezTo>
                    <a:pt x="1537" y="625"/>
                    <a:pt x="1600" y="517"/>
                    <a:pt x="1635" y="398"/>
                  </a:cubicBezTo>
                  <a:cubicBezTo>
                    <a:pt x="1681" y="279"/>
                    <a:pt x="1719" y="170"/>
                    <a:pt x="1859" y="90"/>
                  </a:cubicBezTo>
                  <a:cubicBezTo>
                    <a:pt x="1901" y="62"/>
                    <a:pt x="1912" y="44"/>
                    <a:pt x="1912" y="37"/>
                  </a:cubicBezTo>
                  <a:cubicBezTo>
                    <a:pt x="1905" y="30"/>
                    <a:pt x="1894" y="23"/>
                    <a:pt x="1884" y="20"/>
                  </a:cubicBezTo>
                  <a:cubicBezTo>
                    <a:pt x="1850" y="7"/>
                    <a:pt x="1815" y="1"/>
                    <a:pt x="17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9" name="Google Shape;5999;p53"/>
            <p:cNvSpPr/>
            <p:nvPr/>
          </p:nvSpPr>
          <p:spPr>
            <a:xfrm>
              <a:off x="1053479" y="1595277"/>
              <a:ext cx="11704" cy="15777"/>
            </a:xfrm>
            <a:custGeom>
              <a:avLst/>
              <a:gdLst/>
              <a:ahLst/>
              <a:cxnLst/>
              <a:rect l="l" t="t" r="r" b="b"/>
              <a:pathLst>
                <a:path w="862" h="1162" extrusionOk="0">
                  <a:moveTo>
                    <a:pt x="329" y="0"/>
                  </a:moveTo>
                  <a:cubicBezTo>
                    <a:pt x="325" y="0"/>
                    <a:pt x="320" y="0"/>
                    <a:pt x="316" y="1"/>
                  </a:cubicBezTo>
                  <a:cubicBezTo>
                    <a:pt x="232" y="4"/>
                    <a:pt x="148" y="29"/>
                    <a:pt x="74" y="74"/>
                  </a:cubicBezTo>
                  <a:cubicBezTo>
                    <a:pt x="29" y="95"/>
                    <a:pt x="1" y="144"/>
                    <a:pt x="4" y="197"/>
                  </a:cubicBezTo>
                  <a:cubicBezTo>
                    <a:pt x="1" y="470"/>
                    <a:pt x="445" y="970"/>
                    <a:pt x="715" y="1121"/>
                  </a:cubicBezTo>
                  <a:cubicBezTo>
                    <a:pt x="776" y="1155"/>
                    <a:pt x="811" y="1161"/>
                    <a:pt x="828" y="1161"/>
                  </a:cubicBezTo>
                  <a:cubicBezTo>
                    <a:pt x="837" y="1161"/>
                    <a:pt x="841" y="1160"/>
                    <a:pt x="841" y="1160"/>
                  </a:cubicBezTo>
                  <a:cubicBezTo>
                    <a:pt x="862" y="1128"/>
                    <a:pt x="774" y="953"/>
                    <a:pt x="725" y="858"/>
                  </a:cubicBezTo>
                  <a:cubicBezTo>
                    <a:pt x="641" y="697"/>
                    <a:pt x="550" y="519"/>
                    <a:pt x="550" y="372"/>
                  </a:cubicBezTo>
                  <a:cubicBezTo>
                    <a:pt x="550" y="204"/>
                    <a:pt x="501" y="74"/>
                    <a:pt x="421" y="25"/>
                  </a:cubicBezTo>
                  <a:cubicBezTo>
                    <a:pt x="393" y="10"/>
                    <a:pt x="361" y="0"/>
                    <a:pt x="3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0" name="Google Shape;6000;p53"/>
            <p:cNvSpPr/>
            <p:nvPr/>
          </p:nvSpPr>
          <p:spPr>
            <a:xfrm>
              <a:off x="1341580" y="1422123"/>
              <a:ext cx="1439" cy="2009"/>
            </a:xfrm>
            <a:custGeom>
              <a:avLst/>
              <a:gdLst/>
              <a:ahLst/>
              <a:cxnLst/>
              <a:rect l="l" t="t" r="r" b="b"/>
              <a:pathLst>
                <a:path w="106" h="148" extrusionOk="0">
                  <a:moveTo>
                    <a:pt x="105" y="0"/>
                  </a:moveTo>
                  <a:lnTo>
                    <a:pt x="77" y="32"/>
                  </a:lnTo>
                  <a:cubicBezTo>
                    <a:pt x="32" y="81"/>
                    <a:pt x="0" y="116"/>
                    <a:pt x="0" y="147"/>
                  </a:cubicBezTo>
                  <a:cubicBezTo>
                    <a:pt x="42" y="102"/>
                    <a:pt x="77" y="53"/>
                    <a:pt x="1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1" name="Google Shape;6001;p53"/>
            <p:cNvSpPr/>
            <p:nvPr/>
          </p:nvSpPr>
          <p:spPr>
            <a:xfrm>
              <a:off x="993779" y="1350298"/>
              <a:ext cx="636812" cy="355798"/>
            </a:xfrm>
            <a:custGeom>
              <a:avLst/>
              <a:gdLst/>
              <a:ahLst/>
              <a:cxnLst/>
              <a:rect l="l" t="t" r="r" b="b"/>
              <a:pathLst>
                <a:path w="46902" h="26205" extrusionOk="0">
                  <a:moveTo>
                    <a:pt x="26126" y="0"/>
                  </a:moveTo>
                  <a:cubicBezTo>
                    <a:pt x="25749" y="0"/>
                    <a:pt x="25224" y="93"/>
                    <a:pt x="25161" y="165"/>
                  </a:cubicBezTo>
                  <a:cubicBezTo>
                    <a:pt x="25158" y="165"/>
                    <a:pt x="25158" y="168"/>
                    <a:pt x="25154" y="168"/>
                  </a:cubicBezTo>
                  <a:cubicBezTo>
                    <a:pt x="25154" y="182"/>
                    <a:pt x="25196" y="221"/>
                    <a:pt x="25217" y="242"/>
                  </a:cubicBezTo>
                  <a:cubicBezTo>
                    <a:pt x="25277" y="301"/>
                    <a:pt x="25350" y="371"/>
                    <a:pt x="25319" y="466"/>
                  </a:cubicBezTo>
                  <a:cubicBezTo>
                    <a:pt x="25312" y="498"/>
                    <a:pt x="25287" y="526"/>
                    <a:pt x="25259" y="540"/>
                  </a:cubicBezTo>
                  <a:cubicBezTo>
                    <a:pt x="25241" y="548"/>
                    <a:pt x="25222" y="551"/>
                    <a:pt x="25203" y="551"/>
                  </a:cubicBezTo>
                  <a:cubicBezTo>
                    <a:pt x="25156" y="551"/>
                    <a:pt x="25106" y="530"/>
                    <a:pt x="25056" y="508"/>
                  </a:cubicBezTo>
                  <a:cubicBezTo>
                    <a:pt x="25018" y="487"/>
                    <a:pt x="24976" y="473"/>
                    <a:pt x="24934" y="470"/>
                  </a:cubicBezTo>
                  <a:lnTo>
                    <a:pt x="24934" y="470"/>
                  </a:lnTo>
                  <a:cubicBezTo>
                    <a:pt x="24934" y="505"/>
                    <a:pt x="24941" y="540"/>
                    <a:pt x="24948" y="571"/>
                  </a:cubicBezTo>
                  <a:cubicBezTo>
                    <a:pt x="24976" y="729"/>
                    <a:pt x="24983" y="890"/>
                    <a:pt x="24969" y="1047"/>
                  </a:cubicBezTo>
                  <a:cubicBezTo>
                    <a:pt x="24944" y="1362"/>
                    <a:pt x="25004" y="1429"/>
                    <a:pt x="25091" y="1523"/>
                  </a:cubicBezTo>
                  <a:cubicBezTo>
                    <a:pt x="25112" y="1548"/>
                    <a:pt x="25137" y="1576"/>
                    <a:pt x="25161" y="1607"/>
                  </a:cubicBezTo>
                  <a:cubicBezTo>
                    <a:pt x="25280" y="1761"/>
                    <a:pt x="25277" y="1947"/>
                    <a:pt x="25273" y="2164"/>
                  </a:cubicBezTo>
                  <a:lnTo>
                    <a:pt x="25273" y="2279"/>
                  </a:lnTo>
                  <a:cubicBezTo>
                    <a:pt x="25273" y="2525"/>
                    <a:pt x="25091" y="2581"/>
                    <a:pt x="24983" y="2616"/>
                  </a:cubicBezTo>
                  <a:lnTo>
                    <a:pt x="24944" y="2630"/>
                  </a:lnTo>
                  <a:lnTo>
                    <a:pt x="24965" y="2651"/>
                  </a:lnTo>
                  <a:cubicBezTo>
                    <a:pt x="25032" y="2707"/>
                    <a:pt x="25140" y="2805"/>
                    <a:pt x="25102" y="2938"/>
                  </a:cubicBezTo>
                  <a:cubicBezTo>
                    <a:pt x="25091" y="2980"/>
                    <a:pt x="25067" y="3015"/>
                    <a:pt x="25028" y="3032"/>
                  </a:cubicBezTo>
                  <a:cubicBezTo>
                    <a:pt x="25010" y="3040"/>
                    <a:pt x="24991" y="3044"/>
                    <a:pt x="24971" y="3044"/>
                  </a:cubicBezTo>
                  <a:cubicBezTo>
                    <a:pt x="24915" y="3044"/>
                    <a:pt x="24852" y="3015"/>
                    <a:pt x="24790" y="2987"/>
                  </a:cubicBezTo>
                  <a:cubicBezTo>
                    <a:pt x="24737" y="2963"/>
                    <a:pt x="24674" y="2934"/>
                    <a:pt x="24632" y="2934"/>
                  </a:cubicBezTo>
                  <a:cubicBezTo>
                    <a:pt x="24625" y="2934"/>
                    <a:pt x="24618" y="2935"/>
                    <a:pt x="24612" y="2938"/>
                  </a:cubicBezTo>
                  <a:cubicBezTo>
                    <a:pt x="24573" y="2948"/>
                    <a:pt x="24506" y="3050"/>
                    <a:pt x="24482" y="3172"/>
                  </a:cubicBezTo>
                  <a:cubicBezTo>
                    <a:pt x="24461" y="3284"/>
                    <a:pt x="24475" y="3379"/>
                    <a:pt x="24524" y="3417"/>
                  </a:cubicBezTo>
                  <a:cubicBezTo>
                    <a:pt x="24559" y="3445"/>
                    <a:pt x="24587" y="3466"/>
                    <a:pt x="24612" y="3484"/>
                  </a:cubicBezTo>
                  <a:cubicBezTo>
                    <a:pt x="24661" y="3519"/>
                    <a:pt x="24703" y="3550"/>
                    <a:pt x="24710" y="3603"/>
                  </a:cubicBezTo>
                  <a:cubicBezTo>
                    <a:pt x="24717" y="3655"/>
                    <a:pt x="24689" y="3701"/>
                    <a:pt x="24633" y="3774"/>
                  </a:cubicBezTo>
                  <a:cubicBezTo>
                    <a:pt x="24485" y="3963"/>
                    <a:pt x="24436" y="4124"/>
                    <a:pt x="24657" y="4299"/>
                  </a:cubicBezTo>
                  <a:cubicBezTo>
                    <a:pt x="24804" y="4415"/>
                    <a:pt x="25025" y="4464"/>
                    <a:pt x="25235" y="4509"/>
                  </a:cubicBezTo>
                  <a:cubicBezTo>
                    <a:pt x="25431" y="4555"/>
                    <a:pt x="25616" y="4594"/>
                    <a:pt x="25756" y="4685"/>
                  </a:cubicBezTo>
                  <a:cubicBezTo>
                    <a:pt x="25844" y="4741"/>
                    <a:pt x="25893" y="4786"/>
                    <a:pt x="25886" y="4846"/>
                  </a:cubicBezTo>
                  <a:cubicBezTo>
                    <a:pt x="25882" y="4902"/>
                    <a:pt x="25830" y="4919"/>
                    <a:pt x="25798" y="4933"/>
                  </a:cubicBezTo>
                  <a:cubicBezTo>
                    <a:pt x="25781" y="4940"/>
                    <a:pt x="25767" y="4947"/>
                    <a:pt x="25753" y="4958"/>
                  </a:cubicBezTo>
                  <a:cubicBezTo>
                    <a:pt x="25756" y="4968"/>
                    <a:pt x="25760" y="4979"/>
                    <a:pt x="25767" y="4989"/>
                  </a:cubicBezTo>
                  <a:cubicBezTo>
                    <a:pt x="25798" y="5042"/>
                    <a:pt x="25805" y="5108"/>
                    <a:pt x="25788" y="5168"/>
                  </a:cubicBezTo>
                  <a:cubicBezTo>
                    <a:pt x="25832" y="5115"/>
                    <a:pt x="25873" y="5100"/>
                    <a:pt x="25908" y="5100"/>
                  </a:cubicBezTo>
                  <a:cubicBezTo>
                    <a:pt x="25920" y="5100"/>
                    <a:pt x="25931" y="5102"/>
                    <a:pt x="25942" y="5105"/>
                  </a:cubicBezTo>
                  <a:cubicBezTo>
                    <a:pt x="26071" y="5140"/>
                    <a:pt x="26120" y="5402"/>
                    <a:pt x="26113" y="5570"/>
                  </a:cubicBezTo>
                  <a:cubicBezTo>
                    <a:pt x="26103" y="5735"/>
                    <a:pt x="26001" y="5770"/>
                    <a:pt x="25921" y="5798"/>
                  </a:cubicBezTo>
                  <a:cubicBezTo>
                    <a:pt x="25840" y="5815"/>
                    <a:pt x="25770" y="5864"/>
                    <a:pt x="25725" y="5931"/>
                  </a:cubicBezTo>
                  <a:cubicBezTo>
                    <a:pt x="25587" y="6131"/>
                    <a:pt x="25451" y="6196"/>
                    <a:pt x="25294" y="6196"/>
                  </a:cubicBezTo>
                  <a:cubicBezTo>
                    <a:pt x="25240" y="6196"/>
                    <a:pt x="25183" y="6188"/>
                    <a:pt x="25123" y="6176"/>
                  </a:cubicBezTo>
                  <a:cubicBezTo>
                    <a:pt x="25114" y="6173"/>
                    <a:pt x="25106" y="6172"/>
                    <a:pt x="25100" y="6172"/>
                  </a:cubicBezTo>
                  <a:cubicBezTo>
                    <a:pt x="25092" y="6172"/>
                    <a:pt x="25086" y="6174"/>
                    <a:pt x="25084" y="6176"/>
                  </a:cubicBezTo>
                  <a:cubicBezTo>
                    <a:pt x="25060" y="6207"/>
                    <a:pt x="25077" y="6365"/>
                    <a:pt x="25196" y="6617"/>
                  </a:cubicBezTo>
                  <a:cubicBezTo>
                    <a:pt x="25263" y="6754"/>
                    <a:pt x="25235" y="6834"/>
                    <a:pt x="25196" y="6876"/>
                  </a:cubicBezTo>
                  <a:cubicBezTo>
                    <a:pt x="25158" y="6921"/>
                    <a:pt x="25098" y="6943"/>
                    <a:pt x="25016" y="6943"/>
                  </a:cubicBezTo>
                  <a:cubicBezTo>
                    <a:pt x="24963" y="6943"/>
                    <a:pt x="24900" y="6934"/>
                    <a:pt x="24829" y="6915"/>
                  </a:cubicBezTo>
                  <a:cubicBezTo>
                    <a:pt x="24636" y="6862"/>
                    <a:pt x="24503" y="6764"/>
                    <a:pt x="24457" y="6645"/>
                  </a:cubicBezTo>
                  <a:cubicBezTo>
                    <a:pt x="24422" y="6550"/>
                    <a:pt x="24440" y="6445"/>
                    <a:pt x="24499" y="6365"/>
                  </a:cubicBezTo>
                  <a:cubicBezTo>
                    <a:pt x="24612" y="6186"/>
                    <a:pt x="24643" y="6078"/>
                    <a:pt x="24643" y="6039"/>
                  </a:cubicBezTo>
                  <a:lnTo>
                    <a:pt x="24636" y="6039"/>
                  </a:lnTo>
                  <a:cubicBezTo>
                    <a:pt x="24603" y="6045"/>
                    <a:pt x="24562" y="6048"/>
                    <a:pt x="24516" y="6048"/>
                  </a:cubicBezTo>
                  <a:cubicBezTo>
                    <a:pt x="24323" y="6048"/>
                    <a:pt x="24044" y="5993"/>
                    <a:pt x="23939" y="5829"/>
                  </a:cubicBezTo>
                  <a:cubicBezTo>
                    <a:pt x="23922" y="5798"/>
                    <a:pt x="23873" y="5728"/>
                    <a:pt x="23911" y="5668"/>
                  </a:cubicBezTo>
                  <a:cubicBezTo>
                    <a:pt x="23933" y="5635"/>
                    <a:pt x="23973" y="5622"/>
                    <a:pt x="24032" y="5622"/>
                  </a:cubicBezTo>
                  <a:cubicBezTo>
                    <a:pt x="24078" y="5622"/>
                    <a:pt x="24135" y="5630"/>
                    <a:pt x="24205" y="5640"/>
                  </a:cubicBezTo>
                  <a:cubicBezTo>
                    <a:pt x="24265" y="5651"/>
                    <a:pt x="24331" y="5661"/>
                    <a:pt x="24401" y="5668"/>
                  </a:cubicBezTo>
                  <a:cubicBezTo>
                    <a:pt x="24424" y="5671"/>
                    <a:pt x="24442" y="5672"/>
                    <a:pt x="24456" y="5672"/>
                  </a:cubicBezTo>
                  <a:cubicBezTo>
                    <a:pt x="24494" y="5672"/>
                    <a:pt x="24503" y="5665"/>
                    <a:pt x="24503" y="5665"/>
                  </a:cubicBezTo>
                  <a:cubicBezTo>
                    <a:pt x="24506" y="5651"/>
                    <a:pt x="24510" y="5637"/>
                    <a:pt x="24506" y="5623"/>
                  </a:cubicBezTo>
                  <a:cubicBezTo>
                    <a:pt x="24506" y="5570"/>
                    <a:pt x="24506" y="5448"/>
                    <a:pt x="24685" y="5448"/>
                  </a:cubicBezTo>
                  <a:cubicBezTo>
                    <a:pt x="24762" y="5451"/>
                    <a:pt x="24836" y="5458"/>
                    <a:pt x="24909" y="5476"/>
                  </a:cubicBezTo>
                  <a:cubicBezTo>
                    <a:pt x="24968" y="5486"/>
                    <a:pt x="25020" y="5495"/>
                    <a:pt x="25068" y="5495"/>
                  </a:cubicBezTo>
                  <a:cubicBezTo>
                    <a:pt x="25139" y="5495"/>
                    <a:pt x="25203" y="5476"/>
                    <a:pt x="25273" y="5416"/>
                  </a:cubicBezTo>
                  <a:cubicBezTo>
                    <a:pt x="25343" y="5357"/>
                    <a:pt x="25319" y="5276"/>
                    <a:pt x="25280" y="5217"/>
                  </a:cubicBezTo>
                  <a:cubicBezTo>
                    <a:pt x="25225" y="5118"/>
                    <a:pt x="25120" y="5052"/>
                    <a:pt x="25058" y="5052"/>
                  </a:cubicBezTo>
                  <a:cubicBezTo>
                    <a:pt x="25049" y="5052"/>
                    <a:pt x="25042" y="5053"/>
                    <a:pt x="25035" y="5056"/>
                  </a:cubicBezTo>
                  <a:cubicBezTo>
                    <a:pt x="24899" y="5103"/>
                    <a:pt x="24793" y="5127"/>
                    <a:pt x="24711" y="5127"/>
                  </a:cubicBezTo>
                  <a:cubicBezTo>
                    <a:pt x="24654" y="5127"/>
                    <a:pt x="24610" y="5115"/>
                    <a:pt x="24577" y="5091"/>
                  </a:cubicBezTo>
                  <a:cubicBezTo>
                    <a:pt x="24535" y="5059"/>
                    <a:pt x="24510" y="5010"/>
                    <a:pt x="24510" y="4958"/>
                  </a:cubicBezTo>
                  <a:cubicBezTo>
                    <a:pt x="24510" y="4916"/>
                    <a:pt x="24528" y="4874"/>
                    <a:pt x="24559" y="4842"/>
                  </a:cubicBezTo>
                  <a:cubicBezTo>
                    <a:pt x="24599" y="4807"/>
                    <a:pt x="24654" y="4798"/>
                    <a:pt x="24716" y="4798"/>
                  </a:cubicBezTo>
                  <a:cubicBezTo>
                    <a:pt x="24753" y="4798"/>
                    <a:pt x="24792" y="4801"/>
                    <a:pt x="24832" y="4804"/>
                  </a:cubicBezTo>
                  <a:cubicBezTo>
                    <a:pt x="24868" y="4810"/>
                    <a:pt x="24903" y="4813"/>
                    <a:pt x="24938" y="4813"/>
                  </a:cubicBezTo>
                  <a:cubicBezTo>
                    <a:pt x="24958" y="4813"/>
                    <a:pt x="24977" y="4812"/>
                    <a:pt x="24997" y="4811"/>
                  </a:cubicBezTo>
                  <a:cubicBezTo>
                    <a:pt x="24938" y="4760"/>
                    <a:pt x="24862" y="4733"/>
                    <a:pt x="24784" y="4733"/>
                  </a:cubicBezTo>
                  <a:cubicBezTo>
                    <a:pt x="24761" y="4733"/>
                    <a:pt x="24737" y="4736"/>
                    <a:pt x="24713" y="4741"/>
                  </a:cubicBezTo>
                  <a:cubicBezTo>
                    <a:pt x="24624" y="4764"/>
                    <a:pt x="24537" y="4782"/>
                    <a:pt x="24451" y="4782"/>
                  </a:cubicBezTo>
                  <a:cubicBezTo>
                    <a:pt x="24315" y="4782"/>
                    <a:pt x="24182" y="4736"/>
                    <a:pt x="24044" y="4590"/>
                  </a:cubicBezTo>
                  <a:cubicBezTo>
                    <a:pt x="23964" y="4504"/>
                    <a:pt x="23847" y="4428"/>
                    <a:pt x="23744" y="4428"/>
                  </a:cubicBezTo>
                  <a:cubicBezTo>
                    <a:pt x="23726" y="4428"/>
                    <a:pt x="23708" y="4431"/>
                    <a:pt x="23691" y="4436"/>
                  </a:cubicBezTo>
                  <a:cubicBezTo>
                    <a:pt x="23589" y="4464"/>
                    <a:pt x="23544" y="4597"/>
                    <a:pt x="23526" y="4702"/>
                  </a:cubicBezTo>
                  <a:cubicBezTo>
                    <a:pt x="23463" y="5056"/>
                    <a:pt x="23250" y="5063"/>
                    <a:pt x="23110" y="5070"/>
                  </a:cubicBezTo>
                  <a:cubicBezTo>
                    <a:pt x="23033" y="5070"/>
                    <a:pt x="22984" y="5073"/>
                    <a:pt x="22956" y="5108"/>
                  </a:cubicBezTo>
                  <a:cubicBezTo>
                    <a:pt x="22931" y="5136"/>
                    <a:pt x="22938" y="5147"/>
                    <a:pt x="22938" y="5150"/>
                  </a:cubicBezTo>
                  <a:cubicBezTo>
                    <a:pt x="22959" y="5196"/>
                    <a:pt x="23117" y="5269"/>
                    <a:pt x="23393" y="5280"/>
                  </a:cubicBezTo>
                  <a:cubicBezTo>
                    <a:pt x="23680" y="5290"/>
                    <a:pt x="23918" y="5500"/>
                    <a:pt x="23918" y="5626"/>
                  </a:cubicBezTo>
                  <a:cubicBezTo>
                    <a:pt x="23915" y="5685"/>
                    <a:pt x="23869" y="5728"/>
                    <a:pt x="23815" y="5728"/>
                  </a:cubicBezTo>
                  <a:cubicBezTo>
                    <a:pt x="23811" y="5728"/>
                    <a:pt x="23807" y="5728"/>
                    <a:pt x="23803" y="5728"/>
                  </a:cubicBezTo>
                  <a:cubicBezTo>
                    <a:pt x="23775" y="5728"/>
                    <a:pt x="23768" y="5735"/>
                    <a:pt x="23743" y="5784"/>
                  </a:cubicBezTo>
                  <a:cubicBezTo>
                    <a:pt x="23729" y="5829"/>
                    <a:pt x="23694" y="5868"/>
                    <a:pt x="23652" y="5885"/>
                  </a:cubicBezTo>
                  <a:cubicBezTo>
                    <a:pt x="23637" y="5890"/>
                    <a:pt x="23622" y="5892"/>
                    <a:pt x="23606" y="5892"/>
                  </a:cubicBezTo>
                  <a:cubicBezTo>
                    <a:pt x="23575" y="5892"/>
                    <a:pt x="23545" y="5883"/>
                    <a:pt x="23519" y="5864"/>
                  </a:cubicBezTo>
                  <a:cubicBezTo>
                    <a:pt x="23481" y="5846"/>
                    <a:pt x="23446" y="5840"/>
                    <a:pt x="23417" y="5840"/>
                  </a:cubicBezTo>
                  <a:cubicBezTo>
                    <a:pt x="23385" y="5840"/>
                    <a:pt x="23362" y="5848"/>
                    <a:pt x="23355" y="5857"/>
                  </a:cubicBezTo>
                  <a:cubicBezTo>
                    <a:pt x="23351" y="5861"/>
                    <a:pt x="23355" y="5882"/>
                    <a:pt x="23379" y="5910"/>
                  </a:cubicBezTo>
                  <a:cubicBezTo>
                    <a:pt x="23481" y="6032"/>
                    <a:pt x="23428" y="6130"/>
                    <a:pt x="23393" y="6190"/>
                  </a:cubicBezTo>
                  <a:cubicBezTo>
                    <a:pt x="23372" y="6221"/>
                    <a:pt x="23358" y="6260"/>
                    <a:pt x="23358" y="6298"/>
                  </a:cubicBezTo>
                  <a:cubicBezTo>
                    <a:pt x="23365" y="6340"/>
                    <a:pt x="23351" y="6379"/>
                    <a:pt x="23320" y="6407"/>
                  </a:cubicBezTo>
                  <a:cubicBezTo>
                    <a:pt x="23293" y="6429"/>
                    <a:pt x="23260" y="6438"/>
                    <a:pt x="23219" y="6438"/>
                  </a:cubicBezTo>
                  <a:cubicBezTo>
                    <a:pt x="23164" y="6438"/>
                    <a:pt x="23096" y="6422"/>
                    <a:pt x="23015" y="6403"/>
                  </a:cubicBezTo>
                  <a:cubicBezTo>
                    <a:pt x="22938" y="6382"/>
                    <a:pt x="22858" y="6368"/>
                    <a:pt x="22777" y="6358"/>
                  </a:cubicBezTo>
                  <a:cubicBezTo>
                    <a:pt x="22750" y="6355"/>
                    <a:pt x="22720" y="6354"/>
                    <a:pt x="22686" y="6354"/>
                  </a:cubicBezTo>
                  <a:cubicBezTo>
                    <a:pt x="22479" y="6354"/>
                    <a:pt x="22146" y="6401"/>
                    <a:pt x="21730" y="6491"/>
                  </a:cubicBezTo>
                  <a:cubicBezTo>
                    <a:pt x="21657" y="6506"/>
                    <a:pt x="21582" y="6513"/>
                    <a:pt x="21509" y="6513"/>
                  </a:cubicBezTo>
                  <a:cubicBezTo>
                    <a:pt x="21213" y="6513"/>
                    <a:pt x="20932" y="6401"/>
                    <a:pt x="20806" y="6263"/>
                  </a:cubicBezTo>
                  <a:cubicBezTo>
                    <a:pt x="20714" y="6165"/>
                    <a:pt x="20598" y="6150"/>
                    <a:pt x="20443" y="6150"/>
                  </a:cubicBezTo>
                  <a:cubicBezTo>
                    <a:pt x="20416" y="6150"/>
                    <a:pt x="20388" y="6151"/>
                    <a:pt x="20358" y="6151"/>
                  </a:cubicBezTo>
                  <a:lnTo>
                    <a:pt x="20270" y="6151"/>
                  </a:lnTo>
                  <a:cubicBezTo>
                    <a:pt x="20267" y="6152"/>
                    <a:pt x="20264" y="6152"/>
                    <a:pt x="20260" y="6152"/>
                  </a:cubicBezTo>
                  <a:cubicBezTo>
                    <a:pt x="20163" y="6152"/>
                    <a:pt x="20072" y="6103"/>
                    <a:pt x="20015" y="6018"/>
                  </a:cubicBezTo>
                  <a:cubicBezTo>
                    <a:pt x="19964" y="5948"/>
                    <a:pt x="19882" y="5906"/>
                    <a:pt x="19794" y="5906"/>
                  </a:cubicBezTo>
                  <a:cubicBezTo>
                    <a:pt x="19791" y="5906"/>
                    <a:pt x="19787" y="5906"/>
                    <a:pt x="19784" y="5906"/>
                  </a:cubicBezTo>
                  <a:cubicBezTo>
                    <a:pt x="19479" y="5896"/>
                    <a:pt x="19465" y="5672"/>
                    <a:pt x="19455" y="5525"/>
                  </a:cubicBezTo>
                  <a:cubicBezTo>
                    <a:pt x="19455" y="5490"/>
                    <a:pt x="19451" y="5455"/>
                    <a:pt x="19444" y="5420"/>
                  </a:cubicBezTo>
                  <a:cubicBezTo>
                    <a:pt x="19430" y="5406"/>
                    <a:pt x="19409" y="5395"/>
                    <a:pt x="19388" y="5392"/>
                  </a:cubicBezTo>
                  <a:cubicBezTo>
                    <a:pt x="19341" y="5378"/>
                    <a:pt x="19278" y="5372"/>
                    <a:pt x="19208" y="5372"/>
                  </a:cubicBezTo>
                  <a:cubicBezTo>
                    <a:pt x="19012" y="5372"/>
                    <a:pt x="18762" y="5422"/>
                    <a:pt x="18646" y="5497"/>
                  </a:cubicBezTo>
                  <a:cubicBezTo>
                    <a:pt x="18545" y="5560"/>
                    <a:pt x="18415" y="5588"/>
                    <a:pt x="18289" y="5612"/>
                  </a:cubicBezTo>
                  <a:cubicBezTo>
                    <a:pt x="18103" y="5651"/>
                    <a:pt x="17932" y="5686"/>
                    <a:pt x="17869" y="5819"/>
                  </a:cubicBezTo>
                  <a:cubicBezTo>
                    <a:pt x="17830" y="5906"/>
                    <a:pt x="17844" y="5934"/>
                    <a:pt x="17844" y="5938"/>
                  </a:cubicBezTo>
                  <a:cubicBezTo>
                    <a:pt x="17858" y="5957"/>
                    <a:pt x="17918" y="5959"/>
                    <a:pt x="17967" y="5959"/>
                  </a:cubicBezTo>
                  <a:cubicBezTo>
                    <a:pt x="17981" y="5959"/>
                    <a:pt x="17995" y="5959"/>
                    <a:pt x="18005" y="5959"/>
                  </a:cubicBezTo>
                  <a:lnTo>
                    <a:pt x="18051" y="5959"/>
                  </a:lnTo>
                  <a:cubicBezTo>
                    <a:pt x="18100" y="5959"/>
                    <a:pt x="18124" y="5938"/>
                    <a:pt x="18173" y="5899"/>
                  </a:cubicBezTo>
                  <a:cubicBezTo>
                    <a:pt x="18233" y="5846"/>
                    <a:pt x="18309" y="5780"/>
                    <a:pt x="18471" y="5780"/>
                  </a:cubicBezTo>
                  <a:cubicBezTo>
                    <a:pt x="18501" y="5780"/>
                    <a:pt x="18533" y="5782"/>
                    <a:pt x="18569" y="5787"/>
                  </a:cubicBezTo>
                  <a:cubicBezTo>
                    <a:pt x="18586" y="5790"/>
                    <a:pt x="18602" y="5791"/>
                    <a:pt x="18618" y="5791"/>
                  </a:cubicBezTo>
                  <a:cubicBezTo>
                    <a:pt x="18749" y="5791"/>
                    <a:pt x="18866" y="5720"/>
                    <a:pt x="18972" y="5654"/>
                  </a:cubicBezTo>
                  <a:cubicBezTo>
                    <a:pt x="19054" y="5602"/>
                    <a:pt x="19138" y="5549"/>
                    <a:pt x="19216" y="5549"/>
                  </a:cubicBezTo>
                  <a:cubicBezTo>
                    <a:pt x="19258" y="5549"/>
                    <a:pt x="19298" y="5564"/>
                    <a:pt x="19336" y="5602"/>
                  </a:cubicBezTo>
                  <a:cubicBezTo>
                    <a:pt x="19371" y="5633"/>
                    <a:pt x="19381" y="5686"/>
                    <a:pt x="19367" y="5731"/>
                  </a:cubicBezTo>
                  <a:cubicBezTo>
                    <a:pt x="19301" y="5927"/>
                    <a:pt x="18657" y="6148"/>
                    <a:pt x="18401" y="6186"/>
                  </a:cubicBezTo>
                  <a:cubicBezTo>
                    <a:pt x="18286" y="6204"/>
                    <a:pt x="18268" y="6246"/>
                    <a:pt x="18261" y="6260"/>
                  </a:cubicBezTo>
                  <a:cubicBezTo>
                    <a:pt x="18205" y="6389"/>
                    <a:pt x="18429" y="6726"/>
                    <a:pt x="18506" y="6838"/>
                  </a:cubicBezTo>
                  <a:cubicBezTo>
                    <a:pt x="18611" y="6992"/>
                    <a:pt x="18643" y="7083"/>
                    <a:pt x="18615" y="7153"/>
                  </a:cubicBezTo>
                  <a:cubicBezTo>
                    <a:pt x="18583" y="7219"/>
                    <a:pt x="18513" y="7230"/>
                    <a:pt x="18461" y="7240"/>
                  </a:cubicBezTo>
                  <a:cubicBezTo>
                    <a:pt x="18384" y="7254"/>
                    <a:pt x="18384" y="7261"/>
                    <a:pt x="18384" y="7282"/>
                  </a:cubicBezTo>
                  <a:cubicBezTo>
                    <a:pt x="18387" y="7359"/>
                    <a:pt x="18324" y="7426"/>
                    <a:pt x="18247" y="7426"/>
                  </a:cubicBezTo>
                  <a:cubicBezTo>
                    <a:pt x="18240" y="7426"/>
                    <a:pt x="18232" y="7427"/>
                    <a:pt x="18224" y="7427"/>
                  </a:cubicBezTo>
                  <a:cubicBezTo>
                    <a:pt x="18091" y="7427"/>
                    <a:pt x="17882" y="7321"/>
                    <a:pt x="17858" y="7212"/>
                  </a:cubicBezTo>
                  <a:cubicBezTo>
                    <a:pt x="17848" y="7163"/>
                    <a:pt x="17869" y="7104"/>
                    <a:pt x="17956" y="7076"/>
                  </a:cubicBezTo>
                  <a:cubicBezTo>
                    <a:pt x="18033" y="7051"/>
                    <a:pt x="18040" y="7016"/>
                    <a:pt x="18040" y="7006"/>
                  </a:cubicBezTo>
                  <a:cubicBezTo>
                    <a:pt x="18054" y="6939"/>
                    <a:pt x="17984" y="6827"/>
                    <a:pt x="17876" y="6743"/>
                  </a:cubicBezTo>
                  <a:cubicBezTo>
                    <a:pt x="17830" y="6704"/>
                    <a:pt x="17773" y="6683"/>
                    <a:pt x="17714" y="6683"/>
                  </a:cubicBezTo>
                  <a:cubicBezTo>
                    <a:pt x="17710" y="6683"/>
                    <a:pt x="17705" y="6683"/>
                    <a:pt x="17701" y="6684"/>
                  </a:cubicBezTo>
                  <a:cubicBezTo>
                    <a:pt x="17697" y="6684"/>
                    <a:pt x="17692" y="6684"/>
                    <a:pt x="17688" y="6684"/>
                  </a:cubicBezTo>
                  <a:cubicBezTo>
                    <a:pt x="17651" y="6684"/>
                    <a:pt x="17618" y="6670"/>
                    <a:pt x="17592" y="6645"/>
                  </a:cubicBezTo>
                  <a:cubicBezTo>
                    <a:pt x="17568" y="6610"/>
                    <a:pt x="17561" y="6568"/>
                    <a:pt x="17571" y="6526"/>
                  </a:cubicBezTo>
                  <a:cubicBezTo>
                    <a:pt x="17557" y="6526"/>
                    <a:pt x="17543" y="6526"/>
                    <a:pt x="17529" y="6529"/>
                  </a:cubicBezTo>
                  <a:cubicBezTo>
                    <a:pt x="17508" y="6531"/>
                    <a:pt x="17483" y="6533"/>
                    <a:pt x="17456" y="6533"/>
                  </a:cubicBezTo>
                  <a:cubicBezTo>
                    <a:pt x="17388" y="6533"/>
                    <a:pt x="17307" y="6521"/>
                    <a:pt x="17232" y="6463"/>
                  </a:cubicBezTo>
                  <a:lnTo>
                    <a:pt x="17176" y="6421"/>
                  </a:lnTo>
                  <a:cubicBezTo>
                    <a:pt x="17090" y="6351"/>
                    <a:pt x="17035" y="6306"/>
                    <a:pt x="16963" y="6306"/>
                  </a:cubicBezTo>
                  <a:cubicBezTo>
                    <a:pt x="16923" y="6306"/>
                    <a:pt x="16877" y="6320"/>
                    <a:pt x="16819" y="6351"/>
                  </a:cubicBezTo>
                  <a:cubicBezTo>
                    <a:pt x="16661" y="6431"/>
                    <a:pt x="16500" y="6445"/>
                    <a:pt x="16273" y="6466"/>
                  </a:cubicBezTo>
                  <a:cubicBezTo>
                    <a:pt x="16136" y="6480"/>
                    <a:pt x="15982" y="6494"/>
                    <a:pt x="15789" y="6526"/>
                  </a:cubicBezTo>
                  <a:cubicBezTo>
                    <a:pt x="15613" y="6555"/>
                    <a:pt x="15359" y="6573"/>
                    <a:pt x="15100" y="6573"/>
                  </a:cubicBezTo>
                  <a:cubicBezTo>
                    <a:pt x="14680" y="6573"/>
                    <a:pt x="14247" y="6526"/>
                    <a:pt x="14119" y="6400"/>
                  </a:cubicBezTo>
                  <a:cubicBezTo>
                    <a:pt x="14063" y="6344"/>
                    <a:pt x="14056" y="6256"/>
                    <a:pt x="14098" y="6190"/>
                  </a:cubicBezTo>
                  <a:cubicBezTo>
                    <a:pt x="14193" y="6029"/>
                    <a:pt x="14539" y="5858"/>
                    <a:pt x="14738" y="5858"/>
                  </a:cubicBezTo>
                  <a:cubicBezTo>
                    <a:pt x="14760" y="5858"/>
                    <a:pt x="14781" y="5860"/>
                    <a:pt x="14799" y="5864"/>
                  </a:cubicBezTo>
                  <a:cubicBezTo>
                    <a:pt x="14778" y="5808"/>
                    <a:pt x="14701" y="5693"/>
                    <a:pt x="14536" y="5567"/>
                  </a:cubicBezTo>
                  <a:cubicBezTo>
                    <a:pt x="14323" y="5401"/>
                    <a:pt x="13947" y="5307"/>
                    <a:pt x="13800" y="5307"/>
                  </a:cubicBezTo>
                  <a:cubicBezTo>
                    <a:pt x="13783" y="5307"/>
                    <a:pt x="13769" y="5309"/>
                    <a:pt x="13759" y="5311"/>
                  </a:cubicBezTo>
                  <a:cubicBezTo>
                    <a:pt x="13755" y="5339"/>
                    <a:pt x="13745" y="5367"/>
                    <a:pt x="13720" y="5385"/>
                  </a:cubicBezTo>
                  <a:cubicBezTo>
                    <a:pt x="13693" y="5411"/>
                    <a:pt x="13653" y="5423"/>
                    <a:pt x="13595" y="5423"/>
                  </a:cubicBezTo>
                  <a:cubicBezTo>
                    <a:pt x="13507" y="5423"/>
                    <a:pt x="13377" y="5396"/>
                    <a:pt x="13185" y="5353"/>
                  </a:cubicBezTo>
                  <a:cubicBezTo>
                    <a:pt x="13094" y="5332"/>
                    <a:pt x="12989" y="5308"/>
                    <a:pt x="12880" y="5290"/>
                  </a:cubicBezTo>
                  <a:cubicBezTo>
                    <a:pt x="12712" y="5259"/>
                    <a:pt x="12551" y="5206"/>
                    <a:pt x="12401" y="5129"/>
                  </a:cubicBezTo>
                  <a:cubicBezTo>
                    <a:pt x="12306" y="5073"/>
                    <a:pt x="12198" y="5042"/>
                    <a:pt x="12089" y="5035"/>
                  </a:cubicBezTo>
                  <a:cubicBezTo>
                    <a:pt x="11931" y="5028"/>
                    <a:pt x="11396" y="4982"/>
                    <a:pt x="10983" y="4657"/>
                  </a:cubicBezTo>
                  <a:cubicBezTo>
                    <a:pt x="10846" y="4549"/>
                    <a:pt x="10619" y="4502"/>
                    <a:pt x="10401" y="4502"/>
                  </a:cubicBezTo>
                  <a:cubicBezTo>
                    <a:pt x="10285" y="4502"/>
                    <a:pt x="10171" y="4515"/>
                    <a:pt x="10076" y="4541"/>
                  </a:cubicBezTo>
                  <a:cubicBezTo>
                    <a:pt x="9953" y="4576"/>
                    <a:pt x="9869" y="4625"/>
                    <a:pt x="9848" y="4678"/>
                  </a:cubicBezTo>
                  <a:cubicBezTo>
                    <a:pt x="9736" y="4951"/>
                    <a:pt x="9446" y="4951"/>
                    <a:pt x="9190" y="4951"/>
                  </a:cubicBezTo>
                  <a:lnTo>
                    <a:pt x="9180" y="4951"/>
                  </a:lnTo>
                  <a:cubicBezTo>
                    <a:pt x="9152" y="4951"/>
                    <a:pt x="9064" y="4951"/>
                    <a:pt x="9029" y="4884"/>
                  </a:cubicBezTo>
                  <a:cubicBezTo>
                    <a:pt x="8991" y="4811"/>
                    <a:pt x="9047" y="4730"/>
                    <a:pt x="9099" y="4650"/>
                  </a:cubicBezTo>
                  <a:cubicBezTo>
                    <a:pt x="9117" y="4625"/>
                    <a:pt x="9131" y="4601"/>
                    <a:pt x="9145" y="4576"/>
                  </a:cubicBezTo>
                  <a:cubicBezTo>
                    <a:pt x="9082" y="4520"/>
                    <a:pt x="9075" y="4425"/>
                    <a:pt x="9071" y="4338"/>
                  </a:cubicBezTo>
                  <a:cubicBezTo>
                    <a:pt x="9068" y="4212"/>
                    <a:pt x="9054" y="4180"/>
                    <a:pt x="9012" y="4173"/>
                  </a:cubicBezTo>
                  <a:cubicBezTo>
                    <a:pt x="9011" y="4173"/>
                    <a:pt x="9011" y="4173"/>
                    <a:pt x="9011" y="4173"/>
                  </a:cubicBezTo>
                  <a:cubicBezTo>
                    <a:pt x="8968" y="4173"/>
                    <a:pt x="8871" y="4353"/>
                    <a:pt x="8823" y="4439"/>
                  </a:cubicBezTo>
                  <a:cubicBezTo>
                    <a:pt x="8693" y="4669"/>
                    <a:pt x="8533" y="4951"/>
                    <a:pt x="8294" y="4951"/>
                  </a:cubicBezTo>
                  <a:cubicBezTo>
                    <a:pt x="8288" y="4951"/>
                    <a:pt x="8282" y="4951"/>
                    <a:pt x="8277" y="4951"/>
                  </a:cubicBezTo>
                  <a:cubicBezTo>
                    <a:pt x="8025" y="4937"/>
                    <a:pt x="7877" y="4629"/>
                    <a:pt x="7734" y="4334"/>
                  </a:cubicBezTo>
                  <a:cubicBezTo>
                    <a:pt x="7636" y="4135"/>
                    <a:pt x="7534" y="3932"/>
                    <a:pt x="7419" y="3848"/>
                  </a:cubicBezTo>
                  <a:cubicBezTo>
                    <a:pt x="7265" y="3737"/>
                    <a:pt x="7146" y="3701"/>
                    <a:pt x="7099" y="3701"/>
                  </a:cubicBezTo>
                  <a:cubicBezTo>
                    <a:pt x="7097" y="3701"/>
                    <a:pt x="7095" y="3701"/>
                    <a:pt x="7093" y="3701"/>
                  </a:cubicBezTo>
                  <a:cubicBezTo>
                    <a:pt x="7111" y="3757"/>
                    <a:pt x="7142" y="3806"/>
                    <a:pt x="7181" y="3851"/>
                  </a:cubicBezTo>
                  <a:cubicBezTo>
                    <a:pt x="7240" y="3925"/>
                    <a:pt x="7289" y="4009"/>
                    <a:pt x="7261" y="4079"/>
                  </a:cubicBezTo>
                  <a:cubicBezTo>
                    <a:pt x="7230" y="4145"/>
                    <a:pt x="7160" y="4149"/>
                    <a:pt x="7093" y="4156"/>
                  </a:cubicBezTo>
                  <a:cubicBezTo>
                    <a:pt x="7065" y="4159"/>
                    <a:pt x="7009" y="4166"/>
                    <a:pt x="7002" y="4177"/>
                  </a:cubicBezTo>
                  <a:cubicBezTo>
                    <a:pt x="6999" y="4184"/>
                    <a:pt x="6999" y="4191"/>
                    <a:pt x="7002" y="4198"/>
                  </a:cubicBezTo>
                  <a:cubicBezTo>
                    <a:pt x="7016" y="4352"/>
                    <a:pt x="6869" y="4506"/>
                    <a:pt x="6740" y="4587"/>
                  </a:cubicBezTo>
                  <a:cubicBezTo>
                    <a:pt x="6688" y="4620"/>
                    <a:pt x="6621" y="4652"/>
                    <a:pt x="6564" y="4652"/>
                  </a:cubicBezTo>
                  <a:cubicBezTo>
                    <a:pt x="6544" y="4652"/>
                    <a:pt x="6525" y="4648"/>
                    <a:pt x="6509" y="4639"/>
                  </a:cubicBezTo>
                  <a:cubicBezTo>
                    <a:pt x="6481" y="4622"/>
                    <a:pt x="6463" y="4587"/>
                    <a:pt x="6467" y="4551"/>
                  </a:cubicBezTo>
                  <a:cubicBezTo>
                    <a:pt x="6467" y="4537"/>
                    <a:pt x="6456" y="4516"/>
                    <a:pt x="6425" y="4506"/>
                  </a:cubicBezTo>
                  <a:cubicBezTo>
                    <a:pt x="6408" y="4499"/>
                    <a:pt x="6388" y="4495"/>
                    <a:pt x="6365" y="4495"/>
                  </a:cubicBezTo>
                  <a:cubicBezTo>
                    <a:pt x="6285" y="4495"/>
                    <a:pt x="6170" y="4544"/>
                    <a:pt x="6050" y="4688"/>
                  </a:cubicBezTo>
                  <a:cubicBezTo>
                    <a:pt x="5892" y="4871"/>
                    <a:pt x="5731" y="4971"/>
                    <a:pt x="5602" y="4971"/>
                  </a:cubicBezTo>
                  <a:cubicBezTo>
                    <a:pt x="5582" y="4971"/>
                    <a:pt x="5564" y="4969"/>
                    <a:pt x="5546" y="4965"/>
                  </a:cubicBezTo>
                  <a:cubicBezTo>
                    <a:pt x="5490" y="4951"/>
                    <a:pt x="5444" y="4912"/>
                    <a:pt x="5423" y="4856"/>
                  </a:cubicBezTo>
                  <a:cubicBezTo>
                    <a:pt x="5273" y="4867"/>
                    <a:pt x="4730" y="5164"/>
                    <a:pt x="4695" y="5266"/>
                  </a:cubicBezTo>
                  <a:cubicBezTo>
                    <a:pt x="4709" y="5332"/>
                    <a:pt x="4692" y="5402"/>
                    <a:pt x="4646" y="5451"/>
                  </a:cubicBezTo>
                  <a:cubicBezTo>
                    <a:pt x="4577" y="5537"/>
                    <a:pt x="4447" y="5585"/>
                    <a:pt x="4293" y="5585"/>
                  </a:cubicBezTo>
                  <a:cubicBezTo>
                    <a:pt x="4282" y="5585"/>
                    <a:pt x="4272" y="5585"/>
                    <a:pt x="4261" y="5584"/>
                  </a:cubicBezTo>
                  <a:cubicBezTo>
                    <a:pt x="4139" y="5577"/>
                    <a:pt x="4104" y="5525"/>
                    <a:pt x="4093" y="5479"/>
                  </a:cubicBezTo>
                  <a:cubicBezTo>
                    <a:pt x="4065" y="5353"/>
                    <a:pt x="4261" y="5213"/>
                    <a:pt x="4366" y="5157"/>
                  </a:cubicBezTo>
                  <a:cubicBezTo>
                    <a:pt x="4429" y="5126"/>
                    <a:pt x="4524" y="5059"/>
                    <a:pt x="4636" y="4982"/>
                  </a:cubicBezTo>
                  <a:cubicBezTo>
                    <a:pt x="4898" y="4804"/>
                    <a:pt x="5227" y="4580"/>
                    <a:pt x="5444" y="4544"/>
                  </a:cubicBezTo>
                  <a:cubicBezTo>
                    <a:pt x="5745" y="4495"/>
                    <a:pt x="6197" y="4285"/>
                    <a:pt x="6246" y="4198"/>
                  </a:cubicBezTo>
                  <a:cubicBezTo>
                    <a:pt x="6226" y="4196"/>
                    <a:pt x="6205" y="4196"/>
                    <a:pt x="6184" y="4196"/>
                  </a:cubicBezTo>
                  <a:cubicBezTo>
                    <a:pt x="6154" y="4196"/>
                    <a:pt x="6124" y="4197"/>
                    <a:pt x="6096" y="4201"/>
                  </a:cubicBezTo>
                  <a:cubicBezTo>
                    <a:pt x="6052" y="4207"/>
                    <a:pt x="6008" y="4209"/>
                    <a:pt x="5964" y="4209"/>
                  </a:cubicBezTo>
                  <a:cubicBezTo>
                    <a:pt x="5921" y="4209"/>
                    <a:pt x="5877" y="4207"/>
                    <a:pt x="5833" y="4201"/>
                  </a:cubicBezTo>
                  <a:cubicBezTo>
                    <a:pt x="5821" y="4199"/>
                    <a:pt x="5809" y="4198"/>
                    <a:pt x="5796" y="4198"/>
                  </a:cubicBezTo>
                  <a:cubicBezTo>
                    <a:pt x="5669" y="4198"/>
                    <a:pt x="5470" y="4299"/>
                    <a:pt x="5276" y="4397"/>
                  </a:cubicBezTo>
                  <a:cubicBezTo>
                    <a:pt x="5189" y="4439"/>
                    <a:pt x="5101" y="4485"/>
                    <a:pt x="5010" y="4523"/>
                  </a:cubicBezTo>
                  <a:cubicBezTo>
                    <a:pt x="4888" y="4573"/>
                    <a:pt x="4765" y="4611"/>
                    <a:pt x="4636" y="4632"/>
                  </a:cubicBezTo>
                  <a:cubicBezTo>
                    <a:pt x="4559" y="4650"/>
                    <a:pt x="4440" y="4678"/>
                    <a:pt x="4426" y="4699"/>
                  </a:cubicBezTo>
                  <a:cubicBezTo>
                    <a:pt x="4426" y="4709"/>
                    <a:pt x="4429" y="4716"/>
                    <a:pt x="4436" y="4727"/>
                  </a:cubicBezTo>
                  <a:cubicBezTo>
                    <a:pt x="4461" y="4765"/>
                    <a:pt x="4464" y="4818"/>
                    <a:pt x="4440" y="4863"/>
                  </a:cubicBezTo>
                  <a:cubicBezTo>
                    <a:pt x="4413" y="4896"/>
                    <a:pt x="4376" y="4906"/>
                    <a:pt x="4332" y="4906"/>
                  </a:cubicBezTo>
                  <a:cubicBezTo>
                    <a:pt x="4300" y="4906"/>
                    <a:pt x="4264" y="4900"/>
                    <a:pt x="4226" y="4895"/>
                  </a:cubicBezTo>
                  <a:cubicBezTo>
                    <a:pt x="4191" y="4890"/>
                    <a:pt x="4140" y="4883"/>
                    <a:pt x="4101" y="4883"/>
                  </a:cubicBezTo>
                  <a:cubicBezTo>
                    <a:pt x="4073" y="4883"/>
                    <a:pt x="4051" y="4887"/>
                    <a:pt x="4044" y="4898"/>
                  </a:cubicBezTo>
                  <a:cubicBezTo>
                    <a:pt x="4014" y="4953"/>
                    <a:pt x="3959" y="4984"/>
                    <a:pt x="3901" y="4984"/>
                  </a:cubicBezTo>
                  <a:cubicBezTo>
                    <a:pt x="3893" y="4984"/>
                    <a:pt x="3884" y="4983"/>
                    <a:pt x="3876" y="4982"/>
                  </a:cubicBezTo>
                  <a:cubicBezTo>
                    <a:pt x="3817" y="4972"/>
                    <a:pt x="3771" y="4926"/>
                    <a:pt x="3761" y="4867"/>
                  </a:cubicBezTo>
                  <a:cubicBezTo>
                    <a:pt x="3750" y="4821"/>
                    <a:pt x="3768" y="4776"/>
                    <a:pt x="3803" y="4748"/>
                  </a:cubicBezTo>
                  <a:cubicBezTo>
                    <a:pt x="3750" y="4720"/>
                    <a:pt x="3694" y="4702"/>
                    <a:pt x="3638" y="4695"/>
                  </a:cubicBezTo>
                  <a:cubicBezTo>
                    <a:pt x="3624" y="4776"/>
                    <a:pt x="3547" y="4919"/>
                    <a:pt x="3211" y="4919"/>
                  </a:cubicBezTo>
                  <a:cubicBezTo>
                    <a:pt x="3032" y="4919"/>
                    <a:pt x="2854" y="5010"/>
                    <a:pt x="2829" y="5084"/>
                  </a:cubicBezTo>
                  <a:cubicBezTo>
                    <a:pt x="2826" y="5094"/>
                    <a:pt x="2819" y="5119"/>
                    <a:pt x="2864" y="5150"/>
                  </a:cubicBezTo>
                  <a:lnTo>
                    <a:pt x="2917" y="5189"/>
                  </a:lnTo>
                  <a:cubicBezTo>
                    <a:pt x="3046" y="5287"/>
                    <a:pt x="3134" y="5353"/>
                    <a:pt x="3141" y="5441"/>
                  </a:cubicBezTo>
                  <a:cubicBezTo>
                    <a:pt x="3144" y="5490"/>
                    <a:pt x="3123" y="5535"/>
                    <a:pt x="3088" y="5567"/>
                  </a:cubicBezTo>
                  <a:cubicBezTo>
                    <a:pt x="3064" y="5592"/>
                    <a:pt x="3035" y="5602"/>
                    <a:pt x="3003" y="5602"/>
                  </a:cubicBezTo>
                  <a:cubicBezTo>
                    <a:pt x="2940" y="5602"/>
                    <a:pt x="2864" y="5563"/>
                    <a:pt x="2780" y="5521"/>
                  </a:cubicBezTo>
                  <a:cubicBezTo>
                    <a:pt x="2651" y="5454"/>
                    <a:pt x="2478" y="5365"/>
                    <a:pt x="2277" y="5365"/>
                  </a:cubicBezTo>
                  <a:cubicBezTo>
                    <a:pt x="2259" y="5365"/>
                    <a:pt x="2241" y="5366"/>
                    <a:pt x="2224" y="5367"/>
                  </a:cubicBezTo>
                  <a:cubicBezTo>
                    <a:pt x="2207" y="5369"/>
                    <a:pt x="2189" y="5370"/>
                    <a:pt x="2170" y="5370"/>
                  </a:cubicBezTo>
                  <a:cubicBezTo>
                    <a:pt x="1792" y="5370"/>
                    <a:pt x="1174" y="5036"/>
                    <a:pt x="963" y="4842"/>
                  </a:cubicBezTo>
                  <a:cubicBezTo>
                    <a:pt x="925" y="4814"/>
                    <a:pt x="900" y="4776"/>
                    <a:pt x="883" y="4734"/>
                  </a:cubicBezTo>
                  <a:cubicBezTo>
                    <a:pt x="823" y="4713"/>
                    <a:pt x="624" y="4713"/>
                    <a:pt x="463" y="4713"/>
                  </a:cubicBezTo>
                  <a:cubicBezTo>
                    <a:pt x="316" y="4713"/>
                    <a:pt x="148" y="4713"/>
                    <a:pt x="1" y="4699"/>
                  </a:cubicBezTo>
                  <a:lnTo>
                    <a:pt x="1" y="12975"/>
                  </a:lnTo>
                  <a:cubicBezTo>
                    <a:pt x="54" y="13009"/>
                    <a:pt x="115" y="13036"/>
                    <a:pt x="151" y="13036"/>
                  </a:cubicBezTo>
                  <a:cubicBezTo>
                    <a:pt x="162" y="13036"/>
                    <a:pt x="171" y="13033"/>
                    <a:pt x="176" y="13027"/>
                  </a:cubicBezTo>
                  <a:cubicBezTo>
                    <a:pt x="217" y="12975"/>
                    <a:pt x="272" y="12966"/>
                    <a:pt x="328" y="12966"/>
                  </a:cubicBezTo>
                  <a:cubicBezTo>
                    <a:pt x="348" y="12966"/>
                    <a:pt x="367" y="12967"/>
                    <a:pt x="386" y="12968"/>
                  </a:cubicBezTo>
                  <a:cubicBezTo>
                    <a:pt x="406" y="12969"/>
                    <a:pt x="426" y="12970"/>
                    <a:pt x="447" y="12970"/>
                  </a:cubicBezTo>
                  <a:cubicBezTo>
                    <a:pt x="534" y="12970"/>
                    <a:pt x="620" y="12952"/>
                    <a:pt x="697" y="12915"/>
                  </a:cubicBezTo>
                  <a:cubicBezTo>
                    <a:pt x="759" y="12885"/>
                    <a:pt x="813" y="12873"/>
                    <a:pt x="860" y="12873"/>
                  </a:cubicBezTo>
                  <a:cubicBezTo>
                    <a:pt x="921" y="12873"/>
                    <a:pt x="968" y="12893"/>
                    <a:pt x="1002" y="12915"/>
                  </a:cubicBezTo>
                  <a:cubicBezTo>
                    <a:pt x="1131" y="12996"/>
                    <a:pt x="1163" y="13167"/>
                    <a:pt x="1163" y="13248"/>
                  </a:cubicBezTo>
                  <a:cubicBezTo>
                    <a:pt x="1163" y="13290"/>
                    <a:pt x="1310" y="13405"/>
                    <a:pt x="1397" y="13475"/>
                  </a:cubicBezTo>
                  <a:cubicBezTo>
                    <a:pt x="1509" y="13559"/>
                    <a:pt x="1611" y="13654"/>
                    <a:pt x="1699" y="13759"/>
                  </a:cubicBezTo>
                  <a:cubicBezTo>
                    <a:pt x="1727" y="13790"/>
                    <a:pt x="1751" y="13822"/>
                    <a:pt x="1772" y="13853"/>
                  </a:cubicBezTo>
                  <a:cubicBezTo>
                    <a:pt x="1867" y="13985"/>
                    <a:pt x="1914" y="14042"/>
                    <a:pt x="1967" y="14042"/>
                  </a:cubicBezTo>
                  <a:cubicBezTo>
                    <a:pt x="1974" y="14042"/>
                    <a:pt x="1981" y="14041"/>
                    <a:pt x="1989" y="14039"/>
                  </a:cubicBezTo>
                  <a:cubicBezTo>
                    <a:pt x="2003" y="14032"/>
                    <a:pt x="2017" y="14025"/>
                    <a:pt x="2031" y="14018"/>
                  </a:cubicBezTo>
                  <a:cubicBezTo>
                    <a:pt x="2091" y="13983"/>
                    <a:pt x="2150" y="13951"/>
                    <a:pt x="2213" y="13923"/>
                  </a:cubicBezTo>
                  <a:cubicBezTo>
                    <a:pt x="2357" y="13860"/>
                    <a:pt x="2500" y="13794"/>
                    <a:pt x="2500" y="13685"/>
                  </a:cubicBezTo>
                  <a:cubicBezTo>
                    <a:pt x="2500" y="13524"/>
                    <a:pt x="2728" y="13451"/>
                    <a:pt x="2938" y="13451"/>
                  </a:cubicBezTo>
                  <a:cubicBezTo>
                    <a:pt x="2966" y="13451"/>
                    <a:pt x="2994" y="13451"/>
                    <a:pt x="3018" y="13454"/>
                  </a:cubicBezTo>
                  <a:cubicBezTo>
                    <a:pt x="3148" y="13468"/>
                    <a:pt x="3253" y="13507"/>
                    <a:pt x="3312" y="13570"/>
                  </a:cubicBezTo>
                  <a:cubicBezTo>
                    <a:pt x="3319" y="13577"/>
                    <a:pt x="3326" y="13584"/>
                    <a:pt x="3333" y="13594"/>
                  </a:cubicBezTo>
                  <a:lnTo>
                    <a:pt x="3333" y="13598"/>
                  </a:lnTo>
                  <a:cubicBezTo>
                    <a:pt x="3340" y="13605"/>
                    <a:pt x="3344" y="13612"/>
                    <a:pt x="3347" y="13619"/>
                  </a:cubicBezTo>
                  <a:lnTo>
                    <a:pt x="3351" y="13626"/>
                  </a:lnTo>
                  <a:cubicBezTo>
                    <a:pt x="3354" y="13633"/>
                    <a:pt x="3358" y="13640"/>
                    <a:pt x="3361" y="13647"/>
                  </a:cubicBezTo>
                  <a:lnTo>
                    <a:pt x="3365" y="13654"/>
                  </a:lnTo>
                  <a:cubicBezTo>
                    <a:pt x="3365" y="13661"/>
                    <a:pt x="3368" y="13668"/>
                    <a:pt x="3368" y="13678"/>
                  </a:cubicBezTo>
                  <a:lnTo>
                    <a:pt x="3368" y="13685"/>
                  </a:lnTo>
                  <a:cubicBezTo>
                    <a:pt x="3372" y="13696"/>
                    <a:pt x="3372" y="13706"/>
                    <a:pt x="3372" y="13717"/>
                  </a:cubicBezTo>
                  <a:cubicBezTo>
                    <a:pt x="3372" y="13811"/>
                    <a:pt x="3533" y="13951"/>
                    <a:pt x="3722" y="14109"/>
                  </a:cubicBezTo>
                  <a:cubicBezTo>
                    <a:pt x="3971" y="14322"/>
                    <a:pt x="4310" y="14613"/>
                    <a:pt x="4545" y="15026"/>
                  </a:cubicBezTo>
                  <a:cubicBezTo>
                    <a:pt x="4643" y="15198"/>
                    <a:pt x="4716" y="15341"/>
                    <a:pt x="4772" y="15457"/>
                  </a:cubicBezTo>
                  <a:cubicBezTo>
                    <a:pt x="4972" y="15852"/>
                    <a:pt x="5031" y="15968"/>
                    <a:pt x="5483" y="16146"/>
                  </a:cubicBezTo>
                  <a:cubicBezTo>
                    <a:pt x="6089" y="16384"/>
                    <a:pt x="6141" y="16538"/>
                    <a:pt x="6036" y="16811"/>
                  </a:cubicBezTo>
                  <a:cubicBezTo>
                    <a:pt x="6019" y="16857"/>
                    <a:pt x="6047" y="16899"/>
                    <a:pt x="6099" y="16955"/>
                  </a:cubicBezTo>
                  <a:lnTo>
                    <a:pt x="6124" y="16983"/>
                  </a:lnTo>
                  <a:cubicBezTo>
                    <a:pt x="6183" y="17043"/>
                    <a:pt x="6243" y="17109"/>
                    <a:pt x="6232" y="17193"/>
                  </a:cubicBezTo>
                  <a:cubicBezTo>
                    <a:pt x="6222" y="17256"/>
                    <a:pt x="6183" y="17312"/>
                    <a:pt x="6124" y="17344"/>
                  </a:cubicBezTo>
                  <a:lnTo>
                    <a:pt x="6089" y="17368"/>
                  </a:lnTo>
                  <a:lnTo>
                    <a:pt x="6064" y="17386"/>
                  </a:lnTo>
                  <a:lnTo>
                    <a:pt x="6047" y="17400"/>
                  </a:lnTo>
                  <a:lnTo>
                    <a:pt x="6019" y="17417"/>
                  </a:lnTo>
                  <a:lnTo>
                    <a:pt x="6005" y="17428"/>
                  </a:lnTo>
                  <a:lnTo>
                    <a:pt x="5973" y="17452"/>
                  </a:lnTo>
                  <a:lnTo>
                    <a:pt x="5959" y="17459"/>
                  </a:lnTo>
                  <a:lnTo>
                    <a:pt x="5924" y="17484"/>
                  </a:lnTo>
                  <a:lnTo>
                    <a:pt x="5917" y="17491"/>
                  </a:lnTo>
                  <a:lnTo>
                    <a:pt x="5791" y="17582"/>
                  </a:lnTo>
                  <a:cubicBezTo>
                    <a:pt x="5812" y="17638"/>
                    <a:pt x="5875" y="17687"/>
                    <a:pt x="5952" y="17750"/>
                  </a:cubicBezTo>
                  <a:lnTo>
                    <a:pt x="5991" y="17781"/>
                  </a:lnTo>
                  <a:cubicBezTo>
                    <a:pt x="6026" y="17806"/>
                    <a:pt x="6047" y="17848"/>
                    <a:pt x="6043" y="17893"/>
                  </a:cubicBezTo>
                  <a:cubicBezTo>
                    <a:pt x="6033" y="17960"/>
                    <a:pt x="5963" y="17991"/>
                    <a:pt x="5903" y="18016"/>
                  </a:cubicBezTo>
                  <a:lnTo>
                    <a:pt x="5865" y="18033"/>
                  </a:lnTo>
                  <a:cubicBezTo>
                    <a:pt x="5928" y="18103"/>
                    <a:pt x="5921" y="18191"/>
                    <a:pt x="5917" y="18264"/>
                  </a:cubicBezTo>
                  <a:cubicBezTo>
                    <a:pt x="5910" y="18334"/>
                    <a:pt x="5907" y="18387"/>
                    <a:pt x="5949" y="18429"/>
                  </a:cubicBezTo>
                  <a:cubicBezTo>
                    <a:pt x="5986" y="18471"/>
                    <a:pt x="6040" y="18489"/>
                    <a:pt x="6097" y="18489"/>
                  </a:cubicBezTo>
                  <a:cubicBezTo>
                    <a:pt x="6177" y="18489"/>
                    <a:pt x="6265" y="18454"/>
                    <a:pt x="6330" y="18401"/>
                  </a:cubicBezTo>
                  <a:cubicBezTo>
                    <a:pt x="6358" y="18371"/>
                    <a:pt x="6395" y="18357"/>
                    <a:pt x="6432" y="18357"/>
                  </a:cubicBezTo>
                  <a:cubicBezTo>
                    <a:pt x="6467" y="18357"/>
                    <a:pt x="6501" y="18369"/>
                    <a:pt x="6530" y="18394"/>
                  </a:cubicBezTo>
                  <a:cubicBezTo>
                    <a:pt x="6614" y="18467"/>
                    <a:pt x="6642" y="18646"/>
                    <a:pt x="6551" y="18800"/>
                  </a:cubicBezTo>
                  <a:cubicBezTo>
                    <a:pt x="6505" y="18870"/>
                    <a:pt x="6544" y="18908"/>
                    <a:pt x="6561" y="18919"/>
                  </a:cubicBezTo>
                  <a:cubicBezTo>
                    <a:pt x="6576" y="18931"/>
                    <a:pt x="6593" y="18936"/>
                    <a:pt x="6610" y="18936"/>
                  </a:cubicBezTo>
                  <a:cubicBezTo>
                    <a:pt x="6633" y="18936"/>
                    <a:pt x="6657" y="18925"/>
                    <a:pt x="6673" y="18905"/>
                  </a:cubicBezTo>
                  <a:cubicBezTo>
                    <a:pt x="6698" y="18873"/>
                    <a:pt x="6736" y="18852"/>
                    <a:pt x="6778" y="18852"/>
                  </a:cubicBezTo>
                  <a:cubicBezTo>
                    <a:pt x="6781" y="18852"/>
                    <a:pt x="6784" y="18852"/>
                    <a:pt x="6787" y="18852"/>
                  </a:cubicBezTo>
                  <a:cubicBezTo>
                    <a:pt x="6886" y="18852"/>
                    <a:pt x="6988" y="18961"/>
                    <a:pt x="7086" y="19062"/>
                  </a:cubicBezTo>
                  <a:cubicBezTo>
                    <a:pt x="7121" y="19101"/>
                    <a:pt x="7160" y="19136"/>
                    <a:pt x="7205" y="19168"/>
                  </a:cubicBezTo>
                  <a:cubicBezTo>
                    <a:pt x="7293" y="19217"/>
                    <a:pt x="7394" y="19336"/>
                    <a:pt x="7366" y="19437"/>
                  </a:cubicBezTo>
                  <a:cubicBezTo>
                    <a:pt x="7359" y="19465"/>
                    <a:pt x="7328" y="19535"/>
                    <a:pt x="7209" y="19535"/>
                  </a:cubicBezTo>
                  <a:cubicBezTo>
                    <a:pt x="7156" y="19535"/>
                    <a:pt x="7146" y="19588"/>
                    <a:pt x="7142" y="19623"/>
                  </a:cubicBezTo>
                  <a:cubicBezTo>
                    <a:pt x="7142" y="19679"/>
                    <a:pt x="7167" y="19731"/>
                    <a:pt x="7191" y="19731"/>
                  </a:cubicBezTo>
                  <a:cubicBezTo>
                    <a:pt x="7373" y="19749"/>
                    <a:pt x="7373" y="19955"/>
                    <a:pt x="7370" y="20064"/>
                  </a:cubicBezTo>
                  <a:lnTo>
                    <a:pt x="7370" y="20085"/>
                  </a:lnTo>
                  <a:cubicBezTo>
                    <a:pt x="7401" y="20143"/>
                    <a:pt x="7660" y="20253"/>
                    <a:pt x="7811" y="20253"/>
                  </a:cubicBezTo>
                  <a:cubicBezTo>
                    <a:pt x="7832" y="20253"/>
                    <a:pt x="7851" y="20251"/>
                    <a:pt x="7867" y="20246"/>
                  </a:cubicBezTo>
                  <a:cubicBezTo>
                    <a:pt x="7896" y="20237"/>
                    <a:pt x="7924" y="20233"/>
                    <a:pt x="7951" y="20233"/>
                  </a:cubicBezTo>
                  <a:cubicBezTo>
                    <a:pt x="8111" y="20233"/>
                    <a:pt x="8247" y="20371"/>
                    <a:pt x="8322" y="20508"/>
                  </a:cubicBezTo>
                  <a:cubicBezTo>
                    <a:pt x="8354" y="20564"/>
                    <a:pt x="8452" y="20620"/>
                    <a:pt x="8553" y="20641"/>
                  </a:cubicBezTo>
                  <a:cubicBezTo>
                    <a:pt x="8573" y="20649"/>
                    <a:pt x="8594" y="20653"/>
                    <a:pt x="8615" y="20653"/>
                  </a:cubicBezTo>
                  <a:cubicBezTo>
                    <a:pt x="8643" y="20653"/>
                    <a:pt x="8671" y="20646"/>
                    <a:pt x="8697" y="20634"/>
                  </a:cubicBezTo>
                  <a:cubicBezTo>
                    <a:pt x="8720" y="20612"/>
                    <a:pt x="8750" y="20601"/>
                    <a:pt x="8780" y="20601"/>
                  </a:cubicBezTo>
                  <a:cubicBezTo>
                    <a:pt x="8796" y="20601"/>
                    <a:pt x="8812" y="20604"/>
                    <a:pt x="8826" y="20610"/>
                  </a:cubicBezTo>
                  <a:cubicBezTo>
                    <a:pt x="8949" y="20659"/>
                    <a:pt x="8994" y="20900"/>
                    <a:pt x="9008" y="21005"/>
                  </a:cubicBezTo>
                  <a:cubicBezTo>
                    <a:pt x="9012" y="21026"/>
                    <a:pt x="9019" y="21033"/>
                    <a:pt x="9022" y="21033"/>
                  </a:cubicBezTo>
                  <a:cubicBezTo>
                    <a:pt x="9035" y="21042"/>
                    <a:pt x="9056" y="21046"/>
                    <a:pt x="9082" y="21046"/>
                  </a:cubicBezTo>
                  <a:cubicBezTo>
                    <a:pt x="9127" y="21046"/>
                    <a:pt x="9185" y="21035"/>
                    <a:pt x="9232" y="21026"/>
                  </a:cubicBezTo>
                  <a:cubicBezTo>
                    <a:pt x="9278" y="21019"/>
                    <a:pt x="9313" y="21012"/>
                    <a:pt x="9351" y="21009"/>
                  </a:cubicBezTo>
                  <a:cubicBezTo>
                    <a:pt x="9359" y="21008"/>
                    <a:pt x="9366" y="21008"/>
                    <a:pt x="9373" y="21008"/>
                  </a:cubicBezTo>
                  <a:cubicBezTo>
                    <a:pt x="9463" y="21008"/>
                    <a:pt x="9531" y="21069"/>
                    <a:pt x="9586" y="21117"/>
                  </a:cubicBezTo>
                  <a:cubicBezTo>
                    <a:pt x="9607" y="21135"/>
                    <a:pt x="9645" y="21170"/>
                    <a:pt x="9659" y="21170"/>
                  </a:cubicBezTo>
                  <a:cubicBezTo>
                    <a:pt x="9690" y="21158"/>
                    <a:pt x="9718" y="21153"/>
                    <a:pt x="9744" y="21153"/>
                  </a:cubicBezTo>
                  <a:cubicBezTo>
                    <a:pt x="9898" y="21153"/>
                    <a:pt x="9980" y="21338"/>
                    <a:pt x="10055" y="21499"/>
                  </a:cubicBezTo>
                  <a:cubicBezTo>
                    <a:pt x="10083" y="21562"/>
                    <a:pt x="10111" y="21625"/>
                    <a:pt x="10143" y="21678"/>
                  </a:cubicBezTo>
                  <a:lnTo>
                    <a:pt x="25119" y="21597"/>
                  </a:lnTo>
                  <a:cubicBezTo>
                    <a:pt x="25130" y="21492"/>
                    <a:pt x="25158" y="21363"/>
                    <a:pt x="25245" y="21321"/>
                  </a:cubicBezTo>
                  <a:cubicBezTo>
                    <a:pt x="25264" y="21312"/>
                    <a:pt x="25284" y="21308"/>
                    <a:pt x="25305" y="21308"/>
                  </a:cubicBezTo>
                  <a:cubicBezTo>
                    <a:pt x="25342" y="21308"/>
                    <a:pt x="25380" y="21322"/>
                    <a:pt x="25410" y="21349"/>
                  </a:cubicBezTo>
                  <a:cubicBezTo>
                    <a:pt x="25515" y="21426"/>
                    <a:pt x="25529" y="21534"/>
                    <a:pt x="25536" y="21611"/>
                  </a:cubicBezTo>
                  <a:cubicBezTo>
                    <a:pt x="25543" y="21699"/>
                    <a:pt x="25550" y="21734"/>
                    <a:pt x="25620" y="21758"/>
                  </a:cubicBezTo>
                  <a:cubicBezTo>
                    <a:pt x="25686" y="21786"/>
                    <a:pt x="25753" y="21818"/>
                    <a:pt x="25819" y="21853"/>
                  </a:cubicBezTo>
                  <a:cubicBezTo>
                    <a:pt x="25896" y="21891"/>
                    <a:pt x="25967" y="21927"/>
                    <a:pt x="26015" y="21927"/>
                  </a:cubicBezTo>
                  <a:cubicBezTo>
                    <a:pt x="26024" y="21927"/>
                    <a:pt x="26033" y="21925"/>
                    <a:pt x="26040" y="21923"/>
                  </a:cubicBezTo>
                  <a:cubicBezTo>
                    <a:pt x="26054" y="21916"/>
                    <a:pt x="26075" y="21905"/>
                    <a:pt x="26092" y="21895"/>
                  </a:cubicBezTo>
                  <a:cubicBezTo>
                    <a:pt x="26155" y="21862"/>
                    <a:pt x="26246" y="21815"/>
                    <a:pt x="26347" y="21815"/>
                  </a:cubicBezTo>
                  <a:cubicBezTo>
                    <a:pt x="26433" y="21815"/>
                    <a:pt x="26526" y="21849"/>
                    <a:pt x="26618" y="21954"/>
                  </a:cubicBezTo>
                  <a:cubicBezTo>
                    <a:pt x="26663" y="22018"/>
                    <a:pt x="26734" y="22055"/>
                    <a:pt x="26809" y="22055"/>
                  </a:cubicBezTo>
                  <a:cubicBezTo>
                    <a:pt x="26821" y="22055"/>
                    <a:pt x="26833" y="22054"/>
                    <a:pt x="26845" y="22052"/>
                  </a:cubicBezTo>
                  <a:cubicBezTo>
                    <a:pt x="26859" y="22052"/>
                    <a:pt x="26873" y="22051"/>
                    <a:pt x="26887" y="22051"/>
                  </a:cubicBezTo>
                  <a:cubicBezTo>
                    <a:pt x="26948" y="22051"/>
                    <a:pt x="27016" y="22063"/>
                    <a:pt x="27073" y="22136"/>
                  </a:cubicBezTo>
                  <a:cubicBezTo>
                    <a:pt x="27080" y="22147"/>
                    <a:pt x="27090" y="22157"/>
                    <a:pt x="27101" y="22168"/>
                  </a:cubicBezTo>
                  <a:cubicBezTo>
                    <a:pt x="27153" y="22231"/>
                    <a:pt x="27227" y="22273"/>
                    <a:pt x="27311" y="22283"/>
                  </a:cubicBezTo>
                  <a:cubicBezTo>
                    <a:pt x="27360" y="22280"/>
                    <a:pt x="27409" y="22255"/>
                    <a:pt x="27437" y="22217"/>
                  </a:cubicBezTo>
                  <a:cubicBezTo>
                    <a:pt x="27444" y="22206"/>
                    <a:pt x="27454" y="22196"/>
                    <a:pt x="27465" y="22189"/>
                  </a:cubicBezTo>
                  <a:lnTo>
                    <a:pt x="27468" y="22185"/>
                  </a:lnTo>
                  <a:cubicBezTo>
                    <a:pt x="27475" y="22178"/>
                    <a:pt x="27486" y="22171"/>
                    <a:pt x="27496" y="22168"/>
                  </a:cubicBezTo>
                  <a:lnTo>
                    <a:pt x="27503" y="22164"/>
                  </a:lnTo>
                  <a:cubicBezTo>
                    <a:pt x="27514" y="22161"/>
                    <a:pt x="27521" y="22157"/>
                    <a:pt x="27531" y="22154"/>
                  </a:cubicBezTo>
                  <a:lnTo>
                    <a:pt x="27545" y="22150"/>
                  </a:lnTo>
                  <a:cubicBezTo>
                    <a:pt x="27552" y="22147"/>
                    <a:pt x="27563" y="22143"/>
                    <a:pt x="27573" y="22143"/>
                  </a:cubicBezTo>
                  <a:lnTo>
                    <a:pt x="27587" y="22143"/>
                  </a:lnTo>
                  <a:cubicBezTo>
                    <a:pt x="27598" y="22143"/>
                    <a:pt x="27608" y="22140"/>
                    <a:pt x="27615" y="22140"/>
                  </a:cubicBezTo>
                  <a:lnTo>
                    <a:pt x="27713" y="22140"/>
                  </a:lnTo>
                  <a:lnTo>
                    <a:pt x="27748" y="22143"/>
                  </a:lnTo>
                  <a:lnTo>
                    <a:pt x="27769" y="22147"/>
                  </a:lnTo>
                  <a:lnTo>
                    <a:pt x="27811" y="22154"/>
                  </a:lnTo>
                  <a:lnTo>
                    <a:pt x="27822" y="22154"/>
                  </a:lnTo>
                  <a:lnTo>
                    <a:pt x="27878" y="22168"/>
                  </a:lnTo>
                  <a:lnTo>
                    <a:pt x="27881" y="22168"/>
                  </a:lnTo>
                  <a:cubicBezTo>
                    <a:pt x="28007" y="22199"/>
                    <a:pt x="28133" y="22241"/>
                    <a:pt x="28256" y="22290"/>
                  </a:cubicBezTo>
                  <a:cubicBezTo>
                    <a:pt x="28347" y="22203"/>
                    <a:pt x="28431" y="22108"/>
                    <a:pt x="28508" y="22007"/>
                  </a:cubicBezTo>
                  <a:cubicBezTo>
                    <a:pt x="28662" y="21814"/>
                    <a:pt x="28806" y="21632"/>
                    <a:pt x="28984" y="21632"/>
                  </a:cubicBezTo>
                  <a:cubicBezTo>
                    <a:pt x="29103" y="21632"/>
                    <a:pt x="30150" y="21646"/>
                    <a:pt x="30213" y="22175"/>
                  </a:cubicBezTo>
                  <a:cubicBezTo>
                    <a:pt x="30230" y="22318"/>
                    <a:pt x="30300" y="22329"/>
                    <a:pt x="30447" y="22332"/>
                  </a:cubicBezTo>
                  <a:cubicBezTo>
                    <a:pt x="30573" y="22332"/>
                    <a:pt x="30763" y="22339"/>
                    <a:pt x="30798" y="22584"/>
                  </a:cubicBezTo>
                  <a:cubicBezTo>
                    <a:pt x="30815" y="22735"/>
                    <a:pt x="30899" y="22875"/>
                    <a:pt x="30976" y="23001"/>
                  </a:cubicBezTo>
                  <a:cubicBezTo>
                    <a:pt x="31053" y="23123"/>
                    <a:pt x="31116" y="23225"/>
                    <a:pt x="31109" y="23327"/>
                  </a:cubicBezTo>
                  <a:lnTo>
                    <a:pt x="31116" y="23330"/>
                  </a:lnTo>
                  <a:lnTo>
                    <a:pt x="31158" y="23358"/>
                  </a:lnTo>
                  <a:lnTo>
                    <a:pt x="31172" y="23365"/>
                  </a:lnTo>
                  <a:lnTo>
                    <a:pt x="31225" y="23404"/>
                  </a:lnTo>
                  <a:lnTo>
                    <a:pt x="31239" y="23411"/>
                  </a:lnTo>
                  <a:lnTo>
                    <a:pt x="31288" y="23446"/>
                  </a:lnTo>
                  <a:lnTo>
                    <a:pt x="31302" y="23456"/>
                  </a:lnTo>
                  <a:lnTo>
                    <a:pt x="31358" y="23498"/>
                  </a:lnTo>
                  <a:lnTo>
                    <a:pt x="31365" y="23505"/>
                  </a:lnTo>
                  <a:cubicBezTo>
                    <a:pt x="31402" y="23497"/>
                    <a:pt x="31448" y="23494"/>
                    <a:pt x="31499" y="23494"/>
                  </a:cubicBezTo>
                  <a:cubicBezTo>
                    <a:pt x="31704" y="23494"/>
                    <a:pt x="31998" y="23551"/>
                    <a:pt x="32208" y="23624"/>
                  </a:cubicBezTo>
                  <a:cubicBezTo>
                    <a:pt x="32276" y="23650"/>
                    <a:pt x="32357" y="23657"/>
                    <a:pt x="32441" y="23657"/>
                  </a:cubicBezTo>
                  <a:cubicBezTo>
                    <a:pt x="32493" y="23657"/>
                    <a:pt x="32545" y="23655"/>
                    <a:pt x="32597" y="23652"/>
                  </a:cubicBezTo>
                  <a:cubicBezTo>
                    <a:pt x="32650" y="23649"/>
                    <a:pt x="32704" y="23646"/>
                    <a:pt x="32759" y="23646"/>
                  </a:cubicBezTo>
                  <a:cubicBezTo>
                    <a:pt x="32964" y="23646"/>
                    <a:pt x="33166" y="23688"/>
                    <a:pt x="33266" y="23929"/>
                  </a:cubicBezTo>
                  <a:cubicBezTo>
                    <a:pt x="33322" y="24055"/>
                    <a:pt x="33388" y="24174"/>
                    <a:pt x="33465" y="24289"/>
                  </a:cubicBezTo>
                  <a:cubicBezTo>
                    <a:pt x="33574" y="24454"/>
                    <a:pt x="33651" y="24576"/>
                    <a:pt x="33602" y="24674"/>
                  </a:cubicBezTo>
                  <a:cubicBezTo>
                    <a:pt x="33563" y="24751"/>
                    <a:pt x="33469" y="24765"/>
                    <a:pt x="33402" y="24772"/>
                  </a:cubicBezTo>
                  <a:cubicBezTo>
                    <a:pt x="33394" y="24773"/>
                    <a:pt x="33385" y="24773"/>
                    <a:pt x="33376" y="24773"/>
                  </a:cubicBezTo>
                  <a:cubicBezTo>
                    <a:pt x="33213" y="24773"/>
                    <a:pt x="33041" y="24681"/>
                    <a:pt x="32905" y="24604"/>
                  </a:cubicBezTo>
                  <a:cubicBezTo>
                    <a:pt x="32856" y="24580"/>
                    <a:pt x="32810" y="24555"/>
                    <a:pt x="32761" y="24534"/>
                  </a:cubicBezTo>
                  <a:lnTo>
                    <a:pt x="32761" y="24534"/>
                  </a:lnTo>
                  <a:cubicBezTo>
                    <a:pt x="32775" y="24622"/>
                    <a:pt x="32744" y="24713"/>
                    <a:pt x="32674" y="24769"/>
                  </a:cubicBezTo>
                  <a:cubicBezTo>
                    <a:pt x="32632" y="24814"/>
                    <a:pt x="32590" y="24853"/>
                    <a:pt x="32590" y="25021"/>
                  </a:cubicBezTo>
                  <a:cubicBezTo>
                    <a:pt x="32590" y="25319"/>
                    <a:pt x="32429" y="25746"/>
                    <a:pt x="32264" y="25886"/>
                  </a:cubicBezTo>
                  <a:cubicBezTo>
                    <a:pt x="32240" y="25907"/>
                    <a:pt x="32212" y="25924"/>
                    <a:pt x="32180" y="25931"/>
                  </a:cubicBezTo>
                  <a:cubicBezTo>
                    <a:pt x="32180" y="25945"/>
                    <a:pt x="32177" y="25956"/>
                    <a:pt x="32177" y="25970"/>
                  </a:cubicBezTo>
                  <a:lnTo>
                    <a:pt x="32177" y="25973"/>
                  </a:lnTo>
                  <a:lnTo>
                    <a:pt x="32177" y="26012"/>
                  </a:lnTo>
                  <a:lnTo>
                    <a:pt x="32177" y="26026"/>
                  </a:lnTo>
                  <a:cubicBezTo>
                    <a:pt x="32177" y="26040"/>
                    <a:pt x="32177" y="26054"/>
                    <a:pt x="32177" y="26064"/>
                  </a:cubicBezTo>
                  <a:lnTo>
                    <a:pt x="32177" y="26071"/>
                  </a:lnTo>
                  <a:cubicBezTo>
                    <a:pt x="32180" y="26085"/>
                    <a:pt x="32184" y="26099"/>
                    <a:pt x="32187" y="26113"/>
                  </a:cubicBezTo>
                  <a:cubicBezTo>
                    <a:pt x="32187" y="26117"/>
                    <a:pt x="32187" y="26120"/>
                    <a:pt x="32187" y="26124"/>
                  </a:cubicBezTo>
                  <a:cubicBezTo>
                    <a:pt x="32191" y="26138"/>
                    <a:pt x="32194" y="26148"/>
                    <a:pt x="32201" y="26159"/>
                  </a:cubicBezTo>
                  <a:lnTo>
                    <a:pt x="32205" y="26169"/>
                  </a:lnTo>
                  <a:cubicBezTo>
                    <a:pt x="32208" y="26180"/>
                    <a:pt x="32215" y="26190"/>
                    <a:pt x="32222" y="26204"/>
                  </a:cubicBezTo>
                  <a:lnTo>
                    <a:pt x="32254" y="26180"/>
                  </a:lnTo>
                  <a:cubicBezTo>
                    <a:pt x="32436" y="26042"/>
                    <a:pt x="32656" y="25878"/>
                    <a:pt x="32866" y="25878"/>
                  </a:cubicBezTo>
                  <a:cubicBezTo>
                    <a:pt x="32874" y="25878"/>
                    <a:pt x="32883" y="25878"/>
                    <a:pt x="32891" y="25879"/>
                  </a:cubicBezTo>
                  <a:cubicBezTo>
                    <a:pt x="33017" y="25886"/>
                    <a:pt x="33136" y="25917"/>
                    <a:pt x="33248" y="25966"/>
                  </a:cubicBezTo>
                  <a:cubicBezTo>
                    <a:pt x="33316" y="25994"/>
                    <a:pt x="33366" y="26015"/>
                    <a:pt x="33416" y="26015"/>
                  </a:cubicBezTo>
                  <a:cubicBezTo>
                    <a:pt x="33458" y="26015"/>
                    <a:pt x="33501" y="26000"/>
                    <a:pt x="33556" y="25963"/>
                  </a:cubicBezTo>
                  <a:cubicBezTo>
                    <a:pt x="33598" y="25931"/>
                    <a:pt x="33640" y="25903"/>
                    <a:pt x="33672" y="25879"/>
                  </a:cubicBezTo>
                  <a:cubicBezTo>
                    <a:pt x="33765" y="25809"/>
                    <a:pt x="33819" y="25768"/>
                    <a:pt x="33873" y="25768"/>
                  </a:cubicBezTo>
                  <a:cubicBezTo>
                    <a:pt x="33884" y="25768"/>
                    <a:pt x="33895" y="25770"/>
                    <a:pt x="33906" y="25774"/>
                  </a:cubicBezTo>
                  <a:cubicBezTo>
                    <a:pt x="33938" y="25784"/>
                    <a:pt x="33966" y="25809"/>
                    <a:pt x="33980" y="25840"/>
                  </a:cubicBezTo>
                  <a:lnTo>
                    <a:pt x="33983" y="25837"/>
                  </a:lnTo>
                  <a:lnTo>
                    <a:pt x="33997" y="25826"/>
                  </a:lnTo>
                  <a:lnTo>
                    <a:pt x="34001" y="25823"/>
                  </a:lnTo>
                  <a:lnTo>
                    <a:pt x="34008" y="25816"/>
                  </a:lnTo>
                  <a:lnTo>
                    <a:pt x="34011" y="25812"/>
                  </a:lnTo>
                  <a:lnTo>
                    <a:pt x="34015" y="25809"/>
                  </a:lnTo>
                  <a:lnTo>
                    <a:pt x="34015" y="25805"/>
                  </a:lnTo>
                  <a:lnTo>
                    <a:pt x="34015" y="25788"/>
                  </a:lnTo>
                  <a:lnTo>
                    <a:pt x="34015" y="25784"/>
                  </a:lnTo>
                  <a:lnTo>
                    <a:pt x="34015" y="25760"/>
                  </a:lnTo>
                  <a:lnTo>
                    <a:pt x="34015" y="25749"/>
                  </a:lnTo>
                  <a:cubicBezTo>
                    <a:pt x="34015" y="25739"/>
                    <a:pt x="34015" y="25728"/>
                    <a:pt x="34011" y="25721"/>
                  </a:cubicBezTo>
                  <a:lnTo>
                    <a:pt x="34011" y="25714"/>
                  </a:lnTo>
                  <a:cubicBezTo>
                    <a:pt x="34011" y="25700"/>
                    <a:pt x="34008" y="25686"/>
                    <a:pt x="34004" y="25672"/>
                  </a:cubicBezTo>
                  <a:lnTo>
                    <a:pt x="34004" y="25669"/>
                  </a:lnTo>
                  <a:cubicBezTo>
                    <a:pt x="33942" y="25678"/>
                    <a:pt x="33888" y="25685"/>
                    <a:pt x="33840" y="25685"/>
                  </a:cubicBezTo>
                  <a:cubicBezTo>
                    <a:pt x="33731" y="25685"/>
                    <a:pt x="33658" y="25647"/>
                    <a:pt x="33602" y="25508"/>
                  </a:cubicBezTo>
                  <a:cubicBezTo>
                    <a:pt x="33577" y="25441"/>
                    <a:pt x="33591" y="25368"/>
                    <a:pt x="33637" y="25319"/>
                  </a:cubicBezTo>
                  <a:cubicBezTo>
                    <a:pt x="33787" y="25122"/>
                    <a:pt x="34316" y="24972"/>
                    <a:pt x="34669" y="24972"/>
                  </a:cubicBezTo>
                  <a:cubicBezTo>
                    <a:pt x="34712" y="24972"/>
                    <a:pt x="34752" y="24974"/>
                    <a:pt x="34788" y="24979"/>
                  </a:cubicBezTo>
                  <a:cubicBezTo>
                    <a:pt x="34818" y="24983"/>
                    <a:pt x="34847" y="24985"/>
                    <a:pt x="34875" y="24985"/>
                  </a:cubicBezTo>
                  <a:cubicBezTo>
                    <a:pt x="34999" y="24985"/>
                    <a:pt x="35109" y="24951"/>
                    <a:pt x="35209" y="24919"/>
                  </a:cubicBezTo>
                  <a:cubicBezTo>
                    <a:pt x="35283" y="24895"/>
                    <a:pt x="35356" y="24873"/>
                    <a:pt x="35422" y="24873"/>
                  </a:cubicBezTo>
                  <a:cubicBezTo>
                    <a:pt x="35462" y="24873"/>
                    <a:pt x="35500" y="24881"/>
                    <a:pt x="35534" y="24902"/>
                  </a:cubicBezTo>
                  <a:lnTo>
                    <a:pt x="35545" y="24895"/>
                  </a:lnTo>
                  <a:lnTo>
                    <a:pt x="35562" y="24877"/>
                  </a:lnTo>
                  <a:lnTo>
                    <a:pt x="35601" y="24846"/>
                  </a:lnTo>
                  <a:lnTo>
                    <a:pt x="35618" y="24832"/>
                  </a:lnTo>
                  <a:lnTo>
                    <a:pt x="35650" y="24800"/>
                  </a:lnTo>
                  <a:lnTo>
                    <a:pt x="35671" y="24786"/>
                  </a:lnTo>
                  <a:lnTo>
                    <a:pt x="35699" y="24762"/>
                  </a:lnTo>
                  <a:lnTo>
                    <a:pt x="35720" y="24744"/>
                  </a:lnTo>
                  <a:lnTo>
                    <a:pt x="35744" y="24720"/>
                  </a:lnTo>
                  <a:lnTo>
                    <a:pt x="35762" y="24706"/>
                  </a:lnTo>
                  <a:lnTo>
                    <a:pt x="35786" y="24685"/>
                  </a:lnTo>
                  <a:lnTo>
                    <a:pt x="35807" y="24667"/>
                  </a:lnTo>
                  <a:lnTo>
                    <a:pt x="35828" y="24650"/>
                  </a:lnTo>
                  <a:lnTo>
                    <a:pt x="35846" y="24636"/>
                  </a:lnTo>
                  <a:lnTo>
                    <a:pt x="35867" y="24618"/>
                  </a:lnTo>
                  <a:lnTo>
                    <a:pt x="35884" y="24604"/>
                  </a:lnTo>
                  <a:lnTo>
                    <a:pt x="35902" y="24590"/>
                  </a:lnTo>
                  <a:lnTo>
                    <a:pt x="35919" y="24576"/>
                  </a:lnTo>
                  <a:lnTo>
                    <a:pt x="35937" y="24562"/>
                  </a:lnTo>
                  <a:lnTo>
                    <a:pt x="35951" y="24552"/>
                  </a:lnTo>
                  <a:lnTo>
                    <a:pt x="35968" y="24538"/>
                  </a:lnTo>
                  <a:lnTo>
                    <a:pt x="35982" y="24527"/>
                  </a:lnTo>
                  <a:lnTo>
                    <a:pt x="35996" y="24517"/>
                  </a:lnTo>
                  <a:lnTo>
                    <a:pt x="36010" y="24506"/>
                  </a:lnTo>
                  <a:lnTo>
                    <a:pt x="36024" y="24496"/>
                  </a:lnTo>
                  <a:lnTo>
                    <a:pt x="36038" y="24489"/>
                  </a:lnTo>
                  <a:lnTo>
                    <a:pt x="36049" y="24478"/>
                  </a:lnTo>
                  <a:lnTo>
                    <a:pt x="36059" y="24471"/>
                  </a:lnTo>
                  <a:lnTo>
                    <a:pt x="36073" y="24461"/>
                  </a:lnTo>
                  <a:lnTo>
                    <a:pt x="36084" y="24454"/>
                  </a:lnTo>
                  <a:lnTo>
                    <a:pt x="36094" y="24447"/>
                  </a:lnTo>
                  <a:lnTo>
                    <a:pt x="36105" y="24440"/>
                  </a:lnTo>
                  <a:lnTo>
                    <a:pt x="36115" y="24433"/>
                  </a:lnTo>
                  <a:lnTo>
                    <a:pt x="36122" y="24429"/>
                  </a:lnTo>
                  <a:lnTo>
                    <a:pt x="36133" y="24422"/>
                  </a:lnTo>
                  <a:lnTo>
                    <a:pt x="36140" y="24419"/>
                  </a:lnTo>
                  <a:lnTo>
                    <a:pt x="36150" y="24412"/>
                  </a:lnTo>
                  <a:lnTo>
                    <a:pt x="36157" y="24408"/>
                  </a:lnTo>
                  <a:lnTo>
                    <a:pt x="36164" y="24405"/>
                  </a:lnTo>
                  <a:lnTo>
                    <a:pt x="36171" y="24401"/>
                  </a:lnTo>
                  <a:lnTo>
                    <a:pt x="36178" y="24398"/>
                  </a:lnTo>
                  <a:lnTo>
                    <a:pt x="36185" y="24394"/>
                  </a:lnTo>
                  <a:lnTo>
                    <a:pt x="36192" y="24391"/>
                  </a:lnTo>
                  <a:lnTo>
                    <a:pt x="36199" y="24387"/>
                  </a:lnTo>
                  <a:lnTo>
                    <a:pt x="36266" y="24387"/>
                  </a:lnTo>
                  <a:cubicBezTo>
                    <a:pt x="36402" y="24387"/>
                    <a:pt x="37936" y="24370"/>
                    <a:pt x="38125" y="24370"/>
                  </a:cubicBezTo>
                  <a:cubicBezTo>
                    <a:pt x="38216" y="24310"/>
                    <a:pt x="38692" y="23988"/>
                    <a:pt x="38758" y="23708"/>
                  </a:cubicBezTo>
                  <a:cubicBezTo>
                    <a:pt x="38814" y="23467"/>
                    <a:pt x="39060" y="22892"/>
                    <a:pt x="39305" y="22717"/>
                  </a:cubicBezTo>
                  <a:cubicBezTo>
                    <a:pt x="39329" y="22700"/>
                    <a:pt x="39354" y="22686"/>
                    <a:pt x="39382" y="22675"/>
                  </a:cubicBezTo>
                  <a:cubicBezTo>
                    <a:pt x="39403" y="22667"/>
                    <a:pt x="39425" y="22662"/>
                    <a:pt x="39447" y="22662"/>
                  </a:cubicBezTo>
                  <a:cubicBezTo>
                    <a:pt x="39486" y="22662"/>
                    <a:pt x="39525" y="22676"/>
                    <a:pt x="39557" y="22703"/>
                  </a:cubicBezTo>
                  <a:cubicBezTo>
                    <a:pt x="39655" y="22780"/>
                    <a:pt x="39819" y="22791"/>
                    <a:pt x="39963" y="22798"/>
                  </a:cubicBezTo>
                  <a:cubicBezTo>
                    <a:pt x="40008" y="22801"/>
                    <a:pt x="40047" y="22805"/>
                    <a:pt x="40085" y="22808"/>
                  </a:cubicBezTo>
                  <a:cubicBezTo>
                    <a:pt x="40113" y="22812"/>
                    <a:pt x="40141" y="22819"/>
                    <a:pt x="40169" y="22822"/>
                  </a:cubicBezTo>
                  <a:cubicBezTo>
                    <a:pt x="40183" y="22826"/>
                    <a:pt x="40197" y="22833"/>
                    <a:pt x="40208" y="22836"/>
                  </a:cubicBezTo>
                  <a:lnTo>
                    <a:pt x="40215" y="22840"/>
                  </a:lnTo>
                  <a:lnTo>
                    <a:pt x="40229" y="22847"/>
                  </a:lnTo>
                  <a:lnTo>
                    <a:pt x="40236" y="22850"/>
                  </a:lnTo>
                  <a:cubicBezTo>
                    <a:pt x="40243" y="22854"/>
                    <a:pt x="40250" y="22857"/>
                    <a:pt x="40253" y="22861"/>
                  </a:cubicBezTo>
                  <a:cubicBezTo>
                    <a:pt x="40285" y="22885"/>
                    <a:pt x="40302" y="22917"/>
                    <a:pt x="40306" y="22955"/>
                  </a:cubicBezTo>
                  <a:cubicBezTo>
                    <a:pt x="40309" y="22994"/>
                    <a:pt x="40306" y="23032"/>
                    <a:pt x="40302" y="23074"/>
                  </a:cubicBezTo>
                  <a:lnTo>
                    <a:pt x="40299" y="23106"/>
                  </a:lnTo>
                  <a:lnTo>
                    <a:pt x="40299" y="23116"/>
                  </a:lnTo>
                  <a:lnTo>
                    <a:pt x="40299" y="23130"/>
                  </a:lnTo>
                  <a:lnTo>
                    <a:pt x="40299" y="23141"/>
                  </a:lnTo>
                  <a:lnTo>
                    <a:pt x="40299" y="23155"/>
                  </a:lnTo>
                  <a:lnTo>
                    <a:pt x="40299" y="23169"/>
                  </a:lnTo>
                  <a:lnTo>
                    <a:pt x="40299" y="23183"/>
                  </a:lnTo>
                  <a:lnTo>
                    <a:pt x="40299" y="23197"/>
                  </a:lnTo>
                  <a:lnTo>
                    <a:pt x="40299" y="23211"/>
                  </a:lnTo>
                  <a:lnTo>
                    <a:pt x="40299" y="23225"/>
                  </a:lnTo>
                  <a:lnTo>
                    <a:pt x="40299" y="23239"/>
                  </a:lnTo>
                  <a:lnTo>
                    <a:pt x="40299" y="23257"/>
                  </a:lnTo>
                  <a:lnTo>
                    <a:pt x="40299" y="23271"/>
                  </a:lnTo>
                  <a:lnTo>
                    <a:pt x="40299" y="23288"/>
                  </a:lnTo>
                  <a:lnTo>
                    <a:pt x="40299" y="23302"/>
                  </a:lnTo>
                  <a:lnTo>
                    <a:pt x="40299" y="23320"/>
                  </a:lnTo>
                  <a:lnTo>
                    <a:pt x="40299" y="23334"/>
                  </a:lnTo>
                  <a:lnTo>
                    <a:pt x="40299" y="23355"/>
                  </a:lnTo>
                  <a:lnTo>
                    <a:pt x="40299" y="23369"/>
                  </a:lnTo>
                  <a:lnTo>
                    <a:pt x="40299" y="23390"/>
                  </a:lnTo>
                  <a:lnTo>
                    <a:pt x="40299" y="23407"/>
                  </a:lnTo>
                  <a:lnTo>
                    <a:pt x="40299" y="23425"/>
                  </a:lnTo>
                  <a:lnTo>
                    <a:pt x="40299" y="23442"/>
                  </a:lnTo>
                  <a:cubicBezTo>
                    <a:pt x="40299" y="23449"/>
                    <a:pt x="40299" y="23456"/>
                    <a:pt x="40302" y="23463"/>
                  </a:cubicBezTo>
                  <a:lnTo>
                    <a:pt x="40306" y="23481"/>
                  </a:lnTo>
                  <a:lnTo>
                    <a:pt x="40309" y="23505"/>
                  </a:lnTo>
                  <a:lnTo>
                    <a:pt x="40313" y="23523"/>
                  </a:lnTo>
                  <a:lnTo>
                    <a:pt x="40316" y="23544"/>
                  </a:lnTo>
                  <a:lnTo>
                    <a:pt x="40320" y="23561"/>
                  </a:lnTo>
                  <a:lnTo>
                    <a:pt x="40323" y="23586"/>
                  </a:lnTo>
                  <a:lnTo>
                    <a:pt x="40327" y="23607"/>
                  </a:lnTo>
                  <a:lnTo>
                    <a:pt x="40334" y="23628"/>
                  </a:lnTo>
                  <a:lnTo>
                    <a:pt x="40341" y="23649"/>
                  </a:lnTo>
                  <a:lnTo>
                    <a:pt x="40344" y="23673"/>
                  </a:lnTo>
                  <a:lnTo>
                    <a:pt x="40351" y="23694"/>
                  </a:lnTo>
                  <a:lnTo>
                    <a:pt x="40358" y="23719"/>
                  </a:lnTo>
                  <a:lnTo>
                    <a:pt x="40365" y="23740"/>
                  </a:lnTo>
                  <a:lnTo>
                    <a:pt x="40376" y="23768"/>
                  </a:lnTo>
                  <a:lnTo>
                    <a:pt x="40383" y="23789"/>
                  </a:lnTo>
                  <a:lnTo>
                    <a:pt x="40390" y="23813"/>
                  </a:lnTo>
                  <a:lnTo>
                    <a:pt x="40400" y="23834"/>
                  </a:lnTo>
                  <a:lnTo>
                    <a:pt x="40411" y="23862"/>
                  </a:lnTo>
                  <a:lnTo>
                    <a:pt x="40418" y="23887"/>
                  </a:lnTo>
                  <a:lnTo>
                    <a:pt x="40432" y="23915"/>
                  </a:lnTo>
                  <a:lnTo>
                    <a:pt x="40442" y="23936"/>
                  </a:lnTo>
                  <a:lnTo>
                    <a:pt x="40456" y="23967"/>
                  </a:lnTo>
                  <a:lnTo>
                    <a:pt x="40467" y="23988"/>
                  </a:lnTo>
                  <a:lnTo>
                    <a:pt x="40481" y="24020"/>
                  </a:lnTo>
                  <a:lnTo>
                    <a:pt x="40491" y="24041"/>
                  </a:lnTo>
                  <a:lnTo>
                    <a:pt x="40509" y="24072"/>
                  </a:lnTo>
                  <a:lnTo>
                    <a:pt x="40523" y="24097"/>
                  </a:lnTo>
                  <a:lnTo>
                    <a:pt x="40540" y="24128"/>
                  </a:lnTo>
                  <a:lnTo>
                    <a:pt x="40554" y="24153"/>
                  </a:lnTo>
                  <a:lnTo>
                    <a:pt x="40572" y="24184"/>
                  </a:lnTo>
                  <a:lnTo>
                    <a:pt x="40586" y="24209"/>
                  </a:lnTo>
                  <a:lnTo>
                    <a:pt x="40607" y="24244"/>
                  </a:lnTo>
                  <a:lnTo>
                    <a:pt x="40624" y="24268"/>
                  </a:lnTo>
                  <a:lnTo>
                    <a:pt x="40645" y="24303"/>
                  </a:lnTo>
                  <a:lnTo>
                    <a:pt x="40663" y="24328"/>
                  </a:lnTo>
                  <a:lnTo>
                    <a:pt x="40687" y="24363"/>
                  </a:lnTo>
                  <a:lnTo>
                    <a:pt x="40705" y="24387"/>
                  </a:lnTo>
                  <a:lnTo>
                    <a:pt x="40712" y="24394"/>
                  </a:lnTo>
                  <a:cubicBezTo>
                    <a:pt x="40869" y="24299"/>
                    <a:pt x="41102" y="24177"/>
                    <a:pt x="41259" y="24177"/>
                  </a:cubicBezTo>
                  <a:cubicBezTo>
                    <a:pt x="41264" y="24177"/>
                    <a:pt x="41268" y="24177"/>
                    <a:pt x="41272" y="24177"/>
                  </a:cubicBezTo>
                  <a:cubicBezTo>
                    <a:pt x="41276" y="24177"/>
                    <a:pt x="41279" y="24178"/>
                    <a:pt x="41283" y="24178"/>
                  </a:cubicBezTo>
                  <a:cubicBezTo>
                    <a:pt x="41469" y="24178"/>
                    <a:pt x="41767" y="23915"/>
                    <a:pt x="41853" y="23750"/>
                  </a:cubicBezTo>
                  <a:cubicBezTo>
                    <a:pt x="41891" y="23678"/>
                    <a:pt x="41938" y="23663"/>
                    <a:pt x="41971" y="23663"/>
                  </a:cubicBezTo>
                  <a:cubicBezTo>
                    <a:pt x="41981" y="23663"/>
                    <a:pt x="41990" y="23664"/>
                    <a:pt x="41997" y="23666"/>
                  </a:cubicBezTo>
                  <a:cubicBezTo>
                    <a:pt x="42074" y="23684"/>
                    <a:pt x="42109" y="23775"/>
                    <a:pt x="42112" y="23852"/>
                  </a:cubicBezTo>
                  <a:cubicBezTo>
                    <a:pt x="42123" y="23939"/>
                    <a:pt x="42074" y="24023"/>
                    <a:pt x="41993" y="24062"/>
                  </a:cubicBezTo>
                  <a:cubicBezTo>
                    <a:pt x="42121" y="24115"/>
                    <a:pt x="42257" y="24140"/>
                    <a:pt x="42394" y="24140"/>
                  </a:cubicBezTo>
                  <a:cubicBezTo>
                    <a:pt x="42411" y="24140"/>
                    <a:pt x="42428" y="24139"/>
                    <a:pt x="42445" y="24139"/>
                  </a:cubicBezTo>
                  <a:cubicBezTo>
                    <a:pt x="42462" y="24138"/>
                    <a:pt x="42477" y="24138"/>
                    <a:pt x="42492" y="24138"/>
                  </a:cubicBezTo>
                  <a:cubicBezTo>
                    <a:pt x="42559" y="24138"/>
                    <a:pt x="42597" y="24147"/>
                    <a:pt x="42620" y="24184"/>
                  </a:cubicBezTo>
                  <a:cubicBezTo>
                    <a:pt x="42630" y="24205"/>
                    <a:pt x="42630" y="24233"/>
                    <a:pt x="42620" y="24254"/>
                  </a:cubicBezTo>
                  <a:cubicBezTo>
                    <a:pt x="42606" y="24275"/>
                    <a:pt x="42588" y="24307"/>
                    <a:pt x="42375" y="24349"/>
                  </a:cubicBezTo>
                  <a:cubicBezTo>
                    <a:pt x="42274" y="24368"/>
                    <a:pt x="42171" y="24381"/>
                    <a:pt x="42067" y="24381"/>
                  </a:cubicBezTo>
                  <a:cubicBezTo>
                    <a:pt x="42056" y="24381"/>
                    <a:pt x="42044" y="24381"/>
                    <a:pt x="42032" y="24380"/>
                  </a:cubicBezTo>
                  <a:cubicBezTo>
                    <a:pt x="42005" y="24379"/>
                    <a:pt x="41981" y="24378"/>
                    <a:pt x="41957" y="24378"/>
                  </a:cubicBezTo>
                  <a:cubicBezTo>
                    <a:pt x="41788" y="24378"/>
                    <a:pt x="41679" y="24426"/>
                    <a:pt x="41381" y="24727"/>
                  </a:cubicBezTo>
                  <a:cubicBezTo>
                    <a:pt x="41234" y="24870"/>
                    <a:pt x="41167" y="24975"/>
                    <a:pt x="41167" y="25042"/>
                  </a:cubicBezTo>
                  <a:cubicBezTo>
                    <a:pt x="41167" y="25105"/>
                    <a:pt x="41230" y="25161"/>
                    <a:pt x="41314" y="25234"/>
                  </a:cubicBezTo>
                  <a:cubicBezTo>
                    <a:pt x="41374" y="25288"/>
                    <a:pt x="41441" y="25314"/>
                    <a:pt x="41517" y="25314"/>
                  </a:cubicBezTo>
                  <a:cubicBezTo>
                    <a:pt x="41640" y="25314"/>
                    <a:pt x="41783" y="25243"/>
                    <a:pt x="41944" y="25101"/>
                  </a:cubicBezTo>
                  <a:cubicBezTo>
                    <a:pt x="42025" y="25031"/>
                    <a:pt x="42091" y="24951"/>
                    <a:pt x="42147" y="24863"/>
                  </a:cubicBezTo>
                  <a:cubicBezTo>
                    <a:pt x="42231" y="24743"/>
                    <a:pt x="42305" y="24639"/>
                    <a:pt x="42485" y="24639"/>
                  </a:cubicBezTo>
                  <a:cubicBezTo>
                    <a:pt x="42494" y="24639"/>
                    <a:pt x="42502" y="24639"/>
                    <a:pt x="42511" y="24639"/>
                  </a:cubicBezTo>
                  <a:cubicBezTo>
                    <a:pt x="42516" y="24639"/>
                    <a:pt x="42520" y="24640"/>
                    <a:pt x="42524" y="24640"/>
                  </a:cubicBezTo>
                  <a:cubicBezTo>
                    <a:pt x="42738" y="24640"/>
                    <a:pt x="43225" y="24476"/>
                    <a:pt x="43548" y="24370"/>
                  </a:cubicBezTo>
                  <a:cubicBezTo>
                    <a:pt x="43625" y="24342"/>
                    <a:pt x="43695" y="24321"/>
                    <a:pt x="43751" y="24303"/>
                  </a:cubicBezTo>
                  <a:cubicBezTo>
                    <a:pt x="43793" y="24289"/>
                    <a:pt x="43835" y="24272"/>
                    <a:pt x="43873" y="24247"/>
                  </a:cubicBezTo>
                  <a:cubicBezTo>
                    <a:pt x="43870" y="24240"/>
                    <a:pt x="43863" y="24230"/>
                    <a:pt x="43859" y="24223"/>
                  </a:cubicBezTo>
                  <a:cubicBezTo>
                    <a:pt x="43831" y="24181"/>
                    <a:pt x="43817" y="24135"/>
                    <a:pt x="43814" y="24086"/>
                  </a:cubicBezTo>
                  <a:cubicBezTo>
                    <a:pt x="43814" y="23960"/>
                    <a:pt x="43985" y="23922"/>
                    <a:pt x="44202" y="23880"/>
                  </a:cubicBezTo>
                  <a:cubicBezTo>
                    <a:pt x="44339" y="23848"/>
                    <a:pt x="44493" y="23817"/>
                    <a:pt x="44570" y="23764"/>
                  </a:cubicBezTo>
                  <a:cubicBezTo>
                    <a:pt x="44615" y="23736"/>
                    <a:pt x="44615" y="23719"/>
                    <a:pt x="44615" y="23719"/>
                  </a:cubicBezTo>
                  <a:cubicBezTo>
                    <a:pt x="44609" y="23698"/>
                    <a:pt x="44541" y="23662"/>
                    <a:pt x="44457" y="23662"/>
                  </a:cubicBezTo>
                  <a:cubicBezTo>
                    <a:pt x="44441" y="23662"/>
                    <a:pt x="44425" y="23663"/>
                    <a:pt x="44409" y="23666"/>
                  </a:cubicBezTo>
                  <a:cubicBezTo>
                    <a:pt x="44400" y="23668"/>
                    <a:pt x="44391" y="23669"/>
                    <a:pt x="44382" y="23669"/>
                  </a:cubicBezTo>
                  <a:cubicBezTo>
                    <a:pt x="44345" y="23669"/>
                    <a:pt x="44308" y="23652"/>
                    <a:pt x="44283" y="23624"/>
                  </a:cubicBezTo>
                  <a:cubicBezTo>
                    <a:pt x="44223" y="23554"/>
                    <a:pt x="44258" y="23442"/>
                    <a:pt x="44293" y="23320"/>
                  </a:cubicBezTo>
                  <a:cubicBezTo>
                    <a:pt x="44304" y="23295"/>
                    <a:pt x="44311" y="23271"/>
                    <a:pt x="44314" y="23250"/>
                  </a:cubicBezTo>
                  <a:lnTo>
                    <a:pt x="44314" y="23250"/>
                  </a:lnTo>
                  <a:cubicBezTo>
                    <a:pt x="44258" y="23271"/>
                    <a:pt x="44209" y="23299"/>
                    <a:pt x="44164" y="23337"/>
                  </a:cubicBezTo>
                  <a:cubicBezTo>
                    <a:pt x="44122" y="23362"/>
                    <a:pt x="44094" y="23400"/>
                    <a:pt x="44080" y="23446"/>
                  </a:cubicBezTo>
                  <a:cubicBezTo>
                    <a:pt x="44069" y="23565"/>
                    <a:pt x="43968" y="23635"/>
                    <a:pt x="43884" y="23691"/>
                  </a:cubicBezTo>
                  <a:cubicBezTo>
                    <a:pt x="43852" y="23708"/>
                    <a:pt x="43824" y="23733"/>
                    <a:pt x="43800" y="23761"/>
                  </a:cubicBezTo>
                  <a:cubicBezTo>
                    <a:pt x="43800" y="23922"/>
                    <a:pt x="43793" y="24002"/>
                    <a:pt x="43660" y="24013"/>
                  </a:cubicBezTo>
                  <a:cubicBezTo>
                    <a:pt x="43614" y="24016"/>
                    <a:pt x="43572" y="24027"/>
                    <a:pt x="43534" y="24048"/>
                  </a:cubicBezTo>
                  <a:cubicBezTo>
                    <a:pt x="43469" y="24080"/>
                    <a:pt x="43364" y="24094"/>
                    <a:pt x="43245" y="24094"/>
                  </a:cubicBezTo>
                  <a:cubicBezTo>
                    <a:pt x="43014" y="24094"/>
                    <a:pt x="42731" y="24041"/>
                    <a:pt x="42592" y="23967"/>
                  </a:cubicBezTo>
                  <a:cubicBezTo>
                    <a:pt x="42518" y="23929"/>
                    <a:pt x="42476" y="23880"/>
                    <a:pt x="42469" y="23827"/>
                  </a:cubicBezTo>
                  <a:cubicBezTo>
                    <a:pt x="42462" y="23785"/>
                    <a:pt x="42333" y="23722"/>
                    <a:pt x="42242" y="23677"/>
                  </a:cubicBezTo>
                  <a:cubicBezTo>
                    <a:pt x="42077" y="23593"/>
                    <a:pt x="41892" y="23502"/>
                    <a:pt x="41874" y="23341"/>
                  </a:cubicBezTo>
                  <a:cubicBezTo>
                    <a:pt x="41864" y="23278"/>
                    <a:pt x="41836" y="23214"/>
                    <a:pt x="41797" y="23165"/>
                  </a:cubicBezTo>
                  <a:cubicBezTo>
                    <a:pt x="41727" y="23060"/>
                    <a:pt x="41643" y="22934"/>
                    <a:pt x="41815" y="22735"/>
                  </a:cubicBezTo>
                  <a:cubicBezTo>
                    <a:pt x="41881" y="22658"/>
                    <a:pt x="41895" y="22598"/>
                    <a:pt x="41874" y="22577"/>
                  </a:cubicBezTo>
                  <a:cubicBezTo>
                    <a:pt x="41867" y="22570"/>
                    <a:pt x="41852" y="22566"/>
                    <a:pt x="41832" y="22566"/>
                  </a:cubicBezTo>
                  <a:cubicBezTo>
                    <a:pt x="41791" y="22566"/>
                    <a:pt x="41729" y="22585"/>
                    <a:pt x="41668" y="22644"/>
                  </a:cubicBezTo>
                  <a:cubicBezTo>
                    <a:pt x="41600" y="22707"/>
                    <a:pt x="41542" y="22723"/>
                    <a:pt x="41498" y="22723"/>
                  </a:cubicBezTo>
                  <a:cubicBezTo>
                    <a:pt x="41469" y="22723"/>
                    <a:pt x="41447" y="22716"/>
                    <a:pt x="41433" y="22710"/>
                  </a:cubicBezTo>
                  <a:cubicBezTo>
                    <a:pt x="41377" y="22682"/>
                    <a:pt x="41342" y="22623"/>
                    <a:pt x="41346" y="22560"/>
                  </a:cubicBezTo>
                  <a:cubicBezTo>
                    <a:pt x="41346" y="22479"/>
                    <a:pt x="41405" y="22374"/>
                    <a:pt x="41552" y="22315"/>
                  </a:cubicBezTo>
                  <a:cubicBezTo>
                    <a:pt x="41584" y="22301"/>
                    <a:pt x="41622" y="22290"/>
                    <a:pt x="41661" y="22276"/>
                  </a:cubicBezTo>
                  <a:cubicBezTo>
                    <a:pt x="41836" y="22213"/>
                    <a:pt x="42049" y="22136"/>
                    <a:pt x="42105" y="21993"/>
                  </a:cubicBezTo>
                  <a:cubicBezTo>
                    <a:pt x="42133" y="21916"/>
                    <a:pt x="42116" y="21821"/>
                    <a:pt x="42053" y="21706"/>
                  </a:cubicBezTo>
                  <a:cubicBezTo>
                    <a:pt x="42014" y="21643"/>
                    <a:pt x="41951" y="21601"/>
                    <a:pt x="41881" y="21587"/>
                  </a:cubicBezTo>
                  <a:cubicBezTo>
                    <a:pt x="41814" y="21568"/>
                    <a:pt x="41736" y="21559"/>
                    <a:pt x="41648" y="21559"/>
                  </a:cubicBezTo>
                  <a:cubicBezTo>
                    <a:pt x="41057" y="21559"/>
                    <a:pt x="40073" y="21948"/>
                    <a:pt x="39777" y="22119"/>
                  </a:cubicBezTo>
                  <a:cubicBezTo>
                    <a:pt x="39585" y="22227"/>
                    <a:pt x="39357" y="22469"/>
                    <a:pt x="39154" y="22675"/>
                  </a:cubicBezTo>
                  <a:cubicBezTo>
                    <a:pt x="38874" y="22966"/>
                    <a:pt x="38699" y="23144"/>
                    <a:pt x="38555" y="23144"/>
                  </a:cubicBezTo>
                  <a:cubicBezTo>
                    <a:pt x="38482" y="23144"/>
                    <a:pt x="38457" y="23109"/>
                    <a:pt x="38447" y="23081"/>
                  </a:cubicBezTo>
                  <a:cubicBezTo>
                    <a:pt x="38415" y="22994"/>
                    <a:pt x="38513" y="22906"/>
                    <a:pt x="38741" y="22714"/>
                  </a:cubicBezTo>
                  <a:cubicBezTo>
                    <a:pt x="38846" y="22626"/>
                    <a:pt x="38965" y="22525"/>
                    <a:pt x="38996" y="22476"/>
                  </a:cubicBezTo>
                  <a:cubicBezTo>
                    <a:pt x="39024" y="22423"/>
                    <a:pt x="39035" y="22367"/>
                    <a:pt x="39028" y="22311"/>
                  </a:cubicBezTo>
                  <a:cubicBezTo>
                    <a:pt x="39028" y="22269"/>
                    <a:pt x="39024" y="22217"/>
                    <a:pt x="39070" y="22189"/>
                  </a:cubicBezTo>
                  <a:cubicBezTo>
                    <a:pt x="39087" y="22180"/>
                    <a:pt x="39106" y="22176"/>
                    <a:pt x="39125" y="22176"/>
                  </a:cubicBezTo>
                  <a:cubicBezTo>
                    <a:pt x="39146" y="22176"/>
                    <a:pt x="39167" y="22181"/>
                    <a:pt x="39186" y="22192"/>
                  </a:cubicBezTo>
                  <a:cubicBezTo>
                    <a:pt x="39245" y="22185"/>
                    <a:pt x="39417" y="21986"/>
                    <a:pt x="39532" y="21856"/>
                  </a:cubicBezTo>
                  <a:cubicBezTo>
                    <a:pt x="39651" y="21716"/>
                    <a:pt x="39777" y="21569"/>
                    <a:pt x="39886" y="21485"/>
                  </a:cubicBezTo>
                  <a:cubicBezTo>
                    <a:pt x="40013" y="21389"/>
                    <a:pt x="40143" y="21375"/>
                    <a:pt x="40250" y="21375"/>
                  </a:cubicBezTo>
                  <a:cubicBezTo>
                    <a:pt x="40272" y="21375"/>
                    <a:pt x="40293" y="21376"/>
                    <a:pt x="40313" y="21377"/>
                  </a:cubicBezTo>
                  <a:cubicBezTo>
                    <a:pt x="40411" y="21377"/>
                    <a:pt x="40428" y="21373"/>
                    <a:pt x="40432" y="21356"/>
                  </a:cubicBezTo>
                  <a:cubicBezTo>
                    <a:pt x="40474" y="21177"/>
                    <a:pt x="40600" y="21065"/>
                    <a:pt x="40852" y="20837"/>
                  </a:cubicBezTo>
                  <a:cubicBezTo>
                    <a:pt x="41038" y="20669"/>
                    <a:pt x="42431" y="20640"/>
                    <a:pt x="43394" y="20640"/>
                  </a:cubicBezTo>
                  <a:cubicBezTo>
                    <a:pt x="43914" y="20640"/>
                    <a:pt x="44308" y="20648"/>
                    <a:pt x="44318" y="20648"/>
                  </a:cubicBezTo>
                  <a:lnTo>
                    <a:pt x="44328" y="20648"/>
                  </a:lnTo>
                  <a:cubicBezTo>
                    <a:pt x="44577" y="20648"/>
                    <a:pt x="45095" y="20298"/>
                    <a:pt x="45242" y="20071"/>
                  </a:cubicBezTo>
                  <a:cubicBezTo>
                    <a:pt x="45377" y="19864"/>
                    <a:pt x="45545" y="19814"/>
                    <a:pt x="45791" y="19814"/>
                  </a:cubicBezTo>
                  <a:cubicBezTo>
                    <a:pt x="45870" y="19814"/>
                    <a:pt x="45957" y="19819"/>
                    <a:pt x="46054" y="19826"/>
                  </a:cubicBezTo>
                  <a:cubicBezTo>
                    <a:pt x="46064" y="19826"/>
                    <a:pt x="46074" y="19827"/>
                    <a:pt x="46084" y="19827"/>
                  </a:cubicBezTo>
                  <a:cubicBezTo>
                    <a:pt x="46316" y="19827"/>
                    <a:pt x="46466" y="19673"/>
                    <a:pt x="46600" y="19535"/>
                  </a:cubicBezTo>
                  <a:cubicBezTo>
                    <a:pt x="46656" y="19476"/>
                    <a:pt x="46712" y="19423"/>
                    <a:pt x="46775" y="19374"/>
                  </a:cubicBezTo>
                  <a:cubicBezTo>
                    <a:pt x="46810" y="19357"/>
                    <a:pt x="46838" y="19329"/>
                    <a:pt x="46863" y="19301"/>
                  </a:cubicBezTo>
                  <a:cubicBezTo>
                    <a:pt x="46828" y="19280"/>
                    <a:pt x="46789" y="19269"/>
                    <a:pt x="46751" y="19262"/>
                  </a:cubicBezTo>
                  <a:cubicBezTo>
                    <a:pt x="46747" y="19262"/>
                    <a:pt x="46460" y="19199"/>
                    <a:pt x="46471" y="19069"/>
                  </a:cubicBezTo>
                  <a:cubicBezTo>
                    <a:pt x="46471" y="19031"/>
                    <a:pt x="46499" y="18982"/>
                    <a:pt x="46604" y="18975"/>
                  </a:cubicBezTo>
                  <a:cubicBezTo>
                    <a:pt x="46719" y="18968"/>
                    <a:pt x="46796" y="18919"/>
                    <a:pt x="46873" y="18691"/>
                  </a:cubicBezTo>
                  <a:cubicBezTo>
                    <a:pt x="46901" y="18611"/>
                    <a:pt x="46901" y="18611"/>
                    <a:pt x="46835" y="18565"/>
                  </a:cubicBezTo>
                  <a:cubicBezTo>
                    <a:pt x="46744" y="18499"/>
                    <a:pt x="46660" y="18418"/>
                    <a:pt x="46593" y="18327"/>
                  </a:cubicBezTo>
                  <a:cubicBezTo>
                    <a:pt x="46545" y="18265"/>
                    <a:pt x="46509" y="18240"/>
                    <a:pt x="46473" y="18240"/>
                  </a:cubicBezTo>
                  <a:cubicBezTo>
                    <a:pt x="46434" y="18240"/>
                    <a:pt x="46394" y="18270"/>
                    <a:pt x="46338" y="18313"/>
                  </a:cubicBezTo>
                  <a:cubicBezTo>
                    <a:pt x="46271" y="18364"/>
                    <a:pt x="46189" y="18427"/>
                    <a:pt x="46085" y="18427"/>
                  </a:cubicBezTo>
                  <a:cubicBezTo>
                    <a:pt x="46075" y="18427"/>
                    <a:pt x="46065" y="18427"/>
                    <a:pt x="46054" y="18425"/>
                  </a:cubicBezTo>
                  <a:cubicBezTo>
                    <a:pt x="46009" y="18425"/>
                    <a:pt x="45963" y="18401"/>
                    <a:pt x="45935" y="18359"/>
                  </a:cubicBezTo>
                  <a:cubicBezTo>
                    <a:pt x="45900" y="18296"/>
                    <a:pt x="45935" y="18222"/>
                    <a:pt x="45970" y="18152"/>
                  </a:cubicBezTo>
                  <a:cubicBezTo>
                    <a:pt x="46026" y="18037"/>
                    <a:pt x="46030" y="18005"/>
                    <a:pt x="45991" y="17977"/>
                  </a:cubicBezTo>
                  <a:cubicBezTo>
                    <a:pt x="45942" y="17947"/>
                    <a:pt x="45880" y="17933"/>
                    <a:pt x="45810" y="17933"/>
                  </a:cubicBezTo>
                  <a:cubicBezTo>
                    <a:pt x="45634" y="17933"/>
                    <a:pt x="45409" y="18023"/>
                    <a:pt x="45221" y="18180"/>
                  </a:cubicBezTo>
                  <a:cubicBezTo>
                    <a:pt x="45083" y="18293"/>
                    <a:pt x="45002" y="18310"/>
                    <a:pt x="44926" y="18310"/>
                  </a:cubicBezTo>
                  <a:cubicBezTo>
                    <a:pt x="44917" y="18310"/>
                    <a:pt x="44908" y="18310"/>
                    <a:pt x="44899" y="18310"/>
                  </a:cubicBezTo>
                  <a:cubicBezTo>
                    <a:pt x="44891" y="18309"/>
                    <a:pt x="44883" y="18309"/>
                    <a:pt x="44875" y="18309"/>
                  </a:cubicBezTo>
                  <a:cubicBezTo>
                    <a:pt x="44833" y="18309"/>
                    <a:pt x="44791" y="18322"/>
                    <a:pt x="44703" y="18408"/>
                  </a:cubicBezTo>
                  <a:cubicBezTo>
                    <a:pt x="44633" y="18475"/>
                    <a:pt x="44570" y="18509"/>
                    <a:pt x="44515" y="18509"/>
                  </a:cubicBezTo>
                  <a:cubicBezTo>
                    <a:pt x="44501" y="18509"/>
                    <a:pt x="44488" y="18507"/>
                    <a:pt x="44475" y="18502"/>
                  </a:cubicBezTo>
                  <a:cubicBezTo>
                    <a:pt x="44423" y="18481"/>
                    <a:pt x="44388" y="18436"/>
                    <a:pt x="44384" y="18383"/>
                  </a:cubicBezTo>
                  <a:cubicBezTo>
                    <a:pt x="44367" y="18275"/>
                    <a:pt x="44402" y="18166"/>
                    <a:pt x="44482" y="18089"/>
                  </a:cubicBezTo>
                  <a:cubicBezTo>
                    <a:pt x="44531" y="18053"/>
                    <a:pt x="44593" y="18029"/>
                    <a:pt x="44655" y="18029"/>
                  </a:cubicBezTo>
                  <a:cubicBezTo>
                    <a:pt x="44659" y="18029"/>
                    <a:pt x="44664" y="18030"/>
                    <a:pt x="44668" y="18030"/>
                  </a:cubicBezTo>
                  <a:cubicBezTo>
                    <a:pt x="44671" y="18030"/>
                    <a:pt x="44674" y="18030"/>
                    <a:pt x="44677" y="18030"/>
                  </a:cubicBezTo>
                  <a:cubicBezTo>
                    <a:pt x="44719" y="18030"/>
                    <a:pt x="44764" y="18006"/>
                    <a:pt x="44787" y="17970"/>
                  </a:cubicBezTo>
                  <a:cubicBezTo>
                    <a:pt x="44857" y="17876"/>
                    <a:pt x="44934" y="17872"/>
                    <a:pt x="45011" y="17865"/>
                  </a:cubicBezTo>
                  <a:cubicBezTo>
                    <a:pt x="45116" y="17865"/>
                    <a:pt x="45217" y="17830"/>
                    <a:pt x="45302" y="17771"/>
                  </a:cubicBezTo>
                  <a:cubicBezTo>
                    <a:pt x="45424" y="17694"/>
                    <a:pt x="45564" y="17645"/>
                    <a:pt x="45711" y="17627"/>
                  </a:cubicBezTo>
                  <a:cubicBezTo>
                    <a:pt x="45806" y="17610"/>
                    <a:pt x="45862" y="17599"/>
                    <a:pt x="45886" y="17561"/>
                  </a:cubicBezTo>
                  <a:cubicBezTo>
                    <a:pt x="45890" y="17554"/>
                    <a:pt x="45904" y="17529"/>
                    <a:pt x="45879" y="17491"/>
                  </a:cubicBezTo>
                  <a:cubicBezTo>
                    <a:pt x="45840" y="17438"/>
                    <a:pt x="45753" y="17394"/>
                    <a:pt x="45643" y="17394"/>
                  </a:cubicBezTo>
                  <a:cubicBezTo>
                    <a:pt x="45614" y="17394"/>
                    <a:pt x="45584" y="17397"/>
                    <a:pt x="45554" y="17403"/>
                  </a:cubicBezTo>
                  <a:cubicBezTo>
                    <a:pt x="45531" y="17408"/>
                    <a:pt x="45508" y="17411"/>
                    <a:pt x="45487" y="17411"/>
                  </a:cubicBezTo>
                  <a:cubicBezTo>
                    <a:pt x="45352" y="17411"/>
                    <a:pt x="45241" y="17317"/>
                    <a:pt x="45147" y="17242"/>
                  </a:cubicBezTo>
                  <a:cubicBezTo>
                    <a:pt x="45072" y="17177"/>
                    <a:pt x="45023" y="17142"/>
                    <a:pt x="44987" y="17142"/>
                  </a:cubicBezTo>
                  <a:cubicBezTo>
                    <a:pt x="44977" y="17142"/>
                    <a:pt x="44967" y="17145"/>
                    <a:pt x="44958" y="17151"/>
                  </a:cubicBezTo>
                  <a:cubicBezTo>
                    <a:pt x="44917" y="17181"/>
                    <a:pt x="44881" y="17192"/>
                    <a:pt x="44851" y="17192"/>
                  </a:cubicBezTo>
                  <a:cubicBezTo>
                    <a:pt x="44783" y="17192"/>
                    <a:pt x="44741" y="17138"/>
                    <a:pt x="44717" y="17109"/>
                  </a:cubicBezTo>
                  <a:cubicBezTo>
                    <a:pt x="44698" y="17086"/>
                    <a:pt x="44688" y="17073"/>
                    <a:pt x="44672" y="17073"/>
                  </a:cubicBezTo>
                  <a:cubicBezTo>
                    <a:pt x="44662" y="17073"/>
                    <a:pt x="44649" y="17079"/>
                    <a:pt x="44629" y="17092"/>
                  </a:cubicBezTo>
                  <a:cubicBezTo>
                    <a:pt x="44585" y="17126"/>
                    <a:pt x="44529" y="17143"/>
                    <a:pt x="44472" y="17143"/>
                  </a:cubicBezTo>
                  <a:cubicBezTo>
                    <a:pt x="44447" y="17143"/>
                    <a:pt x="44422" y="17140"/>
                    <a:pt x="44398" y="17134"/>
                  </a:cubicBezTo>
                  <a:cubicBezTo>
                    <a:pt x="44269" y="17088"/>
                    <a:pt x="44195" y="16927"/>
                    <a:pt x="44146" y="16794"/>
                  </a:cubicBezTo>
                  <a:cubicBezTo>
                    <a:pt x="44076" y="16598"/>
                    <a:pt x="43583" y="16227"/>
                    <a:pt x="43268" y="16129"/>
                  </a:cubicBezTo>
                  <a:cubicBezTo>
                    <a:pt x="43103" y="16080"/>
                    <a:pt x="43064" y="16010"/>
                    <a:pt x="43057" y="15957"/>
                  </a:cubicBezTo>
                  <a:cubicBezTo>
                    <a:pt x="43054" y="15908"/>
                    <a:pt x="43078" y="15863"/>
                    <a:pt x="43120" y="15838"/>
                  </a:cubicBezTo>
                  <a:cubicBezTo>
                    <a:pt x="43156" y="15821"/>
                    <a:pt x="43194" y="15813"/>
                    <a:pt x="43231" y="15813"/>
                  </a:cubicBezTo>
                  <a:cubicBezTo>
                    <a:pt x="43286" y="15813"/>
                    <a:pt x="43339" y="15831"/>
                    <a:pt x="43383" y="15866"/>
                  </a:cubicBezTo>
                  <a:cubicBezTo>
                    <a:pt x="43402" y="15883"/>
                    <a:pt x="43426" y="15888"/>
                    <a:pt x="43449" y="15888"/>
                  </a:cubicBezTo>
                  <a:cubicBezTo>
                    <a:pt x="43455" y="15888"/>
                    <a:pt x="43461" y="15888"/>
                    <a:pt x="43467" y="15887"/>
                  </a:cubicBezTo>
                  <a:cubicBezTo>
                    <a:pt x="43555" y="15866"/>
                    <a:pt x="43660" y="15751"/>
                    <a:pt x="43726" y="15646"/>
                  </a:cubicBezTo>
                  <a:cubicBezTo>
                    <a:pt x="43733" y="15632"/>
                    <a:pt x="43733" y="15618"/>
                    <a:pt x="43726" y="15607"/>
                  </a:cubicBezTo>
                  <a:cubicBezTo>
                    <a:pt x="43702" y="15555"/>
                    <a:pt x="43604" y="15509"/>
                    <a:pt x="43555" y="15502"/>
                  </a:cubicBezTo>
                  <a:cubicBezTo>
                    <a:pt x="43513" y="15495"/>
                    <a:pt x="43478" y="15474"/>
                    <a:pt x="43453" y="15439"/>
                  </a:cubicBezTo>
                  <a:cubicBezTo>
                    <a:pt x="43390" y="15355"/>
                    <a:pt x="43408" y="15212"/>
                    <a:pt x="43425" y="15131"/>
                  </a:cubicBezTo>
                  <a:cubicBezTo>
                    <a:pt x="43425" y="15103"/>
                    <a:pt x="43324" y="15026"/>
                    <a:pt x="43271" y="14984"/>
                  </a:cubicBezTo>
                  <a:cubicBezTo>
                    <a:pt x="43173" y="14907"/>
                    <a:pt x="43078" y="14837"/>
                    <a:pt x="43071" y="14749"/>
                  </a:cubicBezTo>
                  <a:cubicBezTo>
                    <a:pt x="43068" y="14714"/>
                    <a:pt x="43022" y="14672"/>
                    <a:pt x="42984" y="14634"/>
                  </a:cubicBezTo>
                  <a:cubicBezTo>
                    <a:pt x="42924" y="14574"/>
                    <a:pt x="42858" y="14508"/>
                    <a:pt x="42868" y="14420"/>
                  </a:cubicBezTo>
                  <a:cubicBezTo>
                    <a:pt x="42868" y="14396"/>
                    <a:pt x="42823" y="14329"/>
                    <a:pt x="42788" y="14284"/>
                  </a:cubicBezTo>
                  <a:cubicBezTo>
                    <a:pt x="42728" y="14203"/>
                    <a:pt x="42662" y="14112"/>
                    <a:pt x="42662" y="14018"/>
                  </a:cubicBezTo>
                  <a:cubicBezTo>
                    <a:pt x="42662" y="13969"/>
                    <a:pt x="42564" y="13853"/>
                    <a:pt x="42497" y="13769"/>
                  </a:cubicBezTo>
                  <a:cubicBezTo>
                    <a:pt x="42392" y="13643"/>
                    <a:pt x="42291" y="13521"/>
                    <a:pt x="42284" y="13416"/>
                  </a:cubicBezTo>
                  <a:cubicBezTo>
                    <a:pt x="42280" y="13342"/>
                    <a:pt x="42228" y="13276"/>
                    <a:pt x="42168" y="13195"/>
                  </a:cubicBezTo>
                  <a:cubicBezTo>
                    <a:pt x="42102" y="13118"/>
                    <a:pt x="42046" y="13031"/>
                    <a:pt x="42011" y="12933"/>
                  </a:cubicBezTo>
                  <a:cubicBezTo>
                    <a:pt x="42004" y="12915"/>
                    <a:pt x="41993" y="12894"/>
                    <a:pt x="41983" y="12877"/>
                  </a:cubicBezTo>
                  <a:cubicBezTo>
                    <a:pt x="41965" y="12898"/>
                    <a:pt x="41930" y="12957"/>
                    <a:pt x="41892" y="13111"/>
                  </a:cubicBezTo>
                  <a:cubicBezTo>
                    <a:pt x="41860" y="13241"/>
                    <a:pt x="41776" y="13353"/>
                    <a:pt x="41661" y="13423"/>
                  </a:cubicBezTo>
                  <a:lnTo>
                    <a:pt x="41636" y="13444"/>
                  </a:lnTo>
                  <a:cubicBezTo>
                    <a:pt x="41769" y="13626"/>
                    <a:pt x="41710" y="13696"/>
                    <a:pt x="41615" y="13780"/>
                  </a:cubicBezTo>
                  <a:cubicBezTo>
                    <a:pt x="41591" y="13797"/>
                    <a:pt x="41570" y="13818"/>
                    <a:pt x="41552" y="13839"/>
                  </a:cubicBezTo>
                  <a:cubicBezTo>
                    <a:pt x="41524" y="13871"/>
                    <a:pt x="41528" y="13909"/>
                    <a:pt x="41538" y="13969"/>
                  </a:cubicBezTo>
                  <a:cubicBezTo>
                    <a:pt x="41545" y="14018"/>
                    <a:pt x="41556" y="14074"/>
                    <a:pt x="41517" y="14119"/>
                  </a:cubicBezTo>
                  <a:cubicBezTo>
                    <a:pt x="41485" y="14148"/>
                    <a:pt x="41444" y="14165"/>
                    <a:pt x="41405" y="14165"/>
                  </a:cubicBezTo>
                  <a:cubicBezTo>
                    <a:pt x="41402" y="14165"/>
                    <a:pt x="41398" y="14165"/>
                    <a:pt x="41395" y="14165"/>
                  </a:cubicBezTo>
                  <a:cubicBezTo>
                    <a:pt x="41360" y="14165"/>
                    <a:pt x="41342" y="14196"/>
                    <a:pt x="41325" y="14294"/>
                  </a:cubicBezTo>
                  <a:cubicBezTo>
                    <a:pt x="41314" y="14347"/>
                    <a:pt x="41307" y="14403"/>
                    <a:pt x="41248" y="14413"/>
                  </a:cubicBezTo>
                  <a:cubicBezTo>
                    <a:pt x="41243" y="14414"/>
                    <a:pt x="41238" y="14415"/>
                    <a:pt x="41234" y="14415"/>
                  </a:cubicBezTo>
                  <a:cubicBezTo>
                    <a:pt x="41186" y="14415"/>
                    <a:pt x="41159" y="14365"/>
                    <a:pt x="41143" y="14336"/>
                  </a:cubicBezTo>
                  <a:cubicBezTo>
                    <a:pt x="41121" y="14291"/>
                    <a:pt x="41074" y="14264"/>
                    <a:pt x="41026" y="14264"/>
                  </a:cubicBezTo>
                  <a:cubicBezTo>
                    <a:pt x="41018" y="14264"/>
                    <a:pt x="41010" y="14265"/>
                    <a:pt x="41002" y="14266"/>
                  </a:cubicBezTo>
                  <a:cubicBezTo>
                    <a:pt x="40960" y="14277"/>
                    <a:pt x="40936" y="14312"/>
                    <a:pt x="40936" y="14354"/>
                  </a:cubicBezTo>
                  <a:cubicBezTo>
                    <a:pt x="40932" y="14424"/>
                    <a:pt x="40897" y="14487"/>
                    <a:pt x="40845" y="14532"/>
                  </a:cubicBezTo>
                  <a:cubicBezTo>
                    <a:pt x="40714" y="14654"/>
                    <a:pt x="40469" y="14736"/>
                    <a:pt x="40335" y="14736"/>
                  </a:cubicBezTo>
                  <a:cubicBezTo>
                    <a:pt x="40330" y="14736"/>
                    <a:pt x="40325" y="14736"/>
                    <a:pt x="40320" y="14735"/>
                  </a:cubicBezTo>
                  <a:cubicBezTo>
                    <a:pt x="40208" y="14725"/>
                    <a:pt x="40155" y="14620"/>
                    <a:pt x="40117" y="14546"/>
                  </a:cubicBezTo>
                  <a:cubicBezTo>
                    <a:pt x="40103" y="14522"/>
                    <a:pt x="40089" y="14497"/>
                    <a:pt x="40075" y="14476"/>
                  </a:cubicBezTo>
                  <a:lnTo>
                    <a:pt x="40071" y="14480"/>
                  </a:lnTo>
                  <a:cubicBezTo>
                    <a:pt x="40046" y="14497"/>
                    <a:pt x="40017" y="14507"/>
                    <a:pt x="39989" y="14507"/>
                  </a:cubicBezTo>
                  <a:cubicBezTo>
                    <a:pt x="39981" y="14507"/>
                    <a:pt x="39974" y="14506"/>
                    <a:pt x="39966" y="14504"/>
                  </a:cubicBezTo>
                  <a:cubicBezTo>
                    <a:pt x="39903" y="14487"/>
                    <a:pt x="39879" y="14427"/>
                    <a:pt x="39847" y="14361"/>
                  </a:cubicBezTo>
                  <a:cubicBezTo>
                    <a:pt x="39803" y="14267"/>
                    <a:pt x="39776" y="14224"/>
                    <a:pt x="39727" y="14224"/>
                  </a:cubicBezTo>
                  <a:cubicBezTo>
                    <a:pt x="39725" y="14224"/>
                    <a:pt x="39723" y="14224"/>
                    <a:pt x="39721" y="14224"/>
                  </a:cubicBezTo>
                  <a:cubicBezTo>
                    <a:pt x="39693" y="14226"/>
                    <a:pt x="39665" y="14227"/>
                    <a:pt x="39638" y="14227"/>
                  </a:cubicBezTo>
                  <a:cubicBezTo>
                    <a:pt x="39529" y="14227"/>
                    <a:pt x="39431" y="14211"/>
                    <a:pt x="39378" y="14144"/>
                  </a:cubicBezTo>
                  <a:cubicBezTo>
                    <a:pt x="39343" y="14091"/>
                    <a:pt x="39336" y="14025"/>
                    <a:pt x="39364" y="13944"/>
                  </a:cubicBezTo>
                  <a:cubicBezTo>
                    <a:pt x="39378" y="13899"/>
                    <a:pt x="39322" y="13857"/>
                    <a:pt x="39245" y="13797"/>
                  </a:cubicBezTo>
                  <a:cubicBezTo>
                    <a:pt x="39179" y="13748"/>
                    <a:pt x="39116" y="13703"/>
                    <a:pt x="39116" y="13636"/>
                  </a:cubicBezTo>
                  <a:cubicBezTo>
                    <a:pt x="39116" y="13598"/>
                    <a:pt x="39133" y="13559"/>
                    <a:pt x="39165" y="13538"/>
                  </a:cubicBezTo>
                  <a:cubicBezTo>
                    <a:pt x="39210" y="13503"/>
                    <a:pt x="39196" y="13451"/>
                    <a:pt x="39154" y="13311"/>
                  </a:cubicBezTo>
                  <a:cubicBezTo>
                    <a:pt x="39116" y="13202"/>
                    <a:pt x="39091" y="13087"/>
                    <a:pt x="39081" y="12975"/>
                  </a:cubicBezTo>
                  <a:cubicBezTo>
                    <a:pt x="39060" y="12827"/>
                    <a:pt x="39112" y="12684"/>
                    <a:pt x="39217" y="12579"/>
                  </a:cubicBezTo>
                  <a:cubicBezTo>
                    <a:pt x="39245" y="12547"/>
                    <a:pt x="39263" y="12526"/>
                    <a:pt x="39263" y="12509"/>
                  </a:cubicBezTo>
                  <a:cubicBezTo>
                    <a:pt x="39263" y="12491"/>
                    <a:pt x="39256" y="12488"/>
                    <a:pt x="39252" y="12484"/>
                  </a:cubicBezTo>
                  <a:cubicBezTo>
                    <a:pt x="39247" y="12482"/>
                    <a:pt x="39239" y="12480"/>
                    <a:pt x="39229" y="12480"/>
                  </a:cubicBezTo>
                  <a:cubicBezTo>
                    <a:pt x="39196" y="12480"/>
                    <a:pt x="39140" y="12495"/>
                    <a:pt x="39074" y="12540"/>
                  </a:cubicBezTo>
                  <a:cubicBezTo>
                    <a:pt x="39036" y="12566"/>
                    <a:pt x="39002" y="12575"/>
                    <a:pt x="38973" y="12575"/>
                  </a:cubicBezTo>
                  <a:cubicBezTo>
                    <a:pt x="38905" y="12575"/>
                    <a:pt x="38859" y="12522"/>
                    <a:pt x="38832" y="12488"/>
                  </a:cubicBezTo>
                  <a:cubicBezTo>
                    <a:pt x="38793" y="12446"/>
                    <a:pt x="38775" y="12428"/>
                    <a:pt x="38746" y="12428"/>
                  </a:cubicBezTo>
                  <a:cubicBezTo>
                    <a:pt x="38743" y="12428"/>
                    <a:pt x="38740" y="12428"/>
                    <a:pt x="38737" y="12428"/>
                  </a:cubicBezTo>
                  <a:cubicBezTo>
                    <a:pt x="38714" y="12430"/>
                    <a:pt x="38684" y="12431"/>
                    <a:pt x="38650" y="12431"/>
                  </a:cubicBezTo>
                  <a:cubicBezTo>
                    <a:pt x="38431" y="12431"/>
                    <a:pt x="38040" y="12381"/>
                    <a:pt x="38013" y="12141"/>
                  </a:cubicBezTo>
                  <a:cubicBezTo>
                    <a:pt x="38006" y="12061"/>
                    <a:pt x="37981" y="12054"/>
                    <a:pt x="37932" y="12026"/>
                  </a:cubicBezTo>
                  <a:cubicBezTo>
                    <a:pt x="37852" y="11991"/>
                    <a:pt x="37789" y="11924"/>
                    <a:pt x="37761" y="11840"/>
                  </a:cubicBezTo>
                  <a:cubicBezTo>
                    <a:pt x="37736" y="11770"/>
                    <a:pt x="37701" y="11767"/>
                    <a:pt x="37645" y="11763"/>
                  </a:cubicBezTo>
                  <a:cubicBezTo>
                    <a:pt x="37600" y="11760"/>
                    <a:pt x="37491" y="11753"/>
                    <a:pt x="37491" y="11623"/>
                  </a:cubicBezTo>
                  <a:cubicBezTo>
                    <a:pt x="37491" y="11536"/>
                    <a:pt x="37463" y="11483"/>
                    <a:pt x="37320" y="11469"/>
                  </a:cubicBezTo>
                  <a:cubicBezTo>
                    <a:pt x="37246" y="11459"/>
                    <a:pt x="37173" y="11424"/>
                    <a:pt x="37120" y="11371"/>
                  </a:cubicBezTo>
                  <a:cubicBezTo>
                    <a:pt x="37068" y="11322"/>
                    <a:pt x="37001" y="11287"/>
                    <a:pt x="36931" y="11277"/>
                  </a:cubicBezTo>
                  <a:cubicBezTo>
                    <a:pt x="36919" y="11275"/>
                    <a:pt x="36907" y="11274"/>
                    <a:pt x="36895" y="11274"/>
                  </a:cubicBezTo>
                  <a:cubicBezTo>
                    <a:pt x="36765" y="11274"/>
                    <a:pt x="36610" y="11355"/>
                    <a:pt x="36504" y="11410"/>
                  </a:cubicBezTo>
                  <a:cubicBezTo>
                    <a:pt x="36472" y="11427"/>
                    <a:pt x="36441" y="11441"/>
                    <a:pt x="36416" y="11455"/>
                  </a:cubicBezTo>
                  <a:cubicBezTo>
                    <a:pt x="36397" y="11463"/>
                    <a:pt x="36377" y="11467"/>
                    <a:pt x="36355" y="11467"/>
                  </a:cubicBezTo>
                  <a:cubicBezTo>
                    <a:pt x="36292" y="11467"/>
                    <a:pt x="36219" y="11438"/>
                    <a:pt x="36143" y="11410"/>
                  </a:cubicBezTo>
                  <a:cubicBezTo>
                    <a:pt x="36090" y="11390"/>
                    <a:pt x="36008" y="11357"/>
                    <a:pt x="35961" y="11357"/>
                  </a:cubicBezTo>
                  <a:cubicBezTo>
                    <a:pt x="35949" y="11357"/>
                    <a:pt x="35940" y="11359"/>
                    <a:pt x="35933" y="11364"/>
                  </a:cubicBezTo>
                  <a:cubicBezTo>
                    <a:pt x="35897" y="11392"/>
                    <a:pt x="35864" y="11403"/>
                    <a:pt x="35833" y="11403"/>
                  </a:cubicBezTo>
                  <a:cubicBezTo>
                    <a:pt x="35783" y="11403"/>
                    <a:pt x="35738" y="11375"/>
                    <a:pt x="35695" y="11347"/>
                  </a:cubicBezTo>
                  <a:cubicBezTo>
                    <a:pt x="35618" y="11294"/>
                    <a:pt x="35531" y="11252"/>
                    <a:pt x="35440" y="11228"/>
                  </a:cubicBezTo>
                  <a:cubicBezTo>
                    <a:pt x="35259" y="11178"/>
                    <a:pt x="35087" y="11158"/>
                    <a:pt x="34965" y="11158"/>
                  </a:cubicBezTo>
                  <a:cubicBezTo>
                    <a:pt x="34873" y="11158"/>
                    <a:pt x="34810" y="11169"/>
                    <a:pt x="34792" y="11186"/>
                  </a:cubicBezTo>
                  <a:cubicBezTo>
                    <a:pt x="34771" y="11242"/>
                    <a:pt x="34732" y="11287"/>
                    <a:pt x="34683" y="11319"/>
                  </a:cubicBezTo>
                  <a:cubicBezTo>
                    <a:pt x="34613" y="11378"/>
                    <a:pt x="34547" y="11431"/>
                    <a:pt x="34564" y="11557"/>
                  </a:cubicBezTo>
                  <a:cubicBezTo>
                    <a:pt x="34578" y="11669"/>
                    <a:pt x="34645" y="11700"/>
                    <a:pt x="34725" y="11742"/>
                  </a:cubicBezTo>
                  <a:cubicBezTo>
                    <a:pt x="34795" y="11781"/>
                    <a:pt x="34876" y="11823"/>
                    <a:pt x="34911" y="11917"/>
                  </a:cubicBezTo>
                  <a:cubicBezTo>
                    <a:pt x="34964" y="12061"/>
                    <a:pt x="34879" y="12113"/>
                    <a:pt x="34837" y="12141"/>
                  </a:cubicBezTo>
                  <a:cubicBezTo>
                    <a:pt x="34799" y="12162"/>
                    <a:pt x="34785" y="12173"/>
                    <a:pt x="34781" y="12211"/>
                  </a:cubicBezTo>
                  <a:cubicBezTo>
                    <a:pt x="34774" y="12295"/>
                    <a:pt x="34729" y="12369"/>
                    <a:pt x="34655" y="12414"/>
                  </a:cubicBezTo>
                  <a:cubicBezTo>
                    <a:pt x="34620" y="12439"/>
                    <a:pt x="34613" y="12446"/>
                    <a:pt x="34613" y="12463"/>
                  </a:cubicBezTo>
                  <a:cubicBezTo>
                    <a:pt x="34613" y="12477"/>
                    <a:pt x="34617" y="12488"/>
                    <a:pt x="34645" y="12516"/>
                  </a:cubicBezTo>
                  <a:cubicBezTo>
                    <a:pt x="34711" y="12579"/>
                    <a:pt x="34760" y="12659"/>
                    <a:pt x="34781" y="12747"/>
                  </a:cubicBezTo>
                  <a:cubicBezTo>
                    <a:pt x="34795" y="12810"/>
                    <a:pt x="34827" y="12870"/>
                    <a:pt x="34869" y="12922"/>
                  </a:cubicBezTo>
                  <a:cubicBezTo>
                    <a:pt x="34943" y="13020"/>
                    <a:pt x="34988" y="13136"/>
                    <a:pt x="34999" y="13255"/>
                  </a:cubicBezTo>
                  <a:cubicBezTo>
                    <a:pt x="35034" y="13528"/>
                    <a:pt x="34925" y="13566"/>
                    <a:pt x="34799" y="13580"/>
                  </a:cubicBezTo>
                  <a:cubicBezTo>
                    <a:pt x="34778" y="13584"/>
                    <a:pt x="34757" y="13587"/>
                    <a:pt x="34732" y="13594"/>
                  </a:cubicBezTo>
                  <a:cubicBezTo>
                    <a:pt x="34732" y="13594"/>
                    <a:pt x="34729" y="13594"/>
                    <a:pt x="34725" y="13598"/>
                  </a:cubicBezTo>
                  <a:cubicBezTo>
                    <a:pt x="34722" y="13612"/>
                    <a:pt x="34722" y="13629"/>
                    <a:pt x="34722" y="13647"/>
                  </a:cubicBezTo>
                  <a:cubicBezTo>
                    <a:pt x="34722" y="13759"/>
                    <a:pt x="34683" y="13867"/>
                    <a:pt x="34606" y="13948"/>
                  </a:cubicBezTo>
                  <a:cubicBezTo>
                    <a:pt x="34403" y="14179"/>
                    <a:pt x="34347" y="14312"/>
                    <a:pt x="34421" y="14378"/>
                  </a:cubicBezTo>
                  <a:cubicBezTo>
                    <a:pt x="34480" y="14427"/>
                    <a:pt x="34547" y="14469"/>
                    <a:pt x="34617" y="14508"/>
                  </a:cubicBezTo>
                  <a:cubicBezTo>
                    <a:pt x="34827" y="14634"/>
                    <a:pt x="35114" y="14809"/>
                    <a:pt x="35258" y="15051"/>
                  </a:cubicBezTo>
                  <a:cubicBezTo>
                    <a:pt x="35496" y="15450"/>
                    <a:pt x="35426" y="16055"/>
                    <a:pt x="35387" y="16293"/>
                  </a:cubicBezTo>
                  <a:cubicBezTo>
                    <a:pt x="35345" y="16552"/>
                    <a:pt x="35149" y="16682"/>
                    <a:pt x="34943" y="16818"/>
                  </a:cubicBezTo>
                  <a:cubicBezTo>
                    <a:pt x="34816" y="16895"/>
                    <a:pt x="34697" y="16990"/>
                    <a:pt x="34592" y="17092"/>
                  </a:cubicBezTo>
                  <a:cubicBezTo>
                    <a:pt x="34316" y="17379"/>
                    <a:pt x="34029" y="17386"/>
                    <a:pt x="33857" y="17389"/>
                  </a:cubicBezTo>
                  <a:cubicBezTo>
                    <a:pt x="33833" y="17389"/>
                    <a:pt x="33808" y="17389"/>
                    <a:pt x="33787" y="17393"/>
                  </a:cubicBezTo>
                  <a:cubicBezTo>
                    <a:pt x="33785" y="17391"/>
                    <a:pt x="33785" y="17390"/>
                    <a:pt x="33784" y="17390"/>
                  </a:cubicBezTo>
                  <a:cubicBezTo>
                    <a:pt x="33783" y="17390"/>
                    <a:pt x="33782" y="17391"/>
                    <a:pt x="33780" y="17393"/>
                  </a:cubicBezTo>
                  <a:cubicBezTo>
                    <a:pt x="33756" y="17414"/>
                    <a:pt x="33791" y="17606"/>
                    <a:pt x="33976" y="17813"/>
                  </a:cubicBezTo>
                  <a:cubicBezTo>
                    <a:pt x="34113" y="17967"/>
                    <a:pt x="34106" y="18068"/>
                    <a:pt x="34099" y="18163"/>
                  </a:cubicBezTo>
                  <a:cubicBezTo>
                    <a:pt x="34092" y="18236"/>
                    <a:pt x="34102" y="18310"/>
                    <a:pt x="34130" y="18376"/>
                  </a:cubicBezTo>
                  <a:cubicBezTo>
                    <a:pt x="34176" y="18481"/>
                    <a:pt x="34197" y="18593"/>
                    <a:pt x="34197" y="18705"/>
                  </a:cubicBezTo>
                  <a:cubicBezTo>
                    <a:pt x="34204" y="18817"/>
                    <a:pt x="34207" y="18915"/>
                    <a:pt x="34284" y="19020"/>
                  </a:cubicBezTo>
                  <a:cubicBezTo>
                    <a:pt x="34477" y="19287"/>
                    <a:pt x="34333" y="19416"/>
                    <a:pt x="34151" y="19570"/>
                  </a:cubicBezTo>
                  <a:cubicBezTo>
                    <a:pt x="34141" y="19581"/>
                    <a:pt x="34134" y="19588"/>
                    <a:pt x="34127" y="19595"/>
                  </a:cubicBezTo>
                  <a:cubicBezTo>
                    <a:pt x="34207" y="19630"/>
                    <a:pt x="34256" y="19710"/>
                    <a:pt x="34260" y="19794"/>
                  </a:cubicBezTo>
                  <a:cubicBezTo>
                    <a:pt x="34263" y="19864"/>
                    <a:pt x="34260" y="19938"/>
                    <a:pt x="34204" y="19966"/>
                  </a:cubicBezTo>
                  <a:cubicBezTo>
                    <a:pt x="34191" y="19973"/>
                    <a:pt x="34178" y="19976"/>
                    <a:pt x="34164" y="19976"/>
                  </a:cubicBezTo>
                  <a:cubicBezTo>
                    <a:pt x="34116" y="19976"/>
                    <a:pt x="34059" y="19938"/>
                    <a:pt x="33994" y="19889"/>
                  </a:cubicBezTo>
                  <a:cubicBezTo>
                    <a:pt x="33969" y="19871"/>
                    <a:pt x="33941" y="19850"/>
                    <a:pt x="33913" y="19829"/>
                  </a:cubicBezTo>
                  <a:cubicBezTo>
                    <a:pt x="33905" y="19821"/>
                    <a:pt x="33894" y="19817"/>
                    <a:pt x="33883" y="19817"/>
                  </a:cubicBezTo>
                  <a:cubicBezTo>
                    <a:pt x="33875" y="19817"/>
                    <a:pt x="33867" y="19820"/>
                    <a:pt x="33861" y="19826"/>
                  </a:cubicBezTo>
                  <a:cubicBezTo>
                    <a:pt x="33784" y="19864"/>
                    <a:pt x="33714" y="20036"/>
                    <a:pt x="33714" y="20113"/>
                  </a:cubicBezTo>
                  <a:cubicBezTo>
                    <a:pt x="33714" y="20151"/>
                    <a:pt x="33696" y="20183"/>
                    <a:pt x="33665" y="20200"/>
                  </a:cubicBezTo>
                  <a:cubicBezTo>
                    <a:pt x="33650" y="20209"/>
                    <a:pt x="33634" y="20214"/>
                    <a:pt x="33615" y="20214"/>
                  </a:cubicBezTo>
                  <a:cubicBezTo>
                    <a:pt x="33556" y="20214"/>
                    <a:pt x="33475" y="20168"/>
                    <a:pt x="33357" y="20099"/>
                  </a:cubicBezTo>
                  <a:cubicBezTo>
                    <a:pt x="33304" y="20064"/>
                    <a:pt x="33248" y="20032"/>
                    <a:pt x="33192" y="20011"/>
                  </a:cubicBezTo>
                  <a:cubicBezTo>
                    <a:pt x="33168" y="20011"/>
                    <a:pt x="33143" y="20008"/>
                    <a:pt x="33122" y="19990"/>
                  </a:cubicBezTo>
                  <a:cubicBezTo>
                    <a:pt x="33094" y="19959"/>
                    <a:pt x="33077" y="19917"/>
                    <a:pt x="33080" y="19875"/>
                  </a:cubicBezTo>
                  <a:cubicBezTo>
                    <a:pt x="33080" y="19773"/>
                    <a:pt x="33031" y="19682"/>
                    <a:pt x="32954" y="19619"/>
                  </a:cubicBezTo>
                  <a:cubicBezTo>
                    <a:pt x="32891" y="19570"/>
                    <a:pt x="32832" y="19532"/>
                    <a:pt x="32779" y="19500"/>
                  </a:cubicBezTo>
                  <a:cubicBezTo>
                    <a:pt x="32649" y="19420"/>
                    <a:pt x="32537" y="19346"/>
                    <a:pt x="32537" y="19196"/>
                  </a:cubicBezTo>
                  <a:cubicBezTo>
                    <a:pt x="32537" y="19143"/>
                    <a:pt x="32457" y="19076"/>
                    <a:pt x="32383" y="19020"/>
                  </a:cubicBezTo>
                  <a:cubicBezTo>
                    <a:pt x="32282" y="18936"/>
                    <a:pt x="32163" y="18842"/>
                    <a:pt x="32163" y="18709"/>
                  </a:cubicBezTo>
                  <a:cubicBezTo>
                    <a:pt x="32163" y="18663"/>
                    <a:pt x="32166" y="18600"/>
                    <a:pt x="32166" y="18530"/>
                  </a:cubicBezTo>
                  <a:cubicBezTo>
                    <a:pt x="32177" y="18331"/>
                    <a:pt x="32191" y="17998"/>
                    <a:pt x="32135" y="17904"/>
                  </a:cubicBezTo>
                  <a:cubicBezTo>
                    <a:pt x="32023" y="17715"/>
                    <a:pt x="32135" y="17512"/>
                    <a:pt x="32194" y="17403"/>
                  </a:cubicBezTo>
                  <a:cubicBezTo>
                    <a:pt x="32212" y="17365"/>
                    <a:pt x="32205" y="17323"/>
                    <a:pt x="32180" y="17288"/>
                  </a:cubicBezTo>
                  <a:cubicBezTo>
                    <a:pt x="32131" y="17207"/>
                    <a:pt x="32044" y="17162"/>
                    <a:pt x="31949" y="17162"/>
                  </a:cubicBezTo>
                  <a:cubicBezTo>
                    <a:pt x="31848" y="17158"/>
                    <a:pt x="31750" y="17151"/>
                    <a:pt x="31648" y="17137"/>
                  </a:cubicBezTo>
                  <a:cubicBezTo>
                    <a:pt x="31522" y="17119"/>
                    <a:pt x="31393" y="17108"/>
                    <a:pt x="31265" y="17108"/>
                  </a:cubicBezTo>
                  <a:cubicBezTo>
                    <a:pt x="31220" y="17108"/>
                    <a:pt x="31175" y="17110"/>
                    <a:pt x="31130" y="17113"/>
                  </a:cubicBezTo>
                  <a:cubicBezTo>
                    <a:pt x="31076" y="17117"/>
                    <a:pt x="31025" y="17119"/>
                    <a:pt x="30977" y="17119"/>
                  </a:cubicBezTo>
                  <a:cubicBezTo>
                    <a:pt x="30764" y="17119"/>
                    <a:pt x="30610" y="17075"/>
                    <a:pt x="30510" y="16986"/>
                  </a:cubicBezTo>
                  <a:cubicBezTo>
                    <a:pt x="30297" y="16822"/>
                    <a:pt x="30048" y="16703"/>
                    <a:pt x="29786" y="16636"/>
                  </a:cubicBezTo>
                  <a:cubicBezTo>
                    <a:pt x="29422" y="16542"/>
                    <a:pt x="29208" y="16346"/>
                    <a:pt x="29159" y="16195"/>
                  </a:cubicBezTo>
                  <a:cubicBezTo>
                    <a:pt x="29145" y="16160"/>
                    <a:pt x="29019" y="16108"/>
                    <a:pt x="28942" y="16073"/>
                  </a:cubicBezTo>
                  <a:cubicBezTo>
                    <a:pt x="28830" y="16020"/>
                    <a:pt x="28722" y="15975"/>
                    <a:pt x="28673" y="15912"/>
                  </a:cubicBezTo>
                  <a:cubicBezTo>
                    <a:pt x="28619" y="15843"/>
                    <a:pt x="28369" y="15784"/>
                    <a:pt x="28211" y="15784"/>
                  </a:cubicBezTo>
                  <a:cubicBezTo>
                    <a:pt x="28184" y="15784"/>
                    <a:pt x="28160" y="15786"/>
                    <a:pt x="28140" y="15789"/>
                  </a:cubicBezTo>
                  <a:cubicBezTo>
                    <a:pt x="28132" y="15790"/>
                    <a:pt x="28124" y="15791"/>
                    <a:pt x="28115" y="15791"/>
                  </a:cubicBezTo>
                  <a:cubicBezTo>
                    <a:pt x="28028" y="15791"/>
                    <a:pt x="27920" y="15729"/>
                    <a:pt x="27783" y="15653"/>
                  </a:cubicBezTo>
                  <a:cubicBezTo>
                    <a:pt x="27659" y="15582"/>
                    <a:pt x="27511" y="15498"/>
                    <a:pt x="27416" y="15498"/>
                  </a:cubicBezTo>
                  <a:cubicBezTo>
                    <a:pt x="27412" y="15498"/>
                    <a:pt x="27409" y="15498"/>
                    <a:pt x="27405" y="15499"/>
                  </a:cubicBezTo>
                  <a:cubicBezTo>
                    <a:pt x="27272" y="15506"/>
                    <a:pt x="27003" y="15604"/>
                    <a:pt x="26821" y="15667"/>
                  </a:cubicBezTo>
                  <a:cubicBezTo>
                    <a:pt x="26747" y="15698"/>
                    <a:pt x="26674" y="15723"/>
                    <a:pt x="26597" y="15740"/>
                  </a:cubicBezTo>
                  <a:cubicBezTo>
                    <a:pt x="26591" y="15741"/>
                    <a:pt x="26586" y="15742"/>
                    <a:pt x="26581" y="15742"/>
                  </a:cubicBezTo>
                  <a:cubicBezTo>
                    <a:pt x="26551" y="15742"/>
                    <a:pt x="26520" y="15725"/>
                    <a:pt x="26505" y="15698"/>
                  </a:cubicBezTo>
                  <a:cubicBezTo>
                    <a:pt x="26449" y="15607"/>
                    <a:pt x="26586" y="15404"/>
                    <a:pt x="26607" y="15373"/>
                  </a:cubicBezTo>
                  <a:cubicBezTo>
                    <a:pt x="26611" y="15331"/>
                    <a:pt x="26544" y="15184"/>
                    <a:pt x="26495" y="15086"/>
                  </a:cubicBezTo>
                  <a:cubicBezTo>
                    <a:pt x="26439" y="14974"/>
                    <a:pt x="26390" y="14854"/>
                    <a:pt x="26355" y="14735"/>
                  </a:cubicBezTo>
                  <a:cubicBezTo>
                    <a:pt x="26287" y="14470"/>
                    <a:pt x="26219" y="14309"/>
                    <a:pt x="26067" y="14309"/>
                  </a:cubicBezTo>
                  <a:cubicBezTo>
                    <a:pt x="26055" y="14309"/>
                    <a:pt x="26043" y="14310"/>
                    <a:pt x="26029" y="14312"/>
                  </a:cubicBezTo>
                  <a:cubicBezTo>
                    <a:pt x="25997" y="14316"/>
                    <a:pt x="25965" y="14318"/>
                    <a:pt x="25933" y="14318"/>
                  </a:cubicBezTo>
                  <a:cubicBezTo>
                    <a:pt x="25678" y="14318"/>
                    <a:pt x="25434" y="14195"/>
                    <a:pt x="25375" y="14154"/>
                  </a:cubicBezTo>
                  <a:cubicBezTo>
                    <a:pt x="25245" y="14067"/>
                    <a:pt x="25277" y="13279"/>
                    <a:pt x="25322" y="13055"/>
                  </a:cubicBezTo>
                  <a:cubicBezTo>
                    <a:pt x="25357" y="12905"/>
                    <a:pt x="25448" y="12722"/>
                    <a:pt x="25536" y="12551"/>
                  </a:cubicBezTo>
                  <a:cubicBezTo>
                    <a:pt x="25616" y="12397"/>
                    <a:pt x="25697" y="12236"/>
                    <a:pt x="25697" y="12159"/>
                  </a:cubicBezTo>
                  <a:cubicBezTo>
                    <a:pt x="25697" y="11896"/>
                    <a:pt x="26026" y="11809"/>
                    <a:pt x="26134" y="11781"/>
                  </a:cubicBezTo>
                  <a:cubicBezTo>
                    <a:pt x="26176" y="11770"/>
                    <a:pt x="26187" y="11725"/>
                    <a:pt x="26197" y="11620"/>
                  </a:cubicBezTo>
                  <a:cubicBezTo>
                    <a:pt x="26204" y="11511"/>
                    <a:pt x="26218" y="11375"/>
                    <a:pt x="26362" y="11357"/>
                  </a:cubicBezTo>
                  <a:cubicBezTo>
                    <a:pt x="26495" y="11340"/>
                    <a:pt x="26502" y="11308"/>
                    <a:pt x="26533" y="11179"/>
                  </a:cubicBezTo>
                  <a:lnTo>
                    <a:pt x="26537" y="11161"/>
                  </a:lnTo>
                  <a:cubicBezTo>
                    <a:pt x="26551" y="11098"/>
                    <a:pt x="26600" y="11049"/>
                    <a:pt x="26667" y="11032"/>
                  </a:cubicBezTo>
                  <a:cubicBezTo>
                    <a:pt x="26625" y="10993"/>
                    <a:pt x="26611" y="10937"/>
                    <a:pt x="26625" y="10885"/>
                  </a:cubicBezTo>
                  <a:cubicBezTo>
                    <a:pt x="26660" y="10801"/>
                    <a:pt x="26786" y="10783"/>
                    <a:pt x="26989" y="10783"/>
                  </a:cubicBezTo>
                  <a:cubicBezTo>
                    <a:pt x="27185" y="10783"/>
                    <a:pt x="27437" y="10734"/>
                    <a:pt x="27528" y="10622"/>
                  </a:cubicBezTo>
                  <a:cubicBezTo>
                    <a:pt x="27556" y="10583"/>
                    <a:pt x="27566" y="10534"/>
                    <a:pt x="27556" y="10489"/>
                  </a:cubicBezTo>
                  <a:cubicBezTo>
                    <a:pt x="27535" y="10391"/>
                    <a:pt x="27342" y="10380"/>
                    <a:pt x="27174" y="10370"/>
                  </a:cubicBezTo>
                  <a:cubicBezTo>
                    <a:pt x="26975" y="10356"/>
                    <a:pt x="26765" y="10345"/>
                    <a:pt x="26765" y="10174"/>
                  </a:cubicBezTo>
                  <a:cubicBezTo>
                    <a:pt x="26765" y="10097"/>
                    <a:pt x="26432" y="10027"/>
                    <a:pt x="26288" y="9999"/>
                  </a:cubicBezTo>
                  <a:cubicBezTo>
                    <a:pt x="26057" y="9950"/>
                    <a:pt x="25945" y="9922"/>
                    <a:pt x="25910" y="9852"/>
                  </a:cubicBezTo>
                  <a:cubicBezTo>
                    <a:pt x="25900" y="9827"/>
                    <a:pt x="25900" y="9796"/>
                    <a:pt x="25910" y="9771"/>
                  </a:cubicBezTo>
                  <a:cubicBezTo>
                    <a:pt x="25935" y="9716"/>
                    <a:pt x="26015" y="9695"/>
                    <a:pt x="26124" y="9695"/>
                  </a:cubicBezTo>
                  <a:cubicBezTo>
                    <a:pt x="26499" y="9695"/>
                    <a:pt x="27222" y="9951"/>
                    <a:pt x="27230" y="9953"/>
                  </a:cubicBezTo>
                  <a:cubicBezTo>
                    <a:pt x="27437" y="10034"/>
                    <a:pt x="27539" y="10055"/>
                    <a:pt x="27662" y="10055"/>
                  </a:cubicBezTo>
                  <a:cubicBezTo>
                    <a:pt x="27710" y="10055"/>
                    <a:pt x="27760" y="10052"/>
                    <a:pt x="27822" y="10048"/>
                  </a:cubicBezTo>
                  <a:lnTo>
                    <a:pt x="27860" y="10048"/>
                  </a:lnTo>
                  <a:cubicBezTo>
                    <a:pt x="27864" y="10048"/>
                    <a:pt x="27867" y="10049"/>
                    <a:pt x="27871" y="10049"/>
                  </a:cubicBezTo>
                  <a:cubicBezTo>
                    <a:pt x="27889" y="10049"/>
                    <a:pt x="27909" y="10041"/>
                    <a:pt x="27923" y="10027"/>
                  </a:cubicBezTo>
                  <a:cubicBezTo>
                    <a:pt x="27951" y="9992"/>
                    <a:pt x="27941" y="9904"/>
                    <a:pt x="27930" y="9831"/>
                  </a:cubicBezTo>
                  <a:cubicBezTo>
                    <a:pt x="27916" y="9761"/>
                    <a:pt x="27916" y="9687"/>
                    <a:pt x="27934" y="9621"/>
                  </a:cubicBezTo>
                  <a:cubicBezTo>
                    <a:pt x="27944" y="9593"/>
                    <a:pt x="27965" y="9568"/>
                    <a:pt x="27993" y="9558"/>
                  </a:cubicBezTo>
                  <a:cubicBezTo>
                    <a:pt x="28012" y="9548"/>
                    <a:pt x="28033" y="9544"/>
                    <a:pt x="28057" y="9544"/>
                  </a:cubicBezTo>
                  <a:cubicBezTo>
                    <a:pt x="28124" y="9544"/>
                    <a:pt x="28212" y="9576"/>
                    <a:pt x="28322" y="9617"/>
                  </a:cubicBezTo>
                  <a:cubicBezTo>
                    <a:pt x="28447" y="9664"/>
                    <a:pt x="28603" y="9720"/>
                    <a:pt x="28722" y="9720"/>
                  </a:cubicBezTo>
                  <a:cubicBezTo>
                    <a:pt x="28747" y="9720"/>
                    <a:pt x="28770" y="9717"/>
                    <a:pt x="28792" y="9712"/>
                  </a:cubicBezTo>
                  <a:cubicBezTo>
                    <a:pt x="28935" y="9673"/>
                    <a:pt x="29093" y="9463"/>
                    <a:pt x="29229" y="9281"/>
                  </a:cubicBezTo>
                  <a:cubicBezTo>
                    <a:pt x="29341" y="9131"/>
                    <a:pt x="29446" y="8991"/>
                    <a:pt x="29551" y="8921"/>
                  </a:cubicBezTo>
                  <a:cubicBezTo>
                    <a:pt x="29607" y="8882"/>
                    <a:pt x="29618" y="8854"/>
                    <a:pt x="29618" y="8847"/>
                  </a:cubicBezTo>
                  <a:cubicBezTo>
                    <a:pt x="29609" y="8823"/>
                    <a:pt x="29515" y="8768"/>
                    <a:pt x="29293" y="8768"/>
                  </a:cubicBezTo>
                  <a:cubicBezTo>
                    <a:pt x="29256" y="8768"/>
                    <a:pt x="29215" y="8770"/>
                    <a:pt x="29170" y="8774"/>
                  </a:cubicBezTo>
                  <a:cubicBezTo>
                    <a:pt x="29125" y="8777"/>
                    <a:pt x="29083" y="8779"/>
                    <a:pt x="29042" y="8779"/>
                  </a:cubicBezTo>
                  <a:cubicBezTo>
                    <a:pt x="28656" y="8779"/>
                    <a:pt x="28413" y="8622"/>
                    <a:pt x="28179" y="8444"/>
                  </a:cubicBezTo>
                  <a:cubicBezTo>
                    <a:pt x="28021" y="8329"/>
                    <a:pt x="27955" y="8213"/>
                    <a:pt x="27990" y="8122"/>
                  </a:cubicBezTo>
                  <a:cubicBezTo>
                    <a:pt x="28011" y="8076"/>
                    <a:pt x="28063" y="8021"/>
                    <a:pt x="28201" y="8021"/>
                  </a:cubicBezTo>
                  <a:cubicBezTo>
                    <a:pt x="28219" y="8021"/>
                    <a:pt x="28238" y="8022"/>
                    <a:pt x="28259" y="8024"/>
                  </a:cubicBezTo>
                  <a:cubicBezTo>
                    <a:pt x="28403" y="8038"/>
                    <a:pt x="28616" y="8168"/>
                    <a:pt x="28844" y="8308"/>
                  </a:cubicBezTo>
                  <a:cubicBezTo>
                    <a:pt x="29037" y="8420"/>
                    <a:pt x="29250" y="8553"/>
                    <a:pt x="29348" y="8556"/>
                  </a:cubicBezTo>
                  <a:lnTo>
                    <a:pt x="29355" y="8556"/>
                  </a:lnTo>
                  <a:cubicBezTo>
                    <a:pt x="29492" y="8556"/>
                    <a:pt x="29747" y="8318"/>
                    <a:pt x="29919" y="8161"/>
                  </a:cubicBezTo>
                  <a:cubicBezTo>
                    <a:pt x="30003" y="8084"/>
                    <a:pt x="30073" y="8017"/>
                    <a:pt x="30129" y="7975"/>
                  </a:cubicBezTo>
                  <a:cubicBezTo>
                    <a:pt x="30139" y="7968"/>
                    <a:pt x="30150" y="7961"/>
                    <a:pt x="30157" y="7951"/>
                  </a:cubicBezTo>
                  <a:cubicBezTo>
                    <a:pt x="30108" y="7916"/>
                    <a:pt x="30055" y="7884"/>
                    <a:pt x="29999" y="7863"/>
                  </a:cubicBezTo>
                  <a:cubicBezTo>
                    <a:pt x="29933" y="7839"/>
                    <a:pt x="29870" y="7804"/>
                    <a:pt x="29814" y="7762"/>
                  </a:cubicBezTo>
                  <a:cubicBezTo>
                    <a:pt x="29768" y="7734"/>
                    <a:pt x="29751" y="7681"/>
                    <a:pt x="29765" y="7632"/>
                  </a:cubicBezTo>
                  <a:cubicBezTo>
                    <a:pt x="29821" y="7475"/>
                    <a:pt x="30276" y="7464"/>
                    <a:pt x="30279" y="7464"/>
                  </a:cubicBezTo>
                  <a:cubicBezTo>
                    <a:pt x="30472" y="7464"/>
                    <a:pt x="30573" y="7601"/>
                    <a:pt x="30640" y="7692"/>
                  </a:cubicBezTo>
                  <a:cubicBezTo>
                    <a:pt x="30654" y="7709"/>
                    <a:pt x="30668" y="7727"/>
                    <a:pt x="30678" y="7741"/>
                  </a:cubicBezTo>
                  <a:cubicBezTo>
                    <a:pt x="30685" y="7745"/>
                    <a:pt x="30696" y="7747"/>
                    <a:pt x="30711" y="7747"/>
                  </a:cubicBezTo>
                  <a:cubicBezTo>
                    <a:pt x="30770" y="7747"/>
                    <a:pt x="30881" y="7719"/>
                    <a:pt x="30948" y="7702"/>
                  </a:cubicBezTo>
                  <a:cubicBezTo>
                    <a:pt x="31032" y="7681"/>
                    <a:pt x="31120" y="7667"/>
                    <a:pt x="31207" y="7660"/>
                  </a:cubicBezTo>
                  <a:cubicBezTo>
                    <a:pt x="31183" y="7601"/>
                    <a:pt x="31060" y="7468"/>
                    <a:pt x="30885" y="7398"/>
                  </a:cubicBezTo>
                  <a:cubicBezTo>
                    <a:pt x="30734" y="7338"/>
                    <a:pt x="30720" y="7254"/>
                    <a:pt x="30724" y="7209"/>
                  </a:cubicBezTo>
                  <a:cubicBezTo>
                    <a:pt x="30738" y="7132"/>
                    <a:pt x="30798" y="7076"/>
                    <a:pt x="30871" y="7065"/>
                  </a:cubicBezTo>
                  <a:cubicBezTo>
                    <a:pt x="30883" y="7062"/>
                    <a:pt x="30896" y="7061"/>
                    <a:pt x="30908" y="7061"/>
                  </a:cubicBezTo>
                  <a:cubicBezTo>
                    <a:pt x="30974" y="7061"/>
                    <a:pt x="31034" y="7100"/>
                    <a:pt x="31064" y="7160"/>
                  </a:cubicBezTo>
                  <a:cubicBezTo>
                    <a:pt x="31095" y="7223"/>
                    <a:pt x="31148" y="7247"/>
                    <a:pt x="31211" y="7282"/>
                  </a:cubicBezTo>
                  <a:cubicBezTo>
                    <a:pt x="31309" y="7324"/>
                    <a:pt x="31389" y="7394"/>
                    <a:pt x="31442" y="7489"/>
                  </a:cubicBezTo>
                  <a:cubicBezTo>
                    <a:pt x="31484" y="7576"/>
                    <a:pt x="31515" y="7597"/>
                    <a:pt x="31529" y="7601"/>
                  </a:cubicBezTo>
                  <a:cubicBezTo>
                    <a:pt x="31532" y="7602"/>
                    <a:pt x="31535" y="7602"/>
                    <a:pt x="31539" y="7602"/>
                  </a:cubicBezTo>
                  <a:cubicBezTo>
                    <a:pt x="31564" y="7602"/>
                    <a:pt x="31605" y="7580"/>
                    <a:pt x="31652" y="7552"/>
                  </a:cubicBezTo>
                  <a:cubicBezTo>
                    <a:pt x="31711" y="7520"/>
                    <a:pt x="31771" y="7492"/>
                    <a:pt x="31834" y="7468"/>
                  </a:cubicBezTo>
                  <a:cubicBezTo>
                    <a:pt x="32044" y="7394"/>
                    <a:pt x="32156" y="7268"/>
                    <a:pt x="32278" y="7139"/>
                  </a:cubicBezTo>
                  <a:lnTo>
                    <a:pt x="32303" y="7111"/>
                  </a:lnTo>
                  <a:cubicBezTo>
                    <a:pt x="32345" y="7055"/>
                    <a:pt x="32408" y="7023"/>
                    <a:pt x="32478" y="7020"/>
                  </a:cubicBezTo>
                  <a:cubicBezTo>
                    <a:pt x="32513" y="7016"/>
                    <a:pt x="32541" y="7013"/>
                    <a:pt x="32607" y="6911"/>
                  </a:cubicBezTo>
                  <a:cubicBezTo>
                    <a:pt x="32670" y="6824"/>
                    <a:pt x="32712" y="6670"/>
                    <a:pt x="32355" y="6407"/>
                  </a:cubicBezTo>
                  <a:cubicBezTo>
                    <a:pt x="32271" y="6347"/>
                    <a:pt x="32226" y="6242"/>
                    <a:pt x="32240" y="6137"/>
                  </a:cubicBezTo>
                  <a:cubicBezTo>
                    <a:pt x="32243" y="6074"/>
                    <a:pt x="32243" y="6053"/>
                    <a:pt x="32184" y="6022"/>
                  </a:cubicBezTo>
                  <a:cubicBezTo>
                    <a:pt x="32044" y="5952"/>
                    <a:pt x="31967" y="5840"/>
                    <a:pt x="31998" y="5749"/>
                  </a:cubicBezTo>
                  <a:cubicBezTo>
                    <a:pt x="32007" y="5720"/>
                    <a:pt x="32042" y="5660"/>
                    <a:pt x="32157" y="5660"/>
                  </a:cubicBezTo>
                  <a:cubicBezTo>
                    <a:pt x="32181" y="5660"/>
                    <a:pt x="32209" y="5662"/>
                    <a:pt x="32240" y="5668"/>
                  </a:cubicBezTo>
                  <a:cubicBezTo>
                    <a:pt x="32287" y="5678"/>
                    <a:pt x="32332" y="5683"/>
                    <a:pt x="32374" y="5683"/>
                  </a:cubicBezTo>
                  <a:cubicBezTo>
                    <a:pt x="32524" y="5683"/>
                    <a:pt x="32642" y="5621"/>
                    <a:pt x="32716" y="5504"/>
                  </a:cubicBezTo>
                  <a:cubicBezTo>
                    <a:pt x="32719" y="5500"/>
                    <a:pt x="32723" y="5497"/>
                    <a:pt x="32723" y="5490"/>
                  </a:cubicBezTo>
                  <a:cubicBezTo>
                    <a:pt x="32719" y="5469"/>
                    <a:pt x="32660" y="5434"/>
                    <a:pt x="32628" y="5416"/>
                  </a:cubicBezTo>
                  <a:cubicBezTo>
                    <a:pt x="32565" y="5381"/>
                    <a:pt x="32502" y="5343"/>
                    <a:pt x="32502" y="5273"/>
                  </a:cubicBezTo>
                  <a:cubicBezTo>
                    <a:pt x="32502" y="5206"/>
                    <a:pt x="32572" y="5168"/>
                    <a:pt x="32593" y="5154"/>
                  </a:cubicBezTo>
                  <a:cubicBezTo>
                    <a:pt x="32653" y="5122"/>
                    <a:pt x="32660" y="5101"/>
                    <a:pt x="32660" y="5101"/>
                  </a:cubicBezTo>
                  <a:cubicBezTo>
                    <a:pt x="32653" y="5084"/>
                    <a:pt x="32576" y="5035"/>
                    <a:pt x="32443" y="5035"/>
                  </a:cubicBezTo>
                  <a:cubicBezTo>
                    <a:pt x="32177" y="5035"/>
                    <a:pt x="31981" y="4891"/>
                    <a:pt x="31967" y="4685"/>
                  </a:cubicBezTo>
                  <a:cubicBezTo>
                    <a:pt x="31963" y="4639"/>
                    <a:pt x="31879" y="4636"/>
                    <a:pt x="31746" y="4632"/>
                  </a:cubicBezTo>
                  <a:cubicBezTo>
                    <a:pt x="31631" y="4625"/>
                    <a:pt x="31498" y="4622"/>
                    <a:pt x="31386" y="4569"/>
                  </a:cubicBezTo>
                  <a:cubicBezTo>
                    <a:pt x="31258" y="4507"/>
                    <a:pt x="31026" y="4492"/>
                    <a:pt x="30838" y="4492"/>
                  </a:cubicBezTo>
                  <a:cubicBezTo>
                    <a:pt x="30717" y="4492"/>
                    <a:pt x="30613" y="4498"/>
                    <a:pt x="30566" y="4502"/>
                  </a:cubicBezTo>
                  <a:cubicBezTo>
                    <a:pt x="30535" y="4530"/>
                    <a:pt x="30510" y="4688"/>
                    <a:pt x="30549" y="4814"/>
                  </a:cubicBezTo>
                  <a:cubicBezTo>
                    <a:pt x="30552" y="4832"/>
                    <a:pt x="30573" y="4891"/>
                    <a:pt x="30605" y="4895"/>
                  </a:cubicBezTo>
                  <a:cubicBezTo>
                    <a:pt x="30749" y="4902"/>
                    <a:pt x="30885" y="5007"/>
                    <a:pt x="30903" y="5119"/>
                  </a:cubicBezTo>
                  <a:cubicBezTo>
                    <a:pt x="30913" y="5196"/>
                    <a:pt x="30868" y="5266"/>
                    <a:pt x="30794" y="5287"/>
                  </a:cubicBezTo>
                  <a:cubicBezTo>
                    <a:pt x="30770" y="5297"/>
                    <a:pt x="30763" y="5304"/>
                    <a:pt x="30777" y="5374"/>
                  </a:cubicBezTo>
                  <a:cubicBezTo>
                    <a:pt x="30794" y="5416"/>
                    <a:pt x="30787" y="5465"/>
                    <a:pt x="30763" y="5504"/>
                  </a:cubicBezTo>
                  <a:cubicBezTo>
                    <a:pt x="30743" y="5523"/>
                    <a:pt x="30717" y="5534"/>
                    <a:pt x="30689" y="5534"/>
                  </a:cubicBezTo>
                  <a:cubicBezTo>
                    <a:pt x="30682" y="5534"/>
                    <a:pt x="30675" y="5533"/>
                    <a:pt x="30668" y="5532"/>
                  </a:cubicBezTo>
                  <a:lnTo>
                    <a:pt x="30629" y="5528"/>
                  </a:lnTo>
                  <a:cubicBezTo>
                    <a:pt x="30602" y="5524"/>
                    <a:pt x="30573" y="5520"/>
                    <a:pt x="30547" y="5520"/>
                  </a:cubicBezTo>
                  <a:cubicBezTo>
                    <a:pt x="30513" y="5520"/>
                    <a:pt x="30481" y="5526"/>
                    <a:pt x="30458" y="5546"/>
                  </a:cubicBezTo>
                  <a:cubicBezTo>
                    <a:pt x="30423" y="5574"/>
                    <a:pt x="30398" y="5633"/>
                    <a:pt x="30388" y="5721"/>
                  </a:cubicBezTo>
                  <a:cubicBezTo>
                    <a:pt x="30353" y="6032"/>
                    <a:pt x="30325" y="6190"/>
                    <a:pt x="30087" y="6316"/>
                  </a:cubicBezTo>
                  <a:cubicBezTo>
                    <a:pt x="30063" y="6332"/>
                    <a:pt x="30037" y="6340"/>
                    <a:pt x="30010" y="6340"/>
                  </a:cubicBezTo>
                  <a:cubicBezTo>
                    <a:pt x="29990" y="6340"/>
                    <a:pt x="29970" y="6335"/>
                    <a:pt x="29950" y="6326"/>
                  </a:cubicBezTo>
                  <a:cubicBezTo>
                    <a:pt x="29884" y="6291"/>
                    <a:pt x="29873" y="6207"/>
                    <a:pt x="29866" y="6123"/>
                  </a:cubicBezTo>
                  <a:cubicBezTo>
                    <a:pt x="29852" y="6018"/>
                    <a:pt x="29842" y="5983"/>
                    <a:pt x="29821" y="5983"/>
                  </a:cubicBezTo>
                  <a:cubicBezTo>
                    <a:pt x="29758" y="5987"/>
                    <a:pt x="29723" y="6067"/>
                    <a:pt x="29716" y="6137"/>
                  </a:cubicBezTo>
                  <a:cubicBezTo>
                    <a:pt x="29712" y="6207"/>
                    <a:pt x="29733" y="6274"/>
                    <a:pt x="29761" y="6277"/>
                  </a:cubicBezTo>
                  <a:cubicBezTo>
                    <a:pt x="29947" y="6326"/>
                    <a:pt x="29978" y="6484"/>
                    <a:pt x="30017" y="6670"/>
                  </a:cubicBezTo>
                  <a:cubicBezTo>
                    <a:pt x="30027" y="6708"/>
                    <a:pt x="30020" y="6750"/>
                    <a:pt x="29999" y="6785"/>
                  </a:cubicBezTo>
                  <a:cubicBezTo>
                    <a:pt x="29961" y="6841"/>
                    <a:pt x="29898" y="6852"/>
                    <a:pt x="29831" y="6866"/>
                  </a:cubicBezTo>
                  <a:cubicBezTo>
                    <a:pt x="29751" y="6880"/>
                    <a:pt x="29667" y="6897"/>
                    <a:pt x="29621" y="6981"/>
                  </a:cubicBezTo>
                  <a:cubicBezTo>
                    <a:pt x="29593" y="7030"/>
                    <a:pt x="29551" y="7090"/>
                    <a:pt x="29488" y="7090"/>
                  </a:cubicBezTo>
                  <a:cubicBezTo>
                    <a:pt x="29418" y="7090"/>
                    <a:pt x="29387" y="7020"/>
                    <a:pt x="29345" y="6943"/>
                  </a:cubicBezTo>
                  <a:cubicBezTo>
                    <a:pt x="29313" y="6873"/>
                    <a:pt x="29271" y="6810"/>
                    <a:pt x="29219" y="6757"/>
                  </a:cubicBezTo>
                  <a:cubicBezTo>
                    <a:pt x="29149" y="6698"/>
                    <a:pt x="28813" y="6396"/>
                    <a:pt x="28830" y="6130"/>
                  </a:cubicBezTo>
                  <a:cubicBezTo>
                    <a:pt x="28848" y="5903"/>
                    <a:pt x="29002" y="5850"/>
                    <a:pt x="29117" y="5829"/>
                  </a:cubicBezTo>
                  <a:lnTo>
                    <a:pt x="29121" y="5829"/>
                  </a:lnTo>
                  <a:cubicBezTo>
                    <a:pt x="29114" y="5808"/>
                    <a:pt x="29107" y="5787"/>
                    <a:pt x="29100" y="5766"/>
                  </a:cubicBezTo>
                  <a:cubicBezTo>
                    <a:pt x="29072" y="5689"/>
                    <a:pt x="29058" y="5612"/>
                    <a:pt x="29051" y="5535"/>
                  </a:cubicBezTo>
                  <a:cubicBezTo>
                    <a:pt x="29044" y="5448"/>
                    <a:pt x="29019" y="5430"/>
                    <a:pt x="28942" y="5388"/>
                  </a:cubicBezTo>
                  <a:cubicBezTo>
                    <a:pt x="28851" y="5343"/>
                    <a:pt x="28767" y="5276"/>
                    <a:pt x="28701" y="5196"/>
                  </a:cubicBezTo>
                  <a:cubicBezTo>
                    <a:pt x="28613" y="5091"/>
                    <a:pt x="28515" y="5031"/>
                    <a:pt x="28424" y="5028"/>
                  </a:cubicBezTo>
                  <a:cubicBezTo>
                    <a:pt x="28420" y="5027"/>
                    <a:pt x="28417" y="5027"/>
                    <a:pt x="28413" y="5027"/>
                  </a:cubicBezTo>
                  <a:cubicBezTo>
                    <a:pt x="28368" y="5027"/>
                    <a:pt x="28323" y="5048"/>
                    <a:pt x="28287" y="5080"/>
                  </a:cubicBezTo>
                  <a:cubicBezTo>
                    <a:pt x="28256" y="5122"/>
                    <a:pt x="28238" y="5171"/>
                    <a:pt x="28231" y="5220"/>
                  </a:cubicBezTo>
                  <a:cubicBezTo>
                    <a:pt x="28214" y="5311"/>
                    <a:pt x="28189" y="5427"/>
                    <a:pt x="28060" y="5483"/>
                  </a:cubicBezTo>
                  <a:cubicBezTo>
                    <a:pt x="28004" y="5504"/>
                    <a:pt x="27986" y="5595"/>
                    <a:pt x="27969" y="5679"/>
                  </a:cubicBezTo>
                  <a:cubicBezTo>
                    <a:pt x="27944" y="5784"/>
                    <a:pt x="27920" y="5903"/>
                    <a:pt x="27804" y="5920"/>
                  </a:cubicBezTo>
                  <a:cubicBezTo>
                    <a:pt x="27796" y="5922"/>
                    <a:pt x="27789" y="5923"/>
                    <a:pt x="27781" y="5923"/>
                  </a:cubicBezTo>
                  <a:cubicBezTo>
                    <a:pt x="27757" y="5923"/>
                    <a:pt x="27735" y="5915"/>
                    <a:pt x="27717" y="5899"/>
                  </a:cubicBezTo>
                  <a:cubicBezTo>
                    <a:pt x="27650" y="5847"/>
                    <a:pt x="27636" y="5728"/>
                    <a:pt x="27622" y="5539"/>
                  </a:cubicBezTo>
                  <a:cubicBezTo>
                    <a:pt x="27615" y="5444"/>
                    <a:pt x="27605" y="5287"/>
                    <a:pt x="27577" y="5259"/>
                  </a:cubicBezTo>
                  <a:cubicBezTo>
                    <a:pt x="27503" y="5227"/>
                    <a:pt x="27458" y="5150"/>
                    <a:pt x="27465" y="5066"/>
                  </a:cubicBezTo>
                  <a:cubicBezTo>
                    <a:pt x="27482" y="4979"/>
                    <a:pt x="27559" y="4923"/>
                    <a:pt x="27675" y="4909"/>
                  </a:cubicBezTo>
                  <a:cubicBezTo>
                    <a:pt x="27734" y="4902"/>
                    <a:pt x="27787" y="4870"/>
                    <a:pt x="27822" y="4821"/>
                  </a:cubicBezTo>
                  <a:lnTo>
                    <a:pt x="27815" y="4821"/>
                  </a:lnTo>
                  <a:cubicBezTo>
                    <a:pt x="27678" y="4821"/>
                    <a:pt x="27486" y="4720"/>
                    <a:pt x="27342" y="4646"/>
                  </a:cubicBezTo>
                  <a:cubicBezTo>
                    <a:pt x="27300" y="4625"/>
                    <a:pt x="27265" y="4608"/>
                    <a:pt x="27244" y="4594"/>
                  </a:cubicBezTo>
                  <a:cubicBezTo>
                    <a:pt x="27242" y="4592"/>
                    <a:pt x="27239" y="4592"/>
                    <a:pt x="27236" y="4592"/>
                  </a:cubicBezTo>
                  <a:cubicBezTo>
                    <a:pt x="27208" y="4592"/>
                    <a:pt x="27157" y="4631"/>
                    <a:pt x="27125" y="4650"/>
                  </a:cubicBezTo>
                  <a:cubicBezTo>
                    <a:pt x="27066" y="4687"/>
                    <a:pt x="26993" y="4733"/>
                    <a:pt x="26920" y="4733"/>
                  </a:cubicBezTo>
                  <a:cubicBezTo>
                    <a:pt x="26885" y="4733"/>
                    <a:pt x="26850" y="4722"/>
                    <a:pt x="26817" y="4695"/>
                  </a:cubicBezTo>
                  <a:cubicBezTo>
                    <a:pt x="26698" y="4597"/>
                    <a:pt x="26747" y="4429"/>
                    <a:pt x="26786" y="4292"/>
                  </a:cubicBezTo>
                  <a:cubicBezTo>
                    <a:pt x="26800" y="4250"/>
                    <a:pt x="26810" y="4208"/>
                    <a:pt x="26817" y="4163"/>
                  </a:cubicBezTo>
                  <a:cubicBezTo>
                    <a:pt x="26817" y="4131"/>
                    <a:pt x="26835" y="4096"/>
                    <a:pt x="26863" y="4075"/>
                  </a:cubicBezTo>
                  <a:cubicBezTo>
                    <a:pt x="26886" y="4060"/>
                    <a:pt x="26914" y="4053"/>
                    <a:pt x="26942" y="4053"/>
                  </a:cubicBezTo>
                  <a:cubicBezTo>
                    <a:pt x="26960" y="4053"/>
                    <a:pt x="26978" y="4056"/>
                    <a:pt x="26996" y="4061"/>
                  </a:cubicBezTo>
                  <a:cubicBezTo>
                    <a:pt x="27021" y="4066"/>
                    <a:pt x="27042" y="4070"/>
                    <a:pt x="27061" y="4070"/>
                  </a:cubicBezTo>
                  <a:cubicBezTo>
                    <a:pt x="27094" y="4070"/>
                    <a:pt x="27119" y="4059"/>
                    <a:pt x="27146" y="4023"/>
                  </a:cubicBezTo>
                  <a:cubicBezTo>
                    <a:pt x="27150" y="4019"/>
                    <a:pt x="27153" y="4012"/>
                    <a:pt x="27153" y="4009"/>
                  </a:cubicBezTo>
                  <a:cubicBezTo>
                    <a:pt x="27115" y="3981"/>
                    <a:pt x="27076" y="3960"/>
                    <a:pt x="27031" y="3942"/>
                  </a:cubicBezTo>
                  <a:cubicBezTo>
                    <a:pt x="26926" y="3897"/>
                    <a:pt x="26793" y="3837"/>
                    <a:pt x="26793" y="3708"/>
                  </a:cubicBezTo>
                  <a:cubicBezTo>
                    <a:pt x="26793" y="3620"/>
                    <a:pt x="26611" y="3564"/>
                    <a:pt x="26488" y="3529"/>
                  </a:cubicBezTo>
                  <a:cubicBezTo>
                    <a:pt x="26439" y="3515"/>
                    <a:pt x="26390" y="3498"/>
                    <a:pt x="26341" y="3477"/>
                  </a:cubicBezTo>
                  <a:cubicBezTo>
                    <a:pt x="26225" y="3417"/>
                    <a:pt x="26271" y="3270"/>
                    <a:pt x="26306" y="3151"/>
                  </a:cubicBezTo>
                  <a:cubicBezTo>
                    <a:pt x="26327" y="3085"/>
                    <a:pt x="26351" y="2994"/>
                    <a:pt x="26337" y="2962"/>
                  </a:cubicBezTo>
                  <a:cubicBezTo>
                    <a:pt x="26280" y="2844"/>
                    <a:pt x="25879" y="2509"/>
                    <a:pt x="25719" y="2509"/>
                  </a:cubicBezTo>
                  <a:cubicBezTo>
                    <a:pt x="25714" y="2509"/>
                    <a:pt x="25709" y="2510"/>
                    <a:pt x="25704" y="2511"/>
                  </a:cubicBezTo>
                  <a:cubicBezTo>
                    <a:pt x="25688" y="2515"/>
                    <a:pt x="25671" y="2517"/>
                    <a:pt x="25655" y="2517"/>
                  </a:cubicBezTo>
                  <a:cubicBezTo>
                    <a:pt x="25587" y="2517"/>
                    <a:pt x="25523" y="2482"/>
                    <a:pt x="25483" y="2423"/>
                  </a:cubicBezTo>
                  <a:cubicBezTo>
                    <a:pt x="25434" y="2356"/>
                    <a:pt x="25424" y="2269"/>
                    <a:pt x="25455" y="2195"/>
                  </a:cubicBezTo>
                  <a:cubicBezTo>
                    <a:pt x="25477" y="2161"/>
                    <a:pt x="25512" y="2138"/>
                    <a:pt x="25552" y="2138"/>
                  </a:cubicBezTo>
                  <a:cubicBezTo>
                    <a:pt x="25557" y="2138"/>
                    <a:pt x="25562" y="2139"/>
                    <a:pt x="25567" y="2139"/>
                  </a:cubicBezTo>
                  <a:cubicBezTo>
                    <a:pt x="25571" y="2140"/>
                    <a:pt x="25575" y="2140"/>
                    <a:pt x="25580" y="2140"/>
                  </a:cubicBezTo>
                  <a:cubicBezTo>
                    <a:pt x="25649" y="2140"/>
                    <a:pt x="25722" y="2081"/>
                    <a:pt x="25910" y="1870"/>
                  </a:cubicBezTo>
                  <a:cubicBezTo>
                    <a:pt x="26047" y="1719"/>
                    <a:pt x="26071" y="1667"/>
                    <a:pt x="26071" y="1646"/>
                  </a:cubicBezTo>
                  <a:cubicBezTo>
                    <a:pt x="26057" y="1635"/>
                    <a:pt x="26040" y="1628"/>
                    <a:pt x="26022" y="1625"/>
                  </a:cubicBezTo>
                  <a:cubicBezTo>
                    <a:pt x="25924" y="1590"/>
                    <a:pt x="25830" y="1513"/>
                    <a:pt x="25847" y="1422"/>
                  </a:cubicBezTo>
                  <a:cubicBezTo>
                    <a:pt x="25857" y="1373"/>
                    <a:pt x="25900" y="1316"/>
                    <a:pt x="26045" y="1316"/>
                  </a:cubicBezTo>
                  <a:cubicBezTo>
                    <a:pt x="26056" y="1316"/>
                    <a:pt x="26069" y="1316"/>
                    <a:pt x="26082" y="1317"/>
                  </a:cubicBezTo>
                  <a:cubicBezTo>
                    <a:pt x="26194" y="1324"/>
                    <a:pt x="26306" y="1341"/>
                    <a:pt x="26414" y="1369"/>
                  </a:cubicBezTo>
                  <a:cubicBezTo>
                    <a:pt x="26535" y="1395"/>
                    <a:pt x="26678" y="1424"/>
                    <a:pt x="26780" y="1424"/>
                  </a:cubicBezTo>
                  <a:cubicBezTo>
                    <a:pt x="26829" y="1424"/>
                    <a:pt x="26868" y="1418"/>
                    <a:pt x="26891" y="1401"/>
                  </a:cubicBezTo>
                  <a:cubicBezTo>
                    <a:pt x="26989" y="1327"/>
                    <a:pt x="27279" y="897"/>
                    <a:pt x="27475" y="613"/>
                  </a:cubicBezTo>
                  <a:cubicBezTo>
                    <a:pt x="27549" y="501"/>
                    <a:pt x="27615" y="403"/>
                    <a:pt x="27664" y="336"/>
                  </a:cubicBezTo>
                  <a:cubicBezTo>
                    <a:pt x="27703" y="284"/>
                    <a:pt x="27710" y="249"/>
                    <a:pt x="27703" y="238"/>
                  </a:cubicBezTo>
                  <a:cubicBezTo>
                    <a:pt x="27692" y="220"/>
                    <a:pt x="27641" y="185"/>
                    <a:pt x="27416" y="185"/>
                  </a:cubicBezTo>
                  <a:cubicBezTo>
                    <a:pt x="27347" y="185"/>
                    <a:pt x="27260" y="188"/>
                    <a:pt x="27153" y="196"/>
                  </a:cubicBezTo>
                  <a:cubicBezTo>
                    <a:pt x="27119" y="200"/>
                    <a:pt x="27085" y="201"/>
                    <a:pt x="27051" y="201"/>
                  </a:cubicBezTo>
                  <a:cubicBezTo>
                    <a:pt x="26894" y="201"/>
                    <a:pt x="26740" y="168"/>
                    <a:pt x="26597" y="98"/>
                  </a:cubicBezTo>
                  <a:cubicBezTo>
                    <a:pt x="26488" y="46"/>
                    <a:pt x="26369" y="14"/>
                    <a:pt x="26246" y="4"/>
                  </a:cubicBezTo>
                  <a:cubicBezTo>
                    <a:pt x="26209" y="1"/>
                    <a:pt x="26168" y="0"/>
                    <a:pt x="261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2" name="Google Shape;6002;p53"/>
            <p:cNvSpPr/>
            <p:nvPr/>
          </p:nvSpPr>
          <p:spPr>
            <a:xfrm>
              <a:off x="890970" y="1547688"/>
              <a:ext cx="18547" cy="17176"/>
            </a:xfrm>
            <a:custGeom>
              <a:avLst/>
              <a:gdLst/>
              <a:ahLst/>
              <a:cxnLst/>
              <a:rect l="l" t="t" r="r" b="b"/>
              <a:pathLst>
                <a:path w="1366" h="1265" extrusionOk="0">
                  <a:moveTo>
                    <a:pt x="1225" y="1"/>
                  </a:moveTo>
                  <a:cubicBezTo>
                    <a:pt x="1187" y="1"/>
                    <a:pt x="1074" y="46"/>
                    <a:pt x="924" y="218"/>
                  </a:cubicBezTo>
                  <a:cubicBezTo>
                    <a:pt x="830" y="327"/>
                    <a:pt x="742" y="415"/>
                    <a:pt x="665" y="492"/>
                  </a:cubicBezTo>
                  <a:cubicBezTo>
                    <a:pt x="557" y="600"/>
                    <a:pt x="469" y="688"/>
                    <a:pt x="452" y="754"/>
                  </a:cubicBezTo>
                  <a:cubicBezTo>
                    <a:pt x="422" y="860"/>
                    <a:pt x="318" y="863"/>
                    <a:pt x="236" y="863"/>
                  </a:cubicBezTo>
                  <a:cubicBezTo>
                    <a:pt x="231" y="863"/>
                    <a:pt x="226" y="863"/>
                    <a:pt x="221" y="863"/>
                  </a:cubicBezTo>
                  <a:lnTo>
                    <a:pt x="186" y="863"/>
                  </a:lnTo>
                  <a:cubicBezTo>
                    <a:pt x="116" y="863"/>
                    <a:pt x="70" y="870"/>
                    <a:pt x="49" y="912"/>
                  </a:cubicBezTo>
                  <a:cubicBezTo>
                    <a:pt x="0" y="1006"/>
                    <a:pt x="49" y="1192"/>
                    <a:pt x="119" y="1251"/>
                  </a:cubicBezTo>
                  <a:cubicBezTo>
                    <a:pt x="129" y="1260"/>
                    <a:pt x="141" y="1265"/>
                    <a:pt x="153" y="1265"/>
                  </a:cubicBezTo>
                  <a:cubicBezTo>
                    <a:pt x="163" y="1265"/>
                    <a:pt x="174" y="1261"/>
                    <a:pt x="182" y="1255"/>
                  </a:cubicBezTo>
                  <a:cubicBezTo>
                    <a:pt x="251" y="1204"/>
                    <a:pt x="302" y="1187"/>
                    <a:pt x="345" y="1187"/>
                  </a:cubicBezTo>
                  <a:cubicBezTo>
                    <a:pt x="386" y="1187"/>
                    <a:pt x="420" y="1203"/>
                    <a:pt x="452" y="1220"/>
                  </a:cubicBezTo>
                  <a:cubicBezTo>
                    <a:pt x="469" y="1234"/>
                    <a:pt x="490" y="1241"/>
                    <a:pt x="511" y="1241"/>
                  </a:cubicBezTo>
                  <a:cubicBezTo>
                    <a:pt x="599" y="1237"/>
                    <a:pt x="1072" y="919"/>
                    <a:pt x="1170" y="761"/>
                  </a:cubicBezTo>
                  <a:cubicBezTo>
                    <a:pt x="1194" y="723"/>
                    <a:pt x="1198" y="709"/>
                    <a:pt x="1089" y="635"/>
                  </a:cubicBezTo>
                  <a:cubicBezTo>
                    <a:pt x="1026" y="590"/>
                    <a:pt x="963" y="548"/>
                    <a:pt x="956" y="474"/>
                  </a:cubicBezTo>
                  <a:cubicBezTo>
                    <a:pt x="942" y="351"/>
                    <a:pt x="1082" y="313"/>
                    <a:pt x="1208" y="281"/>
                  </a:cubicBezTo>
                  <a:cubicBezTo>
                    <a:pt x="1264" y="271"/>
                    <a:pt x="1317" y="253"/>
                    <a:pt x="1366" y="232"/>
                  </a:cubicBezTo>
                  <a:lnTo>
                    <a:pt x="1345" y="215"/>
                  </a:lnTo>
                  <a:cubicBezTo>
                    <a:pt x="1296" y="169"/>
                    <a:pt x="1226" y="106"/>
                    <a:pt x="1233" y="12"/>
                  </a:cubicBezTo>
                  <a:cubicBezTo>
                    <a:pt x="1233" y="8"/>
                    <a:pt x="1233" y="5"/>
                    <a:pt x="1233" y="1"/>
                  </a:cubicBezTo>
                  <a:cubicBezTo>
                    <a:pt x="1231" y="1"/>
                    <a:pt x="1228" y="1"/>
                    <a:pt x="12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3" name="Google Shape;6003;p53"/>
            <p:cNvSpPr/>
            <p:nvPr/>
          </p:nvSpPr>
          <p:spPr>
            <a:xfrm>
              <a:off x="797896" y="1528258"/>
              <a:ext cx="11229" cy="5064"/>
            </a:xfrm>
            <a:custGeom>
              <a:avLst/>
              <a:gdLst/>
              <a:ahLst/>
              <a:cxnLst/>
              <a:rect l="l" t="t" r="r" b="b"/>
              <a:pathLst>
                <a:path w="827" h="373" extrusionOk="0">
                  <a:moveTo>
                    <a:pt x="298" y="1"/>
                  </a:moveTo>
                  <a:cubicBezTo>
                    <a:pt x="200" y="4"/>
                    <a:pt x="109" y="43"/>
                    <a:pt x="36" y="106"/>
                  </a:cubicBezTo>
                  <a:cubicBezTo>
                    <a:pt x="22" y="120"/>
                    <a:pt x="1" y="144"/>
                    <a:pt x="8" y="165"/>
                  </a:cubicBezTo>
                  <a:cubicBezTo>
                    <a:pt x="42" y="272"/>
                    <a:pt x="333" y="373"/>
                    <a:pt x="549" y="373"/>
                  </a:cubicBezTo>
                  <a:cubicBezTo>
                    <a:pt x="601" y="373"/>
                    <a:pt x="648" y="367"/>
                    <a:pt x="687" y="354"/>
                  </a:cubicBezTo>
                  <a:cubicBezTo>
                    <a:pt x="750" y="337"/>
                    <a:pt x="802" y="288"/>
                    <a:pt x="820" y="225"/>
                  </a:cubicBezTo>
                  <a:cubicBezTo>
                    <a:pt x="827" y="176"/>
                    <a:pt x="809" y="123"/>
                    <a:pt x="771" y="92"/>
                  </a:cubicBezTo>
                  <a:cubicBezTo>
                    <a:pt x="760" y="82"/>
                    <a:pt x="747" y="78"/>
                    <a:pt x="731" y="78"/>
                  </a:cubicBezTo>
                  <a:cubicBezTo>
                    <a:pt x="702" y="78"/>
                    <a:pt x="663" y="92"/>
                    <a:pt x="613" y="113"/>
                  </a:cubicBezTo>
                  <a:cubicBezTo>
                    <a:pt x="570" y="132"/>
                    <a:pt x="525" y="151"/>
                    <a:pt x="482" y="151"/>
                  </a:cubicBezTo>
                  <a:cubicBezTo>
                    <a:pt x="462" y="151"/>
                    <a:pt x="443" y="147"/>
                    <a:pt x="424" y="137"/>
                  </a:cubicBezTo>
                  <a:cubicBezTo>
                    <a:pt x="389" y="113"/>
                    <a:pt x="365" y="71"/>
                    <a:pt x="361" y="25"/>
                  </a:cubicBezTo>
                  <a:cubicBezTo>
                    <a:pt x="361" y="18"/>
                    <a:pt x="361" y="11"/>
                    <a:pt x="344" y="8"/>
                  </a:cubicBezTo>
                  <a:cubicBezTo>
                    <a:pt x="330" y="1"/>
                    <a:pt x="312" y="1"/>
                    <a:pt x="2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4" name="Google Shape;6004;p53"/>
            <p:cNvSpPr/>
            <p:nvPr/>
          </p:nvSpPr>
          <p:spPr>
            <a:xfrm>
              <a:off x="793334" y="1391519"/>
              <a:ext cx="283403" cy="195652"/>
            </a:xfrm>
            <a:custGeom>
              <a:avLst/>
              <a:gdLst/>
              <a:ahLst/>
              <a:cxnLst/>
              <a:rect l="l" t="t" r="r" b="b"/>
              <a:pathLst>
                <a:path w="20873" h="14410" extrusionOk="0">
                  <a:moveTo>
                    <a:pt x="6145" y="0"/>
                  </a:moveTo>
                  <a:cubicBezTo>
                    <a:pt x="6032" y="0"/>
                    <a:pt x="5793" y="218"/>
                    <a:pt x="5658" y="339"/>
                  </a:cubicBezTo>
                  <a:cubicBezTo>
                    <a:pt x="5462" y="516"/>
                    <a:pt x="5201" y="553"/>
                    <a:pt x="4995" y="553"/>
                  </a:cubicBezTo>
                  <a:cubicBezTo>
                    <a:pt x="4895" y="553"/>
                    <a:pt x="4808" y="544"/>
                    <a:pt x="4748" y="539"/>
                  </a:cubicBezTo>
                  <a:cubicBezTo>
                    <a:pt x="4708" y="534"/>
                    <a:pt x="4669" y="532"/>
                    <a:pt x="4631" y="532"/>
                  </a:cubicBezTo>
                  <a:cubicBezTo>
                    <a:pt x="4489" y="532"/>
                    <a:pt x="4365" y="561"/>
                    <a:pt x="4321" y="605"/>
                  </a:cubicBezTo>
                  <a:cubicBezTo>
                    <a:pt x="4310" y="616"/>
                    <a:pt x="4310" y="619"/>
                    <a:pt x="4310" y="623"/>
                  </a:cubicBezTo>
                  <a:cubicBezTo>
                    <a:pt x="4310" y="644"/>
                    <a:pt x="4338" y="661"/>
                    <a:pt x="4377" y="686"/>
                  </a:cubicBezTo>
                  <a:cubicBezTo>
                    <a:pt x="4422" y="714"/>
                    <a:pt x="4478" y="749"/>
                    <a:pt x="4485" y="815"/>
                  </a:cubicBezTo>
                  <a:cubicBezTo>
                    <a:pt x="4485" y="875"/>
                    <a:pt x="4457" y="931"/>
                    <a:pt x="4412" y="969"/>
                  </a:cubicBezTo>
                  <a:cubicBezTo>
                    <a:pt x="4367" y="1014"/>
                    <a:pt x="4324" y="1031"/>
                    <a:pt x="4286" y="1031"/>
                  </a:cubicBezTo>
                  <a:cubicBezTo>
                    <a:pt x="4213" y="1031"/>
                    <a:pt x="4155" y="973"/>
                    <a:pt x="4121" y="941"/>
                  </a:cubicBezTo>
                  <a:cubicBezTo>
                    <a:pt x="4100" y="920"/>
                    <a:pt x="4069" y="889"/>
                    <a:pt x="4055" y="889"/>
                  </a:cubicBezTo>
                  <a:cubicBezTo>
                    <a:pt x="4048" y="889"/>
                    <a:pt x="4034" y="896"/>
                    <a:pt x="4013" y="917"/>
                  </a:cubicBezTo>
                  <a:cubicBezTo>
                    <a:pt x="3878" y="1061"/>
                    <a:pt x="3580" y="1096"/>
                    <a:pt x="3366" y="1096"/>
                  </a:cubicBezTo>
                  <a:cubicBezTo>
                    <a:pt x="3269" y="1096"/>
                    <a:pt x="3190" y="1089"/>
                    <a:pt x="3151" y="1081"/>
                  </a:cubicBezTo>
                  <a:cubicBezTo>
                    <a:pt x="3095" y="1081"/>
                    <a:pt x="2920" y="1235"/>
                    <a:pt x="2633" y="1533"/>
                  </a:cubicBezTo>
                  <a:lnTo>
                    <a:pt x="2570" y="1600"/>
                  </a:lnTo>
                  <a:cubicBezTo>
                    <a:pt x="2546" y="1621"/>
                    <a:pt x="2546" y="1638"/>
                    <a:pt x="2549" y="1694"/>
                  </a:cubicBezTo>
                  <a:cubicBezTo>
                    <a:pt x="2553" y="1792"/>
                    <a:pt x="2563" y="1939"/>
                    <a:pt x="2339" y="2177"/>
                  </a:cubicBezTo>
                  <a:cubicBezTo>
                    <a:pt x="2087" y="2449"/>
                    <a:pt x="1563" y="2485"/>
                    <a:pt x="1208" y="2485"/>
                  </a:cubicBezTo>
                  <a:cubicBezTo>
                    <a:pt x="1125" y="2485"/>
                    <a:pt x="1050" y="2483"/>
                    <a:pt x="991" y="2482"/>
                  </a:cubicBezTo>
                  <a:lnTo>
                    <a:pt x="911" y="2482"/>
                  </a:lnTo>
                  <a:cubicBezTo>
                    <a:pt x="908" y="2481"/>
                    <a:pt x="905" y="2480"/>
                    <a:pt x="902" y="2480"/>
                  </a:cubicBezTo>
                  <a:cubicBezTo>
                    <a:pt x="894" y="2480"/>
                    <a:pt x="887" y="2483"/>
                    <a:pt x="879" y="2485"/>
                  </a:cubicBezTo>
                  <a:cubicBezTo>
                    <a:pt x="872" y="2513"/>
                    <a:pt x="869" y="2541"/>
                    <a:pt x="872" y="2569"/>
                  </a:cubicBezTo>
                  <a:cubicBezTo>
                    <a:pt x="879" y="2646"/>
                    <a:pt x="858" y="2727"/>
                    <a:pt x="816" y="2793"/>
                  </a:cubicBezTo>
                  <a:cubicBezTo>
                    <a:pt x="802" y="2814"/>
                    <a:pt x="806" y="2821"/>
                    <a:pt x="809" y="2825"/>
                  </a:cubicBezTo>
                  <a:cubicBezTo>
                    <a:pt x="820" y="2856"/>
                    <a:pt x="900" y="2947"/>
                    <a:pt x="1387" y="3080"/>
                  </a:cubicBezTo>
                  <a:cubicBezTo>
                    <a:pt x="1909" y="3217"/>
                    <a:pt x="2262" y="3893"/>
                    <a:pt x="2329" y="4064"/>
                  </a:cubicBezTo>
                  <a:cubicBezTo>
                    <a:pt x="2337" y="4084"/>
                    <a:pt x="2390" y="4091"/>
                    <a:pt x="2458" y="4091"/>
                  </a:cubicBezTo>
                  <a:cubicBezTo>
                    <a:pt x="2570" y="4091"/>
                    <a:pt x="2723" y="4073"/>
                    <a:pt x="2791" y="4064"/>
                  </a:cubicBezTo>
                  <a:cubicBezTo>
                    <a:pt x="2903" y="4052"/>
                    <a:pt x="3012" y="4041"/>
                    <a:pt x="3102" y="4041"/>
                  </a:cubicBezTo>
                  <a:cubicBezTo>
                    <a:pt x="3138" y="4041"/>
                    <a:pt x="3171" y="4043"/>
                    <a:pt x="3200" y="4047"/>
                  </a:cubicBezTo>
                  <a:cubicBezTo>
                    <a:pt x="3386" y="4075"/>
                    <a:pt x="3368" y="4243"/>
                    <a:pt x="3358" y="4341"/>
                  </a:cubicBezTo>
                  <a:cubicBezTo>
                    <a:pt x="3347" y="4449"/>
                    <a:pt x="3347" y="4502"/>
                    <a:pt x="3400" y="4526"/>
                  </a:cubicBezTo>
                  <a:cubicBezTo>
                    <a:pt x="3454" y="4551"/>
                    <a:pt x="3518" y="4556"/>
                    <a:pt x="3585" y="4556"/>
                  </a:cubicBezTo>
                  <a:cubicBezTo>
                    <a:pt x="3614" y="4556"/>
                    <a:pt x="3643" y="4555"/>
                    <a:pt x="3673" y="4554"/>
                  </a:cubicBezTo>
                  <a:cubicBezTo>
                    <a:pt x="3700" y="4553"/>
                    <a:pt x="3728" y="4552"/>
                    <a:pt x="3756" y="4552"/>
                  </a:cubicBezTo>
                  <a:cubicBezTo>
                    <a:pt x="3868" y="4552"/>
                    <a:pt x="3977" y="4572"/>
                    <a:pt x="4016" y="4684"/>
                  </a:cubicBezTo>
                  <a:cubicBezTo>
                    <a:pt x="4030" y="4722"/>
                    <a:pt x="4027" y="4761"/>
                    <a:pt x="4006" y="4796"/>
                  </a:cubicBezTo>
                  <a:cubicBezTo>
                    <a:pt x="3963" y="4855"/>
                    <a:pt x="3872" y="4859"/>
                    <a:pt x="3746" y="4859"/>
                  </a:cubicBezTo>
                  <a:cubicBezTo>
                    <a:pt x="3610" y="4859"/>
                    <a:pt x="3445" y="4862"/>
                    <a:pt x="3337" y="4943"/>
                  </a:cubicBezTo>
                  <a:cubicBezTo>
                    <a:pt x="3159" y="5076"/>
                    <a:pt x="3050" y="5154"/>
                    <a:pt x="2945" y="5154"/>
                  </a:cubicBezTo>
                  <a:cubicBezTo>
                    <a:pt x="2937" y="5154"/>
                    <a:pt x="2929" y="5154"/>
                    <a:pt x="2920" y="5153"/>
                  </a:cubicBezTo>
                  <a:cubicBezTo>
                    <a:pt x="2864" y="5142"/>
                    <a:pt x="2815" y="5107"/>
                    <a:pt x="2784" y="5062"/>
                  </a:cubicBezTo>
                  <a:cubicBezTo>
                    <a:pt x="2759" y="5027"/>
                    <a:pt x="2686" y="5015"/>
                    <a:pt x="2598" y="5015"/>
                  </a:cubicBezTo>
                  <a:cubicBezTo>
                    <a:pt x="2485" y="5015"/>
                    <a:pt x="2347" y="5034"/>
                    <a:pt x="2255" y="5048"/>
                  </a:cubicBezTo>
                  <a:cubicBezTo>
                    <a:pt x="2213" y="5055"/>
                    <a:pt x="2175" y="5058"/>
                    <a:pt x="2143" y="5062"/>
                  </a:cubicBezTo>
                  <a:cubicBezTo>
                    <a:pt x="2131" y="5065"/>
                    <a:pt x="2119" y="5067"/>
                    <a:pt x="2106" y="5067"/>
                  </a:cubicBezTo>
                  <a:cubicBezTo>
                    <a:pt x="2066" y="5067"/>
                    <a:pt x="2026" y="5049"/>
                    <a:pt x="2000" y="5020"/>
                  </a:cubicBezTo>
                  <a:cubicBezTo>
                    <a:pt x="1947" y="4950"/>
                    <a:pt x="1989" y="4841"/>
                    <a:pt x="2031" y="4740"/>
                  </a:cubicBezTo>
                  <a:cubicBezTo>
                    <a:pt x="2049" y="4701"/>
                    <a:pt x="2059" y="4659"/>
                    <a:pt x="2070" y="4617"/>
                  </a:cubicBezTo>
                  <a:cubicBezTo>
                    <a:pt x="2070" y="4614"/>
                    <a:pt x="2063" y="4607"/>
                    <a:pt x="2052" y="4600"/>
                  </a:cubicBezTo>
                  <a:cubicBezTo>
                    <a:pt x="2026" y="4581"/>
                    <a:pt x="1980" y="4569"/>
                    <a:pt x="1918" y="4569"/>
                  </a:cubicBezTo>
                  <a:cubicBezTo>
                    <a:pt x="1815" y="4569"/>
                    <a:pt x="1666" y="4604"/>
                    <a:pt x="1488" y="4705"/>
                  </a:cubicBezTo>
                  <a:lnTo>
                    <a:pt x="1481" y="4712"/>
                  </a:lnTo>
                  <a:cubicBezTo>
                    <a:pt x="1394" y="4754"/>
                    <a:pt x="1310" y="4803"/>
                    <a:pt x="1229" y="4859"/>
                  </a:cubicBezTo>
                  <a:lnTo>
                    <a:pt x="1229" y="4869"/>
                  </a:lnTo>
                  <a:cubicBezTo>
                    <a:pt x="1233" y="4908"/>
                    <a:pt x="1226" y="4946"/>
                    <a:pt x="1215" y="4985"/>
                  </a:cubicBezTo>
                  <a:cubicBezTo>
                    <a:pt x="1208" y="5027"/>
                    <a:pt x="1184" y="5065"/>
                    <a:pt x="1145" y="5086"/>
                  </a:cubicBezTo>
                  <a:cubicBezTo>
                    <a:pt x="1128" y="5094"/>
                    <a:pt x="1111" y="5097"/>
                    <a:pt x="1094" y="5097"/>
                  </a:cubicBezTo>
                  <a:cubicBezTo>
                    <a:pt x="1057" y="5097"/>
                    <a:pt x="1020" y="5083"/>
                    <a:pt x="984" y="5069"/>
                  </a:cubicBezTo>
                  <a:cubicBezTo>
                    <a:pt x="940" y="5053"/>
                    <a:pt x="892" y="5034"/>
                    <a:pt x="839" y="5034"/>
                  </a:cubicBezTo>
                  <a:cubicBezTo>
                    <a:pt x="801" y="5034"/>
                    <a:pt x="759" y="5044"/>
                    <a:pt x="715" y="5072"/>
                  </a:cubicBezTo>
                  <a:cubicBezTo>
                    <a:pt x="606" y="5135"/>
                    <a:pt x="494" y="5191"/>
                    <a:pt x="382" y="5240"/>
                  </a:cubicBezTo>
                  <a:cubicBezTo>
                    <a:pt x="221" y="5310"/>
                    <a:pt x="36" y="5391"/>
                    <a:pt x="1" y="5468"/>
                  </a:cubicBezTo>
                  <a:cubicBezTo>
                    <a:pt x="18" y="5510"/>
                    <a:pt x="158" y="5576"/>
                    <a:pt x="687" y="5682"/>
                  </a:cubicBezTo>
                  <a:lnTo>
                    <a:pt x="739" y="5692"/>
                  </a:lnTo>
                  <a:cubicBezTo>
                    <a:pt x="767" y="5699"/>
                    <a:pt x="844" y="5713"/>
                    <a:pt x="855" y="5780"/>
                  </a:cubicBezTo>
                  <a:cubicBezTo>
                    <a:pt x="869" y="5850"/>
                    <a:pt x="802" y="5899"/>
                    <a:pt x="729" y="5948"/>
                  </a:cubicBezTo>
                  <a:cubicBezTo>
                    <a:pt x="715" y="5955"/>
                    <a:pt x="701" y="5965"/>
                    <a:pt x="683" y="5976"/>
                  </a:cubicBezTo>
                  <a:cubicBezTo>
                    <a:pt x="757" y="6011"/>
                    <a:pt x="813" y="6070"/>
                    <a:pt x="844" y="6140"/>
                  </a:cubicBezTo>
                  <a:cubicBezTo>
                    <a:pt x="890" y="6242"/>
                    <a:pt x="974" y="6322"/>
                    <a:pt x="1072" y="6368"/>
                  </a:cubicBezTo>
                  <a:cubicBezTo>
                    <a:pt x="1162" y="6415"/>
                    <a:pt x="1296" y="6431"/>
                    <a:pt x="1440" y="6431"/>
                  </a:cubicBezTo>
                  <a:cubicBezTo>
                    <a:pt x="1625" y="6431"/>
                    <a:pt x="1826" y="6405"/>
                    <a:pt x="1972" y="6385"/>
                  </a:cubicBezTo>
                  <a:cubicBezTo>
                    <a:pt x="2049" y="6371"/>
                    <a:pt x="2129" y="6364"/>
                    <a:pt x="2206" y="6361"/>
                  </a:cubicBezTo>
                  <a:cubicBezTo>
                    <a:pt x="2287" y="6368"/>
                    <a:pt x="2367" y="6389"/>
                    <a:pt x="2437" y="6427"/>
                  </a:cubicBezTo>
                  <a:cubicBezTo>
                    <a:pt x="2503" y="6459"/>
                    <a:pt x="2547" y="6478"/>
                    <a:pt x="2582" y="6478"/>
                  </a:cubicBezTo>
                  <a:cubicBezTo>
                    <a:pt x="2609" y="6478"/>
                    <a:pt x="2631" y="6467"/>
                    <a:pt x="2654" y="6441"/>
                  </a:cubicBezTo>
                  <a:cubicBezTo>
                    <a:pt x="2757" y="6333"/>
                    <a:pt x="3141" y="6002"/>
                    <a:pt x="3463" y="6002"/>
                  </a:cubicBezTo>
                  <a:cubicBezTo>
                    <a:pt x="3556" y="6002"/>
                    <a:pt x="3644" y="6030"/>
                    <a:pt x="3718" y="6098"/>
                  </a:cubicBezTo>
                  <a:cubicBezTo>
                    <a:pt x="3792" y="6168"/>
                    <a:pt x="3823" y="6231"/>
                    <a:pt x="3813" y="6291"/>
                  </a:cubicBezTo>
                  <a:cubicBezTo>
                    <a:pt x="3799" y="6378"/>
                    <a:pt x="3708" y="6417"/>
                    <a:pt x="3634" y="6448"/>
                  </a:cubicBezTo>
                  <a:cubicBezTo>
                    <a:pt x="3610" y="6459"/>
                    <a:pt x="3589" y="6469"/>
                    <a:pt x="3568" y="6480"/>
                  </a:cubicBezTo>
                  <a:cubicBezTo>
                    <a:pt x="3680" y="6606"/>
                    <a:pt x="3795" y="6830"/>
                    <a:pt x="3778" y="7026"/>
                  </a:cubicBezTo>
                  <a:cubicBezTo>
                    <a:pt x="3767" y="7138"/>
                    <a:pt x="3708" y="7239"/>
                    <a:pt x="3617" y="7302"/>
                  </a:cubicBezTo>
                  <a:cubicBezTo>
                    <a:pt x="3492" y="7393"/>
                    <a:pt x="3368" y="7420"/>
                    <a:pt x="3256" y="7420"/>
                  </a:cubicBezTo>
                  <a:cubicBezTo>
                    <a:pt x="3162" y="7420"/>
                    <a:pt x="3077" y="7401"/>
                    <a:pt x="3008" y="7386"/>
                  </a:cubicBezTo>
                  <a:cubicBezTo>
                    <a:pt x="2973" y="7376"/>
                    <a:pt x="2938" y="7369"/>
                    <a:pt x="2903" y="7365"/>
                  </a:cubicBezTo>
                  <a:lnTo>
                    <a:pt x="2896" y="7365"/>
                  </a:lnTo>
                  <a:cubicBezTo>
                    <a:pt x="2878" y="7393"/>
                    <a:pt x="2868" y="7425"/>
                    <a:pt x="2861" y="7456"/>
                  </a:cubicBezTo>
                  <a:cubicBezTo>
                    <a:pt x="2833" y="7554"/>
                    <a:pt x="2798" y="7691"/>
                    <a:pt x="2658" y="7800"/>
                  </a:cubicBezTo>
                  <a:cubicBezTo>
                    <a:pt x="2599" y="7845"/>
                    <a:pt x="2543" y="7862"/>
                    <a:pt x="2490" y="7862"/>
                  </a:cubicBezTo>
                  <a:cubicBezTo>
                    <a:pt x="2390" y="7862"/>
                    <a:pt x="2299" y="7801"/>
                    <a:pt x="2217" y="7743"/>
                  </a:cubicBezTo>
                  <a:cubicBezTo>
                    <a:pt x="2129" y="7684"/>
                    <a:pt x="2035" y="7621"/>
                    <a:pt x="1926" y="7621"/>
                  </a:cubicBezTo>
                  <a:cubicBezTo>
                    <a:pt x="1922" y="7621"/>
                    <a:pt x="1918" y="7620"/>
                    <a:pt x="1914" y="7620"/>
                  </a:cubicBezTo>
                  <a:cubicBezTo>
                    <a:pt x="1879" y="7620"/>
                    <a:pt x="1843" y="7634"/>
                    <a:pt x="1817" y="7659"/>
                  </a:cubicBezTo>
                  <a:cubicBezTo>
                    <a:pt x="1744" y="7740"/>
                    <a:pt x="1758" y="7926"/>
                    <a:pt x="1768" y="8052"/>
                  </a:cubicBezTo>
                  <a:cubicBezTo>
                    <a:pt x="1768" y="8073"/>
                    <a:pt x="1772" y="8090"/>
                    <a:pt x="1775" y="8108"/>
                  </a:cubicBezTo>
                  <a:cubicBezTo>
                    <a:pt x="1782" y="8241"/>
                    <a:pt x="1649" y="8258"/>
                    <a:pt x="1562" y="8269"/>
                  </a:cubicBezTo>
                  <a:cubicBezTo>
                    <a:pt x="1432" y="8286"/>
                    <a:pt x="1282" y="8307"/>
                    <a:pt x="1226" y="8528"/>
                  </a:cubicBezTo>
                  <a:cubicBezTo>
                    <a:pt x="1163" y="8783"/>
                    <a:pt x="988" y="8808"/>
                    <a:pt x="893" y="8822"/>
                  </a:cubicBezTo>
                  <a:lnTo>
                    <a:pt x="865" y="8825"/>
                  </a:lnTo>
                  <a:cubicBezTo>
                    <a:pt x="890" y="8874"/>
                    <a:pt x="918" y="8916"/>
                    <a:pt x="949" y="8958"/>
                  </a:cubicBezTo>
                  <a:cubicBezTo>
                    <a:pt x="1114" y="9193"/>
                    <a:pt x="1156" y="9193"/>
                    <a:pt x="1205" y="9193"/>
                  </a:cubicBezTo>
                  <a:cubicBezTo>
                    <a:pt x="1210" y="9193"/>
                    <a:pt x="1214" y="9193"/>
                    <a:pt x="1219" y="9193"/>
                  </a:cubicBezTo>
                  <a:cubicBezTo>
                    <a:pt x="1297" y="9193"/>
                    <a:pt x="1370" y="9220"/>
                    <a:pt x="1432" y="9270"/>
                  </a:cubicBezTo>
                  <a:cubicBezTo>
                    <a:pt x="1611" y="9396"/>
                    <a:pt x="1495" y="9578"/>
                    <a:pt x="1422" y="9686"/>
                  </a:cubicBezTo>
                  <a:cubicBezTo>
                    <a:pt x="1404" y="9714"/>
                    <a:pt x="1383" y="9746"/>
                    <a:pt x="1369" y="9777"/>
                  </a:cubicBezTo>
                  <a:lnTo>
                    <a:pt x="1383" y="9781"/>
                  </a:lnTo>
                  <a:cubicBezTo>
                    <a:pt x="1572" y="9819"/>
                    <a:pt x="1754" y="10044"/>
                    <a:pt x="1919" y="10240"/>
                  </a:cubicBezTo>
                  <a:cubicBezTo>
                    <a:pt x="1972" y="10310"/>
                    <a:pt x="2031" y="10376"/>
                    <a:pt x="2094" y="10439"/>
                  </a:cubicBezTo>
                  <a:cubicBezTo>
                    <a:pt x="2121" y="10464"/>
                    <a:pt x="2150" y="10475"/>
                    <a:pt x="2184" y="10475"/>
                  </a:cubicBezTo>
                  <a:cubicBezTo>
                    <a:pt x="2236" y="10475"/>
                    <a:pt x="2299" y="10450"/>
                    <a:pt x="2381" y="10415"/>
                  </a:cubicBezTo>
                  <a:cubicBezTo>
                    <a:pt x="2479" y="10366"/>
                    <a:pt x="2581" y="10338"/>
                    <a:pt x="2689" y="10327"/>
                  </a:cubicBezTo>
                  <a:cubicBezTo>
                    <a:pt x="2770" y="10324"/>
                    <a:pt x="2791" y="10271"/>
                    <a:pt x="2812" y="10187"/>
                  </a:cubicBezTo>
                  <a:cubicBezTo>
                    <a:pt x="2826" y="10138"/>
                    <a:pt x="2840" y="10086"/>
                    <a:pt x="2892" y="10068"/>
                  </a:cubicBezTo>
                  <a:cubicBezTo>
                    <a:pt x="2899" y="10067"/>
                    <a:pt x="2906" y="10067"/>
                    <a:pt x="2912" y="10067"/>
                  </a:cubicBezTo>
                  <a:cubicBezTo>
                    <a:pt x="2951" y="10067"/>
                    <a:pt x="2988" y="10084"/>
                    <a:pt x="3015" y="10114"/>
                  </a:cubicBezTo>
                  <a:cubicBezTo>
                    <a:pt x="3134" y="10222"/>
                    <a:pt x="3305" y="10506"/>
                    <a:pt x="3295" y="10691"/>
                  </a:cubicBezTo>
                  <a:cubicBezTo>
                    <a:pt x="3298" y="10747"/>
                    <a:pt x="3270" y="10800"/>
                    <a:pt x="3228" y="10831"/>
                  </a:cubicBezTo>
                  <a:cubicBezTo>
                    <a:pt x="3169" y="10873"/>
                    <a:pt x="3186" y="11013"/>
                    <a:pt x="3197" y="11125"/>
                  </a:cubicBezTo>
                  <a:cubicBezTo>
                    <a:pt x="3207" y="11192"/>
                    <a:pt x="3211" y="11258"/>
                    <a:pt x="3207" y="11325"/>
                  </a:cubicBezTo>
                  <a:cubicBezTo>
                    <a:pt x="3225" y="11337"/>
                    <a:pt x="3274" y="11346"/>
                    <a:pt x="3336" y="11346"/>
                  </a:cubicBezTo>
                  <a:cubicBezTo>
                    <a:pt x="3395" y="11346"/>
                    <a:pt x="3467" y="11338"/>
                    <a:pt x="3536" y="11318"/>
                  </a:cubicBezTo>
                  <a:cubicBezTo>
                    <a:pt x="3634" y="11290"/>
                    <a:pt x="3669" y="11251"/>
                    <a:pt x="3669" y="11237"/>
                  </a:cubicBezTo>
                  <a:cubicBezTo>
                    <a:pt x="3687" y="11160"/>
                    <a:pt x="3757" y="11097"/>
                    <a:pt x="3869" y="11069"/>
                  </a:cubicBezTo>
                  <a:cubicBezTo>
                    <a:pt x="3923" y="11056"/>
                    <a:pt x="3978" y="11050"/>
                    <a:pt x="4032" y="11050"/>
                  </a:cubicBezTo>
                  <a:cubicBezTo>
                    <a:pt x="4219" y="11050"/>
                    <a:pt x="4401" y="11128"/>
                    <a:pt x="4534" y="11269"/>
                  </a:cubicBezTo>
                  <a:cubicBezTo>
                    <a:pt x="4601" y="11349"/>
                    <a:pt x="4674" y="11419"/>
                    <a:pt x="4755" y="11482"/>
                  </a:cubicBezTo>
                  <a:cubicBezTo>
                    <a:pt x="4758" y="11465"/>
                    <a:pt x="4758" y="11444"/>
                    <a:pt x="4758" y="11423"/>
                  </a:cubicBezTo>
                  <a:cubicBezTo>
                    <a:pt x="4758" y="11241"/>
                    <a:pt x="4895" y="11017"/>
                    <a:pt x="5010" y="11013"/>
                  </a:cubicBezTo>
                  <a:cubicBezTo>
                    <a:pt x="5028" y="11013"/>
                    <a:pt x="5112" y="11017"/>
                    <a:pt x="5122" y="11139"/>
                  </a:cubicBezTo>
                  <a:cubicBezTo>
                    <a:pt x="5119" y="11174"/>
                    <a:pt x="5136" y="11202"/>
                    <a:pt x="5164" y="11220"/>
                  </a:cubicBezTo>
                  <a:cubicBezTo>
                    <a:pt x="5189" y="11235"/>
                    <a:pt x="5222" y="11243"/>
                    <a:pt x="5264" y="11243"/>
                  </a:cubicBezTo>
                  <a:cubicBezTo>
                    <a:pt x="5353" y="11243"/>
                    <a:pt x="5479" y="11208"/>
                    <a:pt x="5623" y="11143"/>
                  </a:cubicBezTo>
                  <a:cubicBezTo>
                    <a:pt x="5722" y="11098"/>
                    <a:pt x="5794" y="11071"/>
                    <a:pt x="5846" y="11071"/>
                  </a:cubicBezTo>
                  <a:cubicBezTo>
                    <a:pt x="5879" y="11071"/>
                    <a:pt x="5903" y="11081"/>
                    <a:pt x="5920" y="11104"/>
                  </a:cubicBezTo>
                  <a:cubicBezTo>
                    <a:pt x="5976" y="11174"/>
                    <a:pt x="5906" y="11258"/>
                    <a:pt x="5759" y="11440"/>
                  </a:cubicBezTo>
                  <a:lnTo>
                    <a:pt x="5714" y="11500"/>
                  </a:lnTo>
                  <a:cubicBezTo>
                    <a:pt x="5581" y="11664"/>
                    <a:pt x="5595" y="11874"/>
                    <a:pt x="5605" y="12046"/>
                  </a:cubicBezTo>
                  <a:cubicBezTo>
                    <a:pt x="5612" y="12200"/>
                    <a:pt x="5623" y="12361"/>
                    <a:pt x="5483" y="12396"/>
                  </a:cubicBezTo>
                  <a:cubicBezTo>
                    <a:pt x="5423" y="12410"/>
                    <a:pt x="5350" y="12512"/>
                    <a:pt x="5276" y="12606"/>
                  </a:cubicBezTo>
                  <a:cubicBezTo>
                    <a:pt x="5154" y="12771"/>
                    <a:pt x="5017" y="12956"/>
                    <a:pt x="4807" y="12981"/>
                  </a:cubicBezTo>
                  <a:cubicBezTo>
                    <a:pt x="4527" y="13012"/>
                    <a:pt x="4013" y="13569"/>
                    <a:pt x="3932" y="13681"/>
                  </a:cubicBezTo>
                  <a:cubicBezTo>
                    <a:pt x="3905" y="13715"/>
                    <a:pt x="3862" y="13727"/>
                    <a:pt x="3803" y="13727"/>
                  </a:cubicBezTo>
                  <a:cubicBezTo>
                    <a:pt x="3746" y="13727"/>
                    <a:pt x="3675" y="13716"/>
                    <a:pt x="3589" y="13702"/>
                  </a:cubicBezTo>
                  <a:cubicBezTo>
                    <a:pt x="3493" y="13686"/>
                    <a:pt x="3379" y="13667"/>
                    <a:pt x="3284" y="13667"/>
                  </a:cubicBezTo>
                  <a:cubicBezTo>
                    <a:pt x="3189" y="13667"/>
                    <a:pt x="3113" y="13686"/>
                    <a:pt x="3092" y="13747"/>
                  </a:cubicBezTo>
                  <a:cubicBezTo>
                    <a:pt x="3039" y="13894"/>
                    <a:pt x="2913" y="14021"/>
                    <a:pt x="2812" y="14122"/>
                  </a:cubicBezTo>
                  <a:cubicBezTo>
                    <a:pt x="2763" y="14164"/>
                    <a:pt x="2721" y="14213"/>
                    <a:pt x="2682" y="14266"/>
                  </a:cubicBezTo>
                  <a:cubicBezTo>
                    <a:pt x="2745" y="14259"/>
                    <a:pt x="2920" y="14192"/>
                    <a:pt x="3074" y="14091"/>
                  </a:cubicBezTo>
                  <a:cubicBezTo>
                    <a:pt x="3186" y="14017"/>
                    <a:pt x="3218" y="13968"/>
                    <a:pt x="3221" y="13957"/>
                  </a:cubicBezTo>
                  <a:cubicBezTo>
                    <a:pt x="3225" y="13922"/>
                    <a:pt x="3242" y="13828"/>
                    <a:pt x="3319" y="13803"/>
                  </a:cubicBezTo>
                  <a:cubicBezTo>
                    <a:pt x="3330" y="13801"/>
                    <a:pt x="3340" y="13800"/>
                    <a:pt x="3350" y="13800"/>
                  </a:cubicBezTo>
                  <a:cubicBezTo>
                    <a:pt x="3418" y="13800"/>
                    <a:pt x="3480" y="13857"/>
                    <a:pt x="3526" y="13912"/>
                  </a:cubicBezTo>
                  <a:cubicBezTo>
                    <a:pt x="3536" y="13922"/>
                    <a:pt x="3552" y="13926"/>
                    <a:pt x="3569" y="13926"/>
                  </a:cubicBezTo>
                  <a:cubicBezTo>
                    <a:pt x="3605" y="13926"/>
                    <a:pt x="3649" y="13910"/>
                    <a:pt x="3673" y="13898"/>
                  </a:cubicBezTo>
                  <a:cubicBezTo>
                    <a:pt x="3750" y="13863"/>
                    <a:pt x="3820" y="13817"/>
                    <a:pt x="3883" y="13761"/>
                  </a:cubicBezTo>
                  <a:cubicBezTo>
                    <a:pt x="3955" y="13696"/>
                    <a:pt x="4049" y="13679"/>
                    <a:pt x="4138" y="13679"/>
                  </a:cubicBezTo>
                  <a:cubicBezTo>
                    <a:pt x="4195" y="13679"/>
                    <a:pt x="4251" y="13686"/>
                    <a:pt x="4296" y="13691"/>
                  </a:cubicBezTo>
                  <a:lnTo>
                    <a:pt x="4335" y="13695"/>
                  </a:lnTo>
                  <a:cubicBezTo>
                    <a:pt x="4337" y="13695"/>
                    <a:pt x="4339" y="13695"/>
                    <a:pt x="4341" y="13695"/>
                  </a:cubicBezTo>
                  <a:cubicBezTo>
                    <a:pt x="4361" y="13695"/>
                    <a:pt x="4384" y="13682"/>
                    <a:pt x="4422" y="13656"/>
                  </a:cubicBezTo>
                  <a:cubicBezTo>
                    <a:pt x="4534" y="13576"/>
                    <a:pt x="4664" y="13523"/>
                    <a:pt x="4800" y="13502"/>
                  </a:cubicBezTo>
                  <a:cubicBezTo>
                    <a:pt x="5007" y="13464"/>
                    <a:pt x="5017" y="13425"/>
                    <a:pt x="5042" y="13334"/>
                  </a:cubicBezTo>
                  <a:cubicBezTo>
                    <a:pt x="5049" y="13292"/>
                    <a:pt x="5063" y="13254"/>
                    <a:pt x="5080" y="13215"/>
                  </a:cubicBezTo>
                  <a:cubicBezTo>
                    <a:pt x="5168" y="13009"/>
                    <a:pt x="5994" y="12638"/>
                    <a:pt x="6120" y="12606"/>
                  </a:cubicBezTo>
                  <a:cubicBezTo>
                    <a:pt x="6148" y="12599"/>
                    <a:pt x="6159" y="12578"/>
                    <a:pt x="6176" y="12508"/>
                  </a:cubicBezTo>
                  <a:cubicBezTo>
                    <a:pt x="6190" y="12438"/>
                    <a:pt x="6218" y="12326"/>
                    <a:pt x="6351" y="12316"/>
                  </a:cubicBezTo>
                  <a:cubicBezTo>
                    <a:pt x="6495" y="12305"/>
                    <a:pt x="6761" y="12085"/>
                    <a:pt x="6918" y="11955"/>
                  </a:cubicBezTo>
                  <a:cubicBezTo>
                    <a:pt x="7069" y="11829"/>
                    <a:pt x="7149" y="11822"/>
                    <a:pt x="7226" y="11811"/>
                  </a:cubicBezTo>
                  <a:cubicBezTo>
                    <a:pt x="7268" y="11808"/>
                    <a:pt x="7310" y="11801"/>
                    <a:pt x="7349" y="11783"/>
                  </a:cubicBezTo>
                  <a:cubicBezTo>
                    <a:pt x="7387" y="11769"/>
                    <a:pt x="7394" y="11713"/>
                    <a:pt x="7405" y="11626"/>
                  </a:cubicBezTo>
                  <a:cubicBezTo>
                    <a:pt x="7412" y="11531"/>
                    <a:pt x="7426" y="11402"/>
                    <a:pt x="7555" y="11381"/>
                  </a:cubicBezTo>
                  <a:cubicBezTo>
                    <a:pt x="7685" y="11360"/>
                    <a:pt x="7779" y="11269"/>
                    <a:pt x="7779" y="11167"/>
                  </a:cubicBezTo>
                  <a:cubicBezTo>
                    <a:pt x="7765" y="11139"/>
                    <a:pt x="7639" y="11108"/>
                    <a:pt x="7580" y="11094"/>
                  </a:cubicBezTo>
                  <a:cubicBezTo>
                    <a:pt x="7464" y="11062"/>
                    <a:pt x="7377" y="11041"/>
                    <a:pt x="7349" y="10975"/>
                  </a:cubicBezTo>
                  <a:cubicBezTo>
                    <a:pt x="7328" y="10933"/>
                    <a:pt x="7342" y="10877"/>
                    <a:pt x="7391" y="10814"/>
                  </a:cubicBezTo>
                  <a:cubicBezTo>
                    <a:pt x="7476" y="10698"/>
                    <a:pt x="7712" y="10495"/>
                    <a:pt x="7853" y="10495"/>
                  </a:cubicBezTo>
                  <a:cubicBezTo>
                    <a:pt x="7857" y="10495"/>
                    <a:pt x="7860" y="10495"/>
                    <a:pt x="7863" y="10495"/>
                  </a:cubicBezTo>
                  <a:cubicBezTo>
                    <a:pt x="8010" y="10485"/>
                    <a:pt x="8133" y="10376"/>
                    <a:pt x="8154" y="10229"/>
                  </a:cubicBezTo>
                  <a:cubicBezTo>
                    <a:pt x="8165" y="10075"/>
                    <a:pt x="8273" y="9998"/>
                    <a:pt x="8375" y="9925"/>
                  </a:cubicBezTo>
                  <a:cubicBezTo>
                    <a:pt x="8434" y="9883"/>
                    <a:pt x="8487" y="9837"/>
                    <a:pt x="8536" y="9788"/>
                  </a:cubicBezTo>
                  <a:cubicBezTo>
                    <a:pt x="8585" y="9735"/>
                    <a:pt x="8623" y="9676"/>
                    <a:pt x="8651" y="9613"/>
                  </a:cubicBezTo>
                  <a:cubicBezTo>
                    <a:pt x="8690" y="9532"/>
                    <a:pt x="8728" y="9448"/>
                    <a:pt x="8858" y="9438"/>
                  </a:cubicBezTo>
                  <a:cubicBezTo>
                    <a:pt x="8931" y="9431"/>
                    <a:pt x="9015" y="9357"/>
                    <a:pt x="9099" y="9280"/>
                  </a:cubicBezTo>
                  <a:cubicBezTo>
                    <a:pt x="9162" y="9217"/>
                    <a:pt x="9232" y="9165"/>
                    <a:pt x="9306" y="9119"/>
                  </a:cubicBezTo>
                  <a:cubicBezTo>
                    <a:pt x="9332" y="9098"/>
                    <a:pt x="9364" y="9087"/>
                    <a:pt x="9397" y="9087"/>
                  </a:cubicBezTo>
                  <a:cubicBezTo>
                    <a:pt x="9409" y="9087"/>
                    <a:pt x="9420" y="9089"/>
                    <a:pt x="9432" y="9091"/>
                  </a:cubicBezTo>
                  <a:cubicBezTo>
                    <a:pt x="9463" y="9102"/>
                    <a:pt x="9488" y="9130"/>
                    <a:pt x="9498" y="9161"/>
                  </a:cubicBezTo>
                  <a:cubicBezTo>
                    <a:pt x="9512" y="9196"/>
                    <a:pt x="9530" y="9238"/>
                    <a:pt x="9666" y="9245"/>
                  </a:cubicBezTo>
                  <a:cubicBezTo>
                    <a:pt x="9806" y="9249"/>
                    <a:pt x="9908" y="9305"/>
                    <a:pt x="9939" y="9392"/>
                  </a:cubicBezTo>
                  <a:cubicBezTo>
                    <a:pt x="9964" y="9448"/>
                    <a:pt x="9950" y="9515"/>
                    <a:pt x="9904" y="9557"/>
                  </a:cubicBezTo>
                  <a:cubicBezTo>
                    <a:pt x="9871" y="9588"/>
                    <a:pt x="9827" y="9604"/>
                    <a:pt x="9776" y="9604"/>
                  </a:cubicBezTo>
                  <a:cubicBezTo>
                    <a:pt x="9737" y="9604"/>
                    <a:pt x="9694" y="9594"/>
                    <a:pt x="9649" y="9574"/>
                  </a:cubicBezTo>
                  <a:cubicBezTo>
                    <a:pt x="9561" y="9535"/>
                    <a:pt x="9495" y="9513"/>
                    <a:pt x="9435" y="9513"/>
                  </a:cubicBezTo>
                  <a:cubicBezTo>
                    <a:pt x="9348" y="9513"/>
                    <a:pt x="9271" y="9559"/>
                    <a:pt x="9152" y="9672"/>
                  </a:cubicBezTo>
                  <a:cubicBezTo>
                    <a:pt x="9054" y="9767"/>
                    <a:pt x="9050" y="9816"/>
                    <a:pt x="9043" y="9886"/>
                  </a:cubicBezTo>
                  <a:cubicBezTo>
                    <a:pt x="9040" y="9984"/>
                    <a:pt x="9005" y="10082"/>
                    <a:pt x="8942" y="10163"/>
                  </a:cubicBezTo>
                  <a:cubicBezTo>
                    <a:pt x="8812" y="10338"/>
                    <a:pt x="8823" y="10401"/>
                    <a:pt x="8830" y="10415"/>
                  </a:cubicBezTo>
                  <a:cubicBezTo>
                    <a:pt x="8844" y="10443"/>
                    <a:pt x="8900" y="10453"/>
                    <a:pt x="8931" y="10457"/>
                  </a:cubicBezTo>
                  <a:cubicBezTo>
                    <a:pt x="9050" y="10471"/>
                    <a:pt x="9082" y="10523"/>
                    <a:pt x="9085" y="10565"/>
                  </a:cubicBezTo>
                  <a:cubicBezTo>
                    <a:pt x="9096" y="10698"/>
                    <a:pt x="8847" y="10800"/>
                    <a:pt x="8749" y="10828"/>
                  </a:cubicBezTo>
                  <a:cubicBezTo>
                    <a:pt x="8739" y="10831"/>
                    <a:pt x="8728" y="10835"/>
                    <a:pt x="8718" y="10842"/>
                  </a:cubicBezTo>
                  <a:cubicBezTo>
                    <a:pt x="8784" y="10870"/>
                    <a:pt x="8856" y="10884"/>
                    <a:pt x="8925" y="10884"/>
                  </a:cubicBezTo>
                  <a:cubicBezTo>
                    <a:pt x="8933" y="10884"/>
                    <a:pt x="8941" y="10884"/>
                    <a:pt x="8949" y="10884"/>
                  </a:cubicBezTo>
                  <a:cubicBezTo>
                    <a:pt x="9103" y="10884"/>
                    <a:pt x="9320" y="10737"/>
                    <a:pt x="9547" y="10579"/>
                  </a:cubicBezTo>
                  <a:cubicBezTo>
                    <a:pt x="9691" y="10474"/>
                    <a:pt x="9845" y="10380"/>
                    <a:pt x="9999" y="10296"/>
                  </a:cubicBezTo>
                  <a:cubicBezTo>
                    <a:pt x="10144" y="10223"/>
                    <a:pt x="10275" y="10201"/>
                    <a:pt x="10390" y="10201"/>
                  </a:cubicBezTo>
                  <a:cubicBezTo>
                    <a:pt x="10502" y="10201"/>
                    <a:pt x="10598" y="10222"/>
                    <a:pt x="10675" y="10240"/>
                  </a:cubicBezTo>
                  <a:cubicBezTo>
                    <a:pt x="10710" y="10247"/>
                    <a:pt x="10741" y="10254"/>
                    <a:pt x="10776" y="10257"/>
                  </a:cubicBezTo>
                  <a:cubicBezTo>
                    <a:pt x="10769" y="10247"/>
                    <a:pt x="10766" y="10236"/>
                    <a:pt x="10762" y="10226"/>
                  </a:cubicBezTo>
                  <a:cubicBezTo>
                    <a:pt x="10738" y="10177"/>
                    <a:pt x="10706" y="10114"/>
                    <a:pt x="10731" y="10054"/>
                  </a:cubicBezTo>
                  <a:cubicBezTo>
                    <a:pt x="10738" y="10033"/>
                    <a:pt x="10748" y="10016"/>
                    <a:pt x="10766" y="10002"/>
                  </a:cubicBezTo>
                  <a:lnTo>
                    <a:pt x="10759" y="9998"/>
                  </a:lnTo>
                  <a:cubicBezTo>
                    <a:pt x="10685" y="9949"/>
                    <a:pt x="10577" y="9872"/>
                    <a:pt x="10524" y="9735"/>
                  </a:cubicBezTo>
                  <a:cubicBezTo>
                    <a:pt x="10500" y="9658"/>
                    <a:pt x="10496" y="9609"/>
                    <a:pt x="10517" y="9567"/>
                  </a:cubicBezTo>
                  <a:cubicBezTo>
                    <a:pt x="10542" y="9525"/>
                    <a:pt x="10580" y="9501"/>
                    <a:pt x="10626" y="9494"/>
                  </a:cubicBezTo>
                  <a:cubicBezTo>
                    <a:pt x="10675" y="9480"/>
                    <a:pt x="10696" y="9473"/>
                    <a:pt x="10706" y="9427"/>
                  </a:cubicBezTo>
                  <a:cubicBezTo>
                    <a:pt x="10717" y="9361"/>
                    <a:pt x="10762" y="9305"/>
                    <a:pt x="10825" y="9277"/>
                  </a:cubicBezTo>
                  <a:cubicBezTo>
                    <a:pt x="10843" y="9270"/>
                    <a:pt x="10862" y="9267"/>
                    <a:pt x="10880" y="9267"/>
                  </a:cubicBezTo>
                  <a:cubicBezTo>
                    <a:pt x="10954" y="9267"/>
                    <a:pt x="11034" y="9315"/>
                    <a:pt x="11109" y="9368"/>
                  </a:cubicBezTo>
                  <a:cubicBezTo>
                    <a:pt x="11125" y="9378"/>
                    <a:pt x="11143" y="9381"/>
                    <a:pt x="11166" y="9381"/>
                  </a:cubicBezTo>
                  <a:cubicBezTo>
                    <a:pt x="11183" y="9381"/>
                    <a:pt x="11201" y="9380"/>
                    <a:pt x="11224" y="9378"/>
                  </a:cubicBezTo>
                  <a:cubicBezTo>
                    <a:pt x="11245" y="9376"/>
                    <a:pt x="11268" y="9373"/>
                    <a:pt x="11292" y="9373"/>
                  </a:cubicBezTo>
                  <a:cubicBezTo>
                    <a:pt x="11371" y="9373"/>
                    <a:pt x="11465" y="9400"/>
                    <a:pt x="11532" y="9539"/>
                  </a:cubicBezTo>
                  <a:cubicBezTo>
                    <a:pt x="11551" y="9579"/>
                    <a:pt x="11561" y="9594"/>
                    <a:pt x="11582" y="9594"/>
                  </a:cubicBezTo>
                  <a:cubicBezTo>
                    <a:pt x="11595" y="9594"/>
                    <a:pt x="11613" y="9588"/>
                    <a:pt x="11641" y="9578"/>
                  </a:cubicBezTo>
                  <a:cubicBezTo>
                    <a:pt x="11675" y="9566"/>
                    <a:pt x="11719" y="9549"/>
                    <a:pt x="11771" y="9549"/>
                  </a:cubicBezTo>
                  <a:cubicBezTo>
                    <a:pt x="11821" y="9549"/>
                    <a:pt x="11878" y="9565"/>
                    <a:pt x="11938" y="9613"/>
                  </a:cubicBezTo>
                  <a:cubicBezTo>
                    <a:pt x="11994" y="9658"/>
                    <a:pt x="12050" y="9714"/>
                    <a:pt x="12033" y="9781"/>
                  </a:cubicBezTo>
                  <a:cubicBezTo>
                    <a:pt x="12029" y="9798"/>
                    <a:pt x="12022" y="9812"/>
                    <a:pt x="12008" y="9823"/>
                  </a:cubicBezTo>
                  <a:cubicBezTo>
                    <a:pt x="12078" y="9827"/>
                    <a:pt x="12145" y="9858"/>
                    <a:pt x="12197" y="9907"/>
                  </a:cubicBezTo>
                  <a:cubicBezTo>
                    <a:pt x="12240" y="9946"/>
                    <a:pt x="12266" y="9966"/>
                    <a:pt x="12293" y="9966"/>
                  </a:cubicBezTo>
                  <a:cubicBezTo>
                    <a:pt x="12328" y="9966"/>
                    <a:pt x="12362" y="9931"/>
                    <a:pt x="12432" y="9862"/>
                  </a:cubicBezTo>
                  <a:cubicBezTo>
                    <a:pt x="12452" y="9841"/>
                    <a:pt x="12499" y="9795"/>
                    <a:pt x="12555" y="9795"/>
                  </a:cubicBezTo>
                  <a:cubicBezTo>
                    <a:pt x="12568" y="9795"/>
                    <a:pt x="12580" y="9797"/>
                    <a:pt x="12593" y="9802"/>
                  </a:cubicBezTo>
                  <a:cubicBezTo>
                    <a:pt x="12663" y="9830"/>
                    <a:pt x="12667" y="9928"/>
                    <a:pt x="12667" y="10012"/>
                  </a:cubicBezTo>
                  <a:cubicBezTo>
                    <a:pt x="12702" y="10058"/>
                    <a:pt x="12961" y="10100"/>
                    <a:pt x="13167" y="10135"/>
                  </a:cubicBezTo>
                  <a:lnTo>
                    <a:pt x="13230" y="10145"/>
                  </a:lnTo>
                  <a:cubicBezTo>
                    <a:pt x="13320" y="10160"/>
                    <a:pt x="13429" y="10166"/>
                    <a:pt x="13544" y="10166"/>
                  </a:cubicBezTo>
                  <a:cubicBezTo>
                    <a:pt x="13801" y="10166"/>
                    <a:pt x="14088" y="10137"/>
                    <a:pt x="14266" y="10121"/>
                  </a:cubicBezTo>
                  <a:cubicBezTo>
                    <a:pt x="14326" y="10117"/>
                    <a:pt x="14372" y="10114"/>
                    <a:pt x="14403" y="10110"/>
                  </a:cubicBezTo>
                  <a:cubicBezTo>
                    <a:pt x="14408" y="10110"/>
                    <a:pt x="14413" y="10110"/>
                    <a:pt x="14418" y="10110"/>
                  </a:cubicBezTo>
                  <a:cubicBezTo>
                    <a:pt x="14516" y="10110"/>
                    <a:pt x="14563" y="10176"/>
                    <a:pt x="14606" y="10236"/>
                  </a:cubicBezTo>
                  <a:cubicBezTo>
                    <a:pt x="14669" y="10348"/>
                    <a:pt x="14778" y="10422"/>
                    <a:pt x="14904" y="10439"/>
                  </a:cubicBezTo>
                  <a:cubicBezTo>
                    <a:pt x="14928" y="10444"/>
                    <a:pt x="14950" y="10446"/>
                    <a:pt x="14972" y="10446"/>
                  </a:cubicBezTo>
                  <a:cubicBezTo>
                    <a:pt x="15100" y="10446"/>
                    <a:pt x="15183" y="10371"/>
                    <a:pt x="15264" y="10299"/>
                  </a:cubicBezTo>
                  <a:cubicBezTo>
                    <a:pt x="15330" y="10243"/>
                    <a:pt x="15399" y="10183"/>
                    <a:pt x="15478" y="10183"/>
                  </a:cubicBezTo>
                  <a:cubicBezTo>
                    <a:pt x="15516" y="10183"/>
                    <a:pt x="15557" y="10197"/>
                    <a:pt x="15600" y="10233"/>
                  </a:cubicBezTo>
                  <a:cubicBezTo>
                    <a:pt x="15646" y="10271"/>
                    <a:pt x="15709" y="10331"/>
                    <a:pt x="15709" y="10408"/>
                  </a:cubicBezTo>
                  <a:cubicBezTo>
                    <a:pt x="15709" y="10485"/>
                    <a:pt x="15642" y="10544"/>
                    <a:pt x="15576" y="10597"/>
                  </a:cubicBezTo>
                  <a:cubicBezTo>
                    <a:pt x="15548" y="10618"/>
                    <a:pt x="15523" y="10642"/>
                    <a:pt x="15499" y="10667"/>
                  </a:cubicBezTo>
                  <a:lnTo>
                    <a:pt x="15492" y="10674"/>
                  </a:lnTo>
                  <a:cubicBezTo>
                    <a:pt x="15530" y="10691"/>
                    <a:pt x="15569" y="10705"/>
                    <a:pt x="15611" y="10716"/>
                  </a:cubicBezTo>
                  <a:cubicBezTo>
                    <a:pt x="15653" y="10726"/>
                    <a:pt x="15698" y="10740"/>
                    <a:pt x="15740" y="10758"/>
                  </a:cubicBezTo>
                  <a:cubicBezTo>
                    <a:pt x="15772" y="10772"/>
                    <a:pt x="15810" y="10786"/>
                    <a:pt x="15856" y="10803"/>
                  </a:cubicBezTo>
                  <a:cubicBezTo>
                    <a:pt x="16031" y="10866"/>
                    <a:pt x="16269" y="10954"/>
                    <a:pt x="16405" y="11087"/>
                  </a:cubicBezTo>
                  <a:cubicBezTo>
                    <a:pt x="16441" y="11122"/>
                    <a:pt x="16472" y="11157"/>
                    <a:pt x="16500" y="11192"/>
                  </a:cubicBezTo>
                  <a:cubicBezTo>
                    <a:pt x="16647" y="11363"/>
                    <a:pt x="16826" y="11503"/>
                    <a:pt x="17032" y="11598"/>
                  </a:cubicBezTo>
                  <a:cubicBezTo>
                    <a:pt x="17080" y="11623"/>
                    <a:pt x="17104" y="11627"/>
                    <a:pt x="17114" y="11627"/>
                  </a:cubicBezTo>
                  <a:cubicBezTo>
                    <a:pt x="17118" y="11627"/>
                    <a:pt x="17120" y="11626"/>
                    <a:pt x="17120" y="11626"/>
                  </a:cubicBezTo>
                  <a:cubicBezTo>
                    <a:pt x="17130" y="11584"/>
                    <a:pt x="17130" y="11538"/>
                    <a:pt x="17123" y="11493"/>
                  </a:cubicBezTo>
                  <a:cubicBezTo>
                    <a:pt x="17116" y="11405"/>
                    <a:pt x="17113" y="11328"/>
                    <a:pt x="17176" y="11290"/>
                  </a:cubicBezTo>
                  <a:cubicBezTo>
                    <a:pt x="17193" y="11281"/>
                    <a:pt x="17210" y="11277"/>
                    <a:pt x="17227" y="11277"/>
                  </a:cubicBezTo>
                  <a:cubicBezTo>
                    <a:pt x="17273" y="11277"/>
                    <a:pt x="17316" y="11307"/>
                    <a:pt x="17354" y="11335"/>
                  </a:cubicBezTo>
                  <a:cubicBezTo>
                    <a:pt x="17491" y="11433"/>
                    <a:pt x="17529" y="11437"/>
                    <a:pt x="17561" y="11437"/>
                  </a:cubicBezTo>
                  <a:cubicBezTo>
                    <a:pt x="17624" y="11444"/>
                    <a:pt x="17669" y="11454"/>
                    <a:pt x="17799" y="11570"/>
                  </a:cubicBezTo>
                  <a:cubicBezTo>
                    <a:pt x="17813" y="11584"/>
                    <a:pt x="17827" y="11594"/>
                    <a:pt x="17844" y="11608"/>
                  </a:cubicBezTo>
                  <a:cubicBezTo>
                    <a:pt x="17841" y="11510"/>
                    <a:pt x="17771" y="11283"/>
                    <a:pt x="17739" y="11178"/>
                  </a:cubicBezTo>
                  <a:cubicBezTo>
                    <a:pt x="17708" y="11069"/>
                    <a:pt x="17680" y="10947"/>
                    <a:pt x="17760" y="10912"/>
                  </a:cubicBezTo>
                  <a:cubicBezTo>
                    <a:pt x="17771" y="10906"/>
                    <a:pt x="17783" y="10904"/>
                    <a:pt x="17795" y="10904"/>
                  </a:cubicBezTo>
                  <a:cubicBezTo>
                    <a:pt x="17885" y="10904"/>
                    <a:pt x="17995" y="11044"/>
                    <a:pt x="18075" y="11171"/>
                  </a:cubicBezTo>
                  <a:cubicBezTo>
                    <a:pt x="18198" y="11363"/>
                    <a:pt x="18194" y="11713"/>
                    <a:pt x="18121" y="11941"/>
                  </a:cubicBezTo>
                  <a:cubicBezTo>
                    <a:pt x="18086" y="12037"/>
                    <a:pt x="18006" y="12089"/>
                    <a:pt x="17905" y="12089"/>
                  </a:cubicBezTo>
                  <a:cubicBezTo>
                    <a:pt x="17874" y="12089"/>
                    <a:pt x="17840" y="12084"/>
                    <a:pt x="17806" y="12074"/>
                  </a:cubicBezTo>
                  <a:cubicBezTo>
                    <a:pt x="17683" y="12036"/>
                    <a:pt x="17575" y="11941"/>
                    <a:pt x="17589" y="11839"/>
                  </a:cubicBezTo>
                  <a:cubicBezTo>
                    <a:pt x="17577" y="11838"/>
                    <a:pt x="17565" y="11837"/>
                    <a:pt x="17553" y="11837"/>
                  </a:cubicBezTo>
                  <a:cubicBezTo>
                    <a:pt x="17506" y="11837"/>
                    <a:pt x="17459" y="11849"/>
                    <a:pt x="17414" y="11871"/>
                  </a:cubicBezTo>
                  <a:cubicBezTo>
                    <a:pt x="17396" y="11881"/>
                    <a:pt x="17351" y="11906"/>
                    <a:pt x="17347" y="11941"/>
                  </a:cubicBezTo>
                  <a:cubicBezTo>
                    <a:pt x="17340" y="12071"/>
                    <a:pt x="17578" y="12375"/>
                    <a:pt x="17743" y="12403"/>
                  </a:cubicBezTo>
                  <a:cubicBezTo>
                    <a:pt x="17907" y="12435"/>
                    <a:pt x="17907" y="12592"/>
                    <a:pt x="17907" y="12687"/>
                  </a:cubicBezTo>
                  <a:cubicBezTo>
                    <a:pt x="17907" y="12718"/>
                    <a:pt x="17911" y="12753"/>
                    <a:pt x="17918" y="12785"/>
                  </a:cubicBezTo>
                  <a:cubicBezTo>
                    <a:pt x="18037" y="12820"/>
                    <a:pt x="18086" y="12942"/>
                    <a:pt x="18117" y="13030"/>
                  </a:cubicBezTo>
                  <a:cubicBezTo>
                    <a:pt x="18124" y="13044"/>
                    <a:pt x="18131" y="13061"/>
                    <a:pt x="18138" y="13075"/>
                  </a:cubicBezTo>
                  <a:cubicBezTo>
                    <a:pt x="18159" y="12988"/>
                    <a:pt x="18138" y="12739"/>
                    <a:pt x="18051" y="12603"/>
                  </a:cubicBezTo>
                  <a:cubicBezTo>
                    <a:pt x="17963" y="12463"/>
                    <a:pt x="17956" y="12288"/>
                    <a:pt x="18030" y="12190"/>
                  </a:cubicBezTo>
                  <a:cubicBezTo>
                    <a:pt x="18060" y="12152"/>
                    <a:pt x="18106" y="12129"/>
                    <a:pt x="18154" y="12129"/>
                  </a:cubicBezTo>
                  <a:cubicBezTo>
                    <a:pt x="18173" y="12129"/>
                    <a:pt x="18193" y="12133"/>
                    <a:pt x="18212" y="12141"/>
                  </a:cubicBezTo>
                  <a:cubicBezTo>
                    <a:pt x="18345" y="12183"/>
                    <a:pt x="18327" y="12330"/>
                    <a:pt x="18313" y="12424"/>
                  </a:cubicBezTo>
                  <a:cubicBezTo>
                    <a:pt x="18306" y="12463"/>
                    <a:pt x="18306" y="12505"/>
                    <a:pt x="18310" y="12543"/>
                  </a:cubicBezTo>
                  <a:cubicBezTo>
                    <a:pt x="18338" y="12526"/>
                    <a:pt x="18362" y="12505"/>
                    <a:pt x="18383" y="12484"/>
                  </a:cubicBezTo>
                  <a:cubicBezTo>
                    <a:pt x="18436" y="12431"/>
                    <a:pt x="18495" y="12389"/>
                    <a:pt x="18559" y="12351"/>
                  </a:cubicBezTo>
                  <a:cubicBezTo>
                    <a:pt x="18601" y="12326"/>
                    <a:pt x="18594" y="12274"/>
                    <a:pt x="18548" y="12141"/>
                  </a:cubicBezTo>
                  <a:cubicBezTo>
                    <a:pt x="18517" y="12046"/>
                    <a:pt x="18481" y="11945"/>
                    <a:pt x="18517" y="11860"/>
                  </a:cubicBezTo>
                  <a:cubicBezTo>
                    <a:pt x="18533" y="11814"/>
                    <a:pt x="18575" y="11780"/>
                    <a:pt x="18625" y="11780"/>
                  </a:cubicBezTo>
                  <a:cubicBezTo>
                    <a:pt x="18627" y="11780"/>
                    <a:pt x="18630" y="11780"/>
                    <a:pt x="18632" y="11780"/>
                  </a:cubicBezTo>
                  <a:cubicBezTo>
                    <a:pt x="18772" y="11787"/>
                    <a:pt x="18916" y="12060"/>
                    <a:pt x="18968" y="12246"/>
                  </a:cubicBezTo>
                  <a:cubicBezTo>
                    <a:pt x="19024" y="12442"/>
                    <a:pt x="18916" y="12522"/>
                    <a:pt x="18846" y="12575"/>
                  </a:cubicBezTo>
                  <a:cubicBezTo>
                    <a:pt x="18807" y="12606"/>
                    <a:pt x="18790" y="12620"/>
                    <a:pt x="18790" y="12638"/>
                  </a:cubicBezTo>
                  <a:cubicBezTo>
                    <a:pt x="18790" y="12774"/>
                    <a:pt x="18653" y="12795"/>
                    <a:pt x="18569" y="12806"/>
                  </a:cubicBezTo>
                  <a:cubicBezTo>
                    <a:pt x="18534" y="12806"/>
                    <a:pt x="18499" y="12816"/>
                    <a:pt x="18467" y="12830"/>
                  </a:cubicBezTo>
                  <a:cubicBezTo>
                    <a:pt x="18429" y="12883"/>
                    <a:pt x="18450" y="13177"/>
                    <a:pt x="18488" y="13268"/>
                  </a:cubicBezTo>
                  <a:cubicBezTo>
                    <a:pt x="18506" y="13240"/>
                    <a:pt x="18520" y="13212"/>
                    <a:pt x="18534" y="13180"/>
                  </a:cubicBezTo>
                  <a:cubicBezTo>
                    <a:pt x="18568" y="13102"/>
                    <a:pt x="18596" y="13037"/>
                    <a:pt x="18662" y="13037"/>
                  </a:cubicBezTo>
                  <a:cubicBezTo>
                    <a:pt x="18664" y="13037"/>
                    <a:pt x="18665" y="13037"/>
                    <a:pt x="18667" y="13037"/>
                  </a:cubicBezTo>
                  <a:cubicBezTo>
                    <a:pt x="18737" y="13040"/>
                    <a:pt x="18751" y="13110"/>
                    <a:pt x="18762" y="13138"/>
                  </a:cubicBezTo>
                  <a:cubicBezTo>
                    <a:pt x="18786" y="13121"/>
                    <a:pt x="18811" y="13100"/>
                    <a:pt x="18832" y="13079"/>
                  </a:cubicBezTo>
                  <a:cubicBezTo>
                    <a:pt x="18890" y="13024"/>
                    <a:pt x="18945" y="12974"/>
                    <a:pt x="19005" y="12974"/>
                  </a:cubicBezTo>
                  <a:cubicBezTo>
                    <a:pt x="19014" y="12974"/>
                    <a:pt x="19022" y="12975"/>
                    <a:pt x="19031" y="12977"/>
                  </a:cubicBezTo>
                  <a:cubicBezTo>
                    <a:pt x="19070" y="12988"/>
                    <a:pt x="19101" y="13019"/>
                    <a:pt x="19112" y="13061"/>
                  </a:cubicBezTo>
                  <a:lnTo>
                    <a:pt x="19112" y="13047"/>
                  </a:lnTo>
                  <a:cubicBezTo>
                    <a:pt x="19112" y="12942"/>
                    <a:pt x="19178" y="12827"/>
                    <a:pt x="19301" y="12816"/>
                  </a:cubicBezTo>
                  <a:cubicBezTo>
                    <a:pt x="19306" y="12816"/>
                    <a:pt x="19311" y="12815"/>
                    <a:pt x="19316" y="12815"/>
                  </a:cubicBezTo>
                  <a:cubicBezTo>
                    <a:pt x="19382" y="12815"/>
                    <a:pt x="19454" y="12857"/>
                    <a:pt x="19535" y="12939"/>
                  </a:cubicBezTo>
                  <a:cubicBezTo>
                    <a:pt x="19665" y="13072"/>
                    <a:pt x="19805" y="13306"/>
                    <a:pt x="19798" y="13432"/>
                  </a:cubicBezTo>
                  <a:cubicBezTo>
                    <a:pt x="19787" y="13558"/>
                    <a:pt x="19714" y="13597"/>
                    <a:pt x="19640" y="13642"/>
                  </a:cubicBezTo>
                  <a:cubicBezTo>
                    <a:pt x="19591" y="13670"/>
                    <a:pt x="19542" y="13709"/>
                    <a:pt x="19500" y="13751"/>
                  </a:cubicBezTo>
                  <a:cubicBezTo>
                    <a:pt x="19472" y="13782"/>
                    <a:pt x="19434" y="13803"/>
                    <a:pt x="19392" y="13807"/>
                  </a:cubicBezTo>
                  <a:lnTo>
                    <a:pt x="19385" y="13807"/>
                  </a:lnTo>
                  <a:cubicBezTo>
                    <a:pt x="19297" y="13807"/>
                    <a:pt x="19227" y="13733"/>
                    <a:pt x="19150" y="13660"/>
                  </a:cubicBezTo>
                  <a:cubicBezTo>
                    <a:pt x="19099" y="13609"/>
                    <a:pt x="19028" y="13541"/>
                    <a:pt x="18988" y="13541"/>
                  </a:cubicBezTo>
                  <a:cubicBezTo>
                    <a:pt x="18987" y="13541"/>
                    <a:pt x="18987" y="13541"/>
                    <a:pt x="18986" y="13541"/>
                  </a:cubicBezTo>
                  <a:lnTo>
                    <a:pt x="18979" y="13541"/>
                  </a:lnTo>
                  <a:cubicBezTo>
                    <a:pt x="18972" y="13579"/>
                    <a:pt x="19031" y="13702"/>
                    <a:pt x="19063" y="13765"/>
                  </a:cubicBezTo>
                  <a:cubicBezTo>
                    <a:pt x="19080" y="13803"/>
                    <a:pt x="19098" y="13838"/>
                    <a:pt x="19112" y="13873"/>
                  </a:cubicBezTo>
                  <a:cubicBezTo>
                    <a:pt x="19154" y="13968"/>
                    <a:pt x="19119" y="14070"/>
                    <a:pt x="19087" y="14157"/>
                  </a:cubicBezTo>
                  <a:cubicBezTo>
                    <a:pt x="19042" y="14283"/>
                    <a:pt x="19031" y="14332"/>
                    <a:pt x="19101" y="14378"/>
                  </a:cubicBezTo>
                  <a:cubicBezTo>
                    <a:pt x="19119" y="14392"/>
                    <a:pt x="19136" y="14402"/>
                    <a:pt x="19157" y="14409"/>
                  </a:cubicBezTo>
                  <a:cubicBezTo>
                    <a:pt x="19161" y="14385"/>
                    <a:pt x="19164" y="14364"/>
                    <a:pt x="19168" y="14339"/>
                  </a:cubicBezTo>
                  <a:cubicBezTo>
                    <a:pt x="19168" y="14301"/>
                    <a:pt x="19175" y="14266"/>
                    <a:pt x="19185" y="14227"/>
                  </a:cubicBezTo>
                  <a:cubicBezTo>
                    <a:pt x="19199" y="14192"/>
                    <a:pt x="19227" y="14164"/>
                    <a:pt x="19262" y="14154"/>
                  </a:cubicBezTo>
                  <a:cubicBezTo>
                    <a:pt x="19273" y="14151"/>
                    <a:pt x="19284" y="14150"/>
                    <a:pt x="19296" y="14150"/>
                  </a:cubicBezTo>
                  <a:cubicBezTo>
                    <a:pt x="19375" y="14150"/>
                    <a:pt x="19467" y="14211"/>
                    <a:pt x="19574" y="14297"/>
                  </a:cubicBezTo>
                  <a:cubicBezTo>
                    <a:pt x="19598" y="14220"/>
                    <a:pt x="19609" y="14140"/>
                    <a:pt x="19605" y="14059"/>
                  </a:cubicBezTo>
                  <a:cubicBezTo>
                    <a:pt x="19602" y="14003"/>
                    <a:pt x="19637" y="13957"/>
                    <a:pt x="19686" y="13943"/>
                  </a:cubicBezTo>
                  <a:cubicBezTo>
                    <a:pt x="19698" y="13939"/>
                    <a:pt x="19712" y="13938"/>
                    <a:pt x="19726" y="13938"/>
                  </a:cubicBezTo>
                  <a:cubicBezTo>
                    <a:pt x="19812" y="13938"/>
                    <a:pt x="19925" y="14006"/>
                    <a:pt x="19997" y="14108"/>
                  </a:cubicBezTo>
                  <a:lnTo>
                    <a:pt x="20008" y="14094"/>
                  </a:lnTo>
                  <a:cubicBezTo>
                    <a:pt x="20040" y="14040"/>
                    <a:pt x="20091" y="13955"/>
                    <a:pt x="20184" y="13955"/>
                  </a:cubicBezTo>
                  <a:cubicBezTo>
                    <a:pt x="20194" y="13955"/>
                    <a:pt x="20204" y="13956"/>
                    <a:pt x="20214" y="13957"/>
                  </a:cubicBezTo>
                  <a:cubicBezTo>
                    <a:pt x="20291" y="13968"/>
                    <a:pt x="20344" y="14031"/>
                    <a:pt x="20347" y="14108"/>
                  </a:cubicBezTo>
                  <a:cubicBezTo>
                    <a:pt x="20351" y="14168"/>
                    <a:pt x="20344" y="14231"/>
                    <a:pt x="20330" y="14294"/>
                  </a:cubicBezTo>
                  <a:cubicBezTo>
                    <a:pt x="20326" y="14322"/>
                    <a:pt x="20323" y="14350"/>
                    <a:pt x="20319" y="14374"/>
                  </a:cubicBezTo>
                  <a:lnTo>
                    <a:pt x="20351" y="14364"/>
                  </a:lnTo>
                  <a:cubicBezTo>
                    <a:pt x="20387" y="14348"/>
                    <a:pt x="20424" y="14332"/>
                    <a:pt x="20459" y="14332"/>
                  </a:cubicBezTo>
                  <a:cubicBezTo>
                    <a:pt x="20479" y="14332"/>
                    <a:pt x="20498" y="14337"/>
                    <a:pt x="20515" y="14350"/>
                  </a:cubicBezTo>
                  <a:cubicBezTo>
                    <a:pt x="20526" y="14360"/>
                    <a:pt x="20533" y="14371"/>
                    <a:pt x="20540" y="14385"/>
                  </a:cubicBezTo>
                  <a:lnTo>
                    <a:pt x="20603" y="14339"/>
                  </a:lnTo>
                  <a:lnTo>
                    <a:pt x="20621" y="14329"/>
                  </a:lnTo>
                  <a:lnTo>
                    <a:pt x="20677" y="14290"/>
                  </a:lnTo>
                  <a:lnTo>
                    <a:pt x="20694" y="14276"/>
                  </a:lnTo>
                  <a:lnTo>
                    <a:pt x="20743" y="14241"/>
                  </a:lnTo>
                  <a:lnTo>
                    <a:pt x="20761" y="14231"/>
                  </a:lnTo>
                  <a:lnTo>
                    <a:pt x="20817" y="14192"/>
                  </a:lnTo>
                  <a:cubicBezTo>
                    <a:pt x="20848" y="14171"/>
                    <a:pt x="20869" y="14147"/>
                    <a:pt x="20869" y="14136"/>
                  </a:cubicBezTo>
                  <a:cubicBezTo>
                    <a:pt x="20873" y="14112"/>
                    <a:pt x="20827" y="14066"/>
                    <a:pt x="20792" y="14028"/>
                  </a:cubicBezTo>
                  <a:lnTo>
                    <a:pt x="20782" y="14014"/>
                  </a:lnTo>
                  <a:cubicBezTo>
                    <a:pt x="20750" y="13982"/>
                    <a:pt x="20726" y="13950"/>
                    <a:pt x="20701" y="13915"/>
                  </a:cubicBezTo>
                  <a:cubicBezTo>
                    <a:pt x="20663" y="13859"/>
                    <a:pt x="20656" y="13786"/>
                    <a:pt x="20680" y="13723"/>
                  </a:cubicBezTo>
                  <a:cubicBezTo>
                    <a:pt x="20726" y="13604"/>
                    <a:pt x="20761" y="13516"/>
                    <a:pt x="20557" y="13394"/>
                  </a:cubicBezTo>
                  <a:cubicBezTo>
                    <a:pt x="20540" y="13380"/>
                    <a:pt x="20522" y="13369"/>
                    <a:pt x="20498" y="13359"/>
                  </a:cubicBezTo>
                  <a:cubicBezTo>
                    <a:pt x="20403" y="13310"/>
                    <a:pt x="20302" y="13264"/>
                    <a:pt x="20200" y="13226"/>
                  </a:cubicBezTo>
                  <a:cubicBezTo>
                    <a:pt x="19703" y="13030"/>
                    <a:pt x="19626" y="12876"/>
                    <a:pt x="19423" y="12473"/>
                  </a:cubicBezTo>
                  <a:cubicBezTo>
                    <a:pt x="19364" y="12358"/>
                    <a:pt x="19290" y="12218"/>
                    <a:pt x="19196" y="12046"/>
                  </a:cubicBezTo>
                  <a:cubicBezTo>
                    <a:pt x="18975" y="11654"/>
                    <a:pt x="18657" y="11384"/>
                    <a:pt x="18404" y="11167"/>
                  </a:cubicBezTo>
                  <a:cubicBezTo>
                    <a:pt x="18173" y="10971"/>
                    <a:pt x="18009" y="10828"/>
                    <a:pt x="18009" y="10674"/>
                  </a:cubicBezTo>
                  <a:cubicBezTo>
                    <a:pt x="18009" y="10653"/>
                    <a:pt x="17998" y="10632"/>
                    <a:pt x="17984" y="10618"/>
                  </a:cubicBezTo>
                  <a:lnTo>
                    <a:pt x="17981" y="10614"/>
                  </a:lnTo>
                  <a:lnTo>
                    <a:pt x="17974" y="10607"/>
                  </a:lnTo>
                  <a:cubicBezTo>
                    <a:pt x="17967" y="10604"/>
                    <a:pt x="17963" y="10600"/>
                    <a:pt x="17960" y="10597"/>
                  </a:cubicBezTo>
                  <a:cubicBezTo>
                    <a:pt x="17949" y="10593"/>
                    <a:pt x="17942" y="10586"/>
                    <a:pt x="17932" y="10583"/>
                  </a:cubicBezTo>
                  <a:cubicBezTo>
                    <a:pt x="17918" y="10576"/>
                    <a:pt x="17904" y="10572"/>
                    <a:pt x="17890" y="10565"/>
                  </a:cubicBezTo>
                  <a:lnTo>
                    <a:pt x="17886" y="10565"/>
                  </a:lnTo>
                  <a:cubicBezTo>
                    <a:pt x="17869" y="10562"/>
                    <a:pt x="17855" y="10558"/>
                    <a:pt x="17837" y="10555"/>
                  </a:cubicBezTo>
                  <a:lnTo>
                    <a:pt x="17827" y="10555"/>
                  </a:lnTo>
                  <a:cubicBezTo>
                    <a:pt x="17809" y="10551"/>
                    <a:pt x="17795" y="10551"/>
                    <a:pt x="17778" y="10548"/>
                  </a:cubicBezTo>
                  <a:lnTo>
                    <a:pt x="17708" y="10548"/>
                  </a:lnTo>
                  <a:cubicBezTo>
                    <a:pt x="17522" y="10548"/>
                    <a:pt x="17400" y="10607"/>
                    <a:pt x="17400" y="10646"/>
                  </a:cubicBezTo>
                  <a:cubicBezTo>
                    <a:pt x="17400" y="10838"/>
                    <a:pt x="17207" y="10929"/>
                    <a:pt x="17036" y="11006"/>
                  </a:cubicBezTo>
                  <a:cubicBezTo>
                    <a:pt x="16976" y="11031"/>
                    <a:pt x="16924" y="11059"/>
                    <a:pt x="16868" y="11090"/>
                  </a:cubicBezTo>
                  <a:cubicBezTo>
                    <a:pt x="16818" y="11123"/>
                    <a:pt x="16773" y="11136"/>
                    <a:pt x="16731" y="11136"/>
                  </a:cubicBezTo>
                  <a:cubicBezTo>
                    <a:pt x="16607" y="11136"/>
                    <a:pt x="16517" y="11012"/>
                    <a:pt x="16430" y="10894"/>
                  </a:cubicBezTo>
                  <a:cubicBezTo>
                    <a:pt x="16409" y="10863"/>
                    <a:pt x="16388" y="10831"/>
                    <a:pt x="16360" y="10800"/>
                  </a:cubicBezTo>
                  <a:cubicBezTo>
                    <a:pt x="16342" y="10775"/>
                    <a:pt x="16325" y="10754"/>
                    <a:pt x="16304" y="10733"/>
                  </a:cubicBezTo>
                  <a:cubicBezTo>
                    <a:pt x="16234" y="10667"/>
                    <a:pt x="16160" y="10600"/>
                    <a:pt x="16080" y="10541"/>
                  </a:cubicBezTo>
                  <a:cubicBezTo>
                    <a:pt x="15996" y="10478"/>
                    <a:pt x="15915" y="10404"/>
                    <a:pt x="15845" y="10327"/>
                  </a:cubicBezTo>
                  <a:cubicBezTo>
                    <a:pt x="15828" y="10303"/>
                    <a:pt x="15810" y="10278"/>
                    <a:pt x="15803" y="10247"/>
                  </a:cubicBezTo>
                  <a:cubicBezTo>
                    <a:pt x="15800" y="10236"/>
                    <a:pt x="15796" y="10222"/>
                    <a:pt x="15796" y="10208"/>
                  </a:cubicBezTo>
                  <a:cubicBezTo>
                    <a:pt x="15796" y="10145"/>
                    <a:pt x="15765" y="10030"/>
                    <a:pt x="15695" y="9988"/>
                  </a:cubicBezTo>
                  <a:cubicBezTo>
                    <a:pt x="15674" y="9973"/>
                    <a:pt x="15650" y="9966"/>
                    <a:pt x="15623" y="9966"/>
                  </a:cubicBezTo>
                  <a:cubicBezTo>
                    <a:pt x="15592" y="9966"/>
                    <a:pt x="15558" y="9976"/>
                    <a:pt x="15520" y="9995"/>
                  </a:cubicBezTo>
                  <a:cubicBezTo>
                    <a:pt x="15420" y="10041"/>
                    <a:pt x="15314" y="10064"/>
                    <a:pt x="15206" y="10064"/>
                  </a:cubicBezTo>
                  <a:cubicBezTo>
                    <a:pt x="15184" y="10064"/>
                    <a:pt x="15163" y="10063"/>
                    <a:pt x="15142" y="10061"/>
                  </a:cubicBezTo>
                  <a:cubicBezTo>
                    <a:pt x="15120" y="10059"/>
                    <a:pt x="15103" y="10058"/>
                    <a:pt x="15089" y="10058"/>
                  </a:cubicBezTo>
                  <a:cubicBezTo>
                    <a:pt x="15061" y="10058"/>
                    <a:pt x="15050" y="10063"/>
                    <a:pt x="15040" y="10075"/>
                  </a:cubicBezTo>
                  <a:cubicBezTo>
                    <a:pt x="15006" y="10115"/>
                    <a:pt x="14963" y="10130"/>
                    <a:pt x="14917" y="10130"/>
                  </a:cubicBezTo>
                  <a:cubicBezTo>
                    <a:pt x="14804" y="10130"/>
                    <a:pt x="14679" y="10039"/>
                    <a:pt x="14659" y="10026"/>
                  </a:cubicBezTo>
                  <a:lnTo>
                    <a:pt x="14634" y="10005"/>
                  </a:lnTo>
                  <a:lnTo>
                    <a:pt x="14634" y="1645"/>
                  </a:lnTo>
                  <a:cubicBezTo>
                    <a:pt x="14561" y="1638"/>
                    <a:pt x="14494" y="1621"/>
                    <a:pt x="14424" y="1600"/>
                  </a:cubicBezTo>
                  <a:cubicBezTo>
                    <a:pt x="14361" y="1565"/>
                    <a:pt x="14298" y="1540"/>
                    <a:pt x="14231" y="1512"/>
                  </a:cubicBezTo>
                  <a:cubicBezTo>
                    <a:pt x="13951" y="1401"/>
                    <a:pt x="13614" y="1266"/>
                    <a:pt x="13392" y="1266"/>
                  </a:cubicBezTo>
                  <a:cubicBezTo>
                    <a:pt x="13361" y="1266"/>
                    <a:pt x="13333" y="1268"/>
                    <a:pt x="13307" y="1274"/>
                  </a:cubicBezTo>
                  <a:cubicBezTo>
                    <a:pt x="13162" y="1306"/>
                    <a:pt x="12843" y="1360"/>
                    <a:pt x="12576" y="1360"/>
                  </a:cubicBezTo>
                  <a:cubicBezTo>
                    <a:pt x="12437" y="1360"/>
                    <a:pt x="12312" y="1345"/>
                    <a:pt x="12232" y="1305"/>
                  </a:cubicBezTo>
                  <a:cubicBezTo>
                    <a:pt x="12109" y="1245"/>
                    <a:pt x="11923" y="1172"/>
                    <a:pt x="11652" y="1172"/>
                  </a:cubicBezTo>
                  <a:cubicBezTo>
                    <a:pt x="11578" y="1172"/>
                    <a:pt x="11497" y="1177"/>
                    <a:pt x="11410" y="1190"/>
                  </a:cubicBezTo>
                  <a:cubicBezTo>
                    <a:pt x="11367" y="1196"/>
                    <a:pt x="11326" y="1199"/>
                    <a:pt x="11287" y="1199"/>
                  </a:cubicBezTo>
                  <a:cubicBezTo>
                    <a:pt x="11085" y="1199"/>
                    <a:pt x="10917" y="1124"/>
                    <a:pt x="10727" y="1036"/>
                  </a:cubicBezTo>
                  <a:cubicBezTo>
                    <a:pt x="10563" y="959"/>
                    <a:pt x="10395" y="896"/>
                    <a:pt x="10220" y="850"/>
                  </a:cubicBezTo>
                  <a:cubicBezTo>
                    <a:pt x="10089" y="819"/>
                    <a:pt x="9945" y="807"/>
                    <a:pt x="9800" y="807"/>
                  </a:cubicBezTo>
                  <a:cubicBezTo>
                    <a:pt x="9391" y="807"/>
                    <a:pt x="8978" y="904"/>
                    <a:pt x="8865" y="945"/>
                  </a:cubicBezTo>
                  <a:cubicBezTo>
                    <a:pt x="8838" y="954"/>
                    <a:pt x="8814" y="957"/>
                    <a:pt x="8793" y="957"/>
                  </a:cubicBezTo>
                  <a:cubicBezTo>
                    <a:pt x="8711" y="957"/>
                    <a:pt x="8667" y="902"/>
                    <a:pt x="8634" y="861"/>
                  </a:cubicBezTo>
                  <a:cubicBezTo>
                    <a:pt x="8600" y="818"/>
                    <a:pt x="8580" y="789"/>
                    <a:pt x="8524" y="789"/>
                  </a:cubicBezTo>
                  <a:cubicBezTo>
                    <a:pt x="8516" y="789"/>
                    <a:pt x="8507" y="789"/>
                    <a:pt x="8497" y="791"/>
                  </a:cubicBezTo>
                  <a:cubicBezTo>
                    <a:pt x="8479" y="793"/>
                    <a:pt x="8460" y="794"/>
                    <a:pt x="8443" y="794"/>
                  </a:cubicBezTo>
                  <a:cubicBezTo>
                    <a:pt x="8403" y="794"/>
                    <a:pt x="8366" y="787"/>
                    <a:pt x="8340" y="763"/>
                  </a:cubicBezTo>
                  <a:cubicBezTo>
                    <a:pt x="8308" y="728"/>
                    <a:pt x="8294" y="682"/>
                    <a:pt x="8305" y="640"/>
                  </a:cubicBezTo>
                  <a:cubicBezTo>
                    <a:pt x="8308" y="584"/>
                    <a:pt x="8294" y="528"/>
                    <a:pt x="8266" y="483"/>
                  </a:cubicBezTo>
                  <a:cubicBezTo>
                    <a:pt x="8238" y="443"/>
                    <a:pt x="8163" y="430"/>
                    <a:pt x="8068" y="430"/>
                  </a:cubicBezTo>
                  <a:cubicBezTo>
                    <a:pt x="7911" y="430"/>
                    <a:pt x="7701" y="468"/>
                    <a:pt x="7576" y="490"/>
                  </a:cubicBezTo>
                  <a:cubicBezTo>
                    <a:pt x="7499" y="507"/>
                    <a:pt x="7429" y="518"/>
                    <a:pt x="7380" y="525"/>
                  </a:cubicBezTo>
                  <a:cubicBezTo>
                    <a:pt x="7362" y="527"/>
                    <a:pt x="7344" y="527"/>
                    <a:pt x="7328" y="527"/>
                  </a:cubicBezTo>
                  <a:cubicBezTo>
                    <a:pt x="7214" y="527"/>
                    <a:pt x="7147" y="488"/>
                    <a:pt x="7111" y="451"/>
                  </a:cubicBezTo>
                  <a:cubicBezTo>
                    <a:pt x="7058" y="395"/>
                    <a:pt x="7034" y="318"/>
                    <a:pt x="7041" y="241"/>
                  </a:cubicBezTo>
                  <a:lnTo>
                    <a:pt x="7041" y="241"/>
                  </a:lnTo>
                  <a:cubicBezTo>
                    <a:pt x="6974" y="252"/>
                    <a:pt x="6918" y="290"/>
                    <a:pt x="6883" y="346"/>
                  </a:cubicBezTo>
                  <a:cubicBezTo>
                    <a:pt x="6827" y="437"/>
                    <a:pt x="6729" y="497"/>
                    <a:pt x="6621" y="507"/>
                  </a:cubicBezTo>
                  <a:cubicBezTo>
                    <a:pt x="6602" y="511"/>
                    <a:pt x="6583" y="512"/>
                    <a:pt x="6565" y="512"/>
                  </a:cubicBezTo>
                  <a:cubicBezTo>
                    <a:pt x="6488" y="512"/>
                    <a:pt x="6414" y="484"/>
                    <a:pt x="6355" y="434"/>
                  </a:cubicBezTo>
                  <a:cubicBezTo>
                    <a:pt x="6327" y="409"/>
                    <a:pt x="6313" y="371"/>
                    <a:pt x="6320" y="336"/>
                  </a:cubicBezTo>
                  <a:cubicBezTo>
                    <a:pt x="6327" y="269"/>
                    <a:pt x="6390" y="238"/>
                    <a:pt x="6460" y="203"/>
                  </a:cubicBezTo>
                  <a:cubicBezTo>
                    <a:pt x="6495" y="189"/>
                    <a:pt x="6526" y="164"/>
                    <a:pt x="6554" y="140"/>
                  </a:cubicBezTo>
                  <a:cubicBezTo>
                    <a:pt x="6526" y="98"/>
                    <a:pt x="6316" y="42"/>
                    <a:pt x="6250" y="24"/>
                  </a:cubicBezTo>
                  <a:cubicBezTo>
                    <a:pt x="6215" y="17"/>
                    <a:pt x="6187" y="7"/>
                    <a:pt x="6166" y="3"/>
                  </a:cubicBezTo>
                  <a:cubicBezTo>
                    <a:pt x="6159" y="1"/>
                    <a:pt x="6153" y="0"/>
                    <a:pt x="614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5" name="Google Shape;6005;p53"/>
            <p:cNvSpPr/>
            <p:nvPr/>
          </p:nvSpPr>
          <p:spPr>
            <a:xfrm>
              <a:off x="815819" y="1587293"/>
              <a:ext cx="9518" cy="3435"/>
            </a:xfrm>
            <a:custGeom>
              <a:avLst/>
              <a:gdLst/>
              <a:ahLst/>
              <a:cxnLst/>
              <a:rect l="l" t="t" r="r" b="b"/>
              <a:pathLst>
                <a:path w="701" h="253" extrusionOk="0">
                  <a:moveTo>
                    <a:pt x="589" y="1"/>
                  </a:moveTo>
                  <a:cubicBezTo>
                    <a:pt x="400" y="1"/>
                    <a:pt x="95" y="162"/>
                    <a:pt x="0" y="253"/>
                  </a:cubicBezTo>
                  <a:cubicBezTo>
                    <a:pt x="49" y="242"/>
                    <a:pt x="95" y="225"/>
                    <a:pt x="133" y="193"/>
                  </a:cubicBezTo>
                  <a:cubicBezTo>
                    <a:pt x="210" y="141"/>
                    <a:pt x="302" y="109"/>
                    <a:pt x="393" y="106"/>
                  </a:cubicBezTo>
                  <a:cubicBezTo>
                    <a:pt x="501" y="106"/>
                    <a:pt x="603" y="78"/>
                    <a:pt x="701" y="32"/>
                  </a:cubicBezTo>
                  <a:cubicBezTo>
                    <a:pt x="687" y="25"/>
                    <a:pt x="676" y="18"/>
                    <a:pt x="662" y="15"/>
                  </a:cubicBezTo>
                  <a:lnTo>
                    <a:pt x="662" y="11"/>
                  </a:lnTo>
                  <a:cubicBezTo>
                    <a:pt x="638" y="4"/>
                    <a:pt x="613" y="1"/>
                    <a:pt x="58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6" name="Google Shape;6006;p53"/>
            <p:cNvSpPr/>
            <p:nvPr/>
          </p:nvSpPr>
          <p:spPr>
            <a:xfrm>
              <a:off x="1116791" y="1641060"/>
              <a:ext cx="428519" cy="210818"/>
            </a:xfrm>
            <a:custGeom>
              <a:avLst/>
              <a:gdLst/>
              <a:ahLst/>
              <a:cxnLst/>
              <a:rect l="l" t="t" r="r" b="b"/>
              <a:pathLst>
                <a:path w="31561" h="15527" extrusionOk="0">
                  <a:moveTo>
                    <a:pt x="16248" y="0"/>
                  </a:moveTo>
                  <a:cubicBezTo>
                    <a:pt x="16227" y="11"/>
                    <a:pt x="16196" y="105"/>
                    <a:pt x="16192" y="207"/>
                  </a:cubicBezTo>
                  <a:lnTo>
                    <a:pt x="16192" y="273"/>
                  </a:lnTo>
                  <a:lnTo>
                    <a:pt x="16129" y="273"/>
                  </a:lnTo>
                  <a:lnTo>
                    <a:pt x="1191" y="354"/>
                  </a:lnTo>
                  <a:cubicBezTo>
                    <a:pt x="1286" y="476"/>
                    <a:pt x="1272" y="588"/>
                    <a:pt x="1261" y="693"/>
                  </a:cubicBezTo>
                  <a:cubicBezTo>
                    <a:pt x="1251" y="767"/>
                    <a:pt x="1254" y="840"/>
                    <a:pt x="1268" y="914"/>
                  </a:cubicBezTo>
                  <a:cubicBezTo>
                    <a:pt x="1314" y="1089"/>
                    <a:pt x="1307" y="1334"/>
                    <a:pt x="1205" y="1463"/>
                  </a:cubicBezTo>
                  <a:cubicBezTo>
                    <a:pt x="1161" y="1525"/>
                    <a:pt x="1095" y="1554"/>
                    <a:pt x="1030" y="1554"/>
                  </a:cubicBezTo>
                  <a:cubicBezTo>
                    <a:pt x="940" y="1554"/>
                    <a:pt x="850" y="1499"/>
                    <a:pt x="820" y="1397"/>
                  </a:cubicBezTo>
                  <a:cubicBezTo>
                    <a:pt x="795" y="1299"/>
                    <a:pt x="841" y="1197"/>
                    <a:pt x="932" y="1152"/>
                  </a:cubicBezTo>
                  <a:cubicBezTo>
                    <a:pt x="971" y="1131"/>
                    <a:pt x="974" y="1071"/>
                    <a:pt x="964" y="1022"/>
                  </a:cubicBezTo>
                  <a:cubicBezTo>
                    <a:pt x="950" y="977"/>
                    <a:pt x="918" y="935"/>
                    <a:pt x="890" y="935"/>
                  </a:cubicBezTo>
                  <a:cubicBezTo>
                    <a:pt x="887" y="935"/>
                    <a:pt x="883" y="935"/>
                    <a:pt x="880" y="935"/>
                  </a:cubicBezTo>
                  <a:cubicBezTo>
                    <a:pt x="844" y="935"/>
                    <a:pt x="807" y="918"/>
                    <a:pt x="781" y="893"/>
                  </a:cubicBezTo>
                  <a:cubicBezTo>
                    <a:pt x="750" y="854"/>
                    <a:pt x="729" y="805"/>
                    <a:pt x="722" y="756"/>
                  </a:cubicBezTo>
                  <a:lnTo>
                    <a:pt x="718" y="756"/>
                  </a:lnTo>
                  <a:lnTo>
                    <a:pt x="683" y="763"/>
                  </a:lnTo>
                  <a:cubicBezTo>
                    <a:pt x="666" y="763"/>
                    <a:pt x="648" y="767"/>
                    <a:pt x="631" y="770"/>
                  </a:cubicBezTo>
                  <a:lnTo>
                    <a:pt x="592" y="774"/>
                  </a:lnTo>
                  <a:cubicBezTo>
                    <a:pt x="578" y="774"/>
                    <a:pt x="561" y="777"/>
                    <a:pt x="543" y="777"/>
                  </a:cubicBezTo>
                  <a:lnTo>
                    <a:pt x="424" y="777"/>
                  </a:lnTo>
                  <a:cubicBezTo>
                    <a:pt x="393" y="777"/>
                    <a:pt x="361" y="777"/>
                    <a:pt x="330" y="774"/>
                  </a:cubicBezTo>
                  <a:lnTo>
                    <a:pt x="302" y="774"/>
                  </a:lnTo>
                  <a:cubicBezTo>
                    <a:pt x="263" y="770"/>
                    <a:pt x="225" y="770"/>
                    <a:pt x="186" y="767"/>
                  </a:cubicBezTo>
                  <a:lnTo>
                    <a:pt x="176" y="767"/>
                  </a:lnTo>
                  <a:lnTo>
                    <a:pt x="60" y="753"/>
                  </a:lnTo>
                  <a:lnTo>
                    <a:pt x="29" y="749"/>
                  </a:lnTo>
                  <a:lnTo>
                    <a:pt x="1" y="746"/>
                  </a:lnTo>
                  <a:lnTo>
                    <a:pt x="1" y="746"/>
                  </a:lnTo>
                  <a:cubicBezTo>
                    <a:pt x="36" y="984"/>
                    <a:pt x="123" y="1208"/>
                    <a:pt x="263" y="1404"/>
                  </a:cubicBezTo>
                  <a:cubicBezTo>
                    <a:pt x="340" y="1502"/>
                    <a:pt x="386" y="1617"/>
                    <a:pt x="400" y="1740"/>
                  </a:cubicBezTo>
                  <a:cubicBezTo>
                    <a:pt x="414" y="1824"/>
                    <a:pt x="421" y="1859"/>
                    <a:pt x="484" y="1894"/>
                  </a:cubicBezTo>
                  <a:cubicBezTo>
                    <a:pt x="666" y="1992"/>
                    <a:pt x="659" y="2083"/>
                    <a:pt x="645" y="2122"/>
                  </a:cubicBezTo>
                  <a:cubicBezTo>
                    <a:pt x="633" y="2152"/>
                    <a:pt x="605" y="2203"/>
                    <a:pt x="501" y="2203"/>
                  </a:cubicBezTo>
                  <a:cubicBezTo>
                    <a:pt x="485" y="2203"/>
                    <a:pt x="466" y="2201"/>
                    <a:pt x="445" y="2199"/>
                  </a:cubicBezTo>
                  <a:lnTo>
                    <a:pt x="424" y="2199"/>
                  </a:lnTo>
                  <a:cubicBezTo>
                    <a:pt x="424" y="2230"/>
                    <a:pt x="424" y="2258"/>
                    <a:pt x="424" y="2290"/>
                  </a:cubicBezTo>
                  <a:cubicBezTo>
                    <a:pt x="435" y="2409"/>
                    <a:pt x="428" y="2528"/>
                    <a:pt x="410" y="2643"/>
                  </a:cubicBezTo>
                  <a:cubicBezTo>
                    <a:pt x="375" y="2846"/>
                    <a:pt x="365" y="3172"/>
                    <a:pt x="354" y="3462"/>
                  </a:cubicBezTo>
                  <a:cubicBezTo>
                    <a:pt x="347" y="3690"/>
                    <a:pt x="340" y="3886"/>
                    <a:pt x="323" y="3991"/>
                  </a:cubicBezTo>
                  <a:cubicBezTo>
                    <a:pt x="305" y="4082"/>
                    <a:pt x="274" y="4173"/>
                    <a:pt x="235" y="4257"/>
                  </a:cubicBezTo>
                  <a:cubicBezTo>
                    <a:pt x="162" y="4446"/>
                    <a:pt x="78" y="4656"/>
                    <a:pt x="169" y="4793"/>
                  </a:cubicBezTo>
                  <a:cubicBezTo>
                    <a:pt x="365" y="5101"/>
                    <a:pt x="438" y="5451"/>
                    <a:pt x="358" y="5731"/>
                  </a:cubicBezTo>
                  <a:cubicBezTo>
                    <a:pt x="277" y="6022"/>
                    <a:pt x="291" y="6186"/>
                    <a:pt x="414" y="6396"/>
                  </a:cubicBezTo>
                  <a:cubicBezTo>
                    <a:pt x="484" y="6522"/>
                    <a:pt x="494" y="6680"/>
                    <a:pt x="501" y="6823"/>
                  </a:cubicBezTo>
                  <a:cubicBezTo>
                    <a:pt x="505" y="6935"/>
                    <a:pt x="512" y="7061"/>
                    <a:pt x="557" y="7089"/>
                  </a:cubicBezTo>
                  <a:cubicBezTo>
                    <a:pt x="697" y="7170"/>
                    <a:pt x="837" y="7327"/>
                    <a:pt x="992" y="7583"/>
                  </a:cubicBezTo>
                  <a:cubicBezTo>
                    <a:pt x="1023" y="7639"/>
                    <a:pt x="1072" y="7684"/>
                    <a:pt x="1135" y="7705"/>
                  </a:cubicBezTo>
                  <a:cubicBezTo>
                    <a:pt x="1209" y="7737"/>
                    <a:pt x="1265" y="7772"/>
                    <a:pt x="1282" y="7915"/>
                  </a:cubicBezTo>
                  <a:lnTo>
                    <a:pt x="1282" y="7926"/>
                  </a:lnTo>
                  <a:cubicBezTo>
                    <a:pt x="1303" y="8129"/>
                    <a:pt x="1303" y="8133"/>
                    <a:pt x="1461" y="8199"/>
                  </a:cubicBezTo>
                  <a:cubicBezTo>
                    <a:pt x="1653" y="8283"/>
                    <a:pt x="1611" y="8476"/>
                    <a:pt x="1587" y="8588"/>
                  </a:cubicBezTo>
                  <a:cubicBezTo>
                    <a:pt x="1580" y="8619"/>
                    <a:pt x="1573" y="8651"/>
                    <a:pt x="1573" y="8686"/>
                  </a:cubicBezTo>
                  <a:cubicBezTo>
                    <a:pt x="1573" y="8773"/>
                    <a:pt x="1839" y="9004"/>
                    <a:pt x="2073" y="9214"/>
                  </a:cubicBezTo>
                  <a:lnTo>
                    <a:pt x="2119" y="9256"/>
                  </a:lnTo>
                  <a:cubicBezTo>
                    <a:pt x="2248" y="9358"/>
                    <a:pt x="2322" y="9519"/>
                    <a:pt x="2311" y="9683"/>
                  </a:cubicBezTo>
                  <a:cubicBezTo>
                    <a:pt x="2311" y="9704"/>
                    <a:pt x="2315" y="9725"/>
                    <a:pt x="2318" y="9746"/>
                  </a:cubicBezTo>
                  <a:cubicBezTo>
                    <a:pt x="2329" y="9750"/>
                    <a:pt x="2343" y="9750"/>
                    <a:pt x="2353" y="9750"/>
                  </a:cubicBezTo>
                  <a:cubicBezTo>
                    <a:pt x="2612" y="9750"/>
                    <a:pt x="2854" y="9904"/>
                    <a:pt x="3068" y="10040"/>
                  </a:cubicBezTo>
                  <a:cubicBezTo>
                    <a:pt x="3174" y="10108"/>
                    <a:pt x="3240" y="10119"/>
                    <a:pt x="3302" y="10119"/>
                  </a:cubicBezTo>
                  <a:cubicBezTo>
                    <a:pt x="3317" y="10119"/>
                    <a:pt x="3332" y="10118"/>
                    <a:pt x="3348" y="10118"/>
                  </a:cubicBezTo>
                  <a:cubicBezTo>
                    <a:pt x="3362" y="10117"/>
                    <a:pt x="3375" y="10116"/>
                    <a:pt x="3389" y="10116"/>
                  </a:cubicBezTo>
                  <a:cubicBezTo>
                    <a:pt x="3430" y="10116"/>
                    <a:pt x="3469" y="10120"/>
                    <a:pt x="3509" y="10128"/>
                  </a:cubicBezTo>
                  <a:cubicBezTo>
                    <a:pt x="3694" y="10170"/>
                    <a:pt x="4002" y="10531"/>
                    <a:pt x="4069" y="10783"/>
                  </a:cubicBezTo>
                  <a:cubicBezTo>
                    <a:pt x="4093" y="10881"/>
                    <a:pt x="4125" y="10979"/>
                    <a:pt x="4167" y="11073"/>
                  </a:cubicBezTo>
                  <a:lnTo>
                    <a:pt x="5403" y="10909"/>
                  </a:lnTo>
                  <a:lnTo>
                    <a:pt x="5424" y="10926"/>
                  </a:lnTo>
                  <a:cubicBezTo>
                    <a:pt x="5427" y="10926"/>
                    <a:pt x="5802" y="11189"/>
                    <a:pt x="6008" y="11238"/>
                  </a:cubicBezTo>
                  <a:cubicBezTo>
                    <a:pt x="6222" y="11287"/>
                    <a:pt x="7286" y="11682"/>
                    <a:pt x="7419" y="11728"/>
                  </a:cubicBezTo>
                  <a:lnTo>
                    <a:pt x="8928" y="11717"/>
                  </a:lnTo>
                  <a:lnTo>
                    <a:pt x="9110" y="11483"/>
                  </a:lnTo>
                  <a:lnTo>
                    <a:pt x="10024" y="11483"/>
                  </a:lnTo>
                  <a:lnTo>
                    <a:pt x="10045" y="11500"/>
                  </a:lnTo>
                  <a:cubicBezTo>
                    <a:pt x="10297" y="11749"/>
                    <a:pt x="10591" y="12018"/>
                    <a:pt x="10643" y="12043"/>
                  </a:cubicBezTo>
                  <a:cubicBezTo>
                    <a:pt x="10734" y="12074"/>
                    <a:pt x="11035" y="12341"/>
                    <a:pt x="11035" y="12533"/>
                  </a:cubicBezTo>
                  <a:cubicBezTo>
                    <a:pt x="11035" y="12670"/>
                    <a:pt x="11091" y="12775"/>
                    <a:pt x="11193" y="12824"/>
                  </a:cubicBezTo>
                  <a:cubicBezTo>
                    <a:pt x="11235" y="12845"/>
                    <a:pt x="11302" y="12883"/>
                    <a:pt x="11375" y="12929"/>
                  </a:cubicBezTo>
                  <a:cubicBezTo>
                    <a:pt x="11494" y="12995"/>
                    <a:pt x="11701" y="13118"/>
                    <a:pt x="11774" y="13139"/>
                  </a:cubicBezTo>
                  <a:cubicBezTo>
                    <a:pt x="11788" y="13118"/>
                    <a:pt x="11806" y="13076"/>
                    <a:pt x="11823" y="13044"/>
                  </a:cubicBezTo>
                  <a:cubicBezTo>
                    <a:pt x="11844" y="12999"/>
                    <a:pt x="11869" y="12957"/>
                    <a:pt x="11893" y="12908"/>
                  </a:cubicBezTo>
                  <a:cubicBezTo>
                    <a:pt x="11907" y="12883"/>
                    <a:pt x="11921" y="12862"/>
                    <a:pt x="11939" y="12838"/>
                  </a:cubicBezTo>
                  <a:cubicBezTo>
                    <a:pt x="12011" y="12728"/>
                    <a:pt x="12103" y="12635"/>
                    <a:pt x="12226" y="12635"/>
                  </a:cubicBezTo>
                  <a:cubicBezTo>
                    <a:pt x="12228" y="12635"/>
                    <a:pt x="12230" y="12635"/>
                    <a:pt x="12233" y="12635"/>
                  </a:cubicBezTo>
                  <a:cubicBezTo>
                    <a:pt x="12408" y="12645"/>
                    <a:pt x="12775" y="12740"/>
                    <a:pt x="13027" y="12929"/>
                  </a:cubicBezTo>
                  <a:cubicBezTo>
                    <a:pt x="13059" y="12953"/>
                    <a:pt x="13090" y="12981"/>
                    <a:pt x="13122" y="13009"/>
                  </a:cubicBezTo>
                  <a:cubicBezTo>
                    <a:pt x="13150" y="13037"/>
                    <a:pt x="13174" y="13069"/>
                    <a:pt x="13199" y="13100"/>
                  </a:cubicBezTo>
                  <a:cubicBezTo>
                    <a:pt x="13227" y="13142"/>
                    <a:pt x="13248" y="13191"/>
                    <a:pt x="13265" y="13240"/>
                  </a:cubicBezTo>
                  <a:cubicBezTo>
                    <a:pt x="13363" y="13587"/>
                    <a:pt x="13661" y="13870"/>
                    <a:pt x="13759" y="13944"/>
                  </a:cubicBezTo>
                  <a:cubicBezTo>
                    <a:pt x="13836" y="14003"/>
                    <a:pt x="13850" y="14105"/>
                    <a:pt x="13861" y="14206"/>
                  </a:cubicBezTo>
                  <a:cubicBezTo>
                    <a:pt x="13864" y="14266"/>
                    <a:pt x="13878" y="14326"/>
                    <a:pt x="13906" y="14378"/>
                  </a:cubicBezTo>
                  <a:cubicBezTo>
                    <a:pt x="13941" y="14438"/>
                    <a:pt x="13966" y="14508"/>
                    <a:pt x="13980" y="14578"/>
                  </a:cubicBezTo>
                  <a:cubicBezTo>
                    <a:pt x="13987" y="14616"/>
                    <a:pt x="13997" y="14651"/>
                    <a:pt x="14015" y="14686"/>
                  </a:cubicBezTo>
                  <a:cubicBezTo>
                    <a:pt x="14060" y="14690"/>
                    <a:pt x="14130" y="14721"/>
                    <a:pt x="14267" y="14784"/>
                  </a:cubicBezTo>
                  <a:cubicBezTo>
                    <a:pt x="14428" y="14860"/>
                    <a:pt x="14648" y="14959"/>
                    <a:pt x="14762" y="14959"/>
                  </a:cubicBezTo>
                  <a:cubicBezTo>
                    <a:pt x="14764" y="14959"/>
                    <a:pt x="14765" y="14959"/>
                    <a:pt x="14767" y="14959"/>
                  </a:cubicBezTo>
                  <a:lnTo>
                    <a:pt x="14813" y="14959"/>
                  </a:lnTo>
                  <a:lnTo>
                    <a:pt x="14830" y="14963"/>
                  </a:lnTo>
                  <a:lnTo>
                    <a:pt x="14848" y="14966"/>
                  </a:lnTo>
                  <a:lnTo>
                    <a:pt x="14869" y="14973"/>
                  </a:lnTo>
                  <a:lnTo>
                    <a:pt x="14897" y="14984"/>
                  </a:lnTo>
                  <a:lnTo>
                    <a:pt x="14921" y="14991"/>
                  </a:lnTo>
                  <a:lnTo>
                    <a:pt x="14928" y="14994"/>
                  </a:lnTo>
                  <a:cubicBezTo>
                    <a:pt x="14900" y="14896"/>
                    <a:pt x="14851" y="14805"/>
                    <a:pt x="14778" y="14732"/>
                  </a:cubicBezTo>
                  <a:cubicBezTo>
                    <a:pt x="14725" y="14662"/>
                    <a:pt x="14673" y="14595"/>
                    <a:pt x="14683" y="14518"/>
                  </a:cubicBezTo>
                  <a:cubicBezTo>
                    <a:pt x="14697" y="14452"/>
                    <a:pt x="14736" y="14396"/>
                    <a:pt x="14792" y="14361"/>
                  </a:cubicBezTo>
                  <a:cubicBezTo>
                    <a:pt x="14935" y="14252"/>
                    <a:pt x="14911" y="14171"/>
                    <a:pt x="14879" y="14073"/>
                  </a:cubicBezTo>
                  <a:cubicBezTo>
                    <a:pt x="14858" y="14007"/>
                    <a:pt x="14827" y="13905"/>
                    <a:pt x="14928" y="13839"/>
                  </a:cubicBezTo>
                  <a:cubicBezTo>
                    <a:pt x="14963" y="13811"/>
                    <a:pt x="15009" y="13790"/>
                    <a:pt x="15051" y="13762"/>
                  </a:cubicBezTo>
                  <a:cubicBezTo>
                    <a:pt x="15163" y="13702"/>
                    <a:pt x="15299" y="13625"/>
                    <a:pt x="15299" y="13552"/>
                  </a:cubicBezTo>
                  <a:cubicBezTo>
                    <a:pt x="15296" y="13499"/>
                    <a:pt x="15317" y="13443"/>
                    <a:pt x="15355" y="13405"/>
                  </a:cubicBezTo>
                  <a:cubicBezTo>
                    <a:pt x="15401" y="13366"/>
                    <a:pt x="15465" y="13353"/>
                    <a:pt x="15537" y="13353"/>
                  </a:cubicBezTo>
                  <a:cubicBezTo>
                    <a:pt x="15588" y="13353"/>
                    <a:pt x="15643" y="13359"/>
                    <a:pt x="15699" y="13366"/>
                  </a:cubicBezTo>
                  <a:cubicBezTo>
                    <a:pt x="15703" y="13367"/>
                    <a:pt x="15708" y="13367"/>
                    <a:pt x="15712" y="13367"/>
                  </a:cubicBezTo>
                  <a:cubicBezTo>
                    <a:pt x="15799" y="13367"/>
                    <a:pt x="15943" y="13279"/>
                    <a:pt x="16059" y="13156"/>
                  </a:cubicBezTo>
                  <a:cubicBezTo>
                    <a:pt x="16140" y="13069"/>
                    <a:pt x="16164" y="13009"/>
                    <a:pt x="16161" y="12995"/>
                  </a:cubicBezTo>
                  <a:cubicBezTo>
                    <a:pt x="16143" y="12936"/>
                    <a:pt x="16157" y="12873"/>
                    <a:pt x="16196" y="12827"/>
                  </a:cubicBezTo>
                  <a:cubicBezTo>
                    <a:pt x="16225" y="12797"/>
                    <a:pt x="16268" y="12785"/>
                    <a:pt x="16324" y="12785"/>
                  </a:cubicBezTo>
                  <a:cubicBezTo>
                    <a:pt x="16373" y="12785"/>
                    <a:pt x="16433" y="12795"/>
                    <a:pt x="16504" y="12810"/>
                  </a:cubicBezTo>
                  <a:cubicBezTo>
                    <a:pt x="16516" y="12812"/>
                    <a:pt x="16526" y="12813"/>
                    <a:pt x="16536" y="12813"/>
                  </a:cubicBezTo>
                  <a:cubicBezTo>
                    <a:pt x="16586" y="12813"/>
                    <a:pt x="16609" y="12782"/>
                    <a:pt x="16647" y="12712"/>
                  </a:cubicBezTo>
                  <a:cubicBezTo>
                    <a:pt x="16674" y="12661"/>
                    <a:pt x="16718" y="12584"/>
                    <a:pt x="16802" y="12584"/>
                  </a:cubicBezTo>
                  <a:cubicBezTo>
                    <a:pt x="16818" y="12584"/>
                    <a:pt x="16835" y="12587"/>
                    <a:pt x="16854" y="12593"/>
                  </a:cubicBezTo>
                  <a:cubicBezTo>
                    <a:pt x="16889" y="12607"/>
                    <a:pt x="16924" y="12621"/>
                    <a:pt x="16955" y="12631"/>
                  </a:cubicBezTo>
                  <a:cubicBezTo>
                    <a:pt x="16983" y="12645"/>
                    <a:pt x="17015" y="12656"/>
                    <a:pt x="17046" y="12666"/>
                  </a:cubicBezTo>
                  <a:cubicBezTo>
                    <a:pt x="17050" y="12610"/>
                    <a:pt x="17088" y="12565"/>
                    <a:pt x="17141" y="12551"/>
                  </a:cubicBezTo>
                  <a:cubicBezTo>
                    <a:pt x="17154" y="12547"/>
                    <a:pt x="17168" y="12545"/>
                    <a:pt x="17182" y="12545"/>
                  </a:cubicBezTo>
                  <a:cubicBezTo>
                    <a:pt x="17262" y="12545"/>
                    <a:pt x="17357" y="12603"/>
                    <a:pt x="17428" y="12701"/>
                  </a:cubicBezTo>
                  <a:cubicBezTo>
                    <a:pt x="17486" y="12765"/>
                    <a:pt x="17568" y="12800"/>
                    <a:pt x="17653" y="12800"/>
                  </a:cubicBezTo>
                  <a:cubicBezTo>
                    <a:pt x="17670" y="12800"/>
                    <a:pt x="17687" y="12799"/>
                    <a:pt x="17705" y="12796"/>
                  </a:cubicBezTo>
                  <a:cubicBezTo>
                    <a:pt x="17754" y="12782"/>
                    <a:pt x="17761" y="12754"/>
                    <a:pt x="17761" y="12743"/>
                  </a:cubicBezTo>
                  <a:cubicBezTo>
                    <a:pt x="17761" y="12687"/>
                    <a:pt x="17796" y="12642"/>
                    <a:pt x="17848" y="12621"/>
                  </a:cubicBezTo>
                  <a:cubicBezTo>
                    <a:pt x="17859" y="12618"/>
                    <a:pt x="17870" y="12616"/>
                    <a:pt x="17882" y="12616"/>
                  </a:cubicBezTo>
                  <a:cubicBezTo>
                    <a:pt x="17963" y="12616"/>
                    <a:pt x="18065" y="12693"/>
                    <a:pt x="18237" y="12880"/>
                  </a:cubicBezTo>
                  <a:cubicBezTo>
                    <a:pt x="18342" y="12988"/>
                    <a:pt x="18387" y="12988"/>
                    <a:pt x="18517" y="12988"/>
                  </a:cubicBezTo>
                  <a:cubicBezTo>
                    <a:pt x="18559" y="12988"/>
                    <a:pt x="18601" y="12988"/>
                    <a:pt x="18653" y="12992"/>
                  </a:cubicBezTo>
                  <a:cubicBezTo>
                    <a:pt x="18681" y="12993"/>
                    <a:pt x="18704" y="12994"/>
                    <a:pt x="18723" y="12994"/>
                  </a:cubicBezTo>
                  <a:cubicBezTo>
                    <a:pt x="18816" y="12994"/>
                    <a:pt x="18820" y="12973"/>
                    <a:pt x="18828" y="12866"/>
                  </a:cubicBezTo>
                  <a:lnTo>
                    <a:pt x="18828" y="12855"/>
                  </a:lnTo>
                  <a:cubicBezTo>
                    <a:pt x="18828" y="12820"/>
                    <a:pt x="18849" y="12785"/>
                    <a:pt x="18888" y="12771"/>
                  </a:cubicBezTo>
                  <a:cubicBezTo>
                    <a:pt x="18897" y="12768"/>
                    <a:pt x="18905" y="12767"/>
                    <a:pt x="18914" y="12767"/>
                  </a:cubicBezTo>
                  <a:cubicBezTo>
                    <a:pt x="18963" y="12767"/>
                    <a:pt x="19009" y="12817"/>
                    <a:pt x="19080" y="12897"/>
                  </a:cubicBezTo>
                  <a:cubicBezTo>
                    <a:pt x="19164" y="12992"/>
                    <a:pt x="19287" y="13125"/>
                    <a:pt x="19385" y="13135"/>
                  </a:cubicBezTo>
                  <a:lnTo>
                    <a:pt x="19399" y="13135"/>
                  </a:lnTo>
                  <a:cubicBezTo>
                    <a:pt x="19343" y="13076"/>
                    <a:pt x="19283" y="13020"/>
                    <a:pt x="19217" y="12974"/>
                  </a:cubicBezTo>
                  <a:cubicBezTo>
                    <a:pt x="19094" y="12876"/>
                    <a:pt x="19119" y="12789"/>
                    <a:pt x="19133" y="12740"/>
                  </a:cubicBezTo>
                  <a:cubicBezTo>
                    <a:pt x="19143" y="12701"/>
                    <a:pt x="19143" y="12694"/>
                    <a:pt x="19108" y="12670"/>
                  </a:cubicBezTo>
                  <a:cubicBezTo>
                    <a:pt x="19056" y="12638"/>
                    <a:pt x="19035" y="12575"/>
                    <a:pt x="19056" y="12519"/>
                  </a:cubicBezTo>
                  <a:cubicBezTo>
                    <a:pt x="19102" y="12390"/>
                    <a:pt x="19364" y="12308"/>
                    <a:pt x="19584" y="12308"/>
                  </a:cubicBezTo>
                  <a:cubicBezTo>
                    <a:pt x="19597" y="12308"/>
                    <a:pt x="19610" y="12308"/>
                    <a:pt x="19623" y="12309"/>
                  </a:cubicBezTo>
                  <a:cubicBezTo>
                    <a:pt x="19690" y="12313"/>
                    <a:pt x="19753" y="12320"/>
                    <a:pt x="19816" y="12330"/>
                  </a:cubicBezTo>
                  <a:cubicBezTo>
                    <a:pt x="19837" y="12333"/>
                    <a:pt x="19854" y="12335"/>
                    <a:pt x="19867" y="12335"/>
                  </a:cubicBezTo>
                  <a:cubicBezTo>
                    <a:pt x="19903" y="12335"/>
                    <a:pt x="19913" y="12319"/>
                    <a:pt x="19952" y="12257"/>
                  </a:cubicBezTo>
                  <a:cubicBezTo>
                    <a:pt x="20007" y="12173"/>
                    <a:pt x="20064" y="12154"/>
                    <a:pt x="20105" y="12154"/>
                  </a:cubicBezTo>
                  <a:cubicBezTo>
                    <a:pt x="20119" y="12154"/>
                    <a:pt x="20131" y="12156"/>
                    <a:pt x="20141" y="12158"/>
                  </a:cubicBezTo>
                  <a:cubicBezTo>
                    <a:pt x="20236" y="12186"/>
                    <a:pt x="20288" y="12309"/>
                    <a:pt x="20292" y="12421"/>
                  </a:cubicBezTo>
                  <a:cubicBezTo>
                    <a:pt x="20341" y="12421"/>
                    <a:pt x="20474" y="12386"/>
                    <a:pt x="20565" y="12362"/>
                  </a:cubicBezTo>
                  <a:cubicBezTo>
                    <a:pt x="20701" y="12327"/>
                    <a:pt x="20841" y="12285"/>
                    <a:pt x="20957" y="12285"/>
                  </a:cubicBezTo>
                  <a:cubicBezTo>
                    <a:pt x="21230" y="12285"/>
                    <a:pt x="21499" y="12516"/>
                    <a:pt x="21531" y="12705"/>
                  </a:cubicBezTo>
                  <a:cubicBezTo>
                    <a:pt x="21534" y="12743"/>
                    <a:pt x="21562" y="12778"/>
                    <a:pt x="21601" y="12792"/>
                  </a:cubicBezTo>
                  <a:cubicBezTo>
                    <a:pt x="21613" y="12797"/>
                    <a:pt x="21627" y="12800"/>
                    <a:pt x="21641" y="12800"/>
                  </a:cubicBezTo>
                  <a:cubicBezTo>
                    <a:pt x="21688" y="12800"/>
                    <a:pt x="21744" y="12774"/>
                    <a:pt x="21801" y="12726"/>
                  </a:cubicBezTo>
                  <a:lnTo>
                    <a:pt x="21860" y="12673"/>
                  </a:lnTo>
                  <a:cubicBezTo>
                    <a:pt x="21962" y="12582"/>
                    <a:pt x="22084" y="12474"/>
                    <a:pt x="22210" y="12474"/>
                  </a:cubicBezTo>
                  <a:cubicBezTo>
                    <a:pt x="22284" y="12474"/>
                    <a:pt x="22350" y="12505"/>
                    <a:pt x="22399" y="12561"/>
                  </a:cubicBezTo>
                  <a:cubicBezTo>
                    <a:pt x="22480" y="12642"/>
                    <a:pt x="22560" y="12736"/>
                    <a:pt x="22648" y="12838"/>
                  </a:cubicBezTo>
                  <a:cubicBezTo>
                    <a:pt x="22739" y="12946"/>
                    <a:pt x="22837" y="13058"/>
                    <a:pt x="22945" y="13167"/>
                  </a:cubicBezTo>
                  <a:cubicBezTo>
                    <a:pt x="23089" y="13310"/>
                    <a:pt x="23033" y="13482"/>
                    <a:pt x="22987" y="13604"/>
                  </a:cubicBezTo>
                  <a:cubicBezTo>
                    <a:pt x="22956" y="13695"/>
                    <a:pt x="22938" y="13755"/>
                    <a:pt x="22963" y="13793"/>
                  </a:cubicBezTo>
                  <a:cubicBezTo>
                    <a:pt x="23008" y="13863"/>
                    <a:pt x="23033" y="13944"/>
                    <a:pt x="23033" y="14028"/>
                  </a:cubicBezTo>
                  <a:cubicBezTo>
                    <a:pt x="23043" y="14140"/>
                    <a:pt x="23054" y="14234"/>
                    <a:pt x="23176" y="14322"/>
                  </a:cubicBezTo>
                  <a:cubicBezTo>
                    <a:pt x="23334" y="14431"/>
                    <a:pt x="23334" y="14602"/>
                    <a:pt x="23334" y="14725"/>
                  </a:cubicBezTo>
                  <a:cubicBezTo>
                    <a:pt x="23334" y="14851"/>
                    <a:pt x="23341" y="14875"/>
                    <a:pt x="23376" y="14882"/>
                  </a:cubicBezTo>
                  <a:cubicBezTo>
                    <a:pt x="23610" y="14942"/>
                    <a:pt x="23775" y="15281"/>
                    <a:pt x="23800" y="15407"/>
                  </a:cubicBezTo>
                  <a:cubicBezTo>
                    <a:pt x="23806" y="15444"/>
                    <a:pt x="23926" y="15527"/>
                    <a:pt x="24020" y="15527"/>
                  </a:cubicBezTo>
                  <a:cubicBezTo>
                    <a:pt x="24023" y="15527"/>
                    <a:pt x="24027" y="15527"/>
                    <a:pt x="24031" y="15526"/>
                  </a:cubicBezTo>
                  <a:cubicBezTo>
                    <a:pt x="24076" y="15526"/>
                    <a:pt x="24080" y="15509"/>
                    <a:pt x="24083" y="15484"/>
                  </a:cubicBezTo>
                  <a:cubicBezTo>
                    <a:pt x="24094" y="15369"/>
                    <a:pt x="24153" y="15246"/>
                    <a:pt x="24213" y="15131"/>
                  </a:cubicBezTo>
                  <a:cubicBezTo>
                    <a:pt x="24265" y="15026"/>
                    <a:pt x="24314" y="14924"/>
                    <a:pt x="24325" y="14840"/>
                  </a:cubicBezTo>
                  <a:cubicBezTo>
                    <a:pt x="24346" y="14669"/>
                    <a:pt x="24185" y="13993"/>
                    <a:pt x="24034" y="13783"/>
                  </a:cubicBezTo>
                  <a:cubicBezTo>
                    <a:pt x="23971" y="13706"/>
                    <a:pt x="23943" y="13604"/>
                    <a:pt x="23954" y="13503"/>
                  </a:cubicBezTo>
                  <a:cubicBezTo>
                    <a:pt x="23961" y="13436"/>
                    <a:pt x="23964" y="13377"/>
                    <a:pt x="23877" y="13265"/>
                  </a:cubicBezTo>
                  <a:cubicBezTo>
                    <a:pt x="23677" y="13002"/>
                    <a:pt x="23547" y="12547"/>
                    <a:pt x="23558" y="12155"/>
                  </a:cubicBezTo>
                  <a:cubicBezTo>
                    <a:pt x="23572" y="11770"/>
                    <a:pt x="23996" y="11168"/>
                    <a:pt x="24223" y="10968"/>
                  </a:cubicBezTo>
                  <a:cubicBezTo>
                    <a:pt x="24314" y="10895"/>
                    <a:pt x="24419" y="10842"/>
                    <a:pt x="24531" y="10825"/>
                  </a:cubicBezTo>
                  <a:cubicBezTo>
                    <a:pt x="24640" y="10797"/>
                    <a:pt x="24675" y="10783"/>
                    <a:pt x="24689" y="10720"/>
                  </a:cubicBezTo>
                  <a:cubicBezTo>
                    <a:pt x="24745" y="10499"/>
                    <a:pt x="25021" y="10237"/>
                    <a:pt x="25203" y="10237"/>
                  </a:cubicBezTo>
                  <a:lnTo>
                    <a:pt x="25273" y="10237"/>
                  </a:lnTo>
                  <a:cubicBezTo>
                    <a:pt x="25290" y="10237"/>
                    <a:pt x="25305" y="10237"/>
                    <a:pt x="25318" y="10237"/>
                  </a:cubicBezTo>
                  <a:cubicBezTo>
                    <a:pt x="25431" y="10237"/>
                    <a:pt x="25457" y="10223"/>
                    <a:pt x="25466" y="10167"/>
                  </a:cubicBezTo>
                  <a:cubicBezTo>
                    <a:pt x="25494" y="9967"/>
                    <a:pt x="25781" y="9760"/>
                    <a:pt x="26103" y="9711"/>
                  </a:cubicBezTo>
                  <a:cubicBezTo>
                    <a:pt x="26208" y="9697"/>
                    <a:pt x="26222" y="9669"/>
                    <a:pt x="26222" y="9669"/>
                  </a:cubicBezTo>
                  <a:cubicBezTo>
                    <a:pt x="26233" y="9645"/>
                    <a:pt x="26184" y="9568"/>
                    <a:pt x="26152" y="9522"/>
                  </a:cubicBezTo>
                  <a:cubicBezTo>
                    <a:pt x="26135" y="9498"/>
                    <a:pt x="26117" y="9473"/>
                    <a:pt x="26103" y="9449"/>
                  </a:cubicBezTo>
                  <a:cubicBezTo>
                    <a:pt x="26040" y="9347"/>
                    <a:pt x="26068" y="9211"/>
                    <a:pt x="26170" y="9144"/>
                  </a:cubicBezTo>
                  <a:cubicBezTo>
                    <a:pt x="26191" y="9129"/>
                    <a:pt x="26215" y="9122"/>
                    <a:pt x="26239" y="9122"/>
                  </a:cubicBezTo>
                  <a:cubicBezTo>
                    <a:pt x="26282" y="9122"/>
                    <a:pt x="26326" y="9146"/>
                    <a:pt x="26348" y="9186"/>
                  </a:cubicBezTo>
                  <a:cubicBezTo>
                    <a:pt x="26369" y="9211"/>
                    <a:pt x="26401" y="9225"/>
                    <a:pt x="26429" y="9228"/>
                  </a:cubicBezTo>
                  <a:cubicBezTo>
                    <a:pt x="26447" y="9232"/>
                    <a:pt x="26466" y="9234"/>
                    <a:pt x="26484" y="9234"/>
                  </a:cubicBezTo>
                  <a:cubicBezTo>
                    <a:pt x="26537" y="9234"/>
                    <a:pt x="26587" y="9219"/>
                    <a:pt x="26632" y="9190"/>
                  </a:cubicBezTo>
                  <a:cubicBezTo>
                    <a:pt x="26744" y="9113"/>
                    <a:pt x="26828" y="9025"/>
                    <a:pt x="26845" y="8987"/>
                  </a:cubicBezTo>
                  <a:cubicBezTo>
                    <a:pt x="26831" y="8983"/>
                    <a:pt x="26817" y="8983"/>
                    <a:pt x="26803" y="8983"/>
                  </a:cubicBezTo>
                  <a:cubicBezTo>
                    <a:pt x="26614" y="8973"/>
                    <a:pt x="26499" y="8920"/>
                    <a:pt x="26485" y="8829"/>
                  </a:cubicBezTo>
                  <a:cubicBezTo>
                    <a:pt x="26481" y="8801"/>
                    <a:pt x="26485" y="8724"/>
                    <a:pt x="26611" y="8675"/>
                  </a:cubicBezTo>
                  <a:cubicBezTo>
                    <a:pt x="26621" y="8672"/>
                    <a:pt x="26642" y="8661"/>
                    <a:pt x="26639" y="8616"/>
                  </a:cubicBezTo>
                  <a:cubicBezTo>
                    <a:pt x="26618" y="8518"/>
                    <a:pt x="26537" y="8441"/>
                    <a:pt x="26436" y="8423"/>
                  </a:cubicBezTo>
                  <a:cubicBezTo>
                    <a:pt x="26366" y="8416"/>
                    <a:pt x="26271" y="8399"/>
                    <a:pt x="26243" y="8318"/>
                  </a:cubicBezTo>
                  <a:cubicBezTo>
                    <a:pt x="26212" y="8227"/>
                    <a:pt x="26299" y="8129"/>
                    <a:pt x="26383" y="8045"/>
                  </a:cubicBezTo>
                  <a:cubicBezTo>
                    <a:pt x="26390" y="8038"/>
                    <a:pt x="26397" y="8027"/>
                    <a:pt x="26394" y="8017"/>
                  </a:cubicBezTo>
                  <a:cubicBezTo>
                    <a:pt x="26387" y="7926"/>
                    <a:pt x="26156" y="7765"/>
                    <a:pt x="26058" y="7698"/>
                  </a:cubicBezTo>
                  <a:lnTo>
                    <a:pt x="26040" y="7684"/>
                  </a:lnTo>
                  <a:cubicBezTo>
                    <a:pt x="25963" y="7632"/>
                    <a:pt x="25956" y="7579"/>
                    <a:pt x="25963" y="7544"/>
                  </a:cubicBezTo>
                  <a:cubicBezTo>
                    <a:pt x="25981" y="7467"/>
                    <a:pt x="26072" y="7415"/>
                    <a:pt x="26275" y="7376"/>
                  </a:cubicBezTo>
                  <a:cubicBezTo>
                    <a:pt x="26299" y="7331"/>
                    <a:pt x="26296" y="7152"/>
                    <a:pt x="26292" y="7044"/>
                  </a:cubicBezTo>
                  <a:cubicBezTo>
                    <a:pt x="26292" y="6893"/>
                    <a:pt x="26289" y="6764"/>
                    <a:pt x="26320" y="6694"/>
                  </a:cubicBezTo>
                  <a:cubicBezTo>
                    <a:pt x="26355" y="6613"/>
                    <a:pt x="26432" y="6561"/>
                    <a:pt x="26516" y="6554"/>
                  </a:cubicBezTo>
                  <a:cubicBezTo>
                    <a:pt x="26519" y="6553"/>
                    <a:pt x="26523" y="6553"/>
                    <a:pt x="26526" y="6553"/>
                  </a:cubicBezTo>
                  <a:cubicBezTo>
                    <a:pt x="26568" y="6553"/>
                    <a:pt x="26609" y="6574"/>
                    <a:pt x="26635" y="6610"/>
                  </a:cubicBezTo>
                  <a:cubicBezTo>
                    <a:pt x="26656" y="6659"/>
                    <a:pt x="26653" y="6715"/>
                    <a:pt x="26618" y="6757"/>
                  </a:cubicBezTo>
                  <a:cubicBezTo>
                    <a:pt x="26523" y="6904"/>
                    <a:pt x="26443" y="7072"/>
                    <a:pt x="26565" y="7212"/>
                  </a:cubicBezTo>
                  <a:cubicBezTo>
                    <a:pt x="26740" y="7411"/>
                    <a:pt x="26786" y="7632"/>
                    <a:pt x="26723" y="7922"/>
                  </a:cubicBezTo>
                  <a:lnTo>
                    <a:pt x="26719" y="7936"/>
                  </a:lnTo>
                  <a:cubicBezTo>
                    <a:pt x="26765" y="7870"/>
                    <a:pt x="26807" y="7796"/>
                    <a:pt x="26845" y="7723"/>
                  </a:cubicBezTo>
                  <a:cubicBezTo>
                    <a:pt x="26985" y="7439"/>
                    <a:pt x="27020" y="7205"/>
                    <a:pt x="26982" y="7117"/>
                  </a:cubicBezTo>
                  <a:cubicBezTo>
                    <a:pt x="26982" y="7110"/>
                    <a:pt x="26975" y="7100"/>
                    <a:pt x="26968" y="7100"/>
                  </a:cubicBezTo>
                  <a:cubicBezTo>
                    <a:pt x="26877" y="7072"/>
                    <a:pt x="26842" y="6960"/>
                    <a:pt x="26838" y="6869"/>
                  </a:cubicBezTo>
                  <a:cubicBezTo>
                    <a:pt x="26835" y="6781"/>
                    <a:pt x="26863" y="6718"/>
                    <a:pt x="26915" y="6701"/>
                  </a:cubicBezTo>
                  <a:cubicBezTo>
                    <a:pt x="26925" y="6697"/>
                    <a:pt x="26936" y="6694"/>
                    <a:pt x="26949" y="6694"/>
                  </a:cubicBezTo>
                  <a:cubicBezTo>
                    <a:pt x="26980" y="6694"/>
                    <a:pt x="27020" y="6711"/>
                    <a:pt x="27062" y="6764"/>
                  </a:cubicBezTo>
                  <a:cubicBezTo>
                    <a:pt x="27104" y="6816"/>
                    <a:pt x="27150" y="6872"/>
                    <a:pt x="27178" y="6872"/>
                  </a:cubicBezTo>
                  <a:cubicBezTo>
                    <a:pt x="27220" y="6872"/>
                    <a:pt x="27318" y="6771"/>
                    <a:pt x="27353" y="6736"/>
                  </a:cubicBezTo>
                  <a:cubicBezTo>
                    <a:pt x="27528" y="6550"/>
                    <a:pt x="27678" y="6284"/>
                    <a:pt x="27664" y="6179"/>
                  </a:cubicBezTo>
                  <a:cubicBezTo>
                    <a:pt x="27664" y="6162"/>
                    <a:pt x="27657" y="6158"/>
                    <a:pt x="27654" y="6158"/>
                  </a:cubicBezTo>
                  <a:cubicBezTo>
                    <a:pt x="27566" y="6102"/>
                    <a:pt x="27577" y="6039"/>
                    <a:pt x="27587" y="6015"/>
                  </a:cubicBezTo>
                  <a:cubicBezTo>
                    <a:pt x="27622" y="5905"/>
                    <a:pt x="27814" y="5877"/>
                    <a:pt x="27950" y="5877"/>
                  </a:cubicBezTo>
                  <a:cubicBezTo>
                    <a:pt x="27967" y="5877"/>
                    <a:pt x="27982" y="5877"/>
                    <a:pt x="27997" y="5878"/>
                  </a:cubicBezTo>
                  <a:cubicBezTo>
                    <a:pt x="28006" y="5878"/>
                    <a:pt x="28015" y="5879"/>
                    <a:pt x="28024" y="5879"/>
                  </a:cubicBezTo>
                  <a:cubicBezTo>
                    <a:pt x="28237" y="5879"/>
                    <a:pt x="28614" y="5767"/>
                    <a:pt x="28718" y="5703"/>
                  </a:cubicBezTo>
                  <a:cubicBezTo>
                    <a:pt x="28714" y="5703"/>
                    <a:pt x="28710" y="5703"/>
                    <a:pt x="28705" y="5703"/>
                  </a:cubicBezTo>
                  <a:cubicBezTo>
                    <a:pt x="28620" y="5703"/>
                    <a:pt x="28457" y="5732"/>
                    <a:pt x="28354" y="5752"/>
                  </a:cubicBezTo>
                  <a:cubicBezTo>
                    <a:pt x="28206" y="5777"/>
                    <a:pt x="28103" y="5796"/>
                    <a:pt x="28031" y="5796"/>
                  </a:cubicBezTo>
                  <a:cubicBezTo>
                    <a:pt x="27982" y="5796"/>
                    <a:pt x="27948" y="5787"/>
                    <a:pt x="27924" y="5766"/>
                  </a:cubicBezTo>
                  <a:cubicBezTo>
                    <a:pt x="27902" y="5752"/>
                    <a:pt x="27892" y="5724"/>
                    <a:pt x="27892" y="5699"/>
                  </a:cubicBezTo>
                  <a:cubicBezTo>
                    <a:pt x="27892" y="5458"/>
                    <a:pt x="28729" y="5360"/>
                    <a:pt x="28841" y="5356"/>
                  </a:cubicBezTo>
                  <a:cubicBezTo>
                    <a:pt x="28942" y="5349"/>
                    <a:pt x="28960" y="5286"/>
                    <a:pt x="28977" y="5195"/>
                  </a:cubicBezTo>
                  <a:cubicBezTo>
                    <a:pt x="28988" y="5153"/>
                    <a:pt x="28995" y="5101"/>
                    <a:pt x="29047" y="5087"/>
                  </a:cubicBezTo>
                  <a:cubicBezTo>
                    <a:pt x="29053" y="5086"/>
                    <a:pt x="29058" y="5085"/>
                    <a:pt x="29064" y="5085"/>
                  </a:cubicBezTo>
                  <a:cubicBezTo>
                    <a:pt x="29111" y="5085"/>
                    <a:pt x="29144" y="5125"/>
                    <a:pt x="29163" y="5150"/>
                  </a:cubicBezTo>
                  <a:cubicBezTo>
                    <a:pt x="29212" y="5215"/>
                    <a:pt x="29274" y="5238"/>
                    <a:pt x="29335" y="5238"/>
                  </a:cubicBezTo>
                  <a:cubicBezTo>
                    <a:pt x="29411" y="5238"/>
                    <a:pt x="29487" y="5202"/>
                    <a:pt x="29537" y="5171"/>
                  </a:cubicBezTo>
                  <a:cubicBezTo>
                    <a:pt x="29572" y="5146"/>
                    <a:pt x="29586" y="5104"/>
                    <a:pt x="29576" y="5066"/>
                  </a:cubicBezTo>
                  <a:cubicBezTo>
                    <a:pt x="29562" y="4971"/>
                    <a:pt x="29495" y="4898"/>
                    <a:pt x="29408" y="4866"/>
                  </a:cubicBezTo>
                  <a:cubicBezTo>
                    <a:pt x="29362" y="4856"/>
                    <a:pt x="29324" y="4824"/>
                    <a:pt x="29306" y="4782"/>
                  </a:cubicBezTo>
                  <a:cubicBezTo>
                    <a:pt x="29289" y="4719"/>
                    <a:pt x="29334" y="4674"/>
                    <a:pt x="29380" y="4628"/>
                  </a:cubicBezTo>
                  <a:cubicBezTo>
                    <a:pt x="29401" y="4607"/>
                    <a:pt x="29439" y="4569"/>
                    <a:pt x="29439" y="4551"/>
                  </a:cubicBezTo>
                  <a:cubicBezTo>
                    <a:pt x="29383" y="4453"/>
                    <a:pt x="29460" y="4268"/>
                    <a:pt x="29485" y="4215"/>
                  </a:cubicBezTo>
                  <a:cubicBezTo>
                    <a:pt x="29520" y="4142"/>
                    <a:pt x="29642" y="3904"/>
                    <a:pt x="29835" y="3865"/>
                  </a:cubicBezTo>
                  <a:cubicBezTo>
                    <a:pt x="29922" y="3844"/>
                    <a:pt x="29943" y="3816"/>
                    <a:pt x="29968" y="3777"/>
                  </a:cubicBezTo>
                  <a:cubicBezTo>
                    <a:pt x="30000" y="3706"/>
                    <a:pt x="30072" y="3665"/>
                    <a:pt x="30149" y="3665"/>
                  </a:cubicBezTo>
                  <a:cubicBezTo>
                    <a:pt x="30155" y="3665"/>
                    <a:pt x="30161" y="3665"/>
                    <a:pt x="30168" y="3665"/>
                  </a:cubicBezTo>
                  <a:cubicBezTo>
                    <a:pt x="30252" y="3665"/>
                    <a:pt x="30294" y="3606"/>
                    <a:pt x="30367" y="3490"/>
                  </a:cubicBezTo>
                  <a:cubicBezTo>
                    <a:pt x="30409" y="3417"/>
                    <a:pt x="30462" y="3350"/>
                    <a:pt x="30521" y="3287"/>
                  </a:cubicBezTo>
                  <a:cubicBezTo>
                    <a:pt x="30564" y="3243"/>
                    <a:pt x="30611" y="3227"/>
                    <a:pt x="30659" y="3227"/>
                  </a:cubicBezTo>
                  <a:cubicBezTo>
                    <a:pt x="30731" y="3227"/>
                    <a:pt x="30804" y="3264"/>
                    <a:pt x="30868" y="3298"/>
                  </a:cubicBezTo>
                  <a:cubicBezTo>
                    <a:pt x="30945" y="3338"/>
                    <a:pt x="31008" y="3366"/>
                    <a:pt x="31067" y="3366"/>
                  </a:cubicBezTo>
                  <a:cubicBezTo>
                    <a:pt x="31113" y="3366"/>
                    <a:pt x="31157" y="3349"/>
                    <a:pt x="31204" y="3308"/>
                  </a:cubicBezTo>
                  <a:cubicBezTo>
                    <a:pt x="31316" y="3207"/>
                    <a:pt x="31435" y="3116"/>
                    <a:pt x="31561" y="3035"/>
                  </a:cubicBezTo>
                  <a:lnTo>
                    <a:pt x="31557" y="3028"/>
                  </a:lnTo>
                  <a:lnTo>
                    <a:pt x="31536" y="3000"/>
                  </a:lnTo>
                  <a:lnTo>
                    <a:pt x="31512" y="2965"/>
                  </a:lnTo>
                  <a:lnTo>
                    <a:pt x="31491" y="2934"/>
                  </a:lnTo>
                  <a:lnTo>
                    <a:pt x="31470" y="2902"/>
                  </a:lnTo>
                  <a:lnTo>
                    <a:pt x="31452" y="2871"/>
                  </a:lnTo>
                  <a:lnTo>
                    <a:pt x="31431" y="2843"/>
                  </a:lnTo>
                  <a:lnTo>
                    <a:pt x="31414" y="2811"/>
                  </a:lnTo>
                  <a:lnTo>
                    <a:pt x="31396" y="2783"/>
                  </a:lnTo>
                  <a:lnTo>
                    <a:pt x="31379" y="2752"/>
                  </a:lnTo>
                  <a:lnTo>
                    <a:pt x="31361" y="2724"/>
                  </a:lnTo>
                  <a:lnTo>
                    <a:pt x="31347" y="2692"/>
                  </a:lnTo>
                  <a:lnTo>
                    <a:pt x="31333" y="2664"/>
                  </a:lnTo>
                  <a:lnTo>
                    <a:pt x="31316" y="2636"/>
                  </a:lnTo>
                  <a:lnTo>
                    <a:pt x="31305" y="2608"/>
                  </a:lnTo>
                  <a:lnTo>
                    <a:pt x="31291" y="2580"/>
                  </a:lnTo>
                  <a:lnTo>
                    <a:pt x="31277" y="2556"/>
                  </a:lnTo>
                  <a:lnTo>
                    <a:pt x="31267" y="2524"/>
                  </a:lnTo>
                  <a:lnTo>
                    <a:pt x="31256" y="2500"/>
                  </a:lnTo>
                  <a:lnTo>
                    <a:pt x="31242" y="2472"/>
                  </a:lnTo>
                  <a:lnTo>
                    <a:pt x="31235" y="2447"/>
                  </a:lnTo>
                  <a:lnTo>
                    <a:pt x="31225" y="2419"/>
                  </a:lnTo>
                  <a:lnTo>
                    <a:pt x="31214" y="2395"/>
                  </a:lnTo>
                  <a:lnTo>
                    <a:pt x="31207" y="2367"/>
                  </a:lnTo>
                  <a:lnTo>
                    <a:pt x="31200" y="2346"/>
                  </a:lnTo>
                  <a:lnTo>
                    <a:pt x="31190" y="2318"/>
                  </a:lnTo>
                  <a:lnTo>
                    <a:pt x="31183" y="2297"/>
                  </a:lnTo>
                  <a:lnTo>
                    <a:pt x="31176" y="2269"/>
                  </a:lnTo>
                  <a:lnTo>
                    <a:pt x="31172" y="2248"/>
                  </a:lnTo>
                  <a:lnTo>
                    <a:pt x="31165" y="2223"/>
                  </a:lnTo>
                  <a:lnTo>
                    <a:pt x="31158" y="2202"/>
                  </a:lnTo>
                  <a:lnTo>
                    <a:pt x="31155" y="2178"/>
                  </a:lnTo>
                  <a:lnTo>
                    <a:pt x="31148" y="2157"/>
                  </a:lnTo>
                  <a:cubicBezTo>
                    <a:pt x="31148" y="2150"/>
                    <a:pt x="31144" y="2139"/>
                    <a:pt x="31144" y="2132"/>
                  </a:cubicBezTo>
                  <a:lnTo>
                    <a:pt x="31141" y="2115"/>
                  </a:lnTo>
                  <a:lnTo>
                    <a:pt x="31137" y="2090"/>
                  </a:lnTo>
                  <a:lnTo>
                    <a:pt x="31134" y="2073"/>
                  </a:lnTo>
                  <a:cubicBezTo>
                    <a:pt x="31134" y="2062"/>
                    <a:pt x="31130" y="2055"/>
                    <a:pt x="31130" y="2048"/>
                  </a:cubicBezTo>
                  <a:lnTo>
                    <a:pt x="31130" y="2031"/>
                  </a:lnTo>
                  <a:cubicBezTo>
                    <a:pt x="31130" y="2024"/>
                    <a:pt x="31130" y="2013"/>
                    <a:pt x="31127" y="2006"/>
                  </a:cubicBezTo>
                  <a:cubicBezTo>
                    <a:pt x="31123" y="1999"/>
                    <a:pt x="31127" y="1996"/>
                    <a:pt x="31127" y="1989"/>
                  </a:cubicBezTo>
                  <a:lnTo>
                    <a:pt x="31127" y="1968"/>
                  </a:lnTo>
                  <a:lnTo>
                    <a:pt x="31127" y="1950"/>
                  </a:lnTo>
                  <a:lnTo>
                    <a:pt x="31127" y="1929"/>
                  </a:lnTo>
                  <a:lnTo>
                    <a:pt x="31127" y="1915"/>
                  </a:lnTo>
                  <a:lnTo>
                    <a:pt x="31127" y="1894"/>
                  </a:lnTo>
                  <a:lnTo>
                    <a:pt x="31127" y="1880"/>
                  </a:lnTo>
                  <a:lnTo>
                    <a:pt x="31127" y="1859"/>
                  </a:lnTo>
                  <a:lnTo>
                    <a:pt x="31127" y="1845"/>
                  </a:lnTo>
                  <a:lnTo>
                    <a:pt x="31127" y="1824"/>
                  </a:lnTo>
                  <a:lnTo>
                    <a:pt x="31127" y="1810"/>
                  </a:lnTo>
                  <a:lnTo>
                    <a:pt x="31127" y="1792"/>
                  </a:lnTo>
                  <a:lnTo>
                    <a:pt x="31127" y="1778"/>
                  </a:lnTo>
                  <a:lnTo>
                    <a:pt x="31127" y="1761"/>
                  </a:lnTo>
                  <a:lnTo>
                    <a:pt x="31127" y="1750"/>
                  </a:lnTo>
                  <a:lnTo>
                    <a:pt x="31127" y="1733"/>
                  </a:lnTo>
                  <a:lnTo>
                    <a:pt x="31127" y="1722"/>
                  </a:lnTo>
                  <a:lnTo>
                    <a:pt x="31127" y="1705"/>
                  </a:lnTo>
                  <a:lnTo>
                    <a:pt x="31127" y="1698"/>
                  </a:lnTo>
                  <a:lnTo>
                    <a:pt x="31127" y="1677"/>
                  </a:lnTo>
                  <a:cubicBezTo>
                    <a:pt x="31127" y="1663"/>
                    <a:pt x="31130" y="1645"/>
                    <a:pt x="31130" y="1635"/>
                  </a:cubicBezTo>
                  <a:cubicBezTo>
                    <a:pt x="31134" y="1603"/>
                    <a:pt x="31134" y="1572"/>
                    <a:pt x="31134" y="1540"/>
                  </a:cubicBezTo>
                  <a:cubicBezTo>
                    <a:pt x="31120" y="1516"/>
                    <a:pt x="31004" y="1505"/>
                    <a:pt x="30927" y="1502"/>
                  </a:cubicBezTo>
                  <a:lnTo>
                    <a:pt x="30913" y="1502"/>
                  </a:lnTo>
                  <a:cubicBezTo>
                    <a:pt x="30756" y="1491"/>
                    <a:pt x="30563" y="1477"/>
                    <a:pt x="30430" y="1376"/>
                  </a:cubicBezTo>
                  <a:cubicBezTo>
                    <a:pt x="30420" y="1369"/>
                    <a:pt x="30409" y="1365"/>
                    <a:pt x="30395" y="1365"/>
                  </a:cubicBezTo>
                  <a:cubicBezTo>
                    <a:pt x="30388" y="1365"/>
                    <a:pt x="30385" y="1369"/>
                    <a:pt x="30378" y="1369"/>
                  </a:cubicBezTo>
                  <a:cubicBezTo>
                    <a:pt x="30196" y="1432"/>
                    <a:pt x="29912" y="2003"/>
                    <a:pt x="29838" y="2311"/>
                  </a:cubicBezTo>
                  <a:cubicBezTo>
                    <a:pt x="29751" y="2671"/>
                    <a:pt x="29156" y="3046"/>
                    <a:pt x="29131" y="3063"/>
                  </a:cubicBezTo>
                  <a:lnTo>
                    <a:pt x="29114" y="3074"/>
                  </a:lnTo>
                  <a:lnTo>
                    <a:pt x="29089" y="3074"/>
                  </a:lnTo>
                  <a:cubicBezTo>
                    <a:pt x="29068" y="3074"/>
                    <a:pt x="27356" y="3088"/>
                    <a:pt x="27209" y="3088"/>
                  </a:cubicBezTo>
                  <a:lnTo>
                    <a:pt x="27192" y="3088"/>
                  </a:lnTo>
                  <a:lnTo>
                    <a:pt x="27185" y="3091"/>
                  </a:lnTo>
                  <a:lnTo>
                    <a:pt x="27178" y="3095"/>
                  </a:lnTo>
                  <a:lnTo>
                    <a:pt x="27171" y="3098"/>
                  </a:lnTo>
                  <a:lnTo>
                    <a:pt x="27164" y="3102"/>
                  </a:lnTo>
                  <a:lnTo>
                    <a:pt x="27153" y="3109"/>
                  </a:lnTo>
                  <a:lnTo>
                    <a:pt x="27143" y="3116"/>
                  </a:lnTo>
                  <a:lnTo>
                    <a:pt x="27132" y="3123"/>
                  </a:lnTo>
                  <a:lnTo>
                    <a:pt x="27129" y="3123"/>
                  </a:lnTo>
                  <a:lnTo>
                    <a:pt x="27115" y="3130"/>
                  </a:lnTo>
                  <a:lnTo>
                    <a:pt x="27111" y="3130"/>
                  </a:lnTo>
                  <a:lnTo>
                    <a:pt x="27101" y="3137"/>
                  </a:lnTo>
                  <a:lnTo>
                    <a:pt x="27097" y="3137"/>
                  </a:lnTo>
                  <a:lnTo>
                    <a:pt x="27083" y="3147"/>
                  </a:lnTo>
                  <a:lnTo>
                    <a:pt x="27080" y="3151"/>
                  </a:lnTo>
                  <a:lnTo>
                    <a:pt x="27062" y="3161"/>
                  </a:lnTo>
                  <a:lnTo>
                    <a:pt x="27059" y="3165"/>
                  </a:lnTo>
                  <a:lnTo>
                    <a:pt x="27041" y="3179"/>
                  </a:lnTo>
                  <a:lnTo>
                    <a:pt x="27038" y="3182"/>
                  </a:lnTo>
                  <a:lnTo>
                    <a:pt x="27020" y="3193"/>
                  </a:lnTo>
                  <a:lnTo>
                    <a:pt x="27013" y="3196"/>
                  </a:lnTo>
                  <a:lnTo>
                    <a:pt x="26996" y="3214"/>
                  </a:lnTo>
                  <a:lnTo>
                    <a:pt x="26989" y="3217"/>
                  </a:lnTo>
                  <a:lnTo>
                    <a:pt x="26968" y="3231"/>
                  </a:lnTo>
                  <a:lnTo>
                    <a:pt x="26961" y="3238"/>
                  </a:lnTo>
                  <a:lnTo>
                    <a:pt x="26940" y="3256"/>
                  </a:lnTo>
                  <a:lnTo>
                    <a:pt x="26933" y="3259"/>
                  </a:lnTo>
                  <a:lnTo>
                    <a:pt x="26912" y="3280"/>
                  </a:lnTo>
                  <a:lnTo>
                    <a:pt x="26901" y="3284"/>
                  </a:lnTo>
                  <a:lnTo>
                    <a:pt x="26877" y="3305"/>
                  </a:lnTo>
                  <a:lnTo>
                    <a:pt x="26870" y="3312"/>
                  </a:lnTo>
                  <a:lnTo>
                    <a:pt x="26845" y="3333"/>
                  </a:lnTo>
                  <a:lnTo>
                    <a:pt x="26835" y="3340"/>
                  </a:lnTo>
                  <a:lnTo>
                    <a:pt x="26807" y="3364"/>
                  </a:lnTo>
                  <a:lnTo>
                    <a:pt x="26796" y="3371"/>
                  </a:lnTo>
                  <a:lnTo>
                    <a:pt x="26768" y="3396"/>
                  </a:lnTo>
                  <a:lnTo>
                    <a:pt x="26758" y="3406"/>
                  </a:lnTo>
                  <a:lnTo>
                    <a:pt x="26726" y="3431"/>
                  </a:lnTo>
                  <a:lnTo>
                    <a:pt x="26716" y="3441"/>
                  </a:lnTo>
                  <a:lnTo>
                    <a:pt x="26681" y="3469"/>
                  </a:lnTo>
                  <a:lnTo>
                    <a:pt x="26674" y="3480"/>
                  </a:lnTo>
                  <a:lnTo>
                    <a:pt x="26635" y="3511"/>
                  </a:lnTo>
                  <a:lnTo>
                    <a:pt x="26628" y="3518"/>
                  </a:lnTo>
                  <a:lnTo>
                    <a:pt x="26586" y="3553"/>
                  </a:lnTo>
                  <a:lnTo>
                    <a:pt x="26579" y="3564"/>
                  </a:lnTo>
                  <a:lnTo>
                    <a:pt x="26569" y="3571"/>
                  </a:lnTo>
                  <a:cubicBezTo>
                    <a:pt x="26611" y="3644"/>
                    <a:pt x="26611" y="3739"/>
                    <a:pt x="26569" y="3812"/>
                  </a:cubicBezTo>
                  <a:cubicBezTo>
                    <a:pt x="26429" y="4061"/>
                    <a:pt x="25872" y="4170"/>
                    <a:pt x="25441" y="4187"/>
                  </a:cubicBezTo>
                  <a:cubicBezTo>
                    <a:pt x="25298" y="4194"/>
                    <a:pt x="25186" y="4205"/>
                    <a:pt x="25084" y="4219"/>
                  </a:cubicBezTo>
                  <a:cubicBezTo>
                    <a:pt x="25088" y="4240"/>
                    <a:pt x="25091" y="4257"/>
                    <a:pt x="25095" y="4275"/>
                  </a:cubicBezTo>
                  <a:lnTo>
                    <a:pt x="25095" y="4289"/>
                  </a:lnTo>
                  <a:cubicBezTo>
                    <a:pt x="25095" y="4303"/>
                    <a:pt x="25095" y="4317"/>
                    <a:pt x="25098" y="4327"/>
                  </a:cubicBezTo>
                  <a:lnTo>
                    <a:pt x="25098" y="4341"/>
                  </a:lnTo>
                  <a:cubicBezTo>
                    <a:pt x="25098" y="4355"/>
                    <a:pt x="25098" y="4373"/>
                    <a:pt x="25098" y="4387"/>
                  </a:cubicBezTo>
                  <a:cubicBezTo>
                    <a:pt x="25095" y="4394"/>
                    <a:pt x="25095" y="4401"/>
                    <a:pt x="25091" y="4408"/>
                  </a:cubicBezTo>
                  <a:cubicBezTo>
                    <a:pt x="25091" y="4411"/>
                    <a:pt x="25091" y="4415"/>
                    <a:pt x="25088" y="4415"/>
                  </a:cubicBezTo>
                  <a:cubicBezTo>
                    <a:pt x="25088" y="4422"/>
                    <a:pt x="25084" y="4425"/>
                    <a:pt x="25084" y="4429"/>
                  </a:cubicBezTo>
                  <a:cubicBezTo>
                    <a:pt x="25084" y="4432"/>
                    <a:pt x="25077" y="4436"/>
                    <a:pt x="25077" y="4439"/>
                  </a:cubicBezTo>
                  <a:cubicBezTo>
                    <a:pt x="25074" y="4443"/>
                    <a:pt x="25070" y="4450"/>
                    <a:pt x="25067" y="4453"/>
                  </a:cubicBezTo>
                  <a:lnTo>
                    <a:pt x="25060" y="4464"/>
                  </a:lnTo>
                  <a:lnTo>
                    <a:pt x="25046" y="4474"/>
                  </a:lnTo>
                  <a:lnTo>
                    <a:pt x="25035" y="4485"/>
                  </a:lnTo>
                  <a:lnTo>
                    <a:pt x="25021" y="4495"/>
                  </a:lnTo>
                  <a:lnTo>
                    <a:pt x="25007" y="4506"/>
                  </a:lnTo>
                  <a:lnTo>
                    <a:pt x="24990" y="4520"/>
                  </a:lnTo>
                  <a:lnTo>
                    <a:pt x="24972" y="4530"/>
                  </a:lnTo>
                  <a:lnTo>
                    <a:pt x="24951" y="4544"/>
                  </a:lnTo>
                  <a:lnTo>
                    <a:pt x="24934" y="4555"/>
                  </a:lnTo>
                  <a:lnTo>
                    <a:pt x="24916" y="4562"/>
                  </a:lnTo>
                  <a:cubicBezTo>
                    <a:pt x="24811" y="4730"/>
                    <a:pt x="24381" y="4961"/>
                    <a:pt x="23835" y="5244"/>
                  </a:cubicBezTo>
                  <a:lnTo>
                    <a:pt x="23649" y="5342"/>
                  </a:lnTo>
                  <a:cubicBezTo>
                    <a:pt x="23478" y="5431"/>
                    <a:pt x="23282" y="5476"/>
                    <a:pt x="23097" y="5476"/>
                  </a:cubicBezTo>
                  <a:cubicBezTo>
                    <a:pt x="22934" y="5476"/>
                    <a:pt x="22780" y="5441"/>
                    <a:pt x="22662" y="5370"/>
                  </a:cubicBezTo>
                  <a:cubicBezTo>
                    <a:pt x="22539" y="5304"/>
                    <a:pt x="22462" y="5178"/>
                    <a:pt x="22459" y="5041"/>
                  </a:cubicBezTo>
                  <a:cubicBezTo>
                    <a:pt x="22459" y="4789"/>
                    <a:pt x="22602" y="4733"/>
                    <a:pt x="22665" y="4719"/>
                  </a:cubicBezTo>
                  <a:cubicBezTo>
                    <a:pt x="22682" y="4717"/>
                    <a:pt x="22698" y="4715"/>
                    <a:pt x="22714" y="4715"/>
                  </a:cubicBezTo>
                  <a:cubicBezTo>
                    <a:pt x="22830" y="4715"/>
                    <a:pt x="22939" y="4779"/>
                    <a:pt x="22994" y="4884"/>
                  </a:cubicBezTo>
                  <a:cubicBezTo>
                    <a:pt x="23019" y="4873"/>
                    <a:pt x="23040" y="4859"/>
                    <a:pt x="23064" y="4845"/>
                  </a:cubicBezTo>
                  <a:cubicBezTo>
                    <a:pt x="23057" y="4838"/>
                    <a:pt x="23054" y="4831"/>
                    <a:pt x="23050" y="4824"/>
                  </a:cubicBezTo>
                  <a:cubicBezTo>
                    <a:pt x="23047" y="4817"/>
                    <a:pt x="23047" y="4814"/>
                    <a:pt x="23043" y="4810"/>
                  </a:cubicBezTo>
                  <a:cubicBezTo>
                    <a:pt x="23036" y="4796"/>
                    <a:pt x="23029" y="4779"/>
                    <a:pt x="23022" y="4761"/>
                  </a:cubicBezTo>
                  <a:cubicBezTo>
                    <a:pt x="23022" y="4758"/>
                    <a:pt x="23022" y="4754"/>
                    <a:pt x="23019" y="4751"/>
                  </a:cubicBezTo>
                  <a:cubicBezTo>
                    <a:pt x="23015" y="4737"/>
                    <a:pt x="23008" y="4723"/>
                    <a:pt x="23005" y="4709"/>
                  </a:cubicBezTo>
                  <a:cubicBezTo>
                    <a:pt x="23005" y="4702"/>
                    <a:pt x="23005" y="4698"/>
                    <a:pt x="23001" y="4691"/>
                  </a:cubicBezTo>
                  <a:cubicBezTo>
                    <a:pt x="23001" y="4677"/>
                    <a:pt x="22998" y="4663"/>
                    <a:pt x="22994" y="4646"/>
                  </a:cubicBezTo>
                  <a:lnTo>
                    <a:pt x="22994" y="4632"/>
                  </a:lnTo>
                  <a:cubicBezTo>
                    <a:pt x="22994" y="4611"/>
                    <a:pt x="22994" y="4590"/>
                    <a:pt x="22994" y="4569"/>
                  </a:cubicBezTo>
                  <a:lnTo>
                    <a:pt x="22994" y="4565"/>
                  </a:lnTo>
                  <a:cubicBezTo>
                    <a:pt x="22994" y="4544"/>
                    <a:pt x="22994" y="4523"/>
                    <a:pt x="22994" y="4502"/>
                  </a:cubicBezTo>
                  <a:lnTo>
                    <a:pt x="22994" y="4481"/>
                  </a:lnTo>
                  <a:cubicBezTo>
                    <a:pt x="22994" y="4474"/>
                    <a:pt x="22994" y="4464"/>
                    <a:pt x="22998" y="4457"/>
                  </a:cubicBezTo>
                  <a:cubicBezTo>
                    <a:pt x="22945" y="4397"/>
                    <a:pt x="22949" y="4289"/>
                    <a:pt x="22956" y="4170"/>
                  </a:cubicBezTo>
                  <a:cubicBezTo>
                    <a:pt x="22959" y="3977"/>
                    <a:pt x="22956" y="3830"/>
                    <a:pt x="22847" y="3791"/>
                  </a:cubicBezTo>
                  <a:cubicBezTo>
                    <a:pt x="22830" y="3786"/>
                    <a:pt x="22812" y="3784"/>
                    <a:pt x="22794" y="3784"/>
                  </a:cubicBezTo>
                  <a:cubicBezTo>
                    <a:pt x="22691" y="3784"/>
                    <a:pt x="22572" y="3858"/>
                    <a:pt x="22483" y="3918"/>
                  </a:cubicBezTo>
                  <a:cubicBezTo>
                    <a:pt x="22413" y="3962"/>
                    <a:pt x="22358" y="3998"/>
                    <a:pt x="22309" y="3998"/>
                  </a:cubicBezTo>
                  <a:cubicBezTo>
                    <a:pt x="22292" y="3998"/>
                    <a:pt x="22275" y="3994"/>
                    <a:pt x="22259" y="3984"/>
                  </a:cubicBezTo>
                  <a:cubicBezTo>
                    <a:pt x="22200" y="3942"/>
                    <a:pt x="22214" y="3854"/>
                    <a:pt x="22221" y="3816"/>
                  </a:cubicBezTo>
                  <a:cubicBezTo>
                    <a:pt x="22238" y="3693"/>
                    <a:pt x="22308" y="3585"/>
                    <a:pt x="22371" y="3476"/>
                  </a:cubicBezTo>
                  <a:cubicBezTo>
                    <a:pt x="22494" y="3277"/>
                    <a:pt x="22599" y="3105"/>
                    <a:pt x="22448" y="2867"/>
                  </a:cubicBezTo>
                  <a:cubicBezTo>
                    <a:pt x="22307" y="2650"/>
                    <a:pt x="22115" y="2577"/>
                    <a:pt x="21978" y="2577"/>
                  </a:cubicBezTo>
                  <a:cubicBezTo>
                    <a:pt x="21962" y="2577"/>
                    <a:pt x="21948" y="2578"/>
                    <a:pt x="21934" y="2580"/>
                  </a:cubicBezTo>
                  <a:cubicBezTo>
                    <a:pt x="21832" y="2587"/>
                    <a:pt x="21745" y="2657"/>
                    <a:pt x="21717" y="2755"/>
                  </a:cubicBezTo>
                  <a:cubicBezTo>
                    <a:pt x="21653" y="2958"/>
                    <a:pt x="21496" y="3004"/>
                    <a:pt x="21373" y="3039"/>
                  </a:cubicBezTo>
                  <a:cubicBezTo>
                    <a:pt x="21265" y="3070"/>
                    <a:pt x="21195" y="3095"/>
                    <a:pt x="21156" y="3175"/>
                  </a:cubicBezTo>
                  <a:cubicBezTo>
                    <a:pt x="21037" y="3410"/>
                    <a:pt x="20925" y="3932"/>
                    <a:pt x="21016" y="4296"/>
                  </a:cubicBezTo>
                  <a:cubicBezTo>
                    <a:pt x="21128" y="4747"/>
                    <a:pt x="20946" y="4957"/>
                    <a:pt x="20596" y="5167"/>
                  </a:cubicBezTo>
                  <a:cubicBezTo>
                    <a:pt x="20532" y="5206"/>
                    <a:pt x="20469" y="5225"/>
                    <a:pt x="20409" y="5225"/>
                  </a:cubicBezTo>
                  <a:cubicBezTo>
                    <a:pt x="20355" y="5225"/>
                    <a:pt x="20303" y="5209"/>
                    <a:pt x="20257" y="5178"/>
                  </a:cubicBezTo>
                  <a:cubicBezTo>
                    <a:pt x="20050" y="5031"/>
                    <a:pt x="19984" y="4579"/>
                    <a:pt x="20085" y="4058"/>
                  </a:cubicBezTo>
                  <a:cubicBezTo>
                    <a:pt x="20120" y="3900"/>
                    <a:pt x="20162" y="3746"/>
                    <a:pt x="20215" y="3592"/>
                  </a:cubicBezTo>
                  <a:cubicBezTo>
                    <a:pt x="20267" y="3434"/>
                    <a:pt x="20330" y="3238"/>
                    <a:pt x="20299" y="3196"/>
                  </a:cubicBezTo>
                  <a:cubicBezTo>
                    <a:pt x="20294" y="3191"/>
                    <a:pt x="20287" y="3188"/>
                    <a:pt x="20279" y="3188"/>
                  </a:cubicBezTo>
                  <a:cubicBezTo>
                    <a:pt x="20276" y="3188"/>
                    <a:pt x="20273" y="3188"/>
                    <a:pt x="20271" y="3189"/>
                  </a:cubicBezTo>
                  <a:cubicBezTo>
                    <a:pt x="20266" y="3190"/>
                    <a:pt x="20262" y="3190"/>
                    <a:pt x="20258" y="3190"/>
                  </a:cubicBezTo>
                  <a:cubicBezTo>
                    <a:pt x="20203" y="3190"/>
                    <a:pt x="20155" y="3150"/>
                    <a:pt x="20148" y="3095"/>
                  </a:cubicBezTo>
                  <a:cubicBezTo>
                    <a:pt x="20127" y="2906"/>
                    <a:pt x="20652" y="2458"/>
                    <a:pt x="21083" y="2356"/>
                  </a:cubicBezTo>
                  <a:cubicBezTo>
                    <a:pt x="21296" y="2311"/>
                    <a:pt x="21517" y="2279"/>
                    <a:pt x="21738" y="2265"/>
                  </a:cubicBezTo>
                  <a:cubicBezTo>
                    <a:pt x="21902" y="2251"/>
                    <a:pt x="22130" y="2230"/>
                    <a:pt x="22172" y="2195"/>
                  </a:cubicBezTo>
                  <a:cubicBezTo>
                    <a:pt x="22172" y="2174"/>
                    <a:pt x="22179" y="2153"/>
                    <a:pt x="22189" y="2139"/>
                  </a:cubicBezTo>
                  <a:lnTo>
                    <a:pt x="22182" y="2132"/>
                  </a:lnTo>
                  <a:lnTo>
                    <a:pt x="22151" y="2111"/>
                  </a:lnTo>
                  <a:lnTo>
                    <a:pt x="22137" y="2101"/>
                  </a:lnTo>
                  <a:lnTo>
                    <a:pt x="22098" y="2073"/>
                  </a:lnTo>
                  <a:lnTo>
                    <a:pt x="22095" y="2073"/>
                  </a:lnTo>
                  <a:lnTo>
                    <a:pt x="22053" y="2045"/>
                  </a:lnTo>
                  <a:lnTo>
                    <a:pt x="22046" y="2041"/>
                  </a:lnTo>
                  <a:lnTo>
                    <a:pt x="22011" y="2017"/>
                  </a:lnTo>
                  <a:lnTo>
                    <a:pt x="22007" y="2017"/>
                  </a:lnTo>
                  <a:cubicBezTo>
                    <a:pt x="21993" y="2034"/>
                    <a:pt x="21976" y="2052"/>
                    <a:pt x="21958" y="2062"/>
                  </a:cubicBezTo>
                  <a:cubicBezTo>
                    <a:pt x="21912" y="2095"/>
                    <a:pt x="21872" y="2108"/>
                    <a:pt x="21838" y="2108"/>
                  </a:cubicBezTo>
                  <a:cubicBezTo>
                    <a:pt x="21765" y="2108"/>
                    <a:pt x="21717" y="2048"/>
                    <a:pt x="21681" y="2003"/>
                  </a:cubicBezTo>
                  <a:cubicBezTo>
                    <a:pt x="21629" y="1936"/>
                    <a:pt x="21566" y="1856"/>
                    <a:pt x="21412" y="1856"/>
                  </a:cubicBezTo>
                  <a:cubicBezTo>
                    <a:pt x="21268" y="1856"/>
                    <a:pt x="21118" y="1915"/>
                    <a:pt x="20974" y="1975"/>
                  </a:cubicBezTo>
                  <a:cubicBezTo>
                    <a:pt x="20833" y="2030"/>
                    <a:pt x="20688" y="2086"/>
                    <a:pt x="20549" y="2086"/>
                  </a:cubicBezTo>
                  <a:cubicBezTo>
                    <a:pt x="20485" y="2086"/>
                    <a:pt x="20422" y="2074"/>
                    <a:pt x="20362" y="2045"/>
                  </a:cubicBezTo>
                  <a:cubicBezTo>
                    <a:pt x="20253" y="1996"/>
                    <a:pt x="20166" y="1908"/>
                    <a:pt x="20120" y="1799"/>
                  </a:cubicBezTo>
                  <a:cubicBezTo>
                    <a:pt x="20089" y="1733"/>
                    <a:pt x="20078" y="1712"/>
                    <a:pt x="19977" y="1712"/>
                  </a:cubicBezTo>
                  <a:cubicBezTo>
                    <a:pt x="19973" y="1712"/>
                    <a:pt x="19970" y="1712"/>
                    <a:pt x="19966" y="1712"/>
                  </a:cubicBezTo>
                  <a:cubicBezTo>
                    <a:pt x="19921" y="1712"/>
                    <a:pt x="19876" y="1692"/>
                    <a:pt x="19847" y="1656"/>
                  </a:cubicBezTo>
                  <a:cubicBezTo>
                    <a:pt x="19798" y="1589"/>
                    <a:pt x="19830" y="1495"/>
                    <a:pt x="19858" y="1411"/>
                  </a:cubicBezTo>
                  <a:lnTo>
                    <a:pt x="19868" y="1386"/>
                  </a:lnTo>
                  <a:lnTo>
                    <a:pt x="19868" y="1386"/>
                  </a:lnTo>
                  <a:cubicBezTo>
                    <a:pt x="19854" y="1393"/>
                    <a:pt x="19837" y="1400"/>
                    <a:pt x="19816" y="1414"/>
                  </a:cubicBezTo>
                  <a:cubicBezTo>
                    <a:pt x="19721" y="1467"/>
                    <a:pt x="19616" y="1537"/>
                    <a:pt x="19507" y="1610"/>
                  </a:cubicBezTo>
                  <a:cubicBezTo>
                    <a:pt x="19239" y="1793"/>
                    <a:pt x="18944" y="1993"/>
                    <a:pt x="18713" y="1993"/>
                  </a:cubicBezTo>
                  <a:cubicBezTo>
                    <a:pt x="18635" y="1993"/>
                    <a:pt x="18563" y="1970"/>
                    <a:pt x="18503" y="1915"/>
                  </a:cubicBezTo>
                  <a:cubicBezTo>
                    <a:pt x="18435" y="1853"/>
                    <a:pt x="18371" y="1834"/>
                    <a:pt x="18307" y="1834"/>
                  </a:cubicBezTo>
                  <a:cubicBezTo>
                    <a:pt x="18259" y="1834"/>
                    <a:pt x="18211" y="1845"/>
                    <a:pt x="18160" y="1856"/>
                  </a:cubicBezTo>
                  <a:cubicBezTo>
                    <a:pt x="18107" y="1866"/>
                    <a:pt x="18054" y="1877"/>
                    <a:pt x="18002" y="1877"/>
                  </a:cubicBezTo>
                  <a:cubicBezTo>
                    <a:pt x="17931" y="1877"/>
                    <a:pt x="17862" y="1857"/>
                    <a:pt x="17796" y="1789"/>
                  </a:cubicBezTo>
                  <a:cubicBezTo>
                    <a:pt x="17743" y="1736"/>
                    <a:pt x="17733" y="1656"/>
                    <a:pt x="17768" y="1589"/>
                  </a:cubicBezTo>
                  <a:cubicBezTo>
                    <a:pt x="17891" y="1323"/>
                    <a:pt x="18548" y="973"/>
                    <a:pt x="18911" y="973"/>
                  </a:cubicBezTo>
                  <a:cubicBezTo>
                    <a:pt x="18920" y="973"/>
                    <a:pt x="18928" y="973"/>
                    <a:pt x="18937" y="973"/>
                  </a:cubicBezTo>
                  <a:cubicBezTo>
                    <a:pt x="18943" y="974"/>
                    <a:pt x="18949" y="974"/>
                    <a:pt x="18954" y="974"/>
                  </a:cubicBezTo>
                  <a:cubicBezTo>
                    <a:pt x="18994" y="974"/>
                    <a:pt x="19033" y="964"/>
                    <a:pt x="19070" y="949"/>
                  </a:cubicBezTo>
                  <a:cubicBezTo>
                    <a:pt x="18954" y="907"/>
                    <a:pt x="18839" y="872"/>
                    <a:pt x="18720" y="847"/>
                  </a:cubicBezTo>
                  <a:cubicBezTo>
                    <a:pt x="18672" y="838"/>
                    <a:pt x="18626" y="832"/>
                    <a:pt x="18588" y="832"/>
                  </a:cubicBezTo>
                  <a:cubicBezTo>
                    <a:pt x="18540" y="832"/>
                    <a:pt x="18503" y="841"/>
                    <a:pt x="18485" y="865"/>
                  </a:cubicBezTo>
                  <a:cubicBezTo>
                    <a:pt x="18436" y="924"/>
                    <a:pt x="18366" y="966"/>
                    <a:pt x="18289" y="977"/>
                  </a:cubicBezTo>
                  <a:lnTo>
                    <a:pt x="18254" y="977"/>
                  </a:lnTo>
                  <a:cubicBezTo>
                    <a:pt x="18219" y="977"/>
                    <a:pt x="18184" y="970"/>
                    <a:pt x="18153" y="959"/>
                  </a:cubicBezTo>
                  <a:cubicBezTo>
                    <a:pt x="18058" y="921"/>
                    <a:pt x="17974" y="861"/>
                    <a:pt x="17915" y="781"/>
                  </a:cubicBezTo>
                  <a:cubicBezTo>
                    <a:pt x="17893" y="751"/>
                    <a:pt x="17874" y="744"/>
                    <a:pt x="17836" y="744"/>
                  </a:cubicBezTo>
                  <a:cubicBezTo>
                    <a:pt x="17824" y="744"/>
                    <a:pt x="17811" y="745"/>
                    <a:pt x="17796" y="746"/>
                  </a:cubicBezTo>
                  <a:cubicBezTo>
                    <a:pt x="17782" y="747"/>
                    <a:pt x="17769" y="748"/>
                    <a:pt x="17755" y="748"/>
                  </a:cubicBezTo>
                  <a:cubicBezTo>
                    <a:pt x="17643" y="748"/>
                    <a:pt x="17532" y="696"/>
                    <a:pt x="17463" y="602"/>
                  </a:cubicBezTo>
                  <a:cubicBezTo>
                    <a:pt x="17403" y="534"/>
                    <a:pt x="17348" y="508"/>
                    <a:pt x="17290" y="508"/>
                  </a:cubicBezTo>
                  <a:cubicBezTo>
                    <a:pt x="17230" y="508"/>
                    <a:pt x="17169" y="537"/>
                    <a:pt x="17099" y="574"/>
                  </a:cubicBezTo>
                  <a:cubicBezTo>
                    <a:pt x="17078" y="585"/>
                    <a:pt x="17057" y="595"/>
                    <a:pt x="17036" y="606"/>
                  </a:cubicBezTo>
                  <a:cubicBezTo>
                    <a:pt x="17010" y="616"/>
                    <a:pt x="16985" y="621"/>
                    <a:pt x="16958" y="621"/>
                  </a:cubicBezTo>
                  <a:cubicBezTo>
                    <a:pt x="16879" y="621"/>
                    <a:pt x="16795" y="579"/>
                    <a:pt x="16703" y="532"/>
                  </a:cubicBezTo>
                  <a:cubicBezTo>
                    <a:pt x="16644" y="497"/>
                    <a:pt x="16581" y="469"/>
                    <a:pt x="16518" y="445"/>
                  </a:cubicBezTo>
                  <a:cubicBezTo>
                    <a:pt x="16371" y="385"/>
                    <a:pt x="16360" y="270"/>
                    <a:pt x="16350" y="186"/>
                  </a:cubicBezTo>
                  <a:cubicBezTo>
                    <a:pt x="16343" y="105"/>
                    <a:pt x="16336" y="56"/>
                    <a:pt x="16276" y="14"/>
                  </a:cubicBezTo>
                  <a:cubicBezTo>
                    <a:pt x="16269" y="7"/>
                    <a:pt x="16259" y="4"/>
                    <a:pt x="162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7" name="Google Shape;6007;p53"/>
            <p:cNvSpPr/>
            <p:nvPr/>
          </p:nvSpPr>
          <p:spPr>
            <a:xfrm>
              <a:off x="797231" y="1596418"/>
              <a:ext cx="3625" cy="3965"/>
            </a:xfrm>
            <a:custGeom>
              <a:avLst/>
              <a:gdLst/>
              <a:ahLst/>
              <a:cxnLst/>
              <a:rect l="l" t="t" r="r" b="b"/>
              <a:pathLst>
                <a:path w="267" h="292" extrusionOk="0">
                  <a:moveTo>
                    <a:pt x="235" y="1"/>
                  </a:moveTo>
                  <a:cubicBezTo>
                    <a:pt x="200" y="18"/>
                    <a:pt x="169" y="43"/>
                    <a:pt x="144" y="74"/>
                  </a:cubicBezTo>
                  <a:cubicBezTo>
                    <a:pt x="85" y="137"/>
                    <a:pt x="36" y="211"/>
                    <a:pt x="1" y="291"/>
                  </a:cubicBezTo>
                  <a:cubicBezTo>
                    <a:pt x="214" y="197"/>
                    <a:pt x="253" y="116"/>
                    <a:pt x="260" y="88"/>
                  </a:cubicBezTo>
                  <a:cubicBezTo>
                    <a:pt x="267" y="57"/>
                    <a:pt x="256" y="22"/>
                    <a:pt x="2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8" name="Google Shape;6008;p53"/>
            <p:cNvSpPr/>
            <p:nvPr/>
          </p:nvSpPr>
          <p:spPr>
            <a:xfrm>
              <a:off x="950901" y="1525692"/>
              <a:ext cx="2824" cy="1738"/>
            </a:xfrm>
            <a:custGeom>
              <a:avLst/>
              <a:gdLst/>
              <a:ahLst/>
              <a:cxnLst/>
              <a:rect l="l" t="t" r="r" b="b"/>
              <a:pathLst>
                <a:path w="208" h="128" extrusionOk="0">
                  <a:moveTo>
                    <a:pt x="207" y="1"/>
                  </a:moveTo>
                  <a:cubicBezTo>
                    <a:pt x="162" y="8"/>
                    <a:pt x="113" y="18"/>
                    <a:pt x="64" y="29"/>
                  </a:cubicBezTo>
                  <a:cubicBezTo>
                    <a:pt x="39" y="36"/>
                    <a:pt x="8" y="50"/>
                    <a:pt x="1" y="81"/>
                  </a:cubicBezTo>
                  <a:cubicBezTo>
                    <a:pt x="1" y="99"/>
                    <a:pt x="8" y="116"/>
                    <a:pt x="18" y="127"/>
                  </a:cubicBezTo>
                  <a:cubicBezTo>
                    <a:pt x="21" y="128"/>
                    <a:pt x="23" y="128"/>
                    <a:pt x="26" y="128"/>
                  </a:cubicBezTo>
                  <a:cubicBezTo>
                    <a:pt x="42" y="128"/>
                    <a:pt x="61" y="112"/>
                    <a:pt x="67" y="106"/>
                  </a:cubicBezTo>
                  <a:cubicBezTo>
                    <a:pt x="113" y="67"/>
                    <a:pt x="158" y="32"/>
                    <a:pt x="2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9" name="Google Shape;6009;p53"/>
            <p:cNvSpPr/>
            <p:nvPr/>
          </p:nvSpPr>
          <p:spPr>
            <a:xfrm>
              <a:off x="1054294" y="1571136"/>
              <a:ext cx="3571" cy="2200"/>
            </a:xfrm>
            <a:custGeom>
              <a:avLst/>
              <a:gdLst/>
              <a:ahLst/>
              <a:cxnLst/>
              <a:rect l="l" t="t" r="r" b="b"/>
              <a:pathLst>
                <a:path w="263" h="162" extrusionOk="0">
                  <a:moveTo>
                    <a:pt x="0" y="0"/>
                  </a:moveTo>
                  <a:cubicBezTo>
                    <a:pt x="56" y="60"/>
                    <a:pt x="119" y="109"/>
                    <a:pt x="189" y="144"/>
                  </a:cubicBezTo>
                  <a:cubicBezTo>
                    <a:pt x="214" y="154"/>
                    <a:pt x="238" y="161"/>
                    <a:pt x="263" y="161"/>
                  </a:cubicBezTo>
                  <a:cubicBezTo>
                    <a:pt x="259" y="144"/>
                    <a:pt x="249" y="126"/>
                    <a:pt x="235" y="109"/>
                  </a:cubicBezTo>
                  <a:cubicBezTo>
                    <a:pt x="193" y="60"/>
                    <a:pt x="137" y="28"/>
                    <a:pt x="70" y="18"/>
                  </a:cubicBezTo>
                  <a:cubicBezTo>
                    <a:pt x="46" y="18"/>
                    <a:pt x="25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0" name="Google Shape;6010;p53"/>
            <p:cNvSpPr/>
            <p:nvPr/>
          </p:nvSpPr>
          <p:spPr>
            <a:xfrm>
              <a:off x="1293570" y="1816780"/>
              <a:ext cx="1290" cy="1113"/>
            </a:xfrm>
            <a:custGeom>
              <a:avLst/>
              <a:gdLst/>
              <a:ahLst/>
              <a:cxnLst/>
              <a:rect l="l" t="t" r="r" b="b"/>
              <a:pathLst>
                <a:path w="95" h="82" extrusionOk="0">
                  <a:moveTo>
                    <a:pt x="95" y="81"/>
                  </a:moveTo>
                  <a:cubicBezTo>
                    <a:pt x="67" y="50"/>
                    <a:pt x="35" y="25"/>
                    <a:pt x="0" y="1"/>
                  </a:cubicBezTo>
                  <a:cubicBezTo>
                    <a:pt x="35" y="25"/>
                    <a:pt x="67" y="50"/>
                    <a:pt x="95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1" name="Google Shape;6011;p53"/>
            <p:cNvSpPr/>
            <p:nvPr/>
          </p:nvSpPr>
          <p:spPr>
            <a:xfrm>
              <a:off x="1278743" y="1812694"/>
              <a:ext cx="14786" cy="4100"/>
            </a:xfrm>
            <a:custGeom>
              <a:avLst/>
              <a:gdLst/>
              <a:ahLst/>
              <a:cxnLst/>
              <a:rect l="l" t="t" r="r" b="b"/>
              <a:pathLst>
                <a:path w="1089" h="302" extrusionOk="0">
                  <a:moveTo>
                    <a:pt x="0" y="211"/>
                  </a:moveTo>
                  <a:cubicBezTo>
                    <a:pt x="77" y="99"/>
                    <a:pt x="172" y="1"/>
                    <a:pt x="298" y="8"/>
                  </a:cubicBezTo>
                  <a:cubicBezTo>
                    <a:pt x="473" y="18"/>
                    <a:pt x="840" y="113"/>
                    <a:pt x="1089" y="302"/>
                  </a:cubicBezTo>
                  <a:cubicBezTo>
                    <a:pt x="840" y="113"/>
                    <a:pt x="473" y="18"/>
                    <a:pt x="298" y="8"/>
                  </a:cubicBezTo>
                  <a:cubicBezTo>
                    <a:pt x="172" y="1"/>
                    <a:pt x="77" y="99"/>
                    <a:pt x="0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2" name="Google Shape;6012;p53"/>
            <p:cNvSpPr/>
            <p:nvPr/>
          </p:nvSpPr>
          <p:spPr>
            <a:xfrm>
              <a:off x="1173314" y="1789354"/>
              <a:ext cx="16741" cy="2254"/>
            </a:xfrm>
            <a:custGeom>
              <a:avLst/>
              <a:gdLst/>
              <a:ahLst/>
              <a:cxnLst/>
              <a:rect l="l" t="t" r="r" b="b"/>
              <a:pathLst>
                <a:path w="1233" h="166" extrusionOk="0">
                  <a:moveTo>
                    <a:pt x="0" y="165"/>
                  </a:moveTo>
                  <a:lnTo>
                    <a:pt x="123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3" name="Google Shape;6013;p53"/>
            <p:cNvSpPr/>
            <p:nvPr/>
          </p:nvSpPr>
          <p:spPr>
            <a:xfrm>
              <a:off x="1317141" y="1844302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1"/>
                  </a:moveTo>
                  <a:cubicBezTo>
                    <a:pt x="22" y="1"/>
                    <a:pt x="11" y="1"/>
                    <a:pt x="1" y="1"/>
                  </a:cubicBezTo>
                  <a:cubicBezTo>
                    <a:pt x="11" y="1"/>
                    <a:pt x="22" y="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4" name="Google Shape;6014;p53"/>
            <p:cNvSpPr/>
            <p:nvPr/>
          </p:nvSpPr>
          <p:spPr>
            <a:xfrm>
              <a:off x="1318906" y="1844641"/>
              <a:ext cx="339" cy="149"/>
            </a:xfrm>
            <a:custGeom>
              <a:avLst/>
              <a:gdLst/>
              <a:ahLst/>
              <a:cxnLst/>
              <a:rect l="l" t="t" r="r" b="b"/>
              <a:pathLst>
                <a:path w="25" h="11" extrusionOk="0">
                  <a:moveTo>
                    <a:pt x="25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5" name="Google Shape;6015;p53"/>
            <p:cNvSpPr/>
            <p:nvPr/>
          </p:nvSpPr>
          <p:spPr>
            <a:xfrm>
              <a:off x="1317765" y="184430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6" name="Google Shape;6016;p53"/>
            <p:cNvSpPr/>
            <p:nvPr/>
          </p:nvSpPr>
          <p:spPr>
            <a:xfrm>
              <a:off x="1278173" y="1815545"/>
              <a:ext cx="584" cy="964"/>
            </a:xfrm>
            <a:custGeom>
              <a:avLst/>
              <a:gdLst/>
              <a:ahLst/>
              <a:cxnLst/>
              <a:rect l="l" t="t" r="r" b="b"/>
              <a:pathLst>
                <a:path w="43" h="71" extrusionOk="0">
                  <a:moveTo>
                    <a:pt x="42" y="1"/>
                  </a:moveTo>
                  <a:cubicBezTo>
                    <a:pt x="28" y="25"/>
                    <a:pt x="14" y="46"/>
                    <a:pt x="0" y="71"/>
                  </a:cubicBezTo>
                  <a:cubicBezTo>
                    <a:pt x="14" y="46"/>
                    <a:pt x="28" y="25"/>
                    <a:pt x="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7" name="Google Shape;6017;p53"/>
            <p:cNvSpPr/>
            <p:nvPr/>
          </p:nvSpPr>
          <p:spPr>
            <a:xfrm>
              <a:off x="1252838" y="1797147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0" y="1"/>
                  </a:moveTo>
                  <a:lnTo>
                    <a:pt x="1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8" name="Google Shape;6018;p53"/>
            <p:cNvSpPr/>
            <p:nvPr/>
          </p:nvSpPr>
          <p:spPr>
            <a:xfrm>
              <a:off x="1318240" y="184439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9" name="Google Shape;6019;p53"/>
            <p:cNvSpPr/>
            <p:nvPr/>
          </p:nvSpPr>
          <p:spPr>
            <a:xfrm>
              <a:off x="1294846" y="1817880"/>
              <a:ext cx="1018" cy="1249"/>
            </a:xfrm>
            <a:custGeom>
              <a:avLst/>
              <a:gdLst/>
              <a:ahLst/>
              <a:cxnLst/>
              <a:rect l="l" t="t" r="r" b="b"/>
              <a:pathLst>
                <a:path w="75" h="92" extrusionOk="0">
                  <a:moveTo>
                    <a:pt x="74" y="91"/>
                  </a:moveTo>
                  <a:cubicBezTo>
                    <a:pt x="53" y="60"/>
                    <a:pt x="29" y="28"/>
                    <a:pt x="1" y="0"/>
                  </a:cubicBezTo>
                  <a:cubicBezTo>
                    <a:pt x="29" y="28"/>
                    <a:pt x="53" y="60"/>
                    <a:pt x="74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0" name="Google Shape;6020;p53"/>
            <p:cNvSpPr/>
            <p:nvPr/>
          </p:nvSpPr>
          <p:spPr>
            <a:xfrm>
              <a:off x="1122833" y="16518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1" name="Google Shape;6021;p53"/>
            <p:cNvSpPr/>
            <p:nvPr/>
          </p:nvSpPr>
          <p:spPr>
            <a:xfrm>
              <a:off x="1124734" y="1651746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0" y="4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2" name="Google Shape;6022;p53"/>
            <p:cNvSpPr/>
            <p:nvPr/>
          </p:nvSpPr>
          <p:spPr>
            <a:xfrm>
              <a:off x="1125969" y="1651556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0" y="8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3" name="Google Shape;6023;p53"/>
            <p:cNvSpPr/>
            <p:nvPr/>
          </p:nvSpPr>
          <p:spPr>
            <a:xfrm>
              <a:off x="1117076" y="1651515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1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4" name="Google Shape;6024;p53"/>
            <p:cNvSpPr/>
            <p:nvPr/>
          </p:nvSpPr>
          <p:spPr>
            <a:xfrm>
              <a:off x="1120783" y="1651841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5" name="Google Shape;6025;p53"/>
            <p:cNvSpPr/>
            <p:nvPr/>
          </p:nvSpPr>
          <p:spPr>
            <a:xfrm>
              <a:off x="1123539" y="1651895"/>
              <a:ext cx="543" cy="14"/>
            </a:xfrm>
            <a:custGeom>
              <a:avLst/>
              <a:gdLst/>
              <a:ahLst/>
              <a:cxnLst/>
              <a:rect l="l" t="t" r="r" b="b"/>
              <a:pathLst>
                <a:path w="40" h="1" extrusionOk="0">
                  <a:moveTo>
                    <a:pt x="1" y="0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6" name="Google Shape;6026;p53"/>
            <p:cNvSpPr/>
            <p:nvPr/>
          </p:nvSpPr>
          <p:spPr>
            <a:xfrm>
              <a:off x="1119072" y="1651705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7" name="Google Shape;6027;p53"/>
            <p:cNvSpPr/>
            <p:nvPr/>
          </p:nvSpPr>
          <p:spPr>
            <a:xfrm>
              <a:off x="1543206" y="1679322"/>
              <a:ext cx="258" cy="434"/>
            </a:xfrm>
            <a:custGeom>
              <a:avLst/>
              <a:gdLst/>
              <a:ahLst/>
              <a:cxnLst/>
              <a:rect l="l" t="t" r="r" b="b"/>
              <a:pathLst>
                <a:path w="19" h="32" extrusionOk="0">
                  <a:moveTo>
                    <a:pt x="1" y="0"/>
                  </a:moveTo>
                  <a:lnTo>
                    <a:pt x="18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8" name="Google Shape;6028;p53"/>
            <p:cNvSpPr/>
            <p:nvPr/>
          </p:nvSpPr>
          <p:spPr>
            <a:xfrm>
              <a:off x="1543736" y="1680177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0"/>
                  </a:moveTo>
                  <a:lnTo>
                    <a:pt x="2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9" name="Google Shape;6029;p53"/>
            <p:cNvSpPr/>
            <p:nvPr/>
          </p:nvSpPr>
          <p:spPr>
            <a:xfrm>
              <a:off x="1542731" y="1678507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1"/>
                  </a:moveTo>
                  <a:lnTo>
                    <a:pt x="1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0" name="Google Shape;6030;p53"/>
            <p:cNvSpPr/>
            <p:nvPr/>
          </p:nvSpPr>
          <p:spPr>
            <a:xfrm>
              <a:off x="1544251" y="1681032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0"/>
                  </a:moveTo>
                  <a:lnTo>
                    <a:pt x="22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1" name="Google Shape;6031;p53"/>
            <p:cNvSpPr/>
            <p:nvPr/>
          </p:nvSpPr>
          <p:spPr>
            <a:xfrm>
              <a:off x="1544876" y="1681888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0" y="0"/>
                  </a:moveTo>
                  <a:lnTo>
                    <a:pt x="2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2" name="Google Shape;6032;p53"/>
            <p:cNvSpPr/>
            <p:nvPr/>
          </p:nvSpPr>
          <p:spPr>
            <a:xfrm>
              <a:off x="1478333" y="1688541"/>
              <a:ext cx="530" cy="434"/>
            </a:xfrm>
            <a:custGeom>
              <a:avLst/>
              <a:gdLst/>
              <a:ahLst/>
              <a:cxnLst/>
              <a:rect l="l" t="t" r="r" b="b"/>
              <a:pathLst>
                <a:path w="39" h="32" extrusionOk="0">
                  <a:moveTo>
                    <a:pt x="0" y="32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3" name="Google Shape;6033;p53"/>
            <p:cNvSpPr/>
            <p:nvPr/>
          </p:nvSpPr>
          <p:spPr>
            <a:xfrm>
              <a:off x="1478944" y="1688011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1" y="32"/>
                  </a:moveTo>
                  <a:lnTo>
                    <a:pt x="3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4" name="Google Shape;6034;p53"/>
            <p:cNvSpPr/>
            <p:nvPr/>
          </p:nvSpPr>
          <p:spPr>
            <a:xfrm>
              <a:off x="1542310" y="1677706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0" y="0"/>
                  </a:moveTo>
                  <a:lnTo>
                    <a:pt x="18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5" name="Google Shape;6035;p53"/>
            <p:cNvSpPr/>
            <p:nvPr/>
          </p:nvSpPr>
          <p:spPr>
            <a:xfrm>
              <a:off x="1539689" y="1670714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1" y="1"/>
                  </a:moveTo>
                  <a:lnTo>
                    <a:pt x="8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6" name="Google Shape;6036;p53"/>
            <p:cNvSpPr/>
            <p:nvPr/>
          </p:nvSpPr>
          <p:spPr>
            <a:xfrm>
              <a:off x="1539975" y="1671949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7" name="Google Shape;6037;p53"/>
            <p:cNvSpPr/>
            <p:nvPr/>
          </p:nvSpPr>
          <p:spPr>
            <a:xfrm>
              <a:off x="1477667" y="1689111"/>
              <a:ext cx="584" cy="489"/>
            </a:xfrm>
            <a:custGeom>
              <a:avLst/>
              <a:gdLst/>
              <a:ahLst/>
              <a:cxnLst/>
              <a:rect l="l" t="t" r="r" b="b"/>
              <a:pathLst>
                <a:path w="43" h="36" extrusionOk="0">
                  <a:moveTo>
                    <a:pt x="0" y="35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8" name="Google Shape;6038;p53"/>
            <p:cNvSpPr/>
            <p:nvPr/>
          </p:nvSpPr>
          <p:spPr>
            <a:xfrm>
              <a:off x="1034661" y="1534586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0" y="0"/>
                  </a:moveTo>
                  <a:cubicBezTo>
                    <a:pt x="18" y="4"/>
                    <a:pt x="32" y="4"/>
                    <a:pt x="49" y="7"/>
                  </a:cubicBezTo>
                  <a:cubicBezTo>
                    <a:pt x="32" y="4"/>
                    <a:pt x="18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9" name="Google Shape;6039;p53"/>
            <p:cNvSpPr/>
            <p:nvPr/>
          </p:nvSpPr>
          <p:spPr>
            <a:xfrm>
              <a:off x="1540165" y="1672614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0" name="Google Shape;6040;p53"/>
            <p:cNvSpPr/>
            <p:nvPr/>
          </p:nvSpPr>
          <p:spPr>
            <a:xfrm>
              <a:off x="1035462" y="1534721"/>
              <a:ext cx="638" cy="163"/>
            </a:xfrm>
            <a:custGeom>
              <a:avLst/>
              <a:gdLst/>
              <a:ahLst/>
              <a:cxnLst/>
              <a:rect l="l" t="t" r="r" b="b"/>
              <a:pathLst>
                <a:path w="47" h="12" extrusionOk="0">
                  <a:moveTo>
                    <a:pt x="1" y="1"/>
                  </a:moveTo>
                  <a:cubicBezTo>
                    <a:pt x="18" y="1"/>
                    <a:pt x="32" y="4"/>
                    <a:pt x="46" y="11"/>
                  </a:cubicBezTo>
                  <a:cubicBezTo>
                    <a:pt x="32" y="4"/>
                    <a:pt x="1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1" name="Google Shape;6041;p53"/>
            <p:cNvSpPr/>
            <p:nvPr/>
          </p:nvSpPr>
          <p:spPr>
            <a:xfrm>
              <a:off x="1539839" y="1671338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lnTo>
                    <a:pt x="7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2" name="Google Shape;6042;p53"/>
            <p:cNvSpPr/>
            <p:nvPr/>
          </p:nvSpPr>
          <p:spPr>
            <a:xfrm>
              <a:off x="1539554" y="1670103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cubicBezTo>
                    <a:pt x="0" y="7"/>
                    <a:pt x="4" y="18"/>
                    <a:pt x="7" y="25"/>
                  </a:cubicBezTo>
                  <a:cubicBezTo>
                    <a:pt x="4" y="18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3" name="Google Shape;6043;p53"/>
            <p:cNvSpPr/>
            <p:nvPr/>
          </p:nvSpPr>
          <p:spPr>
            <a:xfrm>
              <a:off x="1033710" y="1534531"/>
              <a:ext cx="815" cy="68"/>
            </a:xfrm>
            <a:custGeom>
              <a:avLst/>
              <a:gdLst/>
              <a:ahLst/>
              <a:cxnLst/>
              <a:rect l="l" t="t" r="r" b="b"/>
              <a:pathLst>
                <a:path w="60" h="5" extrusionOk="0">
                  <a:moveTo>
                    <a:pt x="0" y="1"/>
                  </a:moveTo>
                  <a:cubicBezTo>
                    <a:pt x="18" y="1"/>
                    <a:pt x="39" y="1"/>
                    <a:pt x="60" y="4"/>
                  </a:cubicBezTo>
                  <a:cubicBezTo>
                    <a:pt x="39" y="1"/>
                    <a:pt x="2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4" name="Google Shape;6044;p53"/>
            <p:cNvSpPr/>
            <p:nvPr/>
          </p:nvSpPr>
          <p:spPr>
            <a:xfrm>
              <a:off x="1541210" y="1675425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" y="0"/>
                  </a:moveTo>
                  <a:lnTo>
                    <a:pt x="15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5" name="Google Shape;6045;p53"/>
            <p:cNvSpPr/>
            <p:nvPr/>
          </p:nvSpPr>
          <p:spPr>
            <a:xfrm>
              <a:off x="1541550" y="167618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0"/>
                  </a:moveTo>
                  <a:lnTo>
                    <a:pt x="14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6" name="Google Shape;6046;p53"/>
            <p:cNvSpPr/>
            <p:nvPr/>
          </p:nvSpPr>
          <p:spPr>
            <a:xfrm>
              <a:off x="1540884" y="167470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1"/>
                  </a:moveTo>
                  <a:lnTo>
                    <a:pt x="14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7" name="Google Shape;6047;p53"/>
            <p:cNvSpPr/>
            <p:nvPr/>
          </p:nvSpPr>
          <p:spPr>
            <a:xfrm>
              <a:off x="1540640" y="1673999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0"/>
                  </a:moveTo>
                  <a:lnTo>
                    <a:pt x="1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8" name="Google Shape;6048;p53"/>
            <p:cNvSpPr/>
            <p:nvPr/>
          </p:nvSpPr>
          <p:spPr>
            <a:xfrm>
              <a:off x="1541930" y="1676946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0" y="0"/>
                  </a:moveTo>
                  <a:lnTo>
                    <a:pt x="14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9" name="Google Shape;6049;p53"/>
            <p:cNvSpPr/>
            <p:nvPr/>
          </p:nvSpPr>
          <p:spPr>
            <a:xfrm>
              <a:off x="1540409" y="1673280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0" name="Google Shape;6050;p53"/>
            <p:cNvSpPr/>
            <p:nvPr/>
          </p:nvSpPr>
          <p:spPr>
            <a:xfrm>
              <a:off x="1015408" y="1537953"/>
              <a:ext cx="964" cy="1303"/>
            </a:xfrm>
            <a:custGeom>
              <a:avLst/>
              <a:gdLst/>
              <a:ahLst/>
              <a:cxnLst/>
              <a:rect l="l" t="t" r="r" b="b"/>
              <a:pathLst>
                <a:path w="71" h="96" extrusionOk="0">
                  <a:moveTo>
                    <a:pt x="0" y="1"/>
                  </a:moveTo>
                  <a:cubicBezTo>
                    <a:pt x="25" y="36"/>
                    <a:pt x="49" y="67"/>
                    <a:pt x="70" y="95"/>
                  </a:cubicBezTo>
                  <a:cubicBezTo>
                    <a:pt x="49" y="67"/>
                    <a:pt x="25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1" name="Google Shape;6051;p53"/>
            <p:cNvSpPr/>
            <p:nvPr/>
          </p:nvSpPr>
          <p:spPr>
            <a:xfrm>
              <a:off x="1036181" y="1534871"/>
              <a:ext cx="964" cy="434"/>
            </a:xfrm>
            <a:custGeom>
              <a:avLst/>
              <a:gdLst/>
              <a:ahLst/>
              <a:cxnLst/>
              <a:rect l="l" t="t" r="r" b="b"/>
              <a:pathLst>
                <a:path w="71" h="32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7"/>
                    <a:pt x="28" y="11"/>
                    <a:pt x="42" y="18"/>
                  </a:cubicBezTo>
                  <a:cubicBezTo>
                    <a:pt x="53" y="21"/>
                    <a:pt x="60" y="28"/>
                    <a:pt x="70" y="32"/>
                  </a:cubicBezTo>
                  <a:cubicBezTo>
                    <a:pt x="49" y="18"/>
                    <a:pt x="25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2" name="Google Shape;6052;p53"/>
            <p:cNvSpPr/>
            <p:nvPr/>
          </p:nvSpPr>
          <p:spPr>
            <a:xfrm>
              <a:off x="1072257" y="1586153"/>
              <a:ext cx="869" cy="638"/>
            </a:xfrm>
            <a:custGeom>
              <a:avLst/>
              <a:gdLst/>
              <a:ahLst/>
              <a:cxnLst/>
              <a:rect l="l" t="t" r="r" b="b"/>
              <a:pathLst>
                <a:path w="64" h="47" extrusionOk="0">
                  <a:moveTo>
                    <a:pt x="0" y="46"/>
                  </a:moveTo>
                  <a:lnTo>
                    <a:pt x="6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3" name="Google Shape;6053;p53"/>
            <p:cNvSpPr/>
            <p:nvPr/>
          </p:nvSpPr>
          <p:spPr>
            <a:xfrm>
              <a:off x="1073357" y="1585447"/>
              <a:ext cx="774" cy="530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56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4" name="Google Shape;6054;p53"/>
            <p:cNvSpPr/>
            <p:nvPr/>
          </p:nvSpPr>
          <p:spPr>
            <a:xfrm>
              <a:off x="1075257" y="1584116"/>
              <a:ext cx="774" cy="530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56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5" name="Google Shape;6055;p53"/>
            <p:cNvSpPr/>
            <p:nvPr/>
          </p:nvSpPr>
          <p:spPr>
            <a:xfrm>
              <a:off x="1006379" y="1526928"/>
              <a:ext cx="1385" cy="3055"/>
            </a:xfrm>
            <a:custGeom>
              <a:avLst/>
              <a:gdLst/>
              <a:ahLst/>
              <a:cxnLst/>
              <a:rect l="l" t="t" r="r" b="b"/>
              <a:pathLst>
                <a:path w="102" h="225" extrusionOk="0">
                  <a:moveTo>
                    <a:pt x="0" y="1"/>
                  </a:moveTo>
                  <a:cubicBezTo>
                    <a:pt x="70" y="50"/>
                    <a:pt x="102" y="158"/>
                    <a:pt x="102" y="225"/>
                  </a:cubicBezTo>
                  <a:cubicBezTo>
                    <a:pt x="102" y="158"/>
                    <a:pt x="70" y="4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6" name="Google Shape;6056;p53"/>
            <p:cNvSpPr/>
            <p:nvPr/>
          </p:nvSpPr>
          <p:spPr>
            <a:xfrm>
              <a:off x="1074348" y="1584822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50" y="1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7" name="Google Shape;6057;p53"/>
            <p:cNvSpPr/>
            <p:nvPr/>
          </p:nvSpPr>
          <p:spPr>
            <a:xfrm>
              <a:off x="1417248" y="166991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8" name="Google Shape;6058;p53"/>
            <p:cNvSpPr/>
            <p:nvPr/>
          </p:nvSpPr>
          <p:spPr>
            <a:xfrm>
              <a:off x="1416677" y="166953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9" name="Google Shape;6059;p53"/>
            <p:cNvSpPr/>
            <p:nvPr/>
          </p:nvSpPr>
          <p:spPr>
            <a:xfrm>
              <a:off x="1341010" y="1647374"/>
              <a:ext cx="2485" cy="1208"/>
            </a:xfrm>
            <a:custGeom>
              <a:avLst/>
              <a:gdLst/>
              <a:ahLst/>
              <a:cxnLst/>
              <a:rect l="l" t="t" r="r" b="b"/>
              <a:pathLst>
                <a:path w="183" h="89" extrusionOk="0">
                  <a:moveTo>
                    <a:pt x="182" y="88"/>
                  </a:moveTo>
                  <a:cubicBezTo>
                    <a:pt x="123" y="57"/>
                    <a:pt x="63" y="25"/>
                    <a:pt x="0" y="1"/>
                  </a:cubicBezTo>
                  <a:cubicBezTo>
                    <a:pt x="63" y="25"/>
                    <a:pt x="123" y="57"/>
                    <a:pt x="182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0" name="Google Shape;6060;p53"/>
            <p:cNvSpPr/>
            <p:nvPr/>
          </p:nvSpPr>
          <p:spPr>
            <a:xfrm>
              <a:off x="992313" y="1527457"/>
              <a:ext cx="5187" cy="2580"/>
            </a:xfrm>
            <a:custGeom>
              <a:avLst/>
              <a:gdLst/>
              <a:ahLst/>
              <a:cxnLst/>
              <a:rect l="l" t="t" r="r" b="b"/>
              <a:pathLst>
                <a:path w="382" h="190" extrusionOk="0">
                  <a:moveTo>
                    <a:pt x="382" y="49"/>
                  </a:moveTo>
                  <a:cubicBezTo>
                    <a:pt x="266" y="189"/>
                    <a:pt x="28" y="21"/>
                    <a:pt x="0" y="0"/>
                  </a:cubicBezTo>
                  <a:cubicBezTo>
                    <a:pt x="28" y="21"/>
                    <a:pt x="266" y="189"/>
                    <a:pt x="382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1" name="Google Shape;6061;p53"/>
            <p:cNvSpPr/>
            <p:nvPr/>
          </p:nvSpPr>
          <p:spPr>
            <a:xfrm>
              <a:off x="1416012" y="166905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2" name="Google Shape;6062;p53"/>
            <p:cNvSpPr/>
            <p:nvPr/>
          </p:nvSpPr>
          <p:spPr>
            <a:xfrm>
              <a:off x="1417872" y="167033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3" name="Google Shape;6063;p53"/>
            <p:cNvSpPr/>
            <p:nvPr/>
          </p:nvSpPr>
          <p:spPr>
            <a:xfrm>
              <a:off x="1037458" y="153553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4" name="Google Shape;6064;p53"/>
            <p:cNvSpPr/>
            <p:nvPr/>
          </p:nvSpPr>
          <p:spPr>
            <a:xfrm>
              <a:off x="1037173" y="153529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cubicBezTo>
                    <a:pt x="4" y="4"/>
                    <a:pt x="8" y="8"/>
                    <a:pt x="15" y="11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5" name="Google Shape;6065;p53"/>
            <p:cNvSpPr/>
            <p:nvPr/>
          </p:nvSpPr>
          <p:spPr>
            <a:xfrm>
              <a:off x="1074443" y="1580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6" name="Google Shape;6066;p53"/>
            <p:cNvSpPr/>
            <p:nvPr/>
          </p:nvSpPr>
          <p:spPr>
            <a:xfrm>
              <a:off x="1370853" y="1652846"/>
              <a:ext cx="4766" cy="1385"/>
            </a:xfrm>
            <a:custGeom>
              <a:avLst/>
              <a:gdLst/>
              <a:ahLst/>
              <a:cxnLst/>
              <a:rect l="l" t="t" r="r" b="b"/>
              <a:pathLst>
                <a:path w="351" h="102" extrusionOk="0">
                  <a:moveTo>
                    <a:pt x="1" y="0"/>
                  </a:moveTo>
                  <a:cubicBezTo>
                    <a:pt x="120" y="25"/>
                    <a:pt x="235" y="60"/>
                    <a:pt x="351" y="102"/>
                  </a:cubicBezTo>
                  <a:lnTo>
                    <a:pt x="351" y="102"/>
                  </a:lnTo>
                  <a:cubicBezTo>
                    <a:pt x="235" y="60"/>
                    <a:pt x="120" y="2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7" name="Google Shape;6067;p53"/>
            <p:cNvSpPr/>
            <p:nvPr/>
          </p:nvSpPr>
          <p:spPr>
            <a:xfrm>
              <a:off x="1132813" y="1645052"/>
              <a:ext cx="202889" cy="1100"/>
            </a:xfrm>
            <a:custGeom>
              <a:avLst/>
              <a:gdLst/>
              <a:ahLst/>
              <a:cxnLst/>
              <a:rect l="l" t="t" r="r" b="b"/>
              <a:pathLst>
                <a:path w="14943" h="81" extrusionOk="0">
                  <a:moveTo>
                    <a:pt x="1" y="81"/>
                  </a:moveTo>
                  <a:lnTo>
                    <a:pt x="149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8" name="Google Shape;6068;p53"/>
            <p:cNvSpPr/>
            <p:nvPr/>
          </p:nvSpPr>
          <p:spPr>
            <a:xfrm>
              <a:off x="1415496" y="166871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9" name="Google Shape;6069;p53"/>
            <p:cNvSpPr/>
            <p:nvPr/>
          </p:nvSpPr>
          <p:spPr>
            <a:xfrm>
              <a:off x="1075678" y="1581930"/>
              <a:ext cx="1113" cy="1439"/>
            </a:xfrm>
            <a:custGeom>
              <a:avLst/>
              <a:gdLst/>
              <a:ahLst/>
              <a:cxnLst/>
              <a:rect l="l" t="t" r="r" b="b"/>
              <a:pathLst>
                <a:path w="82" h="106" extrusionOk="0">
                  <a:moveTo>
                    <a:pt x="1" y="0"/>
                  </a:moveTo>
                  <a:cubicBezTo>
                    <a:pt x="36" y="35"/>
                    <a:pt x="78" y="81"/>
                    <a:pt x="78" y="105"/>
                  </a:cubicBezTo>
                  <a:cubicBezTo>
                    <a:pt x="81" y="81"/>
                    <a:pt x="36" y="3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0" name="Google Shape;6070;p53"/>
            <p:cNvSpPr/>
            <p:nvPr/>
          </p:nvSpPr>
          <p:spPr>
            <a:xfrm>
              <a:off x="1457410" y="169937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1" y="11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1" name="Google Shape;6071;p53"/>
            <p:cNvSpPr/>
            <p:nvPr/>
          </p:nvSpPr>
          <p:spPr>
            <a:xfrm>
              <a:off x="1456649" y="1702091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2" name="Google Shape;6072;p53"/>
            <p:cNvSpPr/>
            <p:nvPr/>
          </p:nvSpPr>
          <p:spPr>
            <a:xfrm>
              <a:off x="1457152" y="1701467"/>
              <a:ext cx="136" cy="163"/>
            </a:xfrm>
            <a:custGeom>
              <a:avLst/>
              <a:gdLst/>
              <a:ahLst/>
              <a:cxnLst/>
              <a:rect l="l" t="t" r="r" b="b"/>
              <a:pathLst>
                <a:path w="10" h="12" extrusionOk="0">
                  <a:moveTo>
                    <a:pt x="9" y="1"/>
                  </a:moveTo>
                  <a:cubicBezTo>
                    <a:pt x="6" y="4"/>
                    <a:pt x="1" y="12"/>
                    <a:pt x="1" y="12"/>
                  </a:cubicBezTo>
                  <a:cubicBezTo>
                    <a:pt x="2" y="12"/>
                    <a:pt x="2" y="12"/>
                    <a:pt x="2" y="11"/>
                  </a:cubicBezTo>
                  <a:cubicBezTo>
                    <a:pt x="6" y="8"/>
                    <a:pt x="9" y="4"/>
                    <a:pt x="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3" name="Google Shape;6073;p53"/>
            <p:cNvSpPr/>
            <p:nvPr/>
          </p:nvSpPr>
          <p:spPr>
            <a:xfrm>
              <a:off x="1456935" y="1701806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4" name="Google Shape;6074;p53"/>
            <p:cNvSpPr/>
            <p:nvPr/>
          </p:nvSpPr>
          <p:spPr>
            <a:xfrm>
              <a:off x="1457464" y="170009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5" name="Google Shape;6075;p53"/>
            <p:cNvSpPr/>
            <p:nvPr/>
          </p:nvSpPr>
          <p:spPr>
            <a:xfrm>
              <a:off x="1457369" y="1701181"/>
              <a:ext cx="54" cy="122"/>
            </a:xfrm>
            <a:custGeom>
              <a:avLst/>
              <a:gdLst/>
              <a:ahLst/>
              <a:cxnLst/>
              <a:rect l="l" t="t" r="r" b="b"/>
              <a:pathLst>
                <a:path w="4" h="9" extrusionOk="0">
                  <a:moveTo>
                    <a:pt x="4" y="1"/>
                  </a:moveTo>
                  <a:cubicBezTo>
                    <a:pt x="2" y="3"/>
                    <a:pt x="1" y="6"/>
                    <a:pt x="1" y="7"/>
                  </a:cubicBezTo>
                  <a:lnTo>
                    <a:pt x="1" y="7"/>
                  </a:lnTo>
                  <a:cubicBezTo>
                    <a:pt x="1" y="6"/>
                    <a:pt x="4" y="3"/>
                    <a:pt x="4" y="1"/>
                  </a:cubicBezTo>
                  <a:close/>
                  <a:moveTo>
                    <a:pt x="1" y="7"/>
                  </a:moveTo>
                  <a:lnTo>
                    <a:pt x="1" y="7"/>
                  </a:ln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0" y="9"/>
                    <a:pt x="0" y="8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6" name="Google Shape;6076;p53"/>
            <p:cNvSpPr/>
            <p:nvPr/>
          </p:nvSpPr>
          <p:spPr>
            <a:xfrm>
              <a:off x="1539174" y="1665921"/>
              <a:ext cx="14" cy="285"/>
            </a:xfrm>
            <a:custGeom>
              <a:avLst/>
              <a:gdLst/>
              <a:ahLst/>
              <a:cxnLst/>
              <a:rect l="l" t="t" r="r" b="b"/>
              <a:pathLst>
                <a:path w="1" h="21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7" name="Google Shape;6077;p53"/>
            <p:cNvSpPr/>
            <p:nvPr/>
          </p:nvSpPr>
          <p:spPr>
            <a:xfrm>
              <a:off x="1536512" y="1661494"/>
              <a:ext cx="2865" cy="530"/>
            </a:xfrm>
            <a:custGeom>
              <a:avLst/>
              <a:gdLst/>
              <a:ahLst/>
              <a:cxnLst/>
              <a:rect l="l" t="t" r="r" b="b"/>
              <a:pathLst>
                <a:path w="211" h="39" extrusionOk="0">
                  <a:moveTo>
                    <a:pt x="0" y="0"/>
                  </a:moveTo>
                  <a:lnTo>
                    <a:pt x="0" y="0"/>
                  </a:lnTo>
                  <a:cubicBezTo>
                    <a:pt x="81" y="7"/>
                    <a:pt x="196" y="14"/>
                    <a:pt x="210" y="39"/>
                  </a:cubicBezTo>
                  <a:cubicBezTo>
                    <a:pt x="196" y="14"/>
                    <a:pt x="81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8" name="Google Shape;6078;p53"/>
            <p:cNvSpPr/>
            <p:nvPr/>
          </p:nvSpPr>
          <p:spPr>
            <a:xfrm>
              <a:off x="1477423" y="168968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" y="7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9" name="Google Shape;6079;p53"/>
            <p:cNvSpPr/>
            <p:nvPr/>
          </p:nvSpPr>
          <p:spPr>
            <a:xfrm>
              <a:off x="1428843" y="170332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0" name="Google Shape;6080;p53"/>
            <p:cNvSpPr/>
            <p:nvPr/>
          </p:nvSpPr>
          <p:spPr>
            <a:xfrm>
              <a:off x="1428897" y="170422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8"/>
                    <a:pt x="0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1" name="Google Shape;6081;p53"/>
            <p:cNvSpPr/>
            <p:nvPr/>
          </p:nvSpPr>
          <p:spPr>
            <a:xfrm>
              <a:off x="1428992" y="1705038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0" y="0"/>
                  </a:lnTo>
                  <a:cubicBezTo>
                    <a:pt x="4" y="7"/>
                    <a:pt x="4" y="14"/>
                    <a:pt x="7" y="18"/>
                  </a:cubicBezTo>
                  <a:cubicBezTo>
                    <a:pt x="7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2" name="Google Shape;6082;p53"/>
            <p:cNvSpPr/>
            <p:nvPr/>
          </p:nvSpPr>
          <p:spPr>
            <a:xfrm>
              <a:off x="1456269" y="170237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3" name="Google Shape;6083;p53"/>
            <p:cNvSpPr/>
            <p:nvPr/>
          </p:nvSpPr>
          <p:spPr>
            <a:xfrm>
              <a:off x="1429223" y="170589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4"/>
                    <a:pt x="4" y="7"/>
                    <a:pt x="4" y="11"/>
                  </a:cubicBezTo>
                  <a:cubicBezTo>
                    <a:pt x="4" y="7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4" name="Google Shape;6084;p53"/>
            <p:cNvSpPr/>
            <p:nvPr/>
          </p:nvSpPr>
          <p:spPr>
            <a:xfrm>
              <a:off x="1428897" y="1702227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5" name="Google Shape;6085;p53"/>
            <p:cNvSpPr/>
            <p:nvPr/>
          </p:nvSpPr>
          <p:spPr>
            <a:xfrm>
              <a:off x="1455794" y="170270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6" name="Google Shape;6086;p53"/>
            <p:cNvSpPr/>
            <p:nvPr/>
          </p:nvSpPr>
          <p:spPr>
            <a:xfrm>
              <a:off x="1429562" y="170665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cubicBezTo>
                    <a:pt x="4" y="7"/>
                    <a:pt x="4" y="11"/>
                    <a:pt x="7" y="14"/>
                  </a:cubicBezTo>
                  <a:cubicBezTo>
                    <a:pt x="7" y="11"/>
                    <a:pt x="4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7" name="Google Shape;6087;p53"/>
            <p:cNvSpPr/>
            <p:nvPr/>
          </p:nvSpPr>
          <p:spPr>
            <a:xfrm>
              <a:off x="1455224" y="1703042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8" name="Google Shape;6088;p53"/>
            <p:cNvSpPr/>
            <p:nvPr/>
          </p:nvSpPr>
          <p:spPr>
            <a:xfrm>
              <a:off x="1482080" y="1685595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18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9" name="Google Shape;6089;p53"/>
            <p:cNvSpPr/>
            <p:nvPr/>
          </p:nvSpPr>
          <p:spPr>
            <a:xfrm>
              <a:off x="1539174" y="1665486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0" name="Google Shape;6090;p53"/>
            <p:cNvSpPr/>
            <p:nvPr/>
          </p:nvSpPr>
          <p:spPr>
            <a:xfrm>
              <a:off x="1539174" y="166687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0"/>
                  </a:moveTo>
                  <a:lnTo>
                    <a:pt x="0" y="21"/>
                  </a:ln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1" name="Google Shape;6091;p53"/>
            <p:cNvSpPr/>
            <p:nvPr/>
          </p:nvSpPr>
          <p:spPr>
            <a:xfrm>
              <a:off x="1539174" y="166639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2" name="Google Shape;6092;p53"/>
            <p:cNvSpPr/>
            <p:nvPr/>
          </p:nvSpPr>
          <p:spPr>
            <a:xfrm>
              <a:off x="1485217" y="168340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3" name="Google Shape;6093;p53"/>
            <p:cNvSpPr/>
            <p:nvPr/>
          </p:nvSpPr>
          <p:spPr>
            <a:xfrm>
              <a:off x="1485407" y="168335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4" name="Google Shape;6094;p53"/>
            <p:cNvSpPr/>
            <p:nvPr/>
          </p:nvSpPr>
          <p:spPr>
            <a:xfrm>
              <a:off x="1480139" y="1687115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0" y="25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5" name="Google Shape;6095;p53"/>
            <p:cNvSpPr/>
            <p:nvPr/>
          </p:nvSpPr>
          <p:spPr>
            <a:xfrm>
              <a:off x="1539174" y="166505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6" name="Google Shape;6096;p53"/>
            <p:cNvSpPr/>
            <p:nvPr/>
          </p:nvSpPr>
          <p:spPr>
            <a:xfrm>
              <a:off x="1485556" y="168325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7" name="Google Shape;6097;p53"/>
            <p:cNvSpPr/>
            <p:nvPr/>
          </p:nvSpPr>
          <p:spPr>
            <a:xfrm>
              <a:off x="1483845" y="1684264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8" name="Google Shape;6098;p53"/>
            <p:cNvSpPr/>
            <p:nvPr/>
          </p:nvSpPr>
          <p:spPr>
            <a:xfrm>
              <a:off x="1484646" y="1683789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7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9" name="Google Shape;6099;p53"/>
            <p:cNvSpPr/>
            <p:nvPr/>
          </p:nvSpPr>
          <p:spPr>
            <a:xfrm>
              <a:off x="1484415" y="1683924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0" name="Google Shape;6100;p53"/>
            <p:cNvSpPr/>
            <p:nvPr/>
          </p:nvSpPr>
          <p:spPr>
            <a:xfrm>
              <a:off x="1484130" y="1684115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1" name="Google Shape;6101;p53"/>
            <p:cNvSpPr/>
            <p:nvPr/>
          </p:nvSpPr>
          <p:spPr>
            <a:xfrm>
              <a:off x="1485026" y="168354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2" name="Google Shape;6102;p53"/>
            <p:cNvSpPr/>
            <p:nvPr/>
          </p:nvSpPr>
          <p:spPr>
            <a:xfrm>
              <a:off x="1539309" y="1668392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1" y="0"/>
                  </a:moveTo>
                  <a:cubicBezTo>
                    <a:pt x="1" y="7"/>
                    <a:pt x="1" y="18"/>
                    <a:pt x="4" y="25"/>
                  </a:cubicBez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3" name="Google Shape;6103;p53"/>
            <p:cNvSpPr/>
            <p:nvPr/>
          </p:nvSpPr>
          <p:spPr>
            <a:xfrm>
              <a:off x="1539214" y="166734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0"/>
                  </a:moveTo>
                  <a:lnTo>
                    <a:pt x="1" y="21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4" name="Google Shape;6104;p53"/>
            <p:cNvSpPr/>
            <p:nvPr/>
          </p:nvSpPr>
          <p:spPr>
            <a:xfrm>
              <a:off x="1484836" y="1683639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5" name="Google Shape;6105;p53"/>
            <p:cNvSpPr/>
            <p:nvPr/>
          </p:nvSpPr>
          <p:spPr>
            <a:xfrm>
              <a:off x="1485692" y="168316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6" name="Google Shape;6106;p53"/>
            <p:cNvSpPr/>
            <p:nvPr/>
          </p:nvSpPr>
          <p:spPr>
            <a:xfrm>
              <a:off x="1539269" y="166786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7" name="Google Shape;6107;p53"/>
            <p:cNvSpPr/>
            <p:nvPr/>
          </p:nvSpPr>
          <p:spPr>
            <a:xfrm>
              <a:off x="1485787" y="168316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8" name="Google Shape;6108;p53"/>
            <p:cNvSpPr/>
            <p:nvPr/>
          </p:nvSpPr>
          <p:spPr>
            <a:xfrm>
              <a:off x="1539269" y="1663300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4" y="0"/>
                  </a:moveTo>
                  <a:cubicBezTo>
                    <a:pt x="0" y="14"/>
                    <a:pt x="0" y="28"/>
                    <a:pt x="0" y="42"/>
                  </a:cubicBezTo>
                  <a:cubicBezTo>
                    <a:pt x="0" y="28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9" name="Google Shape;6109;p53"/>
            <p:cNvSpPr/>
            <p:nvPr/>
          </p:nvSpPr>
          <p:spPr>
            <a:xfrm>
              <a:off x="1539269" y="166391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0" name="Google Shape;6110;p53"/>
            <p:cNvSpPr/>
            <p:nvPr/>
          </p:nvSpPr>
          <p:spPr>
            <a:xfrm>
              <a:off x="1529099" y="1659634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4"/>
                  </a:moveTo>
                  <a:cubicBezTo>
                    <a:pt x="4" y="1"/>
                    <a:pt x="11" y="1"/>
                    <a:pt x="18" y="1"/>
                  </a:cubicBezTo>
                  <a:cubicBezTo>
                    <a:pt x="11" y="1"/>
                    <a:pt x="4" y="1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1" name="Google Shape;6111;p53"/>
            <p:cNvSpPr/>
            <p:nvPr/>
          </p:nvSpPr>
          <p:spPr>
            <a:xfrm>
              <a:off x="1482460" y="1685309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2" name="Google Shape;6112;p53"/>
            <p:cNvSpPr/>
            <p:nvPr/>
          </p:nvSpPr>
          <p:spPr>
            <a:xfrm>
              <a:off x="1482840" y="168502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3" name="Google Shape;6113;p53"/>
            <p:cNvSpPr/>
            <p:nvPr/>
          </p:nvSpPr>
          <p:spPr>
            <a:xfrm>
              <a:off x="1481605" y="1685975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18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4" name="Google Shape;6114;p53"/>
            <p:cNvSpPr/>
            <p:nvPr/>
          </p:nvSpPr>
          <p:spPr>
            <a:xfrm>
              <a:off x="1539214" y="1664672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5" name="Google Shape;6115;p53"/>
            <p:cNvSpPr/>
            <p:nvPr/>
          </p:nvSpPr>
          <p:spPr>
            <a:xfrm>
              <a:off x="1539214" y="166429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6" name="Google Shape;6116;p53"/>
            <p:cNvSpPr/>
            <p:nvPr/>
          </p:nvSpPr>
          <p:spPr>
            <a:xfrm>
              <a:off x="1479568" y="1687536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29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7" name="Google Shape;6117;p53"/>
            <p:cNvSpPr/>
            <p:nvPr/>
          </p:nvSpPr>
          <p:spPr>
            <a:xfrm>
              <a:off x="1485882" y="168312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8" name="Google Shape;6118;p53"/>
            <p:cNvSpPr/>
            <p:nvPr/>
          </p:nvSpPr>
          <p:spPr>
            <a:xfrm>
              <a:off x="1486167" y="16830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9" name="Google Shape;6119;p53"/>
            <p:cNvSpPr/>
            <p:nvPr/>
          </p:nvSpPr>
          <p:spPr>
            <a:xfrm>
              <a:off x="1485977" y="168312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0" name="Google Shape;6120;p53"/>
            <p:cNvSpPr/>
            <p:nvPr/>
          </p:nvSpPr>
          <p:spPr>
            <a:xfrm>
              <a:off x="1481184" y="1686301"/>
              <a:ext cx="339" cy="299"/>
            </a:xfrm>
            <a:custGeom>
              <a:avLst/>
              <a:gdLst/>
              <a:ahLst/>
              <a:cxnLst/>
              <a:rect l="l" t="t" r="r" b="b"/>
              <a:pathLst>
                <a:path w="25" h="22" extrusionOk="0">
                  <a:moveTo>
                    <a:pt x="0" y="22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1" name="Google Shape;6121;p53"/>
            <p:cNvSpPr/>
            <p:nvPr/>
          </p:nvSpPr>
          <p:spPr>
            <a:xfrm>
              <a:off x="1486031" y="168306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2" name="Google Shape;6122;p53"/>
            <p:cNvSpPr/>
            <p:nvPr/>
          </p:nvSpPr>
          <p:spPr>
            <a:xfrm>
              <a:off x="1486072" y="168306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3" name="Google Shape;6123;p53"/>
            <p:cNvSpPr/>
            <p:nvPr/>
          </p:nvSpPr>
          <p:spPr>
            <a:xfrm>
              <a:off x="1480654" y="1686681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1" y="25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4" name="Google Shape;6124;p53"/>
            <p:cNvSpPr/>
            <p:nvPr/>
          </p:nvSpPr>
          <p:spPr>
            <a:xfrm>
              <a:off x="1483221" y="1684739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5" name="Google Shape;6125;p53"/>
            <p:cNvSpPr/>
            <p:nvPr/>
          </p:nvSpPr>
          <p:spPr>
            <a:xfrm>
              <a:off x="1539364" y="166896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cubicBezTo>
                    <a:pt x="0" y="7"/>
                    <a:pt x="4" y="14"/>
                    <a:pt x="4" y="25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6" name="Google Shape;6126;p53"/>
            <p:cNvSpPr/>
            <p:nvPr/>
          </p:nvSpPr>
          <p:spPr>
            <a:xfrm>
              <a:off x="1483560" y="1684495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7" name="Google Shape;6127;p53"/>
            <p:cNvSpPr/>
            <p:nvPr/>
          </p:nvSpPr>
          <p:spPr>
            <a:xfrm>
              <a:off x="1539459" y="166953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lnTo>
                    <a:pt x="4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8" name="Google Shape;6128;p53"/>
            <p:cNvSpPr/>
            <p:nvPr/>
          </p:nvSpPr>
          <p:spPr>
            <a:xfrm>
              <a:off x="1979940" y="1694338"/>
              <a:ext cx="92083" cy="65769"/>
            </a:xfrm>
            <a:custGeom>
              <a:avLst/>
              <a:gdLst/>
              <a:ahLst/>
              <a:cxnLst/>
              <a:rect l="l" t="t" r="r" b="b"/>
              <a:pathLst>
                <a:path w="6782" h="4844" extrusionOk="0">
                  <a:moveTo>
                    <a:pt x="669" y="1"/>
                  </a:moveTo>
                  <a:cubicBezTo>
                    <a:pt x="606" y="1"/>
                    <a:pt x="585" y="25"/>
                    <a:pt x="547" y="88"/>
                  </a:cubicBezTo>
                  <a:cubicBezTo>
                    <a:pt x="498" y="165"/>
                    <a:pt x="428" y="274"/>
                    <a:pt x="218" y="281"/>
                  </a:cubicBezTo>
                  <a:cubicBezTo>
                    <a:pt x="106" y="284"/>
                    <a:pt x="29" y="312"/>
                    <a:pt x="11" y="358"/>
                  </a:cubicBezTo>
                  <a:cubicBezTo>
                    <a:pt x="1" y="396"/>
                    <a:pt x="25" y="470"/>
                    <a:pt x="137" y="561"/>
                  </a:cubicBezTo>
                  <a:cubicBezTo>
                    <a:pt x="277" y="673"/>
                    <a:pt x="281" y="879"/>
                    <a:pt x="267" y="1058"/>
                  </a:cubicBezTo>
                  <a:lnTo>
                    <a:pt x="270" y="1058"/>
                  </a:lnTo>
                  <a:lnTo>
                    <a:pt x="277" y="1054"/>
                  </a:lnTo>
                  <a:cubicBezTo>
                    <a:pt x="281" y="1051"/>
                    <a:pt x="284" y="1047"/>
                    <a:pt x="288" y="1044"/>
                  </a:cubicBezTo>
                  <a:cubicBezTo>
                    <a:pt x="345" y="975"/>
                    <a:pt x="407" y="941"/>
                    <a:pt x="464" y="941"/>
                  </a:cubicBezTo>
                  <a:cubicBezTo>
                    <a:pt x="481" y="941"/>
                    <a:pt x="496" y="944"/>
                    <a:pt x="512" y="949"/>
                  </a:cubicBezTo>
                  <a:cubicBezTo>
                    <a:pt x="571" y="974"/>
                    <a:pt x="610" y="1037"/>
                    <a:pt x="603" y="1107"/>
                  </a:cubicBezTo>
                  <a:cubicBezTo>
                    <a:pt x="613" y="1121"/>
                    <a:pt x="655" y="1124"/>
                    <a:pt x="700" y="1124"/>
                  </a:cubicBezTo>
                  <a:cubicBezTo>
                    <a:pt x="734" y="1124"/>
                    <a:pt x="769" y="1122"/>
                    <a:pt x="792" y="1121"/>
                  </a:cubicBezTo>
                  <a:cubicBezTo>
                    <a:pt x="820" y="1121"/>
                    <a:pt x="848" y="1117"/>
                    <a:pt x="872" y="1117"/>
                  </a:cubicBezTo>
                  <a:cubicBezTo>
                    <a:pt x="914" y="1117"/>
                    <a:pt x="960" y="1131"/>
                    <a:pt x="995" y="1159"/>
                  </a:cubicBezTo>
                  <a:lnTo>
                    <a:pt x="998" y="1159"/>
                  </a:lnTo>
                  <a:cubicBezTo>
                    <a:pt x="1016" y="1152"/>
                    <a:pt x="1033" y="1142"/>
                    <a:pt x="1051" y="1131"/>
                  </a:cubicBezTo>
                  <a:cubicBezTo>
                    <a:pt x="1110" y="1087"/>
                    <a:pt x="1181" y="1064"/>
                    <a:pt x="1253" y="1064"/>
                  </a:cubicBezTo>
                  <a:cubicBezTo>
                    <a:pt x="1300" y="1064"/>
                    <a:pt x="1346" y="1074"/>
                    <a:pt x="1390" y="1093"/>
                  </a:cubicBezTo>
                  <a:cubicBezTo>
                    <a:pt x="1450" y="1117"/>
                    <a:pt x="1488" y="1177"/>
                    <a:pt x="1488" y="1243"/>
                  </a:cubicBezTo>
                  <a:cubicBezTo>
                    <a:pt x="1506" y="1254"/>
                    <a:pt x="1527" y="1261"/>
                    <a:pt x="1544" y="1264"/>
                  </a:cubicBezTo>
                  <a:cubicBezTo>
                    <a:pt x="1593" y="1282"/>
                    <a:pt x="1653" y="1303"/>
                    <a:pt x="1667" y="1362"/>
                  </a:cubicBezTo>
                  <a:cubicBezTo>
                    <a:pt x="1684" y="1422"/>
                    <a:pt x="1639" y="1471"/>
                    <a:pt x="1607" y="1506"/>
                  </a:cubicBezTo>
                  <a:cubicBezTo>
                    <a:pt x="1541" y="1565"/>
                    <a:pt x="1471" y="1618"/>
                    <a:pt x="1394" y="1663"/>
                  </a:cubicBezTo>
                  <a:cubicBezTo>
                    <a:pt x="1327" y="1709"/>
                    <a:pt x="1271" y="1740"/>
                    <a:pt x="1271" y="1775"/>
                  </a:cubicBezTo>
                  <a:cubicBezTo>
                    <a:pt x="1278" y="1817"/>
                    <a:pt x="1289" y="1859"/>
                    <a:pt x="1306" y="1901"/>
                  </a:cubicBezTo>
                  <a:cubicBezTo>
                    <a:pt x="1348" y="2031"/>
                    <a:pt x="1415" y="2210"/>
                    <a:pt x="1292" y="2332"/>
                  </a:cubicBezTo>
                  <a:cubicBezTo>
                    <a:pt x="1247" y="2378"/>
                    <a:pt x="1250" y="2441"/>
                    <a:pt x="1261" y="2525"/>
                  </a:cubicBezTo>
                  <a:cubicBezTo>
                    <a:pt x="1271" y="2584"/>
                    <a:pt x="1278" y="2644"/>
                    <a:pt x="1240" y="2689"/>
                  </a:cubicBezTo>
                  <a:cubicBezTo>
                    <a:pt x="1215" y="2714"/>
                    <a:pt x="1180" y="2728"/>
                    <a:pt x="1145" y="2728"/>
                  </a:cubicBezTo>
                  <a:cubicBezTo>
                    <a:pt x="1058" y="2728"/>
                    <a:pt x="1012" y="2752"/>
                    <a:pt x="1009" y="2763"/>
                  </a:cubicBezTo>
                  <a:cubicBezTo>
                    <a:pt x="1009" y="2763"/>
                    <a:pt x="1009" y="2784"/>
                    <a:pt x="1054" y="2829"/>
                  </a:cubicBezTo>
                  <a:cubicBezTo>
                    <a:pt x="1250" y="3025"/>
                    <a:pt x="1303" y="3109"/>
                    <a:pt x="1275" y="3179"/>
                  </a:cubicBezTo>
                  <a:cubicBezTo>
                    <a:pt x="1259" y="3216"/>
                    <a:pt x="1222" y="3240"/>
                    <a:pt x="1182" y="3240"/>
                  </a:cubicBezTo>
                  <a:cubicBezTo>
                    <a:pt x="1177" y="3240"/>
                    <a:pt x="1172" y="3240"/>
                    <a:pt x="1166" y="3239"/>
                  </a:cubicBezTo>
                  <a:cubicBezTo>
                    <a:pt x="1152" y="3239"/>
                    <a:pt x="1128" y="3260"/>
                    <a:pt x="1110" y="3291"/>
                  </a:cubicBezTo>
                  <a:cubicBezTo>
                    <a:pt x="1086" y="3330"/>
                    <a:pt x="1072" y="3379"/>
                    <a:pt x="1079" y="3424"/>
                  </a:cubicBezTo>
                  <a:cubicBezTo>
                    <a:pt x="1086" y="3431"/>
                    <a:pt x="1103" y="3445"/>
                    <a:pt x="1121" y="3459"/>
                  </a:cubicBezTo>
                  <a:cubicBezTo>
                    <a:pt x="1208" y="3533"/>
                    <a:pt x="1317" y="3620"/>
                    <a:pt x="1292" y="3715"/>
                  </a:cubicBezTo>
                  <a:cubicBezTo>
                    <a:pt x="1282" y="3764"/>
                    <a:pt x="1236" y="3795"/>
                    <a:pt x="1163" y="3809"/>
                  </a:cubicBezTo>
                  <a:cubicBezTo>
                    <a:pt x="1040" y="3830"/>
                    <a:pt x="1009" y="3904"/>
                    <a:pt x="1002" y="4005"/>
                  </a:cubicBezTo>
                  <a:lnTo>
                    <a:pt x="1002" y="4079"/>
                  </a:lnTo>
                  <a:lnTo>
                    <a:pt x="1002" y="4082"/>
                  </a:lnTo>
                  <a:lnTo>
                    <a:pt x="1002" y="4089"/>
                  </a:lnTo>
                  <a:lnTo>
                    <a:pt x="1002" y="4093"/>
                  </a:lnTo>
                  <a:lnTo>
                    <a:pt x="1002" y="4096"/>
                  </a:lnTo>
                  <a:lnTo>
                    <a:pt x="1002" y="4103"/>
                  </a:lnTo>
                  <a:lnTo>
                    <a:pt x="1005" y="4110"/>
                  </a:lnTo>
                  <a:lnTo>
                    <a:pt x="1009" y="4118"/>
                  </a:lnTo>
                  <a:lnTo>
                    <a:pt x="1012" y="4128"/>
                  </a:lnTo>
                  <a:lnTo>
                    <a:pt x="1016" y="4135"/>
                  </a:lnTo>
                  <a:lnTo>
                    <a:pt x="1026" y="4153"/>
                  </a:lnTo>
                  <a:lnTo>
                    <a:pt x="1026" y="4156"/>
                  </a:lnTo>
                  <a:lnTo>
                    <a:pt x="1040" y="4184"/>
                  </a:lnTo>
                  <a:cubicBezTo>
                    <a:pt x="1072" y="4177"/>
                    <a:pt x="1103" y="4177"/>
                    <a:pt x="1131" y="4177"/>
                  </a:cubicBezTo>
                  <a:cubicBezTo>
                    <a:pt x="1138" y="4177"/>
                    <a:pt x="1145" y="4176"/>
                    <a:pt x="1152" y="4176"/>
                  </a:cubicBezTo>
                  <a:cubicBezTo>
                    <a:pt x="1211" y="4176"/>
                    <a:pt x="1271" y="4190"/>
                    <a:pt x="1327" y="4216"/>
                  </a:cubicBezTo>
                  <a:cubicBezTo>
                    <a:pt x="1436" y="4268"/>
                    <a:pt x="1516" y="4394"/>
                    <a:pt x="1604" y="4527"/>
                  </a:cubicBezTo>
                  <a:cubicBezTo>
                    <a:pt x="1704" y="4684"/>
                    <a:pt x="1804" y="4843"/>
                    <a:pt x="1934" y="4843"/>
                  </a:cubicBezTo>
                  <a:cubicBezTo>
                    <a:pt x="1941" y="4843"/>
                    <a:pt x="1947" y="4843"/>
                    <a:pt x="1954" y="4842"/>
                  </a:cubicBezTo>
                  <a:cubicBezTo>
                    <a:pt x="1986" y="4839"/>
                    <a:pt x="1986" y="4839"/>
                    <a:pt x="1989" y="4800"/>
                  </a:cubicBezTo>
                  <a:cubicBezTo>
                    <a:pt x="1996" y="4755"/>
                    <a:pt x="2014" y="4713"/>
                    <a:pt x="2045" y="4681"/>
                  </a:cubicBezTo>
                  <a:cubicBezTo>
                    <a:pt x="2086" y="4641"/>
                    <a:pt x="2136" y="4629"/>
                    <a:pt x="2190" y="4629"/>
                  </a:cubicBezTo>
                  <a:cubicBezTo>
                    <a:pt x="2224" y="4629"/>
                    <a:pt x="2259" y="4634"/>
                    <a:pt x="2294" y="4639"/>
                  </a:cubicBezTo>
                  <a:cubicBezTo>
                    <a:pt x="2332" y="4643"/>
                    <a:pt x="2371" y="4646"/>
                    <a:pt x="2406" y="4646"/>
                  </a:cubicBezTo>
                  <a:cubicBezTo>
                    <a:pt x="2434" y="4646"/>
                    <a:pt x="2465" y="4629"/>
                    <a:pt x="2511" y="4594"/>
                  </a:cubicBezTo>
                  <a:cubicBezTo>
                    <a:pt x="2623" y="4506"/>
                    <a:pt x="2763" y="4454"/>
                    <a:pt x="2906" y="4454"/>
                  </a:cubicBezTo>
                  <a:cubicBezTo>
                    <a:pt x="3032" y="4450"/>
                    <a:pt x="3137" y="4443"/>
                    <a:pt x="3235" y="4440"/>
                  </a:cubicBezTo>
                  <a:cubicBezTo>
                    <a:pt x="3335" y="4432"/>
                    <a:pt x="3427" y="4428"/>
                    <a:pt x="3517" y="4428"/>
                  </a:cubicBezTo>
                  <a:cubicBezTo>
                    <a:pt x="3547" y="4428"/>
                    <a:pt x="3577" y="4428"/>
                    <a:pt x="3606" y="4429"/>
                  </a:cubicBezTo>
                  <a:cubicBezTo>
                    <a:pt x="3616" y="4429"/>
                    <a:pt x="3626" y="4430"/>
                    <a:pt x="3635" y="4430"/>
                  </a:cubicBezTo>
                  <a:cubicBezTo>
                    <a:pt x="3795" y="4430"/>
                    <a:pt x="3902" y="4374"/>
                    <a:pt x="3936" y="4279"/>
                  </a:cubicBezTo>
                  <a:cubicBezTo>
                    <a:pt x="3995" y="4110"/>
                    <a:pt x="4184" y="3977"/>
                    <a:pt x="4419" y="3946"/>
                  </a:cubicBezTo>
                  <a:cubicBezTo>
                    <a:pt x="4538" y="3928"/>
                    <a:pt x="4548" y="3837"/>
                    <a:pt x="4559" y="3690"/>
                  </a:cubicBezTo>
                  <a:cubicBezTo>
                    <a:pt x="4559" y="3662"/>
                    <a:pt x="4562" y="3638"/>
                    <a:pt x="4566" y="3613"/>
                  </a:cubicBezTo>
                  <a:cubicBezTo>
                    <a:pt x="4576" y="3515"/>
                    <a:pt x="4692" y="3424"/>
                    <a:pt x="4818" y="3323"/>
                  </a:cubicBezTo>
                  <a:cubicBezTo>
                    <a:pt x="4874" y="3281"/>
                    <a:pt x="4961" y="3211"/>
                    <a:pt x="4972" y="3183"/>
                  </a:cubicBezTo>
                  <a:cubicBezTo>
                    <a:pt x="4965" y="3144"/>
                    <a:pt x="4954" y="3109"/>
                    <a:pt x="4944" y="3071"/>
                  </a:cubicBezTo>
                  <a:cubicBezTo>
                    <a:pt x="4895" y="2906"/>
                    <a:pt x="4814" y="2623"/>
                    <a:pt x="4986" y="2364"/>
                  </a:cubicBezTo>
                  <a:cubicBezTo>
                    <a:pt x="5073" y="2238"/>
                    <a:pt x="5178" y="2126"/>
                    <a:pt x="5297" y="2034"/>
                  </a:cubicBezTo>
                  <a:cubicBezTo>
                    <a:pt x="5388" y="1964"/>
                    <a:pt x="5430" y="1929"/>
                    <a:pt x="5430" y="1866"/>
                  </a:cubicBezTo>
                  <a:cubicBezTo>
                    <a:pt x="5430" y="1600"/>
                    <a:pt x="5822" y="1555"/>
                    <a:pt x="5991" y="1534"/>
                  </a:cubicBezTo>
                  <a:cubicBezTo>
                    <a:pt x="6134" y="1516"/>
                    <a:pt x="6222" y="1453"/>
                    <a:pt x="6320" y="1376"/>
                  </a:cubicBezTo>
                  <a:cubicBezTo>
                    <a:pt x="6397" y="1313"/>
                    <a:pt x="6481" y="1261"/>
                    <a:pt x="6572" y="1222"/>
                  </a:cubicBezTo>
                  <a:cubicBezTo>
                    <a:pt x="6722" y="1159"/>
                    <a:pt x="6782" y="1061"/>
                    <a:pt x="6764" y="893"/>
                  </a:cubicBezTo>
                  <a:lnTo>
                    <a:pt x="6432" y="893"/>
                  </a:lnTo>
                  <a:lnTo>
                    <a:pt x="6372" y="890"/>
                  </a:lnTo>
                  <a:lnTo>
                    <a:pt x="6358" y="890"/>
                  </a:lnTo>
                  <a:lnTo>
                    <a:pt x="6316" y="886"/>
                  </a:lnTo>
                  <a:lnTo>
                    <a:pt x="6299" y="886"/>
                  </a:lnTo>
                  <a:cubicBezTo>
                    <a:pt x="6281" y="883"/>
                    <a:pt x="6264" y="879"/>
                    <a:pt x="6246" y="876"/>
                  </a:cubicBezTo>
                  <a:cubicBezTo>
                    <a:pt x="6197" y="865"/>
                    <a:pt x="6131" y="855"/>
                    <a:pt x="6061" y="844"/>
                  </a:cubicBezTo>
                  <a:cubicBezTo>
                    <a:pt x="5819" y="809"/>
                    <a:pt x="5644" y="781"/>
                    <a:pt x="5563" y="701"/>
                  </a:cubicBezTo>
                  <a:cubicBezTo>
                    <a:pt x="5525" y="659"/>
                    <a:pt x="5476" y="624"/>
                    <a:pt x="5420" y="603"/>
                  </a:cubicBezTo>
                  <a:cubicBezTo>
                    <a:pt x="5416" y="655"/>
                    <a:pt x="5385" y="701"/>
                    <a:pt x="5336" y="725"/>
                  </a:cubicBezTo>
                  <a:cubicBezTo>
                    <a:pt x="5290" y="751"/>
                    <a:pt x="5228" y="763"/>
                    <a:pt x="5162" y="763"/>
                  </a:cubicBezTo>
                  <a:cubicBezTo>
                    <a:pt x="5068" y="763"/>
                    <a:pt x="4964" y="738"/>
                    <a:pt x="4888" y="690"/>
                  </a:cubicBezTo>
                  <a:cubicBezTo>
                    <a:pt x="4797" y="638"/>
                    <a:pt x="4706" y="596"/>
                    <a:pt x="4608" y="557"/>
                  </a:cubicBezTo>
                  <a:cubicBezTo>
                    <a:pt x="4520" y="522"/>
                    <a:pt x="4436" y="480"/>
                    <a:pt x="4356" y="435"/>
                  </a:cubicBezTo>
                  <a:cubicBezTo>
                    <a:pt x="4296" y="400"/>
                    <a:pt x="4240" y="372"/>
                    <a:pt x="4181" y="347"/>
                  </a:cubicBezTo>
                  <a:lnTo>
                    <a:pt x="4121" y="319"/>
                  </a:lnTo>
                  <a:lnTo>
                    <a:pt x="4104" y="309"/>
                  </a:lnTo>
                  <a:lnTo>
                    <a:pt x="4069" y="295"/>
                  </a:lnTo>
                  <a:cubicBezTo>
                    <a:pt x="4059" y="295"/>
                    <a:pt x="4048" y="296"/>
                    <a:pt x="4038" y="296"/>
                  </a:cubicBezTo>
                  <a:cubicBezTo>
                    <a:pt x="3956" y="296"/>
                    <a:pt x="3844" y="273"/>
                    <a:pt x="3708" y="246"/>
                  </a:cubicBezTo>
                  <a:cubicBezTo>
                    <a:pt x="3554" y="214"/>
                    <a:pt x="3383" y="180"/>
                    <a:pt x="3238" y="180"/>
                  </a:cubicBezTo>
                  <a:cubicBezTo>
                    <a:pt x="3206" y="180"/>
                    <a:pt x="3174" y="182"/>
                    <a:pt x="3144" y="186"/>
                  </a:cubicBezTo>
                  <a:cubicBezTo>
                    <a:pt x="3080" y="194"/>
                    <a:pt x="2991" y="197"/>
                    <a:pt x="2886" y="197"/>
                  </a:cubicBezTo>
                  <a:cubicBezTo>
                    <a:pt x="2704" y="197"/>
                    <a:pt x="2475" y="188"/>
                    <a:pt x="2238" y="179"/>
                  </a:cubicBezTo>
                  <a:cubicBezTo>
                    <a:pt x="2007" y="170"/>
                    <a:pt x="1772" y="162"/>
                    <a:pt x="1583" y="162"/>
                  </a:cubicBezTo>
                  <a:cubicBezTo>
                    <a:pt x="1488" y="162"/>
                    <a:pt x="1404" y="164"/>
                    <a:pt x="1338" y="169"/>
                  </a:cubicBezTo>
                  <a:cubicBezTo>
                    <a:pt x="1305" y="171"/>
                    <a:pt x="1275" y="172"/>
                    <a:pt x="1246" y="172"/>
                  </a:cubicBezTo>
                  <a:cubicBezTo>
                    <a:pt x="1045" y="172"/>
                    <a:pt x="941" y="113"/>
                    <a:pt x="855" y="64"/>
                  </a:cubicBezTo>
                  <a:cubicBezTo>
                    <a:pt x="799" y="25"/>
                    <a:pt x="736" y="1"/>
                    <a:pt x="66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9" name="Google Shape;6129;p53"/>
            <p:cNvSpPr/>
            <p:nvPr/>
          </p:nvSpPr>
          <p:spPr>
            <a:xfrm>
              <a:off x="2067501" y="1729043"/>
              <a:ext cx="4956" cy="3069"/>
            </a:xfrm>
            <a:custGeom>
              <a:avLst/>
              <a:gdLst/>
              <a:ahLst/>
              <a:cxnLst/>
              <a:rect l="l" t="t" r="r" b="b"/>
              <a:pathLst>
                <a:path w="365" h="226" extrusionOk="0">
                  <a:moveTo>
                    <a:pt x="303" y="0"/>
                  </a:moveTo>
                  <a:cubicBezTo>
                    <a:pt x="198" y="0"/>
                    <a:pt x="41" y="106"/>
                    <a:pt x="0" y="158"/>
                  </a:cubicBezTo>
                  <a:cubicBezTo>
                    <a:pt x="74" y="202"/>
                    <a:pt x="151" y="226"/>
                    <a:pt x="215" y="226"/>
                  </a:cubicBezTo>
                  <a:cubicBezTo>
                    <a:pt x="251" y="226"/>
                    <a:pt x="283" y="218"/>
                    <a:pt x="308" y="203"/>
                  </a:cubicBezTo>
                  <a:cubicBezTo>
                    <a:pt x="361" y="168"/>
                    <a:pt x="364" y="98"/>
                    <a:pt x="357" y="46"/>
                  </a:cubicBezTo>
                  <a:cubicBezTo>
                    <a:pt x="354" y="14"/>
                    <a:pt x="340" y="4"/>
                    <a:pt x="308" y="0"/>
                  </a:cubicBezTo>
                  <a:cubicBezTo>
                    <a:pt x="307" y="0"/>
                    <a:pt x="305" y="0"/>
                    <a:pt x="3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0" name="Google Shape;6130;p53"/>
            <p:cNvSpPr/>
            <p:nvPr/>
          </p:nvSpPr>
          <p:spPr>
            <a:xfrm>
              <a:off x="1993626" y="1750237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1" name="Google Shape;6131;p53"/>
            <p:cNvSpPr/>
            <p:nvPr/>
          </p:nvSpPr>
          <p:spPr>
            <a:xfrm>
              <a:off x="1993870" y="1750767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4" y="28"/>
                  </a:moveTo>
                  <a:lnTo>
                    <a:pt x="14" y="2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2" name="Google Shape;6132;p53"/>
            <p:cNvSpPr/>
            <p:nvPr/>
          </p:nvSpPr>
          <p:spPr>
            <a:xfrm>
              <a:off x="1993490" y="174976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3" name="Google Shape;6133;p53"/>
            <p:cNvSpPr/>
            <p:nvPr/>
          </p:nvSpPr>
          <p:spPr>
            <a:xfrm>
              <a:off x="1993490" y="174989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4" name="Google Shape;6134;p53"/>
            <p:cNvSpPr/>
            <p:nvPr/>
          </p:nvSpPr>
          <p:spPr>
            <a:xfrm>
              <a:off x="1993436" y="174966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ubicBezTo>
                    <a:pt x="1" y="4"/>
                    <a:pt x="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5" name="Google Shape;6135;p53"/>
            <p:cNvSpPr/>
            <p:nvPr/>
          </p:nvSpPr>
          <p:spPr>
            <a:xfrm>
              <a:off x="1983552" y="1708690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1" y="4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6" name="Google Shape;6136;p53"/>
            <p:cNvSpPr/>
            <p:nvPr/>
          </p:nvSpPr>
          <p:spPr>
            <a:xfrm>
              <a:off x="1993721" y="1750481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7" name="Google Shape;6137;p53"/>
            <p:cNvSpPr/>
            <p:nvPr/>
          </p:nvSpPr>
          <p:spPr>
            <a:xfrm>
              <a:off x="1993531" y="1750047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8" name="Google Shape;6138;p53"/>
            <p:cNvSpPr/>
            <p:nvPr/>
          </p:nvSpPr>
          <p:spPr>
            <a:xfrm>
              <a:off x="1983647" y="1708500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"/>
                  </a:moveTo>
                  <a:cubicBezTo>
                    <a:pt x="11" y="4"/>
                    <a:pt x="8" y="11"/>
                    <a:pt x="1" y="15"/>
                  </a:cubicBezTo>
                  <a:cubicBezTo>
                    <a:pt x="8" y="11"/>
                    <a:pt x="11" y="4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9" name="Google Shape;6139;p53"/>
            <p:cNvSpPr/>
            <p:nvPr/>
          </p:nvSpPr>
          <p:spPr>
            <a:xfrm>
              <a:off x="2035703" y="16985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1"/>
                  </a:moveTo>
                  <a:lnTo>
                    <a:pt x="1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0" name="Google Shape;6140;p53"/>
            <p:cNvSpPr/>
            <p:nvPr/>
          </p:nvSpPr>
          <p:spPr>
            <a:xfrm>
              <a:off x="2065505" y="170631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1" name="Google Shape;6141;p53"/>
            <p:cNvSpPr/>
            <p:nvPr/>
          </p:nvSpPr>
          <p:spPr>
            <a:xfrm>
              <a:off x="2066266" y="170640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2" name="Google Shape;6142;p53"/>
            <p:cNvSpPr/>
            <p:nvPr/>
          </p:nvSpPr>
          <p:spPr>
            <a:xfrm>
              <a:off x="2067257" y="17064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3" name="Google Shape;6143;p53"/>
            <p:cNvSpPr/>
            <p:nvPr/>
          </p:nvSpPr>
          <p:spPr>
            <a:xfrm>
              <a:off x="2068357" y="17065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4" name="Google Shape;6144;p53"/>
            <p:cNvSpPr/>
            <p:nvPr/>
          </p:nvSpPr>
          <p:spPr>
            <a:xfrm>
              <a:off x="2071819" y="17064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5" name="Google Shape;6145;p53"/>
            <p:cNvSpPr/>
            <p:nvPr/>
          </p:nvSpPr>
          <p:spPr>
            <a:xfrm>
              <a:off x="2145164" y="1665201"/>
              <a:ext cx="22919" cy="11663"/>
            </a:xfrm>
            <a:custGeom>
              <a:avLst/>
              <a:gdLst/>
              <a:ahLst/>
              <a:cxnLst/>
              <a:rect l="l" t="t" r="r" b="b"/>
              <a:pathLst>
                <a:path w="1688" h="859" extrusionOk="0">
                  <a:moveTo>
                    <a:pt x="1614" y="0"/>
                  </a:moveTo>
                  <a:lnTo>
                    <a:pt x="1600" y="11"/>
                  </a:lnTo>
                  <a:cubicBezTo>
                    <a:pt x="1499" y="74"/>
                    <a:pt x="1380" y="109"/>
                    <a:pt x="1257" y="113"/>
                  </a:cubicBezTo>
                  <a:cubicBezTo>
                    <a:pt x="1145" y="113"/>
                    <a:pt x="1047" y="165"/>
                    <a:pt x="963" y="214"/>
                  </a:cubicBezTo>
                  <a:cubicBezTo>
                    <a:pt x="911" y="253"/>
                    <a:pt x="851" y="274"/>
                    <a:pt x="788" y="284"/>
                  </a:cubicBezTo>
                  <a:cubicBezTo>
                    <a:pt x="704" y="274"/>
                    <a:pt x="627" y="260"/>
                    <a:pt x="547" y="239"/>
                  </a:cubicBezTo>
                  <a:cubicBezTo>
                    <a:pt x="428" y="207"/>
                    <a:pt x="302" y="186"/>
                    <a:pt x="176" y="172"/>
                  </a:cubicBezTo>
                  <a:lnTo>
                    <a:pt x="106" y="169"/>
                  </a:lnTo>
                  <a:lnTo>
                    <a:pt x="95" y="169"/>
                  </a:lnTo>
                  <a:lnTo>
                    <a:pt x="18" y="162"/>
                  </a:lnTo>
                  <a:cubicBezTo>
                    <a:pt x="18" y="179"/>
                    <a:pt x="18" y="197"/>
                    <a:pt x="15" y="214"/>
                  </a:cubicBezTo>
                  <a:lnTo>
                    <a:pt x="15" y="221"/>
                  </a:lnTo>
                  <a:cubicBezTo>
                    <a:pt x="15" y="242"/>
                    <a:pt x="11" y="260"/>
                    <a:pt x="11" y="281"/>
                  </a:cubicBezTo>
                  <a:cubicBezTo>
                    <a:pt x="11" y="302"/>
                    <a:pt x="8" y="319"/>
                    <a:pt x="4" y="340"/>
                  </a:cubicBezTo>
                  <a:lnTo>
                    <a:pt x="4" y="351"/>
                  </a:lnTo>
                  <a:cubicBezTo>
                    <a:pt x="4" y="375"/>
                    <a:pt x="4" y="396"/>
                    <a:pt x="1" y="417"/>
                  </a:cubicBezTo>
                  <a:lnTo>
                    <a:pt x="1" y="424"/>
                  </a:lnTo>
                  <a:cubicBezTo>
                    <a:pt x="1" y="445"/>
                    <a:pt x="1" y="463"/>
                    <a:pt x="1" y="484"/>
                  </a:cubicBezTo>
                  <a:lnTo>
                    <a:pt x="1" y="498"/>
                  </a:lnTo>
                  <a:lnTo>
                    <a:pt x="1" y="564"/>
                  </a:lnTo>
                  <a:lnTo>
                    <a:pt x="1" y="578"/>
                  </a:lnTo>
                  <a:lnTo>
                    <a:pt x="1" y="638"/>
                  </a:lnTo>
                  <a:lnTo>
                    <a:pt x="1" y="652"/>
                  </a:lnTo>
                  <a:lnTo>
                    <a:pt x="1" y="718"/>
                  </a:lnTo>
                  <a:lnTo>
                    <a:pt x="1" y="725"/>
                  </a:lnTo>
                  <a:cubicBezTo>
                    <a:pt x="64" y="704"/>
                    <a:pt x="134" y="694"/>
                    <a:pt x="200" y="694"/>
                  </a:cubicBezTo>
                  <a:cubicBezTo>
                    <a:pt x="207" y="693"/>
                    <a:pt x="213" y="693"/>
                    <a:pt x="220" y="693"/>
                  </a:cubicBezTo>
                  <a:cubicBezTo>
                    <a:pt x="251" y="693"/>
                    <a:pt x="280" y="700"/>
                    <a:pt x="309" y="711"/>
                  </a:cubicBezTo>
                  <a:cubicBezTo>
                    <a:pt x="372" y="739"/>
                    <a:pt x="417" y="795"/>
                    <a:pt x="431" y="858"/>
                  </a:cubicBezTo>
                  <a:lnTo>
                    <a:pt x="463" y="855"/>
                  </a:lnTo>
                  <a:lnTo>
                    <a:pt x="491" y="851"/>
                  </a:lnTo>
                  <a:lnTo>
                    <a:pt x="522" y="844"/>
                  </a:lnTo>
                  <a:lnTo>
                    <a:pt x="547" y="841"/>
                  </a:lnTo>
                  <a:lnTo>
                    <a:pt x="575" y="837"/>
                  </a:lnTo>
                  <a:lnTo>
                    <a:pt x="596" y="834"/>
                  </a:lnTo>
                  <a:lnTo>
                    <a:pt x="620" y="827"/>
                  </a:lnTo>
                  <a:lnTo>
                    <a:pt x="641" y="823"/>
                  </a:lnTo>
                  <a:lnTo>
                    <a:pt x="659" y="820"/>
                  </a:lnTo>
                  <a:lnTo>
                    <a:pt x="680" y="816"/>
                  </a:lnTo>
                  <a:lnTo>
                    <a:pt x="694" y="813"/>
                  </a:lnTo>
                  <a:lnTo>
                    <a:pt x="711" y="809"/>
                  </a:lnTo>
                  <a:lnTo>
                    <a:pt x="722" y="806"/>
                  </a:lnTo>
                  <a:lnTo>
                    <a:pt x="739" y="799"/>
                  </a:lnTo>
                  <a:cubicBezTo>
                    <a:pt x="761" y="791"/>
                    <a:pt x="784" y="788"/>
                    <a:pt x="808" y="788"/>
                  </a:cubicBezTo>
                  <a:cubicBezTo>
                    <a:pt x="858" y="788"/>
                    <a:pt x="911" y="801"/>
                    <a:pt x="963" y="813"/>
                  </a:cubicBezTo>
                  <a:cubicBezTo>
                    <a:pt x="991" y="820"/>
                    <a:pt x="1019" y="827"/>
                    <a:pt x="1051" y="830"/>
                  </a:cubicBezTo>
                  <a:cubicBezTo>
                    <a:pt x="1079" y="750"/>
                    <a:pt x="1156" y="575"/>
                    <a:pt x="1285" y="564"/>
                  </a:cubicBezTo>
                  <a:cubicBezTo>
                    <a:pt x="1292" y="540"/>
                    <a:pt x="1296" y="515"/>
                    <a:pt x="1299" y="491"/>
                  </a:cubicBezTo>
                  <a:cubicBezTo>
                    <a:pt x="1310" y="417"/>
                    <a:pt x="1324" y="309"/>
                    <a:pt x="1422" y="298"/>
                  </a:cubicBezTo>
                  <a:cubicBezTo>
                    <a:pt x="1429" y="295"/>
                    <a:pt x="1436" y="295"/>
                    <a:pt x="1439" y="291"/>
                  </a:cubicBezTo>
                  <a:lnTo>
                    <a:pt x="1453" y="288"/>
                  </a:lnTo>
                  <a:lnTo>
                    <a:pt x="1464" y="281"/>
                  </a:lnTo>
                  <a:lnTo>
                    <a:pt x="1478" y="274"/>
                  </a:lnTo>
                  <a:lnTo>
                    <a:pt x="1495" y="263"/>
                  </a:lnTo>
                  <a:lnTo>
                    <a:pt x="1502" y="260"/>
                  </a:lnTo>
                  <a:cubicBezTo>
                    <a:pt x="1548" y="228"/>
                    <a:pt x="1593" y="193"/>
                    <a:pt x="1639" y="158"/>
                  </a:cubicBezTo>
                  <a:lnTo>
                    <a:pt x="1653" y="148"/>
                  </a:lnTo>
                  <a:lnTo>
                    <a:pt x="1677" y="127"/>
                  </a:lnTo>
                  <a:lnTo>
                    <a:pt x="1688" y="116"/>
                  </a:lnTo>
                  <a:lnTo>
                    <a:pt x="1677" y="99"/>
                  </a:lnTo>
                  <a:lnTo>
                    <a:pt x="1674" y="92"/>
                  </a:lnTo>
                  <a:cubicBezTo>
                    <a:pt x="1656" y="60"/>
                    <a:pt x="1635" y="28"/>
                    <a:pt x="1621" y="7"/>
                  </a:cubicBezTo>
                  <a:lnTo>
                    <a:pt x="16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6" name="Google Shape;6146;p53"/>
            <p:cNvSpPr/>
            <p:nvPr/>
          </p:nvSpPr>
          <p:spPr>
            <a:xfrm>
              <a:off x="2165463" y="166871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7" name="Google Shape;6147;p53"/>
            <p:cNvSpPr/>
            <p:nvPr/>
          </p:nvSpPr>
          <p:spPr>
            <a:xfrm>
              <a:off x="2165028" y="166890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8" name="Google Shape;6148;p53"/>
            <p:cNvSpPr/>
            <p:nvPr/>
          </p:nvSpPr>
          <p:spPr>
            <a:xfrm>
              <a:off x="2167880" y="166677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11"/>
                  </a:move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9" name="Google Shape;6149;p53"/>
            <p:cNvSpPr/>
            <p:nvPr/>
          </p:nvSpPr>
          <p:spPr>
            <a:xfrm>
              <a:off x="2167404" y="166719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0" name="Google Shape;6150;p53"/>
            <p:cNvSpPr/>
            <p:nvPr/>
          </p:nvSpPr>
          <p:spPr>
            <a:xfrm>
              <a:off x="2151437" y="1676701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1" name="Google Shape;6151;p53"/>
            <p:cNvSpPr/>
            <p:nvPr/>
          </p:nvSpPr>
          <p:spPr>
            <a:xfrm>
              <a:off x="2152917" y="167647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2" name="Google Shape;6152;p53"/>
            <p:cNvSpPr/>
            <p:nvPr/>
          </p:nvSpPr>
          <p:spPr>
            <a:xfrm>
              <a:off x="2152198" y="167660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3" name="Google Shape;6153;p53"/>
            <p:cNvSpPr/>
            <p:nvPr/>
          </p:nvSpPr>
          <p:spPr>
            <a:xfrm>
              <a:off x="2150962" y="16768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4" name="Google Shape;6154;p53"/>
            <p:cNvSpPr/>
            <p:nvPr/>
          </p:nvSpPr>
          <p:spPr>
            <a:xfrm>
              <a:off x="2154913" y="1676036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5" name="Google Shape;6155;p53"/>
            <p:cNvSpPr/>
            <p:nvPr/>
          </p:nvSpPr>
          <p:spPr>
            <a:xfrm>
              <a:off x="2153528" y="1676375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6" name="Google Shape;6156;p53"/>
            <p:cNvSpPr/>
            <p:nvPr/>
          </p:nvSpPr>
          <p:spPr>
            <a:xfrm>
              <a:off x="2154098" y="1676280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7" name="Google Shape;6157;p53"/>
            <p:cNvSpPr/>
            <p:nvPr/>
          </p:nvSpPr>
          <p:spPr>
            <a:xfrm>
              <a:off x="2154533" y="1676131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8" name="Google Shape;6158;p53"/>
            <p:cNvSpPr/>
            <p:nvPr/>
          </p:nvSpPr>
          <p:spPr>
            <a:xfrm>
              <a:off x="2164703" y="166909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9" name="Google Shape;6159;p53"/>
            <p:cNvSpPr/>
            <p:nvPr/>
          </p:nvSpPr>
          <p:spPr>
            <a:xfrm>
              <a:off x="2145450" y="1667387"/>
              <a:ext cx="1018" cy="109"/>
            </a:xfrm>
            <a:custGeom>
              <a:avLst/>
              <a:gdLst/>
              <a:ahLst/>
              <a:cxnLst/>
              <a:rect l="l" t="t" r="r" b="b"/>
              <a:pathLst>
                <a:path w="75" h="8" extrusionOk="0">
                  <a:moveTo>
                    <a:pt x="1" y="1"/>
                  </a:moveTo>
                  <a:lnTo>
                    <a:pt x="74" y="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0" name="Google Shape;6160;p53"/>
            <p:cNvSpPr/>
            <p:nvPr/>
          </p:nvSpPr>
          <p:spPr>
            <a:xfrm>
              <a:off x="2166888" y="166520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18" y="0"/>
                  </a:lnTo>
                  <a:lnTo>
                    <a:pt x="21" y="7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1" name="Google Shape;6161;p53"/>
            <p:cNvSpPr/>
            <p:nvPr/>
          </p:nvSpPr>
          <p:spPr>
            <a:xfrm>
              <a:off x="2146590" y="1667482"/>
              <a:ext cx="964" cy="68"/>
            </a:xfrm>
            <a:custGeom>
              <a:avLst/>
              <a:gdLst/>
              <a:ahLst/>
              <a:cxnLst/>
              <a:rect l="l" t="t" r="r" b="b"/>
              <a:pathLst>
                <a:path w="71" h="5" extrusionOk="0">
                  <a:moveTo>
                    <a:pt x="7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2" name="Google Shape;6162;p53"/>
            <p:cNvSpPr/>
            <p:nvPr/>
          </p:nvSpPr>
          <p:spPr>
            <a:xfrm>
              <a:off x="2167174" y="1665296"/>
              <a:ext cx="720" cy="1154"/>
            </a:xfrm>
            <a:custGeom>
              <a:avLst/>
              <a:gdLst/>
              <a:ahLst/>
              <a:cxnLst/>
              <a:rect l="l" t="t" r="r" b="b"/>
              <a:pathLst>
                <a:path w="53" h="85" extrusionOk="0">
                  <a:moveTo>
                    <a:pt x="0" y="0"/>
                  </a:moveTo>
                  <a:cubicBezTo>
                    <a:pt x="14" y="21"/>
                    <a:pt x="35" y="53"/>
                    <a:pt x="53" y="85"/>
                  </a:cubicBezTo>
                  <a:cubicBezTo>
                    <a:pt x="35" y="53"/>
                    <a:pt x="18" y="2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3" name="Google Shape;6163;p53"/>
            <p:cNvSpPr/>
            <p:nvPr/>
          </p:nvSpPr>
          <p:spPr>
            <a:xfrm>
              <a:off x="2167934" y="1666532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8"/>
                  </a:moveTo>
                  <a:lnTo>
                    <a:pt x="11" y="18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4" name="Google Shape;6164;p53"/>
            <p:cNvSpPr/>
            <p:nvPr/>
          </p:nvSpPr>
          <p:spPr>
            <a:xfrm>
              <a:off x="2167119" y="166520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1" y="0"/>
                  </a:lnTo>
                  <a:lnTo>
                    <a:pt x="8" y="7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5" name="Google Shape;6165;p53"/>
            <p:cNvSpPr/>
            <p:nvPr/>
          </p:nvSpPr>
          <p:spPr>
            <a:xfrm>
              <a:off x="2196637" y="1711826"/>
              <a:ext cx="45172" cy="43706"/>
            </a:xfrm>
            <a:custGeom>
              <a:avLst/>
              <a:gdLst/>
              <a:ahLst/>
              <a:cxnLst/>
              <a:rect l="l" t="t" r="r" b="b"/>
              <a:pathLst>
                <a:path w="3327" h="3219" extrusionOk="0">
                  <a:moveTo>
                    <a:pt x="3299" y="1"/>
                  </a:moveTo>
                  <a:lnTo>
                    <a:pt x="3285" y="25"/>
                  </a:lnTo>
                  <a:lnTo>
                    <a:pt x="3274" y="29"/>
                  </a:lnTo>
                  <a:lnTo>
                    <a:pt x="3257" y="32"/>
                  </a:lnTo>
                  <a:lnTo>
                    <a:pt x="3246" y="32"/>
                  </a:lnTo>
                  <a:lnTo>
                    <a:pt x="3222" y="39"/>
                  </a:lnTo>
                  <a:lnTo>
                    <a:pt x="3215" y="39"/>
                  </a:lnTo>
                  <a:lnTo>
                    <a:pt x="3197" y="43"/>
                  </a:lnTo>
                  <a:lnTo>
                    <a:pt x="3190" y="46"/>
                  </a:lnTo>
                  <a:lnTo>
                    <a:pt x="3180" y="53"/>
                  </a:lnTo>
                  <a:lnTo>
                    <a:pt x="3173" y="53"/>
                  </a:lnTo>
                  <a:lnTo>
                    <a:pt x="3162" y="60"/>
                  </a:lnTo>
                  <a:lnTo>
                    <a:pt x="3159" y="60"/>
                  </a:lnTo>
                  <a:lnTo>
                    <a:pt x="3145" y="67"/>
                  </a:lnTo>
                  <a:cubicBezTo>
                    <a:pt x="3148" y="74"/>
                    <a:pt x="3148" y="85"/>
                    <a:pt x="3152" y="92"/>
                  </a:cubicBezTo>
                  <a:cubicBezTo>
                    <a:pt x="3152" y="120"/>
                    <a:pt x="3145" y="148"/>
                    <a:pt x="3127" y="172"/>
                  </a:cubicBezTo>
                  <a:cubicBezTo>
                    <a:pt x="3092" y="225"/>
                    <a:pt x="3015" y="260"/>
                    <a:pt x="2914" y="267"/>
                  </a:cubicBezTo>
                  <a:lnTo>
                    <a:pt x="2865" y="267"/>
                  </a:lnTo>
                  <a:cubicBezTo>
                    <a:pt x="2816" y="263"/>
                    <a:pt x="2396" y="232"/>
                    <a:pt x="2255" y="162"/>
                  </a:cubicBezTo>
                  <a:lnTo>
                    <a:pt x="2245" y="158"/>
                  </a:lnTo>
                  <a:lnTo>
                    <a:pt x="2231" y="155"/>
                  </a:lnTo>
                  <a:lnTo>
                    <a:pt x="2227" y="155"/>
                  </a:lnTo>
                  <a:lnTo>
                    <a:pt x="2210" y="151"/>
                  </a:lnTo>
                  <a:lnTo>
                    <a:pt x="1692" y="151"/>
                  </a:lnTo>
                  <a:lnTo>
                    <a:pt x="1643" y="155"/>
                  </a:lnTo>
                  <a:lnTo>
                    <a:pt x="1594" y="155"/>
                  </a:lnTo>
                  <a:cubicBezTo>
                    <a:pt x="1546" y="228"/>
                    <a:pt x="1209" y="416"/>
                    <a:pt x="1052" y="416"/>
                  </a:cubicBezTo>
                  <a:cubicBezTo>
                    <a:pt x="1037" y="416"/>
                    <a:pt x="1024" y="414"/>
                    <a:pt x="1013" y="410"/>
                  </a:cubicBezTo>
                  <a:cubicBezTo>
                    <a:pt x="1002" y="421"/>
                    <a:pt x="992" y="431"/>
                    <a:pt x="981" y="445"/>
                  </a:cubicBezTo>
                  <a:cubicBezTo>
                    <a:pt x="936" y="505"/>
                    <a:pt x="869" y="547"/>
                    <a:pt x="796" y="571"/>
                  </a:cubicBezTo>
                  <a:cubicBezTo>
                    <a:pt x="778" y="575"/>
                    <a:pt x="761" y="578"/>
                    <a:pt x="740" y="582"/>
                  </a:cubicBezTo>
                  <a:lnTo>
                    <a:pt x="460" y="582"/>
                  </a:lnTo>
                  <a:cubicBezTo>
                    <a:pt x="460" y="585"/>
                    <a:pt x="456" y="589"/>
                    <a:pt x="456" y="592"/>
                  </a:cubicBezTo>
                  <a:cubicBezTo>
                    <a:pt x="453" y="596"/>
                    <a:pt x="449" y="606"/>
                    <a:pt x="446" y="613"/>
                  </a:cubicBezTo>
                  <a:lnTo>
                    <a:pt x="442" y="627"/>
                  </a:lnTo>
                  <a:cubicBezTo>
                    <a:pt x="439" y="634"/>
                    <a:pt x="432" y="645"/>
                    <a:pt x="428" y="652"/>
                  </a:cubicBezTo>
                  <a:lnTo>
                    <a:pt x="421" y="666"/>
                  </a:lnTo>
                  <a:cubicBezTo>
                    <a:pt x="418" y="676"/>
                    <a:pt x="411" y="687"/>
                    <a:pt x="404" y="697"/>
                  </a:cubicBezTo>
                  <a:lnTo>
                    <a:pt x="397" y="711"/>
                  </a:lnTo>
                  <a:cubicBezTo>
                    <a:pt x="390" y="722"/>
                    <a:pt x="386" y="732"/>
                    <a:pt x="379" y="743"/>
                  </a:cubicBezTo>
                  <a:lnTo>
                    <a:pt x="365" y="764"/>
                  </a:lnTo>
                  <a:lnTo>
                    <a:pt x="348" y="789"/>
                  </a:lnTo>
                  <a:lnTo>
                    <a:pt x="330" y="813"/>
                  </a:lnTo>
                  <a:lnTo>
                    <a:pt x="316" y="831"/>
                  </a:lnTo>
                  <a:cubicBezTo>
                    <a:pt x="309" y="841"/>
                    <a:pt x="302" y="852"/>
                    <a:pt x="295" y="862"/>
                  </a:cubicBezTo>
                  <a:lnTo>
                    <a:pt x="284" y="873"/>
                  </a:lnTo>
                  <a:cubicBezTo>
                    <a:pt x="274" y="883"/>
                    <a:pt x="263" y="897"/>
                    <a:pt x="253" y="908"/>
                  </a:cubicBezTo>
                  <a:cubicBezTo>
                    <a:pt x="235" y="929"/>
                    <a:pt x="225" y="953"/>
                    <a:pt x="221" y="981"/>
                  </a:cubicBezTo>
                  <a:cubicBezTo>
                    <a:pt x="221" y="992"/>
                    <a:pt x="218" y="1002"/>
                    <a:pt x="214" y="1016"/>
                  </a:cubicBezTo>
                  <a:lnTo>
                    <a:pt x="214" y="1023"/>
                  </a:lnTo>
                  <a:cubicBezTo>
                    <a:pt x="214" y="1027"/>
                    <a:pt x="211" y="1030"/>
                    <a:pt x="211" y="1034"/>
                  </a:cubicBezTo>
                  <a:cubicBezTo>
                    <a:pt x="207" y="1037"/>
                    <a:pt x="211" y="1041"/>
                    <a:pt x="207" y="1044"/>
                  </a:cubicBezTo>
                  <a:cubicBezTo>
                    <a:pt x="204" y="1048"/>
                    <a:pt x="204" y="1051"/>
                    <a:pt x="200" y="1058"/>
                  </a:cubicBezTo>
                  <a:cubicBezTo>
                    <a:pt x="200" y="1062"/>
                    <a:pt x="197" y="1062"/>
                    <a:pt x="193" y="1065"/>
                  </a:cubicBezTo>
                  <a:cubicBezTo>
                    <a:pt x="193" y="1069"/>
                    <a:pt x="186" y="1076"/>
                    <a:pt x="183" y="1079"/>
                  </a:cubicBezTo>
                  <a:cubicBezTo>
                    <a:pt x="183" y="1079"/>
                    <a:pt x="179" y="1083"/>
                    <a:pt x="179" y="1086"/>
                  </a:cubicBezTo>
                  <a:cubicBezTo>
                    <a:pt x="172" y="1090"/>
                    <a:pt x="169" y="1093"/>
                    <a:pt x="162" y="1097"/>
                  </a:cubicBezTo>
                  <a:cubicBezTo>
                    <a:pt x="162" y="1097"/>
                    <a:pt x="158" y="1104"/>
                    <a:pt x="155" y="1104"/>
                  </a:cubicBezTo>
                  <a:cubicBezTo>
                    <a:pt x="148" y="1107"/>
                    <a:pt x="141" y="1111"/>
                    <a:pt x="134" y="1114"/>
                  </a:cubicBezTo>
                  <a:lnTo>
                    <a:pt x="127" y="1118"/>
                  </a:lnTo>
                  <a:cubicBezTo>
                    <a:pt x="116" y="1121"/>
                    <a:pt x="109" y="1125"/>
                    <a:pt x="102" y="1125"/>
                  </a:cubicBezTo>
                  <a:lnTo>
                    <a:pt x="88" y="1132"/>
                  </a:lnTo>
                  <a:cubicBezTo>
                    <a:pt x="57" y="1135"/>
                    <a:pt x="22" y="1254"/>
                    <a:pt x="1" y="1317"/>
                  </a:cubicBezTo>
                  <a:lnTo>
                    <a:pt x="1" y="1324"/>
                  </a:lnTo>
                  <a:cubicBezTo>
                    <a:pt x="200" y="1419"/>
                    <a:pt x="323" y="1629"/>
                    <a:pt x="299" y="1849"/>
                  </a:cubicBezTo>
                  <a:cubicBezTo>
                    <a:pt x="291" y="1898"/>
                    <a:pt x="323" y="1947"/>
                    <a:pt x="369" y="1965"/>
                  </a:cubicBezTo>
                  <a:cubicBezTo>
                    <a:pt x="393" y="1976"/>
                    <a:pt x="419" y="1981"/>
                    <a:pt x="445" y="1981"/>
                  </a:cubicBezTo>
                  <a:cubicBezTo>
                    <a:pt x="494" y="1981"/>
                    <a:pt x="541" y="1963"/>
                    <a:pt x="575" y="1926"/>
                  </a:cubicBezTo>
                  <a:cubicBezTo>
                    <a:pt x="614" y="1881"/>
                    <a:pt x="671" y="1857"/>
                    <a:pt x="740" y="1857"/>
                  </a:cubicBezTo>
                  <a:cubicBezTo>
                    <a:pt x="788" y="1857"/>
                    <a:pt x="842" y="1868"/>
                    <a:pt x="901" y="1891"/>
                  </a:cubicBezTo>
                  <a:cubicBezTo>
                    <a:pt x="1016" y="1933"/>
                    <a:pt x="1181" y="2045"/>
                    <a:pt x="1181" y="2150"/>
                  </a:cubicBezTo>
                  <a:cubicBezTo>
                    <a:pt x="1184" y="2175"/>
                    <a:pt x="1170" y="2199"/>
                    <a:pt x="1149" y="2217"/>
                  </a:cubicBezTo>
                  <a:cubicBezTo>
                    <a:pt x="1128" y="2236"/>
                    <a:pt x="1102" y="2243"/>
                    <a:pt x="1069" y="2243"/>
                  </a:cubicBezTo>
                  <a:cubicBezTo>
                    <a:pt x="1036" y="2243"/>
                    <a:pt x="997" y="2236"/>
                    <a:pt x="950" y="2227"/>
                  </a:cubicBezTo>
                  <a:cubicBezTo>
                    <a:pt x="891" y="2217"/>
                    <a:pt x="820" y="2204"/>
                    <a:pt x="752" y="2204"/>
                  </a:cubicBezTo>
                  <a:cubicBezTo>
                    <a:pt x="686" y="2204"/>
                    <a:pt x="621" y="2216"/>
                    <a:pt x="572" y="2252"/>
                  </a:cubicBezTo>
                  <a:cubicBezTo>
                    <a:pt x="558" y="2259"/>
                    <a:pt x="537" y="2280"/>
                    <a:pt x="533" y="2294"/>
                  </a:cubicBezTo>
                  <a:cubicBezTo>
                    <a:pt x="530" y="2322"/>
                    <a:pt x="575" y="2374"/>
                    <a:pt x="610" y="2416"/>
                  </a:cubicBezTo>
                  <a:cubicBezTo>
                    <a:pt x="666" y="2486"/>
                    <a:pt x="740" y="2574"/>
                    <a:pt x="712" y="2675"/>
                  </a:cubicBezTo>
                  <a:cubicBezTo>
                    <a:pt x="694" y="2749"/>
                    <a:pt x="715" y="2826"/>
                    <a:pt x="761" y="2882"/>
                  </a:cubicBezTo>
                  <a:cubicBezTo>
                    <a:pt x="799" y="2935"/>
                    <a:pt x="862" y="2970"/>
                    <a:pt x="929" y="2970"/>
                  </a:cubicBezTo>
                  <a:lnTo>
                    <a:pt x="939" y="2970"/>
                  </a:lnTo>
                  <a:cubicBezTo>
                    <a:pt x="1051" y="2970"/>
                    <a:pt x="1160" y="3054"/>
                    <a:pt x="1254" y="3124"/>
                  </a:cubicBezTo>
                  <a:cubicBezTo>
                    <a:pt x="1300" y="3159"/>
                    <a:pt x="1373" y="3215"/>
                    <a:pt x="1405" y="3218"/>
                  </a:cubicBezTo>
                  <a:cubicBezTo>
                    <a:pt x="1408" y="3173"/>
                    <a:pt x="1359" y="3033"/>
                    <a:pt x="1331" y="2963"/>
                  </a:cubicBezTo>
                  <a:cubicBezTo>
                    <a:pt x="1279" y="2815"/>
                    <a:pt x="1254" y="2742"/>
                    <a:pt x="1289" y="2693"/>
                  </a:cubicBezTo>
                  <a:cubicBezTo>
                    <a:pt x="1310" y="2659"/>
                    <a:pt x="1340" y="2648"/>
                    <a:pt x="1373" y="2648"/>
                  </a:cubicBezTo>
                  <a:cubicBezTo>
                    <a:pt x="1408" y="2648"/>
                    <a:pt x="1448" y="2660"/>
                    <a:pt x="1485" y="2668"/>
                  </a:cubicBezTo>
                  <a:cubicBezTo>
                    <a:pt x="1533" y="2684"/>
                    <a:pt x="1575" y="2695"/>
                    <a:pt x="1609" y="2695"/>
                  </a:cubicBezTo>
                  <a:cubicBezTo>
                    <a:pt x="1636" y="2695"/>
                    <a:pt x="1659" y="2687"/>
                    <a:pt x="1674" y="2668"/>
                  </a:cubicBezTo>
                  <a:cubicBezTo>
                    <a:pt x="1695" y="2644"/>
                    <a:pt x="1692" y="2633"/>
                    <a:pt x="1692" y="2630"/>
                  </a:cubicBezTo>
                  <a:cubicBezTo>
                    <a:pt x="1675" y="2600"/>
                    <a:pt x="1590" y="2560"/>
                    <a:pt x="1488" y="2560"/>
                  </a:cubicBezTo>
                  <a:cubicBezTo>
                    <a:pt x="1483" y="2560"/>
                    <a:pt x="1479" y="2560"/>
                    <a:pt x="1475" y="2560"/>
                  </a:cubicBezTo>
                  <a:cubicBezTo>
                    <a:pt x="1472" y="2560"/>
                    <a:pt x="1469" y="2560"/>
                    <a:pt x="1466" y="2560"/>
                  </a:cubicBezTo>
                  <a:cubicBezTo>
                    <a:pt x="1382" y="2560"/>
                    <a:pt x="1352" y="2514"/>
                    <a:pt x="1345" y="2490"/>
                  </a:cubicBezTo>
                  <a:cubicBezTo>
                    <a:pt x="1328" y="2437"/>
                    <a:pt x="1349" y="2378"/>
                    <a:pt x="1398" y="2343"/>
                  </a:cubicBezTo>
                  <a:cubicBezTo>
                    <a:pt x="1444" y="2306"/>
                    <a:pt x="1500" y="2288"/>
                    <a:pt x="1556" y="2288"/>
                  </a:cubicBezTo>
                  <a:cubicBezTo>
                    <a:pt x="1607" y="2288"/>
                    <a:pt x="1658" y="2303"/>
                    <a:pt x="1702" y="2332"/>
                  </a:cubicBezTo>
                  <a:cubicBezTo>
                    <a:pt x="1748" y="2359"/>
                    <a:pt x="1784" y="2370"/>
                    <a:pt x="1816" y="2370"/>
                  </a:cubicBezTo>
                  <a:cubicBezTo>
                    <a:pt x="1864" y="2370"/>
                    <a:pt x="1902" y="2347"/>
                    <a:pt x="1944" y="2322"/>
                  </a:cubicBezTo>
                  <a:cubicBezTo>
                    <a:pt x="1975" y="2301"/>
                    <a:pt x="2010" y="2287"/>
                    <a:pt x="2049" y="2280"/>
                  </a:cubicBezTo>
                  <a:cubicBezTo>
                    <a:pt x="2066" y="2238"/>
                    <a:pt x="2070" y="2192"/>
                    <a:pt x="2056" y="2147"/>
                  </a:cubicBezTo>
                  <a:cubicBezTo>
                    <a:pt x="2035" y="2056"/>
                    <a:pt x="1961" y="1982"/>
                    <a:pt x="1870" y="1961"/>
                  </a:cubicBezTo>
                  <a:cubicBezTo>
                    <a:pt x="1839" y="1953"/>
                    <a:pt x="1812" y="1949"/>
                    <a:pt x="1790" y="1949"/>
                  </a:cubicBezTo>
                  <a:cubicBezTo>
                    <a:pt x="1732" y="1949"/>
                    <a:pt x="1700" y="1974"/>
                    <a:pt x="1667" y="2000"/>
                  </a:cubicBezTo>
                  <a:cubicBezTo>
                    <a:pt x="1631" y="2028"/>
                    <a:pt x="1593" y="2051"/>
                    <a:pt x="1548" y="2051"/>
                  </a:cubicBezTo>
                  <a:cubicBezTo>
                    <a:pt x="1504" y="2051"/>
                    <a:pt x="1452" y="2028"/>
                    <a:pt x="1387" y="1961"/>
                  </a:cubicBezTo>
                  <a:cubicBezTo>
                    <a:pt x="1345" y="1916"/>
                    <a:pt x="1300" y="1860"/>
                    <a:pt x="1314" y="1797"/>
                  </a:cubicBezTo>
                  <a:cubicBezTo>
                    <a:pt x="1331" y="1734"/>
                    <a:pt x="1394" y="1709"/>
                    <a:pt x="1454" y="1685"/>
                  </a:cubicBezTo>
                  <a:cubicBezTo>
                    <a:pt x="1520" y="1664"/>
                    <a:pt x="1545" y="1650"/>
                    <a:pt x="1545" y="1625"/>
                  </a:cubicBezTo>
                  <a:cubicBezTo>
                    <a:pt x="1545" y="1538"/>
                    <a:pt x="1415" y="1391"/>
                    <a:pt x="1300" y="1265"/>
                  </a:cubicBezTo>
                  <a:cubicBezTo>
                    <a:pt x="1233" y="1195"/>
                    <a:pt x="1170" y="1121"/>
                    <a:pt x="1114" y="1048"/>
                  </a:cubicBezTo>
                  <a:cubicBezTo>
                    <a:pt x="1065" y="988"/>
                    <a:pt x="1051" y="908"/>
                    <a:pt x="1083" y="841"/>
                  </a:cubicBezTo>
                  <a:cubicBezTo>
                    <a:pt x="1128" y="764"/>
                    <a:pt x="1212" y="718"/>
                    <a:pt x="1303" y="718"/>
                  </a:cubicBezTo>
                  <a:lnTo>
                    <a:pt x="1310" y="718"/>
                  </a:lnTo>
                  <a:cubicBezTo>
                    <a:pt x="1314" y="718"/>
                    <a:pt x="1317" y="718"/>
                    <a:pt x="1320" y="718"/>
                  </a:cubicBezTo>
                  <a:cubicBezTo>
                    <a:pt x="1397" y="718"/>
                    <a:pt x="1466" y="756"/>
                    <a:pt x="1506" y="824"/>
                  </a:cubicBezTo>
                  <a:cubicBezTo>
                    <a:pt x="1539" y="879"/>
                    <a:pt x="1602" y="899"/>
                    <a:pt x="1671" y="899"/>
                  </a:cubicBezTo>
                  <a:cubicBezTo>
                    <a:pt x="1736" y="899"/>
                    <a:pt x="1807" y="881"/>
                    <a:pt x="1860" y="859"/>
                  </a:cubicBezTo>
                  <a:cubicBezTo>
                    <a:pt x="1856" y="834"/>
                    <a:pt x="1853" y="806"/>
                    <a:pt x="1842" y="785"/>
                  </a:cubicBezTo>
                  <a:cubicBezTo>
                    <a:pt x="1818" y="694"/>
                    <a:pt x="1769" y="522"/>
                    <a:pt x="1968" y="445"/>
                  </a:cubicBezTo>
                  <a:cubicBezTo>
                    <a:pt x="2028" y="422"/>
                    <a:pt x="2078" y="413"/>
                    <a:pt x="2120" y="413"/>
                  </a:cubicBezTo>
                  <a:cubicBezTo>
                    <a:pt x="2218" y="413"/>
                    <a:pt x="2274" y="465"/>
                    <a:pt x="2318" y="519"/>
                  </a:cubicBezTo>
                  <a:cubicBezTo>
                    <a:pt x="2325" y="529"/>
                    <a:pt x="2332" y="536"/>
                    <a:pt x="2343" y="547"/>
                  </a:cubicBezTo>
                  <a:cubicBezTo>
                    <a:pt x="2357" y="533"/>
                    <a:pt x="2371" y="522"/>
                    <a:pt x="2385" y="508"/>
                  </a:cubicBezTo>
                  <a:cubicBezTo>
                    <a:pt x="2452" y="442"/>
                    <a:pt x="2557" y="344"/>
                    <a:pt x="2739" y="344"/>
                  </a:cubicBezTo>
                  <a:cubicBezTo>
                    <a:pt x="2875" y="344"/>
                    <a:pt x="2994" y="421"/>
                    <a:pt x="3099" y="498"/>
                  </a:cubicBezTo>
                  <a:lnTo>
                    <a:pt x="3106" y="491"/>
                  </a:lnTo>
                  <a:lnTo>
                    <a:pt x="3127" y="466"/>
                  </a:lnTo>
                  <a:lnTo>
                    <a:pt x="3138" y="456"/>
                  </a:lnTo>
                  <a:cubicBezTo>
                    <a:pt x="3141" y="449"/>
                    <a:pt x="3148" y="445"/>
                    <a:pt x="3152" y="438"/>
                  </a:cubicBezTo>
                  <a:cubicBezTo>
                    <a:pt x="3152" y="435"/>
                    <a:pt x="3155" y="431"/>
                    <a:pt x="3159" y="428"/>
                  </a:cubicBezTo>
                  <a:cubicBezTo>
                    <a:pt x="3159" y="424"/>
                    <a:pt x="3162" y="421"/>
                    <a:pt x="3166" y="417"/>
                  </a:cubicBezTo>
                  <a:cubicBezTo>
                    <a:pt x="3166" y="410"/>
                    <a:pt x="3169" y="403"/>
                    <a:pt x="3169" y="396"/>
                  </a:cubicBezTo>
                  <a:cubicBezTo>
                    <a:pt x="3169" y="330"/>
                    <a:pt x="3215" y="288"/>
                    <a:pt x="3257" y="253"/>
                  </a:cubicBezTo>
                  <a:cubicBezTo>
                    <a:pt x="3299" y="214"/>
                    <a:pt x="3327" y="186"/>
                    <a:pt x="3327" y="144"/>
                  </a:cubicBezTo>
                  <a:cubicBezTo>
                    <a:pt x="3327" y="130"/>
                    <a:pt x="3327" y="120"/>
                    <a:pt x="3323" y="106"/>
                  </a:cubicBezTo>
                  <a:cubicBezTo>
                    <a:pt x="3323" y="102"/>
                    <a:pt x="3323" y="99"/>
                    <a:pt x="3323" y="92"/>
                  </a:cubicBezTo>
                  <a:cubicBezTo>
                    <a:pt x="3320" y="88"/>
                    <a:pt x="3320" y="74"/>
                    <a:pt x="3316" y="67"/>
                  </a:cubicBezTo>
                  <a:lnTo>
                    <a:pt x="3313" y="50"/>
                  </a:lnTo>
                  <a:cubicBezTo>
                    <a:pt x="3309" y="39"/>
                    <a:pt x="3309" y="32"/>
                    <a:pt x="3306" y="22"/>
                  </a:cubicBezTo>
                  <a:lnTo>
                    <a:pt x="3302" y="11"/>
                  </a:lnTo>
                  <a:lnTo>
                    <a:pt x="329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6" name="Google Shape;6166;p53"/>
            <p:cNvSpPr/>
            <p:nvPr/>
          </p:nvSpPr>
          <p:spPr>
            <a:xfrm>
              <a:off x="2220411" y="1765512"/>
              <a:ext cx="17176" cy="3557"/>
            </a:xfrm>
            <a:custGeom>
              <a:avLst/>
              <a:gdLst/>
              <a:ahLst/>
              <a:cxnLst/>
              <a:rect l="l" t="t" r="r" b="b"/>
              <a:pathLst>
                <a:path w="1265" h="262" extrusionOk="0">
                  <a:moveTo>
                    <a:pt x="149" y="0"/>
                  </a:moveTo>
                  <a:cubicBezTo>
                    <a:pt x="138" y="0"/>
                    <a:pt x="127" y="2"/>
                    <a:pt x="116" y="6"/>
                  </a:cubicBezTo>
                  <a:cubicBezTo>
                    <a:pt x="74" y="17"/>
                    <a:pt x="32" y="34"/>
                    <a:pt x="0" y="62"/>
                  </a:cubicBezTo>
                  <a:cubicBezTo>
                    <a:pt x="70" y="83"/>
                    <a:pt x="144" y="108"/>
                    <a:pt x="214" y="132"/>
                  </a:cubicBezTo>
                  <a:cubicBezTo>
                    <a:pt x="375" y="192"/>
                    <a:pt x="553" y="258"/>
                    <a:pt x="739" y="262"/>
                  </a:cubicBezTo>
                  <a:cubicBezTo>
                    <a:pt x="921" y="262"/>
                    <a:pt x="1096" y="227"/>
                    <a:pt x="1264" y="164"/>
                  </a:cubicBezTo>
                  <a:lnTo>
                    <a:pt x="1264" y="164"/>
                  </a:lnTo>
                  <a:cubicBezTo>
                    <a:pt x="1253" y="165"/>
                    <a:pt x="1241" y="166"/>
                    <a:pt x="1230" y="166"/>
                  </a:cubicBezTo>
                  <a:cubicBezTo>
                    <a:pt x="1186" y="166"/>
                    <a:pt x="1142" y="155"/>
                    <a:pt x="1103" y="136"/>
                  </a:cubicBezTo>
                  <a:cubicBezTo>
                    <a:pt x="1079" y="120"/>
                    <a:pt x="1012" y="117"/>
                    <a:pt x="935" y="117"/>
                  </a:cubicBezTo>
                  <a:cubicBezTo>
                    <a:pt x="892" y="117"/>
                    <a:pt x="845" y="118"/>
                    <a:pt x="802" y="118"/>
                  </a:cubicBezTo>
                  <a:cubicBezTo>
                    <a:pt x="744" y="120"/>
                    <a:pt x="686" y="122"/>
                    <a:pt x="630" y="122"/>
                  </a:cubicBezTo>
                  <a:cubicBezTo>
                    <a:pt x="460" y="122"/>
                    <a:pt x="306" y="106"/>
                    <a:pt x="224" y="27"/>
                  </a:cubicBezTo>
                  <a:cubicBezTo>
                    <a:pt x="203" y="10"/>
                    <a:pt x="176" y="0"/>
                    <a:pt x="1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7" name="Google Shape;6167;p53"/>
            <p:cNvSpPr/>
            <p:nvPr/>
          </p:nvSpPr>
          <p:spPr>
            <a:xfrm>
              <a:off x="2239039" y="171828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8" name="Google Shape;6168;p53"/>
            <p:cNvSpPr/>
            <p:nvPr/>
          </p:nvSpPr>
          <p:spPr>
            <a:xfrm>
              <a:off x="2241701" y="1713591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0"/>
                  </a:moveTo>
                  <a:cubicBezTo>
                    <a:pt x="1" y="11"/>
                    <a:pt x="1" y="25"/>
                    <a:pt x="4" y="35"/>
                  </a:cubicBezTo>
                  <a:cubicBezTo>
                    <a:pt x="1" y="25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9" name="Google Shape;6169;p53"/>
            <p:cNvSpPr/>
            <p:nvPr/>
          </p:nvSpPr>
          <p:spPr>
            <a:xfrm>
              <a:off x="2239515" y="171752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1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0" name="Google Shape;6170;p53"/>
            <p:cNvSpPr/>
            <p:nvPr/>
          </p:nvSpPr>
          <p:spPr>
            <a:xfrm>
              <a:off x="2241415" y="171239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1"/>
                  </a:moveTo>
                  <a:cubicBezTo>
                    <a:pt x="4" y="11"/>
                    <a:pt x="8" y="22"/>
                    <a:pt x="8" y="29"/>
                  </a:cubicBezTo>
                  <a:cubicBezTo>
                    <a:pt x="8" y="22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1" name="Google Shape;6171;p53"/>
            <p:cNvSpPr/>
            <p:nvPr/>
          </p:nvSpPr>
          <p:spPr>
            <a:xfrm>
              <a:off x="2241415" y="171216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2" name="Google Shape;6172;p53"/>
            <p:cNvSpPr/>
            <p:nvPr/>
          </p:nvSpPr>
          <p:spPr>
            <a:xfrm>
              <a:off x="2239324" y="171796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4"/>
                    <a:pt x="4" y="7"/>
                    <a:pt x="1" y="11"/>
                  </a:cubicBezTo>
                  <a:cubicBezTo>
                    <a:pt x="4" y="7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3" name="Google Shape;6173;p53"/>
            <p:cNvSpPr/>
            <p:nvPr/>
          </p:nvSpPr>
          <p:spPr>
            <a:xfrm>
              <a:off x="2238618" y="1718764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4" name="Google Shape;6174;p53"/>
            <p:cNvSpPr/>
            <p:nvPr/>
          </p:nvSpPr>
          <p:spPr>
            <a:xfrm>
              <a:off x="2241605" y="171306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5"/>
                    <a:pt x="4" y="25"/>
                  </a:cubicBezTo>
                  <a:cubicBezTo>
                    <a:pt x="4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5" name="Google Shape;6175;p53"/>
            <p:cNvSpPr/>
            <p:nvPr/>
          </p:nvSpPr>
          <p:spPr>
            <a:xfrm>
              <a:off x="2196637" y="1727427"/>
              <a:ext cx="1398" cy="2620"/>
            </a:xfrm>
            <a:custGeom>
              <a:avLst/>
              <a:gdLst/>
              <a:ahLst/>
              <a:cxnLst/>
              <a:rect l="l" t="t" r="r" b="b"/>
              <a:pathLst>
                <a:path w="103" h="193" extrusionOk="0">
                  <a:moveTo>
                    <a:pt x="102" y="0"/>
                  </a:moveTo>
                  <a:cubicBezTo>
                    <a:pt x="101" y="0"/>
                    <a:pt x="100" y="0"/>
                    <a:pt x="99" y="1"/>
                  </a:cubicBezTo>
                  <a:lnTo>
                    <a:pt x="99" y="1"/>
                  </a:lnTo>
                  <a:lnTo>
                    <a:pt x="102" y="0"/>
                  </a:lnTo>
                  <a:close/>
                  <a:moveTo>
                    <a:pt x="99" y="1"/>
                  </a:moveTo>
                  <a:lnTo>
                    <a:pt x="88" y="4"/>
                  </a:lnTo>
                  <a:cubicBezTo>
                    <a:pt x="93" y="4"/>
                    <a:pt x="96" y="2"/>
                    <a:pt x="99" y="1"/>
                  </a:cubicBezTo>
                  <a:close/>
                  <a:moveTo>
                    <a:pt x="88" y="4"/>
                  </a:moveTo>
                  <a:cubicBezTo>
                    <a:pt x="60" y="11"/>
                    <a:pt x="22" y="126"/>
                    <a:pt x="1" y="193"/>
                  </a:cubicBezTo>
                  <a:cubicBezTo>
                    <a:pt x="22" y="130"/>
                    <a:pt x="60" y="11"/>
                    <a:pt x="88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6" name="Google Shape;6176;p53"/>
            <p:cNvSpPr/>
            <p:nvPr/>
          </p:nvSpPr>
          <p:spPr>
            <a:xfrm>
              <a:off x="2199054" y="1726762"/>
              <a:ext cx="68" cy="122"/>
            </a:xfrm>
            <a:custGeom>
              <a:avLst/>
              <a:gdLst/>
              <a:ahLst/>
              <a:cxnLst/>
              <a:rect l="l" t="t" r="r" b="b"/>
              <a:pathLst>
                <a:path w="5" h="9" extrusionOk="0">
                  <a:moveTo>
                    <a:pt x="5" y="0"/>
                  </a:moveTo>
                  <a:lnTo>
                    <a:pt x="5" y="0"/>
                  </a:lnTo>
                  <a:cubicBezTo>
                    <a:pt x="5" y="0"/>
                    <a:pt x="3" y="4"/>
                    <a:pt x="2" y="6"/>
                  </a:cubicBezTo>
                  <a:lnTo>
                    <a:pt x="2" y="6"/>
                  </a:lnTo>
                  <a:cubicBezTo>
                    <a:pt x="3" y="4"/>
                    <a:pt x="5" y="2"/>
                    <a:pt x="5" y="0"/>
                  </a:cubicBezTo>
                  <a:close/>
                  <a:moveTo>
                    <a:pt x="2" y="6"/>
                  </a:moveTo>
                  <a:cubicBezTo>
                    <a:pt x="1" y="7"/>
                    <a:pt x="0" y="8"/>
                    <a:pt x="0" y="8"/>
                  </a:cubicBezTo>
                  <a:cubicBezTo>
                    <a:pt x="1" y="8"/>
                    <a:pt x="1" y="8"/>
                    <a:pt x="1" y="7"/>
                  </a:cubicBezTo>
                  <a:cubicBezTo>
                    <a:pt x="1" y="7"/>
                    <a:pt x="2" y="7"/>
                    <a:pt x="2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7" name="Google Shape;6177;p53"/>
            <p:cNvSpPr/>
            <p:nvPr/>
          </p:nvSpPr>
          <p:spPr>
            <a:xfrm>
              <a:off x="2199447" y="1726178"/>
              <a:ext cx="81" cy="122"/>
            </a:xfrm>
            <a:custGeom>
              <a:avLst/>
              <a:gdLst/>
              <a:ahLst/>
              <a:cxnLst/>
              <a:rect l="l" t="t" r="r" b="b"/>
              <a:pathLst>
                <a:path w="6" h="9" extrusionOk="0">
                  <a:moveTo>
                    <a:pt x="5" y="0"/>
                  </a:moveTo>
                  <a:cubicBezTo>
                    <a:pt x="5" y="0"/>
                    <a:pt x="5" y="0"/>
                    <a:pt x="4" y="1"/>
                  </a:cubicBezTo>
                  <a:cubicBezTo>
                    <a:pt x="0" y="5"/>
                    <a:pt x="0" y="5"/>
                    <a:pt x="0" y="8"/>
                  </a:cubicBezTo>
                  <a:cubicBezTo>
                    <a:pt x="0" y="5"/>
                    <a:pt x="5" y="0"/>
                    <a:pt x="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8" name="Google Shape;6178;p53"/>
            <p:cNvSpPr/>
            <p:nvPr/>
          </p:nvSpPr>
          <p:spPr>
            <a:xfrm>
              <a:off x="2199542" y="172594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9" name="Google Shape;6179;p53"/>
            <p:cNvSpPr/>
            <p:nvPr/>
          </p:nvSpPr>
          <p:spPr>
            <a:xfrm>
              <a:off x="2199257" y="1726463"/>
              <a:ext cx="109" cy="122"/>
            </a:xfrm>
            <a:custGeom>
              <a:avLst/>
              <a:gdLst/>
              <a:ahLst/>
              <a:cxnLst/>
              <a:rect l="l" t="t" r="r" b="b"/>
              <a:pathLst>
                <a:path w="8" h="9" extrusionOk="0">
                  <a:moveTo>
                    <a:pt x="7" y="0"/>
                  </a:moveTo>
                  <a:cubicBezTo>
                    <a:pt x="7" y="0"/>
                    <a:pt x="6" y="2"/>
                    <a:pt x="5" y="3"/>
                  </a:cubicBezTo>
                  <a:lnTo>
                    <a:pt x="5" y="3"/>
                  </a:ln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0"/>
                    <a:pt x="7" y="0"/>
                  </a:cubicBezTo>
                  <a:close/>
                  <a:moveTo>
                    <a:pt x="5" y="3"/>
                  </a:moveTo>
                  <a:cubicBezTo>
                    <a:pt x="3" y="6"/>
                    <a:pt x="0" y="8"/>
                    <a:pt x="0" y="8"/>
                  </a:cubicBezTo>
                  <a:cubicBezTo>
                    <a:pt x="2" y="8"/>
                    <a:pt x="4" y="5"/>
                    <a:pt x="5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0" name="Google Shape;6180;p53"/>
            <p:cNvSpPr/>
            <p:nvPr/>
          </p:nvSpPr>
          <p:spPr>
            <a:xfrm>
              <a:off x="2200534" y="172381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1" name="Google Shape;6181;p53"/>
            <p:cNvSpPr/>
            <p:nvPr/>
          </p:nvSpPr>
          <p:spPr>
            <a:xfrm>
              <a:off x="2198728" y="172703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0"/>
                  </a:moveTo>
                  <a:cubicBezTo>
                    <a:pt x="9" y="0"/>
                    <a:pt x="4" y="5"/>
                    <a:pt x="1" y="5"/>
                  </a:cubicBezTo>
                  <a:cubicBezTo>
                    <a:pt x="4" y="5"/>
                    <a:pt x="8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2" name="Google Shape;6182;p53"/>
            <p:cNvSpPr/>
            <p:nvPr/>
          </p:nvSpPr>
          <p:spPr>
            <a:xfrm>
              <a:off x="2198348" y="172727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3" name="Google Shape;6183;p53"/>
            <p:cNvSpPr/>
            <p:nvPr/>
          </p:nvSpPr>
          <p:spPr>
            <a:xfrm>
              <a:off x="2202733" y="1720149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cubicBezTo>
                    <a:pt x="4" y="7"/>
                    <a:pt x="4" y="14"/>
                    <a:pt x="0" y="21"/>
                  </a:cubicBezTo>
                  <a:cubicBezTo>
                    <a:pt x="4" y="14"/>
                    <a:pt x="7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4" name="Google Shape;6184;p53"/>
            <p:cNvSpPr/>
            <p:nvPr/>
          </p:nvSpPr>
          <p:spPr>
            <a:xfrm>
              <a:off x="2202489" y="1720624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28"/>
                  </a:moveTo>
                  <a:cubicBezTo>
                    <a:pt x="4" y="18"/>
                    <a:pt x="8" y="11"/>
                    <a:pt x="11" y="0"/>
                  </a:cubicBezTo>
                  <a:cubicBezTo>
                    <a:pt x="8" y="11"/>
                    <a:pt x="4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5" name="Google Shape;6185;p53"/>
            <p:cNvSpPr/>
            <p:nvPr/>
          </p:nvSpPr>
          <p:spPr>
            <a:xfrm>
              <a:off x="2202163" y="1721154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4" y="0"/>
                  </a:moveTo>
                  <a:cubicBezTo>
                    <a:pt x="11" y="11"/>
                    <a:pt x="4" y="21"/>
                    <a:pt x="0" y="31"/>
                  </a:cubicBezTo>
                  <a:cubicBezTo>
                    <a:pt x="7" y="21"/>
                    <a:pt x="11" y="11"/>
                    <a:pt x="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6" name="Google Shape;6186;p53"/>
            <p:cNvSpPr/>
            <p:nvPr/>
          </p:nvSpPr>
          <p:spPr>
            <a:xfrm>
              <a:off x="2201402" y="1722485"/>
              <a:ext cx="244" cy="339"/>
            </a:xfrm>
            <a:custGeom>
              <a:avLst/>
              <a:gdLst/>
              <a:ahLst/>
              <a:cxnLst/>
              <a:rect l="l" t="t" r="r" b="b"/>
              <a:pathLst>
                <a:path w="18" h="25" extrusionOk="0">
                  <a:moveTo>
                    <a:pt x="0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7" name="Google Shape;6187;p53"/>
            <p:cNvSpPr/>
            <p:nvPr/>
          </p:nvSpPr>
          <p:spPr>
            <a:xfrm>
              <a:off x="2201783" y="1721806"/>
              <a:ext cx="244" cy="394"/>
            </a:xfrm>
            <a:custGeom>
              <a:avLst/>
              <a:gdLst/>
              <a:ahLst/>
              <a:cxnLst/>
              <a:rect l="l" t="t" r="r" b="b"/>
              <a:pathLst>
                <a:path w="18" h="29" extrusionOk="0">
                  <a:moveTo>
                    <a:pt x="18" y="1"/>
                  </a:moveTo>
                  <a:cubicBezTo>
                    <a:pt x="14" y="8"/>
                    <a:pt x="7" y="19"/>
                    <a:pt x="0" y="29"/>
                  </a:cubicBezTo>
                  <a:cubicBezTo>
                    <a:pt x="7" y="19"/>
                    <a:pt x="14" y="1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8" name="Google Shape;6188;p53"/>
            <p:cNvSpPr/>
            <p:nvPr/>
          </p:nvSpPr>
          <p:spPr>
            <a:xfrm>
              <a:off x="2200968" y="1723150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" y="2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9" name="Google Shape;6189;p53"/>
            <p:cNvSpPr/>
            <p:nvPr/>
          </p:nvSpPr>
          <p:spPr>
            <a:xfrm>
              <a:off x="2226344" y="1713917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0" name="Google Shape;6190;p53"/>
            <p:cNvSpPr/>
            <p:nvPr/>
          </p:nvSpPr>
          <p:spPr>
            <a:xfrm>
              <a:off x="2225964" y="1713917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1" name="Google Shape;6191;p53"/>
            <p:cNvSpPr/>
            <p:nvPr/>
          </p:nvSpPr>
          <p:spPr>
            <a:xfrm>
              <a:off x="2225543" y="1713876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2" name="Google Shape;6192;p53"/>
            <p:cNvSpPr/>
            <p:nvPr/>
          </p:nvSpPr>
          <p:spPr>
            <a:xfrm>
              <a:off x="2222882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3" name="Google Shape;6193;p53"/>
            <p:cNvSpPr/>
            <p:nvPr/>
          </p:nvSpPr>
          <p:spPr>
            <a:xfrm>
              <a:off x="2226915" y="171401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4" name="Google Shape;6194;p53"/>
            <p:cNvSpPr/>
            <p:nvPr/>
          </p:nvSpPr>
          <p:spPr>
            <a:xfrm>
              <a:off x="2223588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5" name="Google Shape;6195;p53"/>
            <p:cNvSpPr/>
            <p:nvPr/>
          </p:nvSpPr>
          <p:spPr>
            <a:xfrm>
              <a:off x="2225014" y="1713822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6" name="Google Shape;6196;p53"/>
            <p:cNvSpPr/>
            <p:nvPr/>
          </p:nvSpPr>
          <p:spPr>
            <a:xfrm>
              <a:off x="2224824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7" name="Google Shape;6197;p53"/>
            <p:cNvSpPr/>
            <p:nvPr/>
          </p:nvSpPr>
          <p:spPr>
            <a:xfrm>
              <a:off x="2226684" y="171397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8" name="Google Shape;6198;p53"/>
            <p:cNvSpPr/>
            <p:nvPr/>
          </p:nvSpPr>
          <p:spPr>
            <a:xfrm>
              <a:off x="2240845" y="1712206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9" name="Google Shape;6199;p53"/>
            <p:cNvSpPr/>
            <p:nvPr/>
          </p:nvSpPr>
          <p:spPr>
            <a:xfrm>
              <a:off x="2240370" y="1712301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0" name="Google Shape;6200;p53"/>
            <p:cNvSpPr/>
            <p:nvPr/>
          </p:nvSpPr>
          <p:spPr>
            <a:xfrm>
              <a:off x="2241225" y="171216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1" name="Google Shape;6201;p53"/>
            <p:cNvSpPr/>
            <p:nvPr/>
          </p:nvSpPr>
          <p:spPr>
            <a:xfrm>
              <a:off x="2239379" y="171268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2" name="Google Shape;6202;p53"/>
            <p:cNvSpPr/>
            <p:nvPr/>
          </p:nvSpPr>
          <p:spPr>
            <a:xfrm>
              <a:off x="2240044" y="1712397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18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3" name="Google Shape;6203;p53"/>
            <p:cNvSpPr/>
            <p:nvPr/>
          </p:nvSpPr>
          <p:spPr>
            <a:xfrm>
              <a:off x="2227159" y="1714067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4" name="Google Shape;6204;p53"/>
            <p:cNvSpPr/>
            <p:nvPr/>
          </p:nvSpPr>
          <p:spPr>
            <a:xfrm>
              <a:off x="2239800" y="1712492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5" name="Google Shape;6205;p53"/>
            <p:cNvSpPr/>
            <p:nvPr/>
          </p:nvSpPr>
          <p:spPr>
            <a:xfrm>
              <a:off x="2239569" y="1712587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6" name="Google Shape;6206;p53"/>
            <p:cNvSpPr/>
            <p:nvPr/>
          </p:nvSpPr>
          <p:spPr>
            <a:xfrm>
              <a:off x="2223873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7" name="Google Shape;6207;p53"/>
            <p:cNvSpPr/>
            <p:nvPr/>
          </p:nvSpPr>
          <p:spPr>
            <a:xfrm>
              <a:off x="2218320" y="171406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8" name="Google Shape;6208;p53"/>
            <p:cNvSpPr/>
            <p:nvPr/>
          </p:nvSpPr>
          <p:spPr>
            <a:xfrm>
              <a:off x="2221742" y="171382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9" name="Google Shape;6209;p53"/>
            <p:cNvSpPr/>
            <p:nvPr/>
          </p:nvSpPr>
          <p:spPr>
            <a:xfrm>
              <a:off x="2236188" y="1713157"/>
              <a:ext cx="3245" cy="2349"/>
            </a:xfrm>
            <a:custGeom>
              <a:avLst/>
              <a:gdLst/>
              <a:ahLst/>
              <a:cxnLst/>
              <a:rect l="l" t="t" r="r" b="b"/>
              <a:pathLst>
                <a:path w="239" h="173" extrusionOk="0">
                  <a:moveTo>
                    <a:pt x="1" y="172"/>
                  </a:moveTo>
                  <a:cubicBezTo>
                    <a:pt x="102" y="165"/>
                    <a:pt x="179" y="130"/>
                    <a:pt x="214" y="78"/>
                  </a:cubicBezTo>
                  <a:cubicBezTo>
                    <a:pt x="232" y="53"/>
                    <a:pt x="239" y="29"/>
                    <a:pt x="239" y="1"/>
                  </a:cubicBezTo>
                  <a:cubicBezTo>
                    <a:pt x="239" y="29"/>
                    <a:pt x="232" y="53"/>
                    <a:pt x="214" y="78"/>
                  </a:cubicBezTo>
                  <a:cubicBezTo>
                    <a:pt x="179" y="130"/>
                    <a:pt x="102" y="165"/>
                    <a:pt x="1" y="1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0" name="Google Shape;6210;p53"/>
            <p:cNvSpPr/>
            <p:nvPr/>
          </p:nvSpPr>
          <p:spPr>
            <a:xfrm>
              <a:off x="2218985" y="1713972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1" name="Google Shape;6211;p53"/>
            <p:cNvSpPr/>
            <p:nvPr/>
          </p:nvSpPr>
          <p:spPr>
            <a:xfrm>
              <a:off x="2219977" y="1713917"/>
              <a:ext cx="543" cy="14"/>
            </a:xfrm>
            <a:custGeom>
              <a:avLst/>
              <a:gdLst/>
              <a:ahLst/>
              <a:cxnLst/>
              <a:rect l="l" t="t" r="r" b="b"/>
              <a:pathLst>
                <a:path w="40" h="1" extrusionOk="0">
                  <a:moveTo>
                    <a:pt x="3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2" name="Google Shape;6212;p53"/>
            <p:cNvSpPr/>
            <p:nvPr/>
          </p:nvSpPr>
          <p:spPr>
            <a:xfrm>
              <a:off x="2220886" y="1713876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3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3" name="Google Shape;6213;p53"/>
            <p:cNvSpPr/>
            <p:nvPr/>
          </p:nvSpPr>
          <p:spPr>
            <a:xfrm>
              <a:off x="2206005" y="1719905"/>
              <a:ext cx="679" cy="68"/>
            </a:xfrm>
            <a:custGeom>
              <a:avLst/>
              <a:gdLst/>
              <a:ahLst/>
              <a:cxnLst/>
              <a:rect l="l" t="t" r="r" b="b"/>
              <a:pathLst>
                <a:path w="50" h="5" extrusionOk="0">
                  <a:moveTo>
                    <a:pt x="15" y="1"/>
                  </a:moveTo>
                  <a:lnTo>
                    <a:pt x="1" y="4"/>
                  </a:lnTo>
                  <a:cubicBezTo>
                    <a:pt x="18" y="4"/>
                    <a:pt x="32" y="1"/>
                    <a:pt x="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4" name="Google Shape;6214;p53"/>
            <p:cNvSpPr/>
            <p:nvPr/>
          </p:nvSpPr>
          <p:spPr>
            <a:xfrm>
              <a:off x="2202923" y="1719973"/>
              <a:ext cx="1480" cy="41"/>
            </a:xfrm>
            <a:custGeom>
              <a:avLst/>
              <a:gdLst/>
              <a:ahLst/>
              <a:cxnLst/>
              <a:rect l="l" t="t" r="r" b="b"/>
              <a:pathLst>
                <a:path w="109" h="3" extrusionOk="0">
                  <a:moveTo>
                    <a:pt x="54" y="0"/>
                  </a:moveTo>
                  <a:cubicBezTo>
                    <a:pt x="36" y="0"/>
                    <a:pt x="18" y="1"/>
                    <a:pt x="0" y="3"/>
                  </a:cubicBezTo>
                  <a:lnTo>
                    <a:pt x="109" y="3"/>
                  </a:lnTo>
                  <a:cubicBezTo>
                    <a:pt x="91" y="1"/>
                    <a:pt x="73" y="0"/>
                    <a:pt x="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5" name="Google Shape;6215;p53"/>
            <p:cNvSpPr/>
            <p:nvPr/>
          </p:nvSpPr>
          <p:spPr>
            <a:xfrm>
              <a:off x="2205204" y="1719959"/>
              <a:ext cx="625" cy="14"/>
            </a:xfrm>
            <a:custGeom>
              <a:avLst/>
              <a:gdLst/>
              <a:ahLst/>
              <a:cxnLst/>
              <a:rect l="l" t="t" r="r" b="b"/>
              <a:pathLst>
                <a:path w="46" h="1" extrusionOk="0">
                  <a:moveTo>
                    <a:pt x="25" y="0"/>
                  </a:moveTo>
                  <a:lnTo>
                    <a:pt x="46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6" name="Google Shape;6216;p53"/>
            <p:cNvSpPr/>
            <p:nvPr/>
          </p:nvSpPr>
          <p:spPr>
            <a:xfrm>
              <a:off x="2206725" y="1719715"/>
              <a:ext cx="720" cy="163"/>
            </a:xfrm>
            <a:custGeom>
              <a:avLst/>
              <a:gdLst/>
              <a:ahLst/>
              <a:cxnLst/>
              <a:rect l="l" t="t" r="r" b="b"/>
              <a:pathLst>
                <a:path w="53" h="12" extrusionOk="0">
                  <a:moveTo>
                    <a:pt x="53" y="1"/>
                  </a:moveTo>
                  <a:cubicBezTo>
                    <a:pt x="35" y="4"/>
                    <a:pt x="18" y="8"/>
                    <a:pt x="0" y="11"/>
                  </a:cubicBezTo>
                  <a:cubicBezTo>
                    <a:pt x="18" y="8"/>
                    <a:pt x="35" y="4"/>
                    <a:pt x="5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7" name="Google Shape;6217;p53"/>
            <p:cNvSpPr/>
            <p:nvPr/>
          </p:nvSpPr>
          <p:spPr>
            <a:xfrm>
              <a:off x="2285094" y="1766163"/>
              <a:ext cx="11622" cy="5675"/>
            </a:xfrm>
            <a:custGeom>
              <a:avLst/>
              <a:gdLst/>
              <a:ahLst/>
              <a:cxnLst/>
              <a:rect l="l" t="t" r="r" b="b"/>
              <a:pathLst>
                <a:path w="856" h="418" extrusionOk="0">
                  <a:moveTo>
                    <a:pt x="855" y="0"/>
                  </a:moveTo>
                  <a:cubicBezTo>
                    <a:pt x="680" y="60"/>
                    <a:pt x="502" y="95"/>
                    <a:pt x="320" y="102"/>
                  </a:cubicBezTo>
                  <a:cubicBezTo>
                    <a:pt x="134" y="112"/>
                    <a:pt x="33" y="182"/>
                    <a:pt x="19" y="245"/>
                  </a:cubicBezTo>
                  <a:cubicBezTo>
                    <a:pt x="1" y="305"/>
                    <a:pt x="68" y="350"/>
                    <a:pt x="99" y="368"/>
                  </a:cubicBezTo>
                  <a:cubicBezTo>
                    <a:pt x="162" y="405"/>
                    <a:pt x="233" y="418"/>
                    <a:pt x="301" y="418"/>
                  </a:cubicBezTo>
                  <a:cubicBezTo>
                    <a:pt x="379" y="418"/>
                    <a:pt x="453" y="400"/>
                    <a:pt x="502" y="385"/>
                  </a:cubicBezTo>
                  <a:cubicBezTo>
                    <a:pt x="593" y="361"/>
                    <a:pt x="677" y="315"/>
                    <a:pt x="743" y="252"/>
                  </a:cubicBezTo>
                  <a:cubicBezTo>
                    <a:pt x="736" y="182"/>
                    <a:pt x="778" y="84"/>
                    <a:pt x="8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8" name="Google Shape;6218;p53"/>
            <p:cNvSpPr/>
            <p:nvPr/>
          </p:nvSpPr>
          <p:spPr>
            <a:xfrm>
              <a:off x="1868957" y="1453664"/>
              <a:ext cx="77052" cy="36456"/>
            </a:xfrm>
            <a:custGeom>
              <a:avLst/>
              <a:gdLst/>
              <a:ahLst/>
              <a:cxnLst/>
              <a:rect l="l" t="t" r="r" b="b"/>
              <a:pathLst>
                <a:path w="5675" h="2685" extrusionOk="0">
                  <a:moveTo>
                    <a:pt x="4170" y="0"/>
                  </a:moveTo>
                  <a:cubicBezTo>
                    <a:pt x="4167" y="0"/>
                    <a:pt x="4165" y="1"/>
                    <a:pt x="4163" y="2"/>
                  </a:cubicBezTo>
                  <a:cubicBezTo>
                    <a:pt x="4135" y="12"/>
                    <a:pt x="4128" y="51"/>
                    <a:pt x="4135" y="142"/>
                  </a:cubicBezTo>
                  <a:cubicBezTo>
                    <a:pt x="4142" y="194"/>
                    <a:pt x="4142" y="247"/>
                    <a:pt x="4128" y="296"/>
                  </a:cubicBezTo>
                  <a:cubicBezTo>
                    <a:pt x="4109" y="351"/>
                    <a:pt x="4065" y="368"/>
                    <a:pt x="4015" y="368"/>
                  </a:cubicBezTo>
                  <a:cubicBezTo>
                    <a:pt x="3970" y="368"/>
                    <a:pt x="3920" y="355"/>
                    <a:pt x="3879" y="345"/>
                  </a:cubicBezTo>
                  <a:cubicBezTo>
                    <a:pt x="3858" y="338"/>
                    <a:pt x="3830" y="331"/>
                    <a:pt x="3806" y="327"/>
                  </a:cubicBezTo>
                  <a:cubicBezTo>
                    <a:pt x="3802" y="383"/>
                    <a:pt x="3767" y="429"/>
                    <a:pt x="3715" y="450"/>
                  </a:cubicBezTo>
                  <a:cubicBezTo>
                    <a:pt x="3699" y="455"/>
                    <a:pt x="3683" y="457"/>
                    <a:pt x="3667" y="457"/>
                  </a:cubicBezTo>
                  <a:cubicBezTo>
                    <a:pt x="3602" y="457"/>
                    <a:pt x="3532" y="418"/>
                    <a:pt x="3473" y="348"/>
                  </a:cubicBezTo>
                  <a:cubicBezTo>
                    <a:pt x="3450" y="322"/>
                    <a:pt x="3417" y="308"/>
                    <a:pt x="3381" y="308"/>
                  </a:cubicBezTo>
                  <a:cubicBezTo>
                    <a:pt x="3369" y="308"/>
                    <a:pt x="3356" y="310"/>
                    <a:pt x="3343" y="313"/>
                  </a:cubicBezTo>
                  <a:cubicBezTo>
                    <a:pt x="3319" y="317"/>
                    <a:pt x="3291" y="331"/>
                    <a:pt x="3273" y="352"/>
                  </a:cubicBezTo>
                  <a:cubicBezTo>
                    <a:pt x="3280" y="390"/>
                    <a:pt x="3263" y="429"/>
                    <a:pt x="3231" y="450"/>
                  </a:cubicBezTo>
                  <a:cubicBezTo>
                    <a:pt x="3216" y="460"/>
                    <a:pt x="3200" y="464"/>
                    <a:pt x="3183" y="464"/>
                  </a:cubicBezTo>
                  <a:cubicBezTo>
                    <a:pt x="3131" y="464"/>
                    <a:pt x="3065" y="424"/>
                    <a:pt x="2965" y="359"/>
                  </a:cubicBezTo>
                  <a:lnTo>
                    <a:pt x="2892" y="317"/>
                  </a:lnTo>
                  <a:cubicBezTo>
                    <a:pt x="2869" y="304"/>
                    <a:pt x="2845" y="298"/>
                    <a:pt x="2821" y="298"/>
                  </a:cubicBezTo>
                  <a:cubicBezTo>
                    <a:pt x="2791" y="298"/>
                    <a:pt x="2763" y="307"/>
                    <a:pt x="2738" y="324"/>
                  </a:cubicBezTo>
                  <a:cubicBezTo>
                    <a:pt x="2664" y="376"/>
                    <a:pt x="2622" y="464"/>
                    <a:pt x="2626" y="499"/>
                  </a:cubicBezTo>
                  <a:cubicBezTo>
                    <a:pt x="2643" y="618"/>
                    <a:pt x="2584" y="649"/>
                    <a:pt x="2559" y="660"/>
                  </a:cubicBezTo>
                  <a:cubicBezTo>
                    <a:pt x="2548" y="664"/>
                    <a:pt x="2537" y="666"/>
                    <a:pt x="2526" y="666"/>
                  </a:cubicBezTo>
                  <a:cubicBezTo>
                    <a:pt x="2454" y="666"/>
                    <a:pt x="2377" y="589"/>
                    <a:pt x="2286" y="429"/>
                  </a:cubicBezTo>
                  <a:cubicBezTo>
                    <a:pt x="2271" y="405"/>
                    <a:pt x="2240" y="355"/>
                    <a:pt x="2210" y="355"/>
                  </a:cubicBezTo>
                  <a:cubicBezTo>
                    <a:pt x="2205" y="355"/>
                    <a:pt x="2200" y="356"/>
                    <a:pt x="2195" y="359"/>
                  </a:cubicBezTo>
                  <a:cubicBezTo>
                    <a:pt x="2143" y="401"/>
                    <a:pt x="2125" y="471"/>
                    <a:pt x="2150" y="534"/>
                  </a:cubicBezTo>
                  <a:cubicBezTo>
                    <a:pt x="2220" y="656"/>
                    <a:pt x="2220" y="800"/>
                    <a:pt x="2153" y="863"/>
                  </a:cubicBezTo>
                  <a:cubicBezTo>
                    <a:pt x="2129" y="885"/>
                    <a:pt x="2098" y="897"/>
                    <a:pt x="2066" y="897"/>
                  </a:cubicBezTo>
                  <a:cubicBezTo>
                    <a:pt x="2038" y="897"/>
                    <a:pt x="2010" y="888"/>
                    <a:pt x="1985" y="870"/>
                  </a:cubicBezTo>
                  <a:cubicBezTo>
                    <a:pt x="1972" y="862"/>
                    <a:pt x="1957" y="858"/>
                    <a:pt x="1941" y="858"/>
                  </a:cubicBezTo>
                  <a:cubicBezTo>
                    <a:pt x="1865" y="858"/>
                    <a:pt x="1768" y="938"/>
                    <a:pt x="1719" y="1013"/>
                  </a:cubicBezTo>
                  <a:cubicBezTo>
                    <a:pt x="1701" y="1043"/>
                    <a:pt x="1665" y="1061"/>
                    <a:pt x="1629" y="1061"/>
                  </a:cubicBezTo>
                  <a:cubicBezTo>
                    <a:pt x="1623" y="1061"/>
                    <a:pt x="1617" y="1060"/>
                    <a:pt x="1611" y="1059"/>
                  </a:cubicBezTo>
                  <a:cubicBezTo>
                    <a:pt x="1512" y="1038"/>
                    <a:pt x="1414" y="866"/>
                    <a:pt x="1393" y="726"/>
                  </a:cubicBezTo>
                  <a:cubicBezTo>
                    <a:pt x="1376" y="618"/>
                    <a:pt x="1407" y="534"/>
                    <a:pt x="1481" y="488"/>
                  </a:cubicBezTo>
                  <a:cubicBezTo>
                    <a:pt x="1432" y="373"/>
                    <a:pt x="889" y="54"/>
                    <a:pt x="690" y="54"/>
                  </a:cubicBezTo>
                  <a:cubicBezTo>
                    <a:pt x="669" y="54"/>
                    <a:pt x="651" y="58"/>
                    <a:pt x="634" y="61"/>
                  </a:cubicBezTo>
                  <a:cubicBezTo>
                    <a:pt x="644" y="86"/>
                    <a:pt x="690" y="149"/>
                    <a:pt x="809" y="247"/>
                  </a:cubicBezTo>
                  <a:cubicBezTo>
                    <a:pt x="833" y="264"/>
                    <a:pt x="896" y="317"/>
                    <a:pt x="882" y="376"/>
                  </a:cubicBezTo>
                  <a:cubicBezTo>
                    <a:pt x="872" y="411"/>
                    <a:pt x="844" y="436"/>
                    <a:pt x="812" y="443"/>
                  </a:cubicBezTo>
                  <a:cubicBezTo>
                    <a:pt x="802" y="445"/>
                    <a:pt x="790" y="446"/>
                    <a:pt x="778" y="446"/>
                  </a:cubicBezTo>
                  <a:cubicBezTo>
                    <a:pt x="694" y="446"/>
                    <a:pt x="573" y="397"/>
                    <a:pt x="515" y="320"/>
                  </a:cubicBezTo>
                  <a:cubicBezTo>
                    <a:pt x="503" y="305"/>
                    <a:pt x="485" y="295"/>
                    <a:pt x="467" y="295"/>
                  </a:cubicBezTo>
                  <a:cubicBezTo>
                    <a:pt x="464" y="295"/>
                    <a:pt x="461" y="295"/>
                    <a:pt x="459" y="296"/>
                  </a:cubicBezTo>
                  <a:cubicBezTo>
                    <a:pt x="399" y="299"/>
                    <a:pt x="319" y="362"/>
                    <a:pt x="266" y="450"/>
                  </a:cubicBezTo>
                  <a:cubicBezTo>
                    <a:pt x="221" y="520"/>
                    <a:pt x="168" y="586"/>
                    <a:pt x="109" y="642"/>
                  </a:cubicBezTo>
                  <a:cubicBezTo>
                    <a:pt x="53" y="698"/>
                    <a:pt x="7" y="747"/>
                    <a:pt x="0" y="789"/>
                  </a:cubicBezTo>
                  <a:cubicBezTo>
                    <a:pt x="0" y="793"/>
                    <a:pt x="7" y="810"/>
                    <a:pt x="39" y="831"/>
                  </a:cubicBezTo>
                  <a:cubicBezTo>
                    <a:pt x="106" y="866"/>
                    <a:pt x="181" y="884"/>
                    <a:pt x="255" y="884"/>
                  </a:cubicBezTo>
                  <a:cubicBezTo>
                    <a:pt x="316" y="884"/>
                    <a:pt x="376" y="872"/>
                    <a:pt x="434" y="849"/>
                  </a:cubicBezTo>
                  <a:cubicBezTo>
                    <a:pt x="564" y="796"/>
                    <a:pt x="714" y="760"/>
                    <a:pt x="850" y="760"/>
                  </a:cubicBezTo>
                  <a:cubicBezTo>
                    <a:pt x="974" y="760"/>
                    <a:pt x="1088" y="790"/>
                    <a:pt x="1166" y="863"/>
                  </a:cubicBezTo>
                  <a:cubicBezTo>
                    <a:pt x="1201" y="887"/>
                    <a:pt x="1218" y="929"/>
                    <a:pt x="1215" y="971"/>
                  </a:cubicBezTo>
                  <a:cubicBezTo>
                    <a:pt x="1211" y="1038"/>
                    <a:pt x="1148" y="1076"/>
                    <a:pt x="1099" y="1112"/>
                  </a:cubicBezTo>
                  <a:cubicBezTo>
                    <a:pt x="1092" y="1119"/>
                    <a:pt x="1078" y="1126"/>
                    <a:pt x="1068" y="1133"/>
                  </a:cubicBezTo>
                  <a:cubicBezTo>
                    <a:pt x="1148" y="1199"/>
                    <a:pt x="1141" y="1259"/>
                    <a:pt x="1131" y="1290"/>
                  </a:cubicBezTo>
                  <a:cubicBezTo>
                    <a:pt x="1102" y="1362"/>
                    <a:pt x="1007" y="1401"/>
                    <a:pt x="845" y="1401"/>
                  </a:cubicBezTo>
                  <a:cubicBezTo>
                    <a:pt x="809" y="1401"/>
                    <a:pt x="770" y="1399"/>
                    <a:pt x="728" y="1395"/>
                  </a:cubicBezTo>
                  <a:cubicBezTo>
                    <a:pt x="693" y="1392"/>
                    <a:pt x="659" y="1391"/>
                    <a:pt x="625" y="1391"/>
                  </a:cubicBezTo>
                  <a:cubicBezTo>
                    <a:pt x="435" y="1391"/>
                    <a:pt x="268" y="1429"/>
                    <a:pt x="200" y="1465"/>
                  </a:cubicBezTo>
                  <a:cubicBezTo>
                    <a:pt x="308" y="1465"/>
                    <a:pt x="417" y="1458"/>
                    <a:pt x="525" y="1444"/>
                  </a:cubicBezTo>
                  <a:cubicBezTo>
                    <a:pt x="650" y="1428"/>
                    <a:pt x="739" y="1419"/>
                    <a:pt x="804" y="1419"/>
                  </a:cubicBezTo>
                  <a:cubicBezTo>
                    <a:pt x="869" y="1419"/>
                    <a:pt x="910" y="1428"/>
                    <a:pt x="938" y="1451"/>
                  </a:cubicBezTo>
                  <a:cubicBezTo>
                    <a:pt x="956" y="1465"/>
                    <a:pt x="966" y="1486"/>
                    <a:pt x="970" y="1511"/>
                  </a:cubicBezTo>
                  <a:lnTo>
                    <a:pt x="970" y="1542"/>
                  </a:lnTo>
                  <a:cubicBezTo>
                    <a:pt x="970" y="1581"/>
                    <a:pt x="977" y="1658"/>
                    <a:pt x="998" y="1672"/>
                  </a:cubicBezTo>
                  <a:cubicBezTo>
                    <a:pt x="1001" y="1674"/>
                    <a:pt x="1006" y="1676"/>
                    <a:pt x="1014" y="1676"/>
                  </a:cubicBezTo>
                  <a:cubicBezTo>
                    <a:pt x="1026" y="1676"/>
                    <a:pt x="1046" y="1672"/>
                    <a:pt x="1071" y="1661"/>
                  </a:cubicBezTo>
                  <a:cubicBezTo>
                    <a:pt x="1098" y="1650"/>
                    <a:pt x="1132" y="1638"/>
                    <a:pt x="1166" y="1638"/>
                  </a:cubicBezTo>
                  <a:cubicBezTo>
                    <a:pt x="1187" y="1638"/>
                    <a:pt x="1207" y="1642"/>
                    <a:pt x="1225" y="1654"/>
                  </a:cubicBezTo>
                  <a:cubicBezTo>
                    <a:pt x="1274" y="1686"/>
                    <a:pt x="1278" y="1749"/>
                    <a:pt x="1281" y="1794"/>
                  </a:cubicBezTo>
                  <a:cubicBezTo>
                    <a:pt x="1278" y="1812"/>
                    <a:pt x="1281" y="1829"/>
                    <a:pt x="1285" y="1847"/>
                  </a:cubicBezTo>
                  <a:cubicBezTo>
                    <a:pt x="1351" y="1875"/>
                    <a:pt x="1386" y="1948"/>
                    <a:pt x="1372" y="2018"/>
                  </a:cubicBezTo>
                  <a:cubicBezTo>
                    <a:pt x="1358" y="2106"/>
                    <a:pt x="1271" y="2211"/>
                    <a:pt x="1075" y="2221"/>
                  </a:cubicBezTo>
                  <a:cubicBezTo>
                    <a:pt x="900" y="2232"/>
                    <a:pt x="844" y="2256"/>
                    <a:pt x="826" y="2267"/>
                  </a:cubicBezTo>
                  <a:cubicBezTo>
                    <a:pt x="830" y="2274"/>
                    <a:pt x="837" y="2281"/>
                    <a:pt x="844" y="2288"/>
                  </a:cubicBezTo>
                  <a:cubicBezTo>
                    <a:pt x="880" y="2325"/>
                    <a:pt x="935" y="2339"/>
                    <a:pt x="1003" y="2339"/>
                  </a:cubicBezTo>
                  <a:cubicBezTo>
                    <a:pt x="1107" y="2339"/>
                    <a:pt x="1239" y="2306"/>
                    <a:pt x="1369" y="2274"/>
                  </a:cubicBezTo>
                  <a:lnTo>
                    <a:pt x="1477" y="2246"/>
                  </a:lnTo>
                  <a:cubicBezTo>
                    <a:pt x="1505" y="2239"/>
                    <a:pt x="1537" y="2235"/>
                    <a:pt x="1565" y="2235"/>
                  </a:cubicBezTo>
                  <a:cubicBezTo>
                    <a:pt x="1754" y="2235"/>
                    <a:pt x="1971" y="2358"/>
                    <a:pt x="2181" y="2477"/>
                  </a:cubicBezTo>
                  <a:cubicBezTo>
                    <a:pt x="2286" y="2540"/>
                    <a:pt x="2398" y="2596"/>
                    <a:pt x="2510" y="2645"/>
                  </a:cubicBezTo>
                  <a:cubicBezTo>
                    <a:pt x="2579" y="2672"/>
                    <a:pt x="2662" y="2684"/>
                    <a:pt x="2748" y="2684"/>
                  </a:cubicBezTo>
                  <a:cubicBezTo>
                    <a:pt x="2903" y="2684"/>
                    <a:pt x="3071" y="2646"/>
                    <a:pt x="3196" y="2592"/>
                  </a:cubicBezTo>
                  <a:cubicBezTo>
                    <a:pt x="3308" y="2543"/>
                    <a:pt x="3361" y="2494"/>
                    <a:pt x="3371" y="2463"/>
                  </a:cubicBezTo>
                  <a:cubicBezTo>
                    <a:pt x="3420" y="2333"/>
                    <a:pt x="3599" y="2309"/>
                    <a:pt x="3774" y="2284"/>
                  </a:cubicBezTo>
                  <a:cubicBezTo>
                    <a:pt x="3890" y="2267"/>
                    <a:pt x="4009" y="2253"/>
                    <a:pt x="4075" y="2207"/>
                  </a:cubicBezTo>
                  <a:cubicBezTo>
                    <a:pt x="4275" y="2071"/>
                    <a:pt x="4520" y="1931"/>
                    <a:pt x="4842" y="1913"/>
                  </a:cubicBezTo>
                  <a:lnTo>
                    <a:pt x="4849" y="1917"/>
                  </a:lnTo>
                  <a:cubicBezTo>
                    <a:pt x="4999" y="1910"/>
                    <a:pt x="5055" y="1808"/>
                    <a:pt x="5111" y="1714"/>
                  </a:cubicBezTo>
                  <a:cubicBezTo>
                    <a:pt x="5150" y="1646"/>
                    <a:pt x="5192" y="1569"/>
                    <a:pt x="5273" y="1569"/>
                  </a:cubicBezTo>
                  <a:cubicBezTo>
                    <a:pt x="5280" y="1569"/>
                    <a:pt x="5286" y="1569"/>
                    <a:pt x="5293" y="1570"/>
                  </a:cubicBezTo>
                  <a:cubicBezTo>
                    <a:pt x="5295" y="1570"/>
                    <a:pt x="5296" y="1570"/>
                    <a:pt x="5297" y="1570"/>
                  </a:cubicBezTo>
                  <a:cubicBezTo>
                    <a:pt x="5373" y="1570"/>
                    <a:pt x="5558" y="1378"/>
                    <a:pt x="5647" y="1199"/>
                  </a:cubicBezTo>
                  <a:cubicBezTo>
                    <a:pt x="5675" y="1147"/>
                    <a:pt x="5661" y="1055"/>
                    <a:pt x="5612" y="975"/>
                  </a:cubicBezTo>
                  <a:cubicBezTo>
                    <a:pt x="5563" y="894"/>
                    <a:pt x="5489" y="845"/>
                    <a:pt x="5423" y="845"/>
                  </a:cubicBezTo>
                  <a:cubicBezTo>
                    <a:pt x="5297" y="845"/>
                    <a:pt x="5174" y="786"/>
                    <a:pt x="5097" y="684"/>
                  </a:cubicBezTo>
                  <a:cubicBezTo>
                    <a:pt x="5055" y="628"/>
                    <a:pt x="5041" y="555"/>
                    <a:pt x="5062" y="488"/>
                  </a:cubicBezTo>
                  <a:cubicBezTo>
                    <a:pt x="5076" y="450"/>
                    <a:pt x="5045" y="387"/>
                    <a:pt x="5013" y="331"/>
                  </a:cubicBezTo>
                  <a:cubicBezTo>
                    <a:pt x="4989" y="289"/>
                    <a:pt x="4971" y="243"/>
                    <a:pt x="4964" y="198"/>
                  </a:cubicBezTo>
                  <a:cubicBezTo>
                    <a:pt x="4877" y="208"/>
                    <a:pt x="4789" y="226"/>
                    <a:pt x="4709" y="250"/>
                  </a:cubicBezTo>
                  <a:lnTo>
                    <a:pt x="4670" y="257"/>
                  </a:lnTo>
                  <a:cubicBezTo>
                    <a:pt x="4659" y="260"/>
                    <a:pt x="4647" y="262"/>
                    <a:pt x="4636" y="262"/>
                  </a:cubicBezTo>
                  <a:cubicBezTo>
                    <a:pt x="4553" y="262"/>
                    <a:pt x="4461" y="191"/>
                    <a:pt x="4366" y="121"/>
                  </a:cubicBezTo>
                  <a:cubicBezTo>
                    <a:pt x="4314" y="79"/>
                    <a:pt x="4208" y="0"/>
                    <a:pt x="41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9" name="Google Shape;6219;p53"/>
            <p:cNvSpPr/>
            <p:nvPr/>
          </p:nvSpPr>
          <p:spPr>
            <a:xfrm>
              <a:off x="1971712" y="1589955"/>
              <a:ext cx="30821" cy="28486"/>
            </a:xfrm>
            <a:custGeom>
              <a:avLst/>
              <a:gdLst/>
              <a:ahLst/>
              <a:cxnLst/>
              <a:rect l="l" t="t" r="r" b="b"/>
              <a:pathLst>
                <a:path w="2270" h="2098" extrusionOk="0">
                  <a:moveTo>
                    <a:pt x="1160" y="1"/>
                  </a:moveTo>
                  <a:cubicBezTo>
                    <a:pt x="1111" y="29"/>
                    <a:pt x="1058" y="50"/>
                    <a:pt x="1002" y="60"/>
                  </a:cubicBezTo>
                  <a:cubicBezTo>
                    <a:pt x="918" y="78"/>
                    <a:pt x="838" y="109"/>
                    <a:pt x="764" y="155"/>
                  </a:cubicBezTo>
                  <a:cubicBezTo>
                    <a:pt x="706" y="197"/>
                    <a:pt x="646" y="210"/>
                    <a:pt x="588" y="210"/>
                  </a:cubicBezTo>
                  <a:cubicBezTo>
                    <a:pt x="525" y="210"/>
                    <a:pt x="464" y="194"/>
                    <a:pt x="407" y="179"/>
                  </a:cubicBezTo>
                  <a:cubicBezTo>
                    <a:pt x="353" y="164"/>
                    <a:pt x="303" y="150"/>
                    <a:pt x="256" y="150"/>
                  </a:cubicBezTo>
                  <a:cubicBezTo>
                    <a:pt x="227" y="150"/>
                    <a:pt x="199" y="155"/>
                    <a:pt x="172" y="169"/>
                  </a:cubicBezTo>
                  <a:lnTo>
                    <a:pt x="158" y="176"/>
                  </a:lnTo>
                  <a:cubicBezTo>
                    <a:pt x="172" y="193"/>
                    <a:pt x="186" y="211"/>
                    <a:pt x="200" y="225"/>
                  </a:cubicBezTo>
                  <a:cubicBezTo>
                    <a:pt x="260" y="291"/>
                    <a:pt x="369" y="414"/>
                    <a:pt x="260" y="561"/>
                  </a:cubicBezTo>
                  <a:cubicBezTo>
                    <a:pt x="218" y="624"/>
                    <a:pt x="218" y="645"/>
                    <a:pt x="218" y="652"/>
                  </a:cubicBezTo>
                  <a:cubicBezTo>
                    <a:pt x="221" y="669"/>
                    <a:pt x="274" y="704"/>
                    <a:pt x="323" y="736"/>
                  </a:cubicBezTo>
                  <a:cubicBezTo>
                    <a:pt x="383" y="774"/>
                    <a:pt x="442" y="816"/>
                    <a:pt x="498" y="858"/>
                  </a:cubicBezTo>
                  <a:cubicBezTo>
                    <a:pt x="568" y="914"/>
                    <a:pt x="603" y="967"/>
                    <a:pt x="603" y="1026"/>
                  </a:cubicBezTo>
                  <a:cubicBezTo>
                    <a:pt x="607" y="1107"/>
                    <a:pt x="544" y="1159"/>
                    <a:pt x="488" y="1212"/>
                  </a:cubicBezTo>
                  <a:cubicBezTo>
                    <a:pt x="428" y="1264"/>
                    <a:pt x="379" y="1310"/>
                    <a:pt x="379" y="1373"/>
                  </a:cubicBezTo>
                  <a:cubicBezTo>
                    <a:pt x="379" y="1541"/>
                    <a:pt x="242" y="1608"/>
                    <a:pt x="144" y="1657"/>
                  </a:cubicBezTo>
                  <a:cubicBezTo>
                    <a:pt x="81" y="1688"/>
                    <a:pt x="25" y="1716"/>
                    <a:pt x="8" y="1755"/>
                  </a:cubicBezTo>
                  <a:cubicBezTo>
                    <a:pt x="1" y="1769"/>
                    <a:pt x="4" y="1800"/>
                    <a:pt x="36" y="1846"/>
                  </a:cubicBezTo>
                  <a:cubicBezTo>
                    <a:pt x="116" y="1968"/>
                    <a:pt x="316" y="2098"/>
                    <a:pt x="491" y="2098"/>
                  </a:cubicBezTo>
                  <a:cubicBezTo>
                    <a:pt x="673" y="2098"/>
                    <a:pt x="1128" y="1975"/>
                    <a:pt x="1391" y="1727"/>
                  </a:cubicBezTo>
                  <a:cubicBezTo>
                    <a:pt x="1512" y="1615"/>
                    <a:pt x="1615" y="1587"/>
                    <a:pt x="1706" y="1587"/>
                  </a:cubicBezTo>
                  <a:cubicBezTo>
                    <a:pt x="1752" y="1587"/>
                    <a:pt x="1795" y="1594"/>
                    <a:pt x="1835" y="1601"/>
                  </a:cubicBezTo>
                  <a:cubicBezTo>
                    <a:pt x="1874" y="1607"/>
                    <a:pt x="1909" y="1613"/>
                    <a:pt x="1944" y="1613"/>
                  </a:cubicBezTo>
                  <a:cubicBezTo>
                    <a:pt x="1987" y="1613"/>
                    <a:pt x="2029" y="1604"/>
                    <a:pt x="2077" y="1580"/>
                  </a:cubicBezTo>
                  <a:cubicBezTo>
                    <a:pt x="2269" y="1482"/>
                    <a:pt x="2147" y="596"/>
                    <a:pt x="2049" y="400"/>
                  </a:cubicBezTo>
                  <a:cubicBezTo>
                    <a:pt x="2035" y="372"/>
                    <a:pt x="2028" y="344"/>
                    <a:pt x="2028" y="312"/>
                  </a:cubicBezTo>
                  <a:lnTo>
                    <a:pt x="2014" y="302"/>
                  </a:lnTo>
                  <a:lnTo>
                    <a:pt x="1993" y="284"/>
                  </a:lnTo>
                  <a:lnTo>
                    <a:pt x="1961" y="260"/>
                  </a:lnTo>
                  <a:lnTo>
                    <a:pt x="1944" y="242"/>
                  </a:lnTo>
                  <a:lnTo>
                    <a:pt x="1916" y="218"/>
                  </a:lnTo>
                  <a:lnTo>
                    <a:pt x="1902" y="204"/>
                  </a:lnTo>
                  <a:cubicBezTo>
                    <a:pt x="1891" y="190"/>
                    <a:pt x="1877" y="176"/>
                    <a:pt x="1867" y="162"/>
                  </a:cubicBezTo>
                  <a:cubicBezTo>
                    <a:pt x="1805" y="93"/>
                    <a:pt x="1761" y="70"/>
                    <a:pt x="1739" y="70"/>
                  </a:cubicBezTo>
                  <a:cubicBezTo>
                    <a:pt x="1737" y="70"/>
                    <a:pt x="1735" y="70"/>
                    <a:pt x="1734" y="71"/>
                  </a:cubicBezTo>
                  <a:cubicBezTo>
                    <a:pt x="1713" y="78"/>
                    <a:pt x="1678" y="134"/>
                    <a:pt x="1664" y="228"/>
                  </a:cubicBezTo>
                  <a:cubicBezTo>
                    <a:pt x="1657" y="270"/>
                    <a:pt x="1632" y="309"/>
                    <a:pt x="1597" y="326"/>
                  </a:cubicBezTo>
                  <a:cubicBezTo>
                    <a:pt x="1580" y="334"/>
                    <a:pt x="1563" y="337"/>
                    <a:pt x="1546" y="337"/>
                  </a:cubicBezTo>
                  <a:cubicBezTo>
                    <a:pt x="1490" y="337"/>
                    <a:pt x="1430" y="304"/>
                    <a:pt x="1366" y="267"/>
                  </a:cubicBezTo>
                  <a:cubicBezTo>
                    <a:pt x="1328" y="242"/>
                    <a:pt x="1286" y="225"/>
                    <a:pt x="1244" y="211"/>
                  </a:cubicBezTo>
                  <a:cubicBezTo>
                    <a:pt x="1195" y="204"/>
                    <a:pt x="1156" y="165"/>
                    <a:pt x="1149" y="120"/>
                  </a:cubicBezTo>
                  <a:cubicBezTo>
                    <a:pt x="1146" y="113"/>
                    <a:pt x="1146" y="102"/>
                    <a:pt x="1146" y="95"/>
                  </a:cubicBezTo>
                  <a:lnTo>
                    <a:pt x="1146" y="85"/>
                  </a:lnTo>
                  <a:cubicBezTo>
                    <a:pt x="1146" y="81"/>
                    <a:pt x="1146" y="74"/>
                    <a:pt x="1146" y="67"/>
                  </a:cubicBezTo>
                  <a:lnTo>
                    <a:pt x="1146" y="57"/>
                  </a:lnTo>
                  <a:cubicBezTo>
                    <a:pt x="1146" y="53"/>
                    <a:pt x="1149" y="43"/>
                    <a:pt x="1149" y="36"/>
                  </a:cubicBezTo>
                  <a:lnTo>
                    <a:pt x="1153" y="29"/>
                  </a:lnTo>
                  <a:cubicBezTo>
                    <a:pt x="1156" y="18"/>
                    <a:pt x="1156" y="11"/>
                    <a:pt x="1160" y="4"/>
                  </a:cubicBezTo>
                  <a:lnTo>
                    <a:pt x="11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0" name="Google Shape;6220;p53"/>
            <p:cNvSpPr/>
            <p:nvPr/>
          </p:nvSpPr>
          <p:spPr>
            <a:xfrm>
              <a:off x="1984936" y="1583342"/>
              <a:ext cx="6422" cy="5010"/>
            </a:xfrm>
            <a:custGeom>
              <a:avLst/>
              <a:gdLst/>
              <a:ahLst/>
              <a:cxnLst/>
              <a:rect l="l" t="t" r="r" b="b"/>
              <a:pathLst>
                <a:path w="473" h="369" extrusionOk="0">
                  <a:moveTo>
                    <a:pt x="180" y="0"/>
                  </a:moveTo>
                  <a:cubicBezTo>
                    <a:pt x="134" y="0"/>
                    <a:pt x="86" y="11"/>
                    <a:pt x="46" y="36"/>
                  </a:cubicBezTo>
                  <a:cubicBezTo>
                    <a:pt x="18" y="50"/>
                    <a:pt x="4" y="78"/>
                    <a:pt x="4" y="106"/>
                  </a:cubicBezTo>
                  <a:cubicBezTo>
                    <a:pt x="0" y="166"/>
                    <a:pt x="28" y="180"/>
                    <a:pt x="105" y="208"/>
                  </a:cubicBezTo>
                  <a:cubicBezTo>
                    <a:pt x="165" y="229"/>
                    <a:pt x="256" y="260"/>
                    <a:pt x="263" y="358"/>
                  </a:cubicBezTo>
                  <a:lnTo>
                    <a:pt x="263" y="369"/>
                  </a:lnTo>
                  <a:cubicBezTo>
                    <a:pt x="273" y="358"/>
                    <a:pt x="280" y="348"/>
                    <a:pt x="291" y="337"/>
                  </a:cubicBezTo>
                  <a:cubicBezTo>
                    <a:pt x="298" y="327"/>
                    <a:pt x="305" y="316"/>
                    <a:pt x="315" y="309"/>
                  </a:cubicBezTo>
                  <a:lnTo>
                    <a:pt x="319" y="306"/>
                  </a:lnTo>
                  <a:cubicBezTo>
                    <a:pt x="326" y="295"/>
                    <a:pt x="333" y="288"/>
                    <a:pt x="340" y="281"/>
                  </a:cubicBezTo>
                  <a:lnTo>
                    <a:pt x="347" y="278"/>
                  </a:lnTo>
                  <a:cubicBezTo>
                    <a:pt x="354" y="271"/>
                    <a:pt x="361" y="267"/>
                    <a:pt x="364" y="260"/>
                  </a:cubicBezTo>
                  <a:cubicBezTo>
                    <a:pt x="371" y="257"/>
                    <a:pt x="375" y="253"/>
                    <a:pt x="378" y="250"/>
                  </a:cubicBezTo>
                  <a:lnTo>
                    <a:pt x="385" y="243"/>
                  </a:lnTo>
                  <a:lnTo>
                    <a:pt x="392" y="232"/>
                  </a:lnTo>
                  <a:lnTo>
                    <a:pt x="399" y="225"/>
                  </a:lnTo>
                  <a:lnTo>
                    <a:pt x="410" y="208"/>
                  </a:lnTo>
                  <a:lnTo>
                    <a:pt x="413" y="201"/>
                  </a:lnTo>
                  <a:lnTo>
                    <a:pt x="424" y="180"/>
                  </a:lnTo>
                  <a:lnTo>
                    <a:pt x="431" y="169"/>
                  </a:lnTo>
                  <a:cubicBezTo>
                    <a:pt x="434" y="159"/>
                    <a:pt x="438" y="152"/>
                    <a:pt x="441" y="141"/>
                  </a:cubicBezTo>
                  <a:lnTo>
                    <a:pt x="445" y="134"/>
                  </a:lnTo>
                  <a:cubicBezTo>
                    <a:pt x="452" y="124"/>
                    <a:pt x="455" y="110"/>
                    <a:pt x="459" y="96"/>
                  </a:cubicBezTo>
                  <a:lnTo>
                    <a:pt x="462" y="85"/>
                  </a:lnTo>
                  <a:cubicBezTo>
                    <a:pt x="466" y="75"/>
                    <a:pt x="469" y="68"/>
                    <a:pt x="473" y="57"/>
                  </a:cubicBezTo>
                  <a:lnTo>
                    <a:pt x="462" y="54"/>
                  </a:lnTo>
                  <a:cubicBezTo>
                    <a:pt x="378" y="19"/>
                    <a:pt x="291" y="1"/>
                    <a:pt x="200" y="1"/>
                  </a:cubicBezTo>
                  <a:cubicBezTo>
                    <a:pt x="193" y="1"/>
                    <a:pt x="187" y="0"/>
                    <a:pt x="1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1" name="Google Shape;6221;p53"/>
            <p:cNvSpPr/>
            <p:nvPr/>
          </p:nvSpPr>
          <p:spPr>
            <a:xfrm>
              <a:off x="1999193" y="1543044"/>
              <a:ext cx="61805" cy="90508"/>
            </a:xfrm>
            <a:custGeom>
              <a:avLst/>
              <a:gdLst/>
              <a:ahLst/>
              <a:cxnLst/>
              <a:rect l="l" t="t" r="r" b="b"/>
              <a:pathLst>
                <a:path w="4552" h="6666" extrusionOk="0">
                  <a:moveTo>
                    <a:pt x="1810" y="0"/>
                  </a:moveTo>
                  <a:cubicBezTo>
                    <a:pt x="1796" y="21"/>
                    <a:pt x="1782" y="46"/>
                    <a:pt x="1772" y="70"/>
                  </a:cubicBezTo>
                  <a:cubicBezTo>
                    <a:pt x="1744" y="130"/>
                    <a:pt x="1709" y="182"/>
                    <a:pt x="1660" y="228"/>
                  </a:cubicBezTo>
                  <a:cubicBezTo>
                    <a:pt x="1602" y="272"/>
                    <a:pt x="1519" y="294"/>
                    <a:pt x="1398" y="294"/>
                  </a:cubicBezTo>
                  <a:cubicBezTo>
                    <a:pt x="1298" y="294"/>
                    <a:pt x="1172" y="279"/>
                    <a:pt x="1016" y="249"/>
                  </a:cubicBezTo>
                  <a:cubicBezTo>
                    <a:pt x="1005" y="246"/>
                    <a:pt x="993" y="245"/>
                    <a:pt x="982" y="245"/>
                  </a:cubicBezTo>
                  <a:cubicBezTo>
                    <a:pt x="947" y="245"/>
                    <a:pt x="913" y="257"/>
                    <a:pt x="886" y="284"/>
                  </a:cubicBezTo>
                  <a:cubicBezTo>
                    <a:pt x="795" y="361"/>
                    <a:pt x="750" y="546"/>
                    <a:pt x="753" y="641"/>
                  </a:cubicBezTo>
                  <a:cubicBezTo>
                    <a:pt x="760" y="750"/>
                    <a:pt x="669" y="823"/>
                    <a:pt x="599" y="886"/>
                  </a:cubicBezTo>
                  <a:cubicBezTo>
                    <a:pt x="554" y="921"/>
                    <a:pt x="501" y="970"/>
                    <a:pt x="508" y="991"/>
                  </a:cubicBezTo>
                  <a:cubicBezTo>
                    <a:pt x="547" y="1079"/>
                    <a:pt x="522" y="1177"/>
                    <a:pt x="449" y="1236"/>
                  </a:cubicBezTo>
                  <a:cubicBezTo>
                    <a:pt x="424" y="1253"/>
                    <a:pt x="396" y="1261"/>
                    <a:pt x="368" y="1261"/>
                  </a:cubicBezTo>
                  <a:cubicBezTo>
                    <a:pt x="331" y="1261"/>
                    <a:pt x="294" y="1247"/>
                    <a:pt x="266" y="1219"/>
                  </a:cubicBezTo>
                  <a:cubicBezTo>
                    <a:pt x="245" y="1198"/>
                    <a:pt x="228" y="1180"/>
                    <a:pt x="210" y="1159"/>
                  </a:cubicBezTo>
                  <a:cubicBezTo>
                    <a:pt x="156" y="1098"/>
                    <a:pt x="122" y="1068"/>
                    <a:pt x="86" y="1068"/>
                  </a:cubicBezTo>
                  <a:cubicBezTo>
                    <a:pt x="65" y="1068"/>
                    <a:pt x="44" y="1079"/>
                    <a:pt x="18" y="1100"/>
                  </a:cubicBezTo>
                  <a:cubicBezTo>
                    <a:pt x="0" y="1117"/>
                    <a:pt x="4" y="1124"/>
                    <a:pt x="4" y="1128"/>
                  </a:cubicBezTo>
                  <a:cubicBezTo>
                    <a:pt x="21" y="1187"/>
                    <a:pt x="214" y="1289"/>
                    <a:pt x="382" y="1310"/>
                  </a:cubicBezTo>
                  <a:cubicBezTo>
                    <a:pt x="410" y="1313"/>
                    <a:pt x="480" y="1320"/>
                    <a:pt x="501" y="1380"/>
                  </a:cubicBezTo>
                  <a:cubicBezTo>
                    <a:pt x="522" y="1439"/>
                    <a:pt x="470" y="1495"/>
                    <a:pt x="403" y="1558"/>
                  </a:cubicBezTo>
                  <a:cubicBezTo>
                    <a:pt x="337" y="1621"/>
                    <a:pt x="252" y="1702"/>
                    <a:pt x="238" y="1789"/>
                  </a:cubicBezTo>
                  <a:cubicBezTo>
                    <a:pt x="228" y="1849"/>
                    <a:pt x="238" y="1863"/>
                    <a:pt x="340" y="1894"/>
                  </a:cubicBezTo>
                  <a:cubicBezTo>
                    <a:pt x="417" y="1915"/>
                    <a:pt x="515" y="1947"/>
                    <a:pt x="529" y="2062"/>
                  </a:cubicBezTo>
                  <a:cubicBezTo>
                    <a:pt x="533" y="2122"/>
                    <a:pt x="505" y="2178"/>
                    <a:pt x="459" y="2209"/>
                  </a:cubicBezTo>
                  <a:lnTo>
                    <a:pt x="463" y="2213"/>
                  </a:lnTo>
                  <a:cubicBezTo>
                    <a:pt x="512" y="2241"/>
                    <a:pt x="512" y="2300"/>
                    <a:pt x="512" y="2370"/>
                  </a:cubicBezTo>
                  <a:cubicBezTo>
                    <a:pt x="512" y="2423"/>
                    <a:pt x="512" y="2507"/>
                    <a:pt x="543" y="2531"/>
                  </a:cubicBezTo>
                  <a:cubicBezTo>
                    <a:pt x="557" y="2538"/>
                    <a:pt x="573" y="2542"/>
                    <a:pt x="590" y="2542"/>
                  </a:cubicBezTo>
                  <a:cubicBezTo>
                    <a:pt x="599" y="2542"/>
                    <a:pt x="608" y="2541"/>
                    <a:pt x="617" y="2538"/>
                  </a:cubicBezTo>
                  <a:cubicBezTo>
                    <a:pt x="743" y="2517"/>
                    <a:pt x="774" y="2412"/>
                    <a:pt x="806" y="2279"/>
                  </a:cubicBezTo>
                  <a:cubicBezTo>
                    <a:pt x="825" y="2208"/>
                    <a:pt x="848" y="2109"/>
                    <a:pt x="932" y="2109"/>
                  </a:cubicBezTo>
                  <a:cubicBezTo>
                    <a:pt x="938" y="2109"/>
                    <a:pt x="945" y="2110"/>
                    <a:pt x="953" y="2111"/>
                  </a:cubicBezTo>
                  <a:cubicBezTo>
                    <a:pt x="981" y="2115"/>
                    <a:pt x="1009" y="2129"/>
                    <a:pt x="1026" y="2153"/>
                  </a:cubicBezTo>
                  <a:cubicBezTo>
                    <a:pt x="1058" y="2199"/>
                    <a:pt x="1044" y="2255"/>
                    <a:pt x="1033" y="2314"/>
                  </a:cubicBezTo>
                  <a:cubicBezTo>
                    <a:pt x="1019" y="2381"/>
                    <a:pt x="1005" y="2458"/>
                    <a:pt x="1040" y="2524"/>
                  </a:cubicBezTo>
                  <a:cubicBezTo>
                    <a:pt x="1110" y="2657"/>
                    <a:pt x="1012" y="2815"/>
                    <a:pt x="932" y="2938"/>
                  </a:cubicBezTo>
                  <a:cubicBezTo>
                    <a:pt x="900" y="2983"/>
                    <a:pt x="872" y="3036"/>
                    <a:pt x="851" y="3088"/>
                  </a:cubicBezTo>
                  <a:cubicBezTo>
                    <a:pt x="906" y="3113"/>
                    <a:pt x="964" y="3124"/>
                    <a:pt x="1025" y="3124"/>
                  </a:cubicBezTo>
                  <a:cubicBezTo>
                    <a:pt x="1033" y="3124"/>
                    <a:pt x="1042" y="3124"/>
                    <a:pt x="1051" y="3123"/>
                  </a:cubicBezTo>
                  <a:cubicBezTo>
                    <a:pt x="1215" y="3123"/>
                    <a:pt x="1432" y="3081"/>
                    <a:pt x="1523" y="2987"/>
                  </a:cubicBezTo>
                  <a:cubicBezTo>
                    <a:pt x="1592" y="2915"/>
                    <a:pt x="1655" y="2889"/>
                    <a:pt x="1707" y="2889"/>
                  </a:cubicBezTo>
                  <a:cubicBezTo>
                    <a:pt x="1744" y="2889"/>
                    <a:pt x="1774" y="2903"/>
                    <a:pt x="1796" y="2924"/>
                  </a:cubicBezTo>
                  <a:cubicBezTo>
                    <a:pt x="1870" y="2994"/>
                    <a:pt x="1856" y="3137"/>
                    <a:pt x="1768" y="3239"/>
                  </a:cubicBezTo>
                  <a:cubicBezTo>
                    <a:pt x="1737" y="3274"/>
                    <a:pt x="1702" y="3326"/>
                    <a:pt x="1716" y="3375"/>
                  </a:cubicBezTo>
                  <a:cubicBezTo>
                    <a:pt x="1733" y="3424"/>
                    <a:pt x="1775" y="3459"/>
                    <a:pt x="1828" y="3473"/>
                  </a:cubicBezTo>
                  <a:lnTo>
                    <a:pt x="1838" y="3477"/>
                  </a:lnTo>
                  <a:cubicBezTo>
                    <a:pt x="1947" y="3512"/>
                    <a:pt x="2013" y="3536"/>
                    <a:pt x="2041" y="3603"/>
                  </a:cubicBezTo>
                  <a:cubicBezTo>
                    <a:pt x="2055" y="3659"/>
                    <a:pt x="2045" y="3722"/>
                    <a:pt x="2010" y="3767"/>
                  </a:cubicBezTo>
                  <a:cubicBezTo>
                    <a:pt x="1978" y="3827"/>
                    <a:pt x="1978" y="3928"/>
                    <a:pt x="1982" y="4023"/>
                  </a:cubicBezTo>
                  <a:cubicBezTo>
                    <a:pt x="1989" y="4096"/>
                    <a:pt x="1985" y="4173"/>
                    <a:pt x="1968" y="4250"/>
                  </a:cubicBezTo>
                  <a:cubicBezTo>
                    <a:pt x="1930" y="4366"/>
                    <a:pt x="1726" y="4382"/>
                    <a:pt x="1611" y="4382"/>
                  </a:cubicBezTo>
                  <a:cubicBezTo>
                    <a:pt x="1579" y="4382"/>
                    <a:pt x="1554" y="4381"/>
                    <a:pt x="1541" y="4380"/>
                  </a:cubicBezTo>
                  <a:cubicBezTo>
                    <a:pt x="1338" y="4366"/>
                    <a:pt x="1296" y="4313"/>
                    <a:pt x="1285" y="4282"/>
                  </a:cubicBezTo>
                  <a:cubicBezTo>
                    <a:pt x="1282" y="4281"/>
                    <a:pt x="1279" y="4281"/>
                    <a:pt x="1276" y="4281"/>
                  </a:cubicBezTo>
                  <a:cubicBezTo>
                    <a:pt x="1261" y="4281"/>
                    <a:pt x="1245" y="4288"/>
                    <a:pt x="1236" y="4299"/>
                  </a:cubicBezTo>
                  <a:cubicBezTo>
                    <a:pt x="1233" y="4303"/>
                    <a:pt x="1233" y="4303"/>
                    <a:pt x="1236" y="4313"/>
                  </a:cubicBezTo>
                  <a:cubicBezTo>
                    <a:pt x="1285" y="4415"/>
                    <a:pt x="1205" y="4506"/>
                    <a:pt x="1149" y="4576"/>
                  </a:cubicBezTo>
                  <a:cubicBezTo>
                    <a:pt x="1124" y="4604"/>
                    <a:pt x="1079" y="4656"/>
                    <a:pt x="1082" y="4674"/>
                  </a:cubicBezTo>
                  <a:cubicBezTo>
                    <a:pt x="1114" y="4691"/>
                    <a:pt x="1149" y="4702"/>
                    <a:pt x="1184" y="4712"/>
                  </a:cubicBezTo>
                  <a:cubicBezTo>
                    <a:pt x="1271" y="4740"/>
                    <a:pt x="1397" y="4775"/>
                    <a:pt x="1404" y="4891"/>
                  </a:cubicBezTo>
                  <a:cubicBezTo>
                    <a:pt x="1415" y="5087"/>
                    <a:pt x="1103" y="5248"/>
                    <a:pt x="830" y="5329"/>
                  </a:cubicBezTo>
                  <a:cubicBezTo>
                    <a:pt x="781" y="5343"/>
                    <a:pt x="764" y="5360"/>
                    <a:pt x="760" y="5364"/>
                  </a:cubicBezTo>
                  <a:cubicBezTo>
                    <a:pt x="757" y="5367"/>
                    <a:pt x="781" y="5402"/>
                    <a:pt x="834" y="5427"/>
                  </a:cubicBezTo>
                  <a:cubicBezTo>
                    <a:pt x="866" y="5443"/>
                    <a:pt x="901" y="5451"/>
                    <a:pt x="931" y="5451"/>
                  </a:cubicBezTo>
                  <a:cubicBezTo>
                    <a:pt x="953" y="5451"/>
                    <a:pt x="972" y="5446"/>
                    <a:pt x="984" y="5437"/>
                  </a:cubicBezTo>
                  <a:cubicBezTo>
                    <a:pt x="1031" y="5403"/>
                    <a:pt x="1069" y="5391"/>
                    <a:pt x="1100" y="5391"/>
                  </a:cubicBezTo>
                  <a:cubicBezTo>
                    <a:pt x="1145" y="5391"/>
                    <a:pt x="1178" y="5416"/>
                    <a:pt x="1208" y="5444"/>
                  </a:cubicBezTo>
                  <a:cubicBezTo>
                    <a:pt x="1244" y="5477"/>
                    <a:pt x="1289" y="5497"/>
                    <a:pt x="1334" y="5497"/>
                  </a:cubicBezTo>
                  <a:cubicBezTo>
                    <a:pt x="1338" y="5497"/>
                    <a:pt x="1341" y="5497"/>
                    <a:pt x="1345" y="5497"/>
                  </a:cubicBezTo>
                  <a:cubicBezTo>
                    <a:pt x="1432" y="5500"/>
                    <a:pt x="1516" y="5521"/>
                    <a:pt x="1597" y="5556"/>
                  </a:cubicBezTo>
                  <a:cubicBezTo>
                    <a:pt x="1660" y="5581"/>
                    <a:pt x="1718" y="5603"/>
                    <a:pt x="1783" y="5603"/>
                  </a:cubicBezTo>
                  <a:cubicBezTo>
                    <a:pt x="1818" y="5603"/>
                    <a:pt x="1856" y="5597"/>
                    <a:pt x="1898" y="5581"/>
                  </a:cubicBezTo>
                  <a:cubicBezTo>
                    <a:pt x="1953" y="5560"/>
                    <a:pt x="2012" y="5542"/>
                    <a:pt x="2060" y="5542"/>
                  </a:cubicBezTo>
                  <a:cubicBezTo>
                    <a:pt x="2101" y="5542"/>
                    <a:pt x="2134" y="5554"/>
                    <a:pt x="2153" y="5588"/>
                  </a:cubicBezTo>
                  <a:cubicBezTo>
                    <a:pt x="2188" y="5651"/>
                    <a:pt x="2143" y="5728"/>
                    <a:pt x="2010" y="5833"/>
                  </a:cubicBezTo>
                  <a:cubicBezTo>
                    <a:pt x="1929" y="5894"/>
                    <a:pt x="1837" y="5910"/>
                    <a:pt x="1747" y="5910"/>
                  </a:cubicBezTo>
                  <a:cubicBezTo>
                    <a:pt x="1704" y="5910"/>
                    <a:pt x="1662" y="5906"/>
                    <a:pt x="1621" y="5903"/>
                  </a:cubicBezTo>
                  <a:cubicBezTo>
                    <a:pt x="1583" y="5899"/>
                    <a:pt x="1548" y="5896"/>
                    <a:pt x="1513" y="5896"/>
                  </a:cubicBezTo>
                  <a:cubicBezTo>
                    <a:pt x="1507" y="5895"/>
                    <a:pt x="1502" y="5895"/>
                    <a:pt x="1497" y="5895"/>
                  </a:cubicBezTo>
                  <a:cubicBezTo>
                    <a:pt x="1461" y="5895"/>
                    <a:pt x="1427" y="5905"/>
                    <a:pt x="1394" y="5920"/>
                  </a:cubicBezTo>
                  <a:cubicBezTo>
                    <a:pt x="1212" y="6018"/>
                    <a:pt x="704" y="6543"/>
                    <a:pt x="715" y="6666"/>
                  </a:cubicBezTo>
                  <a:cubicBezTo>
                    <a:pt x="739" y="6648"/>
                    <a:pt x="760" y="6631"/>
                    <a:pt x="781" y="6613"/>
                  </a:cubicBezTo>
                  <a:cubicBezTo>
                    <a:pt x="858" y="6536"/>
                    <a:pt x="946" y="6477"/>
                    <a:pt x="1047" y="6431"/>
                  </a:cubicBezTo>
                  <a:cubicBezTo>
                    <a:pt x="1109" y="6406"/>
                    <a:pt x="1160" y="6396"/>
                    <a:pt x="1204" y="6396"/>
                  </a:cubicBezTo>
                  <a:cubicBezTo>
                    <a:pt x="1293" y="6396"/>
                    <a:pt x="1350" y="6436"/>
                    <a:pt x="1397" y="6466"/>
                  </a:cubicBezTo>
                  <a:cubicBezTo>
                    <a:pt x="1422" y="6487"/>
                    <a:pt x="1450" y="6501"/>
                    <a:pt x="1485" y="6508"/>
                  </a:cubicBezTo>
                  <a:cubicBezTo>
                    <a:pt x="1485" y="6508"/>
                    <a:pt x="1486" y="6509"/>
                    <a:pt x="1486" y="6509"/>
                  </a:cubicBezTo>
                  <a:cubicBezTo>
                    <a:pt x="1504" y="6509"/>
                    <a:pt x="1531" y="6451"/>
                    <a:pt x="1551" y="6414"/>
                  </a:cubicBezTo>
                  <a:cubicBezTo>
                    <a:pt x="1580" y="6351"/>
                    <a:pt x="1622" y="6263"/>
                    <a:pt x="1703" y="6263"/>
                  </a:cubicBezTo>
                  <a:cubicBezTo>
                    <a:pt x="1713" y="6263"/>
                    <a:pt x="1723" y="6264"/>
                    <a:pt x="1733" y="6267"/>
                  </a:cubicBezTo>
                  <a:cubicBezTo>
                    <a:pt x="1768" y="6267"/>
                    <a:pt x="1807" y="6260"/>
                    <a:pt x="1838" y="6246"/>
                  </a:cubicBezTo>
                  <a:cubicBezTo>
                    <a:pt x="1906" y="6217"/>
                    <a:pt x="1978" y="6202"/>
                    <a:pt x="2051" y="6202"/>
                  </a:cubicBezTo>
                  <a:cubicBezTo>
                    <a:pt x="2076" y="6202"/>
                    <a:pt x="2101" y="6204"/>
                    <a:pt x="2125" y="6207"/>
                  </a:cubicBezTo>
                  <a:cubicBezTo>
                    <a:pt x="2152" y="6212"/>
                    <a:pt x="2178" y="6215"/>
                    <a:pt x="2205" y="6215"/>
                  </a:cubicBezTo>
                  <a:cubicBezTo>
                    <a:pt x="2312" y="6215"/>
                    <a:pt x="2419" y="6175"/>
                    <a:pt x="2500" y="6102"/>
                  </a:cubicBezTo>
                  <a:cubicBezTo>
                    <a:pt x="2527" y="6079"/>
                    <a:pt x="2559" y="6070"/>
                    <a:pt x="2593" y="6070"/>
                  </a:cubicBezTo>
                  <a:cubicBezTo>
                    <a:pt x="2663" y="6070"/>
                    <a:pt x="2742" y="6109"/>
                    <a:pt x="2815" y="6144"/>
                  </a:cubicBezTo>
                  <a:cubicBezTo>
                    <a:pt x="2857" y="6169"/>
                    <a:pt x="2899" y="6186"/>
                    <a:pt x="2945" y="6200"/>
                  </a:cubicBezTo>
                  <a:cubicBezTo>
                    <a:pt x="3042" y="6135"/>
                    <a:pt x="3364" y="6077"/>
                    <a:pt x="3553" y="6077"/>
                  </a:cubicBezTo>
                  <a:cubicBezTo>
                    <a:pt x="3568" y="6077"/>
                    <a:pt x="3583" y="6077"/>
                    <a:pt x="3596" y="6078"/>
                  </a:cubicBezTo>
                  <a:cubicBezTo>
                    <a:pt x="3598" y="6078"/>
                    <a:pt x="3601" y="6078"/>
                    <a:pt x="3604" y="6078"/>
                  </a:cubicBezTo>
                  <a:cubicBezTo>
                    <a:pt x="3762" y="6078"/>
                    <a:pt x="4193" y="5887"/>
                    <a:pt x="4310" y="5780"/>
                  </a:cubicBezTo>
                  <a:cubicBezTo>
                    <a:pt x="4278" y="5775"/>
                    <a:pt x="4248" y="5772"/>
                    <a:pt x="4218" y="5772"/>
                  </a:cubicBezTo>
                  <a:cubicBezTo>
                    <a:pt x="4187" y="5772"/>
                    <a:pt x="4158" y="5775"/>
                    <a:pt x="4128" y="5780"/>
                  </a:cubicBezTo>
                  <a:cubicBezTo>
                    <a:pt x="4115" y="5782"/>
                    <a:pt x="4102" y="5783"/>
                    <a:pt x="4091" y="5783"/>
                  </a:cubicBezTo>
                  <a:cubicBezTo>
                    <a:pt x="4006" y="5783"/>
                    <a:pt x="3972" y="5732"/>
                    <a:pt x="3960" y="5710"/>
                  </a:cubicBezTo>
                  <a:cubicBezTo>
                    <a:pt x="3918" y="5619"/>
                    <a:pt x="3977" y="5472"/>
                    <a:pt x="4114" y="5343"/>
                  </a:cubicBezTo>
                  <a:cubicBezTo>
                    <a:pt x="4163" y="5297"/>
                    <a:pt x="4215" y="5255"/>
                    <a:pt x="4268" y="5217"/>
                  </a:cubicBezTo>
                  <a:cubicBezTo>
                    <a:pt x="4404" y="5108"/>
                    <a:pt x="4534" y="5010"/>
                    <a:pt x="4545" y="4863"/>
                  </a:cubicBezTo>
                  <a:cubicBezTo>
                    <a:pt x="4552" y="4786"/>
                    <a:pt x="4461" y="4712"/>
                    <a:pt x="4376" y="4667"/>
                  </a:cubicBezTo>
                  <a:cubicBezTo>
                    <a:pt x="4283" y="4620"/>
                    <a:pt x="4194" y="4603"/>
                    <a:pt x="4141" y="4603"/>
                  </a:cubicBezTo>
                  <a:cubicBezTo>
                    <a:pt x="4119" y="4603"/>
                    <a:pt x="4104" y="4606"/>
                    <a:pt x="4096" y="4611"/>
                  </a:cubicBezTo>
                  <a:cubicBezTo>
                    <a:pt x="4072" y="4681"/>
                    <a:pt x="4012" y="4730"/>
                    <a:pt x="3939" y="4737"/>
                  </a:cubicBezTo>
                  <a:cubicBezTo>
                    <a:pt x="3936" y="4737"/>
                    <a:pt x="3934" y="4737"/>
                    <a:pt x="3931" y="4737"/>
                  </a:cubicBezTo>
                  <a:cubicBezTo>
                    <a:pt x="3853" y="4737"/>
                    <a:pt x="3776" y="4685"/>
                    <a:pt x="3715" y="4586"/>
                  </a:cubicBezTo>
                  <a:cubicBezTo>
                    <a:pt x="3648" y="4478"/>
                    <a:pt x="3687" y="4373"/>
                    <a:pt x="3711" y="4313"/>
                  </a:cubicBezTo>
                  <a:lnTo>
                    <a:pt x="3715" y="4306"/>
                  </a:lnTo>
                  <a:cubicBezTo>
                    <a:pt x="3659" y="4271"/>
                    <a:pt x="3610" y="4226"/>
                    <a:pt x="3582" y="4170"/>
                  </a:cubicBezTo>
                  <a:cubicBezTo>
                    <a:pt x="3561" y="4138"/>
                    <a:pt x="3494" y="4019"/>
                    <a:pt x="3522" y="3935"/>
                  </a:cubicBezTo>
                  <a:cubicBezTo>
                    <a:pt x="3529" y="3869"/>
                    <a:pt x="3382" y="3410"/>
                    <a:pt x="3158" y="3354"/>
                  </a:cubicBezTo>
                  <a:cubicBezTo>
                    <a:pt x="2875" y="3288"/>
                    <a:pt x="2808" y="2952"/>
                    <a:pt x="2763" y="2727"/>
                  </a:cubicBezTo>
                  <a:cubicBezTo>
                    <a:pt x="2756" y="2696"/>
                    <a:pt x="2752" y="2668"/>
                    <a:pt x="2745" y="2640"/>
                  </a:cubicBezTo>
                  <a:cubicBezTo>
                    <a:pt x="2728" y="2563"/>
                    <a:pt x="2696" y="2552"/>
                    <a:pt x="2623" y="2535"/>
                  </a:cubicBezTo>
                  <a:cubicBezTo>
                    <a:pt x="2532" y="2514"/>
                    <a:pt x="2451" y="2465"/>
                    <a:pt x="2392" y="2391"/>
                  </a:cubicBezTo>
                  <a:cubicBezTo>
                    <a:pt x="2341" y="2325"/>
                    <a:pt x="2275" y="2305"/>
                    <a:pt x="2197" y="2305"/>
                  </a:cubicBezTo>
                  <a:cubicBezTo>
                    <a:pt x="2151" y="2305"/>
                    <a:pt x="2100" y="2312"/>
                    <a:pt x="2045" y="2321"/>
                  </a:cubicBezTo>
                  <a:cubicBezTo>
                    <a:pt x="2013" y="2328"/>
                    <a:pt x="1982" y="2332"/>
                    <a:pt x="1954" y="2335"/>
                  </a:cubicBezTo>
                  <a:cubicBezTo>
                    <a:pt x="1949" y="2336"/>
                    <a:pt x="1944" y="2336"/>
                    <a:pt x="1939" y="2336"/>
                  </a:cubicBezTo>
                  <a:cubicBezTo>
                    <a:pt x="1896" y="2336"/>
                    <a:pt x="1858" y="2309"/>
                    <a:pt x="1842" y="2265"/>
                  </a:cubicBezTo>
                  <a:cubicBezTo>
                    <a:pt x="1803" y="2157"/>
                    <a:pt x="1954" y="1964"/>
                    <a:pt x="2108" y="1859"/>
                  </a:cubicBezTo>
                  <a:cubicBezTo>
                    <a:pt x="2272" y="1751"/>
                    <a:pt x="2486" y="1131"/>
                    <a:pt x="2500" y="974"/>
                  </a:cubicBezTo>
                  <a:cubicBezTo>
                    <a:pt x="2446" y="936"/>
                    <a:pt x="2246" y="917"/>
                    <a:pt x="2043" y="917"/>
                  </a:cubicBezTo>
                  <a:cubicBezTo>
                    <a:pt x="1850" y="917"/>
                    <a:pt x="1655" y="934"/>
                    <a:pt x="1583" y="970"/>
                  </a:cubicBezTo>
                  <a:cubicBezTo>
                    <a:pt x="1550" y="987"/>
                    <a:pt x="1513" y="995"/>
                    <a:pt x="1477" y="995"/>
                  </a:cubicBezTo>
                  <a:cubicBezTo>
                    <a:pt x="1429" y="995"/>
                    <a:pt x="1381" y="980"/>
                    <a:pt x="1341" y="953"/>
                  </a:cubicBezTo>
                  <a:cubicBezTo>
                    <a:pt x="1282" y="918"/>
                    <a:pt x="1250" y="855"/>
                    <a:pt x="1254" y="785"/>
                  </a:cubicBezTo>
                  <a:cubicBezTo>
                    <a:pt x="1261" y="732"/>
                    <a:pt x="1296" y="690"/>
                    <a:pt x="1345" y="672"/>
                  </a:cubicBezTo>
                  <a:cubicBezTo>
                    <a:pt x="1481" y="616"/>
                    <a:pt x="1723" y="357"/>
                    <a:pt x="1716" y="291"/>
                  </a:cubicBezTo>
                  <a:cubicBezTo>
                    <a:pt x="1705" y="217"/>
                    <a:pt x="1751" y="154"/>
                    <a:pt x="1789" y="105"/>
                  </a:cubicBezTo>
                  <a:cubicBezTo>
                    <a:pt x="1845" y="28"/>
                    <a:pt x="1838" y="21"/>
                    <a:pt x="1821" y="7"/>
                  </a:cubicBezTo>
                  <a:lnTo>
                    <a:pt x="18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2" name="Google Shape;6222;p53"/>
            <p:cNvSpPr/>
            <p:nvPr/>
          </p:nvSpPr>
          <p:spPr>
            <a:xfrm>
              <a:off x="1996287" y="1548177"/>
              <a:ext cx="3965" cy="4861"/>
            </a:xfrm>
            <a:custGeom>
              <a:avLst/>
              <a:gdLst/>
              <a:ahLst/>
              <a:cxnLst/>
              <a:rect l="l" t="t" r="r" b="b"/>
              <a:pathLst>
                <a:path w="292" h="358" extrusionOk="0">
                  <a:moveTo>
                    <a:pt x="288" y="0"/>
                  </a:moveTo>
                  <a:lnTo>
                    <a:pt x="288" y="0"/>
                  </a:lnTo>
                  <a:cubicBezTo>
                    <a:pt x="214" y="28"/>
                    <a:pt x="39" y="252"/>
                    <a:pt x="1" y="358"/>
                  </a:cubicBezTo>
                  <a:cubicBezTo>
                    <a:pt x="109" y="329"/>
                    <a:pt x="228" y="196"/>
                    <a:pt x="274" y="84"/>
                  </a:cubicBezTo>
                  <a:cubicBezTo>
                    <a:pt x="284" y="56"/>
                    <a:pt x="291" y="28"/>
                    <a:pt x="28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3" name="Google Shape;6223;p53"/>
            <p:cNvSpPr/>
            <p:nvPr/>
          </p:nvSpPr>
          <p:spPr>
            <a:xfrm>
              <a:off x="1989118" y="1581876"/>
              <a:ext cx="16646" cy="10848"/>
            </a:xfrm>
            <a:custGeom>
              <a:avLst/>
              <a:gdLst/>
              <a:ahLst/>
              <a:cxnLst/>
              <a:rect l="l" t="t" r="r" b="b"/>
              <a:pathLst>
                <a:path w="1226" h="799" extrusionOk="0">
                  <a:moveTo>
                    <a:pt x="773" y="1"/>
                  </a:moveTo>
                  <a:cubicBezTo>
                    <a:pt x="708" y="1"/>
                    <a:pt x="632" y="36"/>
                    <a:pt x="536" y="85"/>
                  </a:cubicBezTo>
                  <a:cubicBezTo>
                    <a:pt x="462" y="123"/>
                    <a:pt x="382" y="155"/>
                    <a:pt x="301" y="172"/>
                  </a:cubicBezTo>
                  <a:lnTo>
                    <a:pt x="301" y="176"/>
                  </a:lnTo>
                  <a:cubicBezTo>
                    <a:pt x="298" y="186"/>
                    <a:pt x="294" y="197"/>
                    <a:pt x="291" y="211"/>
                  </a:cubicBezTo>
                  <a:cubicBezTo>
                    <a:pt x="287" y="225"/>
                    <a:pt x="280" y="235"/>
                    <a:pt x="277" y="249"/>
                  </a:cubicBezTo>
                  <a:lnTo>
                    <a:pt x="277" y="256"/>
                  </a:lnTo>
                  <a:cubicBezTo>
                    <a:pt x="270" y="267"/>
                    <a:pt x="266" y="281"/>
                    <a:pt x="263" y="291"/>
                  </a:cubicBezTo>
                  <a:lnTo>
                    <a:pt x="259" y="298"/>
                  </a:lnTo>
                  <a:cubicBezTo>
                    <a:pt x="252" y="312"/>
                    <a:pt x="249" y="323"/>
                    <a:pt x="242" y="337"/>
                  </a:cubicBezTo>
                  <a:lnTo>
                    <a:pt x="242" y="340"/>
                  </a:lnTo>
                  <a:cubicBezTo>
                    <a:pt x="235" y="351"/>
                    <a:pt x="231" y="365"/>
                    <a:pt x="224" y="375"/>
                  </a:cubicBezTo>
                  <a:lnTo>
                    <a:pt x="221" y="379"/>
                  </a:lnTo>
                  <a:cubicBezTo>
                    <a:pt x="214" y="389"/>
                    <a:pt x="207" y="400"/>
                    <a:pt x="200" y="410"/>
                  </a:cubicBezTo>
                  <a:lnTo>
                    <a:pt x="196" y="417"/>
                  </a:lnTo>
                  <a:cubicBezTo>
                    <a:pt x="189" y="428"/>
                    <a:pt x="179" y="435"/>
                    <a:pt x="172" y="445"/>
                  </a:cubicBezTo>
                  <a:lnTo>
                    <a:pt x="168" y="449"/>
                  </a:lnTo>
                  <a:cubicBezTo>
                    <a:pt x="158" y="459"/>
                    <a:pt x="151" y="466"/>
                    <a:pt x="140" y="473"/>
                  </a:cubicBezTo>
                  <a:cubicBezTo>
                    <a:pt x="74" y="526"/>
                    <a:pt x="28" y="596"/>
                    <a:pt x="0" y="676"/>
                  </a:cubicBezTo>
                  <a:cubicBezTo>
                    <a:pt x="53" y="694"/>
                    <a:pt x="105" y="715"/>
                    <a:pt x="154" y="746"/>
                  </a:cubicBezTo>
                  <a:cubicBezTo>
                    <a:pt x="186" y="767"/>
                    <a:pt x="221" y="785"/>
                    <a:pt x="256" y="799"/>
                  </a:cubicBezTo>
                  <a:cubicBezTo>
                    <a:pt x="270" y="711"/>
                    <a:pt x="312" y="568"/>
                    <a:pt x="424" y="536"/>
                  </a:cubicBezTo>
                  <a:cubicBezTo>
                    <a:pt x="438" y="533"/>
                    <a:pt x="452" y="531"/>
                    <a:pt x="466" y="531"/>
                  </a:cubicBezTo>
                  <a:cubicBezTo>
                    <a:pt x="536" y="531"/>
                    <a:pt x="608" y="576"/>
                    <a:pt x="686" y="669"/>
                  </a:cubicBezTo>
                  <a:cubicBezTo>
                    <a:pt x="697" y="680"/>
                    <a:pt x="707" y="690"/>
                    <a:pt x="718" y="704"/>
                  </a:cubicBezTo>
                  <a:lnTo>
                    <a:pt x="725" y="711"/>
                  </a:lnTo>
                  <a:lnTo>
                    <a:pt x="753" y="739"/>
                  </a:lnTo>
                  <a:lnTo>
                    <a:pt x="763" y="746"/>
                  </a:lnTo>
                  <a:cubicBezTo>
                    <a:pt x="777" y="760"/>
                    <a:pt x="788" y="771"/>
                    <a:pt x="805" y="781"/>
                  </a:cubicBezTo>
                  <a:cubicBezTo>
                    <a:pt x="858" y="739"/>
                    <a:pt x="914" y="708"/>
                    <a:pt x="980" y="687"/>
                  </a:cubicBezTo>
                  <a:cubicBezTo>
                    <a:pt x="1058" y="662"/>
                    <a:pt x="1128" y="620"/>
                    <a:pt x="1191" y="571"/>
                  </a:cubicBezTo>
                  <a:cubicBezTo>
                    <a:pt x="1215" y="550"/>
                    <a:pt x="1226" y="522"/>
                    <a:pt x="1226" y="494"/>
                  </a:cubicBezTo>
                  <a:cubicBezTo>
                    <a:pt x="1226" y="375"/>
                    <a:pt x="1036" y="193"/>
                    <a:pt x="886" y="50"/>
                  </a:cubicBezTo>
                  <a:cubicBezTo>
                    <a:pt x="852" y="15"/>
                    <a:pt x="815" y="1"/>
                    <a:pt x="7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4" name="Google Shape;6224;p53"/>
            <p:cNvSpPr/>
            <p:nvPr/>
          </p:nvSpPr>
          <p:spPr>
            <a:xfrm>
              <a:off x="2038310" y="1522800"/>
              <a:ext cx="2009" cy="5621"/>
            </a:xfrm>
            <a:custGeom>
              <a:avLst/>
              <a:gdLst/>
              <a:ahLst/>
              <a:cxnLst/>
              <a:rect l="l" t="t" r="r" b="b"/>
              <a:pathLst>
                <a:path w="148" h="414" extrusionOk="0">
                  <a:moveTo>
                    <a:pt x="114" y="1"/>
                  </a:moveTo>
                  <a:cubicBezTo>
                    <a:pt x="113" y="1"/>
                    <a:pt x="111" y="2"/>
                    <a:pt x="109" y="3"/>
                  </a:cubicBezTo>
                  <a:cubicBezTo>
                    <a:pt x="81" y="10"/>
                    <a:pt x="60" y="45"/>
                    <a:pt x="50" y="73"/>
                  </a:cubicBezTo>
                  <a:cubicBezTo>
                    <a:pt x="11" y="182"/>
                    <a:pt x="1" y="298"/>
                    <a:pt x="18" y="413"/>
                  </a:cubicBezTo>
                  <a:cubicBezTo>
                    <a:pt x="95" y="270"/>
                    <a:pt x="148" y="45"/>
                    <a:pt x="120" y="3"/>
                  </a:cubicBezTo>
                  <a:cubicBezTo>
                    <a:pt x="118" y="2"/>
                    <a:pt x="116" y="1"/>
                    <a:pt x="1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5" name="Google Shape;6225;p53"/>
            <p:cNvSpPr/>
            <p:nvPr/>
          </p:nvSpPr>
          <p:spPr>
            <a:xfrm>
              <a:off x="1993015" y="1584252"/>
              <a:ext cx="149" cy="543"/>
            </a:xfrm>
            <a:custGeom>
              <a:avLst/>
              <a:gdLst/>
              <a:ahLst/>
              <a:cxnLst/>
              <a:rect l="l" t="t" r="r" b="b"/>
              <a:pathLst>
                <a:path w="11" h="40" extrusionOk="0">
                  <a:moveTo>
                    <a:pt x="11" y="1"/>
                  </a:moveTo>
                  <a:cubicBezTo>
                    <a:pt x="7" y="11"/>
                    <a:pt x="4" y="25"/>
                    <a:pt x="0" y="39"/>
                  </a:cubicBezTo>
                  <a:cubicBezTo>
                    <a:pt x="7" y="25"/>
                    <a:pt x="11" y="11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6" name="Google Shape;6226;p53"/>
            <p:cNvSpPr/>
            <p:nvPr/>
          </p:nvSpPr>
          <p:spPr>
            <a:xfrm>
              <a:off x="1992105" y="1586533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6"/>
                  </a:moveTo>
                  <a:cubicBezTo>
                    <a:pt x="8" y="22"/>
                    <a:pt x="11" y="11"/>
                    <a:pt x="18" y="1"/>
                  </a:cubicBezTo>
                  <a:cubicBezTo>
                    <a:pt x="11" y="11"/>
                    <a:pt x="8" y="22"/>
                    <a:pt x="1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7" name="Google Shape;6227;p53"/>
            <p:cNvSpPr/>
            <p:nvPr/>
          </p:nvSpPr>
          <p:spPr>
            <a:xfrm>
              <a:off x="1992866" y="1584782"/>
              <a:ext cx="163" cy="489"/>
            </a:xfrm>
            <a:custGeom>
              <a:avLst/>
              <a:gdLst/>
              <a:ahLst/>
              <a:cxnLst/>
              <a:rect l="l" t="t" r="r" b="b"/>
              <a:pathLst>
                <a:path w="12" h="36" extrusionOk="0">
                  <a:moveTo>
                    <a:pt x="11" y="0"/>
                  </a:moveTo>
                  <a:cubicBezTo>
                    <a:pt x="8" y="11"/>
                    <a:pt x="4" y="25"/>
                    <a:pt x="1" y="35"/>
                  </a:cubicBezTo>
                  <a:cubicBezTo>
                    <a:pt x="4" y="25"/>
                    <a:pt x="11" y="1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8" name="Google Shape;6228;p53"/>
            <p:cNvSpPr/>
            <p:nvPr/>
          </p:nvSpPr>
          <p:spPr>
            <a:xfrm>
              <a:off x="1991820" y="158706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22" y="0"/>
                  </a:moveTo>
                  <a:cubicBezTo>
                    <a:pt x="11" y="11"/>
                    <a:pt x="4" y="21"/>
                    <a:pt x="1" y="32"/>
                  </a:cubicBezTo>
                  <a:cubicBezTo>
                    <a:pt x="8" y="21"/>
                    <a:pt x="15" y="11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9" name="Google Shape;6229;p53"/>
            <p:cNvSpPr/>
            <p:nvPr/>
          </p:nvSpPr>
          <p:spPr>
            <a:xfrm>
              <a:off x="1992390" y="1585963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8" y="1"/>
                  </a:moveTo>
                  <a:cubicBezTo>
                    <a:pt x="11" y="11"/>
                    <a:pt x="4" y="25"/>
                    <a:pt x="1" y="36"/>
                  </a:cubicBezTo>
                  <a:cubicBezTo>
                    <a:pt x="8" y="25"/>
                    <a:pt x="11" y="1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0" name="Google Shape;6230;p53"/>
            <p:cNvSpPr/>
            <p:nvPr/>
          </p:nvSpPr>
          <p:spPr>
            <a:xfrm>
              <a:off x="1992635" y="1585352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39"/>
                  </a:moveTo>
                  <a:cubicBezTo>
                    <a:pt x="7" y="25"/>
                    <a:pt x="11" y="14"/>
                    <a:pt x="14" y="0"/>
                  </a:cubicBezTo>
                  <a:cubicBezTo>
                    <a:pt x="11" y="14"/>
                    <a:pt x="7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1" name="Google Shape;6231;p53"/>
            <p:cNvSpPr/>
            <p:nvPr/>
          </p:nvSpPr>
          <p:spPr>
            <a:xfrm>
              <a:off x="1998432" y="1591000"/>
              <a:ext cx="434" cy="489"/>
            </a:xfrm>
            <a:custGeom>
              <a:avLst/>
              <a:gdLst/>
              <a:ahLst/>
              <a:cxnLst/>
              <a:rect l="l" t="t" r="r" b="b"/>
              <a:pathLst>
                <a:path w="32" h="36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11"/>
                    <a:pt x="18" y="25"/>
                    <a:pt x="32" y="36"/>
                  </a:cubicBezTo>
                  <a:cubicBezTo>
                    <a:pt x="21" y="25"/>
                    <a:pt x="11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2" name="Google Shape;6232;p53"/>
            <p:cNvSpPr/>
            <p:nvPr/>
          </p:nvSpPr>
          <p:spPr>
            <a:xfrm>
              <a:off x="1999478" y="1592046"/>
              <a:ext cx="530" cy="489"/>
            </a:xfrm>
            <a:custGeom>
              <a:avLst/>
              <a:gdLst/>
              <a:ahLst/>
              <a:cxnLst/>
              <a:rect l="l" t="t" r="r" b="b"/>
              <a:pathLst>
                <a:path w="39" h="36" extrusionOk="0">
                  <a:moveTo>
                    <a:pt x="39" y="36"/>
                  </a:moveTo>
                  <a:lnTo>
                    <a:pt x="39" y="36"/>
                  </a:lnTo>
                  <a:cubicBezTo>
                    <a:pt x="25" y="25"/>
                    <a:pt x="11" y="15"/>
                    <a:pt x="0" y="1"/>
                  </a:cubicBezTo>
                  <a:cubicBezTo>
                    <a:pt x="11" y="15"/>
                    <a:pt x="25" y="25"/>
                    <a:pt x="39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3" name="Google Shape;6233;p53"/>
            <p:cNvSpPr/>
            <p:nvPr/>
          </p:nvSpPr>
          <p:spPr>
            <a:xfrm>
              <a:off x="1990965" y="158801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1" y="25"/>
                  </a:moveTo>
                  <a:cubicBezTo>
                    <a:pt x="11" y="18"/>
                    <a:pt x="18" y="7"/>
                    <a:pt x="29" y="0"/>
                  </a:cubicBezTo>
                  <a:cubicBezTo>
                    <a:pt x="18" y="7"/>
                    <a:pt x="1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4" name="Google Shape;6234;p53"/>
            <p:cNvSpPr/>
            <p:nvPr/>
          </p:nvSpPr>
          <p:spPr>
            <a:xfrm>
              <a:off x="1998948" y="1591570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9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5" name="Google Shape;6235;p53"/>
            <p:cNvSpPr/>
            <p:nvPr/>
          </p:nvSpPr>
          <p:spPr>
            <a:xfrm>
              <a:off x="1991399" y="1587579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1"/>
                  </a:moveTo>
                  <a:cubicBezTo>
                    <a:pt x="18" y="11"/>
                    <a:pt x="11" y="18"/>
                    <a:pt x="0" y="29"/>
                  </a:cubicBezTo>
                  <a:cubicBezTo>
                    <a:pt x="11" y="18"/>
                    <a:pt x="18" y="11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6" name="Google Shape;6236;p53"/>
            <p:cNvSpPr/>
            <p:nvPr/>
          </p:nvSpPr>
          <p:spPr>
            <a:xfrm>
              <a:off x="2108940" y="1555794"/>
              <a:ext cx="19932" cy="28906"/>
            </a:xfrm>
            <a:custGeom>
              <a:avLst/>
              <a:gdLst/>
              <a:ahLst/>
              <a:cxnLst/>
              <a:rect l="l" t="t" r="r" b="b"/>
              <a:pathLst>
                <a:path w="1468" h="2129" extrusionOk="0">
                  <a:moveTo>
                    <a:pt x="1190" y="0"/>
                  </a:moveTo>
                  <a:cubicBezTo>
                    <a:pt x="1168" y="0"/>
                    <a:pt x="1147" y="5"/>
                    <a:pt x="1128" y="14"/>
                  </a:cubicBezTo>
                  <a:cubicBezTo>
                    <a:pt x="1093" y="28"/>
                    <a:pt x="981" y="73"/>
                    <a:pt x="971" y="189"/>
                  </a:cubicBezTo>
                  <a:cubicBezTo>
                    <a:pt x="946" y="395"/>
                    <a:pt x="775" y="399"/>
                    <a:pt x="684" y="402"/>
                  </a:cubicBezTo>
                  <a:lnTo>
                    <a:pt x="652" y="402"/>
                  </a:lnTo>
                  <a:cubicBezTo>
                    <a:pt x="680" y="444"/>
                    <a:pt x="750" y="549"/>
                    <a:pt x="652" y="644"/>
                  </a:cubicBezTo>
                  <a:cubicBezTo>
                    <a:pt x="624" y="668"/>
                    <a:pt x="589" y="682"/>
                    <a:pt x="554" y="682"/>
                  </a:cubicBezTo>
                  <a:cubicBezTo>
                    <a:pt x="494" y="679"/>
                    <a:pt x="456" y="637"/>
                    <a:pt x="417" y="591"/>
                  </a:cubicBezTo>
                  <a:cubicBezTo>
                    <a:pt x="379" y="549"/>
                    <a:pt x="340" y="504"/>
                    <a:pt x="284" y="500"/>
                  </a:cubicBezTo>
                  <a:cubicBezTo>
                    <a:pt x="282" y="500"/>
                    <a:pt x="279" y="500"/>
                    <a:pt x="276" y="500"/>
                  </a:cubicBezTo>
                  <a:cubicBezTo>
                    <a:pt x="228" y="500"/>
                    <a:pt x="194" y="557"/>
                    <a:pt x="148" y="693"/>
                  </a:cubicBezTo>
                  <a:cubicBezTo>
                    <a:pt x="130" y="752"/>
                    <a:pt x="102" y="812"/>
                    <a:pt x="71" y="868"/>
                  </a:cubicBezTo>
                  <a:cubicBezTo>
                    <a:pt x="1" y="973"/>
                    <a:pt x="46" y="1235"/>
                    <a:pt x="74" y="1407"/>
                  </a:cubicBezTo>
                  <a:lnTo>
                    <a:pt x="81" y="1442"/>
                  </a:lnTo>
                  <a:cubicBezTo>
                    <a:pt x="102" y="1515"/>
                    <a:pt x="137" y="1582"/>
                    <a:pt x="190" y="1638"/>
                  </a:cubicBezTo>
                  <a:cubicBezTo>
                    <a:pt x="256" y="1725"/>
                    <a:pt x="333" y="1830"/>
                    <a:pt x="288" y="1953"/>
                  </a:cubicBezTo>
                  <a:cubicBezTo>
                    <a:pt x="277" y="1992"/>
                    <a:pt x="305" y="2048"/>
                    <a:pt x="347" y="2107"/>
                  </a:cubicBezTo>
                  <a:lnTo>
                    <a:pt x="694" y="2107"/>
                  </a:lnTo>
                  <a:lnTo>
                    <a:pt x="712" y="2111"/>
                  </a:lnTo>
                  <a:lnTo>
                    <a:pt x="726" y="2111"/>
                  </a:lnTo>
                  <a:lnTo>
                    <a:pt x="743" y="2114"/>
                  </a:lnTo>
                  <a:lnTo>
                    <a:pt x="754" y="2114"/>
                  </a:lnTo>
                  <a:lnTo>
                    <a:pt x="771" y="2118"/>
                  </a:lnTo>
                  <a:lnTo>
                    <a:pt x="782" y="2118"/>
                  </a:lnTo>
                  <a:lnTo>
                    <a:pt x="799" y="2121"/>
                  </a:lnTo>
                  <a:lnTo>
                    <a:pt x="806" y="2121"/>
                  </a:lnTo>
                  <a:lnTo>
                    <a:pt x="831" y="2128"/>
                  </a:lnTo>
                  <a:lnTo>
                    <a:pt x="880" y="2128"/>
                  </a:lnTo>
                  <a:lnTo>
                    <a:pt x="852" y="2097"/>
                  </a:lnTo>
                  <a:cubicBezTo>
                    <a:pt x="782" y="2062"/>
                    <a:pt x="715" y="1999"/>
                    <a:pt x="726" y="1915"/>
                  </a:cubicBezTo>
                  <a:cubicBezTo>
                    <a:pt x="729" y="1865"/>
                    <a:pt x="761" y="1823"/>
                    <a:pt x="803" y="1809"/>
                  </a:cubicBezTo>
                  <a:cubicBezTo>
                    <a:pt x="819" y="1803"/>
                    <a:pt x="836" y="1801"/>
                    <a:pt x="853" y="1801"/>
                  </a:cubicBezTo>
                  <a:cubicBezTo>
                    <a:pt x="957" y="1801"/>
                    <a:pt x="1079" y="1896"/>
                    <a:pt x="1118" y="1929"/>
                  </a:cubicBezTo>
                  <a:cubicBezTo>
                    <a:pt x="1170" y="1971"/>
                    <a:pt x="1235" y="1991"/>
                    <a:pt x="1301" y="1991"/>
                  </a:cubicBezTo>
                  <a:cubicBezTo>
                    <a:pt x="1323" y="1991"/>
                    <a:pt x="1345" y="1989"/>
                    <a:pt x="1366" y="1985"/>
                  </a:cubicBezTo>
                  <a:cubicBezTo>
                    <a:pt x="1394" y="1974"/>
                    <a:pt x="1398" y="1964"/>
                    <a:pt x="1398" y="1960"/>
                  </a:cubicBezTo>
                  <a:cubicBezTo>
                    <a:pt x="1405" y="1911"/>
                    <a:pt x="1373" y="1729"/>
                    <a:pt x="1321" y="1690"/>
                  </a:cubicBezTo>
                  <a:cubicBezTo>
                    <a:pt x="1319" y="1687"/>
                    <a:pt x="1316" y="1685"/>
                    <a:pt x="1313" y="1685"/>
                  </a:cubicBezTo>
                  <a:cubicBezTo>
                    <a:pt x="1309" y="1685"/>
                    <a:pt x="1305" y="1687"/>
                    <a:pt x="1300" y="1690"/>
                  </a:cubicBezTo>
                  <a:cubicBezTo>
                    <a:pt x="1228" y="1727"/>
                    <a:pt x="1174" y="1743"/>
                    <a:pt x="1129" y="1743"/>
                  </a:cubicBezTo>
                  <a:cubicBezTo>
                    <a:pt x="1057" y="1743"/>
                    <a:pt x="1011" y="1701"/>
                    <a:pt x="964" y="1634"/>
                  </a:cubicBezTo>
                  <a:cubicBezTo>
                    <a:pt x="904" y="1547"/>
                    <a:pt x="971" y="1456"/>
                    <a:pt x="1030" y="1372"/>
                  </a:cubicBezTo>
                  <a:cubicBezTo>
                    <a:pt x="1062" y="1333"/>
                    <a:pt x="1090" y="1288"/>
                    <a:pt x="1107" y="1239"/>
                  </a:cubicBezTo>
                  <a:cubicBezTo>
                    <a:pt x="1142" y="1134"/>
                    <a:pt x="1254" y="1109"/>
                    <a:pt x="1342" y="1088"/>
                  </a:cubicBezTo>
                  <a:cubicBezTo>
                    <a:pt x="1380" y="1081"/>
                    <a:pt x="1450" y="1064"/>
                    <a:pt x="1457" y="1050"/>
                  </a:cubicBezTo>
                  <a:cubicBezTo>
                    <a:pt x="1457" y="1050"/>
                    <a:pt x="1468" y="990"/>
                    <a:pt x="1230" y="875"/>
                  </a:cubicBezTo>
                  <a:cubicBezTo>
                    <a:pt x="1146" y="833"/>
                    <a:pt x="1125" y="703"/>
                    <a:pt x="1121" y="665"/>
                  </a:cubicBezTo>
                  <a:cubicBezTo>
                    <a:pt x="1118" y="623"/>
                    <a:pt x="1107" y="465"/>
                    <a:pt x="1202" y="385"/>
                  </a:cubicBezTo>
                  <a:cubicBezTo>
                    <a:pt x="1233" y="357"/>
                    <a:pt x="1272" y="259"/>
                    <a:pt x="1279" y="147"/>
                  </a:cubicBezTo>
                  <a:cubicBezTo>
                    <a:pt x="1286" y="101"/>
                    <a:pt x="1275" y="52"/>
                    <a:pt x="1254" y="14"/>
                  </a:cubicBezTo>
                  <a:cubicBezTo>
                    <a:pt x="1233" y="5"/>
                    <a:pt x="1211" y="0"/>
                    <a:pt x="119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7" name="Google Shape;6237;p53"/>
            <p:cNvSpPr/>
            <p:nvPr/>
          </p:nvSpPr>
          <p:spPr>
            <a:xfrm>
              <a:off x="2132850" y="1574558"/>
              <a:ext cx="8948" cy="12288"/>
            </a:xfrm>
            <a:custGeom>
              <a:avLst/>
              <a:gdLst/>
              <a:ahLst/>
              <a:cxnLst/>
              <a:rect l="l" t="t" r="r" b="b"/>
              <a:pathLst>
                <a:path w="659" h="905" extrusionOk="0">
                  <a:moveTo>
                    <a:pt x="389" y="0"/>
                  </a:moveTo>
                  <a:cubicBezTo>
                    <a:pt x="382" y="18"/>
                    <a:pt x="368" y="32"/>
                    <a:pt x="354" y="42"/>
                  </a:cubicBezTo>
                  <a:cubicBezTo>
                    <a:pt x="329" y="55"/>
                    <a:pt x="303" y="61"/>
                    <a:pt x="276" y="61"/>
                  </a:cubicBezTo>
                  <a:cubicBezTo>
                    <a:pt x="258" y="61"/>
                    <a:pt x="240" y="58"/>
                    <a:pt x="221" y="53"/>
                  </a:cubicBezTo>
                  <a:cubicBezTo>
                    <a:pt x="200" y="48"/>
                    <a:pt x="180" y="44"/>
                    <a:pt x="160" y="44"/>
                  </a:cubicBezTo>
                  <a:cubicBezTo>
                    <a:pt x="123" y="44"/>
                    <a:pt x="88" y="60"/>
                    <a:pt x="46" y="119"/>
                  </a:cubicBezTo>
                  <a:cubicBezTo>
                    <a:pt x="15" y="158"/>
                    <a:pt x="1" y="210"/>
                    <a:pt x="11" y="263"/>
                  </a:cubicBezTo>
                  <a:cubicBezTo>
                    <a:pt x="36" y="382"/>
                    <a:pt x="179" y="487"/>
                    <a:pt x="239" y="526"/>
                  </a:cubicBezTo>
                  <a:cubicBezTo>
                    <a:pt x="302" y="557"/>
                    <a:pt x="330" y="627"/>
                    <a:pt x="305" y="694"/>
                  </a:cubicBezTo>
                  <a:cubicBezTo>
                    <a:pt x="279" y="759"/>
                    <a:pt x="194" y="799"/>
                    <a:pt x="101" y="799"/>
                  </a:cubicBezTo>
                  <a:cubicBezTo>
                    <a:pt x="84" y="799"/>
                    <a:pt x="67" y="798"/>
                    <a:pt x="50" y="795"/>
                  </a:cubicBezTo>
                  <a:lnTo>
                    <a:pt x="50" y="795"/>
                  </a:lnTo>
                  <a:cubicBezTo>
                    <a:pt x="81" y="855"/>
                    <a:pt x="141" y="893"/>
                    <a:pt x="207" y="904"/>
                  </a:cubicBezTo>
                  <a:cubicBezTo>
                    <a:pt x="212" y="904"/>
                    <a:pt x="217" y="905"/>
                    <a:pt x="222" y="905"/>
                  </a:cubicBezTo>
                  <a:cubicBezTo>
                    <a:pt x="262" y="905"/>
                    <a:pt x="312" y="880"/>
                    <a:pt x="361" y="830"/>
                  </a:cubicBezTo>
                  <a:cubicBezTo>
                    <a:pt x="473" y="722"/>
                    <a:pt x="533" y="568"/>
                    <a:pt x="529" y="533"/>
                  </a:cubicBezTo>
                  <a:cubicBezTo>
                    <a:pt x="515" y="473"/>
                    <a:pt x="543" y="382"/>
                    <a:pt x="599" y="224"/>
                  </a:cubicBezTo>
                  <a:cubicBezTo>
                    <a:pt x="617" y="172"/>
                    <a:pt x="641" y="95"/>
                    <a:pt x="659" y="39"/>
                  </a:cubicBezTo>
                  <a:lnTo>
                    <a:pt x="659" y="39"/>
                  </a:lnTo>
                  <a:cubicBezTo>
                    <a:pt x="634" y="77"/>
                    <a:pt x="592" y="105"/>
                    <a:pt x="547" y="119"/>
                  </a:cubicBezTo>
                  <a:cubicBezTo>
                    <a:pt x="539" y="121"/>
                    <a:pt x="532" y="122"/>
                    <a:pt x="525" y="122"/>
                  </a:cubicBezTo>
                  <a:cubicBezTo>
                    <a:pt x="464" y="122"/>
                    <a:pt x="424" y="60"/>
                    <a:pt x="38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8" name="Google Shape;6238;p53"/>
            <p:cNvSpPr/>
            <p:nvPr/>
          </p:nvSpPr>
          <p:spPr>
            <a:xfrm>
              <a:off x="2116217" y="158453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9" name="Google Shape;6239;p53"/>
            <p:cNvSpPr/>
            <p:nvPr/>
          </p:nvSpPr>
          <p:spPr>
            <a:xfrm>
              <a:off x="2117168" y="158463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0" name="Google Shape;6240;p53"/>
            <p:cNvSpPr/>
            <p:nvPr/>
          </p:nvSpPr>
          <p:spPr>
            <a:xfrm>
              <a:off x="2115267" y="1584496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1" name="Google Shape;6241;p53"/>
            <p:cNvSpPr/>
            <p:nvPr/>
          </p:nvSpPr>
          <p:spPr>
            <a:xfrm>
              <a:off x="2115742" y="158453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2" name="Google Shape;6242;p53"/>
            <p:cNvSpPr/>
            <p:nvPr/>
          </p:nvSpPr>
          <p:spPr>
            <a:xfrm>
              <a:off x="2114357" y="1584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3" name="Google Shape;6243;p53"/>
            <p:cNvSpPr/>
            <p:nvPr/>
          </p:nvSpPr>
          <p:spPr>
            <a:xfrm>
              <a:off x="2115022" y="15844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4" name="Google Shape;6244;p53"/>
            <p:cNvSpPr/>
            <p:nvPr/>
          </p:nvSpPr>
          <p:spPr>
            <a:xfrm>
              <a:off x="2117643" y="1584687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5" name="Google Shape;6245;p53"/>
            <p:cNvSpPr/>
            <p:nvPr/>
          </p:nvSpPr>
          <p:spPr>
            <a:xfrm>
              <a:off x="2120263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6" name="Google Shape;6246;p53"/>
            <p:cNvSpPr/>
            <p:nvPr/>
          </p:nvSpPr>
          <p:spPr>
            <a:xfrm>
              <a:off x="2120874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7" name="Google Shape;6247;p53"/>
            <p:cNvSpPr/>
            <p:nvPr/>
          </p:nvSpPr>
          <p:spPr>
            <a:xfrm>
              <a:off x="2120399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8" name="Google Shape;6248;p53"/>
            <p:cNvSpPr/>
            <p:nvPr/>
          </p:nvSpPr>
          <p:spPr>
            <a:xfrm>
              <a:off x="2118118" y="158472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9" name="Google Shape;6249;p53"/>
            <p:cNvSpPr/>
            <p:nvPr/>
          </p:nvSpPr>
          <p:spPr>
            <a:xfrm>
              <a:off x="2118553" y="158478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0" name="Google Shape;6250;p53"/>
            <p:cNvSpPr/>
            <p:nvPr/>
          </p:nvSpPr>
          <p:spPr>
            <a:xfrm>
              <a:off x="2118973" y="158487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1" name="Google Shape;6251;p53"/>
            <p:cNvSpPr/>
            <p:nvPr/>
          </p:nvSpPr>
          <p:spPr>
            <a:xfrm>
              <a:off x="2119408" y="158491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2" name="Google Shape;6252;p53"/>
            <p:cNvSpPr/>
            <p:nvPr/>
          </p:nvSpPr>
          <p:spPr>
            <a:xfrm>
              <a:off x="2116692" y="158463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3" name="Google Shape;6253;p53"/>
            <p:cNvSpPr/>
            <p:nvPr/>
          </p:nvSpPr>
          <p:spPr>
            <a:xfrm>
              <a:off x="2119734" y="1585012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4" name="Google Shape;6254;p53"/>
            <p:cNvSpPr/>
            <p:nvPr/>
          </p:nvSpPr>
          <p:spPr>
            <a:xfrm>
              <a:off x="2113936" y="1584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5" name="Google Shape;6255;p53"/>
            <p:cNvSpPr/>
            <p:nvPr/>
          </p:nvSpPr>
          <p:spPr>
            <a:xfrm>
              <a:off x="2120644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6" name="Google Shape;6256;p53"/>
            <p:cNvSpPr/>
            <p:nvPr/>
          </p:nvSpPr>
          <p:spPr>
            <a:xfrm>
              <a:off x="2182285" y="1554259"/>
              <a:ext cx="4766" cy="7617"/>
            </a:xfrm>
            <a:custGeom>
              <a:avLst/>
              <a:gdLst/>
              <a:ahLst/>
              <a:cxnLst/>
              <a:rect l="l" t="t" r="r" b="b"/>
              <a:pathLst>
                <a:path w="351" h="561" extrusionOk="0">
                  <a:moveTo>
                    <a:pt x="330" y="1"/>
                  </a:moveTo>
                  <a:cubicBezTo>
                    <a:pt x="225" y="4"/>
                    <a:pt x="151" y="102"/>
                    <a:pt x="102" y="186"/>
                  </a:cubicBezTo>
                  <a:cubicBezTo>
                    <a:pt x="39" y="298"/>
                    <a:pt x="4" y="428"/>
                    <a:pt x="1" y="561"/>
                  </a:cubicBezTo>
                  <a:cubicBezTo>
                    <a:pt x="134" y="428"/>
                    <a:pt x="246" y="274"/>
                    <a:pt x="326" y="102"/>
                  </a:cubicBezTo>
                  <a:cubicBezTo>
                    <a:pt x="340" y="71"/>
                    <a:pt x="351" y="36"/>
                    <a:pt x="3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7" name="Google Shape;6257;p53"/>
            <p:cNvSpPr/>
            <p:nvPr/>
          </p:nvSpPr>
          <p:spPr>
            <a:xfrm>
              <a:off x="2133094" y="1420616"/>
              <a:ext cx="90752" cy="158463"/>
            </a:xfrm>
            <a:custGeom>
              <a:avLst/>
              <a:gdLst/>
              <a:ahLst/>
              <a:cxnLst/>
              <a:rect l="l" t="t" r="r" b="b"/>
              <a:pathLst>
                <a:path w="6684" h="11671" extrusionOk="0">
                  <a:moveTo>
                    <a:pt x="4929" y="0"/>
                  </a:moveTo>
                  <a:cubicBezTo>
                    <a:pt x="4914" y="0"/>
                    <a:pt x="4903" y="5"/>
                    <a:pt x="4894" y="10"/>
                  </a:cubicBezTo>
                  <a:cubicBezTo>
                    <a:pt x="4821" y="55"/>
                    <a:pt x="4779" y="234"/>
                    <a:pt x="4779" y="381"/>
                  </a:cubicBezTo>
                  <a:cubicBezTo>
                    <a:pt x="4786" y="475"/>
                    <a:pt x="4737" y="563"/>
                    <a:pt x="4653" y="605"/>
                  </a:cubicBezTo>
                  <a:cubicBezTo>
                    <a:pt x="4620" y="621"/>
                    <a:pt x="4583" y="629"/>
                    <a:pt x="4545" y="629"/>
                  </a:cubicBezTo>
                  <a:cubicBezTo>
                    <a:pt x="4467" y="629"/>
                    <a:pt x="4383" y="596"/>
                    <a:pt x="4310" y="535"/>
                  </a:cubicBezTo>
                  <a:cubicBezTo>
                    <a:pt x="4263" y="495"/>
                    <a:pt x="4211" y="488"/>
                    <a:pt x="4149" y="488"/>
                  </a:cubicBezTo>
                  <a:cubicBezTo>
                    <a:pt x="4128" y="488"/>
                    <a:pt x="4106" y="488"/>
                    <a:pt x="4082" y="489"/>
                  </a:cubicBezTo>
                  <a:cubicBezTo>
                    <a:pt x="4061" y="491"/>
                    <a:pt x="4040" y="492"/>
                    <a:pt x="4019" y="492"/>
                  </a:cubicBezTo>
                  <a:cubicBezTo>
                    <a:pt x="3928" y="492"/>
                    <a:pt x="3838" y="474"/>
                    <a:pt x="3753" y="440"/>
                  </a:cubicBezTo>
                  <a:cubicBezTo>
                    <a:pt x="3726" y="428"/>
                    <a:pt x="3711" y="426"/>
                    <a:pt x="3704" y="426"/>
                  </a:cubicBezTo>
                  <a:cubicBezTo>
                    <a:pt x="3702" y="426"/>
                    <a:pt x="3701" y="426"/>
                    <a:pt x="3701" y="426"/>
                  </a:cubicBezTo>
                  <a:cubicBezTo>
                    <a:pt x="3683" y="447"/>
                    <a:pt x="3697" y="577"/>
                    <a:pt x="3704" y="636"/>
                  </a:cubicBezTo>
                  <a:cubicBezTo>
                    <a:pt x="3711" y="678"/>
                    <a:pt x="3715" y="724"/>
                    <a:pt x="3715" y="766"/>
                  </a:cubicBezTo>
                  <a:cubicBezTo>
                    <a:pt x="3715" y="990"/>
                    <a:pt x="3403" y="990"/>
                    <a:pt x="3235" y="990"/>
                  </a:cubicBezTo>
                  <a:cubicBezTo>
                    <a:pt x="3102" y="990"/>
                    <a:pt x="2885" y="1105"/>
                    <a:pt x="2885" y="1235"/>
                  </a:cubicBezTo>
                  <a:cubicBezTo>
                    <a:pt x="2885" y="1347"/>
                    <a:pt x="2818" y="1427"/>
                    <a:pt x="2766" y="1494"/>
                  </a:cubicBezTo>
                  <a:cubicBezTo>
                    <a:pt x="2731" y="1540"/>
                    <a:pt x="2706" y="1575"/>
                    <a:pt x="2713" y="1585"/>
                  </a:cubicBezTo>
                  <a:cubicBezTo>
                    <a:pt x="2801" y="1701"/>
                    <a:pt x="2752" y="1827"/>
                    <a:pt x="2573" y="1963"/>
                  </a:cubicBezTo>
                  <a:cubicBezTo>
                    <a:pt x="2524" y="1998"/>
                    <a:pt x="2465" y="2103"/>
                    <a:pt x="2416" y="2187"/>
                  </a:cubicBezTo>
                  <a:cubicBezTo>
                    <a:pt x="2381" y="2254"/>
                    <a:pt x="2342" y="2317"/>
                    <a:pt x="2293" y="2373"/>
                  </a:cubicBezTo>
                  <a:cubicBezTo>
                    <a:pt x="2283" y="2383"/>
                    <a:pt x="2283" y="2397"/>
                    <a:pt x="2286" y="2439"/>
                  </a:cubicBezTo>
                  <a:cubicBezTo>
                    <a:pt x="2293" y="2509"/>
                    <a:pt x="2304" y="2611"/>
                    <a:pt x="2178" y="2691"/>
                  </a:cubicBezTo>
                  <a:cubicBezTo>
                    <a:pt x="2099" y="2741"/>
                    <a:pt x="2005" y="2765"/>
                    <a:pt x="1913" y="2765"/>
                  </a:cubicBezTo>
                  <a:cubicBezTo>
                    <a:pt x="1907" y="2765"/>
                    <a:pt x="1900" y="2765"/>
                    <a:pt x="1894" y="2765"/>
                  </a:cubicBezTo>
                  <a:cubicBezTo>
                    <a:pt x="1856" y="2765"/>
                    <a:pt x="1817" y="2768"/>
                    <a:pt x="1782" y="2782"/>
                  </a:cubicBezTo>
                  <a:cubicBezTo>
                    <a:pt x="1779" y="2782"/>
                    <a:pt x="1775" y="2786"/>
                    <a:pt x="1775" y="2789"/>
                  </a:cubicBezTo>
                  <a:cubicBezTo>
                    <a:pt x="1761" y="2807"/>
                    <a:pt x="1754" y="2831"/>
                    <a:pt x="1758" y="2856"/>
                  </a:cubicBezTo>
                  <a:cubicBezTo>
                    <a:pt x="1758" y="2880"/>
                    <a:pt x="1758" y="2905"/>
                    <a:pt x="1761" y="2936"/>
                  </a:cubicBezTo>
                  <a:lnTo>
                    <a:pt x="1765" y="2964"/>
                  </a:lnTo>
                  <a:cubicBezTo>
                    <a:pt x="1775" y="3059"/>
                    <a:pt x="1775" y="3150"/>
                    <a:pt x="1768" y="3244"/>
                  </a:cubicBezTo>
                  <a:cubicBezTo>
                    <a:pt x="1740" y="3482"/>
                    <a:pt x="1569" y="3735"/>
                    <a:pt x="1390" y="3976"/>
                  </a:cubicBezTo>
                  <a:cubicBezTo>
                    <a:pt x="1355" y="4018"/>
                    <a:pt x="1341" y="4060"/>
                    <a:pt x="1348" y="4081"/>
                  </a:cubicBezTo>
                  <a:cubicBezTo>
                    <a:pt x="1359" y="4120"/>
                    <a:pt x="1436" y="4144"/>
                    <a:pt x="1474" y="4155"/>
                  </a:cubicBezTo>
                  <a:lnTo>
                    <a:pt x="1488" y="4158"/>
                  </a:lnTo>
                  <a:cubicBezTo>
                    <a:pt x="1527" y="4172"/>
                    <a:pt x="1558" y="4204"/>
                    <a:pt x="1576" y="4242"/>
                  </a:cubicBezTo>
                  <a:cubicBezTo>
                    <a:pt x="1607" y="4319"/>
                    <a:pt x="1590" y="4438"/>
                    <a:pt x="1527" y="4564"/>
                  </a:cubicBezTo>
                  <a:cubicBezTo>
                    <a:pt x="1481" y="4657"/>
                    <a:pt x="1408" y="4683"/>
                    <a:pt x="1334" y="4683"/>
                  </a:cubicBezTo>
                  <a:cubicBezTo>
                    <a:pt x="1265" y="4683"/>
                    <a:pt x="1196" y="4660"/>
                    <a:pt x="1149" y="4645"/>
                  </a:cubicBezTo>
                  <a:cubicBezTo>
                    <a:pt x="1124" y="4634"/>
                    <a:pt x="1103" y="4627"/>
                    <a:pt x="1086" y="4624"/>
                  </a:cubicBezTo>
                  <a:cubicBezTo>
                    <a:pt x="1081" y="4623"/>
                    <a:pt x="1075" y="4622"/>
                    <a:pt x="1069" y="4622"/>
                  </a:cubicBezTo>
                  <a:cubicBezTo>
                    <a:pt x="981" y="4622"/>
                    <a:pt x="747" y="4735"/>
                    <a:pt x="613" y="4960"/>
                  </a:cubicBezTo>
                  <a:cubicBezTo>
                    <a:pt x="469" y="5198"/>
                    <a:pt x="522" y="5334"/>
                    <a:pt x="564" y="5446"/>
                  </a:cubicBezTo>
                  <a:cubicBezTo>
                    <a:pt x="595" y="5516"/>
                    <a:pt x="574" y="5590"/>
                    <a:pt x="553" y="5660"/>
                  </a:cubicBezTo>
                  <a:cubicBezTo>
                    <a:pt x="525" y="5755"/>
                    <a:pt x="497" y="5853"/>
                    <a:pt x="564" y="5986"/>
                  </a:cubicBezTo>
                  <a:cubicBezTo>
                    <a:pt x="655" y="6168"/>
                    <a:pt x="613" y="6269"/>
                    <a:pt x="574" y="6360"/>
                  </a:cubicBezTo>
                  <a:cubicBezTo>
                    <a:pt x="550" y="6409"/>
                    <a:pt x="539" y="6469"/>
                    <a:pt x="543" y="6525"/>
                  </a:cubicBezTo>
                  <a:cubicBezTo>
                    <a:pt x="553" y="6595"/>
                    <a:pt x="606" y="6626"/>
                    <a:pt x="693" y="6672"/>
                  </a:cubicBezTo>
                  <a:cubicBezTo>
                    <a:pt x="777" y="6717"/>
                    <a:pt x="890" y="6777"/>
                    <a:pt x="907" y="6917"/>
                  </a:cubicBezTo>
                  <a:cubicBezTo>
                    <a:pt x="925" y="7011"/>
                    <a:pt x="900" y="7109"/>
                    <a:pt x="841" y="7183"/>
                  </a:cubicBezTo>
                  <a:cubicBezTo>
                    <a:pt x="788" y="7242"/>
                    <a:pt x="714" y="7274"/>
                    <a:pt x="637" y="7274"/>
                  </a:cubicBezTo>
                  <a:cubicBezTo>
                    <a:pt x="634" y="7295"/>
                    <a:pt x="634" y="7312"/>
                    <a:pt x="637" y="7330"/>
                  </a:cubicBezTo>
                  <a:cubicBezTo>
                    <a:pt x="644" y="7365"/>
                    <a:pt x="662" y="7393"/>
                    <a:pt x="690" y="7410"/>
                  </a:cubicBezTo>
                  <a:cubicBezTo>
                    <a:pt x="848" y="7491"/>
                    <a:pt x="802" y="7904"/>
                    <a:pt x="746" y="8020"/>
                  </a:cubicBezTo>
                  <a:cubicBezTo>
                    <a:pt x="700" y="8104"/>
                    <a:pt x="592" y="8107"/>
                    <a:pt x="494" y="8111"/>
                  </a:cubicBezTo>
                  <a:cubicBezTo>
                    <a:pt x="459" y="8111"/>
                    <a:pt x="424" y="8114"/>
                    <a:pt x="389" y="8118"/>
                  </a:cubicBezTo>
                  <a:cubicBezTo>
                    <a:pt x="403" y="8209"/>
                    <a:pt x="371" y="8317"/>
                    <a:pt x="347" y="8412"/>
                  </a:cubicBezTo>
                  <a:cubicBezTo>
                    <a:pt x="329" y="8461"/>
                    <a:pt x="319" y="8510"/>
                    <a:pt x="312" y="8562"/>
                  </a:cubicBezTo>
                  <a:cubicBezTo>
                    <a:pt x="312" y="8622"/>
                    <a:pt x="305" y="8933"/>
                    <a:pt x="189" y="8989"/>
                  </a:cubicBezTo>
                  <a:cubicBezTo>
                    <a:pt x="176" y="8998"/>
                    <a:pt x="160" y="9002"/>
                    <a:pt x="145" y="9002"/>
                  </a:cubicBezTo>
                  <a:cubicBezTo>
                    <a:pt x="121" y="9002"/>
                    <a:pt x="96" y="8992"/>
                    <a:pt x="77" y="8975"/>
                  </a:cubicBezTo>
                  <a:lnTo>
                    <a:pt x="70" y="8972"/>
                  </a:lnTo>
                  <a:lnTo>
                    <a:pt x="67" y="8972"/>
                  </a:lnTo>
                  <a:lnTo>
                    <a:pt x="60" y="8968"/>
                  </a:lnTo>
                  <a:lnTo>
                    <a:pt x="56" y="8968"/>
                  </a:lnTo>
                  <a:lnTo>
                    <a:pt x="39" y="8965"/>
                  </a:lnTo>
                  <a:lnTo>
                    <a:pt x="11" y="8965"/>
                  </a:lnTo>
                  <a:cubicBezTo>
                    <a:pt x="0" y="9154"/>
                    <a:pt x="84" y="9336"/>
                    <a:pt x="228" y="9455"/>
                  </a:cubicBezTo>
                  <a:cubicBezTo>
                    <a:pt x="343" y="9549"/>
                    <a:pt x="354" y="9668"/>
                    <a:pt x="361" y="9777"/>
                  </a:cubicBezTo>
                  <a:cubicBezTo>
                    <a:pt x="368" y="9865"/>
                    <a:pt x="371" y="9952"/>
                    <a:pt x="434" y="10033"/>
                  </a:cubicBezTo>
                  <a:cubicBezTo>
                    <a:pt x="494" y="10113"/>
                    <a:pt x="536" y="10201"/>
                    <a:pt x="564" y="10295"/>
                  </a:cubicBezTo>
                  <a:cubicBezTo>
                    <a:pt x="585" y="10379"/>
                    <a:pt x="634" y="10456"/>
                    <a:pt x="697" y="10512"/>
                  </a:cubicBezTo>
                  <a:cubicBezTo>
                    <a:pt x="886" y="10673"/>
                    <a:pt x="914" y="10782"/>
                    <a:pt x="827" y="10999"/>
                  </a:cubicBezTo>
                  <a:cubicBezTo>
                    <a:pt x="809" y="11051"/>
                    <a:pt x="812" y="11055"/>
                    <a:pt x="869" y="11083"/>
                  </a:cubicBezTo>
                  <a:cubicBezTo>
                    <a:pt x="911" y="11104"/>
                    <a:pt x="981" y="11135"/>
                    <a:pt x="988" y="11223"/>
                  </a:cubicBezTo>
                  <a:cubicBezTo>
                    <a:pt x="988" y="11275"/>
                    <a:pt x="984" y="11331"/>
                    <a:pt x="981" y="11384"/>
                  </a:cubicBezTo>
                  <a:cubicBezTo>
                    <a:pt x="970" y="11478"/>
                    <a:pt x="960" y="11601"/>
                    <a:pt x="988" y="11657"/>
                  </a:cubicBezTo>
                  <a:cubicBezTo>
                    <a:pt x="993" y="11666"/>
                    <a:pt x="995" y="11671"/>
                    <a:pt x="1009" y="11671"/>
                  </a:cubicBezTo>
                  <a:cubicBezTo>
                    <a:pt x="1023" y="11671"/>
                    <a:pt x="1047" y="11666"/>
                    <a:pt x="1096" y="11653"/>
                  </a:cubicBezTo>
                  <a:cubicBezTo>
                    <a:pt x="1180" y="11632"/>
                    <a:pt x="1268" y="11618"/>
                    <a:pt x="1355" y="11615"/>
                  </a:cubicBezTo>
                  <a:cubicBezTo>
                    <a:pt x="1359" y="11615"/>
                    <a:pt x="1364" y="11615"/>
                    <a:pt x="1368" y="11615"/>
                  </a:cubicBezTo>
                  <a:cubicBezTo>
                    <a:pt x="1406" y="11615"/>
                    <a:pt x="1443" y="11602"/>
                    <a:pt x="1474" y="11580"/>
                  </a:cubicBezTo>
                  <a:cubicBezTo>
                    <a:pt x="1499" y="11555"/>
                    <a:pt x="1495" y="11503"/>
                    <a:pt x="1495" y="11443"/>
                  </a:cubicBezTo>
                  <a:lnTo>
                    <a:pt x="1495" y="11352"/>
                  </a:lnTo>
                  <a:cubicBezTo>
                    <a:pt x="1492" y="11268"/>
                    <a:pt x="1548" y="11195"/>
                    <a:pt x="1632" y="11177"/>
                  </a:cubicBezTo>
                  <a:cubicBezTo>
                    <a:pt x="1663" y="11167"/>
                    <a:pt x="1663" y="11163"/>
                    <a:pt x="1667" y="11156"/>
                  </a:cubicBezTo>
                  <a:cubicBezTo>
                    <a:pt x="1684" y="11111"/>
                    <a:pt x="1723" y="11072"/>
                    <a:pt x="1768" y="11055"/>
                  </a:cubicBezTo>
                  <a:cubicBezTo>
                    <a:pt x="1819" y="11033"/>
                    <a:pt x="1881" y="11023"/>
                    <a:pt x="1948" y="11023"/>
                  </a:cubicBezTo>
                  <a:cubicBezTo>
                    <a:pt x="2033" y="11023"/>
                    <a:pt x="2125" y="11040"/>
                    <a:pt x="2206" y="11076"/>
                  </a:cubicBezTo>
                  <a:cubicBezTo>
                    <a:pt x="2228" y="11088"/>
                    <a:pt x="2252" y="11094"/>
                    <a:pt x="2276" y="11094"/>
                  </a:cubicBezTo>
                  <a:cubicBezTo>
                    <a:pt x="2294" y="11094"/>
                    <a:pt x="2312" y="11090"/>
                    <a:pt x="2328" y="11083"/>
                  </a:cubicBezTo>
                  <a:cubicBezTo>
                    <a:pt x="2377" y="11058"/>
                    <a:pt x="2416" y="10981"/>
                    <a:pt x="2430" y="10876"/>
                  </a:cubicBezTo>
                  <a:cubicBezTo>
                    <a:pt x="2437" y="10845"/>
                    <a:pt x="2451" y="10764"/>
                    <a:pt x="2517" y="10747"/>
                  </a:cubicBezTo>
                  <a:cubicBezTo>
                    <a:pt x="2525" y="10745"/>
                    <a:pt x="2533" y="10744"/>
                    <a:pt x="2540" y="10744"/>
                  </a:cubicBezTo>
                  <a:cubicBezTo>
                    <a:pt x="2599" y="10744"/>
                    <a:pt x="2645" y="10803"/>
                    <a:pt x="2685" y="10862"/>
                  </a:cubicBezTo>
                  <a:lnTo>
                    <a:pt x="2706" y="10887"/>
                  </a:lnTo>
                  <a:cubicBezTo>
                    <a:pt x="2797" y="10747"/>
                    <a:pt x="2874" y="10600"/>
                    <a:pt x="2931" y="10442"/>
                  </a:cubicBezTo>
                  <a:lnTo>
                    <a:pt x="2931" y="10442"/>
                  </a:lnTo>
                  <a:cubicBezTo>
                    <a:pt x="2910" y="10463"/>
                    <a:pt x="2885" y="10491"/>
                    <a:pt x="2853" y="10526"/>
                  </a:cubicBezTo>
                  <a:cubicBezTo>
                    <a:pt x="2829" y="10551"/>
                    <a:pt x="2780" y="10606"/>
                    <a:pt x="2726" y="10606"/>
                  </a:cubicBezTo>
                  <a:cubicBezTo>
                    <a:pt x="2712" y="10606"/>
                    <a:pt x="2697" y="10602"/>
                    <a:pt x="2682" y="10593"/>
                  </a:cubicBezTo>
                  <a:cubicBezTo>
                    <a:pt x="2556" y="10512"/>
                    <a:pt x="2734" y="10078"/>
                    <a:pt x="2738" y="10075"/>
                  </a:cubicBezTo>
                  <a:cubicBezTo>
                    <a:pt x="2780" y="9977"/>
                    <a:pt x="2794" y="9728"/>
                    <a:pt x="2801" y="9549"/>
                  </a:cubicBezTo>
                  <a:cubicBezTo>
                    <a:pt x="2804" y="9469"/>
                    <a:pt x="2811" y="9392"/>
                    <a:pt x="2822" y="9311"/>
                  </a:cubicBezTo>
                  <a:cubicBezTo>
                    <a:pt x="2843" y="9217"/>
                    <a:pt x="2892" y="8989"/>
                    <a:pt x="3179" y="8930"/>
                  </a:cubicBezTo>
                  <a:cubicBezTo>
                    <a:pt x="3340" y="8898"/>
                    <a:pt x="3540" y="8734"/>
                    <a:pt x="3606" y="8615"/>
                  </a:cubicBezTo>
                  <a:cubicBezTo>
                    <a:pt x="3627" y="8580"/>
                    <a:pt x="3627" y="8562"/>
                    <a:pt x="3624" y="8559"/>
                  </a:cubicBezTo>
                  <a:cubicBezTo>
                    <a:pt x="3582" y="8450"/>
                    <a:pt x="3694" y="8345"/>
                    <a:pt x="3806" y="8244"/>
                  </a:cubicBezTo>
                  <a:cubicBezTo>
                    <a:pt x="3855" y="8198"/>
                    <a:pt x="3942" y="8118"/>
                    <a:pt x="3942" y="8090"/>
                  </a:cubicBezTo>
                  <a:cubicBezTo>
                    <a:pt x="3939" y="8009"/>
                    <a:pt x="3603" y="7662"/>
                    <a:pt x="3456" y="7571"/>
                  </a:cubicBezTo>
                  <a:cubicBezTo>
                    <a:pt x="3410" y="7540"/>
                    <a:pt x="3319" y="7536"/>
                    <a:pt x="3249" y="7533"/>
                  </a:cubicBezTo>
                  <a:cubicBezTo>
                    <a:pt x="3158" y="7526"/>
                    <a:pt x="3088" y="7522"/>
                    <a:pt x="3053" y="7473"/>
                  </a:cubicBezTo>
                  <a:cubicBezTo>
                    <a:pt x="3036" y="7449"/>
                    <a:pt x="3032" y="7421"/>
                    <a:pt x="3039" y="7393"/>
                  </a:cubicBezTo>
                  <a:cubicBezTo>
                    <a:pt x="3050" y="7351"/>
                    <a:pt x="3039" y="7172"/>
                    <a:pt x="2973" y="6808"/>
                  </a:cubicBezTo>
                  <a:cubicBezTo>
                    <a:pt x="2952" y="6686"/>
                    <a:pt x="3022" y="6574"/>
                    <a:pt x="3085" y="6469"/>
                  </a:cubicBezTo>
                  <a:cubicBezTo>
                    <a:pt x="3127" y="6399"/>
                    <a:pt x="3176" y="6322"/>
                    <a:pt x="3176" y="6262"/>
                  </a:cubicBezTo>
                  <a:lnTo>
                    <a:pt x="3176" y="6238"/>
                  </a:lnTo>
                  <a:cubicBezTo>
                    <a:pt x="3176" y="6063"/>
                    <a:pt x="3176" y="5849"/>
                    <a:pt x="3365" y="5779"/>
                  </a:cubicBezTo>
                  <a:cubicBezTo>
                    <a:pt x="3407" y="5765"/>
                    <a:pt x="3414" y="5744"/>
                    <a:pt x="3431" y="5702"/>
                  </a:cubicBezTo>
                  <a:cubicBezTo>
                    <a:pt x="3459" y="5611"/>
                    <a:pt x="3536" y="5541"/>
                    <a:pt x="3631" y="5527"/>
                  </a:cubicBezTo>
                  <a:cubicBezTo>
                    <a:pt x="3697" y="5509"/>
                    <a:pt x="3729" y="5453"/>
                    <a:pt x="3771" y="5362"/>
                  </a:cubicBezTo>
                  <a:cubicBezTo>
                    <a:pt x="3813" y="5271"/>
                    <a:pt x="3869" y="5156"/>
                    <a:pt x="4002" y="5100"/>
                  </a:cubicBezTo>
                  <a:cubicBezTo>
                    <a:pt x="4082" y="5068"/>
                    <a:pt x="4156" y="5023"/>
                    <a:pt x="4226" y="4974"/>
                  </a:cubicBezTo>
                  <a:cubicBezTo>
                    <a:pt x="4317" y="4907"/>
                    <a:pt x="4411" y="4851"/>
                    <a:pt x="4516" y="4802"/>
                  </a:cubicBezTo>
                  <a:cubicBezTo>
                    <a:pt x="4814" y="4655"/>
                    <a:pt x="5259" y="4344"/>
                    <a:pt x="5325" y="4200"/>
                  </a:cubicBezTo>
                  <a:cubicBezTo>
                    <a:pt x="5343" y="4165"/>
                    <a:pt x="5315" y="4120"/>
                    <a:pt x="5269" y="4046"/>
                  </a:cubicBezTo>
                  <a:cubicBezTo>
                    <a:pt x="5206" y="3952"/>
                    <a:pt x="5105" y="3791"/>
                    <a:pt x="5287" y="3651"/>
                  </a:cubicBezTo>
                  <a:cubicBezTo>
                    <a:pt x="5388" y="3574"/>
                    <a:pt x="5392" y="3500"/>
                    <a:pt x="5392" y="3419"/>
                  </a:cubicBezTo>
                  <a:cubicBezTo>
                    <a:pt x="5392" y="3339"/>
                    <a:pt x="5395" y="3244"/>
                    <a:pt x="5514" y="3199"/>
                  </a:cubicBezTo>
                  <a:cubicBezTo>
                    <a:pt x="5644" y="3146"/>
                    <a:pt x="5707" y="3080"/>
                    <a:pt x="5801" y="2978"/>
                  </a:cubicBezTo>
                  <a:lnTo>
                    <a:pt x="5843" y="2929"/>
                  </a:lnTo>
                  <a:cubicBezTo>
                    <a:pt x="5904" y="2864"/>
                    <a:pt x="5974" y="2847"/>
                    <a:pt x="6049" y="2847"/>
                  </a:cubicBezTo>
                  <a:cubicBezTo>
                    <a:pt x="6087" y="2847"/>
                    <a:pt x="6126" y="2851"/>
                    <a:pt x="6165" y="2856"/>
                  </a:cubicBezTo>
                  <a:cubicBezTo>
                    <a:pt x="6213" y="2863"/>
                    <a:pt x="6261" y="2866"/>
                    <a:pt x="6309" y="2866"/>
                  </a:cubicBezTo>
                  <a:cubicBezTo>
                    <a:pt x="6358" y="2866"/>
                    <a:pt x="6407" y="2863"/>
                    <a:pt x="6456" y="2856"/>
                  </a:cubicBezTo>
                  <a:cubicBezTo>
                    <a:pt x="6495" y="2848"/>
                    <a:pt x="6536" y="2845"/>
                    <a:pt x="6577" y="2845"/>
                  </a:cubicBezTo>
                  <a:cubicBezTo>
                    <a:pt x="6612" y="2845"/>
                    <a:pt x="6648" y="2847"/>
                    <a:pt x="6683" y="2852"/>
                  </a:cubicBezTo>
                  <a:lnTo>
                    <a:pt x="6683" y="2849"/>
                  </a:lnTo>
                  <a:lnTo>
                    <a:pt x="6683" y="2838"/>
                  </a:lnTo>
                  <a:cubicBezTo>
                    <a:pt x="6683" y="2831"/>
                    <a:pt x="6680" y="2824"/>
                    <a:pt x="6680" y="2814"/>
                  </a:cubicBezTo>
                  <a:lnTo>
                    <a:pt x="6676" y="2803"/>
                  </a:lnTo>
                  <a:lnTo>
                    <a:pt x="6669" y="2786"/>
                  </a:lnTo>
                  <a:lnTo>
                    <a:pt x="6669" y="2775"/>
                  </a:lnTo>
                  <a:cubicBezTo>
                    <a:pt x="6666" y="2768"/>
                    <a:pt x="6662" y="2761"/>
                    <a:pt x="6662" y="2754"/>
                  </a:cubicBezTo>
                  <a:lnTo>
                    <a:pt x="6662" y="2747"/>
                  </a:lnTo>
                  <a:lnTo>
                    <a:pt x="6655" y="2733"/>
                  </a:lnTo>
                  <a:lnTo>
                    <a:pt x="6655" y="2730"/>
                  </a:lnTo>
                  <a:lnTo>
                    <a:pt x="6648" y="2719"/>
                  </a:lnTo>
                  <a:lnTo>
                    <a:pt x="6648" y="2716"/>
                  </a:lnTo>
                  <a:cubicBezTo>
                    <a:pt x="6648" y="2712"/>
                    <a:pt x="6645" y="2712"/>
                    <a:pt x="6645" y="2709"/>
                  </a:cubicBezTo>
                  <a:cubicBezTo>
                    <a:pt x="6645" y="2709"/>
                    <a:pt x="6634" y="2698"/>
                    <a:pt x="6620" y="2684"/>
                  </a:cubicBezTo>
                  <a:lnTo>
                    <a:pt x="6606" y="2667"/>
                  </a:lnTo>
                  <a:lnTo>
                    <a:pt x="6592" y="2653"/>
                  </a:lnTo>
                  <a:lnTo>
                    <a:pt x="6589" y="2649"/>
                  </a:lnTo>
                  <a:lnTo>
                    <a:pt x="6575" y="2632"/>
                  </a:lnTo>
                  <a:lnTo>
                    <a:pt x="6571" y="2628"/>
                  </a:lnTo>
                  <a:lnTo>
                    <a:pt x="6557" y="2607"/>
                  </a:lnTo>
                  <a:lnTo>
                    <a:pt x="6554" y="2600"/>
                  </a:lnTo>
                  <a:lnTo>
                    <a:pt x="6540" y="2583"/>
                  </a:lnTo>
                  <a:lnTo>
                    <a:pt x="6536" y="2576"/>
                  </a:lnTo>
                  <a:lnTo>
                    <a:pt x="6522" y="2558"/>
                  </a:lnTo>
                  <a:lnTo>
                    <a:pt x="6519" y="2548"/>
                  </a:lnTo>
                  <a:lnTo>
                    <a:pt x="6508" y="2530"/>
                  </a:lnTo>
                  <a:lnTo>
                    <a:pt x="6501" y="2520"/>
                  </a:lnTo>
                  <a:lnTo>
                    <a:pt x="6494" y="2506"/>
                  </a:lnTo>
                  <a:cubicBezTo>
                    <a:pt x="6491" y="2499"/>
                    <a:pt x="6491" y="2495"/>
                    <a:pt x="6491" y="2492"/>
                  </a:cubicBezTo>
                  <a:cubicBezTo>
                    <a:pt x="6487" y="2488"/>
                    <a:pt x="6487" y="2481"/>
                    <a:pt x="6484" y="2478"/>
                  </a:cubicBezTo>
                  <a:cubicBezTo>
                    <a:pt x="6484" y="2474"/>
                    <a:pt x="6480" y="2471"/>
                    <a:pt x="6480" y="2464"/>
                  </a:cubicBezTo>
                  <a:cubicBezTo>
                    <a:pt x="6480" y="2460"/>
                    <a:pt x="6477" y="2457"/>
                    <a:pt x="6477" y="2450"/>
                  </a:cubicBezTo>
                  <a:cubicBezTo>
                    <a:pt x="6477" y="2446"/>
                    <a:pt x="6477" y="2443"/>
                    <a:pt x="6477" y="2436"/>
                  </a:cubicBezTo>
                  <a:lnTo>
                    <a:pt x="6477" y="2425"/>
                  </a:lnTo>
                  <a:cubicBezTo>
                    <a:pt x="6477" y="2422"/>
                    <a:pt x="6477" y="2415"/>
                    <a:pt x="6477" y="2411"/>
                  </a:cubicBezTo>
                  <a:lnTo>
                    <a:pt x="6477" y="2401"/>
                  </a:lnTo>
                  <a:cubicBezTo>
                    <a:pt x="6477" y="2394"/>
                    <a:pt x="6480" y="2383"/>
                    <a:pt x="6484" y="2376"/>
                  </a:cubicBezTo>
                  <a:cubicBezTo>
                    <a:pt x="6500" y="2337"/>
                    <a:pt x="6538" y="2313"/>
                    <a:pt x="6580" y="2313"/>
                  </a:cubicBezTo>
                  <a:cubicBezTo>
                    <a:pt x="6583" y="2313"/>
                    <a:pt x="6586" y="2313"/>
                    <a:pt x="6589" y="2313"/>
                  </a:cubicBezTo>
                  <a:cubicBezTo>
                    <a:pt x="6603" y="2310"/>
                    <a:pt x="6634" y="2264"/>
                    <a:pt x="6645" y="2177"/>
                  </a:cubicBezTo>
                  <a:cubicBezTo>
                    <a:pt x="6655" y="2079"/>
                    <a:pt x="6631" y="1991"/>
                    <a:pt x="6585" y="1970"/>
                  </a:cubicBezTo>
                  <a:cubicBezTo>
                    <a:pt x="6470" y="1911"/>
                    <a:pt x="6473" y="1767"/>
                    <a:pt x="6477" y="1648"/>
                  </a:cubicBezTo>
                  <a:cubicBezTo>
                    <a:pt x="6477" y="1589"/>
                    <a:pt x="6480" y="1512"/>
                    <a:pt x="6463" y="1484"/>
                  </a:cubicBezTo>
                  <a:cubicBezTo>
                    <a:pt x="6459" y="1480"/>
                    <a:pt x="6456" y="1477"/>
                    <a:pt x="6452" y="1473"/>
                  </a:cubicBezTo>
                  <a:cubicBezTo>
                    <a:pt x="6305" y="1385"/>
                    <a:pt x="6344" y="1175"/>
                    <a:pt x="6379" y="990"/>
                  </a:cubicBezTo>
                  <a:cubicBezTo>
                    <a:pt x="6386" y="955"/>
                    <a:pt x="6389" y="920"/>
                    <a:pt x="6396" y="888"/>
                  </a:cubicBezTo>
                  <a:cubicBezTo>
                    <a:pt x="6407" y="797"/>
                    <a:pt x="6057" y="654"/>
                    <a:pt x="5868" y="580"/>
                  </a:cubicBezTo>
                  <a:cubicBezTo>
                    <a:pt x="5791" y="549"/>
                    <a:pt x="5717" y="517"/>
                    <a:pt x="5654" y="493"/>
                  </a:cubicBezTo>
                  <a:cubicBezTo>
                    <a:pt x="5612" y="475"/>
                    <a:pt x="5574" y="454"/>
                    <a:pt x="5535" y="430"/>
                  </a:cubicBezTo>
                  <a:cubicBezTo>
                    <a:pt x="5437" y="367"/>
                    <a:pt x="5343" y="297"/>
                    <a:pt x="5259" y="216"/>
                  </a:cubicBezTo>
                  <a:cubicBezTo>
                    <a:pt x="5189" y="157"/>
                    <a:pt x="5119" y="101"/>
                    <a:pt x="5042" y="52"/>
                  </a:cubicBezTo>
                  <a:lnTo>
                    <a:pt x="5038" y="52"/>
                  </a:lnTo>
                  <a:cubicBezTo>
                    <a:pt x="5024" y="41"/>
                    <a:pt x="5010" y="31"/>
                    <a:pt x="4996" y="20"/>
                  </a:cubicBezTo>
                  <a:cubicBezTo>
                    <a:pt x="4967" y="6"/>
                    <a:pt x="4945" y="0"/>
                    <a:pt x="49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8" name="Google Shape;6258;p53"/>
            <p:cNvSpPr/>
            <p:nvPr/>
          </p:nvSpPr>
          <p:spPr>
            <a:xfrm>
              <a:off x="2223833" y="14593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9" name="Google Shape;6259;p53"/>
            <p:cNvSpPr/>
            <p:nvPr/>
          </p:nvSpPr>
          <p:spPr>
            <a:xfrm>
              <a:off x="2221022" y="145424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cubicBezTo>
                    <a:pt x="1" y="4"/>
                    <a:pt x="4" y="11"/>
                    <a:pt x="8" y="15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0" name="Google Shape;6260;p53"/>
            <p:cNvSpPr/>
            <p:nvPr/>
          </p:nvSpPr>
          <p:spPr>
            <a:xfrm>
              <a:off x="2221782" y="1455673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1" name="Google Shape;6261;p53"/>
            <p:cNvSpPr/>
            <p:nvPr/>
          </p:nvSpPr>
          <p:spPr>
            <a:xfrm>
              <a:off x="2221552" y="1455347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2" name="Google Shape;6262;p53"/>
            <p:cNvSpPr/>
            <p:nvPr/>
          </p:nvSpPr>
          <p:spPr>
            <a:xfrm>
              <a:off x="2221171" y="1454587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cubicBezTo>
                    <a:pt x="4" y="7"/>
                    <a:pt x="7" y="14"/>
                    <a:pt x="7" y="18"/>
                  </a:cubicBezTo>
                  <a:cubicBezTo>
                    <a:pt x="7" y="11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3" name="Google Shape;6263;p53"/>
            <p:cNvSpPr/>
            <p:nvPr/>
          </p:nvSpPr>
          <p:spPr>
            <a:xfrm>
              <a:off x="2223737" y="1458864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cubicBezTo>
                    <a:pt x="0" y="7"/>
                    <a:pt x="4" y="14"/>
                    <a:pt x="7" y="25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4" name="Google Shape;6264;p53"/>
            <p:cNvSpPr/>
            <p:nvPr/>
          </p:nvSpPr>
          <p:spPr>
            <a:xfrm>
              <a:off x="2221361" y="1454967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0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5" name="Google Shape;6265;p53"/>
            <p:cNvSpPr/>
            <p:nvPr/>
          </p:nvSpPr>
          <p:spPr>
            <a:xfrm>
              <a:off x="2223642" y="145842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6" name="Google Shape;6266;p53"/>
            <p:cNvSpPr/>
            <p:nvPr/>
          </p:nvSpPr>
          <p:spPr>
            <a:xfrm>
              <a:off x="2222692" y="145686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0"/>
                  </a:moveTo>
                  <a:lnTo>
                    <a:pt x="1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7" name="Google Shape;6267;p53"/>
            <p:cNvSpPr/>
            <p:nvPr/>
          </p:nvSpPr>
          <p:spPr>
            <a:xfrm>
              <a:off x="2222502" y="145658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8" name="Google Shape;6268;p53"/>
            <p:cNvSpPr/>
            <p:nvPr/>
          </p:nvSpPr>
          <p:spPr>
            <a:xfrm>
              <a:off x="2223547" y="145800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0" y="7"/>
                    <a:pt x="4" y="14"/>
                    <a:pt x="7" y="21"/>
                  </a:cubicBezTo>
                  <a:cubicBezTo>
                    <a:pt x="4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9" name="Google Shape;6269;p53"/>
            <p:cNvSpPr/>
            <p:nvPr/>
          </p:nvSpPr>
          <p:spPr>
            <a:xfrm>
              <a:off x="2223303" y="1457574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0" name="Google Shape;6270;p53"/>
            <p:cNvSpPr/>
            <p:nvPr/>
          </p:nvSpPr>
          <p:spPr>
            <a:xfrm>
              <a:off x="2222258" y="1456338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1" name="Google Shape;6271;p53"/>
            <p:cNvSpPr/>
            <p:nvPr/>
          </p:nvSpPr>
          <p:spPr>
            <a:xfrm>
              <a:off x="2220927" y="1453922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cubicBezTo>
                    <a:pt x="1" y="4"/>
                    <a:pt x="4" y="7"/>
                    <a:pt x="4" y="14"/>
                  </a:cubicBezTo>
                  <a:cubicBezTo>
                    <a:pt x="4" y="7"/>
                    <a:pt x="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2" name="Google Shape;6272;p53"/>
            <p:cNvSpPr/>
            <p:nvPr/>
          </p:nvSpPr>
          <p:spPr>
            <a:xfrm>
              <a:off x="2223398" y="145776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3" name="Google Shape;6273;p53"/>
            <p:cNvSpPr/>
            <p:nvPr/>
          </p:nvSpPr>
          <p:spPr>
            <a:xfrm>
              <a:off x="2222882" y="1457058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cubicBezTo>
                    <a:pt x="14" y="14"/>
                    <a:pt x="21" y="25"/>
                    <a:pt x="25" y="25"/>
                  </a:cubicBezTo>
                  <a:cubicBezTo>
                    <a:pt x="25" y="25"/>
                    <a:pt x="1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4" name="Google Shape;6274;p53"/>
            <p:cNvSpPr/>
            <p:nvPr/>
          </p:nvSpPr>
          <p:spPr>
            <a:xfrm>
              <a:off x="2220886" y="145320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ubicBezTo>
                    <a:pt x="0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5" name="Google Shape;6275;p53"/>
            <p:cNvSpPr/>
            <p:nvPr/>
          </p:nvSpPr>
          <p:spPr>
            <a:xfrm>
              <a:off x="2222027" y="145601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6" name="Google Shape;6276;p53"/>
            <p:cNvSpPr/>
            <p:nvPr/>
          </p:nvSpPr>
          <p:spPr>
            <a:xfrm>
              <a:off x="2220886" y="145354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7" name="Google Shape;6277;p53"/>
            <p:cNvSpPr/>
            <p:nvPr/>
          </p:nvSpPr>
          <p:spPr>
            <a:xfrm>
              <a:off x="2201498" y="1421268"/>
              <a:ext cx="6667" cy="5146"/>
            </a:xfrm>
            <a:custGeom>
              <a:avLst/>
              <a:gdLst/>
              <a:ahLst/>
              <a:cxnLst/>
              <a:rect l="l" t="t" r="r" b="b"/>
              <a:pathLst>
                <a:path w="491" h="379" extrusionOk="0">
                  <a:moveTo>
                    <a:pt x="0" y="0"/>
                  </a:moveTo>
                  <a:lnTo>
                    <a:pt x="0" y="0"/>
                  </a:lnTo>
                  <a:cubicBezTo>
                    <a:pt x="74" y="49"/>
                    <a:pt x="144" y="105"/>
                    <a:pt x="210" y="165"/>
                  </a:cubicBezTo>
                  <a:cubicBezTo>
                    <a:pt x="298" y="245"/>
                    <a:pt x="389" y="315"/>
                    <a:pt x="490" y="378"/>
                  </a:cubicBezTo>
                  <a:cubicBezTo>
                    <a:pt x="392" y="315"/>
                    <a:pt x="298" y="245"/>
                    <a:pt x="214" y="165"/>
                  </a:cubicBezTo>
                  <a:cubicBezTo>
                    <a:pt x="154" y="112"/>
                    <a:pt x="91" y="63"/>
                    <a:pt x="28" y="18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8" name="Google Shape;6278;p53"/>
            <p:cNvSpPr/>
            <p:nvPr/>
          </p:nvSpPr>
          <p:spPr>
            <a:xfrm>
              <a:off x="2212618" y="1541442"/>
              <a:ext cx="2580" cy="489"/>
            </a:xfrm>
            <a:custGeom>
              <a:avLst/>
              <a:gdLst/>
              <a:ahLst/>
              <a:cxnLst/>
              <a:rect l="l" t="t" r="r" b="b"/>
              <a:pathLst>
                <a:path w="190" h="36" extrusionOk="0">
                  <a:moveTo>
                    <a:pt x="139" y="0"/>
                  </a:moveTo>
                  <a:cubicBezTo>
                    <a:pt x="92" y="0"/>
                    <a:pt x="46" y="7"/>
                    <a:pt x="0" y="17"/>
                  </a:cubicBezTo>
                  <a:cubicBezTo>
                    <a:pt x="30" y="30"/>
                    <a:pt x="62" y="36"/>
                    <a:pt x="93" y="36"/>
                  </a:cubicBezTo>
                  <a:cubicBezTo>
                    <a:pt x="102" y="36"/>
                    <a:pt x="111" y="35"/>
                    <a:pt x="119" y="34"/>
                  </a:cubicBezTo>
                  <a:cubicBezTo>
                    <a:pt x="144" y="27"/>
                    <a:pt x="168" y="17"/>
                    <a:pt x="189" y="3"/>
                  </a:cubicBezTo>
                  <a:cubicBezTo>
                    <a:pt x="172" y="1"/>
                    <a:pt x="155" y="0"/>
                    <a:pt x="1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9" name="Google Shape;6279;p53"/>
            <p:cNvSpPr/>
            <p:nvPr/>
          </p:nvSpPr>
          <p:spPr>
            <a:xfrm>
              <a:off x="2219746" y="1534599"/>
              <a:ext cx="33333" cy="20244"/>
            </a:xfrm>
            <a:custGeom>
              <a:avLst/>
              <a:gdLst/>
              <a:ahLst/>
              <a:cxnLst/>
              <a:rect l="l" t="t" r="r" b="b"/>
              <a:pathLst>
                <a:path w="2455" h="1491" extrusionOk="0">
                  <a:moveTo>
                    <a:pt x="1429" y="1"/>
                  </a:moveTo>
                  <a:cubicBezTo>
                    <a:pt x="1394" y="1"/>
                    <a:pt x="1361" y="3"/>
                    <a:pt x="1331" y="10"/>
                  </a:cubicBezTo>
                  <a:cubicBezTo>
                    <a:pt x="1236" y="27"/>
                    <a:pt x="1114" y="38"/>
                    <a:pt x="988" y="52"/>
                  </a:cubicBezTo>
                  <a:cubicBezTo>
                    <a:pt x="750" y="76"/>
                    <a:pt x="424" y="108"/>
                    <a:pt x="347" y="192"/>
                  </a:cubicBezTo>
                  <a:cubicBezTo>
                    <a:pt x="277" y="255"/>
                    <a:pt x="200" y="304"/>
                    <a:pt x="116" y="339"/>
                  </a:cubicBezTo>
                  <a:cubicBezTo>
                    <a:pt x="74" y="356"/>
                    <a:pt x="35" y="377"/>
                    <a:pt x="0" y="402"/>
                  </a:cubicBezTo>
                  <a:lnTo>
                    <a:pt x="7" y="412"/>
                  </a:lnTo>
                  <a:cubicBezTo>
                    <a:pt x="84" y="465"/>
                    <a:pt x="119" y="552"/>
                    <a:pt x="102" y="643"/>
                  </a:cubicBezTo>
                  <a:cubicBezTo>
                    <a:pt x="91" y="689"/>
                    <a:pt x="102" y="734"/>
                    <a:pt x="133" y="769"/>
                  </a:cubicBezTo>
                  <a:cubicBezTo>
                    <a:pt x="223" y="895"/>
                    <a:pt x="263" y="938"/>
                    <a:pt x="331" y="938"/>
                  </a:cubicBezTo>
                  <a:cubicBezTo>
                    <a:pt x="348" y="938"/>
                    <a:pt x="367" y="935"/>
                    <a:pt x="389" y="930"/>
                  </a:cubicBezTo>
                  <a:cubicBezTo>
                    <a:pt x="414" y="926"/>
                    <a:pt x="438" y="923"/>
                    <a:pt x="462" y="923"/>
                  </a:cubicBezTo>
                  <a:cubicBezTo>
                    <a:pt x="542" y="923"/>
                    <a:pt x="611" y="951"/>
                    <a:pt x="641" y="1007"/>
                  </a:cubicBezTo>
                  <a:cubicBezTo>
                    <a:pt x="662" y="1049"/>
                    <a:pt x="662" y="1102"/>
                    <a:pt x="641" y="1144"/>
                  </a:cubicBezTo>
                  <a:lnTo>
                    <a:pt x="711" y="1140"/>
                  </a:lnTo>
                  <a:lnTo>
                    <a:pt x="722" y="1140"/>
                  </a:lnTo>
                  <a:lnTo>
                    <a:pt x="774" y="1137"/>
                  </a:lnTo>
                  <a:lnTo>
                    <a:pt x="1096" y="1137"/>
                  </a:lnTo>
                  <a:lnTo>
                    <a:pt x="1107" y="1140"/>
                  </a:lnTo>
                  <a:lnTo>
                    <a:pt x="1110" y="1140"/>
                  </a:lnTo>
                  <a:lnTo>
                    <a:pt x="1117" y="1144"/>
                  </a:lnTo>
                  <a:lnTo>
                    <a:pt x="1121" y="1144"/>
                  </a:lnTo>
                  <a:lnTo>
                    <a:pt x="1128" y="1147"/>
                  </a:lnTo>
                  <a:lnTo>
                    <a:pt x="1131" y="1151"/>
                  </a:lnTo>
                  <a:lnTo>
                    <a:pt x="1156" y="1172"/>
                  </a:lnTo>
                  <a:cubicBezTo>
                    <a:pt x="1506" y="1442"/>
                    <a:pt x="1600" y="1466"/>
                    <a:pt x="1625" y="1466"/>
                  </a:cubicBezTo>
                  <a:lnTo>
                    <a:pt x="1898" y="1466"/>
                  </a:lnTo>
                  <a:lnTo>
                    <a:pt x="1933" y="1470"/>
                  </a:lnTo>
                  <a:lnTo>
                    <a:pt x="1950" y="1470"/>
                  </a:lnTo>
                  <a:lnTo>
                    <a:pt x="1992" y="1477"/>
                  </a:lnTo>
                  <a:lnTo>
                    <a:pt x="2013" y="1477"/>
                  </a:lnTo>
                  <a:lnTo>
                    <a:pt x="2059" y="1484"/>
                  </a:lnTo>
                  <a:lnTo>
                    <a:pt x="2083" y="1484"/>
                  </a:lnTo>
                  <a:cubicBezTo>
                    <a:pt x="2083" y="1484"/>
                    <a:pt x="2094" y="1491"/>
                    <a:pt x="2094" y="1491"/>
                  </a:cubicBezTo>
                  <a:cubicBezTo>
                    <a:pt x="2094" y="1466"/>
                    <a:pt x="2101" y="1445"/>
                    <a:pt x="2108" y="1428"/>
                  </a:cubicBezTo>
                  <a:lnTo>
                    <a:pt x="2108" y="1424"/>
                  </a:lnTo>
                  <a:cubicBezTo>
                    <a:pt x="2111" y="1414"/>
                    <a:pt x="2118" y="1407"/>
                    <a:pt x="2125" y="1400"/>
                  </a:cubicBezTo>
                  <a:lnTo>
                    <a:pt x="2125" y="1393"/>
                  </a:lnTo>
                  <a:cubicBezTo>
                    <a:pt x="2132" y="1386"/>
                    <a:pt x="2139" y="1379"/>
                    <a:pt x="2146" y="1375"/>
                  </a:cubicBezTo>
                  <a:lnTo>
                    <a:pt x="2150" y="1368"/>
                  </a:lnTo>
                  <a:cubicBezTo>
                    <a:pt x="2157" y="1361"/>
                    <a:pt x="2167" y="1358"/>
                    <a:pt x="2174" y="1350"/>
                  </a:cubicBezTo>
                  <a:lnTo>
                    <a:pt x="2185" y="1343"/>
                  </a:lnTo>
                  <a:cubicBezTo>
                    <a:pt x="2206" y="1333"/>
                    <a:pt x="2227" y="1322"/>
                    <a:pt x="2248" y="1315"/>
                  </a:cubicBezTo>
                  <a:cubicBezTo>
                    <a:pt x="2262" y="1308"/>
                    <a:pt x="2279" y="1301"/>
                    <a:pt x="2293" y="1291"/>
                  </a:cubicBezTo>
                  <a:cubicBezTo>
                    <a:pt x="2293" y="1284"/>
                    <a:pt x="2290" y="1280"/>
                    <a:pt x="2283" y="1273"/>
                  </a:cubicBezTo>
                  <a:lnTo>
                    <a:pt x="2265" y="1245"/>
                  </a:lnTo>
                  <a:cubicBezTo>
                    <a:pt x="2202" y="1158"/>
                    <a:pt x="2171" y="1116"/>
                    <a:pt x="2157" y="1004"/>
                  </a:cubicBezTo>
                  <a:cubicBezTo>
                    <a:pt x="2157" y="986"/>
                    <a:pt x="2153" y="969"/>
                    <a:pt x="2153" y="951"/>
                  </a:cubicBezTo>
                  <a:cubicBezTo>
                    <a:pt x="2146" y="902"/>
                    <a:pt x="2139" y="853"/>
                    <a:pt x="2129" y="808"/>
                  </a:cubicBezTo>
                  <a:cubicBezTo>
                    <a:pt x="2125" y="790"/>
                    <a:pt x="2125" y="776"/>
                    <a:pt x="2122" y="759"/>
                  </a:cubicBezTo>
                  <a:cubicBezTo>
                    <a:pt x="2115" y="731"/>
                    <a:pt x="2111" y="699"/>
                    <a:pt x="2111" y="668"/>
                  </a:cubicBezTo>
                  <a:cubicBezTo>
                    <a:pt x="2111" y="654"/>
                    <a:pt x="2115" y="636"/>
                    <a:pt x="2115" y="622"/>
                  </a:cubicBezTo>
                  <a:cubicBezTo>
                    <a:pt x="2118" y="584"/>
                    <a:pt x="2136" y="545"/>
                    <a:pt x="2160" y="514"/>
                  </a:cubicBezTo>
                  <a:cubicBezTo>
                    <a:pt x="2171" y="496"/>
                    <a:pt x="2188" y="482"/>
                    <a:pt x="2202" y="465"/>
                  </a:cubicBezTo>
                  <a:cubicBezTo>
                    <a:pt x="2244" y="426"/>
                    <a:pt x="2279" y="377"/>
                    <a:pt x="2304" y="325"/>
                  </a:cubicBezTo>
                  <a:cubicBezTo>
                    <a:pt x="2328" y="276"/>
                    <a:pt x="2360" y="230"/>
                    <a:pt x="2402" y="192"/>
                  </a:cubicBezTo>
                  <a:lnTo>
                    <a:pt x="2419" y="174"/>
                  </a:lnTo>
                  <a:lnTo>
                    <a:pt x="2423" y="167"/>
                  </a:lnTo>
                  <a:lnTo>
                    <a:pt x="2437" y="153"/>
                  </a:lnTo>
                  <a:lnTo>
                    <a:pt x="2440" y="150"/>
                  </a:lnTo>
                  <a:cubicBezTo>
                    <a:pt x="2444" y="146"/>
                    <a:pt x="2447" y="139"/>
                    <a:pt x="2451" y="136"/>
                  </a:cubicBezTo>
                  <a:cubicBezTo>
                    <a:pt x="2451" y="132"/>
                    <a:pt x="2454" y="125"/>
                    <a:pt x="2454" y="122"/>
                  </a:cubicBezTo>
                  <a:cubicBezTo>
                    <a:pt x="2454" y="122"/>
                    <a:pt x="2454" y="118"/>
                    <a:pt x="2454" y="118"/>
                  </a:cubicBezTo>
                  <a:cubicBezTo>
                    <a:pt x="2454" y="115"/>
                    <a:pt x="2454" y="108"/>
                    <a:pt x="2454" y="104"/>
                  </a:cubicBezTo>
                  <a:lnTo>
                    <a:pt x="2454" y="101"/>
                  </a:lnTo>
                  <a:cubicBezTo>
                    <a:pt x="2454" y="94"/>
                    <a:pt x="2451" y="90"/>
                    <a:pt x="2451" y="83"/>
                  </a:cubicBezTo>
                  <a:cubicBezTo>
                    <a:pt x="2423" y="97"/>
                    <a:pt x="2398" y="104"/>
                    <a:pt x="2370" y="111"/>
                  </a:cubicBezTo>
                  <a:cubicBezTo>
                    <a:pt x="2334" y="122"/>
                    <a:pt x="2294" y="126"/>
                    <a:pt x="2249" y="126"/>
                  </a:cubicBezTo>
                  <a:cubicBezTo>
                    <a:pt x="2133" y="126"/>
                    <a:pt x="1992" y="96"/>
                    <a:pt x="1845" y="66"/>
                  </a:cubicBezTo>
                  <a:cubicBezTo>
                    <a:pt x="1702" y="33"/>
                    <a:pt x="1552" y="1"/>
                    <a:pt x="14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0" name="Google Shape;6280;p53"/>
            <p:cNvSpPr/>
            <p:nvPr/>
          </p:nvSpPr>
          <p:spPr>
            <a:xfrm>
              <a:off x="2210051" y="1545190"/>
              <a:ext cx="7047" cy="5092"/>
            </a:xfrm>
            <a:custGeom>
              <a:avLst/>
              <a:gdLst/>
              <a:ahLst/>
              <a:cxnLst/>
              <a:rect l="l" t="t" r="r" b="b"/>
              <a:pathLst>
                <a:path w="519" h="375" extrusionOk="0">
                  <a:moveTo>
                    <a:pt x="414" y="0"/>
                  </a:moveTo>
                  <a:cubicBezTo>
                    <a:pt x="368" y="0"/>
                    <a:pt x="308" y="8"/>
                    <a:pt x="235" y="28"/>
                  </a:cubicBezTo>
                  <a:cubicBezTo>
                    <a:pt x="133" y="59"/>
                    <a:pt x="56" y="136"/>
                    <a:pt x="21" y="238"/>
                  </a:cubicBezTo>
                  <a:cubicBezTo>
                    <a:pt x="4" y="280"/>
                    <a:pt x="0" y="325"/>
                    <a:pt x="7" y="374"/>
                  </a:cubicBezTo>
                  <a:cubicBezTo>
                    <a:pt x="130" y="350"/>
                    <a:pt x="417" y="122"/>
                    <a:pt x="518" y="24"/>
                  </a:cubicBezTo>
                  <a:lnTo>
                    <a:pt x="518" y="21"/>
                  </a:lnTo>
                  <a:cubicBezTo>
                    <a:pt x="505" y="11"/>
                    <a:pt x="470" y="0"/>
                    <a:pt x="4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1" name="Google Shape;6281;p53"/>
            <p:cNvSpPr/>
            <p:nvPr/>
          </p:nvSpPr>
          <p:spPr>
            <a:xfrm>
              <a:off x="2234002" y="154998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2" name="Google Shape;6282;p53"/>
            <p:cNvSpPr/>
            <p:nvPr/>
          </p:nvSpPr>
          <p:spPr>
            <a:xfrm>
              <a:off x="2234342" y="155002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3" name="Google Shape;6283;p53"/>
            <p:cNvSpPr/>
            <p:nvPr/>
          </p:nvSpPr>
          <p:spPr>
            <a:xfrm>
              <a:off x="2234722" y="15501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4" name="Google Shape;6284;p53"/>
            <p:cNvSpPr/>
            <p:nvPr/>
          </p:nvSpPr>
          <p:spPr>
            <a:xfrm>
              <a:off x="2234572" y="155007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5" name="Google Shape;6285;p53"/>
            <p:cNvSpPr/>
            <p:nvPr/>
          </p:nvSpPr>
          <p:spPr>
            <a:xfrm>
              <a:off x="2229630" y="1549982"/>
              <a:ext cx="733" cy="54"/>
            </a:xfrm>
            <a:custGeom>
              <a:avLst/>
              <a:gdLst/>
              <a:ahLst/>
              <a:cxnLst/>
              <a:rect l="l" t="t" r="r" b="b"/>
              <a:pathLst>
                <a:path w="54" h="4" extrusionOk="0">
                  <a:moveTo>
                    <a:pt x="53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6" name="Google Shape;6286;p53"/>
            <p:cNvSpPr/>
            <p:nvPr/>
          </p:nvSpPr>
          <p:spPr>
            <a:xfrm>
              <a:off x="2245652" y="1554599"/>
              <a:ext cx="530" cy="54"/>
            </a:xfrm>
            <a:custGeom>
              <a:avLst/>
              <a:gdLst/>
              <a:ahLst/>
              <a:cxnLst/>
              <a:rect l="l" t="t" r="r" b="b"/>
              <a:pathLst>
                <a:path w="39" h="4" extrusionOk="0">
                  <a:moveTo>
                    <a:pt x="39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7" name="Google Shape;6287;p53"/>
            <p:cNvSpPr/>
            <p:nvPr/>
          </p:nvSpPr>
          <p:spPr>
            <a:xfrm>
              <a:off x="2244986" y="1554544"/>
              <a:ext cx="489" cy="68"/>
            </a:xfrm>
            <a:custGeom>
              <a:avLst/>
              <a:gdLst/>
              <a:ahLst/>
              <a:cxnLst/>
              <a:rect l="l" t="t" r="r" b="b"/>
              <a:pathLst>
                <a:path w="36" h="5" extrusionOk="0">
                  <a:moveTo>
                    <a:pt x="35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8" name="Google Shape;6288;p53"/>
            <p:cNvSpPr/>
            <p:nvPr/>
          </p:nvSpPr>
          <p:spPr>
            <a:xfrm>
              <a:off x="2235102" y="1550213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9" name="Google Shape;6289;p53"/>
            <p:cNvSpPr/>
            <p:nvPr/>
          </p:nvSpPr>
          <p:spPr>
            <a:xfrm>
              <a:off x="2244416" y="1554544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32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0" name="Google Shape;6290;p53"/>
            <p:cNvSpPr/>
            <p:nvPr/>
          </p:nvSpPr>
          <p:spPr>
            <a:xfrm>
              <a:off x="2233622" y="154998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1" name="Google Shape;6291;p53"/>
            <p:cNvSpPr/>
            <p:nvPr/>
          </p:nvSpPr>
          <p:spPr>
            <a:xfrm>
              <a:off x="2247267" y="1554789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42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2" name="Google Shape;6292;p53"/>
            <p:cNvSpPr/>
            <p:nvPr/>
          </p:nvSpPr>
          <p:spPr>
            <a:xfrm>
              <a:off x="2246412" y="1554694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42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3" name="Google Shape;6293;p53"/>
            <p:cNvSpPr/>
            <p:nvPr/>
          </p:nvSpPr>
          <p:spPr>
            <a:xfrm>
              <a:off x="2243941" y="1554504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4" name="Google Shape;6294;p53"/>
            <p:cNvSpPr/>
            <p:nvPr/>
          </p:nvSpPr>
          <p:spPr>
            <a:xfrm>
              <a:off x="2242420" y="15545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5" name="Google Shape;6295;p53"/>
            <p:cNvSpPr/>
            <p:nvPr/>
          </p:nvSpPr>
          <p:spPr>
            <a:xfrm>
              <a:off x="2242230" y="155450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6" name="Google Shape;6296;p53"/>
            <p:cNvSpPr/>
            <p:nvPr/>
          </p:nvSpPr>
          <p:spPr>
            <a:xfrm>
              <a:off x="2228530" y="1550023"/>
              <a:ext cx="964" cy="109"/>
            </a:xfrm>
            <a:custGeom>
              <a:avLst/>
              <a:gdLst/>
              <a:ahLst/>
              <a:cxnLst/>
              <a:rect l="l" t="t" r="r" b="b"/>
              <a:pathLst>
                <a:path w="71" h="8" extrusionOk="0">
                  <a:moveTo>
                    <a:pt x="1" y="8"/>
                  </a:moveTo>
                  <a:lnTo>
                    <a:pt x="7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7" name="Google Shape;6297;p53"/>
            <p:cNvSpPr/>
            <p:nvPr/>
          </p:nvSpPr>
          <p:spPr>
            <a:xfrm>
              <a:off x="2243506" y="155444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8" name="Google Shape;6298;p53"/>
            <p:cNvSpPr/>
            <p:nvPr/>
          </p:nvSpPr>
          <p:spPr>
            <a:xfrm>
              <a:off x="2242841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9" name="Google Shape;6299;p53"/>
            <p:cNvSpPr/>
            <p:nvPr/>
          </p:nvSpPr>
          <p:spPr>
            <a:xfrm>
              <a:off x="2242610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0" name="Google Shape;6300;p53"/>
            <p:cNvSpPr/>
            <p:nvPr/>
          </p:nvSpPr>
          <p:spPr>
            <a:xfrm>
              <a:off x="2232441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1" name="Google Shape;6301;p53"/>
            <p:cNvSpPr/>
            <p:nvPr/>
          </p:nvSpPr>
          <p:spPr>
            <a:xfrm>
              <a:off x="2242081" y="155454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2" name="Google Shape;6302;p53"/>
            <p:cNvSpPr/>
            <p:nvPr/>
          </p:nvSpPr>
          <p:spPr>
            <a:xfrm>
              <a:off x="2243126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3" name="Google Shape;6303;p53"/>
            <p:cNvSpPr/>
            <p:nvPr/>
          </p:nvSpPr>
          <p:spPr>
            <a:xfrm>
              <a:off x="2230581" y="1549928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43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4" name="Google Shape;6304;p53"/>
            <p:cNvSpPr/>
            <p:nvPr/>
          </p:nvSpPr>
          <p:spPr>
            <a:xfrm>
              <a:off x="2234912" y="155011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5" name="Google Shape;6305;p53"/>
            <p:cNvSpPr/>
            <p:nvPr/>
          </p:nvSpPr>
          <p:spPr>
            <a:xfrm>
              <a:off x="2233011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6" name="Google Shape;6306;p53"/>
            <p:cNvSpPr/>
            <p:nvPr/>
          </p:nvSpPr>
          <p:spPr>
            <a:xfrm>
              <a:off x="2231436" y="1549928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7" name="Google Shape;6307;p53"/>
            <p:cNvSpPr/>
            <p:nvPr/>
          </p:nvSpPr>
          <p:spPr>
            <a:xfrm>
              <a:off x="2235197" y="155030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8" name="Google Shape;6308;p53"/>
            <p:cNvSpPr/>
            <p:nvPr/>
          </p:nvSpPr>
          <p:spPr>
            <a:xfrm>
              <a:off x="2242040" y="15545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9" name="Google Shape;6309;p53"/>
            <p:cNvSpPr/>
            <p:nvPr/>
          </p:nvSpPr>
          <p:spPr>
            <a:xfrm>
              <a:off x="2233486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0" name="Google Shape;6310;p53"/>
            <p:cNvSpPr/>
            <p:nvPr/>
          </p:nvSpPr>
          <p:spPr>
            <a:xfrm>
              <a:off x="2235007" y="155017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1" name="Google Shape;6311;p53"/>
            <p:cNvSpPr/>
            <p:nvPr/>
          </p:nvSpPr>
          <p:spPr>
            <a:xfrm>
              <a:off x="2295603" y="2007327"/>
              <a:ext cx="56822" cy="70087"/>
            </a:xfrm>
            <a:custGeom>
              <a:avLst/>
              <a:gdLst/>
              <a:ahLst/>
              <a:cxnLst/>
              <a:rect l="l" t="t" r="r" b="b"/>
              <a:pathLst>
                <a:path w="4185" h="5162" extrusionOk="0">
                  <a:moveTo>
                    <a:pt x="638" y="1"/>
                  </a:moveTo>
                  <a:cubicBezTo>
                    <a:pt x="602" y="1"/>
                    <a:pt x="556" y="5"/>
                    <a:pt x="498" y="16"/>
                  </a:cubicBezTo>
                  <a:lnTo>
                    <a:pt x="491" y="16"/>
                  </a:lnTo>
                  <a:cubicBezTo>
                    <a:pt x="375" y="40"/>
                    <a:pt x="151" y="187"/>
                    <a:pt x="109" y="250"/>
                  </a:cubicBezTo>
                  <a:cubicBezTo>
                    <a:pt x="109" y="254"/>
                    <a:pt x="106" y="257"/>
                    <a:pt x="106" y="261"/>
                  </a:cubicBezTo>
                  <a:cubicBezTo>
                    <a:pt x="106" y="268"/>
                    <a:pt x="102" y="275"/>
                    <a:pt x="99" y="278"/>
                  </a:cubicBezTo>
                  <a:lnTo>
                    <a:pt x="95" y="289"/>
                  </a:lnTo>
                  <a:cubicBezTo>
                    <a:pt x="95" y="292"/>
                    <a:pt x="92" y="296"/>
                    <a:pt x="92" y="296"/>
                  </a:cubicBezTo>
                  <a:lnTo>
                    <a:pt x="85" y="306"/>
                  </a:lnTo>
                  <a:lnTo>
                    <a:pt x="81" y="313"/>
                  </a:lnTo>
                  <a:lnTo>
                    <a:pt x="74" y="324"/>
                  </a:lnTo>
                  <a:lnTo>
                    <a:pt x="67" y="331"/>
                  </a:lnTo>
                  <a:lnTo>
                    <a:pt x="284" y="527"/>
                  </a:lnTo>
                  <a:lnTo>
                    <a:pt x="340" y="919"/>
                  </a:lnTo>
                  <a:lnTo>
                    <a:pt x="568" y="1118"/>
                  </a:lnTo>
                  <a:lnTo>
                    <a:pt x="568" y="1146"/>
                  </a:lnTo>
                  <a:cubicBezTo>
                    <a:pt x="568" y="1300"/>
                    <a:pt x="557" y="1451"/>
                    <a:pt x="540" y="1601"/>
                  </a:cubicBezTo>
                  <a:cubicBezTo>
                    <a:pt x="508" y="1854"/>
                    <a:pt x="291" y="2148"/>
                    <a:pt x="155" y="2284"/>
                  </a:cubicBezTo>
                  <a:lnTo>
                    <a:pt x="155" y="2288"/>
                  </a:lnTo>
                  <a:lnTo>
                    <a:pt x="151" y="2291"/>
                  </a:lnTo>
                  <a:lnTo>
                    <a:pt x="148" y="2295"/>
                  </a:lnTo>
                  <a:lnTo>
                    <a:pt x="144" y="2302"/>
                  </a:lnTo>
                  <a:lnTo>
                    <a:pt x="141" y="2309"/>
                  </a:lnTo>
                  <a:lnTo>
                    <a:pt x="141" y="2312"/>
                  </a:lnTo>
                  <a:lnTo>
                    <a:pt x="137" y="2319"/>
                  </a:lnTo>
                  <a:lnTo>
                    <a:pt x="137" y="2323"/>
                  </a:lnTo>
                  <a:lnTo>
                    <a:pt x="130" y="2333"/>
                  </a:lnTo>
                  <a:lnTo>
                    <a:pt x="130" y="2337"/>
                  </a:lnTo>
                  <a:lnTo>
                    <a:pt x="123" y="2351"/>
                  </a:lnTo>
                  <a:cubicBezTo>
                    <a:pt x="120" y="2365"/>
                    <a:pt x="113" y="2375"/>
                    <a:pt x="106" y="2393"/>
                  </a:cubicBezTo>
                  <a:lnTo>
                    <a:pt x="106" y="2396"/>
                  </a:lnTo>
                  <a:lnTo>
                    <a:pt x="95" y="2417"/>
                  </a:lnTo>
                  <a:lnTo>
                    <a:pt x="92" y="2424"/>
                  </a:lnTo>
                  <a:lnTo>
                    <a:pt x="85" y="2442"/>
                  </a:lnTo>
                  <a:lnTo>
                    <a:pt x="81" y="2452"/>
                  </a:lnTo>
                  <a:lnTo>
                    <a:pt x="71" y="2473"/>
                  </a:lnTo>
                  <a:lnTo>
                    <a:pt x="67" y="2484"/>
                  </a:lnTo>
                  <a:lnTo>
                    <a:pt x="57" y="2505"/>
                  </a:lnTo>
                  <a:lnTo>
                    <a:pt x="53" y="2519"/>
                  </a:lnTo>
                  <a:lnTo>
                    <a:pt x="50" y="2529"/>
                  </a:lnTo>
                  <a:cubicBezTo>
                    <a:pt x="211" y="2575"/>
                    <a:pt x="410" y="2659"/>
                    <a:pt x="389" y="2785"/>
                  </a:cubicBezTo>
                  <a:cubicBezTo>
                    <a:pt x="372" y="2876"/>
                    <a:pt x="281" y="2907"/>
                    <a:pt x="197" y="2935"/>
                  </a:cubicBezTo>
                  <a:cubicBezTo>
                    <a:pt x="74" y="2981"/>
                    <a:pt x="1" y="3012"/>
                    <a:pt x="1" y="3124"/>
                  </a:cubicBezTo>
                  <a:lnTo>
                    <a:pt x="1" y="3142"/>
                  </a:lnTo>
                  <a:lnTo>
                    <a:pt x="2070" y="4238"/>
                  </a:lnTo>
                  <a:lnTo>
                    <a:pt x="2042" y="4581"/>
                  </a:lnTo>
                  <a:lnTo>
                    <a:pt x="2115" y="4637"/>
                  </a:lnTo>
                  <a:lnTo>
                    <a:pt x="2126" y="4644"/>
                  </a:lnTo>
                  <a:lnTo>
                    <a:pt x="2150" y="4661"/>
                  </a:lnTo>
                  <a:lnTo>
                    <a:pt x="2164" y="4672"/>
                  </a:lnTo>
                  <a:lnTo>
                    <a:pt x="2185" y="4686"/>
                  </a:lnTo>
                  <a:lnTo>
                    <a:pt x="2213" y="4707"/>
                  </a:lnTo>
                  <a:lnTo>
                    <a:pt x="2231" y="4717"/>
                  </a:lnTo>
                  <a:lnTo>
                    <a:pt x="2262" y="4742"/>
                  </a:lnTo>
                  <a:lnTo>
                    <a:pt x="2276" y="4752"/>
                  </a:lnTo>
                  <a:lnTo>
                    <a:pt x="2322" y="4784"/>
                  </a:lnTo>
                  <a:lnTo>
                    <a:pt x="2329" y="4787"/>
                  </a:lnTo>
                  <a:lnTo>
                    <a:pt x="2381" y="4826"/>
                  </a:lnTo>
                  <a:lnTo>
                    <a:pt x="2388" y="4829"/>
                  </a:lnTo>
                  <a:lnTo>
                    <a:pt x="2441" y="4868"/>
                  </a:lnTo>
                  <a:lnTo>
                    <a:pt x="2448" y="4875"/>
                  </a:lnTo>
                  <a:lnTo>
                    <a:pt x="2504" y="4913"/>
                  </a:lnTo>
                  <a:lnTo>
                    <a:pt x="2514" y="4920"/>
                  </a:lnTo>
                  <a:lnTo>
                    <a:pt x="2570" y="4959"/>
                  </a:lnTo>
                  <a:lnTo>
                    <a:pt x="2581" y="4966"/>
                  </a:lnTo>
                  <a:lnTo>
                    <a:pt x="2637" y="5008"/>
                  </a:lnTo>
                  <a:lnTo>
                    <a:pt x="2647" y="5015"/>
                  </a:lnTo>
                  <a:lnTo>
                    <a:pt x="2703" y="5053"/>
                  </a:lnTo>
                  <a:lnTo>
                    <a:pt x="2717" y="5064"/>
                  </a:lnTo>
                  <a:lnTo>
                    <a:pt x="2766" y="5099"/>
                  </a:lnTo>
                  <a:lnTo>
                    <a:pt x="2791" y="5113"/>
                  </a:lnTo>
                  <a:lnTo>
                    <a:pt x="2822" y="5137"/>
                  </a:lnTo>
                  <a:lnTo>
                    <a:pt x="2861" y="5162"/>
                  </a:lnTo>
                  <a:cubicBezTo>
                    <a:pt x="3053" y="4689"/>
                    <a:pt x="3298" y="4150"/>
                    <a:pt x="3372" y="4038"/>
                  </a:cubicBezTo>
                  <a:cubicBezTo>
                    <a:pt x="3428" y="3954"/>
                    <a:pt x="3505" y="3884"/>
                    <a:pt x="3600" y="3842"/>
                  </a:cubicBezTo>
                  <a:cubicBezTo>
                    <a:pt x="3645" y="3821"/>
                    <a:pt x="3691" y="3789"/>
                    <a:pt x="3722" y="3751"/>
                  </a:cubicBezTo>
                  <a:cubicBezTo>
                    <a:pt x="3755" y="3703"/>
                    <a:pt x="3807" y="3675"/>
                    <a:pt x="3860" y="3675"/>
                  </a:cubicBezTo>
                  <a:cubicBezTo>
                    <a:pt x="3869" y="3675"/>
                    <a:pt x="3878" y="3676"/>
                    <a:pt x="3887" y="3677"/>
                  </a:cubicBezTo>
                  <a:cubicBezTo>
                    <a:pt x="3888" y="3677"/>
                    <a:pt x="3890" y="3677"/>
                    <a:pt x="3892" y="3677"/>
                  </a:cubicBezTo>
                  <a:cubicBezTo>
                    <a:pt x="3921" y="3677"/>
                    <a:pt x="3947" y="3674"/>
                    <a:pt x="4020" y="3562"/>
                  </a:cubicBezTo>
                  <a:cubicBezTo>
                    <a:pt x="4027" y="3551"/>
                    <a:pt x="4034" y="3537"/>
                    <a:pt x="4041" y="3527"/>
                  </a:cubicBezTo>
                  <a:lnTo>
                    <a:pt x="3785" y="3121"/>
                  </a:lnTo>
                  <a:lnTo>
                    <a:pt x="3754" y="1122"/>
                  </a:lnTo>
                  <a:lnTo>
                    <a:pt x="4016" y="712"/>
                  </a:lnTo>
                  <a:lnTo>
                    <a:pt x="4184" y="471"/>
                  </a:lnTo>
                  <a:lnTo>
                    <a:pt x="4160" y="481"/>
                  </a:lnTo>
                  <a:lnTo>
                    <a:pt x="4139" y="488"/>
                  </a:lnTo>
                  <a:lnTo>
                    <a:pt x="4128" y="492"/>
                  </a:lnTo>
                  <a:lnTo>
                    <a:pt x="4111" y="495"/>
                  </a:lnTo>
                  <a:lnTo>
                    <a:pt x="4104" y="499"/>
                  </a:lnTo>
                  <a:lnTo>
                    <a:pt x="4090" y="502"/>
                  </a:lnTo>
                  <a:lnTo>
                    <a:pt x="4083" y="502"/>
                  </a:lnTo>
                  <a:lnTo>
                    <a:pt x="4072" y="509"/>
                  </a:lnTo>
                  <a:cubicBezTo>
                    <a:pt x="4044" y="523"/>
                    <a:pt x="4013" y="530"/>
                    <a:pt x="3981" y="530"/>
                  </a:cubicBezTo>
                  <a:cubicBezTo>
                    <a:pt x="3946" y="530"/>
                    <a:pt x="3911" y="527"/>
                    <a:pt x="3880" y="513"/>
                  </a:cubicBezTo>
                  <a:cubicBezTo>
                    <a:pt x="3810" y="488"/>
                    <a:pt x="3750" y="439"/>
                    <a:pt x="3719" y="373"/>
                  </a:cubicBezTo>
                  <a:cubicBezTo>
                    <a:pt x="3713" y="370"/>
                    <a:pt x="3704" y="369"/>
                    <a:pt x="3693" y="369"/>
                  </a:cubicBezTo>
                  <a:cubicBezTo>
                    <a:pt x="3631" y="369"/>
                    <a:pt x="3496" y="404"/>
                    <a:pt x="3333" y="495"/>
                  </a:cubicBezTo>
                  <a:cubicBezTo>
                    <a:pt x="3256" y="544"/>
                    <a:pt x="3190" y="607"/>
                    <a:pt x="3130" y="677"/>
                  </a:cubicBezTo>
                  <a:lnTo>
                    <a:pt x="3113" y="698"/>
                  </a:lnTo>
                  <a:lnTo>
                    <a:pt x="3109" y="702"/>
                  </a:lnTo>
                  <a:lnTo>
                    <a:pt x="3092" y="723"/>
                  </a:lnTo>
                  <a:lnTo>
                    <a:pt x="3074" y="740"/>
                  </a:lnTo>
                  <a:lnTo>
                    <a:pt x="3071" y="744"/>
                  </a:lnTo>
                  <a:lnTo>
                    <a:pt x="3050" y="761"/>
                  </a:lnTo>
                  <a:lnTo>
                    <a:pt x="3046" y="761"/>
                  </a:lnTo>
                  <a:lnTo>
                    <a:pt x="3032" y="775"/>
                  </a:lnTo>
                  <a:lnTo>
                    <a:pt x="3025" y="779"/>
                  </a:lnTo>
                  <a:cubicBezTo>
                    <a:pt x="3022" y="782"/>
                    <a:pt x="3015" y="786"/>
                    <a:pt x="3008" y="789"/>
                  </a:cubicBezTo>
                  <a:lnTo>
                    <a:pt x="3004" y="789"/>
                  </a:lnTo>
                  <a:lnTo>
                    <a:pt x="2987" y="793"/>
                  </a:lnTo>
                  <a:lnTo>
                    <a:pt x="2983" y="793"/>
                  </a:lnTo>
                  <a:cubicBezTo>
                    <a:pt x="2976" y="796"/>
                    <a:pt x="2969" y="796"/>
                    <a:pt x="2962" y="796"/>
                  </a:cubicBezTo>
                  <a:lnTo>
                    <a:pt x="2934" y="796"/>
                  </a:lnTo>
                  <a:lnTo>
                    <a:pt x="2924" y="793"/>
                  </a:lnTo>
                  <a:lnTo>
                    <a:pt x="2920" y="793"/>
                  </a:lnTo>
                  <a:lnTo>
                    <a:pt x="2906" y="786"/>
                  </a:lnTo>
                  <a:lnTo>
                    <a:pt x="2903" y="786"/>
                  </a:lnTo>
                  <a:cubicBezTo>
                    <a:pt x="2868" y="761"/>
                    <a:pt x="2661" y="726"/>
                    <a:pt x="2497" y="705"/>
                  </a:cubicBezTo>
                  <a:cubicBezTo>
                    <a:pt x="2434" y="695"/>
                    <a:pt x="2371" y="691"/>
                    <a:pt x="2311" y="688"/>
                  </a:cubicBezTo>
                  <a:cubicBezTo>
                    <a:pt x="2273" y="684"/>
                    <a:pt x="2234" y="677"/>
                    <a:pt x="2199" y="660"/>
                  </a:cubicBezTo>
                  <a:cubicBezTo>
                    <a:pt x="2171" y="649"/>
                    <a:pt x="2140" y="635"/>
                    <a:pt x="2108" y="618"/>
                  </a:cubicBezTo>
                  <a:cubicBezTo>
                    <a:pt x="1940" y="530"/>
                    <a:pt x="1783" y="425"/>
                    <a:pt x="1636" y="306"/>
                  </a:cubicBezTo>
                  <a:cubicBezTo>
                    <a:pt x="1587" y="261"/>
                    <a:pt x="1461" y="250"/>
                    <a:pt x="1356" y="243"/>
                  </a:cubicBezTo>
                  <a:lnTo>
                    <a:pt x="1314" y="240"/>
                  </a:lnTo>
                  <a:cubicBezTo>
                    <a:pt x="1212" y="236"/>
                    <a:pt x="1138" y="233"/>
                    <a:pt x="1089" y="205"/>
                  </a:cubicBezTo>
                  <a:lnTo>
                    <a:pt x="1065" y="194"/>
                  </a:lnTo>
                  <a:cubicBezTo>
                    <a:pt x="1044" y="184"/>
                    <a:pt x="1023" y="173"/>
                    <a:pt x="995" y="163"/>
                  </a:cubicBezTo>
                  <a:lnTo>
                    <a:pt x="925" y="135"/>
                  </a:lnTo>
                  <a:lnTo>
                    <a:pt x="911" y="128"/>
                  </a:lnTo>
                  <a:lnTo>
                    <a:pt x="869" y="114"/>
                  </a:lnTo>
                  <a:cubicBezTo>
                    <a:pt x="844" y="100"/>
                    <a:pt x="816" y="82"/>
                    <a:pt x="792" y="65"/>
                  </a:cubicBezTo>
                  <a:lnTo>
                    <a:pt x="785" y="61"/>
                  </a:lnTo>
                  <a:cubicBezTo>
                    <a:pt x="774" y="54"/>
                    <a:pt x="764" y="44"/>
                    <a:pt x="757" y="33"/>
                  </a:cubicBezTo>
                  <a:cubicBezTo>
                    <a:pt x="747" y="21"/>
                    <a:pt x="718" y="1"/>
                    <a:pt x="63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2" name="Google Shape;6312;p53"/>
            <p:cNvSpPr/>
            <p:nvPr/>
          </p:nvSpPr>
          <p:spPr>
            <a:xfrm>
              <a:off x="2349886" y="2013858"/>
              <a:ext cx="2254" cy="3286"/>
            </a:xfrm>
            <a:custGeom>
              <a:avLst/>
              <a:gdLst/>
              <a:ahLst/>
              <a:cxnLst/>
              <a:rect l="l" t="t" r="r" b="b"/>
              <a:pathLst>
                <a:path w="166" h="242" extrusionOk="0">
                  <a:moveTo>
                    <a:pt x="1" y="242"/>
                  </a:moveTo>
                  <a:lnTo>
                    <a:pt x="165" y="0"/>
                  </a:lnTo>
                  <a:lnTo>
                    <a:pt x="16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3" name="Google Shape;6313;p53"/>
            <p:cNvSpPr/>
            <p:nvPr/>
          </p:nvSpPr>
          <p:spPr>
            <a:xfrm>
              <a:off x="2308149" y="2009201"/>
              <a:ext cx="964" cy="394"/>
            </a:xfrm>
            <a:custGeom>
              <a:avLst/>
              <a:gdLst/>
              <a:ahLst/>
              <a:cxnLst/>
              <a:rect l="l" t="t" r="r" b="b"/>
              <a:pathLst>
                <a:path w="71" h="29" extrusionOk="0">
                  <a:moveTo>
                    <a:pt x="1" y="0"/>
                  </a:moveTo>
                  <a:lnTo>
                    <a:pt x="71" y="28"/>
                  </a:lnTo>
                  <a:lnTo>
                    <a:pt x="53" y="2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4" name="Google Shape;6314;p53"/>
            <p:cNvSpPr/>
            <p:nvPr/>
          </p:nvSpPr>
          <p:spPr>
            <a:xfrm>
              <a:off x="2302310" y="2007341"/>
              <a:ext cx="3530" cy="448"/>
            </a:xfrm>
            <a:custGeom>
              <a:avLst/>
              <a:gdLst/>
              <a:ahLst/>
              <a:cxnLst/>
              <a:rect l="l" t="t" r="r" b="b"/>
              <a:pathLst>
                <a:path w="260" h="33" extrusionOk="0">
                  <a:moveTo>
                    <a:pt x="148" y="1"/>
                  </a:moveTo>
                  <a:cubicBezTo>
                    <a:pt x="112" y="1"/>
                    <a:pt x="64" y="5"/>
                    <a:pt x="0" y="18"/>
                  </a:cubicBezTo>
                  <a:lnTo>
                    <a:pt x="0" y="18"/>
                  </a:lnTo>
                  <a:cubicBezTo>
                    <a:pt x="61" y="6"/>
                    <a:pt x="108" y="1"/>
                    <a:pt x="144" y="1"/>
                  </a:cubicBezTo>
                  <a:cubicBezTo>
                    <a:pt x="222" y="1"/>
                    <a:pt x="250" y="22"/>
                    <a:pt x="259" y="32"/>
                  </a:cubicBezTo>
                  <a:cubicBezTo>
                    <a:pt x="250" y="20"/>
                    <a:pt x="223" y="1"/>
                    <a:pt x="14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5" name="Google Shape;6315;p53"/>
            <p:cNvSpPr/>
            <p:nvPr/>
          </p:nvSpPr>
          <p:spPr>
            <a:xfrm>
              <a:off x="2296513" y="201176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6" name="Google Shape;6316;p53"/>
            <p:cNvSpPr/>
            <p:nvPr/>
          </p:nvSpPr>
          <p:spPr>
            <a:xfrm>
              <a:off x="2296649" y="2011522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7" name="Google Shape;6317;p53"/>
            <p:cNvSpPr/>
            <p:nvPr/>
          </p:nvSpPr>
          <p:spPr>
            <a:xfrm>
              <a:off x="2296798" y="2011237"/>
              <a:ext cx="109" cy="122"/>
            </a:xfrm>
            <a:custGeom>
              <a:avLst/>
              <a:gdLst/>
              <a:ahLst/>
              <a:cxnLst/>
              <a:rect l="l" t="t" r="r" b="b"/>
              <a:pathLst>
                <a:path w="8" h="9" extrusionOk="0">
                  <a:moveTo>
                    <a:pt x="7" y="1"/>
                  </a:moveTo>
                  <a:lnTo>
                    <a:pt x="7" y="1"/>
                  </a:lnTo>
                  <a:cubicBezTo>
                    <a:pt x="5" y="3"/>
                    <a:pt x="3" y="6"/>
                    <a:pt x="2" y="7"/>
                  </a:cubicBezTo>
                  <a:lnTo>
                    <a:pt x="2" y="7"/>
                  </a:lnTo>
                  <a:cubicBezTo>
                    <a:pt x="5" y="6"/>
                    <a:pt x="7" y="4"/>
                    <a:pt x="7" y="1"/>
                  </a:cubicBezTo>
                  <a:close/>
                  <a:moveTo>
                    <a:pt x="2" y="7"/>
                  </a:moveTo>
                  <a:cubicBezTo>
                    <a:pt x="1" y="8"/>
                    <a:pt x="1" y="8"/>
                    <a:pt x="0" y="8"/>
                  </a:cubicBezTo>
                  <a:cubicBezTo>
                    <a:pt x="0" y="8"/>
                    <a:pt x="0" y="9"/>
                    <a:pt x="1" y="9"/>
                  </a:cubicBezTo>
                  <a:cubicBezTo>
                    <a:pt x="1" y="9"/>
                    <a:pt x="1" y="8"/>
                    <a:pt x="2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8" name="Google Shape;6318;p53"/>
            <p:cNvSpPr/>
            <p:nvPr/>
          </p:nvSpPr>
          <p:spPr>
            <a:xfrm>
              <a:off x="2296934" y="2010857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1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9" name="Google Shape;6319;p53"/>
            <p:cNvSpPr/>
            <p:nvPr/>
          </p:nvSpPr>
          <p:spPr>
            <a:xfrm>
              <a:off x="2306248" y="2008196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0" name="Google Shape;6320;p53"/>
            <p:cNvSpPr/>
            <p:nvPr/>
          </p:nvSpPr>
          <p:spPr>
            <a:xfrm>
              <a:off x="2336336" y="201808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1" name="Google Shape;6321;p53"/>
            <p:cNvSpPr/>
            <p:nvPr/>
          </p:nvSpPr>
          <p:spPr>
            <a:xfrm>
              <a:off x="2336675" y="201789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2" name="Google Shape;6322;p53"/>
            <p:cNvSpPr/>
            <p:nvPr/>
          </p:nvSpPr>
          <p:spPr>
            <a:xfrm>
              <a:off x="2348270" y="2014333"/>
              <a:ext cx="1398" cy="244"/>
            </a:xfrm>
            <a:custGeom>
              <a:avLst/>
              <a:gdLst/>
              <a:ahLst/>
              <a:cxnLst/>
              <a:rect l="l" t="t" r="r" b="b"/>
              <a:pathLst>
                <a:path w="103" h="18" extrusionOk="0">
                  <a:moveTo>
                    <a:pt x="102" y="18"/>
                  </a:moveTo>
                  <a:cubicBezTo>
                    <a:pt x="67" y="18"/>
                    <a:pt x="32" y="11"/>
                    <a:pt x="1" y="0"/>
                  </a:cubicBezTo>
                  <a:cubicBezTo>
                    <a:pt x="32" y="11"/>
                    <a:pt x="67" y="18"/>
                    <a:pt x="102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3" name="Google Shape;6323;p53"/>
            <p:cNvSpPr/>
            <p:nvPr/>
          </p:nvSpPr>
          <p:spPr>
            <a:xfrm>
              <a:off x="2335765" y="20182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4" name="Google Shape;6324;p53"/>
            <p:cNvSpPr/>
            <p:nvPr/>
          </p:nvSpPr>
          <p:spPr>
            <a:xfrm>
              <a:off x="2335480" y="201823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5" name="Google Shape;6325;p53"/>
            <p:cNvSpPr/>
            <p:nvPr/>
          </p:nvSpPr>
          <p:spPr>
            <a:xfrm>
              <a:off x="2335249" y="201813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6" name="Google Shape;6326;p53"/>
            <p:cNvSpPr/>
            <p:nvPr/>
          </p:nvSpPr>
          <p:spPr>
            <a:xfrm>
              <a:off x="2336051" y="201817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7" name="Google Shape;6327;p53"/>
            <p:cNvSpPr/>
            <p:nvPr/>
          </p:nvSpPr>
          <p:spPr>
            <a:xfrm>
              <a:off x="2335059" y="201798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8" name="Google Shape;6328;p53"/>
            <p:cNvSpPr/>
            <p:nvPr/>
          </p:nvSpPr>
          <p:spPr>
            <a:xfrm>
              <a:off x="2337816" y="2016804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9" name="Google Shape;6329;p53"/>
            <p:cNvSpPr/>
            <p:nvPr/>
          </p:nvSpPr>
          <p:spPr>
            <a:xfrm>
              <a:off x="2337245" y="201741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0" name="Google Shape;6330;p53"/>
            <p:cNvSpPr/>
            <p:nvPr/>
          </p:nvSpPr>
          <p:spPr>
            <a:xfrm>
              <a:off x="2337571" y="20171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1" name="Google Shape;6331;p53"/>
            <p:cNvSpPr/>
            <p:nvPr/>
          </p:nvSpPr>
          <p:spPr>
            <a:xfrm>
              <a:off x="2336960" y="201770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2" name="Google Shape;6332;p53"/>
            <p:cNvSpPr/>
            <p:nvPr/>
          </p:nvSpPr>
          <p:spPr>
            <a:xfrm>
              <a:off x="2307388" y="2008861"/>
              <a:ext cx="584" cy="258"/>
            </a:xfrm>
            <a:custGeom>
              <a:avLst/>
              <a:gdLst/>
              <a:ahLst/>
              <a:cxnLst/>
              <a:rect l="l" t="t" r="r" b="b"/>
              <a:pathLst>
                <a:path w="43" h="19" extrusionOk="0">
                  <a:moveTo>
                    <a:pt x="1" y="1"/>
                  </a:moveTo>
                  <a:lnTo>
                    <a:pt x="1" y="4"/>
                  </a:lnTo>
                  <a:lnTo>
                    <a:pt x="43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3" name="Google Shape;6333;p53"/>
            <p:cNvSpPr/>
            <p:nvPr/>
          </p:nvSpPr>
          <p:spPr>
            <a:xfrm>
              <a:off x="2324170" y="2015704"/>
              <a:ext cx="1303" cy="584"/>
            </a:xfrm>
            <a:custGeom>
              <a:avLst/>
              <a:gdLst/>
              <a:ahLst/>
              <a:cxnLst/>
              <a:rect l="l" t="t" r="r" b="b"/>
              <a:pathLst>
                <a:path w="96" h="43" extrusionOk="0">
                  <a:moveTo>
                    <a:pt x="1" y="1"/>
                  </a:moveTo>
                  <a:lnTo>
                    <a:pt x="1" y="1"/>
                  </a:lnTo>
                  <a:cubicBezTo>
                    <a:pt x="32" y="22"/>
                    <a:pt x="64" y="32"/>
                    <a:pt x="95" y="43"/>
                  </a:cubicBezTo>
                  <a:cubicBezTo>
                    <a:pt x="64" y="32"/>
                    <a:pt x="36" y="1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4" name="Google Shape;6334;p53"/>
            <p:cNvSpPr/>
            <p:nvPr/>
          </p:nvSpPr>
          <p:spPr>
            <a:xfrm>
              <a:off x="2310050" y="200996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5" name="Google Shape;6335;p53"/>
            <p:cNvSpPr/>
            <p:nvPr/>
          </p:nvSpPr>
          <p:spPr>
            <a:xfrm>
              <a:off x="2351651" y="2013953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6" name="Google Shape;6336;p53"/>
            <p:cNvSpPr/>
            <p:nvPr/>
          </p:nvSpPr>
          <p:spPr>
            <a:xfrm>
              <a:off x="2314001" y="2010626"/>
              <a:ext cx="10183" cy="5092"/>
            </a:xfrm>
            <a:custGeom>
              <a:avLst/>
              <a:gdLst/>
              <a:ahLst/>
              <a:cxnLst/>
              <a:rect l="l" t="t" r="r" b="b"/>
              <a:pathLst>
                <a:path w="750" h="375" extrusionOk="0">
                  <a:moveTo>
                    <a:pt x="1" y="0"/>
                  </a:moveTo>
                  <a:cubicBezTo>
                    <a:pt x="106" y="7"/>
                    <a:pt x="228" y="18"/>
                    <a:pt x="277" y="63"/>
                  </a:cubicBezTo>
                  <a:cubicBezTo>
                    <a:pt x="424" y="182"/>
                    <a:pt x="582" y="287"/>
                    <a:pt x="750" y="375"/>
                  </a:cubicBezTo>
                  <a:cubicBezTo>
                    <a:pt x="582" y="287"/>
                    <a:pt x="424" y="182"/>
                    <a:pt x="277" y="63"/>
                  </a:cubicBezTo>
                  <a:cubicBezTo>
                    <a:pt x="228" y="18"/>
                    <a:pt x="106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7" name="Google Shape;6337;p53"/>
            <p:cNvSpPr/>
            <p:nvPr/>
          </p:nvSpPr>
          <p:spPr>
            <a:xfrm>
              <a:off x="2352072" y="201385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4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8" name="Google Shape;6338;p53"/>
            <p:cNvSpPr/>
            <p:nvPr/>
          </p:nvSpPr>
          <p:spPr>
            <a:xfrm>
              <a:off x="2351027" y="201414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9" name="Google Shape;6339;p53"/>
            <p:cNvSpPr/>
            <p:nvPr/>
          </p:nvSpPr>
          <p:spPr>
            <a:xfrm>
              <a:off x="2351312" y="201404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0" name="Google Shape;6340;p53"/>
            <p:cNvSpPr/>
            <p:nvPr/>
          </p:nvSpPr>
          <p:spPr>
            <a:xfrm>
              <a:off x="2263574" y="2013192"/>
              <a:ext cx="38180" cy="39646"/>
            </a:xfrm>
            <a:custGeom>
              <a:avLst/>
              <a:gdLst/>
              <a:ahLst/>
              <a:cxnLst/>
              <a:rect l="l" t="t" r="r" b="b"/>
              <a:pathLst>
                <a:path w="2812" h="2920" extrusionOk="0">
                  <a:moveTo>
                    <a:pt x="2346" y="0"/>
                  </a:moveTo>
                  <a:lnTo>
                    <a:pt x="2325" y="14"/>
                  </a:lnTo>
                  <a:cubicBezTo>
                    <a:pt x="2290" y="39"/>
                    <a:pt x="2255" y="70"/>
                    <a:pt x="2230" y="102"/>
                  </a:cubicBezTo>
                  <a:cubicBezTo>
                    <a:pt x="2223" y="140"/>
                    <a:pt x="2195" y="175"/>
                    <a:pt x="2160" y="189"/>
                  </a:cubicBezTo>
                  <a:cubicBezTo>
                    <a:pt x="2122" y="210"/>
                    <a:pt x="2068" y="219"/>
                    <a:pt x="2012" y="219"/>
                  </a:cubicBezTo>
                  <a:cubicBezTo>
                    <a:pt x="1934" y="219"/>
                    <a:pt x="1851" y="202"/>
                    <a:pt x="1796" y="175"/>
                  </a:cubicBezTo>
                  <a:cubicBezTo>
                    <a:pt x="1787" y="171"/>
                    <a:pt x="1775" y="169"/>
                    <a:pt x="1761" y="169"/>
                  </a:cubicBezTo>
                  <a:cubicBezTo>
                    <a:pt x="1676" y="169"/>
                    <a:pt x="1510" y="239"/>
                    <a:pt x="1477" y="284"/>
                  </a:cubicBezTo>
                  <a:cubicBezTo>
                    <a:pt x="1474" y="291"/>
                    <a:pt x="1470" y="298"/>
                    <a:pt x="1463" y="305"/>
                  </a:cubicBezTo>
                  <a:lnTo>
                    <a:pt x="1460" y="308"/>
                  </a:lnTo>
                  <a:cubicBezTo>
                    <a:pt x="1453" y="312"/>
                    <a:pt x="1449" y="315"/>
                    <a:pt x="1442" y="319"/>
                  </a:cubicBezTo>
                  <a:cubicBezTo>
                    <a:pt x="1435" y="322"/>
                    <a:pt x="1428" y="326"/>
                    <a:pt x="1421" y="326"/>
                  </a:cubicBezTo>
                  <a:lnTo>
                    <a:pt x="1376" y="326"/>
                  </a:lnTo>
                  <a:lnTo>
                    <a:pt x="1362" y="322"/>
                  </a:lnTo>
                  <a:lnTo>
                    <a:pt x="1355" y="322"/>
                  </a:lnTo>
                  <a:lnTo>
                    <a:pt x="1341" y="319"/>
                  </a:lnTo>
                  <a:lnTo>
                    <a:pt x="1334" y="315"/>
                  </a:lnTo>
                  <a:lnTo>
                    <a:pt x="1320" y="308"/>
                  </a:lnTo>
                  <a:lnTo>
                    <a:pt x="1316" y="308"/>
                  </a:lnTo>
                  <a:lnTo>
                    <a:pt x="1299" y="298"/>
                  </a:lnTo>
                  <a:lnTo>
                    <a:pt x="1292" y="298"/>
                  </a:lnTo>
                  <a:lnTo>
                    <a:pt x="1281" y="287"/>
                  </a:lnTo>
                  <a:lnTo>
                    <a:pt x="1274" y="284"/>
                  </a:lnTo>
                  <a:lnTo>
                    <a:pt x="1260" y="277"/>
                  </a:lnTo>
                  <a:lnTo>
                    <a:pt x="1257" y="273"/>
                  </a:lnTo>
                  <a:lnTo>
                    <a:pt x="1239" y="263"/>
                  </a:lnTo>
                  <a:cubicBezTo>
                    <a:pt x="1194" y="231"/>
                    <a:pt x="1127" y="193"/>
                    <a:pt x="1092" y="193"/>
                  </a:cubicBezTo>
                  <a:cubicBezTo>
                    <a:pt x="994" y="214"/>
                    <a:pt x="900" y="238"/>
                    <a:pt x="805" y="273"/>
                  </a:cubicBezTo>
                  <a:lnTo>
                    <a:pt x="788" y="263"/>
                  </a:lnTo>
                  <a:lnTo>
                    <a:pt x="711" y="287"/>
                  </a:lnTo>
                  <a:lnTo>
                    <a:pt x="707" y="322"/>
                  </a:lnTo>
                  <a:lnTo>
                    <a:pt x="707" y="326"/>
                  </a:lnTo>
                  <a:lnTo>
                    <a:pt x="707" y="343"/>
                  </a:lnTo>
                  <a:lnTo>
                    <a:pt x="707" y="350"/>
                  </a:lnTo>
                  <a:lnTo>
                    <a:pt x="707" y="364"/>
                  </a:lnTo>
                  <a:lnTo>
                    <a:pt x="707" y="378"/>
                  </a:lnTo>
                  <a:lnTo>
                    <a:pt x="707" y="385"/>
                  </a:lnTo>
                  <a:lnTo>
                    <a:pt x="704" y="406"/>
                  </a:lnTo>
                  <a:lnTo>
                    <a:pt x="704" y="413"/>
                  </a:lnTo>
                  <a:lnTo>
                    <a:pt x="704" y="438"/>
                  </a:lnTo>
                  <a:lnTo>
                    <a:pt x="704" y="441"/>
                  </a:lnTo>
                  <a:lnTo>
                    <a:pt x="700" y="466"/>
                  </a:lnTo>
                  <a:lnTo>
                    <a:pt x="700" y="473"/>
                  </a:lnTo>
                  <a:lnTo>
                    <a:pt x="697" y="497"/>
                  </a:lnTo>
                  <a:lnTo>
                    <a:pt x="697" y="504"/>
                  </a:lnTo>
                  <a:lnTo>
                    <a:pt x="693" y="529"/>
                  </a:lnTo>
                  <a:lnTo>
                    <a:pt x="693" y="536"/>
                  </a:lnTo>
                  <a:lnTo>
                    <a:pt x="690" y="557"/>
                  </a:lnTo>
                  <a:lnTo>
                    <a:pt x="690" y="564"/>
                  </a:lnTo>
                  <a:lnTo>
                    <a:pt x="690" y="588"/>
                  </a:lnTo>
                  <a:lnTo>
                    <a:pt x="690" y="599"/>
                  </a:lnTo>
                  <a:lnTo>
                    <a:pt x="690" y="616"/>
                  </a:lnTo>
                  <a:lnTo>
                    <a:pt x="690" y="627"/>
                  </a:lnTo>
                  <a:lnTo>
                    <a:pt x="690" y="644"/>
                  </a:lnTo>
                  <a:lnTo>
                    <a:pt x="690" y="655"/>
                  </a:lnTo>
                  <a:lnTo>
                    <a:pt x="690" y="669"/>
                  </a:lnTo>
                  <a:lnTo>
                    <a:pt x="690" y="679"/>
                  </a:lnTo>
                  <a:lnTo>
                    <a:pt x="690" y="693"/>
                  </a:lnTo>
                  <a:lnTo>
                    <a:pt x="690" y="711"/>
                  </a:lnTo>
                  <a:cubicBezTo>
                    <a:pt x="690" y="749"/>
                    <a:pt x="718" y="774"/>
                    <a:pt x="763" y="809"/>
                  </a:cubicBezTo>
                  <a:cubicBezTo>
                    <a:pt x="809" y="844"/>
                    <a:pt x="872" y="896"/>
                    <a:pt x="872" y="980"/>
                  </a:cubicBezTo>
                  <a:cubicBezTo>
                    <a:pt x="872" y="1061"/>
                    <a:pt x="812" y="1138"/>
                    <a:pt x="763" y="1197"/>
                  </a:cubicBezTo>
                  <a:cubicBezTo>
                    <a:pt x="742" y="1218"/>
                    <a:pt x="725" y="1243"/>
                    <a:pt x="711" y="1271"/>
                  </a:cubicBezTo>
                  <a:cubicBezTo>
                    <a:pt x="693" y="1390"/>
                    <a:pt x="546" y="1446"/>
                    <a:pt x="438" y="1481"/>
                  </a:cubicBezTo>
                  <a:cubicBezTo>
                    <a:pt x="403" y="1492"/>
                    <a:pt x="385" y="1534"/>
                    <a:pt x="361" y="1600"/>
                  </a:cubicBezTo>
                  <a:cubicBezTo>
                    <a:pt x="340" y="1667"/>
                    <a:pt x="301" y="1730"/>
                    <a:pt x="252" y="1775"/>
                  </a:cubicBezTo>
                  <a:cubicBezTo>
                    <a:pt x="214" y="1803"/>
                    <a:pt x="200" y="1873"/>
                    <a:pt x="189" y="1950"/>
                  </a:cubicBezTo>
                  <a:cubicBezTo>
                    <a:pt x="179" y="2013"/>
                    <a:pt x="161" y="2080"/>
                    <a:pt x="137" y="2139"/>
                  </a:cubicBezTo>
                  <a:cubicBezTo>
                    <a:pt x="77" y="2279"/>
                    <a:pt x="46" y="2433"/>
                    <a:pt x="46" y="2584"/>
                  </a:cubicBezTo>
                  <a:lnTo>
                    <a:pt x="46" y="2633"/>
                  </a:lnTo>
                  <a:lnTo>
                    <a:pt x="46" y="2647"/>
                  </a:lnTo>
                  <a:cubicBezTo>
                    <a:pt x="46" y="2661"/>
                    <a:pt x="46" y="2675"/>
                    <a:pt x="46" y="2689"/>
                  </a:cubicBezTo>
                  <a:lnTo>
                    <a:pt x="46" y="2703"/>
                  </a:lnTo>
                  <a:cubicBezTo>
                    <a:pt x="46" y="2720"/>
                    <a:pt x="42" y="2738"/>
                    <a:pt x="39" y="2755"/>
                  </a:cubicBezTo>
                  <a:lnTo>
                    <a:pt x="39" y="2762"/>
                  </a:lnTo>
                  <a:cubicBezTo>
                    <a:pt x="35" y="2780"/>
                    <a:pt x="35" y="2794"/>
                    <a:pt x="32" y="2808"/>
                  </a:cubicBezTo>
                  <a:lnTo>
                    <a:pt x="28" y="2822"/>
                  </a:lnTo>
                  <a:cubicBezTo>
                    <a:pt x="25" y="2836"/>
                    <a:pt x="21" y="2853"/>
                    <a:pt x="18" y="2867"/>
                  </a:cubicBezTo>
                  <a:lnTo>
                    <a:pt x="14" y="2878"/>
                  </a:lnTo>
                  <a:cubicBezTo>
                    <a:pt x="11" y="2892"/>
                    <a:pt x="7" y="2906"/>
                    <a:pt x="0" y="2920"/>
                  </a:cubicBezTo>
                  <a:lnTo>
                    <a:pt x="4" y="2920"/>
                  </a:lnTo>
                  <a:cubicBezTo>
                    <a:pt x="14" y="2920"/>
                    <a:pt x="25" y="2920"/>
                    <a:pt x="35" y="2916"/>
                  </a:cubicBezTo>
                  <a:cubicBezTo>
                    <a:pt x="46" y="2916"/>
                    <a:pt x="53" y="2913"/>
                    <a:pt x="63" y="2909"/>
                  </a:cubicBezTo>
                  <a:lnTo>
                    <a:pt x="70" y="2906"/>
                  </a:lnTo>
                  <a:lnTo>
                    <a:pt x="91" y="2899"/>
                  </a:lnTo>
                  <a:lnTo>
                    <a:pt x="98" y="2895"/>
                  </a:lnTo>
                  <a:lnTo>
                    <a:pt x="126" y="2881"/>
                  </a:lnTo>
                  <a:lnTo>
                    <a:pt x="137" y="2878"/>
                  </a:lnTo>
                  <a:lnTo>
                    <a:pt x="161" y="2867"/>
                  </a:lnTo>
                  <a:lnTo>
                    <a:pt x="165" y="2867"/>
                  </a:lnTo>
                  <a:lnTo>
                    <a:pt x="189" y="2857"/>
                  </a:lnTo>
                  <a:lnTo>
                    <a:pt x="224" y="2843"/>
                  </a:lnTo>
                  <a:lnTo>
                    <a:pt x="263" y="2829"/>
                  </a:lnTo>
                  <a:lnTo>
                    <a:pt x="270" y="2829"/>
                  </a:lnTo>
                  <a:lnTo>
                    <a:pt x="301" y="2818"/>
                  </a:lnTo>
                  <a:lnTo>
                    <a:pt x="326" y="2811"/>
                  </a:lnTo>
                  <a:lnTo>
                    <a:pt x="340" y="2808"/>
                  </a:lnTo>
                  <a:lnTo>
                    <a:pt x="378" y="2797"/>
                  </a:lnTo>
                  <a:lnTo>
                    <a:pt x="417" y="2787"/>
                  </a:lnTo>
                  <a:lnTo>
                    <a:pt x="497" y="2762"/>
                  </a:lnTo>
                  <a:lnTo>
                    <a:pt x="504" y="2762"/>
                  </a:lnTo>
                  <a:cubicBezTo>
                    <a:pt x="599" y="2734"/>
                    <a:pt x="676" y="2717"/>
                    <a:pt x="700" y="2710"/>
                  </a:cubicBezTo>
                  <a:lnTo>
                    <a:pt x="718" y="2710"/>
                  </a:lnTo>
                  <a:lnTo>
                    <a:pt x="1131" y="2675"/>
                  </a:lnTo>
                  <a:cubicBezTo>
                    <a:pt x="1211" y="2465"/>
                    <a:pt x="1362" y="2146"/>
                    <a:pt x="1575" y="2083"/>
                  </a:cubicBezTo>
                  <a:cubicBezTo>
                    <a:pt x="1665" y="2056"/>
                    <a:pt x="1772" y="2043"/>
                    <a:pt x="1889" y="2043"/>
                  </a:cubicBezTo>
                  <a:cubicBezTo>
                    <a:pt x="2013" y="2043"/>
                    <a:pt x="2147" y="2058"/>
                    <a:pt x="2283" y="2087"/>
                  </a:cubicBezTo>
                  <a:lnTo>
                    <a:pt x="2293" y="2062"/>
                  </a:lnTo>
                  <a:lnTo>
                    <a:pt x="2297" y="2048"/>
                  </a:lnTo>
                  <a:lnTo>
                    <a:pt x="2314" y="2010"/>
                  </a:lnTo>
                  <a:lnTo>
                    <a:pt x="2328" y="1978"/>
                  </a:lnTo>
                  <a:lnTo>
                    <a:pt x="2332" y="1964"/>
                  </a:lnTo>
                  <a:lnTo>
                    <a:pt x="2342" y="1947"/>
                  </a:lnTo>
                  <a:lnTo>
                    <a:pt x="2346" y="1936"/>
                  </a:lnTo>
                  <a:lnTo>
                    <a:pt x="2353" y="1919"/>
                  </a:lnTo>
                  <a:lnTo>
                    <a:pt x="2360" y="1908"/>
                  </a:lnTo>
                  <a:lnTo>
                    <a:pt x="2363" y="1894"/>
                  </a:lnTo>
                  <a:lnTo>
                    <a:pt x="2370" y="1884"/>
                  </a:lnTo>
                  <a:lnTo>
                    <a:pt x="2377" y="1873"/>
                  </a:lnTo>
                  <a:lnTo>
                    <a:pt x="2381" y="1866"/>
                  </a:lnTo>
                  <a:lnTo>
                    <a:pt x="2384" y="1856"/>
                  </a:lnTo>
                  <a:lnTo>
                    <a:pt x="2391" y="1849"/>
                  </a:lnTo>
                  <a:lnTo>
                    <a:pt x="2395" y="1838"/>
                  </a:lnTo>
                  <a:lnTo>
                    <a:pt x="2398" y="1831"/>
                  </a:lnTo>
                  <a:lnTo>
                    <a:pt x="2402" y="1824"/>
                  </a:lnTo>
                  <a:lnTo>
                    <a:pt x="2405" y="1817"/>
                  </a:lnTo>
                  <a:lnTo>
                    <a:pt x="2412" y="1814"/>
                  </a:lnTo>
                  <a:lnTo>
                    <a:pt x="2416" y="1807"/>
                  </a:lnTo>
                  <a:lnTo>
                    <a:pt x="2419" y="1803"/>
                  </a:lnTo>
                  <a:lnTo>
                    <a:pt x="2423" y="1796"/>
                  </a:lnTo>
                  <a:lnTo>
                    <a:pt x="2426" y="1793"/>
                  </a:lnTo>
                  <a:lnTo>
                    <a:pt x="2426" y="1789"/>
                  </a:lnTo>
                  <a:lnTo>
                    <a:pt x="2430" y="1786"/>
                  </a:lnTo>
                  <a:lnTo>
                    <a:pt x="2433" y="1782"/>
                  </a:lnTo>
                  <a:lnTo>
                    <a:pt x="2440" y="1775"/>
                  </a:lnTo>
                  <a:cubicBezTo>
                    <a:pt x="2587" y="1628"/>
                    <a:pt x="2759" y="1365"/>
                    <a:pt x="2783" y="1169"/>
                  </a:cubicBezTo>
                  <a:cubicBezTo>
                    <a:pt x="2804" y="1001"/>
                    <a:pt x="2811" y="826"/>
                    <a:pt x="2811" y="760"/>
                  </a:cubicBezTo>
                  <a:lnTo>
                    <a:pt x="2594" y="567"/>
                  </a:lnTo>
                  <a:lnTo>
                    <a:pt x="2538" y="175"/>
                  </a:lnTo>
                  <a:lnTo>
                    <a:pt x="23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1" name="Google Shape;6341;p53"/>
            <p:cNvSpPr/>
            <p:nvPr/>
          </p:nvSpPr>
          <p:spPr>
            <a:xfrm>
              <a:off x="2263710" y="205268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2" name="Google Shape;6342;p53"/>
            <p:cNvSpPr/>
            <p:nvPr/>
          </p:nvSpPr>
          <p:spPr>
            <a:xfrm>
              <a:off x="2264144" y="20525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3" name="Google Shape;6343;p53"/>
            <p:cNvSpPr/>
            <p:nvPr/>
          </p:nvSpPr>
          <p:spPr>
            <a:xfrm>
              <a:off x="2265135" y="2052024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4" name="Google Shape;6344;p53"/>
            <p:cNvSpPr/>
            <p:nvPr/>
          </p:nvSpPr>
          <p:spPr>
            <a:xfrm>
              <a:off x="2264524" y="205240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5" name="Google Shape;6345;p53"/>
            <p:cNvSpPr/>
            <p:nvPr/>
          </p:nvSpPr>
          <p:spPr>
            <a:xfrm>
              <a:off x="2265475" y="2051834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0" y="11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6" name="Google Shape;6346;p53"/>
            <p:cNvSpPr/>
            <p:nvPr/>
          </p:nvSpPr>
          <p:spPr>
            <a:xfrm>
              <a:off x="2266941" y="2051304"/>
              <a:ext cx="448" cy="163"/>
            </a:xfrm>
            <a:custGeom>
              <a:avLst/>
              <a:gdLst/>
              <a:ahLst/>
              <a:cxnLst/>
              <a:rect l="l" t="t" r="r" b="b"/>
              <a:pathLst>
                <a:path w="33" h="12" extrusionOk="0">
                  <a:moveTo>
                    <a:pt x="1" y="1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7" name="Google Shape;6347;p53"/>
            <p:cNvSpPr/>
            <p:nvPr/>
          </p:nvSpPr>
          <p:spPr>
            <a:xfrm>
              <a:off x="2270037" y="2050503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8" name="Google Shape;6348;p53"/>
            <p:cNvSpPr/>
            <p:nvPr/>
          </p:nvSpPr>
          <p:spPr>
            <a:xfrm>
              <a:off x="2263329" y="20527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9" name="Google Shape;6349;p53"/>
            <p:cNvSpPr/>
            <p:nvPr/>
          </p:nvSpPr>
          <p:spPr>
            <a:xfrm>
              <a:off x="2265896" y="2051644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14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0" name="Google Shape;6350;p53"/>
            <p:cNvSpPr/>
            <p:nvPr/>
          </p:nvSpPr>
          <p:spPr>
            <a:xfrm>
              <a:off x="2266371" y="2051495"/>
              <a:ext cx="543" cy="163"/>
            </a:xfrm>
            <a:custGeom>
              <a:avLst/>
              <a:gdLst/>
              <a:ahLst/>
              <a:cxnLst/>
              <a:rect l="l" t="t" r="r" b="b"/>
              <a:pathLst>
                <a:path w="40" h="12" extrusionOk="0">
                  <a:moveTo>
                    <a:pt x="1" y="11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1" name="Google Shape;6351;p53"/>
            <p:cNvSpPr/>
            <p:nvPr/>
          </p:nvSpPr>
          <p:spPr>
            <a:xfrm>
              <a:off x="2267756" y="2051169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2" name="Google Shape;6352;p53"/>
            <p:cNvSpPr/>
            <p:nvPr/>
          </p:nvSpPr>
          <p:spPr>
            <a:xfrm>
              <a:off x="2280872" y="2017035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3" name="Google Shape;6353;p53"/>
            <p:cNvSpPr/>
            <p:nvPr/>
          </p:nvSpPr>
          <p:spPr>
            <a:xfrm>
              <a:off x="2281958" y="201751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4" name="Google Shape;6354;p53"/>
            <p:cNvSpPr/>
            <p:nvPr/>
          </p:nvSpPr>
          <p:spPr>
            <a:xfrm>
              <a:off x="2283098" y="2017184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5" name="Google Shape;6355;p53"/>
            <p:cNvSpPr/>
            <p:nvPr/>
          </p:nvSpPr>
          <p:spPr>
            <a:xfrm>
              <a:off x="2282338" y="20175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6" name="Google Shape;6356;p53"/>
            <p:cNvSpPr/>
            <p:nvPr/>
          </p:nvSpPr>
          <p:spPr>
            <a:xfrm>
              <a:off x="2282528" y="201751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7" name="Google Shape;6357;p53"/>
            <p:cNvSpPr/>
            <p:nvPr/>
          </p:nvSpPr>
          <p:spPr>
            <a:xfrm>
              <a:off x="2274219" y="2015664"/>
              <a:ext cx="3910" cy="1059"/>
            </a:xfrm>
            <a:custGeom>
              <a:avLst/>
              <a:gdLst/>
              <a:ahLst/>
              <a:cxnLst/>
              <a:rect l="l" t="t" r="r" b="b"/>
              <a:pathLst>
                <a:path w="288" h="78" extrusionOk="0">
                  <a:moveTo>
                    <a:pt x="287" y="0"/>
                  </a:moveTo>
                  <a:cubicBezTo>
                    <a:pt x="189" y="18"/>
                    <a:pt x="95" y="42"/>
                    <a:pt x="0" y="77"/>
                  </a:cubicBezTo>
                  <a:lnTo>
                    <a:pt x="0" y="77"/>
                  </a:lnTo>
                  <a:cubicBezTo>
                    <a:pt x="95" y="42"/>
                    <a:pt x="189" y="18"/>
                    <a:pt x="2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8" name="Google Shape;6358;p53"/>
            <p:cNvSpPr/>
            <p:nvPr/>
          </p:nvSpPr>
          <p:spPr>
            <a:xfrm>
              <a:off x="2282867" y="201737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9" name="Google Shape;6359;p53"/>
            <p:cNvSpPr/>
            <p:nvPr/>
          </p:nvSpPr>
          <p:spPr>
            <a:xfrm>
              <a:off x="2281673" y="201741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0" name="Google Shape;6360;p53"/>
            <p:cNvSpPr/>
            <p:nvPr/>
          </p:nvSpPr>
          <p:spPr>
            <a:xfrm>
              <a:off x="2280586" y="2016899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1" name="Google Shape;6361;p53"/>
            <p:cNvSpPr/>
            <p:nvPr/>
          </p:nvSpPr>
          <p:spPr>
            <a:xfrm>
              <a:off x="2280342" y="201675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2" name="Google Shape;6362;p53"/>
            <p:cNvSpPr/>
            <p:nvPr/>
          </p:nvSpPr>
          <p:spPr>
            <a:xfrm>
              <a:off x="2281442" y="201732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3" name="Google Shape;6363;p53"/>
            <p:cNvSpPr/>
            <p:nvPr/>
          </p:nvSpPr>
          <p:spPr>
            <a:xfrm>
              <a:off x="2281157" y="2017225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4" name="Google Shape;6364;p53"/>
            <p:cNvSpPr/>
            <p:nvPr/>
          </p:nvSpPr>
          <p:spPr>
            <a:xfrm>
              <a:off x="2295793" y="203786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5" name="Google Shape;6365;p53"/>
            <p:cNvSpPr/>
            <p:nvPr/>
          </p:nvSpPr>
          <p:spPr>
            <a:xfrm>
              <a:off x="2295562" y="2038284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6" name="Google Shape;6366;p53"/>
            <p:cNvSpPr/>
            <p:nvPr/>
          </p:nvSpPr>
          <p:spPr>
            <a:xfrm>
              <a:off x="2295413" y="2038569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7" name="Google Shape;6367;p53"/>
            <p:cNvSpPr/>
            <p:nvPr/>
          </p:nvSpPr>
          <p:spPr>
            <a:xfrm>
              <a:off x="2295698" y="203805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8" name="Google Shape;6368;p53"/>
            <p:cNvSpPr/>
            <p:nvPr/>
          </p:nvSpPr>
          <p:spPr>
            <a:xfrm>
              <a:off x="2294897" y="203966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9" name="Google Shape;6369;p53"/>
            <p:cNvSpPr/>
            <p:nvPr/>
          </p:nvSpPr>
          <p:spPr>
            <a:xfrm>
              <a:off x="2295277" y="2038908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0" name="Google Shape;6370;p53"/>
            <p:cNvSpPr/>
            <p:nvPr/>
          </p:nvSpPr>
          <p:spPr>
            <a:xfrm>
              <a:off x="2295087" y="203923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1" name="Google Shape;6371;p53"/>
            <p:cNvSpPr/>
            <p:nvPr/>
          </p:nvSpPr>
          <p:spPr>
            <a:xfrm>
              <a:off x="2296228" y="203729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2" name="Google Shape;6372;p53"/>
            <p:cNvSpPr/>
            <p:nvPr/>
          </p:nvSpPr>
          <p:spPr>
            <a:xfrm>
              <a:off x="2296323" y="203719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3" name="Google Shape;6373;p53"/>
            <p:cNvSpPr/>
            <p:nvPr/>
          </p:nvSpPr>
          <p:spPr>
            <a:xfrm>
              <a:off x="2294707" y="20402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4" name="Google Shape;6374;p53"/>
            <p:cNvSpPr/>
            <p:nvPr/>
          </p:nvSpPr>
          <p:spPr>
            <a:xfrm>
              <a:off x="2295128" y="2013043"/>
              <a:ext cx="2634" cy="2349"/>
            </a:xfrm>
            <a:custGeom>
              <a:avLst/>
              <a:gdLst/>
              <a:ahLst/>
              <a:cxnLst/>
              <a:rect l="l" t="t" r="r" b="b"/>
              <a:pathLst>
                <a:path w="194" h="173" extrusionOk="0">
                  <a:moveTo>
                    <a:pt x="1" y="1"/>
                  </a:moveTo>
                  <a:lnTo>
                    <a:pt x="1" y="1"/>
                  </a:lnTo>
                  <a:lnTo>
                    <a:pt x="193" y="17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5" name="Google Shape;6375;p53"/>
            <p:cNvSpPr/>
            <p:nvPr/>
          </p:nvSpPr>
          <p:spPr>
            <a:xfrm>
              <a:off x="2296133" y="203738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6" name="Google Shape;6376;p53"/>
            <p:cNvSpPr/>
            <p:nvPr/>
          </p:nvSpPr>
          <p:spPr>
            <a:xfrm>
              <a:off x="2295943" y="203767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7" name="Google Shape;6377;p53"/>
            <p:cNvSpPr/>
            <p:nvPr/>
          </p:nvSpPr>
          <p:spPr>
            <a:xfrm>
              <a:off x="2296038" y="203752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8" name="Google Shape;6378;p53"/>
            <p:cNvSpPr/>
            <p:nvPr/>
          </p:nvSpPr>
          <p:spPr>
            <a:xfrm>
              <a:off x="2294422" y="2040809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9" name="Google Shape;6379;p53"/>
            <p:cNvSpPr/>
            <p:nvPr/>
          </p:nvSpPr>
          <p:spPr>
            <a:xfrm>
              <a:off x="2462729" y="1678276"/>
              <a:ext cx="126732" cy="73834"/>
            </a:xfrm>
            <a:custGeom>
              <a:avLst/>
              <a:gdLst/>
              <a:ahLst/>
              <a:cxnLst/>
              <a:rect l="l" t="t" r="r" b="b"/>
              <a:pathLst>
                <a:path w="9334" h="5438" extrusionOk="0">
                  <a:moveTo>
                    <a:pt x="1285" y="0"/>
                  </a:moveTo>
                  <a:lnTo>
                    <a:pt x="64" y="329"/>
                  </a:lnTo>
                  <a:lnTo>
                    <a:pt x="1" y="2661"/>
                  </a:lnTo>
                  <a:lnTo>
                    <a:pt x="8" y="2661"/>
                  </a:lnTo>
                  <a:cubicBezTo>
                    <a:pt x="25" y="2668"/>
                    <a:pt x="46" y="2675"/>
                    <a:pt x="64" y="2682"/>
                  </a:cubicBezTo>
                  <a:lnTo>
                    <a:pt x="71" y="2682"/>
                  </a:lnTo>
                  <a:cubicBezTo>
                    <a:pt x="92" y="2685"/>
                    <a:pt x="113" y="2692"/>
                    <a:pt x="137" y="2696"/>
                  </a:cubicBezTo>
                  <a:lnTo>
                    <a:pt x="151" y="2699"/>
                  </a:lnTo>
                  <a:cubicBezTo>
                    <a:pt x="172" y="2703"/>
                    <a:pt x="197" y="2710"/>
                    <a:pt x="221" y="2713"/>
                  </a:cubicBezTo>
                  <a:lnTo>
                    <a:pt x="235" y="2713"/>
                  </a:lnTo>
                  <a:cubicBezTo>
                    <a:pt x="263" y="2717"/>
                    <a:pt x="291" y="2717"/>
                    <a:pt x="319" y="2720"/>
                  </a:cubicBezTo>
                  <a:cubicBezTo>
                    <a:pt x="327" y="2722"/>
                    <a:pt x="336" y="2723"/>
                    <a:pt x="344" y="2723"/>
                  </a:cubicBezTo>
                  <a:cubicBezTo>
                    <a:pt x="368" y="2723"/>
                    <a:pt x="393" y="2716"/>
                    <a:pt x="414" y="2703"/>
                  </a:cubicBezTo>
                  <a:cubicBezTo>
                    <a:pt x="442" y="2675"/>
                    <a:pt x="442" y="2605"/>
                    <a:pt x="442" y="2552"/>
                  </a:cubicBezTo>
                  <a:lnTo>
                    <a:pt x="442" y="2528"/>
                  </a:lnTo>
                  <a:cubicBezTo>
                    <a:pt x="442" y="2433"/>
                    <a:pt x="529" y="2342"/>
                    <a:pt x="568" y="2307"/>
                  </a:cubicBezTo>
                  <a:cubicBezTo>
                    <a:pt x="645" y="2240"/>
                    <a:pt x="761" y="2169"/>
                    <a:pt x="872" y="2169"/>
                  </a:cubicBezTo>
                  <a:cubicBezTo>
                    <a:pt x="881" y="2169"/>
                    <a:pt x="891" y="2170"/>
                    <a:pt x="900" y="2171"/>
                  </a:cubicBezTo>
                  <a:cubicBezTo>
                    <a:pt x="903" y="2171"/>
                    <a:pt x="906" y="2171"/>
                    <a:pt x="909" y="2171"/>
                  </a:cubicBezTo>
                  <a:cubicBezTo>
                    <a:pt x="948" y="2171"/>
                    <a:pt x="962" y="2148"/>
                    <a:pt x="988" y="2069"/>
                  </a:cubicBezTo>
                  <a:cubicBezTo>
                    <a:pt x="1005" y="2024"/>
                    <a:pt x="1026" y="1961"/>
                    <a:pt x="1089" y="1961"/>
                  </a:cubicBezTo>
                  <a:cubicBezTo>
                    <a:pt x="1124" y="1961"/>
                    <a:pt x="1229" y="1933"/>
                    <a:pt x="1261" y="1880"/>
                  </a:cubicBezTo>
                  <a:cubicBezTo>
                    <a:pt x="1282" y="1842"/>
                    <a:pt x="1320" y="1821"/>
                    <a:pt x="1362" y="1817"/>
                  </a:cubicBezTo>
                  <a:cubicBezTo>
                    <a:pt x="1373" y="1816"/>
                    <a:pt x="1383" y="1816"/>
                    <a:pt x="1394" y="1816"/>
                  </a:cubicBezTo>
                  <a:cubicBezTo>
                    <a:pt x="1425" y="1816"/>
                    <a:pt x="1457" y="1820"/>
                    <a:pt x="1489" y="1828"/>
                  </a:cubicBezTo>
                  <a:cubicBezTo>
                    <a:pt x="1587" y="1852"/>
                    <a:pt x="1678" y="1898"/>
                    <a:pt x="1751" y="1964"/>
                  </a:cubicBezTo>
                  <a:cubicBezTo>
                    <a:pt x="1807" y="2020"/>
                    <a:pt x="1958" y="2052"/>
                    <a:pt x="2080" y="2076"/>
                  </a:cubicBezTo>
                  <a:lnTo>
                    <a:pt x="2140" y="2090"/>
                  </a:lnTo>
                  <a:cubicBezTo>
                    <a:pt x="2336" y="2136"/>
                    <a:pt x="2378" y="2598"/>
                    <a:pt x="2385" y="2713"/>
                  </a:cubicBezTo>
                  <a:cubicBezTo>
                    <a:pt x="2465" y="2745"/>
                    <a:pt x="2794" y="2755"/>
                    <a:pt x="2938" y="2759"/>
                  </a:cubicBezTo>
                  <a:cubicBezTo>
                    <a:pt x="3032" y="2762"/>
                    <a:pt x="3102" y="2762"/>
                    <a:pt x="3137" y="2769"/>
                  </a:cubicBezTo>
                  <a:cubicBezTo>
                    <a:pt x="3239" y="2783"/>
                    <a:pt x="3277" y="2881"/>
                    <a:pt x="3316" y="2972"/>
                  </a:cubicBezTo>
                  <a:cubicBezTo>
                    <a:pt x="3337" y="3035"/>
                    <a:pt x="3368" y="3095"/>
                    <a:pt x="3407" y="3147"/>
                  </a:cubicBezTo>
                  <a:cubicBezTo>
                    <a:pt x="3421" y="3168"/>
                    <a:pt x="3435" y="3186"/>
                    <a:pt x="3445" y="3207"/>
                  </a:cubicBezTo>
                  <a:cubicBezTo>
                    <a:pt x="3526" y="3330"/>
                    <a:pt x="3596" y="3463"/>
                    <a:pt x="3652" y="3603"/>
                  </a:cubicBezTo>
                  <a:lnTo>
                    <a:pt x="3656" y="3617"/>
                  </a:lnTo>
                  <a:cubicBezTo>
                    <a:pt x="3673" y="3652"/>
                    <a:pt x="3799" y="3725"/>
                    <a:pt x="3883" y="3774"/>
                  </a:cubicBezTo>
                  <a:cubicBezTo>
                    <a:pt x="4009" y="3848"/>
                    <a:pt x="4146" y="3925"/>
                    <a:pt x="4202" y="4009"/>
                  </a:cubicBezTo>
                  <a:cubicBezTo>
                    <a:pt x="4282" y="4131"/>
                    <a:pt x="4559" y="4271"/>
                    <a:pt x="4800" y="4355"/>
                  </a:cubicBezTo>
                  <a:cubicBezTo>
                    <a:pt x="4919" y="4401"/>
                    <a:pt x="5035" y="4499"/>
                    <a:pt x="5133" y="4586"/>
                  </a:cubicBezTo>
                  <a:cubicBezTo>
                    <a:pt x="5201" y="4645"/>
                    <a:pt x="5294" y="4726"/>
                    <a:pt x="5334" y="4726"/>
                  </a:cubicBezTo>
                  <a:cubicBezTo>
                    <a:pt x="5334" y="4726"/>
                    <a:pt x="5335" y="4726"/>
                    <a:pt x="5336" y="4726"/>
                  </a:cubicBezTo>
                  <a:cubicBezTo>
                    <a:pt x="5343" y="4725"/>
                    <a:pt x="5351" y="4725"/>
                    <a:pt x="5360" y="4725"/>
                  </a:cubicBezTo>
                  <a:cubicBezTo>
                    <a:pt x="5509" y="4725"/>
                    <a:pt x="5798" y="4865"/>
                    <a:pt x="5858" y="4894"/>
                  </a:cubicBezTo>
                  <a:lnTo>
                    <a:pt x="5889" y="4908"/>
                  </a:lnTo>
                  <a:lnTo>
                    <a:pt x="5928" y="5230"/>
                  </a:lnTo>
                  <a:cubicBezTo>
                    <a:pt x="5935" y="5230"/>
                    <a:pt x="5945" y="5227"/>
                    <a:pt x="5956" y="5227"/>
                  </a:cubicBezTo>
                  <a:lnTo>
                    <a:pt x="5959" y="5227"/>
                  </a:lnTo>
                  <a:cubicBezTo>
                    <a:pt x="5963" y="5225"/>
                    <a:pt x="5967" y="5224"/>
                    <a:pt x="5972" y="5224"/>
                  </a:cubicBezTo>
                  <a:cubicBezTo>
                    <a:pt x="5977" y="5224"/>
                    <a:pt x="5982" y="5225"/>
                    <a:pt x="5987" y="5227"/>
                  </a:cubicBezTo>
                  <a:cubicBezTo>
                    <a:pt x="6022" y="5227"/>
                    <a:pt x="6057" y="5230"/>
                    <a:pt x="6089" y="5244"/>
                  </a:cubicBezTo>
                  <a:cubicBezTo>
                    <a:pt x="6099" y="5248"/>
                    <a:pt x="6110" y="5251"/>
                    <a:pt x="6117" y="5255"/>
                  </a:cubicBezTo>
                  <a:lnTo>
                    <a:pt x="6145" y="5269"/>
                  </a:lnTo>
                  <a:lnTo>
                    <a:pt x="6148" y="5272"/>
                  </a:lnTo>
                  <a:lnTo>
                    <a:pt x="6173" y="5286"/>
                  </a:lnTo>
                  <a:lnTo>
                    <a:pt x="6176" y="5286"/>
                  </a:lnTo>
                  <a:lnTo>
                    <a:pt x="6197" y="5301"/>
                  </a:lnTo>
                  <a:lnTo>
                    <a:pt x="6204" y="5308"/>
                  </a:lnTo>
                  <a:lnTo>
                    <a:pt x="6225" y="5322"/>
                  </a:lnTo>
                  <a:cubicBezTo>
                    <a:pt x="6264" y="5353"/>
                    <a:pt x="6313" y="5378"/>
                    <a:pt x="6365" y="5385"/>
                  </a:cubicBezTo>
                  <a:cubicBezTo>
                    <a:pt x="6379" y="5385"/>
                    <a:pt x="6390" y="5388"/>
                    <a:pt x="6400" y="5388"/>
                  </a:cubicBezTo>
                  <a:lnTo>
                    <a:pt x="6411" y="5392"/>
                  </a:lnTo>
                  <a:cubicBezTo>
                    <a:pt x="6421" y="5392"/>
                    <a:pt x="6428" y="5395"/>
                    <a:pt x="6435" y="5399"/>
                  </a:cubicBezTo>
                  <a:lnTo>
                    <a:pt x="6449" y="5402"/>
                  </a:lnTo>
                  <a:lnTo>
                    <a:pt x="6477" y="5416"/>
                  </a:lnTo>
                  <a:lnTo>
                    <a:pt x="6484" y="5420"/>
                  </a:lnTo>
                  <a:cubicBezTo>
                    <a:pt x="6495" y="5423"/>
                    <a:pt x="6509" y="5430"/>
                    <a:pt x="6519" y="5437"/>
                  </a:cubicBezTo>
                  <a:cubicBezTo>
                    <a:pt x="6530" y="5423"/>
                    <a:pt x="6533" y="5399"/>
                    <a:pt x="6533" y="5381"/>
                  </a:cubicBezTo>
                  <a:lnTo>
                    <a:pt x="6533" y="5364"/>
                  </a:lnTo>
                  <a:cubicBezTo>
                    <a:pt x="6540" y="5339"/>
                    <a:pt x="6544" y="5311"/>
                    <a:pt x="6551" y="5283"/>
                  </a:cubicBezTo>
                  <a:cubicBezTo>
                    <a:pt x="6551" y="5276"/>
                    <a:pt x="6558" y="5269"/>
                    <a:pt x="6558" y="5258"/>
                  </a:cubicBezTo>
                  <a:cubicBezTo>
                    <a:pt x="6565" y="5241"/>
                    <a:pt x="6568" y="5223"/>
                    <a:pt x="6575" y="5206"/>
                  </a:cubicBezTo>
                  <a:cubicBezTo>
                    <a:pt x="6579" y="5199"/>
                    <a:pt x="6582" y="5188"/>
                    <a:pt x="6589" y="5178"/>
                  </a:cubicBezTo>
                  <a:cubicBezTo>
                    <a:pt x="6593" y="5171"/>
                    <a:pt x="6600" y="5150"/>
                    <a:pt x="6610" y="5136"/>
                  </a:cubicBezTo>
                  <a:cubicBezTo>
                    <a:pt x="6617" y="5122"/>
                    <a:pt x="6617" y="5118"/>
                    <a:pt x="6624" y="5108"/>
                  </a:cubicBezTo>
                  <a:cubicBezTo>
                    <a:pt x="6628" y="5101"/>
                    <a:pt x="6642" y="5083"/>
                    <a:pt x="6649" y="5069"/>
                  </a:cubicBezTo>
                  <a:cubicBezTo>
                    <a:pt x="6659" y="5059"/>
                    <a:pt x="6659" y="5055"/>
                    <a:pt x="6666" y="5045"/>
                  </a:cubicBezTo>
                  <a:cubicBezTo>
                    <a:pt x="6673" y="5038"/>
                    <a:pt x="6687" y="5020"/>
                    <a:pt x="6701" y="5006"/>
                  </a:cubicBezTo>
                  <a:cubicBezTo>
                    <a:pt x="6712" y="4996"/>
                    <a:pt x="6712" y="4996"/>
                    <a:pt x="6719" y="4989"/>
                  </a:cubicBezTo>
                  <a:cubicBezTo>
                    <a:pt x="6736" y="4971"/>
                    <a:pt x="6754" y="4954"/>
                    <a:pt x="6775" y="4936"/>
                  </a:cubicBezTo>
                  <a:cubicBezTo>
                    <a:pt x="6778" y="4936"/>
                    <a:pt x="6782" y="4933"/>
                    <a:pt x="6785" y="4929"/>
                  </a:cubicBezTo>
                  <a:cubicBezTo>
                    <a:pt x="6806" y="4901"/>
                    <a:pt x="6799" y="4866"/>
                    <a:pt x="6750" y="4765"/>
                  </a:cubicBezTo>
                  <a:cubicBezTo>
                    <a:pt x="6712" y="4684"/>
                    <a:pt x="6670" y="4590"/>
                    <a:pt x="6687" y="4492"/>
                  </a:cubicBezTo>
                  <a:cubicBezTo>
                    <a:pt x="6694" y="4443"/>
                    <a:pt x="6610" y="4380"/>
                    <a:pt x="6533" y="4327"/>
                  </a:cubicBezTo>
                  <a:cubicBezTo>
                    <a:pt x="6435" y="4261"/>
                    <a:pt x="6323" y="4184"/>
                    <a:pt x="6348" y="4072"/>
                  </a:cubicBezTo>
                  <a:cubicBezTo>
                    <a:pt x="6379" y="3932"/>
                    <a:pt x="6558" y="3900"/>
                    <a:pt x="6715" y="3872"/>
                  </a:cubicBezTo>
                  <a:cubicBezTo>
                    <a:pt x="6778" y="3865"/>
                    <a:pt x="6841" y="3851"/>
                    <a:pt x="6901" y="3830"/>
                  </a:cubicBezTo>
                  <a:cubicBezTo>
                    <a:pt x="6936" y="3816"/>
                    <a:pt x="6943" y="3781"/>
                    <a:pt x="6953" y="3708"/>
                  </a:cubicBezTo>
                  <a:cubicBezTo>
                    <a:pt x="6960" y="3634"/>
                    <a:pt x="6974" y="3519"/>
                    <a:pt x="7107" y="3519"/>
                  </a:cubicBezTo>
                  <a:cubicBezTo>
                    <a:pt x="7202" y="3519"/>
                    <a:pt x="7254" y="3417"/>
                    <a:pt x="7303" y="3270"/>
                  </a:cubicBezTo>
                  <a:cubicBezTo>
                    <a:pt x="7335" y="3175"/>
                    <a:pt x="7418" y="3158"/>
                    <a:pt x="7495" y="3158"/>
                  </a:cubicBezTo>
                  <a:cubicBezTo>
                    <a:pt x="7521" y="3158"/>
                    <a:pt x="7547" y="3160"/>
                    <a:pt x="7569" y="3161"/>
                  </a:cubicBezTo>
                  <a:cubicBezTo>
                    <a:pt x="7596" y="3163"/>
                    <a:pt x="7623" y="3165"/>
                    <a:pt x="7647" y="3165"/>
                  </a:cubicBezTo>
                  <a:cubicBezTo>
                    <a:pt x="7686" y="3165"/>
                    <a:pt x="7721" y="3160"/>
                    <a:pt x="7745" y="3140"/>
                  </a:cubicBezTo>
                  <a:cubicBezTo>
                    <a:pt x="7834" y="3076"/>
                    <a:pt x="7970" y="3011"/>
                    <a:pt x="8075" y="3011"/>
                  </a:cubicBezTo>
                  <a:cubicBezTo>
                    <a:pt x="8089" y="3011"/>
                    <a:pt x="8103" y="3012"/>
                    <a:pt x="8116" y="3014"/>
                  </a:cubicBezTo>
                  <a:cubicBezTo>
                    <a:pt x="8158" y="3021"/>
                    <a:pt x="8193" y="3046"/>
                    <a:pt x="8214" y="3081"/>
                  </a:cubicBezTo>
                  <a:lnTo>
                    <a:pt x="8217" y="3088"/>
                  </a:lnTo>
                  <a:lnTo>
                    <a:pt x="8221" y="3095"/>
                  </a:lnTo>
                  <a:lnTo>
                    <a:pt x="8221" y="3098"/>
                  </a:lnTo>
                  <a:lnTo>
                    <a:pt x="8221" y="3105"/>
                  </a:lnTo>
                  <a:lnTo>
                    <a:pt x="8221" y="3109"/>
                  </a:lnTo>
                  <a:lnTo>
                    <a:pt x="8221" y="3116"/>
                  </a:lnTo>
                  <a:lnTo>
                    <a:pt x="8221" y="3123"/>
                  </a:lnTo>
                  <a:lnTo>
                    <a:pt x="8221" y="3130"/>
                  </a:lnTo>
                  <a:lnTo>
                    <a:pt x="8221" y="3137"/>
                  </a:lnTo>
                  <a:lnTo>
                    <a:pt x="8221" y="3147"/>
                  </a:lnTo>
                  <a:lnTo>
                    <a:pt x="8221" y="3154"/>
                  </a:lnTo>
                  <a:lnTo>
                    <a:pt x="8221" y="3165"/>
                  </a:lnTo>
                  <a:lnTo>
                    <a:pt x="8221" y="3175"/>
                  </a:lnTo>
                  <a:cubicBezTo>
                    <a:pt x="8221" y="3179"/>
                    <a:pt x="8221" y="3186"/>
                    <a:pt x="8217" y="3189"/>
                  </a:cubicBezTo>
                  <a:lnTo>
                    <a:pt x="8214" y="3200"/>
                  </a:lnTo>
                  <a:cubicBezTo>
                    <a:pt x="8214" y="3207"/>
                    <a:pt x="8210" y="3214"/>
                    <a:pt x="8207" y="3221"/>
                  </a:cubicBezTo>
                  <a:lnTo>
                    <a:pt x="8207" y="3228"/>
                  </a:lnTo>
                  <a:cubicBezTo>
                    <a:pt x="8203" y="3239"/>
                    <a:pt x="8200" y="3249"/>
                    <a:pt x="8193" y="3260"/>
                  </a:cubicBezTo>
                  <a:lnTo>
                    <a:pt x="8193" y="3263"/>
                  </a:lnTo>
                  <a:cubicBezTo>
                    <a:pt x="8189" y="3274"/>
                    <a:pt x="8186" y="3288"/>
                    <a:pt x="8179" y="3298"/>
                  </a:cubicBezTo>
                  <a:lnTo>
                    <a:pt x="8172" y="3312"/>
                  </a:lnTo>
                  <a:lnTo>
                    <a:pt x="8158" y="3344"/>
                  </a:lnTo>
                  <a:lnTo>
                    <a:pt x="8151" y="3361"/>
                  </a:lnTo>
                  <a:lnTo>
                    <a:pt x="8133" y="3393"/>
                  </a:lnTo>
                  <a:lnTo>
                    <a:pt x="8123" y="3414"/>
                  </a:lnTo>
                  <a:lnTo>
                    <a:pt x="8102" y="3449"/>
                  </a:lnTo>
                  <a:lnTo>
                    <a:pt x="8088" y="3473"/>
                  </a:lnTo>
                  <a:lnTo>
                    <a:pt x="8077" y="3491"/>
                  </a:lnTo>
                  <a:lnTo>
                    <a:pt x="8119" y="3487"/>
                  </a:lnTo>
                  <a:cubicBezTo>
                    <a:pt x="8196" y="3480"/>
                    <a:pt x="8277" y="3473"/>
                    <a:pt x="8343" y="3459"/>
                  </a:cubicBezTo>
                  <a:lnTo>
                    <a:pt x="8354" y="3459"/>
                  </a:lnTo>
                  <a:cubicBezTo>
                    <a:pt x="8455" y="3442"/>
                    <a:pt x="8525" y="3424"/>
                    <a:pt x="8543" y="3407"/>
                  </a:cubicBezTo>
                  <a:cubicBezTo>
                    <a:pt x="8546" y="3400"/>
                    <a:pt x="8553" y="3396"/>
                    <a:pt x="8557" y="3393"/>
                  </a:cubicBezTo>
                  <a:cubicBezTo>
                    <a:pt x="8560" y="3393"/>
                    <a:pt x="8564" y="3389"/>
                    <a:pt x="8567" y="3386"/>
                  </a:cubicBezTo>
                  <a:cubicBezTo>
                    <a:pt x="8574" y="3382"/>
                    <a:pt x="8578" y="3379"/>
                    <a:pt x="8588" y="3375"/>
                  </a:cubicBezTo>
                  <a:lnTo>
                    <a:pt x="8592" y="3375"/>
                  </a:lnTo>
                  <a:cubicBezTo>
                    <a:pt x="8599" y="3372"/>
                    <a:pt x="8606" y="3368"/>
                    <a:pt x="8613" y="3368"/>
                  </a:cubicBezTo>
                  <a:lnTo>
                    <a:pt x="8634" y="3368"/>
                  </a:lnTo>
                  <a:cubicBezTo>
                    <a:pt x="8686" y="3368"/>
                    <a:pt x="8735" y="3372"/>
                    <a:pt x="8788" y="3386"/>
                  </a:cubicBezTo>
                  <a:cubicBezTo>
                    <a:pt x="8842" y="3395"/>
                    <a:pt x="8888" y="3402"/>
                    <a:pt x="8926" y="3402"/>
                  </a:cubicBezTo>
                  <a:cubicBezTo>
                    <a:pt x="8984" y="3402"/>
                    <a:pt x="9024" y="3386"/>
                    <a:pt x="9047" y="3340"/>
                  </a:cubicBezTo>
                  <a:cubicBezTo>
                    <a:pt x="9113" y="3210"/>
                    <a:pt x="9250" y="3186"/>
                    <a:pt x="9330" y="3168"/>
                  </a:cubicBezTo>
                  <a:lnTo>
                    <a:pt x="9334" y="3168"/>
                  </a:lnTo>
                  <a:cubicBezTo>
                    <a:pt x="9327" y="3161"/>
                    <a:pt x="9316" y="3151"/>
                    <a:pt x="9302" y="3140"/>
                  </a:cubicBezTo>
                  <a:cubicBezTo>
                    <a:pt x="9078" y="2951"/>
                    <a:pt x="8816" y="2811"/>
                    <a:pt x="8697" y="2780"/>
                  </a:cubicBezTo>
                  <a:cubicBezTo>
                    <a:pt x="8686" y="2776"/>
                    <a:pt x="8676" y="2776"/>
                    <a:pt x="8665" y="2773"/>
                  </a:cubicBezTo>
                  <a:lnTo>
                    <a:pt x="8648" y="2773"/>
                  </a:lnTo>
                  <a:cubicBezTo>
                    <a:pt x="8613" y="2850"/>
                    <a:pt x="8539" y="2902"/>
                    <a:pt x="8455" y="2909"/>
                  </a:cubicBezTo>
                  <a:cubicBezTo>
                    <a:pt x="8429" y="2915"/>
                    <a:pt x="8401" y="2918"/>
                    <a:pt x="8371" y="2918"/>
                  </a:cubicBezTo>
                  <a:cubicBezTo>
                    <a:pt x="8276" y="2918"/>
                    <a:pt x="8173" y="2886"/>
                    <a:pt x="8109" y="2808"/>
                  </a:cubicBezTo>
                  <a:lnTo>
                    <a:pt x="8088" y="2783"/>
                  </a:lnTo>
                  <a:cubicBezTo>
                    <a:pt x="8046" y="2724"/>
                    <a:pt x="7993" y="2678"/>
                    <a:pt x="7930" y="2647"/>
                  </a:cubicBezTo>
                  <a:cubicBezTo>
                    <a:pt x="7911" y="2639"/>
                    <a:pt x="7885" y="2632"/>
                    <a:pt x="7847" y="2632"/>
                  </a:cubicBezTo>
                  <a:cubicBezTo>
                    <a:pt x="7814" y="2632"/>
                    <a:pt x="7772" y="2638"/>
                    <a:pt x="7720" y="2654"/>
                  </a:cubicBezTo>
                  <a:lnTo>
                    <a:pt x="7717" y="2654"/>
                  </a:lnTo>
                  <a:cubicBezTo>
                    <a:pt x="7699" y="2661"/>
                    <a:pt x="7681" y="2668"/>
                    <a:pt x="7664" y="2675"/>
                  </a:cubicBezTo>
                  <a:cubicBezTo>
                    <a:pt x="7342" y="2804"/>
                    <a:pt x="7160" y="2962"/>
                    <a:pt x="7142" y="3056"/>
                  </a:cubicBezTo>
                  <a:cubicBezTo>
                    <a:pt x="7121" y="3154"/>
                    <a:pt x="7048" y="3235"/>
                    <a:pt x="6953" y="3270"/>
                  </a:cubicBezTo>
                  <a:lnTo>
                    <a:pt x="6936" y="3274"/>
                  </a:lnTo>
                  <a:lnTo>
                    <a:pt x="6894" y="3274"/>
                  </a:lnTo>
                  <a:cubicBezTo>
                    <a:pt x="6834" y="3274"/>
                    <a:pt x="6768" y="3235"/>
                    <a:pt x="6757" y="3133"/>
                  </a:cubicBezTo>
                  <a:cubicBezTo>
                    <a:pt x="6740" y="3004"/>
                    <a:pt x="6498" y="2944"/>
                    <a:pt x="6351" y="2909"/>
                  </a:cubicBezTo>
                  <a:cubicBezTo>
                    <a:pt x="6292" y="2899"/>
                    <a:pt x="6232" y="2895"/>
                    <a:pt x="6173" y="2895"/>
                  </a:cubicBezTo>
                  <a:cubicBezTo>
                    <a:pt x="6029" y="2895"/>
                    <a:pt x="5851" y="2895"/>
                    <a:pt x="5826" y="2724"/>
                  </a:cubicBezTo>
                  <a:cubicBezTo>
                    <a:pt x="5819" y="2657"/>
                    <a:pt x="5756" y="2573"/>
                    <a:pt x="5697" y="2493"/>
                  </a:cubicBezTo>
                  <a:cubicBezTo>
                    <a:pt x="5619" y="2388"/>
                    <a:pt x="5539" y="2279"/>
                    <a:pt x="5525" y="2160"/>
                  </a:cubicBezTo>
                  <a:cubicBezTo>
                    <a:pt x="5521" y="2104"/>
                    <a:pt x="5518" y="2045"/>
                    <a:pt x="5518" y="1985"/>
                  </a:cubicBezTo>
                  <a:cubicBezTo>
                    <a:pt x="5518" y="1824"/>
                    <a:pt x="5514" y="1719"/>
                    <a:pt x="5444" y="1698"/>
                  </a:cubicBezTo>
                  <a:cubicBezTo>
                    <a:pt x="5339" y="1674"/>
                    <a:pt x="5262" y="1586"/>
                    <a:pt x="5192" y="1509"/>
                  </a:cubicBezTo>
                  <a:cubicBezTo>
                    <a:pt x="5136" y="1443"/>
                    <a:pt x="5077" y="1376"/>
                    <a:pt x="5028" y="1376"/>
                  </a:cubicBezTo>
                  <a:cubicBezTo>
                    <a:pt x="4363" y="1376"/>
                    <a:pt x="3985" y="1362"/>
                    <a:pt x="3904" y="1327"/>
                  </a:cubicBezTo>
                  <a:cubicBezTo>
                    <a:pt x="3901" y="1326"/>
                    <a:pt x="3896" y="1326"/>
                    <a:pt x="3891" y="1326"/>
                  </a:cubicBezTo>
                  <a:cubicBezTo>
                    <a:pt x="3844" y="1326"/>
                    <a:pt x="3730" y="1350"/>
                    <a:pt x="3649" y="1366"/>
                  </a:cubicBezTo>
                  <a:cubicBezTo>
                    <a:pt x="3524" y="1393"/>
                    <a:pt x="3409" y="1418"/>
                    <a:pt x="3319" y="1418"/>
                  </a:cubicBezTo>
                  <a:cubicBezTo>
                    <a:pt x="3235" y="1418"/>
                    <a:pt x="3174" y="1395"/>
                    <a:pt x="3151" y="1331"/>
                  </a:cubicBezTo>
                  <a:cubicBezTo>
                    <a:pt x="3151" y="1324"/>
                    <a:pt x="3148" y="1320"/>
                    <a:pt x="3144" y="1313"/>
                  </a:cubicBezTo>
                  <a:lnTo>
                    <a:pt x="3141" y="1306"/>
                  </a:lnTo>
                  <a:lnTo>
                    <a:pt x="3130" y="1289"/>
                  </a:lnTo>
                  <a:lnTo>
                    <a:pt x="3123" y="1278"/>
                  </a:lnTo>
                  <a:lnTo>
                    <a:pt x="3109" y="1261"/>
                  </a:lnTo>
                  <a:lnTo>
                    <a:pt x="3099" y="1247"/>
                  </a:lnTo>
                  <a:lnTo>
                    <a:pt x="3081" y="1226"/>
                  </a:lnTo>
                  <a:lnTo>
                    <a:pt x="3071" y="1212"/>
                  </a:lnTo>
                  <a:lnTo>
                    <a:pt x="3050" y="1187"/>
                  </a:lnTo>
                  <a:lnTo>
                    <a:pt x="3036" y="1170"/>
                  </a:lnTo>
                  <a:lnTo>
                    <a:pt x="3015" y="1145"/>
                  </a:lnTo>
                  <a:lnTo>
                    <a:pt x="3001" y="1127"/>
                  </a:lnTo>
                  <a:lnTo>
                    <a:pt x="2976" y="1099"/>
                  </a:lnTo>
                  <a:lnTo>
                    <a:pt x="2962" y="1082"/>
                  </a:lnTo>
                  <a:lnTo>
                    <a:pt x="2931" y="1047"/>
                  </a:lnTo>
                  <a:lnTo>
                    <a:pt x="2917" y="1036"/>
                  </a:lnTo>
                  <a:lnTo>
                    <a:pt x="2875" y="987"/>
                  </a:lnTo>
                  <a:lnTo>
                    <a:pt x="2826" y="938"/>
                  </a:lnTo>
                  <a:lnTo>
                    <a:pt x="2819" y="928"/>
                  </a:lnTo>
                  <a:lnTo>
                    <a:pt x="2780" y="889"/>
                  </a:lnTo>
                  <a:lnTo>
                    <a:pt x="2763" y="875"/>
                  </a:lnTo>
                  <a:lnTo>
                    <a:pt x="2731" y="844"/>
                  </a:lnTo>
                  <a:lnTo>
                    <a:pt x="2714" y="823"/>
                  </a:lnTo>
                  <a:lnTo>
                    <a:pt x="2682" y="795"/>
                  </a:lnTo>
                  <a:lnTo>
                    <a:pt x="2665" y="777"/>
                  </a:lnTo>
                  <a:lnTo>
                    <a:pt x="2637" y="753"/>
                  </a:lnTo>
                  <a:lnTo>
                    <a:pt x="2616" y="735"/>
                  </a:lnTo>
                  <a:lnTo>
                    <a:pt x="2605" y="725"/>
                  </a:lnTo>
                  <a:cubicBezTo>
                    <a:pt x="2570" y="795"/>
                    <a:pt x="2518" y="858"/>
                    <a:pt x="2455" y="903"/>
                  </a:cubicBezTo>
                  <a:cubicBezTo>
                    <a:pt x="2270" y="1034"/>
                    <a:pt x="2083" y="1104"/>
                    <a:pt x="1935" y="1104"/>
                  </a:cubicBezTo>
                  <a:cubicBezTo>
                    <a:pt x="1861" y="1104"/>
                    <a:pt x="1797" y="1087"/>
                    <a:pt x="1748" y="1050"/>
                  </a:cubicBezTo>
                  <a:cubicBezTo>
                    <a:pt x="1695" y="1008"/>
                    <a:pt x="1618" y="914"/>
                    <a:pt x="1692" y="714"/>
                  </a:cubicBezTo>
                  <a:cubicBezTo>
                    <a:pt x="1790" y="441"/>
                    <a:pt x="1811" y="154"/>
                    <a:pt x="1741" y="56"/>
                  </a:cubicBezTo>
                  <a:cubicBezTo>
                    <a:pt x="1731" y="41"/>
                    <a:pt x="1713" y="28"/>
                    <a:pt x="1695" y="28"/>
                  </a:cubicBezTo>
                  <a:cubicBezTo>
                    <a:pt x="1692" y="28"/>
                    <a:pt x="1690" y="28"/>
                    <a:pt x="1688" y="28"/>
                  </a:cubicBezTo>
                  <a:cubicBezTo>
                    <a:pt x="1639" y="28"/>
                    <a:pt x="1625" y="277"/>
                    <a:pt x="1618" y="382"/>
                  </a:cubicBezTo>
                  <a:cubicBezTo>
                    <a:pt x="1608" y="595"/>
                    <a:pt x="1601" y="781"/>
                    <a:pt x="1482" y="816"/>
                  </a:cubicBezTo>
                  <a:cubicBezTo>
                    <a:pt x="1470" y="819"/>
                    <a:pt x="1458" y="821"/>
                    <a:pt x="1446" y="821"/>
                  </a:cubicBezTo>
                  <a:cubicBezTo>
                    <a:pt x="1411" y="821"/>
                    <a:pt x="1376" y="806"/>
                    <a:pt x="1355" y="777"/>
                  </a:cubicBezTo>
                  <a:cubicBezTo>
                    <a:pt x="1250" y="665"/>
                    <a:pt x="1222" y="277"/>
                    <a:pt x="12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0" name="Google Shape;6380;p53"/>
            <p:cNvSpPr/>
            <p:nvPr/>
          </p:nvSpPr>
          <p:spPr>
            <a:xfrm>
              <a:off x="2580038" y="1723951"/>
              <a:ext cx="2105" cy="258"/>
            </a:xfrm>
            <a:custGeom>
              <a:avLst/>
              <a:gdLst/>
              <a:ahLst/>
              <a:cxnLst/>
              <a:rect l="l" t="t" r="r" b="b"/>
              <a:pathLst>
                <a:path w="155" h="19" extrusionOk="0">
                  <a:moveTo>
                    <a:pt x="1" y="1"/>
                  </a:moveTo>
                  <a:cubicBezTo>
                    <a:pt x="50" y="1"/>
                    <a:pt x="102" y="4"/>
                    <a:pt x="155" y="18"/>
                  </a:cubicBezTo>
                  <a:cubicBezTo>
                    <a:pt x="102" y="4"/>
                    <a:pt x="50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1" name="Google Shape;6381;p53"/>
            <p:cNvSpPr/>
            <p:nvPr/>
          </p:nvSpPr>
          <p:spPr>
            <a:xfrm>
              <a:off x="2573059" y="1725241"/>
              <a:ext cx="3096" cy="394"/>
            </a:xfrm>
            <a:custGeom>
              <a:avLst/>
              <a:gdLst/>
              <a:ahLst/>
              <a:cxnLst/>
              <a:rect l="l" t="t" r="r" b="b"/>
              <a:pathLst>
                <a:path w="228" h="29" extrusionOk="0">
                  <a:moveTo>
                    <a:pt x="228" y="0"/>
                  </a:moveTo>
                  <a:cubicBezTo>
                    <a:pt x="158" y="14"/>
                    <a:pt x="77" y="21"/>
                    <a:pt x="0" y="28"/>
                  </a:cubicBezTo>
                  <a:cubicBezTo>
                    <a:pt x="84" y="21"/>
                    <a:pt x="165" y="14"/>
                    <a:pt x="2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2" name="Google Shape;6382;p53"/>
            <p:cNvSpPr/>
            <p:nvPr/>
          </p:nvSpPr>
          <p:spPr>
            <a:xfrm>
              <a:off x="2579807" y="17239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3" name="Google Shape;6383;p53"/>
            <p:cNvSpPr/>
            <p:nvPr/>
          </p:nvSpPr>
          <p:spPr>
            <a:xfrm>
              <a:off x="2580894" y="1715913"/>
              <a:ext cx="8242" cy="4915"/>
            </a:xfrm>
            <a:custGeom>
              <a:avLst/>
              <a:gdLst/>
              <a:ahLst/>
              <a:cxnLst/>
              <a:rect l="l" t="t" r="r" b="b"/>
              <a:pathLst>
                <a:path w="607" h="362" extrusionOk="0">
                  <a:moveTo>
                    <a:pt x="1" y="1"/>
                  </a:moveTo>
                  <a:cubicBezTo>
                    <a:pt x="120" y="33"/>
                    <a:pt x="382" y="176"/>
                    <a:pt x="606" y="361"/>
                  </a:cubicBezTo>
                  <a:cubicBezTo>
                    <a:pt x="382" y="173"/>
                    <a:pt x="120" y="3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4" name="Google Shape;6384;p53"/>
            <p:cNvSpPr/>
            <p:nvPr/>
          </p:nvSpPr>
          <p:spPr>
            <a:xfrm>
              <a:off x="2579034" y="1724236"/>
              <a:ext cx="122" cy="122"/>
            </a:xfrm>
            <a:custGeom>
              <a:avLst/>
              <a:gdLst/>
              <a:ahLst/>
              <a:cxnLst/>
              <a:rect l="l" t="t" r="r" b="b"/>
              <a:pathLst>
                <a:path w="9" h="9" extrusionOk="0">
                  <a:moveTo>
                    <a:pt x="8" y="1"/>
                  </a:moveTo>
                  <a:cubicBezTo>
                    <a:pt x="5" y="1"/>
                    <a:pt x="2" y="3"/>
                    <a:pt x="1" y="6"/>
                  </a:cubicBezTo>
                  <a:lnTo>
                    <a:pt x="1" y="6"/>
                  </a:lnTo>
                  <a:cubicBezTo>
                    <a:pt x="3" y="4"/>
                    <a:pt x="6" y="1"/>
                    <a:pt x="8" y="1"/>
                  </a:cubicBezTo>
                  <a:close/>
                  <a:moveTo>
                    <a:pt x="1" y="6"/>
                  </a:moveTo>
                  <a:lnTo>
                    <a:pt x="1" y="6"/>
                  </a:lnTo>
                  <a:cubicBezTo>
                    <a:pt x="1" y="7"/>
                    <a:pt x="0" y="8"/>
                    <a:pt x="0" y="8"/>
                  </a:cubicBezTo>
                  <a:cubicBezTo>
                    <a:pt x="0" y="8"/>
                    <a:pt x="1" y="8"/>
                    <a:pt x="1" y="8"/>
                  </a:cubicBezTo>
                  <a:cubicBezTo>
                    <a:pt x="1" y="7"/>
                    <a:pt x="1" y="7"/>
                    <a:pt x="1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5" name="Google Shape;6385;p53"/>
            <p:cNvSpPr/>
            <p:nvPr/>
          </p:nvSpPr>
          <p:spPr>
            <a:xfrm>
              <a:off x="2570534" y="1714107"/>
              <a:ext cx="2390" cy="2200"/>
            </a:xfrm>
            <a:custGeom>
              <a:avLst/>
              <a:gdLst/>
              <a:ahLst/>
              <a:cxnLst/>
              <a:rect l="l" t="t" r="r" b="b"/>
              <a:pathLst>
                <a:path w="176" h="162" extrusionOk="0">
                  <a:moveTo>
                    <a:pt x="1" y="1"/>
                  </a:moveTo>
                  <a:cubicBezTo>
                    <a:pt x="60" y="32"/>
                    <a:pt x="116" y="78"/>
                    <a:pt x="155" y="137"/>
                  </a:cubicBezTo>
                  <a:lnTo>
                    <a:pt x="176" y="162"/>
                  </a:lnTo>
                  <a:lnTo>
                    <a:pt x="151" y="130"/>
                  </a:lnTo>
                  <a:cubicBezTo>
                    <a:pt x="116" y="81"/>
                    <a:pt x="74" y="43"/>
                    <a:pt x="25" y="8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6" name="Google Shape;6386;p53"/>
            <p:cNvSpPr/>
            <p:nvPr/>
          </p:nvSpPr>
          <p:spPr>
            <a:xfrm>
              <a:off x="2576291" y="17252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7" name="Google Shape;6387;p53"/>
            <p:cNvSpPr/>
            <p:nvPr/>
          </p:nvSpPr>
          <p:spPr>
            <a:xfrm>
              <a:off x="2579427" y="1724046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8" name="Google Shape;6388;p53"/>
            <p:cNvSpPr/>
            <p:nvPr/>
          </p:nvSpPr>
          <p:spPr>
            <a:xfrm>
              <a:off x="2086700" y="1392158"/>
              <a:ext cx="189338" cy="157838"/>
            </a:xfrm>
            <a:custGeom>
              <a:avLst/>
              <a:gdLst/>
              <a:ahLst/>
              <a:cxnLst/>
              <a:rect l="l" t="t" r="r" b="b"/>
              <a:pathLst>
                <a:path w="13945" h="11625" extrusionOk="0">
                  <a:moveTo>
                    <a:pt x="11107" y="0"/>
                  </a:moveTo>
                  <a:cubicBezTo>
                    <a:pt x="11045" y="0"/>
                    <a:pt x="11013" y="49"/>
                    <a:pt x="10969" y="138"/>
                  </a:cubicBezTo>
                  <a:cubicBezTo>
                    <a:pt x="10955" y="173"/>
                    <a:pt x="10934" y="205"/>
                    <a:pt x="10909" y="233"/>
                  </a:cubicBezTo>
                  <a:cubicBezTo>
                    <a:pt x="10885" y="257"/>
                    <a:pt x="10852" y="266"/>
                    <a:pt x="10814" y="266"/>
                  </a:cubicBezTo>
                  <a:cubicBezTo>
                    <a:pt x="10754" y="266"/>
                    <a:pt x="10679" y="242"/>
                    <a:pt x="10601" y="219"/>
                  </a:cubicBezTo>
                  <a:cubicBezTo>
                    <a:pt x="10577" y="212"/>
                    <a:pt x="10549" y="201"/>
                    <a:pt x="10524" y="198"/>
                  </a:cubicBezTo>
                  <a:cubicBezTo>
                    <a:pt x="10510" y="219"/>
                    <a:pt x="10489" y="240"/>
                    <a:pt x="10464" y="257"/>
                  </a:cubicBezTo>
                  <a:cubicBezTo>
                    <a:pt x="10450" y="264"/>
                    <a:pt x="10426" y="285"/>
                    <a:pt x="10422" y="292"/>
                  </a:cubicBezTo>
                  <a:cubicBezTo>
                    <a:pt x="10426" y="299"/>
                    <a:pt x="10429" y="306"/>
                    <a:pt x="10433" y="313"/>
                  </a:cubicBezTo>
                  <a:cubicBezTo>
                    <a:pt x="10475" y="366"/>
                    <a:pt x="10482" y="439"/>
                    <a:pt x="10454" y="499"/>
                  </a:cubicBezTo>
                  <a:cubicBezTo>
                    <a:pt x="10433" y="541"/>
                    <a:pt x="10391" y="565"/>
                    <a:pt x="10345" y="565"/>
                  </a:cubicBezTo>
                  <a:cubicBezTo>
                    <a:pt x="10314" y="565"/>
                    <a:pt x="10251" y="551"/>
                    <a:pt x="10202" y="460"/>
                  </a:cubicBezTo>
                  <a:cubicBezTo>
                    <a:pt x="10191" y="443"/>
                    <a:pt x="10174" y="429"/>
                    <a:pt x="10149" y="429"/>
                  </a:cubicBezTo>
                  <a:cubicBezTo>
                    <a:pt x="10086" y="429"/>
                    <a:pt x="9992" y="502"/>
                    <a:pt x="9936" y="593"/>
                  </a:cubicBezTo>
                  <a:cubicBezTo>
                    <a:pt x="9904" y="646"/>
                    <a:pt x="9862" y="695"/>
                    <a:pt x="9810" y="733"/>
                  </a:cubicBezTo>
                  <a:cubicBezTo>
                    <a:pt x="9866" y="789"/>
                    <a:pt x="9890" y="866"/>
                    <a:pt x="9876" y="943"/>
                  </a:cubicBezTo>
                  <a:cubicBezTo>
                    <a:pt x="9869" y="1038"/>
                    <a:pt x="9803" y="1118"/>
                    <a:pt x="9712" y="1146"/>
                  </a:cubicBezTo>
                  <a:cubicBezTo>
                    <a:pt x="9699" y="1150"/>
                    <a:pt x="9686" y="1152"/>
                    <a:pt x="9673" y="1152"/>
                  </a:cubicBezTo>
                  <a:cubicBezTo>
                    <a:pt x="9652" y="1152"/>
                    <a:pt x="9631" y="1147"/>
                    <a:pt x="9614" y="1136"/>
                  </a:cubicBezTo>
                  <a:cubicBezTo>
                    <a:pt x="9547" y="1094"/>
                    <a:pt x="9530" y="996"/>
                    <a:pt x="9512" y="901"/>
                  </a:cubicBezTo>
                  <a:cubicBezTo>
                    <a:pt x="9509" y="866"/>
                    <a:pt x="9498" y="831"/>
                    <a:pt x="9488" y="796"/>
                  </a:cubicBezTo>
                  <a:cubicBezTo>
                    <a:pt x="9481" y="798"/>
                    <a:pt x="9473" y="799"/>
                    <a:pt x="9466" y="799"/>
                  </a:cubicBezTo>
                  <a:cubicBezTo>
                    <a:pt x="9456" y="799"/>
                    <a:pt x="9446" y="797"/>
                    <a:pt x="9435" y="793"/>
                  </a:cubicBezTo>
                  <a:lnTo>
                    <a:pt x="9435" y="793"/>
                  </a:lnTo>
                  <a:cubicBezTo>
                    <a:pt x="9442" y="807"/>
                    <a:pt x="9442" y="821"/>
                    <a:pt x="9442" y="838"/>
                  </a:cubicBezTo>
                  <a:cubicBezTo>
                    <a:pt x="9439" y="884"/>
                    <a:pt x="9407" y="926"/>
                    <a:pt x="9362" y="940"/>
                  </a:cubicBezTo>
                  <a:cubicBezTo>
                    <a:pt x="9329" y="953"/>
                    <a:pt x="9294" y="959"/>
                    <a:pt x="9260" y="959"/>
                  </a:cubicBezTo>
                  <a:cubicBezTo>
                    <a:pt x="9200" y="959"/>
                    <a:pt x="9141" y="939"/>
                    <a:pt x="9092" y="901"/>
                  </a:cubicBezTo>
                  <a:cubicBezTo>
                    <a:pt x="9059" y="871"/>
                    <a:pt x="9014" y="860"/>
                    <a:pt x="8968" y="860"/>
                  </a:cubicBezTo>
                  <a:cubicBezTo>
                    <a:pt x="8909" y="860"/>
                    <a:pt x="8847" y="878"/>
                    <a:pt x="8802" y="898"/>
                  </a:cubicBezTo>
                  <a:cubicBezTo>
                    <a:pt x="8830" y="919"/>
                    <a:pt x="8875" y="940"/>
                    <a:pt x="8903" y="957"/>
                  </a:cubicBezTo>
                  <a:cubicBezTo>
                    <a:pt x="9022" y="1024"/>
                    <a:pt x="9082" y="1062"/>
                    <a:pt x="9096" y="1118"/>
                  </a:cubicBezTo>
                  <a:cubicBezTo>
                    <a:pt x="9103" y="1146"/>
                    <a:pt x="9092" y="1178"/>
                    <a:pt x="9071" y="1199"/>
                  </a:cubicBezTo>
                  <a:cubicBezTo>
                    <a:pt x="9054" y="1212"/>
                    <a:pt x="9036" y="1217"/>
                    <a:pt x="9017" y="1217"/>
                  </a:cubicBezTo>
                  <a:cubicBezTo>
                    <a:pt x="8984" y="1217"/>
                    <a:pt x="8948" y="1202"/>
                    <a:pt x="8907" y="1185"/>
                  </a:cubicBezTo>
                  <a:cubicBezTo>
                    <a:pt x="8875" y="1171"/>
                    <a:pt x="8844" y="1160"/>
                    <a:pt x="8812" y="1153"/>
                  </a:cubicBezTo>
                  <a:cubicBezTo>
                    <a:pt x="8783" y="1174"/>
                    <a:pt x="8750" y="1184"/>
                    <a:pt x="8717" y="1184"/>
                  </a:cubicBezTo>
                  <a:cubicBezTo>
                    <a:pt x="8695" y="1184"/>
                    <a:pt x="8672" y="1179"/>
                    <a:pt x="8651" y="1171"/>
                  </a:cubicBezTo>
                  <a:cubicBezTo>
                    <a:pt x="8585" y="1150"/>
                    <a:pt x="8525" y="1111"/>
                    <a:pt x="8476" y="1059"/>
                  </a:cubicBezTo>
                  <a:lnTo>
                    <a:pt x="8476" y="1059"/>
                  </a:lnTo>
                  <a:cubicBezTo>
                    <a:pt x="8522" y="1122"/>
                    <a:pt x="8511" y="1206"/>
                    <a:pt x="8504" y="1276"/>
                  </a:cubicBezTo>
                  <a:cubicBezTo>
                    <a:pt x="8501" y="1311"/>
                    <a:pt x="8497" y="1349"/>
                    <a:pt x="8497" y="1384"/>
                  </a:cubicBezTo>
                  <a:cubicBezTo>
                    <a:pt x="8504" y="1440"/>
                    <a:pt x="8476" y="1497"/>
                    <a:pt x="8424" y="1521"/>
                  </a:cubicBezTo>
                  <a:cubicBezTo>
                    <a:pt x="8405" y="1527"/>
                    <a:pt x="8387" y="1531"/>
                    <a:pt x="8368" y="1531"/>
                  </a:cubicBezTo>
                  <a:cubicBezTo>
                    <a:pt x="8325" y="1531"/>
                    <a:pt x="8284" y="1514"/>
                    <a:pt x="8252" y="1483"/>
                  </a:cubicBezTo>
                  <a:cubicBezTo>
                    <a:pt x="8185" y="1426"/>
                    <a:pt x="8161" y="1335"/>
                    <a:pt x="8182" y="1251"/>
                  </a:cubicBezTo>
                  <a:cubicBezTo>
                    <a:pt x="8185" y="1244"/>
                    <a:pt x="8189" y="1237"/>
                    <a:pt x="8189" y="1230"/>
                  </a:cubicBezTo>
                  <a:cubicBezTo>
                    <a:pt x="8185" y="1229"/>
                    <a:pt x="8180" y="1229"/>
                    <a:pt x="8174" y="1229"/>
                  </a:cubicBezTo>
                  <a:cubicBezTo>
                    <a:pt x="8137" y="1229"/>
                    <a:pt x="8060" y="1249"/>
                    <a:pt x="7972" y="1304"/>
                  </a:cubicBezTo>
                  <a:cubicBezTo>
                    <a:pt x="7955" y="1314"/>
                    <a:pt x="7922" y="1333"/>
                    <a:pt x="7887" y="1333"/>
                  </a:cubicBezTo>
                  <a:cubicBezTo>
                    <a:pt x="7871" y="1333"/>
                    <a:pt x="7854" y="1329"/>
                    <a:pt x="7839" y="1318"/>
                  </a:cubicBezTo>
                  <a:cubicBezTo>
                    <a:pt x="7790" y="1279"/>
                    <a:pt x="7804" y="1216"/>
                    <a:pt x="7825" y="1143"/>
                  </a:cubicBezTo>
                  <a:cubicBezTo>
                    <a:pt x="7839" y="1083"/>
                    <a:pt x="7860" y="999"/>
                    <a:pt x="7839" y="957"/>
                  </a:cubicBezTo>
                  <a:cubicBezTo>
                    <a:pt x="7834" y="945"/>
                    <a:pt x="7829" y="937"/>
                    <a:pt x="7812" y="937"/>
                  </a:cubicBezTo>
                  <a:cubicBezTo>
                    <a:pt x="7794" y="937"/>
                    <a:pt x="7762" y="946"/>
                    <a:pt x="7699" y="971"/>
                  </a:cubicBezTo>
                  <a:cubicBezTo>
                    <a:pt x="7643" y="996"/>
                    <a:pt x="7587" y="1013"/>
                    <a:pt x="7531" y="1027"/>
                  </a:cubicBezTo>
                  <a:lnTo>
                    <a:pt x="7503" y="1034"/>
                  </a:lnTo>
                  <a:cubicBezTo>
                    <a:pt x="7464" y="1038"/>
                    <a:pt x="7426" y="1048"/>
                    <a:pt x="7398" y="1055"/>
                  </a:cubicBezTo>
                  <a:lnTo>
                    <a:pt x="7415" y="1073"/>
                  </a:lnTo>
                  <a:cubicBezTo>
                    <a:pt x="7496" y="1160"/>
                    <a:pt x="7524" y="1279"/>
                    <a:pt x="7478" y="1356"/>
                  </a:cubicBezTo>
                  <a:cubicBezTo>
                    <a:pt x="7451" y="1406"/>
                    <a:pt x="7401" y="1436"/>
                    <a:pt x="7347" y="1436"/>
                  </a:cubicBezTo>
                  <a:cubicBezTo>
                    <a:pt x="7332" y="1436"/>
                    <a:pt x="7318" y="1434"/>
                    <a:pt x="7303" y="1430"/>
                  </a:cubicBezTo>
                  <a:cubicBezTo>
                    <a:pt x="7275" y="1425"/>
                    <a:pt x="7255" y="1424"/>
                    <a:pt x="7240" y="1424"/>
                  </a:cubicBezTo>
                  <a:cubicBezTo>
                    <a:pt x="7211" y="1424"/>
                    <a:pt x="7205" y="1430"/>
                    <a:pt x="7205" y="1430"/>
                  </a:cubicBezTo>
                  <a:cubicBezTo>
                    <a:pt x="7205" y="1430"/>
                    <a:pt x="7195" y="1440"/>
                    <a:pt x="7202" y="1490"/>
                  </a:cubicBezTo>
                  <a:cubicBezTo>
                    <a:pt x="7216" y="1574"/>
                    <a:pt x="7153" y="1654"/>
                    <a:pt x="7065" y="1665"/>
                  </a:cubicBezTo>
                  <a:cubicBezTo>
                    <a:pt x="7057" y="1666"/>
                    <a:pt x="7048" y="1667"/>
                    <a:pt x="7040" y="1667"/>
                  </a:cubicBezTo>
                  <a:cubicBezTo>
                    <a:pt x="6962" y="1667"/>
                    <a:pt x="6892" y="1610"/>
                    <a:pt x="6876" y="1528"/>
                  </a:cubicBezTo>
                  <a:cubicBezTo>
                    <a:pt x="6863" y="1520"/>
                    <a:pt x="6846" y="1516"/>
                    <a:pt x="6828" y="1516"/>
                  </a:cubicBezTo>
                  <a:cubicBezTo>
                    <a:pt x="6822" y="1516"/>
                    <a:pt x="6816" y="1517"/>
                    <a:pt x="6810" y="1518"/>
                  </a:cubicBezTo>
                  <a:cubicBezTo>
                    <a:pt x="6740" y="1518"/>
                    <a:pt x="6673" y="1549"/>
                    <a:pt x="6628" y="1605"/>
                  </a:cubicBezTo>
                  <a:cubicBezTo>
                    <a:pt x="6586" y="1661"/>
                    <a:pt x="6537" y="1710"/>
                    <a:pt x="6484" y="1756"/>
                  </a:cubicBezTo>
                  <a:cubicBezTo>
                    <a:pt x="6414" y="1815"/>
                    <a:pt x="6351" y="1868"/>
                    <a:pt x="6351" y="1920"/>
                  </a:cubicBezTo>
                  <a:cubicBezTo>
                    <a:pt x="6365" y="1917"/>
                    <a:pt x="6386" y="1906"/>
                    <a:pt x="6404" y="1899"/>
                  </a:cubicBezTo>
                  <a:cubicBezTo>
                    <a:pt x="6453" y="1875"/>
                    <a:pt x="6519" y="1846"/>
                    <a:pt x="6587" y="1846"/>
                  </a:cubicBezTo>
                  <a:cubicBezTo>
                    <a:pt x="6610" y="1846"/>
                    <a:pt x="6633" y="1849"/>
                    <a:pt x="6656" y="1857"/>
                  </a:cubicBezTo>
                  <a:cubicBezTo>
                    <a:pt x="6799" y="1903"/>
                    <a:pt x="6768" y="2001"/>
                    <a:pt x="6754" y="2036"/>
                  </a:cubicBezTo>
                  <a:cubicBezTo>
                    <a:pt x="6754" y="2043"/>
                    <a:pt x="6750" y="2053"/>
                    <a:pt x="6750" y="2060"/>
                  </a:cubicBezTo>
                  <a:lnTo>
                    <a:pt x="6754" y="2064"/>
                  </a:lnTo>
                  <a:cubicBezTo>
                    <a:pt x="6810" y="2116"/>
                    <a:pt x="6834" y="2193"/>
                    <a:pt x="6820" y="2267"/>
                  </a:cubicBezTo>
                  <a:cubicBezTo>
                    <a:pt x="6813" y="2305"/>
                    <a:pt x="6789" y="2337"/>
                    <a:pt x="6750" y="2351"/>
                  </a:cubicBezTo>
                  <a:cubicBezTo>
                    <a:pt x="6740" y="2353"/>
                    <a:pt x="6729" y="2354"/>
                    <a:pt x="6718" y="2354"/>
                  </a:cubicBezTo>
                  <a:cubicBezTo>
                    <a:pt x="6679" y="2354"/>
                    <a:pt x="6641" y="2339"/>
                    <a:pt x="6614" y="2309"/>
                  </a:cubicBezTo>
                  <a:cubicBezTo>
                    <a:pt x="6561" y="2260"/>
                    <a:pt x="6512" y="2237"/>
                    <a:pt x="6482" y="2237"/>
                  </a:cubicBezTo>
                  <a:cubicBezTo>
                    <a:pt x="6477" y="2237"/>
                    <a:pt x="6473" y="2238"/>
                    <a:pt x="6470" y="2239"/>
                  </a:cubicBezTo>
                  <a:cubicBezTo>
                    <a:pt x="6446" y="2249"/>
                    <a:pt x="6446" y="2281"/>
                    <a:pt x="6442" y="2302"/>
                  </a:cubicBezTo>
                  <a:cubicBezTo>
                    <a:pt x="6432" y="2368"/>
                    <a:pt x="6404" y="2410"/>
                    <a:pt x="6358" y="2421"/>
                  </a:cubicBezTo>
                  <a:cubicBezTo>
                    <a:pt x="6350" y="2423"/>
                    <a:pt x="6342" y="2424"/>
                    <a:pt x="6334" y="2424"/>
                  </a:cubicBezTo>
                  <a:cubicBezTo>
                    <a:pt x="6264" y="2424"/>
                    <a:pt x="6203" y="2343"/>
                    <a:pt x="6127" y="2242"/>
                  </a:cubicBezTo>
                  <a:lnTo>
                    <a:pt x="6085" y="2193"/>
                  </a:lnTo>
                  <a:cubicBezTo>
                    <a:pt x="6067" y="2211"/>
                    <a:pt x="6050" y="2228"/>
                    <a:pt x="6032" y="2253"/>
                  </a:cubicBezTo>
                  <a:cubicBezTo>
                    <a:pt x="5998" y="2298"/>
                    <a:pt x="5938" y="2370"/>
                    <a:pt x="5867" y="2370"/>
                  </a:cubicBezTo>
                  <a:cubicBezTo>
                    <a:pt x="5844" y="2370"/>
                    <a:pt x="5819" y="2363"/>
                    <a:pt x="5794" y="2344"/>
                  </a:cubicBezTo>
                  <a:cubicBezTo>
                    <a:pt x="5693" y="2267"/>
                    <a:pt x="5773" y="2144"/>
                    <a:pt x="5836" y="2046"/>
                  </a:cubicBezTo>
                  <a:cubicBezTo>
                    <a:pt x="5868" y="1997"/>
                    <a:pt x="5927" y="1903"/>
                    <a:pt x="5910" y="1875"/>
                  </a:cubicBezTo>
                  <a:lnTo>
                    <a:pt x="5910" y="1875"/>
                  </a:lnTo>
                  <a:cubicBezTo>
                    <a:pt x="5885" y="1903"/>
                    <a:pt x="5864" y="1927"/>
                    <a:pt x="5843" y="1959"/>
                  </a:cubicBezTo>
                  <a:cubicBezTo>
                    <a:pt x="5798" y="2022"/>
                    <a:pt x="5745" y="2085"/>
                    <a:pt x="5689" y="2144"/>
                  </a:cubicBezTo>
                  <a:cubicBezTo>
                    <a:pt x="5605" y="2221"/>
                    <a:pt x="5507" y="2284"/>
                    <a:pt x="5402" y="2323"/>
                  </a:cubicBezTo>
                  <a:lnTo>
                    <a:pt x="5357" y="2340"/>
                  </a:lnTo>
                  <a:cubicBezTo>
                    <a:pt x="5371" y="2361"/>
                    <a:pt x="5378" y="2386"/>
                    <a:pt x="5374" y="2410"/>
                  </a:cubicBezTo>
                  <a:cubicBezTo>
                    <a:pt x="5367" y="2470"/>
                    <a:pt x="5311" y="2508"/>
                    <a:pt x="5252" y="2547"/>
                  </a:cubicBezTo>
                  <a:cubicBezTo>
                    <a:pt x="5192" y="2585"/>
                    <a:pt x="5136" y="2624"/>
                    <a:pt x="5122" y="2676"/>
                  </a:cubicBezTo>
                  <a:lnTo>
                    <a:pt x="5119" y="2683"/>
                  </a:lnTo>
                  <a:cubicBezTo>
                    <a:pt x="5292" y="2591"/>
                    <a:pt x="5395" y="2566"/>
                    <a:pt x="5458" y="2566"/>
                  </a:cubicBezTo>
                  <a:cubicBezTo>
                    <a:pt x="5510" y="2566"/>
                    <a:pt x="5535" y="2583"/>
                    <a:pt x="5549" y="2592"/>
                  </a:cubicBezTo>
                  <a:cubicBezTo>
                    <a:pt x="5577" y="2612"/>
                    <a:pt x="5617" y="2634"/>
                    <a:pt x="5660" y="2634"/>
                  </a:cubicBezTo>
                  <a:cubicBezTo>
                    <a:pt x="5699" y="2634"/>
                    <a:pt x="5742" y="2616"/>
                    <a:pt x="5780" y="2561"/>
                  </a:cubicBezTo>
                  <a:cubicBezTo>
                    <a:pt x="5822" y="2494"/>
                    <a:pt x="5892" y="2449"/>
                    <a:pt x="5973" y="2435"/>
                  </a:cubicBezTo>
                  <a:cubicBezTo>
                    <a:pt x="5981" y="2434"/>
                    <a:pt x="5988" y="2434"/>
                    <a:pt x="5996" y="2434"/>
                  </a:cubicBezTo>
                  <a:cubicBezTo>
                    <a:pt x="6079" y="2434"/>
                    <a:pt x="6157" y="2468"/>
                    <a:pt x="6218" y="2526"/>
                  </a:cubicBezTo>
                  <a:cubicBezTo>
                    <a:pt x="6242" y="2547"/>
                    <a:pt x="6260" y="2578"/>
                    <a:pt x="6263" y="2613"/>
                  </a:cubicBezTo>
                  <a:cubicBezTo>
                    <a:pt x="6260" y="2662"/>
                    <a:pt x="6239" y="2711"/>
                    <a:pt x="6197" y="2743"/>
                  </a:cubicBezTo>
                  <a:cubicBezTo>
                    <a:pt x="6148" y="2799"/>
                    <a:pt x="6151" y="2802"/>
                    <a:pt x="6172" y="2823"/>
                  </a:cubicBezTo>
                  <a:cubicBezTo>
                    <a:pt x="6253" y="2904"/>
                    <a:pt x="6221" y="2977"/>
                    <a:pt x="6207" y="2998"/>
                  </a:cubicBezTo>
                  <a:cubicBezTo>
                    <a:pt x="6171" y="3051"/>
                    <a:pt x="6111" y="3082"/>
                    <a:pt x="6048" y="3082"/>
                  </a:cubicBezTo>
                  <a:cubicBezTo>
                    <a:pt x="6031" y="3082"/>
                    <a:pt x="6014" y="3080"/>
                    <a:pt x="5997" y="3075"/>
                  </a:cubicBezTo>
                  <a:cubicBezTo>
                    <a:pt x="5945" y="3065"/>
                    <a:pt x="5906" y="3016"/>
                    <a:pt x="5906" y="2960"/>
                  </a:cubicBezTo>
                  <a:cubicBezTo>
                    <a:pt x="5903" y="2921"/>
                    <a:pt x="5875" y="2886"/>
                    <a:pt x="5836" y="2876"/>
                  </a:cubicBezTo>
                  <a:cubicBezTo>
                    <a:pt x="5832" y="2875"/>
                    <a:pt x="5829" y="2875"/>
                    <a:pt x="5826" y="2875"/>
                  </a:cubicBezTo>
                  <a:cubicBezTo>
                    <a:pt x="5817" y="2875"/>
                    <a:pt x="5815" y="2878"/>
                    <a:pt x="5812" y="2886"/>
                  </a:cubicBezTo>
                  <a:cubicBezTo>
                    <a:pt x="5780" y="2942"/>
                    <a:pt x="5665" y="3131"/>
                    <a:pt x="5500" y="3149"/>
                  </a:cubicBezTo>
                  <a:cubicBezTo>
                    <a:pt x="5448" y="3152"/>
                    <a:pt x="5343" y="3299"/>
                    <a:pt x="5343" y="3478"/>
                  </a:cubicBezTo>
                  <a:cubicBezTo>
                    <a:pt x="5346" y="3527"/>
                    <a:pt x="5332" y="3573"/>
                    <a:pt x="5297" y="3608"/>
                  </a:cubicBezTo>
                  <a:cubicBezTo>
                    <a:pt x="5269" y="3630"/>
                    <a:pt x="5235" y="3641"/>
                    <a:pt x="5200" y="3641"/>
                  </a:cubicBezTo>
                  <a:cubicBezTo>
                    <a:pt x="5192" y="3641"/>
                    <a:pt x="5183" y="3640"/>
                    <a:pt x="5175" y="3639"/>
                  </a:cubicBezTo>
                  <a:lnTo>
                    <a:pt x="5143" y="3639"/>
                  </a:lnTo>
                  <a:cubicBezTo>
                    <a:pt x="5143" y="3643"/>
                    <a:pt x="5140" y="3650"/>
                    <a:pt x="5140" y="3657"/>
                  </a:cubicBezTo>
                  <a:cubicBezTo>
                    <a:pt x="5119" y="3881"/>
                    <a:pt x="4769" y="4241"/>
                    <a:pt x="4618" y="4385"/>
                  </a:cubicBezTo>
                  <a:cubicBezTo>
                    <a:pt x="4510" y="4490"/>
                    <a:pt x="4527" y="4528"/>
                    <a:pt x="4545" y="4584"/>
                  </a:cubicBezTo>
                  <a:cubicBezTo>
                    <a:pt x="4573" y="4644"/>
                    <a:pt x="4573" y="4714"/>
                    <a:pt x="4541" y="4773"/>
                  </a:cubicBezTo>
                  <a:cubicBezTo>
                    <a:pt x="4497" y="4856"/>
                    <a:pt x="4411" y="4875"/>
                    <a:pt x="4326" y="4875"/>
                  </a:cubicBezTo>
                  <a:cubicBezTo>
                    <a:pt x="4289" y="4875"/>
                    <a:pt x="4252" y="4871"/>
                    <a:pt x="4219" y="4868"/>
                  </a:cubicBezTo>
                  <a:cubicBezTo>
                    <a:pt x="4198" y="4866"/>
                    <a:pt x="4177" y="4865"/>
                    <a:pt x="4156" y="4865"/>
                  </a:cubicBezTo>
                  <a:cubicBezTo>
                    <a:pt x="4136" y="4865"/>
                    <a:pt x="4116" y="4866"/>
                    <a:pt x="4096" y="4868"/>
                  </a:cubicBezTo>
                  <a:cubicBezTo>
                    <a:pt x="4089" y="4917"/>
                    <a:pt x="4089" y="4969"/>
                    <a:pt x="4096" y="5018"/>
                  </a:cubicBezTo>
                  <a:cubicBezTo>
                    <a:pt x="4103" y="5144"/>
                    <a:pt x="4117" y="5288"/>
                    <a:pt x="4026" y="5368"/>
                  </a:cubicBezTo>
                  <a:cubicBezTo>
                    <a:pt x="3981" y="5407"/>
                    <a:pt x="3988" y="5449"/>
                    <a:pt x="4019" y="5543"/>
                  </a:cubicBezTo>
                  <a:cubicBezTo>
                    <a:pt x="4037" y="5589"/>
                    <a:pt x="4047" y="5638"/>
                    <a:pt x="4047" y="5687"/>
                  </a:cubicBezTo>
                  <a:cubicBezTo>
                    <a:pt x="4051" y="5719"/>
                    <a:pt x="4037" y="5750"/>
                    <a:pt x="4012" y="5771"/>
                  </a:cubicBezTo>
                  <a:cubicBezTo>
                    <a:pt x="3989" y="5789"/>
                    <a:pt x="3961" y="5796"/>
                    <a:pt x="3929" y="5796"/>
                  </a:cubicBezTo>
                  <a:cubicBezTo>
                    <a:pt x="3894" y="5796"/>
                    <a:pt x="3854" y="5787"/>
                    <a:pt x="3813" y="5778"/>
                  </a:cubicBezTo>
                  <a:cubicBezTo>
                    <a:pt x="3778" y="5768"/>
                    <a:pt x="3743" y="5761"/>
                    <a:pt x="3704" y="5761"/>
                  </a:cubicBezTo>
                  <a:cubicBezTo>
                    <a:pt x="3673" y="5883"/>
                    <a:pt x="3508" y="5894"/>
                    <a:pt x="3389" y="5904"/>
                  </a:cubicBezTo>
                  <a:lnTo>
                    <a:pt x="3340" y="5911"/>
                  </a:lnTo>
                  <a:cubicBezTo>
                    <a:pt x="3424" y="5995"/>
                    <a:pt x="3515" y="6076"/>
                    <a:pt x="3613" y="6146"/>
                  </a:cubicBezTo>
                  <a:cubicBezTo>
                    <a:pt x="3694" y="6209"/>
                    <a:pt x="3680" y="6279"/>
                    <a:pt x="3669" y="6303"/>
                  </a:cubicBezTo>
                  <a:cubicBezTo>
                    <a:pt x="3646" y="6370"/>
                    <a:pt x="3566" y="6401"/>
                    <a:pt x="3498" y="6401"/>
                  </a:cubicBezTo>
                  <a:cubicBezTo>
                    <a:pt x="3494" y="6401"/>
                    <a:pt x="3491" y="6401"/>
                    <a:pt x="3487" y="6401"/>
                  </a:cubicBezTo>
                  <a:cubicBezTo>
                    <a:pt x="3421" y="6398"/>
                    <a:pt x="3365" y="6359"/>
                    <a:pt x="3340" y="6300"/>
                  </a:cubicBezTo>
                  <a:cubicBezTo>
                    <a:pt x="3291" y="6321"/>
                    <a:pt x="3242" y="6352"/>
                    <a:pt x="3193" y="6384"/>
                  </a:cubicBezTo>
                  <a:cubicBezTo>
                    <a:pt x="3113" y="6436"/>
                    <a:pt x="3029" y="6482"/>
                    <a:pt x="2945" y="6524"/>
                  </a:cubicBezTo>
                  <a:cubicBezTo>
                    <a:pt x="2864" y="6559"/>
                    <a:pt x="2808" y="6625"/>
                    <a:pt x="2784" y="6706"/>
                  </a:cubicBezTo>
                  <a:cubicBezTo>
                    <a:pt x="2756" y="6779"/>
                    <a:pt x="2717" y="6874"/>
                    <a:pt x="2581" y="6877"/>
                  </a:cubicBezTo>
                  <a:cubicBezTo>
                    <a:pt x="2525" y="6881"/>
                    <a:pt x="2504" y="6923"/>
                    <a:pt x="2469" y="7045"/>
                  </a:cubicBezTo>
                  <a:cubicBezTo>
                    <a:pt x="2448" y="7129"/>
                    <a:pt x="2423" y="7224"/>
                    <a:pt x="2350" y="7276"/>
                  </a:cubicBezTo>
                  <a:cubicBezTo>
                    <a:pt x="2324" y="7296"/>
                    <a:pt x="2295" y="7307"/>
                    <a:pt x="2265" y="7307"/>
                  </a:cubicBezTo>
                  <a:cubicBezTo>
                    <a:pt x="2257" y="7307"/>
                    <a:pt x="2249" y="7306"/>
                    <a:pt x="2241" y="7304"/>
                  </a:cubicBezTo>
                  <a:cubicBezTo>
                    <a:pt x="2182" y="7290"/>
                    <a:pt x="2157" y="7234"/>
                    <a:pt x="2132" y="7182"/>
                  </a:cubicBezTo>
                  <a:cubicBezTo>
                    <a:pt x="2094" y="7105"/>
                    <a:pt x="2069" y="7059"/>
                    <a:pt x="2006" y="7056"/>
                  </a:cubicBezTo>
                  <a:cubicBezTo>
                    <a:pt x="1954" y="7056"/>
                    <a:pt x="1929" y="7063"/>
                    <a:pt x="1926" y="7073"/>
                  </a:cubicBezTo>
                  <a:cubicBezTo>
                    <a:pt x="1915" y="7094"/>
                    <a:pt x="1926" y="7157"/>
                    <a:pt x="1999" y="7259"/>
                  </a:cubicBezTo>
                  <a:cubicBezTo>
                    <a:pt x="2013" y="7283"/>
                    <a:pt x="2055" y="7339"/>
                    <a:pt x="2031" y="7399"/>
                  </a:cubicBezTo>
                  <a:cubicBezTo>
                    <a:pt x="2003" y="7455"/>
                    <a:pt x="1940" y="7462"/>
                    <a:pt x="1873" y="7465"/>
                  </a:cubicBezTo>
                  <a:cubicBezTo>
                    <a:pt x="1807" y="7472"/>
                    <a:pt x="1733" y="7479"/>
                    <a:pt x="1698" y="7525"/>
                  </a:cubicBezTo>
                  <a:cubicBezTo>
                    <a:pt x="1621" y="7619"/>
                    <a:pt x="1488" y="7640"/>
                    <a:pt x="1369" y="7654"/>
                  </a:cubicBezTo>
                  <a:cubicBezTo>
                    <a:pt x="1292" y="7665"/>
                    <a:pt x="1212" y="7679"/>
                    <a:pt x="1180" y="7711"/>
                  </a:cubicBezTo>
                  <a:cubicBezTo>
                    <a:pt x="1208" y="7725"/>
                    <a:pt x="1240" y="7735"/>
                    <a:pt x="1271" y="7746"/>
                  </a:cubicBezTo>
                  <a:cubicBezTo>
                    <a:pt x="1352" y="7774"/>
                    <a:pt x="1436" y="7802"/>
                    <a:pt x="1471" y="7865"/>
                  </a:cubicBezTo>
                  <a:cubicBezTo>
                    <a:pt x="1488" y="7896"/>
                    <a:pt x="1485" y="7938"/>
                    <a:pt x="1464" y="7966"/>
                  </a:cubicBezTo>
                  <a:cubicBezTo>
                    <a:pt x="1435" y="8002"/>
                    <a:pt x="1368" y="8015"/>
                    <a:pt x="1286" y="8015"/>
                  </a:cubicBezTo>
                  <a:cubicBezTo>
                    <a:pt x="1171" y="8015"/>
                    <a:pt x="1027" y="7989"/>
                    <a:pt x="928" y="7966"/>
                  </a:cubicBezTo>
                  <a:cubicBezTo>
                    <a:pt x="921" y="7965"/>
                    <a:pt x="915" y="7964"/>
                    <a:pt x="909" y="7964"/>
                  </a:cubicBezTo>
                  <a:cubicBezTo>
                    <a:pt x="886" y="7964"/>
                    <a:pt x="876" y="7979"/>
                    <a:pt x="848" y="8033"/>
                  </a:cubicBezTo>
                  <a:cubicBezTo>
                    <a:pt x="820" y="8083"/>
                    <a:pt x="775" y="8166"/>
                    <a:pt x="676" y="8166"/>
                  </a:cubicBezTo>
                  <a:cubicBezTo>
                    <a:pt x="664" y="8166"/>
                    <a:pt x="651" y="8165"/>
                    <a:pt x="638" y="8162"/>
                  </a:cubicBezTo>
                  <a:cubicBezTo>
                    <a:pt x="629" y="8161"/>
                    <a:pt x="619" y="8160"/>
                    <a:pt x="610" y="8160"/>
                  </a:cubicBezTo>
                  <a:cubicBezTo>
                    <a:pt x="543" y="8160"/>
                    <a:pt x="479" y="8194"/>
                    <a:pt x="442" y="8250"/>
                  </a:cubicBezTo>
                  <a:cubicBezTo>
                    <a:pt x="428" y="8267"/>
                    <a:pt x="431" y="8292"/>
                    <a:pt x="449" y="8302"/>
                  </a:cubicBezTo>
                  <a:cubicBezTo>
                    <a:pt x="533" y="8386"/>
                    <a:pt x="491" y="8453"/>
                    <a:pt x="477" y="8470"/>
                  </a:cubicBezTo>
                  <a:cubicBezTo>
                    <a:pt x="451" y="8502"/>
                    <a:pt x="403" y="8517"/>
                    <a:pt x="349" y="8517"/>
                  </a:cubicBezTo>
                  <a:cubicBezTo>
                    <a:pt x="286" y="8517"/>
                    <a:pt x="214" y="8497"/>
                    <a:pt x="162" y="8463"/>
                  </a:cubicBezTo>
                  <a:cubicBezTo>
                    <a:pt x="156" y="8458"/>
                    <a:pt x="151" y="8455"/>
                    <a:pt x="145" y="8455"/>
                  </a:cubicBezTo>
                  <a:cubicBezTo>
                    <a:pt x="142" y="8455"/>
                    <a:pt x="140" y="8455"/>
                    <a:pt x="137" y="8456"/>
                  </a:cubicBezTo>
                  <a:cubicBezTo>
                    <a:pt x="95" y="8474"/>
                    <a:pt x="42" y="8561"/>
                    <a:pt x="11" y="8666"/>
                  </a:cubicBezTo>
                  <a:cubicBezTo>
                    <a:pt x="0" y="8701"/>
                    <a:pt x="53" y="8743"/>
                    <a:pt x="116" y="8785"/>
                  </a:cubicBezTo>
                  <a:cubicBezTo>
                    <a:pt x="179" y="8831"/>
                    <a:pt x="232" y="8866"/>
                    <a:pt x="225" y="8932"/>
                  </a:cubicBezTo>
                  <a:cubicBezTo>
                    <a:pt x="211" y="8978"/>
                    <a:pt x="183" y="9020"/>
                    <a:pt x="148" y="9048"/>
                  </a:cubicBezTo>
                  <a:lnTo>
                    <a:pt x="130" y="9069"/>
                  </a:lnTo>
                  <a:cubicBezTo>
                    <a:pt x="183" y="9079"/>
                    <a:pt x="225" y="9121"/>
                    <a:pt x="232" y="9177"/>
                  </a:cubicBezTo>
                  <a:cubicBezTo>
                    <a:pt x="239" y="9272"/>
                    <a:pt x="137" y="9356"/>
                    <a:pt x="60" y="9387"/>
                  </a:cubicBezTo>
                  <a:cubicBezTo>
                    <a:pt x="35" y="9398"/>
                    <a:pt x="32" y="9412"/>
                    <a:pt x="32" y="9415"/>
                  </a:cubicBezTo>
                  <a:cubicBezTo>
                    <a:pt x="25" y="9436"/>
                    <a:pt x="39" y="9482"/>
                    <a:pt x="88" y="9545"/>
                  </a:cubicBezTo>
                  <a:cubicBezTo>
                    <a:pt x="165" y="9643"/>
                    <a:pt x="99" y="9720"/>
                    <a:pt x="63" y="9758"/>
                  </a:cubicBezTo>
                  <a:cubicBezTo>
                    <a:pt x="25" y="9804"/>
                    <a:pt x="7" y="9822"/>
                    <a:pt x="49" y="9881"/>
                  </a:cubicBezTo>
                  <a:cubicBezTo>
                    <a:pt x="74" y="9916"/>
                    <a:pt x="90" y="9928"/>
                    <a:pt x="108" y="9928"/>
                  </a:cubicBezTo>
                  <a:cubicBezTo>
                    <a:pt x="121" y="9928"/>
                    <a:pt x="135" y="9921"/>
                    <a:pt x="155" y="9913"/>
                  </a:cubicBezTo>
                  <a:cubicBezTo>
                    <a:pt x="170" y="9906"/>
                    <a:pt x="197" y="9896"/>
                    <a:pt x="227" y="9896"/>
                  </a:cubicBezTo>
                  <a:cubicBezTo>
                    <a:pt x="266" y="9896"/>
                    <a:pt x="310" y="9914"/>
                    <a:pt x="340" y="9983"/>
                  </a:cubicBezTo>
                  <a:cubicBezTo>
                    <a:pt x="344" y="9993"/>
                    <a:pt x="351" y="10000"/>
                    <a:pt x="351" y="10000"/>
                  </a:cubicBezTo>
                  <a:cubicBezTo>
                    <a:pt x="352" y="10000"/>
                    <a:pt x="354" y="10001"/>
                    <a:pt x="356" y="10001"/>
                  </a:cubicBezTo>
                  <a:cubicBezTo>
                    <a:pt x="395" y="10001"/>
                    <a:pt x="484" y="9937"/>
                    <a:pt x="624" y="9811"/>
                  </a:cubicBezTo>
                  <a:cubicBezTo>
                    <a:pt x="673" y="9765"/>
                    <a:pt x="719" y="9751"/>
                    <a:pt x="755" y="9751"/>
                  </a:cubicBezTo>
                  <a:cubicBezTo>
                    <a:pt x="790" y="9751"/>
                    <a:pt x="816" y="9764"/>
                    <a:pt x="830" y="9772"/>
                  </a:cubicBezTo>
                  <a:cubicBezTo>
                    <a:pt x="900" y="9825"/>
                    <a:pt x="925" y="9916"/>
                    <a:pt x="900" y="9997"/>
                  </a:cubicBezTo>
                  <a:cubicBezTo>
                    <a:pt x="883" y="10057"/>
                    <a:pt x="828" y="10098"/>
                    <a:pt x="767" y="10098"/>
                  </a:cubicBezTo>
                  <a:cubicBezTo>
                    <a:pt x="765" y="10098"/>
                    <a:pt x="763" y="10098"/>
                    <a:pt x="760" y="10098"/>
                  </a:cubicBezTo>
                  <a:cubicBezTo>
                    <a:pt x="752" y="10097"/>
                    <a:pt x="744" y="10097"/>
                    <a:pt x="736" y="10097"/>
                  </a:cubicBezTo>
                  <a:cubicBezTo>
                    <a:pt x="671" y="10097"/>
                    <a:pt x="611" y="10121"/>
                    <a:pt x="564" y="10165"/>
                  </a:cubicBezTo>
                  <a:cubicBezTo>
                    <a:pt x="547" y="10186"/>
                    <a:pt x="536" y="10217"/>
                    <a:pt x="543" y="10242"/>
                  </a:cubicBezTo>
                  <a:cubicBezTo>
                    <a:pt x="561" y="10298"/>
                    <a:pt x="540" y="10354"/>
                    <a:pt x="498" y="10389"/>
                  </a:cubicBezTo>
                  <a:cubicBezTo>
                    <a:pt x="468" y="10407"/>
                    <a:pt x="434" y="10417"/>
                    <a:pt x="399" y="10417"/>
                  </a:cubicBezTo>
                  <a:cubicBezTo>
                    <a:pt x="367" y="10417"/>
                    <a:pt x="335" y="10409"/>
                    <a:pt x="305" y="10392"/>
                  </a:cubicBezTo>
                  <a:cubicBezTo>
                    <a:pt x="228" y="10357"/>
                    <a:pt x="183" y="10277"/>
                    <a:pt x="190" y="10193"/>
                  </a:cubicBezTo>
                  <a:lnTo>
                    <a:pt x="190" y="10193"/>
                  </a:lnTo>
                  <a:cubicBezTo>
                    <a:pt x="158" y="10207"/>
                    <a:pt x="130" y="10231"/>
                    <a:pt x="116" y="10263"/>
                  </a:cubicBezTo>
                  <a:cubicBezTo>
                    <a:pt x="102" y="10291"/>
                    <a:pt x="113" y="10305"/>
                    <a:pt x="116" y="10312"/>
                  </a:cubicBezTo>
                  <a:cubicBezTo>
                    <a:pt x="218" y="10424"/>
                    <a:pt x="162" y="10522"/>
                    <a:pt x="127" y="10585"/>
                  </a:cubicBezTo>
                  <a:cubicBezTo>
                    <a:pt x="106" y="10613"/>
                    <a:pt x="95" y="10644"/>
                    <a:pt x="92" y="10676"/>
                  </a:cubicBezTo>
                  <a:cubicBezTo>
                    <a:pt x="92" y="10679"/>
                    <a:pt x="92" y="10679"/>
                    <a:pt x="92" y="10683"/>
                  </a:cubicBezTo>
                  <a:cubicBezTo>
                    <a:pt x="102" y="10690"/>
                    <a:pt x="116" y="10690"/>
                    <a:pt x="127" y="10690"/>
                  </a:cubicBezTo>
                  <a:cubicBezTo>
                    <a:pt x="186" y="10683"/>
                    <a:pt x="242" y="10651"/>
                    <a:pt x="277" y="10602"/>
                  </a:cubicBezTo>
                  <a:cubicBezTo>
                    <a:pt x="316" y="10532"/>
                    <a:pt x="389" y="10487"/>
                    <a:pt x="470" y="10483"/>
                  </a:cubicBezTo>
                  <a:lnTo>
                    <a:pt x="487" y="10483"/>
                  </a:lnTo>
                  <a:cubicBezTo>
                    <a:pt x="578" y="10497"/>
                    <a:pt x="655" y="10557"/>
                    <a:pt x="683" y="10644"/>
                  </a:cubicBezTo>
                  <a:cubicBezTo>
                    <a:pt x="701" y="10679"/>
                    <a:pt x="701" y="10718"/>
                    <a:pt x="690" y="10756"/>
                  </a:cubicBezTo>
                  <a:cubicBezTo>
                    <a:pt x="673" y="10788"/>
                    <a:pt x="638" y="10812"/>
                    <a:pt x="603" y="10819"/>
                  </a:cubicBezTo>
                  <a:cubicBezTo>
                    <a:pt x="564" y="10833"/>
                    <a:pt x="550" y="10837"/>
                    <a:pt x="550" y="10886"/>
                  </a:cubicBezTo>
                  <a:cubicBezTo>
                    <a:pt x="550" y="11033"/>
                    <a:pt x="477" y="11050"/>
                    <a:pt x="403" y="11054"/>
                  </a:cubicBezTo>
                  <a:cubicBezTo>
                    <a:pt x="398" y="11053"/>
                    <a:pt x="393" y="11052"/>
                    <a:pt x="387" y="11052"/>
                  </a:cubicBezTo>
                  <a:cubicBezTo>
                    <a:pt x="357" y="11052"/>
                    <a:pt x="327" y="11069"/>
                    <a:pt x="312" y="11096"/>
                  </a:cubicBezTo>
                  <a:cubicBezTo>
                    <a:pt x="312" y="11096"/>
                    <a:pt x="309" y="11099"/>
                    <a:pt x="312" y="11110"/>
                  </a:cubicBezTo>
                  <a:cubicBezTo>
                    <a:pt x="351" y="11222"/>
                    <a:pt x="704" y="11411"/>
                    <a:pt x="848" y="11449"/>
                  </a:cubicBezTo>
                  <a:cubicBezTo>
                    <a:pt x="907" y="11463"/>
                    <a:pt x="963" y="11488"/>
                    <a:pt x="1016" y="11519"/>
                  </a:cubicBezTo>
                  <a:cubicBezTo>
                    <a:pt x="1110" y="11569"/>
                    <a:pt x="1216" y="11624"/>
                    <a:pt x="1367" y="11624"/>
                  </a:cubicBezTo>
                  <a:cubicBezTo>
                    <a:pt x="1396" y="11624"/>
                    <a:pt x="1427" y="11622"/>
                    <a:pt x="1460" y="11617"/>
                  </a:cubicBezTo>
                  <a:cubicBezTo>
                    <a:pt x="1758" y="11572"/>
                    <a:pt x="2360" y="10987"/>
                    <a:pt x="2437" y="10889"/>
                  </a:cubicBezTo>
                  <a:cubicBezTo>
                    <a:pt x="2485" y="10828"/>
                    <a:pt x="2551" y="10817"/>
                    <a:pt x="2614" y="10817"/>
                  </a:cubicBezTo>
                  <a:cubicBezTo>
                    <a:pt x="2634" y="10817"/>
                    <a:pt x="2653" y="10818"/>
                    <a:pt x="2672" y="10819"/>
                  </a:cubicBezTo>
                  <a:cubicBezTo>
                    <a:pt x="2695" y="10822"/>
                    <a:pt x="2717" y="10824"/>
                    <a:pt x="2738" y="10824"/>
                  </a:cubicBezTo>
                  <a:cubicBezTo>
                    <a:pt x="2772" y="10824"/>
                    <a:pt x="2803" y="10818"/>
                    <a:pt x="2829" y="10798"/>
                  </a:cubicBezTo>
                  <a:cubicBezTo>
                    <a:pt x="2868" y="10767"/>
                    <a:pt x="2878" y="10686"/>
                    <a:pt x="2885" y="10609"/>
                  </a:cubicBezTo>
                  <a:cubicBezTo>
                    <a:pt x="2896" y="10522"/>
                    <a:pt x="2903" y="10434"/>
                    <a:pt x="2973" y="10396"/>
                  </a:cubicBezTo>
                  <a:cubicBezTo>
                    <a:pt x="2988" y="10387"/>
                    <a:pt x="3005" y="10383"/>
                    <a:pt x="3023" y="10383"/>
                  </a:cubicBezTo>
                  <a:cubicBezTo>
                    <a:pt x="3034" y="10383"/>
                    <a:pt x="3046" y="10385"/>
                    <a:pt x="3057" y="10389"/>
                  </a:cubicBezTo>
                  <a:cubicBezTo>
                    <a:pt x="3120" y="10410"/>
                    <a:pt x="3151" y="10487"/>
                    <a:pt x="3186" y="10574"/>
                  </a:cubicBezTo>
                  <a:cubicBezTo>
                    <a:pt x="3204" y="10616"/>
                    <a:pt x="3221" y="10655"/>
                    <a:pt x="3249" y="10693"/>
                  </a:cubicBezTo>
                  <a:cubicBezTo>
                    <a:pt x="3344" y="10728"/>
                    <a:pt x="3396" y="10805"/>
                    <a:pt x="3410" y="10931"/>
                  </a:cubicBezTo>
                  <a:lnTo>
                    <a:pt x="3463" y="10931"/>
                  </a:lnTo>
                  <a:cubicBezTo>
                    <a:pt x="3473" y="10935"/>
                    <a:pt x="3487" y="10938"/>
                    <a:pt x="3498" y="10938"/>
                  </a:cubicBezTo>
                  <a:lnTo>
                    <a:pt x="3508" y="10942"/>
                  </a:lnTo>
                  <a:cubicBezTo>
                    <a:pt x="3522" y="10949"/>
                    <a:pt x="3533" y="10952"/>
                    <a:pt x="3543" y="10959"/>
                  </a:cubicBezTo>
                  <a:cubicBezTo>
                    <a:pt x="3575" y="10861"/>
                    <a:pt x="3589" y="10760"/>
                    <a:pt x="3589" y="10658"/>
                  </a:cubicBezTo>
                  <a:cubicBezTo>
                    <a:pt x="3592" y="10595"/>
                    <a:pt x="3606" y="10536"/>
                    <a:pt x="3627" y="10473"/>
                  </a:cubicBezTo>
                  <a:cubicBezTo>
                    <a:pt x="3652" y="10403"/>
                    <a:pt x="3666" y="10329"/>
                    <a:pt x="3669" y="10256"/>
                  </a:cubicBezTo>
                  <a:cubicBezTo>
                    <a:pt x="3669" y="10249"/>
                    <a:pt x="3669" y="10238"/>
                    <a:pt x="3666" y="10231"/>
                  </a:cubicBezTo>
                  <a:cubicBezTo>
                    <a:pt x="3659" y="10200"/>
                    <a:pt x="3666" y="10165"/>
                    <a:pt x="3687" y="10137"/>
                  </a:cubicBezTo>
                  <a:cubicBezTo>
                    <a:pt x="3732" y="10084"/>
                    <a:pt x="3813" y="10081"/>
                    <a:pt x="3897" y="10077"/>
                  </a:cubicBezTo>
                  <a:cubicBezTo>
                    <a:pt x="3942" y="10077"/>
                    <a:pt x="4023" y="10074"/>
                    <a:pt x="4037" y="10060"/>
                  </a:cubicBezTo>
                  <a:cubicBezTo>
                    <a:pt x="4086" y="9962"/>
                    <a:pt x="4089" y="9660"/>
                    <a:pt x="4037" y="9629"/>
                  </a:cubicBezTo>
                  <a:cubicBezTo>
                    <a:pt x="3942" y="9569"/>
                    <a:pt x="3893" y="9457"/>
                    <a:pt x="3914" y="9349"/>
                  </a:cubicBezTo>
                  <a:cubicBezTo>
                    <a:pt x="3925" y="9289"/>
                    <a:pt x="3977" y="9244"/>
                    <a:pt x="4040" y="9244"/>
                  </a:cubicBezTo>
                  <a:cubicBezTo>
                    <a:pt x="4082" y="9244"/>
                    <a:pt x="4121" y="9226"/>
                    <a:pt x="4149" y="9198"/>
                  </a:cubicBezTo>
                  <a:cubicBezTo>
                    <a:pt x="4184" y="9149"/>
                    <a:pt x="4198" y="9090"/>
                    <a:pt x="4184" y="9030"/>
                  </a:cubicBezTo>
                  <a:cubicBezTo>
                    <a:pt x="4177" y="8964"/>
                    <a:pt x="4121" y="8932"/>
                    <a:pt x="4037" y="8887"/>
                  </a:cubicBezTo>
                  <a:cubicBezTo>
                    <a:pt x="3949" y="8841"/>
                    <a:pt x="3837" y="8778"/>
                    <a:pt x="3820" y="8642"/>
                  </a:cubicBezTo>
                  <a:cubicBezTo>
                    <a:pt x="3813" y="8561"/>
                    <a:pt x="3827" y="8481"/>
                    <a:pt x="3862" y="8407"/>
                  </a:cubicBezTo>
                  <a:cubicBezTo>
                    <a:pt x="3893" y="8330"/>
                    <a:pt x="3918" y="8271"/>
                    <a:pt x="3851" y="8145"/>
                  </a:cubicBezTo>
                  <a:cubicBezTo>
                    <a:pt x="3764" y="7963"/>
                    <a:pt x="3806" y="7826"/>
                    <a:pt x="3834" y="7721"/>
                  </a:cubicBezTo>
                  <a:cubicBezTo>
                    <a:pt x="3851" y="7668"/>
                    <a:pt x="3862" y="7623"/>
                    <a:pt x="3851" y="7591"/>
                  </a:cubicBezTo>
                  <a:cubicBezTo>
                    <a:pt x="3788" y="7437"/>
                    <a:pt x="3743" y="7262"/>
                    <a:pt x="3907" y="6986"/>
                  </a:cubicBezTo>
                  <a:cubicBezTo>
                    <a:pt x="4053" y="6748"/>
                    <a:pt x="4319" y="6588"/>
                    <a:pt x="4480" y="6588"/>
                  </a:cubicBezTo>
                  <a:cubicBezTo>
                    <a:pt x="4497" y="6588"/>
                    <a:pt x="4513" y="6590"/>
                    <a:pt x="4527" y="6594"/>
                  </a:cubicBezTo>
                  <a:cubicBezTo>
                    <a:pt x="4548" y="6597"/>
                    <a:pt x="4569" y="6608"/>
                    <a:pt x="4597" y="6615"/>
                  </a:cubicBezTo>
                  <a:cubicBezTo>
                    <a:pt x="4658" y="6637"/>
                    <a:pt x="4704" y="6650"/>
                    <a:pt x="4738" y="6650"/>
                  </a:cubicBezTo>
                  <a:cubicBezTo>
                    <a:pt x="4774" y="6650"/>
                    <a:pt x="4798" y="6635"/>
                    <a:pt x="4814" y="6601"/>
                  </a:cubicBezTo>
                  <a:cubicBezTo>
                    <a:pt x="4867" y="6499"/>
                    <a:pt x="4874" y="6422"/>
                    <a:pt x="4860" y="6391"/>
                  </a:cubicBezTo>
                  <a:cubicBezTo>
                    <a:pt x="4856" y="6384"/>
                    <a:pt x="4853" y="6380"/>
                    <a:pt x="4853" y="6380"/>
                  </a:cubicBezTo>
                  <a:lnTo>
                    <a:pt x="4839" y="6377"/>
                  </a:lnTo>
                  <a:cubicBezTo>
                    <a:pt x="4776" y="6356"/>
                    <a:pt x="4660" y="6321"/>
                    <a:pt x="4629" y="6219"/>
                  </a:cubicBezTo>
                  <a:cubicBezTo>
                    <a:pt x="4608" y="6153"/>
                    <a:pt x="4629" y="6076"/>
                    <a:pt x="4688" y="5995"/>
                  </a:cubicBezTo>
                  <a:lnTo>
                    <a:pt x="4720" y="5950"/>
                  </a:lnTo>
                  <a:cubicBezTo>
                    <a:pt x="4877" y="5736"/>
                    <a:pt x="5017" y="5519"/>
                    <a:pt x="5042" y="5323"/>
                  </a:cubicBezTo>
                  <a:cubicBezTo>
                    <a:pt x="5049" y="5239"/>
                    <a:pt x="5049" y="5155"/>
                    <a:pt x="5038" y="5071"/>
                  </a:cubicBezTo>
                  <a:cubicBezTo>
                    <a:pt x="5028" y="4955"/>
                    <a:pt x="5017" y="4857"/>
                    <a:pt x="5084" y="4791"/>
                  </a:cubicBezTo>
                  <a:cubicBezTo>
                    <a:pt x="5140" y="4735"/>
                    <a:pt x="5217" y="4731"/>
                    <a:pt x="5294" y="4728"/>
                  </a:cubicBezTo>
                  <a:cubicBezTo>
                    <a:pt x="5300" y="4728"/>
                    <a:pt x="5307" y="4728"/>
                    <a:pt x="5313" y="4728"/>
                  </a:cubicBezTo>
                  <a:cubicBezTo>
                    <a:pt x="5383" y="4728"/>
                    <a:pt x="5450" y="4711"/>
                    <a:pt x="5511" y="4679"/>
                  </a:cubicBezTo>
                  <a:cubicBezTo>
                    <a:pt x="5570" y="4640"/>
                    <a:pt x="5567" y="4605"/>
                    <a:pt x="5563" y="4546"/>
                  </a:cubicBezTo>
                  <a:cubicBezTo>
                    <a:pt x="5549" y="4486"/>
                    <a:pt x="5567" y="4423"/>
                    <a:pt x="5605" y="4374"/>
                  </a:cubicBezTo>
                  <a:cubicBezTo>
                    <a:pt x="5644" y="4325"/>
                    <a:pt x="5679" y="4273"/>
                    <a:pt x="5707" y="4217"/>
                  </a:cubicBezTo>
                  <a:cubicBezTo>
                    <a:pt x="5766" y="4115"/>
                    <a:pt x="5829" y="4007"/>
                    <a:pt x="5899" y="3954"/>
                  </a:cubicBezTo>
                  <a:cubicBezTo>
                    <a:pt x="6067" y="3828"/>
                    <a:pt x="6029" y="3779"/>
                    <a:pt x="6015" y="3762"/>
                  </a:cubicBezTo>
                  <a:cubicBezTo>
                    <a:pt x="6001" y="3741"/>
                    <a:pt x="5990" y="3716"/>
                    <a:pt x="5987" y="3692"/>
                  </a:cubicBezTo>
                  <a:cubicBezTo>
                    <a:pt x="5980" y="3622"/>
                    <a:pt x="6032" y="3559"/>
                    <a:pt x="6071" y="3509"/>
                  </a:cubicBezTo>
                  <a:cubicBezTo>
                    <a:pt x="6106" y="3471"/>
                    <a:pt x="6130" y="3425"/>
                    <a:pt x="6151" y="3380"/>
                  </a:cubicBezTo>
                  <a:cubicBezTo>
                    <a:pt x="6155" y="3362"/>
                    <a:pt x="6158" y="3348"/>
                    <a:pt x="6158" y="3331"/>
                  </a:cubicBezTo>
                  <a:cubicBezTo>
                    <a:pt x="6158" y="3110"/>
                    <a:pt x="6446" y="2953"/>
                    <a:pt x="6642" y="2953"/>
                  </a:cubicBezTo>
                  <a:cubicBezTo>
                    <a:pt x="6754" y="2953"/>
                    <a:pt x="6992" y="2953"/>
                    <a:pt x="6992" y="2862"/>
                  </a:cubicBezTo>
                  <a:cubicBezTo>
                    <a:pt x="6988" y="2823"/>
                    <a:pt x="6985" y="2785"/>
                    <a:pt x="6981" y="2746"/>
                  </a:cubicBezTo>
                  <a:cubicBezTo>
                    <a:pt x="6964" y="2613"/>
                    <a:pt x="6950" y="2473"/>
                    <a:pt x="7030" y="2414"/>
                  </a:cubicBezTo>
                  <a:cubicBezTo>
                    <a:pt x="7053" y="2396"/>
                    <a:pt x="7080" y="2387"/>
                    <a:pt x="7111" y="2387"/>
                  </a:cubicBezTo>
                  <a:cubicBezTo>
                    <a:pt x="7141" y="2387"/>
                    <a:pt x="7175" y="2396"/>
                    <a:pt x="7212" y="2414"/>
                  </a:cubicBezTo>
                  <a:cubicBezTo>
                    <a:pt x="7280" y="2438"/>
                    <a:pt x="7353" y="2452"/>
                    <a:pt x="7424" y="2452"/>
                  </a:cubicBezTo>
                  <a:cubicBezTo>
                    <a:pt x="7445" y="2452"/>
                    <a:pt x="7465" y="2451"/>
                    <a:pt x="7485" y="2449"/>
                  </a:cubicBezTo>
                  <a:cubicBezTo>
                    <a:pt x="7506" y="2448"/>
                    <a:pt x="7527" y="2447"/>
                    <a:pt x="7549" y="2447"/>
                  </a:cubicBezTo>
                  <a:cubicBezTo>
                    <a:pt x="7633" y="2447"/>
                    <a:pt x="7719" y="2459"/>
                    <a:pt x="7800" y="2526"/>
                  </a:cubicBezTo>
                  <a:cubicBezTo>
                    <a:pt x="7849" y="2567"/>
                    <a:pt x="7908" y="2591"/>
                    <a:pt x="7956" y="2591"/>
                  </a:cubicBezTo>
                  <a:cubicBezTo>
                    <a:pt x="7974" y="2591"/>
                    <a:pt x="7990" y="2588"/>
                    <a:pt x="8003" y="2582"/>
                  </a:cubicBezTo>
                  <a:cubicBezTo>
                    <a:pt x="8042" y="2561"/>
                    <a:pt x="8063" y="2515"/>
                    <a:pt x="8056" y="2473"/>
                  </a:cubicBezTo>
                  <a:cubicBezTo>
                    <a:pt x="8056" y="2298"/>
                    <a:pt x="8105" y="2067"/>
                    <a:pt x="8234" y="1994"/>
                  </a:cubicBezTo>
                  <a:lnTo>
                    <a:pt x="8255" y="1983"/>
                  </a:lnTo>
                  <a:lnTo>
                    <a:pt x="8259" y="1983"/>
                  </a:lnTo>
                  <a:lnTo>
                    <a:pt x="8276" y="1976"/>
                  </a:lnTo>
                  <a:lnTo>
                    <a:pt x="8283" y="1976"/>
                  </a:lnTo>
                  <a:lnTo>
                    <a:pt x="8301" y="1973"/>
                  </a:lnTo>
                  <a:lnTo>
                    <a:pt x="8308" y="1973"/>
                  </a:lnTo>
                  <a:cubicBezTo>
                    <a:pt x="8311" y="1971"/>
                    <a:pt x="8315" y="1970"/>
                    <a:pt x="8318" y="1970"/>
                  </a:cubicBezTo>
                  <a:cubicBezTo>
                    <a:pt x="8322" y="1970"/>
                    <a:pt x="8325" y="1971"/>
                    <a:pt x="8329" y="1973"/>
                  </a:cubicBezTo>
                  <a:lnTo>
                    <a:pt x="8339" y="1973"/>
                  </a:lnTo>
                  <a:cubicBezTo>
                    <a:pt x="8343" y="1971"/>
                    <a:pt x="8346" y="1970"/>
                    <a:pt x="8348" y="1970"/>
                  </a:cubicBezTo>
                  <a:cubicBezTo>
                    <a:pt x="8351" y="1970"/>
                    <a:pt x="8353" y="1971"/>
                    <a:pt x="8357" y="1973"/>
                  </a:cubicBezTo>
                  <a:lnTo>
                    <a:pt x="8371" y="1973"/>
                  </a:lnTo>
                  <a:cubicBezTo>
                    <a:pt x="8378" y="1973"/>
                    <a:pt x="8385" y="1973"/>
                    <a:pt x="8392" y="1976"/>
                  </a:cubicBezTo>
                  <a:lnTo>
                    <a:pt x="8406" y="1980"/>
                  </a:lnTo>
                  <a:cubicBezTo>
                    <a:pt x="8413" y="1980"/>
                    <a:pt x="8420" y="1983"/>
                    <a:pt x="8427" y="1987"/>
                  </a:cubicBezTo>
                  <a:lnTo>
                    <a:pt x="8445" y="1994"/>
                  </a:lnTo>
                  <a:cubicBezTo>
                    <a:pt x="8448" y="1997"/>
                    <a:pt x="8455" y="1997"/>
                    <a:pt x="8462" y="2001"/>
                  </a:cubicBezTo>
                  <a:lnTo>
                    <a:pt x="8469" y="1994"/>
                  </a:lnTo>
                  <a:lnTo>
                    <a:pt x="8476" y="1983"/>
                  </a:lnTo>
                  <a:lnTo>
                    <a:pt x="8490" y="1962"/>
                  </a:lnTo>
                  <a:lnTo>
                    <a:pt x="8497" y="1952"/>
                  </a:lnTo>
                  <a:lnTo>
                    <a:pt x="8511" y="1934"/>
                  </a:lnTo>
                  <a:lnTo>
                    <a:pt x="8518" y="1924"/>
                  </a:lnTo>
                  <a:lnTo>
                    <a:pt x="8536" y="1906"/>
                  </a:lnTo>
                  <a:lnTo>
                    <a:pt x="8543" y="1896"/>
                  </a:lnTo>
                  <a:lnTo>
                    <a:pt x="8560" y="1878"/>
                  </a:lnTo>
                  <a:lnTo>
                    <a:pt x="8567" y="1871"/>
                  </a:lnTo>
                  <a:lnTo>
                    <a:pt x="8588" y="1854"/>
                  </a:lnTo>
                  <a:lnTo>
                    <a:pt x="8592" y="1847"/>
                  </a:lnTo>
                  <a:cubicBezTo>
                    <a:pt x="8609" y="1833"/>
                    <a:pt x="8630" y="1822"/>
                    <a:pt x="8648" y="1808"/>
                  </a:cubicBezTo>
                  <a:lnTo>
                    <a:pt x="8655" y="1808"/>
                  </a:lnTo>
                  <a:lnTo>
                    <a:pt x="8676" y="1794"/>
                  </a:lnTo>
                  <a:lnTo>
                    <a:pt x="8686" y="1791"/>
                  </a:lnTo>
                  <a:lnTo>
                    <a:pt x="8704" y="1784"/>
                  </a:lnTo>
                  <a:lnTo>
                    <a:pt x="8714" y="1777"/>
                  </a:lnTo>
                  <a:lnTo>
                    <a:pt x="8732" y="1773"/>
                  </a:lnTo>
                  <a:lnTo>
                    <a:pt x="8746" y="1770"/>
                  </a:lnTo>
                  <a:lnTo>
                    <a:pt x="8763" y="1763"/>
                  </a:lnTo>
                  <a:lnTo>
                    <a:pt x="8774" y="1763"/>
                  </a:lnTo>
                  <a:lnTo>
                    <a:pt x="8791" y="1759"/>
                  </a:lnTo>
                  <a:lnTo>
                    <a:pt x="8865" y="1759"/>
                  </a:lnTo>
                  <a:cubicBezTo>
                    <a:pt x="8987" y="1777"/>
                    <a:pt x="9082" y="1878"/>
                    <a:pt x="9173" y="1980"/>
                  </a:cubicBezTo>
                  <a:cubicBezTo>
                    <a:pt x="9264" y="2081"/>
                    <a:pt x="9351" y="2179"/>
                    <a:pt x="9467" y="2200"/>
                  </a:cubicBezTo>
                  <a:cubicBezTo>
                    <a:pt x="9523" y="2211"/>
                    <a:pt x="9579" y="2225"/>
                    <a:pt x="9635" y="2239"/>
                  </a:cubicBezTo>
                  <a:cubicBezTo>
                    <a:pt x="9734" y="2263"/>
                    <a:pt x="9835" y="2287"/>
                    <a:pt x="9907" y="2287"/>
                  </a:cubicBezTo>
                  <a:cubicBezTo>
                    <a:pt x="9949" y="2287"/>
                    <a:pt x="9981" y="2278"/>
                    <a:pt x="9995" y="2256"/>
                  </a:cubicBezTo>
                  <a:cubicBezTo>
                    <a:pt x="10029" y="2199"/>
                    <a:pt x="10075" y="2181"/>
                    <a:pt x="10123" y="2181"/>
                  </a:cubicBezTo>
                  <a:cubicBezTo>
                    <a:pt x="10175" y="2181"/>
                    <a:pt x="10230" y="2203"/>
                    <a:pt x="10272" y="2221"/>
                  </a:cubicBezTo>
                  <a:cubicBezTo>
                    <a:pt x="10320" y="2240"/>
                    <a:pt x="10368" y="2259"/>
                    <a:pt x="10410" y="2259"/>
                  </a:cubicBezTo>
                  <a:cubicBezTo>
                    <a:pt x="10423" y="2259"/>
                    <a:pt x="10435" y="2257"/>
                    <a:pt x="10447" y="2253"/>
                  </a:cubicBezTo>
                  <a:cubicBezTo>
                    <a:pt x="10465" y="2246"/>
                    <a:pt x="10482" y="2244"/>
                    <a:pt x="10498" y="2244"/>
                  </a:cubicBezTo>
                  <a:cubicBezTo>
                    <a:pt x="10580" y="2244"/>
                    <a:pt x="10631" y="2317"/>
                    <a:pt x="10661" y="2358"/>
                  </a:cubicBezTo>
                  <a:cubicBezTo>
                    <a:pt x="10671" y="2368"/>
                    <a:pt x="10682" y="2382"/>
                    <a:pt x="10689" y="2393"/>
                  </a:cubicBezTo>
                  <a:cubicBezTo>
                    <a:pt x="10703" y="2382"/>
                    <a:pt x="10717" y="2368"/>
                    <a:pt x="10727" y="2354"/>
                  </a:cubicBezTo>
                  <a:cubicBezTo>
                    <a:pt x="10766" y="2302"/>
                    <a:pt x="10787" y="2239"/>
                    <a:pt x="10787" y="2176"/>
                  </a:cubicBezTo>
                  <a:cubicBezTo>
                    <a:pt x="10787" y="2127"/>
                    <a:pt x="10804" y="2081"/>
                    <a:pt x="10836" y="2046"/>
                  </a:cubicBezTo>
                  <a:cubicBezTo>
                    <a:pt x="10864" y="2025"/>
                    <a:pt x="10899" y="2014"/>
                    <a:pt x="10954" y="2014"/>
                  </a:cubicBezTo>
                  <a:cubicBezTo>
                    <a:pt x="10972" y="2014"/>
                    <a:pt x="10993" y="2015"/>
                    <a:pt x="11018" y="2018"/>
                  </a:cubicBezTo>
                  <a:cubicBezTo>
                    <a:pt x="11024" y="2019"/>
                    <a:pt x="11030" y="2019"/>
                    <a:pt x="11036" y="2019"/>
                  </a:cubicBezTo>
                  <a:cubicBezTo>
                    <a:pt x="11054" y="2019"/>
                    <a:pt x="11071" y="2016"/>
                    <a:pt x="11084" y="2008"/>
                  </a:cubicBezTo>
                  <a:cubicBezTo>
                    <a:pt x="11112" y="1980"/>
                    <a:pt x="11088" y="1868"/>
                    <a:pt x="11074" y="1794"/>
                  </a:cubicBezTo>
                  <a:cubicBezTo>
                    <a:pt x="11063" y="1735"/>
                    <a:pt x="11053" y="1675"/>
                    <a:pt x="11049" y="1616"/>
                  </a:cubicBezTo>
                  <a:cubicBezTo>
                    <a:pt x="11049" y="1486"/>
                    <a:pt x="11168" y="1416"/>
                    <a:pt x="11263" y="1360"/>
                  </a:cubicBezTo>
                  <a:cubicBezTo>
                    <a:pt x="11326" y="1325"/>
                    <a:pt x="11389" y="1290"/>
                    <a:pt x="11389" y="1251"/>
                  </a:cubicBezTo>
                  <a:cubicBezTo>
                    <a:pt x="11389" y="1216"/>
                    <a:pt x="11403" y="1185"/>
                    <a:pt x="11424" y="1160"/>
                  </a:cubicBezTo>
                  <a:cubicBezTo>
                    <a:pt x="11487" y="1101"/>
                    <a:pt x="11609" y="1101"/>
                    <a:pt x="11735" y="1101"/>
                  </a:cubicBezTo>
                  <a:cubicBezTo>
                    <a:pt x="11802" y="1101"/>
                    <a:pt x="11924" y="1101"/>
                    <a:pt x="11949" y="1083"/>
                  </a:cubicBezTo>
                  <a:cubicBezTo>
                    <a:pt x="12021" y="995"/>
                    <a:pt x="12130" y="946"/>
                    <a:pt x="12244" y="946"/>
                  </a:cubicBezTo>
                  <a:cubicBezTo>
                    <a:pt x="12252" y="946"/>
                    <a:pt x="12260" y="946"/>
                    <a:pt x="12267" y="947"/>
                  </a:cubicBezTo>
                  <a:cubicBezTo>
                    <a:pt x="12362" y="950"/>
                    <a:pt x="12449" y="1006"/>
                    <a:pt x="12498" y="1090"/>
                  </a:cubicBezTo>
                  <a:cubicBezTo>
                    <a:pt x="12537" y="1160"/>
                    <a:pt x="12667" y="1216"/>
                    <a:pt x="12779" y="1265"/>
                  </a:cubicBezTo>
                  <a:cubicBezTo>
                    <a:pt x="12922" y="1328"/>
                    <a:pt x="13059" y="1388"/>
                    <a:pt x="13076" y="1500"/>
                  </a:cubicBezTo>
                  <a:cubicBezTo>
                    <a:pt x="13080" y="1514"/>
                    <a:pt x="13080" y="1528"/>
                    <a:pt x="13083" y="1546"/>
                  </a:cubicBezTo>
                  <a:lnTo>
                    <a:pt x="13083" y="1563"/>
                  </a:lnTo>
                  <a:lnTo>
                    <a:pt x="13083" y="1595"/>
                  </a:lnTo>
                  <a:lnTo>
                    <a:pt x="13083" y="1612"/>
                  </a:lnTo>
                  <a:lnTo>
                    <a:pt x="13083" y="1647"/>
                  </a:lnTo>
                  <a:lnTo>
                    <a:pt x="13083" y="1668"/>
                  </a:lnTo>
                  <a:lnTo>
                    <a:pt x="13083" y="1679"/>
                  </a:lnTo>
                  <a:cubicBezTo>
                    <a:pt x="13125" y="1654"/>
                    <a:pt x="13171" y="1640"/>
                    <a:pt x="13216" y="1633"/>
                  </a:cubicBezTo>
                  <a:lnTo>
                    <a:pt x="13220" y="1633"/>
                  </a:lnTo>
                  <a:cubicBezTo>
                    <a:pt x="13237" y="1630"/>
                    <a:pt x="13251" y="1630"/>
                    <a:pt x="13265" y="1630"/>
                  </a:cubicBezTo>
                  <a:cubicBezTo>
                    <a:pt x="13321" y="1630"/>
                    <a:pt x="13388" y="1577"/>
                    <a:pt x="13447" y="1532"/>
                  </a:cubicBezTo>
                  <a:cubicBezTo>
                    <a:pt x="13525" y="1473"/>
                    <a:pt x="13606" y="1415"/>
                    <a:pt x="13695" y="1415"/>
                  </a:cubicBezTo>
                  <a:cubicBezTo>
                    <a:pt x="13702" y="1415"/>
                    <a:pt x="13710" y="1415"/>
                    <a:pt x="13717" y="1416"/>
                  </a:cubicBezTo>
                  <a:lnTo>
                    <a:pt x="13731" y="1416"/>
                  </a:lnTo>
                  <a:cubicBezTo>
                    <a:pt x="13738" y="1416"/>
                    <a:pt x="13755" y="1423"/>
                    <a:pt x="13766" y="1423"/>
                  </a:cubicBezTo>
                  <a:cubicBezTo>
                    <a:pt x="13774" y="1425"/>
                    <a:pt x="13783" y="1426"/>
                    <a:pt x="13792" y="1426"/>
                  </a:cubicBezTo>
                  <a:cubicBezTo>
                    <a:pt x="13816" y="1426"/>
                    <a:pt x="13841" y="1419"/>
                    <a:pt x="13864" y="1409"/>
                  </a:cubicBezTo>
                  <a:cubicBezTo>
                    <a:pt x="13871" y="1402"/>
                    <a:pt x="13878" y="1395"/>
                    <a:pt x="13885" y="1388"/>
                  </a:cubicBezTo>
                  <a:lnTo>
                    <a:pt x="13888" y="1381"/>
                  </a:lnTo>
                  <a:cubicBezTo>
                    <a:pt x="13895" y="1374"/>
                    <a:pt x="13899" y="1370"/>
                    <a:pt x="13902" y="1363"/>
                  </a:cubicBezTo>
                  <a:lnTo>
                    <a:pt x="13906" y="1353"/>
                  </a:lnTo>
                  <a:cubicBezTo>
                    <a:pt x="13913" y="1342"/>
                    <a:pt x="13916" y="1332"/>
                    <a:pt x="13920" y="1321"/>
                  </a:cubicBezTo>
                  <a:cubicBezTo>
                    <a:pt x="13872" y="1300"/>
                    <a:pt x="13821" y="1289"/>
                    <a:pt x="13770" y="1289"/>
                  </a:cubicBezTo>
                  <a:cubicBezTo>
                    <a:pt x="13739" y="1289"/>
                    <a:pt x="13708" y="1293"/>
                    <a:pt x="13678" y="1300"/>
                  </a:cubicBezTo>
                  <a:cubicBezTo>
                    <a:pt x="13671" y="1304"/>
                    <a:pt x="13654" y="1311"/>
                    <a:pt x="13650" y="1321"/>
                  </a:cubicBezTo>
                  <a:cubicBezTo>
                    <a:pt x="13626" y="1399"/>
                    <a:pt x="13554" y="1449"/>
                    <a:pt x="13475" y="1449"/>
                  </a:cubicBezTo>
                  <a:cubicBezTo>
                    <a:pt x="13461" y="1449"/>
                    <a:pt x="13447" y="1447"/>
                    <a:pt x="13433" y="1444"/>
                  </a:cubicBezTo>
                  <a:cubicBezTo>
                    <a:pt x="13346" y="1437"/>
                    <a:pt x="13279" y="1363"/>
                    <a:pt x="13283" y="1276"/>
                  </a:cubicBezTo>
                  <a:cubicBezTo>
                    <a:pt x="13276" y="1241"/>
                    <a:pt x="13139" y="1171"/>
                    <a:pt x="13087" y="1143"/>
                  </a:cubicBezTo>
                  <a:cubicBezTo>
                    <a:pt x="12996" y="1101"/>
                    <a:pt x="12943" y="1069"/>
                    <a:pt x="12929" y="1020"/>
                  </a:cubicBezTo>
                  <a:cubicBezTo>
                    <a:pt x="12919" y="985"/>
                    <a:pt x="12929" y="947"/>
                    <a:pt x="12957" y="926"/>
                  </a:cubicBezTo>
                  <a:cubicBezTo>
                    <a:pt x="12981" y="908"/>
                    <a:pt x="13015" y="900"/>
                    <a:pt x="13054" y="900"/>
                  </a:cubicBezTo>
                  <a:cubicBezTo>
                    <a:pt x="13131" y="900"/>
                    <a:pt x="13226" y="930"/>
                    <a:pt x="13300" y="971"/>
                  </a:cubicBezTo>
                  <a:cubicBezTo>
                    <a:pt x="13328" y="987"/>
                    <a:pt x="13352" y="996"/>
                    <a:pt x="13378" y="996"/>
                  </a:cubicBezTo>
                  <a:cubicBezTo>
                    <a:pt x="13428" y="996"/>
                    <a:pt x="13486" y="961"/>
                    <a:pt x="13587" y="866"/>
                  </a:cubicBezTo>
                  <a:cubicBezTo>
                    <a:pt x="13655" y="805"/>
                    <a:pt x="13745" y="771"/>
                    <a:pt x="13838" y="771"/>
                  </a:cubicBezTo>
                  <a:cubicBezTo>
                    <a:pt x="13847" y="771"/>
                    <a:pt x="13855" y="771"/>
                    <a:pt x="13864" y="772"/>
                  </a:cubicBezTo>
                  <a:cubicBezTo>
                    <a:pt x="13888" y="772"/>
                    <a:pt x="13913" y="768"/>
                    <a:pt x="13937" y="761"/>
                  </a:cubicBezTo>
                  <a:lnTo>
                    <a:pt x="13937" y="758"/>
                  </a:lnTo>
                  <a:cubicBezTo>
                    <a:pt x="13944" y="723"/>
                    <a:pt x="13843" y="663"/>
                    <a:pt x="13797" y="635"/>
                  </a:cubicBezTo>
                  <a:cubicBezTo>
                    <a:pt x="13745" y="607"/>
                    <a:pt x="13703" y="572"/>
                    <a:pt x="13664" y="530"/>
                  </a:cubicBezTo>
                  <a:cubicBezTo>
                    <a:pt x="13634" y="485"/>
                    <a:pt x="13510" y="416"/>
                    <a:pt x="13380" y="416"/>
                  </a:cubicBezTo>
                  <a:cubicBezTo>
                    <a:pt x="13359" y="416"/>
                    <a:pt x="13338" y="418"/>
                    <a:pt x="13318" y="422"/>
                  </a:cubicBezTo>
                  <a:cubicBezTo>
                    <a:pt x="13284" y="428"/>
                    <a:pt x="13255" y="431"/>
                    <a:pt x="13229" y="431"/>
                  </a:cubicBezTo>
                  <a:cubicBezTo>
                    <a:pt x="13132" y="431"/>
                    <a:pt x="13085" y="387"/>
                    <a:pt x="13027" y="324"/>
                  </a:cubicBezTo>
                  <a:cubicBezTo>
                    <a:pt x="13010" y="306"/>
                    <a:pt x="12992" y="289"/>
                    <a:pt x="12971" y="268"/>
                  </a:cubicBezTo>
                  <a:cubicBezTo>
                    <a:pt x="12962" y="260"/>
                    <a:pt x="12947" y="256"/>
                    <a:pt x="12928" y="256"/>
                  </a:cubicBezTo>
                  <a:cubicBezTo>
                    <a:pt x="12904" y="256"/>
                    <a:pt x="12873" y="263"/>
                    <a:pt x="12838" y="278"/>
                  </a:cubicBezTo>
                  <a:cubicBezTo>
                    <a:pt x="12751" y="317"/>
                    <a:pt x="12653" y="408"/>
                    <a:pt x="12653" y="513"/>
                  </a:cubicBezTo>
                  <a:cubicBezTo>
                    <a:pt x="12653" y="670"/>
                    <a:pt x="12565" y="716"/>
                    <a:pt x="12540" y="723"/>
                  </a:cubicBezTo>
                  <a:cubicBezTo>
                    <a:pt x="12526" y="728"/>
                    <a:pt x="12512" y="730"/>
                    <a:pt x="12498" y="730"/>
                  </a:cubicBezTo>
                  <a:cubicBezTo>
                    <a:pt x="12463" y="730"/>
                    <a:pt x="12429" y="715"/>
                    <a:pt x="12404" y="688"/>
                  </a:cubicBezTo>
                  <a:cubicBezTo>
                    <a:pt x="12369" y="639"/>
                    <a:pt x="12369" y="576"/>
                    <a:pt x="12404" y="527"/>
                  </a:cubicBezTo>
                  <a:cubicBezTo>
                    <a:pt x="12421" y="499"/>
                    <a:pt x="12414" y="464"/>
                    <a:pt x="12400" y="415"/>
                  </a:cubicBezTo>
                  <a:cubicBezTo>
                    <a:pt x="12390" y="376"/>
                    <a:pt x="12383" y="334"/>
                    <a:pt x="12390" y="292"/>
                  </a:cubicBezTo>
                  <a:cubicBezTo>
                    <a:pt x="12404" y="236"/>
                    <a:pt x="12453" y="198"/>
                    <a:pt x="12509" y="187"/>
                  </a:cubicBezTo>
                  <a:cubicBezTo>
                    <a:pt x="12540" y="180"/>
                    <a:pt x="12540" y="166"/>
                    <a:pt x="12540" y="156"/>
                  </a:cubicBezTo>
                  <a:cubicBezTo>
                    <a:pt x="12533" y="107"/>
                    <a:pt x="12453" y="23"/>
                    <a:pt x="12292" y="9"/>
                  </a:cubicBezTo>
                  <a:cubicBezTo>
                    <a:pt x="12282" y="8"/>
                    <a:pt x="12272" y="8"/>
                    <a:pt x="12262" y="8"/>
                  </a:cubicBezTo>
                  <a:cubicBezTo>
                    <a:pt x="12129" y="8"/>
                    <a:pt x="12048" y="73"/>
                    <a:pt x="12019" y="135"/>
                  </a:cubicBezTo>
                  <a:cubicBezTo>
                    <a:pt x="11998" y="173"/>
                    <a:pt x="12001" y="201"/>
                    <a:pt x="12008" y="208"/>
                  </a:cubicBezTo>
                  <a:cubicBezTo>
                    <a:pt x="12047" y="250"/>
                    <a:pt x="12047" y="313"/>
                    <a:pt x="12012" y="394"/>
                  </a:cubicBezTo>
                  <a:cubicBezTo>
                    <a:pt x="11956" y="516"/>
                    <a:pt x="11770" y="747"/>
                    <a:pt x="11637" y="747"/>
                  </a:cubicBezTo>
                  <a:cubicBezTo>
                    <a:pt x="11602" y="747"/>
                    <a:pt x="11571" y="733"/>
                    <a:pt x="11550" y="705"/>
                  </a:cubicBezTo>
                  <a:cubicBezTo>
                    <a:pt x="11501" y="646"/>
                    <a:pt x="11522" y="548"/>
                    <a:pt x="11550" y="422"/>
                  </a:cubicBezTo>
                  <a:cubicBezTo>
                    <a:pt x="11564" y="355"/>
                    <a:pt x="11574" y="289"/>
                    <a:pt x="11578" y="222"/>
                  </a:cubicBezTo>
                  <a:lnTo>
                    <a:pt x="11578" y="215"/>
                  </a:lnTo>
                  <a:cubicBezTo>
                    <a:pt x="11546" y="236"/>
                    <a:pt x="11480" y="296"/>
                    <a:pt x="11347" y="450"/>
                  </a:cubicBezTo>
                  <a:cubicBezTo>
                    <a:pt x="11298" y="502"/>
                    <a:pt x="11256" y="555"/>
                    <a:pt x="11214" y="604"/>
                  </a:cubicBezTo>
                  <a:cubicBezTo>
                    <a:pt x="11039" y="814"/>
                    <a:pt x="10909" y="964"/>
                    <a:pt x="10783" y="989"/>
                  </a:cubicBezTo>
                  <a:cubicBezTo>
                    <a:pt x="10774" y="991"/>
                    <a:pt x="10766" y="992"/>
                    <a:pt x="10757" y="992"/>
                  </a:cubicBezTo>
                  <a:cubicBezTo>
                    <a:pt x="10703" y="992"/>
                    <a:pt x="10651" y="956"/>
                    <a:pt x="10636" y="901"/>
                  </a:cubicBezTo>
                  <a:cubicBezTo>
                    <a:pt x="10594" y="789"/>
                    <a:pt x="10668" y="607"/>
                    <a:pt x="10839" y="516"/>
                  </a:cubicBezTo>
                  <a:cubicBezTo>
                    <a:pt x="10927" y="467"/>
                    <a:pt x="10976" y="369"/>
                    <a:pt x="11021" y="285"/>
                  </a:cubicBezTo>
                  <a:cubicBezTo>
                    <a:pt x="11067" y="187"/>
                    <a:pt x="11116" y="86"/>
                    <a:pt x="11224" y="86"/>
                  </a:cubicBezTo>
                  <a:cubicBezTo>
                    <a:pt x="11227" y="87"/>
                    <a:pt x="11230" y="87"/>
                    <a:pt x="11233" y="87"/>
                  </a:cubicBezTo>
                  <a:cubicBezTo>
                    <a:pt x="11240" y="87"/>
                    <a:pt x="11248" y="84"/>
                    <a:pt x="11256" y="79"/>
                  </a:cubicBezTo>
                  <a:cubicBezTo>
                    <a:pt x="11256" y="75"/>
                    <a:pt x="11252" y="72"/>
                    <a:pt x="11249" y="68"/>
                  </a:cubicBezTo>
                  <a:cubicBezTo>
                    <a:pt x="11224" y="33"/>
                    <a:pt x="11186" y="12"/>
                    <a:pt x="11144" y="5"/>
                  </a:cubicBezTo>
                  <a:cubicBezTo>
                    <a:pt x="11130" y="2"/>
                    <a:pt x="11118" y="0"/>
                    <a:pt x="111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9" name="Google Shape;6389;p53"/>
            <p:cNvSpPr/>
            <p:nvPr/>
          </p:nvSpPr>
          <p:spPr>
            <a:xfrm>
              <a:off x="2127052" y="1276572"/>
              <a:ext cx="5961" cy="5526"/>
            </a:xfrm>
            <a:custGeom>
              <a:avLst/>
              <a:gdLst/>
              <a:ahLst/>
              <a:cxnLst/>
              <a:rect l="l" t="t" r="r" b="b"/>
              <a:pathLst>
                <a:path w="439" h="407" extrusionOk="0">
                  <a:moveTo>
                    <a:pt x="77" y="1"/>
                  </a:moveTo>
                  <a:cubicBezTo>
                    <a:pt x="60" y="1"/>
                    <a:pt x="40" y="4"/>
                    <a:pt x="15" y="11"/>
                  </a:cubicBezTo>
                  <a:cubicBezTo>
                    <a:pt x="11" y="11"/>
                    <a:pt x="4" y="15"/>
                    <a:pt x="1" y="18"/>
                  </a:cubicBezTo>
                  <a:cubicBezTo>
                    <a:pt x="4" y="39"/>
                    <a:pt x="11" y="60"/>
                    <a:pt x="22" y="78"/>
                  </a:cubicBezTo>
                  <a:cubicBezTo>
                    <a:pt x="95" y="204"/>
                    <a:pt x="284" y="354"/>
                    <a:pt x="354" y="372"/>
                  </a:cubicBezTo>
                  <a:cubicBezTo>
                    <a:pt x="382" y="379"/>
                    <a:pt x="410" y="389"/>
                    <a:pt x="438" y="407"/>
                  </a:cubicBezTo>
                  <a:cubicBezTo>
                    <a:pt x="400" y="368"/>
                    <a:pt x="361" y="319"/>
                    <a:pt x="312" y="274"/>
                  </a:cubicBezTo>
                  <a:cubicBezTo>
                    <a:pt x="270" y="221"/>
                    <a:pt x="228" y="169"/>
                    <a:pt x="197" y="109"/>
                  </a:cubicBezTo>
                  <a:cubicBezTo>
                    <a:pt x="149" y="35"/>
                    <a:pt x="129" y="1"/>
                    <a:pt x="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0" name="Google Shape;6390;p53"/>
            <p:cNvSpPr/>
            <p:nvPr/>
          </p:nvSpPr>
          <p:spPr>
            <a:xfrm>
              <a:off x="2199678" y="1404961"/>
              <a:ext cx="1724" cy="1290"/>
            </a:xfrm>
            <a:custGeom>
              <a:avLst/>
              <a:gdLst/>
              <a:ahLst/>
              <a:cxnLst/>
              <a:rect l="l" t="t" r="r" b="b"/>
              <a:pathLst>
                <a:path w="127" h="95" extrusionOk="0">
                  <a:moveTo>
                    <a:pt x="85" y="0"/>
                  </a:moveTo>
                  <a:cubicBezTo>
                    <a:pt x="53" y="0"/>
                    <a:pt x="25" y="11"/>
                    <a:pt x="1" y="28"/>
                  </a:cubicBezTo>
                  <a:cubicBezTo>
                    <a:pt x="46" y="39"/>
                    <a:pt x="92" y="60"/>
                    <a:pt x="127" y="95"/>
                  </a:cubicBezTo>
                  <a:cubicBezTo>
                    <a:pt x="103" y="67"/>
                    <a:pt x="89" y="35"/>
                    <a:pt x="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1" name="Google Shape;6391;p53"/>
            <p:cNvSpPr/>
            <p:nvPr/>
          </p:nvSpPr>
          <p:spPr>
            <a:xfrm>
              <a:off x="2210947" y="1395471"/>
              <a:ext cx="9043" cy="6409"/>
            </a:xfrm>
            <a:custGeom>
              <a:avLst/>
              <a:gdLst/>
              <a:ahLst/>
              <a:cxnLst/>
              <a:rect l="l" t="t" r="r" b="b"/>
              <a:pathLst>
                <a:path w="666" h="472" extrusionOk="0">
                  <a:moveTo>
                    <a:pt x="648" y="0"/>
                  </a:moveTo>
                  <a:cubicBezTo>
                    <a:pt x="644" y="0"/>
                    <a:pt x="641" y="1"/>
                    <a:pt x="641" y="3"/>
                  </a:cubicBezTo>
                  <a:cubicBezTo>
                    <a:pt x="620" y="3"/>
                    <a:pt x="603" y="20"/>
                    <a:pt x="603" y="41"/>
                  </a:cubicBezTo>
                  <a:cubicBezTo>
                    <a:pt x="603" y="80"/>
                    <a:pt x="589" y="115"/>
                    <a:pt x="561" y="143"/>
                  </a:cubicBezTo>
                  <a:cubicBezTo>
                    <a:pt x="509" y="192"/>
                    <a:pt x="417" y="204"/>
                    <a:pt x="310" y="204"/>
                  </a:cubicBezTo>
                  <a:cubicBezTo>
                    <a:pt x="259" y="204"/>
                    <a:pt x="204" y="201"/>
                    <a:pt x="148" y="199"/>
                  </a:cubicBezTo>
                  <a:lnTo>
                    <a:pt x="88" y="195"/>
                  </a:lnTo>
                  <a:lnTo>
                    <a:pt x="81" y="195"/>
                  </a:lnTo>
                  <a:cubicBezTo>
                    <a:pt x="43" y="195"/>
                    <a:pt x="22" y="209"/>
                    <a:pt x="15" y="234"/>
                  </a:cubicBezTo>
                  <a:cubicBezTo>
                    <a:pt x="1" y="276"/>
                    <a:pt x="39" y="370"/>
                    <a:pt x="158" y="437"/>
                  </a:cubicBezTo>
                  <a:cubicBezTo>
                    <a:pt x="176" y="447"/>
                    <a:pt x="193" y="458"/>
                    <a:pt x="207" y="472"/>
                  </a:cubicBezTo>
                  <a:cubicBezTo>
                    <a:pt x="204" y="437"/>
                    <a:pt x="211" y="398"/>
                    <a:pt x="225" y="367"/>
                  </a:cubicBezTo>
                  <a:cubicBezTo>
                    <a:pt x="260" y="276"/>
                    <a:pt x="344" y="216"/>
                    <a:pt x="442" y="213"/>
                  </a:cubicBezTo>
                  <a:cubicBezTo>
                    <a:pt x="543" y="213"/>
                    <a:pt x="655" y="59"/>
                    <a:pt x="666" y="6"/>
                  </a:cubicBezTo>
                  <a:cubicBezTo>
                    <a:pt x="662" y="2"/>
                    <a:pt x="654" y="0"/>
                    <a:pt x="6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2" name="Google Shape;6392;p53"/>
            <p:cNvSpPr/>
            <p:nvPr/>
          </p:nvSpPr>
          <p:spPr>
            <a:xfrm>
              <a:off x="2181335" y="1248725"/>
              <a:ext cx="67372" cy="20393"/>
            </a:xfrm>
            <a:custGeom>
              <a:avLst/>
              <a:gdLst/>
              <a:ahLst/>
              <a:cxnLst/>
              <a:rect l="l" t="t" r="r" b="b"/>
              <a:pathLst>
                <a:path w="4962" h="1502" extrusionOk="0">
                  <a:moveTo>
                    <a:pt x="981" y="0"/>
                  </a:moveTo>
                  <a:lnTo>
                    <a:pt x="981" y="0"/>
                  </a:lnTo>
                  <a:cubicBezTo>
                    <a:pt x="1012" y="53"/>
                    <a:pt x="1047" y="133"/>
                    <a:pt x="1002" y="207"/>
                  </a:cubicBezTo>
                  <a:cubicBezTo>
                    <a:pt x="976" y="248"/>
                    <a:pt x="939" y="264"/>
                    <a:pt x="897" y="264"/>
                  </a:cubicBezTo>
                  <a:cubicBezTo>
                    <a:pt x="824" y="264"/>
                    <a:pt x="736" y="218"/>
                    <a:pt x="659" y="179"/>
                  </a:cubicBezTo>
                  <a:cubicBezTo>
                    <a:pt x="641" y="168"/>
                    <a:pt x="617" y="158"/>
                    <a:pt x="596" y="147"/>
                  </a:cubicBezTo>
                  <a:lnTo>
                    <a:pt x="596" y="147"/>
                  </a:lnTo>
                  <a:lnTo>
                    <a:pt x="599" y="158"/>
                  </a:lnTo>
                  <a:cubicBezTo>
                    <a:pt x="624" y="231"/>
                    <a:pt x="652" y="322"/>
                    <a:pt x="617" y="392"/>
                  </a:cubicBezTo>
                  <a:cubicBezTo>
                    <a:pt x="606" y="420"/>
                    <a:pt x="582" y="441"/>
                    <a:pt x="550" y="445"/>
                  </a:cubicBezTo>
                  <a:cubicBezTo>
                    <a:pt x="545" y="446"/>
                    <a:pt x="541" y="446"/>
                    <a:pt x="536" y="446"/>
                  </a:cubicBezTo>
                  <a:cubicBezTo>
                    <a:pt x="480" y="446"/>
                    <a:pt x="433" y="389"/>
                    <a:pt x="365" y="312"/>
                  </a:cubicBezTo>
                  <a:cubicBezTo>
                    <a:pt x="302" y="245"/>
                    <a:pt x="207" y="137"/>
                    <a:pt x="148" y="137"/>
                  </a:cubicBezTo>
                  <a:cubicBezTo>
                    <a:pt x="102" y="137"/>
                    <a:pt x="92" y="154"/>
                    <a:pt x="67" y="210"/>
                  </a:cubicBezTo>
                  <a:cubicBezTo>
                    <a:pt x="57" y="252"/>
                    <a:pt x="32" y="287"/>
                    <a:pt x="1" y="315"/>
                  </a:cubicBezTo>
                  <a:cubicBezTo>
                    <a:pt x="32" y="336"/>
                    <a:pt x="71" y="361"/>
                    <a:pt x="99" y="378"/>
                  </a:cubicBezTo>
                  <a:cubicBezTo>
                    <a:pt x="151" y="410"/>
                    <a:pt x="200" y="441"/>
                    <a:pt x="235" y="469"/>
                  </a:cubicBezTo>
                  <a:cubicBezTo>
                    <a:pt x="267" y="490"/>
                    <a:pt x="288" y="525"/>
                    <a:pt x="288" y="564"/>
                  </a:cubicBezTo>
                  <a:cubicBezTo>
                    <a:pt x="284" y="616"/>
                    <a:pt x="239" y="644"/>
                    <a:pt x="204" y="662"/>
                  </a:cubicBezTo>
                  <a:lnTo>
                    <a:pt x="179" y="679"/>
                  </a:lnTo>
                  <a:lnTo>
                    <a:pt x="183" y="679"/>
                  </a:lnTo>
                  <a:cubicBezTo>
                    <a:pt x="284" y="782"/>
                    <a:pt x="494" y="815"/>
                    <a:pt x="738" y="815"/>
                  </a:cubicBezTo>
                  <a:cubicBezTo>
                    <a:pt x="991" y="815"/>
                    <a:pt x="1281" y="780"/>
                    <a:pt x="1524" y="749"/>
                  </a:cubicBezTo>
                  <a:cubicBezTo>
                    <a:pt x="1737" y="722"/>
                    <a:pt x="1890" y="704"/>
                    <a:pt x="1998" y="704"/>
                  </a:cubicBezTo>
                  <a:cubicBezTo>
                    <a:pt x="2070" y="704"/>
                    <a:pt x="2122" y="712"/>
                    <a:pt x="2157" y="732"/>
                  </a:cubicBezTo>
                  <a:cubicBezTo>
                    <a:pt x="2192" y="746"/>
                    <a:pt x="2213" y="784"/>
                    <a:pt x="2210" y="823"/>
                  </a:cubicBezTo>
                  <a:cubicBezTo>
                    <a:pt x="2196" y="907"/>
                    <a:pt x="2087" y="935"/>
                    <a:pt x="1632" y="1029"/>
                  </a:cubicBezTo>
                  <a:cubicBezTo>
                    <a:pt x="1457" y="1064"/>
                    <a:pt x="1177" y="1124"/>
                    <a:pt x="1075" y="1169"/>
                  </a:cubicBezTo>
                  <a:cubicBezTo>
                    <a:pt x="1224" y="1241"/>
                    <a:pt x="1767" y="1318"/>
                    <a:pt x="2056" y="1318"/>
                  </a:cubicBezTo>
                  <a:cubicBezTo>
                    <a:pt x="2136" y="1318"/>
                    <a:pt x="2196" y="1313"/>
                    <a:pt x="2224" y="1299"/>
                  </a:cubicBezTo>
                  <a:cubicBezTo>
                    <a:pt x="2245" y="1274"/>
                    <a:pt x="2276" y="1260"/>
                    <a:pt x="2311" y="1260"/>
                  </a:cubicBezTo>
                  <a:cubicBezTo>
                    <a:pt x="2367" y="1260"/>
                    <a:pt x="2434" y="1302"/>
                    <a:pt x="2500" y="1341"/>
                  </a:cubicBezTo>
                  <a:cubicBezTo>
                    <a:pt x="2602" y="1404"/>
                    <a:pt x="2742" y="1488"/>
                    <a:pt x="2931" y="1498"/>
                  </a:cubicBezTo>
                  <a:cubicBezTo>
                    <a:pt x="2956" y="1500"/>
                    <a:pt x="2979" y="1501"/>
                    <a:pt x="3000" y="1501"/>
                  </a:cubicBezTo>
                  <a:cubicBezTo>
                    <a:pt x="3136" y="1501"/>
                    <a:pt x="3200" y="1465"/>
                    <a:pt x="3263" y="1428"/>
                  </a:cubicBezTo>
                  <a:cubicBezTo>
                    <a:pt x="3347" y="1376"/>
                    <a:pt x="3442" y="1344"/>
                    <a:pt x="3540" y="1341"/>
                  </a:cubicBezTo>
                  <a:cubicBezTo>
                    <a:pt x="3841" y="1327"/>
                    <a:pt x="4174" y="1187"/>
                    <a:pt x="4181" y="1099"/>
                  </a:cubicBezTo>
                  <a:cubicBezTo>
                    <a:pt x="4188" y="994"/>
                    <a:pt x="4328" y="924"/>
                    <a:pt x="4524" y="826"/>
                  </a:cubicBezTo>
                  <a:cubicBezTo>
                    <a:pt x="4699" y="739"/>
                    <a:pt x="4961" y="609"/>
                    <a:pt x="4933" y="501"/>
                  </a:cubicBezTo>
                  <a:cubicBezTo>
                    <a:pt x="4910" y="408"/>
                    <a:pt x="4691" y="394"/>
                    <a:pt x="4488" y="394"/>
                  </a:cubicBezTo>
                  <a:cubicBezTo>
                    <a:pt x="4445" y="394"/>
                    <a:pt x="4402" y="395"/>
                    <a:pt x="4363" y="396"/>
                  </a:cubicBezTo>
                  <a:cubicBezTo>
                    <a:pt x="4321" y="396"/>
                    <a:pt x="4280" y="397"/>
                    <a:pt x="4240" y="397"/>
                  </a:cubicBezTo>
                  <a:cubicBezTo>
                    <a:pt x="4093" y="397"/>
                    <a:pt x="3967" y="389"/>
                    <a:pt x="3890" y="350"/>
                  </a:cubicBezTo>
                  <a:cubicBezTo>
                    <a:pt x="3711" y="261"/>
                    <a:pt x="3457" y="195"/>
                    <a:pt x="3301" y="195"/>
                  </a:cubicBezTo>
                  <a:cubicBezTo>
                    <a:pt x="3231" y="195"/>
                    <a:pt x="3181" y="208"/>
                    <a:pt x="3165" y="238"/>
                  </a:cubicBezTo>
                  <a:cubicBezTo>
                    <a:pt x="3106" y="354"/>
                    <a:pt x="3015" y="434"/>
                    <a:pt x="2917" y="448"/>
                  </a:cubicBezTo>
                  <a:cubicBezTo>
                    <a:pt x="2906" y="450"/>
                    <a:pt x="2895" y="451"/>
                    <a:pt x="2884" y="451"/>
                  </a:cubicBezTo>
                  <a:cubicBezTo>
                    <a:pt x="2838" y="451"/>
                    <a:pt x="2790" y="433"/>
                    <a:pt x="2756" y="399"/>
                  </a:cubicBezTo>
                  <a:cubicBezTo>
                    <a:pt x="2721" y="361"/>
                    <a:pt x="2714" y="305"/>
                    <a:pt x="2703" y="235"/>
                  </a:cubicBezTo>
                  <a:cubicBezTo>
                    <a:pt x="2696" y="165"/>
                    <a:pt x="2689" y="88"/>
                    <a:pt x="2647" y="60"/>
                  </a:cubicBezTo>
                  <a:cubicBezTo>
                    <a:pt x="2632" y="49"/>
                    <a:pt x="2615" y="45"/>
                    <a:pt x="2596" y="45"/>
                  </a:cubicBezTo>
                  <a:cubicBezTo>
                    <a:pt x="2567" y="45"/>
                    <a:pt x="2535" y="55"/>
                    <a:pt x="2507" y="63"/>
                  </a:cubicBezTo>
                  <a:cubicBezTo>
                    <a:pt x="2462" y="74"/>
                    <a:pt x="2423" y="102"/>
                    <a:pt x="2399" y="140"/>
                  </a:cubicBezTo>
                  <a:cubicBezTo>
                    <a:pt x="2367" y="203"/>
                    <a:pt x="2406" y="301"/>
                    <a:pt x="2434" y="382"/>
                  </a:cubicBezTo>
                  <a:cubicBezTo>
                    <a:pt x="2462" y="462"/>
                    <a:pt x="2493" y="546"/>
                    <a:pt x="2427" y="588"/>
                  </a:cubicBezTo>
                  <a:cubicBezTo>
                    <a:pt x="2403" y="605"/>
                    <a:pt x="2373" y="611"/>
                    <a:pt x="2340" y="611"/>
                  </a:cubicBezTo>
                  <a:cubicBezTo>
                    <a:pt x="2257" y="611"/>
                    <a:pt x="2161" y="570"/>
                    <a:pt x="2136" y="560"/>
                  </a:cubicBezTo>
                  <a:cubicBezTo>
                    <a:pt x="2070" y="529"/>
                    <a:pt x="1916" y="448"/>
                    <a:pt x="1891" y="312"/>
                  </a:cubicBezTo>
                  <a:cubicBezTo>
                    <a:pt x="1853" y="319"/>
                    <a:pt x="1818" y="333"/>
                    <a:pt x="1779" y="347"/>
                  </a:cubicBezTo>
                  <a:cubicBezTo>
                    <a:pt x="1715" y="374"/>
                    <a:pt x="1647" y="401"/>
                    <a:pt x="1585" y="401"/>
                  </a:cubicBezTo>
                  <a:cubicBezTo>
                    <a:pt x="1560" y="401"/>
                    <a:pt x="1536" y="396"/>
                    <a:pt x="1513" y="385"/>
                  </a:cubicBezTo>
                  <a:cubicBezTo>
                    <a:pt x="1478" y="364"/>
                    <a:pt x="1450" y="326"/>
                    <a:pt x="1443" y="284"/>
                  </a:cubicBezTo>
                  <a:cubicBezTo>
                    <a:pt x="1408" y="147"/>
                    <a:pt x="1121" y="32"/>
                    <a:pt x="98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3" name="Google Shape;6393;p53"/>
            <p:cNvSpPr/>
            <p:nvPr/>
          </p:nvSpPr>
          <p:spPr>
            <a:xfrm>
              <a:off x="2129768" y="1256084"/>
              <a:ext cx="99252" cy="55546"/>
            </a:xfrm>
            <a:custGeom>
              <a:avLst/>
              <a:gdLst/>
              <a:ahLst/>
              <a:cxnLst/>
              <a:rect l="l" t="t" r="r" b="b"/>
              <a:pathLst>
                <a:path w="7310" h="4091" extrusionOk="0">
                  <a:moveTo>
                    <a:pt x="2829" y="1"/>
                  </a:moveTo>
                  <a:cubicBezTo>
                    <a:pt x="2829" y="18"/>
                    <a:pt x="2825" y="36"/>
                    <a:pt x="2822" y="50"/>
                  </a:cubicBezTo>
                  <a:cubicBezTo>
                    <a:pt x="2818" y="127"/>
                    <a:pt x="2811" y="239"/>
                    <a:pt x="2710" y="260"/>
                  </a:cubicBezTo>
                  <a:cubicBezTo>
                    <a:pt x="2654" y="270"/>
                    <a:pt x="2608" y="309"/>
                    <a:pt x="2601" y="330"/>
                  </a:cubicBezTo>
                  <a:cubicBezTo>
                    <a:pt x="2601" y="340"/>
                    <a:pt x="2615" y="365"/>
                    <a:pt x="2661" y="396"/>
                  </a:cubicBezTo>
                  <a:cubicBezTo>
                    <a:pt x="2857" y="526"/>
                    <a:pt x="3060" y="1160"/>
                    <a:pt x="3025" y="1289"/>
                  </a:cubicBezTo>
                  <a:cubicBezTo>
                    <a:pt x="3018" y="1328"/>
                    <a:pt x="2984" y="1352"/>
                    <a:pt x="2945" y="1352"/>
                  </a:cubicBezTo>
                  <a:cubicBezTo>
                    <a:pt x="2943" y="1352"/>
                    <a:pt x="2940" y="1352"/>
                    <a:pt x="2937" y="1352"/>
                  </a:cubicBezTo>
                  <a:cubicBezTo>
                    <a:pt x="2797" y="1342"/>
                    <a:pt x="2314" y="841"/>
                    <a:pt x="2290" y="589"/>
                  </a:cubicBezTo>
                  <a:cubicBezTo>
                    <a:pt x="2276" y="438"/>
                    <a:pt x="2157" y="312"/>
                    <a:pt x="2080" y="302"/>
                  </a:cubicBezTo>
                  <a:cubicBezTo>
                    <a:pt x="2066" y="302"/>
                    <a:pt x="2052" y="302"/>
                    <a:pt x="2041" y="330"/>
                  </a:cubicBezTo>
                  <a:cubicBezTo>
                    <a:pt x="2010" y="403"/>
                    <a:pt x="1964" y="466"/>
                    <a:pt x="1908" y="522"/>
                  </a:cubicBezTo>
                  <a:cubicBezTo>
                    <a:pt x="1838" y="606"/>
                    <a:pt x="1803" y="648"/>
                    <a:pt x="1828" y="722"/>
                  </a:cubicBezTo>
                  <a:cubicBezTo>
                    <a:pt x="1859" y="799"/>
                    <a:pt x="1842" y="886"/>
                    <a:pt x="1782" y="946"/>
                  </a:cubicBezTo>
                  <a:cubicBezTo>
                    <a:pt x="1755" y="974"/>
                    <a:pt x="1721" y="987"/>
                    <a:pt x="1687" y="987"/>
                  </a:cubicBezTo>
                  <a:cubicBezTo>
                    <a:pt x="1615" y="987"/>
                    <a:pt x="1545" y="926"/>
                    <a:pt x="1555" y="837"/>
                  </a:cubicBezTo>
                  <a:cubicBezTo>
                    <a:pt x="1555" y="743"/>
                    <a:pt x="1292" y="585"/>
                    <a:pt x="1198" y="575"/>
                  </a:cubicBezTo>
                  <a:cubicBezTo>
                    <a:pt x="1135" y="568"/>
                    <a:pt x="1124" y="526"/>
                    <a:pt x="1121" y="508"/>
                  </a:cubicBezTo>
                  <a:cubicBezTo>
                    <a:pt x="1117" y="445"/>
                    <a:pt x="1163" y="431"/>
                    <a:pt x="1331" y="382"/>
                  </a:cubicBezTo>
                  <a:cubicBezTo>
                    <a:pt x="1432" y="358"/>
                    <a:pt x="1534" y="326"/>
                    <a:pt x="1632" y="284"/>
                  </a:cubicBezTo>
                  <a:cubicBezTo>
                    <a:pt x="1601" y="271"/>
                    <a:pt x="1553" y="261"/>
                    <a:pt x="1504" y="261"/>
                  </a:cubicBezTo>
                  <a:cubicBezTo>
                    <a:pt x="1462" y="261"/>
                    <a:pt x="1419" y="268"/>
                    <a:pt x="1387" y="288"/>
                  </a:cubicBezTo>
                  <a:cubicBezTo>
                    <a:pt x="1332" y="322"/>
                    <a:pt x="1273" y="332"/>
                    <a:pt x="1217" y="332"/>
                  </a:cubicBezTo>
                  <a:cubicBezTo>
                    <a:pt x="1177" y="332"/>
                    <a:pt x="1138" y="327"/>
                    <a:pt x="1103" y="323"/>
                  </a:cubicBezTo>
                  <a:cubicBezTo>
                    <a:pt x="1068" y="317"/>
                    <a:pt x="1040" y="314"/>
                    <a:pt x="1017" y="314"/>
                  </a:cubicBezTo>
                  <a:cubicBezTo>
                    <a:pt x="982" y="314"/>
                    <a:pt x="960" y="322"/>
                    <a:pt x="945" y="344"/>
                  </a:cubicBezTo>
                  <a:cubicBezTo>
                    <a:pt x="898" y="408"/>
                    <a:pt x="845" y="429"/>
                    <a:pt x="791" y="429"/>
                  </a:cubicBezTo>
                  <a:cubicBezTo>
                    <a:pt x="733" y="429"/>
                    <a:pt x="674" y="404"/>
                    <a:pt x="623" y="382"/>
                  </a:cubicBezTo>
                  <a:cubicBezTo>
                    <a:pt x="581" y="361"/>
                    <a:pt x="536" y="344"/>
                    <a:pt x="490" y="333"/>
                  </a:cubicBezTo>
                  <a:cubicBezTo>
                    <a:pt x="484" y="332"/>
                    <a:pt x="478" y="331"/>
                    <a:pt x="471" y="331"/>
                  </a:cubicBezTo>
                  <a:cubicBezTo>
                    <a:pt x="417" y="331"/>
                    <a:pt x="357" y="381"/>
                    <a:pt x="298" y="428"/>
                  </a:cubicBezTo>
                  <a:cubicBezTo>
                    <a:pt x="236" y="478"/>
                    <a:pt x="170" y="533"/>
                    <a:pt x="97" y="533"/>
                  </a:cubicBezTo>
                  <a:cubicBezTo>
                    <a:pt x="79" y="533"/>
                    <a:pt x="61" y="530"/>
                    <a:pt x="42" y="522"/>
                  </a:cubicBezTo>
                  <a:cubicBezTo>
                    <a:pt x="39" y="522"/>
                    <a:pt x="28" y="536"/>
                    <a:pt x="21" y="568"/>
                  </a:cubicBezTo>
                  <a:cubicBezTo>
                    <a:pt x="0" y="648"/>
                    <a:pt x="14" y="802"/>
                    <a:pt x="123" y="974"/>
                  </a:cubicBezTo>
                  <a:cubicBezTo>
                    <a:pt x="144" y="1009"/>
                    <a:pt x="175" y="1051"/>
                    <a:pt x="210" y="1058"/>
                  </a:cubicBezTo>
                  <a:cubicBezTo>
                    <a:pt x="214" y="1059"/>
                    <a:pt x="217" y="1059"/>
                    <a:pt x="221" y="1059"/>
                  </a:cubicBezTo>
                  <a:cubicBezTo>
                    <a:pt x="257" y="1059"/>
                    <a:pt x="302" y="1027"/>
                    <a:pt x="350" y="995"/>
                  </a:cubicBezTo>
                  <a:cubicBezTo>
                    <a:pt x="419" y="947"/>
                    <a:pt x="501" y="892"/>
                    <a:pt x="599" y="892"/>
                  </a:cubicBezTo>
                  <a:cubicBezTo>
                    <a:pt x="616" y="892"/>
                    <a:pt x="633" y="893"/>
                    <a:pt x="651" y="897"/>
                  </a:cubicBezTo>
                  <a:cubicBezTo>
                    <a:pt x="700" y="900"/>
                    <a:pt x="742" y="935"/>
                    <a:pt x="760" y="981"/>
                  </a:cubicBezTo>
                  <a:cubicBezTo>
                    <a:pt x="784" y="1065"/>
                    <a:pt x="707" y="1142"/>
                    <a:pt x="599" y="1247"/>
                  </a:cubicBezTo>
                  <a:cubicBezTo>
                    <a:pt x="515" y="1328"/>
                    <a:pt x="410" y="1429"/>
                    <a:pt x="385" y="1513"/>
                  </a:cubicBezTo>
                  <a:cubicBezTo>
                    <a:pt x="347" y="1636"/>
                    <a:pt x="550" y="1783"/>
                    <a:pt x="714" y="1902"/>
                  </a:cubicBezTo>
                  <a:cubicBezTo>
                    <a:pt x="784" y="1947"/>
                    <a:pt x="847" y="2000"/>
                    <a:pt x="910" y="2056"/>
                  </a:cubicBezTo>
                  <a:cubicBezTo>
                    <a:pt x="992" y="2130"/>
                    <a:pt x="1143" y="2162"/>
                    <a:pt x="1288" y="2162"/>
                  </a:cubicBezTo>
                  <a:cubicBezTo>
                    <a:pt x="1416" y="2162"/>
                    <a:pt x="1540" y="2137"/>
                    <a:pt x="1607" y="2094"/>
                  </a:cubicBezTo>
                  <a:cubicBezTo>
                    <a:pt x="1656" y="2066"/>
                    <a:pt x="1681" y="1989"/>
                    <a:pt x="1705" y="1916"/>
                  </a:cubicBezTo>
                  <a:cubicBezTo>
                    <a:pt x="1743" y="1806"/>
                    <a:pt x="1790" y="1660"/>
                    <a:pt x="1950" y="1660"/>
                  </a:cubicBezTo>
                  <a:cubicBezTo>
                    <a:pt x="1953" y="1660"/>
                    <a:pt x="1957" y="1660"/>
                    <a:pt x="1961" y="1660"/>
                  </a:cubicBezTo>
                  <a:cubicBezTo>
                    <a:pt x="1968" y="1661"/>
                    <a:pt x="1974" y="1661"/>
                    <a:pt x="1980" y="1661"/>
                  </a:cubicBezTo>
                  <a:cubicBezTo>
                    <a:pt x="2025" y="1661"/>
                    <a:pt x="2030" y="1647"/>
                    <a:pt x="2048" y="1597"/>
                  </a:cubicBezTo>
                  <a:cubicBezTo>
                    <a:pt x="2069" y="1517"/>
                    <a:pt x="2125" y="1450"/>
                    <a:pt x="2202" y="1422"/>
                  </a:cubicBezTo>
                  <a:cubicBezTo>
                    <a:pt x="2229" y="1412"/>
                    <a:pt x="2254" y="1407"/>
                    <a:pt x="2278" y="1407"/>
                  </a:cubicBezTo>
                  <a:cubicBezTo>
                    <a:pt x="2331" y="1407"/>
                    <a:pt x="2375" y="1430"/>
                    <a:pt x="2402" y="1471"/>
                  </a:cubicBezTo>
                  <a:cubicBezTo>
                    <a:pt x="2465" y="1562"/>
                    <a:pt x="2433" y="1727"/>
                    <a:pt x="2325" y="1853"/>
                  </a:cubicBezTo>
                  <a:lnTo>
                    <a:pt x="2318" y="1863"/>
                  </a:lnTo>
                  <a:cubicBezTo>
                    <a:pt x="2325" y="1864"/>
                    <a:pt x="2334" y="1865"/>
                    <a:pt x="2344" y="1865"/>
                  </a:cubicBezTo>
                  <a:cubicBezTo>
                    <a:pt x="2424" y="1865"/>
                    <a:pt x="2584" y="1825"/>
                    <a:pt x="2703" y="1716"/>
                  </a:cubicBezTo>
                  <a:cubicBezTo>
                    <a:pt x="2776" y="1645"/>
                    <a:pt x="2843" y="1608"/>
                    <a:pt x="2901" y="1608"/>
                  </a:cubicBezTo>
                  <a:cubicBezTo>
                    <a:pt x="2925" y="1608"/>
                    <a:pt x="2948" y="1615"/>
                    <a:pt x="2969" y="1629"/>
                  </a:cubicBezTo>
                  <a:cubicBezTo>
                    <a:pt x="3060" y="1681"/>
                    <a:pt x="3060" y="1835"/>
                    <a:pt x="3028" y="1961"/>
                  </a:cubicBezTo>
                  <a:cubicBezTo>
                    <a:pt x="2993" y="2101"/>
                    <a:pt x="2843" y="2126"/>
                    <a:pt x="2692" y="2154"/>
                  </a:cubicBezTo>
                  <a:cubicBezTo>
                    <a:pt x="2563" y="2175"/>
                    <a:pt x="2426" y="2199"/>
                    <a:pt x="2363" y="2287"/>
                  </a:cubicBezTo>
                  <a:cubicBezTo>
                    <a:pt x="2269" y="2420"/>
                    <a:pt x="2090" y="2434"/>
                    <a:pt x="1919" y="2451"/>
                  </a:cubicBezTo>
                  <a:cubicBezTo>
                    <a:pt x="1758" y="2465"/>
                    <a:pt x="1593" y="2479"/>
                    <a:pt x="1499" y="2584"/>
                  </a:cubicBezTo>
                  <a:cubicBezTo>
                    <a:pt x="1453" y="2633"/>
                    <a:pt x="1453" y="2658"/>
                    <a:pt x="1453" y="2658"/>
                  </a:cubicBezTo>
                  <a:cubicBezTo>
                    <a:pt x="1468" y="2681"/>
                    <a:pt x="1543" y="2698"/>
                    <a:pt x="1656" y="2698"/>
                  </a:cubicBezTo>
                  <a:cubicBezTo>
                    <a:pt x="1734" y="2698"/>
                    <a:pt x="1830" y="2690"/>
                    <a:pt x="1936" y="2668"/>
                  </a:cubicBezTo>
                  <a:cubicBezTo>
                    <a:pt x="2144" y="2627"/>
                    <a:pt x="2469" y="2597"/>
                    <a:pt x="2729" y="2597"/>
                  </a:cubicBezTo>
                  <a:cubicBezTo>
                    <a:pt x="2862" y="2597"/>
                    <a:pt x="2978" y="2605"/>
                    <a:pt x="3053" y="2623"/>
                  </a:cubicBezTo>
                  <a:cubicBezTo>
                    <a:pt x="3084" y="2630"/>
                    <a:pt x="3183" y="2651"/>
                    <a:pt x="3172" y="2728"/>
                  </a:cubicBezTo>
                  <a:cubicBezTo>
                    <a:pt x="3158" y="2857"/>
                    <a:pt x="2727" y="2871"/>
                    <a:pt x="2542" y="2871"/>
                  </a:cubicBezTo>
                  <a:cubicBezTo>
                    <a:pt x="2255" y="2871"/>
                    <a:pt x="2171" y="2945"/>
                    <a:pt x="2150" y="2966"/>
                  </a:cubicBezTo>
                  <a:cubicBezTo>
                    <a:pt x="2139" y="2976"/>
                    <a:pt x="2132" y="2990"/>
                    <a:pt x="2132" y="3004"/>
                  </a:cubicBezTo>
                  <a:cubicBezTo>
                    <a:pt x="2136" y="3032"/>
                    <a:pt x="2129" y="3057"/>
                    <a:pt x="2111" y="3074"/>
                  </a:cubicBezTo>
                  <a:cubicBezTo>
                    <a:pt x="2088" y="3099"/>
                    <a:pt x="2057" y="3107"/>
                    <a:pt x="2015" y="3107"/>
                  </a:cubicBezTo>
                  <a:cubicBezTo>
                    <a:pt x="1980" y="3107"/>
                    <a:pt x="1938" y="3102"/>
                    <a:pt x="1887" y="3095"/>
                  </a:cubicBezTo>
                  <a:cubicBezTo>
                    <a:pt x="1840" y="3090"/>
                    <a:pt x="1780" y="3084"/>
                    <a:pt x="1726" y="3084"/>
                  </a:cubicBezTo>
                  <a:cubicBezTo>
                    <a:pt x="1676" y="3084"/>
                    <a:pt x="1633" y="3089"/>
                    <a:pt x="1611" y="3106"/>
                  </a:cubicBezTo>
                  <a:cubicBezTo>
                    <a:pt x="1604" y="3113"/>
                    <a:pt x="1600" y="3120"/>
                    <a:pt x="1600" y="3130"/>
                  </a:cubicBezTo>
                  <a:cubicBezTo>
                    <a:pt x="1590" y="3215"/>
                    <a:pt x="1751" y="3288"/>
                    <a:pt x="1880" y="3348"/>
                  </a:cubicBezTo>
                  <a:cubicBezTo>
                    <a:pt x="2003" y="3407"/>
                    <a:pt x="2104" y="3456"/>
                    <a:pt x="2139" y="3530"/>
                  </a:cubicBezTo>
                  <a:cubicBezTo>
                    <a:pt x="2149" y="3551"/>
                    <a:pt x="2198" y="3557"/>
                    <a:pt x="2253" y="3557"/>
                  </a:cubicBezTo>
                  <a:cubicBezTo>
                    <a:pt x="2297" y="3557"/>
                    <a:pt x="2344" y="3554"/>
                    <a:pt x="2381" y="3551"/>
                  </a:cubicBezTo>
                  <a:cubicBezTo>
                    <a:pt x="2430" y="3545"/>
                    <a:pt x="2477" y="3541"/>
                    <a:pt x="2520" y="3541"/>
                  </a:cubicBezTo>
                  <a:cubicBezTo>
                    <a:pt x="2564" y="3541"/>
                    <a:pt x="2603" y="3545"/>
                    <a:pt x="2636" y="3558"/>
                  </a:cubicBezTo>
                  <a:cubicBezTo>
                    <a:pt x="2675" y="3565"/>
                    <a:pt x="2706" y="3600"/>
                    <a:pt x="2710" y="3642"/>
                  </a:cubicBezTo>
                  <a:cubicBezTo>
                    <a:pt x="2713" y="3715"/>
                    <a:pt x="2629" y="3754"/>
                    <a:pt x="2514" y="3806"/>
                  </a:cubicBezTo>
                  <a:lnTo>
                    <a:pt x="2454" y="3834"/>
                  </a:lnTo>
                  <a:cubicBezTo>
                    <a:pt x="2482" y="3845"/>
                    <a:pt x="2514" y="3859"/>
                    <a:pt x="2542" y="3869"/>
                  </a:cubicBezTo>
                  <a:cubicBezTo>
                    <a:pt x="2671" y="3922"/>
                    <a:pt x="2804" y="3978"/>
                    <a:pt x="2853" y="4058"/>
                  </a:cubicBezTo>
                  <a:cubicBezTo>
                    <a:pt x="2867" y="4079"/>
                    <a:pt x="2900" y="4090"/>
                    <a:pt x="2939" y="4090"/>
                  </a:cubicBezTo>
                  <a:cubicBezTo>
                    <a:pt x="2960" y="4090"/>
                    <a:pt x="2984" y="4087"/>
                    <a:pt x="3007" y="4079"/>
                  </a:cubicBezTo>
                  <a:cubicBezTo>
                    <a:pt x="3028" y="4072"/>
                    <a:pt x="3102" y="4044"/>
                    <a:pt x="3095" y="3988"/>
                  </a:cubicBezTo>
                  <a:cubicBezTo>
                    <a:pt x="3077" y="3736"/>
                    <a:pt x="3386" y="3078"/>
                    <a:pt x="3771" y="2938"/>
                  </a:cubicBezTo>
                  <a:cubicBezTo>
                    <a:pt x="3963" y="2864"/>
                    <a:pt x="3956" y="2826"/>
                    <a:pt x="3939" y="2724"/>
                  </a:cubicBezTo>
                  <a:cubicBezTo>
                    <a:pt x="3921" y="2658"/>
                    <a:pt x="3921" y="2588"/>
                    <a:pt x="3935" y="2521"/>
                  </a:cubicBezTo>
                  <a:cubicBezTo>
                    <a:pt x="3970" y="2367"/>
                    <a:pt x="4107" y="2360"/>
                    <a:pt x="4180" y="2357"/>
                  </a:cubicBezTo>
                  <a:lnTo>
                    <a:pt x="4191" y="2357"/>
                  </a:lnTo>
                  <a:cubicBezTo>
                    <a:pt x="4086" y="2136"/>
                    <a:pt x="4187" y="2028"/>
                    <a:pt x="4401" y="1825"/>
                  </a:cubicBezTo>
                  <a:cubicBezTo>
                    <a:pt x="4551" y="1685"/>
                    <a:pt x="4674" y="1681"/>
                    <a:pt x="4796" y="1678"/>
                  </a:cubicBezTo>
                  <a:cubicBezTo>
                    <a:pt x="4891" y="1678"/>
                    <a:pt x="4982" y="1657"/>
                    <a:pt x="5069" y="1618"/>
                  </a:cubicBezTo>
                  <a:cubicBezTo>
                    <a:pt x="5140" y="1584"/>
                    <a:pt x="5202" y="1570"/>
                    <a:pt x="5255" y="1570"/>
                  </a:cubicBezTo>
                  <a:cubicBezTo>
                    <a:pt x="5321" y="1570"/>
                    <a:pt x="5371" y="1591"/>
                    <a:pt x="5402" y="1618"/>
                  </a:cubicBezTo>
                  <a:cubicBezTo>
                    <a:pt x="5437" y="1646"/>
                    <a:pt x="5455" y="1695"/>
                    <a:pt x="5437" y="1741"/>
                  </a:cubicBezTo>
                  <a:cubicBezTo>
                    <a:pt x="5427" y="1783"/>
                    <a:pt x="5378" y="1849"/>
                    <a:pt x="5209" y="1863"/>
                  </a:cubicBezTo>
                  <a:cubicBezTo>
                    <a:pt x="5129" y="1870"/>
                    <a:pt x="5125" y="1905"/>
                    <a:pt x="5122" y="1916"/>
                  </a:cubicBezTo>
                  <a:cubicBezTo>
                    <a:pt x="5111" y="1982"/>
                    <a:pt x="5199" y="2105"/>
                    <a:pt x="5315" y="2150"/>
                  </a:cubicBezTo>
                  <a:cubicBezTo>
                    <a:pt x="5451" y="2203"/>
                    <a:pt x="5472" y="2269"/>
                    <a:pt x="5469" y="2332"/>
                  </a:cubicBezTo>
                  <a:cubicBezTo>
                    <a:pt x="5479" y="2336"/>
                    <a:pt x="5486" y="2339"/>
                    <a:pt x="5497" y="2339"/>
                  </a:cubicBezTo>
                  <a:cubicBezTo>
                    <a:pt x="5563" y="2353"/>
                    <a:pt x="5619" y="2402"/>
                    <a:pt x="5640" y="2469"/>
                  </a:cubicBezTo>
                  <a:cubicBezTo>
                    <a:pt x="5682" y="2598"/>
                    <a:pt x="5598" y="2794"/>
                    <a:pt x="5434" y="2973"/>
                  </a:cubicBezTo>
                  <a:cubicBezTo>
                    <a:pt x="5406" y="2994"/>
                    <a:pt x="5388" y="3025"/>
                    <a:pt x="5378" y="3060"/>
                  </a:cubicBezTo>
                  <a:cubicBezTo>
                    <a:pt x="5386" y="3067"/>
                    <a:pt x="5413" y="3073"/>
                    <a:pt x="5457" y="3073"/>
                  </a:cubicBezTo>
                  <a:cubicBezTo>
                    <a:pt x="5538" y="3073"/>
                    <a:pt x="5678" y="3053"/>
                    <a:pt x="5885" y="2976"/>
                  </a:cubicBezTo>
                  <a:cubicBezTo>
                    <a:pt x="5981" y="2940"/>
                    <a:pt x="6052" y="2923"/>
                    <a:pt x="6106" y="2923"/>
                  </a:cubicBezTo>
                  <a:cubicBezTo>
                    <a:pt x="6146" y="2923"/>
                    <a:pt x="6176" y="2932"/>
                    <a:pt x="6200" y="2952"/>
                  </a:cubicBezTo>
                  <a:cubicBezTo>
                    <a:pt x="6256" y="2994"/>
                    <a:pt x="6249" y="3071"/>
                    <a:pt x="6242" y="3137"/>
                  </a:cubicBezTo>
                  <a:cubicBezTo>
                    <a:pt x="6235" y="3200"/>
                    <a:pt x="6232" y="3246"/>
                    <a:pt x="6260" y="3271"/>
                  </a:cubicBezTo>
                  <a:cubicBezTo>
                    <a:pt x="6273" y="3283"/>
                    <a:pt x="6290" y="3291"/>
                    <a:pt x="6307" y="3291"/>
                  </a:cubicBezTo>
                  <a:cubicBezTo>
                    <a:pt x="6314" y="3291"/>
                    <a:pt x="6320" y="3290"/>
                    <a:pt x="6326" y="3288"/>
                  </a:cubicBezTo>
                  <a:cubicBezTo>
                    <a:pt x="6463" y="3285"/>
                    <a:pt x="6697" y="3130"/>
                    <a:pt x="6851" y="2945"/>
                  </a:cubicBezTo>
                  <a:cubicBezTo>
                    <a:pt x="6946" y="2840"/>
                    <a:pt x="7072" y="2763"/>
                    <a:pt x="7208" y="2724"/>
                  </a:cubicBezTo>
                  <a:cubicBezTo>
                    <a:pt x="7247" y="2714"/>
                    <a:pt x="7278" y="2696"/>
                    <a:pt x="7310" y="2679"/>
                  </a:cubicBezTo>
                  <a:cubicBezTo>
                    <a:pt x="7307" y="2658"/>
                    <a:pt x="7292" y="2640"/>
                    <a:pt x="7275" y="2630"/>
                  </a:cubicBezTo>
                  <a:cubicBezTo>
                    <a:pt x="7249" y="2614"/>
                    <a:pt x="7209" y="2604"/>
                    <a:pt x="7163" y="2604"/>
                  </a:cubicBezTo>
                  <a:cubicBezTo>
                    <a:pt x="7117" y="2604"/>
                    <a:pt x="7065" y="2614"/>
                    <a:pt x="7012" y="2637"/>
                  </a:cubicBezTo>
                  <a:cubicBezTo>
                    <a:pt x="6954" y="2662"/>
                    <a:pt x="6865" y="2676"/>
                    <a:pt x="6774" y="2676"/>
                  </a:cubicBezTo>
                  <a:cubicBezTo>
                    <a:pt x="6640" y="2676"/>
                    <a:pt x="6503" y="2646"/>
                    <a:pt x="6459" y="2577"/>
                  </a:cubicBezTo>
                  <a:cubicBezTo>
                    <a:pt x="6449" y="2560"/>
                    <a:pt x="6417" y="2490"/>
                    <a:pt x="6494" y="2420"/>
                  </a:cubicBezTo>
                  <a:cubicBezTo>
                    <a:pt x="6554" y="2364"/>
                    <a:pt x="6564" y="2329"/>
                    <a:pt x="6564" y="2322"/>
                  </a:cubicBezTo>
                  <a:cubicBezTo>
                    <a:pt x="6542" y="2314"/>
                    <a:pt x="6519" y="2310"/>
                    <a:pt x="6497" y="2310"/>
                  </a:cubicBezTo>
                  <a:cubicBezTo>
                    <a:pt x="6481" y="2310"/>
                    <a:pt x="6465" y="2312"/>
                    <a:pt x="6449" y="2315"/>
                  </a:cubicBezTo>
                  <a:cubicBezTo>
                    <a:pt x="6432" y="2316"/>
                    <a:pt x="6411" y="2317"/>
                    <a:pt x="6388" y="2317"/>
                  </a:cubicBezTo>
                  <a:cubicBezTo>
                    <a:pt x="6222" y="2317"/>
                    <a:pt x="5934" y="2271"/>
                    <a:pt x="5906" y="2154"/>
                  </a:cubicBezTo>
                  <a:cubicBezTo>
                    <a:pt x="5899" y="2129"/>
                    <a:pt x="5896" y="2066"/>
                    <a:pt x="5994" y="2031"/>
                  </a:cubicBezTo>
                  <a:cubicBezTo>
                    <a:pt x="5997" y="2028"/>
                    <a:pt x="6004" y="2024"/>
                    <a:pt x="6008" y="2024"/>
                  </a:cubicBezTo>
                  <a:cubicBezTo>
                    <a:pt x="5997" y="2000"/>
                    <a:pt x="5983" y="1979"/>
                    <a:pt x="5962" y="1961"/>
                  </a:cubicBezTo>
                  <a:cubicBezTo>
                    <a:pt x="5898" y="1900"/>
                    <a:pt x="5791" y="1852"/>
                    <a:pt x="5727" y="1852"/>
                  </a:cubicBezTo>
                  <a:cubicBezTo>
                    <a:pt x="5725" y="1852"/>
                    <a:pt x="5723" y="1853"/>
                    <a:pt x="5721" y="1853"/>
                  </a:cubicBezTo>
                  <a:cubicBezTo>
                    <a:pt x="5713" y="1854"/>
                    <a:pt x="5705" y="1854"/>
                    <a:pt x="5698" y="1854"/>
                  </a:cubicBezTo>
                  <a:cubicBezTo>
                    <a:pt x="5653" y="1854"/>
                    <a:pt x="5610" y="1837"/>
                    <a:pt x="5577" y="1804"/>
                  </a:cubicBezTo>
                  <a:cubicBezTo>
                    <a:pt x="5511" y="1737"/>
                    <a:pt x="5525" y="1622"/>
                    <a:pt x="5535" y="1520"/>
                  </a:cubicBezTo>
                  <a:cubicBezTo>
                    <a:pt x="5535" y="1503"/>
                    <a:pt x="5539" y="1485"/>
                    <a:pt x="5542" y="1468"/>
                  </a:cubicBezTo>
                  <a:cubicBezTo>
                    <a:pt x="5521" y="1436"/>
                    <a:pt x="5378" y="1387"/>
                    <a:pt x="5318" y="1366"/>
                  </a:cubicBezTo>
                  <a:cubicBezTo>
                    <a:pt x="5202" y="1328"/>
                    <a:pt x="5146" y="1310"/>
                    <a:pt x="5143" y="1247"/>
                  </a:cubicBezTo>
                  <a:cubicBezTo>
                    <a:pt x="5143" y="1237"/>
                    <a:pt x="5143" y="1226"/>
                    <a:pt x="5146" y="1216"/>
                  </a:cubicBezTo>
                  <a:cubicBezTo>
                    <a:pt x="5111" y="1202"/>
                    <a:pt x="5073" y="1195"/>
                    <a:pt x="5034" y="1195"/>
                  </a:cubicBezTo>
                  <a:cubicBezTo>
                    <a:pt x="5020" y="1195"/>
                    <a:pt x="5006" y="1198"/>
                    <a:pt x="4992" y="1209"/>
                  </a:cubicBezTo>
                  <a:cubicBezTo>
                    <a:pt x="4958" y="1262"/>
                    <a:pt x="4899" y="1291"/>
                    <a:pt x="4837" y="1291"/>
                  </a:cubicBezTo>
                  <a:cubicBezTo>
                    <a:pt x="4818" y="1291"/>
                    <a:pt x="4798" y="1288"/>
                    <a:pt x="4779" y="1282"/>
                  </a:cubicBezTo>
                  <a:cubicBezTo>
                    <a:pt x="4702" y="1254"/>
                    <a:pt x="4653" y="1177"/>
                    <a:pt x="4656" y="1096"/>
                  </a:cubicBezTo>
                  <a:cubicBezTo>
                    <a:pt x="4656" y="1093"/>
                    <a:pt x="4656" y="1093"/>
                    <a:pt x="4653" y="1086"/>
                  </a:cubicBezTo>
                  <a:cubicBezTo>
                    <a:pt x="4622" y="1059"/>
                    <a:pt x="4536" y="1051"/>
                    <a:pt x="4447" y="1051"/>
                  </a:cubicBezTo>
                  <a:cubicBezTo>
                    <a:pt x="4364" y="1051"/>
                    <a:pt x="4279" y="1058"/>
                    <a:pt x="4236" y="1061"/>
                  </a:cubicBezTo>
                  <a:lnTo>
                    <a:pt x="4219" y="1061"/>
                  </a:lnTo>
                  <a:cubicBezTo>
                    <a:pt x="4214" y="1062"/>
                    <a:pt x="4209" y="1062"/>
                    <a:pt x="4205" y="1062"/>
                  </a:cubicBezTo>
                  <a:cubicBezTo>
                    <a:pt x="4084" y="1062"/>
                    <a:pt x="4057" y="928"/>
                    <a:pt x="4037" y="830"/>
                  </a:cubicBezTo>
                  <a:cubicBezTo>
                    <a:pt x="4023" y="753"/>
                    <a:pt x="4005" y="662"/>
                    <a:pt x="3956" y="624"/>
                  </a:cubicBezTo>
                  <a:cubicBezTo>
                    <a:pt x="3948" y="619"/>
                    <a:pt x="3940" y="616"/>
                    <a:pt x="3930" y="616"/>
                  </a:cubicBezTo>
                  <a:cubicBezTo>
                    <a:pt x="3888" y="616"/>
                    <a:pt x="3828" y="662"/>
                    <a:pt x="3760" y="722"/>
                  </a:cubicBezTo>
                  <a:cubicBezTo>
                    <a:pt x="3692" y="780"/>
                    <a:pt x="3627" y="834"/>
                    <a:pt x="3560" y="834"/>
                  </a:cubicBezTo>
                  <a:cubicBezTo>
                    <a:pt x="3551" y="834"/>
                    <a:pt x="3542" y="833"/>
                    <a:pt x="3533" y="830"/>
                  </a:cubicBezTo>
                  <a:cubicBezTo>
                    <a:pt x="3498" y="823"/>
                    <a:pt x="3470" y="802"/>
                    <a:pt x="3456" y="771"/>
                  </a:cubicBezTo>
                  <a:cubicBezTo>
                    <a:pt x="3428" y="701"/>
                    <a:pt x="3480" y="613"/>
                    <a:pt x="3550" y="501"/>
                  </a:cubicBezTo>
                  <a:cubicBezTo>
                    <a:pt x="3582" y="452"/>
                    <a:pt x="3606" y="403"/>
                    <a:pt x="3631" y="354"/>
                  </a:cubicBezTo>
                  <a:cubicBezTo>
                    <a:pt x="3627" y="333"/>
                    <a:pt x="3543" y="267"/>
                    <a:pt x="3396" y="221"/>
                  </a:cubicBezTo>
                  <a:cubicBezTo>
                    <a:pt x="3333" y="204"/>
                    <a:pt x="3282" y="198"/>
                    <a:pt x="3246" y="198"/>
                  </a:cubicBezTo>
                  <a:cubicBezTo>
                    <a:pt x="3210" y="198"/>
                    <a:pt x="3188" y="204"/>
                    <a:pt x="3183" y="211"/>
                  </a:cubicBezTo>
                  <a:cubicBezTo>
                    <a:pt x="3172" y="249"/>
                    <a:pt x="3137" y="277"/>
                    <a:pt x="3095" y="284"/>
                  </a:cubicBezTo>
                  <a:cubicBezTo>
                    <a:pt x="3093" y="284"/>
                    <a:pt x="3091" y="284"/>
                    <a:pt x="3090" y="284"/>
                  </a:cubicBezTo>
                  <a:cubicBezTo>
                    <a:pt x="3023" y="284"/>
                    <a:pt x="2982" y="219"/>
                    <a:pt x="2927" y="134"/>
                  </a:cubicBezTo>
                  <a:cubicBezTo>
                    <a:pt x="2899" y="85"/>
                    <a:pt x="2864" y="43"/>
                    <a:pt x="28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4" name="Google Shape;6394;p53"/>
            <p:cNvSpPr/>
            <p:nvPr/>
          </p:nvSpPr>
          <p:spPr>
            <a:xfrm>
              <a:off x="2248883" y="1404961"/>
              <a:ext cx="4331" cy="1914"/>
            </a:xfrm>
            <a:custGeom>
              <a:avLst/>
              <a:gdLst/>
              <a:ahLst/>
              <a:cxnLst/>
              <a:rect l="l" t="t" r="r" b="b"/>
              <a:pathLst>
                <a:path w="319" h="141" extrusionOk="0">
                  <a:moveTo>
                    <a:pt x="0" y="140"/>
                  </a:moveTo>
                  <a:cubicBezTo>
                    <a:pt x="81" y="49"/>
                    <a:pt x="200" y="0"/>
                    <a:pt x="319" y="7"/>
                  </a:cubicBezTo>
                  <a:cubicBezTo>
                    <a:pt x="200" y="0"/>
                    <a:pt x="81" y="49"/>
                    <a:pt x="0" y="14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5" name="Google Shape;6395;p53"/>
            <p:cNvSpPr/>
            <p:nvPr/>
          </p:nvSpPr>
          <p:spPr>
            <a:xfrm>
              <a:off x="2202543" y="141788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6" name="Google Shape;6396;p53"/>
            <p:cNvSpPr/>
            <p:nvPr/>
          </p:nvSpPr>
          <p:spPr>
            <a:xfrm>
              <a:off x="2202258" y="141826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7" name="Google Shape;6397;p53"/>
            <p:cNvSpPr/>
            <p:nvPr/>
          </p:nvSpPr>
          <p:spPr>
            <a:xfrm>
              <a:off x="2264334" y="141380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8" name="Google Shape;6398;p53"/>
            <p:cNvSpPr/>
            <p:nvPr/>
          </p:nvSpPr>
          <p:spPr>
            <a:xfrm>
              <a:off x="2201688" y="1419082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9" name="Google Shape;6399;p53"/>
            <p:cNvSpPr/>
            <p:nvPr/>
          </p:nvSpPr>
          <p:spPr>
            <a:xfrm>
              <a:off x="2201973" y="141864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0" name="Google Shape;6400;p53"/>
            <p:cNvSpPr/>
            <p:nvPr/>
          </p:nvSpPr>
          <p:spPr>
            <a:xfrm>
              <a:off x="2206480" y="141604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1" name="Google Shape;6401;p53"/>
            <p:cNvSpPr/>
            <p:nvPr/>
          </p:nvSpPr>
          <p:spPr>
            <a:xfrm>
              <a:off x="2202923" y="14175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2" name="Google Shape;6402;p53"/>
            <p:cNvSpPr/>
            <p:nvPr/>
          </p:nvSpPr>
          <p:spPr>
            <a:xfrm>
              <a:off x="2203249" y="14172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3" name="Google Shape;6403;p53"/>
            <p:cNvSpPr/>
            <p:nvPr/>
          </p:nvSpPr>
          <p:spPr>
            <a:xfrm>
              <a:off x="2205625" y="141608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4" name="Google Shape;6404;p53"/>
            <p:cNvSpPr/>
            <p:nvPr/>
          </p:nvSpPr>
          <p:spPr>
            <a:xfrm>
              <a:off x="2206060" y="141604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5" name="Google Shape;6405;p53"/>
            <p:cNvSpPr/>
            <p:nvPr/>
          </p:nvSpPr>
          <p:spPr>
            <a:xfrm>
              <a:off x="2264334" y="141452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6" name="Google Shape;6406;p53"/>
            <p:cNvSpPr/>
            <p:nvPr/>
          </p:nvSpPr>
          <p:spPr>
            <a:xfrm>
              <a:off x="2204104" y="141670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7" name="Google Shape;6407;p53"/>
            <p:cNvSpPr/>
            <p:nvPr/>
          </p:nvSpPr>
          <p:spPr>
            <a:xfrm>
              <a:off x="2264334" y="1413135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8" name="Google Shape;6408;p53"/>
            <p:cNvSpPr/>
            <p:nvPr/>
          </p:nvSpPr>
          <p:spPr>
            <a:xfrm>
              <a:off x="2204865" y="141627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9" name="Google Shape;6409;p53"/>
            <p:cNvSpPr/>
            <p:nvPr/>
          </p:nvSpPr>
          <p:spPr>
            <a:xfrm>
              <a:off x="2204485" y="1416461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0" name="Google Shape;6410;p53"/>
            <p:cNvSpPr/>
            <p:nvPr/>
          </p:nvSpPr>
          <p:spPr>
            <a:xfrm>
              <a:off x="2205245" y="141617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1" name="Google Shape;6411;p53"/>
            <p:cNvSpPr/>
            <p:nvPr/>
          </p:nvSpPr>
          <p:spPr>
            <a:xfrm>
              <a:off x="2199162" y="141893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2" name="Google Shape;6412;p53"/>
            <p:cNvSpPr/>
            <p:nvPr/>
          </p:nvSpPr>
          <p:spPr>
            <a:xfrm>
              <a:off x="2198823" y="141902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3" name="Google Shape;6413;p53"/>
            <p:cNvSpPr/>
            <p:nvPr/>
          </p:nvSpPr>
          <p:spPr>
            <a:xfrm>
              <a:off x="2150921" y="1464471"/>
              <a:ext cx="4331" cy="8527"/>
            </a:xfrm>
            <a:custGeom>
              <a:avLst/>
              <a:gdLst/>
              <a:ahLst/>
              <a:cxnLst/>
              <a:rect l="l" t="t" r="r" b="b"/>
              <a:pathLst>
                <a:path w="319" h="628" extrusionOk="0">
                  <a:moveTo>
                    <a:pt x="319" y="0"/>
                  </a:moveTo>
                  <a:cubicBezTo>
                    <a:pt x="298" y="193"/>
                    <a:pt x="154" y="414"/>
                    <a:pt x="0" y="627"/>
                  </a:cubicBezTo>
                  <a:cubicBezTo>
                    <a:pt x="154" y="414"/>
                    <a:pt x="298" y="193"/>
                    <a:pt x="3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4" name="Google Shape;6414;p53"/>
            <p:cNvSpPr/>
            <p:nvPr/>
          </p:nvSpPr>
          <p:spPr>
            <a:xfrm>
              <a:off x="2200248" y="141883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5" name="Google Shape;6415;p53"/>
            <p:cNvSpPr/>
            <p:nvPr/>
          </p:nvSpPr>
          <p:spPr>
            <a:xfrm>
              <a:off x="2199488" y="141883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6" name="Google Shape;6416;p53"/>
            <p:cNvSpPr/>
            <p:nvPr/>
          </p:nvSpPr>
          <p:spPr>
            <a:xfrm>
              <a:off x="2136556" y="1531015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8"/>
                    <a:pt x="4" y="25"/>
                  </a:cubicBezTo>
                  <a:cubicBezTo>
                    <a:pt x="4" y="18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7" name="Google Shape;6417;p53"/>
            <p:cNvSpPr/>
            <p:nvPr/>
          </p:nvSpPr>
          <p:spPr>
            <a:xfrm>
              <a:off x="2201158" y="1419082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8" name="Google Shape;6418;p53"/>
            <p:cNvSpPr/>
            <p:nvPr/>
          </p:nvSpPr>
          <p:spPr>
            <a:xfrm>
              <a:off x="2188422" y="1425300"/>
              <a:ext cx="4290" cy="1208"/>
            </a:xfrm>
            <a:custGeom>
              <a:avLst/>
              <a:gdLst/>
              <a:ahLst/>
              <a:cxnLst/>
              <a:rect l="l" t="t" r="r" b="b"/>
              <a:pathLst>
                <a:path w="316" h="89" extrusionOk="0">
                  <a:moveTo>
                    <a:pt x="0" y="11"/>
                  </a:moveTo>
                  <a:cubicBezTo>
                    <a:pt x="105" y="8"/>
                    <a:pt x="214" y="1"/>
                    <a:pt x="315" y="88"/>
                  </a:cubicBezTo>
                  <a:cubicBezTo>
                    <a:pt x="214" y="1"/>
                    <a:pt x="105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9" name="Google Shape;6419;p53"/>
            <p:cNvSpPr/>
            <p:nvPr/>
          </p:nvSpPr>
          <p:spPr>
            <a:xfrm>
              <a:off x="2199828" y="1418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0" name="Google Shape;6420;p53"/>
            <p:cNvSpPr/>
            <p:nvPr/>
          </p:nvSpPr>
          <p:spPr>
            <a:xfrm>
              <a:off x="2200683" y="141893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1" name="Google Shape;6421;p53"/>
            <p:cNvSpPr/>
            <p:nvPr/>
          </p:nvSpPr>
          <p:spPr>
            <a:xfrm>
              <a:off x="2133705" y="154057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2" name="Google Shape;6422;p53"/>
            <p:cNvSpPr/>
            <p:nvPr/>
          </p:nvSpPr>
          <p:spPr>
            <a:xfrm>
              <a:off x="2134275" y="154066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3" name="Google Shape;6423;p53"/>
            <p:cNvSpPr/>
            <p:nvPr/>
          </p:nvSpPr>
          <p:spPr>
            <a:xfrm>
              <a:off x="3024851" y="1777922"/>
              <a:ext cx="15655" cy="12165"/>
            </a:xfrm>
            <a:custGeom>
              <a:avLst/>
              <a:gdLst/>
              <a:ahLst/>
              <a:cxnLst/>
              <a:rect l="l" t="t" r="r" b="b"/>
              <a:pathLst>
                <a:path w="1153" h="896" extrusionOk="0">
                  <a:moveTo>
                    <a:pt x="939" y="0"/>
                  </a:moveTo>
                  <a:cubicBezTo>
                    <a:pt x="840" y="0"/>
                    <a:pt x="749" y="35"/>
                    <a:pt x="732" y="83"/>
                  </a:cubicBezTo>
                  <a:cubicBezTo>
                    <a:pt x="673" y="244"/>
                    <a:pt x="533" y="248"/>
                    <a:pt x="386" y="251"/>
                  </a:cubicBezTo>
                  <a:cubicBezTo>
                    <a:pt x="312" y="255"/>
                    <a:pt x="239" y="258"/>
                    <a:pt x="165" y="272"/>
                  </a:cubicBezTo>
                  <a:cubicBezTo>
                    <a:pt x="74" y="290"/>
                    <a:pt x="22" y="433"/>
                    <a:pt x="11" y="570"/>
                  </a:cubicBezTo>
                  <a:cubicBezTo>
                    <a:pt x="1" y="731"/>
                    <a:pt x="46" y="857"/>
                    <a:pt x="92" y="871"/>
                  </a:cubicBezTo>
                  <a:cubicBezTo>
                    <a:pt x="140" y="887"/>
                    <a:pt x="177" y="895"/>
                    <a:pt x="205" y="895"/>
                  </a:cubicBezTo>
                  <a:cubicBezTo>
                    <a:pt x="224" y="895"/>
                    <a:pt x="240" y="892"/>
                    <a:pt x="253" y="885"/>
                  </a:cubicBezTo>
                  <a:cubicBezTo>
                    <a:pt x="288" y="857"/>
                    <a:pt x="309" y="818"/>
                    <a:pt x="316" y="773"/>
                  </a:cubicBezTo>
                  <a:cubicBezTo>
                    <a:pt x="340" y="675"/>
                    <a:pt x="410" y="591"/>
                    <a:pt x="505" y="552"/>
                  </a:cubicBezTo>
                  <a:cubicBezTo>
                    <a:pt x="564" y="524"/>
                    <a:pt x="628" y="510"/>
                    <a:pt x="692" y="510"/>
                  </a:cubicBezTo>
                  <a:cubicBezTo>
                    <a:pt x="755" y="510"/>
                    <a:pt x="818" y="524"/>
                    <a:pt x="876" y="552"/>
                  </a:cubicBezTo>
                  <a:cubicBezTo>
                    <a:pt x="879" y="554"/>
                    <a:pt x="887" y="557"/>
                    <a:pt x="900" y="557"/>
                  </a:cubicBezTo>
                  <a:cubicBezTo>
                    <a:pt x="913" y="557"/>
                    <a:pt x="930" y="554"/>
                    <a:pt x="953" y="542"/>
                  </a:cubicBezTo>
                  <a:cubicBezTo>
                    <a:pt x="1058" y="475"/>
                    <a:pt x="1152" y="279"/>
                    <a:pt x="1152" y="125"/>
                  </a:cubicBezTo>
                  <a:cubicBezTo>
                    <a:pt x="1152" y="41"/>
                    <a:pt x="1051" y="13"/>
                    <a:pt x="1009" y="6"/>
                  </a:cubicBezTo>
                  <a:cubicBezTo>
                    <a:pt x="986" y="2"/>
                    <a:pt x="962" y="0"/>
                    <a:pt x="9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4" name="Google Shape;6424;p53"/>
            <p:cNvSpPr/>
            <p:nvPr/>
          </p:nvSpPr>
          <p:spPr>
            <a:xfrm>
              <a:off x="3003846" y="1783461"/>
              <a:ext cx="16795" cy="20366"/>
            </a:xfrm>
            <a:custGeom>
              <a:avLst/>
              <a:gdLst/>
              <a:ahLst/>
              <a:cxnLst/>
              <a:rect l="l" t="t" r="r" b="b"/>
              <a:pathLst>
                <a:path w="1237" h="1500" extrusionOk="0">
                  <a:moveTo>
                    <a:pt x="635" y="0"/>
                  </a:moveTo>
                  <a:cubicBezTo>
                    <a:pt x="574" y="0"/>
                    <a:pt x="441" y="49"/>
                    <a:pt x="266" y="176"/>
                  </a:cubicBezTo>
                  <a:lnTo>
                    <a:pt x="200" y="221"/>
                  </a:lnTo>
                  <a:cubicBezTo>
                    <a:pt x="4" y="365"/>
                    <a:pt x="0" y="372"/>
                    <a:pt x="60" y="477"/>
                  </a:cubicBezTo>
                  <a:cubicBezTo>
                    <a:pt x="63" y="487"/>
                    <a:pt x="84" y="522"/>
                    <a:pt x="102" y="522"/>
                  </a:cubicBezTo>
                  <a:cubicBezTo>
                    <a:pt x="133" y="519"/>
                    <a:pt x="203" y="449"/>
                    <a:pt x="245" y="326"/>
                  </a:cubicBezTo>
                  <a:cubicBezTo>
                    <a:pt x="270" y="263"/>
                    <a:pt x="308" y="246"/>
                    <a:pt x="333" y="242"/>
                  </a:cubicBezTo>
                  <a:lnTo>
                    <a:pt x="347" y="242"/>
                  </a:lnTo>
                  <a:cubicBezTo>
                    <a:pt x="382" y="246"/>
                    <a:pt x="413" y="263"/>
                    <a:pt x="434" y="295"/>
                  </a:cubicBezTo>
                  <a:cubicBezTo>
                    <a:pt x="511" y="407"/>
                    <a:pt x="557" y="708"/>
                    <a:pt x="448" y="928"/>
                  </a:cubicBezTo>
                  <a:cubicBezTo>
                    <a:pt x="371" y="1093"/>
                    <a:pt x="385" y="1289"/>
                    <a:pt x="483" y="1439"/>
                  </a:cubicBezTo>
                  <a:cubicBezTo>
                    <a:pt x="503" y="1465"/>
                    <a:pt x="537" y="1500"/>
                    <a:pt x="575" y="1500"/>
                  </a:cubicBezTo>
                  <a:cubicBezTo>
                    <a:pt x="578" y="1500"/>
                    <a:pt x="581" y="1500"/>
                    <a:pt x="585" y="1499"/>
                  </a:cubicBezTo>
                  <a:cubicBezTo>
                    <a:pt x="648" y="1485"/>
                    <a:pt x="774" y="1254"/>
                    <a:pt x="868" y="1082"/>
                  </a:cubicBezTo>
                  <a:cubicBezTo>
                    <a:pt x="952" y="914"/>
                    <a:pt x="1050" y="753"/>
                    <a:pt x="1163" y="599"/>
                  </a:cubicBezTo>
                  <a:cubicBezTo>
                    <a:pt x="1236" y="505"/>
                    <a:pt x="1233" y="477"/>
                    <a:pt x="1233" y="477"/>
                  </a:cubicBezTo>
                  <a:cubicBezTo>
                    <a:pt x="1215" y="466"/>
                    <a:pt x="1198" y="456"/>
                    <a:pt x="1180" y="452"/>
                  </a:cubicBezTo>
                  <a:cubicBezTo>
                    <a:pt x="1124" y="428"/>
                    <a:pt x="1033" y="393"/>
                    <a:pt x="1033" y="284"/>
                  </a:cubicBezTo>
                  <a:cubicBezTo>
                    <a:pt x="1033" y="253"/>
                    <a:pt x="970" y="228"/>
                    <a:pt x="889" y="200"/>
                  </a:cubicBezTo>
                  <a:cubicBezTo>
                    <a:pt x="795" y="169"/>
                    <a:pt x="676" y="130"/>
                    <a:pt x="662" y="18"/>
                  </a:cubicBezTo>
                  <a:cubicBezTo>
                    <a:pt x="662" y="8"/>
                    <a:pt x="658" y="4"/>
                    <a:pt x="658" y="4"/>
                  </a:cubicBezTo>
                  <a:cubicBezTo>
                    <a:pt x="653" y="2"/>
                    <a:pt x="645" y="0"/>
                    <a:pt x="6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5" name="Google Shape;6425;p53"/>
            <p:cNvSpPr/>
            <p:nvPr/>
          </p:nvSpPr>
          <p:spPr>
            <a:xfrm>
              <a:off x="3013581" y="1718520"/>
              <a:ext cx="82443" cy="64127"/>
            </a:xfrm>
            <a:custGeom>
              <a:avLst/>
              <a:gdLst/>
              <a:ahLst/>
              <a:cxnLst/>
              <a:rect l="l" t="t" r="r" b="b"/>
              <a:pathLst>
                <a:path w="6072" h="4723" extrusionOk="0">
                  <a:moveTo>
                    <a:pt x="5648" y="0"/>
                  </a:moveTo>
                  <a:cubicBezTo>
                    <a:pt x="5557" y="0"/>
                    <a:pt x="5329" y="141"/>
                    <a:pt x="5228" y="204"/>
                  </a:cubicBezTo>
                  <a:cubicBezTo>
                    <a:pt x="5172" y="243"/>
                    <a:pt x="5119" y="275"/>
                    <a:pt x="5084" y="292"/>
                  </a:cubicBezTo>
                  <a:cubicBezTo>
                    <a:pt x="5028" y="320"/>
                    <a:pt x="4955" y="464"/>
                    <a:pt x="4937" y="632"/>
                  </a:cubicBezTo>
                  <a:cubicBezTo>
                    <a:pt x="4923" y="761"/>
                    <a:pt x="4948" y="870"/>
                    <a:pt x="5000" y="912"/>
                  </a:cubicBezTo>
                  <a:cubicBezTo>
                    <a:pt x="5140" y="1027"/>
                    <a:pt x="5025" y="1181"/>
                    <a:pt x="4923" y="1321"/>
                  </a:cubicBezTo>
                  <a:cubicBezTo>
                    <a:pt x="4839" y="1433"/>
                    <a:pt x="4741" y="1563"/>
                    <a:pt x="4748" y="1685"/>
                  </a:cubicBezTo>
                  <a:cubicBezTo>
                    <a:pt x="4759" y="1895"/>
                    <a:pt x="4640" y="1990"/>
                    <a:pt x="4545" y="2063"/>
                  </a:cubicBezTo>
                  <a:cubicBezTo>
                    <a:pt x="4478" y="2116"/>
                    <a:pt x="4422" y="2161"/>
                    <a:pt x="4405" y="2238"/>
                  </a:cubicBezTo>
                  <a:cubicBezTo>
                    <a:pt x="4370" y="2407"/>
                    <a:pt x="4265" y="2456"/>
                    <a:pt x="4142" y="2512"/>
                  </a:cubicBezTo>
                  <a:cubicBezTo>
                    <a:pt x="4051" y="2554"/>
                    <a:pt x="3964" y="2603"/>
                    <a:pt x="3880" y="2666"/>
                  </a:cubicBezTo>
                  <a:cubicBezTo>
                    <a:pt x="3786" y="2738"/>
                    <a:pt x="3707" y="2761"/>
                    <a:pt x="3645" y="2761"/>
                  </a:cubicBezTo>
                  <a:cubicBezTo>
                    <a:pt x="3574" y="2761"/>
                    <a:pt x="3524" y="2732"/>
                    <a:pt x="3498" y="2711"/>
                  </a:cubicBezTo>
                  <a:cubicBezTo>
                    <a:pt x="3428" y="2652"/>
                    <a:pt x="3393" y="2564"/>
                    <a:pt x="3407" y="2477"/>
                  </a:cubicBezTo>
                  <a:lnTo>
                    <a:pt x="3407" y="2477"/>
                  </a:lnTo>
                  <a:cubicBezTo>
                    <a:pt x="3355" y="2501"/>
                    <a:pt x="3309" y="2536"/>
                    <a:pt x="3271" y="2578"/>
                  </a:cubicBezTo>
                  <a:cubicBezTo>
                    <a:pt x="3190" y="2655"/>
                    <a:pt x="3148" y="2760"/>
                    <a:pt x="3148" y="2869"/>
                  </a:cubicBezTo>
                  <a:cubicBezTo>
                    <a:pt x="3159" y="3100"/>
                    <a:pt x="2991" y="3219"/>
                    <a:pt x="2882" y="3296"/>
                  </a:cubicBezTo>
                  <a:cubicBezTo>
                    <a:pt x="2847" y="3320"/>
                    <a:pt x="2795" y="3355"/>
                    <a:pt x="2791" y="3373"/>
                  </a:cubicBezTo>
                  <a:cubicBezTo>
                    <a:pt x="2791" y="3376"/>
                    <a:pt x="2795" y="3380"/>
                    <a:pt x="2795" y="3383"/>
                  </a:cubicBezTo>
                  <a:cubicBezTo>
                    <a:pt x="2837" y="3436"/>
                    <a:pt x="2833" y="3509"/>
                    <a:pt x="2791" y="3562"/>
                  </a:cubicBezTo>
                  <a:cubicBezTo>
                    <a:pt x="2735" y="3631"/>
                    <a:pt x="2614" y="3670"/>
                    <a:pt x="2515" y="3670"/>
                  </a:cubicBezTo>
                  <a:cubicBezTo>
                    <a:pt x="2477" y="3670"/>
                    <a:pt x="2443" y="3664"/>
                    <a:pt x="2416" y="3653"/>
                  </a:cubicBezTo>
                  <a:cubicBezTo>
                    <a:pt x="2364" y="3635"/>
                    <a:pt x="2329" y="3583"/>
                    <a:pt x="2336" y="3527"/>
                  </a:cubicBezTo>
                  <a:cubicBezTo>
                    <a:pt x="2331" y="3525"/>
                    <a:pt x="2320" y="3523"/>
                    <a:pt x="2301" y="3523"/>
                  </a:cubicBezTo>
                  <a:cubicBezTo>
                    <a:pt x="2242" y="3523"/>
                    <a:pt x="2098" y="3545"/>
                    <a:pt x="1762" y="3677"/>
                  </a:cubicBezTo>
                  <a:cubicBezTo>
                    <a:pt x="1678" y="3710"/>
                    <a:pt x="1601" y="3721"/>
                    <a:pt x="1529" y="3721"/>
                  </a:cubicBezTo>
                  <a:cubicBezTo>
                    <a:pt x="1431" y="3721"/>
                    <a:pt x="1343" y="3699"/>
                    <a:pt x="1268" y="3681"/>
                  </a:cubicBezTo>
                  <a:cubicBezTo>
                    <a:pt x="1201" y="3664"/>
                    <a:pt x="1150" y="3653"/>
                    <a:pt x="1107" y="3653"/>
                  </a:cubicBezTo>
                  <a:cubicBezTo>
                    <a:pt x="1058" y="3653"/>
                    <a:pt x="1019" y="3668"/>
                    <a:pt x="978" y="3709"/>
                  </a:cubicBezTo>
                  <a:lnTo>
                    <a:pt x="939" y="3747"/>
                  </a:lnTo>
                  <a:cubicBezTo>
                    <a:pt x="715" y="3971"/>
                    <a:pt x="379" y="4311"/>
                    <a:pt x="102" y="4360"/>
                  </a:cubicBezTo>
                  <a:cubicBezTo>
                    <a:pt x="32" y="4374"/>
                    <a:pt x="1" y="4405"/>
                    <a:pt x="4" y="4458"/>
                  </a:cubicBezTo>
                  <a:cubicBezTo>
                    <a:pt x="8" y="4500"/>
                    <a:pt x="29" y="4535"/>
                    <a:pt x="64" y="4556"/>
                  </a:cubicBezTo>
                  <a:cubicBezTo>
                    <a:pt x="162" y="4507"/>
                    <a:pt x="281" y="4500"/>
                    <a:pt x="386" y="4497"/>
                  </a:cubicBezTo>
                  <a:cubicBezTo>
                    <a:pt x="488" y="4490"/>
                    <a:pt x="600" y="4486"/>
                    <a:pt x="638" y="4430"/>
                  </a:cubicBezTo>
                  <a:cubicBezTo>
                    <a:pt x="764" y="4237"/>
                    <a:pt x="1639" y="4076"/>
                    <a:pt x="2063" y="4062"/>
                  </a:cubicBezTo>
                  <a:lnTo>
                    <a:pt x="2108" y="4062"/>
                  </a:lnTo>
                  <a:cubicBezTo>
                    <a:pt x="2252" y="4062"/>
                    <a:pt x="2336" y="4087"/>
                    <a:pt x="2381" y="4146"/>
                  </a:cubicBezTo>
                  <a:cubicBezTo>
                    <a:pt x="2438" y="4216"/>
                    <a:pt x="2409" y="4307"/>
                    <a:pt x="2385" y="4398"/>
                  </a:cubicBezTo>
                  <a:cubicBezTo>
                    <a:pt x="2364" y="4465"/>
                    <a:pt x="2353" y="4535"/>
                    <a:pt x="2357" y="4605"/>
                  </a:cubicBezTo>
                  <a:cubicBezTo>
                    <a:pt x="2360" y="4658"/>
                    <a:pt x="2395" y="4700"/>
                    <a:pt x="2448" y="4714"/>
                  </a:cubicBezTo>
                  <a:cubicBezTo>
                    <a:pt x="2467" y="4719"/>
                    <a:pt x="2490" y="4722"/>
                    <a:pt x="2514" y="4722"/>
                  </a:cubicBezTo>
                  <a:cubicBezTo>
                    <a:pt x="2627" y="4722"/>
                    <a:pt x="2783" y="4662"/>
                    <a:pt x="2889" y="4539"/>
                  </a:cubicBezTo>
                  <a:cubicBezTo>
                    <a:pt x="2945" y="4472"/>
                    <a:pt x="3012" y="4409"/>
                    <a:pt x="3082" y="4356"/>
                  </a:cubicBezTo>
                  <a:cubicBezTo>
                    <a:pt x="3103" y="4339"/>
                    <a:pt x="3120" y="4325"/>
                    <a:pt x="3138" y="4304"/>
                  </a:cubicBezTo>
                  <a:cubicBezTo>
                    <a:pt x="3124" y="4286"/>
                    <a:pt x="3110" y="4272"/>
                    <a:pt x="3092" y="4258"/>
                  </a:cubicBezTo>
                  <a:cubicBezTo>
                    <a:pt x="2987" y="4174"/>
                    <a:pt x="2994" y="4094"/>
                    <a:pt x="3005" y="4062"/>
                  </a:cubicBezTo>
                  <a:cubicBezTo>
                    <a:pt x="3019" y="4010"/>
                    <a:pt x="3061" y="3971"/>
                    <a:pt x="3117" y="3964"/>
                  </a:cubicBezTo>
                  <a:cubicBezTo>
                    <a:pt x="3125" y="3963"/>
                    <a:pt x="3133" y="3962"/>
                    <a:pt x="3142" y="3962"/>
                  </a:cubicBezTo>
                  <a:cubicBezTo>
                    <a:pt x="3204" y="3962"/>
                    <a:pt x="3287" y="3996"/>
                    <a:pt x="3348" y="4090"/>
                  </a:cubicBezTo>
                  <a:cubicBezTo>
                    <a:pt x="3397" y="4160"/>
                    <a:pt x="3502" y="4206"/>
                    <a:pt x="3614" y="4206"/>
                  </a:cubicBezTo>
                  <a:lnTo>
                    <a:pt x="3621" y="4206"/>
                  </a:lnTo>
                  <a:cubicBezTo>
                    <a:pt x="3624" y="4206"/>
                    <a:pt x="3627" y="4206"/>
                    <a:pt x="3631" y="4206"/>
                  </a:cubicBezTo>
                  <a:cubicBezTo>
                    <a:pt x="3753" y="4206"/>
                    <a:pt x="3868" y="4144"/>
                    <a:pt x="3936" y="4045"/>
                  </a:cubicBezTo>
                  <a:cubicBezTo>
                    <a:pt x="3985" y="3961"/>
                    <a:pt x="4034" y="3919"/>
                    <a:pt x="4090" y="3912"/>
                  </a:cubicBezTo>
                  <a:cubicBezTo>
                    <a:pt x="4097" y="3911"/>
                    <a:pt x="4105" y="3910"/>
                    <a:pt x="4111" y="3910"/>
                  </a:cubicBezTo>
                  <a:cubicBezTo>
                    <a:pt x="4170" y="3910"/>
                    <a:pt x="4214" y="3947"/>
                    <a:pt x="4254" y="3982"/>
                  </a:cubicBezTo>
                  <a:cubicBezTo>
                    <a:pt x="4298" y="4018"/>
                    <a:pt x="4338" y="4049"/>
                    <a:pt x="4381" y="4049"/>
                  </a:cubicBezTo>
                  <a:cubicBezTo>
                    <a:pt x="4383" y="4049"/>
                    <a:pt x="4385" y="4049"/>
                    <a:pt x="4387" y="4048"/>
                  </a:cubicBezTo>
                  <a:cubicBezTo>
                    <a:pt x="4461" y="4041"/>
                    <a:pt x="4542" y="3891"/>
                    <a:pt x="4584" y="3810"/>
                  </a:cubicBezTo>
                  <a:cubicBezTo>
                    <a:pt x="4621" y="3738"/>
                    <a:pt x="4648" y="3686"/>
                    <a:pt x="4696" y="3686"/>
                  </a:cubicBezTo>
                  <a:cubicBezTo>
                    <a:pt x="4701" y="3686"/>
                    <a:pt x="4707" y="3686"/>
                    <a:pt x="4713" y="3688"/>
                  </a:cubicBezTo>
                  <a:cubicBezTo>
                    <a:pt x="4773" y="3698"/>
                    <a:pt x="4780" y="3761"/>
                    <a:pt x="4780" y="3782"/>
                  </a:cubicBezTo>
                  <a:cubicBezTo>
                    <a:pt x="4780" y="3803"/>
                    <a:pt x="4794" y="3821"/>
                    <a:pt x="4815" y="3828"/>
                  </a:cubicBezTo>
                  <a:cubicBezTo>
                    <a:pt x="4828" y="3832"/>
                    <a:pt x="4843" y="3835"/>
                    <a:pt x="4860" y="3835"/>
                  </a:cubicBezTo>
                  <a:cubicBezTo>
                    <a:pt x="4948" y="3835"/>
                    <a:pt x="5083" y="3775"/>
                    <a:pt x="5186" y="3663"/>
                  </a:cubicBezTo>
                  <a:cubicBezTo>
                    <a:pt x="5273" y="3569"/>
                    <a:pt x="5266" y="3425"/>
                    <a:pt x="5263" y="3275"/>
                  </a:cubicBezTo>
                  <a:cubicBezTo>
                    <a:pt x="5259" y="3142"/>
                    <a:pt x="5252" y="3002"/>
                    <a:pt x="5322" y="2897"/>
                  </a:cubicBezTo>
                  <a:cubicBezTo>
                    <a:pt x="5448" y="2708"/>
                    <a:pt x="5564" y="2337"/>
                    <a:pt x="5448" y="2123"/>
                  </a:cubicBezTo>
                  <a:cubicBezTo>
                    <a:pt x="5329" y="1895"/>
                    <a:pt x="5560" y="1738"/>
                    <a:pt x="5763" y="1598"/>
                  </a:cubicBezTo>
                  <a:cubicBezTo>
                    <a:pt x="5833" y="1552"/>
                    <a:pt x="5900" y="1500"/>
                    <a:pt x="5963" y="1447"/>
                  </a:cubicBezTo>
                  <a:cubicBezTo>
                    <a:pt x="6071" y="1349"/>
                    <a:pt x="5917" y="866"/>
                    <a:pt x="5816" y="548"/>
                  </a:cubicBezTo>
                  <a:cubicBezTo>
                    <a:pt x="5749" y="334"/>
                    <a:pt x="5690" y="152"/>
                    <a:pt x="5683" y="43"/>
                  </a:cubicBezTo>
                  <a:cubicBezTo>
                    <a:pt x="5683" y="26"/>
                    <a:pt x="5679" y="8"/>
                    <a:pt x="5672" y="5"/>
                  </a:cubicBezTo>
                  <a:cubicBezTo>
                    <a:pt x="5666" y="2"/>
                    <a:pt x="5658" y="0"/>
                    <a:pt x="56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6" name="Google Shape;6426;p53"/>
            <p:cNvSpPr/>
            <p:nvPr/>
          </p:nvSpPr>
          <p:spPr>
            <a:xfrm>
              <a:off x="3080939" y="1680503"/>
              <a:ext cx="45973" cy="34283"/>
            </a:xfrm>
            <a:custGeom>
              <a:avLst/>
              <a:gdLst/>
              <a:ahLst/>
              <a:cxnLst/>
              <a:rect l="l" t="t" r="r" b="b"/>
              <a:pathLst>
                <a:path w="3386" h="2525" extrusionOk="0">
                  <a:moveTo>
                    <a:pt x="1100" y="1"/>
                  </a:moveTo>
                  <a:cubicBezTo>
                    <a:pt x="1058" y="4"/>
                    <a:pt x="1019" y="29"/>
                    <a:pt x="1002" y="71"/>
                  </a:cubicBezTo>
                  <a:cubicBezTo>
                    <a:pt x="984" y="109"/>
                    <a:pt x="991" y="158"/>
                    <a:pt x="1023" y="190"/>
                  </a:cubicBezTo>
                  <a:cubicBezTo>
                    <a:pt x="1142" y="344"/>
                    <a:pt x="1100" y="449"/>
                    <a:pt x="1058" y="550"/>
                  </a:cubicBezTo>
                  <a:cubicBezTo>
                    <a:pt x="1023" y="627"/>
                    <a:pt x="1005" y="711"/>
                    <a:pt x="1002" y="795"/>
                  </a:cubicBezTo>
                  <a:cubicBezTo>
                    <a:pt x="1005" y="914"/>
                    <a:pt x="967" y="1030"/>
                    <a:pt x="890" y="1121"/>
                  </a:cubicBezTo>
                  <a:cubicBezTo>
                    <a:pt x="851" y="1174"/>
                    <a:pt x="830" y="1205"/>
                    <a:pt x="841" y="1268"/>
                  </a:cubicBezTo>
                  <a:cubicBezTo>
                    <a:pt x="851" y="1321"/>
                    <a:pt x="841" y="1373"/>
                    <a:pt x="809" y="1415"/>
                  </a:cubicBezTo>
                  <a:cubicBezTo>
                    <a:pt x="743" y="1503"/>
                    <a:pt x="603" y="1513"/>
                    <a:pt x="466" y="1524"/>
                  </a:cubicBezTo>
                  <a:cubicBezTo>
                    <a:pt x="421" y="1527"/>
                    <a:pt x="375" y="1531"/>
                    <a:pt x="333" y="1538"/>
                  </a:cubicBezTo>
                  <a:cubicBezTo>
                    <a:pt x="295" y="1545"/>
                    <a:pt x="295" y="1548"/>
                    <a:pt x="295" y="1608"/>
                  </a:cubicBezTo>
                  <a:cubicBezTo>
                    <a:pt x="295" y="1678"/>
                    <a:pt x="295" y="1797"/>
                    <a:pt x="137" y="1863"/>
                  </a:cubicBezTo>
                  <a:cubicBezTo>
                    <a:pt x="53" y="1898"/>
                    <a:pt x="4" y="1947"/>
                    <a:pt x="1" y="1993"/>
                  </a:cubicBezTo>
                  <a:cubicBezTo>
                    <a:pt x="1" y="2024"/>
                    <a:pt x="18" y="2056"/>
                    <a:pt x="50" y="2070"/>
                  </a:cubicBezTo>
                  <a:cubicBezTo>
                    <a:pt x="186" y="2147"/>
                    <a:pt x="137" y="2332"/>
                    <a:pt x="99" y="2483"/>
                  </a:cubicBezTo>
                  <a:lnTo>
                    <a:pt x="88" y="2525"/>
                  </a:lnTo>
                  <a:cubicBezTo>
                    <a:pt x="144" y="2486"/>
                    <a:pt x="197" y="2441"/>
                    <a:pt x="242" y="2388"/>
                  </a:cubicBezTo>
                  <a:cubicBezTo>
                    <a:pt x="292" y="2331"/>
                    <a:pt x="346" y="2314"/>
                    <a:pt x="393" y="2314"/>
                  </a:cubicBezTo>
                  <a:cubicBezTo>
                    <a:pt x="439" y="2314"/>
                    <a:pt x="479" y="2329"/>
                    <a:pt x="508" y="2339"/>
                  </a:cubicBezTo>
                  <a:lnTo>
                    <a:pt x="519" y="2343"/>
                  </a:lnTo>
                  <a:cubicBezTo>
                    <a:pt x="508" y="2304"/>
                    <a:pt x="445" y="2259"/>
                    <a:pt x="386" y="2217"/>
                  </a:cubicBezTo>
                  <a:cubicBezTo>
                    <a:pt x="291" y="2150"/>
                    <a:pt x="183" y="2077"/>
                    <a:pt x="193" y="1958"/>
                  </a:cubicBezTo>
                  <a:cubicBezTo>
                    <a:pt x="197" y="1919"/>
                    <a:pt x="214" y="1884"/>
                    <a:pt x="246" y="1860"/>
                  </a:cubicBezTo>
                  <a:cubicBezTo>
                    <a:pt x="270" y="1842"/>
                    <a:pt x="299" y="1835"/>
                    <a:pt x="330" y="1835"/>
                  </a:cubicBezTo>
                  <a:cubicBezTo>
                    <a:pt x="365" y="1835"/>
                    <a:pt x="404" y="1843"/>
                    <a:pt x="445" y="1853"/>
                  </a:cubicBezTo>
                  <a:cubicBezTo>
                    <a:pt x="490" y="1863"/>
                    <a:pt x="541" y="1877"/>
                    <a:pt x="591" y="1877"/>
                  </a:cubicBezTo>
                  <a:cubicBezTo>
                    <a:pt x="623" y="1877"/>
                    <a:pt x="655" y="1871"/>
                    <a:pt x="683" y="1856"/>
                  </a:cubicBezTo>
                  <a:cubicBezTo>
                    <a:pt x="747" y="1824"/>
                    <a:pt x="826" y="1810"/>
                    <a:pt x="913" y="1810"/>
                  </a:cubicBezTo>
                  <a:cubicBezTo>
                    <a:pt x="1133" y="1810"/>
                    <a:pt x="1399" y="1904"/>
                    <a:pt x="1579" y="2059"/>
                  </a:cubicBezTo>
                  <a:cubicBezTo>
                    <a:pt x="1695" y="2159"/>
                    <a:pt x="1741" y="2164"/>
                    <a:pt x="1752" y="2164"/>
                  </a:cubicBezTo>
                  <a:cubicBezTo>
                    <a:pt x="1753" y="2164"/>
                    <a:pt x="1754" y="2164"/>
                    <a:pt x="1755" y="2164"/>
                  </a:cubicBezTo>
                  <a:cubicBezTo>
                    <a:pt x="1769" y="2157"/>
                    <a:pt x="1800" y="2126"/>
                    <a:pt x="1828" y="1968"/>
                  </a:cubicBezTo>
                  <a:cubicBezTo>
                    <a:pt x="1884" y="1657"/>
                    <a:pt x="2308" y="1545"/>
                    <a:pt x="2682" y="1545"/>
                  </a:cubicBezTo>
                  <a:cubicBezTo>
                    <a:pt x="2885" y="1545"/>
                    <a:pt x="2955" y="1489"/>
                    <a:pt x="2966" y="1457"/>
                  </a:cubicBezTo>
                  <a:cubicBezTo>
                    <a:pt x="2973" y="1436"/>
                    <a:pt x="2955" y="1415"/>
                    <a:pt x="2938" y="1401"/>
                  </a:cubicBezTo>
                  <a:cubicBezTo>
                    <a:pt x="2913" y="1384"/>
                    <a:pt x="2899" y="1359"/>
                    <a:pt x="2896" y="1331"/>
                  </a:cubicBezTo>
                  <a:cubicBezTo>
                    <a:pt x="2892" y="1247"/>
                    <a:pt x="2987" y="1156"/>
                    <a:pt x="3221" y="953"/>
                  </a:cubicBezTo>
                  <a:cubicBezTo>
                    <a:pt x="3270" y="914"/>
                    <a:pt x="3330" y="858"/>
                    <a:pt x="3386" y="809"/>
                  </a:cubicBezTo>
                  <a:lnTo>
                    <a:pt x="3386" y="809"/>
                  </a:lnTo>
                  <a:cubicBezTo>
                    <a:pt x="3305" y="861"/>
                    <a:pt x="3214" y="913"/>
                    <a:pt x="3136" y="913"/>
                  </a:cubicBezTo>
                  <a:cubicBezTo>
                    <a:pt x="3091" y="913"/>
                    <a:pt x="3051" y="896"/>
                    <a:pt x="3018" y="855"/>
                  </a:cubicBezTo>
                  <a:cubicBezTo>
                    <a:pt x="3007" y="839"/>
                    <a:pt x="2993" y="831"/>
                    <a:pt x="2974" y="831"/>
                  </a:cubicBezTo>
                  <a:cubicBezTo>
                    <a:pt x="2942" y="831"/>
                    <a:pt x="2894" y="853"/>
                    <a:pt x="2808" y="897"/>
                  </a:cubicBezTo>
                  <a:cubicBezTo>
                    <a:pt x="2721" y="946"/>
                    <a:pt x="2630" y="981"/>
                    <a:pt x="2535" y="1006"/>
                  </a:cubicBezTo>
                  <a:cubicBezTo>
                    <a:pt x="2523" y="1008"/>
                    <a:pt x="2510" y="1009"/>
                    <a:pt x="2497" y="1009"/>
                  </a:cubicBezTo>
                  <a:cubicBezTo>
                    <a:pt x="2177" y="1009"/>
                    <a:pt x="1443" y="364"/>
                    <a:pt x="1271" y="106"/>
                  </a:cubicBezTo>
                  <a:cubicBezTo>
                    <a:pt x="1240" y="46"/>
                    <a:pt x="1180" y="4"/>
                    <a:pt x="11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7" name="Google Shape;6427;p53"/>
            <p:cNvSpPr/>
            <p:nvPr/>
          </p:nvSpPr>
          <p:spPr>
            <a:xfrm>
              <a:off x="2932062" y="1853304"/>
              <a:ext cx="13143" cy="22009"/>
            </a:xfrm>
            <a:custGeom>
              <a:avLst/>
              <a:gdLst/>
              <a:ahLst/>
              <a:cxnLst/>
              <a:rect l="l" t="t" r="r" b="b"/>
              <a:pathLst>
                <a:path w="968" h="1621" extrusionOk="0">
                  <a:moveTo>
                    <a:pt x="864" y="0"/>
                  </a:moveTo>
                  <a:cubicBezTo>
                    <a:pt x="846" y="0"/>
                    <a:pt x="827" y="2"/>
                    <a:pt x="806" y="6"/>
                  </a:cubicBezTo>
                  <a:cubicBezTo>
                    <a:pt x="586" y="48"/>
                    <a:pt x="222" y="311"/>
                    <a:pt x="95" y="770"/>
                  </a:cubicBezTo>
                  <a:cubicBezTo>
                    <a:pt x="1" y="1120"/>
                    <a:pt x="92" y="1354"/>
                    <a:pt x="159" y="1463"/>
                  </a:cubicBezTo>
                  <a:cubicBezTo>
                    <a:pt x="194" y="1526"/>
                    <a:pt x="243" y="1578"/>
                    <a:pt x="302" y="1620"/>
                  </a:cubicBezTo>
                  <a:cubicBezTo>
                    <a:pt x="435" y="1477"/>
                    <a:pt x="880" y="577"/>
                    <a:pt x="950" y="164"/>
                  </a:cubicBezTo>
                  <a:cubicBezTo>
                    <a:pt x="967" y="55"/>
                    <a:pt x="950" y="31"/>
                    <a:pt x="950" y="31"/>
                  </a:cubicBezTo>
                  <a:cubicBezTo>
                    <a:pt x="935" y="11"/>
                    <a:pt x="905" y="0"/>
                    <a:pt x="8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8" name="Google Shape;6428;p53"/>
            <p:cNvSpPr/>
            <p:nvPr/>
          </p:nvSpPr>
          <p:spPr>
            <a:xfrm>
              <a:off x="2597485" y="1601971"/>
              <a:ext cx="442776" cy="287924"/>
            </a:xfrm>
            <a:custGeom>
              <a:avLst/>
              <a:gdLst/>
              <a:ahLst/>
              <a:cxnLst/>
              <a:rect l="l" t="t" r="r" b="b"/>
              <a:pathLst>
                <a:path w="32611" h="21206" extrusionOk="0">
                  <a:moveTo>
                    <a:pt x="26155" y="1"/>
                  </a:moveTo>
                  <a:cubicBezTo>
                    <a:pt x="25990" y="1"/>
                    <a:pt x="25773" y="38"/>
                    <a:pt x="25641" y="61"/>
                  </a:cubicBezTo>
                  <a:cubicBezTo>
                    <a:pt x="25585" y="71"/>
                    <a:pt x="25550" y="78"/>
                    <a:pt x="25529" y="82"/>
                  </a:cubicBezTo>
                  <a:lnTo>
                    <a:pt x="25508" y="82"/>
                  </a:lnTo>
                  <a:cubicBezTo>
                    <a:pt x="25501" y="82"/>
                    <a:pt x="25487" y="82"/>
                    <a:pt x="25466" y="78"/>
                  </a:cubicBezTo>
                  <a:cubicBezTo>
                    <a:pt x="25435" y="76"/>
                    <a:pt x="25392" y="72"/>
                    <a:pt x="25341" y="72"/>
                  </a:cubicBezTo>
                  <a:cubicBezTo>
                    <a:pt x="25198" y="72"/>
                    <a:pt x="24996" y="103"/>
                    <a:pt x="24867" y="281"/>
                  </a:cubicBezTo>
                  <a:cubicBezTo>
                    <a:pt x="24787" y="386"/>
                    <a:pt x="24772" y="435"/>
                    <a:pt x="24769" y="456"/>
                  </a:cubicBezTo>
                  <a:cubicBezTo>
                    <a:pt x="24769" y="456"/>
                    <a:pt x="24769" y="460"/>
                    <a:pt x="24769" y="463"/>
                  </a:cubicBezTo>
                  <a:cubicBezTo>
                    <a:pt x="24786" y="466"/>
                    <a:pt x="24805" y="468"/>
                    <a:pt x="24824" y="468"/>
                  </a:cubicBezTo>
                  <a:cubicBezTo>
                    <a:pt x="24831" y="468"/>
                    <a:pt x="24839" y="468"/>
                    <a:pt x="24846" y="467"/>
                  </a:cubicBezTo>
                  <a:lnTo>
                    <a:pt x="24860" y="467"/>
                  </a:lnTo>
                  <a:cubicBezTo>
                    <a:pt x="24997" y="467"/>
                    <a:pt x="25049" y="681"/>
                    <a:pt x="25088" y="912"/>
                  </a:cubicBezTo>
                  <a:cubicBezTo>
                    <a:pt x="25088" y="919"/>
                    <a:pt x="25088" y="929"/>
                    <a:pt x="25088" y="940"/>
                  </a:cubicBezTo>
                  <a:cubicBezTo>
                    <a:pt x="25084" y="1055"/>
                    <a:pt x="24937" y="1185"/>
                    <a:pt x="24843" y="1237"/>
                  </a:cubicBezTo>
                  <a:cubicBezTo>
                    <a:pt x="24829" y="1244"/>
                    <a:pt x="24818" y="1251"/>
                    <a:pt x="24804" y="1258"/>
                  </a:cubicBezTo>
                  <a:cubicBezTo>
                    <a:pt x="24744" y="1290"/>
                    <a:pt x="24534" y="1608"/>
                    <a:pt x="24503" y="1731"/>
                  </a:cubicBezTo>
                  <a:cubicBezTo>
                    <a:pt x="24489" y="1780"/>
                    <a:pt x="24468" y="1825"/>
                    <a:pt x="24440" y="1867"/>
                  </a:cubicBezTo>
                  <a:cubicBezTo>
                    <a:pt x="24422" y="1902"/>
                    <a:pt x="24401" y="1934"/>
                    <a:pt x="24380" y="1972"/>
                  </a:cubicBezTo>
                  <a:cubicBezTo>
                    <a:pt x="24335" y="2042"/>
                    <a:pt x="24296" y="2116"/>
                    <a:pt x="24261" y="2193"/>
                  </a:cubicBezTo>
                  <a:cubicBezTo>
                    <a:pt x="24247" y="2214"/>
                    <a:pt x="24244" y="2238"/>
                    <a:pt x="24244" y="2263"/>
                  </a:cubicBezTo>
                  <a:cubicBezTo>
                    <a:pt x="24258" y="2315"/>
                    <a:pt x="24247" y="2375"/>
                    <a:pt x="24216" y="2420"/>
                  </a:cubicBezTo>
                  <a:cubicBezTo>
                    <a:pt x="24149" y="2508"/>
                    <a:pt x="24055" y="2571"/>
                    <a:pt x="23946" y="2588"/>
                  </a:cubicBezTo>
                  <a:cubicBezTo>
                    <a:pt x="23894" y="2595"/>
                    <a:pt x="23757" y="2680"/>
                    <a:pt x="23656" y="2743"/>
                  </a:cubicBezTo>
                  <a:cubicBezTo>
                    <a:pt x="23589" y="2788"/>
                    <a:pt x="23516" y="2827"/>
                    <a:pt x="23442" y="2862"/>
                  </a:cubicBezTo>
                  <a:cubicBezTo>
                    <a:pt x="23421" y="2869"/>
                    <a:pt x="23388" y="2872"/>
                    <a:pt x="23349" y="2872"/>
                  </a:cubicBezTo>
                  <a:cubicBezTo>
                    <a:pt x="23235" y="2872"/>
                    <a:pt x="23063" y="2842"/>
                    <a:pt x="22945" y="2785"/>
                  </a:cubicBezTo>
                  <a:cubicBezTo>
                    <a:pt x="22893" y="2764"/>
                    <a:pt x="22854" y="2725"/>
                    <a:pt x="22826" y="2680"/>
                  </a:cubicBezTo>
                  <a:cubicBezTo>
                    <a:pt x="22826" y="2676"/>
                    <a:pt x="22823" y="2673"/>
                    <a:pt x="22823" y="2673"/>
                  </a:cubicBezTo>
                  <a:cubicBezTo>
                    <a:pt x="22816" y="2662"/>
                    <a:pt x="22809" y="2655"/>
                    <a:pt x="22805" y="2652"/>
                  </a:cubicBezTo>
                  <a:lnTo>
                    <a:pt x="22399" y="3457"/>
                  </a:lnTo>
                  <a:lnTo>
                    <a:pt x="22360" y="3772"/>
                  </a:lnTo>
                  <a:lnTo>
                    <a:pt x="22318" y="3782"/>
                  </a:lnTo>
                  <a:cubicBezTo>
                    <a:pt x="22283" y="3793"/>
                    <a:pt x="22227" y="3821"/>
                    <a:pt x="22220" y="3849"/>
                  </a:cubicBezTo>
                  <a:cubicBezTo>
                    <a:pt x="22213" y="3873"/>
                    <a:pt x="22234" y="3912"/>
                    <a:pt x="22276" y="3954"/>
                  </a:cubicBezTo>
                  <a:cubicBezTo>
                    <a:pt x="22340" y="4017"/>
                    <a:pt x="22378" y="4039"/>
                    <a:pt x="22419" y="4039"/>
                  </a:cubicBezTo>
                  <a:cubicBezTo>
                    <a:pt x="22447" y="4039"/>
                    <a:pt x="22476" y="4029"/>
                    <a:pt x="22514" y="4017"/>
                  </a:cubicBezTo>
                  <a:cubicBezTo>
                    <a:pt x="22605" y="3985"/>
                    <a:pt x="22700" y="3971"/>
                    <a:pt x="22795" y="3971"/>
                  </a:cubicBezTo>
                  <a:cubicBezTo>
                    <a:pt x="22921" y="3975"/>
                    <a:pt x="23047" y="4006"/>
                    <a:pt x="23159" y="4069"/>
                  </a:cubicBezTo>
                  <a:cubicBezTo>
                    <a:pt x="23187" y="4087"/>
                    <a:pt x="23218" y="4097"/>
                    <a:pt x="23250" y="4104"/>
                  </a:cubicBezTo>
                  <a:cubicBezTo>
                    <a:pt x="23257" y="4097"/>
                    <a:pt x="23260" y="4090"/>
                    <a:pt x="23260" y="4083"/>
                  </a:cubicBezTo>
                  <a:cubicBezTo>
                    <a:pt x="23313" y="3964"/>
                    <a:pt x="23425" y="3880"/>
                    <a:pt x="23554" y="3859"/>
                  </a:cubicBezTo>
                  <a:cubicBezTo>
                    <a:pt x="23574" y="3856"/>
                    <a:pt x="23593" y="3855"/>
                    <a:pt x="23612" y="3855"/>
                  </a:cubicBezTo>
                  <a:cubicBezTo>
                    <a:pt x="23724" y="3855"/>
                    <a:pt x="23829" y="3906"/>
                    <a:pt x="23901" y="3996"/>
                  </a:cubicBezTo>
                  <a:cubicBezTo>
                    <a:pt x="23915" y="4013"/>
                    <a:pt x="23932" y="4034"/>
                    <a:pt x="23953" y="4052"/>
                  </a:cubicBezTo>
                  <a:cubicBezTo>
                    <a:pt x="23992" y="4090"/>
                    <a:pt x="24034" y="4129"/>
                    <a:pt x="24083" y="4167"/>
                  </a:cubicBezTo>
                  <a:lnTo>
                    <a:pt x="24146" y="4220"/>
                  </a:lnTo>
                  <a:lnTo>
                    <a:pt x="24188" y="4255"/>
                  </a:lnTo>
                  <a:cubicBezTo>
                    <a:pt x="24475" y="4496"/>
                    <a:pt x="24646" y="4650"/>
                    <a:pt x="24618" y="4791"/>
                  </a:cubicBezTo>
                  <a:cubicBezTo>
                    <a:pt x="24608" y="4850"/>
                    <a:pt x="24573" y="4899"/>
                    <a:pt x="24520" y="4927"/>
                  </a:cubicBezTo>
                  <a:cubicBezTo>
                    <a:pt x="24463" y="4961"/>
                    <a:pt x="24390" y="4972"/>
                    <a:pt x="24317" y="4972"/>
                  </a:cubicBezTo>
                  <a:cubicBezTo>
                    <a:pt x="24167" y="4972"/>
                    <a:pt x="24013" y="4924"/>
                    <a:pt x="23971" y="4910"/>
                  </a:cubicBezTo>
                  <a:cubicBezTo>
                    <a:pt x="23949" y="4903"/>
                    <a:pt x="23926" y="4900"/>
                    <a:pt x="23901" y="4900"/>
                  </a:cubicBezTo>
                  <a:cubicBezTo>
                    <a:pt x="23845" y="4900"/>
                    <a:pt x="23782" y="4915"/>
                    <a:pt x="23719" y="4934"/>
                  </a:cubicBezTo>
                  <a:cubicBezTo>
                    <a:pt x="23680" y="4948"/>
                    <a:pt x="23642" y="4962"/>
                    <a:pt x="23603" y="4976"/>
                  </a:cubicBezTo>
                  <a:cubicBezTo>
                    <a:pt x="23498" y="5015"/>
                    <a:pt x="23386" y="5057"/>
                    <a:pt x="23288" y="5057"/>
                  </a:cubicBezTo>
                  <a:cubicBezTo>
                    <a:pt x="23284" y="5057"/>
                    <a:pt x="23280" y="5056"/>
                    <a:pt x="23276" y="5056"/>
                  </a:cubicBezTo>
                  <a:cubicBezTo>
                    <a:pt x="23046" y="5056"/>
                    <a:pt x="22827" y="5154"/>
                    <a:pt x="22665" y="5319"/>
                  </a:cubicBezTo>
                  <a:cubicBezTo>
                    <a:pt x="22605" y="5379"/>
                    <a:pt x="22556" y="5445"/>
                    <a:pt x="22518" y="5519"/>
                  </a:cubicBezTo>
                  <a:cubicBezTo>
                    <a:pt x="22441" y="5648"/>
                    <a:pt x="22371" y="5767"/>
                    <a:pt x="22133" y="5795"/>
                  </a:cubicBezTo>
                  <a:cubicBezTo>
                    <a:pt x="22077" y="5802"/>
                    <a:pt x="22024" y="5806"/>
                    <a:pt x="21979" y="5809"/>
                  </a:cubicBezTo>
                  <a:cubicBezTo>
                    <a:pt x="21814" y="5823"/>
                    <a:pt x="21699" y="5830"/>
                    <a:pt x="21534" y="5914"/>
                  </a:cubicBezTo>
                  <a:cubicBezTo>
                    <a:pt x="21471" y="5949"/>
                    <a:pt x="21412" y="5988"/>
                    <a:pt x="21352" y="6030"/>
                  </a:cubicBezTo>
                  <a:cubicBezTo>
                    <a:pt x="21191" y="6140"/>
                    <a:pt x="21004" y="6197"/>
                    <a:pt x="20815" y="6197"/>
                  </a:cubicBezTo>
                  <a:cubicBezTo>
                    <a:pt x="20675" y="6197"/>
                    <a:pt x="20535" y="6166"/>
                    <a:pt x="20403" y="6103"/>
                  </a:cubicBezTo>
                  <a:cubicBezTo>
                    <a:pt x="20379" y="6091"/>
                    <a:pt x="20306" y="6059"/>
                    <a:pt x="20222" y="6059"/>
                  </a:cubicBezTo>
                  <a:cubicBezTo>
                    <a:pt x="20135" y="6059"/>
                    <a:pt x="20035" y="6093"/>
                    <a:pt x="19962" y="6219"/>
                  </a:cubicBezTo>
                  <a:cubicBezTo>
                    <a:pt x="19910" y="6313"/>
                    <a:pt x="19941" y="6373"/>
                    <a:pt x="20004" y="6478"/>
                  </a:cubicBezTo>
                  <a:cubicBezTo>
                    <a:pt x="20060" y="6565"/>
                    <a:pt x="20130" y="6677"/>
                    <a:pt x="20109" y="6828"/>
                  </a:cubicBezTo>
                  <a:cubicBezTo>
                    <a:pt x="20088" y="7017"/>
                    <a:pt x="19948" y="7080"/>
                    <a:pt x="19798" y="7147"/>
                  </a:cubicBezTo>
                  <a:cubicBezTo>
                    <a:pt x="19658" y="7199"/>
                    <a:pt x="19528" y="7283"/>
                    <a:pt x="19427" y="7392"/>
                  </a:cubicBezTo>
                  <a:cubicBezTo>
                    <a:pt x="19167" y="7683"/>
                    <a:pt x="18755" y="7843"/>
                    <a:pt x="18473" y="7843"/>
                  </a:cubicBezTo>
                  <a:cubicBezTo>
                    <a:pt x="18440" y="7843"/>
                    <a:pt x="18409" y="7841"/>
                    <a:pt x="18380" y="7836"/>
                  </a:cubicBezTo>
                  <a:cubicBezTo>
                    <a:pt x="18345" y="7833"/>
                    <a:pt x="18303" y="7826"/>
                    <a:pt x="18257" y="7815"/>
                  </a:cubicBezTo>
                  <a:cubicBezTo>
                    <a:pt x="18118" y="7793"/>
                    <a:pt x="17929" y="7760"/>
                    <a:pt x="17727" y="7760"/>
                  </a:cubicBezTo>
                  <a:cubicBezTo>
                    <a:pt x="17549" y="7760"/>
                    <a:pt x="17360" y="7786"/>
                    <a:pt x="17186" y="7868"/>
                  </a:cubicBezTo>
                  <a:cubicBezTo>
                    <a:pt x="17011" y="7952"/>
                    <a:pt x="16843" y="8046"/>
                    <a:pt x="16682" y="8158"/>
                  </a:cubicBezTo>
                  <a:lnTo>
                    <a:pt x="16623" y="8193"/>
                  </a:lnTo>
                  <a:lnTo>
                    <a:pt x="16609" y="8204"/>
                  </a:lnTo>
                  <a:lnTo>
                    <a:pt x="16556" y="8239"/>
                  </a:lnTo>
                  <a:lnTo>
                    <a:pt x="16546" y="8242"/>
                  </a:lnTo>
                  <a:lnTo>
                    <a:pt x="16493" y="8274"/>
                  </a:lnTo>
                  <a:lnTo>
                    <a:pt x="16486" y="8277"/>
                  </a:lnTo>
                  <a:cubicBezTo>
                    <a:pt x="16469" y="8288"/>
                    <a:pt x="16451" y="8298"/>
                    <a:pt x="16433" y="8309"/>
                  </a:cubicBezTo>
                  <a:cubicBezTo>
                    <a:pt x="16402" y="8326"/>
                    <a:pt x="16367" y="8340"/>
                    <a:pt x="16332" y="8351"/>
                  </a:cubicBezTo>
                  <a:lnTo>
                    <a:pt x="16328" y="8351"/>
                  </a:lnTo>
                  <a:cubicBezTo>
                    <a:pt x="16314" y="8354"/>
                    <a:pt x="16300" y="8358"/>
                    <a:pt x="16283" y="8361"/>
                  </a:cubicBezTo>
                  <a:lnTo>
                    <a:pt x="16279" y="8361"/>
                  </a:lnTo>
                  <a:cubicBezTo>
                    <a:pt x="16265" y="8365"/>
                    <a:pt x="16251" y="8365"/>
                    <a:pt x="16237" y="8365"/>
                  </a:cubicBezTo>
                  <a:lnTo>
                    <a:pt x="16234" y="8365"/>
                  </a:lnTo>
                  <a:cubicBezTo>
                    <a:pt x="16220" y="8365"/>
                    <a:pt x="16206" y="8365"/>
                    <a:pt x="16195" y="8361"/>
                  </a:cubicBezTo>
                  <a:cubicBezTo>
                    <a:pt x="16118" y="8344"/>
                    <a:pt x="16048" y="8298"/>
                    <a:pt x="15999" y="8239"/>
                  </a:cubicBezTo>
                  <a:cubicBezTo>
                    <a:pt x="15955" y="8189"/>
                    <a:pt x="15917" y="8150"/>
                    <a:pt x="15844" y="8150"/>
                  </a:cubicBezTo>
                  <a:cubicBezTo>
                    <a:pt x="15836" y="8150"/>
                    <a:pt x="15827" y="8150"/>
                    <a:pt x="15817" y="8151"/>
                  </a:cubicBezTo>
                  <a:lnTo>
                    <a:pt x="15793" y="8151"/>
                  </a:lnTo>
                  <a:cubicBezTo>
                    <a:pt x="15765" y="8155"/>
                    <a:pt x="15740" y="8158"/>
                    <a:pt x="15716" y="8158"/>
                  </a:cubicBezTo>
                  <a:cubicBezTo>
                    <a:pt x="15700" y="8159"/>
                    <a:pt x="15684" y="8160"/>
                    <a:pt x="15669" y="8160"/>
                  </a:cubicBezTo>
                  <a:cubicBezTo>
                    <a:pt x="15495" y="8160"/>
                    <a:pt x="15372" y="8106"/>
                    <a:pt x="15240" y="8032"/>
                  </a:cubicBezTo>
                  <a:lnTo>
                    <a:pt x="15187" y="8001"/>
                  </a:lnTo>
                  <a:cubicBezTo>
                    <a:pt x="15151" y="7978"/>
                    <a:pt x="15118" y="7972"/>
                    <a:pt x="15081" y="7972"/>
                  </a:cubicBezTo>
                  <a:cubicBezTo>
                    <a:pt x="15060" y="7972"/>
                    <a:pt x="15037" y="7974"/>
                    <a:pt x="15012" y="7976"/>
                  </a:cubicBezTo>
                  <a:cubicBezTo>
                    <a:pt x="14986" y="7980"/>
                    <a:pt x="14960" y="7982"/>
                    <a:pt x="14935" y="7982"/>
                  </a:cubicBezTo>
                  <a:cubicBezTo>
                    <a:pt x="14807" y="7982"/>
                    <a:pt x="14684" y="7939"/>
                    <a:pt x="14585" y="7857"/>
                  </a:cubicBezTo>
                  <a:cubicBezTo>
                    <a:pt x="14389" y="7710"/>
                    <a:pt x="14070" y="7689"/>
                    <a:pt x="13839" y="7675"/>
                  </a:cubicBezTo>
                  <a:cubicBezTo>
                    <a:pt x="13755" y="7672"/>
                    <a:pt x="13685" y="7668"/>
                    <a:pt x="13629" y="7658"/>
                  </a:cubicBezTo>
                  <a:cubicBezTo>
                    <a:pt x="13528" y="7640"/>
                    <a:pt x="13265" y="7640"/>
                    <a:pt x="13017" y="7640"/>
                  </a:cubicBezTo>
                  <a:cubicBezTo>
                    <a:pt x="12751" y="7640"/>
                    <a:pt x="12474" y="7640"/>
                    <a:pt x="12327" y="7623"/>
                  </a:cubicBezTo>
                  <a:cubicBezTo>
                    <a:pt x="12274" y="7617"/>
                    <a:pt x="12221" y="7615"/>
                    <a:pt x="12167" y="7615"/>
                  </a:cubicBezTo>
                  <a:cubicBezTo>
                    <a:pt x="12113" y="7615"/>
                    <a:pt x="12059" y="7617"/>
                    <a:pt x="12005" y="7623"/>
                  </a:cubicBezTo>
                  <a:lnTo>
                    <a:pt x="11931" y="7626"/>
                  </a:lnTo>
                  <a:cubicBezTo>
                    <a:pt x="11900" y="7628"/>
                    <a:pt x="11869" y="7628"/>
                    <a:pt x="11840" y="7628"/>
                  </a:cubicBezTo>
                  <a:cubicBezTo>
                    <a:pt x="11714" y="7628"/>
                    <a:pt x="11615" y="7611"/>
                    <a:pt x="11578" y="7528"/>
                  </a:cubicBezTo>
                  <a:cubicBezTo>
                    <a:pt x="11574" y="7521"/>
                    <a:pt x="11571" y="7514"/>
                    <a:pt x="11571" y="7504"/>
                  </a:cubicBezTo>
                  <a:cubicBezTo>
                    <a:pt x="11550" y="7451"/>
                    <a:pt x="11518" y="7406"/>
                    <a:pt x="11476" y="7364"/>
                  </a:cubicBezTo>
                  <a:cubicBezTo>
                    <a:pt x="11368" y="7245"/>
                    <a:pt x="11291" y="7098"/>
                    <a:pt x="11252" y="6940"/>
                  </a:cubicBezTo>
                  <a:cubicBezTo>
                    <a:pt x="11182" y="6625"/>
                    <a:pt x="11007" y="6555"/>
                    <a:pt x="10881" y="6530"/>
                  </a:cubicBezTo>
                  <a:cubicBezTo>
                    <a:pt x="10790" y="6509"/>
                    <a:pt x="10710" y="6453"/>
                    <a:pt x="10657" y="6380"/>
                  </a:cubicBezTo>
                  <a:cubicBezTo>
                    <a:pt x="10612" y="6327"/>
                    <a:pt x="10580" y="6292"/>
                    <a:pt x="10531" y="6285"/>
                  </a:cubicBezTo>
                  <a:cubicBezTo>
                    <a:pt x="10482" y="6278"/>
                    <a:pt x="10447" y="6240"/>
                    <a:pt x="10409" y="6194"/>
                  </a:cubicBezTo>
                  <a:cubicBezTo>
                    <a:pt x="10346" y="6124"/>
                    <a:pt x="10265" y="6037"/>
                    <a:pt x="10132" y="6037"/>
                  </a:cubicBezTo>
                  <a:cubicBezTo>
                    <a:pt x="9939" y="6037"/>
                    <a:pt x="8994" y="5949"/>
                    <a:pt x="8844" y="5704"/>
                  </a:cubicBezTo>
                  <a:cubicBezTo>
                    <a:pt x="8749" y="5550"/>
                    <a:pt x="8826" y="5452"/>
                    <a:pt x="8882" y="5379"/>
                  </a:cubicBezTo>
                  <a:cubicBezTo>
                    <a:pt x="8924" y="5330"/>
                    <a:pt x="8956" y="5284"/>
                    <a:pt x="8956" y="5221"/>
                  </a:cubicBezTo>
                  <a:cubicBezTo>
                    <a:pt x="8959" y="5134"/>
                    <a:pt x="8973" y="5046"/>
                    <a:pt x="8998" y="4959"/>
                  </a:cubicBezTo>
                  <a:cubicBezTo>
                    <a:pt x="9015" y="4875"/>
                    <a:pt x="9043" y="4749"/>
                    <a:pt x="9015" y="4724"/>
                  </a:cubicBezTo>
                  <a:cubicBezTo>
                    <a:pt x="8917" y="4647"/>
                    <a:pt x="8725" y="4454"/>
                    <a:pt x="8700" y="4269"/>
                  </a:cubicBezTo>
                  <a:cubicBezTo>
                    <a:pt x="8683" y="4143"/>
                    <a:pt x="8441" y="3954"/>
                    <a:pt x="8291" y="3943"/>
                  </a:cubicBezTo>
                  <a:cubicBezTo>
                    <a:pt x="8087" y="3929"/>
                    <a:pt x="7930" y="3807"/>
                    <a:pt x="7758" y="3660"/>
                  </a:cubicBezTo>
                  <a:cubicBezTo>
                    <a:pt x="7723" y="3628"/>
                    <a:pt x="7681" y="3600"/>
                    <a:pt x="7643" y="3576"/>
                  </a:cubicBezTo>
                  <a:cubicBezTo>
                    <a:pt x="7517" y="3495"/>
                    <a:pt x="7401" y="3422"/>
                    <a:pt x="7345" y="3117"/>
                  </a:cubicBezTo>
                  <a:cubicBezTo>
                    <a:pt x="7345" y="3110"/>
                    <a:pt x="7342" y="3107"/>
                    <a:pt x="7342" y="3100"/>
                  </a:cubicBezTo>
                  <a:lnTo>
                    <a:pt x="7286" y="3089"/>
                  </a:lnTo>
                  <a:cubicBezTo>
                    <a:pt x="7258" y="3082"/>
                    <a:pt x="7230" y="3079"/>
                    <a:pt x="7205" y="3075"/>
                  </a:cubicBezTo>
                  <a:lnTo>
                    <a:pt x="7184" y="3075"/>
                  </a:lnTo>
                  <a:cubicBezTo>
                    <a:pt x="7174" y="3075"/>
                    <a:pt x="7167" y="3072"/>
                    <a:pt x="7156" y="3072"/>
                  </a:cubicBezTo>
                  <a:cubicBezTo>
                    <a:pt x="7149" y="3068"/>
                    <a:pt x="7139" y="3068"/>
                    <a:pt x="7132" y="3065"/>
                  </a:cubicBezTo>
                  <a:lnTo>
                    <a:pt x="7128" y="3065"/>
                  </a:lnTo>
                  <a:cubicBezTo>
                    <a:pt x="7121" y="3061"/>
                    <a:pt x="7114" y="3058"/>
                    <a:pt x="7107" y="3054"/>
                  </a:cubicBezTo>
                  <a:lnTo>
                    <a:pt x="7100" y="3054"/>
                  </a:lnTo>
                  <a:lnTo>
                    <a:pt x="7083" y="3044"/>
                  </a:lnTo>
                  <a:lnTo>
                    <a:pt x="7072" y="3040"/>
                  </a:lnTo>
                  <a:lnTo>
                    <a:pt x="7065" y="3033"/>
                  </a:lnTo>
                  <a:cubicBezTo>
                    <a:pt x="7065" y="3037"/>
                    <a:pt x="7062" y="3040"/>
                    <a:pt x="7058" y="3044"/>
                  </a:cubicBezTo>
                  <a:cubicBezTo>
                    <a:pt x="7051" y="3058"/>
                    <a:pt x="7041" y="3072"/>
                    <a:pt x="7034" y="3082"/>
                  </a:cubicBezTo>
                  <a:lnTo>
                    <a:pt x="7023" y="3100"/>
                  </a:lnTo>
                  <a:cubicBezTo>
                    <a:pt x="7013" y="3114"/>
                    <a:pt x="6999" y="3131"/>
                    <a:pt x="6988" y="3145"/>
                  </a:cubicBezTo>
                  <a:cubicBezTo>
                    <a:pt x="6946" y="3198"/>
                    <a:pt x="6915" y="3236"/>
                    <a:pt x="6915" y="3278"/>
                  </a:cubicBezTo>
                  <a:cubicBezTo>
                    <a:pt x="6915" y="3446"/>
                    <a:pt x="6838" y="3646"/>
                    <a:pt x="6617" y="3646"/>
                  </a:cubicBezTo>
                  <a:cubicBezTo>
                    <a:pt x="6488" y="3646"/>
                    <a:pt x="6334" y="3737"/>
                    <a:pt x="6323" y="3996"/>
                  </a:cubicBezTo>
                  <a:cubicBezTo>
                    <a:pt x="6316" y="4080"/>
                    <a:pt x="6337" y="4167"/>
                    <a:pt x="6383" y="4244"/>
                  </a:cubicBezTo>
                  <a:cubicBezTo>
                    <a:pt x="6414" y="4304"/>
                    <a:pt x="6449" y="4370"/>
                    <a:pt x="6393" y="4461"/>
                  </a:cubicBezTo>
                  <a:cubicBezTo>
                    <a:pt x="6316" y="4580"/>
                    <a:pt x="6067" y="4696"/>
                    <a:pt x="5896" y="4696"/>
                  </a:cubicBezTo>
                  <a:cubicBezTo>
                    <a:pt x="5861" y="4696"/>
                    <a:pt x="5822" y="4689"/>
                    <a:pt x="5791" y="4675"/>
                  </a:cubicBezTo>
                  <a:cubicBezTo>
                    <a:pt x="5735" y="4647"/>
                    <a:pt x="5637" y="4647"/>
                    <a:pt x="5528" y="4647"/>
                  </a:cubicBezTo>
                  <a:lnTo>
                    <a:pt x="5472" y="4647"/>
                  </a:lnTo>
                  <a:cubicBezTo>
                    <a:pt x="5420" y="4647"/>
                    <a:pt x="5364" y="4643"/>
                    <a:pt x="5308" y="4636"/>
                  </a:cubicBezTo>
                  <a:cubicBezTo>
                    <a:pt x="5245" y="4626"/>
                    <a:pt x="5185" y="4605"/>
                    <a:pt x="5133" y="4573"/>
                  </a:cubicBezTo>
                  <a:lnTo>
                    <a:pt x="5112" y="4563"/>
                  </a:lnTo>
                  <a:cubicBezTo>
                    <a:pt x="5087" y="4545"/>
                    <a:pt x="5059" y="4531"/>
                    <a:pt x="5031" y="4524"/>
                  </a:cubicBezTo>
                  <a:cubicBezTo>
                    <a:pt x="5021" y="4542"/>
                    <a:pt x="5014" y="4563"/>
                    <a:pt x="5010" y="4587"/>
                  </a:cubicBezTo>
                  <a:cubicBezTo>
                    <a:pt x="4965" y="4735"/>
                    <a:pt x="4912" y="4878"/>
                    <a:pt x="4853" y="5018"/>
                  </a:cubicBezTo>
                  <a:cubicBezTo>
                    <a:pt x="4776" y="5204"/>
                    <a:pt x="4653" y="5508"/>
                    <a:pt x="4660" y="5582"/>
                  </a:cubicBezTo>
                  <a:cubicBezTo>
                    <a:pt x="4737" y="5652"/>
                    <a:pt x="4793" y="5771"/>
                    <a:pt x="4758" y="5858"/>
                  </a:cubicBezTo>
                  <a:cubicBezTo>
                    <a:pt x="4736" y="5913"/>
                    <a:pt x="4684" y="5947"/>
                    <a:pt x="4627" y="5947"/>
                  </a:cubicBezTo>
                  <a:cubicBezTo>
                    <a:pt x="4622" y="5947"/>
                    <a:pt x="4616" y="5946"/>
                    <a:pt x="4611" y="5946"/>
                  </a:cubicBezTo>
                  <a:cubicBezTo>
                    <a:pt x="4394" y="5946"/>
                    <a:pt x="4251" y="5907"/>
                    <a:pt x="4174" y="5827"/>
                  </a:cubicBezTo>
                  <a:cubicBezTo>
                    <a:pt x="4171" y="5825"/>
                    <a:pt x="4167" y="5825"/>
                    <a:pt x="4162" y="5825"/>
                  </a:cubicBezTo>
                  <a:cubicBezTo>
                    <a:pt x="4129" y="5825"/>
                    <a:pt x="4048" y="5854"/>
                    <a:pt x="3998" y="5876"/>
                  </a:cubicBezTo>
                  <a:cubicBezTo>
                    <a:pt x="3908" y="5909"/>
                    <a:pt x="3805" y="5946"/>
                    <a:pt x="3713" y="5946"/>
                  </a:cubicBezTo>
                  <a:cubicBezTo>
                    <a:pt x="3709" y="5946"/>
                    <a:pt x="3705" y="5946"/>
                    <a:pt x="3701" y="5946"/>
                  </a:cubicBezTo>
                  <a:cubicBezTo>
                    <a:pt x="3610" y="5963"/>
                    <a:pt x="3522" y="6002"/>
                    <a:pt x="3449" y="6054"/>
                  </a:cubicBezTo>
                  <a:cubicBezTo>
                    <a:pt x="3561" y="6142"/>
                    <a:pt x="3578" y="6359"/>
                    <a:pt x="3578" y="6565"/>
                  </a:cubicBezTo>
                  <a:cubicBezTo>
                    <a:pt x="3578" y="6604"/>
                    <a:pt x="3631" y="6705"/>
                    <a:pt x="3673" y="6790"/>
                  </a:cubicBezTo>
                  <a:cubicBezTo>
                    <a:pt x="3753" y="6951"/>
                    <a:pt x="3830" y="7101"/>
                    <a:pt x="3792" y="7199"/>
                  </a:cubicBezTo>
                  <a:cubicBezTo>
                    <a:pt x="3757" y="7266"/>
                    <a:pt x="3708" y="7325"/>
                    <a:pt x="3652" y="7374"/>
                  </a:cubicBezTo>
                  <a:cubicBezTo>
                    <a:pt x="3582" y="7441"/>
                    <a:pt x="3505" y="7518"/>
                    <a:pt x="3505" y="7584"/>
                  </a:cubicBezTo>
                  <a:cubicBezTo>
                    <a:pt x="3505" y="7630"/>
                    <a:pt x="3508" y="7668"/>
                    <a:pt x="3512" y="7710"/>
                  </a:cubicBezTo>
                  <a:cubicBezTo>
                    <a:pt x="3512" y="7731"/>
                    <a:pt x="3515" y="7752"/>
                    <a:pt x="3519" y="7773"/>
                  </a:cubicBezTo>
                  <a:lnTo>
                    <a:pt x="3519" y="7805"/>
                  </a:lnTo>
                  <a:lnTo>
                    <a:pt x="3519" y="7945"/>
                  </a:lnTo>
                  <a:lnTo>
                    <a:pt x="3491" y="7924"/>
                  </a:lnTo>
                  <a:cubicBezTo>
                    <a:pt x="3477" y="7952"/>
                    <a:pt x="3456" y="7973"/>
                    <a:pt x="3424" y="7983"/>
                  </a:cubicBezTo>
                  <a:lnTo>
                    <a:pt x="3400" y="7997"/>
                  </a:lnTo>
                  <a:cubicBezTo>
                    <a:pt x="3298" y="8039"/>
                    <a:pt x="3067" y="8134"/>
                    <a:pt x="2952" y="8218"/>
                  </a:cubicBezTo>
                  <a:cubicBezTo>
                    <a:pt x="2892" y="8260"/>
                    <a:pt x="2826" y="8291"/>
                    <a:pt x="2756" y="8312"/>
                  </a:cubicBezTo>
                  <a:cubicBezTo>
                    <a:pt x="2661" y="8344"/>
                    <a:pt x="2581" y="8372"/>
                    <a:pt x="2549" y="8438"/>
                  </a:cubicBezTo>
                  <a:cubicBezTo>
                    <a:pt x="2487" y="8563"/>
                    <a:pt x="2376" y="8721"/>
                    <a:pt x="2118" y="8721"/>
                  </a:cubicBezTo>
                  <a:cubicBezTo>
                    <a:pt x="2100" y="8721"/>
                    <a:pt x="2082" y="8720"/>
                    <a:pt x="2063" y="8718"/>
                  </a:cubicBezTo>
                  <a:lnTo>
                    <a:pt x="2045" y="8718"/>
                  </a:lnTo>
                  <a:lnTo>
                    <a:pt x="1989" y="8711"/>
                  </a:lnTo>
                  <a:cubicBezTo>
                    <a:pt x="1936" y="8705"/>
                    <a:pt x="1892" y="8700"/>
                    <a:pt x="1853" y="8700"/>
                  </a:cubicBezTo>
                  <a:cubicBezTo>
                    <a:pt x="1763" y="8700"/>
                    <a:pt x="1698" y="8729"/>
                    <a:pt x="1607" y="8841"/>
                  </a:cubicBezTo>
                  <a:cubicBezTo>
                    <a:pt x="1499" y="8971"/>
                    <a:pt x="1436" y="8999"/>
                    <a:pt x="1362" y="9020"/>
                  </a:cubicBezTo>
                  <a:cubicBezTo>
                    <a:pt x="1327" y="9030"/>
                    <a:pt x="1296" y="9044"/>
                    <a:pt x="1271" y="9069"/>
                  </a:cubicBezTo>
                  <a:cubicBezTo>
                    <a:pt x="1231" y="9100"/>
                    <a:pt x="1191" y="9112"/>
                    <a:pt x="1154" y="9112"/>
                  </a:cubicBezTo>
                  <a:cubicBezTo>
                    <a:pt x="1073" y="9112"/>
                    <a:pt x="1001" y="9058"/>
                    <a:pt x="946" y="9020"/>
                  </a:cubicBezTo>
                  <a:cubicBezTo>
                    <a:pt x="921" y="8999"/>
                    <a:pt x="893" y="8981"/>
                    <a:pt x="865" y="8967"/>
                  </a:cubicBezTo>
                  <a:cubicBezTo>
                    <a:pt x="863" y="8966"/>
                    <a:pt x="860" y="8966"/>
                    <a:pt x="857" y="8966"/>
                  </a:cubicBezTo>
                  <a:cubicBezTo>
                    <a:pt x="829" y="8966"/>
                    <a:pt x="774" y="8994"/>
                    <a:pt x="736" y="9016"/>
                  </a:cubicBezTo>
                  <a:cubicBezTo>
                    <a:pt x="683" y="9051"/>
                    <a:pt x="624" y="9076"/>
                    <a:pt x="561" y="9083"/>
                  </a:cubicBezTo>
                  <a:cubicBezTo>
                    <a:pt x="536" y="9083"/>
                    <a:pt x="491" y="9121"/>
                    <a:pt x="456" y="9153"/>
                  </a:cubicBezTo>
                  <a:cubicBezTo>
                    <a:pt x="407" y="9205"/>
                    <a:pt x="344" y="9247"/>
                    <a:pt x="277" y="9272"/>
                  </a:cubicBezTo>
                  <a:cubicBezTo>
                    <a:pt x="242" y="9282"/>
                    <a:pt x="207" y="9289"/>
                    <a:pt x="172" y="9293"/>
                  </a:cubicBezTo>
                  <a:cubicBezTo>
                    <a:pt x="81" y="9307"/>
                    <a:pt x="81" y="9310"/>
                    <a:pt x="81" y="9356"/>
                  </a:cubicBezTo>
                  <a:lnTo>
                    <a:pt x="81" y="9384"/>
                  </a:lnTo>
                  <a:lnTo>
                    <a:pt x="81" y="9394"/>
                  </a:lnTo>
                  <a:lnTo>
                    <a:pt x="81" y="9415"/>
                  </a:lnTo>
                  <a:lnTo>
                    <a:pt x="81" y="9429"/>
                  </a:lnTo>
                  <a:cubicBezTo>
                    <a:pt x="81" y="9433"/>
                    <a:pt x="81" y="9443"/>
                    <a:pt x="78" y="9454"/>
                  </a:cubicBezTo>
                  <a:cubicBezTo>
                    <a:pt x="74" y="9461"/>
                    <a:pt x="78" y="9464"/>
                    <a:pt x="74" y="9468"/>
                  </a:cubicBezTo>
                  <a:cubicBezTo>
                    <a:pt x="71" y="9475"/>
                    <a:pt x="71" y="9485"/>
                    <a:pt x="67" y="9492"/>
                  </a:cubicBezTo>
                  <a:cubicBezTo>
                    <a:pt x="67" y="9499"/>
                    <a:pt x="64" y="9503"/>
                    <a:pt x="64" y="9510"/>
                  </a:cubicBezTo>
                  <a:cubicBezTo>
                    <a:pt x="60" y="9517"/>
                    <a:pt x="57" y="9524"/>
                    <a:pt x="57" y="9534"/>
                  </a:cubicBezTo>
                  <a:cubicBezTo>
                    <a:pt x="53" y="9541"/>
                    <a:pt x="50" y="9545"/>
                    <a:pt x="50" y="9552"/>
                  </a:cubicBezTo>
                  <a:cubicBezTo>
                    <a:pt x="46" y="9559"/>
                    <a:pt x="43" y="9566"/>
                    <a:pt x="39" y="9576"/>
                  </a:cubicBezTo>
                  <a:lnTo>
                    <a:pt x="29" y="9594"/>
                  </a:lnTo>
                  <a:cubicBezTo>
                    <a:pt x="25" y="9601"/>
                    <a:pt x="22" y="9608"/>
                    <a:pt x="15" y="9618"/>
                  </a:cubicBezTo>
                  <a:cubicBezTo>
                    <a:pt x="11" y="9625"/>
                    <a:pt x="8" y="9629"/>
                    <a:pt x="4" y="9636"/>
                  </a:cubicBezTo>
                  <a:lnTo>
                    <a:pt x="1" y="9643"/>
                  </a:lnTo>
                  <a:lnTo>
                    <a:pt x="74" y="10052"/>
                  </a:lnTo>
                  <a:cubicBezTo>
                    <a:pt x="106" y="10063"/>
                    <a:pt x="141" y="10077"/>
                    <a:pt x="183" y="10094"/>
                  </a:cubicBezTo>
                  <a:cubicBezTo>
                    <a:pt x="211" y="10105"/>
                    <a:pt x="239" y="10115"/>
                    <a:pt x="267" y="10129"/>
                  </a:cubicBezTo>
                  <a:cubicBezTo>
                    <a:pt x="428" y="10203"/>
                    <a:pt x="606" y="10315"/>
                    <a:pt x="620" y="10441"/>
                  </a:cubicBezTo>
                  <a:lnTo>
                    <a:pt x="624" y="10469"/>
                  </a:lnTo>
                  <a:lnTo>
                    <a:pt x="624" y="10472"/>
                  </a:lnTo>
                  <a:lnTo>
                    <a:pt x="631" y="10511"/>
                  </a:lnTo>
                  <a:cubicBezTo>
                    <a:pt x="659" y="10710"/>
                    <a:pt x="718" y="11092"/>
                    <a:pt x="725" y="11159"/>
                  </a:cubicBezTo>
                  <a:lnTo>
                    <a:pt x="732" y="11162"/>
                  </a:lnTo>
                  <a:lnTo>
                    <a:pt x="809" y="11222"/>
                  </a:lnTo>
                  <a:lnTo>
                    <a:pt x="827" y="11232"/>
                  </a:lnTo>
                  <a:lnTo>
                    <a:pt x="900" y="11288"/>
                  </a:lnTo>
                  <a:cubicBezTo>
                    <a:pt x="1121" y="11446"/>
                    <a:pt x="1201" y="11505"/>
                    <a:pt x="1208" y="11572"/>
                  </a:cubicBezTo>
                  <a:cubicBezTo>
                    <a:pt x="1208" y="11575"/>
                    <a:pt x="1208" y="11582"/>
                    <a:pt x="1208" y="11586"/>
                  </a:cubicBezTo>
                  <a:cubicBezTo>
                    <a:pt x="1212" y="11740"/>
                    <a:pt x="1306" y="11880"/>
                    <a:pt x="1450" y="11939"/>
                  </a:cubicBezTo>
                  <a:lnTo>
                    <a:pt x="1502" y="11964"/>
                  </a:lnTo>
                  <a:lnTo>
                    <a:pt x="1516" y="11971"/>
                  </a:lnTo>
                  <a:lnTo>
                    <a:pt x="1562" y="11992"/>
                  </a:lnTo>
                  <a:lnTo>
                    <a:pt x="1579" y="11999"/>
                  </a:lnTo>
                  <a:lnTo>
                    <a:pt x="1618" y="12020"/>
                  </a:lnTo>
                  <a:lnTo>
                    <a:pt x="1635" y="12027"/>
                  </a:lnTo>
                  <a:lnTo>
                    <a:pt x="1684" y="12055"/>
                  </a:lnTo>
                  <a:lnTo>
                    <a:pt x="1688" y="12055"/>
                  </a:lnTo>
                  <a:lnTo>
                    <a:pt x="1740" y="12083"/>
                  </a:lnTo>
                  <a:lnTo>
                    <a:pt x="1754" y="12090"/>
                  </a:lnTo>
                  <a:lnTo>
                    <a:pt x="1786" y="12107"/>
                  </a:lnTo>
                  <a:lnTo>
                    <a:pt x="1803" y="12118"/>
                  </a:lnTo>
                  <a:lnTo>
                    <a:pt x="1817" y="12125"/>
                  </a:lnTo>
                  <a:lnTo>
                    <a:pt x="1821" y="12111"/>
                  </a:lnTo>
                  <a:lnTo>
                    <a:pt x="2101" y="12083"/>
                  </a:lnTo>
                  <a:lnTo>
                    <a:pt x="2119" y="12093"/>
                  </a:lnTo>
                  <a:lnTo>
                    <a:pt x="2126" y="12100"/>
                  </a:lnTo>
                  <a:cubicBezTo>
                    <a:pt x="2150" y="12114"/>
                    <a:pt x="2171" y="12132"/>
                    <a:pt x="2192" y="12149"/>
                  </a:cubicBezTo>
                  <a:cubicBezTo>
                    <a:pt x="2199" y="12142"/>
                    <a:pt x="2203" y="12135"/>
                    <a:pt x="2210" y="12128"/>
                  </a:cubicBezTo>
                  <a:lnTo>
                    <a:pt x="2217" y="12121"/>
                  </a:lnTo>
                  <a:cubicBezTo>
                    <a:pt x="2252" y="12079"/>
                    <a:pt x="2290" y="12048"/>
                    <a:pt x="2332" y="12016"/>
                  </a:cubicBezTo>
                  <a:cubicBezTo>
                    <a:pt x="2455" y="11929"/>
                    <a:pt x="2591" y="11869"/>
                    <a:pt x="2738" y="11841"/>
                  </a:cubicBezTo>
                  <a:cubicBezTo>
                    <a:pt x="2756" y="11838"/>
                    <a:pt x="2770" y="11838"/>
                    <a:pt x="2784" y="11838"/>
                  </a:cubicBezTo>
                  <a:lnTo>
                    <a:pt x="2787" y="11838"/>
                  </a:lnTo>
                  <a:cubicBezTo>
                    <a:pt x="2794" y="11836"/>
                    <a:pt x="2801" y="11835"/>
                    <a:pt x="2808" y="11835"/>
                  </a:cubicBezTo>
                  <a:cubicBezTo>
                    <a:pt x="2815" y="11835"/>
                    <a:pt x="2822" y="11836"/>
                    <a:pt x="2829" y="11838"/>
                  </a:cubicBezTo>
                  <a:cubicBezTo>
                    <a:pt x="2983" y="11845"/>
                    <a:pt x="3239" y="12013"/>
                    <a:pt x="3393" y="12170"/>
                  </a:cubicBezTo>
                  <a:cubicBezTo>
                    <a:pt x="3424" y="12202"/>
                    <a:pt x="3452" y="12237"/>
                    <a:pt x="3480" y="12275"/>
                  </a:cubicBezTo>
                  <a:cubicBezTo>
                    <a:pt x="3484" y="12282"/>
                    <a:pt x="3491" y="12293"/>
                    <a:pt x="3494" y="12300"/>
                  </a:cubicBezTo>
                  <a:cubicBezTo>
                    <a:pt x="3522" y="12342"/>
                    <a:pt x="3533" y="12394"/>
                    <a:pt x="3519" y="12447"/>
                  </a:cubicBezTo>
                  <a:cubicBezTo>
                    <a:pt x="3470" y="12583"/>
                    <a:pt x="3116" y="13098"/>
                    <a:pt x="2927" y="13144"/>
                  </a:cubicBezTo>
                  <a:lnTo>
                    <a:pt x="2892" y="13151"/>
                  </a:lnTo>
                  <a:lnTo>
                    <a:pt x="2885" y="13151"/>
                  </a:lnTo>
                  <a:lnTo>
                    <a:pt x="2847" y="13154"/>
                  </a:lnTo>
                  <a:lnTo>
                    <a:pt x="2840" y="13154"/>
                  </a:lnTo>
                  <a:lnTo>
                    <a:pt x="2794" y="13158"/>
                  </a:lnTo>
                  <a:lnTo>
                    <a:pt x="2745" y="13161"/>
                  </a:lnTo>
                  <a:lnTo>
                    <a:pt x="2738" y="13161"/>
                  </a:lnTo>
                  <a:lnTo>
                    <a:pt x="2735" y="13182"/>
                  </a:lnTo>
                  <a:cubicBezTo>
                    <a:pt x="2724" y="13221"/>
                    <a:pt x="2717" y="13256"/>
                    <a:pt x="2714" y="13294"/>
                  </a:cubicBezTo>
                  <a:cubicBezTo>
                    <a:pt x="2714" y="13336"/>
                    <a:pt x="2784" y="13424"/>
                    <a:pt x="2843" y="13501"/>
                  </a:cubicBezTo>
                  <a:cubicBezTo>
                    <a:pt x="2903" y="13574"/>
                    <a:pt x="2959" y="13655"/>
                    <a:pt x="3008" y="13739"/>
                  </a:cubicBezTo>
                  <a:cubicBezTo>
                    <a:pt x="3067" y="13830"/>
                    <a:pt x="3046" y="13949"/>
                    <a:pt x="2959" y="14019"/>
                  </a:cubicBezTo>
                  <a:cubicBezTo>
                    <a:pt x="2906" y="14060"/>
                    <a:pt x="2841" y="14081"/>
                    <a:pt x="2775" y="14081"/>
                  </a:cubicBezTo>
                  <a:cubicBezTo>
                    <a:pt x="2708" y="14081"/>
                    <a:pt x="2640" y="14058"/>
                    <a:pt x="2584" y="14012"/>
                  </a:cubicBezTo>
                  <a:cubicBezTo>
                    <a:pt x="2563" y="13994"/>
                    <a:pt x="2553" y="13994"/>
                    <a:pt x="2549" y="13994"/>
                  </a:cubicBezTo>
                  <a:cubicBezTo>
                    <a:pt x="2549" y="13994"/>
                    <a:pt x="2539" y="14005"/>
                    <a:pt x="2532" y="14029"/>
                  </a:cubicBezTo>
                  <a:cubicBezTo>
                    <a:pt x="2518" y="14075"/>
                    <a:pt x="2525" y="14120"/>
                    <a:pt x="2549" y="14162"/>
                  </a:cubicBezTo>
                  <a:cubicBezTo>
                    <a:pt x="2595" y="14218"/>
                    <a:pt x="2609" y="14302"/>
                    <a:pt x="2626" y="14383"/>
                  </a:cubicBezTo>
                  <a:cubicBezTo>
                    <a:pt x="2640" y="14467"/>
                    <a:pt x="2658" y="14565"/>
                    <a:pt x="2703" y="14568"/>
                  </a:cubicBezTo>
                  <a:cubicBezTo>
                    <a:pt x="2794" y="14582"/>
                    <a:pt x="2871" y="14663"/>
                    <a:pt x="2945" y="14743"/>
                  </a:cubicBezTo>
                  <a:cubicBezTo>
                    <a:pt x="3018" y="14824"/>
                    <a:pt x="3081" y="14894"/>
                    <a:pt x="3144" y="14894"/>
                  </a:cubicBezTo>
                  <a:cubicBezTo>
                    <a:pt x="3218" y="14897"/>
                    <a:pt x="3284" y="14925"/>
                    <a:pt x="3337" y="14971"/>
                  </a:cubicBezTo>
                  <a:lnTo>
                    <a:pt x="3344" y="14978"/>
                  </a:lnTo>
                  <a:cubicBezTo>
                    <a:pt x="3358" y="14992"/>
                    <a:pt x="3375" y="15002"/>
                    <a:pt x="3386" y="15020"/>
                  </a:cubicBezTo>
                  <a:lnTo>
                    <a:pt x="3396" y="15030"/>
                  </a:lnTo>
                  <a:lnTo>
                    <a:pt x="3410" y="15044"/>
                  </a:lnTo>
                  <a:cubicBezTo>
                    <a:pt x="3452" y="15090"/>
                    <a:pt x="3487" y="15139"/>
                    <a:pt x="3519" y="15195"/>
                  </a:cubicBezTo>
                  <a:lnTo>
                    <a:pt x="3550" y="15216"/>
                  </a:lnTo>
                  <a:lnTo>
                    <a:pt x="3554" y="15216"/>
                  </a:lnTo>
                  <a:lnTo>
                    <a:pt x="3585" y="15241"/>
                  </a:lnTo>
                  <a:lnTo>
                    <a:pt x="3592" y="15244"/>
                  </a:lnTo>
                  <a:lnTo>
                    <a:pt x="3624" y="15272"/>
                  </a:lnTo>
                  <a:lnTo>
                    <a:pt x="3631" y="15276"/>
                  </a:lnTo>
                  <a:cubicBezTo>
                    <a:pt x="3641" y="15283"/>
                    <a:pt x="3652" y="15293"/>
                    <a:pt x="3662" y="15304"/>
                  </a:cubicBezTo>
                  <a:cubicBezTo>
                    <a:pt x="3673" y="15311"/>
                    <a:pt x="3683" y="15321"/>
                    <a:pt x="3694" y="15332"/>
                  </a:cubicBezTo>
                  <a:lnTo>
                    <a:pt x="3697" y="15335"/>
                  </a:lnTo>
                  <a:cubicBezTo>
                    <a:pt x="3708" y="15346"/>
                    <a:pt x="3715" y="15356"/>
                    <a:pt x="3722" y="15367"/>
                  </a:cubicBezTo>
                  <a:lnTo>
                    <a:pt x="3725" y="15370"/>
                  </a:lnTo>
                  <a:cubicBezTo>
                    <a:pt x="3736" y="15381"/>
                    <a:pt x="3743" y="15391"/>
                    <a:pt x="3746" y="15402"/>
                  </a:cubicBezTo>
                  <a:lnTo>
                    <a:pt x="3750" y="15405"/>
                  </a:lnTo>
                  <a:cubicBezTo>
                    <a:pt x="3757" y="15416"/>
                    <a:pt x="3760" y="15423"/>
                    <a:pt x="3764" y="15433"/>
                  </a:cubicBezTo>
                  <a:lnTo>
                    <a:pt x="3799" y="15430"/>
                  </a:lnTo>
                  <a:lnTo>
                    <a:pt x="3834" y="15426"/>
                  </a:lnTo>
                  <a:lnTo>
                    <a:pt x="3837" y="15426"/>
                  </a:lnTo>
                  <a:lnTo>
                    <a:pt x="3865" y="15423"/>
                  </a:lnTo>
                  <a:lnTo>
                    <a:pt x="3897" y="15419"/>
                  </a:lnTo>
                  <a:lnTo>
                    <a:pt x="3918" y="15412"/>
                  </a:lnTo>
                  <a:lnTo>
                    <a:pt x="3921" y="15412"/>
                  </a:lnTo>
                  <a:lnTo>
                    <a:pt x="3939" y="15405"/>
                  </a:lnTo>
                  <a:lnTo>
                    <a:pt x="3942" y="15405"/>
                  </a:lnTo>
                  <a:cubicBezTo>
                    <a:pt x="3949" y="15405"/>
                    <a:pt x="3953" y="15402"/>
                    <a:pt x="3956" y="15398"/>
                  </a:cubicBezTo>
                  <a:cubicBezTo>
                    <a:pt x="3960" y="15398"/>
                    <a:pt x="3960" y="15395"/>
                    <a:pt x="3963" y="15391"/>
                  </a:cubicBezTo>
                  <a:cubicBezTo>
                    <a:pt x="3981" y="15342"/>
                    <a:pt x="4023" y="15304"/>
                    <a:pt x="4072" y="15297"/>
                  </a:cubicBezTo>
                  <a:cubicBezTo>
                    <a:pt x="4095" y="15290"/>
                    <a:pt x="4120" y="15287"/>
                    <a:pt x="4148" y="15287"/>
                  </a:cubicBezTo>
                  <a:cubicBezTo>
                    <a:pt x="4258" y="15287"/>
                    <a:pt x="4401" y="15338"/>
                    <a:pt x="4510" y="15447"/>
                  </a:cubicBezTo>
                  <a:cubicBezTo>
                    <a:pt x="4604" y="15538"/>
                    <a:pt x="4867" y="15720"/>
                    <a:pt x="5119" y="15895"/>
                  </a:cubicBezTo>
                  <a:cubicBezTo>
                    <a:pt x="5318" y="16032"/>
                    <a:pt x="5511" y="16165"/>
                    <a:pt x="5623" y="16256"/>
                  </a:cubicBezTo>
                  <a:cubicBezTo>
                    <a:pt x="5867" y="16456"/>
                    <a:pt x="6427" y="16666"/>
                    <a:pt x="6622" y="16666"/>
                  </a:cubicBezTo>
                  <a:cubicBezTo>
                    <a:pt x="6625" y="16666"/>
                    <a:pt x="6628" y="16665"/>
                    <a:pt x="6631" y="16665"/>
                  </a:cubicBezTo>
                  <a:cubicBezTo>
                    <a:pt x="6736" y="16665"/>
                    <a:pt x="6841" y="16686"/>
                    <a:pt x="6943" y="16725"/>
                  </a:cubicBezTo>
                  <a:cubicBezTo>
                    <a:pt x="7072" y="16774"/>
                    <a:pt x="7209" y="16798"/>
                    <a:pt x="7349" y="16798"/>
                  </a:cubicBezTo>
                  <a:lnTo>
                    <a:pt x="7450" y="16798"/>
                  </a:lnTo>
                  <a:cubicBezTo>
                    <a:pt x="7471" y="16784"/>
                    <a:pt x="7492" y="16774"/>
                    <a:pt x="7513" y="16763"/>
                  </a:cubicBezTo>
                  <a:cubicBezTo>
                    <a:pt x="7541" y="16749"/>
                    <a:pt x="7569" y="16728"/>
                    <a:pt x="7590" y="16704"/>
                  </a:cubicBezTo>
                  <a:cubicBezTo>
                    <a:pt x="7594" y="16700"/>
                    <a:pt x="7597" y="16697"/>
                    <a:pt x="7601" y="16693"/>
                  </a:cubicBezTo>
                  <a:cubicBezTo>
                    <a:pt x="7611" y="16676"/>
                    <a:pt x="7622" y="16662"/>
                    <a:pt x="7639" y="16651"/>
                  </a:cubicBezTo>
                  <a:cubicBezTo>
                    <a:pt x="7657" y="16637"/>
                    <a:pt x="7678" y="16627"/>
                    <a:pt x="7702" y="16627"/>
                  </a:cubicBezTo>
                  <a:cubicBezTo>
                    <a:pt x="7707" y="16626"/>
                    <a:pt x="7711" y="16626"/>
                    <a:pt x="7716" y="16626"/>
                  </a:cubicBezTo>
                  <a:cubicBezTo>
                    <a:pt x="7730" y="16626"/>
                    <a:pt x="7745" y="16630"/>
                    <a:pt x="7758" y="16637"/>
                  </a:cubicBezTo>
                  <a:cubicBezTo>
                    <a:pt x="7860" y="16679"/>
                    <a:pt x="7930" y="16879"/>
                    <a:pt x="7891" y="17026"/>
                  </a:cubicBezTo>
                  <a:cubicBezTo>
                    <a:pt x="7888" y="17033"/>
                    <a:pt x="7888" y="17043"/>
                    <a:pt x="7884" y="17054"/>
                  </a:cubicBezTo>
                  <a:lnTo>
                    <a:pt x="7884" y="17061"/>
                  </a:lnTo>
                  <a:lnTo>
                    <a:pt x="7884" y="17071"/>
                  </a:lnTo>
                  <a:lnTo>
                    <a:pt x="7888" y="17064"/>
                  </a:lnTo>
                  <a:cubicBezTo>
                    <a:pt x="7898" y="17043"/>
                    <a:pt x="7912" y="17019"/>
                    <a:pt x="7919" y="16994"/>
                  </a:cubicBezTo>
                  <a:cubicBezTo>
                    <a:pt x="7972" y="16847"/>
                    <a:pt x="8091" y="16728"/>
                    <a:pt x="8238" y="16676"/>
                  </a:cubicBezTo>
                  <a:cubicBezTo>
                    <a:pt x="8270" y="16665"/>
                    <a:pt x="8301" y="16648"/>
                    <a:pt x="8329" y="16627"/>
                  </a:cubicBezTo>
                  <a:cubicBezTo>
                    <a:pt x="8340" y="16620"/>
                    <a:pt x="8347" y="16613"/>
                    <a:pt x="8357" y="16606"/>
                  </a:cubicBezTo>
                  <a:cubicBezTo>
                    <a:pt x="8375" y="16595"/>
                    <a:pt x="8396" y="16588"/>
                    <a:pt x="8413" y="16581"/>
                  </a:cubicBezTo>
                  <a:cubicBezTo>
                    <a:pt x="8434" y="16574"/>
                    <a:pt x="8452" y="16571"/>
                    <a:pt x="8473" y="16567"/>
                  </a:cubicBezTo>
                  <a:lnTo>
                    <a:pt x="8501" y="16567"/>
                  </a:lnTo>
                  <a:cubicBezTo>
                    <a:pt x="8602" y="16567"/>
                    <a:pt x="8714" y="16623"/>
                    <a:pt x="8851" y="16693"/>
                  </a:cubicBezTo>
                  <a:cubicBezTo>
                    <a:pt x="8865" y="16704"/>
                    <a:pt x="8879" y="16707"/>
                    <a:pt x="8896" y="16714"/>
                  </a:cubicBezTo>
                  <a:cubicBezTo>
                    <a:pt x="8917" y="16718"/>
                    <a:pt x="8938" y="16721"/>
                    <a:pt x="8959" y="16721"/>
                  </a:cubicBezTo>
                  <a:cubicBezTo>
                    <a:pt x="8984" y="16718"/>
                    <a:pt x="9005" y="16714"/>
                    <a:pt x="9029" y="16711"/>
                  </a:cubicBezTo>
                  <a:lnTo>
                    <a:pt x="9064" y="16707"/>
                  </a:lnTo>
                  <a:lnTo>
                    <a:pt x="9201" y="16707"/>
                  </a:lnTo>
                  <a:lnTo>
                    <a:pt x="9215" y="16711"/>
                  </a:lnTo>
                  <a:lnTo>
                    <a:pt x="9229" y="16714"/>
                  </a:lnTo>
                  <a:lnTo>
                    <a:pt x="9243" y="16718"/>
                  </a:lnTo>
                  <a:lnTo>
                    <a:pt x="9257" y="16725"/>
                  </a:lnTo>
                  <a:lnTo>
                    <a:pt x="9271" y="16728"/>
                  </a:lnTo>
                  <a:lnTo>
                    <a:pt x="9285" y="16735"/>
                  </a:lnTo>
                  <a:lnTo>
                    <a:pt x="9302" y="16742"/>
                  </a:lnTo>
                  <a:lnTo>
                    <a:pt x="9316" y="16749"/>
                  </a:lnTo>
                  <a:lnTo>
                    <a:pt x="9334" y="16760"/>
                  </a:lnTo>
                  <a:lnTo>
                    <a:pt x="9351" y="16767"/>
                  </a:lnTo>
                  <a:lnTo>
                    <a:pt x="9369" y="16781"/>
                  </a:lnTo>
                  <a:lnTo>
                    <a:pt x="9383" y="16788"/>
                  </a:lnTo>
                  <a:lnTo>
                    <a:pt x="9404" y="16802"/>
                  </a:lnTo>
                  <a:lnTo>
                    <a:pt x="9421" y="16816"/>
                  </a:lnTo>
                  <a:lnTo>
                    <a:pt x="9442" y="16830"/>
                  </a:lnTo>
                  <a:lnTo>
                    <a:pt x="9460" y="16847"/>
                  </a:lnTo>
                  <a:lnTo>
                    <a:pt x="9463" y="16847"/>
                  </a:lnTo>
                  <a:lnTo>
                    <a:pt x="9502" y="16833"/>
                  </a:lnTo>
                  <a:lnTo>
                    <a:pt x="9509" y="16830"/>
                  </a:lnTo>
                  <a:lnTo>
                    <a:pt x="9533" y="16823"/>
                  </a:lnTo>
                  <a:cubicBezTo>
                    <a:pt x="9565" y="16805"/>
                    <a:pt x="9603" y="16798"/>
                    <a:pt x="9642" y="16795"/>
                  </a:cubicBezTo>
                  <a:cubicBezTo>
                    <a:pt x="9687" y="16760"/>
                    <a:pt x="9726" y="16721"/>
                    <a:pt x="9761" y="16679"/>
                  </a:cubicBezTo>
                  <a:cubicBezTo>
                    <a:pt x="9789" y="16648"/>
                    <a:pt x="9820" y="16609"/>
                    <a:pt x="9855" y="16578"/>
                  </a:cubicBezTo>
                  <a:cubicBezTo>
                    <a:pt x="9883" y="16546"/>
                    <a:pt x="9908" y="16508"/>
                    <a:pt x="9925" y="16469"/>
                  </a:cubicBezTo>
                  <a:cubicBezTo>
                    <a:pt x="9953" y="16414"/>
                    <a:pt x="9989" y="16339"/>
                    <a:pt x="10086" y="16339"/>
                  </a:cubicBezTo>
                  <a:cubicBezTo>
                    <a:pt x="10099" y="16339"/>
                    <a:pt x="10113" y="16340"/>
                    <a:pt x="10128" y="16343"/>
                  </a:cubicBezTo>
                  <a:cubicBezTo>
                    <a:pt x="10132" y="16344"/>
                    <a:pt x="10135" y="16344"/>
                    <a:pt x="10139" y="16344"/>
                  </a:cubicBezTo>
                  <a:cubicBezTo>
                    <a:pt x="10173" y="16344"/>
                    <a:pt x="10205" y="16313"/>
                    <a:pt x="10272" y="16256"/>
                  </a:cubicBezTo>
                  <a:cubicBezTo>
                    <a:pt x="10360" y="16172"/>
                    <a:pt x="10458" y="16102"/>
                    <a:pt x="10563" y="16046"/>
                  </a:cubicBezTo>
                  <a:cubicBezTo>
                    <a:pt x="10646" y="16000"/>
                    <a:pt x="10726" y="15985"/>
                    <a:pt x="10801" y="15985"/>
                  </a:cubicBezTo>
                  <a:cubicBezTo>
                    <a:pt x="10886" y="15985"/>
                    <a:pt x="10963" y="16004"/>
                    <a:pt x="11028" y="16021"/>
                  </a:cubicBezTo>
                  <a:cubicBezTo>
                    <a:pt x="11083" y="16034"/>
                    <a:pt x="11124" y="16045"/>
                    <a:pt x="11155" y="16045"/>
                  </a:cubicBezTo>
                  <a:cubicBezTo>
                    <a:pt x="11173" y="16045"/>
                    <a:pt x="11188" y="16041"/>
                    <a:pt x="11200" y="16032"/>
                  </a:cubicBezTo>
                  <a:cubicBezTo>
                    <a:pt x="11275" y="15968"/>
                    <a:pt x="11374" y="15911"/>
                    <a:pt x="11457" y="15911"/>
                  </a:cubicBezTo>
                  <a:cubicBezTo>
                    <a:pt x="11479" y="15911"/>
                    <a:pt x="11499" y="15915"/>
                    <a:pt x="11518" y="15923"/>
                  </a:cubicBezTo>
                  <a:cubicBezTo>
                    <a:pt x="11564" y="15944"/>
                    <a:pt x="11588" y="15990"/>
                    <a:pt x="11588" y="16039"/>
                  </a:cubicBezTo>
                  <a:cubicBezTo>
                    <a:pt x="11588" y="16074"/>
                    <a:pt x="11634" y="16137"/>
                    <a:pt x="11679" y="16189"/>
                  </a:cubicBezTo>
                  <a:cubicBezTo>
                    <a:pt x="11728" y="16249"/>
                    <a:pt x="11770" y="16312"/>
                    <a:pt x="11798" y="16385"/>
                  </a:cubicBezTo>
                  <a:cubicBezTo>
                    <a:pt x="11802" y="16389"/>
                    <a:pt x="11802" y="16392"/>
                    <a:pt x="11805" y="16396"/>
                  </a:cubicBezTo>
                  <a:cubicBezTo>
                    <a:pt x="11805" y="16399"/>
                    <a:pt x="11809" y="16403"/>
                    <a:pt x="11812" y="16406"/>
                  </a:cubicBezTo>
                  <a:lnTo>
                    <a:pt x="11823" y="16413"/>
                  </a:lnTo>
                  <a:cubicBezTo>
                    <a:pt x="11865" y="16448"/>
                    <a:pt x="11914" y="16473"/>
                    <a:pt x="11966" y="16487"/>
                  </a:cubicBezTo>
                  <a:lnTo>
                    <a:pt x="11970" y="16487"/>
                  </a:lnTo>
                  <a:lnTo>
                    <a:pt x="11984" y="16490"/>
                  </a:lnTo>
                  <a:cubicBezTo>
                    <a:pt x="12001" y="16494"/>
                    <a:pt x="12019" y="16497"/>
                    <a:pt x="12036" y="16501"/>
                  </a:cubicBezTo>
                  <a:lnTo>
                    <a:pt x="12043" y="16501"/>
                  </a:lnTo>
                  <a:lnTo>
                    <a:pt x="12057" y="16490"/>
                  </a:lnTo>
                  <a:lnTo>
                    <a:pt x="12064" y="16487"/>
                  </a:lnTo>
                  <a:lnTo>
                    <a:pt x="12078" y="16480"/>
                  </a:lnTo>
                  <a:lnTo>
                    <a:pt x="12082" y="16480"/>
                  </a:lnTo>
                  <a:lnTo>
                    <a:pt x="12092" y="16473"/>
                  </a:lnTo>
                  <a:lnTo>
                    <a:pt x="12099" y="16466"/>
                  </a:lnTo>
                  <a:cubicBezTo>
                    <a:pt x="12150" y="16434"/>
                    <a:pt x="12209" y="16417"/>
                    <a:pt x="12268" y="16417"/>
                  </a:cubicBezTo>
                  <a:cubicBezTo>
                    <a:pt x="12319" y="16417"/>
                    <a:pt x="12369" y="16429"/>
                    <a:pt x="12415" y="16455"/>
                  </a:cubicBezTo>
                  <a:cubicBezTo>
                    <a:pt x="12502" y="16494"/>
                    <a:pt x="12562" y="16581"/>
                    <a:pt x="12569" y="16679"/>
                  </a:cubicBezTo>
                  <a:cubicBezTo>
                    <a:pt x="12569" y="16875"/>
                    <a:pt x="12600" y="16914"/>
                    <a:pt x="12625" y="16914"/>
                  </a:cubicBezTo>
                  <a:cubicBezTo>
                    <a:pt x="12768" y="16914"/>
                    <a:pt x="12908" y="16942"/>
                    <a:pt x="12908" y="17247"/>
                  </a:cubicBezTo>
                  <a:cubicBezTo>
                    <a:pt x="12908" y="17306"/>
                    <a:pt x="12912" y="17366"/>
                    <a:pt x="12919" y="17429"/>
                  </a:cubicBezTo>
                  <a:cubicBezTo>
                    <a:pt x="12933" y="17621"/>
                    <a:pt x="12950" y="17835"/>
                    <a:pt x="12821" y="18017"/>
                  </a:cubicBezTo>
                  <a:cubicBezTo>
                    <a:pt x="12800" y="18045"/>
                    <a:pt x="12779" y="18073"/>
                    <a:pt x="12754" y="18094"/>
                  </a:cubicBezTo>
                  <a:cubicBezTo>
                    <a:pt x="12740" y="18111"/>
                    <a:pt x="12723" y="18129"/>
                    <a:pt x="12709" y="18143"/>
                  </a:cubicBezTo>
                  <a:cubicBezTo>
                    <a:pt x="12474" y="18395"/>
                    <a:pt x="12295" y="18724"/>
                    <a:pt x="12320" y="18787"/>
                  </a:cubicBezTo>
                  <a:cubicBezTo>
                    <a:pt x="12341" y="18850"/>
                    <a:pt x="12345" y="18916"/>
                    <a:pt x="12334" y="18979"/>
                  </a:cubicBezTo>
                  <a:cubicBezTo>
                    <a:pt x="12334" y="18993"/>
                    <a:pt x="12331" y="19007"/>
                    <a:pt x="12331" y="19021"/>
                  </a:cubicBezTo>
                  <a:cubicBezTo>
                    <a:pt x="12388" y="18992"/>
                    <a:pt x="12465" y="18979"/>
                    <a:pt x="12544" y="18979"/>
                  </a:cubicBezTo>
                  <a:cubicBezTo>
                    <a:pt x="12689" y="18979"/>
                    <a:pt x="12841" y="19022"/>
                    <a:pt x="12898" y="19081"/>
                  </a:cubicBezTo>
                  <a:cubicBezTo>
                    <a:pt x="12933" y="19116"/>
                    <a:pt x="12940" y="19172"/>
                    <a:pt x="12912" y="19214"/>
                  </a:cubicBezTo>
                  <a:cubicBezTo>
                    <a:pt x="12894" y="19242"/>
                    <a:pt x="12894" y="19375"/>
                    <a:pt x="12947" y="19480"/>
                  </a:cubicBezTo>
                  <a:cubicBezTo>
                    <a:pt x="12975" y="19529"/>
                    <a:pt x="13003" y="19561"/>
                    <a:pt x="13031" y="19561"/>
                  </a:cubicBezTo>
                  <a:cubicBezTo>
                    <a:pt x="13146" y="19571"/>
                    <a:pt x="13230" y="19613"/>
                    <a:pt x="13276" y="19680"/>
                  </a:cubicBezTo>
                  <a:cubicBezTo>
                    <a:pt x="13314" y="19743"/>
                    <a:pt x="13321" y="19823"/>
                    <a:pt x="13293" y="19890"/>
                  </a:cubicBezTo>
                  <a:lnTo>
                    <a:pt x="13283" y="19925"/>
                  </a:lnTo>
                  <a:cubicBezTo>
                    <a:pt x="13262" y="19988"/>
                    <a:pt x="13213" y="20128"/>
                    <a:pt x="13227" y="20166"/>
                  </a:cubicBezTo>
                  <a:lnTo>
                    <a:pt x="13234" y="20166"/>
                  </a:lnTo>
                  <a:cubicBezTo>
                    <a:pt x="13349" y="20166"/>
                    <a:pt x="13496" y="20166"/>
                    <a:pt x="13566" y="20250"/>
                  </a:cubicBezTo>
                  <a:cubicBezTo>
                    <a:pt x="13598" y="20289"/>
                    <a:pt x="13612" y="20341"/>
                    <a:pt x="13601" y="20390"/>
                  </a:cubicBezTo>
                  <a:cubicBezTo>
                    <a:pt x="13591" y="20432"/>
                    <a:pt x="13605" y="20474"/>
                    <a:pt x="13636" y="20502"/>
                  </a:cubicBezTo>
                  <a:cubicBezTo>
                    <a:pt x="13659" y="20519"/>
                    <a:pt x="13688" y="20528"/>
                    <a:pt x="13723" y="20528"/>
                  </a:cubicBezTo>
                  <a:cubicBezTo>
                    <a:pt x="13760" y="20528"/>
                    <a:pt x="13803" y="20519"/>
                    <a:pt x="13850" y="20499"/>
                  </a:cubicBezTo>
                  <a:cubicBezTo>
                    <a:pt x="13881" y="20488"/>
                    <a:pt x="13909" y="20474"/>
                    <a:pt x="13934" y="20464"/>
                  </a:cubicBezTo>
                  <a:lnTo>
                    <a:pt x="13962" y="20453"/>
                  </a:lnTo>
                  <a:lnTo>
                    <a:pt x="13965" y="20453"/>
                  </a:lnTo>
                  <a:cubicBezTo>
                    <a:pt x="14006" y="20435"/>
                    <a:pt x="14047" y="20420"/>
                    <a:pt x="14084" y="20420"/>
                  </a:cubicBezTo>
                  <a:cubicBezTo>
                    <a:pt x="14110" y="20420"/>
                    <a:pt x="14134" y="20427"/>
                    <a:pt x="14154" y="20446"/>
                  </a:cubicBezTo>
                  <a:cubicBezTo>
                    <a:pt x="14214" y="20460"/>
                    <a:pt x="14252" y="20523"/>
                    <a:pt x="14280" y="20572"/>
                  </a:cubicBezTo>
                  <a:cubicBezTo>
                    <a:pt x="14312" y="20632"/>
                    <a:pt x="14343" y="20688"/>
                    <a:pt x="14410" y="20705"/>
                  </a:cubicBezTo>
                  <a:lnTo>
                    <a:pt x="14421" y="20705"/>
                  </a:lnTo>
                  <a:cubicBezTo>
                    <a:pt x="14456" y="20670"/>
                    <a:pt x="14410" y="20425"/>
                    <a:pt x="14368" y="20380"/>
                  </a:cubicBezTo>
                  <a:cubicBezTo>
                    <a:pt x="14284" y="20296"/>
                    <a:pt x="14343" y="20075"/>
                    <a:pt x="14410" y="20012"/>
                  </a:cubicBezTo>
                  <a:cubicBezTo>
                    <a:pt x="14424" y="19995"/>
                    <a:pt x="14449" y="19984"/>
                    <a:pt x="14470" y="19981"/>
                  </a:cubicBezTo>
                  <a:cubicBezTo>
                    <a:pt x="14474" y="19980"/>
                    <a:pt x="14477" y="19980"/>
                    <a:pt x="14481" y="19980"/>
                  </a:cubicBezTo>
                  <a:cubicBezTo>
                    <a:pt x="14508" y="19980"/>
                    <a:pt x="14532" y="19990"/>
                    <a:pt x="14550" y="20009"/>
                  </a:cubicBezTo>
                  <a:lnTo>
                    <a:pt x="14554" y="20009"/>
                  </a:lnTo>
                  <a:cubicBezTo>
                    <a:pt x="14561" y="20012"/>
                    <a:pt x="14571" y="20012"/>
                    <a:pt x="14582" y="20012"/>
                  </a:cubicBezTo>
                  <a:lnTo>
                    <a:pt x="14585" y="20012"/>
                  </a:lnTo>
                  <a:cubicBezTo>
                    <a:pt x="14592" y="20012"/>
                    <a:pt x="14599" y="20012"/>
                    <a:pt x="14606" y="20009"/>
                  </a:cubicBezTo>
                  <a:cubicBezTo>
                    <a:pt x="14617" y="20009"/>
                    <a:pt x="14627" y="20005"/>
                    <a:pt x="14634" y="20002"/>
                  </a:cubicBezTo>
                  <a:lnTo>
                    <a:pt x="14662" y="19991"/>
                  </a:lnTo>
                  <a:lnTo>
                    <a:pt x="14683" y="19984"/>
                  </a:lnTo>
                  <a:lnTo>
                    <a:pt x="14690" y="19981"/>
                  </a:lnTo>
                  <a:cubicBezTo>
                    <a:pt x="14701" y="19974"/>
                    <a:pt x="14711" y="19967"/>
                    <a:pt x="14722" y="19963"/>
                  </a:cubicBezTo>
                  <a:lnTo>
                    <a:pt x="14725" y="19963"/>
                  </a:lnTo>
                  <a:cubicBezTo>
                    <a:pt x="14736" y="19956"/>
                    <a:pt x="14746" y="19949"/>
                    <a:pt x="14753" y="19942"/>
                  </a:cubicBezTo>
                  <a:lnTo>
                    <a:pt x="14757" y="19939"/>
                  </a:lnTo>
                  <a:cubicBezTo>
                    <a:pt x="14764" y="19932"/>
                    <a:pt x="14771" y="19925"/>
                    <a:pt x="14778" y="19921"/>
                  </a:cubicBezTo>
                  <a:cubicBezTo>
                    <a:pt x="14792" y="19907"/>
                    <a:pt x="14802" y="19897"/>
                    <a:pt x="14816" y="19883"/>
                  </a:cubicBezTo>
                  <a:cubicBezTo>
                    <a:pt x="14855" y="19836"/>
                    <a:pt x="14902" y="19820"/>
                    <a:pt x="14949" y="19820"/>
                  </a:cubicBezTo>
                  <a:cubicBezTo>
                    <a:pt x="14986" y="19820"/>
                    <a:pt x="15024" y="19830"/>
                    <a:pt x="15058" y="19841"/>
                  </a:cubicBezTo>
                  <a:lnTo>
                    <a:pt x="15068" y="19841"/>
                  </a:lnTo>
                  <a:lnTo>
                    <a:pt x="15093" y="19851"/>
                  </a:lnTo>
                  <a:cubicBezTo>
                    <a:pt x="15138" y="19865"/>
                    <a:pt x="15166" y="19871"/>
                    <a:pt x="15184" y="19871"/>
                  </a:cubicBezTo>
                  <a:cubicBezTo>
                    <a:pt x="15203" y="19871"/>
                    <a:pt x="15211" y="19864"/>
                    <a:pt x="15219" y="19851"/>
                  </a:cubicBezTo>
                  <a:cubicBezTo>
                    <a:pt x="15243" y="19799"/>
                    <a:pt x="15296" y="19767"/>
                    <a:pt x="15355" y="19767"/>
                  </a:cubicBezTo>
                  <a:cubicBezTo>
                    <a:pt x="15404" y="19774"/>
                    <a:pt x="15450" y="19785"/>
                    <a:pt x="15495" y="19806"/>
                  </a:cubicBezTo>
                  <a:cubicBezTo>
                    <a:pt x="15548" y="19824"/>
                    <a:pt x="15597" y="19844"/>
                    <a:pt x="15644" y="19844"/>
                  </a:cubicBezTo>
                  <a:cubicBezTo>
                    <a:pt x="15670" y="19844"/>
                    <a:pt x="15695" y="19838"/>
                    <a:pt x="15719" y="19823"/>
                  </a:cubicBezTo>
                  <a:cubicBezTo>
                    <a:pt x="15767" y="19796"/>
                    <a:pt x="15822" y="19783"/>
                    <a:pt x="15877" y="19783"/>
                  </a:cubicBezTo>
                  <a:cubicBezTo>
                    <a:pt x="15915" y="19783"/>
                    <a:pt x="15953" y="19789"/>
                    <a:pt x="15989" y="19802"/>
                  </a:cubicBezTo>
                  <a:cubicBezTo>
                    <a:pt x="16010" y="19808"/>
                    <a:pt x="16022" y="19811"/>
                    <a:pt x="16031" y="19811"/>
                  </a:cubicBezTo>
                  <a:cubicBezTo>
                    <a:pt x="16044" y="19811"/>
                    <a:pt x="16048" y="19804"/>
                    <a:pt x="16059" y="19785"/>
                  </a:cubicBezTo>
                  <a:cubicBezTo>
                    <a:pt x="16139" y="19645"/>
                    <a:pt x="16360" y="19480"/>
                    <a:pt x="16490" y="19459"/>
                  </a:cubicBezTo>
                  <a:lnTo>
                    <a:pt x="16525" y="19459"/>
                  </a:lnTo>
                  <a:cubicBezTo>
                    <a:pt x="16549" y="19463"/>
                    <a:pt x="16570" y="19470"/>
                    <a:pt x="16588" y="19484"/>
                  </a:cubicBezTo>
                  <a:lnTo>
                    <a:pt x="16595" y="19491"/>
                  </a:lnTo>
                  <a:cubicBezTo>
                    <a:pt x="16609" y="19505"/>
                    <a:pt x="16619" y="19519"/>
                    <a:pt x="16633" y="19533"/>
                  </a:cubicBezTo>
                  <a:cubicBezTo>
                    <a:pt x="16682" y="19599"/>
                    <a:pt x="16749" y="19676"/>
                    <a:pt x="17011" y="19708"/>
                  </a:cubicBezTo>
                  <a:cubicBezTo>
                    <a:pt x="17039" y="19711"/>
                    <a:pt x="17067" y="19718"/>
                    <a:pt x="17099" y="19725"/>
                  </a:cubicBezTo>
                  <a:cubicBezTo>
                    <a:pt x="17158" y="19736"/>
                    <a:pt x="17214" y="19771"/>
                    <a:pt x="17253" y="19823"/>
                  </a:cubicBezTo>
                  <a:cubicBezTo>
                    <a:pt x="17277" y="19872"/>
                    <a:pt x="17281" y="19932"/>
                    <a:pt x="17256" y="19984"/>
                  </a:cubicBezTo>
                  <a:cubicBezTo>
                    <a:pt x="17253" y="19998"/>
                    <a:pt x="17246" y="20016"/>
                    <a:pt x="17239" y="20030"/>
                  </a:cubicBezTo>
                  <a:cubicBezTo>
                    <a:pt x="17228" y="20051"/>
                    <a:pt x="17221" y="20075"/>
                    <a:pt x="17218" y="20100"/>
                  </a:cubicBezTo>
                  <a:cubicBezTo>
                    <a:pt x="17232" y="20170"/>
                    <a:pt x="17568" y="20425"/>
                    <a:pt x="17701" y="20443"/>
                  </a:cubicBezTo>
                  <a:cubicBezTo>
                    <a:pt x="17708" y="20446"/>
                    <a:pt x="17718" y="20446"/>
                    <a:pt x="17725" y="20450"/>
                  </a:cubicBezTo>
                  <a:lnTo>
                    <a:pt x="17729" y="20450"/>
                  </a:lnTo>
                  <a:cubicBezTo>
                    <a:pt x="17739" y="20453"/>
                    <a:pt x="17746" y="20460"/>
                    <a:pt x="17757" y="20464"/>
                  </a:cubicBezTo>
                  <a:lnTo>
                    <a:pt x="17760" y="20467"/>
                  </a:lnTo>
                  <a:cubicBezTo>
                    <a:pt x="17781" y="20481"/>
                    <a:pt x="17799" y="20499"/>
                    <a:pt x="17820" y="20520"/>
                  </a:cubicBezTo>
                  <a:lnTo>
                    <a:pt x="17823" y="20520"/>
                  </a:lnTo>
                  <a:cubicBezTo>
                    <a:pt x="17854" y="20515"/>
                    <a:pt x="17885" y="20511"/>
                    <a:pt x="17917" y="20511"/>
                  </a:cubicBezTo>
                  <a:cubicBezTo>
                    <a:pt x="17929" y="20511"/>
                    <a:pt x="17941" y="20512"/>
                    <a:pt x="17953" y="20513"/>
                  </a:cubicBezTo>
                  <a:cubicBezTo>
                    <a:pt x="18040" y="20513"/>
                    <a:pt x="18065" y="20509"/>
                    <a:pt x="18075" y="20488"/>
                  </a:cubicBezTo>
                  <a:cubicBezTo>
                    <a:pt x="18093" y="20411"/>
                    <a:pt x="18159" y="20359"/>
                    <a:pt x="18236" y="20348"/>
                  </a:cubicBezTo>
                  <a:cubicBezTo>
                    <a:pt x="18240" y="20348"/>
                    <a:pt x="18243" y="20348"/>
                    <a:pt x="18246" y="20348"/>
                  </a:cubicBezTo>
                  <a:cubicBezTo>
                    <a:pt x="18348" y="20348"/>
                    <a:pt x="18441" y="20400"/>
                    <a:pt x="18492" y="20488"/>
                  </a:cubicBezTo>
                  <a:cubicBezTo>
                    <a:pt x="18516" y="20534"/>
                    <a:pt x="18541" y="20555"/>
                    <a:pt x="18559" y="20558"/>
                  </a:cubicBezTo>
                  <a:cubicBezTo>
                    <a:pt x="18561" y="20559"/>
                    <a:pt x="18563" y="20559"/>
                    <a:pt x="18566" y="20559"/>
                  </a:cubicBezTo>
                  <a:cubicBezTo>
                    <a:pt x="18588" y="20559"/>
                    <a:pt x="18627" y="20543"/>
                    <a:pt x="18706" y="20474"/>
                  </a:cubicBezTo>
                  <a:cubicBezTo>
                    <a:pt x="18741" y="20439"/>
                    <a:pt x="18786" y="20418"/>
                    <a:pt x="18835" y="20418"/>
                  </a:cubicBezTo>
                  <a:cubicBezTo>
                    <a:pt x="18849" y="20418"/>
                    <a:pt x="18863" y="20422"/>
                    <a:pt x="18877" y="20425"/>
                  </a:cubicBezTo>
                  <a:cubicBezTo>
                    <a:pt x="18944" y="20453"/>
                    <a:pt x="18989" y="20513"/>
                    <a:pt x="18996" y="20586"/>
                  </a:cubicBezTo>
                  <a:cubicBezTo>
                    <a:pt x="19017" y="20663"/>
                    <a:pt x="18993" y="20744"/>
                    <a:pt x="18937" y="20800"/>
                  </a:cubicBezTo>
                  <a:cubicBezTo>
                    <a:pt x="18919" y="20817"/>
                    <a:pt x="18912" y="20842"/>
                    <a:pt x="18916" y="20866"/>
                  </a:cubicBezTo>
                  <a:cubicBezTo>
                    <a:pt x="18919" y="20985"/>
                    <a:pt x="18972" y="21097"/>
                    <a:pt x="19063" y="21178"/>
                  </a:cubicBezTo>
                  <a:cubicBezTo>
                    <a:pt x="19070" y="21188"/>
                    <a:pt x="19080" y="21199"/>
                    <a:pt x="19094" y="21206"/>
                  </a:cubicBezTo>
                  <a:cubicBezTo>
                    <a:pt x="19112" y="21139"/>
                    <a:pt x="19115" y="21073"/>
                    <a:pt x="19098" y="21006"/>
                  </a:cubicBezTo>
                  <a:cubicBezTo>
                    <a:pt x="19056" y="20828"/>
                    <a:pt x="19283" y="20677"/>
                    <a:pt x="19910" y="20471"/>
                  </a:cubicBezTo>
                  <a:cubicBezTo>
                    <a:pt x="20403" y="20306"/>
                    <a:pt x="20887" y="19967"/>
                    <a:pt x="20932" y="19893"/>
                  </a:cubicBezTo>
                  <a:cubicBezTo>
                    <a:pt x="20936" y="19872"/>
                    <a:pt x="20950" y="19855"/>
                    <a:pt x="20967" y="19841"/>
                  </a:cubicBezTo>
                  <a:cubicBezTo>
                    <a:pt x="20984" y="19830"/>
                    <a:pt x="21003" y="19825"/>
                    <a:pt x="21025" y="19825"/>
                  </a:cubicBezTo>
                  <a:cubicBezTo>
                    <a:pt x="21060" y="19825"/>
                    <a:pt x="21103" y="19837"/>
                    <a:pt x="21160" y="19855"/>
                  </a:cubicBezTo>
                  <a:cubicBezTo>
                    <a:pt x="21225" y="19875"/>
                    <a:pt x="21313" y="19901"/>
                    <a:pt x="21387" y="19901"/>
                  </a:cubicBezTo>
                  <a:cubicBezTo>
                    <a:pt x="21428" y="19901"/>
                    <a:pt x="21465" y="19893"/>
                    <a:pt x="21492" y="19872"/>
                  </a:cubicBezTo>
                  <a:cubicBezTo>
                    <a:pt x="21643" y="19757"/>
                    <a:pt x="22045" y="19725"/>
                    <a:pt x="22423" y="19708"/>
                  </a:cubicBezTo>
                  <a:lnTo>
                    <a:pt x="22472" y="19704"/>
                  </a:lnTo>
                  <a:cubicBezTo>
                    <a:pt x="22535" y="19704"/>
                    <a:pt x="22556" y="19680"/>
                    <a:pt x="22605" y="19610"/>
                  </a:cubicBezTo>
                  <a:cubicBezTo>
                    <a:pt x="22647" y="19543"/>
                    <a:pt x="22700" y="19487"/>
                    <a:pt x="22760" y="19438"/>
                  </a:cubicBezTo>
                  <a:cubicBezTo>
                    <a:pt x="22802" y="19403"/>
                    <a:pt x="22844" y="19361"/>
                    <a:pt x="22875" y="19319"/>
                  </a:cubicBezTo>
                  <a:cubicBezTo>
                    <a:pt x="22931" y="19242"/>
                    <a:pt x="23012" y="19186"/>
                    <a:pt x="23106" y="19168"/>
                  </a:cubicBezTo>
                  <a:cubicBezTo>
                    <a:pt x="23271" y="19119"/>
                    <a:pt x="23372" y="18965"/>
                    <a:pt x="23372" y="18899"/>
                  </a:cubicBezTo>
                  <a:cubicBezTo>
                    <a:pt x="23372" y="18804"/>
                    <a:pt x="23481" y="18766"/>
                    <a:pt x="23596" y="18724"/>
                  </a:cubicBezTo>
                  <a:cubicBezTo>
                    <a:pt x="23642" y="18706"/>
                    <a:pt x="23726" y="18675"/>
                    <a:pt x="23747" y="18654"/>
                  </a:cubicBezTo>
                  <a:cubicBezTo>
                    <a:pt x="23754" y="18573"/>
                    <a:pt x="23834" y="18528"/>
                    <a:pt x="23908" y="18489"/>
                  </a:cubicBezTo>
                  <a:cubicBezTo>
                    <a:pt x="23957" y="18461"/>
                    <a:pt x="24020" y="18426"/>
                    <a:pt x="24020" y="18398"/>
                  </a:cubicBezTo>
                  <a:cubicBezTo>
                    <a:pt x="24020" y="18279"/>
                    <a:pt x="24114" y="18237"/>
                    <a:pt x="24174" y="18213"/>
                  </a:cubicBezTo>
                  <a:cubicBezTo>
                    <a:pt x="24209" y="18202"/>
                    <a:pt x="24240" y="18181"/>
                    <a:pt x="24268" y="18153"/>
                  </a:cubicBezTo>
                  <a:cubicBezTo>
                    <a:pt x="24286" y="18132"/>
                    <a:pt x="24279" y="18055"/>
                    <a:pt x="24272" y="18003"/>
                  </a:cubicBezTo>
                  <a:cubicBezTo>
                    <a:pt x="24261" y="17894"/>
                    <a:pt x="24251" y="17751"/>
                    <a:pt x="24370" y="17712"/>
                  </a:cubicBezTo>
                  <a:cubicBezTo>
                    <a:pt x="24356" y="17681"/>
                    <a:pt x="24338" y="17653"/>
                    <a:pt x="24317" y="17628"/>
                  </a:cubicBezTo>
                  <a:cubicBezTo>
                    <a:pt x="24293" y="17597"/>
                    <a:pt x="24272" y="17562"/>
                    <a:pt x="24258" y="17527"/>
                  </a:cubicBezTo>
                  <a:cubicBezTo>
                    <a:pt x="24251" y="17502"/>
                    <a:pt x="24251" y="17478"/>
                    <a:pt x="24265" y="17457"/>
                  </a:cubicBezTo>
                  <a:cubicBezTo>
                    <a:pt x="24293" y="17401"/>
                    <a:pt x="24363" y="17380"/>
                    <a:pt x="24461" y="17352"/>
                  </a:cubicBezTo>
                  <a:cubicBezTo>
                    <a:pt x="24531" y="17334"/>
                    <a:pt x="24601" y="17310"/>
                    <a:pt x="24664" y="17275"/>
                  </a:cubicBezTo>
                  <a:cubicBezTo>
                    <a:pt x="24783" y="17198"/>
                    <a:pt x="24864" y="17078"/>
                    <a:pt x="24885" y="16938"/>
                  </a:cubicBezTo>
                  <a:cubicBezTo>
                    <a:pt x="24916" y="16739"/>
                    <a:pt x="25189" y="16592"/>
                    <a:pt x="25284" y="16557"/>
                  </a:cubicBezTo>
                  <a:cubicBezTo>
                    <a:pt x="25340" y="16532"/>
                    <a:pt x="25385" y="16364"/>
                    <a:pt x="25354" y="16186"/>
                  </a:cubicBezTo>
                  <a:cubicBezTo>
                    <a:pt x="25333" y="16105"/>
                    <a:pt x="25368" y="16021"/>
                    <a:pt x="25438" y="15979"/>
                  </a:cubicBezTo>
                  <a:cubicBezTo>
                    <a:pt x="25413" y="15944"/>
                    <a:pt x="25406" y="15902"/>
                    <a:pt x="25413" y="15864"/>
                  </a:cubicBezTo>
                  <a:cubicBezTo>
                    <a:pt x="25431" y="15762"/>
                    <a:pt x="25529" y="15657"/>
                    <a:pt x="25644" y="15601"/>
                  </a:cubicBezTo>
                  <a:cubicBezTo>
                    <a:pt x="25639" y="15601"/>
                    <a:pt x="25634" y="15600"/>
                    <a:pt x="25630" y="15600"/>
                  </a:cubicBezTo>
                  <a:cubicBezTo>
                    <a:pt x="25605" y="15600"/>
                    <a:pt x="25580" y="15607"/>
                    <a:pt x="25557" y="15619"/>
                  </a:cubicBezTo>
                  <a:cubicBezTo>
                    <a:pt x="25531" y="15638"/>
                    <a:pt x="25506" y="15646"/>
                    <a:pt x="25482" y="15646"/>
                  </a:cubicBezTo>
                  <a:cubicBezTo>
                    <a:pt x="25416" y="15646"/>
                    <a:pt x="25356" y="15587"/>
                    <a:pt x="25315" y="15549"/>
                  </a:cubicBezTo>
                  <a:cubicBezTo>
                    <a:pt x="25298" y="15528"/>
                    <a:pt x="25277" y="15510"/>
                    <a:pt x="25256" y="15493"/>
                  </a:cubicBezTo>
                  <a:cubicBezTo>
                    <a:pt x="25222" y="15536"/>
                    <a:pt x="25171" y="15558"/>
                    <a:pt x="25115" y="15558"/>
                  </a:cubicBezTo>
                  <a:cubicBezTo>
                    <a:pt x="25085" y="15558"/>
                    <a:pt x="25053" y="15552"/>
                    <a:pt x="25021" y="15538"/>
                  </a:cubicBezTo>
                  <a:cubicBezTo>
                    <a:pt x="24948" y="15510"/>
                    <a:pt x="24881" y="15451"/>
                    <a:pt x="24885" y="15377"/>
                  </a:cubicBezTo>
                  <a:cubicBezTo>
                    <a:pt x="24885" y="15353"/>
                    <a:pt x="24902" y="15297"/>
                    <a:pt x="24997" y="15276"/>
                  </a:cubicBezTo>
                  <a:cubicBezTo>
                    <a:pt x="25088" y="15255"/>
                    <a:pt x="25224" y="15174"/>
                    <a:pt x="25343" y="15108"/>
                  </a:cubicBezTo>
                  <a:cubicBezTo>
                    <a:pt x="25406" y="15069"/>
                    <a:pt x="25469" y="15034"/>
                    <a:pt x="25539" y="15002"/>
                  </a:cubicBezTo>
                  <a:cubicBezTo>
                    <a:pt x="25498" y="14940"/>
                    <a:pt x="25347" y="14820"/>
                    <a:pt x="25259" y="14820"/>
                  </a:cubicBezTo>
                  <a:cubicBezTo>
                    <a:pt x="25258" y="14820"/>
                    <a:pt x="25257" y="14820"/>
                    <a:pt x="25256" y="14820"/>
                  </a:cubicBezTo>
                  <a:cubicBezTo>
                    <a:pt x="25252" y="14821"/>
                    <a:pt x="25248" y="14821"/>
                    <a:pt x="25245" y="14821"/>
                  </a:cubicBezTo>
                  <a:cubicBezTo>
                    <a:pt x="25141" y="14821"/>
                    <a:pt x="25056" y="14726"/>
                    <a:pt x="24965" y="14624"/>
                  </a:cubicBezTo>
                  <a:cubicBezTo>
                    <a:pt x="24899" y="14554"/>
                    <a:pt x="24818" y="14467"/>
                    <a:pt x="24765" y="14467"/>
                  </a:cubicBezTo>
                  <a:cubicBezTo>
                    <a:pt x="24741" y="14467"/>
                    <a:pt x="24678" y="14467"/>
                    <a:pt x="24657" y="14414"/>
                  </a:cubicBezTo>
                  <a:cubicBezTo>
                    <a:pt x="24646" y="14383"/>
                    <a:pt x="24657" y="14351"/>
                    <a:pt x="24681" y="14334"/>
                  </a:cubicBezTo>
                  <a:cubicBezTo>
                    <a:pt x="24712" y="14305"/>
                    <a:pt x="24798" y="14280"/>
                    <a:pt x="24896" y="14280"/>
                  </a:cubicBezTo>
                  <a:cubicBezTo>
                    <a:pt x="24965" y="14280"/>
                    <a:pt x="25041" y="14293"/>
                    <a:pt x="25105" y="14327"/>
                  </a:cubicBezTo>
                  <a:cubicBezTo>
                    <a:pt x="25290" y="14422"/>
                    <a:pt x="25403" y="14448"/>
                    <a:pt x="25463" y="14448"/>
                  </a:cubicBezTo>
                  <a:cubicBezTo>
                    <a:pt x="25480" y="14448"/>
                    <a:pt x="25492" y="14445"/>
                    <a:pt x="25501" y="14442"/>
                  </a:cubicBezTo>
                  <a:cubicBezTo>
                    <a:pt x="25480" y="14390"/>
                    <a:pt x="25354" y="14246"/>
                    <a:pt x="25060" y="14015"/>
                  </a:cubicBezTo>
                  <a:cubicBezTo>
                    <a:pt x="24948" y="13928"/>
                    <a:pt x="24958" y="13823"/>
                    <a:pt x="24965" y="13753"/>
                  </a:cubicBezTo>
                  <a:cubicBezTo>
                    <a:pt x="24969" y="13718"/>
                    <a:pt x="24972" y="13693"/>
                    <a:pt x="24962" y="13686"/>
                  </a:cubicBezTo>
                  <a:cubicBezTo>
                    <a:pt x="24850" y="13606"/>
                    <a:pt x="24650" y="13158"/>
                    <a:pt x="24590" y="12993"/>
                  </a:cubicBezTo>
                  <a:cubicBezTo>
                    <a:pt x="24562" y="12912"/>
                    <a:pt x="24450" y="12860"/>
                    <a:pt x="24345" y="12818"/>
                  </a:cubicBezTo>
                  <a:cubicBezTo>
                    <a:pt x="24247" y="12772"/>
                    <a:pt x="24160" y="12737"/>
                    <a:pt x="24114" y="12671"/>
                  </a:cubicBezTo>
                  <a:cubicBezTo>
                    <a:pt x="24069" y="12587"/>
                    <a:pt x="24058" y="12489"/>
                    <a:pt x="24093" y="12401"/>
                  </a:cubicBezTo>
                  <a:cubicBezTo>
                    <a:pt x="24139" y="12247"/>
                    <a:pt x="24254" y="12125"/>
                    <a:pt x="24401" y="12062"/>
                  </a:cubicBezTo>
                  <a:cubicBezTo>
                    <a:pt x="24482" y="12034"/>
                    <a:pt x="24538" y="11967"/>
                    <a:pt x="24552" y="11883"/>
                  </a:cubicBezTo>
                  <a:cubicBezTo>
                    <a:pt x="24564" y="11846"/>
                    <a:pt x="24585" y="11764"/>
                    <a:pt x="24667" y="11764"/>
                  </a:cubicBezTo>
                  <a:cubicBezTo>
                    <a:pt x="24676" y="11764"/>
                    <a:pt x="24687" y="11765"/>
                    <a:pt x="24699" y="11768"/>
                  </a:cubicBezTo>
                  <a:cubicBezTo>
                    <a:pt x="24711" y="11770"/>
                    <a:pt x="24724" y="11772"/>
                    <a:pt x="24737" y="11772"/>
                  </a:cubicBezTo>
                  <a:cubicBezTo>
                    <a:pt x="24794" y="11772"/>
                    <a:pt x="24858" y="11738"/>
                    <a:pt x="24927" y="11593"/>
                  </a:cubicBezTo>
                  <a:cubicBezTo>
                    <a:pt x="24993" y="11449"/>
                    <a:pt x="25105" y="11442"/>
                    <a:pt x="25175" y="11435"/>
                  </a:cubicBezTo>
                  <a:cubicBezTo>
                    <a:pt x="25224" y="11432"/>
                    <a:pt x="25249" y="11428"/>
                    <a:pt x="25270" y="11407"/>
                  </a:cubicBezTo>
                  <a:cubicBezTo>
                    <a:pt x="25329" y="11341"/>
                    <a:pt x="25459" y="11320"/>
                    <a:pt x="25609" y="11292"/>
                  </a:cubicBezTo>
                  <a:cubicBezTo>
                    <a:pt x="25721" y="11274"/>
                    <a:pt x="25847" y="11250"/>
                    <a:pt x="25903" y="11211"/>
                  </a:cubicBezTo>
                  <a:cubicBezTo>
                    <a:pt x="25921" y="11201"/>
                    <a:pt x="25910" y="11169"/>
                    <a:pt x="25903" y="11148"/>
                  </a:cubicBezTo>
                  <a:cubicBezTo>
                    <a:pt x="25862" y="11065"/>
                    <a:pt x="25752" y="10977"/>
                    <a:pt x="25669" y="10977"/>
                  </a:cubicBezTo>
                  <a:cubicBezTo>
                    <a:pt x="25660" y="10977"/>
                    <a:pt x="25652" y="10978"/>
                    <a:pt x="25644" y="10980"/>
                  </a:cubicBezTo>
                  <a:cubicBezTo>
                    <a:pt x="25600" y="10991"/>
                    <a:pt x="25556" y="10996"/>
                    <a:pt x="25512" y="10996"/>
                  </a:cubicBezTo>
                  <a:cubicBezTo>
                    <a:pt x="25323" y="10996"/>
                    <a:pt x="25144" y="10900"/>
                    <a:pt x="25039" y="10735"/>
                  </a:cubicBezTo>
                  <a:cubicBezTo>
                    <a:pt x="25032" y="10724"/>
                    <a:pt x="25025" y="10724"/>
                    <a:pt x="25025" y="10724"/>
                  </a:cubicBezTo>
                  <a:cubicBezTo>
                    <a:pt x="25023" y="10724"/>
                    <a:pt x="25022" y="10724"/>
                    <a:pt x="25020" y="10724"/>
                  </a:cubicBezTo>
                  <a:cubicBezTo>
                    <a:pt x="24962" y="10724"/>
                    <a:pt x="24833" y="10856"/>
                    <a:pt x="24737" y="10952"/>
                  </a:cubicBezTo>
                  <a:cubicBezTo>
                    <a:pt x="24622" y="11068"/>
                    <a:pt x="24506" y="11183"/>
                    <a:pt x="24391" y="11236"/>
                  </a:cubicBezTo>
                  <a:cubicBezTo>
                    <a:pt x="24349" y="11257"/>
                    <a:pt x="24304" y="11268"/>
                    <a:pt x="24259" y="11268"/>
                  </a:cubicBezTo>
                  <a:cubicBezTo>
                    <a:pt x="24187" y="11268"/>
                    <a:pt x="24117" y="11240"/>
                    <a:pt x="24065" y="11187"/>
                  </a:cubicBezTo>
                  <a:cubicBezTo>
                    <a:pt x="23943" y="11061"/>
                    <a:pt x="23904" y="10878"/>
                    <a:pt x="23964" y="10717"/>
                  </a:cubicBezTo>
                  <a:cubicBezTo>
                    <a:pt x="23971" y="10700"/>
                    <a:pt x="23981" y="10668"/>
                    <a:pt x="23971" y="10654"/>
                  </a:cubicBezTo>
                  <a:cubicBezTo>
                    <a:pt x="23945" y="10616"/>
                    <a:pt x="23829" y="10606"/>
                    <a:pt x="23700" y="10606"/>
                  </a:cubicBezTo>
                  <a:cubicBezTo>
                    <a:pt x="23620" y="10606"/>
                    <a:pt x="23534" y="10610"/>
                    <a:pt x="23463" y="10612"/>
                  </a:cubicBezTo>
                  <a:cubicBezTo>
                    <a:pt x="23458" y="10613"/>
                    <a:pt x="23453" y="10613"/>
                    <a:pt x="23448" y="10613"/>
                  </a:cubicBezTo>
                  <a:cubicBezTo>
                    <a:pt x="23292" y="10613"/>
                    <a:pt x="23190" y="10509"/>
                    <a:pt x="23173" y="10332"/>
                  </a:cubicBezTo>
                  <a:cubicBezTo>
                    <a:pt x="23152" y="10112"/>
                    <a:pt x="23267" y="9828"/>
                    <a:pt x="23442" y="9804"/>
                  </a:cubicBezTo>
                  <a:cubicBezTo>
                    <a:pt x="23465" y="9802"/>
                    <a:pt x="23489" y="9800"/>
                    <a:pt x="23512" y="9800"/>
                  </a:cubicBezTo>
                  <a:cubicBezTo>
                    <a:pt x="23566" y="9800"/>
                    <a:pt x="23620" y="9807"/>
                    <a:pt x="23673" y="9821"/>
                  </a:cubicBezTo>
                  <a:cubicBezTo>
                    <a:pt x="23733" y="9832"/>
                    <a:pt x="23788" y="9841"/>
                    <a:pt x="23837" y="9841"/>
                  </a:cubicBezTo>
                  <a:cubicBezTo>
                    <a:pt x="23937" y="9841"/>
                    <a:pt x="24014" y="9801"/>
                    <a:pt x="24065" y="9646"/>
                  </a:cubicBezTo>
                  <a:cubicBezTo>
                    <a:pt x="24153" y="9394"/>
                    <a:pt x="24275" y="9377"/>
                    <a:pt x="24391" y="9359"/>
                  </a:cubicBezTo>
                  <a:cubicBezTo>
                    <a:pt x="24489" y="9345"/>
                    <a:pt x="24587" y="9328"/>
                    <a:pt x="24716" y="9177"/>
                  </a:cubicBezTo>
                  <a:cubicBezTo>
                    <a:pt x="24983" y="8869"/>
                    <a:pt x="25243" y="8711"/>
                    <a:pt x="25466" y="8711"/>
                  </a:cubicBezTo>
                  <a:cubicBezTo>
                    <a:pt x="25565" y="8711"/>
                    <a:pt x="25657" y="8742"/>
                    <a:pt x="25739" y="8806"/>
                  </a:cubicBezTo>
                  <a:cubicBezTo>
                    <a:pt x="25795" y="8845"/>
                    <a:pt x="25830" y="8908"/>
                    <a:pt x="25837" y="8978"/>
                  </a:cubicBezTo>
                  <a:cubicBezTo>
                    <a:pt x="25844" y="9128"/>
                    <a:pt x="25700" y="9275"/>
                    <a:pt x="25560" y="9419"/>
                  </a:cubicBezTo>
                  <a:cubicBezTo>
                    <a:pt x="25487" y="9496"/>
                    <a:pt x="25410" y="9573"/>
                    <a:pt x="25385" y="9629"/>
                  </a:cubicBezTo>
                  <a:cubicBezTo>
                    <a:pt x="25361" y="9681"/>
                    <a:pt x="25357" y="9741"/>
                    <a:pt x="25375" y="9800"/>
                  </a:cubicBezTo>
                  <a:cubicBezTo>
                    <a:pt x="25403" y="9898"/>
                    <a:pt x="25371" y="10003"/>
                    <a:pt x="25291" y="10070"/>
                  </a:cubicBezTo>
                  <a:cubicBezTo>
                    <a:pt x="25284" y="10073"/>
                    <a:pt x="25277" y="10080"/>
                    <a:pt x="25273" y="10087"/>
                  </a:cubicBezTo>
                  <a:cubicBezTo>
                    <a:pt x="25326" y="10084"/>
                    <a:pt x="25438" y="10056"/>
                    <a:pt x="25588" y="9958"/>
                  </a:cubicBezTo>
                  <a:cubicBezTo>
                    <a:pt x="25921" y="9744"/>
                    <a:pt x="26302" y="9510"/>
                    <a:pt x="26610" y="9387"/>
                  </a:cubicBezTo>
                  <a:cubicBezTo>
                    <a:pt x="26680" y="9359"/>
                    <a:pt x="26755" y="9345"/>
                    <a:pt x="26830" y="9345"/>
                  </a:cubicBezTo>
                  <a:cubicBezTo>
                    <a:pt x="26839" y="9345"/>
                    <a:pt x="26847" y="9345"/>
                    <a:pt x="26856" y="9345"/>
                  </a:cubicBezTo>
                  <a:lnTo>
                    <a:pt x="26856" y="9342"/>
                  </a:lnTo>
                  <a:lnTo>
                    <a:pt x="26863" y="9324"/>
                  </a:lnTo>
                  <a:cubicBezTo>
                    <a:pt x="26866" y="9314"/>
                    <a:pt x="26873" y="9303"/>
                    <a:pt x="26877" y="9296"/>
                  </a:cubicBezTo>
                  <a:lnTo>
                    <a:pt x="26884" y="9279"/>
                  </a:lnTo>
                  <a:lnTo>
                    <a:pt x="26898" y="9254"/>
                  </a:lnTo>
                  <a:lnTo>
                    <a:pt x="26905" y="9237"/>
                  </a:lnTo>
                  <a:lnTo>
                    <a:pt x="26919" y="9216"/>
                  </a:lnTo>
                  <a:lnTo>
                    <a:pt x="26929" y="9202"/>
                  </a:lnTo>
                  <a:lnTo>
                    <a:pt x="26943" y="9184"/>
                  </a:lnTo>
                  <a:lnTo>
                    <a:pt x="26950" y="9174"/>
                  </a:lnTo>
                  <a:lnTo>
                    <a:pt x="26964" y="9160"/>
                  </a:lnTo>
                  <a:lnTo>
                    <a:pt x="26975" y="9149"/>
                  </a:lnTo>
                  <a:cubicBezTo>
                    <a:pt x="26978" y="9146"/>
                    <a:pt x="26985" y="9142"/>
                    <a:pt x="26989" y="9135"/>
                  </a:cubicBezTo>
                  <a:lnTo>
                    <a:pt x="26999" y="9132"/>
                  </a:lnTo>
                  <a:cubicBezTo>
                    <a:pt x="27006" y="9125"/>
                    <a:pt x="27013" y="9121"/>
                    <a:pt x="27024" y="9114"/>
                  </a:cubicBezTo>
                  <a:cubicBezTo>
                    <a:pt x="27062" y="9097"/>
                    <a:pt x="27118" y="9072"/>
                    <a:pt x="27181" y="9037"/>
                  </a:cubicBezTo>
                  <a:cubicBezTo>
                    <a:pt x="27430" y="8918"/>
                    <a:pt x="27944" y="8673"/>
                    <a:pt x="28021" y="8571"/>
                  </a:cubicBezTo>
                  <a:cubicBezTo>
                    <a:pt x="28046" y="8536"/>
                    <a:pt x="28074" y="8494"/>
                    <a:pt x="28102" y="8449"/>
                  </a:cubicBezTo>
                  <a:cubicBezTo>
                    <a:pt x="28193" y="8305"/>
                    <a:pt x="28284" y="8158"/>
                    <a:pt x="28427" y="8158"/>
                  </a:cubicBezTo>
                  <a:cubicBezTo>
                    <a:pt x="28494" y="8158"/>
                    <a:pt x="28557" y="8186"/>
                    <a:pt x="28602" y="8232"/>
                  </a:cubicBezTo>
                  <a:cubicBezTo>
                    <a:pt x="28648" y="8274"/>
                    <a:pt x="28707" y="8299"/>
                    <a:pt x="28766" y="8299"/>
                  </a:cubicBezTo>
                  <a:cubicBezTo>
                    <a:pt x="28770" y="8299"/>
                    <a:pt x="28773" y="8299"/>
                    <a:pt x="28777" y="8298"/>
                  </a:cubicBezTo>
                  <a:cubicBezTo>
                    <a:pt x="28830" y="8298"/>
                    <a:pt x="28882" y="8302"/>
                    <a:pt x="28935" y="8305"/>
                  </a:cubicBezTo>
                  <a:cubicBezTo>
                    <a:pt x="28964" y="8309"/>
                    <a:pt x="28992" y="8311"/>
                    <a:pt x="29022" y="8311"/>
                  </a:cubicBezTo>
                  <a:cubicBezTo>
                    <a:pt x="29043" y="8311"/>
                    <a:pt x="29064" y="8310"/>
                    <a:pt x="29086" y="8309"/>
                  </a:cubicBezTo>
                  <a:cubicBezTo>
                    <a:pt x="29082" y="8305"/>
                    <a:pt x="29079" y="8298"/>
                    <a:pt x="29075" y="8291"/>
                  </a:cubicBezTo>
                  <a:cubicBezTo>
                    <a:pt x="29065" y="8270"/>
                    <a:pt x="29054" y="8253"/>
                    <a:pt x="29044" y="8235"/>
                  </a:cubicBezTo>
                  <a:cubicBezTo>
                    <a:pt x="29026" y="8204"/>
                    <a:pt x="29019" y="8169"/>
                    <a:pt x="29019" y="8134"/>
                  </a:cubicBezTo>
                  <a:cubicBezTo>
                    <a:pt x="29019" y="8120"/>
                    <a:pt x="29023" y="8106"/>
                    <a:pt x="29030" y="8092"/>
                  </a:cubicBezTo>
                  <a:cubicBezTo>
                    <a:pt x="29054" y="8039"/>
                    <a:pt x="29110" y="8018"/>
                    <a:pt x="29198" y="8004"/>
                  </a:cubicBezTo>
                  <a:cubicBezTo>
                    <a:pt x="29226" y="7997"/>
                    <a:pt x="29261" y="7994"/>
                    <a:pt x="29299" y="7987"/>
                  </a:cubicBezTo>
                  <a:lnTo>
                    <a:pt x="29334" y="7983"/>
                  </a:lnTo>
                  <a:cubicBezTo>
                    <a:pt x="29436" y="7969"/>
                    <a:pt x="29474" y="7913"/>
                    <a:pt x="29516" y="7847"/>
                  </a:cubicBezTo>
                  <a:cubicBezTo>
                    <a:pt x="29558" y="7780"/>
                    <a:pt x="29614" y="7700"/>
                    <a:pt x="29730" y="7700"/>
                  </a:cubicBezTo>
                  <a:cubicBezTo>
                    <a:pt x="29772" y="7700"/>
                    <a:pt x="29800" y="7612"/>
                    <a:pt x="29828" y="7535"/>
                  </a:cubicBezTo>
                  <a:cubicBezTo>
                    <a:pt x="29866" y="7420"/>
                    <a:pt x="29912" y="7280"/>
                    <a:pt x="30045" y="7280"/>
                  </a:cubicBezTo>
                  <a:cubicBezTo>
                    <a:pt x="30146" y="7280"/>
                    <a:pt x="30216" y="7336"/>
                    <a:pt x="30279" y="7388"/>
                  </a:cubicBezTo>
                  <a:cubicBezTo>
                    <a:pt x="30300" y="7409"/>
                    <a:pt x="30328" y="7427"/>
                    <a:pt x="30356" y="7444"/>
                  </a:cubicBezTo>
                  <a:cubicBezTo>
                    <a:pt x="30378" y="7458"/>
                    <a:pt x="30405" y="7467"/>
                    <a:pt x="30432" y="7467"/>
                  </a:cubicBezTo>
                  <a:cubicBezTo>
                    <a:pt x="30439" y="7467"/>
                    <a:pt x="30447" y="7467"/>
                    <a:pt x="30454" y="7465"/>
                  </a:cubicBezTo>
                  <a:cubicBezTo>
                    <a:pt x="30461" y="7465"/>
                    <a:pt x="30468" y="7462"/>
                    <a:pt x="30475" y="7458"/>
                  </a:cubicBezTo>
                  <a:lnTo>
                    <a:pt x="30482" y="7458"/>
                  </a:lnTo>
                  <a:cubicBezTo>
                    <a:pt x="30493" y="7455"/>
                    <a:pt x="30507" y="7451"/>
                    <a:pt x="30521" y="7451"/>
                  </a:cubicBezTo>
                  <a:lnTo>
                    <a:pt x="30563" y="7451"/>
                  </a:lnTo>
                  <a:lnTo>
                    <a:pt x="30580" y="7455"/>
                  </a:lnTo>
                  <a:cubicBezTo>
                    <a:pt x="30591" y="7455"/>
                    <a:pt x="30601" y="7458"/>
                    <a:pt x="30612" y="7462"/>
                  </a:cubicBezTo>
                  <a:lnTo>
                    <a:pt x="30629" y="7465"/>
                  </a:lnTo>
                  <a:lnTo>
                    <a:pt x="30640" y="7469"/>
                  </a:lnTo>
                  <a:cubicBezTo>
                    <a:pt x="30664" y="7451"/>
                    <a:pt x="30692" y="7430"/>
                    <a:pt x="30717" y="7413"/>
                  </a:cubicBezTo>
                  <a:cubicBezTo>
                    <a:pt x="30710" y="7332"/>
                    <a:pt x="30710" y="7259"/>
                    <a:pt x="30710" y="7192"/>
                  </a:cubicBezTo>
                  <a:cubicBezTo>
                    <a:pt x="30710" y="7087"/>
                    <a:pt x="30710" y="6996"/>
                    <a:pt x="30685" y="6947"/>
                  </a:cubicBezTo>
                  <a:cubicBezTo>
                    <a:pt x="30643" y="6839"/>
                    <a:pt x="30633" y="6726"/>
                    <a:pt x="30650" y="6614"/>
                  </a:cubicBezTo>
                  <a:cubicBezTo>
                    <a:pt x="30654" y="6586"/>
                    <a:pt x="30657" y="6565"/>
                    <a:pt x="30657" y="6544"/>
                  </a:cubicBezTo>
                  <a:cubicBezTo>
                    <a:pt x="30657" y="6523"/>
                    <a:pt x="30654" y="6506"/>
                    <a:pt x="30650" y="6485"/>
                  </a:cubicBezTo>
                  <a:cubicBezTo>
                    <a:pt x="30626" y="6397"/>
                    <a:pt x="30598" y="6180"/>
                    <a:pt x="30678" y="6072"/>
                  </a:cubicBezTo>
                  <a:cubicBezTo>
                    <a:pt x="30706" y="6037"/>
                    <a:pt x="30748" y="6016"/>
                    <a:pt x="30794" y="6016"/>
                  </a:cubicBezTo>
                  <a:cubicBezTo>
                    <a:pt x="30822" y="6016"/>
                    <a:pt x="30878" y="5963"/>
                    <a:pt x="30920" y="5925"/>
                  </a:cubicBezTo>
                  <a:cubicBezTo>
                    <a:pt x="30990" y="5860"/>
                    <a:pt x="31080" y="5778"/>
                    <a:pt x="31178" y="5778"/>
                  </a:cubicBezTo>
                  <a:cubicBezTo>
                    <a:pt x="31202" y="5778"/>
                    <a:pt x="31227" y="5783"/>
                    <a:pt x="31253" y="5795"/>
                  </a:cubicBezTo>
                  <a:cubicBezTo>
                    <a:pt x="31263" y="5802"/>
                    <a:pt x="31274" y="5809"/>
                    <a:pt x="31284" y="5816"/>
                  </a:cubicBezTo>
                  <a:cubicBezTo>
                    <a:pt x="31364" y="5871"/>
                    <a:pt x="31483" y="5901"/>
                    <a:pt x="31569" y="5901"/>
                  </a:cubicBezTo>
                  <a:cubicBezTo>
                    <a:pt x="31603" y="5901"/>
                    <a:pt x="31633" y="5896"/>
                    <a:pt x="31652" y="5886"/>
                  </a:cubicBezTo>
                  <a:cubicBezTo>
                    <a:pt x="31666" y="5879"/>
                    <a:pt x="31666" y="5876"/>
                    <a:pt x="31666" y="5869"/>
                  </a:cubicBezTo>
                  <a:cubicBezTo>
                    <a:pt x="31666" y="5767"/>
                    <a:pt x="31739" y="5711"/>
                    <a:pt x="31802" y="5662"/>
                  </a:cubicBezTo>
                  <a:cubicBezTo>
                    <a:pt x="31823" y="5648"/>
                    <a:pt x="31844" y="5631"/>
                    <a:pt x="31865" y="5613"/>
                  </a:cubicBezTo>
                  <a:cubicBezTo>
                    <a:pt x="31897" y="5585"/>
                    <a:pt x="31918" y="5547"/>
                    <a:pt x="31928" y="5501"/>
                  </a:cubicBezTo>
                  <a:cubicBezTo>
                    <a:pt x="31932" y="5473"/>
                    <a:pt x="31939" y="5442"/>
                    <a:pt x="31953" y="5414"/>
                  </a:cubicBezTo>
                  <a:cubicBezTo>
                    <a:pt x="31995" y="5344"/>
                    <a:pt x="32047" y="5284"/>
                    <a:pt x="32114" y="5235"/>
                  </a:cubicBezTo>
                  <a:cubicBezTo>
                    <a:pt x="32180" y="5183"/>
                    <a:pt x="32233" y="5137"/>
                    <a:pt x="32250" y="5074"/>
                  </a:cubicBezTo>
                  <a:cubicBezTo>
                    <a:pt x="32257" y="5050"/>
                    <a:pt x="32264" y="5018"/>
                    <a:pt x="32275" y="4983"/>
                  </a:cubicBezTo>
                  <a:cubicBezTo>
                    <a:pt x="32324" y="4784"/>
                    <a:pt x="32376" y="4598"/>
                    <a:pt x="32450" y="4468"/>
                  </a:cubicBezTo>
                  <a:cubicBezTo>
                    <a:pt x="32478" y="4416"/>
                    <a:pt x="32520" y="4370"/>
                    <a:pt x="32569" y="4339"/>
                  </a:cubicBezTo>
                  <a:cubicBezTo>
                    <a:pt x="32611" y="4314"/>
                    <a:pt x="32611" y="4314"/>
                    <a:pt x="32583" y="4248"/>
                  </a:cubicBezTo>
                  <a:cubicBezTo>
                    <a:pt x="32576" y="4230"/>
                    <a:pt x="32569" y="4213"/>
                    <a:pt x="32558" y="4192"/>
                  </a:cubicBezTo>
                  <a:cubicBezTo>
                    <a:pt x="32530" y="4111"/>
                    <a:pt x="32516" y="4024"/>
                    <a:pt x="32523" y="3940"/>
                  </a:cubicBezTo>
                  <a:cubicBezTo>
                    <a:pt x="32527" y="3905"/>
                    <a:pt x="32520" y="3870"/>
                    <a:pt x="32499" y="3842"/>
                  </a:cubicBezTo>
                  <a:cubicBezTo>
                    <a:pt x="32495" y="3835"/>
                    <a:pt x="32488" y="3831"/>
                    <a:pt x="32481" y="3828"/>
                  </a:cubicBezTo>
                  <a:cubicBezTo>
                    <a:pt x="32463" y="3818"/>
                    <a:pt x="32439" y="3813"/>
                    <a:pt x="32412" y="3813"/>
                  </a:cubicBezTo>
                  <a:cubicBezTo>
                    <a:pt x="32337" y="3813"/>
                    <a:pt x="32240" y="3848"/>
                    <a:pt x="32191" y="3884"/>
                  </a:cubicBezTo>
                  <a:cubicBezTo>
                    <a:pt x="32131" y="3922"/>
                    <a:pt x="32047" y="3933"/>
                    <a:pt x="31960" y="3940"/>
                  </a:cubicBezTo>
                  <a:cubicBezTo>
                    <a:pt x="31844" y="3954"/>
                    <a:pt x="31722" y="3964"/>
                    <a:pt x="31676" y="4052"/>
                  </a:cubicBezTo>
                  <a:cubicBezTo>
                    <a:pt x="31612" y="4182"/>
                    <a:pt x="31520" y="4207"/>
                    <a:pt x="31424" y="4207"/>
                  </a:cubicBezTo>
                  <a:cubicBezTo>
                    <a:pt x="31394" y="4207"/>
                    <a:pt x="31363" y="4205"/>
                    <a:pt x="31333" y="4202"/>
                  </a:cubicBezTo>
                  <a:lnTo>
                    <a:pt x="31288" y="4199"/>
                  </a:lnTo>
                  <a:cubicBezTo>
                    <a:pt x="31267" y="4197"/>
                    <a:pt x="31247" y="4197"/>
                    <a:pt x="31227" y="4197"/>
                  </a:cubicBezTo>
                  <a:cubicBezTo>
                    <a:pt x="31199" y="4197"/>
                    <a:pt x="31171" y="4198"/>
                    <a:pt x="31144" y="4202"/>
                  </a:cubicBezTo>
                  <a:lnTo>
                    <a:pt x="31109" y="4206"/>
                  </a:lnTo>
                  <a:cubicBezTo>
                    <a:pt x="31089" y="4208"/>
                    <a:pt x="31069" y="4208"/>
                    <a:pt x="31047" y="4208"/>
                  </a:cubicBezTo>
                  <a:cubicBezTo>
                    <a:pt x="30887" y="4208"/>
                    <a:pt x="30693" y="4162"/>
                    <a:pt x="30594" y="4069"/>
                  </a:cubicBezTo>
                  <a:cubicBezTo>
                    <a:pt x="30552" y="4031"/>
                    <a:pt x="30528" y="3975"/>
                    <a:pt x="30535" y="3919"/>
                  </a:cubicBezTo>
                  <a:cubicBezTo>
                    <a:pt x="30535" y="3856"/>
                    <a:pt x="30517" y="3793"/>
                    <a:pt x="30486" y="3740"/>
                  </a:cubicBezTo>
                  <a:cubicBezTo>
                    <a:pt x="30479" y="3719"/>
                    <a:pt x="30468" y="3695"/>
                    <a:pt x="30461" y="3674"/>
                  </a:cubicBezTo>
                  <a:cubicBezTo>
                    <a:pt x="30430" y="3604"/>
                    <a:pt x="30416" y="3527"/>
                    <a:pt x="30423" y="3453"/>
                  </a:cubicBezTo>
                  <a:cubicBezTo>
                    <a:pt x="30426" y="3415"/>
                    <a:pt x="30426" y="3408"/>
                    <a:pt x="30318" y="3380"/>
                  </a:cubicBezTo>
                  <a:cubicBezTo>
                    <a:pt x="30220" y="3359"/>
                    <a:pt x="30129" y="3313"/>
                    <a:pt x="30055" y="3247"/>
                  </a:cubicBezTo>
                  <a:cubicBezTo>
                    <a:pt x="29913" y="3107"/>
                    <a:pt x="29660" y="3018"/>
                    <a:pt x="29586" y="3018"/>
                  </a:cubicBezTo>
                  <a:cubicBezTo>
                    <a:pt x="29582" y="3018"/>
                    <a:pt x="29579" y="3019"/>
                    <a:pt x="29576" y="3019"/>
                  </a:cubicBezTo>
                  <a:cubicBezTo>
                    <a:pt x="29563" y="3025"/>
                    <a:pt x="29550" y="3027"/>
                    <a:pt x="29537" y="3027"/>
                  </a:cubicBezTo>
                  <a:cubicBezTo>
                    <a:pt x="29491" y="3027"/>
                    <a:pt x="29441" y="2998"/>
                    <a:pt x="29376" y="2963"/>
                  </a:cubicBezTo>
                  <a:cubicBezTo>
                    <a:pt x="29285" y="2911"/>
                    <a:pt x="29159" y="2837"/>
                    <a:pt x="29012" y="2830"/>
                  </a:cubicBezTo>
                  <a:cubicBezTo>
                    <a:pt x="28998" y="2830"/>
                    <a:pt x="28984" y="2830"/>
                    <a:pt x="28970" y="2827"/>
                  </a:cubicBezTo>
                  <a:cubicBezTo>
                    <a:pt x="28886" y="2823"/>
                    <a:pt x="28812" y="2785"/>
                    <a:pt x="28760" y="2718"/>
                  </a:cubicBezTo>
                  <a:cubicBezTo>
                    <a:pt x="28732" y="2680"/>
                    <a:pt x="28718" y="2631"/>
                    <a:pt x="28721" y="2578"/>
                  </a:cubicBezTo>
                  <a:cubicBezTo>
                    <a:pt x="28721" y="2532"/>
                    <a:pt x="28728" y="2483"/>
                    <a:pt x="28742" y="2438"/>
                  </a:cubicBezTo>
                  <a:cubicBezTo>
                    <a:pt x="28742" y="2417"/>
                    <a:pt x="28739" y="2392"/>
                    <a:pt x="28728" y="2371"/>
                  </a:cubicBezTo>
                  <a:cubicBezTo>
                    <a:pt x="28693" y="2291"/>
                    <a:pt x="28655" y="2214"/>
                    <a:pt x="28613" y="2137"/>
                  </a:cubicBezTo>
                  <a:cubicBezTo>
                    <a:pt x="28567" y="2053"/>
                    <a:pt x="28529" y="1969"/>
                    <a:pt x="28490" y="1885"/>
                  </a:cubicBezTo>
                  <a:cubicBezTo>
                    <a:pt x="28483" y="1860"/>
                    <a:pt x="28473" y="1836"/>
                    <a:pt x="28469" y="1811"/>
                  </a:cubicBezTo>
                  <a:cubicBezTo>
                    <a:pt x="28448" y="1748"/>
                    <a:pt x="28417" y="1696"/>
                    <a:pt x="28371" y="1650"/>
                  </a:cubicBezTo>
                  <a:cubicBezTo>
                    <a:pt x="28291" y="1559"/>
                    <a:pt x="28231" y="1451"/>
                    <a:pt x="28189" y="1339"/>
                  </a:cubicBezTo>
                  <a:cubicBezTo>
                    <a:pt x="28172" y="1279"/>
                    <a:pt x="28154" y="1220"/>
                    <a:pt x="28144" y="1160"/>
                  </a:cubicBezTo>
                  <a:cubicBezTo>
                    <a:pt x="28140" y="1146"/>
                    <a:pt x="28137" y="1136"/>
                    <a:pt x="28137" y="1122"/>
                  </a:cubicBezTo>
                  <a:cubicBezTo>
                    <a:pt x="28130" y="1090"/>
                    <a:pt x="28119" y="1062"/>
                    <a:pt x="28109" y="1031"/>
                  </a:cubicBezTo>
                  <a:cubicBezTo>
                    <a:pt x="28105" y="1020"/>
                    <a:pt x="28102" y="1013"/>
                    <a:pt x="28098" y="1006"/>
                  </a:cubicBezTo>
                  <a:cubicBezTo>
                    <a:pt x="28070" y="943"/>
                    <a:pt x="28028" y="887"/>
                    <a:pt x="27972" y="849"/>
                  </a:cubicBezTo>
                  <a:cubicBezTo>
                    <a:pt x="27958" y="838"/>
                    <a:pt x="27944" y="828"/>
                    <a:pt x="27930" y="817"/>
                  </a:cubicBezTo>
                  <a:cubicBezTo>
                    <a:pt x="27881" y="768"/>
                    <a:pt x="27864" y="695"/>
                    <a:pt x="27888" y="632"/>
                  </a:cubicBezTo>
                  <a:cubicBezTo>
                    <a:pt x="27906" y="555"/>
                    <a:pt x="27822" y="491"/>
                    <a:pt x="27703" y="411"/>
                  </a:cubicBezTo>
                  <a:cubicBezTo>
                    <a:pt x="27640" y="376"/>
                    <a:pt x="27587" y="334"/>
                    <a:pt x="27542" y="281"/>
                  </a:cubicBezTo>
                  <a:cubicBezTo>
                    <a:pt x="27517" y="246"/>
                    <a:pt x="27405" y="229"/>
                    <a:pt x="27307" y="215"/>
                  </a:cubicBezTo>
                  <a:cubicBezTo>
                    <a:pt x="27178" y="197"/>
                    <a:pt x="27031" y="176"/>
                    <a:pt x="26901" y="106"/>
                  </a:cubicBezTo>
                  <a:cubicBezTo>
                    <a:pt x="26816" y="63"/>
                    <a:pt x="26722" y="41"/>
                    <a:pt x="26628" y="41"/>
                  </a:cubicBezTo>
                  <a:cubicBezTo>
                    <a:pt x="26609" y="41"/>
                    <a:pt x="26591" y="42"/>
                    <a:pt x="26572" y="43"/>
                  </a:cubicBezTo>
                  <a:cubicBezTo>
                    <a:pt x="26558" y="44"/>
                    <a:pt x="26543" y="44"/>
                    <a:pt x="26529" y="44"/>
                  </a:cubicBezTo>
                  <a:cubicBezTo>
                    <a:pt x="26452" y="44"/>
                    <a:pt x="26375" y="36"/>
                    <a:pt x="26299" y="15"/>
                  </a:cubicBezTo>
                  <a:cubicBezTo>
                    <a:pt x="26288" y="12"/>
                    <a:pt x="26278" y="8"/>
                    <a:pt x="26267" y="8"/>
                  </a:cubicBezTo>
                  <a:cubicBezTo>
                    <a:pt x="26243" y="5"/>
                    <a:pt x="26218" y="1"/>
                    <a:pt x="26194" y="1"/>
                  </a:cubicBezTo>
                  <a:cubicBezTo>
                    <a:pt x="26181" y="1"/>
                    <a:pt x="26168" y="1"/>
                    <a:pt x="261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9" name="Google Shape;6429;p53"/>
            <p:cNvSpPr/>
            <p:nvPr/>
          </p:nvSpPr>
          <p:spPr>
            <a:xfrm>
              <a:off x="2846836" y="1894023"/>
              <a:ext cx="15804" cy="11649"/>
            </a:xfrm>
            <a:custGeom>
              <a:avLst/>
              <a:gdLst/>
              <a:ahLst/>
              <a:cxnLst/>
              <a:rect l="l" t="t" r="r" b="b"/>
              <a:pathLst>
                <a:path w="1164" h="858" extrusionOk="0">
                  <a:moveTo>
                    <a:pt x="974" y="1"/>
                  </a:moveTo>
                  <a:cubicBezTo>
                    <a:pt x="894" y="1"/>
                    <a:pt x="792" y="4"/>
                    <a:pt x="729" y="8"/>
                  </a:cubicBezTo>
                  <a:cubicBezTo>
                    <a:pt x="659" y="11"/>
                    <a:pt x="593" y="18"/>
                    <a:pt x="537" y="18"/>
                  </a:cubicBezTo>
                  <a:cubicBezTo>
                    <a:pt x="425" y="18"/>
                    <a:pt x="190" y="130"/>
                    <a:pt x="78" y="302"/>
                  </a:cubicBezTo>
                  <a:cubicBezTo>
                    <a:pt x="8" y="410"/>
                    <a:pt x="1" y="550"/>
                    <a:pt x="60" y="666"/>
                  </a:cubicBezTo>
                  <a:cubicBezTo>
                    <a:pt x="136" y="821"/>
                    <a:pt x="276" y="858"/>
                    <a:pt x="393" y="858"/>
                  </a:cubicBezTo>
                  <a:cubicBezTo>
                    <a:pt x="435" y="858"/>
                    <a:pt x="473" y="853"/>
                    <a:pt x="505" y="848"/>
                  </a:cubicBezTo>
                  <a:cubicBezTo>
                    <a:pt x="715" y="809"/>
                    <a:pt x="855" y="690"/>
                    <a:pt x="859" y="641"/>
                  </a:cubicBezTo>
                  <a:cubicBezTo>
                    <a:pt x="869" y="533"/>
                    <a:pt x="946" y="410"/>
                    <a:pt x="1023" y="291"/>
                  </a:cubicBezTo>
                  <a:cubicBezTo>
                    <a:pt x="1083" y="200"/>
                    <a:pt x="1163" y="74"/>
                    <a:pt x="1153" y="22"/>
                  </a:cubicBezTo>
                  <a:cubicBezTo>
                    <a:pt x="1128" y="4"/>
                    <a:pt x="1058" y="1"/>
                    <a:pt x="9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0" name="Google Shape;6430;p53"/>
            <p:cNvSpPr/>
            <p:nvPr/>
          </p:nvSpPr>
          <p:spPr>
            <a:xfrm>
              <a:off x="2648062" y="1810752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0" y="0"/>
                  </a:moveTo>
                  <a:cubicBezTo>
                    <a:pt x="7" y="11"/>
                    <a:pt x="14" y="21"/>
                    <a:pt x="18" y="32"/>
                  </a:cubicBezTo>
                  <a:cubicBezTo>
                    <a:pt x="14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1" name="Google Shape;6431;p53"/>
            <p:cNvSpPr/>
            <p:nvPr/>
          </p:nvSpPr>
          <p:spPr>
            <a:xfrm>
              <a:off x="2732242" y="1823623"/>
              <a:ext cx="2770" cy="2064"/>
            </a:xfrm>
            <a:custGeom>
              <a:avLst/>
              <a:gdLst/>
              <a:ahLst/>
              <a:cxnLst/>
              <a:rect l="l" t="t" r="r" b="b"/>
              <a:pathLst>
                <a:path w="204" h="152" extrusionOk="0">
                  <a:moveTo>
                    <a:pt x="203" y="22"/>
                  </a:moveTo>
                  <a:cubicBezTo>
                    <a:pt x="74" y="1"/>
                    <a:pt x="32" y="88"/>
                    <a:pt x="0" y="151"/>
                  </a:cubicBezTo>
                  <a:cubicBezTo>
                    <a:pt x="32" y="88"/>
                    <a:pt x="74" y="1"/>
                    <a:pt x="203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2" name="Google Shape;6432;p53"/>
            <p:cNvSpPr/>
            <p:nvPr/>
          </p:nvSpPr>
          <p:spPr>
            <a:xfrm>
              <a:off x="2647627" y="1810277"/>
              <a:ext cx="353" cy="434"/>
            </a:xfrm>
            <a:custGeom>
              <a:avLst/>
              <a:gdLst/>
              <a:ahLst/>
              <a:cxnLst/>
              <a:rect l="l" t="t" r="r" b="b"/>
              <a:pathLst>
                <a:path w="26" h="32" extrusionOk="0">
                  <a:moveTo>
                    <a:pt x="1" y="0"/>
                  </a:moveTo>
                  <a:cubicBezTo>
                    <a:pt x="11" y="11"/>
                    <a:pt x="18" y="21"/>
                    <a:pt x="25" y="32"/>
                  </a:cubicBezTo>
                  <a:cubicBezTo>
                    <a:pt x="18" y="21"/>
                    <a:pt x="1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3" name="Google Shape;6433;p53"/>
            <p:cNvSpPr/>
            <p:nvPr/>
          </p:nvSpPr>
          <p:spPr>
            <a:xfrm>
              <a:off x="2648347" y="1811227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0" y="0"/>
                  </a:moveTo>
                  <a:cubicBezTo>
                    <a:pt x="7" y="11"/>
                    <a:pt x="11" y="21"/>
                    <a:pt x="14" y="32"/>
                  </a:cubicBezTo>
                  <a:cubicBezTo>
                    <a:pt x="11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4" name="Google Shape;6434;p53"/>
            <p:cNvSpPr/>
            <p:nvPr/>
          </p:nvSpPr>
          <p:spPr>
            <a:xfrm>
              <a:off x="2698638" y="1829665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60" y="0"/>
                  </a:moveTo>
                  <a:lnTo>
                    <a:pt x="60" y="0"/>
                  </a:lnTo>
                  <a:cubicBezTo>
                    <a:pt x="39" y="7"/>
                    <a:pt x="18" y="21"/>
                    <a:pt x="0" y="35"/>
                  </a:cubicBezTo>
                  <a:cubicBezTo>
                    <a:pt x="18" y="21"/>
                    <a:pt x="39" y="11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5" name="Google Shape;6435;p53"/>
            <p:cNvSpPr/>
            <p:nvPr/>
          </p:nvSpPr>
          <p:spPr>
            <a:xfrm>
              <a:off x="2704530" y="1833752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7"/>
                  </a:moveTo>
                  <a:lnTo>
                    <a:pt x="0" y="0"/>
                  </a:ln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6" name="Google Shape;6436;p53"/>
            <p:cNvSpPr/>
            <p:nvPr/>
          </p:nvSpPr>
          <p:spPr>
            <a:xfrm>
              <a:off x="2645210" y="1808322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0" y="1"/>
                  </a:moveTo>
                  <a:lnTo>
                    <a:pt x="32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7" name="Google Shape;6437;p53"/>
            <p:cNvSpPr/>
            <p:nvPr/>
          </p:nvSpPr>
          <p:spPr>
            <a:xfrm>
              <a:off x="2646201" y="1809041"/>
              <a:ext cx="448" cy="339"/>
            </a:xfrm>
            <a:custGeom>
              <a:avLst/>
              <a:gdLst/>
              <a:ahLst/>
              <a:cxnLst/>
              <a:rect l="l" t="t" r="r" b="b"/>
              <a:pathLst>
                <a:path w="33" h="25" extrusionOk="0">
                  <a:moveTo>
                    <a:pt x="1" y="0"/>
                  </a:moveTo>
                  <a:lnTo>
                    <a:pt x="3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8" name="Google Shape;6438;p53"/>
            <p:cNvSpPr/>
            <p:nvPr/>
          </p:nvSpPr>
          <p:spPr>
            <a:xfrm>
              <a:off x="2645685" y="1808661"/>
              <a:ext cx="434" cy="339"/>
            </a:xfrm>
            <a:custGeom>
              <a:avLst/>
              <a:gdLst/>
              <a:ahLst/>
              <a:cxnLst/>
              <a:rect l="l" t="t" r="r" b="b"/>
              <a:pathLst>
                <a:path w="32" h="25" extrusionOk="0">
                  <a:moveTo>
                    <a:pt x="0" y="0"/>
                  </a:moveTo>
                  <a:lnTo>
                    <a:pt x="3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9" name="Google Shape;6439;p53"/>
            <p:cNvSpPr/>
            <p:nvPr/>
          </p:nvSpPr>
          <p:spPr>
            <a:xfrm>
              <a:off x="2757863" y="182481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0" name="Google Shape;6440;p53"/>
            <p:cNvSpPr/>
            <p:nvPr/>
          </p:nvSpPr>
          <p:spPr>
            <a:xfrm>
              <a:off x="2622101" y="176648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8" y="1"/>
                  </a:lnTo>
                  <a:lnTo>
                    <a:pt x="1" y="18"/>
                  </a:ln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1" name="Google Shape;6441;p53"/>
            <p:cNvSpPr/>
            <p:nvPr/>
          </p:nvSpPr>
          <p:spPr>
            <a:xfrm>
              <a:off x="2646731" y="1809421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0"/>
                  </a:moveTo>
                  <a:cubicBezTo>
                    <a:pt x="11" y="11"/>
                    <a:pt x="21" y="21"/>
                    <a:pt x="32" y="28"/>
                  </a:cubicBezTo>
                  <a:cubicBezTo>
                    <a:pt x="21" y="21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2" name="Google Shape;6442;p53"/>
            <p:cNvSpPr/>
            <p:nvPr/>
          </p:nvSpPr>
          <p:spPr>
            <a:xfrm>
              <a:off x="2647152" y="1809801"/>
              <a:ext cx="448" cy="394"/>
            </a:xfrm>
            <a:custGeom>
              <a:avLst/>
              <a:gdLst/>
              <a:ahLst/>
              <a:cxnLst/>
              <a:rect l="l" t="t" r="r" b="b"/>
              <a:pathLst>
                <a:path w="33" h="29" extrusionOk="0">
                  <a:moveTo>
                    <a:pt x="1" y="0"/>
                  </a:moveTo>
                  <a:cubicBezTo>
                    <a:pt x="11" y="11"/>
                    <a:pt x="22" y="21"/>
                    <a:pt x="32" y="28"/>
                  </a:cubicBezTo>
                  <a:cubicBezTo>
                    <a:pt x="22" y="21"/>
                    <a:pt x="1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3" name="Google Shape;6443;p53"/>
            <p:cNvSpPr/>
            <p:nvPr/>
          </p:nvSpPr>
          <p:spPr>
            <a:xfrm>
              <a:off x="2642685" y="180532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4" name="Google Shape;6444;p53"/>
            <p:cNvSpPr/>
            <p:nvPr/>
          </p:nvSpPr>
          <p:spPr>
            <a:xfrm>
              <a:off x="2643730" y="1806271"/>
              <a:ext cx="1494" cy="2064"/>
            </a:xfrm>
            <a:custGeom>
              <a:avLst/>
              <a:gdLst/>
              <a:ahLst/>
              <a:cxnLst/>
              <a:rect l="l" t="t" r="r" b="b"/>
              <a:pathLst>
                <a:path w="110" h="152" extrusionOk="0">
                  <a:moveTo>
                    <a:pt x="1" y="1"/>
                  </a:moveTo>
                  <a:cubicBezTo>
                    <a:pt x="43" y="50"/>
                    <a:pt x="78" y="99"/>
                    <a:pt x="109" y="152"/>
                  </a:cubicBezTo>
                  <a:cubicBezTo>
                    <a:pt x="78" y="99"/>
                    <a:pt x="43" y="50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5" name="Google Shape;6445;p53"/>
            <p:cNvSpPr/>
            <p:nvPr/>
          </p:nvSpPr>
          <p:spPr>
            <a:xfrm>
              <a:off x="2634280" y="1782606"/>
              <a:ext cx="1765" cy="2770"/>
            </a:xfrm>
            <a:custGeom>
              <a:avLst/>
              <a:gdLst/>
              <a:ahLst/>
              <a:cxnLst/>
              <a:rect l="l" t="t" r="r" b="b"/>
              <a:pathLst>
                <a:path w="130" h="204" extrusionOk="0">
                  <a:moveTo>
                    <a:pt x="0" y="1"/>
                  </a:moveTo>
                  <a:cubicBezTo>
                    <a:pt x="0" y="39"/>
                    <a:pt x="70" y="127"/>
                    <a:pt x="130" y="204"/>
                  </a:cubicBezTo>
                  <a:cubicBezTo>
                    <a:pt x="70" y="127"/>
                    <a:pt x="0" y="39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6" name="Google Shape;6446;p53"/>
            <p:cNvSpPr/>
            <p:nvPr/>
          </p:nvSpPr>
          <p:spPr>
            <a:xfrm>
              <a:off x="2643404" y="1805945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7" name="Google Shape;6447;p53"/>
            <p:cNvSpPr/>
            <p:nvPr/>
          </p:nvSpPr>
          <p:spPr>
            <a:xfrm>
              <a:off x="2725915" y="1830616"/>
              <a:ext cx="543" cy="204"/>
            </a:xfrm>
            <a:custGeom>
              <a:avLst/>
              <a:gdLst/>
              <a:ahLst/>
              <a:cxnLst/>
              <a:rect l="l" t="t" r="r" b="b"/>
              <a:pathLst>
                <a:path w="40" h="15" extrusionOk="0">
                  <a:moveTo>
                    <a:pt x="39" y="0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8" name="Google Shape;6448;p53"/>
            <p:cNvSpPr/>
            <p:nvPr/>
          </p:nvSpPr>
          <p:spPr>
            <a:xfrm>
              <a:off x="2701204" y="1827805"/>
              <a:ext cx="815" cy="353"/>
            </a:xfrm>
            <a:custGeom>
              <a:avLst/>
              <a:gdLst/>
              <a:ahLst/>
              <a:cxnLst/>
              <a:rect l="l" t="t" r="r" b="b"/>
              <a:pathLst>
                <a:path w="60" h="26" extrusionOk="0">
                  <a:moveTo>
                    <a:pt x="0" y="25"/>
                  </a:moveTo>
                  <a:cubicBezTo>
                    <a:pt x="18" y="11"/>
                    <a:pt x="39" y="1"/>
                    <a:pt x="60" y="1"/>
                  </a:cubicBezTo>
                  <a:cubicBezTo>
                    <a:pt x="39" y="1"/>
                    <a:pt x="18" y="11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9" name="Google Shape;6449;p53"/>
            <p:cNvSpPr/>
            <p:nvPr/>
          </p:nvSpPr>
          <p:spPr>
            <a:xfrm>
              <a:off x="2757673" y="182453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cubicBezTo>
                    <a:pt x="0" y="4"/>
                    <a:pt x="4" y="7"/>
                    <a:pt x="7" y="11"/>
                  </a:cubicBezTo>
                  <a:cubicBezTo>
                    <a:pt x="4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0" name="Google Shape;6450;p53"/>
            <p:cNvSpPr/>
            <p:nvPr/>
          </p:nvSpPr>
          <p:spPr>
            <a:xfrm>
              <a:off x="2758012" y="1824954"/>
              <a:ext cx="1955" cy="1018"/>
            </a:xfrm>
            <a:custGeom>
              <a:avLst/>
              <a:gdLst/>
              <a:ahLst/>
              <a:cxnLst/>
              <a:rect l="l" t="t" r="r" b="b"/>
              <a:pathLst>
                <a:path w="144" h="75" extrusionOk="0">
                  <a:moveTo>
                    <a:pt x="0" y="1"/>
                  </a:moveTo>
                  <a:lnTo>
                    <a:pt x="0" y="1"/>
                  </a:lnTo>
                  <a:cubicBezTo>
                    <a:pt x="42" y="36"/>
                    <a:pt x="91" y="60"/>
                    <a:pt x="143" y="74"/>
                  </a:cubicBezTo>
                  <a:cubicBezTo>
                    <a:pt x="91" y="57"/>
                    <a:pt x="42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1" name="Google Shape;6451;p53"/>
            <p:cNvSpPr/>
            <p:nvPr/>
          </p:nvSpPr>
          <p:spPr>
            <a:xfrm>
              <a:off x="2626338" y="1766353"/>
              <a:ext cx="869" cy="679"/>
            </a:xfrm>
            <a:custGeom>
              <a:avLst/>
              <a:gdLst/>
              <a:ahLst/>
              <a:cxnLst/>
              <a:rect l="l" t="t" r="r" b="b"/>
              <a:pathLst>
                <a:path w="64" h="50" extrusionOk="0">
                  <a:moveTo>
                    <a:pt x="64" y="49"/>
                  </a:moveTo>
                  <a:cubicBezTo>
                    <a:pt x="43" y="32"/>
                    <a:pt x="22" y="14"/>
                    <a:pt x="1" y="0"/>
                  </a:cubicBezTo>
                  <a:cubicBezTo>
                    <a:pt x="22" y="14"/>
                    <a:pt x="43" y="32"/>
                    <a:pt x="64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2" name="Google Shape;6452;p53"/>
            <p:cNvSpPr/>
            <p:nvPr/>
          </p:nvSpPr>
          <p:spPr>
            <a:xfrm>
              <a:off x="2757768" y="18246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cubicBezTo>
                    <a:pt x="0" y="4"/>
                    <a:pt x="4" y="8"/>
                    <a:pt x="7" y="11"/>
                  </a:cubicBezTo>
                  <a:cubicBezTo>
                    <a:pt x="4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3" name="Google Shape;6453;p53"/>
            <p:cNvSpPr/>
            <p:nvPr/>
          </p:nvSpPr>
          <p:spPr>
            <a:xfrm>
              <a:off x="2760049" y="1825959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0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4" name="Google Shape;6454;p53"/>
            <p:cNvSpPr/>
            <p:nvPr/>
          </p:nvSpPr>
          <p:spPr>
            <a:xfrm>
              <a:off x="2704571" y="1833223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1"/>
                  </a:moveTo>
                  <a:cubicBezTo>
                    <a:pt x="1" y="11"/>
                    <a:pt x="1" y="18"/>
                    <a:pt x="1" y="29"/>
                  </a:cubicBezTo>
                  <a:cubicBezTo>
                    <a:pt x="1" y="18"/>
                    <a:pt x="1" y="1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5" name="Google Shape;6455;p53"/>
            <p:cNvSpPr/>
            <p:nvPr/>
          </p:nvSpPr>
          <p:spPr>
            <a:xfrm>
              <a:off x="2634280" y="1780800"/>
              <a:ext cx="339" cy="1819"/>
            </a:xfrm>
            <a:custGeom>
              <a:avLst/>
              <a:gdLst/>
              <a:ahLst/>
              <a:cxnLst/>
              <a:rect l="l" t="t" r="r" b="b"/>
              <a:pathLst>
                <a:path w="25" h="134" extrusionOk="0">
                  <a:moveTo>
                    <a:pt x="25" y="1"/>
                  </a:moveTo>
                  <a:lnTo>
                    <a:pt x="18" y="22"/>
                  </a:lnTo>
                  <a:cubicBezTo>
                    <a:pt x="11" y="57"/>
                    <a:pt x="4" y="95"/>
                    <a:pt x="0" y="134"/>
                  </a:cubicBezTo>
                  <a:cubicBezTo>
                    <a:pt x="4" y="95"/>
                    <a:pt x="11" y="60"/>
                    <a:pt x="18" y="25"/>
                  </a:cubicBez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6" name="Google Shape;6456;p53"/>
            <p:cNvSpPr/>
            <p:nvPr/>
          </p:nvSpPr>
          <p:spPr>
            <a:xfrm>
              <a:off x="2726580" y="1830426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7" name="Google Shape;6457;p53"/>
            <p:cNvSpPr/>
            <p:nvPr/>
          </p:nvSpPr>
          <p:spPr>
            <a:xfrm>
              <a:off x="2917955" y="1668962"/>
              <a:ext cx="1575" cy="530"/>
            </a:xfrm>
            <a:custGeom>
              <a:avLst/>
              <a:gdLst/>
              <a:ahLst/>
              <a:cxnLst/>
              <a:rect l="l" t="t" r="r" b="b"/>
              <a:pathLst>
                <a:path w="116" h="39" extrusionOk="0">
                  <a:moveTo>
                    <a:pt x="0" y="39"/>
                  </a:moveTo>
                  <a:cubicBezTo>
                    <a:pt x="39" y="25"/>
                    <a:pt x="77" y="11"/>
                    <a:pt x="116" y="0"/>
                  </a:cubicBezTo>
                  <a:cubicBezTo>
                    <a:pt x="77" y="11"/>
                    <a:pt x="39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8" name="Google Shape;6458;p53"/>
            <p:cNvSpPr/>
            <p:nvPr/>
          </p:nvSpPr>
          <p:spPr>
            <a:xfrm>
              <a:off x="2754577" y="17042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9" name="Google Shape;6459;p53"/>
            <p:cNvSpPr/>
            <p:nvPr/>
          </p:nvSpPr>
          <p:spPr>
            <a:xfrm>
              <a:off x="2822125" y="171378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0" name="Google Shape;6460;p53"/>
            <p:cNvSpPr/>
            <p:nvPr/>
          </p:nvSpPr>
          <p:spPr>
            <a:xfrm>
              <a:off x="2821324" y="1714297"/>
              <a:ext cx="95" cy="68"/>
            </a:xfrm>
            <a:custGeom>
              <a:avLst/>
              <a:gdLst/>
              <a:ahLst/>
              <a:cxnLst/>
              <a:rect l="l" t="t" r="r" b="b"/>
              <a:pathLst>
                <a:path w="7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1" name="Google Shape;6461;p53"/>
            <p:cNvSpPr/>
            <p:nvPr/>
          </p:nvSpPr>
          <p:spPr>
            <a:xfrm>
              <a:off x="2845370" y="1708079"/>
              <a:ext cx="1670" cy="299"/>
            </a:xfrm>
            <a:custGeom>
              <a:avLst/>
              <a:gdLst/>
              <a:ahLst/>
              <a:cxnLst/>
              <a:rect l="l" t="t" r="r" b="b"/>
              <a:pathLst>
                <a:path w="123" h="22" extrusionOk="0">
                  <a:moveTo>
                    <a:pt x="0" y="0"/>
                  </a:moveTo>
                  <a:lnTo>
                    <a:pt x="0" y="0"/>
                  </a:lnTo>
                  <a:cubicBezTo>
                    <a:pt x="46" y="11"/>
                    <a:pt x="88" y="18"/>
                    <a:pt x="123" y="21"/>
                  </a:cubicBezTo>
                  <a:cubicBezTo>
                    <a:pt x="88" y="18"/>
                    <a:pt x="46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2" name="Google Shape;6462;p53"/>
            <p:cNvSpPr/>
            <p:nvPr/>
          </p:nvSpPr>
          <p:spPr>
            <a:xfrm>
              <a:off x="2819124" y="171534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3" name="Google Shape;6463;p53"/>
            <p:cNvSpPr/>
            <p:nvPr/>
          </p:nvSpPr>
          <p:spPr>
            <a:xfrm>
              <a:off x="2822980" y="171321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7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4" name="Google Shape;6464;p53"/>
            <p:cNvSpPr/>
            <p:nvPr/>
          </p:nvSpPr>
          <p:spPr>
            <a:xfrm>
              <a:off x="2924459" y="1658548"/>
              <a:ext cx="869" cy="720"/>
            </a:xfrm>
            <a:custGeom>
              <a:avLst/>
              <a:gdLst/>
              <a:ahLst/>
              <a:cxnLst/>
              <a:rect l="l" t="t" r="r" b="b"/>
              <a:pathLst>
                <a:path w="64" h="53" extrusionOk="0">
                  <a:moveTo>
                    <a:pt x="64" y="53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5" name="Google Shape;6465;p53"/>
            <p:cNvSpPr/>
            <p:nvPr/>
          </p:nvSpPr>
          <p:spPr>
            <a:xfrm>
              <a:off x="2759424" y="1705363"/>
              <a:ext cx="5390" cy="204"/>
            </a:xfrm>
            <a:custGeom>
              <a:avLst/>
              <a:gdLst/>
              <a:ahLst/>
              <a:cxnLst/>
              <a:rect l="l" t="t" r="r" b="b"/>
              <a:pathLst>
                <a:path w="397" h="15" extrusionOk="0">
                  <a:moveTo>
                    <a:pt x="397" y="11"/>
                  </a:moveTo>
                  <a:cubicBezTo>
                    <a:pt x="288" y="1"/>
                    <a:pt x="179" y="1"/>
                    <a:pt x="74" y="11"/>
                  </a:cubicBezTo>
                  <a:lnTo>
                    <a:pt x="1" y="15"/>
                  </a:lnTo>
                  <a:lnTo>
                    <a:pt x="74" y="11"/>
                  </a:lnTo>
                  <a:cubicBezTo>
                    <a:pt x="179" y="1"/>
                    <a:pt x="288" y="1"/>
                    <a:pt x="39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6" name="Google Shape;6466;p53"/>
            <p:cNvSpPr/>
            <p:nvPr/>
          </p:nvSpPr>
          <p:spPr>
            <a:xfrm>
              <a:off x="2818459" y="171553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7" name="Google Shape;6467;p53"/>
            <p:cNvSpPr/>
            <p:nvPr/>
          </p:nvSpPr>
          <p:spPr>
            <a:xfrm>
              <a:off x="2820550" y="171477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8" name="Google Shape;6468;p53"/>
            <p:cNvSpPr/>
            <p:nvPr/>
          </p:nvSpPr>
          <p:spPr>
            <a:xfrm>
              <a:off x="2697063" y="1644102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cubicBezTo>
                    <a:pt x="1" y="4"/>
                    <a:pt x="4" y="11"/>
                    <a:pt x="4" y="18"/>
                  </a:cubicBezTo>
                  <a:cubicBezTo>
                    <a:pt x="4" y="11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9" name="Google Shape;6469;p53"/>
            <p:cNvSpPr/>
            <p:nvPr/>
          </p:nvSpPr>
          <p:spPr>
            <a:xfrm>
              <a:off x="2810815" y="1712641"/>
              <a:ext cx="1385" cy="109"/>
            </a:xfrm>
            <a:custGeom>
              <a:avLst/>
              <a:gdLst/>
              <a:ahLst/>
              <a:cxnLst/>
              <a:rect l="l" t="t" r="r" b="b"/>
              <a:pathLst>
                <a:path w="102" h="8" extrusionOk="0">
                  <a:moveTo>
                    <a:pt x="102" y="0"/>
                  </a:moveTo>
                  <a:lnTo>
                    <a:pt x="81" y="0"/>
                  </a:lnTo>
                  <a:cubicBezTo>
                    <a:pt x="53" y="4"/>
                    <a:pt x="25" y="7"/>
                    <a:pt x="0" y="7"/>
                  </a:cubicBezTo>
                  <a:cubicBezTo>
                    <a:pt x="25" y="7"/>
                    <a:pt x="53" y="4"/>
                    <a:pt x="81" y="0"/>
                  </a:cubicBezTo>
                  <a:cubicBezTo>
                    <a:pt x="88" y="0"/>
                    <a:pt x="95" y="0"/>
                    <a:pt x="10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0" name="Google Shape;6470;p53"/>
            <p:cNvSpPr/>
            <p:nvPr/>
          </p:nvSpPr>
          <p:spPr>
            <a:xfrm>
              <a:off x="2817943" y="1715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1" name="Google Shape;6471;p53"/>
            <p:cNvSpPr/>
            <p:nvPr/>
          </p:nvSpPr>
          <p:spPr>
            <a:xfrm>
              <a:off x="2901594" y="1637965"/>
              <a:ext cx="5540" cy="10943"/>
            </a:xfrm>
            <a:custGeom>
              <a:avLst/>
              <a:gdLst/>
              <a:ahLst/>
              <a:cxnLst/>
              <a:rect l="l" t="t" r="r" b="b"/>
              <a:pathLst>
                <a:path w="408" h="806" extrusionOk="0">
                  <a:moveTo>
                    <a:pt x="407" y="1"/>
                  </a:moveTo>
                  <a:lnTo>
                    <a:pt x="1" y="80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2" name="Google Shape;6472;p53"/>
            <p:cNvSpPr/>
            <p:nvPr/>
          </p:nvSpPr>
          <p:spPr>
            <a:xfrm>
              <a:off x="2921988" y="1656213"/>
              <a:ext cx="774" cy="774"/>
            </a:xfrm>
            <a:custGeom>
              <a:avLst/>
              <a:gdLst/>
              <a:ahLst/>
              <a:cxnLst/>
              <a:rect l="l" t="t" r="r" b="b"/>
              <a:pathLst>
                <a:path w="57" h="57" extrusionOk="0">
                  <a:moveTo>
                    <a:pt x="1" y="1"/>
                  </a:moveTo>
                  <a:cubicBezTo>
                    <a:pt x="15" y="18"/>
                    <a:pt x="36" y="36"/>
                    <a:pt x="57" y="57"/>
                  </a:cubicBezTo>
                  <a:cubicBezTo>
                    <a:pt x="36" y="36"/>
                    <a:pt x="18" y="1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3" name="Google Shape;6473;p53"/>
            <p:cNvSpPr/>
            <p:nvPr/>
          </p:nvSpPr>
          <p:spPr>
            <a:xfrm>
              <a:off x="2803687" y="1710645"/>
              <a:ext cx="679" cy="394"/>
            </a:xfrm>
            <a:custGeom>
              <a:avLst/>
              <a:gdLst/>
              <a:ahLst/>
              <a:cxnLst/>
              <a:rect l="l" t="t" r="r" b="b"/>
              <a:pathLst>
                <a:path w="50" h="29" extrusionOk="0">
                  <a:moveTo>
                    <a:pt x="0" y="0"/>
                  </a:moveTo>
                  <a:lnTo>
                    <a:pt x="49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4" name="Google Shape;6474;p53"/>
            <p:cNvSpPr/>
            <p:nvPr/>
          </p:nvSpPr>
          <p:spPr>
            <a:xfrm>
              <a:off x="2598395" y="1730373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7"/>
                    <a:pt x="0" y="11"/>
                    <a:pt x="0" y="18"/>
                  </a:cubicBezTo>
                  <a:cubicBezTo>
                    <a:pt x="4" y="11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5" name="Google Shape;6475;p53"/>
            <p:cNvSpPr/>
            <p:nvPr/>
          </p:nvSpPr>
          <p:spPr>
            <a:xfrm>
              <a:off x="2598531" y="172946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ubicBezTo>
                    <a:pt x="1" y="8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6" name="Google Shape;6476;p53"/>
            <p:cNvSpPr/>
            <p:nvPr/>
          </p:nvSpPr>
          <p:spPr>
            <a:xfrm>
              <a:off x="2609176" y="1723815"/>
              <a:ext cx="1113" cy="679"/>
            </a:xfrm>
            <a:custGeom>
              <a:avLst/>
              <a:gdLst/>
              <a:ahLst/>
              <a:cxnLst/>
              <a:rect l="l" t="t" r="r" b="b"/>
              <a:pathLst>
                <a:path w="82" h="50" extrusionOk="0">
                  <a:moveTo>
                    <a:pt x="81" y="49"/>
                  </a:moveTo>
                  <a:cubicBezTo>
                    <a:pt x="57" y="32"/>
                    <a:pt x="29" y="14"/>
                    <a:pt x="1" y="0"/>
                  </a:cubicBezTo>
                  <a:cubicBezTo>
                    <a:pt x="29" y="14"/>
                    <a:pt x="57" y="32"/>
                    <a:pt x="81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7" name="Google Shape;6477;p53"/>
            <p:cNvSpPr/>
            <p:nvPr/>
          </p:nvSpPr>
          <p:spPr>
            <a:xfrm>
              <a:off x="2597825" y="173203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7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8" name="Google Shape;6478;p53"/>
            <p:cNvSpPr/>
            <p:nvPr/>
          </p:nvSpPr>
          <p:spPr>
            <a:xfrm>
              <a:off x="2643975" y="17104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9" name="Google Shape;6479;p53"/>
            <p:cNvSpPr/>
            <p:nvPr/>
          </p:nvSpPr>
          <p:spPr>
            <a:xfrm>
              <a:off x="2598490" y="172989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0" name="Google Shape;6480;p53"/>
            <p:cNvSpPr/>
            <p:nvPr/>
          </p:nvSpPr>
          <p:spPr>
            <a:xfrm>
              <a:off x="2598056" y="1731459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8"/>
                    <a:pt x="4" y="15"/>
                    <a:pt x="1" y="22"/>
                  </a:cubicBezTo>
                  <a:cubicBezTo>
                    <a:pt x="4" y="15"/>
                    <a:pt x="8" y="8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1" name="Google Shape;6481;p53"/>
            <p:cNvSpPr/>
            <p:nvPr/>
          </p:nvSpPr>
          <p:spPr>
            <a:xfrm>
              <a:off x="2598246" y="1730943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4"/>
                    <a:pt x="4" y="11"/>
                    <a:pt x="1" y="18"/>
                  </a:cubicBezTo>
                  <a:cubicBezTo>
                    <a:pt x="4" y="11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2" name="Google Shape;6482;p53"/>
            <p:cNvSpPr/>
            <p:nvPr/>
          </p:nvSpPr>
          <p:spPr>
            <a:xfrm>
              <a:off x="2597485" y="1732600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cubicBezTo>
                    <a:pt x="8" y="8"/>
                    <a:pt x="4" y="15"/>
                    <a:pt x="1" y="18"/>
                  </a:cubicBezTo>
                  <a:cubicBezTo>
                    <a:pt x="4" y="15"/>
                    <a:pt x="8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3" name="Google Shape;6483;p53"/>
            <p:cNvSpPr/>
            <p:nvPr/>
          </p:nvSpPr>
          <p:spPr>
            <a:xfrm>
              <a:off x="2645156" y="1707604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32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4" name="Google Shape;6484;p53"/>
            <p:cNvSpPr/>
            <p:nvPr/>
          </p:nvSpPr>
          <p:spPr>
            <a:xfrm>
              <a:off x="2625441" y="1716633"/>
              <a:ext cx="6612" cy="4141"/>
            </a:xfrm>
            <a:custGeom>
              <a:avLst/>
              <a:gdLst/>
              <a:ahLst/>
              <a:cxnLst/>
              <a:rect l="l" t="t" r="r" b="b"/>
              <a:pathLst>
                <a:path w="487" h="305" extrusionOk="0">
                  <a:moveTo>
                    <a:pt x="0" y="280"/>
                  </a:moveTo>
                  <a:cubicBezTo>
                    <a:pt x="298" y="305"/>
                    <a:pt x="420" y="133"/>
                    <a:pt x="487" y="0"/>
                  </a:cubicBezTo>
                  <a:cubicBezTo>
                    <a:pt x="420" y="133"/>
                    <a:pt x="298" y="305"/>
                    <a:pt x="0" y="2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5" name="Google Shape;6485;p53"/>
            <p:cNvSpPr/>
            <p:nvPr/>
          </p:nvSpPr>
          <p:spPr>
            <a:xfrm>
              <a:off x="2627437" y="176663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6" name="Google Shape;6486;p53"/>
            <p:cNvSpPr/>
            <p:nvPr/>
          </p:nvSpPr>
          <p:spPr>
            <a:xfrm>
              <a:off x="2629094" y="17652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7" name="Google Shape;6487;p53"/>
            <p:cNvSpPr/>
            <p:nvPr/>
          </p:nvSpPr>
          <p:spPr>
            <a:xfrm>
              <a:off x="2635896" y="1762742"/>
              <a:ext cx="7658" cy="4576"/>
            </a:xfrm>
            <a:custGeom>
              <a:avLst/>
              <a:gdLst/>
              <a:ahLst/>
              <a:cxnLst/>
              <a:rect l="l" t="t" r="r" b="b"/>
              <a:pathLst>
                <a:path w="564" h="337" extrusionOk="0">
                  <a:moveTo>
                    <a:pt x="0" y="0"/>
                  </a:moveTo>
                  <a:lnTo>
                    <a:pt x="0" y="0"/>
                  </a:lnTo>
                  <a:cubicBezTo>
                    <a:pt x="158" y="11"/>
                    <a:pt x="410" y="175"/>
                    <a:pt x="564" y="336"/>
                  </a:cubicBezTo>
                  <a:cubicBezTo>
                    <a:pt x="410" y="175"/>
                    <a:pt x="158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8" name="Google Shape;6488;p53"/>
            <p:cNvSpPr/>
            <p:nvPr/>
          </p:nvSpPr>
          <p:spPr>
            <a:xfrm>
              <a:off x="2634701" y="1762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9" name="Google Shape;6489;p53"/>
            <p:cNvSpPr/>
            <p:nvPr/>
          </p:nvSpPr>
          <p:spPr>
            <a:xfrm>
              <a:off x="2634701" y="1780759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50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0" name="Google Shape;6490;p53"/>
            <p:cNvSpPr/>
            <p:nvPr/>
          </p:nvSpPr>
          <p:spPr>
            <a:xfrm>
              <a:off x="2644925" y="1769055"/>
              <a:ext cx="530" cy="1969"/>
            </a:xfrm>
            <a:custGeom>
              <a:avLst/>
              <a:gdLst/>
              <a:ahLst/>
              <a:cxnLst/>
              <a:rect l="l" t="t" r="r" b="b"/>
              <a:pathLst>
                <a:path w="39" h="145" extrusionOk="0">
                  <a:moveTo>
                    <a:pt x="25" y="144"/>
                  </a:moveTo>
                  <a:cubicBezTo>
                    <a:pt x="39" y="95"/>
                    <a:pt x="28" y="43"/>
                    <a:pt x="0" y="1"/>
                  </a:cubicBezTo>
                  <a:cubicBezTo>
                    <a:pt x="28" y="43"/>
                    <a:pt x="39" y="95"/>
                    <a:pt x="25" y="14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1" name="Google Shape;6491;p53"/>
            <p:cNvSpPr/>
            <p:nvPr/>
          </p:nvSpPr>
          <p:spPr>
            <a:xfrm>
              <a:off x="2635421" y="1780705"/>
              <a:ext cx="625" cy="68"/>
            </a:xfrm>
            <a:custGeom>
              <a:avLst/>
              <a:gdLst/>
              <a:ahLst/>
              <a:cxnLst/>
              <a:rect l="l" t="t" r="r" b="b"/>
              <a:pathLst>
                <a:path w="46" h="5" extrusionOk="0">
                  <a:moveTo>
                    <a:pt x="46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2" name="Google Shape;6492;p53"/>
            <p:cNvSpPr/>
            <p:nvPr/>
          </p:nvSpPr>
          <p:spPr>
            <a:xfrm>
              <a:off x="2636127" y="1780610"/>
              <a:ext cx="543" cy="68"/>
            </a:xfrm>
            <a:custGeom>
              <a:avLst/>
              <a:gdLst/>
              <a:ahLst/>
              <a:cxnLst/>
              <a:rect l="l" t="t" r="r" b="b"/>
              <a:pathLst>
                <a:path w="40" h="5" extrusionOk="0">
                  <a:moveTo>
                    <a:pt x="3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3" name="Google Shape;6493;p53"/>
            <p:cNvSpPr/>
            <p:nvPr/>
          </p:nvSpPr>
          <p:spPr>
            <a:xfrm>
              <a:off x="2635272" y="17627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4" name="Google Shape;6494;p53"/>
            <p:cNvSpPr/>
            <p:nvPr/>
          </p:nvSpPr>
          <p:spPr>
            <a:xfrm>
              <a:off x="2636751" y="1780474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5" name="Google Shape;6495;p53"/>
            <p:cNvSpPr/>
            <p:nvPr/>
          </p:nvSpPr>
          <p:spPr>
            <a:xfrm>
              <a:off x="2963060" y="172699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6" name="Google Shape;6496;p53"/>
            <p:cNvSpPr/>
            <p:nvPr/>
          </p:nvSpPr>
          <p:spPr>
            <a:xfrm>
              <a:off x="2962449" y="1728038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7" name="Google Shape;6497;p53"/>
            <p:cNvSpPr/>
            <p:nvPr/>
          </p:nvSpPr>
          <p:spPr>
            <a:xfrm>
              <a:off x="3013201" y="1703272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8" name="Google Shape;6498;p53"/>
            <p:cNvSpPr/>
            <p:nvPr/>
          </p:nvSpPr>
          <p:spPr>
            <a:xfrm>
              <a:off x="2963684" y="1726286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9" name="Google Shape;6499;p53"/>
            <p:cNvSpPr/>
            <p:nvPr/>
          </p:nvSpPr>
          <p:spPr>
            <a:xfrm>
              <a:off x="2962204" y="1728662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8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0" name="Google Shape;6500;p53"/>
            <p:cNvSpPr/>
            <p:nvPr/>
          </p:nvSpPr>
          <p:spPr>
            <a:xfrm>
              <a:off x="2962774" y="172746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1" name="Google Shape;6501;p53"/>
            <p:cNvSpPr/>
            <p:nvPr/>
          </p:nvSpPr>
          <p:spPr>
            <a:xfrm>
              <a:off x="3012536" y="1703177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2" name="Google Shape;6502;p53"/>
            <p:cNvSpPr/>
            <p:nvPr/>
          </p:nvSpPr>
          <p:spPr>
            <a:xfrm>
              <a:off x="2963345" y="1726612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3" name="Google Shape;6503;p53"/>
            <p:cNvSpPr/>
            <p:nvPr/>
          </p:nvSpPr>
          <p:spPr>
            <a:xfrm>
              <a:off x="2964010" y="172604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4" name="Google Shape;6504;p53"/>
            <p:cNvSpPr/>
            <p:nvPr/>
          </p:nvSpPr>
          <p:spPr>
            <a:xfrm>
              <a:off x="3009685" y="1703082"/>
              <a:ext cx="1344" cy="394"/>
            </a:xfrm>
            <a:custGeom>
              <a:avLst/>
              <a:gdLst/>
              <a:ahLst/>
              <a:cxnLst/>
              <a:rect l="l" t="t" r="r" b="b"/>
              <a:pathLst>
                <a:path w="99" h="29" extrusionOk="0">
                  <a:moveTo>
                    <a:pt x="1" y="1"/>
                  </a:moveTo>
                  <a:cubicBezTo>
                    <a:pt x="32" y="22"/>
                    <a:pt x="67" y="29"/>
                    <a:pt x="99" y="22"/>
                  </a:cubicBezTo>
                  <a:cubicBezTo>
                    <a:pt x="67" y="29"/>
                    <a:pt x="32" y="2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5" name="Google Shape;6505;p53"/>
            <p:cNvSpPr/>
            <p:nvPr/>
          </p:nvSpPr>
          <p:spPr>
            <a:xfrm>
              <a:off x="3011966" y="17031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6" name="Google Shape;6506;p53"/>
            <p:cNvSpPr/>
            <p:nvPr/>
          </p:nvSpPr>
          <p:spPr>
            <a:xfrm>
              <a:off x="2991532" y="1712492"/>
              <a:ext cx="353" cy="1398"/>
            </a:xfrm>
            <a:custGeom>
              <a:avLst/>
              <a:gdLst/>
              <a:ahLst/>
              <a:cxnLst/>
              <a:rect l="l" t="t" r="r" b="b"/>
              <a:pathLst>
                <a:path w="26" h="103" extrusionOk="0">
                  <a:moveTo>
                    <a:pt x="25" y="102"/>
                  </a:moveTo>
                  <a:cubicBezTo>
                    <a:pt x="11" y="71"/>
                    <a:pt x="1" y="36"/>
                    <a:pt x="1" y="1"/>
                  </a:cubicBezTo>
                  <a:cubicBezTo>
                    <a:pt x="1" y="36"/>
                    <a:pt x="11" y="71"/>
                    <a:pt x="25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7" name="Google Shape;6507;p53"/>
            <p:cNvSpPr/>
            <p:nvPr/>
          </p:nvSpPr>
          <p:spPr>
            <a:xfrm>
              <a:off x="3011070" y="1703327"/>
              <a:ext cx="339" cy="54"/>
            </a:xfrm>
            <a:custGeom>
              <a:avLst/>
              <a:gdLst/>
              <a:ahLst/>
              <a:cxnLst/>
              <a:rect l="l" t="t" r="r" b="b"/>
              <a:pathLst>
                <a:path w="25" h="4" extrusionOk="0">
                  <a:moveTo>
                    <a:pt x="25" y="0"/>
                  </a:moveTo>
                  <a:cubicBezTo>
                    <a:pt x="14" y="0"/>
                    <a:pt x="7" y="4"/>
                    <a:pt x="0" y="4"/>
                  </a:cubicBezTo>
                  <a:cubicBezTo>
                    <a:pt x="7" y="4"/>
                    <a:pt x="14" y="0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8" name="Google Shape;6508;p53"/>
            <p:cNvSpPr/>
            <p:nvPr/>
          </p:nvSpPr>
          <p:spPr>
            <a:xfrm>
              <a:off x="2650343" y="18114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9" name="Google Shape;6509;p53"/>
            <p:cNvSpPr/>
            <p:nvPr/>
          </p:nvSpPr>
          <p:spPr>
            <a:xfrm>
              <a:off x="2650723" y="181132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0" name="Google Shape;6510;p53"/>
            <p:cNvSpPr/>
            <p:nvPr/>
          </p:nvSpPr>
          <p:spPr>
            <a:xfrm>
              <a:off x="2698067" y="1830086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1" name="Google Shape;6511;p53"/>
            <p:cNvSpPr/>
            <p:nvPr/>
          </p:nvSpPr>
          <p:spPr>
            <a:xfrm>
              <a:off x="2651008" y="1811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2" name="Google Shape;6512;p53"/>
            <p:cNvSpPr/>
            <p:nvPr/>
          </p:nvSpPr>
          <p:spPr>
            <a:xfrm>
              <a:off x="2651198" y="181113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3" name="Google Shape;6513;p53"/>
            <p:cNvSpPr/>
            <p:nvPr/>
          </p:nvSpPr>
          <p:spPr>
            <a:xfrm>
              <a:off x="2649012" y="18116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4" name="Google Shape;6514;p53"/>
            <p:cNvSpPr/>
            <p:nvPr/>
          </p:nvSpPr>
          <p:spPr>
            <a:xfrm>
              <a:off x="2649487" y="181155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5" name="Google Shape;6515;p53"/>
            <p:cNvSpPr/>
            <p:nvPr/>
          </p:nvSpPr>
          <p:spPr>
            <a:xfrm>
              <a:off x="2649962" y="181145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6" name="Google Shape;6516;p53"/>
            <p:cNvSpPr/>
            <p:nvPr/>
          </p:nvSpPr>
          <p:spPr>
            <a:xfrm>
              <a:off x="2787041" y="1879305"/>
              <a:ext cx="2634" cy="421"/>
            </a:xfrm>
            <a:custGeom>
              <a:avLst/>
              <a:gdLst/>
              <a:ahLst/>
              <a:cxnLst/>
              <a:rect l="l" t="t" r="r" b="b"/>
              <a:pathLst>
                <a:path w="194" h="31" extrusionOk="0">
                  <a:moveTo>
                    <a:pt x="119" y="1"/>
                  </a:moveTo>
                  <a:cubicBezTo>
                    <a:pt x="82" y="1"/>
                    <a:pt x="41" y="15"/>
                    <a:pt x="1" y="31"/>
                  </a:cubicBezTo>
                  <a:cubicBezTo>
                    <a:pt x="43" y="15"/>
                    <a:pt x="84" y="1"/>
                    <a:pt x="120" y="1"/>
                  </a:cubicBezTo>
                  <a:lnTo>
                    <a:pt x="120" y="1"/>
                  </a:lnTo>
                  <a:cubicBezTo>
                    <a:pt x="147" y="1"/>
                    <a:pt x="172" y="8"/>
                    <a:pt x="193" y="27"/>
                  </a:cubicBezTo>
                  <a:cubicBezTo>
                    <a:pt x="173" y="8"/>
                    <a:pt x="148" y="1"/>
                    <a:pt x="122" y="1"/>
                  </a:cubicBezTo>
                  <a:cubicBezTo>
                    <a:pt x="121" y="1"/>
                    <a:pt x="121" y="1"/>
                    <a:pt x="120" y="1"/>
                  </a:cubicBezTo>
                  <a:lnTo>
                    <a:pt x="120" y="1"/>
                  </a:lnTo>
                  <a:cubicBezTo>
                    <a:pt x="120" y="1"/>
                    <a:pt x="119" y="1"/>
                    <a:pt x="1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7" name="Google Shape;6517;p53"/>
            <p:cNvSpPr/>
            <p:nvPr/>
          </p:nvSpPr>
          <p:spPr>
            <a:xfrm>
              <a:off x="2774414" y="1867642"/>
              <a:ext cx="3326" cy="1629"/>
            </a:xfrm>
            <a:custGeom>
              <a:avLst/>
              <a:gdLst/>
              <a:ahLst/>
              <a:cxnLst/>
              <a:rect l="l" t="t" r="r" b="b"/>
              <a:pathLst>
                <a:path w="245" h="120" extrusionOk="0">
                  <a:moveTo>
                    <a:pt x="0" y="1"/>
                  </a:moveTo>
                  <a:lnTo>
                    <a:pt x="0" y="1"/>
                  </a:lnTo>
                  <a:cubicBezTo>
                    <a:pt x="115" y="11"/>
                    <a:pt x="199" y="53"/>
                    <a:pt x="245" y="120"/>
                  </a:cubicBezTo>
                  <a:cubicBezTo>
                    <a:pt x="203" y="53"/>
                    <a:pt x="115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8" name="Google Shape;6518;p53"/>
            <p:cNvSpPr/>
            <p:nvPr/>
          </p:nvSpPr>
          <p:spPr>
            <a:xfrm>
              <a:off x="2764774" y="1848443"/>
              <a:ext cx="5322" cy="8757"/>
            </a:xfrm>
            <a:custGeom>
              <a:avLst/>
              <a:gdLst/>
              <a:ahLst/>
              <a:cxnLst/>
              <a:rect l="l" t="t" r="r" b="b"/>
              <a:pathLst>
                <a:path w="392" h="645" extrusionOk="0">
                  <a:moveTo>
                    <a:pt x="391" y="0"/>
                  </a:moveTo>
                  <a:lnTo>
                    <a:pt x="391" y="0"/>
                  </a:lnTo>
                  <a:cubicBezTo>
                    <a:pt x="171" y="233"/>
                    <a:pt x="0" y="538"/>
                    <a:pt x="0" y="629"/>
                  </a:cubicBezTo>
                  <a:lnTo>
                    <a:pt x="0" y="629"/>
                  </a:lnTo>
                  <a:cubicBezTo>
                    <a:pt x="0" y="538"/>
                    <a:pt x="171" y="237"/>
                    <a:pt x="391" y="0"/>
                  </a:cubicBezTo>
                  <a:close/>
                  <a:moveTo>
                    <a:pt x="0" y="629"/>
                  </a:moveTo>
                  <a:cubicBezTo>
                    <a:pt x="0" y="635"/>
                    <a:pt x="1" y="640"/>
                    <a:pt x="3" y="644"/>
                  </a:cubicBezTo>
                  <a:cubicBezTo>
                    <a:pt x="1" y="640"/>
                    <a:pt x="0" y="635"/>
                    <a:pt x="0" y="6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9" name="Google Shape;6519;p53"/>
            <p:cNvSpPr/>
            <p:nvPr/>
          </p:nvSpPr>
          <p:spPr>
            <a:xfrm>
              <a:off x="2771603" y="1838694"/>
              <a:ext cx="1765" cy="8051"/>
            </a:xfrm>
            <a:custGeom>
              <a:avLst/>
              <a:gdLst/>
              <a:ahLst/>
              <a:cxnLst/>
              <a:rect l="l" t="t" r="r" b="b"/>
              <a:pathLst>
                <a:path w="130" h="593" extrusionOk="0">
                  <a:moveTo>
                    <a:pt x="0" y="592"/>
                  </a:moveTo>
                  <a:cubicBezTo>
                    <a:pt x="130" y="407"/>
                    <a:pt x="112" y="193"/>
                    <a:pt x="95" y="1"/>
                  </a:cubicBezTo>
                  <a:cubicBezTo>
                    <a:pt x="112" y="193"/>
                    <a:pt x="130" y="407"/>
                    <a:pt x="0" y="59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0" name="Google Shape;6520;p53"/>
            <p:cNvSpPr/>
            <p:nvPr/>
          </p:nvSpPr>
          <p:spPr>
            <a:xfrm>
              <a:off x="2786661" y="187976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11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1" name="Google Shape;6521;p53"/>
            <p:cNvSpPr/>
            <p:nvPr/>
          </p:nvSpPr>
          <p:spPr>
            <a:xfrm>
              <a:off x="2761230" y="182599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2" name="Google Shape;6522;p53"/>
            <p:cNvSpPr/>
            <p:nvPr/>
          </p:nvSpPr>
          <p:spPr>
            <a:xfrm>
              <a:off x="2761474" y="182586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3" name="Google Shape;6523;p53"/>
            <p:cNvSpPr/>
            <p:nvPr/>
          </p:nvSpPr>
          <p:spPr>
            <a:xfrm>
              <a:off x="2761705" y="18257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4" name="Google Shape;6524;p53"/>
            <p:cNvSpPr/>
            <p:nvPr/>
          </p:nvSpPr>
          <p:spPr>
            <a:xfrm>
              <a:off x="2760945" y="1826149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5" name="Google Shape;6525;p53"/>
            <p:cNvSpPr/>
            <p:nvPr/>
          </p:nvSpPr>
          <p:spPr>
            <a:xfrm>
              <a:off x="2704530" y="1833793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6" name="Google Shape;6526;p53"/>
            <p:cNvSpPr/>
            <p:nvPr/>
          </p:nvSpPr>
          <p:spPr>
            <a:xfrm>
              <a:off x="2712894" y="1827004"/>
              <a:ext cx="4766" cy="1724"/>
            </a:xfrm>
            <a:custGeom>
              <a:avLst/>
              <a:gdLst/>
              <a:ahLst/>
              <a:cxnLst/>
              <a:rect l="l" t="t" r="r" b="b"/>
              <a:pathLst>
                <a:path w="351" h="127" extrusionOk="0">
                  <a:moveTo>
                    <a:pt x="1" y="0"/>
                  </a:moveTo>
                  <a:cubicBezTo>
                    <a:pt x="102" y="4"/>
                    <a:pt x="214" y="56"/>
                    <a:pt x="351" y="126"/>
                  </a:cubicBezTo>
                  <a:cubicBezTo>
                    <a:pt x="214" y="56"/>
                    <a:pt x="102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7" name="Google Shape;6527;p53"/>
            <p:cNvSpPr/>
            <p:nvPr/>
          </p:nvSpPr>
          <p:spPr>
            <a:xfrm>
              <a:off x="2719126" y="1828946"/>
              <a:ext cx="964" cy="163"/>
            </a:xfrm>
            <a:custGeom>
              <a:avLst/>
              <a:gdLst/>
              <a:ahLst/>
              <a:cxnLst/>
              <a:rect l="l" t="t" r="r" b="b"/>
              <a:pathLst>
                <a:path w="71" h="12" extrusionOk="0">
                  <a:moveTo>
                    <a:pt x="70" y="1"/>
                  </a:moveTo>
                  <a:cubicBezTo>
                    <a:pt x="46" y="4"/>
                    <a:pt x="25" y="8"/>
                    <a:pt x="0" y="11"/>
                  </a:cubicBezTo>
                  <a:cubicBezTo>
                    <a:pt x="25" y="8"/>
                    <a:pt x="46" y="4"/>
                    <a:pt x="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8" name="Google Shape;6528;p53"/>
            <p:cNvSpPr/>
            <p:nvPr/>
          </p:nvSpPr>
          <p:spPr>
            <a:xfrm>
              <a:off x="2724204" y="1829570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9" name="Google Shape;6529;p53"/>
            <p:cNvSpPr/>
            <p:nvPr/>
          </p:nvSpPr>
          <p:spPr>
            <a:xfrm>
              <a:off x="2722208" y="182885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0" name="Google Shape;6530;p53"/>
            <p:cNvSpPr/>
            <p:nvPr/>
          </p:nvSpPr>
          <p:spPr>
            <a:xfrm>
              <a:off x="2724679" y="1829855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0"/>
                  </a:move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1" name="Google Shape;6531;p53"/>
            <p:cNvSpPr/>
            <p:nvPr/>
          </p:nvSpPr>
          <p:spPr>
            <a:xfrm>
              <a:off x="2720593" y="182890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2" name="Google Shape;6532;p53"/>
            <p:cNvSpPr/>
            <p:nvPr/>
          </p:nvSpPr>
          <p:spPr>
            <a:xfrm>
              <a:off x="2720077" y="1828905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0" y="4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3" name="Google Shape;6533;p53"/>
            <p:cNvSpPr/>
            <p:nvPr/>
          </p:nvSpPr>
          <p:spPr>
            <a:xfrm>
              <a:off x="2722588" y="182894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4" name="Google Shape;6534;p53"/>
            <p:cNvSpPr/>
            <p:nvPr/>
          </p:nvSpPr>
          <p:spPr>
            <a:xfrm>
              <a:off x="2723349" y="1829190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5" name="Google Shape;6535;p53"/>
            <p:cNvSpPr/>
            <p:nvPr/>
          </p:nvSpPr>
          <p:spPr>
            <a:xfrm>
              <a:off x="2722969" y="182904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6" name="Google Shape;6536;p53"/>
            <p:cNvSpPr/>
            <p:nvPr/>
          </p:nvSpPr>
          <p:spPr>
            <a:xfrm>
              <a:off x="2723783" y="182938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0"/>
                  </a:moveTo>
                  <a:lnTo>
                    <a:pt x="1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7" name="Google Shape;6537;p53"/>
            <p:cNvSpPr/>
            <p:nvPr/>
          </p:nvSpPr>
          <p:spPr>
            <a:xfrm>
              <a:off x="2720878" y="182885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8" name="Google Shape;6538;p53"/>
            <p:cNvSpPr/>
            <p:nvPr/>
          </p:nvSpPr>
          <p:spPr>
            <a:xfrm>
              <a:off x="2721217" y="18288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9" name="Google Shape;6539;p53"/>
            <p:cNvSpPr/>
            <p:nvPr/>
          </p:nvSpPr>
          <p:spPr>
            <a:xfrm>
              <a:off x="2721882" y="1828810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0" name="Google Shape;6540;p53"/>
            <p:cNvSpPr/>
            <p:nvPr/>
          </p:nvSpPr>
          <p:spPr>
            <a:xfrm>
              <a:off x="2725155" y="1830181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1" name="Google Shape;6541;p53"/>
            <p:cNvSpPr/>
            <p:nvPr/>
          </p:nvSpPr>
          <p:spPr>
            <a:xfrm>
              <a:off x="2721543" y="18288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2" name="Google Shape;6542;p53"/>
            <p:cNvSpPr/>
            <p:nvPr/>
          </p:nvSpPr>
          <p:spPr>
            <a:xfrm>
              <a:off x="2725630" y="183061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3" name="Google Shape;6543;p53"/>
            <p:cNvSpPr/>
            <p:nvPr/>
          </p:nvSpPr>
          <p:spPr>
            <a:xfrm>
              <a:off x="2704530" y="18338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4" name="Google Shape;6544;p53"/>
            <p:cNvSpPr/>
            <p:nvPr/>
          </p:nvSpPr>
          <p:spPr>
            <a:xfrm>
              <a:off x="2801976" y="187140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5" name="Google Shape;6545;p53"/>
            <p:cNvSpPr/>
            <p:nvPr/>
          </p:nvSpPr>
          <p:spPr>
            <a:xfrm>
              <a:off x="2821894" y="1866270"/>
              <a:ext cx="815" cy="339"/>
            </a:xfrm>
            <a:custGeom>
              <a:avLst/>
              <a:gdLst/>
              <a:ahLst/>
              <a:cxnLst/>
              <a:rect l="l" t="t" r="r" b="b"/>
              <a:pathLst>
                <a:path w="60" h="25" extrusionOk="0">
                  <a:moveTo>
                    <a:pt x="60" y="25"/>
                  </a:moveTo>
                  <a:cubicBezTo>
                    <a:pt x="42" y="11"/>
                    <a:pt x="21" y="0"/>
                    <a:pt x="0" y="0"/>
                  </a:cubicBezTo>
                  <a:cubicBezTo>
                    <a:pt x="21" y="0"/>
                    <a:pt x="42" y="11"/>
                    <a:pt x="6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6" name="Google Shape;6546;p53"/>
            <p:cNvSpPr/>
            <p:nvPr/>
          </p:nvSpPr>
          <p:spPr>
            <a:xfrm>
              <a:off x="2797414" y="1872774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32" y="1"/>
                  </a:moveTo>
                  <a:cubicBezTo>
                    <a:pt x="21" y="8"/>
                    <a:pt x="11" y="15"/>
                    <a:pt x="0" y="22"/>
                  </a:cubicBezTo>
                  <a:cubicBezTo>
                    <a:pt x="11" y="18"/>
                    <a:pt x="21" y="1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7" name="Google Shape;6547;p53"/>
            <p:cNvSpPr/>
            <p:nvPr/>
          </p:nvSpPr>
          <p:spPr>
            <a:xfrm>
              <a:off x="2804108" y="1870452"/>
              <a:ext cx="1874" cy="1100"/>
            </a:xfrm>
            <a:custGeom>
              <a:avLst/>
              <a:gdLst/>
              <a:ahLst/>
              <a:cxnLst/>
              <a:rect l="l" t="t" r="r" b="b"/>
              <a:pathLst>
                <a:path w="138" h="81" extrusionOk="0">
                  <a:moveTo>
                    <a:pt x="1" y="81"/>
                  </a:moveTo>
                  <a:cubicBezTo>
                    <a:pt x="29" y="32"/>
                    <a:pt x="81" y="0"/>
                    <a:pt x="137" y="0"/>
                  </a:cubicBezTo>
                  <a:cubicBezTo>
                    <a:pt x="81" y="0"/>
                    <a:pt x="29" y="32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8" name="Google Shape;6548;p53"/>
            <p:cNvSpPr/>
            <p:nvPr/>
          </p:nvSpPr>
          <p:spPr>
            <a:xfrm>
              <a:off x="2837902" y="1879617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1"/>
                  </a:moveTo>
                  <a:cubicBezTo>
                    <a:pt x="8" y="4"/>
                    <a:pt x="18" y="4"/>
                    <a:pt x="25" y="8"/>
                  </a:cubicBezTo>
                  <a:cubicBezTo>
                    <a:pt x="18" y="4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9" name="Google Shape;6549;p53"/>
            <p:cNvSpPr/>
            <p:nvPr/>
          </p:nvSpPr>
          <p:spPr>
            <a:xfrm>
              <a:off x="2822750" y="186659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0" name="Google Shape;6550;p53"/>
            <p:cNvSpPr/>
            <p:nvPr/>
          </p:nvSpPr>
          <p:spPr>
            <a:xfrm>
              <a:off x="2838282" y="1879712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5"/>
                  </a:moveTo>
                  <a:cubicBezTo>
                    <a:pt x="18" y="8"/>
                    <a:pt x="8" y="4"/>
                    <a:pt x="1" y="1"/>
                  </a:cubicBezTo>
                  <a:cubicBezTo>
                    <a:pt x="8" y="4"/>
                    <a:pt x="18" y="8"/>
                    <a:pt x="2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1" name="Google Shape;6551;p53"/>
            <p:cNvSpPr/>
            <p:nvPr/>
          </p:nvSpPr>
          <p:spPr>
            <a:xfrm>
              <a:off x="2796939" y="1873113"/>
              <a:ext cx="434" cy="244"/>
            </a:xfrm>
            <a:custGeom>
              <a:avLst/>
              <a:gdLst/>
              <a:ahLst/>
              <a:cxnLst/>
              <a:rect l="l" t="t" r="r" b="b"/>
              <a:pathLst>
                <a:path w="32" h="18" extrusionOk="0">
                  <a:moveTo>
                    <a:pt x="32" y="0"/>
                  </a:moveTo>
                  <a:lnTo>
                    <a:pt x="7" y="14"/>
                  </a:lnTo>
                  <a:lnTo>
                    <a:pt x="0" y="18"/>
                  </a:lnTo>
                  <a:cubicBezTo>
                    <a:pt x="11" y="14"/>
                    <a:pt x="21" y="7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2" name="Google Shape;6552;p53"/>
            <p:cNvSpPr/>
            <p:nvPr/>
          </p:nvSpPr>
          <p:spPr>
            <a:xfrm>
              <a:off x="2797889" y="1872543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21" y="0"/>
                  </a:moveTo>
                  <a:cubicBezTo>
                    <a:pt x="14" y="4"/>
                    <a:pt x="7" y="11"/>
                    <a:pt x="0" y="18"/>
                  </a:cubicBezTo>
                  <a:cubicBezTo>
                    <a:pt x="7" y="11"/>
                    <a:pt x="14" y="4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3" name="Google Shape;6553;p53"/>
            <p:cNvSpPr/>
            <p:nvPr/>
          </p:nvSpPr>
          <p:spPr>
            <a:xfrm>
              <a:off x="2838662" y="1879956"/>
              <a:ext cx="828" cy="720"/>
            </a:xfrm>
            <a:custGeom>
              <a:avLst/>
              <a:gdLst/>
              <a:ahLst/>
              <a:cxnLst/>
              <a:rect l="l" t="t" r="r" b="b"/>
              <a:pathLst>
                <a:path w="61" h="53" extrusionOk="0">
                  <a:moveTo>
                    <a:pt x="1" y="0"/>
                  </a:moveTo>
                  <a:cubicBezTo>
                    <a:pt x="22" y="14"/>
                    <a:pt x="43" y="32"/>
                    <a:pt x="60" y="53"/>
                  </a:cubicBezTo>
                  <a:cubicBezTo>
                    <a:pt x="43" y="32"/>
                    <a:pt x="22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4" name="Google Shape;6554;p53"/>
            <p:cNvSpPr/>
            <p:nvPr/>
          </p:nvSpPr>
          <p:spPr>
            <a:xfrm>
              <a:off x="2796178" y="18736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5" name="Google Shape;6555;p53"/>
            <p:cNvSpPr/>
            <p:nvPr/>
          </p:nvSpPr>
          <p:spPr>
            <a:xfrm>
              <a:off x="2795798" y="18737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6" name="Google Shape;6556;p53"/>
            <p:cNvSpPr/>
            <p:nvPr/>
          </p:nvSpPr>
          <p:spPr>
            <a:xfrm>
              <a:off x="2795459" y="18737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7" name="Google Shape;6557;p53"/>
            <p:cNvSpPr/>
            <p:nvPr/>
          </p:nvSpPr>
          <p:spPr>
            <a:xfrm>
              <a:off x="2789661" y="1879671"/>
              <a:ext cx="3476" cy="3476"/>
            </a:xfrm>
            <a:custGeom>
              <a:avLst/>
              <a:gdLst/>
              <a:ahLst/>
              <a:cxnLst/>
              <a:rect l="l" t="t" r="r" b="b"/>
              <a:pathLst>
                <a:path w="256" h="256" extrusionOk="0">
                  <a:moveTo>
                    <a:pt x="0" y="0"/>
                  </a:moveTo>
                  <a:cubicBezTo>
                    <a:pt x="21" y="5"/>
                    <a:pt x="40" y="16"/>
                    <a:pt x="56" y="31"/>
                  </a:cubicBezTo>
                  <a:lnTo>
                    <a:pt x="56" y="31"/>
                  </a:lnTo>
                  <a:cubicBezTo>
                    <a:pt x="41" y="17"/>
                    <a:pt x="24" y="6"/>
                    <a:pt x="4" y="0"/>
                  </a:cubicBezTo>
                  <a:close/>
                  <a:moveTo>
                    <a:pt x="56" y="31"/>
                  </a:moveTo>
                  <a:cubicBezTo>
                    <a:pt x="84" y="57"/>
                    <a:pt x="104" y="94"/>
                    <a:pt x="123" y="126"/>
                  </a:cubicBezTo>
                  <a:cubicBezTo>
                    <a:pt x="107" y="95"/>
                    <a:pt x="85" y="57"/>
                    <a:pt x="56" y="31"/>
                  </a:cubicBezTo>
                  <a:close/>
                  <a:moveTo>
                    <a:pt x="123" y="126"/>
                  </a:moveTo>
                  <a:cubicBezTo>
                    <a:pt x="158" y="186"/>
                    <a:pt x="189" y="242"/>
                    <a:pt x="256" y="256"/>
                  </a:cubicBezTo>
                  <a:cubicBezTo>
                    <a:pt x="193" y="242"/>
                    <a:pt x="161" y="186"/>
                    <a:pt x="123" y="12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8" name="Google Shape;6558;p53"/>
            <p:cNvSpPr/>
            <p:nvPr/>
          </p:nvSpPr>
          <p:spPr>
            <a:xfrm>
              <a:off x="2796559" y="1873399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9" name="Google Shape;6559;p53"/>
            <p:cNvSpPr/>
            <p:nvPr/>
          </p:nvSpPr>
          <p:spPr>
            <a:xfrm>
              <a:off x="2794984" y="187372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0" name="Google Shape;6560;p53"/>
            <p:cNvSpPr/>
            <p:nvPr/>
          </p:nvSpPr>
          <p:spPr>
            <a:xfrm>
              <a:off x="2789661" y="187967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1" name="Google Shape;6561;p53"/>
            <p:cNvSpPr/>
            <p:nvPr/>
          </p:nvSpPr>
          <p:spPr>
            <a:xfrm>
              <a:off x="2796980" y="187330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2" name="Google Shape;6562;p53"/>
            <p:cNvSpPr/>
            <p:nvPr/>
          </p:nvSpPr>
          <p:spPr>
            <a:xfrm>
              <a:off x="2959964" y="1971102"/>
              <a:ext cx="4345" cy="3082"/>
            </a:xfrm>
            <a:custGeom>
              <a:avLst/>
              <a:gdLst/>
              <a:ahLst/>
              <a:cxnLst/>
              <a:rect l="l" t="t" r="r" b="b"/>
              <a:pathLst>
                <a:path w="320" h="227" extrusionOk="0">
                  <a:moveTo>
                    <a:pt x="254" y="0"/>
                  </a:moveTo>
                  <a:cubicBezTo>
                    <a:pt x="228" y="0"/>
                    <a:pt x="200" y="11"/>
                    <a:pt x="176" y="23"/>
                  </a:cubicBezTo>
                  <a:cubicBezTo>
                    <a:pt x="71" y="79"/>
                    <a:pt x="1" y="191"/>
                    <a:pt x="11" y="215"/>
                  </a:cubicBezTo>
                  <a:cubicBezTo>
                    <a:pt x="15" y="222"/>
                    <a:pt x="22" y="226"/>
                    <a:pt x="36" y="226"/>
                  </a:cubicBezTo>
                  <a:cubicBezTo>
                    <a:pt x="39" y="226"/>
                    <a:pt x="43" y="226"/>
                    <a:pt x="46" y="226"/>
                  </a:cubicBezTo>
                  <a:cubicBezTo>
                    <a:pt x="134" y="226"/>
                    <a:pt x="268" y="143"/>
                    <a:pt x="302" y="72"/>
                  </a:cubicBezTo>
                  <a:cubicBezTo>
                    <a:pt x="320" y="44"/>
                    <a:pt x="309" y="30"/>
                    <a:pt x="302" y="23"/>
                  </a:cubicBezTo>
                  <a:cubicBezTo>
                    <a:pt x="290" y="6"/>
                    <a:pt x="273" y="0"/>
                    <a:pt x="2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3" name="Google Shape;6563;p53"/>
            <p:cNvSpPr/>
            <p:nvPr/>
          </p:nvSpPr>
          <p:spPr>
            <a:xfrm>
              <a:off x="2945287" y="1972446"/>
              <a:ext cx="34378" cy="30916"/>
            </a:xfrm>
            <a:custGeom>
              <a:avLst/>
              <a:gdLst/>
              <a:ahLst/>
              <a:cxnLst/>
              <a:rect l="l" t="t" r="r" b="b"/>
              <a:pathLst>
                <a:path w="2532" h="2277" extrusionOk="0">
                  <a:moveTo>
                    <a:pt x="2130" y="1"/>
                  </a:moveTo>
                  <a:cubicBezTo>
                    <a:pt x="2090" y="1"/>
                    <a:pt x="2051" y="15"/>
                    <a:pt x="2020" y="43"/>
                  </a:cubicBezTo>
                  <a:cubicBezTo>
                    <a:pt x="2010" y="57"/>
                    <a:pt x="1999" y="81"/>
                    <a:pt x="2024" y="123"/>
                  </a:cubicBezTo>
                  <a:cubicBezTo>
                    <a:pt x="2052" y="169"/>
                    <a:pt x="2083" y="232"/>
                    <a:pt x="2055" y="288"/>
                  </a:cubicBezTo>
                  <a:cubicBezTo>
                    <a:pt x="2027" y="348"/>
                    <a:pt x="1954" y="362"/>
                    <a:pt x="1884" y="369"/>
                  </a:cubicBezTo>
                  <a:cubicBezTo>
                    <a:pt x="1772" y="383"/>
                    <a:pt x="1733" y="400"/>
                    <a:pt x="1726" y="456"/>
                  </a:cubicBezTo>
                  <a:cubicBezTo>
                    <a:pt x="1702" y="638"/>
                    <a:pt x="1555" y="649"/>
                    <a:pt x="1474" y="652"/>
                  </a:cubicBezTo>
                  <a:cubicBezTo>
                    <a:pt x="1450" y="652"/>
                    <a:pt x="1425" y="659"/>
                    <a:pt x="1404" y="666"/>
                  </a:cubicBezTo>
                  <a:cubicBezTo>
                    <a:pt x="1404" y="673"/>
                    <a:pt x="1404" y="677"/>
                    <a:pt x="1404" y="684"/>
                  </a:cubicBezTo>
                  <a:cubicBezTo>
                    <a:pt x="1415" y="740"/>
                    <a:pt x="1390" y="792"/>
                    <a:pt x="1345" y="820"/>
                  </a:cubicBezTo>
                  <a:cubicBezTo>
                    <a:pt x="1323" y="832"/>
                    <a:pt x="1298" y="838"/>
                    <a:pt x="1270" y="838"/>
                  </a:cubicBezTo>
                  <a:cubicBezTo>
                    <a:pt x="1135" y="838"/>
                    <a:pt x="935" y="715"/>
                    <a:pt x="816" y="631"/>
                  </a:cubicBezTo>
                  <a:cubicBezTo>
                    <a:pt x="809" y="627"/>
                    <a:pt x="801" y="625"/>
                    <a:pt x="793" y="625"/>
                  </a:cubicBezTo>
                  <a:cubicBezTo>
                    <a:pt x="740" y="625"/>
                    <a:pt x="656" y="703"/>
                    <a:pt x="574" y="782"/>
                  </a:cubicBezTo>
                  <a:cubicBezTo>
                    <a:pt x="476" y="873"/>
                    <a:pt x="361" y="981"/>
                    <a:pt x="238" y="1013"/>
                  </a:cubicBezTo>
                  <a:cubicBezTo>
                    <a:pt x="158" y="1034"/>
                    <a:pt x="77" y="1135"/>
                    <a:pt x="32" y="1268"/>
                  </a:cubicBezTo>
                  <a:cubicBezTo>
                    <a:pt x="7" y="1324"/>
                    <a:pt x="0" y="1387"/>
                    <a:pt x="11" y="1450"/>
                  </a:cubicBezTo>
                  <a:cubicBezTo>
                    <a:pt x="81" y="1443"/>
                    <a:pt x="140" y="1391"/>
                    <a:pt x="200" y="1335"/>
                  </a:cubicBezTo>
                  <a:cubicBezTo>
                    <a:pt x="275" y="1266"/>
                    <a:pt x="360" y="1190"/>
                    <a:pt x="481" y="1190"/>
                  </a:cubicBezTo>
                  <a:cubicBezTo>
                    <a:pt x="489" y="1190"/>
                    <a:pt x="496" y="1191"/>
                    <a:pt x="504" y="1191"/>
                  </a:cubicBezTo>
                  <a:cubicBezTo>
                    <a:pt x="511" y="1192"/>
                    <a:pt x="517" y="1193"/>
                    <a:pt x="523" y="1193"/>
                  </a:cubicBezTo>
                  <a:cubicBezTo>
                    <a:pt x="562" y="1193"/>
                    <a:pt x="579" y="1173"/>
                    <a:pt x="609" y="1142"/>
                  </a:cubicBezTo>
                  <a:cubicBezTo>
                    <a:pt x="658" y="1076"/>
                    <a:pt x="742" y="1037"/>
                    <a:pt x="826" y="1037"/>
                  </a:cubicBezTo>
                  <a:cubicBezTo>
                    <a:pt x="854" y="1037"/>
                    <a:pt x="886" y="1041"/>
                    <a:pt x="914" y="1048"/>
                  </a:cubicBezTo>
                  <a:cubicBezTo>
                    <a:pt x="1089" y="1076"/>
                    <a:pt x="1117" y="1289"/>
                    <a:pt x="1152" y="1513"/>
                  </a:cubicBezTo>
                  <a:cubicBezTo>
                    <a:pt x="1187" y="1776"/>
                    <a:pt x="1225" y="1961"/>
                    <a:pt x="1366" y="1986"/>
                  </a:cubicBezTo>
                  <a:cubicBezTo>
                    <a:pt x="1523" y="2007"/>
                    <a:pt x="1670" y="2084"/>
                    <a:pt x="1782" y="2196"/>
                  </a:cubicBezTo>
                  <a:cubicBezTo>
                    <a:pt x="1842" y="2248"/>
                    <a:pt x="1870" y="2276"/>
                    <a:pt x="1922" y="2276"/>
                  </a:cubicBezTo>
                  <a:cubicBezTo>
                    <a:pt x="1947" y="2231"/>
                    <a:pt x="1905" y="2042"/>
                    <a:pt x="1884" y="1940"/>
                  </a:cubicBezTo>
                  <a:cubicBezTo>
                    <a:pt x="1856" y="1842"/>
                    <a:pt x="1842" y="1741"/>
                    <a:pt x="1838" y="1639"/>
                  </a:cubicBezTo>
                  <a:cubicBezTo>
                    <a:pt x="1852" y="1499"/>
                    <a:pt x="1992" y="1489"/>
                    <a:pt x="2108" y="1478"/>
                  </a:cubicBezTo>
                  <a:cubicBezTo>
                    <a:pt x="2220" y="1468"/>
                    <a:pt x="2353" y="1457"/>
                    <a:pt x="2437" y="1359"/>
                  </a:cubicBezTo>
                  <a:cubicBezTo>
                    <a:pt x="2531" y="1247"/>
                    <a:pt x="2461" y="981"/>
                    <a:pt x="2391" y="722"/>
                  </a:cubicBezTo>
                  <a:cubicBezTo>
                    <a:pt x="2342" y="540"/>
                    <a:pt x="2293" y="351"/>
                    <a:pt x="2293" y="190"/>
                  </a:cubicBezTo>
                  <a:cubicBezTo>
                    <a:pt x="2293" y="99"/>
                    <a:pt x="2255" y="36"/>
                    <a:pt x="2188" y="11"/>
                  </a:cubicBezTo>
                  <a:cubicBezTo>
                    <a:pt x="2170" y="4"/>
                    <a:pt x="2150" y="1"/>
                    <a:pt x="2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4" name="Google Shape;6564;p53"/>
            <p:cNvSpPr/>
            <p:nvPr/>
          </p:nvSpPr>
          <p:spPr>
            <a:xfrm>
              <a:off x="2934927" y="1945305"/>
              <a:ext cx="6191" cy="6463"/>
            </a:xfrm>
            <a:custGeom>
              <a:avLst/>
              <a:gdLst/>
              <a:ahLst/>
              <a:cxnLst/>
              <a:rect l="l" t="t" r="r" b="b"/>
              <a:pathLst>
                <a:path w="456" h="476" extrusionOk="0">
                  <a:moveTo>
                    <a:pt x="0" y="1"/>
                  </a:moveTo>
                  <a:cubicBezTo>
                    <a:pt x="32" y="144"/>
                    <a:pt x="102" y="372"/>
                    <a:pt x="231" y="449"/>
                  </a:cubicBezTo>
                  <a:cubicBezTo>
                    <a:pt x="263" y="467"/>
                    <a:pt x="299" y="476"/>
                    <a:pt x="335" y="476"/>
                  </a:cubicBezTo>
                  <a:cubicBezTo>
                    <a:pt x="363" y="476"/>
                    <a:pt x="391" y="470"/>
                    <a:pt x="417" y="460"/>
                  </a:cubicBezTo>
                  <a:cubicBezTo>
                    <a:pt x="455" y="449"/>
                    <a:pt x="455" y="435"/>
                    <a:pt x="452" y="425"/>
                  </a:cubicBezTo>
                  <a:cubicBezTo>
                    <a:pt x="438" y="306"/>
                    <a:pt x="144" y="7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5" name="Google Shape;6565;p53"/>
            <p:cNvSpPr/>
            <p:nvPr/>
          </p:nvSpPr>
          <p:spPr>
            <a:xfrm>
              <a:off x="2944567" y="1938516"/>
              <a:ext cx="27875" cy="31432"/>
            </a:xfrm>
            <a:custGeom>
              <a:avLst/>
              <a:gdLst/>
              <a:ahLst/>
              <a:cxnLst/>
              <a:rect l="l" t="t" r="r" b="b"/>
              <a:pathLst>
                <a:path w="2053" h="2315" extrusionOk="0">
                  <a:moveTo>
                    <a:pt x="391" y="1"/>
                  </a:moveTo>
                  <a:cubicBezTo>
                    <a:pt x="295" y="1"/>
                    <a:pt x="201" y="20"/>
                    <a:pt x="127" y="63"/>
                  </a:cubicBezTo>
                  <a:cubicBezTo>
                    <a:pt x="88" y="88"/>
                    <a:pt x="46" y="102"/>
                    <a:pt x="1" y="105"/>
                  </a:cubicBezTo>
                  <a:cubicBezTo>
                    <a:pt x="15" y="123"/>
                    <a:pt x="32" y="140"/>
                    <a:pt x="43" y="158"/>
                  </a:cubicBezTo>
                  <a:cubicBezTo>
                    <a:pt x="86" y="204"/>
                    <a:pt x="113" y="236"/>
                    <a:pt x="181" y="236"/>
                  </a:cubicBezTo>
                  <a:cubicBezTo>
                    <a:pt x="196" y="236"/>
                    <a:pt x="213" y="234"/>
                    <a:pt x="232" y="231"/>
                  </a:cubicBezTo>
                  <a:cubicBezTo>
                    <a:pt x="253" y="228"/>
                    <a:pt x="274" y="227"/>
                    <a:pt x="296" y="227"/>
                  </a:cubicBezTo>
                  <a:cubicBezTo>
                    <a:pt x="534" y="227"/>
                    <a:pt x="785" y="412"/>
                    <a:pt x="897" y="557"/>
                  </a:cubicBezTo>
                  <a:cubicBezTo>
                    <a:pt x="974" y="655"/>
                    <a:pt x="995" y="743"/>
                    <a:pt x="967" y="809"/>
                  </a:cubicBezTo>
                  <a:cubicBezTo>
                    <a:pt x="921" y="907"/>
                    <a:pt x="967" y="1180"/>
                    <a:pt x="1019" y="1222"/>
                  </a:cubicBezTo>
                  <a:lnTo>
                    <a:pt x="1023" y="1215"/>
                  </a:lnTo>
                  <a:cubicBezTo>
                    <a:pt x="1068" y="1177"/>
                    <a:pt x="1124" y="1156"/>
                    <a:pt x="1184" y="1156"/>
                  </a:cubicBezTo>
                  <a:cubicBezTo>
                    <a:pt x="1240" y="1156"/>
                    <a:pt x="1293" y="1173"/>
                    <a:pt x="1335" y="1212"/>
                  </a:cubicBezTo>
                  <a:cubicBezTo>
                    <a:pt x="1408" y="1278"/>
                    <a:pt x="1443" y="1408"/>
                    <a:pt x="1349" y="1544"/>
                  </a:cubicBezTo>
                  <a:cubicBezTo>
                    <a:pt x="1296" y="1621"/>
                    <a:pt x="1342" y="1702"/>
                    <a:pt x="1457" y="1852"/>
                  </a:cubicBezTo>
                  <a:cubicBezTo>
                    <a:pt x="1527" y="1947"/>
                    <a:pt x="1611" y="2055"/>
                    <a:pt x="1632" y="2178"/>
                  </a:cubicBezTo>
                  <a:cubicBezTo>
                    <a:pt x="1638" y="2266"/>
                    <a:pt x="1709" y="2315"/>
                    <a:pt x="1780" y="2315"/>
                  </a:cubicBezTo>
                  <a:cubicBezTo>
                    <a:pt x="1836" y="2315"/>
                    <a:pt x="1893" y="2285"/>
                    <a:pt x="1919" y="2220"/>
                  </a:cubicBezTo>
                  <a:cubicBezTo>
                    <a:pt x="1961" y="2111"/>
                    <a:pt x="1874" y="2016"/>
                    <a:pt x="1779" y="2016"/>
                  </a:cubicBezTo>
                  <a:cubicBezTo>
                    <a:pt x="1746" y="2016"/>
                    <a:pt x="1711" y="2028"/>
                    <a:pt x="1681" y="2055"/>
                  </a:cubicBezTo>
                  <a:cubicBezTo>
                    <a:pt x="1650" y="1866"/>
                    <a:pt x="1706" y="1821"/>
                    <a:pt x="1839" y="1737"/>
                  </a:cubicBezTo>
                  <a:cubicBezTo>
                    <a:pt x="1870" y="1719"/>
                    <a:pt x="1909" y="1695"/>
                    <a:pt x="1951" y="1667"/>
                  </a:cubicBezTo>
                  <a:cubicBezTo>
                    <a:pt x="2052" y="1597"/>
                    <a:pt x="2010" y="1499"/>
                    <a:pt x="1884" y="1275"/>
                  </a:cubicBezTo>
                  <a:cubicBezTo>
                    <a:pt x="1849" y="1215"/>
                    <a:pt x="1814" y="1152"/>
                    <a:pt x="1783" y="1086"/>
                  </a:cubicBezTo>
                  <a:cubicBezTo>
                    <a:pt x="1730" y="977"/>
                    <a:pt x="1601" y="939"/>
                    <a:pt x="1475" y="900"/>
                  </a:cubicBezTo>
                  <a:cubicBezTo>
                    <a:pt x="1328" y="855"/>
                    <a:pt x="1159" y="802"/>
                    <a:pt x="1159" y="620"/>
                  </a:cubicBezTo>
                  <a:cubicBezTo>
                    <a:pt x="1159" y="501"/>
                    <a:pt x="1061" y="427"/>
                    <a:pt x="963" y="354"/>
                  </a:cubicBezTo>
                  <a:cubicBezTo>
                    <a:pt x="879" y="291"/>
                    <a:pt x="799" y="231"/>
                    <a:pt x="788" y="144"/>
                  </a:cubicBezTo>
                  <a:cubicBezTo>
                    <a:pt x="788" y="133"/>
                    <a:pt x="767" y="102"/>
                    <a:pt x="701" y="70"/>
                  </a:cubicBezTo>
                  <a:cubicBezTo>
                    <a:pt x="616" y="27"/>
                    <a:pt x="502" y="1"/>
                    <a:pt x="3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6" name="Google Shape;6566;p53"/>
            <p:cNvSpPr/>
            <p:nvPr/>
          </p:nvSpPr>
          <p:spPr>
            <a:xfrm>
              <a:off x="2944187" y="1956588"/>
              <a:ext cx="15030" cy="20258"/>
            </a:xfrm>
            <a:custGeom>
              <a:avLst/>
              <a:gdLst/>
              <a:ahLst/>
              <a:cxnLst/>
              <a:rect l="l" t="t" r="r" b="b"/>
              <a:pathLst>
                <a:path w="1107" h="1492" extrusionOk="0">
                  <a:moveTo>
                    <a:pt x="147" y="1"/>
                  </a:moveTo>
                  <a:cubicBezTo>
                    <a:pt x="139" y="1"/>
                    <a:pt x="131" y="2"/>
                    <a:pt x="123" y="3"/>
                  </a:cubicBezTo>
                  <a:cubicBezTo>
                    <a:pt x="39" y="17"/>
                    <a:pt x="1" y="231"/>
                    <a:pt x="43" y="434"/>
                  </a:cubicBezTo>
                  <a:cubicBezTo>
                    <a:pt x="66" y="563"/>
                    <a:pt x="110" y="616"/>
                    <a:pt x="129" y="616"/>
                  </a:cubicBezTo>
                  <a:cubicBezTo>
                    <a:pt x="129" y="616"/>
                    <a:pt x="130" y="616"/>
                    <a:pt x="130" y="616"/>
                  </a:cubicBezTo>
                  <a:cubicBezTo>
                    <a:pt x="144" y="612"/>
                    <a:pt x="165" y="609"/>
                    <a:pt x="190" y="609"/>
                  </a:cubicBezTo>
                  <a:cubicBezTo>
                    <a:pt x="309" y="595"/>
                    <a:pt x="361" y="577"/>
                    <a:pt x="368" y="511"/>
                  </a:cubicBezTo>
                  <a:cubicBezTo>
                    <a:pt x="375" y="444"/>
                    <a:pt x="407" y="423"/>
                    <a:pt x="435" y="420"/>
                  </a:cubicBezTo>
                  <a:lnTo>
                    <a:pt x="452" y="420"/>
                  </a:lnTo>
                  <a:cubicBezTo>
                    <a:pt x="484" y="420"/>
                    <a:pt x="515" y="441"/>
                    <a:pt x="540" y="490"/>
                  </a:cubicBezTo>
                  <a:cubicBezTo>
                    <a:pt x="589" y="584"/>
                    <a:pt x="662" y="871"/>
                    <a:pt x="529" y="1001"/>
                  </a:cubicBezTo>
                  <a:cubicBezTo>
                    <a:pt x="456" y="1074"/>
                    <a:pt x="424" y="1239"/>
                    <a:pt x="463" y="1365"/>
                  </a:cubicBezTo>
                  <a:cubicBezTo>
                    <a:pt x="473" y="1425"/>
                    <a:pt x="519" y="1474"/>
                    <a:pt x="578" y="1491"/>
                  </a:cubicBezTo>
                  <a:cubicBezTo>
                    <a:pt x="580" y="1492"/>
                    <a:pt x="583" y="1492"/>
                    <a:pt x="586" y="1492"/>
                  </a:cubicBezTo>
                  <a:cubicBezTo>
                    <a:pt x="614" y="1492"/>
                    <a:pt x="674" y="1458"/>
                    <a:pt x="753" y="1372"/>
                  </a:cubicBezTo>
                  <a:cubicBezTo>
                    <a:pt x="953" y="1144"/>
                    <a:pt x="1107" y="773"/>
                    <a:pt x="1086" y="707"/>
                  </a:cubicBezTo>
                  <a:cubicBezTo>
                    <a:pt x="1082" y="703"/>
                    <a:pt x="1082" y="700"/>
                    <a:pt x="1079" y="696"/>
                  </a:cubicBezTo>
                  <a:cubicBezTo>
                    <a:pt x="1058" y="700"/>
                    <a:pt x="1040" y="703"/>
                    <a:pt x="1019" y="714"/>
                  </a:cubicBezTo>
                  <a:cubicBezTo>
                    <a:pt x="1000" y="720"/>
                    <a:pt x="974" y="729"/>
                    <a:pt x="948" y="729"/>
                  </a:cubicBezTo>
                  <a:cubicBezTo>
                    <a:pt x="928" y="729"/>
                    <a:pt x="908" y="724"/>
                    <a:pt x="890" y="707"/>
                  </a:cubicBezTo>
                  <a:cubicBezTo>
                    <a:pt x="844" y="672"/>
                    <a:pt x="862" y="602"/>
                    <a:pt x="869" y="570"/>
                  </a:cubicBezTo>
                  <a:cubicBezTo>
                    <a:pt x="876" y="549"/>
                    <a:pt x="855" y="479"/>
                    <a:pt x="743" y="360"/>
                  </a:cubicBezTo>
                  <a:cubicBezTo>
                    <a:pt x="559" y="167"/>
                    <a:pt x="277" y="1"/>
                    <a:pt x="1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7" name="Google Shape;6567;p53"/>
            <p:cNvSpPr/>
            <p:nvPr/>
          </p:nvSpPr>
          <p:spPr>
            <a:xfrm>
              <a:off x="2930066" y="1906039"/>
              <a:ext cx="18126" cy="34270"/>
            </a:xfrm>
            <a:custGeom>
              <a:avLst/>
              <a:gdLst/>
              <a:ahLst/>
              <a:cxnLst/>
              <a:rect l="l" t="t" r="r" b="b"/>
              <a:pathLst>
                <a:path w="1335" h="2524" extrusionOk="0">
                  <a:moveTo>
                    <a:pt x="501" y="0"/>
                  </a:moveTo>
                  <a:cubicBezTo>
                    <a:pt x="451" y="0"/>
                    <a:pt x="408" y="8"/>
                    <a:pt x="376" y="29"/>
                  </a:cubicBezTo>
                  <a:cubicBezTo>
                    <a:pt x="277" y="89"/>
                    <a:pt x="302" y="544"/>
                    <a:pt x="313" y="789"/>
                  </a:cubicBezTo>
                  <a:cubicBezTo>
                    <a:pt x="330" y="1136"/>
                    <a:pt x="330" y="1251"/>
                    <a:pt x="270" y="1300"/>
                  </a:cubicBezTo>
                  <a:cubicBezTo>
                    <a:pt x="242" y="1323"/>
                    <a:pt x="214" y="1332"/>
                    <a:pt x="186" y="1332"/>
                  </a:cubicBezTo>
                  <a:cubicBezTo>
                    <a:pt x="123" y="1332"/>
                    <a:pt x="66" y="1284"/>
                    <a:pt x="29" y="1255"/>
                  </a:cubicBezTo>
                  <a:lnTo>
                    <a:pt x="22" y="1248"/>
                  </a:lnTo>
                  <a:lnTo>
                    <a:pt x="22" y="1248"/>
                  </a:lnTo>
                  <a:cubicBezTo>
                    <a:pt x="1" y="1419"/>
                    <a:pt x="60" y="1811"/>
                    <a:pt x="120" y="1864"/>
                  </a:cubicBezTo>
                  <a:cubicBezTo>
                    <a:pt x="190" y="1864"/>
                    <a:pt x="253" y="1899"/>
                    <a:pt x="295" y="1955"/>
                  </a:cubicBezTo>
                  <a:cubicBezTo>
                    <a:pt x="365" y="2053"/>
                    <a:pt x="376" y="2203"/>
                    <a:pt x="323" y="2368"/>
                  </a:cubicBezTo>
                  <a:cubicBezTo>
                    <a:pt x="299" y="2445"/>
                    <a:pt x="327" y="2473"/>
                    <a:pt x="337" y="2480"/>
                  </a:cubicBezTo>
                  <a:cubicBezTo>
                    <a:pt x="366" y="2509"/>
                    <a:pt x="423" y="2523"/>
                    <a:pt x="495" y="2523"/>
                  </a:cubicBezTo>
                  <a:cubicBezTo>
                    <a:pt x="580" y="2523"/>
                    <a:pt x="685" y="2504"/>
                    <a:pt x="789" y="2466"/>
                  </a:cubicBezTo>
                  <a:cubicBezTo>
                    <a:pt x="830" y="2448"/>
                    <a:pt x="875" y="2437"/>
                    <a:pt x="921" y="2437"/>
                  </a:cubicBezTo>
                  <a:cubicBezTo>
                    <a:pt x="938" y="2437"/>
                    <a:pt x="954" y="2439"/>
                    <a:pt x="971" y="2441"/>
                  </a:cubicBezTo>
                  <a:cubicBezTo>
                    <a:pt x="943" y="2382"/>
                    <a:pt x="929" y="2315"/>
                    <a:pt x="929" y="2249"/>
                  </a:cubicBezTo>
                  <a:cubicBezTo>
                    <a:pt x="922" y="2140"/>
                    <a:pt x="911" y="2018"/>
                    <a:pt x="841" y="1941"/>
                  </a:cubicBezTo>
                  <a:cubicBezTo>
                    <a:pt x="631" y="1713"/>
                    <a:pt x="901" y="1419"/>
                    <a:pt x="1118" y="1181"/>
                  </a:cubicBezTo>
                  <a:cubicBezTo>
                    <a:pt x="1149" y="1146"/>
                    <a:pt x="1184" y="1111"/>
                    <a:pt x="1212" y="1076"/>
                  </a:cubicBezTo>
                  <a:cubicBezTo>
                    <a:pt x="1335" y="936"/>
                    <a:pt x="1272" y="719"/>
                    <a:pt x="1216" y="526"/>
                  </a:cubicBezTo>
                  <a:cubicBezTo>
                    <a:pt x="1181" y="407"/>
                    <a:pt x="1153" y="302"/>
                    <a:pt x="1163" y="218"/>
                  </a:cubicBezTo>
                  <a:cubicBezTo>
                    <a:pt x="1174" y="176"/>
                    <a:pt x="1177" y="131"/>
                    <a:pt x="1177" y="85"/>
                  </a:cubicBezTo>
                  <a:lnTo>
                    <a:pt x="1177" y="85"/>
                  </a:lnTo>
                  <a:lnTo>
                    <a:pt x="1167" y="92"/>
                  </a:lnTo>
                  <a:cubicBezTo>
                    <a:pt x="1142" y="106"/>
                    <a:pt x="1113" y="112"/>
                    <a:pt x="1080" y="112"/>
                  </a:cubicBezTo>
                  <a:cubicBezTo>
                    <a:pt x="1015" y="112"/>
                    <a:pt x="934" y="90"/>
                    <a:pt x="834" y="64"/>
                  </a:cubicBezTo>
                  <a:cubicBezTo>
                    <a:pt x="726" y="34"/>
                    <a:pt x="601" y="0"/>
                    <a:pt x="5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8" name="Google Shape;6568;p53"/>
            <p:cNvSpPr/>
            <p:nvPr/>
          </p:nvSpPr>
          <p:spPr>
            <a:xfrm>
              <a:off x="2911587" y="1962426"/>
              <a:ext cx="15410" cy="19171"/>
            </a:xfrm>
            <a:custGeom>
              <a:avLst/>
              <a:gdLst/>
              <a:ahLst/>
              <a:cxnLst/>
              <a:rect l="l" t="t" r="r" b="b"/>
              <a:pathLst>
                <a:path w="1135" h="1412" extrusionOk="0">
                  <a:moveTo>
                    <a:pt x="1019" y="0"/>
                  </a:moveTo>
                  <a:lnTo>
                    <a:pt x="1019" y="0"/>
                  </a:lnTo>
                  <a:cubicBezTo>
                    <a:pt x="980" y="63"/>
                    <a:pt x="945" y="126"/>
                    <a:pt x="917" y="193"/>
                  </a:cubicBezTo>
                  <a:cubicBezTo>
                    <a:pt x="854" y="333"/>
                    <a:pt x="777" y="469"/>
                    <a:pt x="686" y="595"/>
                  </a:cubicBezTo>
                  <a:cubicBezTo>
                    <a:pt x="609" y="693"/>
                    <a:pt x="508" y="805"/>
                    <a:pt x="396" y="924"/>
                  </a:cubicBezTo>
                  <a:cubicBezTo>
                    <a:pt x="259" y="1075"/>
                    <a:pt x="35" y="1313"/>
                    <a:pt x="0" y="1411"/>
                  </a:cubicBezTo>
                  <a:cubicBezTo>
                    <a:pt x="91" y="1359"/>
                    <a:pt x="294" y="1124"/>
                    <a:pt x="431" y="963"/>
                  </a:cubicBezTo>
                  <a:cubicBezTo>
                    <a:pt x="595" y="774"/>
                    <a:pt x="763" y="574"/>
                    <a:pt x="886" y="487"/>
                  </a:cubicBezTo>
                  <a:cubicBezTo>
                    <a:pt x="1134" y="308"/>
                    <a:pt x="1099" y="172"/>
                    <a:pt x="10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9" name="Google Shape;6569;p53"/>
            <p:cNvSpPr/>
            <p:nvPr/>
          </p:nvSpPr>
          <p:spPr>
            <a:xfrm>
              <a:off x="3088163" y="2067136"/>
              <a:ext cx="69218" cy="57636"/>
            </a:xfrm>
            <a:custGeom>
              <a:avLst/>
              <a:gdLst/>
              <a:ahLst/>
              <a:cxnLst/>
              <a:rect l="l" t="t" r="r" b="b"/>
              <a:pathLst>
                <a:path w="5098" h="4245" extrusionOk="0">
                  <a:moveTo>
                    <a:pt x="1" y="1"/>
                  </a:moveTo>
                  <a:lnTo>
                    <a:pt x="1" y="3326"/>
                  </a:lnTo>
                  <a:cubicBezTo>
                    <a:pt x="155" y="3424"/>
                    <a:pt x="333" y="3484"/>
                    <a:pt x="519" y="3491"/>
                  </a:cubicBezTo>
                  <a:cubicBezTo>
                    <a:pt x="538" y="3492"/>
                    <a:pt x="556" y="3492"/>
                    <a:pt x="574" y="3492"/>
                  </a:cubicBezTo>
                  <a:cubicBezTo>
                    <a:pt x="975" y="3492"/>
                    <a:pt x="1021" y="3343"/>
                    <a:pt x="1054" y="3242"/>
                  </a:cubicBezTo>
                  <a:cubicBezTo>
                    <a:pt x="1068" y="3190"/>
                    <a:pt x="1093" y="3113"/>
                    <a:pt x="1181" y="3113"/>
                  </a:cubicBezTo>
                  <a:cubicBezTo>
                    <a:pt x="1226" y="3113"/>
                    <a:pt x="1268" y="3032"/>
                    <a:pt x="1317" y="2948"/>
                  </a:cubicBezTo>
                  <a:cubicBezTo>
                    <a:pt x="1356" y="2871"/>
                    <a:pt x="1401" y="2798"/>
                    <a:pt x="1454" y="2731"/>
                  </a:cubicBezTo>
                  <a:cubicBezTo>
                    <a:pt x="1510" y="2663"/>
                    <a:pt x="1615" y="2633"/>
                    <a:pt x="1745" y="2633"/>
                  </a:cubicBezTo>
                  <a:cubicBezTo>
                    <a:pt x="2031" y="2633"/>
                    <a:pt x="2435" y="2780"/>
                    <a:pt x="2693" y="2980"/>
                  </a:cubicBezTo>
                  <a:cubicBezTo>
                    <a:pt x="2833" y="3088"/>
                    <a:pt x="2973" y="3263"/>
                    <a:pt x="3120" y="3449"/>
                  </a:cubicBezTo>
                  <a:cubicBezTo>
                    <a:pt x="3344" y="3729"/>
                    <a:pt x="3593" y="4041"/>
                    <a:pt x="3800" y="4041"/>
                  </a:cubicBezTo>
                  <a:cubicBezTo>
                    <a:pt x="3813" y="4041"/>
                    <a:pt x="3825" y="4040"/>
                    <a:pt x="3838" y="4037"/>
                  </a:cubicBezTo>
                  <a:cubicBezTo>
                    <a:pt x="3887" y="4027"/>
                    <a:pt x="3936" y="4020"/>
                    <a:pt x="3985" y="4020"/>
                  </a:cubicBezTo>
                  <a:cubicBezTo>
                    <a:pt x="4167" y="4020"/>
                    <a:pt x="4345" y="4083"/>
                    <a:pt x="4520" y="4139"/>
                  </a:cubicBezTo>
                  <a:cubicBezTo>
                    <a:pt x="4685" y="4195"/>
                    <a:pt x="4831" y="4244"/>
                    <a:pt x="4970" y="4244"/>
                  </a:cubicBezTo>
                  <a:cubicBezTo>
                    <a:pt x="4979" y="4244"/>
                    <a:pt x="4988" y="4244"/>
                    <a:pt x="4996" y="4244"/>
                  </a:cubicBezTo>
                  <a:cubicBezTo>
                    <a:pt x="5077" y="4240"/>
                    <a:pt x="5094" y="4223"/>
                    <a:pt x="5094" y="4223"/>
                  </a:cubicBezTo>
                  <a:cubicBezTo>
                    <a:pt x="5098" y="4188"/>
                    <a:pt x="4972" y="4065"/>
                    <a:pt x="4891" y="4030"/>
                  </a:cubicBezTo>
                  <a:cubicBezTo>
                    <a:pt x="4832" y="4006"/>
                    <a:pt x="4440" y="3789"/>
                    <a:pt x="4464" y="3592"/>
                  </a:cubicBezTo>
                  <a:cubicBezTo>
                    <a:pt x="4450" y="3571"/>
                    <a:pt x="4356" y="3547"/>
                    <a:pt x="4289" y="3529"/>
                  </a:cubicBezTo>
                  <a:cubicBezTo>
                    <a:pt x="4167" y="3501"/>
                    <a:pt x="4051" y="3459"/>
                    <a:pt x="3943" y="3396"/>
                  </a:cubicBezTo>
                  <a:cubicBezTo>
                    <a:pt x="3813" y="3312"/>
                    <a:pt x="3771" y="3151"/>
                    <a:pt x="3729" y="2997"/>
                  </a:cubicBezTo>
                  <a:cubicBezTo>
                    <a:pt x="3694" y="2854"/>
                    <a:pt x="3659" y="2721"/>
                    <a:pt x="3561" y="2675"/>
                  </a:cubicBezTo>
                  <a:cubicBezTo>
                    <a:pt x="3386" y="2591"/>
                    <a:pt x="3211" y="2374"/>
                    <a:pt x="3250" y="2220"/>
                  </a:cubicBezTo>
                  <a:cubicBezTo>
                    <a:pt x="3260" y="2180"/>
                    <a:pt x="3299" y="2094"/>
                    <a:pt x="3446" y="2094"/>
                  </a:cubicBezTo>
                  <a:cubicBezTo>
                    <a:pt x="3451" y="2094"/>
                    <a:pt x="3457" y="2094"/>
                    <a:pt x="3463" y="2094"/>
                  </a:cubicBezTo>
                  <a:cubicBezTo>
                    <a:pt x="3477" y="2095"/>
                    <a:pt x="3490" y="2095"/>
                    <a:pt x="3503" y="2095"/>
                  </a:cubicBezTo>
                  <a:cubicBezTo>
                    <a:pt x="3595" y="2095"/>
                    <a:pt x="3639" y="2074"/>
                    <a:pt x="3649" y="2052"/>
                  </a:cubicBezTo>
                  <a:cubicBezTo>
                    <a:pt x="3656" y="2028"/>
                    <a:pt x="3645" y="1961"/>
                    <a:pt x="3530" y="1853"/>
                  </a:cubicBezTo>
                  <a:cubicBezTo>
                    <a:pt x="3449" y="1779"/>
                    <a:pt x="3260" y="1716"/>
                    <a:pt x="3081" y="1653"/>
                  </a:cubicBezTo>
                  <a:cubicBezTo>
                    <a:pt x="2770" y="1548"/>
                    <a:pt x="2448" y="1439"/>
                    <a:pt x="2423" y="1215"/>
                  </a:cubicBezTo>
                  <a:cubicBezTo>
                    <a:pt x="2399" y="981"/>
                    <a:pt x="1044" y="253"/>
                    <a:pt x="323" y="92"/>
                  </a:cubicBezTo>
                  <a:cubicBezTo>
                    <a:pt x="235" y="74"/>
                    <a:pt x="130" y="4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0" name="Google Shape;6570;p53"/>
            <p:cNvSpPr/>
            <p:nvPr/>
          </p:nvSpPr>
          <p:spPr>
            <a:xfrm>
              <a:off x="2639603" y="1973302"/>
              <a:ext cx="14229" cy="26680"/>
            </a:xfrm>
            <a:custGeom>
              <a:avLst/>
              <a:gdLst/>
              <a:ahLst/>
              <a:cxnLst/>
              <a:rect l="l" t="t" r="r" b="b"/>
              <a:pathLst>
                <a:path w="1048" h="1965" extrusionOk="0">
                  <a:moveTo>
                    <a:pt x="214" y="1"/>
                  </a:moveTo>
                  <a:cubicBezTo>
                    <a:pt x="172" y="11"/>
                    <a:pt x="154" y="123"/>
                    <a:pt x="137" y="218"/>
                  </a:cubicBezTo>
                  <a:cubicBezTo>
                    <a:pt x="126" y="306"/>
                    <a:pt x="105" y="390"/>
                    <a:pt x="77" y="474"/>
                  </a:cubicBezTo>
                  <a:cubicBezTo>
                    <a:pt x="0" y="670"/>
                    <a:pt x="14" y="869"/>
                    <a:pt x="49" y="1170"/>
                  </a:cubicBezTo>
                  <a:cubicBezTo>
                    <a:pt x="53" y="1223"/>
                    <a:pt x="56" y="1279"/>
                    <a:pt x="60" y="1331"/>
                  </a:cubicBezTo>
                  <a:cubicBezTo>
                    <a:pt x="77" y="1583"/>
                    <a:pt x="91" y="1800"/>
                    <a:pt x="294" y="1930"/>
                  </a:cubicBezTo>
                  <a:cubicBezTo>
                    <a:pt x="332" y="1955"/>
                    <a:pt x="372" y="1965"/>
                    <a:pt x="412" y="1965"/>
                  </a:cubicBezTo>
                  <a:cubicBezTo>
                    <a:pt x="472" y="1965"/>
                    <a:pt x="532" y="1943"/>
                    <a:pt x="578" y="1919"/>
                  </a:cubicBezTo>
                  <a:cubicBezTo>
                    <a:pt x="819" y="1793"/>
                    <a:pt x="1023" y="1475"/>
                    <a:pt x="1033" y="1209"/>
                  </a:cubicBezTo>
                  <a:cubicBezTo>
                    <a:pt x="1047" y="810"/>
                    <a:pt x="350" y="46"/>
                    <a:pt x="2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1" name="Google Shape;6571;p53"/>
            <p:cNvSpPr/>
            <p:nvPr/>
          </p:nvSpPr>
          <p:spPr>
            <a:xfrm>
              <a:off x="2363531" y="2134820"/>
              <a:ext cx="53061" cy="102877"/>
            </a:xfrm>
            <a:custGeom>
              <a:avLst/>
              <a:gdLst/>
              <a:ahLst/>
              <a:cxnLst/>
              <a:rect l="l" t="t" r="r" b="b"/>
              <a:pathLst>
                <a:path w="3908" h="7577" extrusionOk="0">
                  <a:moveTo>
                    <a:pt x="3295" y="1"/>
                  </a:moveTo>
                  <a:lnTo>
                    <a:pt x="3281" y="32"/>
                  </a:lnTo>
                  <a:cubicBezTo>
                    <a:pt x="3267" y="88"/>
                    <a:pt x="3239" y="137"/>
                    <a:pt x="3207" y="179"/>
                  </a:cubicBezTo>
                  <a:cubicBezTo>
                    <a:pt x="3165" y="221"/>
                    <a:pt x="3127" y="386"/>
                    <a:pt x="3144" y="515"/>
                  </a:cubicBezTo>
                  <a:cubicBezTo>
                    <a:pt x="3148" y="585"/>
                    <a:pt x="3120" y="655"/>
                    <a:pt x="3067" y="704"/>
                  </a:cubicBezTo>
                  <a:cubicBezTo>
                    <a:pt x="2986" y="786"/>
                    <a:pt x="2876" y="831"/>
                    <a:pt x="2758" y="831"/>
                  </a:cubicBezTo>
                  <a:cubicBezTo>
                    <a:pt x="2754" y="831"/>
                    <a:pt x="2749" y="831"/>
                    <a:pt x="2745" y="831"/>
                  </a:cubicBezTo>
                  <a:cubicBezTo>
                    <a:pt x="2734" y="829"/>
                    <a:pt x="2724" y="828"/>
                    <a:pt x="2713" y="828"/>
                  </a:cubicBezTo>
                  <a:cubicBezTo>
                    <a:pt x="2654" y="828"/>
                    <a:pt x="2597" y="852"/>
                    <a:pt x="2553" y="894"/>
                  </a:cubicBezTo>
                  <a:cubicBezTo>
                    <a:pt x="2531" y="922"/>
                    <a:pt x="2528" y="957"/>
                    <a:pt x="2542" y="985"/>
                  </a:cubicBezTo>
                  <a:cubicBezTo>
                    <a:pt x="2588" y="1107"/>
                    <a:pt x="2546" y="1167"/>
                    <a:pt x="2521" y="1205"/>
                  </a:cubicBezTo>
                  <a:cubicBezTo>
                    <a:pt x="2503" y="1230"/>
                    <a:pt x="2500" y="1230"/>
                    <a:pt x="2521" y="1268"/>
                  </a:cubicBezTo>
                  <a:cubicBezTo>
                    <a:pt x="2553" y="1328"/>
                    <a:pt x="2549" y="1398"/>
                    <a:pt x="2514" y="1457"/>
                  </a:cubicBezTo>
                  <a:cubicBezTo>
                    <a:pt x="2447" y="1583"/>
                    <a:pt x="2248" y="1692"/>
                    <a:pt x="2062" y="1706"/>
                  </a:cubicBezTo>
                  <a:cubicBezTo>
                    <a:pt x="1978" y="1709"/>
                    <a:pt x="1866" y="1797"/>
                    <a:pt x="1754" y="1881"/>
                  </a:cubicBezTo>
                  <a:cubicBezTo>
                    <a:pt x="1617" y="1983"/>
                    <a:pt x="1474" y="2094"/>
                    <a:pt x="1330" y="2094"/>
                  </a:cubicBezTo>
                  <a:cubicBezTo>
                    <a:pt x="1316" y="2094"/>
                    <a:pt x="1302" y="2093"/>
                    <a:pt x="1289" y="2091"/>
                  </a:cubicBezTo>
                  <a:cubicBezTo>
                    <a:pt x="1274" y="2089"/>
                    <a:pt x="1259" y="2088"/>
                    <a:pt x="1245" y="2088"/>
                  </a:cubicBezTo>
                  <a:cubicBezTo>
                    <a:pt x="1149" y="2088"/>
                    <a:pt x="1049" y="2124"/>
                    <a:pt x="949" y="2157"/>
                  </a:cubicBezTo>
                  <a:cubicBezTo>
                    <a:pt x="857" y="2189"/>
                    <a:pt x="755" y="2226"/>
                    <a:pt x="655" y="2226"/>
                  </a:cubicBezTo>
                  <a:cubicBezTo>
                    <a:pt x="634" y="2226"/>
                    <a:pt x="613" y="2224"/>
                    <a:pt x="592" y="2220"/>
                  </a:cubicBezTo>
                  <a:lnTo>
                    <a:pt x="582" y="2220"/>
                  </a:lnTo>
                  <a:cubicBezTo>
                    <a:pt x="578" y="2220"/>
                    <a:pt x="575" y="2220"/>
                    <a:pt x="575" y="2224"/>
                  </a:cubicBezTo>
                  <a:cubicBezTo>
                    <a:pt x="547" y="2245"/>
                    <a:pt x="540" y="2364"/>
                    <a:pt x="533" y="2448"/>
                  </a:cubicBezTo>
                  <a:cubicBezTo>
                    <a:pt x="526" y="2595"/>
                    <a:pt x="512" y="2773"/>
                    <a:pt x="434" y="2917"/>
                  </a:cubicBezTo>
                  <a:cubicBezTo>
                    <a:pt x="273" y="3201"/>
                    <a:pt x="378" y="3547"/>
                    <a:pt x="501" y="3845"/>
                  </a:cubicBezTo>
                  <a:cubicBezTo>
                    <a:pt x="645" y="4195"/>
                    <a:pt x="778" y="4524"/>
                    <a:pt x="361" y="5028"/>
                  </a:cubicBezTo>
                  <a:cubicBezTo>
                    <a:pt x="0" y="5466"/>
                    <a:pt x="21" y="5956"/>
                    <a:pt x="161" y="6267"/>
                  </a:cubicBezTo>
                  <a:cubicBezTo>
                    <a:pt x="217" y="6414"/>
                    <a:pt x="263" y="6568"/>
                    <a:pt x="291" y="6726"/>
                  </a:cubicBezTo>
                  <a:cubicBezTo>
                    <a:pt x="343" y="6950"/>
                    <a:pt x="389" y="7164"/>
                    <a:pt x="505" y="7286"/>
                  </a:cubicBezTo>
                  <a:cubicBezTo>
                    <a:pt x="645" y="7437"/>
                    <a:pt x="967" y="7573"/>
                    <a:pt x="1194" y="7577"/>
                  </a:cubicBezTo>
                  <a:cubicBezTo>
                    <a:pt x="1282" y="7577"/>
                    <a:pt x="1345" y="7563"/>
                    <a:pt x="1380" y="7528"/>
                  </a:cubicBezTo>
                  <a:cubicBezTo>
                    <a:pt x="1481" y="7426"/>
                    <a:pt x="1586" y="7426"/>
                    <a:pt x="1681" y="7423"/>
                  </a:cubicBezTo>
                  <a:cubicBezTo>
                    <a:pt x="1772" y="7423"/>
                    <a:pt x="1856" y="7423"/>
                    <a:pt x="1943" y="7321"/>
                  </a:cubicBezTo>
                  <a:cubicBezTo>
                    <a:pt x="2069" y="7174"/>
                    <a:pt x="2269" y="6516"/>
                    <a:pt x="2461" y="5875"/>
                  </a:cubicBezTo>
                  <a:cubicBezTo>
                    <a:pt x="2549" y="5592"/>
                    <a:pt x="2637" y="5298"/>
                    <a:pt x="2721" y="5046"/>
                  </a:cubicBezTo>
                  <a:cubicBezTo>
                    <a:pt x="2927" y="4433"/>
                    <a:pt x="3351" y="3162"/>
                    <a:pt x="3319" y="2942"/>
                  </a:cubicBezTo>
                  <a:cubicBezTo>
                    <a:pt x="3302" y="2823"/>
                    <a:pt x="3344" y="2721"/>
                    <a:pt x="3382" y="2633"/>
                  </a:cubicBezTo>
                  <a:cubicBezTo>
                    <a:pt x="3428" y="2535"/>
                    <a:pt x="3463" y="2448"/>
                    <a:pt x="3421" y="2339"/>
                  </a:cubicBezTo>
                  <a:cubicBezTo>
                    <a:pt x="3344" y="2154"/>
                    <a:pt x="3382" y="1916"/>
                    <a:pt x="3498" y="1860"/>
                  </a:cubicBezTo>
                  <a:cubicBezTo>
                    <a:pt x="3507" y="1854"/>
                    <a:pt x="3527" y="1846"/>
                    <a:pt x="3551" y="1846"/>
                  </a:cubicBezTo>
                  <a:cubicBezTo>
                    <a:pt x="3589" y="1846"/>
                    <a:pt x="3639" y="1865"/>
                    <a:pt x="3683" y="1944"/>
                  </a:cubicBezTo>
                  <a:cubicBezTo>
                    <a:pt x="3727" y="2017"/>
                    <a:pt x="3773" y="2049"/>
                    <a:pt x="3801" y="2049"/>
                  </a:cubicBezTo>
                  <a:cubicBezTo>
                    <a:pt x="3803" y="2049"/>
                    <a:pt x="3804" y="2049"/>
                    <a:pt x="3806" y="2049"/>
                  </a:cubicBezTo>
                  <a:cubicBezTo>
                    <a:pt x="3830" y="2045"/>
                    <a:pt x="3865" y="2003"/>
                    <a:pt x="3883" y="1898"/>
                  </a:cubicBezTo>
                  <a:cubicBezTo>
                    <a:pt x="3907" y="1779"/>
                    <a:pt x="3851" y="1604"/>
                    <a:pt x="3795" y="1422"/>
                  </a:cubicBezTo>
                  <a:cubicBezTo>
                    <a:pt x="3743" y="1240"/>
                    <a:pt x="3683" y="1062"/>
                    <a:pt x="3676" y="880"/>
                  </a:cubicBezTo>
                  <a:cubicBezTo>
                    <a:pt x="3666" y="655"/>
                    <a:pt x="3529" y="428"/>
                    <a:pt x="3421" y="249"/>
                  </a:cubicBezTo>
                  <a:cubicBezTo>
                    <a:pt x="3372" y="172"/>
                    <a:pt x="3326" y="88"/>
                    <a:pt x="32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2" name="Google Shape;6572;p53"/>
            <p:cNvSpPr/>
            <p:nvPr/>
          </p:nvSpPr>
          <p:spPr>
            <a:xfrm>
              <a:off x="2441765" y="1949718"/>
              <a:ext cx="5621" cy="1466"/>
            </a:xfrm>
            <a:custGeom>
              <a:avLst/>
              <a:gdLst/>
              <a:ahLst/>
              <a:cxnLst/>
              <a:rect l="l" t="t" r="r" b="b"/>
              <a:pathLst>
                <a:path w="414" h="108" extrusionOk="0">
                  <a:moveTo>
                    <a:pt x="249" y="0"/>
                  </a:moveTo>
                  <a:cubicBezTo>
                    <a:pt x="143" y="0"/>
                    <a:pt x="34" y="12"/>
                    <a:pt x="1" y="37"/>
                  </a:cubicBezTo>
                  <a:cubicBezTo>
                    <a:pt x="4" y="44"/>
                    <a:pt x="8" y="47"/>
                    <a:pt x="11" y="51"/>
                  </a:cubicBezTo>
                  <a:cubicBezTo>
                    <a:pt x="50" y="87"/>
                    <a:pt x="100" y="107"/>
                    <a:pt x="152" y="107"/>
                  </a:cubicBezTo>
                  <a:cubicBezTo>
                    <a:pt x="166" y="107"/>
                    <a:pt x="180" y="106"/>
                    <a:pt x="193" y="103"/>
                  </a:cubicBezTo>
                  <a:cubicBezTo>
                    <a:pt x="274" y="89"/>
                    <a:pt x="347" y="58"/>
                    <a:pt x="414" y="12"/>
                  </a:cubicBezTo>
                  <a:cubicBezTo>
                    <a:pt x="370" y="4"/>
                    <a:pt x="310" y="0"/>
                    <a:pt x="2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3" name="Google Shape;6573;p53"/>
            <p:cNvSpPr/>
            <p:nvPr/>
          </p:nvSpPr>
          <p:spPr>
            <a:xfrm>
              <a:off x="2361345" y="1900730"/>
              <a:ext cx="77012" cy="46109"/>
            </a:xfrm>
            <a:custGeom>
              <a:avLst/>
              <a:gdLst/>
              <a:ahLst/>
              <a:cxnLst/>
              <a:rect l="l" t="t" r="r" b="b"/>
              <a:pathLst>
                <a:path w="5672" h="3396" extrusionOk="0">
                  <a:moveTo>
                    <a:pt x="5059" y="0"/>
                  </a:moveTo>
                  <a:cubicBezTo>
                    <a:pt x="4825" y="74"/>
                    <a:pt x="4670" y="116"/>
                    <a:pt x="4597" y="137"/>
                  </a:cubicBezTo>
                  <a:lnTo>
                    <a:pt x="4576" y="144"/>
                  </a:lnTo>
                  <a:lnTo>
                    <a:pt x="4569" y="144"/>
                  </a:lnTo>
                  <a:cubicBezTo>
                    <a:pt x="4429" y="168"/>
                    <a:pt x="4285" y="182"/>
                    <a:pt x="4142" y="182"/>
                  </a:cubicBezTo>
                  <a:lnTo>
                    <a:pt x="3900" y="182"/>
                  </a:lnTo>
                  <a:cubicBezTo>
                    <a:pt x="3739" y="182"/>
                    <a:pt x="3540" y="186"/>
                    <a:pt x="3505" y="203"/>
                  </a:cubicBezTo>
                  <a:cubicBezTo>
                    <a:pt x="3414" y="249"/>
                    <a:pt x="2777" y="707"/>
                    <a:pt x="2692" y="903"/>
                  </a:cubicBezTo>
                  <a:cubicBezTo>
                    <a:pt x="2636" y="1033"/>
                    <a:pt x="2559" y="1113"/>
                    <a:pt x="2468" y="1138"/>
                  </a:cubicBezTo>
                  <a:cubicBezTo>
                    <a:pt x="2452" y="1142"/>
                    <a:pt x="2433" y="1145"/>
                    <a:pt x="2411" y="1145"/>
                  </a:cubicBezTo>
                  <a:cubicBezTo>
                    <a:pt x="2358" y="1145"/>
                    <a:pt x="2291" y="1128"/>
                    <a:pt x="2216" y="1068"/>
                  </a:cubicBezTo>
                  <a:cubicBezTo>
                    <a:pt x="2146" y="1015"/>
                    <a:pt x="1898" y="1001"/>
                    <a:pt x="1737" y="991"/>
                  </a:cubicBezTo>
                  <a:cubicBezTo>
                    <a:pt x="1548" y="980"/>
                    <a:pt x="1485" y="973"/>
                    <a:pt x="1450" y="942"/>
                  </a:cubicBezTo>
                  <a:cubicBezTo>
                    <a:pt x="1418" y="931"/>
                    <a:pt x="1387" y="921"/>
                    <a:pt x="1355" y="917"/>
                  </a:cubicBezTo>
                  <a:cubicBezTo>
                    <a:pt x="1236" y="896"/>
                    <a:pt x="1117" y="886"/>
                    <a:pt x="998" y="886"/>
                  </a:cubicBezTo>
                  <a:cubicBezTo>
                    <a:pt x="956" y="886"/>
                    <a:pt x="911" y="886"/>
                    <a:pt x="869" y="889"/>
                  </a:cubicBezTo>
                  <a:lnTo>
                    <a:pt x="830" y="896"/>
                  </a:lnTo>
                  <a:cubicBezTo>
                    <a:pt x="808" y="899"/>
                    <a:pt x="787" y="901"/>
                    <a:pt x="766" y="901"/>
                  </a:cubicBezTo>
                  <a:cubicBezTo>
                    <a:pt x="757" y="901"/>
                    <a:pt x="748" y="901"/>
                    <a:pt x="739" y="900"/>
                  </a:cubicBezTo>
                  <a:cubicBezTo>
                    <a:pt x="666" y="896"/>
                    <a:pt x="595" y="879"/>
                    <a:pt x="529" y="851"/>
                  </a:cubicBezTo>
                  <a:lnTo>
                    <a:pt x="522" y="851"/>
                  </a:lnTo>
                  <a:cubicBezTo>
                    <a:pt x="497" y="837"/>
                    <a:pt x="469" y="830"/>
                    <a:pt x="441" y="830"/>
                  </a:cubicBezTo>
                  <a:lnTo>
                    <a:pt x="434" y="830"/>
                  </a:lnTo>
                  <a:cubicBezTo>
                    <a:pt x="378" y="854"/>
                    <a:pt x="326" y="893"/>
                    <a:pt x="287" y="945"/>
                  </a:cubicBezTo>
                  <a:cubicBezTo>
                    <a:pt x="266" y="963"/>
                    <a:pt x="249" y="987"/>
                    <a:pt x="231" y="1008"/>
                  </a:cubicBezTo>
                  <a:cubicBezTo>
                    <a:pt x="231" y="1047"/>
                    <a:pt x="238" y="1082"/>
                    <a:pt x="249" y="1117"/>
                  </a:cubicBezTo>
                  <a:cubicBezTo>
                    <a:pt x="266" y="1183"/>
                    <a:pt x="280" y="1250"/>
                    <a:pt x="256" y="1295"/>
                  </a:cubicBezTo>
                  <a:lnTo>
                    <a:pt x="252" y="1302"/>
                  </a:lnTo>
                  <a:lnTo>
                    <a:pt x="252" y="1306"/>
                  </a:lnTo>
                  <a:lnTo>
                    <a:pt x="249" y="1309"/>
                  </a:lnTo>
                  <a:lnTo>
                    <a:pt x="245" y="1313"/>
                  </a:lnTo>
                  <a:lnTo>
                    <a:pt x="242" y="1316"/>
                  </a:lnTo>
                  <a:lnTo>
                    <a:pt x="238" y="1320"/>
                  </a:lnTo>
                  <a:lnTo>
                    <a:pt x="235" y="1323"/>
                  </a:lnTo>
                  <a:lnTo>
                    <a:pt x="231" y="1327"/>
                  </a:lnTo>
                  <a:lnTo>
                    <a:pt x="224" y="1330"/>
                  </a:lnTo>
                  <a:lnTo>
                    <a:pt x="217" y="1334"/>
                  </a:lnTo>
                  <a:lnTo>
                    <a:pt x="214" y="1337"/>
                  </a:lnTo>
                  <a:lnTo>
                    <a:pt x="207" y="1344"/>
                  </a:lnTo>
                  <a:lnTo>
                    <a:pt x="196" y="1348"/>
                  </a:lnTo>
                  <a:lnTo>
                    <a:pt x="189" y="1351"/>
                  </a:lnTo>
                  <a:lnTo>
                    <a:pt x="179" y="1358"/>
                  </a:lnTo>
                  <a:lnTo>
                    <a:pt x="172" y="1362"/>
                  </a:lnTo>
                  <a:lnTo>
                    <a:pt x="158" y="1369"/>
                  </a:lnTo>
                  <a:lnTo>
                    <a:pt x="151" y="1373"/>
                  </a:lnTo>
                  <a:lnTo>
                    <a:pt x="77" y="1411"/>
                  </a:lnTo>
                  <a:lnTo>
                    <a:pt x="70" y="1415"/>
                  </a:lnTo>
                  <a:lnTo>
                    <a:pt x="42" y="1429"/>
                  </a:lnTo>
                  <a:lnTo>
                    <a:pt x="35" y="1432"/>
                  </a:lnTo>
                  <a:cubicBezTo>
                    <a:pt x="81" y="1565"/>
                    <a:pt x="91" y="1674"/>
                    <a:pt x="60" y="1758"/>
                  </a:cubicBezTo>
                  <a:cubicBezTo>
                    <a:pt x="0" y="1929"/>
                    <a:pt x="60" y="2349"/>
                    <a:pt x="214" y="2573"/>
                  </a:cubicBezTo>
                  <a:cubicBezTo>
                    <a:pt x="326" y="2734"/>
                    <a:pt x="343" y="2962"/>
                    <a:pt x="361" y="3147"/>
                  </a:cubicBezTo>
                  <a:cubicBezTo>
                    <a:pt x="368" y="3231"/>
                    <a:pt x="375" y="3343"/>
                    <a:pt x="396" y="3364"/>
                  </a:cubicBezTo>
                  <a:cubicBezTo>
                    <a:pt x="419" y="3383"/>
                    <a:pt x="508" y="3396"/>
                    <a:pt x="625" y="3396"/>
                  </a:cubicBezTo>
                  <a:cubicBezTo>
                    <a:pt x="833" y="3396"/>
                    <a:pt x="1131" y="3356"/>
                    <a:pt x="1306" y="3242"/>
                  </a:cubicBezTo>
                  <a:cubicBezTo>
                    <a:pt x="1597" y="3049"/>
                    <a:pt x="1803" y="3011"/>
                    <a:pt x="2045" y="3011"/>
                  </a:cubicBezTo>
                  <a:cubicBezTo>
                    <a:pt x="2241" y="3011"/>
                    <a:pt x="2528" y="2836"/>
                    <a:pt x="2591" y="2748"/>
                  </a:cubicBezTo>
                  <a:cubicBezTo>
                    <a:pt x="2666" y="2648"/>
                    <a:pt x="2896" y="2627"/>
                    <a:pt x="3054" y="2627"/>
                  </a:cubicBezTo>
                  <a:cubicBezTo>
                    <a:pt x="3116" y="2627"/>
                    <a:pt x="3167" y="2630"/>
                    <a:pt x="3193" y="2633"/>
                  </a:cubicBezTo>
                  <a:cubicBezTo>
                    <a:pt x="3198" y="2634"/>
                    <a:pt x="3203" y="2634"/>
                    <a:pt x="3209" y="2634"/>
                  </a:cubicBezTo>
                  <a:cubicBezTo>
                    <a:pt x="3300" y="2634"/>
                    <a:pt x="3410" y="2521"/>
                    <a:pt x="3526" y="2402"/>
                  </a:cubicBezTo>
                  <a:lnTo>
                    <a:pt x="3568" y="2363"/>
                  </a:lnTo>
                  <a:cubicBezTo>
                    <a:pt x="3680" y="2248"/>
                    <a:pt x="3932" y="2185"/>
                    <a:pt x="4250" y="2104"/>
                  </a:cubicBezTo>
                  <a:cubicBezTo>
                    <a:pt x="4401" y="2062"/>
                    <a:pt x="4576" y="2020"/>
                    <a:pt x="4751" y="1964"/>
                  </a:cubicBezTo>
                  <a:cubicBezTo>
                    <a:pt x="5087" y="1859"/>
                    <a:pt x="5126" y="1730"/>
                    <a:pt x="5164" y="1604"/>
                  </a:cubicBezTo>
                  <a:cubicBezTo>
                    <a:pt x="5178" y="1544"/>
                    <a:pt x="5206" y="1485"/>
                    <a:pt x="5245" y="1436"/>
                  </a:cubicBezTo>
                  <a:cubicBezTo>
                    <a:pt x="5322" y="1344"/>
                    <a:pt x="5413" y="1323"/>
                    <a:pt x="5521" y="1306"/>
                  </a:cubicBezTo>
                  <a:cubicBezTo>
                    <a:pt x="5570" y="1295"/>
                    <a:pt x="5623" y="1281"/>
                    <a:pt x="5672" y="1267"/>
                  </a:cubicBezTo>
                  <a:lnTo>
                    <a:pt x="5668" y="1260"/>
                  </a:lnTo>
                  <a:lnTo>
                    <a:pt x="5640" y="1204"/>
                  </a:lnTo>
                  <a:lnTo>
                    <a:pt x="5630" y="1176"/>
                  </a:lnTo>
                  <a:lnTo>
                    <a:pt x="5598" y="1120"/>
                  </a:lnTo>
                  <a:lnTo>
                    <a:pt x="5588" y="1092"/>
                  </a:lnTo>
                  <a:lnTo>
                    <a:pt x="5560" y="1040"/>
                  </a:lnTo>
                  <a:lnTo>
                    <a:pt x="5542" y="1001"/>
                  </a:lnTo>
                  <a:lnTo>
                    <a:pt x="5514" y="945"/>
                  </a:lnTo>
                  <a:lnTo>
                    <a:pt x="5507" y="928"/>
                  </a:lnTo>
                  <a:cubicBezTo>
                    <a:pt x="5346" y="595"/>
                    <a:pt x="5182" y="259"/>
                    <a:pt x="50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4" name="Google Shape;6574;p53"/>
            <p:cNvSpPr/>
            <p:nvPr/>
          </p:nvSpPr>
          <p:spPr>
            <a:xfrm>
              <a:off x="2379743" y="1913221"/>
              <a:ext cx="5146" cy="1018"/>
            </a:xfrm>
            <a:custGeom>
              <a:avLst/>
              <a:gdLst/>
              <a:ahLst/>
              <a:cxnLst/>
              <a:rect l="l" t="t" r="r" b="b"/>
              <a:pathLst>
                <a:path w="379" h="75" extrusionOk="0">
                  <a:moveTo>
                    <a:pt x="378" y="74"/>
                  </a:moveTo>
                  <a:cubicBezTo>
                    <a:pt x="193" y="60"/>
                    <a:pt x="130" y="57"/>
                    <a:pt x="95" y="25"/>
                  </a:cubicBezTo>
                  <a:cubicBezTo>
                    <a:pt x="63" y="11"/>
                    <a:pt x="32" y="4"/>
                    <a:pt x="0" y="1"/>
                  </a:cubicBezTo>
                  <a:cubicBezTo>
                    <a:pt x="32" y="4"/>
                    <a:pt x="63" y="11"/>
                    <a:pt x="95" y="25"/>
                  </a:cubicBezTo>
                  <a:cubicBezTo>
                    <a:pt x="130" y="57"/>
                    <a:pt x="193" y="60"/>
                    <a:pt x="378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5" name="Google Shape;6575;p53"/>
            <p:cNvSpPr/>
            <p:nvPr/>
          </p:nvSpPr>
          <p:spPr>
            <a:xfrm>
              <a:off x="2364237" y="191882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6" name="Google Shape;6576;p53"/>
            <p:cNvSpPr/>
            <p:nvPr/>
          </p:nvSpPr>
          <p:spPr>
            <a:xfrm>
              <a:off x="2364713" y="19185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7" name="Google Shape;6577;p53"/>
            <p:cNvSpPr/>
            <p:nvPr/>
          </p:nvSpPr>
          <p:spPr>
            <a:xfrm>
              <a:off x="2364102" y="191897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8" name="Google Shape;6578;p53"/>
            <p:cNvSpPr/>
            <p:nvPr/>
          </p:nvSpPr>
          <p:spPr>
            <a:xfrm>
              <a:off x="2364672" y="19185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9" name="Google Shape;6579;p53"/>
            <p:cNvSpPr/>
            <p:nvPr/>
          </p:nvSpPr>
          <p:spPr>
            <a:xfrm>
              <a:off x="2364523" y="19186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0" name="Google Shape;6580;p53"/>
            <p:cNvSpPr/>
            <p:nvPr/>
          </p:nvSpPr>
          <p:spPr>
            <a:xfrm>
              <a:off x="2364387" y="1918734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1" name="Google Shape;6581;p53"/>
            <p:cNvSpPr/>
            <p:nvPr/>
          </p:nvSpPr>
          <p:spPr>
            <a:xfrm>
              <a:off x="2363857" y="191907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2" name="Google Shape;6582;p53"/>
            <p:cNvSpPr/>
            <p:nvPr/>
          </p:nvSpPr>
          <p:spPr>
            <a:xfrm>
              <a:off x="2363341" y="19193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3" name="Google Shape;6583;p53"/>
            <p:cNvSpPr/>
            <p:nvPr/>
          </p:nvSpPr>
          <p:spPr>
            <a:xfrm>
              <a:off x="2362242" y="1919508"/>
              <a:ext cx="1018" cy="530"/>
            </a:xfrm>
            <a:custGeom>
              <a:avLst/>
              <a:gdLst/>
              <a:ahLst/>
              <a:cxnLst/>
              <a:rect l="l" t="t" r="r" b="b"/>
              <a:pathLst>
                <a:path w="75" h="39" extrusionOk="0">
                  <a:moveTo>
                    <a:pt x="74" y="0"/>
                  </a:moveTo>
                  <a:cubicBezTo>
                    <a:pt x="65" y="5"/>
                    <a:pt x="56" y="10"/>
                    <a:pt x="45" y="15"/>
                  </a:cubicBezTo>
                  <a:lnTo>
                    <a:pt x="45" y="15"/>
                  </a:lnTo>
                  <a:lnTo>
                    <a:pt x="74" y="0"/>
                  </a:lnTo>
                  <a:close/>
                  <a:moveTo>
                    <a:pt x="45" y="15"/>
                  </a:moveTo>
                  <a:lnTo>
                    <a:pt x="1" y="39"/>
                  </a:lnTo>
                  <a:cubicBezTo>
                    <a:pt x="17" y="31"/>
                    <a:pt x="32" y="23"/>
                    <a:pt x="4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4" name="Google Shape;6584;p53"/>
            <p:cNvSpPr/>
            <p:nvPr/>
          </p:nvSpPr>
          <p:spPr>
            <a:xfrm>
              <a:off x="2363626" y="191920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5" name="Google Shape;6585;p53"/>
            <p:cNvSpPr/>
            <p:nvPr/>
          </p:nvSpPr>
          <p:spPr>
            <a:xfrm>
              <a:off x="2361766" y="1920024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1" y="15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6" name="Google Shape;6586;p53"/>
            <p:cNvSpPr/>
            <p:nvPr/>
          </p:nvSpPr>
          <p:spPr>
            <a:xfrm>
              <a:off x="2423463" y="1902672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7" name="Google Shape;6587;p53"/>
            <p:cNvSpPr/>
            <p:nvPr/>
          </p:nvSpPr>
          <p:spPr>
            <a:xfrm>
              <a:off x="2367333" y="1912040"/>
              <a:ext cx="1100" cy="244"/>
            </a:xfrm>
            <a:custGeom>
              <a:avLst/>
              <a:gdLst/>
              <a:ahLst/>
              <a:cxnLst/>
              <a:rect l="l" t="t" r="r" b="b"/>
              <a:pathLst>
                <a:path w="81" h="18" extrusionOk="0">
                  <a:moveTo>
                    <a:pt x="81" y="18"/>
                  </a:moveTo>
                  <a:cubicBezTo>
                    <a:pt x="56" y="7"/>
                    <a:pt x="28" y="0"/>
                    <a:pt x="0" y="0"/>
                  </a:cubicBezTo>
                  <a:cubicBezTo>
                    <a:pt x="28" y="0"/>
                    <a:pt x="56" y="7"/>
                    <a:pt x="8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8" name="Google Shape;6588;p53"/>
            <p:cNvSpPr/>
            <p:nvPr/>
          </p:nvSpPr>
          <p:spPr>
            <a:xfrm>
              <a:off x="2364618" y="191859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9" name="Google Shape;6589;p53"/>
            <p:cNvSpPr/>
            <p:nvPr/>
          </p:nvSpPr>
          <p:spPr>
            <a:xfrm>
              <a:off x="2364767" y="19184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0" name="Google Shape;6590;p53"/>
            <p:cNvSpPr/>
            <p:nvPr/>
          </p:nvSpPr>
          <p:spPr>
            <a:xfrm>
              <a:off x="2414298" y="1903201"/>
              <a:ext cx="3286" cy="54"/>
            </a:xfrm>
            <a:custGeom>
              <a:avLst/>
              <a:gdLst/>
              <a:ahLst/>
              <a:cxnLst/>
              <a:rect l="l" t="t" r="r" b="b"/>
              <a:pathLst>
                <a:path w="242" h="4" extrusionOk="0">
                  <a:moveTo>
                    <a:pt x="0" y="4"/>
                  </a:moveTo>
                  <a:cubicBezTo>
                    <a:pt x="81" y="4"/>
                    <a:pt x="161" y="4"/>
                    <a:pt x="242" y="0"/>
                  </a:cubicBezTo>
                  <a:cubicBezTo>
                    <a:pt x="161" y="4"/>
                    <a:pt x="81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1" name="Google Shape;6591;p53"/>
            <p:cNvSpPr/>
            <p:nvPr/>
          </p:nvSpPr>
          <p:spPr>
            <a:xfrm>
              <a:off x="2373131" y="1912746"/>
              <a:ext cx="1779" cy="109"/>
            </a:xfrm>
            <a:custGeom>
              <a:avLst/>
              <a:gdLst/>
              <a:ahLst/>
              <a:cxnLst/>
              <a:rect l="l" t="t" r="r" b="b"/>
              <a:pathLst>
                <a:path w="131" h="8" extrusionOk="0">
                  <a:moveTo>
                    <a:pt x="1" y="8"/>
                  </a:moveTo>
                  <a:cubicBezTo>
                    <a:pt x="43" y="4"/>
                    <a:pt x="88" y="1"/>
                    <a:pt x="130" y="4"/>
                  </a:cubicBezTo>
                  <a:cubicBezTo>
                    <a:pt x="88" y="1"/>
                    <a:pt x="43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2" name="Google Shape;6592;p53"/>
            <p:cNvSpPr/>
            <p:nvPr/>
          </p:nvSpPr>
          <p:spPr>
            <a:xfrm>
              <a:off x="2437773" y="191717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0"/>
                  </a:moveTo>
                  <a:lnTo>
                    <a:pt x="29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3" name="Google Shape;6593;p53"/>
            <p:cNvSpPr/>
            <p:nvPr/>
          </p:nvSpPr>
          <p:spPr>
            <a:xfrm>
              <a:off x="2437203" y="1916032"/>
              <a:ext cx="448" cy="774"/>
            </a:xfrm>
            <a:custGeom>
              <a:avLst/>
              <a:gdLst/>
              <a:ahLst/>
              <a:cxnLst/>
              <a:rect l="l" t="t" r="r" b="b"/>
              <a:pathLst>
                <a:path w="33" h="57" extrusionOk="0">
                  <a:moveTo>
                    <a:pt x="1" y="0"/>
                  </a:moveTo>
                  <a:lnTo>
                    <a:pt x="32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4" name="Google Shape;6594;p53"/>
            <p:cNvSpPr/>
            <p:nvPr/>
          </p:nvSpPr>
          <p:spPr>
            <a:xfrm>
              <a:off x="2436062" y="1913656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0"/>
                  </a:moveTo>
                  <a:lnTo>
                    <a:pt x="29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5" name="Google Shape;6595;p53"/>
            <p:cNvSpPr/>
            <p:nvPr/>
          </p:nvSpPr>
          <p:spPr>
            <a:xfrm>
              <a:off x="2436687" y="1914932"/>
              <a:ext cx="394" cy="733"/>
            </a:xfrm>
            <a:custGeom>
              <a:avLst/>
              <a:gdLst/>
              <a:ahLst/>
              <a:cxnLst/>
              <a:rect l="l" t="t" r="r" b="b"/>
              <a:pathLst>
                <a:path w="29" h="54" extrusionOk="0">
                  <a:moveTo>
                    <a:pt x="0" y="1"/>
                  </a:moveTo>
                  <a:lnTo>
                    <a:pt x="28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6" name="Google Shape;6596;p53"/>
            <p:cNvSpPr/>
            <p:nvPr/>
          </p:nvSpPr>
          <p:spPr>
            <a:xfrm>
              <a:off x="2429885" y="1900825"/>
              <a:ext cx="6096" cy="12600"/>
            </a:xfrm>
            <a:custGeom>
              <a:avLst/>
              <a:gdLst/>
              <a:ahLst/>
              <a:cxnLst/>
              <a:rect l="l" t="t" r="r" b="b"/>
              <a:pathLst>
                <a:path w="449" h="928" extrusionOk="0">
                  <a:moveTo>
                    <a:pt x="1" y="0"/>
                  </a:moveTo>
                  <a:lnTo>
                    <a:pt x="1" y="0"/>
                  </a:lnTo>
                  <a:cubicBezTo>
                    <a:pt x="123" y="259"/>
                    <a:pt x="288" y="595"/>
                    <a:pt x="449" y="928"/>
                  </a:cubicBezTo>
                  <a:cubicBezTo>
                    <a:pt x="288" y="595"/>
                    <a:pt x="123" y="25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7" name="Google Shape;6597;p53"/>
            <p:cNvSpPr/>
            <p:nvPr/>
          </p:nvSpPr>
          <p:spPr>
            <a:xfrm>
              <a:off x="3053662" y="2325828"/>
              <a:ext cx="6762" cy="1426"/>
            </a:xfrm>
            <a:custGeom>
              <a:avLst/>
              <a:gdLst/>
              <a:ahLst/>
              <a:cxnLst/>
              <a:rect l="l" t="t" r="r" b="b"/>
              <a:pathLst>
                <a:path w="498" h="105" extrusionOk="0">
                  <a:moveTo>
                    <a:pt x="425" y="0"/>
                  </a:moveTo>
                  <a:cubicBezTo>
                    <a:pt x="299" y="0"/>
                    <a:pt x="91" y="34"/>
                    <a:pt x="0" y="76"/>
                  </a:cubicBezTo>
                  <a:cubicBezTo>
                    <a:pt x="60" y="94"/>
                    <a:pt x="123" y="104"/>
                    <a:pt x="185" y="104"/>
                  </a:cubicBezTo>
                  <a:cubicBezTo>
                    <a:pt x="232" y="104"/>
                    <a:pt x="279" y="99"/>
                    <a:pt x="326" y="87"/>
                  </a:cubicBezTo>
                  <a:cubicBezTo>
                    <a:pt x="389" y="80"/>
                    <a:pt x="448" y="52"/>
                    <a:pt x="497" y="6"/>
                  </a:cubicBezTo>
                  <a:cubicBezTo>
                    <a:pt x="479" y="2"/>
                    <a:pt x="454" y="0"/>
                    <a:pt x="4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8" name="Google Shape;6598;p53"/>
            <p:cNvSpPr/>
            <p:nvPr/>
          </p:nvSpPr>
          <p:spPr>
            <a:xfrm>
              <a:off x="2878838" y="2126931"/>
              <a:ext cx="301597" cy="226799"/>
            </a:xfrm>
            <a:custGeom>
              <a:avLst/>
              <a:gdLst/>
              <a:ahLst/>
              <a:cxnLst/>
              <a:rect l="l" t="t" r="r" b="b"/>
              <a:pathLst>
                <a:path w="22213" h="16704" extrusionOk="0">
                  <a:moveTo>
                    <a:pt x="16170" y="1"/>
                  </a:moveTo>
                  <a:cubicBezTo>
                    <a:pt x="16125" y="22"/>
                    <a:pt x="16086" y="57"/>
                    <a:pt x="16055" y="95"/>
                  </a:cubicBezTo>
                  <a:cubicBezTo>
                    <a:pt x="15974" y="183"/>
                    <a:pt x="15918" y="288"/>
                    <a:pt x="15922" y="340"/>
                  </a:cubicBezTo>
                  <a:cubicBezTo>
                    <a:pt x="15936" y="501"/>
                    <a:pt x="15901" y="715"/>
                    <a:pt x="15768" y="834"/>
                  </a:cubicBezTo>
                  <a:cubicBezTo>
                    <a:pt x="15743" y="855"/>
                    <a:pt x="15757" y="963"/>
                    <a:pt x="15764" y="1040"/>
                  </a:cubicBezTo>
                  <a:cubicBezTo>
                    <a:pt x="15782" y="1180"/>
                    <a:pt x="15799" y="1345"/>
                    <a:pt x="15694" y="1440"/>
                  </a:cubicBezTo>
                  <a:cubicBezTo>
                    <a:pt x="15628" y="1499"/>
                    <a:pt x="15645" y="1744"/>
                    <a:pt x="15663" y="1944"/>
                  </a:cubicBezTo>
                  <a:cubicBezTo>
                    <a:pt x="15677" y="2084"/>
                    <a:pt x="15677" y="2227"/>
                    <a:pt x="15670" y="2367"/>
                  </a:cubicBezTo>
                  <a:cubicBezTo>
                    <a:pt x="15659" y="2437"/>
                    <a:pt x="15656" y="2507"/>
                    <a:pt x="15649" y="2577"/>
                  </a:cubicBezTo>
                  <a:cubicBezTo>
                    <a:pt x="15631" y="2815"/>
                    <a:pt x="15610" y="3060"/>
                    <a:pt x="15488" y="3235"/>
                  </a:cubicBezTo>
                  <a:cubicBezTo>
                    <a:pt x="15442" y="3302"/>
                    <a:pt x="15407" y="3375"/>
                    <a:pt x="15376" y="3449"/>
                  </a:cubicBezTo>
                  <a:cubicBezTo>
                    <a:pt x="15302" y="3621"/>
                    <a:pt x="15218" y="3817"/>
                    <a:pt x="14994" y="3901"/>
                  </a:cubicBezTo>
                  <a:cubicBezTo>
                    <a:pt x="14935" y="3923"/>
                    <a:pt x="14872" y="3933"/>
                    <a:pt x="14809" y="3933"/>
                  </a:cubicBezTo>
                  <a:cubicBezTo>
                    <a:pt x="14649" y="3933"/>
                    <a:pt x="14487" y="3869"/>
                    <a:pt x="14381" y="3789"/>
                  </a:cubicBezTo>
                  <a:cubicBezTo>
                    <a:pt x="14283" y="3715"/>
                    <a:pt x="14234" y="3635"/>
                    <a:pt x="14241" y="3554"/>
                  </a:cubicBezTo>
                  <a:cubicBezTo>
                    <a:pt x="14238" y="3533"/>
                    <a:pt x="14227" y="3512"/>
                    <a:pt x="14210" y="3498"/>
                  </a:cubicBezTo>
                  <a:cubicBezTo>
                    <a:pt x="14142" y="3433"/>
                    <a:pt x="13993" y="3393"/>
                    <a:pt x="13883" y="3393"/>
                  </a:cubicBezTo>
                  <a:cubicBezTo>
                    <a:pt x="13863" y="3393"/>
                    <a:pt x="13845" y="3394"/>
                    <a:pt x="13828" y="3397"/>
                  </a:cubicBezTo>
                  <a:cubicBezTo>
                    <a:pt x="13818" y="3398"/>
                    <a:pt x="13808" y="3398"/>
                    <a:pt x="13799" y="3398"/>
                  </a:cubicBezTo>
                  <a:cubicBezTo>
                    <a:pt x="13678" y="3398"/>
                    <a:pt x="13589" y="3300"/>
                    <a:pt x="13489" y="3190"/>
                  </a:cubicBezTo>
                  <a:cubicBezTo>
                    <a:pt x="13415" y="3106"/>
                    <a:pt x="13335" y="3025"/>
                    <a:pt x="13247" y="2955"/>
                  </a:cubicBezTo>
                  <a:cubicBezTo>
                    <a:pt x="13166" y="2895"/>
                    <a:pt x="13094" y="2881"/>
                    <a:pt x="13026" y="2881"/>
                  </a:cubicBezTo>
                  <a:cubicBezTo>
                    <a:pt x="13000" y="2881"/>
                    <a:pt x="12975" y="2883"/>
                    <a:pt x="12950" y="2885"/>
                  </a:cubicBezTo>
                  <a:cubicBezTo>
                    <a:pt x="12928" y="2888"/>
                    <a:pt x="12904" y="2890"/>
                    <a:pt x="12880" y="2890"/>
                  </a:cubicBezTo>
                  <a:cubicBezTo>
                    <a:pt x="12798" y="2890"/>
                    <a:pt x="12712" y="2864"/>
                    <a:pt x="12666" y="2731"/>
                  </a:cubicBezTo>
                  <a:cubicBezTo>
                    <a:pt x="12596" y="2535"/>
                    <a:pt x="12537" y="2493"/>
                    <a:pt x="12383" y="2392"/>
                  </a:cubicBezTo>
                  <a:lnTo>
                    <a:pt x="12326" y="2353"/>
                  </a:lnTo>
                  <a:cubicBezTo>
                    <a:pt x="12239" y="2294"/>
                    <a:pt x="12179" y="2245"/>
                    <a:pt x="12179" y="2178"/>
                  </a:cubicBezTo>
                  <a:cubicBezTo>
                    <a:pt x="12179" y="2108"/>
                    <a:pt x="12232" y="2077"/>
                    <a:pt x="12312" y="2024"/>
                  </a:cubicBezTo>
                  <a:cubicBezTo>
                    <a:pt x="12330" y="2010"/>
                    <a:pt x="12351" y="1996"/>
                    <a:pt x="12376" y="1979"/>
                  </a:cubicBezTo>
                  <a:cubicBezTo>
                    <a:pt x="12460" y="1916"/>
                    <a:pt x="12540" y="1818"/>
                    <a:pt x="12407" y="1604"/>
                  </a:cubicBezTo>
                  <a:cubicBezTo>
                    <a:pt x="12379" y="1562"/>
                    <a:pt x="12369" y="1510"/>
                    <a:pt x="12383" y="1461"/>
                  </a:cubicBezTo>
                  <a:cubicBezTo>
                    <a:pt x="12404" y="1398"/>
                    <a:pt x="12477" y="1373"/>
                    <a:pt x="12565" y="1345"/>
                  </a:cubicBezTo>
                  <a:cubicBezTo>
                    <a:pt x="12638" y="1324"/>
                    <a:pt x="12712" y="1296"/>
                    <a:pt x="12782" y="1257"/>
                  </a:cubicBezTo>
                  <a:cubicBezTo>
                    <a:pt x="12876" y="1208"/>
                    <a:pt x="12869" y="1170"/>
                    <a:pt x="12862" y="1103"/>
                  </a:cubicBezTo>
                  <a:cubicBezTo>
                    <a:pt x="12852" y="1037"/>
                    <a:pt x="12841" y="942"/>
                    <a:pt x="12971" y="890"/>
                  </a:cubicBezTo>
                  <a:cubicBezTo>
                    <a:pt x="13006" y="879"/>
                    <a:pt x="13027" y="862"/>
                    <a:pt x="13023" y="848"/>
                  </a:cubicBezTo>
                  <a:cubicBezTo>
                    <a:pt x="13020" y="820"/>
                    <a:pt x="12964" y="767"/>
                    <a:pt x="12862" y="746"/>
                  </a:cubicBezTo>
                  <a:cubicBezTo>
                    <a:pt x="12852" y="744"/>
                    <a:pt x="12843" y="743"/>
                    <a:pt x="12835" y="743"/>
                  </a:cubicBezTo>
                  <a:cubicBezTo>
                    <a:pt x="12805" y="743"/>
                    <a:pt x="12795" y="763"/>
                    <a:pt x="12778" y="830"/>
                  </a:cubicBezTo>
                  <a:cubicBezTo>
                    <a:pt x="12764" y="879"/>
                    <a:pt x="12750" y="942"/>
                    <a:pt x="12691" y="963"/>
                  </a:cubicBezTo>
                  <a:cubicBezTo>
                    <a:pt x="12680" y="967"/>
                    <a:pt x="12669" y="969"/>
                    <a:pt x="12659" y="969"/>
                  </a:cubicBezTo>
                  <a:cubicBezTo>
                    <a:pt x="12584" y="969"/>
                    <a:pt x="12538" y="870"/>
                    <a:pt x="12495" y="771"/>
                  </a:cubicBezTo>
                  <a:cubicBezTo>
                    <a:pt x="12484" y="746"/>
                    <a:pt x="12470" y="715"/>
                    <a:pt x="12456" y="690"/>
                  </a:cubicBezTo>
                  <a:lnTo>
                    <a:pt x="12421" y="725"/>
                  </a:lnTo>
                  <a:cubicBezTo>
                    <a:pt x="12346" y="794"/>
                    <a:pt x="12242" y="888"/>
                    <a:pt x="12141" y="888"/>
                  </a:cubicBezTo>
                  <a:cubicBezTo>
                    <a:pt x="12134" y="888"/>
                    <a:pt x="12127" y="887"/>
                    <a:pt x="12120" y="886"/>
                  </a:cubicBezTo>
                  <a:cubicBezTo>
                    <a:pt x="12071" y="883"/>
                    <a:pt x="12029" y="858"/>
                    <a:pt x="12001" y="820"/>
                  </a:cubicBezTo>
                  <a:cubicBezTo>
                    <a:pt x="11910" y="701"/>
                    <a:pt x="11336" y="564"/>
                    <a:pt x="10975" y="515"/>
                  </a:cubicBezTo>
                  <a:cubicBezTo>
                    <a:pt x="10814" y="494"/>
                    <a:pt x="10716" y="386"/>
                    <a:pt x="10636" y="298"/>
                  </a:cubicBezTo>
                  <a:cubicBezTo>
                    <a:pt x="10576" y="232"/>
                    <a:pt x="10541" y="197"/>
                    <a:pt x="10513" y="197"/>
                  </a:cubicBezTo>
                  <a:cubicBezTo>
                    <a:pt x="10508" y="197"/>
                    <a:pt x="10504" y="198"/>
                    <a:pt x="10499" y="200"/>
                  </a:cubicBezTo>
                  <a:lnTo>
                    <a:pt x="10485" y="204"/>
                  </a:lnTo>
                  <a:cubicBezTo>
                    <a:pt x="10520" y="249"/>
                    <a:pt x="10559" y="291"/>
                    <a:pt x="10601" y="330"/>
                  </a:cubicBezTo>
                  <a:cubicBezTo>
                    <a:pt x="10639" y="368"/>
                    <a:pt x="10685" y="410"/>
                    <a:pt x="10730" y="456"/>
                  </a:cubicBezTo>
                  <a:cubicBezTo>
                    <a:pt x="10779" y="501"/>
                    <a:pt x="10790" y="575"/>
                    <a:pt x="10751" y="631"/>
                  </a:cubicBezTo>
                  <a:cubicBezTo>
                    <a:pt x="10664" y="771"/>
                    <a:pt x="10290" y="843"/>
                    <a:pt x="10029" y="843"/>
                  </a:cubicBezTo>
                  <a:cubicBezTo>
                    <a:pt x="9944" y="843"/>
                    <a:pt x="9871" y="835"/>
                    <a:pt x="9823" y="820"/>
                  </a:cubicBezTo>
                  <a:lnTo>
                    <a:pt x="9820" y="820"/>
                  </a:lnTo>
                  <a:cubicBezTo>
                    <a:pt x="9834" y="862"/>
                    <a:pt x="9830" y="907"/>
                    <a:pt x="9806" y="942"/>
                  </a:cubicBezTo>
                  <a:cubicBezTo>
                    <a:pt x="9777" y="969"/>
                    <a:pt x="9740" y="983"/>
                    <a:pt x="9705" y="983"/>
                  </a:cubicBezTo>
                  <a:cubicBezTo>
                    <a:pt x="9698" y="983"/>
                    <a:pt x="9690" y="982"/>
                    <a:pt x="9683" y="981"/>
                  </a:cubicBezTo>
                  <a:cubicBezTo>
                    <a:pt x="9682" y="981"/>
                    <a:pt x="9680" y="981"/>
                    <a:pt x="9679" y="981"/>
                  </a:cubicBezTo>
                  <a:cubicBezTo>
                    <a:pt x="9608" y="981"/>
                    <a:pt x="9566" y="1064"/>
                    <a:pt x="9501" y="1201"/>
                  </a:cubicBezTo>
                  <a:cubicBezTo>
                    <a:pt x="9463" y="1292"/>
                    <a:pt x="9410" y="1380"/>
                    <a:pt x="9347" y="1457"/>
                  </a:cubicBezTo>
                  <a:cubicBezTo>
                    <a:pt x="9298" y="1510"/>
                    <a:pt x="9267" y="1573"/>
                    <a:pt x="9260" y="1643"/>
                  </a:cubicBezTo>
                  <a:cubicBezTo>
                    <a:pt x="9249" y="1734"/>
                    <a:pt x="9193" y="1821"/>
                    <a:pt x="9113" y="1870"/>
                  </a:cubicBezTo>
                  <a:cubicBezTo>
                    <a:pt x="9032" y="1923"/>
                    <a:pt x="9018" y="1958"/>
                    <a:pt x="9015" y="1982"/>
                  </a:cubicBezTo>
                  <a:cubicBezTo>
                    <a:pt x="9008" y="2038"/>
                    <a:pt x="9053" y="2122"/>
                    <a:pt x="9151" y="2231"/>
                  </a:cubicBezTo>
                  <a:cubicBezTo>
                    <a:pt x="9284" y="2381"/>
                    <a:pt x="9232" y="2462"/>
                    <a:pt x="9200" y="2490"/>
                  </a:cubicBezTo>
                  <a:cubicBezTo>
                    <a:pt x="9172" y="2516"/>
                    <a:pt x="9132" y="2528"/>
                    <a:pt x="9087" y="2528"/>
                  </a:cubicBezTo>
                  <a:cubicBezTo>
                    <a:pt x="8991" y="2528"/>
                    <a:pt x="8869" y="2474"/>
                    <a:pt x="8777" y="2381"/>
                  </a:cubicBezTo>
                  <a:cubicBezTo>
                    <a:pt x="8692" y="2296"/>
                    <a:pt x="8623" y="2269"/>
                    <a:pt x="8585" y="2269"/>
                  </a:cubicBezTo>
                  <a:cubicBezTo>
                    <a:pt x="8576" y="2269"/>
                    <a:pt x="8568" y="2270"/>
                    <a:pt x="8563" y="2273"/>
                  </a:cubicBezTo>
                  <a:cubicBezTo>
                    <a:pt x="8546" y="2280"/>
                    <a:pt x="8535" y="2311"/>
                    <a:pt x="8539" y="2357"/>
                  </a:cubicBezTo>
                  <a:cubicBezTo>
                    <a:pt x="8542" y="2465"/>
                    <a:pt x="8497" y="2507"/>
                    <a:pt x="8469" y="2525"/>
                  </a:cubicBezTo>
                  <a:cubicBezTo>
                    <a:pt x="8448" y="2534"/>
                    <a:pt x="8427" y="2538"/>
                    <a:pt x="8405" y="2538"/>
                  </a:cubicBezTo>
                  <a:cubicBezTo>
                    <a:pt x="8375" y="2538"/>
                    <a:pt x="8346" y="2529"/>
                    <a:pt x="8322" y="2511"/>
                  </a:cubicBezTo>
                  <a:cubicBezTo>
                    <a:pt x="8262" y="2469"/>
                    <a:pt x="8202" y="2371"/>
                    <a:pt x="8224" y="2227"/>
                  </a:cubicBezTo>
                  <a:cubicBezTo>
                    <a:pt x="8234" y="2164"/>
                    <a:pt x="8224" y="2154"/>
                    <a:pt x="8118" y="2133"/>
                  </a:cubicBezTo>
                  <a:cubicBezTo>
                    <a:pt x="8048" y="2115"/>
                    <a:pt x="7957" y="2098"/>
                    <a:pt x="7926" y="2007"/>
                  </a:cubicBezTo>
                  <a:cubicBezTo>
                    <a:pt x="7881" y="1890"/>
                    <a:pt x="7658" y="1709"/>
                    <a:pt x="7537" y="1709"/>
                  </a:cubicBezTo>
                  <a:cubicBezTo>
                    <a:pt x="7535" y="1709"/>
                    <a:pt x="7533" y="1709"/>
                    <a:pt x="7530" y="1709"/>
                  </a:cubicBezTo>
                  <a:cubicBezTo>
                    <a:pt x="7481" y="1713"/>
                    <a:pt x="7457" y="1737"/>
                    <a:pt x="7418" y="1783"/>
                  </a:cubicBezTo>
                  <a:cubicBezTo>
                    <a:pt x="7373" y="1849"/>
                    <a:pt x="7296" y="1891"/>
                    <a:pt x="7212" y="1891"/>
                  </a:cubicBezTo>
                  <a:cubicBezTo>
                    <a:pt x="7207" y="1891"/>
                    <a:pt x="7203" y="1890"/>
                    <a:pt x="7199" y="1890"/>
                  </a:cubicBezTo>
                  <a:cubicBezTo>
                    <a:pt x="7169" y="1890"/>
                    <a:pt x="7142" y="1901"/>
                    <a:pt x="7117" y="1919"/>
                  </a:cubicBezTo>
                  <a:cubicBezTo>
                    <a:pt x="7100" y="1940"/>
                    <a:pt x="7096" y="1993"/>
                    <a:pt x="7107" y="2073"/>
                  </a:cubicBezTo>
                  <a:cubicBezTo>
                    <a:pt x="7117" y="2115"/>
                    <a:pt x="7103" y="2161"/>
                    <a:pt x="7072" y="2192"/>
                  </a:cubicBezTo>
                  <a:cubicBezTo>
                    <a:pt x="7048" y="2213"/>
                    <a:pt x="7019" y="2221"/>
                    <a:pt x="6987" y="2221"/>
                  </a:cubicBezTo>
                  <a:cubicBezTo>
                    <a:pt x="6943" y="2221"/>
                    <a:pt x="6892" y="2206"/>
                    <a:pt x="6837" y="2192"/>
                  </a:cubicBezTo>
                  <a:cubicBezTo>
                    <a:pt x="6767" y="2168"/>
                    <a:pt x="6697" y="2157"/>
                    <a:pt x="6624" y="2157"/>
                  </a:cubicBezTo>
                  <a:cubicBezTo>
                    <a:pt x="6617" y="2157"/>
                    <a:pt x="6606" y="2161"/>
                    <a:pt x="6599" y="2168"/>
                  </a:cubicBezTo>
                  <a:cubicBezTo>
                    <a:pt x="6596" y="2189"/>
                    <a:pt x="6599" y="2210"/>
                    <a:pt x="6606" y="2231"/>
                  </a:cubicBezTo>
                  <a:cubicBezTo>
                    <a:pt x="6620" y="2273"/>
                    <a:pt x="6620" y="2322"/>
                    <a:pt x="6596" y="2364"/>
                  </a:cubicBezTo>
                  <a:cubicBezTo>
                    <a:pt x="6582" y="2385"/>
                    <a:pt x="6554" y="2399"/>
                    <a:pt x="6529" y="2402"/>
                  </a:cubicBezTo>
                  <a:cubicBezTo>
                    <a:pt x="6515" y="2402"/>
                    <a:pt x="6498" y="2427"/>
                    <a:pt x="6484" y="2451"/>
                  </a:cubicBezTo>
                  <a:cubicBezTo>
                    <a:pt x="6449" y="2504"/>
                    <a:pt x="6393" y="2584"/>
                    <a:pt x="6267" y="2584"/>
                  </a:cubicBezTo>
                  <a:cubicBezTo>
                    <a:pt x="6256" y="2584"/>
                    <a:pt x="6249" y="2588"/>
                    <a:pt x="6246" y="2595"/>
                  </a:cubicBezTo>
                  <a:cubicBezTo>
                    <a:pt x="6200" y="2644"/>
                    <a:pt x="6190" y="2822"/>
                    <a:pt x="6221" y="3043"/>
                  </a:cubicBezTo>
                  <a:cubicBezTo>
                    <a:pt x="6232" y="3088"/>
                    <a:pt x="6218" y="3134"/>
                    <a:pt x="6183" y="3165"/>
                  </a:cubicBezTo>
                  <a:cubicBezTo>
                    <a:pt x="6165" y="3178"/>
                    <a:pt x="6145" y="3183"/>
                    <a:pt x="6124" y="3183"/>
                  </a:cubicBezTo>
                  <a:cubicBezTo>
                    <a:pt x="6080" y="3183"/>
                    <a:pt x="6031" y="3160"/>
                    <a:pt x="5976" y="3134"/>
                  </a:cubicBezTo>
                  <a:cubicBezTo>
                    <a:pt x="5919" y="3110"/>
                    <a:pt x="5845" y="3075"/>
                    <a:pt x="5797" y="3075"/>
                  </a:cubicBezTo>
                  <a:cubicBezTo>
                    <a:pt x="5790" y="3075"/>
                    <a:pt x="5783" y="3076"/>
                    <a:pt x="5776" y="3078"/>
                  </a:cubicBezTo>
                  <a:cubicBezTo>
                    <a:pt x="5769" y="3081"/>
                    <a:pt x="5766" y="3081"/>
                    <a:pt x="5762" y="3085"/>
                  </a:cubicBezTo>
                  <a:cubicBezTo>
                    <a:pt x="5773" y="3123"/>
                    <a:pt x="5790" y="3158"/>
                    <a:pt x="5811" y="3190"/>
                  </a:cubicBezTo>
                  <a:cubicBezTo>
                    <a:pt x="5850" y="3260"/>
                    <a:pt x="5881" y="3337"/>
                    <a:pt x="5906" y="3414"/>
                  </a:cubicBezTo>
                  <a:cubicBezTo>
                    <a:pt x="5951" y="3610"/>
                    <a:pt x="5853" y="3666"/>
                    <a:pt x="5780" y="3708"/>
                  </a:cubicBezTo>
                  <a:cubicBezTo>
                    <a:pt x="5759" y="3722"/>
                    <a:pt x="5738" y="3736"/>
                    <a:pt x="5717" y="3754"/>
                  </a:cubicBezTo>
                  <a:cubicBezTo>
                    <a:pt x="5696" y="3775"/>
                    <a:pt x="5668" y="3787"/>
                    <a:pt x="5639" y="3787"/>
                  </a:cubicBezTo>
                  <a:cubicBezTo>
                    <a:pt x="5626" y="3787"/>
                    <a:pt x="5612" y="3784"/>
                    <a:pt x="5598" y="3778"/>
                  </a:cubicBezTo>
                  <a:cubicBezTo>
                    <a:pt x="5479" y="3729"/>
                    <a:pt x="5388" y="3449"/>
                    <a:pt x="5388" y="3295"/>
                  </a:cubicBezTo>
                  <a:lnTo>
                    <a:pt x="5388" y="3291"/>
                  </a:lnTo>
                  <a:cubicBezTo>
                    <a:pt x="5353" y="3305"/>
                    <a:pt x="5269" y="3358"/>
                    <a:pt x="5076" y="3561"/>
                  </a:cubicBezTo>
                  <a:cubicBezTo>
                    <a:pt x="4968" y="3673"/>
                    <a:pt x="5017" y="3831"/>
                    <a:pt x="5055" y="3960"/>
                  </a:cubicBezTo>
                  <a:cubicBezTo>
                    <a:pt x="5090" y="4065"/>
                    <a:pt x="5118" y="4163"/>
                    <a:pt x="5038" y="4212"/>
                  </a:cubicBezTo>
                  <a:cubicBezTo>
                    <a:pt x="4957" y="4261"/>
                    <a:pt x="4520" y="4671"/>
                    <a:pt x="4264" y="4975"/>
                  </a:cubicBezTo>
                  <a:cubicBezTo>
                    <a:pt x="4096" y="5178"/>
                    <a:pt x="3819" y="5189"/>
                    <a:pt x="3599" y="5196"/>
                  </a:cubicBezTo>
                  <a:cubicBezTo>
                    <a:pt x="3466" y="5199"/>
                    <a:pt x="3340" y="5203"/>
                    <a:pt x="3287" y="5248"/>
                  </a:cubicBezTo>
                  <a:cubicBezTo>
                    <a:pt x="3186" y="5336"/>
                    <a:pt x="3077" y="5346"/>
                    <a:pt x="2983" y="5353"/>
                  </a:cubicBezTo>
                  <a:cubicBezTo>
                    <a:pt x="2899" y="5360"/>
                    <a:pt x="2829" y="5367"/>
                    <a:pt x="2762" y="5420"/>
                  </a:cubicBezTo>
                  <a:lnTo>
                    <a:pt x="2745" y="5434"/>
                  </a:lnTo>
                  <a:cubicBezTo>
                    <a:pt x="2545" y="5590"/>
                    <a:pt x="2378" y="5715"/>
                    <a:pt x="2262" y="5715"/>
                  </a:cubicBezTo>
                  <a:cubicBezTo>
                    <a:pt x="2246" y="5715"/>
                    <a:pt x="2230" y="5712"/>
                    <a:pt x="2216" y="5707"/>
                  </a:cubicBezTo>
                  <a:cubicBezTo>
                    <a:pt x="2174" y="5693"/>
                    <a:pt x="2146" y="5655"/>
                    <a:pt x="2136" y="5613"/>
                  </a:cubicBezTo>
                  <a:cubicBezTo>
                    <a:pt x="2136" y="5609"/>
                    <a:pt x="2136" y="5602"/>
                    <a:pt x="2111" y="5599"/>
                  </a:cubicBezTo>
                  <a:cubicBezTo>
                    <a:pt x="2096" y="5594"/>
                    <a:pt x="2079" y="5592"/>
                    <a:pt x="2059" y="5592"/>
                  </a:cubicBezTo>
                  <a:cubicBezTo>
                    <a:pt x="1929" y="5592"/>
                    <a:pt x="1706" y="5680"/>
                    <a:pt x="1593" y="5802"/>
                  </a:cubicBezTo>
                  <a:cubicBezTo>
                    <a:pt x="1390" y="6022"/>
                    <a:pt x="1085" y="6187"/>
                    <a:pt x="872" y="6197"/>
                  </a:cubicBezTo>
                  <a:cubicBezTo>
                    <a:pt x="788" y="6204"/>
                    <a:pt x="749" y="6288"/>
                    <a:pt x="707" y="6411"/>
                  </a:cubicBezTo>
                  <a:cubicBezTo>
                    <a:pt x="683" y="6484"/>
                    <a:pt x="662" y="6547"/>
                    <a:pt x="620" y="6582"/>
                  </a:cubicBezTo>
                  <a:cubicBezTo>
                    <a:pt x="602" y="6600"/>
                    <a:pt x="579" y="6609"/>
                    <a:pt x="556" y="6609"/>
                  </a:cubicBezTo>
                  <a:cubicBezTo>
                    <a:pt x="543" y="6609"/>
                    <a:pt x="530" y="6606"/>
                    <a:pt x="518" y="6600"/>
                  </a:cubicBezTo>
                  <a:cubicBezTo>
                    <a:pt x="459" y="6572"/>
                    <a:pt x="445" y="6495"/>
                    <a:pt x="445" y="6323"/>
                  </a:cubicBezTo>
                  <a:cubicBezTo>
                    <a:pt x="382" y="6414"/>
                    <a:pt x="333" y="6512"/>
                    <a:pt x="298" y="6614"/>
                  </a:cubicBezTo>
                  <a:cubicBezTo>
                    <a:pt x="270" y="6705"/>
                    <a:pt x="298" y="6768"/>
                    <a:pt x="333" y="6845"/>
                  </a:cubicBezTo>
                  <a:cubicBezTo>
                    <a:pt x="378" y="6946"/>
                    <a:pt x="434" y="7072"/>
                    <a:pt x="315" y="7251"/>
                  </a:cubicBezTo>
                  <a:cubicBezTo>
                    <a:pt x="116" y="7545"/>
                    <a:pt x="0" y="7759"/>
                    <a:pt x="217" y="8046"/>
                  </a:cubicBezTo>
                  <a:cubicBezTo>
                    <a:pt x="483" y="8406"/>
                    <a:pt x="641" y="8637"/>
                    <a:pt x="536" y="8844"/>
                  </a:cubicBezTo>
                  <a:cubicBezTo>
                    <a:pt x="522" y="8882"/>
                    <a:pt x="483" y="8910"/>
                    <a:pt x="441" y="8914"/>
                  </a:cubicBezTo>
                  <a:cubicBezTo>
                    <a:pt x="420" y="8914"/>
                    <a:pt x="403" y="8910"/>
                    <a:pt x="385" y="8900"/>
                  </a:cubicBezTo>
                  <a:cubicBezTo>
                    <a:pt x="382" y="8921"/>
                    <a:pt x="375" y="8942"/>
                    <a:pt x="364" y="8959"/>
                  </a:cubicBezTo>
                  <a:cubicBezTo>
                    <a:pt x="347" y="8984"/>
                    <a:pt x="319" y="9001"/>
                    <a:pt x="287" y="9001"/>
                  </a:cubicBezTo>
                  <a:lnTo>
                    <a:pt x="284" y="9001"/>
                  </a:lnTo>
                  <a:cubicBezTo>
                    <a:pt x="210" y="9001"/>
                    <a:pt x="147" y="8928"/>
                    <a:pt x="53" y="8809"/>
                  </a:cubicBezTo>
                  <a:lnTo>
                    <a:pt x="42" y="8795"/>
                  </a:lnTo>
                  <a:lnTo>
                    <a:pt x="42" y="8795"/>
                  </a:lnTo>
                  <a:cubicBezTo>
                    <a:pt x="88" y="8879"/>
                    <a:pt x="144" y="8984"/>
                    <a:pt x="196" y="9075"/>
                  </a:cubicBezTo>
                  <a:cubicBezTo>
                    <a:pt x="354" y="9362"/>
                    <a:pt x="536" y="9684"/>
                    <a:pt x="546" y="9863"/>
                  </a:cubicBezTo>
                  <a:cubicBezTo>
                    <a:pt x="550" y="9978"/>
                    <a:pt x="637" y="10101"/>
                    <a:pt x="732" y="10234"/>
                  </a:cubicBezTo>
                  <a:cubicBezTo>
                    <a:pt x="868" y="10419"/>
                    <a:pt x="1019" y="10633"/>
                    <a:pt x="1005" y="10902"/>
                  </a:cubicBezTo>
                  <a:cubicBezTo>
                    <a:pt x="980" y="11350"/>
                    <a:pt x="1474" y="12103"/>
                    <a:pt x="1481" y="12110"/>
                  </a:cubicBezTo>
                  <a:cubicBezTo>
                    <a:pt x="1530" y="12187"/>
                    <a:pt x="1495" y="12285"/>
                    <a:pt x="1449" y="12415"/>
                  </a:cubicBezTo>
                  <a:cubicBezTo>
                    <a:pt x="1404" y="12541"/>
                    <a:pt x="1344" y="12702"/>
                    <a:pt x="1369" y="12863"/>
                  </a:cubicBezTo>
                  <a:cubicBezTo>
                    <a:pt x="1393" y="13038"/>
                    <a:pt x="1369" y="13174"/>
                    <a:pt x="1288" y="13269"/>
                  </a:cubicBezTo>
                  <a:cubicBezTo>
                    <a:pt x="1217" y="13344"/>
                    <a:pt x="1117" y="13389"/>
                    <a:pt x="1011" y="13389"/>
                  </a:cubicBezTo>
                  <a:cubicBezTo>
                    <a:pt x="1003" y="13389"/>
                    <a:pt x="995" y="13388"/>
                    <a:pt x="987" y="13388"/>
                  </a:cubicBezTo>
                  <a:cubicBezTo>
                    <a:pt x="952" y="13388"/>
                    <a:pt x="949" y="13402"/>
                    <a:pt x="949" y="13419"/>
                  </a:cubicBezTo>
                  <a:cubicBezTo>
                    <a:pt x="959" y="13521"/>
                    <a:pt x="1036" y="13605"/>
                    <a:pt x="1141" y="13622"/>
                  </a:cubicBezTo>
                  <a:cubicBezTo>
                    <a:pt x="1299" y="13636"/>
                    <a:pt x="1344" y="13717"/>
                    <a:pt x="1393" y="13791"/>
                  </a:cubicBezTo>
                  <a:cubicBezTo>
                    <a:pt x="1435" y="13868"/>
                    <a:pt x="1495" y="13934"/>
                    <a:pt x="1572" y="13983"/>
                  </a:cubicBezTo>
                  <a:cubicBezTo>
                    <a:pt x="1705" y="14072"/>
                    <a:pt x="1961" y="14092"/>
                    <a:pt x="2187" y="14092"/>
                  </a:cubicBezTo>
                  <a:cubicBezTo>
                    <a:pt x="2289" y="14092"/>
                    <a:pt x="2385" y="14088"/>
                    <a:pt x="2461" y="14085"/>
                  </a:cubicBezTo>
                  <a:cubicBezTo>
                    <a:pt x="2517" y="14085"/>
                    <a:pt x="2566" y="14081"/>
                    <a:pt x="2601" y="14081"/>
                  </a:cubicBezTo>
                  <a:cubicBezTo>
                    <a:pt x="2668" y="14081"/>
                    <a:pt x="2713" y="14036"/>
                    <a:pt x="2783" y="13959"/>
                  </a:cubicBezTo>
                  <a:cubicBezTo>
                    <a:pt x="2867" y="13871"/>
                    <a:pt x="2969" y="13763"/>
                    <a:pt x="3144" y="13756"/>
                  </a:cubicBezTo>
                  <a:cubicBezTo>
                    <a:pt x="3319" y="13748"/>
                    <a:pt x="3347" y="13713"/>
                    <a:pt x="3406" y="13619"/>
                  </a:cubicBezTo>
                  <a:cubicBezTo>
                    <a:pt x="3427" y="13591"/>
                    <a:pt x="3452" y="13552"/>
                    <a:pt x="3483" y="13514"/>
                  </a:cubicBezTo>
                  <a:cubicBezTo>
                    <a:pt x="3570" y="13403"/>
                    <a:pt x="3788" y="13368"/>
                    <a:pt x="4124" y="13368"/>
                  </a:cubicBezTo>
                  <a:cubicBezTo>
                    <a:pt x="4317" y="13368"/>
                    <a:pt x="4551" y="13380"/>
                    <a:pt x="4821" y="13395"/>
                  </a:cubicBezTo>
                  <a:lnTo>
                    <a:pt x="4943" y="13402"/>
                  </a:lnTo>
                  <a:cubicBezTo>
                    <a:pt x="4995" y="13405"/>
                    <a:pt x="5045" y="13407"/>
                    <a:pt x="5094" y="13407"/>
                  </a:cubicBezTo>
                  <a:cubicBezTo>
                    <a:pt x="5536" y="13407"/>
                    <a:pt x="5804" y="13276"/>
                    <a:pt x="5899" y="13020"/>
                  </a:cubicBezTo>
                  <a:cubicBezTo>
                    <a:pt x="5958" y="12859"/>
                    <a:pt x="6148" y="12793"/>
                    <a:pt x="6337" y="12730"/>
                  </a:cubicBezTo>
                  <a:cubicBezTo>
                    <a:pt x="6456" y="12688"/>
                    <a:pt x="6578" y="12646"/>
                    <a:pt x="6641" y="12583"/>
                  </a:cubicBezTo>
                  <a:cubicBezTo>
                    <a:pt x="6799" y="12438"/>
                    <a:pt x="6942" y="12398"/>
                    <a:pt x="7212" y="12398"/>
                  </a:cubicBezTo>
                  <a:cubicBezTo>
                    <a:pt x="7296" y="12398"/>
                    <a:pt x="7391" y="12402"/>
                    <a:pt x="7502" y="12408"/>
                  </a:cubicBezTo>
                  <a:cubicBezTo>
                    <a:pt x="7522" y="12409"/>
                    <a:pt x="7541" y="12409"/>
                    <a:pt x="7560" y="12409"/>
                  </a:cubicBezTo>
                  <a:cubicBezTo>
                    <a:pt x="7902" y="12409"/>
                    <a:pt x="8224" y="12265"/>
                    <a:pt x="8490" y="12149"/>
                  </a:cubicBezTo>
                  <a:cubicBezTo>
                    <a:pt x="8560" y="12117"/>
                    <a:pt x="8626" y="12086"/>
                    <a:pt x="8689" y="12061"/>
                  </a:cubicBezTo>
                  <a:cubicBezTo>
                    <a:pt x="8871" y="11988"/>
                    <a:pt x="9134" y="11974"/>
                    <a:pt x="9386" y="11960"/>
                  </a:cubicBezTo>
                  <a:cubicBezTo>
                    <a:pt x="9540" y="11956"/>
                    <a:pt x="9697" y="11942"/>
                    <a:pt x="9848" y="11911"/>
                  </a:cubicBezTo>
                  <a:cubicBezTo>
                    <a:pt x="9875" y="11904"/>
                    <a:pt x="9901" y="11901"/>
                    <a:pt x="9925" y="11901"/>
                  </a:cubicBezTo>
                  <a:cubicBezTo>
                    <a:pt x="10064" y="11901"/>
                    <a:pt x="10152" y="11995"/>
                    <a:pt x="10233" y="12079"/>
                  </a:cubicBezTo>
                  <a:cubicBezTo>
                    <a:pt x="10312" y="12164"/>
                    <a:pt x="10380" y="12239"/>
                    <a:pt x="10489" y="12239"/>
                  </a:cubicBezTo>
                  <a:cubicBezTo>
                    <a:pt x="10500" y="12239"/>
                    <a:pt x="10512" y="12238"/>
                    <a:pt x="10524" y="12236"/>
                  </a:cubicBezTo>
                  <a:cubicBezTo>
                    <a:pt x="10559" y="12233"/>
                    <a:pt x="10593" y="12231"/>
                    <a:pt x="10628" y="12231"/>
                  </a:cubicBezTo>
                  <a:cubicBezTo>
                    <a:pt x="10749" y="12231"/>
                    <a:pt x="10869" y="12251"/>
                    <a:pt x="10986" y="12289"/>
                  </a:cubicBezTo>
                  <a:cubicBezTo>
                    <a:pt x="11045" y="12310"/>
                    <a:pt x="11108" y="12324"/>
                    <a:pt x="11171" y="12324"/>
                  </a:cubicBezTo>
                  <a:cubicBezTo>
                    <a:pt x="11181" y="12322"/>
                    <a:pt x="11192" y="12322"/>
                    <a:pt x="11202" y="12322"/>
                  </a:cubicBezTo>
                  <a:cubicBezTo>
                    <a:pt x="11272" y="12322"/>
                    <a:pt x="11342" y="12353"/>
                    <a:pt x="11388" y="12411"/>
                  </a:cubicBezTo>
                  <a:cubicBezTo>
                    <a:pt x="11420" y="12446"/>
                    <a:pt x="11458" y="12471"/>
                    <a:pt x="11504" y="12481"/>
                  </a:cubicBezTo>
                  <a:cubicBezTo>
                    <a:pt x="11577" y="12488"/>
                    <a:pt x="11637" y="12537"/>
                    <a:pt x="11668" y="12600"/>
                  </a:cubicBezTo>
                  <a:cubicBezTo>
                    <a:pt x="11700" y="12684"/>
                    <a:pt x="11672" y="12793"/>
                    <a:pt x="11581" y="12922"/>
                  </a:cubicBezTo>
                  <a:cubicBezTo>
                    <a:pt x="11577" y="12926"/>
                    <a:pt x="11577" y="12933"/>
                    <a:pt x="11574" y="12936"/>
                  </a:cubicBezTo>
                  <a:cubicBezTo>
                    <a:pt x="11609" y="12964"/>
                    <a:pt x="11644" y="12985"/>
                    <a:pt x="11682" y="13003"/>
                  </a:cubicBezTo>
                  <a:cubicBezTo>
                    <a:pt x="11833" y="13073"/>
                    <a:pt x="11966" y="13178"/>
                    <a:pt x="12067" y="13311"/>
                  </a:cubicBezTo>
                  <a:cubicBezTo>
                    <a:pt x="12214" y="13510"/>
                    <a:pt x="12197" y="13622"/>
                    <a:pt x="12179" y="13724"/>
                  </a:cubicBezTo>
                  <a:cubicBezTo>
                    <a:pt x="12162" y="13791"/>
                    <a:pt x="12172" y="13864"/>
                    <a:pt x="12204" y="13927"/>
                  </a:cubicBezTo>
                  <a:cubicBezTo>
                    <a:pt x="12256" y="14029"/>
                    <a:pt x="12284" y="14036"/>
                    <a:pt x="12288" y="14036"/>
                  </a:cubicBezTo>
                  <a:cubicBezTo>
                    <a:pt x="12340" y="14036"/>
                    <a:pt x="12484" y="13836"/>
                    <a:pt x="12540" y="13759"/>
                  </a:cubicBezTo>
                  <a:cubicBezTo>
                    <a:pt x="12628" y="13626"/>
                    <a:pt x="12771" y="13535"/>
                    <a:pt x="12929" y="13507"/>
                  </a:cubicBezTo>
                  <a:cubicBezTo>
                    <a:pt x="13027" y="13486"/>
                    <a:pt x="13058" y="13475"/>
                    <a:pt x="13072" y="13377"/>
                  </a:cubicBezTo>
                  <a:cubicBezTo>
                    <a:pt x="13100" y="13160"/>
                    <a:pt x="13247" y="12884"/>
                    <a:pt x="13429" y="12817"/>
                  </a:cubicBezTo>
                  <a:cubicBezTo>
                    <a:pt x="13455" y="12806"/>
                    <a:pt x="13482" y="12800"/>
                    <a:pt x="13509" y="12800"/>
                  </a:cubicBezTo>
                  <a:cubicBezTo>
                    <a:pt x="13557" y="12800"/>
                    <a:pt x="13605" y="12817"/>
                    <a:pt x="13643" y="12849"/>
                  </a:cubicBezTo>
                  <a:cubicBezTo>
                    <a:pt x="13776" y="12961"/>
                    <a:pt x="13709" y="13066"/>
                    <a:pt x="13639" y="13174"/>
                  </a:cubicBezTo>
                  <a:cubicBezTo>
                    <a:pt x="13538" y="13332"/>
                    <a:pt x="13468" y="13507"/>
                    <a:pt x="13433" y="13689"/>
                  </a:cubicBezTo>
                  <a:cubicBezTo>
                    <a:pt x="13366" y="14036"/>
                    <a:pt x="13261" y="14106"/>
                    <a:pt x="13114" y="14109"/>
                  </a:cubicBezTo>
                  <a:lnTo>
                    <a:pt x="13093" y="14109"/>
                  </a:lnTo>
                  <a:lnTo>
                    <a:pt x="13093" y="14116"/>
                  </a:lnTo>
                  <a:cubicBezTo>
                    <a:pt x="13099" y="14138"/>
                    <a:pt x="13181" y="14178"/>
                    <a:pt x="13282" y="14178"/>
                  </a:cubicBezTo>
                  <a:cubicBezTo>
                    <a:pt x="13296" y="14178"/>
                    <a:pt x="13310" y="14177"/>
                    <a:pt x="13324" y="14176"/>
                  </a:cubicBezTo>
                  <a:cubicBezTo>
                    <a:pt x="13394" y="14169"/>
                    <a:pt x="13475" y="14141"/>
                    <a:pt x="13475" y="14053"/>
                  </a:cubicBezTo>
                  <a:cubicBezTo>
                    <a:pt x="13475" y="13843"/>
                    <a:pt x="13520" y="13724"/>
                    <a:pt x="13611" y="13692"/>
                  </a:cubicBezTo>
                  <a:cubicBezTo>
                    <a:pt x="13627" y="13687"/>
                    <a:pt x="13642" y="13684"/>
                    <a:pt x="13658" y="13684"/>
                  </a:cubicBezTo>
                  <a:cubicBezTo>
                    <a:pt x="13766" y="13684"/>
                    <a:pt x="13861" y="13811"/>
                    <a:pt x="13895" y="13854"/>
                  </a:cubicBezTo>
                  <a:cubicBezTo>
                    <a:pt x="14052" y="14057"/>
                    <a:pt x="13951" y="14242"/>
                    <a:pt x="13881" y="14365"/>
                  </a:cubicBezTo>
                  <a:cubicBezTo>
                    <a:pt x="13860" y="14400"/>
                    <a:pt x="13825" y="14463"/>
                    <a:pt x="13832" y="14477"/>
                  </a:cubicBezTo>
                  <a:cubicBezTo>
                    <a:pt x="13836" y="14479"/>
                    <a:pt x="13842" y="14480"/>
                    <a:pt x="13850" y="14480"/>
                  </a:cubicBezTo>
                  <a:cubicBezTo>
                    <a:pt x="13885" y="14480"/>
                    <a:pt x="13948" y="14460"/>
                    <a:pt x="13982" y="14449"/>
                  </a:cubicBezTo>
                  <a:cubicBezTo>
                    <a:pt x="14045" y="14424"/>
                    <a:pt x="14112" y="14410"/>
                    <a:pt x="14178" y="14410"/>
                  </a:cubicBezTo>
                  <a:cubicBezTo>
                    <a:pt x="14315" y="14424"/>
                    <a:pt x="14438" y="14564"/>
                    <a:pt x="14497" y="14645"/>
                  </a:cubicBezTo>
                  <a:cubicBezTo>
                    <a:pt x="14623" y="14809"/>
                    <a:pt x="14732" y="15058"/>
                    <a:pt x="14697" y="15240"/>
                  </a:cubicBezTo>
                  <a:lnTo>
                    <a:pt x="14690" y="15282"/>
                  </a:lnTo>
                  <a:cubicBezTo>
                    <a:pt x="14644" y="15516"/>
                    <a:pt x="14606" y="15702"/>
                    <a:pt x="14952" y="15874"/>
                  </a:cubicBezTo>
                  <a:cubicBezTo>
                    <a:pt x="15057" y="15923"/>
                    <a:pt x="15155" y="15986"/>
                    <a:pt x="15250" y="16056"/>
                  </a:cubicBezTo>
                  <a:cubicBezTo>
                    <a:pt x="15313" y="16105"/>
                    <a:pt x="15320" y="16108"/>
                    <a:pt x="15481" y="16108"/>
                  </a:cubicBezTo>
                  <a:cubicBezTo>
                    <a:pt x="15792" y="16108"/>
                    <a:pt x="16443" y="16353"/>
                    <a:pt x="16626" y="16514"/>
                  </a:cubicBezTo>
                  <a:cubicBezTo>
                    <a:pt x="16649" y="16534"/>
                    <a:pt x="16679" y="16541"/>
                    <a:pt x="16710" y="16541"/>
                  </a:cubicBezTo>
                  <a:cubicBezTo>
                    <a:pt x="16745" y="16541"/>
                    <a:pt x="16780" y="16532"/>
                    <a:pt x="16804" y="16525"/>
                  </a:cubicBezTo>
                  <a:cubicBezTo>
                    <a:pt x="16962" y="16479"/>
                    <a:pt x="17161" y="16318"/>
                    <a:pt x="17210" y="16143"/>
                  </a:cubicBezTo>
                  <a:cubicBezTo>
                    <a:pt x="17259" y="15982"/>
                    <a:pt x="17368" y="15968"/>
                    <a:pt x="17410" y="15968"/>
                  </a:cubicBezTo>
                  <a:cubicBezTo>
                    <a:pt x="17504" y="15975"/>
                    <a:pt x="17588" y="16038"/>
                    <a:pt x="17616" y="16133"/>
                  </a:cubicBezTo>
                  <a:cubicBezTo>
                    <a:pt x="17620" y="16147"/>
                    <a:pt x="17620" y="16164"/>
                    <a:pt x="17620" y="16182"/>
                  </a:cubicBezTo>
                  <a:cubicBezTo>
                    <a:pt x="17634" y="16168"/>
                    <a:pt x="17655" y="16157"/>
                    <a:pt x="17672" y="16157"/>
                  </a:cubicBezTo>
                  <a:lnTo>
                    <a:pt x="17686" y="16157"/>
                  </a:lnTo>
                  <a:cubicBezTo>
                    <a:pt x="17739" y="16157"/>
                    <a:pt x="17781" y="16199"/>
                    <a:pt x="17809" y="16287"/>
                  </a:cubicBezTo>
                  <a:cubicBezTo>
                    <a:pt x="17837" y="16364"/>
                    <a:pt x="17900" y="16399"/>
                    <a:pt x="17973" y="16441"/>
                  </a:cubicBezTo>
                  <a:cubicBezTo>
                    <a:pt x="18054" y="16476"/>
                    <a:pt x="18120" y="16532"/>
                    <a:pt x="18169" y="16602"/>
                  </a:cubicBezTo>
                  <a:cubicBezTo>
                    <a:pt x="18187" y="16637"/>
                    <a:pt x="18208" y="16672"/>
                    <a:pt x="18232" y="16703"/>
                  </a:cubicBezTo>
                  <a:cubicBezTo>
                    <a:pt x="18253" y="16563"/>
                    <a:pt x="18348" y="16465"/>
                    <a:pt x="18512" y="16406"/>
                  </a:cubicBezTo>
                  <a:cubicBezTo>
                    <a:pt x="18653" y="16353"/>
                    <a:pt x="18754" y="16266"/>
                    <a:pt x="18884" y="16154"/>
                  </a:cubicBezTo>
                  <a:cubicBezTo>
                    <a:pt x="18926" y="16115"/>
                    <a:pt x="18968" y="16080"/>
                    <a:pt x="19017" y="16038"/>
                  </a:cubicBezTo>
                  <a:cubicBezTo>
                    <a:pt x="19234" y="15860"/>
                    <a:pt x="20018" y="15825"/>
                    <a:pt x="20172" y="15821"/>
                  </a:cubicBezTo>
                  <a:cubicBezTo>
                    <a:pt x="20210" y="15730"/>
                    <a:pt x="20252" y="15338"/>
                    <a:pt x="20277" y="15100"/>
                  </a:cubicBezTo>
                  <a:cubicBezTo>
                    <a:pt x="20291" y="14981"/>
                    <a:pt x="20301" y="14865"/>
                    <a:pt x="20312" y="14774"/>
                  </a:cubicBezTo>
                  <a:cubicBezTo>
                    <a:pt x="20340" y="14571"/>
                    <a:pt x="20434" y="14452"/>
                    <a:pt x="20529" y="14337"/>
                  </a:cubicBezTo>
                  <a:cubicBezTo>
                    <a:pt x="20620" y="14218"/>
                    <a:pt x="20704" y="14120"/>
                    <a:pt x="20725" y="13934"/>
                  </a:cubicBezTo>
                  <a:cubicBezTo>
                    <a:pt x="20774" y="13549"/>
                    <a:pt x="21198" y="12754"/>
                    <a:pt x="21352" y="12705"/>
                  </a:cubicBezTo>
                  <a:cubicBezTo>
                    <a:pt x="21415" y="12684"/>
                    <a:pt x="21625" y="12597"/>
                    <a:pt x="21635" y="12387"/>
                  </a:cubicBezTo>
                  <a:cubicBezTo>
                    <a:pt x="21642" y="12264"/>
                    <a:pt x="21709" y="12149"/>
                    <a:pt x="21779" y="12023"/>
                  </a:cubicBezTo>
                  <a:cubicBezTo>
                    <a:pt x="21849" y="11897"/>
                    <a:pt x="21926" y="11760"/>
                    <a:pt x="21926" y="11627"/>
                  </a:cubicBezTo>
                  <a:cubicBezTo>
                    <a:pt x="21926" y="11462"/>
                    <a:pt x="21978" y="11287"/>
                    <a:pt x="22017" y="11147"/>
                  </a:cubicBezTo>
                  <a:cubicBezTo>
                    <a:pt x="22038" y="11084"/>
                    <a:pt x="22055" y="11021"/>
                    <a:pt x="22062" y="10955"/>
                  </a:cubicBezTo>
                  <a:lnTo>
                    <a:pt x="22055" y="10937"/>
                  </a:lnTo>
                  <a:cubicBezTo>
                    <a:pt x="22024" y="10832"/>
                    <a:pt x="21943" y="10556"/>
                    <a:pt x="22139" y="10349"/>
                  </a:cubicBezTo>
                  <a:cubicBezTo>
                    <a:pt x="22213" y="10269"/>
                    <a:pt x="22192" y="10188"/>
                    <a:pt x="22153" y="10073"/>
                  </a:cubicBezTo>
                  <a:cubicBezTo>
                    <a:pt x="22129" y="9985"/>
                    <a:pt x="22097" y="9891"/>
                    <a:pt x="22174" y="9831"/>
                  </a:cubicBezTo>
                  <a:cubicBezTo>
                    <a:pt x="22185" y="9800"/>
                    <a:pt x="22185" y="9765"/>
                    <a:pt x="22174" y="9730"/>
                  </a:cubicBezTo>
                  <a:cubicBezTo>
                    <a:pt x="22160" y="9663"/>
                    <a:pt x="22136" y="9604"/>
                    <a:pt x="22097" y="9547"/>
                  </a:cubicBezTo>
                  <a:cubicBezTo>
                    <a:pt x="22088" y="9552"/>
                    <a:pt x="22077" y="9554"/>
                    <a:pt x="22068" y="9554"/>
                  </a:cubicBezTo>
                  <a:cubicBezTo>
                    <a:pt x="22052" y="9554"/>
                    <a:pt x="22038" y="9549"/>
                    <a:pt x="22027" y="9540"/>
                  </a:cubicBezTo>
                  <a:cubicBezTo>
                    <a:pt x="21898" y="9456"/>
                    <a:pt x="21957" y="8735"/>
                    <a:pt x="21992" y="8560"/>
                  </a:cubicBezTo>
                  <a:cubicBezTo>
                    <a:pt x="21999" y="8525"/>
                    <a:pt x="22003" y="8497"/>
                    <a:pt x="22010" y="8473"/>
                  </a:cubicBezTo>
                  <a:lnTo>
                    <a:pt x="22010" y="8473"/>
                  </a:lnTo>
                  <a:lnTo>
                    <a:pt x="21968" y="8511"/>
                  </a:lnTo>
                  <a:cubicBezTo>
                    <a:pt x="21937" y="8545"/>
                    <a:pt x="21894" y="8563"/>
                    <a:pt x="21849" y="8563"/>
                  </a:cubicBezTo>
                  <a:cubicBezTo>
                    <a:pt x="21839" y="8563"/>
                    <a:pt x="21828" y="8562"/>
                    <a:pt x="21817" y="8560"/>
                  </a:cubicBezTo>
                  <a:cubicBezTo>
                    <a:pt x="21635" y="8515"/>
                    <a:pt x="21513" y="8105"/>
                    <a:pt x="21495" y="8060"/>
                  </a:cubicBezTo>
                  <a:cubicBezTo>
                    <a:pt x="21459" y="7940"/>
                    <a:pt x="21313" y="7690"/>
                    <a:pt x="21172" y="7690"/>
                  </a:cubicBezTo>
                  <a:cubicBezTo>
                    <a:pt x="21164" y="7690"/>
                    <a:pt x="21157" y="7690"/>
                    <a:pt x="21149" y="7692"/>
                  </a:cubicBezTo>
                  <a:cubicBezTo>
                    <a:pt x="21134" y="7697"/>
                    <a:pt x="21118" y="7699"/>
                    <a:pt x="21102" y="7699"/>
                  </a:cubicBezTo>
                  <a:cubicBezTo>
                    <a:pt x="21073" y="7699"/>
                    <a:pt x="21044" y="7692"/>
                    <a:pt x="21019" y="7678"/>
                  </a:cubicBezTo>
                  <a:cubicBezTo>
                    <a:pt x="20960" y="7643"/>
                    <a:pt x="20946" y="7573"/>
                    <a:pt x="20932" y="7517"/>
                  </a:cubicBezTo>
                  <a:cubicBezTo>
                    <a:pt x="20915" y="7452"/>
                    <a:pt x="20910" y="7437"/>
                    <a:pt x="20895" y="7437"/>
                  </a:cubicBezTo>
                  <a:cubicBezTo>
                    <a:pt x="20890" y="7437"/>
                    <a:pt x="20885" y="7438"/>
                    <a:pt x="20879" y="7440"/>
                  </a:cubicBezTo>
                  <a:cubicBezTo>
                    <a:pt x="20865" y="7443"/>
                    <a:pt x="20851" y="7445"/>
                    <a:pt x="20836" y="7445"/>
                  </a:cubicBezTo>
                  <a:cubicBezTo>
                    <a:pt x="20787" y="7445"/>
                    <a:pt x="20739" y="7426"/>
                    <a:pt x="20704" y="7391"/>
                  </a:cubicBezTo>
                  <a:cubicBezTo>
                    <a:pt x="20564" y="7258"/>
                    <a:pt x="20588" y="6932"/>
                    <a:pt x="20606" y="6796"/>
                  </a:cubicBezTo>
                  <a:cubicBezTo>
                    <a:pt x="20609" y="6771"/>
                    <a:pt x="20609" y="6743"/>
                    <a:pt x="20609" y="6715"/>
                  </a:cubicBezTo>
                  <a:lnTo>
                    <a:pt x="20609" y="6715"/>
                  </a:lnTo>
                  <a:lnTo>
                    <a:pt x="20592" y="6719"/>
                  </a:lnTo>
                  <a:cubicBezTo>
                    <a:pt x="20576" y="6723"/>
                    <a:pt x="20554" y="6727"/>
                    <a:pt x="20530" y="6727"/>
                  </a:cubicBezTo>
                  <a:cubicBezTo>
                    <a:pt x="20487" y="6727"/>
                    <a:pt x="20438" y="6713"/>
                    <a:pt x="20399" y="6659"/>
                  </a:cubicBezTo>
                  <a:cubicBezTo>
                    <a:pt x="20386" y="6640"/>
                    <a:pt x="20375" y="6630"/>
                    <a:pt x="20356" y="6630"/>
                  </a:cubicBezTo>
                  <a:cubicBezTo>
                    <a:pt x="20337" y="6630"/>
                    <a:pt x="20308" y="6641"/>
                    <a:pt x="20256" y="6666"/>
                  </a:cubicBezTo>
                  <a:cubicBezTo>
                    <a:pt x="20224" y="6684"/>
                    <a:pt x="20193" y="6698"/>
                    <a:pt x="20158" y="6712"/>
                  </a:cubicBezTo>
                  <a:cubicBezTo>
                    <a:pt x="20143" y="6717"/>
                    <a:pt x="20127" y="6720"/>
                    <a:pt x="20111" y="6720"/>
                  </a:cubicBezTo>
                  <a:cubicBezTo>
                    <a:pt x="20076" y="6720"/>
                    <a:pt x="20041" y="6707"/>
                    <a:pt x="20014" y="6680"/>
                  </a:cubicBezTo>
                  <a:cubicBezTo>
                    <a:pt x="19923" y="6593"/>
                    <a:pt x="19906" y="6365"/>
                    <a:pt x="19941" y="6253"/>
                  </a:cubicBezTo>
                  <a:cubicBezTo>
                    <a:pt x="19972" y="6152"/>
                    <a:pt x="19906" y="6033"/>
                    <a:pt x="19759" y="5924"/>
                  </a:cubicBezTo>
                  <a:cubicBezTo>
                    <a:pt x="19549" y="5770"/>
                    <a:pt x="19538" y="5630"/>
                    <a:pt x="19549" y="5473"/>
                  </a:cubicBezTo>
                  <a:cubicBezTo>
                    <a:pt x="19496" y="5339"/>
                    <a:pt x="18589" y="4849"/>
                    <a:pt x="18341" y="4797"/>
                  </a:cubicBezTo>
                  <a:cubicBezTo>
                    <a:pt x="18141" y="4755"/>
                    <a:pt x="18166" y="4594"/>
                    <a:pt x="18176" y="4506"/>
                  </a:cubicBezTo>
                  <a:cubicBezTo>
                    <a:pt x="18183" y="4468"/>
                    <a:pt x="18190" y="4419"/>
                    <a:pt x="18176" y="4405"/>
                  </a:cubicBezTo>
                  <a:cubicBezTo>
                    <a:pt x="18036" y="4282"/>
                    <a:pt x="18022" y="3866"/>
                    <a:pt x="18022" y="3691"/>
                  </a:cubicBezTo>
                  <a:cubicBezTo>
                    <a:pt x="18022" y="3579"/>
                    <a:pt x="17945" y="3505"/>
                    <a:pt x="17865" y="3425"/>
                  </a:cubicBezTo>
                  <a:cubicBezTo>
                    <a:pt x="17781" y="3344"/>
                    <a:pt x="17690" y="3249"/>
                    <a:pt x="17693" y="3116"/>
                  </a:cubicBezTo>
                  <a:cubicBezTo>
                    <a:pt x="17693" y="3022"/>
                    <a:pt x="17683" y="2924"/>
                    <a:pt x="17658" y="2833"/>
                  </a:cubicBezTo>
                  <a:cubicBezTo>
                    <a:pt x="17627" y="2707"/>
                    <a:pt x="17613" y="2577"/>
                    <a:pt x="17623" y="2448"/>
                  </a:cubicBezTo>
                  <a:cubicBezTo>
                    <a:pt x="17630" y="2353"/>
                    <a:pt x="17553" y="2294"/>
                    <a:pt x="17434" y="2220"/>
                  </a:cubicBezTo>
                  <a:cubicBezTo>
                    <a:pt x="17347" y="2164"/>
                    <a:pt x="17266" y="2112"/>
                    <a:pt x="17259" y="2024"/>
                  </a:cubicBezTo>
                  <a:cubicBezTo>
                    <a:pt x="17210" y="2028"/>
                    <a:pt x="17158" y="2038"/>
                    <a:pt x="17112" y="2052"/>
                  </a:cubicBezTo>
                  <a:cubicBezTo>
                    <a:pt x="17046" y="2073"/>
                    <a:pt x="16976" y="2087"/>
                    <a:pt x="16909" y="2098"/>
                  </a:cubicBezTo>
                  <a:cubicBezTo>
                    <a:pt x="16898" y="2099"/>
                    <a:pt x="16888" y="2100"/>
                    <a:pt x="16877" y="2100"/>
                  </a:cubicBezTo>
                  <a:cubicBezTo>
                    <a:pt x="16826" y="2100"/>
                    <a:pt x="16779" y="2080"/>
                    <a:pt x="16741" y="2045"/>
                  </a:cubicBezTo>
                  <a:cubicBezTo>
                    <a:pt x="16636" y="1944"/>
                    <a:pt x="16647" y="1720"/>
                    <a:pt x="16664" y="1482"/>
                  </a:cubicBezTo>
                  <a:cubicBezTo>
                    <a:pt x="16689" y="1219"/>
                    <a:pt x="16584" y="781"/>
                    <a:pt x="16436" y="666"/>
                  </a:cubicBezTo>
                  <a:cubicBezTo>
                    <a:pt x="16317" y="571"/>
                    <a:pt x="16272" y="372"/>
                    <a:pt x="16230" y="197"/>
                  </a:cubicBezTo>
                  <a:cubicBezTo>
                    <a:pt x="16216" y="130"/>
                    <a:pt x="16198" y="64"/>
                    <a:pt x="161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9" name="Google Shape;6599;p53"/>
            <p:cNvSpPr/>
            <p:nvPr/>
          </p:nvSpPr>
          <p:spPr>
            <a:xfrm>
              <a:off x="3006548" y="2132321"/>
              <a:ext cx="7861" cy="1765"/>
            </a:xfrm>
            <a:custGeom>
              <a:avLst/>
              <a:gdLst/>
              <a:ahLst/>
              <a:cxnLst/>
              <a:rect l="l" t="t" r="r" b="b"/>
              <a:pathLst>
                <a:path w="579" h="130" extrusionOk="0">
                  <a:moveTo>
                    <a:pt x="463" y="0"/>
                  </a:moveTo>
                  <a:cubicBezTo>
                    <a:pt x="399" y="0"/>
                    <a:pt x="335" y="9"/>
                    <a:pt x="274" y="24"/>
                  </a:cubicBezTo>
                  <a:cubicBezTo>
                    <a:pt x="179" y="34"/>
                    <a:pt x="85" y="66"/>
                    <a:pt x="1" y="115"/>
                  </a:cubicBezTo>
                  <a:cubicBezTo>
                    <a:pt x="23" y="124"/>
                    <a:pt x="64" y="129"/>
                    <a:pt x="117" y="129"/>
                  </a:cubicBezTo>
                  <a:cubicBezTo>
                    <a:pt x="190" y="129"/>
                    <a:pt x="286" y="119"/>
                    <a:pt x="389" y="90"/>
                  </a:cubicBezTo>
                  <a:cubicBezTo>
                    <a:pt x="456" y="76"/>
                    <a:pt x="522" y="48"/>
                    <a:pt x="578" y="10"/>
                  </a:cubicBezTo>
                  <a:cubicBezTo>
                    <a:pt x="540" y="3"/>
                    <a:pt x="501" y="0"/>
                    <a:pt x="4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0" name="Google Shape;6600;p53"/>
            <p:cNvSpPr/>
            <p:nvPr/>
          </p:nvSpPr>
          <p:spPr>
            <a:xfrm>
              <a:off x="3116594" y="2348014"/>
              <a:ext cx="679" cy="1344"/>
            </a:xfrm>
            <a:custGeom>
              <a:avLst/>
              <a:gdLst/>
              <a:ahLst/>
              <a:cxnLst/>
              <a:rect l="l" t="t" r="r" b="b"/>
              <a:pathLst>
                <a:path w="50" h="99" extrusionOk="0">
                  <a:moveTo>
                    <a:pt x="49" y="0"/>
                  </a:moveTo>
                  <a:lnTo>
                    <a:pt x="49" y="0"/>
                  </a:lnTo>
                  <a:cubicBezTo>
                    <a:pt x="42" y="4"/>
                    <a:pt x="35" y="7"/>
                    <a:pt x="28" y="14"/>
                  </a:cubicBezTo>
                  <a:cubicBezTo>
                    <a:pt x="0" y="28"/>
                    <a:pt x="4" y="42"/>
                    <a:pt x="4" y="53"/>
                  </a:cubicBezTo>
                  <a:cubicBezTo>
                    <a:pt x="7" y="70"/>
                    <a:pt x="18" y="84"/>
                    <a:pt x="32" y="98"/>
                  </a:cubicBezTo>
                  <a:cubicBezTo>
                    <a:pt x="35" y="63"/>
                    <a:pt x="39" y="32"/>
                    <a:pt x="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1" name="Google Shape;6601;p53"/>
            <p:cNvSpPr/>
            <p:nvPr/>
          </p:nvSpPr>
          <p:spPr>
            <a:xfrm>
              <a:off x="3114883" y="2370254"/>
              <a:ext cx="25675" cy="24575"/>
            </a:xfrm>
            <a:custGeom>
              <a:avLst/>
              <a:gdLst/>
              <a:ahLst/>
              <a:cxnLst/>
              <a:rect l="l" t="t" r="r" b="b"/>
              <a:pathLst>
                <a:path w="1891" h="1810" extrusionOk="0">
                  <a:moveTo>
                    <a:pt x="0" y="1"/>
                  </a:moveTo>
                  <a:lnTo>
                    <a:pt x="0" y="1"/>
                  </a:lnTo>
                  <a:cubicBezTo>
                    <a:pt x="32" y="95"/>
                    <a:pt x="70" y="190"/>
                    <a:pt x="112" y="281"/>
                  </a:cubicBezTo>
                  <a:cubicBezTo>
                    <a:pt x="238" y="575"/>
                    <a:pt x="382" y="907"/>
                    <a:pt x="259" y="1061"/>
                  </a:cubicBezTo>
                  <a:cubicBezTo>
                    <a:pt x="235" y="1093"/>
                    <a:pt x="249" y="1145"/>
                    <a:pt x="263" y="1184"/>
                  </a:cubicBezTo>
                  <a:cubicBezTo>
                    <a:pt x="361" y="1432"/>
                    <a:pt x="791" y="1782"/>
                    <a:pt x="945" y="1807"/>
                  </a:cubicBezTo>
                  <a:cubicBezTo>
                    <a:pt x="957" y="1808"/>
                    <a:pt x="967" y="1809"/>
                    <a:pt x="976" y="1809"/>
                  </a:cubicBezTo>
                  <a:cubicBezTo>
                    <a:pt x="1026" y="1809"/>
                    <a:pt x="1037" y="1783"/>
                    <a:pt x="1061" y="1726"/>
                  </a:cubicBezTo>
                  <a:cubicBezTo>
                    <a:pt x="1085" y="1672"/>
                    <a:pt x="1124" y="1586"/>
                    <a:pt x="1231" y="1586"/>
                  </a:cubicBezTo>
                  <a:cubicBezTo>
                    <a:pt x="1235" y="1586"/>
                    <a:pt x="1239" y="1586"/>
                    <a:pt x="1243" y="1586"/>
                  </a:cubicBezTo>
                  <a:cubicBezTo>
                    <a:pt x="1247" y="1588"/>
                    <a:pt x="1252" y="1589"/>
                    <a:pt x="1256" y="1589"/>
                  </a:cubicBezTo>
                  <a:cubicBezTo>
                    <a:pt x="1262" y="1589"/>
                    <a:pt x="1268" y="1587"/>
                    <a:pt x="1275" y="1583"/>
                  </a:cubicBezTo>
                  <a:cubicBezTo>
                    <a:pt x="1285" y="1551"/>
                    <a:pt x="1289" y="1516"/>
                    <a:pt x="1285" y="1481"/>
                  </a:cubicBezTo>
                  <a:cubicBezTo>
                    <a:pt x="1285" y="1439"/>
                    <a:pt x="1289" y="1401"/>
                    <a:pt x="1296" y="1362"/>
                  </a:cubicBezTo>
                  <a:cubicBezTo>
                    <a:pt x="1299" y="1327"/>
                    <a:pt x="1320" y="1296"/>
                    <a:pt x="1352" y="1282"/>
                  </a:cubicBezTo>
                  <a:cubicBezTo>
                    <a:pt x="1363" y="1277"/>
                    <a:pt x="1375" y="1275"/>
                    <a:pt x="1387" y="1275"/>
                  </a:cubicBezTo>
                  <a:cubicBezTo>
                    <a:pt x="1426" y="1275"/>
                    <a:pt x="1465" y="1299"/>
                    <a:pt x="1506" y="1324"/>
                  </a:cubicBezTo>
                  <a:cubicBezTo>
                    <a:pt x="1546" y="1352"/>
                    <a:pt x="1590" y="1381"/>
                    <a:pt x="1622" y="1381"/>
                  </a:cubicBezTo>
                  <a:cubicBezTo>
                    <a:pt x="1630" y="1381"/>
                    <a:pt x="1636" y="1380"/>
                    <a:pt x="1642" y="1376"/>
                  </a:cubicBezTo>
                  <a:cubicBezTo>
                    <a:pt x="1674" y="1359"/>
                    <a:pt x="1667" y="1215"/>
                    <a:pt x="1667" y="1149"/>
                  </a:cubicBezTo>
                  <a:cubicBezTo>
                    <a:pt x="1667" y="1012"/>
                    <a:pt x="1660" y="883"/>
                    <a:pt x="1730" y="816"/>
                  </a:cubicBezTo>
                  <a:cubicBezTo>
                    <a:pt x="1754" y="788"/>
                    <a:pt x="1793" y="771"/>
                    <a:pt x="1831" y="771"/>
                  </a:cubicBezTo>
                  <a:cubicBezTo>
                    <a:pt x="1835" y="771"/>
                    <a:pt x="1835" y="771"/>
                    <a:pt x="1838" y="767"/>
                  </a:cubicBezTo>
                  <a:cubicBezTo>
                    <a:pt x="1891" y="701"/>
                    <a:pt x="1849" y="372"/>
                    <a:pt x="1744" y="18"/>
                  </a:cubicBezTo>
                  <a:cubicBezTo>
                    <a:pt x="1744" y="15"/>
                    <a:pt x="1744" y="15"/>
                    <a:pt x="1737" y="11"/>
                  </a:cubicBezTo>
                  <a:cubicBezTo>
                    <a:pt x="1730" y="8"/>
                    <a:pt x="1720" y="6"/>
                    <a:pt x="1709" y="6"/>
                  </a:cubicBezTo>
                  <a:cubicBezTo>
                    <a:pt x="1635" y="6"/>
                    <a:pt x="1473" y="71"/>
                    <a:pt x="1352" y="120"/>
                  </a:cubicBezTo>
                  <a:cubicBezTo>
                    <a:pt x="1194" y="183"/>
                    <a:pt x="1033" y="249"/>
                    <a:pt x="893" y="263"/>
                  </a:cubicBezTo>
                  <a:cubicBezTo>
                    <a:pt x="873" y="265"/>
                    <a:pt x="853" y="266"/>
                    <a:pt x="832" y="266"/>
                  </a:cubicBezTo>
                  <a:cubicBezTo>
                    <a:pt x="634" y="266"/>
                    <a:pt x="404" y="167"/>
                    <a:pt x="214" y="85"/>
                  </a:cubicBezTo>
                  <a:cubicBezTo>
                    <a:pt x="144" y="53"/>
                    <a:pt x="74" y="2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2" name="Google Shape;6602;p53"/>
            <p:cNvSpPr/>
            <p:nvPr/>
          </p:nvSpPr>
          <p:spPr>
            <a:xfrm>
              <a:off x="3286190" y="2425120"/>
              <a:ext cx="2770" cy="2322"/>
            </a:xfrm>
            <a:custGeom>
              <a:avLst/>
              <a:gdLst/>
              <a:ahLst/>
              <a:cxnLst/>
              <a:rect l="l" t="t" r="r" b="b"/>
              <a:pathLst>
                <a:path w="204" h="171" extrusionOk="0">
                  <a:moveTo>
                    <a:pt x="118" y="1"/>
                  </a:moveTo>
                  <a:cubicBezTo>
                    <a:pt x="110" y="1"/>
                    <a:pt x="102" y="4"/>
                    <a:pt x="95" y="6"/>
                  </a:cubicBezTo>
                  <a:cubicBezTo>
                    <a:pt x="42" y="27"/>
                    <a:pt x="7" y="80"/>
                    <a:pt x="0" y="136"/>
                  </a:cubicBezTo>
                  <a:cubicBezTo>
                    <a:pt x="0" y="150"/>
                    <a:pt x="7" y="161"/>
                    <a:pt x="28" y="168"/>
                  </a:cubicBezTo>
                  <a:cubicBezTo>
                    <a:pt x="34" y="169"/>
                    <a:pt x="42" y="170"/>
                    <a:pt x="51" y="170"/>
                  </a:cubicBezTo>
                  <a:cubicBezTo>
                    <a:pt x="96" y="170"/>
                    <a:pt x="170" y="150"/>
                    <a:pt x="193" y="115"/>
                  </a:cubicBezTo>
                  <a:cubicBezTo>
                    <a:pt x="203" y="94"/>
                    <a:pt x="196" y="66"/>
                    <a:pt x="165" y="31"/>
                  </a:cubicBezTo>
                  <a:cubicBezTo>
                    <a:pt x="148" y="8"/>
                    <a:pt x="132" y="1"/>
                    <a:pt x="1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3" name="Google Shape;6603;p53"/>
            <p:cNvSpPr/>
            <p:nvPr/>
          </p:nvSpPr>
          <p:spPr>
            <a:xfrm>
              <a:off x="3278682" y="2370688"/>
              <a:ext cx="55858" cy="52287"/>
            </a:xfrm>
            <a:custGeom>
              <a:avLst/>
              <a:gdLst/>
              <a:ahLst/>
              <a:cxnLst/>
              <a:rect l="l" t="t" r="r" b="b"/>
              <a:pathLst>
                <a:path w="4114" h="3851" extrusionOk="0">
                  <a:moveTo>
                    <a:pt x="3200" y="0"/>
                  </a:moveTo>
                  <a:cubicBezTo>
                    <a:pt x="3179" y="0"/>
                    <a:pt x="3154" y="11"/>
                    <a:pt x="3140" y="28"/>
                  </a:cubicBezTo>
                  <a:cubicBezTo>
                    <a:pt x="3046" y="98"/>
                    <a:pt x="3042" y="144"/>
                    <a:pt x="3032" y="203"/>
                  </a:cubicBezTo>
                  <a:cubicBezTo>
                    <a:pt x="3025" y="277"/>
                    <a:pt x="3011" y="371"/>
                    <a:pt x="2860" y="497"/>
                  </a:cubicBezTo>
                  <a:cubicBezTo>
                    <a:pt x="2766" y="574"/>
                    <a:pt x="2696" y="676"/>
                    <a:pt x="2661" y="791"/>
                  </a:cubicBezTo>
                  <a:cubicBezTo>
                    <a:pt x="2598" y="949"/>
                    <a:pt x="2521" y="1103"/>
                    <a:pt x="2426" y="1246"/>
                  </a:cubicBezTo>
                  <a:cubicBezTo>
                    <a:pt x="2241" y="1533"/>
                    <a:pt x="1821" y="1740"/>
                    <a:pt x="1453" y="1918"/>
                  </a:cubicBezTo>
                  <a:cubicBezTo>
                    <a:pt x="1208" y="2038"/>
                    <a:pt x="980" y="2150"/>
                    <a:pt x="924" y="2241"/>
                  </a:cubicBezTo>
                  <a:cubicBezTo>
                    <a:pt x="840" y="2374"/>
                    <a:pt x="686" y="2482"/>
                    <a:pt x="532" y="2591"/>
                  </a:cubicBezTo>
                  <a:cubicBezTo>
                    <a:pt x="399" y="2689"/>
                    <a:pt x="245" y="2797"/>
                    <a:pt x="242" y="2867"/>
                  </a:cubicBezTo>
                  <a:cubicBezTo>
                    <a:pt x="235" y="2958"/>
                    <a:pt x="182" y="3032"/>
                    <a:pt x="130" y="3102"/>
                  </a:cubicBezTo>
                  <a:cubicBezTo>
                    <a:pt x="42" y="3224"/>
                    <a:pt x="0" y="3298"/>
                    <a:pt x="84" y="3420"/>
                  </a:cubicBezTo>
                  <a:cubicBezTo>
                    <a:pt x="144" y="3508"/>
                    <a:pt x="210" y="3511"/>
                    <a:pt x="298" y="3522"/>
                  </a:cubicBezTo>
                  <a:cubicBezTo>
                    <a:pt x="389" y="3529"/>
                    <a:pt x="483" y="3539"/>
                    <a:pt x="574" y="3630"/>
                  </a:cubicBezTo>
                  <a:cubicBezTo>
                    <a:pt x="620" y="3676"/>
                    <a:pt x="685" y="3701"/>
                    <a:pt x="750" y="3701"/>
                  </a:cubicBezTo>
                  <a:cubicBezTo>
                    <a:pt x="755" y="3701"/>
                    <a:pt x="759" y="3701"/>
                    <a:pt x="763" y="3700"/>
                  </a:cubicBezTo>
                  <a:cubicBezTo>
                    <a:pt x="833" y="3700"/>
                    <a:pt x="921" y="3707"/>
                    <a:pt x="973" y="3802"/>
                  </a:cubicBezTo>
                  <a:cubicBezTo>
                    <a:pt x="977" y="3809"/>
                    <a:pt x="1001" y="3830"/>
                    <a:pt x="1071" y="3844"/>
                  </a:cubicBezTo>
                  <a:cubicBezTo>
                    <a:pt x="1096" y="3848"/>
                    <a:pt x="1125" y="3850"/>
                    <a:pt x="1157" y="3850"/>
                  </a:cubicBezTo>
                  <a:cubicBezTo>
                    <a:pt x="1341" y="3850"/>
                    <a:pt x="1633" y="3776"/>
                    <a:pt x="1877" y="3553"/>
                  </a:cubicBezTo>
                  <a:cubicBezTo>
                    <a:pt x="2104" y="3350"/>
                    <a:pt x="2125" y="3214"/>
                    <a:pt x="2139" y="3116"/>
                  </a:cubicBezTo>
                  <a:cubicBezTo>
                    <a:pt x="2153" y="3046"/>
                    <a:pt x="2164" y="2972"/>
                    <a:pt x="2251" y="2916"/>
                  </a:cubicBezTo>
                  <a:cubicBezTo>
                    <a:pt x="2339" y="2864"/>
                    <a:pt x="2374" y="2734"/>
                    <a:pt x="2416" y="2605"/>
                  </a:cubicBezTo>
                  <a:cubicBezTo>
                    <a:pt x="2440" y="2524"/>
                    <a:pt x="2468" y="2447"/>
                    <a:pt x="2503" y="2374"/>
                  </a:cubicBezTo>
                  <a:lnTo>
                    <a:pt x="2521" y="2339"/>
                  </a:lnTo>
                  <a:cubicBezTo>
                    <a:pt x="2615" y="2164"/>
                    <a:pt x="2720" y="1960"/>
                    <a:pt x="3168" y="1960"/>
                  </a:cubicBezTo>
                  <a:cubicBezTo>
                    <a:pt x="3184" y="1961"/>
                    <a:pt x="3200" y="1962"/>
                    <a:pt x="3216" y="1962"/>
                  </a:cubicBezTo>
                  <a:cubicBezTo>
                    <a:pt x="3264" y="1962"/>
                    <a:pt x="3314" y="1958"/>
                    <a:pt x="3361" y="1950"/>
                  </a:cubicBezTo>
                  <a:cubicBezTo>
                    <a:pt x="3357" y="1939"/>
                    <a:pt x="3350" y="1929"/>
                    <a:pt x="3347" y="1918"/>
                  </a:cubicBezTo>
                  <a:cubicBezTo>
                    <a:pt x="3315" y="1866"/>
                    <a:pt x="3294" y="1806"/>
                    <a:pt x="3284" y="1743"/>
                  </a:cubicBezTo>
                  <a:cubicBezTo>
                    <a:pt x="3270" y="1607"/>
                    <a:pt x="3378" y="1530"/>
                    <a:pt x="3473" y="1460"/>
                  </a:cubicBezTo>
                  <a:cubicBezTo>
                    <a:pt x="3567" y="1393"/>
                    <a:pt x="3648" y="1334"/>
                    <a:pt x="3648" y="1229"/>
                  </a:cubicBezTo>
                  <a:cubicBezTo>
                    <a:pt x="3648" y="1075"/>
                    <a:pt x="3778" y="942"/>
                    <a:pt x="3904" y="816"/>
                  </a:cubicBezTo>
                  <a:cubicBezTo>
                    <a:pt x="4009" y="714"/>
                    <a:pt x="4114" y="609"/>
                    <a:pt x="4079" y="543"/>
                  </a:cubicBezTo>
                  <a:cubicBezTo>
                    <a:pt x="4033" y="452"/>
                    <a:pt x="4026" y="343"/>
                    <a:pt x="4061" y="245"/>
                  </a:cubicBezTo>
                  <a:cubicBezTo>
                    <a:pt x="4079" y="168"/>
                    <a:pt x="4082" y="147"/>
                    <a:pt x="4030" y="112"/>
                  </a:cubicBezTo>
                  <a:cubicBezTo>
                    <a:pt x="4001" y="91"/>
                    <a:pt x="3978" y="80"/>
                    <a:pt x="3955" y="80"/>
                  </a:cubicBezTo>
                  <a:cubicBezTo>
                    <a:pt x="3917" y="80"/>
                    <a:pt x="3879" y="107"/>
                    <a:pt x="3816" y="154"/>
                  </a:cubicBezTo>
                  <a:cubicBezTo>
                    <a:pt x="3767" y="193"/>
                    <a:pt x="3715" y="224"/>
                    <a:pt x="3658" y="252"/>
                  </a:cubicBezTo>
                  <a:cubicBezTo>
                    <a:pt x="3634" y="264"/>
                    <a:pt x="3610" y="269"/>
                    <a:pt x="3588" y="269"/>
                  </a:cubicBezTo>
                  <a:cubicBezTo>
                    <a:pt x="3498" y="269"/>
                    <a:pt x="3423" y="186"/>
                    <a:pt x="3361" y="119"/>
                  </a:cubicBezTo>
                  <a:cubicBezTo>
                    <a:pt x="3284" y="39"/>
                    <a:pt x="3242" y="0"/>
                    <a:pt x="3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4" name="Google Shape;6604;p53"/>
            <p:cNvSpPr/>
            <p:nvPr/>
          </p:nvSpPr>
          <p:spPr>
            <a:xfrm>
              <a:off x="3327113" y="2318822"/>
              <a:ext cx="40271" cy="57243"/>
            </a:xfrm>
            <a:custGeom>
              <a:avLst/>
              <a:gdLst/>
              <a:ahLst/>
              <a:cxnLst/>
              <a:rect l="l" t="t" r="r" b="b"/>
              <a:pathLst>
                <a:path w="2966" h="4216" extrusionOk="0">
                  <a:moveTo>
                    <a:pt x="56" y="1"/>
                  </a:moveTo>
                  <a:cubicBezTo>
                    <a:pt x="46" y="1"/>
                    <a:pt x="39" y="1"/>
                    <a:pt x="28" y="4"/>
                  </a:cubicBezTo>
                  <a:cubicBezTo>
                    <a:pt x="0" y="46"/>
                    <a:pt x="116" y="288"/>
                    <a:pt x="274" y="473"/>
                  </a:cubicBezTo>
                  <a:cubicBezTo>
                    <a:pt x="330" y="533"/>
                    <a:pt x="386" y="585"/>
                    <a:pt x="449" y="631"/>
                  </a:cubicBezTo>
                  <a:cubicBezTo>
                    <a:pt x="571" y="729"/>
                    <a:pt x="676" y="809"/>
                    <a:pt x="666" y="911"/>
                  </a:cubicBezTo>
                  <a:cubicBezTo>
                    <a:pt x="659" y="988"/>
                    <a:pt x="827" y="1240"/>
                    <a:pt x="949" y="1278"/>
                  </a:cubicBezTo>
                  <a:cubicBezTo>
                    <a:pt x="1089" y="1327"/>
                    <a:pt x="1044" y="1509"/>
                    <a:pt x="984" y="1723"/>
                  </a:cubicBezTo>
                  <a:cubicBezTo>
                    <a:pt x="942" y="1863"/>
                    <a:pt x="918" y="2007"/>
                    <a:pt x="907" y="2154"/>
                  </a:cubicBezTo>
                  <a:cubicBezTo>
                    <a:pt x="907" y="2406"/>
                    <a:pt x="778" y="2479"/>
                    <a:pt x="645" y="2549"/>
                  </a:cubicBezTo>
                  <a:cubicBezTo>
                    <a:pt x="571" y="2584"/>
                    <a:pt x="501" y="2633"/>
                    <a:pt x="445" y="2696"/>
                  </a:cubicBezTo>
                  <a:cubicBezTo>
                    <a:pt x="431" y="2707"/>
                    <a:pt x="428" y="2724"/>
                    <a:pt x="428" y="2738"/>
                  </a:cubicBezTo>
                  <a:cubicBezTo>
                    <a:pt x="445" y="2826"/>
                    <a:pt x="659" y="2948"/>
                    <a:pt x="830" y="3046"/>
                  </a:cubicBezTo>
                  <a:cubicBezTo>
                    <a:pt x="946" y="3106"/>
                    <a:pt x="1058" y="3179"/>
                    <a:pt x="1163" y="3256"/>
                  </a:cubicBezTo>
                  <a:cubicBezTo>
                    <a:pt x="1373" y="3428"/>
                    <a:pt x="1219" y="3725"/>
                    <a:pt x="1110" y="3943"/>
                  </a:cubicBezTo>
                  <a:cubicBezTo>
                    <a:pt x="1072" y="4016"/>
                    <a:pt x="1023" y="4118"/>
                    <a:pt x="1023" y="4149"/>
                  </a:cubicBezTo>
                  <a:cubicBezTo>
                    <a:pt x="1040" y="4172"/>
                    <a:pt x="1121" y="4216"/>
                    <a:pt x="1257" y="4216"/>
                  </a:cubicBezTo>
                  <a:cubicBezTo>
                    <a:pt x="1310" y="4216"/>
                    <a:pt x="1372" y="4209"/>
                    <a:pt x="1443" y="4191"/>
                  </a:cubicBezTo>
                  <a:cubicBezTo>
                    <a:pt x="1579" y="4153"/>
                    <a:pt x="1691" y="3929"/>
                    <a:pt x="1789" y="3729"/>
                  </a:cubicBezTo>
                  <a:cubicBezTo>
                    <a:pt x="1863" y="3578"/>
                    <a:pt x="1936" y="3431"/>
                    <a:pt x="2024" y="3354"/>
                  </a:cubicBezTo>
                  <a:cubicBezTo>
                    <a:pt x="2111" y="3277"/>
                    <a:pt x="2118" y="3165"/>
                    <a:pt x="2125" y="3050"/>
                  </a:cubicBezTo>
                  <a:cubicBezTo>
                    <a:pt x="2129" y="2962"/>
                    <a:pt x="2132" y="2868"/>
                    <a:pt x="2185" y="2794"/>
                  </a:cubicBezTo>
                  <a:cubicBezTo>
                    <a:pt x="2294" y="2647"/>
                    <a:pt x="2441" y="2647"/>
                    <a:pt x="2570" y="2647"/>
                  </a:cubicBezTo>
                  <a:lnTo>
                    <a:pt x="2598" y="2647"/>
                  </a:lnTo>
                  <a:cubicBezTo>
                    <a:pt x="2616" y="2616"/>
                    <a:pt x="2630" y="2584"/>
                    <a:pt x="2633" y="2549"/>
                  </a:cubicBezTo>
                  <a:cubicBezTo>
                    <a:pt x="2654" y="2458"/>
                    <a:pt x="2689" y="2322"/>
                    <a:pt x="2829" y="2322"/>
                  </a:cubicBezTo>
                  <a:cubicBezTo>
                    <a:pt x="2864" y="2322"/>
                    <a:pt x="2875" y="2315"/>
                    <a:pt x="2889" y="2171"/>
                  </a:cubicBezTo>
                  <a:cubicBezTo>
                    <a:pt x="2896" y="2070"/>
                    <a:pt x="2917" y="1972"/>
                    <a:pt x="2952" y="1877"/>
                  </a:cubicBezTo>
                  <a:cubicBezTo>
                    <a:pt x="2966" y="1835"/>
                    <a:pt x="2955" y="1828"/>
                    <a:pt x="2945" y="1821"/>
                  </a:cubicBezTo>
                  <a:cubicBezTo>
                    <a:pt x="2928" y="1813"/>
                    <a:pt x="2904" y="1809"/>
                    <a:pt x="2876" y="1809"/>
                  </a:cubicBezTo>
                  <a:cubicBezTo>
                    <a:pt x="2763" y="1809"/>
                    <a:pt x="2586" y="1873"/>
                    <a:pt x="2535" y="1958"/>
                  </a:cubicBezTo>
                  <a:cubicBezTo>
                    <a:pt x="2488" y="2034"/>
                    <a:pt x="2427" y="2059"/>
                    <a:pt x="2362" y="2059"/>
                  </a:cubicBezTo>
                  <a:cubicBezTo>
                    <a:pt x="2291" y="2059"/>
                    <a:pt x="2216" y="2029"/>
                    <a:pt x="2153" y="2003"/>
                  </a:cubicBezTo>
                  <a:cubicBezTo>
                    <a:pt x="2087" y="1968"/>
                    <a:pt x="2017" y="1951"/>
                    <a:pt x="1943" y="1944"/>
                  </a:cubicBezTo>
                  <a:cubicBezTo>
                    <a:pt x="1937" y="1944"/>
                    <a:pt x="1932" y="1944"/>
                    <a:pt x="1926" y="1944"/>
                  </a:cubicBezTo>
                  <a:cubicBezTo>
                    <a:pt x="1713" y="1944"/>
                    <a:pt x="1541" y="1763"/>
                    <a:pt x="1551" y="1548"/>
                  </a:cubicBezTo>
                  <a:cubicBezTo>
                    <a:pt x="1551" y="1425"/>
                    <a:pt x="1527" y="1271"/>
                    <a:pt x="1457" y="1205"/>
                  </a:cubicBezTo>
                  <a:cubicBezTo>
                    <a:pt x="1438" y="1187"/>
                    <a:pt x="1415" y="1176"/>
                    <a:pt x="1388" y="1176"/>
                  </a:cubicBezTo>
                  <a:cubicBezTo>
                    <a:pt x="1384" y="1176"/>
                    <a:pt x="1380" y="1176"/>
                    <a:pt x="1376" y="1177"/>
                  </a:cubicBezTo>
                  <a:lnTo>
                    <a:pt x="1369" y="1177"/>
                  </a:lnTo>
                  <a:cubicBezTo>
                    <a:pt x="1376" y="1191"/>
                    <a:pt x="1387" y="1212"/>
                    <a:pt x="1394" y="1226"/>
                  </a:cubicBezTo>
                  <a:cubicBezTo>
                    <a:pt x="1425" y="1289"/>
                    <a:pt x="1471" y="1380"/>
                    <a:pt x="1415" y="1453"/>
                  </a:cubicBezTo>
                  <a:cubicBezTo>
                    <a:pt x="1394" y="1485"/>
                    <a:pt x="1362" y="1502"/>
                    <a:pt x="1327" y="1506"/>
                  </a:cubicBezTo>
                  <a:lnTo>
                    <a:pt x="1324" y="1506"/>
                  </a:lnTo>
                  <a:cubicBezTo>
                    <a:pt x="1268" y="1506"/>
                    <a:pt x="1233" y="1460"/>
                    <a:pt x="1201" y="1425"/>
                  </a:cubicBezTo>
                  <a:cubicBezTo>
                    <a:pt x="1187" y="1408"/>
                    <a:pt x="1159" y="1369"/>
                    <a:pt x="1145" y="1369"/>
                  </a:cubicBezTo>
                  <a:cubicBezTo>
                    <a:pt x="1016" y="1369"/>
                    <a:pt x="872" y="1215"/>
                    <a:pt x="872" y="928"/>
                  </a:cubicBezTo>
                  <a:cubicBezTo>
                    <a:pt x="876" y="858"/>
                    <a:pt x="844" y="792"/>
                    <a:pt x="792" y="743"/>
                  </a:cubicBezTo>
                  <a:cubicBezTo>
                    <a:pt x="711" y="662"/>
                    <a:pt x="666" y="550"/>
                    <a:pt x="669" y="431"/>
                  </a:cubicBezTo>
                  <a:cubicBezTo>
                    <a:pt x="669" y="197"/>
                    <a:pt x="263" y="1"/>
                    <a:pt x="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5" name="Google Shape;6605;p53"/>
            <p:cNvSpPr/>
            <p:nvPr/>
          </p:nvSpPr>
          <p:spPr>
            <a:xfrm>
              <a:off x="2437868" y="1704617"/>
              <a:ext cx="103542" cy="63855"/>
            </a:xfrm>
            <a:custGeom>
              <a:avLst/>
              <a:gdLst/>
              <a:ahLst/>
              <a:cxnLst/>
              <a:rect l="l" t="t" r="r" b="b"/>
              <a:pathLst>
                <a:path w="7626" h="4703" extrusionOk="0">
                  <a:moveTo>
                    <a:pt x="3221" y="0"/>
                  </a:moveTo>
                  <a:cubicBezTo>
                    <a:pt x="3213" y="0"/>
                    <a:pt x="3206" y="1"/>
                    <a:pt x="3200" y="3"/>
                  </a:cubicBezTo>
                  <a:cubicBezTo>
                    <a:pt x="3141" y="94"/>
                    <a:pt x="3025" y="136"/>
                    <a:pt x="2952" y="143"/>
                  </a:cubicBezTo>
                  <a:lnTo>
                    <a:pt x="2945" y="164"/>
                  </a:lnTo>
                  <a:cubicBezTo>
                    <a:pt x="2922" y="227"/>
                    <a:pt x="2880" y="355"/>
                    <a:pt x="2744" y="355"/>
                  </a:cubicBezTo>
                  <a:cubicBezTo>
                    <a:pt x="2735" y="355"/>
                    <a:pt x="2727" y="354"/>
                    <a:pt x="2717" y="353"/>
                  </a:cubicBezTo>
                  <a:cubicBezTo>
                    <a:pt x="2715" y="353"/>
                    <a:pt x="2712" y="353"/>
                    <a:pt x="2710" y="353"/>
                  </a:cubicBezTo>
                  <a:cubicBezTo>
                    <a:pt x="2647" y="353"/>
                    <a:pt x="2557" y="394"/>
                    <a:pt x="2486" y="458"/>
                  </a:cubicBezTo>
                  <a:cubicBezTo>
                    <a:pt x="2444" y="490"/>
                    <a:pt x="2416" y="532"/>
                    <a:pt x="2402" y="581"/>
                  </a:cubicBezTo>
                  <a:lnTo>
                    <a:pt x="2402" y="602"/>
                  </a:lnTo>
                  <a:cubicBezTo>
                    <a:pt x="2402" y="679"/>
                    <a:pt x="2402" y="784"/>
                    <a:pt x="2332" y="850"/>
                  </a:cubicBezTo>
                  <a:cubicBezTo>
                    <a:pt x="2289" y="888"/>
                    <a:pt x="2231" y="909"/>
                    <a:pt x="2172" y="909"/>
                  </a:cubicBezTo>
                  <a:cubicBezTo>
                    <a:pt x="2160" y="909"/>
                    <a:pt x="2148" y="908"/>
                    <a:pt x="2136" y="906"/>
                  </a:cubicBezTo>
                  <a:lnTo>
                    <a:pt x="2080" y="899"/>
                  </a:lnTo>
                  <a:lnTo>
                    <a:pt x="2063" y="896"/>
                  </a:lnTo>
                  <a:lnTo>
                    <a:pt x="2024" y="892"/>
                  </a:lnTo>
                  <a:lnTo>
                    <a:pt x="2003" y="889"/>
                  </a:lnTo>
                  <a:lnTo>
                    <a:pt x="1972" y="882"/>
                  </a:lnTo>
                  <a:lnTo>
                    <a:pt x="1951" y="878"/>
                  </a:lnTo>
                  <a:lnTo>
                    <a:pt x="1919" y="871"/>
                  </a:lnTo>
                  <a:lnTo>
                    <a:pt x="1902" y="868"/>
                  </a:lnTo>
                  <a:lnTo>
                    <a:pt x="1870" y="861"/>
                  </a:lnTo>
                  <a:lnTo>
                    <a:pt x="1853" y="854"/>
                  </a:lnTo>
                  <a:lnTo>
                    <a:pt x="1825" y="847"/>
                  </a:lnTo>
                  <a:lnTo>
                    <a:pt x="1807" y="840"/>
                  </a:lnTo>
                  <a:lnTo>
                    <a:pt x="1783" y="829"/>
                  </a:lnTo>
                  <a:lnTo>
                    <a:pt x="1765" y="826"/>
                  </a:lnTo>
                  <a:lnTo>
                    <a:pt x="1762" y="826"/>
                  </a:lnTo>
                  <a:cubicBezTo>
                    <a:pt x="1717" y="851"/>
                    <a:pt x="1665" y="867"/>
                    <a:pt x="1612" y="867"/>
                  </a:cubicBezTo>
                  <a:cubicBezTo>
                    <a:pt x="1599" y="867"/>
                    <a:pt x="1586" y="866"/>
                    <a:pt x="1573" y="864"/>
                  </a:cubicBezTo>
                  <a:cubicBezTo>
                    <a:pt x="1513" y="857"/>
                    <a:pt x="1457" y="833"/>
                    <a:pt x="1412" y="794"/>
                  </a:cubicBezTo>
                  <a:cubicBezTo>
                    <a:pt x="1401" y="787"/>
                    <a:pt x="1394" y="777"/>
                    <a:pt x="1384" y="766"/>
                  </a:cubicBezTo>
                  <a:cubicBezTo>
                    <a:pt x="1373" y="759"/>
                    <a:pt x="1366" y="749"/>
                    <a:pt x="1356" y="738"/>
                  </a:cubicBezTo>
                  <a:lnTo>
                    <a:pt x="1352" y="735"/>
                  </a:lnTo>
                  <a:cubicBezTo>
                    <a:pt x="1345" y="724"/>
                    <a:pt x="1335" y="714"/>
                    <a:pt x="1324" y="700"/>
                  </a:cubicBezTo>
                  <a:cubicBezTo>
                    <a:pt x="1124" y="434"/>
                    <a:pt x="844" y="206"/>
                    <a:pt x="708" y="206"/>
                  </a:cubicBezTo>
                  <a:lnTo>
                    <a:pt x="522" y="206"/>
                  </a:lnTo>
                  <a:lnTo>
                    <a:pt x="494" y="210"/>
                  </a:lnTo>
                  <a:lnTo>
                    <a:pt x="477" y="210"/>
                  </a:lnTo>
                  <a:lnTo>
                    <a:pt x="449" y="213"/>
                  </a:lnTo>
                  <a:lnTo>
                    <a:pt x="435" y="213"/>
                  </a:lnTo>
                  <a:lnTo>
                    <a:pt x="400" y="220"/>
                  </a:lnTo>
                  <a:lnTo>
                    <a:pt x="393" y="220"/>
                  </a:lnTo>
                  <a:lnTo>
                    <a:pt x="368" y="224"/>
                  </a:lnTo>
                  <a:lnTo>
                    <a:pt x="354" y="227"/>
                  </a:lnTo>
                  <a:lnTo>
                    <a:pt x="337" y="231"/>
                  </a:lnTo>
                  <a:lnTo>
                    <a:pt x="326" y="234"/>
                  </a:lnTo>
                  <a:lnTo>
                    <a:pt x="312" y="238"/>
                  </a:lnTo>
                  <a:lnTo>
                    <a:pt x="302" y="241"/>
                  </a:lnTo>
                  <a:lnTo>
                    <a:pt x="288" y="248"/>
                  </a:lnTo>
                  <a:lnTo>
                    <a:pt x="281" y="252"/>
                  </a:lnTo>
                  <a:lnTo>
                    <a:pt x="263" y="259"/>
                  </a:lnTo>
                  <a:lnTo>
                    <a:pt x="246" y="269"/>
                  </a:lnTo>
                  <a:lnTo>
                    <a:pt x="242" y="269"/>
                  </a:lnTo>
                  <a:lnTo>
                    <a:pt x="232" y="276"/>
                  </a:lnTo>
                  <a:lnTo>
                    <a:pt x="228" y="280"/>
                  </a:lnTo>
                  <a:lnTo>
                    <a:pt x="225" y="283"/>
                  </a:lnTo>
                  <a:cubicBezTo>
                    <a:pt x="266" y="270"/>
                    <a:pt x="312" y="263"/>
                    <a:pt x="357" y="263"/>
                  </a:cubicBezTo>
                  <a:cubicBezTo>
                    <a:pt x="372" y="263"/>
                    <a:pt x="388" y="264"/>
                    <a:pt x="403" y="266"/>
                  </a:cubicBezTo>
                  <a:cubicBezTo>
                    <a:pt x="676" y="287"/>
                    <a:pt x="722" y="490"/>
                    <a:pt x="750" y="626"/>
                  </a:cubicBezTo>
                  <a:cubicBezTo>
                    <a:pt x="774" y="731"/>
                    <a:pt x="788" y="763"/>
                    <a:pt x="823" y="766"/>
                  </a:cubicBezTo>
                  <a:cubicBezTo>
                    <a:pt x="974" y="777"/>
                    <a:pt x="1138" y="917"/>
                    <a:pt x="1194" y="1032"/>
                  </a:cubicBezTo>
                  <a:cubicBezTo>
                    <a:pt x="1223" y="1074"/>
                    <a:pt x="1223" y="1130"/>
                    <a:pt x="1194" y="1172"/>
                  </a:cubicBezTo>
                  <a:cubicBezTo>
                    <a:pt x="1171" y="1205"/>
                    <a:pt x="1131" y="1223"/>
                    <a:pt x="1090" y="1223"/>
                  </a:cubicBezTo>
                  <a:cubicBezTo>
                    <a:pt x="1083" y="1223"/>
                    <a:pt x="1076" y="1222"/>
                    <a:pt x="1068" y="1221"/>
                  </a:cubicBezTo>
                  <a:cubicBezTo>
                    <a:pt x="1062" y="1221"/>
                    <a:pt x="1055" y="1220"/>
                    <a:pt x="1048" y="1220"/>
                  </a:cubicBezTo>
                  <a:cubicBezTo>
                    <a:pt x="985" y="1220"/>
                    <a:pt x="921" y="1249"/>
                    <a:pt x="851" y="1277"/>
                  </a:cubicBezTo>
                  <a:cubicBezTo>
                    <a:pt x="777" y="1311"/>
                    <a:pt x="693" y="1346"/>
                    <a:pt x="604" y="1346"/>
                  </a:cubicBezTo>
                  <a:cubicBezTo>
                    <a:pt x="572" y="1346"/>
                    <a:pt x="539" y="1341"/>
                    <a:pt x="505" y="1330"/>
                  </a:cubicBezTo>
                  <a:cubicBezTo>
                    <a:pt x="463" y="1316"/>
                    <a:pt x="421" y="1299"/>
                    <a:pt x="382" y="1285"/>
                  </a:cubicBezTo>
                  <a:cubicBezTo>
                    <a:pt x="304" y="1251"/>
                    <a:pt x="220" y="1218"/>
                    <a:pt x="164" y="1218"/>
                  </a:cubicBezTo>
                  <a:cubicBezTo>
                    <a:pt x="149" y="1218"/>
                    <a:pt x="137" y="1220"/>
                    <a:pt x="127" y="1225"/>
                  </a:cubicBezTo>
                  <a:cubicBezTo>
                    <a:pt x="120" y="1228"/>
                    <a:pt x="99" y="1235"/>
                    <a:pt x="85" y="1285"/>
                  </a:cubicBezTo>
                  <a:lnTo>
                    <a:pt x="78" y="1316"/>
                  </a:lnTo>
                  <a:cubicBezTo>
                    <a:pt x="46" y="1428"/>
                    <a:pt x="1" y="1586"/>
                    <a:pt x="39" y="1635"/>
                  </a:cubicBezTo>
                  <a:cubicBezTo>
                    <a:pt x="53" y="1651"/>
                    <a:pt x="82" y="1657"/>
                    <a:pt x="109" y="1657"/>
                  </a:cubicBezTo>
                  <a:cubicBezTo>
                    <a:pt x="116" y="1657"/>
                    <a:pt x="123" y="1656"/>
                    <a:pt x="130" y="1656"/>
                  </a:cubicBezTo>
                  <a:cubicBezTo>
                    <a:pt x="142" y="1655"/>
                    <a:pt x="153" y="1655"/>
                    <a:pt x="163" y="1655"/>
                  </a:cubicBezTo>
                  <a:cubicBezTo>
                    <a:pt x="271" y="1655"/>
                    <a:pt x="340" y="1686"/>
                    <a:pt x="368" y="1750"/>
                  </a:cubicBezTo>
                  <a:cubicBezTo>
                    <a:pt x="414" y="1852"/>
                    <a:pt x="330" y="1978"/>
                    <a:pt x="256" y="2065"/>
                  </a:cubicBezTo>
                  <a:cubicBezTo>
                    <a:pt x="285" y="2062"/>
                    <a:pt x="317" y="2060"/>
                    <a:pt x="349" y="2060"/>
                  </a:cubicBezTo>
                  <a:cubicBezTo>
                    <a:pt x="435" y="2060"/>
                    <a:pt x="522" y="2080"/>
                    <a:pt x="540" y="2177"/>
                  </a:cubicBezTo>
                  <a:cubicBezTo>
                    <a:pt x="550" y="2219"/>
                    <a:pt x="568" y="2258"/>
                    <a:pt x="596" y="2289"/>
                  </a:cubicBezTo>
                  <a:cubicBezTo>
                    <a:pt x="645" y="2363"/>
                    <a:pt x="701" y="2450"/>
                    <a:pt x="652" y="2643"/>
                  </a:cubicBezTo>
                  <a:cubicBezTo>
                    <a:pt x="620" y="2765"/>
                    <a:pt x="634" y="3003"/>
                    <a:pt x="648" y="3213"/>
                  </a:cubicBezTo>
                  <a:cubicBezTo>
                    <a:pt x="648" y="3241"/>
                    <a:pt x="652" y="3266"/>
                    <a:pt x="652" y="3290"/>
                  </a:cubicBezTo>
                  <a:lnTo>
                    <a:pt x="848" y="3290"/>
                  </a:lnTo>
                  <a:lnTo>
                    <a:pt x="862" y="3287"/>
                  </a:lnTo>
                  <a:lnTo>
                    <a:pt x="876" y="3283"/>
                  </a:lnTo>
                  <a:lnTo>
                    <a:pt x="890" y="3283"/>
                  </a:lnTo>
                  <a:lnTo>
                    <a:pt x="904" y="3280"/>
                  </a:lnTo>
                  <a:lnTo>
                    <a:pt x="914" y="3276"/>
                  </a:lnTo>
                  <a:lnTo>
                    <a:pt x="925" y="3273"/>
                  </a:lnTo>
                  <a:lnTo>
                    <a:pt x="932" y="3273"/>
                  </a:lnTo>
                  <a:lnTo>
                    <a:pt x="942" y="3269"/>
                  </a:lnTo>
                  <a:lnTo>
                    <a:pt x="949" y="3266"/>
                  </a:lnTo>
                  <a:lnTo>
                    <a:pt x="956" y="3262"/>
                  </a:lnTo>
                  <a:lnTo>
                    <a:pt x="960" y="3262"/>
                  </a:lnTo>
                  <a:lnTo>
                    <a:pt x="967" y="3259"/>
                  </a:lnTo>
                  <a:lnTo>
                    <a:pt x="981" y="3259"/>
                  </a:lnTo>
                  <a:cubicBezTo>
                    <a:pt x="1058" y="3150"/>
                    <a:pt x="1338" y="2891"/>
                    <a:pt x="1520" y="2891"/>
                  </a:cubicBezTo>
                  <a:cubicBezTo>
                    <a:pt x="1562" y="2895"/>
                    <a:pt x="1604" y="2898"/>
                    <a:pt x="1646" y="2902"/>
                  </a:cubicBezTo>
                  <a:cubicBezTo>
                    <a:pt x="1686" y="2907"/>
                    <a:pt x="1720" y="2911"/>
                    <a:pt x="1749" y="2911"/>
                  </a:cubicBezTo>
                  <a:cubicBezTo>
                    <a:pt x="1797" y="2911"/>
                    <a:pt x="1831" y="2901"/>
                    <a:pt x="1853" y="2870"/>
                  </a:cubicBezTo>
                  <a:cubicBezTo>
                    <a:pt x="1860" y="2863"/>
                    <a:pt x="1867" y="2856"/>
                    <a:pt x="1874" y="2849"/>
                  </a:cubicBezTo>
                  <a:cubicBezTo>
                    <a:pt x="1923" y="2804"/>
                    <a:pt x="2010" y="2776"/>
                    <a:pt x="2140" y="2772"/>
                  </a:cubicBezTo>
                  <a:cubicBezTo>
                    <a:pt x="2148" y="2772"/>
                    <a:pt x="2157" y="2772"/>
                    <a:pt x="2166" y="2772"/>
                  </a:cubicBezTo>
                  <a:cubicBezTo>
                    <a:pt x="2307" y="2772"/>
                    <a:pt x="2519" y="2799"/>
                    <a:pt x="2588" y="2884"/>
                  </a:cubicBezTo>
                  <a:cubicBezTo>
                    <a:pt x="2654" y="2965"/>
                    <a:pt x="2892" y="3038"/>
                    <a:pt x="2941" y="3038"/>
                  </a:cubicBezTo>
                  <a:cubicBezTo>
                    <a:pt x="2987" y="3042"/>
                    <a:pt x="3029" y="3066"/>
                    <a:pt x="3057" y="3105"/>
                  </a:cubicBezTo>
                  <a:cubicBezTo>
                    <a:pt x="3089" y="3140"/>
                    <a:pt x="3117" y="3169"/>
                    <a:pt x="3175" y="3169"/>
                  </a:cubicBezTo>
                  <a:cubicBezTo>
                    <a:pt x="3181" y="3169"/>
                    <a:pt x="3187" y="3169"/>
                    <a:pt x="3193" y="3168"/>
                  </a:cubicBezTo>
                  <a:cubicBezTo>
                    <a:pt x="3212" y="3166"/>
                    <a:pt x="3232" y="3165"/>
                    <a:pt x="3254" y="3165"/>
                  </a:cubicBezTo>
                  <a:cubicBezTo>
                    <a:pt x="3396" y="3165"/>
                    <a:pt x="3602" y="3205"/>
                    <a:pt x="3687" y="3283"/>
                  </a:cubicBezTo>
                  <a:cubicBezTo>
                    <a:pt x="3715" y="3304"/>
                    <a:pt x="3733" y="3336"/>
                    <a:pt x="3736" y="3371"/>
                  </a:cubicBezTo>
                  <a:lnTo>
                    <a:pt x="3736" y="3382"/>
                  </a:lnTo>
                  <a:cubicBezTo>
                    <a:pt x="3736" y="3438"/>
                    <a:pt x="3817" y="3508"/>
                    <a:pt x="3911" y="3508"/>
                  </a:cubicBezTo>
                  <a:cubicBezTo>
                    <a:pt x="4002" y="3508"/>
                    <a:pt x="4076" y="3599"/>
                    <a:pt x="4142" y="3690"/>
                  </a:cubicBezTo>
                  <a:cubicBezTo>
                    <a:pt x="4181" y="3735"/>
                    <a:pt x="4240" y="3816"/>
                    <a:pt x="4272" y="3816"/>
                  </a:cubicBezTo>
                  <a:cubicBezTo>
                    <a:pt x="4321" y="3812"/>
                    <a:pt x="4370" y="3809"/>
                    <a:pt x="4415" y="3809"/>
                  </a:cubicBezTo>
                  <a:cubicBezTo>
                    <a:pt x="4503" y="3809"/>
                    <a:pt x="4611" y="3816"/>
                    <a:pt x="4674" y="3851"/>
                  </a:cubicBezTo>
                  <a:cubicBezTo>
                    <a:pt x="4681" y="3854"/>
                    <a:pt x="4688" y="3861"/>
                    <a:pt x="4695" y="3865"/>
                  </a:cubicBezTo>
                  <a:cubicBezTo>
                    <a:pt x="4720" y="3886"/>
                    <a:pt x="4734" y="3914"/>
                    <a:pt x="4734" y="3945"/>
                  </a:cubicBezTo>
                  <a:lnTo>
                    <a:pt x="4734" y="3963"/>
                  </a:lnTo>
                  <a:lnTo>
                    <a:pt x="4734" y="3970"/>
                  </a:lnTo>
                  <a:lnTo>
                    <a:pt x="4734" y="3984"/>
                  </a:lnTo>
                  <a:lnTo>
                    <a:pt x="4734" y="3994"/>
                  </a:lnTo>
                  <a:lnTo>
                    <a:pt x="4734" y="4012"/>
                  </a:lnTo>
                  <a:lnTo>
                    <a:pt x="4734" y="4026"/>
                  </a:lnTo>
                  <a:lnTo>
                    <a:pt x="4734" y="4043"/>
                  </a:lnTo>
                  <a:lnTo>
                    <a:pt x="4734" y="4057"/>
                  </a:lnTo>
                  <a:lnTo>
                    <a:pt x="4734" y="4082"/>
                  </a:lnTo>
                  <a:lnTo>
                    <a:pt x="4734" y="4096"/>
                  </a:lnTo>
                  <a:lnTo>
                    <a:pt x="4734" y="4120"/>
                  </a:lnTo>
                  <a:lnTo>
                    <a:pt x="4734" y="4138"/>
                  </a:lnTo>
                  <a:lnTo>
                    <a:pt x="4737" y="4162"/>
                  </a:lnTo>
                  <a:lnTo>
                    <a:pt x="4737" y="4180"/>
                  </a:lnTo>
                  <a:cubicBezTo>
                    <a:pt x="4737" y="4190"/>
                    <a:pt x="4737" y="4201"/>
                    <a:pt x="4741" y="4211"/>
                  </a:cubicBezTo>
                  <a:lnTo>
                    <a:pt x="4741" y="4225"/>
                  </a:lnTo>
                  <a:cubicBezTo>
                    <a:pt x="4741" y="4236"/>
                    <a:pt x="4744" y="4250"/>
                    <a:pt x="4744" y="4264"/>
                  </a:cubicBezTo>
                  <a:lnTo>
                    <a:pt x="4744" y="4271"/>
                  </a:lnTo>
                  <a:cubicBezTo>
                    <a:pt x="4748" y="4285"/>
                    <a:pt x="4748" y="4302"/>
                    <a:pt x="4751" y="4320"/>
                  </a:cubicBezTo>
                  <a:lnTo>
                    <a:pt x="4751" y="4327"/>
                  </a:lnTo>
                  <a:lnTo>
                    <a:pt x="4758" y="4365"/>
                  </a:lnTo>
                  <a:lnTo>
                    <a:pt x="4758" y="4379"/>
                  </a:lnTo>
                  <a:cubicBezTo>
                    <a:pt x="4758" y="4390"/>
                    <a:pt x="4765" y="4400"/>
                    <a:pt x="4765" y="4411"/>
                  </a:cubicBezTo>
                  <a:lnTo>
                    <a:pt x="4769" y="4428"/>
                  </a:lnTo>
                  <a:lnTo>
                    <a:pt x="4776" y="4460"/>
                  </a:lnTo>
                  <a:lnTo>
                    <a:pt x="4779" y="4477"/>
                  </a:lnTo>
                  <a:lnTo>
                    <a:pt x="4783" y="4502"/>
                  </a:lnTo>
                  <a:lnTo>
                    <a:pt x="4790" y="4519"/>
                  </a:lnTo>
                  <a:lnTo>
                    <a:pt x="4793" y="4533"/>
                  </a:lnTo>
                  <a:cubicBezTo>
                    <a:pt x="4814" y="4525"/>
                    <a:pt x="4837" y="4521"/>
                    <a:pt x="4861" y="4521"/>
                  </a:cubicBezTo>
                  <a:cubicBezTo>
                    <a:pt x="4869" y="4521"/>
                    <a:pt x="4877" y="4522"/>
                    <a:pt x="4884" y="4523"/>
                  </a:cubicBezTo>
                  <a:cubicBezTo>
                    <a:pt x="4891" y="4526"/>
                    <a:pt x="4898" y="4526"/>
                    <a:pt x="4905" y="4530"/>
                  </a:cubicBezTo>
                  <a:lnTo>
                    <a:pt x="4909" y="4530"/>
                  </a:lnTo>
                  <a:cubicBezTo>
                    <a:pt x="4916" y="4533"/>
                    <a:pt x="4923" y="4537"/>
                    <a:pt x="4930" y="4540"/>
                  </a:cubicBezTo>
                  <a:lnTo>
                    <a:pt x="4933" y="4540"/>
                  </a:lnTo>
                  <a:cubicBezTo>
                    <a:pt x="4954" y="4544"/>
                    <a:pt x="4975" y="4544"/>
                    <a:pt x="4996" y="4544"/>
                  </a:cubicBezTo>
                  <a:lnTo>
                    <a:pt x="5178" y="4544"/>
                  </a:lnTo>
                  <a:lnTo>
                    <a:pt x="5192" y="4547"/>
                  </a:lnTo>
                  <a:lnTo>
                    <a:pt x="5199" y="4547"/>
                  </a:lnTo>
                  <a:lnTo>
                    <a:pt x="5220" y="4551"/>
                  </a:lnTo>
                  <a:lnTo>
                    <a:pt x="5234" y="4558"/>
                  </a:lnTo>
                  <a:lnTo>
                    <a:pt x="5241" y="4561"/>
                  </a:lnTo>
                  <a:lnTo>
                    <a:pt x="5255" y="4565"/>
                  </a:lnTo>
                  <a:lnTo>
                    <a:pt x="5262" y="4568"/>
                  </a:lnTo>
                  <a:lnTo>
                    <a:pt x="5273" y="4575"/>
                  </a:lnTo>
                  <a:lnTo>
                    <a:pt x="5280" y="4582"/>
                  </a:lnTo>
                  <a:lnTo>
                    <a:pt x="5290" y="4589"/>
                  </a:lnTo>
                  <a:lnTo>
                    <a:pt x="5297" y="4596"/>
                  </a:lnTo>
                  <a:lnTo>
                    <a:pt x="5308" y="4603"/>
                  </a:lnTo>
                  <a:lnTo>
                    <a:pt x="5315" y="4610"/>
                  </a:lnTo>
                  <a:lnTo>
                    <a:pt x="5322" y="4624"/>
                  </a:lnTo>
                  <a:lnTo>
                    <a:pt x="5329" y="4631"/>
                  </a:lnTo>
                  <a:cubicBezTo>
                    <a:pt x="5332" y="4635"/>
                    <a:pt x="5332" y="4638"/>
                    <a:pt x="5336" y="4645"/>
                  </a:cubicBezTo>
                  <a:lnTo>
                    <a:pt x="5339" y="4652"/>
                  </a:lnTo>
                  <a:cubicBezTo>
                    <a:pt x="5343" y="4659"/>
                    <a:pt x="5346" y="4666"/>
                    <a:pt x="5350" y="4677"/>
                  </a:cubicBezTo>
                  <a:cubicBezTo>
                    <a:pt x="5353" y="4690"/>
                    <a:pt x="5386" y="4703"/>
                    <a:pt x="5438" y="4703"/>
                  </a:cubicBezTo>
                  <a:cubicBezTo>
                    <a:pt x="5456" y="4703"/>
                    <a:pt x="5476" y="4701"/>
                    <a:pt x="5497" y="4698"/>
                  </a:cubicBezTo>
                  <a:cubicBezTo>
                    <a:pt x="5578" y="4684"/>
                    <a:pt x="5704" y="4624"/>
                    <a:pt x="5693" y="4526"/>
                  </a:cubicBezTo>
                  <a:cubicBezTo>
                    <a:pt x="5679" y="4348"/>
                    <a:pt x="5907" y="4281"/>
                    <a:pt x="6127" y="4215"/>
                  </a:cubicBezTo>
                  <a:cubicBezTo>
                    <a:pt x="6274" y="4169"/>
                    <a:pt x="6453" y="4117"/>
                    <a:pt x="6474" y="4050"/>
                  </a:cubicBezTo>
                  <a:cubicBezTo>
                    <a:pt x="6481" y="4026"/>
                    <a:pt x="6488" y="3998"/>
                    <a:pt x="6498" y="3970"/>
                  </a:cubicBezTo>
                  <a:cubicBezTo>
                    <a:pt x="6554" y="3767"/>
                    <a:pt x="6621" y="3539"/>
                    <a:pt x="6750" y="3473"/>
                  </a:cubicBezTo>
                  <a:cubicBezTo>
                    <a:pt x="6774" y="3461"/>
                    <a:pt x="6800" y="3454"/>
                    <a:pt x="6826" y="3454"/>
                  </a:cubicBezTo>
                  <a:cubicBezTo>
                    <a:pt x="6846" y="3454"/>
                    <a:pt x="6865" y="3458"/>
                    <a:pt x="6883" y="3466"/>
                  </a:cubicBezTo>
                  <a:cubicBezTo>
                    <a:pt x="6890" y="3468"/>
                    <a:pt x="6897" y="3469"/>
                    <a:pt x="6903" y="3469"/>
                  </a:cubicBezTo>
                  <a:cubicBezTo>
                    <a:pt x="6946" y="3469"/>
                    <a:pt x="6991" y="3423"/>
                    <a:pt x="7051" y="3353"/>
                  </a:cubicBezTo>
                  <a:cubicBezTo>
                    <a:pt x="7116" y="3279"/>
                    <a:pt x="7187" y="3201"/>
                    <a:pt x="7281" y="3201"/>
                  </a:cubicBezTo>
                  <a:cubicBezTo>
                    <a:pt x="7288" y="3201"/>
                    <a:pt x="7296" y="3202"/>
                    <a:pt x="7303" y="3203"/>
                  </a:cubicBezTo>
                  <a:cubicBezTo>
                    <a:pt x="7359" y="3213"/>
                    <a:pt x="7415" y="3231"/>
                    <a:pt x="7468" y="3259"/>
                  </a:cubicBezTo>
                  <a:cubicBezTo>
                    <a:pt x="7517" y="3283"/>
                    <a:pt x="7573" y="3301"/>
                    <a:pt x="7626" y="3304"/>
                  </a:cubicBezTo>
                  <a:lnTo>
                    <a:pt x="7598" y="3049"/>
                  </a:lnTo>
                  <a:cubicBezTo>
                    <a:pt x="7463" y="2985"/>
                    <a:pt x="7268" y="2908"/>
                    <a:pt x="7190" y="2908"/>
                  </a:cubicBezTo>
                  <a:cubicBezTo>
                    <a:pt x="7187" y="2908"/>
                    <a:pt x="7184" y="2909"/>
                    <a:pt x="7181" y="2909"/>
                  </a:cubicBezTo>
                  <a:cubicBezTo>
                    <a:pt x="7174" y="2910"/>
                    <a:pt x="7167" y="2910"/>
                    <a:pt x="7161" y="2910"/>
                  </a:cubicBezTo>
                  <a:cubicBezTo>
                    <a:pt x="7072" y="2910"/>
                    <a:pt x="6980" y="2828"/>
                    <a:pt x="6876" y="2737"/>
                  </a:cubicBezTo>
                  <a:cubicBezTo>
                    <a:pt x="6785" y="2660"/>
                    <a:pt x="6684" y="2569"/>
                    <a:pt x="6586" y="2534"/>
                  </a:cubicBezTo>
                  <a:cubicBezTo>
                    <a:pt x="6463" y="2489"/>
                    <a:pt x="6050" y="2331"/>
                    <a:pt x="5921" y="2135"/>
                  </a:cubicBezTo>
                  <a:cubicBezTo>
                    <a:pt x="5882" y="2076"/>
                    <a:pt x="5756" y="2006"/>
                    <a:pt x="5648" y="1943"/>
                  </a:cubicBezTo>
                  <a:cubicBezTo>
                    <a:pt x="5494" y="1855"/>
                    <a:pt x="5396" y="1796"/>
                    <a:pt x="5364" y="1722"/>
                  </a:cubicBezTo>
                  <a:lnTo>
                    <a:pt x="5360" y="1708"/>
                  </a:lnTo>
                  <a:cubicBezTo>
                    <a:pt x="5301" y="1558"/>
                    <a:pt x="5224" y="1418"/>
                    <a:pt x="5133" y="1285"/>
                  </a:cubicBezTo>
                  <a:cubicBezTo>
                    <a:pt x="5084" y="1221"/>
                    <a:pt x="5049" y="1151"/>
                    <a:pt x="5024" y="1074"/>
                  </a:cubicBezTo>
                  <a:cubicBezTo>
                    <a:pt x="4993" y="1001"/>
                    <a:pt x="4975" y="955"/>
                    <a:pt x="4947" y="952"/>
                  </a:cubicBezTo>
                  <a:cubicBezTo>
                    <a:pt x="4923" y="948"/>
                    <a:pt x="4846" y="948"/>
                    <a:pt x="4765" y="945"/>
                  </a:cubicBezTo>
                  <a:cubicBezTo>
                    <a:pt x="4244" y="931"/>
                    <a:pt x="4083" y="906"/>
                    <a:pt x="4083" y="791"/>
                  </a:cubicBezTo>
                  <a:cubicBezTo>
                    <a:pt x="4083" y="616"/>
                    <a:pt x="4009" y="290"/>
                    <a:pt x="3939" y="273"/>
                  </a:cubicBezTo>
                  <a:lnTo>
                    <a:pt x="3880" y="259"/>
                  </a:lnTo>
                  <a:cubicBezTo>
                    <a:pt x="3736" y="231"/>
                    <a:pt x="3572" y="192"/>
                    <a:pt x="3488" y="108"/>
                  </a:cubicBezTo>
                  <a:cubicBezTo>
                    <a:pt x="3429" y="53"/>
                    <a:pt x="3284" y="0"/>
                    <a:pt x="32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6" name="Google Shape;6606;p53"/>
            <p:cNvSpPr/>
            <p:nvPr/>
          </p:nvSpPr>
          <p:spPr>
            <a:xfrm>
              <a:off x="2461928" y="1715967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7" name="Google Shape;6607;p53"/>
            <p:cNvSpPr/>
            <p:nvPr/>
          </p:nvSpPr>
          <p:spPr>
            <a:xfrm>
              <a:off x="2465159" y="1716823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8" name="Google Shape;6608;p53"/>
            <p:cNvSpPr/>
            <p:nvPr/>
          </p:nvSpPr>
          <p:spPr>
            <a:xfrm>
              <a:off x="2462498" y="1716157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9" name="Google Shape;6609;p53"/>
            <p:cNvSpPr/>
            <p:nvPr/>
          </p:nvSpPr>
          <p:spPr>
            <a:xfrm>
              <a:off x="2463733" y="171653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0" name="Google Shape;6610;p53"/>
            <p:cNvSpPr/>
            <p:nvPr/>
          </p:nvSpPr>
          <p:spPr>
            <a:xfrm>
              <a:off x="2463109" y="1716388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1" name="Google Shape;6611;p53"/>
            <p:cNvSpPr/>
            <p:nvPr/>
          </p:nvSpPr>
          <p:spPr>
            <a:xfrm>
              <a:off x="2464399" y="1716728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2" name="Google Shape;6612;p53"/>
            <p:cNvSpPr/>
            <p:nvPr/>
          </p:nvSpPr>
          <p:spPr>
            <a:xfrm>
              <a:off x="2541071" y="1746150"/>
              <a:ext cx="394" cy="3530"/>
            </a:xfrm>
            <a:custGeom>
              <a:avLst/>
              <a:gdLst/>
              <a:ahLst/>
              <a:cxnLst/>
              <a:rect l="l" t="t" r="r" b="b"/>
              <a:pathLst>
                <a:path w="29" h="260" extrusionOk="0">
                  <a:moveTo>
                    <a:pt x="0" y="0"/>
                  </a:moveTo>
                  <a:lnTo>
                    <a:pt x="28" y="259"/>
                  </a:lnTo>
                  <a:lnTo>
                    <a:pt x="28" y="25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3" name="Google Shape;6613;p53"/>
            <p:cNvSpPr/>
            <p:nvPr/>
          </p:nvSpPr>
          <p:spPr>
            <a:xfrm>
              <a:off x="2465919" y="171695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4" name="Google Shape;6614;p53"/>
            <p:cNvSpPr/>
            <p:nvPr/>
          </p:nvSpPr>
          <p:spPr>
            <a:xfrm>
              <a:off x="2373470" y="1729138"/>
              <a:ext cx="143134" cy="121505"/>
            </a:xfrm>
            <a:custGeom>
              <a:avLst/>
              <a:gdLst/>
              <a:ahLst/>
              <a:cxnLst/>
              <a:rect l="l" t="t" r="r" b="b"/>
              <a:pathLst>
                <a:path w="10542" h="8949" extrusionOk="0">
                  <a:moveTo>
                    <a:pt x="161" y="0"/>
                  </a:moveTo>
                  <a:cubicBezTo>
                    <a:pt x="147" y="0"/>
                    <a:pt x="137" y="7"/>
                    <a:pt x="137" y="98"/>
                  </a:cubicBezTo>
                  <a:cubicBezTo>
                    <a:pt x="137" y="151"/>
                    <a:pt x="133" y="259"/>
                    <a:pt x="46" y="280"/>
                  </a:cubicBezTo>
                  <a:lnTo>
                    <a:pt x="21" y="280"/>
                  </a:lnTo>
                  <a:cubicBezTo>
                    <a:pt x="0" y="336"/>
                    <a:pt x="49" y="557"/>
                    <a:pt x="95" y="641"/>
                  </a:cubicBezTo>
                  <a:cubicBezTo>
                    <a:pt x="119" y="693"/>
                    <a:pt x="109" y="784"/>
                    <a:pt x="91" y="945"/>
                  </a:cubicBezTo>
                  <a:cubicBezTo>
                    <a:pt x="84" y="994"/>
                    <a:pt x="74" y="1061"/>
                    <a:pt x="70" y="1117"/>
                  </a:cubicBezTo>
                  <a:lnTo>
                    <a:pt x="70" y="1120"/>
                  </a:lnTo>
                  <a:lnTo>
                    <a:pt x="70" y="1131"/>
                  </a:lnTo>
                  <a:lnTo>
                    <a:pt x="70" y="1152"/>
                  </a:lnTo>
                  <a:cubicBezTo>
                    <a:pt x="70" y="1166"/>
                    <a:pt x="70" y="1183"/>
                    <a:pt x="70" y="1197"/>
                  </a:cubicBezTo>
                  <a:cubicBezTo>
                    <a:pt x="130" y="1225"/>
                    <a:pt x="193" y="1309"/>
                    <a:pt x="238" y="1383"/>
                  </a:cubicBezTo>
                  <a:cubicBezTo>
                    <a:pt x="252" y="1407"/>
                    <a:pt x="266" y="1428"/>
                    <a:pt x="277" y="1449"/>
                  </a:cubicBezTo>
                  <a:cubicBezTo>
                    <a:pt x="287" y="1470"/>
                    <a:pt x="298" y="1488"/>
                    <a:pt x="305" y="1505"/>
                  </a:cubicBezTo>
                  <a:cubicBezTo>
                    <a:pt x="315" y="1523"/>
                    <a:pt x="322" y="1537"/>
                    <a:pt x="326" y="1547"/>
                  </a:cubicBezTo>
                  <a:cubicBezTo>
                    <a:pt x="333" y="1562"/>
                    <a:pt x="336" y="1576"/>
                    <a:pt x="340" y="1586"/>
                  </a:cubicBezTo>
                  <a:lnTo>
                    <a:pt x="340" y="1590"/>
                  </a:lnTo>
                  <a:cubicBezTo>
                    <a:pt x="347" y="1600"/>
                    <a:pt x="347" y="1611"/>
                    <a:pt x="350" y="1618"/>
                  </a:cubicBezTo>
                  <a:lnTo>
                    <a:pt x="350" y="1621"/>
                  </a:lnTo>
                  <a:cubicBezTo>
                    <a:pt x="354" y="1632"/>
                    <a:pt x="354" y="1639"/>
                    <a:pt x="354" y="1646"/>
                  </a:cubicBezTo>
                  <a:lnTo>
                    <a:pt x="354" y="1649"/>
                  </a:lnTo>
                  <a:cubicBezTo>
                    <a:pt x="354" y="1653"/>
                    <a:pt x="354" y="1660"/>
                    <a:pt x="354" y="1667"/>
                  </a:cubicBezTo>
                  <a:cubicBezTo>
                    <a:pt x="354" y="1670"/>
                    <a:pt x="354" y="1674"/>
                    <a:pt x="354" y="1681"/>
                  </a:cubicBezTo>
                  <a:cubicBezTo>
                    <a:pt x="354" y="1684"/>
                    <a:pt x="354" y="1684"/>
                    <a:pt x="354" y="1688"/>
                  </a:cubicBezTo>
                  <a:cubicBezTo>
                    <a:pt x="368" y="1719"/>
                    <a:pt x="385" y="1747"/>
                    <a:pt x="403" y="1775"/>
                  </a:cubicBezTo>
                  <a:lnTo>
                    <a:pt x="417" y="1800"/>
                  </a:lnTo>
                  <a:cubicBezTo>
                    <a:pt x="480" y="1894"/>
                    <a:pt x="550" y="2006"/>
                    <a:pt x="550" y="2104"/>
                  </a:cubicBezTo>
                  <a:cubicBezTo>
                    <a:pt x="550" y="2223"/>
                    <a:pt x="718" y="2363"/>
                    <a:pt x="784" y="2363"/>
                  </a:cubicBezTo>
                  <a:cubicBezTo>
                    <a:pt x="872" y="2363"/>
                    <a:pt x="984" y="2398"/>
                    <a:pt x="1040" y="2475"/>
                  </a:cubicBezTo>
                  <a:cubicBezTo>
                    <a:pt x="1075" y="2524"/>
                    <a:pt x="1085" y="2587"/>
                    <a:pt x="1064" y="2643"/>
                  </a:cubicBezTo>
                  <a:cubicBezTo>
                    <a:pt x="1054" y="2692"/>
                    <a:pt x="1054" y="2738"/>
                    <a:pt x="1064" y="2787"/>
                  </a:cubicBezTo>
                  <a:cubicBezTo>
                    <a:pt x="1071" y="2857"/>
                    <a:pt x="1078" y="2927"/>
                    <a:pt x="1036" y="2972"/>
                  </a:cubicBezTo>
                  <a:cubicBezTo>
                    <a:pt x="1012" y="3000"/>
                    <a:pt x="973" y="3014"/>
                    <a:pt x="938" y="3014"/>
                  </a:cubicBezTo>
                  <a:cubicBezTo>
                    <a:pt x="917" y="3025"/>
                    <a:pt x="893" y="3126"/>
                    <a:pt x="879" y="3179"/>
                  </a:cubicBezTo>
                  <a:cubicBezTo>
                    <a:pt x="854" y="3287"/>
                    <a:pt x="830" y="3392"/>
                    <a:pt x="756" y="3434"/>
                  </a:cubicBezTo>
                  <a:cubicBezTo>
                    <a:pt x="753" y="3438"/>
                    <a:pt x="739" y="3462"/>
                    <a:pt x="739" y="3525"/>
                  </a:cubicBezTo>
                  <a:cubicBezTo>
                    <a:pt x="739" y="3659"/>
                    <a:pt x="791" y="3799"/>
                    <a:pt x="819" y="3820"/>
                  </a:cubicBezTo>
                  <a:cubicBezTo>
                    <a:pt x="1085" y="3949"/>
                    <a:pt x="1124" y="4093"/>
                    <a:pt x="1110" y="4187"/>
                  </a:cubicBezTo>
                  <a:cubicBezTo>
                    <a:pt x="1113" y="4201"/>
                    <a:pt x="1117" y="4212"/>
                    <a:pt x="1124" y="4222"/>
                  </a:cubicBezTo>
                  <a:cubicBezTo>
                    <a:pt x="1180" y="4285"/>
                    <a:pt x="1243" y="4338"/>
                    <a:pt x="1316" y="4376"/>
                  </a:cubicBezTo>
                  <a:cubicBezTo>
                    <a:pt x="1407" y="4429"/>
                    <a:pt x="1502" y="4474"/>
                    <a:pt x="1600" y="4506"/>
                  </a:cubicBezTo>
                  <a:cubicBezTo>
                    <a:pt x="1621" y="4513"/>
                    <a:pt x="1638" y="4520"/>
                    <a:pt x="1659" y="4523"/>
                  </a:cubicBezTo>
                  <a:cubicBezTo>
                    <a:pt x="1792" y="4541"/>
                    <a:pt x="1845" y="4660"/>
                    <a:pt x="1891" y="4754"/>
                  </a:cubicBezTo>
                  <a:cubicBezTo>
                    <a:pt x="1908" y="4793"/>
                    <a:pt x="1929" y="4831"/>
                    <a:pt x="1957" y="4866"/>
                  </a:cubicBezTo>
                  <a:cubicBezTo>
                    <a:pt x="2038" y="4947"/>
                    <a:pt x="1996" y="5055"/>
                    <a:pt x="1961" y="5143"/>
                  </a:cubicBezTo>
                  <a:cubicBezTo>
                    <a:pt x="1943" y="5181"/>
                    <a:pt x="1933" y="5223"/>
                    <a:pt x="1933" y="5265"/>
                  </a:cubicBezTo>
                  <a:cubicBezTo>
                    <a:pt x="1947" y="5300"/>
                    <a:pt x="1968" y="5332"/>
                    <a:pt x="1999" y="5360"/>
                  </a:cubicBezTo>
                  <a:cubicBezTo>
                    <a:pt x="2059" y="5426"/>
                    <a:pt x="2143" y="5521"/>
                    <a:pt x="2125" y="5654"/>
                  </a:cubicBezTo>
                  <a:cubicBezTo>
                    <a:pt x="2125" y="5657"/>
                    <a:pt x="2125" y="5664"/>
                    <a:pt x="2125" y="5668"/>
                  </a:cubicBezTo>
                  <a:lnTo>
                    <a:pt x="2125" y="5675"/>
                  </a:lnTo>
                  <a:cubicBezTo>
                    <a:pt x="2125" y="5678"/>
                    <a:pt x="2129" y="5682"/>
                    <a:pt x="2129" y="5685"/>
                  </a:cubicBezTo>
                  <a:lnTo>
                    <a:pt x="2132" y="5692"/>
                  </a:lnTo>
                  <a:cubicBezTo>
                    <a:pt x="2132" y="5696"/>
                    <a:pt x="2136" y="5699"/>
                    <a:pt x="2136" y="5703"/>
                  </a:cubicBezTo>
                  <a:lnTo>
                    <a:pt x="2143" y="5710"/>
                  </a:lnTo>
                  <a:lnTo>
                    <a:pt x="2146" y="5724"/>
                  </a:lnTo>
                  <a:lnTo>
                    <a:pt x="2153" y="5731"/>
                  </a:lnTo>
                  <a:lnTo>
                    <a:pt x="2160" y="5745"/>
                  </a:lnTo>
                  <a:lnTo>
                    <a:pt x="2167" y="5756"/>
                  </a:lnTo>
                  <a:lnTo>
                    <a:pt x="2178" y="5766"/>
                  </a:lnTo>
                  <a:lnTo>
                    <a:pt x="2188" y="5780"/>
                  </a:lnTo>
                  <a:lnTo>
                    <a:pt x="2195" y="5791"/>
                  </a:lnTo>
                  <a:lnTo>
                    <a:pt x="2206" y="5805"/>
                  </a:lnTo>
                  <a:lnTo>
                    <a:pt x="2213" y="5815"/>
                  </a:lnTo>
                  <a:lnTo>
                    <a:pt x="2227" y="5833"/>
                  </a:lnTo>
                  <a:lnTo>
                    <a:pt x="2234" y="5840"/>
                  </a:lnTo>
                  <a:lnTo>
                    <a:pt x="2251" y="5857"/>
                  </a:lnTo>
                  <a:lnTo>
                    <a:pt x="2258" y="5864"/>
                  </a:lnTo>
                  <a:lnTo>
                    <a:pt x="2276" y="5885"/>
                  </a:lnTo>
                  <a:lnTo>
                    <a:pt x="2279" y="5889"/>
                  </a:lnTo>
                  <a:lnTo>
                    <a:pt x="2300" y="5913"/>
                  </a:lnTo>
                  <a:cubicBezTo>
                    <a:pt x="2332" y="5945"/>
                    <a:pt x="2360" y="5976"/>
                    <a:pt x="2388" y="6001"/>
                  </a:cubicBezTo>
                  <a:cubicBezTo>
                    <a:pt x="2423" y="5994"/>
                    <a:pt x="2461" y="5987"/>
                    <a:pt x="2500" y="5987"/>
                  </a:cubicBezTo>
                  <a:cubicBezTo>
                    <a:pt x="2531" y="5987"/>
                    <a:pt x="2563" y="5969"/>
                    <a:pt x="2584" y="5941"/>
                  </a:cubicBezTo>
                  <a:cubicBezTo>
                    <a:pt x="2603" y="5922"/>
                    <a:pt x="2637" y="5889"/>
                    <a:pt x="2686" y="5889"/>
                  </a:cubicBezTo>
                  <a:cubicBezTo>
                    <a:pt x="2716" y="5889"/>
                    <a:pt x="2752" y="5901"/>
                    <a:pt x="2794" y="5938"/>
                  </a:cubicBezTo>
                  <a:cubicBezTo>
                    <a:pt x="2814" y="5954"/>
                    <a:pt x="2837" y="5961"/>
                    <a:pt x="2865" y="5961"/>
                  </a:cubicBezTo>
                  <a:cubicBezTo>
                    <a:pt x="2900" y="5961"/>
                    <a:pt x="2944" y="5950"/>
                    <a:pt x="2997" y="5934"/>
                  </a:cubicBezTo>
                  <a:cubicBezTo>
                    <a:pt x="3039" y="5917"/>
                    <a:pt x="3084" y="5910"/>
                    <a:pt x="3130" y="5903"/>
                  </a:cubicBezTo>
                  <a:cubicBezTo>
                    <a:pt x="3133" y="5902"/>
                    <a:pt x="3136" y="5902"/>
                    <a:pt x="3139" y="5902"/>
                  </a:cubicBezTo>
                  <a:cubicBezTo>
                    <a:pt x="3191" y="5902"/>
                    <a:pt x="3337" y="5952"/>
                    <a:pt x="3749" y="6799"/>
                  </a:cubicBezTo>
                  <a:cubicBezTo>
                    <a:pt x="3788" y="6876"/>
                    <a:pt x="3816" y="6939"/>
                    <a:pt x="3837" y="6991"/>
                  </a:cubicBezTo>
                  <a:cubicBezTo>
                    <a:pt x="3897" y="7135"/>
                    <a:pt x="3925" y="7194"/>
                    <a:pt x="4044" y="7271"/>
                  </a:cubicBezTo>
                  <a:cubicBezTo>
                    <a:pt x="4103" y="7310"/>
                    <a:pt x="4173" y="7334"/>
                    <a:pt x="4243" y="7348"/>
                  </a:cubicBezTo>
                  <a:cubicBezTo>
                    <a:pt x="4422" y="7387"/>
                    <a:pt x="4590" y="7478"/>
                    <a:pt x="4716" y="7611"/>
                  </a:cubicBezTo>
                  <a:cubicBezTo>
                    <a:pt x="4964" y="7870"/>
                    <a:pt x="5636" y="8056"/>
                    <a:pt x="5916" y="8070"/>
                  </a:cubicBezTo>
                  <a:cubicBezTo>
                    <a:pt x="5923" y="8070"/>
                    <a:pt x="5929" y="8070"/>
                    <a:pt x="5935" y="8070"/>
                  </a:cubicBezTo>
                  <a:cubicBezTo>
                    <a:pt x="6040" y="8070"/>
                    <a:pt x="6143" y="8014"/>
                    <a:pt x="6246" y="7958"/>
                  </a:cubicBezTo>
                  <a:cubicBezTo>
                    <a:pt x="6375" y="7891"/>
                    <a:pt x="6515" y="7818"/>
                    <a:pt x="6690" y="7818"/>
                  </a:cubicBezTo>
                  <a:cubicBezTo>
                    <a:pt x="6729" y="7818"/>
                    <a:pt x="6767" y="7821"/>
                    <a:pt x="6809" y="7828"/>
                  </a:cubicBezTo>
                  <a:cubicBezTo>
                    <a:pt x="7093" y="7884"/>
                    <a:pt x="7145" y="8136"/>
                    <a:pt x="7191" y="8339"/>
                  </a:cubicBezTo>
                  <a:cubicBezTo>
                    <a:pt x="7208" y="8434"/>
                    <a:pt x="7229" y="8525"/>
                    <a:pt x="7268" y="8570"/>
                  </a:cubicBezTo>
                  <a:cubicBezTo>
                    <a:pt x="7341" y="8661"/>
                    <a:pt x="8122" y="8763"/>
                    <a:pt x="8539" y="8815"/>
                  </a:cubicBezTo>
                  <a:cubicBezTo>
                    <a:pt x="8826" y="8850"/>
                    <a:pt x="9050" y="8878"/>
                    <a:pt x="9141" y="8906"/>
                  </a:cubicBezTo>
                  <a:cubicBezTo>
                    <a:pt x="9302" y="8934"/>
                    <a:pt x="9463" y="8948"/>
                    <a:pt x="9624" y="8948"/>
                  </a:cubicBezTo>
                  <a:lnTo>
                    <a:pt x="9620" y="8920"/>
                  </a:lnTo>
                  <a:lnTo>
                    <a:pt x="9617" y="8885"/>
                  </a:lnTo>
                  <a:cubicBezTo>
                    <a:pt x="9610" y="8801"/>
                    <a:pt x="9624" y="8717"/>
                    <a:pt x="9652" y="8640"/>
                  </a:cubicBezTo>
                  <a:lnTo>
                    <a:pt x="9652" y="8633"/>
                  </a:lnTo>
                  <a:lnTo>
                    <a:pt x="9655" y="8630"/>
                  </a:lnTo>
                  <a:cubicBezTo>
                    <a:pt x="9718" y="8483"/>
                    <a:pt x="9823" y="8360"/>
                    <a:pt x="9963" y="8280"/>
                  </a:cubicBezTo>
                  <a:cubicBezTo>
                    <a:pt x="9974" y="8273"/>
                    <a:pt x="9988" y="8266"/>
                    <a:pt x="9998" y="8262"/>
                  </a:cubicBezTo>
                  <a:cubicBezTo>
                    <a:pt x="10160" y="8178"/>
                    <a:pt x="10338" y="8126"/>
                    <a:pt x="10517" y="8101"/>
                  </a:cubicBezTo>
                  <a:cubicBezTo>
                    <a:pt x="10527" y="8101"/>
                    <a:pt x="10531" y="8101"/>
                    <a:pt x="10531" y="8087"/>
                  </a:cubicBezTo>
                  <a:cubicBezTo>
                    <a:pt x="10541" y="8007"/>
                    <a:pt x="10450" y="7860"/>
                    <a:pt x="10387" y="7825"/>
                  </a:cubicBezTo>
                  <a:cubicBezTo>
                    <a:pt x="10384" y="7821"/>
                    <a:pt x="10380" y="7818"/>
                    <a:pt x="10377" y="7818"/>
                  </a:cubicBezTo>
                  <a:cubicBezTo>
                    <a:pt x="10282" y="7786"/>
                    <a:pt x="10268" y="7670"/>
                    <a:pt x="10258" y="7551"/>
                  </a:cubicBezTo>
                  <a:cubicBezTo>
                    <a:pt x="10244" y="7415"/>
                    <a:pt x="10226" y="7261"/>
                    <a:pt x="10110" y="7212"/>
                  </a:cubicBezTo>
                  <a:cubicBezTo>
                    <a:pt x="9809" y="7086"/>
                    <a:pt x="9585" y="6893"/>
                    <a:pt x="9515" y="6697"/>
                  </a:cubicBezTo>
                  <a:cubicBezTo>
                    <a:pt x="9470" y="6659"/>
                    <a:pt x="9389" y="6582"/>
                    <a:pt x="9316" y="6512"/>
                  </a:cubicBezTo>
                  <a:cubicBezTo>
                    <a:pt x="9284" y="6480"/>
                    <a:pt x="9253" y="6452"/>
                    <a:pt x="9228" y="6424"/>
                  </a:cubicBezTo>
                  <a:lnTo>
                    <a:pt x="9130" y="6337"/>
                  </a:lnTo>
                  <a:lnTo>
                    <a:pt x="9151" y="6337"/>
                  </a:lnTo>
                  <a:lnTo>
                    <a:pt x="9144" y="6319"/>
                  </a:lnTo>
                  <a:lnTo>
                    <a:pt x="9137" y="6309"/>
                  </a:lnTo>
                  <a:cubicBezTo>
                    <a:pt x="9134" y="6302"/>
                    <a:pt x="9130" y="6295"/>
                    <a:pt x="9130" y="6288"/>
                  </a:cubicBezTo>
                  <a:lnTo>
                    <a:pt x="9127" y="6277"/>
                  </a:lnTo>
                  <a:cubicBezTo>
                    <a:pt x="9123" y="6267"/>
                    <a:pt x="9123" y="6260"/>
                    <a:pt x="9123" y="6253"/>
                  </a:cubicBezTo>
                  <a:lnTo>
                    <a:pt x="9123" y="6246"/>
                  </a:lnTo>
                  <a:cubicBezTo>
                    <a:pt x="9120" y="6235"/>
                    <a:pt x="9120" y="6225"/>
                    <a:pt x="9123" y="6214"/>
                  </a:cubicBezTo>
                  <a:cubicBezTo>
                    <a:pt x="9130" y="6158"/>
                    <a:pt x="9190" y="6095"/>
                    <a:pt x="9298" y="5990"/>
                  </a:cubicBezTo>
                  <a:lnTo>
                    <a:pt x="9351" y="5941"/>
                  </a:lnTo>
                  <a:cubicBezTo>
                    <a:pt x="9491" y="5805"/>
                    <a:pt x="9729" y="5577"/>
                    <a:pt x="9690" y="5468"/>
                  </a:cubicBezTo>
                  <a:cubicBezTo>
                    <a:pt x="9652" y="5360"/>
                    <a:pt x="9491" y="5321"/>
                    <a:pt x="9365" y="5293"/>
                  </a:cubicBezTo>
                  <a:cubicBezTo>
                    <a:pt x="9263" y="5272"/>
                    <a:pt x="9183" y="5255"/>
                    <a:pt x="9155" y="5195"/>
                  </a:cubicBezTo>
                  <a:cubicBezTo>
                    <a:pt x="9130" y="5146"/>
                    <a:pt x="9130" y="5080"/>
                    <a:pt x="9130" y="4985"/>
                  </a:cubicBezTo>
                  <a:cubicBezTo>
                    <a:pt x="9130" y="4859"/>
                    <a:pt x="9130" y="4698"/>
                    <a:pt x="9067" y="4565"/>
                  </a:cubicBezTo>
                  <a:cubicBezTo>
                    <a:pt x="8997" y="4418"/>
                    <a:pt x="9032" y="4278"/>
                    <a:pt x="9060" y="4166"/>
                  </a:cubicBezTo>
                  <a:cubicBezTo>
                    <a:pt x="9078" y="4093"/>
                    <a:pt x="9095" y="4026"/>
                    <a:pt x="9071" y="3991"/>
                  </a:cubicBezTo>
                  <a:cubicBezTo>
                    <a:pt x="8983" y="3858"/>
                    <a:pt x="9057" y="3666"/>
                    <a:pt x="9106" y="3532"/>
                  </a:cubicBezTo>
                  <a:cubicBezTo>
                    <a:pt x="9116" y="3504"/>
                    <a:pt x="9123" y="3480"/>
                    <a:pt x="9127" y="3462"/>
                  </a:cubicBezTo>
                  <a:cubicBezTo>
                    <a:pt x="9144" y="3413"/>
                    <a:pt x="9176" y="3368"/>
                    <a:pt x="9211" y="3333"/>
                  </a:cubicBezTo>
                  <a:cubicBezTo>
                    <a:pt x="9277" y="3256"/>
                    <a:pt x="9354" y="3168"/>
                    <a:pt x="9344" y="3053"/>
                  </a:cubicBezTo>
                  <a:cubicBezTo>
                    <a:pt x="9340" y="3032"/>
                    <a:pt x="9340" y="3007"/>
                    <a:pt x="9344" y="2986"/>
                  </a:cubicBezTo>
                  <a:cubicBezTo>
                    <a:pt x="9344" y="2976"/>
                    <a:pt x="9344" y="2969"/>
                    <a:pt x="9347" y="2958"/>
                  </a:cubicBezTo>
                  <a:cubicBezTo>
                    <a:pt x="9347" y="2951"/>
                    <a:pt x="9351" y="2941"/>
                    <a:pt x="9351" y="2930"/>
                  </a:cubicBezTo>
                  <a:cubicBezTo>
                    <a:pt x="9354" y="2920"/>
                    <a:pt x="9351" y="2923"/>
                    <a:pt x="9354" y="2920"/>
                  </a:cubicBezTo>
                  <a:cubicBezTo>
                    <a:pt x="9358" y="2906"/>
                    <a:pt x="9361" y="2895"/>
                    <a:pt x="9368" y="2881"/>
                  </a:cubicBezTo>
                  <a:cubicBezTo>
                    <a:pt x="9386" y="2839"/>
                    <a:pt x="9414" y="2801"/>
                    <a:pt x="9452" y="2769"/>
                  </a:cubicBezTo>
                  <a:cubicBezTo>
                    <a:pt x="9449" y="2762"/>
                    <a:pt x="9449" y="2752"/>
                    <a:pt x="9445" y="2741"/>
                  </a:cubicBezTo>
                  <a:lnTo>
                    <a:pt x="9442" y="2727"/>
                  </a:lnTo>
                  <a:cubicBezTo>
                    <a:pt x="9438" y="2713"/>
                    <a:pt x="9435" y="2699"/>
                    <a:pt x="9431" y="2682"/>
                  </a:cubicBezTo>
                  <a:lnTo>
                    <a:pt x="9428" y="2668"/>
                  </a:lnTo>
                  <a:cubicBezTo>
                    <a:pt x="9424" y="2657"/>
                    <a:pt x="9421" y="2647"/>
                    <a:pt x="9421" y="2633"/>
                  </a:cubicBezTo>
                  <a:lnTo>
                    <a:pt x="9417" y="2615"/>
                  </a:lnTo>
                  <a:lnTo>
                    <a:pt x="9410" y="2587"/>
                  </a:lnTo>
                  <a:lnTo>
                    <a:pt x="9407" y="2563"/>
                  </a:lnTo>
                  <a:lnTo>
                    <a:pt x="9403" y="2538"/>
                  </a:lnTo>
                  <a:lnTo>
                    <a:pt x="9400" y="2514"/>
                  </a:lnTo>
                  <a:lnTo>
                    <a:pt x="9396" y="2489"/>
                  </a:lnTo>
                  <a:lnTo>
                    <a:pt x="9393" y="2465"/>
                  </a:lnTo>
                  <a:lnTo>
                    <a:pt x="9389" y="2440"/>
                  </a:lnTo>
                  <a:lnTo>
                    <a:pt x="9386" y="2416"/>
                  </a:lnTo>
                  <a:lnTo>
                    <a:pt x="9386" y="2395"/>
                  </a:lnTo>
                  <a:lnTo>
                    <a:pt x="9382" y="2370"/>
                  </a:lnTo>
                  <a:lnTo>
                    <a:pt x="9382" y="2349"/>
                  </a:lnTo>
                  <a:lnTo>
                    <a:pt x="9382" y="2328"/>
                  </a:lnTo>
                  <a:lnTo>
                    <a:pt x="9382" y="2307"/>
                  </a:lnTo>
                  <a:lnTo>
                    <a:pt x="9382" y="2286"/>
                  </a:lnTo>
                  <a:lnTo>
                    <a:pt x="9382" y="2269"/>
                  </a:lnTo>
                  <a:lnTo>
                    <a:pt x="9382" y="2248"/>
                  </a:lnTo>
                  <a:lnTo>
                    <a:pt x="9382" y="2234"/>
                  </a:lnTo>
                  <a:lnTo>
                    <a:pt x="9382" y="2216"/>
                  </a:lnTo>
                  <a:lnTo>
                    <a:pt x="9382" y="2202"/>
                  </a:lnTo>
                  <a:lnTo>
                    <a:pt x="9382" y="2188"/>
                  </a:lnTo>
                  <a:lnTo>
                    <a:pt x="9382" y="2178"/>
                  </a:lnTo>
                  <a:lnTo>
                    <a:pt x="9382" y="2167"/>
                  </a:lnTo>
                  <a:lnTo>
                    <a:pt x="9382" y="2146"/>
                  </a:lnTo>
                  <a:cubicBezTo>
                    <a:pt x="9355" y="2133"/>
                    <a:pt x="9287" y="2125"/>
                    <a:pt x="9207" y="2125"/>
                  </a:cubicBezTo>
                  <a:cubicBezTo>
                    <a:pt x="9162" y="2125"/>
                    <a:pt x="9114" y="2127"/>
                    <a:pt x="9067" y="2132"/>
                  </a:cubicBezTo>
                  <a:cubicBezTo>
                    <a:pt x="9060" y="2133"/>
                    <a:pt x="9054" y="2133"/>
                    <a:pt x="9047" y="2133"/>
                  </a:cubicBezTo>
                  <a:cubicBezTo>
                    <a:pt x="8953" y="2133"/>
                    <a:pt x="8884" y="2042"/>
                    <a:pt x="8819" y="1954"/>
                  </a:cubicBezTo>
                  <a:cubicBezTo>
                    <a:pt x="8777" y="1905"/>
                    <a:pt x="8717" y="1824"/>
                    <a:pt x="8686" y="1824"/>
                  </a:cubicBezTo>
                  <a:cubicBezTo>
                    <a:pt x="8528" y="1824"/>
                    <a:pt x="8381" y="1705"/>
                    <a:pt x="8381" y="1572"/>
                  </a:cubicBezTo>
                  <a:cubicBezTo>
                    <a:pt x="8353" y="1534"/>
                    <a:pt x="8175" y="1482"/>
                    <a:pt x="8030" y="1482"/>
                  </a:cubicBezTo>
                  <a:cubicBezTo>
                    <a:pt x="8013" y="1482"/>
                    <a:pt x="7997" y="1483"/>
                    <a:pt x="7982" y="1484"/>
                  </a:cubicBezTo>
                  <a:cubicBezTo>
                    <a:pt x="7972" y="1486"/>
                    <a:pt x="7961" y="1486"/>
                    <a:pt x="7951" y="1486"/>
                  </a:cubicBezTo>
                  <a:cubicBezTo>
                    <a:pt x="7868" y="1486"/>
                    <a:pt x="7790" y="1448"/>
                    <a:pt x="7737" y="1383"/>
                  </a:cubicBezTo>
                  <a:cubicBezTo>
                    <a:pt x="7730" y="1372"/>
                    <a:pt x="7719" y="1365"/>
                    <a:pt x="7712" y="1358"/>
                  </a:cubicBezTo>
                  <a:cubicBezTo>
                    <a:pt x="7625" y="1355"/>
                    <a:pt x="7355" y="1271"/>
                    <a:pt x="7264" y="1155"/>
                  </a:cubicBezTo>
                  <a:cubicBezTo>
                    <a:pt x="7242" y="1129"/>
                    <a:pt x="7111" y="1092"/>
                    <a:pt x="6956" y="1092"/>
                  </a:cubicBezTo>
                  <a:cubicBezTo>
                    <a:pt x="6943" y="1092"/>
                    <a:pt x="6931" y="1092"/>
                    <a:pt x="6918" y="1092"/>
                  </a:cubicBezTo>
                  <a:cubicBezTo>
                    <a:pt x="6806" y="1096"/>
                    <a:pt x="6746" y="1120"/>
                    <a:pt x="6736" y="1134"/>
                  </a:cubicBezTo>
                  <a:cubicBezTo>
                    <a:pt x="6682" y="1212"/>
                    <a:pt x="6604" y="1231"/>
                    <a:pt x="6524" y="1231"/>
                  </a:cubicBezTo>
                  <a:cubicBezTo>
                    <a:pt x="6484" y="1231"/>
                    <a:pt x="6445" y="1227"/>
                    <a:pt x="6407" y="1222"/>
                  </a:cubicBezTo>
                  <a:cubicBezTo>
                    <a:pt x="6368" y="1215"/>
                    <a:pt x="6333" y="1211"/>
                    <a:pt x="6295" y="1211"/>
                  </a:cubicBezTo>
                  <a:cubicBezTo>
                    <a:pt x="6186" y="1211"/>
                    <a:pt x="5948" y="1407"/>
                    <a:pt x="5864" y="1523"/>
                  </a:cubicBezTo>
                  <a:lnTo>
                    <a:pt x="5853" y="1533"/>
                  </a:lnTo>
                  <a:lnTo>
                    <a:pt x="5853" y="1537"/>
                  </a:lnTo>
                  <a:lnTo>
                    <a:pt x="5846" y="1544"/>
                  </a:lnTo>
                  <a:lnTo>
                    <a:pt x="5843" y="1547"/>
                  </a:lnTo>
                  <a:lnTo>
                    <a:pt x="5836" y="1551"/>
                  </a:lnTo>
                  <a:lnTo>
                    <a:pt x="5829" y="1555"/>
                  </a:lnTo>
                  <a:lnTo>
                    <a:pt x="5822" y="1562"/>
                  </a:lnTo>
                  <a:lnTo>
                    <a:pt x="5818" y="1565"/>
                  </a:lnTo>
                  <a:lnTo>
                    <a:pt x="5808" y="1572"/>
                  </a:lnTo>
                  <a:lnTo>
                    <a:pt x="5801" y="1576"/>
                  </a:lnTo>
                  <a:lnTo>
                    <a:pt x="5790" y="1579"/>
                  </a:lnTo>
                  <a:lnTo>
                    <a:pt x="5780" y="1583"/>
                  </a:lnTo>
                  <a:lnTo>
                    <a:pt x="5769" y="1590"/>
                  </a:lnTo>
                  <a:lnTo>
                    <a:pt x="5759" y="1593"/>
                  </a:lnTo>
                  <a:lnTo>
                    <a:pt x="5745" y="1597"/>
                  </a:lnTo>
                  <a:lnTo>
                    <a:pt x="5731" y="1600"/>
                  </a:lnTo>
                  <a:lnTo>
                    <a:pt x="5717" y="1604"/>
                  </a:lnTo>
                  <a:lnTo>
                    <a:pt x="5703" y="1607"/>
                  </a:lnTo>
                  <a:lnTo>
                    <a:pt x="5685" y="1611"/>
                  </a:lnTo>
                  <a:lnTo>
                    <a:pt x="5668" y="1614"/>
                  </a:lnTo>
                  <a:lnTo>
                    <a:pt x="5647" y="1618"/>
                  </a:lnTo>
                  <a:lnTo>
                    <a:pt x="5629" y="1621"/>
                  </a:lnTo>
                  <a:lnTo>
                    <a:pt x="5605" y="1625"/>
                  </a:lnTo>
                  <a:lnTo>
                    <a:pt x="5587" y="1625"/>
                  </a:lnTo>
                  <a:lnTo>
                    <a:pt x="5559" y="1628"/>
                  </a:lnTo>
                  <a:lnTo>
                    <a:pt x="5486" y="1628"/>
                  </a:lnTo>
                  <a:lnTo>
                    <a:pt x="5430" y="1632"/>
                  </a:lnTo>
                  <a:lnTo>
                    <a:pt x="5426" y="1632"/>
                  </a:lnTo>
                  <a:cubicBezTo>
                    <a:pt x="5430" y="1782"/>
                    <a:pt x="5423" y="1849"/>
                    <a:pt x="5395" y="1891"/>
                  </a:cubicBezTo>
                  <a:cubicBezTo>
                    <a:pt x="5276" y="2066"/>
                    <a:pt x="4534" y="2164"/>
                    <a:pt x="4163" y="2178"/>
                  </a:cubicBezTo>
                  <a:cubicBezTo>
                    <a:pt x="4155" y="2178"/>
                    <a:pt x="4147" y="2178"/>
                    <a:pt x="4140" y="2178"/>
                  </a:cubicBezTo>
                  <a:cubicBezTo>
                    <a:pt x="3891" y="2178"/>
                    <a:pt x="3749" y="2012"/>
                    <a:pt x="3623" y="1866"/>
                  </a:cubicBezTo>
                  <a:cubicBezTo>
                    <a:pt x="3497" y="1716"/>
                    <a:pt x="3378" y="1579"/>
                    <a:pt x="3158" y="1579"/>
                  </a:cubicBezTo>
                  <a:cubicBezTo>
                    <a:pt x="2762" y="1579"/>
                    <a:pt x="2475" y="1243"/>
                    <a:pt x="2433" y="914"/>
                  </a:cubicBezTo>
                  <a:lnTo>
                    <a:pt x="2419" y="907"/>
                  </a:lnTo>
                  <a:lnTo>
                    <a:pt x="2409" y="903"/>
                  </a:lnTo>
                  <a:lnTo>
                    <a:pt x="2388" y="893"/>
                  </a:lnTo>
                  <a:lnTo>
                    <a:pt x="2377" y="889"/>
                  </a:lnTo>
                  <a:lnTo>
                    <a:pt x="2353" y="875"/>
                  </a:lnTo>
                  <a:lnTo>
                    <a:pt x="2346" y="875"/>
                  </a:lnTo>
                  <a:cubicBezTo>
                    <a:pt x="2325" y="865"/>
                    <a:pt x="2304" y="854"/>
                    <a:pt x="2283" y="840"/>
                  </a:cubicBezTo>
                  <a:lnTo>
                    <a:pt x="2276" y="837"/>
                  </a:lnTo>
                  <a:lnTo>
                    <a:pt x="2251" y="823"/>
                  </a:lnTo>
                  <a:lnTo>
                    <a:pt x="2241" y="816"/>
                  </a:lnTo>
                  <a:lnTo>
                    <a:pt x="2220" y="805"/>
                  </a:lnTo>
                  <a:lnTo>
                    <a:pt x="2209" y="798"/>
                  </a:lnTo>
                  <a:lnTo>
                    <a:pt x="2192" y="784"/>
                  </a:lnTo>
                  <a:lnTo>
                    <a:pt x="2181" y="777"/>
                  </a:lnTo>
                  <a:lnTo>
                    <a:pt x="2164" y="767"/>
                  </a:lnTo>
                  <a:lnTo>
                    <a:pt x="2153" y="756"/>
                  </a:lnTo>
                  <a:lnTo>
                    <a:pt x="2136" y="746"/>
                  </a:lnTo>
                  <a:lnTo>
                    <a:pt x="2129" y="739"/>
                  </a:lnTo>
                  <a:lnTo>
                    <a:pt x="2115" y="725"/>
                  </a:lnTo>
                  <a:lnTo>
                    <a:pt x="2104" y="718"/>
                  </a:lnTo>
                  <a:lnTo>
                    <a:pt x="2090" y="704"/>
                  </a:lnTo>
                  <a:lnTo>
                    <a:pt x="2083" y="697"/>
                  </a:lnTo>
                  <a:lnTo>
                    <a:pt x="2073" y="683"/>
                  </a:lnTo>
                  <a:lnTo>
                    <a:pt x="2066" y="676"/>
                  </a:lnTo>
                  <a:cubicBezTo>
                    <a:pt x="2062" y="672"/>
                    <a:pt x="2059" y="665"/>
                    <a:pt x="2059" y="662"/>
                  </a:cubicBezTo>
                  <a:lnTo>
                    <a:pt x="2052" y="655"/>
                  </a:lnTo>
                  <a:cubicBezTo>
                    <a:pt x="2048" y="651"/>
                    <a:pt x="2045" y="644"/>
                    <a:pt x="2045" y="637"/>
                  </a:cubicBezTo>
                  <a:cubicBezTo>
                    <a:pt x="2031" y="609"/>
                    <a:pt x="2031" y="581"/>
                    <a:pt x="2045" y="553"/>
                  </a:cubicBezTo>
                  <a:cubicBezTo>
                    <a:pt x="2076" y="483"/>
                    <a:pt x="2125" y="189"/>
                    <a:pt x="2073" y="133"/>
                  </a:cubicBezTo>
                  <a:cubicBezTo>
                    <a:pt x="2071" y="132"/>
                    <a:pt x="2068" y="132"/>
                    <a:pt x="2064" y="132"/>
                  </a:cubicBezTo>
                  <a:cubicBezTo>
                    <a:pt x="2054" y="132"/>
                    <a:pt x="2037" y="136"/>
                    <a:pt x="2024" y="144"/>
                  </a:cubicBezTo>
                  <a:cubicBezTo>
                    <a:pt x="1943" y="189"/>
                    <a:pt x="1870" y="238"/>
                    <a:pt x="1799" y="291"/>
                  </a:cubicBezTo>
                  <a:cubicBezTo>
                    <a:pt x="1684" y="378"/>
                    <a:pt x="1558" y="455"/>
                    <a:pt x="1432" y="522"/>
                  </a:cubicBezTo>
                  <a:lnTo>
                    <a:pt x="1407" y="532"/>
                  </a:lnTo>
                  <a:cubicBezTo>
                    <a:pt x="1379" y="546"/>
                    <a:pt x="1351" y="560"/>
                    <a:pt x="1320" y="571"/>
                  </a:cubicBezTo>
                  <a:lnTo>
                    <a:pt x="1309" y="574"/>
                  </a:lnTo>
                  <a:cubicBezTo>
                    <a:pt x="1225" y="606"/>
                    <a:pt x="1134" y="627"/>
                    <a:pt x="1043" y="630"/>
                  </a:cubicBezTo>
                  <a:lnTo>
                    <a:pt x="1033" y="630"/>
                  </a:lnTo>
                  <a:cubicBezTo>
                    <a:pt x="1019" y="632"/>
                    <a:pt x="1004" y="633"/>
                    <a:pt x="989" y="633"/>
                  </a:cubicBezTo>
                  <a:cubicBezTo>
                    <a:pt x="973" y="633"/>
                    <a:pt x="958" y="632"/>
                    <a:pt x="942" y="630"/>
                  </a:cubicBezTo>
                  <a:lnTo>
                    <a:pt x="910" y="630"/>
                  </a:lnTo>
                  <a:lnTo>
                    <a:pt x="882" y="627"/>
                  </a:lnTo>
                  <a:lnTo>
                    <a:pt x="795" y="613"/>
                  </a:lnTo>
                  <a:cubicBezTo>
                    <a:pt x="637" y="588"/>
                    <a:pt x="567" y="557"/>
                    <a:pt x="557" y="487"/>
                  </a:cubicBezTo>
                  <a:cubicBezTo>
                    <a:pt x="553" y="473"/>
                    <a:pt x="553" y="462"/>
                    <a:pt x="557" y="448"/>
                  </a:cubicBezTo>
                  <a:cubicBezTo>
                    <a:pt x="557" y="445"/>
                    <a:pt x="557" y="441"/>
                    <a:pt x="557" y="438"/>
                  </a:cubicBezTo>
                  <a:cubicBezTo>
                    <a:pt x="539" y="424"/>
                    <a:pt x="518" y="413"/>
                    <a:pt x="497" y="406"/>
                  </a:cubicBezTo>
                  <a:cubicBezTo>
                    <a:pt x="410" y="368"/>
                    <a:pt x="343" y="291"/>
                    <a:pt x="319" y="196"/>
                  </a:cubicBezTo>
                  <a:lnTo>
                    <a:pt x="315" y="189"/>
                  </a:lnTo>
                  <a:cubicBezTo>
                    <a:pt x="312" y="172"/>
                    <a:pt x="305" y="154"/>
                    <a:pt x="301" y="137"/>
                  </a:cubicBezTo>
                  <a:cubicBezTo>
                    <a:pt x="298" y="123"/>
                    <a:pt x="291" y="98"/>
                    <a:pt x="284" y="77"/>
                  </a:cubicBezTo>
                  <a:lnTo>
                    <a:pt x="284" y="74"/>
                  </a:lnTo>
                  <a:cubicBezTo>
                    <a:pt x="284" y="70"/>
                    <a:pt x="280" y="67"/>
                    <a:pt x="280" y="63"/>
                  </a:cubicBezTo>
                  <a:lnTo>
                    <a:pt x="277" y="56"/>
                  </a:lnTo>
                  <a:cubicBezTo>
                    <a:pt x="273" y="53"/>
                    <a:pt x="273" y="49"/>
                    <a:pt x="270" y="46"/>
                  </a:cubicBezTo>
                  <a:lnTo>
                    <a:pt x="270" y="42"/>
                  </a:lnTo>
                  <a:cubicBezTo>
                    <a:pt x="266" y="35"/>
                    <a:pt x="263" y="32"/>
                    <a:pt x="256" y="28"/>
                  </a:cubicBezTo>
                  <a:cubicBezTo>
                    <a:pt x="252" y="25"/>
                    <a:pt x="249" y="21"/>
                    <a:pt x="245" y="18"/>
                  </a:cubicBezTo>
                  <a:lnTo>
                    <a:pt x="238" y="14"/>
                  </a:lnTo>
                  <a:lnTo>
                    <a:pt x="228" y="11"/>
                  </a:lnTo>
                  <a:lnTo>
                    <a:pt x="217" y="7"/>
                  </a:lnTo>
                  <a:cubicBezTo>
                    <a:pt x="210" y="4"/>
                    <a:pt x="203" y="4"/>
                    <a:pt x="1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5" name="Google Shape;6615;p53"/>
            <p:cNvSpPr/>
            <p:nvPr/>
          </p:nvSpPr>
          <p:spPr>
            <a:xfrm>
              <a:off x="2377313" y="1749667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1" y="0"/>
                  </a:moveTo>
                  <a:cubicBezTo>
                    <a:pt x="11" y="14"/>
                    <a:pt x="18" y="32"/>
                    <a:pt x="22" y="43"/>
                  </a:cubicBezTo>
                  <a:cubicBezTo>
                    <a:pt x="18" y="32"/>
                    <a:pt x="1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6" name="Google Shape;6616;p53"/>
            <p:cNvSpPr/>
            <p:nvPr/>
          </p:nvSpPr>
          <p:spPr>
            <a:xfrm>
              <a:off x="2378073" y="1751907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cubicBezTo>
                    <a:pt x="1" y="4"/>
                    <a:pt x="1" y="11"/>
                    <a:pt x="1" y="14"/>
                  </a:cubicBezTo>
                  <a:cubicBezTo>
                    <a:pt x="1" y="11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7" name="Google Shape;6617;p53"/>
            <p:cNvSpPr/>
            <p:nvPr/>
          </p:nvSpPr>
          <p:spPr>
            <a:xfrm>
              <a:off x="2377978" y="175128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8"/>
                    <a:pt x="4" y="25"/>
                  </a:cubicBezTo>
                  <a:cubicBezTo>
                    <a:pt x="4" y="18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8" name="Google Shape;6618;p53"/>
            <p:cNvSpPr/>
            <p:nvPr/>
          </p:nvSpPr>
          <p:spPr>
            <a:xfrm>
              <a:off x="2373755" y="1729233"/>
              <a:ext cx="1629" cy="3761"/>
            </a:xfrm>
            <a:custGeom>
              <a:avLst/>
              <a:gdLst/>
              <a:ahLst/>
              <a:cxnLst/>
              <a:rect l="l" t="t" r="r" b="b"/>
              <a:pathLst>
                <a:path w="120" h="277" extrusionOk="0">
                  <a:moveTo>
                    <a:pt x="105" y="0"/>
                  </a:moveTo>
                  <a:cubicBezTo>
                    <a:pt x="104" y="3"/>
                    <a:pt x="103" y="5"/>
                    <a:pt x="102" y="8"/>
                  </a:cubicBezTo>
                  <a:lnTo>
                    <a:pt x="102" y="8"/>
                  </a:lnTo>
                  <a:cubicBezTo>
                    <a:pt x="106" y="1"/>
                    <a:pt x="112" y="0"/>
                    <a:pt x="119" y="0"/>
                  </a:cubicBezTo>
                  <a:close/>
                  <a:moveTo>
                    <a:pt x="102" y="8"/>
                  </a:moveTo>
                  <a:lnTo>
                    <a:pt x="102" y="8"/>
                  </a:lnTo>
                  <a:cubicBezTo>
                    <a:pt x="99" y="13"/>
                    <a:pt x="96" y="20"/>
                    <a:pt x="94" y="32"/>
                  </a:cubicBezTo>
                  <a:lnTo>
                    <a:pt x="94" y="32"/>
                  </a:lnTo>
                  <a:cubicBezTo>
                    <a:pt x="96" y="24"/>
                    <a:pt x="99" y="16"/>
                    <a:pt x="102" y="8"/>
                  </a:cubicBezTo>
                  <a:close/>
                  <a:moveTo>
                    <a:pt x="94" y="32"/>
                  </a:moveTo>
                  <a:cubicBezTo>
                    <a:pt x="90" y="53"/>
                    <a:pt x="89" y="74"/>
                    <a:pt x="91" y="95"/>
                  </a:cubicBezTo>
                  <a:cubicBezTo>
                    <a:pt x="91" y="66"/>
                    <a:pt x="92" y="46"/>
                    <a:pt x="94" y="32"/>
                  </a:cubicBezTo>
                  <a:close/>
                  <a:moveTo>
                    <a:pt x="91" y="95"/>
                  </a:moveTo>
                  <a:lnTo>
                    <a:pt x="91" y="95"/>
                  </a:lnTo>
                  <a:cubicBezTo>
                    <a:pt x="91" y="151"/>
                    <a:pt x="87" y="259"/>
                    <a:pt x="0" y="277"/>
                  </a:cubicBezTo>
                  <a:cubicBezTo>
                    <a:pt x="91" y="259"/>
                    <a:pt x="91" y="151"/>
                    <a:pt x="91" y="9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9" name="Google Shape;6619;p53"/>
            <p:cNvSpPr/>
            <p:nvPr/>
          </p:nvSpPr>
          <p:spPr>
            <a:xfrm>
              <a:off x="2378032" y="175162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0" name="Google Shape;6620;p53"/>
            <p:cNvSpPr/>
            <p:nvPr/>
          </p:nvSpPr>
          <p:spPr>
            <a:xfrm>
              <a:off x="2374135" y="174438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1" name="Google Shape;6621;p53"/>
            <p:cNvSpPr/>
            <p:nvPr/>
          </p:nvSpPr>
          <p:spPr>
            <a:xfrm>
              <a:off x="2377842" y="1750862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0"/>
                  </a:moveTo>
                  <a:cubicBezTo>
                    <a:pt x="4" y="11"/>
                    <a:pt x="7" y="21"/>
                    <a:pt x="11" y="28"/>
                  </a:cubicBezTo>
                  <a:cubicBezTo>
                    <a:pt x="7" y="21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2" name="Google Shape;6622;p53"/>
            <p:cNvSpPr/>
            <p:nvPr/>
          </p:nvSpPr>
          <p:spPr>
            <a:xfrm>
              <a:off x="2373470" y="1733034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cubicBezTo>
                    <a:pt x="11" y="0"/>
                    <a:pt x="7" y="0"/>
                    <a:pt x="0" y="0"/>
                  </a:cubicBezTo>
                  <a:cubicBezTo>
                    <a:pt x="7" y="0"/>
                    <a:pt x="11" y="0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3" name="Google Shape;6623;p53"/>
            <p:cNvSpPr/>
            <p:nvPr/>
          </p:nvSpPr>
          <p:spPr>
            <a:xfrm>
              <a:off x="2374135" y="1745485"/>
              <a:ext cx="2295" cy="2485"/>
            </a:xfrm>
            <a:custGeom>
              <a:avLst/>
              <a:gdLst/>
              <a:ahLst/>
              <a:cxnLst/>
              <a:rect l="l" t="t" r="r" b="b"/>
              <a:pathLst>
                <a:path w="169" h="183" extrusionOk="0">
                  <a:moveTo>
                    <a:pt x="168" y="182"/>
                  </a:moveTo>
                  <a:cubicBezTo>
                    <a:pt x="123" y="109"/>
                    <a:pt x="60" y="28"/>
                    <a:pt x="0" y="0"/>
                  </a:cubicBezTo>
                  <a:lnTo>
                    <a:pt x="0" y="0"/>
                  </a:lnTo>
                  <a:cubicBezTo>
                    <a:pt x="60" y="28"/>
                    <a:pt x="123" y="109"/>
                    <a:pt x="168" y="1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4" name="Google Shape;6624;p53"/>
            <p:cNvSpPr/>
            <p:nvPr/>
          </p:nvSpPr>
          <p:spPr>
            <a:xfrm>
              <a:off x="2377652" y="1750291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0"/>
                  </a:moveTo>
                  <a:cubicBezTo>
                    <a:pt x="4" y="14"/>
                    <a:pt x="11" y="28"/>
                    <a:pt x="14" y="39"/>
                  </a:cubicBezTo>
                  <a:cubicBezTo>
                    <a:pt x="11" y="28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5" name="Google Shape;6625;p53"/>
            <p:cNvSpPr/>
            <p:nvPr/>
          </p:nvSpPr>
          <p:spPr>
            <a:xfrm>
              <a:off x="2376932" y="174885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1"/>
                  </a:moveTo>
                  <a:cubicBezTo>
                    <a:pt x="11" y="22"/>
                    <a:pt x="22" y="39"/>
                    <a:pt x="29" y="57"/>
                  </a:cubicBezTo>
                  <a:cubicBezTo>
                    <a:pt x="22" y="39"/>
                    <a:pt x="11" y="2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6" name="Google Shape;6626;p53"/>
            <p:cNvSpPr/>
            <p:nvPr/>
          </p:nvSpPr>
          <p:spPr>
            <a:xfrm>
              <a:off x="2374135" y="1742063"/>
              <a:ext cx="244" cy="2335"/>
            </a:xfrm>
            <a:custGeom>
              <a:avLst/>
              <a:gdLst/>
              <a:ahLst/>
              <a:cxnLst/>
              <a:rect l="l" t="t" r="r" b="b"/>
              <a:pathLst>
                <a:path w="18" h="172" extrusionOk="0">
                  <a:moveTo>
                    <a:pt x="18" y="0"/>
                  </a:moveTo>
                  <a:cubicBezTo>
                    <a:pt x="14" y="46"/>
                    <a:pt x="4" y="116"/>
                    <a:pt x="0" y="172"/>
                  </a:cubicBezTo>
                  <a:cubicBezTo>
                    <a:pt x="4" y="116"/>
                    <a:pt x="14" y="49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7" name="Google Shape;6627;p53"/>
            <p:cNvSpPr/>
            <p:nvPr/>
          </p:nvSpPr>
          <p:spPr>
            <a:xfrm>
              <a:off x="2378073" y="175213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cubicBezTo>
                    <a:pt x="1" y="1"/>
                    <a:pt x="1" y="4"/>
                    <a:pt x="1" y="8"/>
                  </a:cubicBezTo>
                  <a:cubicBezTo>
                    <a:pt x="1" y="4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8" name="Google Shape;6628;p53"/>
            <p:cNvSpPr/>
            <p:nvPr/>
          </p:nvSpPr>
          <p:spPr>
            <a:xfrm>
              <a:off x="2374135" y="1744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9" name="Google Shape;6629;p53"/>
            <p:cNvSpPr/>
            <p:nvPr/>
          </p:nvSpPr>
          <p:spPr>
            <a:xfrm>
              <a:off x="2402173" y="1806665"/>
              <a:ext cx="109" cy="190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1" y="0"/>
                  </a:moveTo>
                  <a:lnTo>
                    <a:pt x="1" y="0"/>
                  </a:lnTo>
                  <a:cubicBezTo>
                    <a:pt x="2" y="2"/>
                    <a:pt x="3" y="4"/>
                    <a:pt x="4" y="5"/>
                  </a:cubicBezTo>
                  <a:lnTo>
                    <a:pt x="4" y="5"/>
                  </a:lnTo>
                  <a:cubicBezTo>
                    <a:pt x="3" y="3"/>
                    <a:pt x="2" y="2"/>
                    <a:pt x="1" y="0"/>
                  </a:cubicBezTo>
                  <a:close/>
                  <a:moveTo>
                    <a:pt x="4" y="5"/>
                  </a:moveTo>
                  <a:cubicBezTo>
                    <a:pt x="5" y="7"/>
                    <a:pt x="6" y="10"/>
                    <a:pt x="8" y="14"/>
                  </a:cubicBezTo>
                  <a:cubicBezTo>
                    <a:pt x="8" y="9"/>
                    <a:pt x="6" y="8"/>
                    <a:pt x="4" y="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0" name="Google Shape;6630;p53"/>
            <p:cNvSpPr/>
            <p:nvPr/>
          </p:nvSpPr>
          <p:spPr>
            <a:xfrm>
              <a:off x="2402458" y="180718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1" name="Google Shape;6631;p53"/>
            <p:cNvSpPr/>
            <p:nvPr/>
          </p:nvSpPr>
          <p:spPr>
            <a:xfrm>
              <a:off x="2403218" y="1808186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2" name="Google Shape;6632;p53"/>
            <p:cNvSpPr/>
            <p:nvPr/>
          </p:nvSpPr>
          <p:spPr>
            <a:xfrm>
              <a:off x="2403504" y="180856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3" name="Google Shape;6633;p53"/>
            <p:cNvSpPr/>
            <p:nvPr/>
          </p:nvSpPr>
          <p:spPr>
            <a:xfrm>
              <a:off x="2402132" y="180642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cubicBezTo>
                    <a:pt x="0" y="7"/>
                    <a:pt x="0" y="4"/>
                    <a:pt x="0" y="0"/>
                  </a:cubicBez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4" name="Google Shape;6634;p53"/>
            <p:cNvSpPr/>
            <p:nvPr/>
          </p:nvSpPr>
          <p:spPr>
            <a:xfrm>
              <a:off x="2403789" y="18088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5" name="Google Shape;6635;p53"/>
            <p:cNvSpPr/>
            <p:nvPr/>
          </p:nvSpPr>
          <p:spPr>
            <a:xfrm>
              <a:off x="2402078" y="180613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cubicBezTo>
                    <a:pt x="1" y="11"/>
                    <a:pt x="1" y="4"/>
                    <a:pt x="1" y="0"/>
                  </a:cubicBezTo>
                  <a:cubicBezTo>
                    <a:pt x="1" y="4"/>
                    <a:pt x="1" y="11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6" name="Google Shape;6636;p53"/>
            <p:cNvSpPr/>
            <p:nvPr/>
          </p:nvSpPr>
          <p:spPr>
            <a:xfrm>
              <a:off x="2404508" y="18096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7" name="Google Shape;6637;p53"/>
            <p:cNvSpPr/>
            <p:nvPr/>
          </p:nvSpPr>
          <p:spPr>
            <a:xfrm>
              <a:off x="2402703" y="1807520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8" name="Google Shape;6638;p53"/>
            <p:cNvSpPr/>
            <p:nvPr/>
          </p:nvSpPr>
          <p:spPr>
            <a:xfrm>
              <a:off x="2402933" y="180790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9" name="Google Shape;6639;p53"/>
            <p:cNvSpPr/>
            <p:nvPr/>
          </p:nvSpPr>
          <p:spPr>
            <a:xfrm>
              <a:off x="2404128" y="1809272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0" name="Google Shape;6640;p53"/>
            <p:cNvSpPr/>
            <p:nvPr/>
          </p:nvSpPr>
          <p:spPr>
            <a:xfrm>
              <a:off x="2378697" y="1753468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1" name="Google Shape;6641;p53"/>
            <p:cNvSpPr/>
            <p:nvPr/>
          </p:nvSpPr>
          <p:spPr>
            <a:xfrm>
              <a:off x="2388487" y="1786652"/>
              <a:ext cx="6476" cy="3910"/>
            </a:xfrm>
            <a:custGeom>
              <a:avLst/>
              <a:gdLst/>
              <a:ahLst/>
              <a:cxnLst/>
              <a:rect l="l" t="t" r="r" b="b"/>
              <a:pathLst>
                <a:path w="477" h="288" extrusionOk="0">
                  <a:moveTo>
                    <a:pt x="0" y="0"/>
                  </a:moveTo>
                  <a:cubicBezTo>
                    <a:pt x="53" y="67"/>
                    <a:pt x="119" y="119"/>
                    <a:pt x="193" y="158"/>
                  </a:cubicBezTo>
                  <a:cubicBezTo>
                    <a:pt x="280" y="210"/>
                    <a:pt x="375" y="256"/>
                    <a:pt x="476" y="287"/>
                  </a:cubicBezTo>
                  <a:cubicBezTo>
                    <a:pt x="375" y="256"/>
                    <a:pt x="280" y="210"/>
                    <a:pt x="193" y="158"/>
                  </a:cubicBezTo>
                  <a:cubicBezTo>
                    <a:pt x="119" y="119"/>
                    <a:pt x="53" y="6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2" name="Google Shape;6642;p53"/>
            <p:cNvSpPr/>
            <p:nvPr/>
          </p:nvSpPr>
          <p:spPr>
            <a:xfrm>
              <a:off x="2378032" y="1752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3" name="Google Shape;6643;p53"/>
            <p:cNvSpPr/>
            <p:nvPr/>
          </p:nvSpPr>
          <p:spPr>
            <a:xfrm>
              <a:off x="2402268" y="180689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4" name="Google Shape;6644;p53"/>
            <p:cNvSpPr/>
            <p:nvPr/>
          </p:nvSpPr>
          <p:spPr>
            <a:xfrm>
              <a:off x="2449043" y="1751187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5" name="Google Shape;6645;p53"/>
            <p:cNvSpPr/>
            <p:nvPr/>
          </p:nvSpPr>
          <p:spPr>
            <a:xfrm>
              <a:off x="2452559" y="175008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6" name="Google Shape;6646;p53"/>
            <p:cNvSpPr/>
            <p:nvPr/>
          </p:nvSpPr>
          <p:spPr>
            <a:xfrm>
              <a:off x="2448418" y="175124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7" name="Google Shape;6647;p53"/>
            <p:cNvSpPr/>
            <p:nvPr/>
          </p:nvSpPr>
          <p:spPr>
            <a:xfrm>
              <a:off x="2451419" y="1750712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8" name="Google Shape;6648;p53"/>
            <p:cNvSpPr/>
            <p:nvPr/>
          </p:nvSpPr>
          <p:spPr>
            <a:xfrm>
              <a:off x="2451038" y="1750807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9" name="Google Shape;6649;p53"/>
            <p:cNvSpPr/>
            <p:nvPr/>
          </p:nvSpPr>
          <p:spPr>
            <a:xfrm>
              <a:off x="2452179" y="175033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0" name="Google Shape;6650;p53"/>
            <p:cNvSpPr/>
            <p:nvPr/>
          </p:nvSpPr>
          <p:spPr>
            <a:xfrm>
              <a:off x="2447658" y="175128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1" name="Google Shape;6651;p53"/>
            <p:cNvSpPr/>
            <p:nvPr/>
          </p:nvSpPr>
          <p:spPr>
            <a:xfrm>
              <a:off x="2446857" y="17513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2" name="Google Shape;6652;p53"/>
            <p:cNvSpPr/>
            <p:nvPr/>
          </p:nvSpPr>
          <p:spPr>
            <a:xfrm>
              <a:off x="2500610" y="1758560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3" name="Google Shape;6653;p53"/>
            <p:cNvSpPr/>
            <p:nvPr/>
          </p:nvSpPr>
          <p:spPr>
            <a:xfrm>
              <a:off x="2500610" y="17588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4" name="Google Shape;6654;p53"/>
            <p:cNvSpPr/>
            <p:nvPr/>
          </p:nvSpPr>
          <p:spPr>
            <a:xfrm>
              <a:off x="2450658" y="1750902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5" name="Google Shape;6655;p53"/>
            <p:cNvSpPr/>
            <p:nvPr/>
          </p:nvSpPr>
          <p:spPr>
            <a:xfrm>
              <a:off x="2451989" y="1750481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6" name="Google Shape;6656;p53"/>
            <p:cNvSpPr/>
            <p:nvPr/>
          </p:nvSpPr>
          <p:spPr>
            <a:xfrm>
              <a:off x="2449654" y="1751092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7" name="Google Shape;6657;p53"/>
            <p:cNvSpPr/>
            <p:nvPr/>
          </p:nvSpPr>
          <p:spPr>
            <a:xfrm>
              <a:off x="2500664" y="175926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8" name="Google Shape;6658;p53"/>
            <p:cNvSpPr/>
            <p:nvPr/>
          </p:nvSpPr>
          <p:spPr>
            <a:xfrm>
              <a:off x="2500800" y="176078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9" name="Google Shape;6659;p53"/>
            <p:cNvSpPr/>
            <p:nvPr/>
          </p:nvSpPr>
          <p:spPr>
            <a:xfrm>
              <a:off x="2500664" y="175974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4"/>
                    <a:pt x="4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0" name="Google Shape;6660;p53"/>
            <p:cNvSpPr/>
            <p:nvPr/>
          </p:nvSpPr>
          <p:spPr>
            <a:xfrm>
              <a:off x="2500759" y="1760216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1" name="Google Shape;6661;p53"/>
            <p:cNvSpPr/>
            <p:nvPr/>
          </p:nvSpPr>
          <p:spPr>
            <a:xfrm>
              <a:off x="2451704" y="1750576"/>
              <a:ext cx="149" cy="95"/>
            </a:xfrm>
            <a:custGeom>
              <a:avLst/>
              <a:gdLst/>
              <a:ahLst/>
              <a:cxnLst/>
              <a:rect l="l" t="t" r="r" b="b"/>
              <a:pathLst>
                <a:path w="11" h="7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2" name="Google Shape;6662;p53"/>
            <p:cNvSpPr/>
            <p:nvPr/>
          </p:nvSpPr>
          <p:spPr>
            <a:xfrm>
              <a:off x="2450183" y="1750997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3" name="Google Shape;6663;p53"/>
            <p:cNvSpPr/>
            <p:nvPr/>
          </p:nvSpPr>
          <p:spPr>
            <a:xfrm>
              <a:off x="2452695" y="1749952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4" name="Google Shape;6664;p53"/>
            <p:cNvSpPr/>
            <p:nvPr/>
          </p:nvSpPr>
          <p:spPr>
            <a:xfrm>
              <a:off x="2501044" y="176331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5" name="Google Shape;6665;p53"/>
            <p:cNvSpPr/>
            <p:nvPr/>
          </p:nvSpPr>
          <p:spPr>
            <a:xfrm>
              <a:off x="2501275" y="1764683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6" name="Google Shape;6666;p53"/>
            <p:cNvSpPr/>
            <p:nvPr/>
          </p:nvSpPr>
          <p:spPr>
            <a:xfrm>
              <a:off x="2501180" y="1763977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7" name="Google Shape;6667;p53"/>
            <p:cNvSpPr/>
            <p:nvPr/>
          </p:nvSpPr>
          <p:spPr>
            <a:xfrm>
              <a:off x="2452369" y="175023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8" name="Google Shape;6668;p53"/>
            <p:cNvSpPr/>
            <p:nvPr/>
          </p:nvSpPr>
          <p:spPr>
            <a:xfrm>
              <a:off x="2501425" y="1765403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9" name="Google Shape;6669;p53"/>
            <p:cNvSpPr/>
            <p:nvPr/>
          </p:nvSpPr>
          <p:spPr>
            <a:xfrm>
              <a:off x="2500800" y="1761357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0" name="Google Shape;6670;p53"/>
            <p:cNvSpPr/>
            <p:nvPr/>
          </p:nvSpPr>
          <p:spPr>
            <a:xfrm>
              <a:off x="2500895" y="1761982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1" name="Google Shape;6671;p53"/>
            <p:cNvSpPr/>
            <p:nvPr/>
          </p:nvSpPr>
          <p:spPr>
            <a:xfrm>
              <a:off x="2500949" y="1762647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2" name="Google Shape;6672;p53"/>
            <p:cNvSpPr/>
            <p:nvPr/>
          </p:nvSpPr>
          <p:spPr>
            <a:xfrm>
              <a:off x="2501615" y="1766258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3" name="Google Shape;6673;p53"/>
            <p:cNvSpPr/>
            <p:nvPr/>
          </p:nvSpPr>
          <p:spPr>
            <a:xfrm>
              <a:off x="2391759" y="1582202"/>
              <a:ext cx="300144" cy="138721"/>
            </a:xfrm>
            <a:custGeom>
              <a:avLst/>
              <a:gdLst/>
              <a:ahLst/>
              <a:cxnLst/>
              <a:rect l="l" t="t" r="r" b="b"/>
              <a:pathLst>
                <a:path w="22106" h="10217" extrusionOk="0">
                  <a:moveTo>
                    <a:pt x="7610" y="6221"/>
                  </a:moveTo>
                  <a:cubicBezTo>
                    <a:pt x="7825" y="6221"/>
                    <a:pt x="8164" y="6301"/>
                    <a:pt x="8266" y="6411"/>
                  </a:cubicBezTo>
                  <a:cubicBezTo>
                    <a:pt x="8319" y="6457"/>
                    <a:pt x="8326" y="6534"/>
                    <a:pt x="8284" y="6586"/>
                  </a:cubicBezTo>
                  <a:cubicBezTo>
                    <a:pt x="8256" y="6621"/>
                    <a:pt x="8210" y="6639"/>
                    <a:pt x="8133" y="6639"/>
                  </a:cubicBezTo>
                  <a:cubicBezTo>
                    <a:pt x="8105" y="6639"/>
                    <a:pt x="8074" y="6635"/>
                    <a:pt x="8042" y="6632"/>
                  </a:cubicBezTo>
                  <a:cubicBezTo>
                    <a:pt x="7857" y="6607"/>
                    <a:pt x="7468" y="6506"/>
                    <a:pt x="7412" y="6366"/>
                  </a:cubicBezTo>
                  <a:cubicBezTo>
                    <a:pt x="7391" y="6324"/>
                    <a:pt x="7409" y="6271"/>
                    <a:pt x="7451" y="6250"/>
                  </a:cubicBezTo>
                  <a:lnTo>
                    <a:pt x="7447" y="6250"/>
                  </a:lnTo>
                  <a:cubicBezTo>
                    <a:pt x="7478" y="6230"/>
                    <a:pt x="7537" y="6221"/>
                    <a:pt x="7610" y="6221"/>
                  </a:cubicBezTo>
                  <a:close/>
                  <a:moveTo>
                    <a:pt x="17938" y="6158"/>
                  </a:moveTo>
                  <a:cubicBezTo>
                    <a:pt x="17962" y="6158"/>
                    <a:pt x="17981" y="6161"/>
                    <a:pt x="17995" y="6166"/>
                  </a:cubicBezTo>
                  <a:cubicBezTo>
                    <a:pt x="18048" y="6177"/>
                    <a:pt x="18079" y="6222"/>
                    <a:pt x="18072" y="6275"/>
                  </a:cubicBezTo>
                  <a:cubicBezTo>
                    <a:pt x="18055" y="6404"/>
                    <a:pt x="17778" y="6551"/>
                    <a:pt x="17411" y="6551"/>
                  </a:cubicBezTo>
                  <a:cubicBezTo>
                    <a:pt x="17306" y="6551"/>
                    <a:pt x="17180" y="6541"/>
                    <a:pt x="17029" y="6527"/>
                  </a:cubicBezTo>
                  <a:cubicBezTo>
                    <a:pt x="16851" y="6511"/>
                    <a:pt x="16649" y="6494"/>
                    <a:pt x="16450" y="6494"/>
                  </a:cubicBezTo>
                  <a:cubicBezTo>
                    <a:pt x="16112" y="6494"/>
                    <a:pt x="15784" y="6544"/>
                    <a:pt x="15601" y="6740"/>
                  </a:cubicBezTo>
                  <a:cubicBezTo>
                    <a:pt x="15373" y="6985"/>
                    <a:pt x="15380" y="7150"/>
                    <a:pt x="15391" y="7258"/>
                  </a:cubicBezTo>
                  <a:cubicBezTo>
                    <a:pt x="15394" y="7328"/>
                    <a:pt x="15401" y="7433"/>
                    <a:pt x="15272" y="7458"/>
                  </a:cubicBezTo>
                  <a:lnTo>
                    <a:pt x="15247" y="7458"/>
                  </a:lnTo>
                  <a:cubicBezTo>
                    <a:pt x="15205" y="7458"/>
                    <a:pt x="15139" y="7437"/>
                    <a:pt x="15083" y="7335"/>
                  </a:cubicBezTo>
                  <a:cubicBezTo>
                    <a:pt x="14974" y="7125"/>
                    <a:pt x="14953" y="6656"/>
                    <a:pt x="15149" y="6457"/>
                  </a:cubicBezTo>
                  <a:cubicBezTo>
                    <a:pt x="15333" y="6275"/>
                    <a:pt x="15770" y="6180"/>
                    <a:pt x="16168" y="6180"/>
                  </a:cubicBezTo>
                  <a:cubicBezTo>
                    <a:pt x="16332" y="6180"/>
                    <a:pt x="16489" y="6196"/>
                    <a:pt x="16619" y="6229"/>
                  </a:cubicBezTo>
                  <a:cubicBezTo>
                    <a:pt x="16712" y="6252"/>
                    <a:pt x="16822" y="6260"/>
                    <a:pt x="16938" y="6260"/>
                  </a:cubicBezTo>
                  <a:cubicBezTo>
                    <a:pt x="17181" y="6260"/>
                    <a:pt x="17450" y="6222"/>
                    <a:pt x="17649" y="6194"/>
                  </a:cubicBezTo>
                  <a:cubicBezTo>
                    <a:pt x="17794" y="6172"/>
                    <a:pt x="17882" y="6158"/>
                    <a:pt x="17938" y="6158"/>
                  </a:cubicBezTo>
                  <a:close/>
                  <a:moveTo>
                    <a:pt x="12780" y="0"/>
                  </a:moveTo>
                  <a:cubicBezTo>
                    <a:pt x="12609" y="0"/>
                    <a:pt x="12323" y="74"/>
                    <a:pt x="12292" y="131"/>
                  </a:cubicBezTo>
                  <a:cubicBezTo>
                    <a:pt x="12271" y="236"/>
                    <a:pt x="12089" y="292"/>
                    <a:pt x="11666" y="390"/>
                  </a:cubicBezTo>
                  <a:cubicBezTo>
                    <a:pt x="11571" y="407"/>
                    <a:pt x="11484" y="428"/>
                    <a:pt x="11452" y="442"/>
                  </a:cubicBezTo>
                  <a:cubicBezTo>
                    <a:pt x="11323" y="495"/>
                    <a:pt x="10815" y="568"/>
                    <a:pt x="10661" y="589"/>
                  </a:cubicBezTo>
                  <a:cubicBezTo>
                    <a:pt x="10647" y="593"/>
                    <a:pt x="10629" y="596"/>
                    <a:pt x="10615" y="600"/>
                  </a:cubicBezTo>
                  <a:cubicBezTo>
                    <a:pt x="10563" y="617"/>
                    <a:pt x="10510" y="638"/>
                    <a:pt x="10461" y="659"/>
                  </a:cubicBezTo>
                  <a:cubicBezTo>
                    <a:pt x="10377" y="701"/>
                    <a:pt x="10286" y="733"/>
                    <a:pt x="10195" y="750"/>
                  </a:cubicBezTo>
                  <a:cubicBezTo>
                    <a:pt x="10164" y="757"/>
                    <a:pt x="10129" y="761"/>
                    <a:pt x="10094" y="761"/>
                  </a:cubicBezTo>
                  <a:cubicBezTo>
                    <a:pt x="9961" y="761"/>
                    <a:pt x="9502" y="771"/>
                    <a:pt x="9310" y="918"/>
                  </a:cubicBezTo>
                  <a:cubicBezTo>
                    <a:pt x="9215" y="989"/>
                    <a:pt x="9097" y="1006"/>
                    <a:pt x="8986" y="1006"/>
                  </a:cubicBezTo>
                  <a:cubicBezTo>
                    <a:pt x="8933" y="1006"/>
                    <a:pt x="8881" y="1002"/>
                    <a:pt x="8834" y="999"/>
                  </a:cubicBezTo>
                  <a:cubicBezTo>
                    <a:pt x="8800" y="994"/>
                    <a:pt x="8767" y="991"/>
                    <a:pt x="8734" y="991"/>
                  </a:cubicBezTo>
                  <a:cubicBezTo>
                    <a:pt x="8701" y="991"/>
                    <a:pt x="8669" y="994"/>
                    <a:pt x="8637" y="999"/>
                  </a:cubicBezTo>
                  <a:cubicBezTo>
                    <a:pt x="8588" y="1013"/>
                    <a:pt x="8543" y="1020"/>
                    <a:pt x="8494" y="1020"/>
                  </a:cubicBezTo>
                  <a:lnTo>
                    <a:pt x="8420" y="1020"/>
                  </a:lnTo>
                  <a:lnTo>
                    <a:pt x="8347" y="1016"/>
                  </a:lnTo>
                  <a:cubicBezTo>
                    <a:pt x="8321" y="1013"/>
                    <a:pt x="8294" y="1011"/>
                    <a:pt x="8268" y="1011"/>
                  </a:cubicBezTo>
                  <a:cubicBezTo>
                    <a:pt x="8242" y="1011"/>
                    <a:pt x="8216" y="1013"/>
                    <a:pt x="8189" y="1016"/>
                  </a:cubicBezTo>
                  <a:cubicBezTo>
                    <a:pt x="8161" y="1051"/>
                    <a:pt x="8172" y="1286"/>
                    <a:pt x="8235" y="1387"/>
                  </a:cubicBezTo>
                  <a:cubicBezTo>
                    <a:pt x="8263" y="1433"/>
                    <a:pt x="8399" y="1482"/>
                    <a:pt x="8490" y="1510"/>
                  </a:cubicBezTo>
                  <a:cubicBezTo>
                    <a:pt x="8525" y="1520"/>
                    <a:pt x="8553" y="1531"/>
                    <a:pt x="8578" y="1541"/>
                  </a:cubicBezTo>
                  <a:cubicBezTo>
                    <a:pt x="8658" y="1569"/>
                    <a:pt x="8711" y="1597"/>
                    <a:pt x="8725" y="1643"/>
                  </a:cubicBezTo>
                  <a:cubicBezTo>
                    <a:pt x="8728" y="1650"/>
                    <a:pt x="8728" y="1657"/>
                    <a:pt x="8728" y="1664"/>
                  </a:cubicBezTo>
                  <a:cubicBezTo>
                    <a:pt x="8732" y="1681"/>
                    <a:pt x="8725" y="1702"/>
                    <a:pt x="8714" y="1716"/>
                  </a:cubicBezTo>
                  <a:cubicBezTo>
                    <a:pt x="8683" y="1762"/>
                    <a:pt x="8613" y="1783"/>
                    <a:pt x="8459" y="1797"/>
                  </a:cubicBezTo>
                  <a:lnTo>
                    <a:pt x="8420" y="1800"/>
                  </a:lnTo>
                  <a:lnTo>
                    <a:pt x="8333" y="1807"/>
                  </a:lnTo>
                  <a:lnTo>
                    <a:pt x="8284" y="1811"/>
                  </a:lnTo>
                  <a:cubicBezTo>
                    <a:pt x="8210" y="1814"/>
                    <a:pt x="8144" y="1821"/>
                    <a:pt x="8091" y="1828"/>
                  </a:cubicBezTo>
                  <a:lnTo>
                    <a:pt x="8077" y="1828"/>
                  </a:lnTo>
                  <a:cubicBezTo>
                    <a:pt x="8053" y="1832"/>
                    <a:pt x="8035" y="1846"/>
                    <a:pt x="8025" y="1863"/>
                  </a:cubicBezTo>
                  <a:cubicBezTo>
                    <a:pt x="7993" y="1916"/>
                    <a:pt x="8007" y="2011"/>
                    <a:pt x="8035" y="2091"/>
                  </a:cubicBezTo>
                  <a:cubicBezTo>
                    <a:pt x="8039" y="2105"/>
                    <a:pt x="8042" y="2116"/>
                    <a:pt x="8046" y="2126"/>
                  </a:cubicBezTo>
                  <a:cubicBezTo>
                    <a:pt x="8063" y="2168"/>
                    <a:pt x="8060" y="2214"/>
                    <a:pt x="8042" y="2252"/>
                  </a:cubicBezTo>
                  <a:cubicBezTo>
                    <a:pt x="7979" y="2385"/>
                    <a:pt x="7748" y="2476"/>
                    <a:pt x="7678" y="2501"/>
                  </a:cubicBezTo>
                  <a:lnTo>
                    <a:pt x="7668" y="2504"/>
                  </a:lnTo>
                  <a:lnTo>
                    <a:pt x="7657" y="2508"/>
                  </a:lnTo>
                  <a:cubicBezTo>
                    <a:pt x="7654" y="2511"/>
                    <a:pt x="7650" y="2515"/>
                    <a:pt x="7650" y="2532"/>
                  </a:cubicBezTo>
                  <a:cubicBezTo>
                    <a:pt x="7668" y="2592"/>
                    <a:pt x="7710" y="2641"/>
                    <a:pt x="7769" y="2665"/>
                  </a:cubicBezTo>
                  <a:lnTo>
                    <a:pt x="7790" y="2665"/>
                  </a:lnTo>
                  <a:cubicBezTo>
                    <a:pt x="7815" y="2669"/>
                    <a:pt x="7836" y="2669"/>
                    <a:pt x="7857" y="2672"/>
                  </a:cubicBezTo>
                  <a:cubicBezTo>
                    <a:pt x="7920" y="2686"/>
                    <a:pt x="7976" y="2711"/>
                    <a:pt x="8032" y="2739"/>
                  </a:cubicBezTo>
                  <a:cubicBezTo>
                    <a:pt x="8070" y="2756"/>
                    <a:pt x="8105" y="2770"/>
                    <a:pt x="8147" y="2781"/>
                  </a:cubicBezTo>
                  <a:cubicBezTo>
                    <a:pt x="8158" y="2784"/>
                    <a:pt x="8168" y="2788"/>
                    <a:pt x="8179" y="2788"/>
                  </a:cubicBezTo>
                  <a:cubicBezTo>
                    <a:pt x="8364" y="2788"/>
                    <a:pt x="8392" y="3071"/>
                    <a:pt x="8392" y="3239"/>
                  </a:cubicBezTo>
                  <a:cubicBezTo>
                    <a:pt x="8392" y="3358"/>
                    <a:pt x="8322" y="3498"/>
                    <a:pt x="7986" y="3498"/>
                  </a:cubicBezTo>
                  <a:cubicBezTo>
                    <a:pt x="7874" y="3495"/>
                    <a:pt x="7769" y="3456"/>
                    <a:pt x="7678" y="3390"/>
                  </a:cubicBezTo>
                  <a:cubicBezTo>
                    <a:pt x="7643" y="3362"/>
                    <a:pt x="7605" y="3341"/>
                    <a:pt x="7563" y="3327"/>
                  </a:cubicBezTo>
                  <a:cubicBezTo>
                    <a:pt x="7549" y="3334"/>
                    <a:pt x="7535" y="3383"/>
                    <a:pt x="7524" y="3411"/>
                  </a:cubicBezTo>
                  <a:cubicBezTo>
                    <a:pt x="7503" y="3481"/>
                    <a:pt x="7479" y="3558"/>
                    <a:pt x="7409" y="3586"/>
                  </a:cubicBezTo>
                  <a:cubicBezTo>
                    <a:pt x="7388" y="3597"/>
                    <a:pt x="7369" y="3601"/>
                    <a:pt x="7351" y="3601"/>
                  </a:cubicBezTo>
                  <a:cubicBezTo>
                    <a:pt x="7288" y="3601"/>
                    <a:pt x="7243" y="3544"/>
                    <a:pt x="7216" y="3505"/>
                  </a:cubicBezTo>
                  <a:cubicBezTo>
                    <a:pt x="7178" y="3456"/>
                    <a:pt x="7153" y="3425"/>
                    <a:pt x="7115" y="3425"/>
                  </a:cubicBezTo>
                  <a:cubicBezTo>
                    <a:pt x="7027" y="3425"/>
                    <a:pt x="6761" y="3425"/>
                    <a:pt x="6687" y="3211"/>
                  </a:cubicBezTo>
                  <a:cubicBezTo>
                    <a:pt x="6663" y="3173"/>
                    <a:pt x="6624" y="3148"/>
                    <a:pt x="6582" y="3145"/>
                  </a:cubicBezTo>
                  <a:cubicBezTo>
                    <a:pt x="6555" y="3138"/>
                    <a:pt x="6524" y="3134"/>
                    <a:pt x="6492" y="3134"/>
                  </a:cubicBezTo>
                  <a:cubicBezTo>
                    <a:pt x="6408" y="3134"/>
                    <a:pt x="6317" y="3158"/>
                    <a:pt x="6264" y="3211"/>
                  </a:cubicBezTo>
                  <a:cubicBezTo>
                    <a:pt x="6187" y="3288"/>
                    <a:pt x="6127" y="3313"/>
                    <a:pt x="6075" y="3313"/>
                  </a:cubicBezTo>
                  <a:cubicBezTo>
                    <a:pt x="6005" y="3313"/>
                    <a:pt x="5949" y="3267"/>
                    <a:pt x="5900" y="3222"/>
                  </a:cubicBezTo>
                  <a:lnTo>
                    <a:pt x="5861" y="3190"/>
                  </a:lnTo>
                  <a:cubicBezTo>
                    <a:pt x="5849" y="3182"/>
                    <a:pt x="5825" y="3176"/>
                    <a:pt x="5788" y="3176"/>
                  </a:cubicBezTo>
                  <a:cubicBezTo>
                    <a:pt x="5760" y="3176"/>
                    <a:pt x="5723" y="3180"/>
                    <a:pt x="5679" y="3190"/>
                  </a:cubicBezTo>
                  <a:cubicBezTo>
                    <a:pt x="5588" y="3211"/>
                    <a:pt x="5508" y="3257"/>
                    <a:pt x="5441" y="3320"/>
                  </a:cubicBezTo>
                  <a:cubicBezTo>
                    <a:pt x="5438" y="3327"/>
                    <a:pt x="5434" y="3330"/>
                    <a:pt x="5431" y="3337"/>
                  </a:cubicBezTo>
                  <a:cubicBezTo>
                    <a:pt x="5399" y="3404"/>
                    <a:pt x="5336" y="3453"/>
                    <a:pt x="5263" y="3474"/>
                  </a:cubicBezTo>
                  <a:cubicBezTo>
                    <a:pt x="5213" y="3488"/>
                    <a:pt x="5163" y="3495"/>
                    <a:pt x="5112" y="3495"/>
                  </a:cubicBezTo>
                  <a:cubicBezTo>
                    <a:pt x="5012" y="3495"/>
                    <a:pt x="4913" y="3468"/>
                    <a:pt x="4825" y="3414"/>
                  </a:cubicBezTo>
                  <a:cubicBezTo>
                    <a:pt x="4697" y="3334"/>
                    <a:pt x="4645" y="3316"/>
                    <a:pt x="4624" y="3316"/>
                  </a:cubicBezTo>
                  <a:cubicBezTo>
                    <a:pt x="4622" y="3316"/>
                    <a:pt x="4620" y="3316"/>
                    <a:pt x="4619" y="3316"/>
                  </a:cubicBezTo>
                  <a:cubicBezTo>
                    <a:pt x="4611" y="3330"/>
                    <a:pt x="4611" y="3344"/>
                    <a:pt x="4611" y="3358"/>
                  </a:cubicBezTo>
                  <a:cubicBezTo>
                    <a:pt x="4611" y="3390"/>
                    <a:pt x="4608" y="3421"/>
                    <a:pt x="4594" y="3449"/>
                  </a:cubicBezTo>
                  <a:cubicBezTo>
                    <a:pt x="4576" y="3484"/>
                    <a:pt x="4545" y="3502"/>
                    <a:pt x="4506" y="3502"/>
                  </a:cubicBezTo>
                  <a:cubicBezTo>
                    <a:pt x="4419" y="3502"/>
                    <a:pt x="4331" y="3379"/>
                    <a:pt x="4331" y="3285"/>
                  </a:cubicBezTo>
                  <a:cubicBezTo>
                    <a:pt x="4317" y="3225"/>
                    <a:pt x="4058" y="3057"/>
                    <a:pt x="3960" y="2991"/>
                  </a:cubicBezTo>
                  <a:lnTo>
                    <a:pt x="3901" y="2952"/>
                  </a:lnTo>
                  <a:cubicBezTo>
                    <a:pt x="3845" y="2914"/>
                    <a:pt x="3712" y="2893"/>
                    <a:pt x="3593" y="2872"/>
                  </a:cubicBezTo>
                  <a:cubicBezTo>
                    <a:pt x="3404" y="2837"/>
                    <a:pt x="3267" y="2812"/>
                    <a:pt x="3243" y="2721"/>
                  </a:cubicBezTo>
                  <a:cubicBezTo>
                    <a:pt x="3207" y="2686"/>
                    <a:pt x="3160" y="2668"/>
                    <a:pt x="3112" y="2668"/>
                  </a:cubicBezTo>
                  <a:cubicBezTo>
                    <a:pt x="3108" y="2668"/>
                    <a:pt x="3104" y="2668"/>
                    <a:pt x="3099" y="2669"/>
                  </a:cubicBezTo>
                  <a:cubicBezTo>
                    <a:pt x="3094" y="2668"/>
                    <a:pt x="3088" y="2667"/>
                    <a:pt x="3083" y="2667"/>
                  </a:cubicBezTo>
                  <a:cubicBezTo>
                    <a:pt x="3039" y="2667"/>
                    <a:pt x="2999" y="2691"/>
                    <a:pt x="2980" y="2732"/>
                  </a:cubicBezTo>
                  <a:cubicBezTo>
                    <a:pt x="2959" y="2784"/>
                    <a:pt x="2917" y="2830"/>
                    <a:pt x="2865" y="2851"/>
                  </a:cubicBezTo>
                  <a:cubicBezTo>
                    <a:pt x="2849" y="2856"/>
                    <a:pt x="2834" y="2858"/>
                    <a:pt x="2819" y="2858"/>
                  </a:cubicBezTo>
                  <a:cubicBezTo>
                    <a:pt x="2758" y="2858"/>
                    <a:pt x="2698" y="2822"/>
                    <a:pt x="2648" y="2791"/>
                  </a:cubicBezTo>
                  <a:cubicBezTo>
                    <a:pt x="2630" y="2781"/>
                    <a:pt x="2616" y="2770"/>
                    <a:pt x="2599" y="2763"/>
                  </a:cubicBezTo>
                  <a:cubicBezTo>
                    <a:pt x="2591" y="2760"/>
                    <a:pt x="2582" y="2758"/>
                    <a:pt x="2572" y="2758"/>
                  </a:cubicBezTo>
                  <a:cubicBezTo>
                    <a:pt x="2493" y="2758"/>
                    <a:pt x="2332" y="2840"/>
                    <a:pt x="2276" y="2868"/>
                  </a:cubicBezTo>
                  <a:lnTo>
                    <a:pt x="2245" y="2886"/>
                  </a:lnTo>
                  <a:cubicBezTo>
                    <a:pt x="2224" y="2893"/>
                    <a:pt x="2189" y="2914"/>
                    <a:pt x="2150" y="2938"/>
                  </a:cubicBezTo>
                  <a:lnTo>
                    <a:pt x="2122" y="2956"/>
                  </a:lnTo>
                  <a:cubicBezTo>
                    <a:pt x="1975" y="3043"/>
                    <a:pt x="1772" y="3159"/>
                    <a:pt x="1632" y="3159"/>
                  </a:cubicBezTo>
                  <a:cubicBezTo>
                    <a:pt x="1601" y="3159"/>
                    <a:pt x="1594" y="3166"/>
                    <a:pt x="1569" y="3225"/>
                  </a:cubicBezTo>
                  <a:cubicBezTo>
                    <a:pt x="1541" y="3327"/>
                    <a:pt x="1461" y="3404"/>
                    <a:pt x="1356" y="3425"/>
                  </a:cubicBezTo>
                  <a:cubicBezTo>
                    <a:pt x="1317" y="3428"/>
                    <a:pt x="1279" y="3449"/>
                    <a:pt x="1251" y="3481"/>
                  </a:cubicBezTo>
                  <a:cubicBezTo>
                    <a:pt x="1230" y="3516"/>
                    <a:pt x="1244" y="3572"/>
                    <a:pt x="1258" y="3621"/>
                  </a:cubicBezTo>
                  <a:lnTo>
                    <a:pt x="1261" y="3635"/>
                  </a:lnTo>
                  <a:cubicBezTo>
                    <a:pt x="1265" y="3656"/>
                    <a:pt x="1272" y="3673"/>
                    <a:pt x="1282" y="3691"/>
                  </a:cubicBezTo>
                  <a:cubicBezTo>
                    <a:pt x="1307" y="3761"/>
                    <a:pt x="1345" y="3852"/>
                    <a:pt x="1307" y="3936"/>
                  </a:cubicBezTo>
                  <a:cubicBezTo>
                    <a:pt x="1279" y="3992"/>
                    <a:pt x="1230" y="4034"/>
                    <a:pt x="1170" y="4051"/>
                  </a:cubicBezTo>
                  <a:cubicBezTo>
                    <a:pt x="1142" y="4062"/>
                    <a:pt x="1116" y="4067"/>
                    <a:pt x="1092" y="4067"/>
                  </a:cubicBezTo>
                  <a:cubicBezTo>
                    <a:pt x="969" y="4067"/>
                    <a:pt x="887" y="3948"/>
                    <a:pt x="817" y="3848"/>
                  </a:cubicBezTo>
                  <a:cubicBezTo>
                    <a:pt x="778" y="3785"/>
                    <a:pt x="729" y="3729"/>
                    <a:pt x="673" y="3680"/>
                  </a:cubicBezTo>
                  <a:cubicBezTo>
                    <a:pt x="651" y="3659"/>
                    <a:pt x="622" y="3648"/>
                    <a:pt x="593" y="3648"/>
                  </a:cubicBezTo>
                  <a:cubicBezTo>
                    <a:pt x="575" y="3648"/>
                    <a:pt x="557" y="3652"/>
                    <a:pt x="540" y="3659"/>
                  </a:cubicBezTo>
                  <a:cubicBezTo>
                    <a:pt x="495" y="3687"/>
                    <a:pt x="463" y="3736"/>
                    <a:pt x="459" y="3792"/>
                  </a:cubicBezTo>
                  <a:cubicBezTo>
                    <a:pt x="459" y="3803"/>
                    <a:pt x="459" y="3810"/>
                    <a:pt x="459" y="3820"/>
                  </a:cubicBezTo>
                  <a:cubicBezTo>
                    <a:pt x="459" y="3950"/>
                    <a:pt x="372" y="4009"/>
                    <a:pt x="302" y="4058"/>
                  </a:cubicBezTo>
                  <a:cubicBezTo>
                    <a:pt x="242" y="4094"/>
                    <a:pt x="197" y="4136"/>
                    <a:pt x="162" y="4192"/>
                  </a:cubicBezTo>
                  <a:cubicBezTo>
                    <a:pt x="137" y="4230"/>
                    <a:pt x="137" y="4244"/>
                    <a:pt x="232" y="4300"/>
                  </a:cubicBezTo>
                  <a:cubicBezTo>
                    <a:pt x="281" y="4328"/>
                    <a:pt x="340" y="4360"/>
                    <a:pt x="340" y="4426"/>
                  </a:cubicBezTo>
                  <a:cubicBezTo>
                    <a:pt x="340" y="4458"/>
                    <a:pt x="330" y="4486"/>
                    <a:pt x="309" y="4510"/>
                  </a:cubicBezTo>
                  <a:cubicBezTo>
                    <a:pt x="256" y="4573"/>
                    <a:pt x="186" y="4619"/>
                    <a:pt x="113" y="4654"/>
                  </a:cubicBezTo>
                  <a:cubicBezTo>
                    <a:pt x="74" y="4689"/>
                    <a:pt x="1" y="4853"/>
                    <a:pt x="15" y="4899"/>
                  </a:cubicBezTo>
                  <a:lnTo>
                    <a:pt x="22" y="4902"/>
                  </a:lnTo>
                  <a:cubicBezTo>
                    <a:pt x="43" y="4913"/>
                    <a:pt x="64" y="4920"/>
                    <a:pt x="88" y="4923"/>
                  </a:cubicBezTo>
                  <a:lnTo>
                    <a:pt x="99" y="4927"/>
                  </a:lnTo>
                  <a:cubicBezTo>
                    <a:pt x="197" y="4955"/>
                    <a:pt x="361" y="4997"/>
                    <a:pt x="340" y="5161"/>
                  </a:cubicBezTo>
                  <a:cubicBezTo>
                    <a:pt x="330" y="5224"/>
                    <a:pt x="323" y="5287"/>
                    <a:pt x="319" y="5347"/>
                  </a:cubicBezTo>
                  <a:cubicBezTo>
                    <a:pt x="319" y="5357"/>
                    <a:pt x="319" y="5364"/>
                    <a:pt x="319" y="5371"/>
                  </a:cubicBezTo>
                  <a:cubicBezTo>
                    <a:pt x="323" y="5375"/>
                    <a:pt x="323" y="5382"/>
                    <a:pt x="326" y="5389"/>
                  </a:cubicBezTo>
                  <a:cubicBezTo>
                    <a:pt x="333" y="5385"/>
                    <a:pt x="340" y="5385"/>
                    <a:pt x="347" y="5382"/>
                  </a:cubicBezTo>
                  <a:cubicBezTo>
                    <a:pt x="424" y="5360"/>
                    <a:pt x="505" y="5348"/>
                    <a:pt x="586" y="5348"/>
                  </a:cubicBezTo>
                  <a:cubicBezTo>
                    <a:pt x="620" y="5348"/>
                    <a:pt x="653" y="5350"/>
                    <a:pt x="687" y="5354"/>
                  </a:cubicBezTo>
                  <a:lnTo>
                    <a:pt x="757" y="5354"/>
                  </a:lnTo>
                  <a:cubicBezTo>
                    <a:pt x="852" y="5354"/>
                    <a:pt x="915" y="5445"/>
                    <a:pt x="992" y="5560"/>
                  </a:cubicBezTo>
                  <a:cubicBezTo>
                    <a:pt x="1041" y="5630"/>
                    <a:pt x="1090" y="5700"/>
                    <a:pt x="1146" y="5767"/>
                  </a:cubicBezTo>
                  <a:cubicBezTo>
                    <a:pt x="1279" y="5914"/>
                    <a:pt x="1352" y="6008"/>
                    <a:pt x="1328" y="6103"/>
                  </a:cubicBezTo>
                  <a:cubicBezTo>
                    <a:pt x="1303" y="6180"/>
                    <a:pt x="1216" y="6205"/>
                    <a:pt x="1188" y="6212"/>
                  </a:cubicBezTo>
                  <a:cubicBezTo>
                    <a:pt x="1174" y="6215"/>
                    <a:pt x="1160" y="6219"/>
                    <a:pt x="1146" y="6226"/>
                  </a:cubicBezTo>
                  <a:cubicBezTo>
                    <a:pt x="1184" y="6264"/>
                    <a:pt x="1230" y="6292"/>
                    <a:pt x="1279" y="6313"/>
                  </a:cubicBezTo>
                  <a:lnTo>
                    <a:pt x="1317" y="6331"/>
                  </a:lnTo>
                  <a:cubicBezTo>
                    <a:pt x="1370" y="6359"/>
                    <a:pt x="1419" y="6387"/>
                    <a:pt x="1468" y="6418"/>
                  </a:cubicBezTo>
                  <a:cubicBezTo>
                    <a:pt x="1485" y="6404"/>
                    <a:pt x="1503" y="6390"/>
                    <a:pt x="1520" y="6376"/>
                  </a:cubicBezTo>
                  <a:cubicBezTo>
                    <a:pt x="1768" y="6155"/>
                    <a:pt x="2173" y="5963"/>
                    <a:pt x="2526" y="5963"/>
                  </a:cubicBezTo>
                  <a:cubicBezTo>
                    <a:pt x="2597" y="5963"/>
                    <a:pt x="2666" y="5970"/>
                    <a:pt x="2732" y="5987"/>
                  </a:cubicBezTo>
                  <a:cubicBezTo>
                    <a:pt x="2832" y="6010"/>
                    <a:pt x="2938" y="6021"/>
                    <a:pt x="3044" y="6021"/>
                  </a:cubicBezTo>
                  <a:cubicBezTo>
                    <a:pt x="3070" y="6021"/>
                    <a:pt x="3097" y="6020"/>
                    <a:pt x="3124" y="6019"/>
                  </a:cubicBezTo>
                  <a:cubicBezTo>
                    <a:pt x="3151" y="6018"/>
                    <a:pt x="3179" y="6018"/>
                    <a:pt x="3206" y="6018"/>
                  </a:cubicBezTo>
                  <a:cubicBezTo>
                    <a:pt x="3363" y="6018"/>
                    <a:pt x="3508" y="6035"/>
                    <a:pt x="3607" y="6173"/>
                  </a:cubicBezTo>
                  <a:cubicBezTo>
                    <a:pt x="3715" y="6331"/>
                    <a:pt x="3694" y="6548"/>
                    <a:pt x="3677" y="6740"/>
                  </a:cubicBezTo>
                  <a:cubicBezTo>
                    <a:pt x="3666" y="6842"/>
                    <a:pt x="3656" y="6947"/>
                    <a:pt x="3677" y="6996"/>
                  </a:cubicBezTo>
                  <a:cubicBezTo>
                    <a:pt x="3698" y="7045"/>
                    <a:pt x="3691" y="7101"/>
                    <a:pt x="3659" y="7143"/>
                  </a:cubicBezTo>
                  <a:cubicBezTo>
                    <a:pt x="3594" y="7226"/>
                    <a:pt x="3431" y="7245"/>
                    <a:pt x="3294" y="7245"/>
                  </a:cubicBezTo>
                  <a:cubicBezTo>
                    <a:pt x="3187" y="7245"/>
                    <a:pt x="3095" y="7233"/>
                    <a:pt x="3075" y="7230"/>
                  </a:cubicBezTo>
                  <a:cubicBezTo>
                    <a:pt x="3048" y="7227"/>
                    <a:pt x="3020" y="7225"/>
                    <a:pt x="2990" y="7225"/>
                  </a:cubicBezTo>
                  <a:cubicBezTo>
                    <a:pt x="2766" y="7225"/>
                    <a:pt x="2477" y="7322"/>
                    <a:pt x="2462" y="7381"/>
                  </a:cubicBezTo>
                  <a:cubicBezTo>
                    <a:pt x="2465" y="7391"/>
                    <a:pt x="2472" y="7405"/>
                    <a:pt x="2479" y="7419"/>
                  </a:cubicBezTo>
                  <a:cubicBezTo>
                    <a:pt x="2560" y="7594"/>
                    <a:pt x="2613" y="7731"/>
                    <a:pt x="2539" y="7801"/>
                  </a:cubicBezTo>
                  <a:cubicBezTo>
                    <a:pt x="2515" y="7822"/>
                    <a:pt x="2488" y="7830"/>
                    <a:pt x="2458" y="7830"/>
                  </a:cubicBezTo>
                  <a:cubicBezTo>
                    <a:pt x="2403" y="7830"/>
                    <a:pt x="2341" y="7802"/>
                    <a:pt x="2287" y="7773"/>
                  </a:cubicBezTo>
                  <a:cubicBezTo>
                    <a:pt x="2238" y="7744"/>
                    <a:pt x="2191" y="7730"/>
                    <a:pt x="2150" y="7730"/>
                  </a:cubicBezTo>
                  <a:cubicBezTo>
                    <a:pt x="2112" y="7730"/>
                    <a:pt x="2080" y="7742"/>
                    <a:pt x="2056" y="7766"/>
                  </a:cubicBezTo>
                  <a:cubicBezTo>
                    <a:pt x="2038" y="7780"/>
                    <a:pt x="2028" y="7804"/>
                    <a:pt x="2031" y="7825"/>
                  </a:cubicBezTo>
                  <a:lnTo>
                    <a:pt x="2045" y="7825"/>
                  </a:lnTo>
                  <a:cubicBezTo>
                    <a:pt x="2259" y="7825"/>
                    <a:pt x="2532" y="8060"/>
                    <a:pt x="2532" y="8246"/>
                  </a:cubicBezTo>
                  <a:cubicBezTo>
                    <a:pt x="2532" y="8470"/>
                    <a:pt x="2567" y="8578"/>
                    <a:pt x="2602" y="8603"/>
                  </a:cubicBezTo>
                  <a:cubicBezTo>
                    <a:pt x="2604" y="8603"/>
                    <a:pt x="2607" y="8606"/>
                    <a:pt x="2613" y="8606"/>
                  </a:cubicBezTo>
                  <a:cubicBezTo>
                    <a:pt x="2616" y="8606"/>
                    <a:pt x="2621" y="8605"/>
                    <a:pt x="2627" y="8603"/>
                  </a:cubicBezTo>
                  <a:cubicBezTo>
                    <a:pt x="2647" y="8596"/>
                    <a:pt x="2665" y="8593"/>
                    <a:pt x="2683" y="8593"/>
                  </a:cubicBezTo>
                  <a:cubicBezTo>
                    <a:pt x="2768" y="8593"/>
                    <a:pt x="2820" y="8663"/>
                    <a:pt x="2861" y="8718"/>
                  </a:cubicBezTo>
                  <a:cubicBezTo>
                    <a:pt x="2912" y="8785"/>
                    <a:pt x="2946" y="8827"/>
                    <a:pt x="3017" y="8827"/>
                  </a:cubicBezTo>
                  <a:cubicBezTo>
                    <a:pt x="3020" y="8827"/>
                    <a:pt x="3023" y="8827"/>
                    <a:pt x="3026" y="8827"/>
                  </a:cubicBezTo>
                  <a:cubicBezTo>
                    <a:pt x="3047" y="8825"/>
                    <a:pt x="3069" y="8824"/>
                    <a:pt x="3089" y="8824"/>
                  </a:cubicBezTo>
                  <a:cubicBezTo>
                    <a:pt x="3249" y="8824"/>
                    <a:pt x="3363" y="8872"/>
                    <a:pt x="3404" y="8953"/>
                  </a:cubicBezTo>
                  <a:cubicBezTo>
                    <a:pt x="3432" y="9005"/>
                    <a:pt x="3442" y="9089"/>
                    <a:pt x="3341" y="9208"/>
                  </a:cubicBezTo>
                  <a:cubicBezTo>
                    <a:pt x="3299" y="9257"/>
                    <a:pt x="3288" y="9345"/>
                    <a:pt x="3309" y="9457"/>
                  </a:cubicBezTo>
                  <a:cubicBezTo>
                    <a:pt x="3327" y="9562"/>
                    <a:pt x="3365" y="9660"/>
                    <a:pt x="3421" y="9747"/>
                  </a:cubicBezTo>
                  <a:cubicBezTo>
                    <a:pt x="3425" y="9723"/>
                    <a:pt x="3425" y="9698"/>
                    <a:pt x="3428" y="9674"/>
                  </a:cubicBezTo>
                  <a:cubicBezTo>
                    <a:pt x="3428" y="9600"/>
                    <a:pt x="3439" y="9527"/>
                    <a:pt x="3467" y="9457"/>
                  </a:cubicBezTo>
                  <a:lnTo>
                    <a:pt x="3467" y="9450"/>
                  </a:lnTo>
                  <a:cubicBezTo>
                    <a:pt x="3467" y="9446"/>
                    <a:pt x="3463" y="9443"/>
                    <a:pt x="3463" y="9439"/>
                  </a:cubicBezTo>
                  <a:cubicBezTo>
                    <a:pt x="3460" y="9432"/>
                    <a:pt x="3460" y="9425"/>
                    <a:pt x="3456" y="9418"/>
                  </a:cubicBezTo>
                  <a:cubicBezTo>
                    <a:pt x="3456" y="9411"/>
                    <a:pt x="3456" y="9408"/>
                    <a:pt x="3456" y="9404"/>
                  </a:cubicBezTo>
                  <a:lnTo>
                    <a:pt x="3456" y="9387"/>
                  </a:lnTo>
                  <a:lnTo>
                    <a:pt x="3456" y="9376"/>
                  </a:lnTo>
                  <a:lnTo>
                    <a:pt x="3456" y="9359"/>
                  </a:lnTo>
                  <a:lnTo>
                    <a:pt x="3456" y="9348"/>
                  </a:lnTo>
                  <a:cubicBezTo>
                    <a:pt x="3456" y="9345"/>
                    <a:pt x="3456" y="9338"/>
                    <a:pt x="3460" y="9331"/>
                  </a:cubicBezTo>
                  <a:cubicBezTo>
                    <a:pt x="3463" y="9327"/>
                    <a:pt x="3460" y="9327"/>
                    <a:pt x="3460" y="9324"/>
                  </a:cubicBezTo>
                  <a:cubicBezTo>
                    <a:pt x="3460" y="9320"/>
                    <a:pt x="3463" y="9313"/>
                    <a:pt x="3463" y="9310"/>
                  </a:cubicBezTo>
                  <a:lnTo>
                    <a:pt x="3467" y="9299"/>
                  </a:lnTo>
                  <a:cubicBezTo>
                    <a:pt x="3467" y="9296"/>
                    <a:pt x="3470" y="9292"/>
                    <a:pt x="3474" y="9289"/>
                  </a:cubicBezTo>
                  <a:lnTo>
                    <a:pt x="3477" y="9282"/>
                  </a:lnTo>
                  <a:cubicBezTo>
                    <a:pt x="3481" y="9275"/>
                    <a:pt x="3484" y="9271"/>
                    <a:pt x="3488" y="9264"/>
                  </a:cubicBezTo>
                  <a:cubicBezTo>
                    <a:pt x="3586" y="9114"/>
                    <a:pt x="3887" y="9096"/>
                    <a:pt x="4104" y="9096"/>
                  </a:cubicBezTo>
                  <a:cubicBezTo>
                    <a:pt x="4307" y="9096"/>
                    <a:pt x="4629" y="9376"/>
                    <a:pt x="4825" y="9642"/>
                  </a:cubicBezTo>
                  <a:cubicBezTo>
                    <a:pt x="4860" y="9702"/>
                    <a:pt x="4920" y="9744"/>
                    <a:pt x="4990" y="9758"/>
                  </a:cubicBezTo>
                  <a:cubicBezTo>
                    <a:pt x="4995" y="9758"/>
                    <a:pt x="4999" y="9759"/>
                    <a:pt x="5004" y="9759"/>
                  </a:cubicBezTo>
                  <a:cubicBezTo>
                    <a:pt x="5037" y="9759"/>
                    <a:pt x="5067" y="9749"/>
                    <a:pt x="5095" y="9733"/>
                  </a:cubicBezTo>
                  <a:lnTo>
                    <a:pt x="5161" y="7297"/>
                  </a:lnTo>
                  <a:lnTo>
                    <a:pt x="6561" y="6926"/>
                  </a:lnTo>
                  <a:cubicBezTo>
                    <a:pt x="6572" y="6898"/>
                    <a:pt x="6586" y="6873"/>
                    <a:pt x="6600" y="6852"/>
                  </a:cubicBezTo>
                  <a:cubicBezTo>
                    <a:pt x="6649" y="6772"/>
                    <a:pt x="6726" y="6719"/>
                    <a:pt x="6817" y="6702"/>
                  </a:cubicBezTo>
                  <a:cubicBezTo>
                    <a:pt x="6833" y="6699"/>
                    <a:pt x="6850" y="6697"/>
                    <a:pt x="6866" y="6697"/>
                  </a:cubicBezTo>
                  <a:cubicBezTo>
                    <a:pt x="6977" y="6697"/>
                    <a:pt x="7079" y="6765"/>
                    <a:pt x="7146" y="6814"/>
                  </a:cubicBezTo>
                  <a:cubicBezTo>
                    <a:pt x="7170" y="6736"/>
                    <a:pt x="7213" y="6578"/>
                    <a:pt x="7368" y="6578"/>
                  </a:cubicBezTo>
                  <a:cubicBezTo>
                    <a:pt x="7374" y="6578"/>
                    <a:pt x="7381" y="6579"/>
                    <a:pt x="7388" y="6579"/>
                  </a:cubicBezTo>
                  <a:cubicBezTo>
                    <a:pt x="7433" y="6583"/>
                    <a:pt x="7475" y="6600"/>
                    <a:pt x="7503" y="6635"/>
                  </a:cubicBezTo>
                  <a:cubicBezTo>
                    <a:pt x="7549" y="6691"/>
                    <a:pt x="7538" y="6772"/>
                    <a:pt x="7528" y="6838"/>
                  </a:cubicBezTo>
                  <a:cubicBezTo>
                    <a:pt x="7524" y="6859"/>
                    <a:pt x="7524" y="6880"/>
                    <a:pt x="7524" y="6901"/>
                  </a:cubicBezTo>
                  <a:cubicBezTo>
                    <a:pt x="7580" y="6908"/>
                    <a:pt x="7636" y="6950"/>
                    <a:pt x="7699" y="7031"/>
                  </a:cubicBezTo>
                  <a:cubicBezTo>
                    <a:pt x="7815" y="7181"/>
                    <a:pt x="7916" y="7437"/>
                    <a:pt x="7878" y="7661"/>
                  </a:cubicBezTo>
                  <a:lnTo>
                    <a:pt x="7881" y="7664"/>
                  </a:lnTo>
                  <a:lnTo>
                    <a:pt x="7902" y="7682"/>
                  </a:lnTo>
                  <a:lnTo>
                    <a:pt x="7923" y="7703"/>
                  </a:lnTo>
                  <a:lnTo>
                    <a:pt x="7944" y="7724"/>
                  </a:lnTo>
                  <a:lnTo>
                    <a:pt x="7969" y="7745"/>
                  </a:lnTo>
                  <a:lnTo>
                    <a:pt x="7993" y="7766"/>
                  </a:lnTo>
                  <a:lnTo>
                    <a:pt x="8018" y="7790"/>
                  </a:lnTo>
                  <a:lnTo>
                    <a:pt x="8042" y="7811"/>
                  </a:lnTo>
                  <a:lnTo>
                    <a:pt x="8067" y="7839"/>
                  </a:lnTo>
                  <a:lnTo>
                    <a:pt x="8091" y="7860"/>
                  </a:lnTo>
                  <a:lnTo>
                    <a:pt x="8116" y="7888"/>
                  </a:lnTo>
                  <a:lnTo>
                    <a:pt x="8140" y="7913"/>
                  </a:lnTo>
                  <a:lnTo>
                    <a:pt x="8165" y="7941"/>
                  </a:lnTo>
                  <a:lnTo>
                    <a:pt x="8189" y="7965"/>
                  </a:lnTo>
                  <a:lnTo>
                    <a:pt x="8214" y="7993"/>
                  </a:lnTo>
                  <a:lnTo>
                    <a:pt x="8238" y="8018"/>
                  </a:lnTo>
                  <a:lnTo>
                    <a:pt x="8263" y="8042"/>
                  </a:lnTo>
                  <a:lnTo>
                    <a:pt x="8287" y="8070"/>
                  </a:lnTo>
                  <a:lnTo>
                    <a:pt x="8308" y="8095"/>
                  </a:lnTo>
                  <a:lnTo>
                    <a:pt x="8329" y="8119"/>
                  </a:lnTo>
                  <a:lnTo>
                    <a:pt x="8350" y="8144"/>
                  </a:lnTo>
                  <a:lnTo>
                    <a:pt x="8371" y="8168"/>
                  </a:lnTo>
                  <a:lnTo>
                    <a:pt x="8392" y="8193"/>
                  </a:lnTo>
                  <a:lnTo>
                    <a:pt x="8410" y="8214"/>
                  </a:lnTo>
                  <a:lnTo>
                    <a:pt x="8424" y="8235"/>
                  </a:lnTo>
                  <a:lnTo>
                    <a:pt x="8441" y="8256"/>
                  </a:lnTo>
                  <a:lnTo>
                    <a:pt x="8455" y="8277"/>
                  </a:lnTo>
                  <a:lnTo>
                    <a:pt x="8469" y="8295"/>
                  </a:lnTo>
                  <a:lnTo>
                    <a:pt x="8480" y="8312"/>
                  </a:lnTo>
                  <a:lnTo>
                    <a:pt x="8490" y="8330"/>
                  </a:lnTo>
                  <a:cubicBezTo>
                    <a:pt x="8494" y="8337"/>
                    <a:pt x="8494" y="8340"/>
                    <a:pt x="8497" y="8347"/>
                  </a:cubicBezTo>
                  <a:cubicBezTo>
                    <a:pt x="8501" y="8351"/>
                    <a:pt x="8501" y="8354"/>
                    <a:pt x="8504" y="8358"/>
                  </a:cubicBezTo>
                  <a:cubicBezTo>
                    <a:pt x="8512" y="8361"/>
                    <a:pt x="8525" y="8362"/>
                    <a:pt x="8541" y="8362"/>
                  </a:cubicBezTo>
                  <a:cubicBezTo>
                    <a:pt x="8616" y="8362"/>
                    <a:pt x="8764" y="8332"/>
                    <a:pt x="8851" y="8312"/>
                  </a:cubicBezTo>
                  <a:lnTo>
                    <a:pt x="8900" y="8302"/>
                  </a:lnTo>
                  <a:lnTo>
                    <a:pt x="8918" y="8298"/>
                  </a:lnTo>
                  <a:lnTo>
                    <a:pt x="8956" y="8291"/>
                  </a:lnTo>
                  <a:lnTo>
                    <a:pt x="8967" y="8288"/>
                  </a:lnTo>
                  <a:lnTo>
                    <a:pt x="9009" y="8281"/>
                  </a:lnTo>
                  <a:lnTo>
                    <a:pt x="9019" y="8281"/>
                  </a:lnTo>
                  <a:lnTo>
                    <a:pt x="9047" y="8277"/>
                  </a:lnTo>
                  <a:lnTo>
                    <a:pt x="9061" y="8277"/>
                  </a:lnTo>
                  <a:lnTo>
                    <a:pt x="9093" y="8274"/>
                  </a:lnTo>
                  <a:lnTo>
                    <a:pt x="9152" y="8274"/>
                  </a:lnTo>
                  <a:cubicBezTo>
                    <a:pt x="9163" y="8277"/>
                    <a:pt x="9170" y="8277"/>
                    <a:pt x="9180" y="8281"/>
                  </a:cubicBezTo>
                  <a:cubicBezTo>
                    <a:pt x="9222" y="8298"/>
                    <a:pt x="9534" y="8319"/>
                    <a:pt x="10258" y="8319"/>
                  </a:cubicBezTo>
                  <a:cubicBezTo>
                    <a:pt x="10363" y="8319"/>
                    <a:pt x="10444" y="8407"/>
                    <a:pt x="10521" y="8494"/>
                  </a:cubicBezTo>
                  <a:cubicBezTo>
                    <a:pt x="10580" y="8561"/>
                    <a:pt x="10640" y="8631"/>
                    <a:pt x="10706" y="8648"/>
                  </a:cubicBezTo>
                  <a:cubicBezTo>
                    <a:pt x="10882" y="8690"/>
                    <a:pt x="10882" y="8897"/>
                    <a:pt x="10882" y="9061"/>
                  </a:cubicBezTo>
                  <a:cubicBezTo>
                    <a:pt x="10878" y="9114"/>
                    <a:pt x="10878" y="9170"/>
                    <a:pt x="10885" y="9222"/>
                  </a:cubicBezTo>
                  <a:cubicBezTo>
                    <a:pt x="10892" y="9303"/>
                    <a:pt x="10962" y="9397"/>
                    <a:pt x="11029" y="9488"/>
                  </a:cubicBezTo>
                  <a:cubicBezTo>
                    <a:pt x="11106" y="9586"/>
                    <a:pt x="11176" y="9681"/>
                    <a:pt x="11186" y="9782"/>
                  </a:cubicBezTo>
                  <a:cubicBezTo>
                    <a:pt x="11193" y="9831"/>
                    <a:pt x="11249" y="9838"/>
                    <a:pt x="11400" y="9838"/>
                  </a:cubicBezTo>
                  <a:cubicBezTo>
                    <a:pt x="11473" y="9838"/>
                    <a:pt x="11543" y="9842"/>
                    <a:pt x="11613" y="9856"/>
                  </a:cubicBezTo>
                  <a:cubicBezTo>
                    <a:pt x="11802" y="9905"/>
                    <a:pt x="12086" y="9975"/>
                    <a:pt x="12114" y="10192"/>
                  </a:cubicBezTo>
                  <a:cubicBezTo>
                    <a:pt x="12114" y="10202"/>
                    <a:pt x="12117" y="10209"/>
                    <a:pt x="12121" y="10216"/>
                  </a:cubicBezTo>
                  <a:cubicBezTo>
                    <a:pt x="12138" y="10216"/>
                    <a:pt x="12152" y="10213"/>
                    <a:pt x="12163" y="10206"/>
                  </a:cubicBezTo>
                  <a:lnTo>
                    <a:pt x="12177" y="10195"/>
                  </a:lnTo>
                  <a:cubicBezTo>
                    <a:pt x="12208" y="10174"/>
                    <a:pt x="12233" y="10139"/>
                    <a:pt x="12243" y="10104"/>
                  </a:cubicBezTo>
                  <a:cubicBezTo>
                    <a:pt x="12271" y="9943"/>
                    <a:pt x="12499" y="9758"/>
                    <a:pt x="12845" y="9621"/>
                  </a:cubicBezTo>
                  <a:cubicBezTo>
                    <a:pt x="12863" y="9614"/>
                    <a:pt x="12884" y="9607"/>
                    <a:pt x="12901" y="9600"/>
                  </a:cubicBezTo>
                  <a:lnTo>
                    <a:pt x="12915" y="9597"/>
                  </a:lnTo>
                  <a:cubicBezTo>
                    <a:pt x="12930" y="9593"/>
                    <a:pt x="12944" y="9586"/>
                    <a:pt x="12958" y="9583"/>
                  </a:cubicBezTo>
                  <a:lnTo>
                    <a:pt x="12965" y="9583"/>
                  </a:lnTo>
                  <a:cubicBezTo>
                    <a:pt x="12982" y="9579"/>
                    <a:pt x="12996" y="9579"/>
                    <a:pt x="13010" y="9576"/>
                  </a:cubicBezTo>
                  <a:lnTo>
                    <a:pt x="13031" y="9572"/>
                  </a:lnTo>
                  <a:lnTo>
                    <a:pt x="13049" y="9572"/>
                  </a:lnTo>
                  <a:cubicBezTo>
                    <a:pt x="13058" y="9571"/>
                    <a:pt x="13067" y="9571"/>
                    <a:pt x="13076" y="9571"/>
                  </a:cubicBezTo>
                  <a:cubicBezTo>
                    <a:pt x="13098" y="9571"/>
                    <a:pt x="13121" y="9573"/>
                    <a:pt x="13143" y="9576"/>
                  </a:cubicBezTo>
                  <a:cubicBezTo>
                    <a:pt x="13161" y="9534"/>
                    <a:pt x="13178" y="9495"/>
                    <a:pt x="13192" y="9464"/>
                  </a:cubicBezTo>
                  <a:lnTo>
                    <a:pt x="13196" y="9457"/>
                  </a:lnTo>
                  <a:lnTo>
                    <a:pt x="13206" y="9432"/>
                  </a:lnTo>
                  <a:lnTo>
                    <a:pt x="13213" y="9425"/>
                  </a:lnTo>
                  <a:lnTo>
                    <a:pt x="13220" y="9408"/>
                  </a:lnTo>
                  <a:lnTo>
                    <a:pt x="13227" y="9397"/>
                  </a:lnTo>
                  <a:lnTo>
                    <a:pt x="13234" y="9383"/>
                  </a:lnTo>
                  <a:lnTo>
                    <a:pt x="13238" y="9376"/>
                  </a:lnTo>
                  <a:lnTo>
                    <a:pt x="13245" y="9366"/>
                  </a:lnTo>
                  <a:lnTo>
                    <a:pt x="13252" y="9359"/>
                  </a:lnTo>
                  <a:lnTo>
                    <a:pt x="13255" y="9348"/>
                  </a:lnTo>
                  <a:lnTo>
                    <a:pt x="13262" y="9345"/>
                  </a:lnTo>
                  <a:lnTo>
                    <a:pt x="13266" y="9334"/>
                  </a:lnTo>
                  <a:lnTo>
                    <a:pt x="13273" y="9331"/>
                  </a:lnTo>
                  <a:lnTo>
                    <a:pt x="13276" y="9324"/>
                  </a:lnTo>
                  <a:lnTo>
                    <a:pt x="13280" y="9320"/>
                  </a:lnTo>
                  <a:lnTo>
                    <a:pt x="13287" y="9313"/>
                  </a:lnTo>
                  <a:lnTo>
                    <a:pt x="13290" y="9313"/>
                  </a:lnTo>
                  <a:lnTo>
                    <a:pt x="13294" y="9306"/>
                  </a:lnTo>
                  <a:lnTo>
                    <a:pt x="13297" y="9306"/>
                  </a:lnTo>
                  <a:lnTo>
                    <a:pt x="13304" y="9303"/>
                  </a:lnTo>
                  <a:lnTo>
                    <a:pt x="13308" y="9303"/>
                  </a:lnTo>
                  <a:lnTo>
                    <a:pt x="13311" y="9299"/>
                  </a:lnTo>
                  <a:lnTo>
                    <a:pt x="13318" y="9296"/>
                  </a:lnTo>
                  <a:cubicBezTo>
                    <a:pt x="13416" y="9250"/>
                    <a:pt x="13605" y="9107"/>
                    <a:pt x="13619" y="8977"/>
                  </a:cubicBezTo>
                  <a:cubicBezTo>
                    <a:pt x="13626" y="8918"/>
                    <a:pt x="13665" y="8869"/>
                    <a:pt x="13717" y="8844"/>
                  </a:cubicBezTo>
                  <a:cubicBezTo>
                    <a:pt x="13778" y="8810"/>
                    <a:pt x="13867" y="8794"/>
                    <a:pt x="13966" y="8794"/>
                  </a:cubicBezTo>
                  <a:cubicBezTo>
                    <a:pt x="14124" y="8794"/>
                    <a:pt x="14309" y="8834"/>
                    <a:pt x="14459" y="8907"/>
                  </a:cubicBezTo>
                  <a:cubicBezTo>
                    <a:pt x="14608" y="8983"/>
                    <a:pt x="14696" y="9003"/>
                    <a:pt x="14747" y="9003"/>
                  </a:cubicBezTo>
                  <a:cubicBezTo>
                    <a:pt x="14774" y="9003"/>
                    <a:pt x="14792" y="8997"/>
                    <a:pt x="14802" y="8991"/>
                  </a:cubicBezTo>
                  <a:cubicBezTo>
                    <a:pt x="14834" y="8974"/>
                    <a:pt x="14848" y="8939"/>
                    <a:pt x="14851" y="8883"/>
                  </a:cubicBezTo>
                  <a:cubicBezTo>
                    <a:pt x="14862" y="8785"/>
                    <a:pt x="14921" y="8697"/>
                    <a:pt x="15013" y="8655"/>
                  </a:cubicBezTo>
                  <a:cubicBezTo>
                    <a:pt x="15106" y="8602"/>
                    <a:pt x="15236" y="8572"/>
                    <a:pt x="15348" y="8572"/>
                  </a:cubicBezTo>
                  <a:cubicBezTo>
                    <a:pt x="15412" y="8572"/>
                    <a:pt x="15471" y="8582"/>
                    <a:pt x="15513" y="8603"/>
                  </a:cubicBezTo>
                  <a:lnTo>
                    <a:pt x="15555" y="8624"/>
                  </a:lnTo>
                  <a:cubicBezTo>
                    <a:pt x="15669" y="8683"/>
                    <a:pt x="15941" y="8822"/>
                    <a:pt x="16109" y="8822"/>
                  </a:cubicBezTo>
                  <a:cubicBezTo>
                    <a:pt x="16138" y="8822"/>
                    <a:pt x="16164" y="8818"/>
                    <a:pt x="16185" y="8809"/>
                  </a:cubicBezTo>
                  <a:cubicBezTo>
                    <a:pt x="16245" y="8785"/>
                    <a:pt x="16364" y="8775"/>
                    <a:pt x="16510" y="8775"/>
                  </a:cubicBezTo>
                  <a:cubicBezTo>
                    <a:pt x="16891" y="8775"/>
                    <a:pt x="17455" y="8842"/>
                    <a:pt x="17635" y="8890"/>
                  </a:cubicBezTo>
                  <a:cubicBezTo>
                    <a:pt x="17671" y="8898"/>
                    <a:pt x="17709" y="8903"/>
                    <a:pt x="17747" y="8903"/>
                  </a:cubicBezTo>
                  <a:cubicBezTo>
                    <a:pt x="17772" y="8903"/>
                    <a:pt x="17797" y="8901"/>
                    <a:pt x="17820" y="8897"/>
                  </a:cubicBezTo>
                  <a:cubicBezTo>
                    <a:pt x="17845" y="8893"/>
                    <a:pt x="17866" y="8893"/>
                    <a:pt x="17890" y="8893"/>
                  </a:cubicBezTo>
                  <a:cubicBezTo>
                    <a:pt x="17985" y="8893"/>
                    <a:pt x="18065" y="8918"/>
                    <a:pt x="18184" y="9054"/>
                  </a:cubicBezTo>
                  <a:cubicBezTo>
                    <a:pt x="18240" y="9117"/>
                    <a:pt x="18279" y="9135"/>
                    <a:pt x="18321" y="9138"/>
                  </a:cubicBezTo>
                  <a:lnTo>
                    <a:pt x="18464" y="9138"/>
                  </a:lnTo>
                  <a:lnTo>
                    <a:pt x="18482" y="9142"/>
                  </a:lnTo>
                  <a:cubicBezTo>
                    <a:pt x="18489" y="9142"/>
                    <a:pt x="18499" y="9149"/>
                    <a:pt x="18506" y="9149"/>
                  </a:cubicBezTo>
                  <a:lnTo>
                    <a:pt x="18517" y="9152"/>
                  </a:lnTo>
                  <a:lnTo>
                    <a:pt x="18517" y="9128"/>
                  </a:lnTo>
                  <a:lnTo>
                    <a:pt x="18517" y="9117"/>
                  </a:lnTo>
                  <a:cubicBezTo>
                    <a:pt x="18517" y="9093"/>
                    <a:pt x="18517" y="9072"/>
                    <a:pt x="18517" y="9047"/>
                  </a:cubicBezTo>
                  <a:cubicBezTo>
                    <a:pt x="18517" y="8928"/>
                    <a:pt x="18615" y="8830"/>
                    <a:pt x="18699" y="8743"/>
                  </a:cubicBezTo>
                  <a:cubicBezTo>
                    <a:pt x="18744" y="8704"/>
                    <a:pt x="18779" y="8662"/>
                    <a:pt x="18811" y="8610"/>
                  </a:cubicBezTo>
                  <a:cubicBezTo>
                    <a:pt x="18828" y="8568"/>
                    <a:pt x="18741" y="8400"/>
                    <a:pt x="18695" y="8309"/>
                  </a:cubicBezTo>
                  <a:cubicBezTo>
                    <a:pt x="18629" y="8179"/>
                    <a:pt x="18587" y="8095"/>
                    <a:pt x="18587" y="8028"/>
                  </a:cubicBezTo>
                  <a:lnTo>
                    <a:pt x="18587" y="7972"/>
                  </a:lnTo>
                  <a:cubicBezTo>
                    <a:pt x="18583" y="7710"/>
                    <a:pt x="18538" y="7633"/>
                    <a:pt x="18503" y="7615"/>
                  </a:cubicBezTo>
                  <a:cubicBezTo>
                    <a:pt x="18457" y="7598"/>
                    <a:pt x="18433" y="7549"/>
                    <a:pt x="18443" y="7500"/>
                  </a:cubicBezTo>
                  <a:cubicBezTo>
                    <a:pt x="18474" y="7386"/>
                    <a:pt x="18757" y="7276"/>
                    <a:pt x="18845" y="7276"/>
                  </a:cubicBezTo>
                  <a:cubicBezTo>
                    <a:pt x="18847" y="7276"/>
                    <a:pt x="18848" y="7276"/>
                    <a:pt x="18849" y="7276"/>
                  </a:cubicBezTo>
                  <a:cubicBezTo>
                    <a:pt x="18853" y="7276"/>
                    <a:pt x="18856" y="7276"/>
                    <a:pt x="18859" y="7276"/>
                  </a:cubicBezTo>
                  <a:cubicBezTo>
                    <a:pt x="18928" y="7276"/>
                    <a:pt x="19018" y="7243"/>
                    <a:pt x="19094" y="7213"/>
                  </a:cubicBezTo>
                  <a:cubicBezTo>
                    <a:pt x="19170" y="7185"/>
                    <a:pt x="19245" y="7156"/>
                    <a:pt x="19308" y="7156"/>
                  </a:cubicBezTo>
                  <a:cubicBezTo>
                    <a:pt x="19347" y="7156"/>
                    <a:pt x="19382" y="7167"/>
                    <a:pt x="19410" y="7195"/>
                  </a:cubicBezTo>
                  <a:cubicBezTo>
                    <a:pt x="19445" y="7230"/>
                    <a:pt x="19525" y="7272"/>
                    <a:pt x="19714" y="7276"/>
                  </a:cubicBezTo>
                  <a:lnTo>
                    <a:pt x="19753" y="7276"/>
                  </a:lnTo>
                  <a:cubicBezTo>
                    <a:pt x="19763" y="7276"/>
                    <a:pt x="19774" y="7276"/>
                    <a:pt x="19781" y="7272"/>
                  </a:cubicBezTo>
                  <a:cubicBezTo>
                    <a:pt x="19788" y="7258"/>
                    <a:pt x="19767" y="7185"/>
                    <a:pt x="19711" y="7132"/>
                  </a:cubicBezTo>
                  <a:cubicBezTo>
                    <a:pt x="19627" y="7062"/>
                    <a:pt x="19690" y="6884"/>
                    <a:pt x="19875" y="6429"/>
                  </a:cubicBezTo>
                  <a:cubicBezTo>
                    <a:pt x="19931" y="6296"/>
                    <a:pt x="19984" y="6159"/>
                    <a:pt x="20026" y="6019"/>
                  </a:cubicBezTo>
                  <a:cubicBezTo>
                    <a:pt x="20036" y="5963"/>
                    <a:pt x="20061" y="5889"/>
                    <a:pt x="20124" y="5861"/>
                  </a:cubicBezTo>
                  <a:cubicBezTo>
                    <a:pt x="20138" y="5854"/>
                    <a:pt x="20155" y="5851"/>
                    <a:pt x="20173" y="5851"/>
                  </a:cubicBezTo>
                  <a:cubicBezTo>
                    <a:pt x="20225" y="5858"/>
                    <a:pt x="20278" y="5875"/>
                    <a:pt x="20323" y="5907"/>
                  </a:cubicBezTo>
                  <a:cubicBezTo>
                    <a:pt x="20355" y="5928"/>
                    <a:pt x="20393" y="5945"/>
                    <a:pt x="20428" y="5959"/>
                  </a:cubicBezTo>
                  <a:cubicBezTo>
                    <a:pt x="20442" y="5963"/>
                    <a:pt x="20453" y="5966"/>
                    <a:pt x="20467" y="5966"/>
                  </a:cubicBezTo>
                  <a:cubicBezTo>
                    <a:pt x="20533" y="5973"/>
                    <a:pt x="20603" y="5977"/>
                    <a:pt x="20670" y="5977"/>
                  </a:cubicBezTo>
                  <a:cubicBezTo>
                    <a:pt x="20792" y="5977"/>
                    <a:pt x="20908" y="5977"/>
                    <a:pt x="20992" y="6019"/>
                  </a:cubicBezTo>
                  <a:cubicBezTo>
                    <a:pt x="21002" y="6024"/>
                    <a:pt x="21017" y="6026"/>
                    <a:pt x="21035" y="6026"/>
                  </a:cubicBezTo>
                  <a:cubicBezTo>
                    <a:pt x="21143" y="6026"/>
                    <a:pt x="21365" y="5941"/>
                    <a:pt x="21423" y="5851"/>
                  </a:cubicBezTo>
                  <a:cubicBezTo>
                    <a:pt x="21437" y="5826"/>
                    <a:pt x="21437" y="5819"/>
                    <a:pt x="21409" y="5763"/>
                  </a:cubicBezTo>
                  <a:cubicBezTo>
                    <a:pt x="21353" y="5669"/>
                    <a:pt x="21325" y="5560"/>
                    <a:pt x="21332" y="5452"/>
                  </a:cubicBezTo>
                  <a:cubicBezTo>
                    <a:pt x="21346" y="5119"/>
                    <a:pt x="21556" y="4972"/>
                    <a:pt x="21755" y="4972"/>
                  </a:cubicBezTo>
                  <a:cubicBezTo>
                    <a:pt x="21913" y="4972"/>
                    <a:pt x="21927" y="4794"/>
                    <a:pt x="21927" y="4738"/>
                  </a:cubicBezTo>
                  <a:cubicBezTo>
                    <a:pt x="21927" y="4650"/>
                    <a:pt x="21976" y="4587"/>
                    <a:pt x="22025" y="4524"/>
                  </a:cubicBezTo>
                  <a:lnTo>
                    <a:pt x="22049" y="4493"/>
                  </a:lnTo>
                  <a:lnTo>
                    <a:pt x="22056" y="4482"/>
                  </a:lnTo>
                  <a:lnTo>
                    <a:pt x="22074" y="4458"/>
                  </a:lnTo>
                  <a:lnTo>
                    <a:pt x="22084" y="4444"/>
                  </a:lnTo>
                  <a:cubicBezTo>
                    <a:pt x="22088" y="4437"/>
                    <a:pt x="22091" y="4426"/>
                    <a:pt x="22098" y="4419"/>
                  </a:cubicBezTo>
                  <a:lnTo>
                    <a:pt x="22105" y="4405"/>
                  </a:lnTo>
                  <a:cubicBezTo>
                    <a:pt x="22105" y="4402"/>
                    <a:pt x="22105" y="4402"/>
                    <a:pt x="22105" y="4398"/>
                  </a:cubicBezTo>
                  <a:cubicBezTo>
                    <a:pt x="22053" y="4339"/>
                    <a:pt x="22018" y="4265"/>
                    <a:pt x="22000" y="4188"/>
                  </a:cubicBezTo>
                  <a:cubicBezTo>
                    <a:pt x="22000" y="4185"/>
                    <a:pt x="22000" y="4181"/>
                    <a:pt x="21997" y="4178"/>
                  </a:cubicBezTo>
                  <a:cubicBezTo>
                    <a:pt x="21965" y="4188"/>
                    <a:pt x="21934" y="4202"/>
                    <a:pt x="21906" y="4220"/>
                  </a:cubicBezTo>
                  <a:cubicBezTo>
                    <a:pt x="21818" y="4272"/>
                    <a:pt x="21594" y="4304"/>
                    <a:pt x="21479" y="4307"/>
                  </a:cubicBezTo>
                  <a:lnTo>
                    <a:pt x="21433" y="4307"/>
                  </a:lnTo>
                  <a:cubicBezTo>
                    <a:pt x="21311" y="4307"/>
                    <a:pt x="21093" y="4160"/>
                    <a:pt x="21093" y="4016"/>
                  </a:cubicBezTo>
                  <a:cubicBezTo>
                    <a:pt x="21093" y="3964"/>
                    <a:pt x="21086" y="3876"/>
                    <a:pt x="21041" y="3876"/>
                  </a:cubicBezTo>
                  <a:cubicBezTo>
                    <a:pt x="20943" y="3876"/>
                    <a:pt x="20757" y="3834"/>
                    <a:pt x="20642" y="3558"/>
                  </a:cubicBezTo>
                  <a:cubicBezTo>
                    <a:pt x="20603" y="3449"/>
                    <a:pt x="20516" y="3369"/>
                    <a:pt x="20407" y="3337"/>
                  </a:cubicBezTo>
                  <a:cubicBezTo>
                    <a:pt x="20376" y="3327"/>
                    <a:pt x="20348" y="3313"/>
                    <a:pt x="20320" y="3299"/>
                  </a:cubicBezTo>
                  <a:cubicBezTo>
                    <a:pt x="20316" y="3295"/>
                    <a:pt x="20313" y="3295"/>
                    <a:pt x="20309" y="3295"/>
                  </a:cubicBezTo>
                  <a:cubicBezTo>
                    <a:pt x="20306" y="3294"/>
                    <a:pt x="20303" y="3293"/>
                    <a:pt x="20301" y="3293"/>
                  </a:cubicBezTo>
                  <a:cubicBezTo>
                    <a:pt x="20298" y="3293"/>
                    <a:pt x="20295" y="3294"/>
                    <a:pt x="20292" y="3295"/>
                  </a:cubicBezTo>
                  <a:cubicBezTo>
                    <a:pt x="20215" y="3295"/>
                    <a:pt x="20043" y="3369"/>
                    <a:pt x="19952" y="3407"/>
                  </a:cubicBezTo>
                  <a:cubicBezTo>
                    <a:pt x="19903" y="3428"/>
                    <a:pt x="19861" y="3449"/>
                    <a:pt x="19826" y="3460"/>
                  </a:cubicBezTo>
                  <a:cubicBezTo>
                    <a:pt x="19792" y="3473"/>
                    <a:pt x="19754" y="3478"/>
                    <a:pt x="19715" y="3478"/>
                  </a:cubicBezTo>
                  <a:cubicBezTo>
                    <a:pt x="19637" y="3478"/>
                    <a:pt x="19550" y="3457"/>
                    <a:pt x="19462" y="3432"/>
                  </a:cubicBezTo>
                  <a:lnTo>
                    <a:pt x="19399" y="3418"/>
                  </a:lnTo>
                  <a:cubicBezTo>
                    <a:pt x="19350" y="3400"/>
                    <a:pt x="19301" y="3390"/>
                    <a:pt x="19259" y="3379"/>
                  </a:cubicBezTo>
                  <a:cubicBezTo>
                    <a:pt x="19203" y="3365"/>
                    <a:pt x="19154" y="3337"/>
                    <a:pt x="19115" y="3295"/>
                  </a:cubicBezTo>
                  <a:cubicBezTo>
                    <a:pt x="19080" y="3264"/>
                    <a:pt x="19049" y="3232"/>
                    <a:pt x="19021" y="3197"/>
                  </a:cubicBezTo>
                  <a:cubicBezTo>
                    <a:pt x="18958" y="3125"/>
                    <a:pt x="18914" y="3074"/>
                    <a:pt x="18875" y="3074"/>
                  </a:cubicBezTo>
                  <a:cubicBezTo>
                    <a:pt x="18872" y="3074"/>
                    <a:pt x="18869" y="3074"/>
                    <a:pt x="18867" y="3075"/>
                  </a:cubicBezTo>
                  <a:lnTo>
                    <a:pt x="18863" y="3075"/>
                  </a:lnTo>
                  <a:cubicBezTo>
                    <a:pt x="18818" y="3085"/>
                    <a:pt x="18779" y="3148"/>
                    <a:pt x="18744" y="3211"/>
                  </a:cubicBezTo>
                  <a:lnTo>
                    <a:pt x="18730" y="3239"/>
                  </a:lnTo>
                  <a:cubicBezTo>
                    <a:pt x="18681" y="3334"/>
                    <a:pt x="18629" y="3428"/>
                    <a:pt x="18531" y="3428"/>
                  </a:cubicBezTo>
                  <a:cubicBezTo>
                    <a:pt x="18426" y="3428"/>
                    <a:pt x="18342" y="3264"/>
                    <a:pt x="18177" y="2924"/>
                  </a:cubicBezTo>
                  <a:lnTo>
                    <a:pt x="18146" y="2861"/>
                  </a:lnTo>
                  <a:cubicBezTo>
                    <a:pt x="18076" y="2707"/>
                    <a:pt x="17995" y="2560"/>
                    <a:pt x="17908" y="2417"/>
                  </a:cubicBezTo>
                  <a:cubicBezTo>
                    <a:pt x="17880" y="2371"/>
                    <a:pt x="17848" y="2329"/>
                    <a:pt x="17817" y="2277"/>
                  </a:cubicBezTo>
                  <a:cubicBezTo>
                    <a:pt x="17582" y="1912"/>
                    <a:pt x="17232" y="1363"/>
                    <a:pt x="16931" y="1254"/>
                  </a:cubicBezTo>
                  <a:cubicBezTo>
                    <a:pt x="16861" y="1230"/>
                    <a:pt x="16791" y="1191"/>
                    <a:pt x="16731" y="1146"/>
                  </a:cubicBezTo>
                  <a:cubicBezTo>
                    <a:pt x="16686" y="1111"/>
                    <a:pt x="16658" y="1062"/>
                    <a:pt x="16644" y="1006"/>
                  </a:cubicBezTo>
                  <a:cubicBezTo>
                    <a:pt x="16626" y="925"/>
                    <a:pt x="16654" y="845"/>
                    <a:pt x="16728" y="761"/>
                  </a:cubicBezTo>
                  <a:cubicBezTo>
                    <a:pt x="16706" y="758"/>
                    <a:pt x="16684" y="757"/>
                    <a:pt x="16663" y="757"/>
                  </a:cubicBezTo>
                  <a:cubicBezTo>
                    <a:pt x="16595" y="757"/>
                    <a:pt x="16530" y="770"/>
                    <a:pt x="16469" y="799"/>
                  </a:cubicBezTo>
                  <a:cubicBezTo>
                    <a:pt x="16423" y="824"/>
                    <a:pt x="16381" y="855"/>
                    <a:pt x="16332" y="887"/>
                  </a:cubicBezTo>
                  <a:cubicBezTo>
                    <a:pt x="16217" y="967"/>
                    <a:pt x="16084" y="1058"/>
                    <a:pt x="15951" y="1086"/>
                  </a:cubicBezTo>
                  <a:cubicBezTo>
                    <a:pt x="15944" y="1086"/>
                    <a:pt x="15937" y="1090"/>
                    <a:pt x="15930" y="1093"/>
                  </a:cubicBezTo>
                  <a:cubicBezTo>
                    <a:pt x="15895" y="1104"/>
                    <a:pt x="15860" y="1121"/>
                    <a:pt x="15828" y="1142"/>
                  </a:cubicBezTo>
                  <a:cubicBezTo>
                    <a:pt x="15804" y="1156"/>
                    <a:pt x="15776" y="1174"/>
                    <a:pt x="15751" y="1191"/>
                  </a:cubicBezTo>
                  <a:cubicBezTo>
                    <a:pt x="15639" y="1263"/>
                    <a:pt x="15518" y="1340"/>
                    <a:pt x="15400" y="1340"/>
                  </a:cubicBezTo>
                  <a:cubicBezTo>
                    <a:pt x="15375" y="1340"/>
                    <a:pt x="15349" y="1336"/>
                    <a:pt x="15324" y="1328"/>
                  </a:cubicBezTo>
                  <a:cubicBezTo>
                    <a:pt x="15313" y="1324"/>
                    <a:pt x="15303" y="1323"/>
                    <a:pt x="15294" y="1323"/>
                  </a:cubicBezTo>
                  <a:cubicBezTo>
                    <a:pt x="15256" y="1323"/>
                    <a:pt x="15224" y="1348"/>
                    <a:pt x="15174" y="1384"/>
                  </a:cubicBezTo>
                  <a:cubicBezTo>
                    <a:pt x="15153" y="1401"/>
                    <a:pt x="15128" y="1419"/>
                    <a:pt x="15104" y="1433"/>
                  </a:cubicBezTo>
                  <a:cubicBezTo>
                    <a:pt x="15076" y="1450"/>
                    <a:pt x="15044" y="1461"/>
                    <a:pt x="15013" y="1461"/>
                  </a:cubicBezTo>
                  <a:cubicBezTo>
                    <a:pt x="14967" y="1461"/>
                    <a:pt x="14921" y="1443"/>
                    <a:pt x="14886" y="1408"/>
                  </a:cubicBezTo>
                  <a:cubicBezTo>
                    <a:pt x="14858" y="1387"/>
                    <a:pt x="14841" y="1356"/>
                    <a:pt x="14834" y="1321"/>
                  </a:cubicBezTo>
                  <a:cubicBezTo>
                    <a:pt x="14830" y="1310"/>
                    <a:pt x="14830" y="1300"/>
                    <a:pt x="14830" y="1289"/>
                  </a:cubicBezTo>
                  <a:cubicBezTo>
                    <a:pt x="14830" y="1272"/>
                    <a:pt x="14834" y="1251"/>
                    <a:pt x="14844" y="1233"/>
                  </a:cubicBezTo>
                  <a:cubicBezTo>
                    <a:pt x="14876" y="1181"/>
                    <a:pt x="14918" y="1135"/>
                    <a:pt x="14970" y="1100"/>
                  </a:cubicBezTo>
                  <a:cubicBezTo>
                    <a:pt x="14984" y="1090"/>
                    <a:pt x="15013" y="1069"/>
                    <a:pt x="15030" y="1051"/>
                  </a:cubicBezTo>
                  <a:cubicBezTo>
                    <a:pt x="15037" y="1044"/>
                    <a:pt x="15044" y="1037"/>
                    <a:pt x="15048" y="1034"/>
                  </a:cubicBezTo>
                  <a:cubicBezTo>
                    <a:pt x="15034" y="1034"/>
                    <a:pt x="15016" y="1041"/>
                    <a:pt x="15006" y="1041"/>
                  </a:cubicBezTo>
                  <a:cubicBezTo>
                    <a:pt x="14969" y="1050"/>
                    <a:pt x="14928" y="1060"/>
                    <a:pt x="14889" y="1060"/>
                  </a:cubicBezTo>
                  <a:cubicBezTo>
                    <a:pt x="14850" y="1060"/>
                    <a:pt x="14813" y="1050"/>
                    <a:pt x="14785" y="1016"/>
                  </a:cubicBezTo>
                  <a:cubicBezTo>
                    <a:pt x="14746" y="978"/>
                    <a:pt x="14697" y="957"/>
                    <a:pt x="14645" y="946"/>
                  </a:cubicBezTo>
                  <a:cubicBezTo>
                    <a:pt x="14645" y="978"/>
                    <a:pt x="14634" y="1006"/>
                    <a:pt x="14613" y="1030"/>
                  </a:cubicBezTo>
                  <a:cubicBezTo>
                    <a:pt x="14589" y="1051"/>
                    <a:pt x="14561" y="1062"/>
                    <a:pt x="14529" y="1062"/>
                  </a:cubicBezTo>
                  <a:cubicBezTo>
                    <a:pt x="14438" y="1062"/>
                    <a:pt x="14365" y="992"/>
                    <a:pt x="14358" y="901"/>
                  </a:cubicBezTo>
                  <a:cubicBezTo>
                    <a:pt x="14354" y="859"/>
                    <a:pt x="14330" y="820"/>
                    <a:pt x="14295" y="799"/>
                  </a:cubicBezTo>
                  <a:cubicBezTo>
                    <a:pt x="14293" y="799"/>
                    <a:pt x="14291" y="798"/>
                    <a:pt x="14289" y="798"/>
                  </a:cubicBezTo>
                  <a:cubicBezTo>
                    <a:pt x="14284" y="798"/>
                    <a:pt x="14277" y="801"/>
                    <a:pt x="14267" y="813"/>
                  </a:cubicBezTo>
                  <a:cubicBezTo>
                    <a:pt x="14185" y="902"/>
                    <a:pt x="14002" y="957"/>
                    <a:pt x="13863" y="957"/>
                  </a:cubicBezTo>
                  <a:cubicBezTo>
                    <a:pt x="13859" y="957"/>
                    <a:pt x="13854" y="957"/>
                    <a:pt x="13850" y="957"/>
                  </a:cubicBezTo>
                  <a:cubicBezTo>
                    <a:pt x="13833" y="957"/>
                    <a:pt x="13812" y="957"/>
                    <a:pt x="13791" y="953"/>
                  </a:cubicBezTo>
                  <a:cubicBezTo>
                    <a:pt x="13745" y="950"/>
                    <a:pt x="13703" y="929"/>
                    <a:pt x="13672" y="894"/>
                  </a:cubicBezTo>
                  <a:cubicBezTo>
                    <a:pt x="13633" y="855"/>
                    <a:pt x="13619" y="799"/>
                    <a:pt x="13644" y="750"/>
                  </a:cubicBezTo>
                  <a:cubicBezTo>
                    <a:pt x="13651" y="729"/>
                    <a:pt x="13665" y="708"/>
                    <a:pt x="13679" y="691"/>
                  </a:cubicBezTo>
                  <a:cubicBezTo>
                    <a:pt x="13696" y="670"/>
                    <a:pt x="13710" y="642"/>
                    <a:pt x="13717" y="614"/>
                  </a:cubicBezTo>
                  <a:cubicBezTo>
                    <a:pt x="13710" y="568"/>
                    <a:pt x="13696" y="523"/>
                    <a:pt x="13675" y="481"/>
                  </a:cubicBezTo>
                  <a:cubicBezTo>
                    <a:pt x="13640" y="404"/>
                    <a:pt x="13602" y="313"/>
                    <a:pt x="13619" y="222"/>
                  </a:cubicBezTo>
                  <a:cubicBezTo>
                    <a:pt x="13619" y="218"/>
                    <a:pt x="13619" y="211"/>
                    <a:pt x="13619" y="204"/>
                  </a:cubicBezTo>
                  <a:cubicBezTo>
                    <a:pt x="13609" y="180"/>
                    <a:pt x="13591" y="155"/>
                    <a:pt x="13570" y="141"/>
                  </a:cubicBezTo>
                  <a:cubicBezTo>
                    <a:pt x="13521" y="103"/>
                    <a:pt x="13462" y="78"/>
                    <a:pt x="13399" y="71"/>
                  </a:cubicBezTo>
                  <a:cubicBezTo>
                    <a:pt x="13385" y="71"/>
                    <a:pt x="13371" y="71"/>
                    <a:pt x="13357" y="78"/>
                  </a:cubicBezTo>
                  <a:cubicBezTo>
                    <a:pt x="13314" y="95"/>
                    <a:pt x="13267" y="103"/>
                    <a:pt x="13219" y="103"/>
                  </a:cubicBezTo>
                  <a:cubicBezTo>
                    <a:pt x="13102" y="103"/>
                    <a:pt x="12977" y="60"/>
                    <a:pt x="12880" y="15"/>
                  </a:cubicBezTo>
                  <a:cubicBezTo>
                    <a:pt x="12858" y="5"/>
                    <a:pt x="12822" y="0"/>
                    <a:pt x="127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4" name="Google Shape;6674;p53"/>
            <p:cNvSpPr/>
            <p:nvPr/>
          </p:nvSpPr>
          <p:spPr>
            <a:xfrm>
              <a:off x="2571159" y="1710115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5" name="Google Shape;6675;p53"/>
            <p:cNvSpPr/>
            <p:nvPr/>
          </p:nvSpPr>
          <p:spPr>
            <a:xfrm>
              <a:off x="2571960" y="170883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6" name="Google Shape;6676;p53"/>
            <p:cNvSpPr/>
            <p:nvPr/>
          </p:nvSpPr>
          <p:spPr>
            <a:xfrm>
              <a:off x="2572340" y="170850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7" name="Google Shape;6677;p53"/>
            <p:cNvSpPr/>
            <p:nvPr/>
          </p:nvSpPr>
          <p:spPr>
            <a:xfrm>
              <a:off x="2572245" y="1708595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8" name="Google Shape;6678;p53"/>
            <p:cNvSpPr/>
            <p:nvPr/>
          </p:nvSpPr>
          <p:spPr>
            <a:xfrm>
              <a:off x="2571539" y="1709505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9" name="Google Shape;6679;p53"/>
            <p:cNvSpPr/>
            <p:nvPr/>
          </p:nvSpPr>
          <p:spPr>
            <a:xfrm>
              <a:off x="2571729" y="1709219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0" name="Google Shape;6680;p53"/>
            <p:cNvSpPr/>
            <p:nvPr/>
          </p:nvSpPr>
          <p:spPr>
            <a:xfrm>
              <a:off x="2571349" y="170979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1" name="Google Shape;6681;p53"/>
            <p:cNvSpPr/>
            <p:nvPr/>
          </p:nvSpPr>
          <p:spPr>
            <a:xfrm>
              <a:off x="2572109" y="170869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2" name="Google Shape;6682;p53"/>
            <p:cNvSpPr/>
            <p:nvPr/>
          </p:nvSpPr>
          <p:spPr>
            <a:xfrm>
              <a:off x="2570968" y="171055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3" name="Google Shape;6683;p53"/>
            <p:cNvSpPr/>
            <p:nvPr/>
          </p:nvSpPr>
          <p:spPr>
            <a:xfrm>
              <a:off x="2641218" y="17061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4" name="Google Shape;6684;p53"/>
            <p:cNvSpPr/>
            <p:nvPr/>
          </p:nvSpPr>
          <p:spPr>
            <a:xfrm>
              <a:off x="2572584" y="17083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5" name="Google Shape;6685;p53"/>
            <p:cNvSpPr/>
            <p:nvPr/>
          </p:nvSpPr>
          <p:spPr>
            <a:xfrm>
              <a:off x="2641829" y="170617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6" name="Google Shape;6686;p53"/>
            <p:cNvSpPr/>
            <p:nvPr/>
          </p:nvSpPr>
          <p:spPr>
            <a:xfrm>
              <a:off x="2571824" y="170902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7" name="Google Shape;6687;p53"/>
            <p:cNvSpPr/>
            <p:nvPr/>
          </p:nvSpPr>
          <p:spPr>
            <a:xfrm>
              <a:off x="2642305" y="1706219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8" name="Google Shape;6688;p53"/>
            <p:cNvSpPr/>
            <p:nvPr/>
          </p:nvSpPr>
          <p:spPr>
            <a:xfrm>
              <a:off x="2642780" y="1706273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1" y="0"/>
                  </a:moveTo>
                  <a:cubicBezTo>
                    <a:pt x="8" y="4"/>
                    <a:pt x="18" y="7"/>
                    <a:pt x="25" y="11"/>
                  </a:cubicBezTo>
                  <a:cubicBezTo>
                    <a:pt x="18" y="7"/>
                    <a:pt x="8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9" name="Google Shape;6689;p53"/>
            <p:cNvSpPr/>
            <p:nvPr/>
          </p:nvSpPr>
          <p:spPr>
            <a:xfrm>
              <a:off x="2634756" y="1702852"/>
              <a:ext cx="4005" cy="2200"/>
            </a:xfrm>
            <a:custGeom>
              <a:avLst/>
              <a:gdLst/>
              <a:ahLst/>
              <a:cxnLst/>
              <a:rect l="l" t="t" r="r" b="b"/>
              <a:pathLst>
                <a:path w="295" h="162" extrusionOk="0">
                  <a:moveTo>
                    <a:pt x="0" y="0"/>
                  </a:moveTo>
                  <a:cubicBezTo>
                    <a:pt x="91" y="0"/>
                    <a:pt x="175" y="28"/>
                    <a:pt x="294" y="161"/>
                  </a:cubicBezTo>
                  <a:cubicBezTo>
                    <a:pt x="175" y="28"/>
                    <a:pt x="95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0" name="Google Shape;6690;p53"/>
            <p:cNvSpPr/>
            <p:nvPr/>
          </p:nvSpPr>
          <p:spPr>
            <a:xfrm>
              <a:off x="2572489" y="170845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1" name="Google Shape;6691;p53"/>
            <p:cNvSpPr/>
            <p:nvPr/>
          </p:nvSpPr>
          <p:spPr>
            <a:xfrm>
              <a:off x="2506177" y="1694053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1"/>
                  </a:moveTo>
                  <a:lnTo>
                    <a:pt x="18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2" name="Google Shape;6692;p53"/>
            <p:cNvSpPr/>
            <p:nvPr/>
          </p:nvSpPr>
          <p:spPr>
            <a:xfrm>
              <a:off x="2504602" y="1692152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3" name="Google Shape;6693;p53"/>
            <p:cNvSpPr/>
            <p:nvPr/>
          </p:nvSpPr>
          <p:spPr>
            <a:xfrm>
              <a:off x="2505172" y="1692818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4" name="Google Shape;6694;p53"/>
            <p:cNvSpPr/>
            <p:nvPr/>
          </p:nvSpPr>
          <p:spPr>
            <a:xfrm>
              <a:off x="2503325" y="1690768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5" name="Google Shape;6695;p53"/>
            <p:cNvSpPr/>
            <p:nvPr/>
          </p:nvSpPr>
          <p:spPr>
            <a:xfrm>
              <a:off x="2568497" y="171216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6" name="Google Shape;6696;p53"/>
            <p:cNvSpPr/>
            <p:nvPr/>
          </p:nvSpPr>
          <p:spPr>
            <a:xfrm>
              <a:off x="2567778" y="171235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7" name="Google Shape;6697;p53"/>
            <p:cNvSpPr/>
            <p:nvPr/>
          </p:nvSpPr>
          <p:spPr>
            <a:xfrm>
              <a:off x="2461873" y="1676280"/>
              <a:ext cx="19022" cy="5051"/>
            </a:xfrm>
            <a:custGeom>
              <a:avLst/>
              <a:gdLst/>
              <a:ahLst/>
              <a:cxnLst/>
              <a:rect l="l" t="t" r="r" b="b"/>
              <a:pathLst>
                <a:path w="1401" h="372" extrusionOk="0">
                  <a:moveTo>
                    <a:pt x="1401" y="0"/>
                  </a:moveTo>
                  <a:lnTo>
                    <a:pt x="1" y="37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8" name="Google Shape;6698;p53"/>
            <p:cNvSpPr/>
            <p:nvPr/>
          </p:nvSpPr>
          <p:spPr>
            <a:xfrm>
              <a:off x="2516061" y="1694583"/>
              <a:ext cx="394" cy="95"/>
            </a:xfrm>
            <a:custGeom>
              <a:avLst/>
              <a:gdLst/>
              <a:ahLst/>
              <a:cxnLst/>
              <a:rect l="l" t="t" r="r" b="b"/>
              <a:pathLst>
                <a:path w="29" h="7" extrusionOk="0">
                  <a:moveTo>
                    <a:pt x="1" y="0"/>
                  </a:moveTo>
                  <a:cubicBezTo>
                    <a:pt x="11" y="0"/>
                    <a:pt x="18" y="4"/>
                    <a:pt x="29" y="7"/>
                  </a:cubicBezTo>
                  <a:cubicBezTo>
                    <a:pt x="18" y="4"/>
                    <a:pt x="1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9" name="Google Shape;6699;p53"/>
            <p:cNvSpPr/>
            <p:nvPr/>
          </p:nvSpPr>
          <p:spPr>
            <a:xfrm>
              <a:off x="2515260" y="169452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0" name="Google Shape;6700;p53"/>
            <p:cNvSpPr/>
            <p:nvPr/>
          </p:nvSpPr>
          <p:spPr>
            <a:xfrm>
              <a:off x="2514690" y="169462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1" name="Google Shape;6701;p53"/>
            <p:cNvSpPr/>
            <p:nvPr/>
          </p:nvSpPr>
          <p:spPr>
            <a:xfrm>
              <a:off x="2514119" y="1694678"/>
              <a:ext cx="149" cy="0"/>
            </a:xfrm>
            <a:custGeom>
              <a:avLst/>
              <a:gdLst/>
              <a:ahLst/>
              <a:cxnLst/>
              <a:rect l="l" t="t" r="r" b="b"/>
              <a:pathLst>
                <a:path w="1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2" name="Google Shape;6702;p53"/>
            <p:cNvSpPr/>
            <p:nvPr/>
          </p:nvSpPr>
          <p:spPr>
            <a:xfrm>
              <a:off x="2499374" y="1686830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1" y="0"/>
                  </a:moveTo>
                  <a:lnTo>
                    <a:pt x="22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3" name="Google Shape;6703;p53"/>
            <p:cNvSpPr/>
            <p:nvPr/>
          </p:nvSpPr>
          <p:spPr>
            <a:xfrm>
              <a:off x="2505742" y="1693483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4" name="Google Shape;6704;p53"/>
            <p:cNvSpPr/>
            <p:nvPr/>
          </p:nvSpPr>
          <p:spPr>
            <a:xfrm>
              <a:off x="2498804" y="1686301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"/>
                  </a:moveTo>
                  <a:lnTo>
                    <a:pt x="1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5" name="Google Shape;6705;p53"/>
            <p:cNvSpPr/>
            <p:nvPr/>
          </p:nvSpPr>
          <p:spPr>
            <a:xfrm>
              <a:off x="2507168" y="16955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cubicBezTo>
                    <a:pt x="1" y="4"/>
                    <a:pt x="4" y="8"/>
                    <a:pt x="8" y="11"/>
                  </a:cubicBezTo>
                  <a:cubicBezTo>
                    <a:pt x="8" y="8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6" name="Google Shape;6706;p53"/>
            <p:cNvSpPr/>
            <p:nvPr/>
          </p:nvSpPr>
          <p:spPr>
            <a:xfrm>
              <a:off x="2501329" y="1688677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7" name="Google Shape;6707;p53"/>
            <p:cNvSpPr/>
            <p:nvPr/>
          </p:nvSpPr>
          <p:spPr>
            <a:xfrm>
              <a:off x="2557133" y="1719389"/>
              <a:ext cx="910" cy="1249"/>
            </a:xfrm>
            <a:custGeom>
              <a:avLst/>
              <a:gdLst/>
              <a:ahLst/>
              <a:cxnLst/>
              <a:rect l="l" t="t" r="r" b="b"/>
              <a:pathLst>
                <a:path w="67" h="92" extrusionOk="0">
                  <a:moveTo>
                    <a:pt x="67" y="0"/>
                  </a:moveTo>
                  <a:cubicBezTo>
                    <a:pt x="56" y="39"/>
                    <a:pt x="32" y="70"/>
                    <a:pt x="0" y="91"/>
                  </a:cubicBezTo>
                  <a:cubicBezTo>
                    <a:pt x="32" y="70"/>
                    <a:pt x="56" y="39"/>
                    <a:pt x="6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8" name="Google Shape;6708;p53"/>
            <p:cNvSpPr/>
            <p:nvPr/>
          </p:nvSpPr>
          <p:spPr>
            <a:xfrm>
              <a:off x="2501995" y="1689342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9" name="Google Shape;6709;p53"/>
            <p:cNvSpPr/>
            <p:nvPr/>
          </p:nvSpPr>
          <p:spPr>
            <a:xfrm>
              <a:off x="2500664" y="1688011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1"/>
                  </a:moveTo>
                  <a:lnTo>
                    <a:pt x="2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0" name="Google Shape;6710;p53"/>
            <p:cNvSpPr/>
            <p:nvPr/>
          </p:nvSpPr>
          <p:spPr>
            <a:xfrm>
              <a:off x="2506937" y="169515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0"/>
                  </a:moveTo>
                  <a:lnTo>
                    <a:pt x="1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1" name="Google Shape;6711;p53"/>
            <p:cNvSpPr/>
            <p:nvPr/>
          </p:nvSpPr>
          <p:spPr>
            <a:xfrm>
              <a:off x="2503991" y="1691487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0" y="0"/>
                  </a:moveTo>
                  <a:lnTo>
                    <a:pt x="2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2" name="Google Shape;6712;p53"/>
            <p:cNvSpPr/>
            <p:nvPr/>
          </p:nvSpPr>
          <p:spPr>
            <a:xfrm>
              <a:off x="2506598" y="1694624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3" name="Google Shape;6713;p53"/>
            <p:cNvSpPr/>
            <p:nvPr/>
          </p:nvSpPr>
          <p:spPr>
            <a:xfrm>
              <a:off x="2515640" y="169452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4" name="Google Shape;6714;p53"/>
            <p:cNvSpPr/>
            <p:nvPr/>
          </p:nvSpPr>
          <p:spPr>
            <a:xfrm>
              <a:off x="2568973" y="1712111"/>
              <a:ext cx="1344" cy="109"/>
            </a:xfrm>
            <a:custGeom>
              <a:avLst/>
              <a:gdLst/>
              <a:ahLst/>
              <a:cxnLst/>
              <a:rect l="l" t="t" r="r" b="b"/>
              <a:pathLst>
                <a:path w="99" h="8" extrusionOk="0">
                  <a:moveTo>
                    <a:pt x="98" y="8"/>
                  </a:moveTo>
                  <a:lnTo>
                    <a:pt x="98" y="8"/>
                  </a:lnTo>
                  <a:cubicBezTo>
                    <a:pt x="67" y="1"/>
                    <a:pt x="35" y="1"/>
                    <a:pt x="0" y="4"/>
                  </a:cubicBezTo>
                  <a:cubicBezTo>
                    <a:pt x="35" y="1"/>
                    <a:pt x="67" y="1"/>
                    <a:pt x="98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5" name="Google Shape;6715;p53"/>
            <p:cNvSpPr/>
            <p:nvPr/>
          </p:nvSpPr>
          <p:spPr>
            <a:xfrm>
              <a:off x="2512640" y="1694909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6" name="Google Shape;6716;p53"/>
            <p:cNvSpPr/>
            <p:nvPr/>
          </p:nvSpPr>
          <p:spPr>
            <a:xfrm>
              <a:off x="2499999" y="1687400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0"/>
                  </a:moveTo>
                  <a:lnTo>
                    <a:pt x="2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7" name="Google Shape;6717;p53"/>
            <p:cNvSpPr/>
            <p:nvPr/>
          </p:nvSpPr>
          <p:spPr>
            <a:xfrm>
              <a:off x="2513400" y="169477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8" name="Google Shape;6718;p53"/>
            <p:cNvSpPr/>
            <p:nvPr/>
          </p:nvSpPr>
          <p:spPr>
            <a:xfrm>
              <a:off x="2566963" y="1712546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9" name="Google Shape;6719;p53"/>
            <p:cNvSpPr/>
            <p:nvPr/>
          </p:nvSpPr>
          <p:spPr>
            <a:xfrm>
              <a:off x="2502660" y="1690062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0" name="Google Shape;6720;p53"/>
            <p:cNvSpPr/>
            <p:nvPr/>
          </p:nvSpPr>
          <p:spPr>
            <a:xfrm>
              <a:off x="2690844" y="1643097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25" y="1"/>
                  </a:moveTo>
                  <a:lnTo>
                    <a:pt x="0" y="3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1" name="Google Shape;6721;p53"/>
            <p:cNvSpPr/>
            <p:nvPr/>
          </p:nvSpPr>
          <p:spPr>
            <a:xfrm>
              <a:off x="2691319" y="1642622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18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2" name="Google Shape;6722;p53"/>
            <p:cNvSpPr/>
            <p:nvPr/>
          </p:nvSpPr>
          <p:spPr>
            <a:xfrm>
              <a:off x="2691645" y="1642147"/>
              <a:ext cx="204" cy="353"/>
            </a:xfrm>
            <a:custGeom>
              <a:avLst/>
              <a:gdLst/>
              <a:ahLst/>
              <a:cxnLst/>
              <a:rect l="l" t="t" r="r" b="b"/>
              <a:pathLst>
                <a:path w="15" h="26" extrusionOk="0">
                  <a:moveTo>
                    <a:pt x="15" y="1"/>
                  </a:moveTo>
                  <a:cubicBezTo>
                    <a:pt x="11" y="8"/>
                    <a:pt x="4" y="15"/>
                    <a:pt x="1" y="25"/>
                  </a:cubicBezTo>
                  <a:cubicBezTo>
                    <a:pt x="8" y="15"/>
                    <a:pt x="11" y="8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3" name="Google Shape;6723;p53"/>
            <p:cNvSpPr/>
            <p:nvPr/>
          </p:nvSpPr>
          <p:spPr>
            <a:xfrm>
              <a:off x="2655339" y="1679838"/>
              <a:ext cx="4141" cy="1113"/>
            </a:xfrm>
            <a:custGeom>
              <a:avLst/>
              <a:gdLst/>
              <a:ahLst/>
              <a:cxnLst/>
              <a:rect l="l" t="t" r="r" b="b"/>
              <a:pathLst>
                <a:path w="305" h="82" extrusionOk="0">
                  <a:moveTo>
                    <a:pt x="305" y="81"/>
                  </a:moveTo>
                  <a:cubicBezTo>
                    <a:pt x="116" y="78"/>
                    <a:pt x="35" y="36"/>
                    <a:pt x="0" y="1"/>
                  </a:cubicBezTo>
                  <a:cubicBezTo>
                    <a:pt x="35" y="36"/>
                    <a:pt x="116" y="78"/>
                    <a:pt x="305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4" name="Google Shape;6724;p53"/>
            <p:cNvSpPr/>
            <p:nvPr/>
          </p:nvSpPr>
          <p:spPr>
            <a:xfrm>
              <a:off x="2691930" y="164186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ubicBezTo>
                    <a:pt x="4" y="4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5" name="Google Shape;6725;p53"/>
            <p:cNvSpPr/>
            <p:nvPr/>
          </p:nvSpPr>
          <p:spPr>
            <a:xfrm>
              <a:off x="2643255" y="170593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1"/>
                  </a:lnTo>
                  <a:cubicBezTo>
                    <a:pt x="1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6" name="Google Shape;6726;p53"/>
            <p:cNvSpPr/>
            <p:nvPr/>
          </p:nvSpPr>
          <p:spPr>
            <a:xfrm>
              <a:off x="2438968" y="1708269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7" name="Google Shape;6727;p53"/>
            <p:cNvSpPr/>
            <p:nvPr/>
          </p:nvSpPr>
          <p:spPr>
            <a:xfrm>
              <a:off x="2438873" y="170855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8" name="Google Shape;6728;p53"/>
            <p:cNvSpPr/>
            <p:nvPr/>
          </p:nvSpPr>
          <p:spPr>
            <a:xfrm>
              <a:off x="2438819" y="1710401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cubicBezTo>
                    <a:pt x="1" y="4"/>
                    <a:pt x="1" y="8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9" name="Google Shape;6729;p53"/>
            <p:cNvSpPr/>
            <p:nvPr/>
          </p:nvSpPr>
          <p:spPr>
            <a:xfrm>
              <a:off x="2438683" y="170954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0" name="Google Shape;6730;p53"/>
            <p:cNvSpPr/>
            <p:nvPr/>
          </p:nvSpPr>
          <p:spPr>
            <a:xfrm>
              <a:off x="2438778" y="170878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4"/>
                  </a:lnTo>
                  <a:cubicBezTo>
                    <a:pt x="0" y="1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1" name="Google Shape;6731;p53"/>
            <p:cNvSpPr/>
            <p:nvPr/>
          </p:nvSpPr>
          <p:spPr>
            <a:xfrm>
              <a:off x="2438724" y="170916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ubicBezTo>
                    <a:pt x="1" y="4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2" name="Google Shape;6732;p53"/>
            <p:cNvSpPr/>
            <p:nvPr/>
          </p:nvSpPr>
          <p:spPr>
            <a:xfrm>
              <a:off x="2438724" y="170992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3" name="Google Shape;6733;p53"/>
            <p:cNvSpPr/>
            <p:nvPr/>
          </p:nvSpPr>
          <p:spPr>
            <a:xfrm>
              <a:off x="3083315" y="1349877"/>
              <a:ext cx="6436" cy="2648"/>
            </a:xfrm>
            <a:custGeom>
              <a:avLst/>
              <a:gdLst/>
              <a:ahLst/>
              <a:cxnLst/>
              <a:rect l="l" t="t" r="r" b="b"/>
              <a:pathLst>
                <a:path w="474" h="195" extrusionOk="0">
                  <a:moveTo>
                    <a:pt x="391" y="0"/>
                  </a:moveTo>
                  <a:cubicBezTo>
                    <a:pt x="242" y="0"/>
                    <a:pt x="32" y="100"/>
                    <a:pt x="1" y="150"/>
                  </a:cubicBezTo>
                  <a:cubicBezTo>
                    <a:pt x="11" y="157"/>
                    <a:pt x="25" y="164"/>
                    <a:pt x="39" y="168"/>
                  </a:cubicBezTo>
                  <a:cubicBezTo>
                    <a:pt x="88" y="185"/>
                    <a:pt x="146" y="194"/>
                    <a:pt x="205" y="194"/>
                  </a:cubicBezTo>
                  <a:cubicBezTo>
                    <a:pt x="282" y="194"/>
                    <a:pt x="359" y="178"/>
                    <a:pt x="410" y="140"/>
                  </a:cubicBezTo>
                  <a:cubicBezTo>
                    <a:pt x="449" y="115"/>
                    <a:pt x="473" y="66"/>
                    <a:pt x="470" y="21"/>
                  </a:cubicBezTo>
                  <a:cubicBezTo>
                    <a:pt x="470" y="17"/>
                    <a:pt x="470" y="7"/>
                    <a:pt x="435" y="3"/>
                  </a:cubicBezTo>
                  <a:cubicBezTo>
                    <a:pt x="421" y="1"/>
                    <a:pt x="406" y="0"/>
                    <a:pt x="3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4" name="Google Shape;6734;p53"/>
            <p:cNvSpPr/>
            <p:nvPr/>
          </p:nvSpPr>
          <p:spPr>
            <a:xfrm>
              <a:off x="2740470" y="1256152"/>
              <a:ext cx="41452" cy="20869"/>
            </a:xfrm>
            <a:custGeom>
              <a:avLst/>
              <a:gdLst/>
              <a:ahLst/>
              <a:cxnLst/>
              <a:rect l="l" t="t" r="r" b="b"/>
              <a:pathLst>
                <a:path w="3053" h="1537" extrusionOk="0">
                  <a:moveTo>
                    <a:pt x="1655" y="0"/>
                  </a:moveTo>
                  <a:cubicBezTo>
                    <a:pt x="1574" y="0"/>
                    <a:pt x="1454" y="9"/>
                    <a:pt x="1281" y="38"/>
                  </a:cubicBezTo>
                  <a:cubicBezTo>
                    <a:pt x="809" y="115"/>
                    <a:pt x="445" y="255"/>
                    <a:pt x="399" y="318"/>
                  </a:cubicBezTo>
                  <a:cubicBezTo>
                    <a:pt x="392" y="426"/>
                    <a:pt x="273" y="517"/>
                    <a:pt x="154" y="605"/>
                  </a:cubicBezTo>
                  <a:cubicBezTo>
                    <a:pt x="102" y="643"/>
                    <a:pt x="11" y="710"/>
                    <a:pt x="0" y="741"/>
                  </a:cubicBezTo>
                  <a:lnTo>
                    <a:pt x="4" y="745"/>
                  </a:lnTo>
                  <a:cubicBezTo>
                    <a:pt x="81" y="811"/>
                    <a:pt x="147" y="815"/>
                    <a:pt x="238" y="825"/>
                  </a:cubicBezTo>
                  <a:cubicBezTo>
                    <a:pt x="287" y="829"/>
                    <a:pt x="333" y="832"/>
                    <a:pt x="378" y="843"/>
                  </a:cubicBezTo>
                  <a:cubicBezTo>
                    <a:pt x="466" y="860"/>
                    <a:pt x="525" y="941"/>
                    <a:pt x="588" y="1025"/>
                  </a:cubicBezTo>
                  <a:cubicBezTo>
                    <a:pt x="673" y="1140"/>
                    <a:pt x="739" y="1220"/>
                    <a:pt x="836" y="1220"/>
                  </a:cubicBezTo>
                  <a:cubicBezTo>
                    <a:pt x="852" y="1220"/>
                    <a:pt x="868" y="1218"/>
                    <a:pt x="886" y="1214"/>
                  </a:cubicBezTo>
                  <a:cubicBezTo>
                    <a:pt x="914" y="1207"/>
                    <a:pt x="945" y="1207"/>
                    <a:pt x="977" y="1207"/>
                  </a:cubicBezTo>
                  <a:cubicBezTo>
                    <a:pt x="1141" y="1207"/>
                    <a:pt x="1379" y="1277"/>
                    <a:pt x="1645" y="1358"/>
                  </a:cubicBezTo>
                  <a:cubicBezTo>
                    <a:pt x="1933" y="1445"/>
                    <a:pt x="2230" y="1536"/>
                    <a:pt x="2451" y="1536"/>
                  </a:cubicBezTo>
                  <a:cubicBezTo>
                    <a:pt x="2720" y="1536"/>
                    <a:pt x="2825" y="1400"/>
                    <a:pt x="2829" y="1309"/>
                  </a:cubicBezTo>
                  <a:cubicBezTo>
                    <a:pt x="2829" y="1284"/>
                    <a:pt x="2825" y="1263"/>
                    <a:pt x="2815" y="1263"/>
                  </a:cubicBezTo>
                  <a:cubicBezTo>
                    <a:pt x="2769" y="1263"/>
                    <a:pt x="2727" y="1235"/>
                    <a:pt x="2710" y="1193"/>
                  </a:cubicBezTo>
                  <a:cubicBezTo>
                    <a:pt x="2664" y="1095"/>
                    <a:pt x="2734" y="944"/>
                    <a:pt x="3011" y="545"/>
                  </a:cubicBezTo>
                  <a:cubicBezTo>
                    <a:pt x="3053" y="500"/>
                    <a:pt x="3053" y="433"/>
                    <a:pt x="3011" y="388"/>
                  </a:cubicBezTo>
                  <a:cubicBezTo>
                    <a:pt x="2916" y="261"/>
                    <a:pt x="2647" y="172"/>
                    <a:pt x="2469" y="172"/>
                  </a:cubicBezTo>
                  <a:cubicBezTo>
                    <a:pt x="2431" y="172"/>
                    <a:pt x="2397" y="176"/>
                    <a:pt x="2370" y="185"/>
                  </a:cubicBezTo>
                  <a:cubicBezTo>
                    <a:pt x="2325" y="202"/>
                    <a:pt x="2325" y="220"/>
                    <a:pt x="2325" y="230"/>
                  </a:cubicBezTo>
                  <a:cubicBezTo>
                    <a:pt x="2325" y="353"/>
                    <a:pt x="2276" y="391"/>
                    <a:pt x="2230" y="402"/>
                  </a:cubicBezTo>
                  <a:cubicBezTo>
                    <a:pt x="2221" y="404"/>
                    <a:pt x="2212" y="405"/>
                    <a:pt x="2202" y="405"/>
                  </a:cubicBezTo>
                  <a:cubicBezTo>
                    <a:pt x="2047" y="405"/>
                    <a:pt x="1842" y="96"/>
                    <a:pt x="1800" y="20"/>
                  </a:cubicBezTo>
                  <a:cubicBezTo>
                    <a:pt x="1787" y="11"/>
                    <a:pt x="1744" y="0"/>
                    <a:pt x="16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5" name="Google Shape;6735;p53"/>
            <p:cNvSpPr/>
            <p:nvPr/>
          </p:nvSpPr>
          <p:spPr>
            <a:xfrm>
              <a:off x="2779112" y="1267720"/>
              <a:ext cx="44453" cy="23136"/>
            </a:xfrm>
            <a:custGeom>
              <a:avLst/>
              <a:gdLst/>
              <a:ahLst/>
              <a:cxnLst/>
              <a:rect l="l" t="t" r="r" b="b"/>
              <a:pathLst>
                <a:path w="3274" h="1704" extrusionOk="0">
                  <a:moveTo>
                    <a:pt x="1671" y="1"/>
                  </a:moveTo>
                  <a:cubicBezTo>
                    <a:pt x="1656" y="1"/>
                    <a:pt x="1640" y="3"/>
                    <a:pt x="1625" y="8"/>
                  </a:cubicBezTo>
                  <a:cubicBezTo>
                    <a:pt x="1611" y="169"/>
                    <a:pt x="1415" y="176"/>
                    <a:pt x="1257" y="183"/>
                  </a:cubicBezTo>
                  <a:cubicBezTo>
                    <a:pt x="1191" y="187"/>
                    <a:pt x="1061" y="194"/>
                    <a:pt x="1044" y="215"/>
                  </a:cubicBezTo>
                  <a:cubicBezTo>
                    <a:pt x="1044" y="327"/>
                    <a:pt x="984" y="404"/>
                    <a:pt x="931" y="471"/>
                  </a:cubicBezTo>
                  <a:cubicBezTo>
                    <a:pt x="879" y="537"/>
                    <a:pt x="844" y="586"/>
                    <a:pt x="851" y="649"/>
                  </a:cubicBezTo>
                  <a:cubicBezTo>
                    <a:pt x="854" y="684"/>
                    <a:pt x="844" y="719"/>
                    <a:pt x="819" y="747"/>
                  </a:cubicBezTo>
                  <a:cubicBezTo>
                    <a:pt x="781" y="789"/>
                    <a:pt x="718" y="789"/>
                    <a:pt x="655" y="789"/>
                  </a:cubicBezTo>
                  <a:cubicBezTo>
                    <a:pt x="651" y="789"/>
                    <a:pt x="646" y="789"/>
                    <a:pt x="642" y="789"/>
                  </a:cubicBezTo>
                  <a:cubicBezTo>
                    <a:pt x="533" y="789"/>
                    <a:pt x="452" y="792"/>
                    <a:pt x="445" y="964"/>
                  </a:cubicBezTo>
                  <a:cubicBezTo>
                    <a:pt x="438" y="1195"/>
                    <a:pt x="263" y="1370"/>
                    <a:pt x="133" y="1500"/>
                  </a:cubicBezTo>
                  <a:cubicBezTo>
                    <a:pt x="84" y="1552"/>
                    <a:pt x="0" y="1636"/>
                    <a:pt x="4" y="1664"/>
                  </a:cubicBezTo>
                  <a:cubicBezTo>
                    <a:pt x="11" y="1671"/>
                    <a:pt x="18" y="1675"/>
                    <a:pt x="25" y="1678"/>
                  </a:cubicBezTo>
                  <a:cubicBezTo>
                    <a:pt x="56" y="1696"/>
                    <a:pt x="102" y="1703"/>
                    <a:pt x="159" y="1703"/>
                  </a:cubicBezTo>
                  <a:cubicBezTo>
                    <a:pt x="296" y="1703"/>
                    <a:pt x="495" y="1662"/>
                    <a:pt x="690" y="1622"/>
                  </a:cubicBezTo>
                  <a:cubicBezTo>
                    <a:pt x="930" y="1573"/>
                    <a:pt x="1179" y="1524"/>
                    <a:pt x="1391" y="1524"/>
                  </a:cubicBezTo>
                  <a:cubicBezTo>
                    <a:pt x="1405" y="1524"/>
                    <a:pt x="1419" y="1524"/>
                    <a:pt x="1432" y="1524"/>
                  </a:cubicBezTo>
                  <a:cubicBezTo>
                    <a:pt x="1441" y="1525"/>
                    <a:pt x="1450" y="1525"/>
                    <a:pt x="1459" y="1525"/>
                  </a:cubicBezTo>
                  <a:cubicBezTo>
                    <a:pt x="1986" y="1525"/>
                    <a:pt x="3225" y="1132"/>
                    <a:pt x="3260" y="947"/>
                  </a:cubicBezTo>
                  <a:cubicBezTo>
                    <a:pt x="3274" y="863"/>
                    <a:pt x="3179" y="821"/>
                    <a:pt x="2972" y="751"/>
                  </a:cubicBezTo>
                  <a:cubicBezTo>
                    <a:pt x="2829" y="702"/>
                    <a:pt x="2668" y="642"/>
                    <a:pt x="2563" y="534"/>
                  </a:cubicBezTo>
                  <a:cubicBezTo>
                    <a:pt x="2506" y="471"/>
                    <a:pt x="2425" y="453"/>
                    <a:pt x="2354" y="453"/>
                  </a:cubicBezTo>
                  <a:cubicBezTo>
                    <a:pt x="2334" y="453"/>
                    <a:pt x="2315" y="454"/>
                    <a:pt x="2297" y="457"/>
                  </a:cubicBezTo>
                  <a:cubicBezTo>
                    <a:pt x="2111" y="478"/>
                    <a:pt x="1929" y="590"/>
                    <a:pt x="1877" y="684"/>
                  </a:cubicBezTo>
                  <a:cubicBezTo>
                    <a:pt x="1820" y="779"/>
                    <a:pt x="1763" y="797"/>
                    <a:pt x="1729" y="797"/>
                  </a:cubicBezTo>
                  <a:cubicBezTo>
                    <a:pt x="1726" y="797"/>
                    <a:pt x="1722" y="796"/>
                    <a:pt x="1719" y="796"/>
                  </a:cubicBezTo>
                  <a:cubicBezTo>
                    <a:pt x="1681" y="793"/>
                    <a:pt x="1646" y="768"/>
                    <a:pt x="1635" y="730"/>
                  </a:cubicBezTo>
                  <a:cubicBezTo>
                    <a:pt x="1600" y="635"/>
                    <a:pt x="1677" y="474"/>
                    <a:pt x="1838" y="313"/>
                  </a:cubicBezTo>
                  <a:cubicBezTo>
                    <a:pt x="1891" y="260"/>
                    <a:pt x="1912" y="208"/>
                    <a:pt x="1901" y="159"/>
                  </a:cubicBezTo>
                  <a:cubicBezTo>
                    <a:pt x="1880" y="89"/>
                    <a:pt x="1793" y="29"/>
                    <a:pt x="1716" y="8"/>
                  </a:cubicBezTo>
                  <a:cubicBezTo>
                    <a:pt x="1702" y="3"/>
                    <a:pt x="1687" y="1"/>
                    <a:pt x="16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6" name="Google Shape;6736;p53"/>
            <p:cNvSpPr/>
            <p:nvPr/>
          </p:nvSpPr>
          <p:spPr>
            <a:xfrm>
              <a:off x="3087022" y="1356164"/>
              <a:ext cx="21412" cy="7834"/>
            </a:xfrm>
            <a:custGeom>
              <a:avLst/>
              <a:gdLst/>
              <a:ahLst/>
              <a:cxnLst/>
              <a:rect l="l" t="t" r="r" b="b"/>
              <a:pathLst>
                <a:path w="1577" h="577" extrusionOk="0">
                  <a:moveTo>
                    <a:pt x="714" y="0"/>
                  </a:moveTo>
                  <a:cubicBezTo>
                    <a:pt x="345" y="0"/>
                    <a:pt x="36" y="259"/>
                    <a:pt x="1" y="339"/>
                  </a:cubicBezTo>
                  <a:cubicBezTo>
                    <a:pt x="129" y="473"/>
                    <a:pt x="886" y="576"/>
                    <a:pt x="1312" y="576"/>
                  </a:cubicBezTo>
                  <a:cubicBezTo>
                    <a:pt x="1409" y="576"/>
                    <a:pt x="1490" y="571"/>
                    <a:pt x="1541" y="559"/>
                  </a:cubicBezTo>
                  <a:cubicBezTo>
                    <a:pt x="1576" y="552"/>
                    <a:pt x="1576" y="542"/>
                    <a:pt x="1576" y="531"/>
                  </a:cubicBezTo>
                  <a:cubicBezTo>
                    <a:pt x="1573" y="402"/>
                    <a:pt x="1219" y="73"/>
                    <a:pt x="834" y="10"/>
                  </a:cubicBezTo>
                  <a:cubicBezTo>
                    <a:pt x="794" y="3"/>
                    <a:pt x="754" y="0"/>
                    <a:pt x="7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7" name="Google Shape;6737;p53"/>
            <p:cNvSpPr/>
            <p:nvPr/>
          </p:nvSpPr>
          <p:spPr>
            <a:xfrm>
              <a:off x="2249874" y="1296871"/>
              <a:ext cx="1208533" cy="418540"/>
            </a:xfrm>
            <a:custGeom>
              <a:avLst/>
              <a:gdLst/>
              <a:ahLst/>
              <a:cxnLst/>
              <a:rect l="l" t="t" r="r" b="b"/>
              <a:pathLst>
                <a:path w="89010" h="30826" extrusionOk="0">
                  <a:moveTo>
                    <a:pt x="44495" y="20619"/>
                  </a:moveTo>
                  <a:cubicBezTo>
                    <a:pt x="44507" y="20619"/>
                    <a:pt x="44519" y="20620"/>
                    <a:pt x="44532" y="20624"/>
                  </a:cubicBezTo>
                  <a:cubicBezTo>
                    <a:pt x="44577" y="20641"/>
                    <a:pt x="44609" y="20683"/>
                    <a:pt x="44612" y="20732"/>
                  </a:cubicBezTo>
                  <a:cubicBezTo>
                    <a:pt x="44686" y="21048"/>
                    <a:pt x="44371" y="22301"/>
                    <a:pt x="43950" y="22675"/>
                  </a:cubicBezTo>
                  <a:cubicBezTo>
                    <a:pt x="43733" y="22871"/>
                    <a:pt x="43425" y="22994"/>
                    <a:pt x="43156" y="23106"/>
                  </a:cubicBezTo>
                  <a:cubicBezTo>
                    <a:pt x="42865" y="23222"/>
                    <a:pt x="42589" y="23334"/>
                    <a:pt x="42589" y="23477"/>
                  </a:cubicBezTo>
                  <a:cubicBezTo>
                    <a:pt x="42589" y="23680"/>
                    <a:pt x="42326" y="23803"/>
                    <a:pt x="42106" y="23869"/>
                  </a:cubicBezTo>
                  <a:cubicBezTo>
                    <a:pt x="41920" y="23925"/>
                    <a:pt x="41727" y="23953"/>
                    <a:pt x="41531" y="23960"/>
                  </a:cubicBezTo>
                  <a:cubicBezTo>
                    <a:pt x="41402" y="23960"/>
                    <a:pt x="41293" y="23939"/>
                    <a:pt x="41255" y="23876"/>
                  </a:cubicBezTo>
                  <a:cubicBezTo>
                    <a:pt x="41237" y="23852"/>
                    <a:pt x="41234" y="23820"/>
                    <a:pt x="41244" y="23792"/>
                  </a:cubicBezTo>
                  <a:cubicBezTo>
                    <a:pt x="41265" y="23722"/>
                    <a:pt x="41360" y="23694"/>
                    <a:pt x="41531" y="23638"/>
                  </a:cubicBezTo>
                  <a:cubicBezTo>
                    <a:pt x="41783" y="23558"/>
                    <a:pt x="42169" y="23432"/>
                    <a:pt x="42295" y="23159"/>
                  </a:cubicBezTo>
                  <a:cubicBezTo>
                    <a:pt x="42407" y="22903"/>
                    <a:pt x="42673" y="22714"/>
                    <a:pt x="42953" y="22511"/>
                  </a:cubicBezTo>
                  <a:cubicBezTo>
                    <a:pt x="43247" y="22304"/>
                    <a:pt x="43551" y="22087"/>
                    <a:pt x="43754" y="21769"/>
                  </a:cubicBezTo>
                  <a:cubicBezTo>
                    <a:pt x="43856" y="21604"/>
                    <a:pt x="43950" y="21415"/>
                    <a:pt x="44045" y="21230"/>
                  </a:cubicBezTo>
                  <a:cubicBezTo>
                    <a:pt x="44226" y="20865"/>
                    <a:pt x="44350" y="20619"/>
                    <a:pt x="44495" y="20619"/>
                  </a:cubicBezTo>
                  <a:close/>
                  <a:moveTo>
                    <a:pt x="41372" y="0"/>
                  </a:moveTo>
                  <a:cubicBezTo>
                    <a:pt x="41295" y="0"/>
                    <a:pt x="41205" y="24"/>
                    <a:pt x="41087" y="56"/>
                  </a:cubicBezTo>
                  <a:cubicBezTo>
                    <a:pt x="40982" y="84"/>
                    <a:pt x="40852" y="123"/>
                    <a:pt x="40684" y="154"/>
                  </a:cubicBezTo>
                  <a:cubicBezTo>
                    <a:pt x="40474" y="193"/>
                    <a:pt x="40383" y="305"/>
                    <a:pt x="40299" y="417"/>
                  </a:cubicBezTo>
                  <a:cubicBezTo>
                    <a:pt x="40240" y="491"/>
                    <a:pt x="40184" y="561"/>
                    <a:pt x="40093" y="603"/>
                  </a:cubicBezTo>
                  <a:cubicBezTo>
                    <a:pt x="39945" y="669"/>
                    <a:pt x="39746" y="879"/>
                    <a:pt x="39721" y="956"/>
                  </a:cubicBezTo>
                  <a:cubicBezTo>
                    <a:pt x="39875" y="995"/>
                    <a:pt x="39868" y="1103"/>
                    <a:pt x="39861" y="1166"/>
                  </a:cubicBezTo>
                  <a:cubicBezTo>
                    <a:pt x="39858" y="1191"/>
                    <a:pt x="39858" y="1215"/>
                    <a:pt x="39861" y="1240"/>
                  </a:cubicBezTo>
                  <a:cubicBezTo>
                    <a:pt x="39875" y="1285"/>
                    <a:pt x="39861" y="1334"/>
                    <a:pt x="39830" y="1369"/>
                  </a:cubicBezTo>
                  <a:cubicBezTo>
                    <a:pt x="39786" y="1415"/>
                    <a:pt x="39712" y="1430"/>
                    <a:pt x="39635" y="1430"/>
                  </a:cubicBezTo>
                  <a:cubicBezTo>
                    <a:pt x="39582" y="1430"/>
                    <a:pt x="39528" y="1423"/>
                    <a:pt x="39480" y="1415"/>
                  </a:cubicBezTo>
                  <a:cubicBezTo>
                    <a:pt x="39421" y="1404"/>
                    <a:pt x="39336" y="1399"/>
                    <a:pt x="39244" y="1399"/>
                  </a:cubicBezTo>
                  <a:cubicBezTo>
                    <a:pt x="39031" y="1399"/>
                    <a:pt x="38779" y="1426"/>
                    <a:pt x="38727" y="1467"/>
                  </a:cubicBezTo>
                  <a:cubicBezTo>
                    <a:pt x="38741" y="1506"/>
                    <a:pt x="38853" y="1555"/>
                    <a:pt x="38906" y="1579"/>
                  </a:cubicBezTo>
                  <a:cubicBezTo>
                    <a:pt x="39004" y="1625"/>
                    <a:pt x="39105" y="1670"/>
                    <a:pt x="39077" y="1758"/>
                  </a:cubicBezTo>
                  <a:cubicBezTo>
                    <a:pt x="39067" y="1789"/>
                    <a:pt x="39042" y="1810"/>
                    <a:pt x="39014" y="1821"/>
                  </a:cubicBezTo>
                  <a:cubicBezTo>
                    <a:pt x="38996" y="1828"/>
                    <a:pt x="38973" y="1832"/>
                    <a:pt x="38947" y="1832"/>
                  </a:cubicBezTo>
                  <a:cubicBezTo>
                    <a:pt x="38829" y="1832"/>
                    <a:pt x="38653" y="1762"/>
                    <a:pt x="38570" y="1716"/>
                  </a:cubicBezTo>
                  <a:cubicBezTo>
                    <a:pt x="38537" y="1697"/>
                    <a:pt x="38487" y="1688"/>
                    <a:pt x="38434" y="1688"/>
                  </a:cubicBezTo>
                  <a:cubicBezTo>
                    <a:pt x="38386" y="1688"/>
                    <a:pt x="38334" y="1696"/>
                    <a:pt x="38290" y="1712"/>
                  </a:cubicBezTo>
                  <a:cubicBezTo>
                    <a:pt x="38248" y="1723"/>
                    <a:pt x="38209" y="1751"/>
                    <a:pt x="38185" y="1789"/>
                  </a:cubicBezTo>
                  <a:cubicBezTo>
                    <a:pt x="38164" y="1842"/>
                    <a:pt x="38118" y="1884"/>
                    <a:pt x="38062" y="1905"/>
                  </a:cubicBezTo>
                  <a:cubicBezTo>
                    <a:pt x="38014" y="1921"/>
                    <a:pt x="37965" y="1929"/>
                    <a:pt x="37916" y="1929"/>
                  </a:cubicBezTo>
                  <a:cubicBezTo>
                    <a:pt x="37857" y="1929"/>
                    <a:pt x="37799" y="1917"/>
                    <a:pt x="37743" y="1894"/>
                  </a:cubicBezTo>
                  <a:cubicBezTo>
                    <a:pt x="37708" y="1894"/>
                    <a:pt x="37673" y="1901"/>
                    <a:pt x="37642" y="1912"/>
                  </a:cubicBezTo>
                  <a:cubicBezTo>
                    <a:pt x="37594" y="1923"/>
                    <a:pt x="37539" y="1936"/>
                    <a:pt x="37484" y="1936"/>
                  </a:cubicBezTo>
                  <a:cubicBezTo>
                    <a:pt x="37453" y="1936"/>
                    <a:pt x="37423" y="1932"/>
                    <a:pt x="37393" y="1922"/>
                  </a:cubicBezTo>
                  <a:cubicBezTo>
                    <a:pt x="37358" y="1912"/>
                    <a:pt x="37334" y="1887"/>
                    <a:pt x="37323" y="1852"/>
                  </a:cubicBezTo>
                  <a:cubicBezTo>
                    <a:pt x="37313" y="1789"/>
                    <a:pt x="37365" y="1740"/>
                    <a:pt x="37428" y="1681"/>
                  </a:cubicBezTo>
                  <a:cubicBezTo>
                    <a:pt x="37460" y="1656"/>
                    <a:pt x="37488" y="1625"/>
                    <a:pt x="37512" y="1593"/>
                  </a:cubicBezTo>
                  <a:cubicBezTo>
                    <a:pt x="37481" y="1586"/>
                    <a:pt x="37448" y="1582"/>
                    <a:pt x="37416" y="1582"/>
                  </a:cubicBezTo>
                  <a:cubicBezTo>
                    <a:pt x="37374" y="1582"/>
                    <a:pt x="37332" y="1588"/>
                    <a:pt x="37292" y="1600"/>
                  </a:cubicBezTo>
                  <a:cubicBezTo>
                    <a:pt x="37187" y="1628"/>
                    <a:pt x="37124" y="1677"/>
                    <a:pt x="37113" y="1709"/>
                  </a:cubicBezTo>
                  <a:cubicBezTo>
                    <a:pt x="37106" y="1747"/>
                    <a:pt x="37078" y="1779"/>
                    <a:pt x="37043" y="1793"/>
                  </a:cubicBezTo>
                  <a:cubicBezTo>
                    <a:pt x="37028" y="1800"/>
                    <a:pt x="37011" y="1802"/>
                    <a:pt x="36994" y="1802"/>
                  </a:cubicBezTo>
                  <a:cubicBezTo>
                    <a:pt x="36940" y="1802"/>
                    <a:pt x="36882" y="1772"/>
                    <a:pt x="36826" y="1740"/>
                  </a:cubicBezTo>
                  <a:cubicBezTo>
                    <a:pt x="36791" y="1719"/>
                    <a:pt x="36756" y="1705"/>
                    <a:pt x="36718" y="1695"/>
                  </a:cubicBezTo>
                  <a:lnTo>
                    <a:pt x="36683" y="1712"/>
                  </a:lnTo>
                  <a:cubicBezTo>
                    <a:pt x="36578" y="1772"/>
                    <a:pt x="36469" y="1824"/>
                    <a:pt x="36357" y="1873"/>
                  </a:cubicBezTo>
                  <a:cubicBezTo>
                    <a:pt x="36313" y="1892"/>
                    <a:pt x="36263" y="1898"/>
                    <a:pt x="36213" y="1898"/>
                  </a:cubicBezTo>
                  <a:cubicBezTo>
                    <a:pt x="36158" y="1898"/>
                    <a:pt x="36103" y="1891"/>
                    <a:pt x="36053" y="1884"/>
                  </a:cubicBezTo>
                  <a:cubicBezTo>
                    <a:pt x="36012" y="1878"/>
                    <a:pt x="35967" y="1872"/>
                    <a:pt x="35931" y="1872"/>
                  </a:cubicBezTo>
                  <a:cubicBezTo>
                    <a:pt x="35901" y="1872"/>
                    <a:pt x="35878" y="1876"/>
                    <a:pt x="35871" y="1887"/>
                  </a:cubicBezTo>
                  <a:cubicBezTo>
                    <a:pt x="35892" y="1915"/>
                    <a:pt x="35993" y="1947"/>
                    <a:pt x="36035" y="1964"/>
                  </a:cubicBezTo>
                  <a:cubicBezTo>
                    <a:pt x="36133" y="1996"/>
                    <a:pt x="36196" y="2017"/>
                    <a:pt x="36207" y="2076"/>
                  </a:cubicBezTo>
                  <a:cubicBezTo>
                    <a:pt x="36210" y="2097"/>
                    <a:pt x="36203" y="2118"/>
                    <a:pt x="36189" y="2132"/>
                  </a:cubicBezTo>
                  <a:cubicBezTo>
                    <a:pt x="36158" y="2174"/>
                    <a:pt x="36088" y="2181"/>
                    <a:pt x="35772" y="2206"/>
                  </a:cubicBezTo>
                  <a:cubicBezTo>
                    <a:pt x="35615" y="2216"/>
                    <a:pt x="35356" y="2234"/>
                    <a:pt x="35293" y="2262"/>
                  </a:cubicBezTo>
                  <a:cubicBezTo>
                    <a:pt x="35244" y="2367"/>
                    <a:pt x="35044" y="2378"/>
                    <a:pt x="34621" y="2385"/>
                  </a:cubicBezTo>
                  <a:lnTo>
                    <a:pt x="34551" y="2385"/>
                  </a:lnTo>
                  <a:cubicBezTo>
                    <a:pt x="34379" y="2392"/>
                    <a:pt x="34348" y="2430"/>
                    <a:pt x="34306" y="2479"/>
                  </a:cubicBezTo>
                  <a:cubicBezTo>
                    <a:pt x="34243" y="2563"/>
                    <a:pt x="34152" y="2616"/>
                    <a:pt x="34050" y="2626"/>
                  </a:cubicBezTo>
                  <a:lnTo>
                    <a:pt x="33959" y="2644"/>
                  </a:lnTo>
                  <a:cubicBezTo>
                    <a:pt x="33738" y="2686"/>
                    <a:pt x="33647" y="2703"/>
                    <a:pt x="33577" y="2808"/>
                  </a:cubicBezTo>
                  <a:cubicBezTo>
                    <a:pt x="33514" y="2903"/>
                    <a:pt x="33409" y="2962"/>
                    <a:pt x="33297" y="2966"/>
                  </a:cubicBezTo>
                  <a:cubicBezTo>
                    <a:pt x="33286" y="2967"/>
                    <a:pt x="33275" y="2968"/>
                    <a:pt x="33265" y="2968"/>
                  </a:cubicBezTo>
                  <a:cubicBezTo>
                    <a:pt x="33183" y="2968"/>
                    <a:pt x="33108" y="2933"/>
                    <a:pt x="33052" y="2871"/>
                  </a:cubicBezTo>
                  <a:cubicBezTo>
                    <a:pt x="33041" y="2863"/>
                    <a:pt x="33027" y="2856"/>
                    <a:pt x="33013" y="2856"/>
                  </a:cubicBezTo>
                  <a:cubicBezTo>
                    <a:pt x="33010" y="2856"/>
                    <a:pt x="33006" y="2857"/>
                    <a:pt x="33003" y="2857"/>
                  </a:cubicBezTo>
                  <a:cubicBezTo>
                    <a:pt x="32993" y="2857"/>
                    <a:pt x="32979" y="2861"/>
                    <a:pt x="32965" y="2864"/>
                  </a:cubicBezTo>
                  <a:cubicBezTo>
                    <a:pt x="32986" y="2875"/>
                    <a:pt x="33000" y="2892"/>
                    <a:pt x="33007" y="2913"/>
                  </a:cubicBezTo>
                  <a:cubicBezTo>
                    <a:pt x="33021" y="2962"/>
                    <a:pt x="33003" y="3011"/>
                    <a:pt x="32965" y="3043"/>
                  </a:cubicBezTo>
                  <a:cubicBezTo>
                    <a:pt x="32931" y="3082"/>
                    <a:pt x="32881" y="3102"/>
                    <a:pt x="32830" y="3102"/>
                  </a:cubicBezTo>
                  <a:cubicBezTo>
                    <a:pt x="32813" y="3102"/>
                    <a:pt x="32796" y="3100"/>
                    <a:pt x="32779" y="3095"/>
                  </a:cubicBezTo>
                  <a:cubicBezTo>
                    <a:pt x="32755" y="3095"/>
                    <a:pt x="32730" y="3102"/>
                    <a:pt x="32706" y="3116"/>
                  </a:cubicBezTo>
                  <a:cubicBezTo>
                    <a:pt x="32755" y="3130"/>
                    <a:pt x="32793" y="3162"/>
                    <a:pt x="32818" y="3207"/>
                  </a:cubicBezTo>
                  <a:cubicBezTo>
                    <a:pt x="32853" y="3270"/>
                    <a:pt x="32846" y="3351"/>
                    <a:pt x="32797" y="3407"/>
                  </a:cubicBezTo>
                  <a:cubicBezTo>
                    <a:pt x="32771" y="3436"/>
                    <a:pt x="32737" y="3453"/>
                    <a:pt x="32699" y="3453"/>
                  </a:cubicBezTo>
                  <a:cubicBezTo>
                    <a:pt x="32695" y="3453"/>
                    <a:pt x="32692" y="3453"/>
                    <a:pt x="32688" y="3452"/>
                  </a:cubicBezTo>
                  <a:lnTo>
                    <a:pt x="32688" y="3452"/>
                  </a:lnTo>
                  <a:cubicBezTo>
                    <a:pt x="32793" y="3487"/>
                    <a:pt x="32870" y="3578"/>
                    <a:pt x="32884" y="3687"/>
                  </a:cubicBezTo>
                  <a:cubicBezTo>
                    <a:pt x="32888" y="3715"/>
                    <a:pt x="32881" y="3746"/>
                    <a:pt x="32856" y="3767"/>
                  </a:cubicBezTo>
                  <a:cubicBezTo>
                    <a:pt x="32834" y="3790"/>
                    <a:pt x="32805" y="3798"/>
                    <a:pt x="32770" y="3798"/>
                  </a:cubicBezTo>
                  <a:cubicBezTo>
                    <a:pt x="32733" y="3798"/>
                    <a:pt x="32688" y="3789"/>
                    <a:pt x="32636" y="3778"/>
                  </a:cubicBezTo>
                  <a:cubicBezTo>
                    <a:pt x="32600" y="3770"/>
                    <a:pt x="32535" y="3759"/>
                    <a:pt x="32494" y="3759"/>
                  </a:cubicBezTo>
                  <a:cubicBezTo>
                    <a:pt x="32479" y="3759"/>
                    <a:pt x="32467" y="3760"/>
                    <a:pt x="32461" y="3764"/>
                  </a:cubicBezTo>
                  <a:cubicBezTo>
                    <a:pt x="32513" y="3785"/>
                    <a:pt x="32569" y="3799"/>
                    <a:pt x="32625" y="3799"/>
                  </a:cubicBezTo>
                  <a:cubicBezTo>
                    <a:pt x="32734" y="3813"/>
                    <a:pt x="32762" y="3848"/>
                    <a:pt x="32779" y="3914"/>
                  </a:cubicBezTo>
                  <a:cubicBezTo>
                    <a:pt x="32786" y="3953"/>
                    <a:pt x="32807" y="3988"/>
                    <a:pt x="32839" y="4009"/>
                  </a:cubicBezTo>
                  <a:cubicBezTo>
                    <a:pt x="32849" y="4019"/>
                    <a:pt x="32860" y="4030"/>
                    <a:pt x="32870" y="4044"/>
                  </a:cubicBezTo>
                  <a:cubicBezTo>
                    <a:pt x="32954" y="4142"/>
                    <a:pt x="32888" y="4222"/>
                    <a:pt x="32856" y="4257"/>
                  </a:cubicBezTo>
                  <a:cubicBezTo>
                    <a:pt x="32839" y="4282"/>
                    <a:pt x="32825" y="4296"/>
                    <a:pt x="32828" y="4306"/>
                  </a:cubicBezTo>
                  <a:cubicBezTo>
                    <a:pt x="32839" y="4366"/>
                    <a:pt x="32814" y="4422"/>
                    <a:pt x="32765" y="4454"/>
                  </a:cubicBezTo>
                  <a:cubicBezTo>
                    <a:pt x="32737" y="4475"/>
                    <a:pt x="32703" y="4486"/>
                    <a:pt x="32669" y="4486"/>
                  </a:cubicBezTo>
                  <a:cubicBezTo>
                    <a:pt x="32648" y="4486"/>
                    <a:pt x="32627" y="4482"/>
                    <a:pt x="32608" y="4475"/>
                  </a:cubicBezTo>
                  <a:cubicBezTo>
                    <a:pt x="32573" y="4454"/>
                    <a:pt x="32548" y="4419"/>
                    <a:pt x="32545" y="4380"/>
                  </a:cubicBezTo>
                  <a:cubicBezTo>
                    <a:pt x="32486" y="4355"/>
                    <a:pt x="32422" y="4343"/>
                    <a:pt x="32359" y="4343"/>
                  </a:cubicBezTo>
                  <a:cubicBezTo>
                    <a:pt x="32344" y="4343"/>
                    <a:pt x="32329" y="4344"/>
                    <a:pt x="32314" y="4345"/>
                  </a:cubicBezTo>
                  <a:cubicBezTo>
                    <a:pt x="32212" y="4345"/>
                    <a:pt x="32156" y="4370"/>
                    <a:pt x="32142" y="4384"/>
                  </a:cubicBezTo>
                  <a:lnTo>
                    <a:pt x="32139" y="4391"/>
                  </a:lnTo>
                  <a:cubicBezTo>
                    <a:pt x="32076" y="4464"/>
                    <a:pt x="32016" y="4534"/>
                    <a:pt x="31932" y="4541"/>
                  </a:cubicBezTo>
                  <a:cubicBezTo>
                    <a:pt x="31880" y="4541"/>
                    <a:pt x="31827" y="4520"/>
                    <a:pt x="31789" y="4478"/>
                  </a:cubicBezTo>
                  <a:cubicBezTo>
                    <a:pt x="31774" y="4465"/>
                    <a:pt x="31744" y="4460"/>
                    <a:pt x="31703" y="4460"/>
                  </a:cubicBezTo>
                  <a:cubicBezTo>
                    <a:pt x="31638" y="4460"/>
                    <a:pt x="31546" y="4473"/>
                    <a:pt x="31452" y="4489"/>
                  </a:cubicBezTo>
                  <a:cubicBezTo>
                    <a:pt x="31312" y="4513"/>
                    <a:pt x="31169" y="4531"/>
                    <a:pt x="31029" y="4538"/>
                  </a:cubicBezTo>
                  <a:lnTo>
                    <a:pt x="31015" y="4538"/>
                  </a:lnTo>
                  <a:cubicBezTo>
                    <a:pt x="30626" y="4555"/>
                    <a:pt x="29825" y="4587"/>
                    <a:pt x="29632" y="4653"/>
                  </a:cubicBezTo>
                  <a:cubicBezTo>
                    <a:pt x="29527" y="4695"/>
                    <a:pt x="29443" y="4786"/>
                    <a:pt x="29415" y="4898"/>
                  </a:cubicBezTo>
                  <a:cubicBezTo>
                    <a:pt x="29397" y="4965"/>
                    <a:pt x="29418" y="5038"/>
                    <a:pt x="29467" y="5087"/>
                  </a:cubicBezTo>
                  <a:cubicBezTo>
                    <a:pt x="29629" y="5248"/>
                    <a:pt x="29565" y="5367"/>
                    <a:pt x="29527" y="5444"/>
                  </a:cubicBezTo>
                  <a:cubicBezTo>
                    <a:pt x="29509" y="5469"/>
                    <a:pt x="29499" y="5493"/>
                    <a:pt x="29495" y="5521"/>
                  </a:cubicBezTo>
                  <a:cubicBezTo>
                    <a:pt x="29516" y="5598"/>
                    <a:pt x="29937" y="5829"/>
                    <a:pt x="30182" y="5854"/>
                  </a:cubicBezTo>
                  <a:cubicBezTo>
                    <a:pt x="30357" y="5875"/>
                    <a:pt x="30504" y="5987"/>
                    <a:pt x="30574" y="6148"/>
                  </a:cubicBezTo>
                  <a:cubicBezTo>
                    <a:pt x="30630" y="6260"/>
                    <a:pt x="30616" y="6393"/>
                    <a:pt x="30542" y="6495"/>
                  </a:cubicBezTo>
                  <a:cubicBezTo>
                    <a:pt x="30490" y="6561"/>
                    <a:pt x="30414" y="6588"/>
                    <a:pt x="30326" y="6588"/>
                  </a:cubicBezTo>
                  <a:cubicBezTo>
                    <a:pt x="30078" y="6588"/>
                    <a:pt x="29729" y="6372"/>
                    <a:pt x="29520" y="6204"/>
                  </a:cubicBezTo>
                  <a:cubicBezTo>
                    <a:pt x="29254" y="5996"/>
                    <a:pt x="28639" y="5894"/>
                    <a:pt x="28370" y="5894"/>
                  </a:cubicBezTo>
                  <a:cubicBezTo>
                    <a:pt x="28348" y="5894"/>
                    <a:pt x="28329" y="5895"/>
                    <a:pt x="28312" y="5896"/>
                  </a:cubicBezTo>
                  <a:cubicBezTo>
                    <a:pt x="28303" y="5897"/>
                    <a:pt x="28293" y="5897"/>
                    <a:pt x="28285" y="5897"/>
                  </a:cubicBezTo>
                  <a:cubicBezTo>
                    <a:pt x="28153" y="5897"/>
                    <a:pt x="28111" y="5826"/>
                    <a:pt x="28081" y="5773"/>
                  </a:cubicBezTo>
                  <a:cubicBezTo>
                    <a:pt x="28048" y="5720"/>
                    <a:pt x="28034" y="5693"/>
                    <a:pt x="27932" y="5693"/>
                  </a:cubicBezTo>
                  <a:cubicBezTo>
                    <a:pt x="27926" y="5693"/>
                    <a:pt x="27920" y="5693"/>
                    <a:pt x="27913" y="5693"/>
                  </a:cubicBezTo>
                  <a:cubicBezTo>
                    <a:pt x="27784" y="5696"/>
                    <a:pt x="27661" y="5749"/>
                    <a:pt x="27570" y="5836"/>
                  </a:cubicBezTo>
                  <a:lnTo>
                    <a:pt x="27637" y="5836"/>
                  </a:lnTo>
                  <a:cubicBezTo>
                    <a:pt x="27650" y="5836"/>
                    <a:pt x="27663" y="5836"/>
                    <a:pt x="27676" y="5836"/>
                  </a:cubicBezTo>
                  <a:cubicBezTo>
                    <a:pt x="27795" y="5836"/>
                    <a:pt x="27863" y="5839"/>
                    <a:pt x="27885" y="5899"/>
                  </a:cubicBezTo>
                  <a:cubicBezTo>
                    <a:pt x="27899" y="5941"/>
                    <a:pt x="27885" y="5987"/>
                    <a:pt x="27850" y="6015"/>
                  </a:cubicBezTo>
                  <a:lnTo>
                    <a:pt x="27885" y="6022"/>
                  </a:lnTo>
                  <a:cubicBezTo>
                    <a:pt x="27966" y="6043"/>
                    <a:pt x="28039" y="6071"/>
                    <a:pt x="28113" y="6102"/>
                  </a:cubicBezTo>
                  <a:cubicBezTo>
                    <a:pt x="28183" y="6130"/>
                    <a:pt x="28221" y="6172"/>
                    <a:pt x="28225" y="6221"/>
                  </a:cubicBezTo>
                  <a:cubicBezTo>
                    <a:pt x="28225" y="6270"/>
                    <a:pt x="28193" y="6316"/>
                    <a:pt x="28148" y="6337"/>
                  </a:cubicBezTo>
                  <a:cubicBezTo>
                    <a:pt x="28096" y="6365"/>
                    <a:pt x="28010" y="6386"/>
                    <a:pt x="27915" y="6386"/>
                  </a:cubicBezTo>
                  <a:cubicBezTo>
                    <a:pt x="27810" y="6386"/>
                    <a:pt x="27693" y="6361"/>
                    <a:pt x="27598" y="6295"/>
                  </a:cubicBezTo>
                  <a:cubicBezTo>
                    <a:pt x="27539" y="6254"/>
                    <a:pt x="27472" y="6234"/>
                    <a:pt x="27403" y="6234"/>
                  </a:cubicBezTo>
                  <a:cubicBezTo>
                    <a:pt x="27377" y="6234"/>
                    <a:pt x="27351" y="6237"/>
                    <a:pt x="27325" y="6242"/>
                  </a:cubicBezTo>
                  <a:cubicBezTo>
                    <a:pt x="27234" y="6263"/>
                    <a:pt x="27153" y="6319"/>
                    <a:pt x="27101" y="6396"/>
                  </a:cubicBezTo>
                  <a:cubicBezTo>
                    <a:pt x="27101" y="6396"/>
                    <a:pt x="27097" y="6414"/>
                    <a:pt x="27115" y="6449"/>
                  </a:cubicBezTo>
                  <a:cubicBezTo>
                    <a:pt x="27181" y="6589"/>
                    <a:pt x="27458" y="6817"/>
                    <a:pt x="27780" y="6866"/>
                  </a:cubicBezTo>
                  <a:cubicBezTo>
                    <a:pt x="28057" y="6904"/>
                    <a:pt x="28127" y="6974"/>
                    <a:pt x="28186" y="7062"/>
                  </a:cubicBezTo>
                  <a:cubicBezTo>
                    <a:pt x="28211" y="7100"/>
                    <a:pt x="28246" y="7128"/>
                    <a:pt x="28288" y="7142"/>
                  </a:cubicBezTo>
                  <a:cubicBezTo>
                    <a:pt x="28393" y="7181"/>
                    <a:pt x="28438" y="7230"/>
                    <a:pt x="28431" y="7296"/>
                  </a:cubicBezTo>
                  <a:cubicBezTo>
                    <a:pt x="28417" y="7394"/>
                    <a:pt x="28270" y="7426"/>
                    <a:pt x="28190" y="7433"/>
                  </a:cubicBezTo>
                  <a:cubicBezTo>
                    <a:pt x="28188" y="7433"/>
                    <a:pt x="28185" y="7433"/>
                    <a:pt x="28183" y="7433"/>
                  </a:cubicBezTo>
                  <a:cubicBezTo>
                    <a:pt x="28069" y="7433"/>
                    <a:pt x="27924" y="7343"/>
                    <a:pt x="27749" y="7233"/>
                  </a:cubicBezTo>
                  <a:cubicBezTo>
                    <a:pt x="27672" y="7188"/>
                    <a:pt x="27595" y="7139"/>
                    <a:pt x="27524" y="7104"/>
                  </a:cubicBezTo>
                  <a:cubicBezTo>
                    <a:pt x="27472" y="7075"/>
                    <a:pt x="27384" y="7067"/>
                    <a:pt x="27286" y="7067"/>
                  </a:cubicBezTo>
                  <a:cubicBezTo>
                    <a:pt x="27216" y="7067"/>
                    <a:pt x="27140" y="7071"/>
                    <a:pt x="27069" y="7076"/>
                  </a:cubicBezTo>
                  <a:cubicBezTo>
                    <a:pt x="26997" y="7079"/>
                    <a:pt x="26928" y="7083"/>
                    <a:pt x="26866" y="7083"/>
                  </a:cubicBezTo>
                  <a:cubicBezTo>
                    <a:pt x="26736" y="7083"/>
                    <a:pt x="26632" y="7068"/>
                    <a:pt x="26576" y="7009"/>
                  </a:cubicBezTo>
                  <a:cubicBezTo>
                    <a:pt x="26488" y="6915"/>
                    <a:pt x="26523" y="6813"/>
                    <a:pt x="26544" y="6747"/>
                  </a:cubicBezTo>
                  <a:cubicBezTo>
                    <a:pt x="26569" y="6680"/>
                    <a:pt x="26565" y="6673"/>
                    <a:pt x="26548" y="6659"/>
                  </a:cubicBezTo>
                  <a:cubicBezTo>
                    <a:pt x="26383" y="6516"/>
                    <a:pt x="26537" y="6232"/>
                    <a:pt x="26667" y="6032"/>
                  </a:cubicBezTo>
                  <a:cubicBezTo>
                    <a:pt x="26719" y="5948"/>
                    <a:pt x="26723" y="5822"/>
                    <a:pt x="26677" y="5696"/>
                  </a:cubicBezTo>
                  <a:cubicBezTo>
                    <a:pt x="26632" y="5570"/>
                    <a:pt x="26548" y="5476"/>
                    <a:pt x="26467" y="5451"/>
                  </a:cubicBezTo>
                  <a:cubicBezTo>
                    <a:pt x="26454" y="5447"/>
                    <a:pt x="26433" y="5440"/>
                    <a:pt x="26414" y="5440"/>
                  </a:cubicBezTo>
                  <a:cubicBezTo>
                    <a:pt x="26403" y="5440"/>
                    <a:pt x="26392" y="5443"/>
                    <a:pt x="26387" y="5451"/>
                  </a:cubicBezTo>
                  <a:cubicBezTo>
                    <a:pt x="26373" y="5490"/>
                    <a:pt x="26373" y="5532"/>
                    <a:pt x="26394" y="5567"/>
                  </a:cubicBezTo>
                  <a:cubicBezTo>
                    <a:pt x="26464" y="5661"/>
                    <a:pt x="26432" y="6001"/>
                    <a:pt x="26254" y="6221"/>
                  </a:cubicBezTo>
                  <a:cubicBezTo>
                    <a:pt x="26159" y="6344"/>
                    <a:pt x="25981" y="6396"/>
                    <a:pt x="25823" y="6442"/>
                  </a:cubicBezTo>
                  <a:cubicBezTo>
                    <a:pt x="25746" y="6463"/>
                    <a:pt x="25634" y="6498"/>
                    <a:pt x="25613" y="6523"/>
                  </a:cubicBezTo>
                  <a:cubicBezTo>
                    <a:pt x="25613" y="6617"/>
                    <a:pt x="25526" y="6684"/>
                    <a:pt x="25456" y="6743"/>
                  </a:cubicBezTo>
                  <a:cubicBezTo>
                    <a:pt x="25427" y="6764"/>
                    <a:pt x="25399" y="6785"/>
                    <a:pt x="25378" y="6813"/>
                  </a:cubicBezTo>
                  <a:cubicBezTo>
                    <a:pt x="25501" y="6922"/>
                    <a:pt x="25946" y="7419"/>
                    <a:pt x="26016" y="7583"/>
                  </a:cubicBezTo>
                  <a:cubicBezTo>
                    <a:pt x="26054" y="7685"/>
                    <a:pt x="25977" y="7821"/>
                    <a:pt x="25876" y="8000"/>
                  </a:cubicBezTo>
                  <a:cubicBezTo>
                    <a:pt x="25778" y="8175"/>
                    <a:pt x="25659" y="8385"/>
                    <a:pt x="25694" y="8515"/>
                  </a:cubicBezTo>
                  <a:cubicBezTo>
                    <a:pt x="25725" y="8634"/>
                    <a:pt x="25725" y="8756"/>
                    <a:pt x="25701" y="8879"/>
                  </a:cubicBezTo>
                  <a:cubicBezTo>
                    <a:pt x="25687" y="8959"/>
                    <a:pt x="25680" y="9001"/>
                    <a:pt x="25708" y="9047"/>
                  </a:cubicBezTo>
                  <a:cubicBezTo>
                    <a:pt x="25728" y="9076"/>
                    <a:pt x="25754" y="9085"/>
                    <a:pt x="25795" y="9085"/>
                  </a:cubicBezTo>
                  <a:cubicBezTo>
                    <a:pt x="25819" y="9085"/>
                    <a:pt x="25847" y="9082"/>
                    <a:pt x="25883" y="9078"/>
                  </a:cubicBezTo>
                  <a:cubicBezTo>
                    <a:pt x="25908" y="9073"/>
                    <a:pt x="25933" y="9071"/>
                    <a:pt x="25958" y="9071"/>
                  </a:cubicBezTo>
                  <a:cubicBezTo>
                    <a:pt x="26006" y="9071"/>
                    <a:pt x="26054" y="9080"/>
                    <a:pt x="26100" y="9096"/>
                  </a:cubicBezTo>
                  <a:cubicBezTo>
                    <a:pt x="26112" y="9101"/>
                    <a:pt x="26126" y="9104"/>
                    <a:pt x="26143" y="9104"/>
                  </a:cubicBezTo>
                  <a:cubicBezTo>
                    <a:pt x="26201" y="9104"/>
                    <a:pt x="26284" y="9076"/>
                    <a:pt x="26373" y="9043"/>
                  </a:cubicBezTo>
                  <a:cubicBezTo>
                    <a:pt x="26481" y="9005"/>
                    <a:pt x="26590" y="8973"/>
                    <a:pt x="26698" y="8952"/>
                  </a:cubicBezTo>
                  <a:cubicBezTo>
                    <a:pt x="26726" y="8947"/>
                    <a:pt x="26756" y="8944"/>
                    <a:pt x="26787" y="8944"/>
                  </a:cubicBezTo>
                  <a:cubicBezTo>
                    <a:pt x="27065" y="8944"/>
                    <a:pt x="27446" y="9141"/>
                    <a:pt x="27686" y="9260"/>
                  </a:cubicBezTo>
                  <a:cubicBezTo>
                    <a:pt x="27728" y="9281"/>
                    <a:pt x="27763" y="9299"/>
                    <a:pt x="27791" y="9313"/>
                  </a:cubicBezTo>
                  <a:cubicBezTo>
                    <a:pt x="27945" y="9386"/>
                    <a:pt x="27959" y="9502"/>
                    <a:pt x="27973" y="9593"/>
                  </a:cubicBezTo>
                  <a:cubicBezTo>
                    <a:pt x="27976" y="9649"/>
                    <a:pt x="27990" y="9705"/>
                    <a:pt x="28022" y="9754"/>
                  </a:cubicBezTo>
                  <a:cubicBezTo>
                    <a:pt x="28109" y="9890"/>
                    <a:pt x="27990" y="9971"/>
                    <a:pt x="27920" y="10016"/>
                  </a:cubicBezTo>
                  <a:cubicBezTo>
                    <a:pt x="27836" y="10072"/>
                    <a:pt x="27784" y="10118"/>
                    <a:pt x="27780" y="10198"/>
                  </a:cubicBezTo>
                  <a:cubicBezTo>
                    <a:pt x="27777" y="10314"/>
                    <a:pt x="28036" y="10408"/>
                    <a:pt x="28190" y="10468"/>
                  </a:cubicBezTo>
                  <a:cubicBezTo>
                    <a:pt x="28323" y="10517"/>
                    <a:pt x="28389" y="10541"/>
                    <a:pt x="28407" y="10598"/>
                  </a:cubicBezTo>
                  <a:cubicBezTo>
                    <a:pt x="28417" y="10629"/>
                    <a:pt x="28410" y="10661"/>
                    <a:pt x="28386" y="10682"/>
                  </a:cubicBezTo>
                  <a:cubicBezTo>
                    <a:pt x="28357" y="10709"/>
                    <a:pt x="28296" y="10719"/>
                    <a:pt x="28220" y="10719"/>
                  </a:cubicBezTo>
                  <a:cubicBezTo>
                    <a:pt x="28043" y="10719"/>
                    <a:pt x="27788" y="10662"/>
                    <a:pt x="27707" y="10633"/>
                  </a:cubicBezTo>
                  <a:cubicBezTo>
                    <a:pt x="27563" y="10580"/>
                    <a:pt x="27507" y="10436"/>
                    <a:pt x="27468" y="10342"/>
                  </a:cubicBezTo>
                  <a:cubicBezTo>
                    <a:pt x="27461" y="10317"/>
                    <a:pt x="27451" y="10293"/>
                    <a:pt x="27437" y="10272"/>
                  </a:cubicBezTo>
                  <a:cubicBezTo>
                    <a:pt x="27367" y="10212"/>
                    <a:pt x="27416" y="10118"/>
                    <a:pt x="27468" y="10020"/>
                  </a:cubicBezTo>
                  <a:cubicBezTo>
                    <a:pt x="27507" y="9957"/>
                    <a:pt x="27535" y="9890"/>
                    <a:pt x="27553" y="9820"/>
                  </a:cubicBezTo>
                  <a:cubicBezTo>
                    <a:pt x="27560" y="9754"/>
                    <a:pt x="27482" y="9694"/>
                    <a:pt x="27412" y="9635"/>
                  </a:cubicBezTo>
                  <a:cubicBezTo>
                    <a:pt x="27367" y="9600"/>
                    <a:pt x="27325" y="9561"/>
                    <a:pt x="27290" y="9516"/>
                  </a:cubicBezTo>
                  <a:cubicBezTo>
                    <a:pt x="27222" y="9422"/>
                    <a:pt x="27128" y="9314"/>
                    <a:pt x="27034" y="9314"/>
                  </a:cubicBezTo>
                  <a:cubicBezTo>
                    <a:pt x="27026" y="9314"/>
                    <a:pt x="27018" y="9315"/>
                    <a:pt x="27010" y="9316"/>
                  </a:cubicBezTo>
                  <a:cubicBezTo>
                    <a:pt x="26975" y="9323"/>
                    <a:pt x="26922" y="9334"/>
                    <a:pt x="26859" y="9341"/>
                  </a:cubicBezTo>
                  <a:cubicBezTo>
                    <a:pt x="26667" y="9372"/>
                    <a:pt x="26310" y="9428"/>
                    <a:pt x="26198" y="9526"/>
                  </a:cubicBezTo>
                  <a:cubicBezTo>
                    <a:pt x="26075" y="9638"/>
                    <a:pt x="26247" y="10034"/>
                    <a:pt x="26324" y="10202"/>
                  </a:cubicBezTo>
                  <a:lnTo>
                    <a:pt x="26327" y="10212"/>
                  </a:lnTo>
                  <a:cubicBezTo>
                    <a:pt x="26397" y="10370"/>
                    <a:pt x="26222" y="10527"/>
                    <a:pt x="26068" y="10668"/>
                  </a:cubicBezTo>
                  <a:cubicBezTo>
                    <a:pt x="25995" y="10731"/>
                    <a:pt x="25876" y="10843"/>
                    <a:pt x="25879" y="10878"/>
                  </a:cubicBezTo>
                  <a:cubicBezTo>
                    <a:pt x="25900" y="11067"/>
                    <a:pt x="25732" y="11151"/>
                    <a:pt x="25519" y="11263"/>
                  </a:cubicBezTo>
                  <a:lnTo>
                    <a:pt x="25431" y="11305"/>
                  </a:lnTo>
                  <a:cubicBezTo>
                    <a:pt x="25396" y="11326"/>
                    <a:pt x="25357" y="11343"/>
                    <a:pt x="25322" y="11364"/>
                  </a:cubicBezTo>
                  <a:cubicBezTo>
                    <a:pt x="25126" y="11462"/>
                    <a:pt x="24962" y="11546"/>
                    <a:pt x="24965" y="11683"/>
                  </a:cubicBezTo>
                  <a:cubicBezTo>
                    <a:pt x="24972" y="11746"/>
                    <a:pt x="24941" y="11805"/>
                    <a:pt x="24888" y="11840"/>
                  </a:cubicBezTo>
                  <a:cubicBezTo>
                    <a:pt x="24855" y="11860"/>
                    <a:pt x="24814" y="11868"/>
                    <a:pt x="24770" y="11868"/>
                  </a:cubicBezTo>
                  <a:cubicBezTo>
                    <a:pt x="24600" y="11868"/>
                    <a:pt x="24385" y="11748"/>
                    <a:pt x="24374" y="11742"/>
                  </a:cubicBezTo>
                  <a:cubicBezTo>
                    <a:pt x="24344" y="11725"/>
                    <a:pt x="24311" y="11718"/>
                    <a:pt x="24275" y="11718"/>
                  </a:cubicBezTo>
                  <a:cubicBezTo>
                    <a:pt x="24217" y="11718"/>
                    <a:pt x="24151" y="11735"/>
                    <a:pt x="24080" y="11753"/>
                  </a:cubicBezTo>
                  <a:cubicBezTo>
                    <a:pt x="23978" y="11781"/>
                    <a:pt x="23877" y="11795"/>
                    <a:pt x="23772" y="11798"/>
                  </a:cubicBezTo>
                  <a:cubicBezTo>
                    <a:pt x="23674" y="11795"/>
                    <a:pt x="23579" y="11756"/>
                    <a:pt x="23506" y="11690"/>
                  </a:cubicBezTo>
                  <a:cubicBezTo>
                    <a:pt x="23469" y="11661"/>
                    <a:pt x="23447" y="11644"/>
                    <a:pt x="23414" y="11644"/>
                  </a:cubicBezTo>
                  <a:cubicBezTo>
                    <a:pt x="23399" y="11644"/>
                    <a:pt x="23383" y="11647"/>
                    <a:pt x="23362" y="11655"/>
                  </a:cubicBezTo>
                  <a:cubicBezTo>
                    <a:pt x="23326" y="11671"/>
                    <a:pt x="23289" y="11679"/>
                    <a:pt x="23252" y="11679"/>
                  </a:cubicBezTo>
                  <a:cubicBezTo>
                    <a:pt x="23184" y="11679"/>
                    <a:pt x="23117" y="11652"/>
                    <a:pt x="23064" y="11602"/>
                  </a:cubicBezTo>
                  <a:cubicBezTo>
                    <a:pt x="22994" y="11532"/>
                    <a:pt x="22973" y="11427"/>
                    <a:pt x="23008" y="11336"/>
                  </a:cubicBezTo>
                  <a:cubicBezTo>
                    <a:pt x="23034" y="11267"/>
                    <a:pt x="23099" y="11223"/>
                    <a:pt x="23171" y="11223"/>
                  </a:cubicBezTo>
                  <a:cubicBezTo>
                    <a:pt x="23179" y="11223"/>
                    <a:pt x="23186" y="11223"/>
                    <a:pt x="23194" y="11224"/>
                  </a:cubicBezTo>
                  <a:cubicBezTo>
                    <a:pt x="23292" y="11235"/>
                    <a:pt x="23411" y="11319"/>
                    <a:pt x="23429" y="11420"/>
                  </a:cubicBezTo>
                  <a:cubicBezTo>
                    <a:pt x="23425" y="11424"/>
                    <a:pt x="23425" y="11424"/>
                    <a:pt x="23429" y="11427"/>
                  </a:cubicBezTo>
                  <a:cubicBezTo>
                    <a:pt x="23439" y="11427"/>
                    <a:pt x="23488" y="11427"/>
                    <a:pt x="23646" y="11343"/>
                  </a:cubicBezTo>
                  <a:cubicBezTo>
                    <a:pt x="23686" y="11321"/>
                    <a:pt x="23719" y="11312"/>
                    <a:pt x="23747" y="11312"/>
                  </a:cubicBezTo>
                  <a:cubicBezTo>
                    <a:pt x="23802" y="11312"/>
                    <a:pt x="23835" y="11348"/>
                    <a:pt x="23863" y="11385"/>
                  </a:cubicBezTo>
                  <a:cubicBezTo>
                    <a:pt x="23887" y="11434"/>
                    <a:pt x="23940" y="11462"/>
                    <a:pt x="23996" y="11462"/>
                  </a:cubicBezTo>
                  <a:cubicBezTo>
                    <a:pt x="24011" y="11463"/>
                    <a:pt x="24024" y="11464"/>
                    <a:pt x="24035" y="11464"/>
                  </a:cubicBezTo>
                  <a:cubicBezTo>
                    <a:pt x="24086" y="11464"/>
                    <a:pt x="24093" y="11451"/>
                    <a:pt x="24104" y="11434"/>
                  </a:cubicBezTo>
                  <a:cubicBezTo>
                    <a:pt x="24126" y="11396"/>
                    <a:pt x="24160" y="11356"/>
                    <a:pt x="24251" y="11356"/>
                  </a:cubicBezTo>
                  <a:cubicBezTo>
                    <a:pt x="24261" y="11356"/>
                    <a:pt x="24271" y="11356"/>
                    <a:pt x="24283" y="11357"/>
                  </a:cubicBezTo>
                  <a:cubicBezTo>
                    <a:pt x="24295" y="11359"/>
                    <a:pt x="24309" y="11360"/>
                    <a:pt x="24323" y="11360"/>
                  </a:cubicBezTo>
                  <a:cubicBezTo>
                    <a:pt x="24338" y="11360"/>
                    <a:pt x="24353" y="11359"/>
                    <a:pt x="24367" y="11357"/>
                  </a:cubicBezTo>
                  <a:cubicBezTo>
                    <a:pt x="24360" y="11347"/>
                    <a:pt x="24356" y="11336"/>
                    <a:pt x="24349" y="11329"/>
                  </a:cubicBezTo>
                  <a:cubicBezTo>
                    <a:pt x="24328" y="11298"/>
                    <a:pt x="24321" y="11259"/>
                    <a:pt x="24335" y="11224"/>
                  </a:cubicBezTo>
                  <a:cubicBezTo>
                    <a:pt x="24360" y="11140"/>
                    <a:pt x="24475" y="11091"/>
                    <a:pt x="24584" y="11046"/>
                  </a:cubicBezTo>
                  <a:lnTo>
                    <a:pt x="24622" y="11032"/>
                  </a:lnTo>
                  <a:cubicBezTo>
                    <a:pt x="24654" y="11018"/>
                    <a:pt x="24664" y="10986"/>
                    <a:pt x="24678" y="10923"/>
                  </a:cubicBezTo>
                  <a:cubicBezTo>
                    <a:pt x="24692" y="10857"/>
                    <a:pt x="24710" y="10783"/>
                    <a:pt x="24787" y="10741"/>
                  </a:cubicBezTo>
                  <a:cubicBezTo>
                    <a:pt x="24808" y="10731"/>
                    <a:pt x="24811" y="10717"/>
                    <a:pt x="24822" y="10682"/>
                  </a:cubicBezTo>
                  <a:cubicBezTo>
                    <a:pt x="24829" y="10612"/>
                    <a:pt x="24885" y="10559"/>
                    <a:pt x="24958" y="10555"/>
                  </a:cubicBezTo>
                  <a:cubicBezTo>
                    <a:pt x="24986" y="10555"/>
                    <a:pt x="25018" y="10520"/>
                    <a:pt x="25049" y="10485"/>
                  </a:cubicBezTo>
                  <a:cubicBezTo>
                    <a:pt x="25095" y="10436"/>
                    <a:pt x="25147" y="10377"/>
                    <a:pt x="25228" y="10377"/>
                  </a:cubicBezTo>
                  <a:cubicBezTo>
                    <a:pt x="25252" y="10377"/>
                    <a:pt x="25270" y="10349"/>
                    <a:pt x="25273" y="10342"/>
                  </a:cubicBezTo>
                  <a:cubicBezTo>
                    <a:pt x="25291" y="10303"/>
                    <a:pt x="25291" y="10261"/>
                    <a:pt x="25273" y="10223"/>
                  </a:cubicBezTo>
                  <a:cubicBezTo>
                    <a:pt x="25221" y="10153"/>
                    <a:pt x="25242" y="10048"/>
                    <a:pt x="25259" y="9992"/>
                  </a:cubicBezTo>
                  <a:cubicBezTo>
                    <a:pt x="25291" y="9904"/>
                    <a:pt x="25357" y="9789"/>
                    <a:pt x="25452" y="9757"/>
                  </a:cubicBezTo>
                  <a:cubicBezTo>
                    <a:pt x="25473" y="9754"/>
                    <a:pt x="25487" y="9743"/>
                    <a:pt x="25491" y="9733"/>
                  </a:cubicBezTo>
                  <a:cubicBezTo>
                    <a:pt x="25491" y="9722"/>
                    <a:pt x="25480" y="9694"/>
                    <a:pt x="25448" y="9673"/>
                  </a:cubicBezTo>
                  <a:lnTo>
                    <a:pt x="25417" y="9649"/>
                  </a:lnTo>
                  <a:cubicBezTo>
                    <a:pt x="25182" y="9477"/>
                    <a:pt x="24969" y="9299"/>
                    <a:pt x="24993" y="9141"/>
                  </a:cubicBezTo>
                  <a:cubicBezTo>
                    <a:pt x="25000" y="9061"/>
                    <a:pt x="24993" y="8977"/>
                    <a:pt x="24979" y="8896"/>
                  </a:cubicBezTo>
                  <a:cubicBezTo>
                    <a:pt x="24965" y="8770"/>
                    <a:pt x="24948" y="8651"/>
                    <a:pt x="24979" y="8567"/>
                  </a:cubicBezTo>
                  <a:cubicBezTo>
                    <a:pt x="25014" y="8479"/>
                    <a:pt x="24990" y="8276"/>
                    <a:pt x="24976" y="8143"/>
                  </a:cubicBezTo>
                  <a:cubicBezTo>
                    <a:pt x="24972" y="8122"/>
                    <a:pt x="24969" y="8101"/>
                    <a:pt x="24969" y="8084"/>
                  </a:cubicBezTo>
                  <a:cubicBezTo>
                    <a:pt x="24958" y="7986"/>
                    <a:pt x="24990" y="7891"/>
                    <a:pt x="25025" y="7779"/>
                  </a:cubicBezTo>
                  <a:cubicBezTo>
                    <a:pt x="25060" y="7685"/>
                    <a:pt x="25088" y="7587"/>
                    <a:pt x="25105" y="7489"/>
                  </a:cubicBezTo>
                  <a:cubicBezTo>
                    <a:pt x="25147" y="7272"/>
                    <a:pt x="24857" y="7009"/>
                    <a:pt x="24699" y="6939"/>
                  </a:cubicBezTo>
                  <a:cubicBezTo>
                    <a:pt x="24640" y="6918"/>
                    <a:pt x="24594" y="6866"/>
                    <a:pt x="24584" y="6803"/>
                  </a:cubicBezTo>
                  <a:cubicBezTo>
                    <a:pt x="24570" y="6705"/>
                    <a:pt x="24650" y="6589"/>
                    <a:pt x="24860" y="6418"/>
                  </a:cubicBezTo>
                  <a:cubicBezTo>
                    <a:pt x="25060" y="6253"/>
                    <a:pt x="25091" y="5693"/>
                    <a:pt x="25074" y="5546"/>
                  </a:cubicBezTo>
                  <a:cubicBezTo>
                    <a:pt x="25051" y="5483"/>
                    <a:pt x="24699" y="5373"/>
                    <a:pt x="24498" y="5373"/>
                  </a:cubicBezTo>
                  <a:cubicBezTo>
                    <a:pt x="24486" y="5373"/>
                    <a:pt x="24475" y="5373"/>
                    <a:pt x="24465" y="5374"/>
                  </a:cubicBezTo>
                  <a:cubicBezTo>
                    <a:pt x="24427" y="5378"/>
                    <a:pt x="24370" y="5379"/>
                    <a:pt x="24301" y="5379"/>
                  </a:cubicBezTo>
                  <a:cubicBezTo>
                    <a:pt x="24020" y="5379"/>
                    <a:pt x="23545" y="5353"/>
                    <a:pt x="23404" y="5325"/>
                  </a:cubicBezTo>
                  <a:cubicBezTo>
                    <a:pt x="23395" y="5323"/>
                    <a:pt x="23387" y="5323"/>
                    <a:pt x="23379" y="5323"/>
                  </a:cubicBezTo>
                  <a:cubicBezTo>
                    <a:pt x="23307" y="5323"/>
                    <a:pt x="23264" y="5394"/>
                    <a:pt x="23197" y="5535"/>
                  </a:cubicBezTo>
                  <a:cubicBezTo>
                    <a:pt x="23187" y="5556"/>
                    <a:pt x="23180" y="5577"/>
                    <a:pt x="23166" y="5598"/>
                  </a:cubicBezTo>
                  <a:cubicBezTo>
                    <a:pt x="23145" y="5640"/>
                    <a:pt x="23120" y="5686"/>
                    <a:pt x="23089" y="5742"/>
                  </a:cubicBezTo>
                  <a:cubicBezTo>
                    <a:pt x="22970" y="5938"/>
                    <a:pt x="22875" y="6144"/>
                    <a:pt x="22809" y="6365"/>
                  </a:cubicBezTo>
                  <a:cubicBezTo>
                    <a:pt x="22707" y="6712"/>
                    <a:pt x="22343" y="6848"/>
                    <a:pt x="22126" y="6932"/>
                  </a:cubicBezTo>
                  <a:cubicBezTo>
                    <a:pt x="22095" y="6943"/>
                    <a:pt x="22067" y="6957"/>
                    <a:pt x="22042" y="6967"/>
                  </a:cubicBezTo>
                  <a:cubicBezTo>
                    <a:pt x="21944" y="7013"/>
                    <a:pt x="21871" y="7100"/>
                    <a:pt x="21839" y="7205"/>
                  </a:cubicBezTo>
                  <a:cubicBezTo>
                    <a:pt x="21822" y="7251"/>
                    <a:pt x="21822" y="7300"/>
                    <a:pt x="21846" y="7345"/>
                  </a:cubicBezTo>
                  <a:cubicBezTo>
                    <a:pt x="21866" y="7375"/>
                    <a:pt x="21888" y="7384"/>
                    <a:pt x="21922" y="7384"/>
                  </a:cubicBezTo>
                  <a:cubicBezTo>
                    <a:pt x="21937" y="7384"/>
                    <a:pt x="21953" y="7382"/>
                    <a:pt x="21972" y="7380"/>
                  </a:cubicBezTo>
                  <a:cubicBezTo>
                    <a:pt x="21990" y="7377"/>
                    <a:pt x="22009" y="7375"/>
                    <a:pt x="22027" y="7375"/>
                  </a:cubicBezTo>
                  <a:cubicBezTo>
                    <a:pt x="22063" y="7375"/>
                    <a:pt x="22098" y="7382"/>
                    <a:pt x="22130" y="7398"/>
                  </a:cubicBezTo>
                  <a:cubicBezTo>
                    <a:pt x="22172" y="7422"/>
                    <a:pt x="22200" y="7471"/>
                    <a:pt x="22200" y="7520"/>
                  </a:cubicBezTo>
                  <a:cubicBezTo>
                    <a:pt x="22210" y="7639"/>
                    <a:pt x="22151" y="7856"/>
                    <a:pt x="22088" y="7930"/>
                  </a:cubicBezTo>
                  <a:cubicBezTo>
                    <a:pt x="22091" y="7937"/>
                    <a:pt x="22095" y="7947"/>
                    <a:pt x="22098" y="7954"/>
                  </a:cubicBezTo>
                  <a:cubicBezTo>
                    <a:pt x="22119" y="8007"/>
                    <a:pt x="22165" y="8122"/>
                    <a:pt x="22035" y="8206"/>
                  </a:cubicBezTo>
                  <a:cubicBezTo>
                    <a:pt x="21948" y="8262"/>
                    <a:pt x="21867" y="8364"/>
                    <a:pt x="21857" y="8434"/>
                  </a:cubicBezTo>
                  <a:cubicBezTo>
                    <a:pt x="21853" y="8448"/>
                    <a:pt x="21857" y="8465"/>
                    <a:pt x="21867" y="8479"/>
                  </a:cubicBezTo>
                  <a:cubicBezTo>
                    <a:pt x="21899" y="8515"/>
                    <a:pt x="22049" y="8560"/>
                    <a:pt x="22161" y="8588"/>
                  </a:cubicBezTo>
                  <a:cubicBezTo>
                    <a:pt x="22277" y="8616"/>
                    <a:pt x="22389" y="8655"/>
                    <a:pt x="22494" y="8707"/>
                  </a:cubicBezTo>
                  <a:cubicBezTo>
                    <a:pt x="22616" y="8774"/>
                    <a:pt x="22641" y="8882"/>
                    <a:pt x="22665" y="8973"/>
                  </a:cubicBezTo>
                  <a:cubicBezTo>
                    <a:pt x="22679" y="9043"/>
                    <a:pt x="22707" y="9110"/>
                    <a:pt x="22749" y="9169"/>
                  </a:cubicBezTo>
                  <a:cubicBezTo>
                    <a:pt x="22788" y="9222"/>
                    <a:pt x="22851" y="9253"/>
                    <a:pt x="22914" y="9257"/>
                  </a:cubicBezTo>
                  <a:cubicBezTo>
                    <a:pt x="22917" y="9257"/>
                    <a:pt x="22920" y="9256"/>
                    <a:pt x="22923" y="9256"/>
                  </a:cubicBezTo>
                  <a:cubicBezTo>
                    <a:pt x="22990" y="9256"/>
                    <a:pt x="23049" y="9291"/>
                    <a:pt x="23085" y="9344"/>
                  </a:cubicBezTo>
                  <a:cubicBezTo>
                    <a:pt x="23117" y="9393"/>
                    <a:pt x="23106" y="9470"/>
                    <a:pt x="23061" y="9572"/>
                  </a:cubicBezTo>
                  <a:cubicBezTo>
                    <a:pt x="22998" y="9705"/>
                    <a:pt x="22819" y="9967"/>
                    <a:pt x="22697" y="9985"/>
                  </a:cubicBezTo>
                  <a:cubicBezTo>
                    <a:pt x="22693" y="9985"/>
                    <a:pt x="22688" y="9986"/>
                    <a:pt x="22684" y="9986"/>
                  </a:cubicBezTo>
                  <a:cubicBezTo>
                    <a:pt x="22597" y="9986"/>
                    <a:pt x="22468" y="9883"/>
                    <a:pt x="22165" y="9603"/>
                  </a:cubicBezTo>
                  <a:cubicBezTo>
                    <a:pt x="22091" y="9537"/>
                    <a:pt x="22025" y="9474"/>
                    <a:pt x="21986" y="9446"/>
                  </a:cubicBezTo>
                  <a:cubicBezTo>
                    <a:pt x="21923" y="9397"/>
                    <a:pt x="21738" y="9327"/>
                    <a:pt x="21559" y="9257"/>
                  </a:cubicBezTo>
                  <a:cubicBezTo>
                    <a:pt x="21398" y="9197"/>
                    <a:pt x="21230" y="9131"/>
                    <a:pt x="21114" y="9071"/>
                  </a:cubicBezTo>
                  <a:cubicBezTo>
                    <a:pt x="21023" y="9026"/>
                    <a:pt x="20925" y="8991"/>
                    <a:pt x="20827" y="8963"/>
                  </a:cubicBezTo>
                  <a:cubicBezTo>
                    <a:pt x="20666" y="8924"/>
                    <a:pt x="20516" y="8858"/>
                    <a:pt x="20379" y="8767"/>
                  </a:cubicBezTo>
                  <a:cubicBezTo>
                    <a:pt x="20126" y="8598"/>
                    <a:pt x="19913" y="8511"/>
                    <a:pt x="19459" y="8511"/>
                  </a:cubicBezTo>
                  <a:cubicBezTo>
                    <a:pt x="19442" y="8511"/>
                    <a:pt x="19424" y="8511"/>
                    <a:pt x="19406" y="8511"/>
                  </a:cubicBezTo>
                  <a:cubicBezTo>
                    <a:pt x="19171" y="8511"/>
                    <a:pt x="18937" y="8490"/>
                    <a:pt x="18706" y="8448"/>
                  </a:cubicBezTo>
                  <a:cubicBezTo>
                    <a:pt x="18623" y="8430"/>
                    <a:pt x="18538" y="8419"/>
                    <a:pt x="18453" y="8419"/>
                  </a:cubicBezTo>
                  <a:cubicBezTo>
                    <a:pt x="18440" y="8419"/>
                    <a:pt x="18428" y="8420"/>
                    <a:pt x="18415" y="8420"/>
                  </a:cubicBezTo>
                  <a:cubicBezTo>
                    <a:pt x="18402" y="8422"/>
                    <a:pt x="18390" y="8423"/>
                    <a:pt x="18379" y="8423"/>
                  </a:cubicBezTo>
                  <a:cubicBezTo>
                    <a:pt x="18283" y="8423"/>
                    <a:pt x="18243" y="8361"/>
                    <a:pt x="18205" y="8304"/>
                  </a:cubicBezTo>
                  <a:cubicBezTo>
                    <a:pt x="18149" y="8220"/>
                    <a:pt x="18072" y="8154"/>
                    <a:pt x="17978" y="8115"/>
                  </a:cubicBezTo>
                  <a:cubicBezTo>
                    <a:pt x="17887" y="8077"/>
                    <a:pt x="17806" y="8035"/>
                    <a:pt x="17736" y="7996"/>
                  </a:cubicBezTo>
                  <a:cubicBezTo>
                    <a:pt x="17605" y="7925"/>
                    <a:pt x="17513" y="7878"/>
                    <a:pt x="17440" y="7878"/>
                  </a:cubicBezTo>
                  <a:cubicBezTo>
                    <a:pt x="17415" y="7878"/>
                    <a:pt x="17393" y="7883"/>
                    <a:pt x="17372" y="7895"/>
                  </a:cubicBezTo>
                  <a:cubicBezTo>
                    <a:pt x="17323" y="7926"/>
                    <a:pt x="17299" y="7986"/>
                    <a:pt x="17313" y="8038"/>
                  </a:cubicBezTo>
                  <a:cubicBezTo>
                    <a:pt x="17330" y="8136"/>
                    <a:pt x="17407" y="8210"/>
                    <a:pt x="17505" y="8224"/>
                  </a:cubicBezTo>
                  <a:cubicBezTo>
                    <a:pt x="17649" y="8248"/>
                    <a:pt x="17698" y="8301"/>
                    <a:pt x="17733" y="8339"/>
                  </a:cubicBezTo>
                  <a:cubicBezTo>
                    <a:pt x="17762" y="8372"/>
                    <a:pt x="17774" y="8387"/>
                    <a:pt x="17845" y="8387"/>
                  </a:cubicBezTo>
                  <a:cubicBezTo>
                    <a:pt x="17859" y="8387"/>
                    <a:pt x="17875" y="8386"/>
                    <a:pt x="17894" y="8385"/>
                  </a:cubicBezTo>
                  <a:cubicBezTo>
                    <a:pt x="17916" y="8384"/>
                    <a:pt x="17936" y="8383"/>
                    <a:pt x="17957" y="8383"/>
                  </a:cubicBezTo>
                  <a:cubicBezTo>
                    <a:pt x="18085" y="8383"/>
                    <a:pt x="18179" y="8412"/>
                    <a:pt x="18237" y="8472"/>
                  </a:cubicBezTo>
                  <a:cubicBezTo>
                    <a:pt x="18296" y="8536"/>
                    <a:pt x="18321" y="8620"/>
                    <a:pt x="18310" y="8704"/>
                  </a:cubicBezTo>
                  <a:cubicBezTo>
                    <a:pt x="18303" y="8861"/>
                    <a:pt x="18450" y="9022"/>
                    <a:pt x="18541" y="9106"/>
                  </a:cubicBezTo>
                  <a:cubicBezTo>
                    <a:pt x="18615" y="9169"/>
                    <a:pt x="18639" y="9271"/>
                    <a:pt x="18604" y="9358"/>
                  </a:cubicBezTo>
                  <a:cubicBezTo>
                    <a:pt x="18566" y="9456"/>
                    <a:pt x="18457" y="9519"/>
                    <a:pt x="18328" y="9519"/>
                  </a:cubicBezTo>
                  <a:cubicBezTo>
                    <a:pt x="18034" y="9519"/>
                    <a:pt x="17999" y="9575"/>
                    <a:pt x="17999" y="9575"/>
                  </a:cubicBezTo>
                  <a:cubicBezTo>
                    <a:pt x="17999" y="9579"/>
                    <a:pt x="17999" y="9586"/>
                    <a:pt x="18009" y="9603"/>
                  </a:cubicBezTo>
                  <a:cubicBezTo>
                    <a:pt x="18076" y="9708"/>
                    <a:pt x="18044" y="9771"/>
                    <a:pt x="18023" y="9799"/>
                  </a:cubicBezTo>
                  <a:cubicBezTo>
                    <a:pt x="17991" y="9839"/>
                    <a:pt x="17936" y="9859"/>
                    <a:pt x="17865" y="9859"/>
                  </a:cubicBezTo>
                  <a:cubicBezTo>
                    <a:pt x="17803" y="9859"/>
                    <a:pt x="17730" y="9844"/>
                    <a:pt x="17649" y="9813"/>
                  </a:cubicBezTo>
                  <a:cubicBezTo>
                    <a:pt x="17558" y="9782"/>
                    <a:pt x="17505" y="9729"/>
                    <a:pt x="17491" y="9663"/>
                  </a:cubicBezTo>
                  <a:cubicBezTo>
                    <a:pt x="17467" y="9561"/>
                    <a:pt x="17544" y="9463"/>
                    <a:pt x="17617" y="9390"/>
                  </a:cubicBezTo>
                  <a:cubicBezTo>
                    <a:pt x="17596" y="9365"/>
                    <a:pt x="17519" y="9313"/>
                    <a:pt x="17320" y="9239"/>
                  </a:cubicBezTo>
                  <a:cubicBezTo>
                    <a:pt x="17316" y="9238"/>
                    <a:pt x="17313" y="9238"/>
                    <a:pt x="17309" y="9238"/>
                  </a:cubicBezTo>
                  <a:cubicBezTo>
                    <a:pt x="17220" y="9238"/>
                    <a:pt x="16928" y="9422"/>
                    <a:pt x="16780" y="9512"/>
                  </a:cubicBezTo>
                  <a:cubicBezTo>
                    <a:pt x="16700" y="9565"/>
                    <a:pt x="16612" y="9614"/>
                    <a:pt x="16525" y="9659"/>
                  </a:cubicBezTo>
                  <a:cubicBezTo>
                    <a:pt x="16488" y="9675"/>
                    <a:pt x="16445" y="9681"/>
                    <a:pt x="16397" y="9681"/>
                  </a:cubicBezTo>
                  <a:cubicBezTo>
                    <a:pt x="16335" y="9681"/>
                    <a:pt x="16264" y="9671"/>
                    <a:pt x="16182" y="9659"/>
                  </a:cubicBezTo>
                  <a:cubicBezTo>
                    <a:pt x="16085" y="9647"/>
                    <a:pt x="15974" y="9633"/>
                    <a:pt x="15857" y="9633"/>
                  </a:cubicBezTo>
                  <a:cubicBezTo>
                    <a:pt x="15772" y="9633"/>
                    <a:pt x="15683" y="9641"/>
                    <a:pt x="15594" y="9663"/>
                  </a:cubicBezTo>
                  <a:cubicBezTo>
                    <a:pt x="15454" y="9694"/>
                    <a:pt x="15331" y="9782"/>
                    <a:pt x="15258" y="9908"/>
                  </a:cubicBezTo>
                  <a:cubicBezTo>
                    <a:pt x="15218" y="9969"/>
                    <a:pt x="15173" y="10038"/>
                    <a:pt x="15092" y="10038"/>
                  </a:cubicBezTo>
                  <a:cubicBezTo>
                    <a:pt x="15080" y="10038"/>
                    <a:pt x="15068" y="10037"/>
                    <a:pt x="15054" y="10034"/>
                  </a:cubicBezTo>
                  <a:cubicBezTo>
                    <a:pt x="15005" y="10030"/>
                    <a:pt x="14956" y="10027"/>
                    <a:pt x="14908" y="10027"/>
                  </a:cubicBezTo>
                  <a:cubicBezTo>
                    <a:pt x="14877" y="10027"/>
                    <a:pt x="14847" y="10028"/>
                    <a:pt x="14816" y="10030"/>
                  </a:cubicBezTo>
                  <a:cubicBezTo>
                    <a:pt x="14769" y="10031"/>
                    <a:pt x="14719" y="10032"/>
                    <a:pt x="14670" y="10032"/>
                  </a:cubicBezTo>
                  <a:cubicBezTo>
                    <a:pt x="14528" y="10032"/>
                    <a:pt x="14387" y="10023"/>
                    <a:pt x="14298" y="9971"/>
                  </a:cubicBezTo>
                  <a:cubicBezTo>
                    <a:pt x="14214" y="9918"/>
                    <a:pt x="14179" y="9862"/>
                    <a:pt x="14197" y="9806"/>
                  </a:cubicBezTo>
                  <a:cubicBezTo>
                    <a:pt x="14224" y="9715"/>
                    <a:pt x="14357" y="9700"/>
                    <a:pt x="14440" y="9700"/>
                  </a:cubicBezTo>
                  <a:cubicBezTo>
                    <a:pt x="14452" y="9700"/>
                    <a:pt x="14464" y="9701"/>
                    <a:pt x="14473" y="9701"/>
                  </a:cubicBezTo>
                  <a:cubicBezTo>
                    <a:pt x="14486" y="9704"/>
                    <a:pt x="14498" y="9705"/>
                    <a:pt x="14511" y="9705"/>
                  </a:cubicBezTo>
                  <a:cubicBezTo>
                    <a:pt x="14533" y="9705"/>
                    <a:pt x="14556" y="9701"/>
                    <a:pt x="14578" y="9694"/>
                  </a:cubicBezTo>
                  <a:cubicBezTo>
                    <a:pt x="14571" y="9677"/>
                    <a:pt x="14561" y="9663"/>
                    <a:pt x="14550" y="9649"/>
                  </a:cubicBezTo>
                  <a:cubicBezTo>
                    <a:pt x="14456" y="9540"/>
                    <a:pt x="14547" y="9407"/>
                    <a:pt x="14606" y="9323"/>
                  </a:cubicBezTo>
                  <a:cubicBezTo>
                    <a:pt x="14613" y="9309"/>
                    <a:pt x="14620" y="9299"/>
                    <a:pt x="14631" y="9285"/>
                  </a:cubicBezTo>
                  <a:lnTo>
                    <a:pt x="14631" y="9285"/>
                  </a:lnTo>
                  <a:cubicBezTo>
                    <a:pt x="14473" y="9309"/>
                    <a:pt x="14095" y="9439"/>
                    <a:pt x="14018" y="9505"/>
                  </a:cubicBezTo>
                  <a:cubicBezTo>
                    <a:pt x="13990" y="9526"/>
                    <a:pt x="13990" y="9561"/>
                    <a:pt x="13990" y="9617"/>
                  </a:cubicBezTo>
                  <a:cubicBezTo>
                    <a:pt x="13994" y="9673"/>
                    <a:pt x="13994" y="9771"/>
                    <a:pt x="13899" y="9820"/>
                  </a:cubicBezTo>
                  <a:cubicBezTo>
                    <a:pt x="13871" y="9834"/>
                    <a:pt x="13847" y="9840"/>
                    <a:pt x="13825" y="9840"/>
                  </a:cubicBezTo>
                  <a:cubicBezTo>
                    <a:pt x="13759" y="9840"/>
                    <a:pt x="13719" y="9788"/>
                    <a:pt x="13693" y="9754"/>
                  </a:cubicBezTo>
                  <a:cubicBezTo>
                    <a:pt x="13672" y="9719"/>
                    <a:pt x="13640" y="9694"/>
                    <a:pt x="13605" y="9677"/>
                  </a:cubicBezTo>
                  <a:cubicBezTo>
                    <a:pt x="13597" y="9674"/>
                    <a:pt x="13584" y="9673"/>
                    <a:pt x="13568" y="9673"/>
                  </a:cubicBezTo>
                  <a:cubicBezTo>
                    <a:pt x="13364" y="9673"/>
                    <a:pt x="12568" y="9865"/>
                    <a:pt x="12422" y="10030"/>
                  </a:cubicBezTo>
                  <a:cubicBezTo>
                    <a:pt x="12317" y="10149"/>
                    <a:pt x="12170" y="10205"/>
                    <a:pt x="12051" y="10251"/>
                  </a:cubicBezTo>
                  <a:cubicBezTo>
                    <a:pt x="12002" y="10265"/>
                    <a:pt x="11956" y="10286"/>
                    <a:pt x="11914" y="10314"/>
                  </a:cubicBezTo>
                  <a:cubicBezTo>
                    <a:pt x="11911" y="10436"/>
                    <a:pt x="11743" y="10461"/>
                    <a:pt x="11550" y="10492"/>
                  </a:cubicBezTo>
                  <a:cubicBezTo>
                    <a:pt x="11456" y="10503"/>
                    <a:pt x="11365" y="10524"/>
                    <a:pt x="11277" y="10555"/>
                  </a:cubicBezTo>
                  <a:cubicBezTo>
                    <a:pt x="11211" y="10587"/>
                    <a:pt x="11214" y="10710"/>
                    <a:pt x="11214" y="10832"/>
                  </a:cubicBezTo>
                  <a:cubicBezTo>
                    <a:pt x="11225" y="10920"/>
                    <a:pt x="11214" y="11007"/>
                    <a:pt x="11190" y="11095"/>
                  </a:cubicBezTo>
                  <a:cubicBezTo>
                    <a:pt x="11135" y="11231"/>
                    <a:pt x="10878" y="11257"/>
                    <a:pt x="10533" y="11257"/>
                  </a:cubicBezTo>
                  <a:cubicBezTo>
                    <a:pt x="10479" y="11257"/>
                    <a:pt x="10424" y="11257"/>
                    <a:pt x="10367" y="11256"/>
                  </a:cubicBezTo>
                  <a:lnTo>
                    <a:pt x="10199" y="11256"/>
                  </a:lnTo>
                  <a:cubicBezTo>
                    <a:pt x="10195" y="11256"/>
                    <a:pt x="10192" y="11256"/>
                    <a:pt x="10188" y="11256"/>
                  </a:cubicBezTo>
                  <a:cubicBezTo>
                    <a:pt x="10051" y="11256"/>
                    <a:pt x="9966" y="11123"/>
                    <a:pt x="9894" y="11007"/>
                  </a:cubicBezTo>
                  <a:cubicBezTo>
                    <a:pt x="9849" y="10934"/>
                    <a:pt x="9796" y="10850"/>
                    <a:pt x="9754" y="10843"/>
                  </a:cubicBezTo>
                  <a:cubicBezTo>
                    <a:pt x="9702" y="10839"/>
                    <a:pt x="9653" y="10808"/>
                    <a:pt x="9628" y="10759"/>
                  </a:cubicBezTo>
                  <a:cubicBezTo>
                    <a:pt x="9586" y="10682"/>
                    <a:pt x="9607" y="10562"/>
                    <a:pt x="9688" y="10401"/>
                  </a:cubicBezTo>
                  <a:cubicBezTo>
                    <a:pt x="9726" y="10324"/>
                    <a:pt x="9800" y="10314"/>
                    <a:pt x="9863" y="10307"/>
                  </a:cubicBezTo>
                  <a:cubicBezTo>
                    <a:pt x="9943" y="10300"/>
                    <a:pt x="10024" y="10275"/>
                    <a:pt x="10090" y="10230"/>
                  </a:cubicBezTo>
                  <a:cubicBezTo>
                    <a:pt x="10156" y="10188"/>
                    <a:pt x="10223" y="10174"/>
                    <a:pt x="10284" y="10174"/>
                  </a:cubicBezTo>
                  <a:cubicBezTo>
                    <a:pt x="10350" y="10174"/>
                    <a:pt x="10411" y="10189"/>
                    <a:pt x="10461" y="10202"/>
                  </a:cubicBezTo>
                  <a:cubicBezTo>
                    <a:pt x="10489" y="10212"/>
                    <a:pt x="10521" y="10216"/>
                    <a:pt x="10549" y="10219"/>
                  </a:cubicBezTo>
                  <a:cubicBezTo>
                    <a:pt x="10514" y="10174"/>
                    <a:pt x="10479" y="10128"/>
                    <a:pt x="10437" y="10090"/>
                  </a:cubicBezTo>
                  <a:cubicBezTo>
                    <a:pt x="10339" y="9985"/>
                    <a:pt x="10227" y="9869"/>
                    <a:pt x="10213" y="9747"/>
                  </a:cubicBezTo>
                  <a:cubicBezTo>
                    <a:pt x="10206" y="9712"/>
                    <a:pt x="10185" y="9684"/>
                    <a:pt x="10153" y="9666"/>
                  </a:cubicBezTo>
                  <a:cubicBezTo>
                    <a:pt x="10070" y="9610"/>
                    <a:pt x="9930" y="9584"/>
                    <a:pt x="9798" y="9584"/>
                  </a:cubicBezTo>
                  <a:cubicBezTo>
                    <a:pt x="9726" y="9584"/>
                    <a:pt x="9656" y="9592"/>
                    <a:pt x="9600" y="9607"/>
                  </a:cubicBezTo>
                  <a:cubicBezTo>
                    <a:pt x="9516" y="9626"/>
                    <a:pt x="9430" y="9636"/>
                    <a:pt x="9344" y="9636"/>
                  </a:cubicBezTo>
                  <a:cubicBezTo>
                    <a:pt x="9182" y="9636"/>
                    <a:pt x="9022" y="9601"/>
                    <a:pt x="8876" y="9530"/>
                  </a:cubicBezTo>
                  <a:lnTo>
                    <a:pt x="8869" y="9526"/>
                  </a:lnTo>
                  <a:lnTo>
                    <a:pt x="8869" y="9526"/>
                  </a:lnTo>
                  <a:cubicBezTo>
                    <a:pt x="8904" y="9575"/>
                    <a:pt x="8956" y="9607"/>
                    <a:pt x="9016" y="9617"/>
                  </a:cubicBezTo>
                  <a:cubicBezTo>
                    <a:pt x="9243" y="9677"/>
                    <a:pt x="9229" y="9841"/>
                    <a:pt x="9222" y="9939"/>
                  </a:cubicBezTo>
                  <a:cubicBezTo>
                    <a:pt x="9215" y="9974"/>
                    <a:pt x="9215" y="10006"/>
                    <a:pt x="9222" y="10041"/>
                  </a:cubicBezTo>
                  <a:cubicBezTo>
                    <a:pt x="9275" y="10195"/>
                    <a:pt x="9152" y="10492"/>
                    <a:pt x="9002" y="10706"/>
                  </a:cubicBezTo>
                  <a:cubicBezTo>
                    <a:pt x="8984" y="10734"/>
                    <a:pt x="8967" y="10762"/>
                    <a:pt x="8953" y="10797"/>
                  </a:cubicBezTo>
                  <a:cubicBezTo>
                    <a:pt x="8979" y="10799"/>
                    <a:pt x="9005" y="10800"/>
                    <a:pt x="9032" y="10800"/>
                  </a:cubicBezTo>
                  <a:cubicBezTo>
                    <a:pt x="9058" y="10800"/>
                    <a:pt x="9086" y="10799"/>
                    <a:pt x="9114" y="10797"/>
                  </a:cubicBezTo>
                  <a:lnTo>
                    <a:pt x="9124" y="10797"/>
                  </a:lnTo>
                  <a:cubicBezTo>
                    <a:pt x="9131" y="10796"/>
                    <a:pt x="9138" y="10796"/>
                    <a:pt x="9146" y="10796"/>
                  </a:cubicBezTo>
                  <a:cubicBezTo>
                    <a:pt x="9201" y="10796"/>
                    <a:pt x="9255" y="10819"/>
                    <a:pt x="9296" y="10857"/>
                  </a:cubicBezTo>
                  <a:cubicBezTo>
                    <a:pt x="9397" y="10955"/>
                    <a:pt x="9397" y="11144"/>
                    <a:pt x="9397" y="11308"/>
                  </a:cubicBezTo>
                  <a:lnTo>
                    <a:pt x="9397" y="11347"/>
                  </a:lnTo>
                  <a:cubicBezTo>
                    <a:pt x="9394" y="11452"/>
                    <a:pt x="9355" y="11553"/>
                    <a:pt x="9289" y="11630"/>
                  </a:cubicBezTo>
                  <a:cubicBezTo>
                    <a:pt x="9254" y="11669"/>
                    <a:pt x="9233" y="11718"/>
                    <a:pt x="9226" y="11767"/>
                  </a:cubicBezTo>
                  <a:cubicBezTo>
                    <a:pt x="9233" y="11809"/>
                    <a:pt x="9212" y="11851"/>
                    <a:pt x="9177" y="11875"/>
                  </a:cubicBezTo>
                  <a:cubicBezTo>
                    <a:pt x="9161" y="11884"/>
                    <a:pt x="9145" y="11888"/>
                    <a:pt x="9130" y="11888"/>
                  </a:cubicBezTo>
                  <a:cubicBezTo>
                    <a:pt x="9089" y="11888"/>
                    <a:pt x="9050" y="11864"/>
                    <a:pt x="9012" y="11844"/>
                  </a:cubicBezTo>
                  <a:cubicBezTo>
                    <a:pt x="8998" y="11833"/>
                    <a:pt x="8981" y="11823"/>
                    <a:pt x="8963" y="11816"/>
                  </a:cubicBezTo>
                  <a:cubicBezTo>
                    <a:pt x="8941" y="11835"/>
                    <a:pt x="8912" y="11846"/>
                    <a:pt x="8883" y="11846"/>
                  </a:cubicBezTo>
                  <a:cubicBezTo>
                    <a:pt x="8876" y="11846"/>
                    <a:pt x="8869" y="11845"/>
                    <a:pt x="8862" y="11844"/>
                  </a:cubicBezTo>
                  <a:cubicBezTo>
                    <a:pt x="8760" y="11819"/>
                    <a:pt x="8711" y="11662"/>
                    <a:pt x="8700" y="11613"/>
                  </a:cubicBezTo>
                  <a:cubicBezTo>
                    <a:pt x="8693" y="11581"/>
                    <a:pt x="8536" y="11581"/>
                    <a:pt x="8459" y="11578"/>
                  </a:cubicBezTo>
                  <a:cubicBezTo>
                    <a:pt x="8444" y="11578"/>
                    <a:pt x="8430" y="11579"/>
                    <a:pt x="8415" y="11579"/>
                  </a:cubicBezTo>
                  <a:cubicBezTo>
                    <a:pt x="8342" y="11579"/>
                    <a:pt x="8269" y="11571"/>
                    <a:pt x="8196" y="11557"/>
                  </a:cubicBezTo>
                  <a:cubicBezTo>
                    <a:pt x="8164" y="11548"/>
                    <a:pt x="8137" y="11544"/>
                    <a:pt x="8113" y="11544"/>
                  </a:cubicBezTo>
                  <a:cubicBezTo>
                    <a:pt x="8030" y="11544"/>
                    <a:pt x="7986" y="11596"/>
                    <a:pt x="7923" y="11697"/>
                  </a:cubicBezTo>
                  <a:cubicBezTo>
                    <a:pt x="7808" y="11875"/>
                    <a:pt x="7486" y="11928"/>
                    <a:pt x="7388" y="11938"/>
                  </a:cubicBezTo>
                  <a:cubicBezTo>
                    <a:pt x="7311" y="11945"/>
                    <a:pt x="7178" y="12064"/>
                    <a:pt x="7073" y="12155"/>
                  </a:cubicBezTo>
                  <a:cubicBezTo>
                    <a:pt x="7017" y="12211"/>
                    <a:pt x="6957" y="12260"/>
                    <a:pt x="6891" y="12306"/>
                  </a:cubicBezTo>
                  <a:cubicBezTo>
                    <a:pt x="6845" y="12334"/>
                    <a:pt x="6814" y="12383"/>
                    <a:pt x="6807" y="12435"/>
                  </a:cubicBezTo>
                  <a:cubicBezTo>
                    <a:pt x="6800" y="12509"/>
                    <a:pt x="6845" y="12596"/>
                    <a:pt x="6933" y="12681"/>
                  </a:cubicBezTo>
                  <a:cubicBezTo>
                    <a:pt x="7125" y="12863"/>
                    <a:pt x="7202" y="13017"/>
                    <a:pt x="7178" y="13167"/>
                  </a:cubicBezTo>
                  <a:cubicBezTo>
                    <a:pt x="7171" y="13216"/>
                    <a:pt x="7132" y="13251"/>
                    <a:pt x="7062" y="13269"/>
                  </a:cubicBezTo>
                  <a:cubicBezTo>
                    <a:pt x="7018" y="13281"/>
                    <a:pt x="6955" y="13287"/>
                    <a:pt x="6883" y="13287"/>
                  </a:cubicBezTo>
                  <a:cubicBezTo>
                    <a:pt x="6704" y="13287"/>
                    <a:pt x="6478" y="13247"/>
                    <a:pt x="6407" y="13157"/>
                  </a:cubicBezTo>
                  <a:cubicBezTo>
                    <a:pt x="6355" y="13090"/>
                    <a:pt x="6130" y="13045"/>
                    <a:pt x="5985" y="13045"/>
                  </a:cubicBezTo>
                  <a:cubicBezTo>
                    <a:pt x="5955" y="13045"/>
                    <a:pt x="5928" y="13047"/>
                    <a:pt x="5907" y="13052"/>
                  </a:cubicBezTo>
                  <a:cubicBezTo>
                    <a:pt x="5898" y="13053"/>
                    <a:pt x="5890" y="13054"/>
                    <a:pt x="5882" y="13054"/>
                  </a:cubicBezTo>
                  <a:cubicBezTo>
                    <a:pt x="5800" y="13054"/>
                    <a:pt x="5706" y="12980"/>
                    <a:pt x="5564" y="12870"/>
                  </a:cubicBezTo>
                  <a:cubicBezTo>
                    <a:pt x="5462" y="12786"/>
                    <a:pt x="5333" y="12684"/>
                    <a:pt x="5270" y="12681"/>
                  </a:cubicBezTo>
                  <a:cubicBezTo>
                    <a:pt x="5267" y="12680"/>
                    <a:pt x="5265" y="12680"/>
                    <a:pt x="5263" y="12680"/>
                  </a:cubicBezTo>
                  <a:cubicBezTo>
                    <a:pt x="5143" y="12680"/>
                    <a:pt x="5052" y="12850"/>
                    <a:pt x="5007" y="12940"/>
                  </a:cubicBezTo>
                  <a:lnTo>
                    <a:pt x="5000" y="12954"/>
                  </a:lnTo>
                  <a:cubicBezTo>
                    <a:pt x="4990" y="12971"/>
                    <a:pt x="4986" y="12975"/>
                    <a:pt x="5039" y="13031"/>
                  </a:cubicBezTo>
                  <a:cubicBezTo>
                    <a:pt x="5091" y="13083"/>
                    <a:pt x="5133" y="13146"/>
                    <a:pt x="5161" y="13209"/>
                  </a:cubicBezTo>
                  <a:cubicBezTo>
                    <a:pt x="5231" y="13356"/>
                    <a:pt x="5536" y="13356"/>
                    <a:pt x="5637" y="13356"/>
                  </a:cubicBezTo>
                  <a:cubicBezTo>
                    <a:pt x="5693" y="13356"/>
                    <a:pt x="5742" y="13384"/>
                    <a:pt x="5774" y="13430"/>
                  </a:cubicBezTo>
                  <a:cubicBezTo>
                    <a:pt x="5840" y="13538"/>
                    <a:pt x="5774" y="13720"/>
                    <a:pt x="5742" y="13783"/>
                  </a:cubicBezTo>
                  <a:cubicBezTo>
                    <a:pt x="5700" y="13871"/>
                    <a:pt x="5564" y="13923"/>
                    <a:pt x="5455" y="13934"/>
                  </a:cubicBezTo>
                  <a:cubicBezTo>
                    <a:pt x="5440" y="13935"/>
                    <a:pt x="5426" y="13936"/>
                    <a:pt x="5412" y="13936"/>
                  </a:cubicBezTo>
                  <a:cubicBezTo>
                    <a:pt x="5325" y="13936"/>
                    <a:pt x="5260" y="13909"/>
                    <a:pt x="5221" y="13860"/>
                  </a:cubicBezTo>
                  <a:cubicBezTo>
                    <a:pt x="5203" y="13836"/>
                    <a:pt x="5105" y="13832"/>
                    <a:pt x="5046" y="13829"/>
                  </a:cubicBezTo>
                  <a:cubicBezTo>
                    <a:pt x="4937" y="13825"/>
                    <a:pt x="4787" y="13822"/>
                    <a:pt x="4780" y="13692"/>
                  </a:cubicBezTo>
                  <a:cubicBezTo>
                    <a:pt x="4766" y="13643"/>
                    <a:pt x="4734" y="13598"/>
                    <a:pt x="4689" y="13566"/>
                  </a:cubicBezTo>
                  <a:cubicBezTo>
                    <a:pt x="4608" y="13503"/>
                    <a:pt x="4509" y="13469"/>
                    <a:pt x="4405" y="13469"/>
                  </a:cubicBezTo>
                  <a:cubicBezTo>
                    <a:pt x="4388" y="13469"/>
                    <a:pt x="4370" y="13470"/>
                    <a:pt x="4352" y="13472"/>
                  </a:cubicBezTo>
                  <a:cubicBezTo>
                    <a:pt x="4324" y="13476"/>
                    <a:pt x="4297" y="13478"/>
                    <a:pt x="4272" y="13478"/>
                  </a:cubicBezTo>
                  <a:cubicBezTo>
                    <a:pt x="4193" y="13478"/>
                    <a:pt x="4127" y="13457"/>
                    <a:pt x="4079" y="13412"/>
                  </a:cubicBezTo>
                  <a:cubicBezTo>
                    <a:pt x="4009" y="13346"/>
                    <a:pt x="3981" y="13241"/>
                    <a:pt x="3992" y="13087"/>
                  </a:cubicBezTo>
                  <a:cubicBezTo>
                    <a:pt x="3995" y="13003"/>
                    <a:pt x="3967" y="12919"/>
                    <a:pt x="3918" y="12852"/>
                  </a:cubicBezTo>
                  <a:cubicBezTo>
                    <a:pt x="3883" y="12807"/>
                    <a:pt x="3866" y="12747"/>
                    <a:pt x="3862" y="12691"/>
                  </a:cubicBezTo>
                  <a:cubicBezTo>
                    <a:pt x="3862" y="12663"/>
                    <a:pt x="3855" y="12635"/>
                    <a:pt x="3845" y="12607"/>
                  </a:cubicBezTo>
                  <a:cubicBezTo>
                    <a:pt x="3820" y="12512"/>
                    <a:pt x="3782" y="12372"/>
                    <a:pt x="3908" y="12285"/>
                  </a:cubicBezTo>
                  <a:cubicBezTo>
                    <a:pt x="3957" y="12253"/>
                    <a:pt x="3950" y="12218"/>
                    <a:pt x="3936" y="12124"/>
                  </a:cubicBezTo>
                  <a:cubicBezTo>
                    <a:pt x="3925" y="12078"/>
                    <a:pt x="3918" y="12033"/>
                    <a:pt x="3918" y="11987"/>
                  </a:cubicBezTo>
                  <a:cubicBezTo>
                    <a:pt x="3915" y="11952"/>
                    <a:pt x="3897" y="11917"/>
                    <a:pt x="3866" y="11893"/>
                  </a:cubicBezTo>
                  <a:cubicBezTo>
                    <a:pt x="3789" y="11809"/>
                    <a:pt x="3680" y="11756"/>
                    <a:pt x="3565" y="11749"/>
                  </a:cubicBezTo>
                  <a:cubicBezTo>
                    <a:pt x="3418" y="11749"/>
                    <a:pt x="3362" y="11662"/>
                    <a:pt x="3323" y="11599"/>
                  </a:cubicBezTo>
                  <a:cubicBezTo>
                    <a:pt x="3288" y="11546"/>
                    <a:pt x="3267" y="11518"/>
                    <a:pt x="3218" y="11508"/>
                  </a:cubicBezTo>
                  <a:cubicBezTo>
                    <a:pt x="3033" y="11462"/>
                    <a:pt x="2665" y="11168"/>
                    <a:pt x="2634" y="11011"/>
                  </a:cubicBezTo>
                  <a:cubicBezTo>
                    <a:pt x="2630" y="10979"/>
                    <a:pt x="2556" y="10948"/>
                    <a:pt x="2518" y="10934"/>
                  </a:cubicBezTo>
                  <a:cubicBezTo>
                    <a:pt x="2469" y="10909"/>
                    <a:pt x="2420" y="10892"/>
                    <a:pt x="2420" y="10836"/>
                  </a:cubicBezTo>
                  <a:cubicBezTo>
                    <a:pt x="2423" y="10801"/>
                    <a:pt x="2444" y="10769"/>
                    <a:pt x="2479" y="10759"/>
                  </a:cubicBezTo>
                  <a:cubicBezTo>
                    <a:pt x="2507" y="10746"/>
                    <a:pt x="2540" y="10740"/>
                    <a:pt x="2576" y="10740"/>
                  </a:cubicBezTo>
                  <a:cubicBezTo>
                    <a:pt x="2702" y="10740"/>
                    <a:pt x="2867" y="10814"/>
                    <a:pt x="2987" y="10934"/>
                  </a:cubicBezTo>
                  <a:cubicBezTo>
                    <a:pt x="3152" y="11098"/>
                    <a:pt x="3393" y="11196"/>
                    <a:pt x="3712" y="11242"/>
                  </a:cubicBezTo>
                  <a:cubicBezTo>
                    <a:pt x="3880" y="11266"/>
                    <a:pt x="4044" y="11315"/>
                    <a:pt x="4198" y="11389"/>
                  </a:cubicBezTo>
                  <a:cubicBezTo>
                    <a:pt x="4345" y="11459"/>
                    <a:pt x="4506" y="11511"/>
                    <a:pt x="4667" y="11539"/>
                  </a:cubicBezTo>
                  <a:lnTo>
                    <a:pt x="4899" y="11581"/>
                  </a:lnTo>
                  <a:cubicBezTo>
                    <a:pt x="5200" y="11634"/>
                    <a:pt x="5455" y="11679"/>
                    <a:pt x="5942" y="11749"/>
                  </a:cubicBezTo>
                  <a:cubicBezTo>
                    <a:pt x="5979" y="11755"/>
                    <a:pt x="6018" y="11757"/>
                    <a:pt x="6057" y="11757"/>
                  </a:cubicBezTo>
                  <a:cubicBezTo>
                    <a:pt x="6608" y="11757"/>
                    <a:pt x="7312" y="11237"/>
                    <a:pt x="7472" y="11074"/>
                  </a:cubicBezTo>
                  <a:cubicBezTo>
                    <a:pt x="7559" y="10986"/>
                    <a:pt x="7500" y="10808"/>
                    <a:pt x="7451" y="10664"/>
                  </a:cubicBezTo>
                  <a:cubicBezTo>
                    <a:pt x="7426" y="10601"/>
                    <a:pt x="7412" y="10538"/>
                    <a:pt x="7405" y="10471"/>
                  </a:cubicBezTo>
                  <a:cubicBezTo>
                    <a:pt x="7405" y="10443"/>
                    <a:pt x="7328" y="10412"/>
                    <a:pt x="7272" y="10387"/>
                  </a:cubicBezTo>
                  <a:cubicBezTo>
                    <a:pt x="7199" y="10356"/>
                    <a:pt x="7122" y="10324"/>
                    <a:pt x="7094" y="10258"/>
                  </a:cubicBezTo>
                  <a:cubicBezTo>
                    <a:pt x="7010" y="10118"/>
                    <a:pt x="6863" y="10027"/>
                    <a:pt x="6698" y="10023"/>
                  </a:cubicBezTo>
                  <a:cubicBezTo>
                    <a:pt x="6547" y="10023"/>
                    <a:pt x="6467" y="9936"/>
                    <a:pt x="6400" y="9862"/>
                  </a:cubicBezTo>
                  <a:cubicBezTo>
                    <a:pt x="6344" y="9806"/>
                    <a:pt x="6309" y="9771"/>
                    <a:pt x="6260" y="9771"/>
                  </a:cubicBezTo>
                  <a:cubicBezTo>
                    <a:pt x="6258" y="9771"/>
                    <a:pt x="6256" y="9771"/>
                    <a:pt x="6253" y="9771"/>
                  </a:cubicBezTo>
                  <a:cubicBezTo>
                    <a:pt x="6238" y="9773"/>
                    <a:pt x="6223" y="9773"/>
                    <a:pt x="6208" y="9773"/>
                  </a:cubicBezTo>
                  <a:cubicBezTo>
                    <a:pt x="6034" y="9773"/>
                    <a:pt x="5885" y="9676"/>
                    <a:pt x="5508" y="9421"/>
                  </a:cubicBezTo>
                  <a:lnTo>
                    <a:pt x="5410" y="9358"/>
                  </a:lnTo>
                  <a:cubicBezTo>
                    <a:pt x="4939" y="9043"/>
                    <a:pt x="4368" y="8858"/>
                    <a:pt x="4221" y="8858"/>
                  </a:cubicBezTo>
                  <a:cubicBezTo>
                    <a:pt x="4210" y="8858"/>
                    <a:pt x="4201" y="8859"/>
                    <a:pt x="4195" y="8861"/>
                  </a:cubicBezTo>
                  <a:cubicBezTo>
                    <a:pt x="4140" y="8888"/>
                    <a:pt x="4077" y="8917"/>
                    <a:pt x="4013" y="8917"/>
                  </a:cubicBezTo>
                  <a:cubicBezTo>
                    <a:pt x="3950" y="8917"/>
                    <a:pt x="3888" y="8890"/>
                    <a:pt x="3831" y="8805"/>
                  </a:cubicBezTo>
                  <a:cubicBezTo>
                    <a:pt x="3810" y="8777"/>
                    <a:pt x="3778" y="8756"/>
                    <a:pt x="3743" y="8753"/>
                  </a:cubicBezTo>
                  <a:cubicBezTo>
                    <a:pt x="3731" y="8751"/>
                    <a:pt x="3719" y="8750"/>
                    <a:pt x="3708" y="8750"/>
                  </a:cubicBezTo>
                  <a:cubicBezTo>
                    <a:pt x="3643" y="8750"/>
                    <a:pt x="3580" y="8774"/>
                    <a:pt x="3530" y="8812"/>
                  </a:cubicBezTo>
                  <a:cubicBezTo>
                    <a:pt x="3487" y="8844"/>
                    <a:pt x="3445" y="8854"/>
                    <a:pt x="3404" y="8854"/>
                  </a:cubicBezTo>
                  <a:cubicBezTo>
                    <a:pt x="3353" y="8854"/>
                    <a:pt x="3305" y="8838"/>
                    <a:pt x="3260" y="8823"/>
                  </a:cubicBezTo>
                  <a:cubicBezTo>
                    <a:pt x="3203" y="8798"/>
                    <a:pt x="3140" y="8785"/>
                    <a:pt x="3077" y="8785"/>
                  </a:cubicBezTo>
                  <a:cubicBezTo>
                    <a:pt x="3051" y="8785"/>
                    <a:pt x="3026" y="8787"/>
                    <a:pt x="3001" y="8791"/>
                  </a:cubicBezTo>
                  <a:cubicBezTo>
                    <a:pt x="2961" y="8801"/>
                    <a:pt x="2923" y="8805"/>
                    <a:pt x="2887" y="8805"/>
                  </a:cubicBezTo>
                  <a:cubicBezTo>
                    <a:pt x="2759" y="8805"/>
                    <a:pt x="2664" y="8748"/>
                    <a:pt x="2623" y="8679"/>
                  </a:cubicBezTo>
                  <a:cubicBezTo>
                    <a:pt x="2588" y="8627"/>
                    <a:pt x="2591" y="8557"/>
                    <a:pt x="2630" y="8508"/>
                  </a:cubicBezTo>
                  <a:cubicBezTo>
                    <a:pt x="2676" y="8455"/>
                    <a:pt x="2763" y="8448"/>
                    <a:pt x="2865" y="8441"/>
                  </a:cubicBezTo>
                  <a:cubicBezTo>
                    <a:pt x="2914" y="8441"/>
                    <a:pt x="2959" y="8434"/>
                    <a:pt x="3005" y="8423"/>
                  </a:cubicBezTo>
                  <a:lnTo>
                    <a:pt x="2980" y="8423"/>
                  </a:lnTo>
                  <a:cubicBezTo>
                    <a:pt x="2879" y="8420"/>
                    <a:pt x="2781" y="8385"/>
                    <a:pt x="2700" y="8329"/>
                  </a:cubicBezTo>
                  <a:cubicBezTo>
                    <a:pt x="2637" y="8285"/>
                    <a:pt x="2580" y="8265"/>
                    <a:pt x="2535" y="8265"/>
                  </a:cubicBezTo>
                  <a:cubicBezTo>
                    <a:pt x="2523" y="8265"/>
                    <a:pt x="2511" y="8266"/>
                    <a:pt x="2500" y="8269"/>
                  </a:cubicBezTo>
                  <a:cubicBezTo>
                    <a:pt x="2455" y="8287"/>
                    <a:pt x="2423" y="8325"/>
                    <a:pt x="2406" y="8371"/>
                  </a:cubicBezTo>
                  <a:cubicBezTo>
                    <a:pt x="2385" y="8427"/>
                    <a:pt x="2336" y="8469"/>
                    <a:pt x="2276" y="8483"/>
                  </a:cubicBezTo>
                  <a:cubicBezTo>
                    <a:pt x="2259" y="8486"/>
                    <a:pt x="2242" y="8487"/>
                    <a:pt x="2225" y="8487"/>
                  </a:cubicBezTo>
                  <a:cubicBezTo>
                    <a:pt x="2148" y="8487"/>
                    <a:pt x="2074" y="8462"/>
                    <a:pt x="2014" y="8413"/>
                  </a:cubicBezTo>
                  <a:lnTo>
                    <a:pt x="2014" y="8416"/>
                  </a:lnTo>
                  <a:cubicBezTo>
                    <a:pt x="2010" y="8427"/>
                    <a:pt x="2003" y="8437"/>
                    <a:pt x="1996" y="8448"/>
                  </a:cubicBezTo>
                  <a:lnTo>
                    <a:pt x="1993" y="8455"/>
                  </a:lnTo>
                  <a:cubicBezTo>
                    <a:pt x="1989" y="8462"/>
                    <a:pt x="1982" y="8472"/>
                    <a:pt x="1975" y="8479"/>
                  </a:cubicBezTo>
                  <a:lnTo>
                    <a:pt x="1968" y="8486"/>
                  </a:lnTo>
                  <a:cubicBezTo>
                    <a:pt x="1965" y="8494"/>
                    <a:pt x="1958" y="8501"/>
                    <a:pt x="1954" y="8508"/>
                  </a:cubicBezTo>
                  <a:lnTo>
                    <a:pt x="1947" y="8515"/>
                  </a:lnTo>
                  <a:cubicBezTo>
                    <a:pt x="1937" y="8522"/>
                    <a:pt x="1930" y="8529"/>
                    <a:pt x="1919" y="8536"/>
                  </a:cubicBezTo>
                  <a:cubicBezTo>
                    <a:pt x="1874" y="8562"/>
                    <a:pt x="1824" y="8575"/>
                    <a:pt x="1773" y="8575"/>
                  </a:cubicBezTo>
                  <a:cubicBezTo>
                    <a:pt x="1744" y="8575"/>
                    <a:pt x="1716" y="8571"/>
                    <a:pt x="1688" y="8564"/>
                  </a:cubicBezTo>
                  <a:cubicBezTo>
                    <a:pt x="1684" y="8563"/>
                    <a:pt x="1679" y="8562"/>
                    <a:pt x="1674" y="8562"/>
                  </a:cubicBezTo>
                  <a:cubicBezTo>
                    <a:pt x="1628" y="8562"/>
                    <a:pt x="1570" y="8607"/>
                    <a:pt x="1513" y="8651"/>
                  </a:cubicBezTo>
                  <a:cubicBezTo>
                    <a:pt x="1436" y="8707"/>
                    <a:pt x="1349" y="8774"/>
                    <a:pt x="1251" y="8774"/>
                  </a:cubicBezTo>
                  <a:cubicBezTo>
                    <a:pt x="1170" y="8784"/>
                    <a:pt x="1097" y="8819"/>
                    <a:pt x="1044" y="8879"/>
                  </a:cubicBezTo>
                  <a:cubicBezTo>
                    <a:pt x="999" y="8921"/>
                    <a:pt x="964" y="8970"/>
                    <a:pt x="943" y="9029"/>
                  </a:cubicBezTo>
                  <a:cubicBezTo>
                    <a:pt x="939" y="9036"/>
                    <a:pt x="939" y="9040"/>
                    <a:pt x="936" y="9047"/>
                  </a:cubicBezTo>
                  <a:cubicBezTo>
                    <a:pt x="922" y="9127"/>
                    <a:pt x="859" y="9183"/>
                    <a:pt x="778" y="9194"/>
                  </a:cubicBezTo>
                  <a:lnTo>
                    <a:pt x="757" y="9201"/>
                  </a:lnTo>
                  <a:lnTo>
                    <a:pt x="729" y="9208"/>
                  </a:lnTo>
                  <a:cubicBezTo>
                    <a:pt x="729" y="9306"/>
                    <a:pt x="726" y="9418"/>
                    <a:pt x="631" y="9530"/>
                  </a:cubicBezTo>
                  <a:cubicBezTo>
                    <a:pt x="607" y="9561"/>
                    <a:pt x="603" y="9565"/>
                    <a:pt x="656" y="9652"/>
                  </a:cubicBezTo>
                  <a:cubicBezTo>
                    <a:pt x="677" y="9680"/>
                    <a:pt x="698" y="9719"/>
                    <a:pt x="722" y="9764"/>
                  </a:cubicBezTo>
                  <a:cubicBezTo>
                    <a:pt x="733" y="9785"/>
                    <a:pt x="743" y="9803"/>
                    <a:pt x="761" y="9817"/>
                  </a:cubicBezTo>
                  <a:cubicBezTo>
                    <a:pt x="806" y="9855"/>
                    <a:pt x="862" y="9880"/>
                    <a:pt x="922" y="9890"/>
                  </a:cubicBezTo>
                  <a:cubicBezTo>
                    <a:pt x="953" y="9897"/>
                    <a:pt x="981" y="9908"/>
                    <a:pt x="1009" y="9918"/>
                  </a:cubicBezTo>
                  <a:cubicBezTo>
                    <a:pt x="1020" y="9922"/>
                    <a:pt x="1027" y="9925"/>
                    <a:pt x="1037" y="9932"/>
                  </a:cubicBezTo>
                  <a:cubicBezTo>
                    <a:pt x="1069" y="9950"/>
                    <a:pt x="1457" y="10237"/>
                    <a:pt x="1457" y="10394"/>
                  </a:cubicBezTo>
                  <a:cubicBezTo>
                    <a:pt x="1457" y="10538"/>
                    <a:pt x="1160" y="10804"/>
                    <a:pt x="1086" y="10853"/>
                  </a:cubicBezTo>
                  <a:cubicBezTo>
                    <a:pt x="1020" y="10899"/>
                    <a:pt x="967" y="10965"/>
                    <a:pt x="939" y="11042"/>
                  </a:cubicBezTo>
                  <a:cubicBezTo>
                    <a:pt x="936" y="11056"/>
                    <a:pt x="936" y="11070"/>
                    <a:pt x="943" y="11084"/>
                  </a:cubicBezTo>
                  <a:lnTo>
                    <a:pt x="964" y="11116"/>
                  </a:lnTo>
                  <a:lnTo>
                    <a:pt x="1006" y="11179"/>
                  </a:lnTo>
                  <a:cubicBezTo>
                    <a:pt x="1118" y="11343"/>
                    <a:pt x="1321" y="11655"/>
                    <a:pt x="1464" y="11914"/>
                  </a:cubicBezTo>
                  <a:cubicBezTo>
                    <a:pt x="1531" y="12036"/>
                    <a:pt x="1552" y="12110"/>
                    <a:pt x="1524" y="12166"/>
                  </a:cubicBezTo>
                  <a:cubicBezTo>
                    <a:pt x="1503" y="12211"/>
                    <a:pt x="1457" y="12239"/>
                    <a:pt x="1408" y="12246"/>
                  </a:cubicBezTo>
                  <a:lnTo>
                    <a:pt x="1391" y="12253"/>
                  </a:lnTo>
                  <a:cubicBezTo>
                    <a:pt x="1349" y="12257"/>
                    <a:pt x="1310" y="12278"/>
                    <a:pt x="1279" y="12309"/>
                  </a:cubicBezTo>
                  <a:cubicBezTo>
                    <a:pt x="1261" y="12334"/>
                    <a:pt x="1251" y="12365"/>
                    <a:pt x="1254" y="12397"/>
                  </a:cubicBezTo>
                  <a:cubicBezTo>
                    <a:pt x="1268" y="12460"/>
                    <a:pt x="1289" y="12519"/>
                    <a:pt x="1324" y="12572"/>
                  </a:cubicBezTo>
                  <a:cubicBezTo>
                    <a:pt x="1342" y="12603"/>
                    <a:pt x="1359" y="12635"/>
                    <a:pt x="1370" y="12670"/>
                  </a:cubicBezTo>
                  <a:cubicBezTo>
                    <a:pt x="1408" y="12779"/>
                    <a:pt x="1310" y="12824"/>
                    <a:pt x="1272" y="12842"/>
                  </a:cubicBezTo>
                  <a:lnTo>
                    <a:pt x="1258" y="12849"/>
                  </a:lnTo>
                  <a:cubicBezTo>
                    <a:pt x="1289" y="12863"/>
                    <a:pt x="1321" y="12880"/>
                    <a:pt x="1356" y="12891"/>
                  </a:cubicBezTo>
                  <a:cubicBezTo>
                    <a:pt x="1433" y="12922"/>
                    <a:pt x="1503" y="12950"/>
                    <a:pt x="1520" y="13013"/>
                  </a:cubicBezTo>
                  <a:cubicBezTo>
                    <a:pt x="1520" y="13020"/>
                    <a:pt x="1520" y="13027"/>
                    <a:pt x="1520" y="13034"/>
                  </a:cubicBezTo>
                  <a:cubicBezTo>
                    <a:pt x="1520" y="13080"/>
                    <a:pt x="1499" y="13122"/>
                    <a:pt x="1464" y="13153"/>
                  </a:cubicBezTo>
                  <a:cubicBezTo>
                    <a:pt x="1443" y="13174"/>
                    <a:pt x="1426" y="13202"/>
                    <a:pt x="1419" y="13234"/>
                  </a:cubicBezTo>
                  <a:cubicBezTo>
                    <a:pt x="1419" y="13237"/>
                    <a:pt x="1419" y="13241"/>
                    <a:pt x="1419" y="13244"/>
                  </a:cubicBezTo>
                  <a:cubicBezTo>
                    <a:pt x="1422" y="13255"/>
                    <a:pt x="1426" y="13262"/>
                    <a:pt x="1429" y="13269"/>
                  </a:cubicBezTo>
                  <a:cubicBezTo>
                    <a:pt x="1461" y="13311"/>
                    <a:pt x="1503" y="13342"/>
                    <a:pt x="1548" y="13363"/>
                  </a:cubicBezTo>
                  <a:cubicBezTo>
                    <a:pt x="1625" y="13409"/>
                    <a:pt x="1716" y="13461"/>
                    <a:pt x="1730" y="13587"/>
                  </a:cubicBezTo>
                  <a:cubicBezTo>
                    <a:pt x="1734" y="13619"/>
                    <a:pt x="1730" y="13650"/>
                    <a:pt x="1716" y="13675"/>
                  </a:cubicBezTo>
                  <a:cubicBezTo>
                    <a:pt x="1678" y="13752"/>
                    <a:pt x="1583" y="13794"/>
                    <a:pt x="1510" y="13829"/>
                  </a:cubicBezTo>
                  <a:cubicBezTo>
                    <a:pt x="1478" y="13839"/>
                    <a:pt x="1450" y="13857"/>
                    <a:pt x="1422" y="13871"/>
                  </a:cubicBezTo>
                  <a:cubicBezTo>
                    <a:pt x="1408" y="13878"/>
                    <a:pt x="1398" y="13885"/>
                    <a:pt x="1391" y="13899"/>
                  </a:cubicBezTo>
                  <a:cubicBezTo>
                    <a:pt x="1391" y="13899"/>
                    <a:pt x="1391" y="13902"/>
                    <a:pt x="1394" y="13906"/>
                  </a:cubicBezTo>
                  <a:cubicBezTo>
                    <a:pt x="1419" y="13944"/>
                    <a:pt x="1548" y="14021"/>
                    <a:pt x="1636" y="14074"/>
                  </a:cubicBezTo>
                  <a:cubicBezTo>
                    <a:pt x="1692" y="14105"/>
                    <a:pt x="1751" y="14144"/>
                    <a:pt x="1811" y="14179"/>
                  </a:cubicBezTo>
                  <a:cubicBezTo>
                    <a:pt x="1909" y="14238"/>
                    <a:pt x="1996" y="14312"/>
                    <a:pt x="2070" y="14396"/>
                  </a:cubicBezTo>
                  <a:cubicBezTo>
                    <a:pt x="2182" y="14522"/>
                    <a:pt x="2234" y="14606"/>
                    <a:pt x="2255" y="14679"/>
                  </a:cubicBezTo>
                  <a:cubicBezTo>
                    <a:pt x="2259" y="14697"/>
                    <a:pt x="2262" y="14718"/>
                    <a:pt x="2262" y="14736"/>
                  </a:cubicBezTo>
                  <a:cubicBezTo>
                    <a:pt x="2262" y="14792"/>
                    <a:pt x="2252" y="14844"/>
                    <a:pt x="2227" y="14897"/>
                  </a:cubicBezTo>
                  <a:cubicBezTo>
                    <a:pt x="2185" y="15016"/>
                    <a:pt x="2063" y="15121"/>
                    <a:pt x="1919" y="15226"/>
                  </a:cubicBezTo>
                  <a:cubicBezTo>
                    <a:pt x="1888" y="15250"/>
                    <a:pt x="1853" y="15275"/>
                    <a:pt x="1818" y="15299"/>
                  </a:cubicBezTo>
                  <a:cubicBezTo>
                    <a:pt x="1727" y="15362"/>
                    <a:pt x="1643" y="15429"/>
                    <a:pt x="1559" y="15502"/>
                  </a:cubicBezTo>
                  <a:cubicBezTo>
                    <a:pt x="1503" y="15548"/>
                    <a:pt x="1454" y="15607"/>
                    <a:pt x="1419" y="15677"/>
                  </a:cubicBezTo>
                  <a:cubicBezTo>
                    <a:pt x="1370" y="15779"/>
                    <a:pt x="1296" y="15866"/>
                    <a:pt x="1205" y="15933"/>
                  </a:cubicBezTo>
                  <a:cubicBezTo>
                    <a:pt x="1107" y="16006"/>
                    <a:pt x="1006" y="16076"/>
                    <a:pt x="901" y="16136"/>
                  </a:cubicBezTo>
                  <a:cubicBezTo>
                    <a:pt x="792" y="16199"/>
                    <a:pt x="691" y="16265"/>
                    <a:pt x="596" y="16342"/>
                  </a:cubicBezTo>
                  <a:cubicBezTo>
                    <a:pt x="586" y="16353"/>
                    <a:pt x="575" y="16363"/>
                    <a:pt x="565" y="16374"/>
                  </a:cubicBezTo>
                  <a:cubicBezTo>
                    <a:pt x="554" y="16384"/>
                    <a:pt x="544" y="16395"/>
                    <a:pt x="533" y="16409"/>
                  </a:cubicBezTo>
                  <a:lnTo>
                    <a:pt x="526" y="16416"/>
                  </a:lnTo>
                  <a:lnTo>
                    <a:pt x="498" y="16444"/>
                  </a:lnTo>
                  <a:lnTo>
                    <a:pt x="494" y="16451"/>
                  </a:lnTo>
                  <a:cubicBezTo>
                    <a:pt x="473" y="16475"/>
                    <a:pt x="452" y="16503"/>
                    <a:pt x="428" y="16535"/>
                  </a:cubicBezTo>
                  <a:lnTo>
                    <a:pt x="456" y="16521"/>
                  </a:lnTo>
                  <a:cubicBezTo>
                    <a:pt x="479" y="16509"/>
                    <a:pt x="501" y="16504"/>
                    <a:pt x="521" y="16504"/>
                  </a:cubicBezTo>
                  <a:cubicBezTo>
                    <a:pt x="620" y="16504"/>
                    <a:pt x="693" y="16622"/>
                    <a:pt x="754" y="16720"/>
                  </a:cubicBezTo>
                  <a:cubicBezTo>
                    <a:pt x="785" y="16780"/>
                    <a:pt x="827" y="16836"/>
                    <a:pt x="873" y="16885"/>
                  </a:cubicBezTo>
                  <a:cubicBezTo>
                    <a:pt x="922" y="16924"/>
                    <a:pt x="1009" y="16924"/>
                    <a:pt x="1093" y="16924"/>
                  </a:cubicBezTo>
                  <a:cubicBezTo>
                    <a:pt x="1195" y="16924"/>
                    <a:pt x="1296" y="16924"/>
                    <a:pt x="1359" y="16997"/>
                  </a:cubicBezTo>
                  <a:cubicBezTo>
                    <a:pt x="1415" y="17057"/>
                    <a:pt x="1401" y="17106"/>
                    <a:pt x="1391" y="17130"/>
                  </a:cubicBezTo>
                  <a:cubicBezTo>
                    <a:pt x="1380" y="17148"/>
                    <a:pt x="1356" y="17194"/>
                    <a:pt x="1220" y="17194"/>
                  </a:cubicBezTo>
                  <a:cubicBezTo>
                    <a:pt x="1174" y="17194"/>
                    <a:pt x="1116" y="17189"/>
                    <a:pt x="1041" y="17176"/>
                  </a:cubicBezTo>
                  <a:cubicBezTo>
                    <a:pt x="1024" y="17173"/>
                    <a:pt x="1009" y="17172"/>
                    <a:pt x="995" y="17172"/>
                  </a:cubicBezTo>
                  <a:cubicBezTo>
                    <a:pt x="933" y="17172"/>
                    <a:pt x="887" y="17195"/>
                    <a:pt x="813" y="17235"/>
                  </a:cubicBezTo>
                  <a:cubicBezTo>
                    <a:pt x="729" y="17281"/>
                    <a:pt x="638" y="17323"/>
                    <a:pt x="547" y="17351"/>
                  </a:cubicBezTo>
                  <a:cubicBezTo>
                    <a:pt x="414" y="17396"/>
                    <a:pt x="389" y="17435"/>
                    <a:pt x="361" y="17477"/>
                  </a:cubicBezTo>
                  <a:cubicBezTo>
                    <a:pt x="354" y="17487"/>
                    <a:pt x="347" y="17498"/>
                    <a:pt x="340" y="17508"/>
                  </a:cubicBezTo>
                  <a:lnTo>
                    <a:pt x="344" y="17519"/>
                  </a:lnTo>
                  <a:lnTo>
                    <a:pt x="347" y="17529"/>
                  </a:lnTo>
                  <a:lnTo>
                    <a:pt x="354" y="17547"/>
                  </a:lnTo>
                  <a:lnTo>
                    <a:pt x="358" y="17557"/>
                  </a:lnTo>
                  <a:cubicBezTo>
                    <a:pt x="358" y="17561"/>
                    <a:pt x="361" y="17568"/>
                    <a:pt x="361" y="17571"/>
                  </a:cubicBezTo>
                  <a:cubicBezTo>
                    <a:pt x="365" y="17575"/>
                    <a:pt x="361" y="17578"/>
                    <a:pt x="365" y="17582"/>
                  </a:cubicBezTo>
                  <a:cubicBezTo>
                    <a:pt x="368" y="17585"/>
                    <a:pt x="365" y="17592"/>
                    <a:pt x="368" y="17596"/>
                  </a:cubicBezTo>
                  <a:cubicBezTo>
                    <a:pt x="372" y="17603"/>
                    <a:pt x="368" y="17603"/>
                    <a:pt x="368" y="17603"/>
                  </a:cubicBezTo>
                  <a:cubicBezTo>
                    <a:pt x="368" y="17610"/>
                    <a:pt x="368" y="17617"/>
                    <a:pt x="368" y="17624"/>
                  </a:cubicBezTo>
                  <a:cubicBezTo>
                    <a:pt x="368" y="17631"/>
                    <a:pt x="368" y="17638"/>
                    <a:pt x="368" y="17645"/>
                  </a:cubicBezTo>
                  <a:lnTo>
                    <a:pt x="368" y="17652"/>
                  </a:lnTo>
                  <a:cubicBezTo>
                    <a:pt x="368" y="17652"/>
                    <a:pt x="368" y="17659"/>
                    <a:pt x="365" y="17666"/>
                  </a:cubicBezTo>
                  <a:lnTo>
                    <a:pt x="361" y="17673"/>
                  </a:lnTo>
                  <a:cubicBezTo>
                    <a:pt x="361" y="17676"/>
                    <a:pt x="361" y="17680"/>
                    <a:pt x="358" y="17683"/>
                  </a:cubicBezTo>
                  <a:lnTo>
                    <a:pt x="354" y="17690"/>
                  </a:lnTo>
                  <a:lnTo>
                    <a:pt x="351" y="17701"/>
                  </a:lnTo>
                  <a:lnTo>
                    <a:pt x="347" y="17708"/>
                  </a:lnTo>
                  <a:lnTo>
                    <a:pt x="340" y="17718"/>
                  </a:lnTo>
                  <a:lnTo>
                    <a:pt x="337" y="17722"/>
                  </a:lnTo>
                  <a:lnTo>
                    <a:pt x="330" y="17732"/>
                  </a:lnTo>
                  <a:lnTo>
                    <a:pt x="326" y="17739"/>
                  </a:lnTo>
                  <a:lnTo>
                    <a:pt x="319" y="17746"/>
                  </a:lnTo>
                  <a:lnTo>
                    <a:pt x="316" y="17753"/>
                  </a:lnTo>
                  <a:lnTo>
                    <a:pt x="305" y="17760"/>
                  </a:lnTo>
                  <a:lnTo>
                    <a:pt x="302" y="17767"/>
                  </a:lnTo>
                  <a:lnTo>
                    <a:pt x="295" y="17774"/>
                  </a:lnTo>
                  <a:lnTo>
                    <a:pt x="291" y="17778"/>
                  </a:lnTo>
                  <a:lnTo>
                    <a:pt x="281" y="17792"/>
                  </a:lnTo>
                  <a:cubicBezTo>
                    <a:pt x="260" y="17809"/>
                    <a:pt x="242" y="17830"/>
                    <a:pt x="225" y="17855"/>
                  </a:cubicBezTo>
                  <a:lnTo>
                    <a:pt x="221" y="17858"/>
                  </a:lnTo>
                  <a:lnTo>
                    <a:pt x="221" y="17862"/>
                  </a:lnTo>
                  <a:cubicBezTo>
                    <a:pt x="218" y="17869"/>
                    <a:pt x="211" y="17876"/>
                    <a:pt x="207" y="17886"/>
                  </a:cubicBezTo>
                  <a:cubicBezTo>
                    <a:pt x="200" y="17907"/>
                    <a:pt x="190" y="17925"/>
                    <a:pt x="176" y="17946"/>
                  </a:cubicBezTo>
                  <a:cubicBezTo>
                    <a:pt x="151" y="17988"/>
                    <a:pt x="120" y="18026"/>
                    <a:pt x="85" y="18061"/>
                  </a:cubicBezTo>
                  <a:cubicBezTo>
                    <a:pt x="50" y="18100"/>
                    <a:pt x="36" y="18117"/>
                    <a:pt x="32" y="18145"/>
                  </a:cubicBezTo>
                  <a:cubicBezTo>
                    <a:pt x="29" y="18194"/>
                    <a:pt x="32" y="18243"/>
                    <a:pt x="46" y="18289"/>
                  </a:cubicBezTo>
                  <a:cubicBezTo>
                    <a:pt x="57" y="18341"/>
                    <a:pt x="64" y="18394"/>
                    <a:pt x="71" y="18446"/>
                  </a:cubicBezTo>
                  <a:cubicBezTo>
                    <a:pt x="78" y="18565"/>
                    <a:pt x="92" y="18583"/>
                    <a:pt x="158" y="18681"/>
                  </a:cubicBezTo>
                  <a:lnTo>
                    <a:pt x="179" y="18705"/>
                  </a:lnTo>
                  <a:cubicBezTo>
                    <a:pt x="200" y="18733"/>
                    <a:pt x="214" y="18768"/>
                    <a:pt x="214" y="18803"/>
                  </a:cubicBezTo>
                  <a:cubicBezTo>
                    <a:pt x="214" y="18814"/>
                    <a:pt x="214" y="18824"/>
                    <a:pt x="211" y="18835"/>
                  </a:cubicBezTo>
                  <a:cubicBezTo>
                    <a:pt x="193" y="18898"/>
                    <a:pt x="137" y="18923"/>
                    <a:pt x="85" y="18944"/>
                  </a:cubicBezTo>
                  <a:cubicBezTo>
                    <a:pt x="64" y="18951"/>
                    <a:pt x="43" y="18961"/>
                    <a:pt x="22" y="18975"/>
                  </a:cubicBezTo>
                  <a:cubicBezTo>
                    <a:pt x="1" y="18993"/>
                    <a:pt x="15" y="19035"/>
                    <a:pt x="22" y="19056"/>
                  </a:cubicBezTo>
                  <a:cubicBezTo>
                    <a:pt x="29" y="19073"/>
                    <a:pt x="39" y="19094"/>
                    <a:pt x="50" y="19112"/>
                  </a:cubicBezTo>
                  <a:lnTo>
                    <a:pt x="53" y="19115"/>
                  </a:lnTo>
                  <a:cubicBezTo>
                    <a:pt x="57" y="19122"/>
                    <a:pt x="64" y="19129"/>
                    <a:pt x="71" y="19136"/>
                  </a:cubicBezTo>
                  <a:lnTo>
                    <a:pt x="74" y="19147"/>
                  </a:lnTo>
                  <a:cubicBezTo>
                    <a:pt x="81" y="19154"/>
                    <a:pt x="88" y="19161"/>
                    <a:pt x="99" y="19171"/>
                  </a:cubicBezTo>
                  <a:cubicBezTo>
                    <a:pt x="200" y="19266"/>
                    <a:pt x="228" y="19416"/>
                    <a:pt x="172" y="19546"/>
                  </a:cubicBezTo>
                  <a:cubicBezTo>
                    <a:pt x="162" y="19570"/>
                    <a:pt x="204" y="19661"/>
                    <a:pt x="330" y="19787"/>
                  </a:cubicBezTo>
                  <a:cubicBezTo>
                    <a:pt x="386" y="19847"/>
                    <a:pt x="407" y="19934"/>
                    <a:pt x="424" y="20022"/>
                  </a:cubicBezTo>
                  <a:cubicBezTo>
                    <a:pt x="431" y="20064"/>
                    <a:pt x="445" y="20102"/>
                    <a:pt x="459" y="20141"/>
                  </a:cubicBezTo>
                  <a:cubicBezTo>
                    <a:pt x="463" y="20148"/>
                    <a:pt x="466" y="20155"/>
                    <a:pt x="470" y="20158"/>
                  </a:cubicBezTo>
                  <a:cubicBezTo>
                    <a:pt x="523" y="20203"/>
                    <a:pt x="573" y="20240"/>
                    <a:pt x="642" y="20240"/>
                  </a:cubicBezTo>
                  <a:cubicBezTo>
                    <a:pt x="660" y="20240"/>
                    <a:pt x="680" y="20238"/>
                    <a:pt x="701" y="20232"/>
                  </a:cubicBezTo>
                  <a:cubicBezTo>
                    <a:pt x="733" y="20223"/>
                    <a:pt x="764" y="20218"/>
                    <a:pt x="794" y="20218"/>
                  </a:cubicBezTo>
                  <a:cubicBezTo>
                    <a:pt x="901" y="20218"/>
                    <a:pt x="989" y="20278"/>
                    <a:pt x="1055" y="20396"/>
                  </a:cubicBezTo>
                  <a:cubicBezTo>
                    <a:pt x="1066" y="20416"/>
                    <a:pt x="1076" y="20427"/>
                    <a:pt x="1098" y="20427"/>
                  </a:cubicBezTo>
                  <a:cubicBezTo>
                    <a:pt x="1124" y="20427"/>
                    <a:pt x="1167" y="20411"/>
                    <a:pt x="1251" y="20375"/>
                  </a:cubicBezTo>
                  <a:lnTo>
                    <a:pt x="1261" y="20368"/>
                  </a:lnTo>
                  <a:cubicBezTo>
                    <a:pt x="1290" y="20355"/>
                    <a:pt x="1324" y="20349"/>
                    <a:pt x="1360" y="20349"/>
                  </a:cubicBezTo>
                  <a:cubicBezTo>
                    <a:pt x="1487" y="20349"/>
                    <a:pt x="1650" y="20422"/>
                    <a:pt x="1800" y="20501"/>
                  </a:cubicBezTo>
                  <a:lnTo>
                    <a:pt x="1828" y="20515"/>
                  </a:lnTo>
                  <a:cubicBezTo>
                    <a:pt x="1916" y="20557"/>
                    <a:pt x="1912" y="20683"/>
                    <a:pt x="1909" y="20813"/>
                  </a:cubicBezTo>
                  <a:lnTo>
                    <a:pt x="1909" y="20946"/>
                  </a:lnTo>
                  <a:cubicBezTo>
                    <a:pt x="1912" y="20992"/>
                    <a:pt x="1909" y="21041"/>
                    <a:pt x="1902" y="21090"/>
                  </a:cubicBezTo>
                  <a:cubicBezTo>
                    <a:pt x="1888" y="21198"/>
                    <a:pt x="1888" y="21251"/>
                    <a:pt x="1940" y="21282"/>
                  </a:cubicBezTo>
                  <a:cubicBezTo>
                    <a:pt x="2000" y="21324"/>
                    <a:pt x="2045" y="21387"/>
                    <a:pt x="2070" y="21454"/>
                  </a:cubicBezTo>
                  <a:lnTo>
                    <a:pt x="2077" y="21478"/>
                  </a:lnTo>
                  <a:cubicBezTo>
                    <a:pt x="2091" y="21510"/>
                    <a:pt x="2105" y="21538"/>
                    <a:pt x="2122" y="21566"/>
                  </a:cubicBezTo>
                  <a:cubicBezTo>
                    <a:pt x="2136" y="21590"/>
                    <a:pt x="2157" y="21608"/>
                    <a:pt x="2185" y="21615"/>
                  </a:cubicBezTo>
                  <a:cubicBezTo>
                    <a:pt x="2255" y="21646"/>
                    <a:pt x="2318" y="21699"/>
                    <a:pt x="2364" y="21765"/>
                  </a:cubicBezTo>
                  <a:cubicBezTo>
                    <a:pt x="2378" y="21783"/>
                    <a:pt x="2392" y="21804"/>
                    <a:pt x="2409" y="21821"/>
                  </a:cubicBezTo>
                  <a:cubicBezTo>
                    <a:pt x="2427" y="21853"/>
                    <a:pt x="2451" y="21881"/>
                    <a:pt x="2476" y="21905"/>
                  </a:cubicBezTo>
                  <a:cubicBezTo>
                    <a:pt x="2479" y="21909"/>
                    <a:pt x="2486" y="21916"/>
                    <a:pt x="2493" y="21916"/>
                  </a:cubicBezTo>
                  <a:cubicBezTo>
                    <a:pt x="2606" y="21944"/>
                    <a:pt x="2812" y="22105"/>
                    <a:pt x="2844" y="22245"/>
                  </a:cubicBezTo>
                  <a:cubicBezTo>
                    <a:pt x="2882" y="22416"/>
                    <a:pt x="2613" y="22535"/>
                    <a:pt x="2525" y="22574"/>
                  </a:cubicBezTo>
                  <a:cubicBezTo>
                    <a:pt x="2518" y="22577"/>
                    <a:pt x="2507" y="22581"/>
                    <a:pt x="2497" y="22584"/>
                  </a:cubicBezTo>
                  <a:cubicBezTo>
                    <a:pt x="2486" y="22584"/>
                    <a:pt x="2476" y="22588"/>
                    <a:pt x="2465" y="22588"/>
                  </a:cubicBezTo>
                  <a:lnTo>
                    <a:pt x="2434" y="22588"/>
                  </a:lnTo>
                  <a:cubicBezTo>
                    <a:pt x="2381" y="22577"/>
                    <a:pt x="2325" y="22560"/>
                    <a:pt x="2276" y="22535"/>
                  </a:cubicBezTo>
                  <a:lnTo>
                    <a:pt x="2245" y="22521"/>
                  </a:lnTo>
                  <a:cubicBezTo>
                    <a:pt x="2220" y="22511"/>
                    <a:pt x="2196" y="22504"/>
                    <a:pt x="2168" y="22497"/>
                  </a:cubicBezTo>
                  <a:lnTo>
                    <a:pt x="2161" y="22497"/>
                  </a:lnTo>
                  <a:cubicBezTo>
                    <a:pt x="2136" y="22525"/>
                    <a:pt x="2164" y="22609"/>
                    <a:pt x="2196" y="22717"/>
                  </a:cubicBezTo>
                  <a:cubicBezTo>
                    <a:pt x="2217" y="22784"/>
                    <a:pt x="2241" y="22861"/>
                    <a:pt x="2262" y="22948"/>
                  </a:cubicBezTo>
                  <a:cubicBezTo>
                    <a:pt x="2273" y="23022"/>
                    <a:pt x="2297" y="23092"/>
                    <a:pt x="2332" y="23155"/>
                  </a:cubicBezTo>
                  <a:cubicBezTo>
                    <a:pt x="2350" y="23180"/>
                    <a:pt x="2367" y="23190"/>
                    <a:pt x="2427" y="23190"/>
                  </a:cubicBezTo>
                  <a:cubicBezTo>
                    <a:pt x="2479" y="23187"/>
                    <a:pt x="2532" y="23162"/>
                    <a:pt x="2567" y="23124"/>
                  </a:cubicBezTo>
                  <a:cubicBezTo>
                    <a:pt x="2591" y="23103"/>
                    <a:pt x="2620" y="23082"/>
                    <a:pt x="2648" y="23064"/>
                  </a:cubicBezTo>
                  <a:cubicBezTo>
                    <a:pt x="2665" y="23054"/>
                    <a:pt x="2683" y="23050"/>
                    <a:pt x="2700" y="23047"/>
                  </a:cubicBezTo>
                  <a:cubicBezTo>
                    <a:pt x="2725" y="23041"/>
                    <a:pt x="2750" y="23039"/>
                    <a:pt x="2775" y="23039"/>
                  </a:cubicBezTo>
                  <a:cubicBezTo>
                    <a:pt x="2801" y="23039"/>
                    <a:pt x="2826" y="23041"/>
                    <a:pt x="2851" y="23047"/>
                  </a:cubicBezTo>
                  <a:lnTo>
                    <a:pt x="2882" y="23047"/>
                  </a:lnTo>
                  <a:cubicBezTo>
                    <a:pt x="2905" y="23052"/>
                    <a:pt x="2928" y="23054"/>
                    <a:pt x="2950" y="23054"/>
                  </a:cubicBezTo>
                  <a:cubicBezTo>
                    <a:pt x="2973" y="23054"/>
                    <a:pt x="2996" y="23052"/>
                    <a:pt x="3019" y="23047"/>
                  </a:cubicBezTo>
                  <a:lnTo>
                    <a:pt x="3040" y="23040"/>
                  </a:lnTo>
                  <a:cubicBezTo>
                    <a:pt x="3106" y="23022"/>
                    <a:pt x="3176" y="23015"/>
                    <a:pt x="3246" y="23015"/>
                  </a:cubicBezTo>
                  <a:cubicBezTo>
                    <a:pt x="3369" y="23015"/>
                    <a:pt x="3498" y="23043"/>
                    <a:pt x="3551" y="23124"/>
                  </a:cubicBezTo>
                  <a:cubicBezTo>
                    <a:pt x="3558" y="23138"/>
                    <a:pt x="3568" y="23152"/>
                    <a:pt x="3575" y="23166"/>
                  </a:cubicBezTo>
                  <a:cubicBezTo>
                    <a:pt x="3621" y="23267"/>
                    <a:pt x="3649" y="23379"/>
                    <a:pt x="3649" y="23491"/>
                  </a:cubicBezTo>
                  <a:cubicBezTo>
                    <a:pt x="3649" y="23530"/>
                    <a:pt x="3642" y="23568"/>
                    <a:pt x="3624" y="23600"/>
                  </a:cubicBezTo>
                  <a:cubicBezTo>
                    <a:pt x="3610" y="23624"/>
                    <a:pt x="3645" y="23677"/>
                    <a:pt x="3680" y="23733"/>
                  </a:cubicBezTo>
                  <a:cubicBezTo>
                    <a:pt x="3705" y="23768"/>
                    <a:pt x="3726" y="23803"/>
                    <a:pt x="3747" y="23841"/>
                  </a:cubicBezTo>
                  <a:cubicBezTo>
                    <a:pt x="3768" y="23887"/>
                    <a:pt x="3876" y="23887"/>
                    <a:pt x="3953" y="23887"/>
                  </a:cubicBezTo>
                  <a:lnTo>
                    <a:pt x="3999" y="23887"/>
                  </a:lnTo>
                  <a:cubicBezTo>
                    <a:pt x="4037" y="23887"/>
                    <a:pt x="4079" y="23894"/>
                    <a:pt x="4114" y="23908"/>
                  </a:cubicBezTo>
                  <a:cubicBezTo>
                    <a:pt x="4191" y="23939"/>
                    <a:pt x="4317" y="24090"/>
                    <a:pt x="4373" y="24233"/>
                  </a:cubicBezTo>
                  <a:cubicBezTo>
                    <a:pt x="4377" y="24247"/>
                    <a:pt x="4380" y="24258"/>
                    <a:pt x="4387" y="24272"/>
                  </a:cubicBezTo>
                  <a:cubicBezTo>
                    <a:pt x="4394" y="24296"/>
                    <a:pt x="4398" y="24321"/>
                    <a:pt x="4401" y="24345"/>
                  </a:cubicBezTo>
                  <a:cubicBezTo>
                    <a:pt x="4401" y="24356"/>
                    <a:pt x="4401" y="24370"/>
                    <a:pt x="4401" y="24380"/>
                  </a:cubicBezTo>
                  <a:cubicBezTo>
                    <a:pt x="4398" y="24391"/>
                    <a:pt x="4398" y="24401"/>
                    <a:pt x="4394" y="24412"/>
                  </a:cubicBezTo>
                  <a:cubicBezTo>
                    <a:pt x="4387" y="24429"/>
                    <a:pt x="4394" y="24433"/>
                    <a:pt x="4394" y="24436"/>
                  </a:cubicBezTo>
                  <a:cubicBezTo>
                    <a:pt x="4414" y="24446"/>
                    <a:pt x="4436" y="24451"/>
                    <a:pt x="4458" y="24451"/>
                  </a:cubicBezTo>
                  <a:cubicBezTo>
                    <a:pt x="4476" y="24451"/>
                    <a:pt x="4494" y="24448"/>
                    <a:pt x="4510" y="24440"/>
                  </a:cubicBezTo>
                  <a:cubicBezTo>
                    <a:pt x="4532" y="24430"/>
                    <a:pt x="4554" y="24426"/>
                    <a:pt x="4575" y="24426"/>
                  </a:cubicBezTo>
                  <a:cubicBezTo>
                    <a:pt x="4647" y="24426"/>
                    <a:pt x="4713" y="24474"/>
                    <a:pt x="4773" y="24520"/>
                  </a:cubicBezTo>
                  <a:cubicBezTo>
                    <a:pt x="4794" y="24534"/>
                    <a:pt x="4815" y="24552"/>
                    <a:pt x="4839" y="24566"/>
                  </a:cubicBezTo>
                  <a:cubicBezTo>
                    <a:pt x="4860" y="24580"/>
                    <a:pt x="4885" y="24590"/>
                    <a:pt x="4909" y="24590"/>
                  </a:cubicBezTo>
                  <a:cubicBezTo>
                    <a:pt x="4958" y="24590"/>
                    <a:pt x="5007" y="24573"/>
                    <a:pt x="5046" y="24541"/>
                  </a:cubicBezTo>
                  <a:cubicBezTo>
                    <a:pt x="5111" y="24501"/>
                    <a:pt x="5205" y="24461"/>
                    <a:pt x="5289" y="24461"/>
                  </a:cubicBezTo>
                  <a:cubicBezTo>
                    <a:pt x="5308" y="24461"/>
                    <a:pt x="5326" y="24463"/>
                    <a:pt x="5343" y="24468"/>
                  </a:cubicBezTo>
                  <a:cubicBezTo>
                    <a:pt x="5354" y="24471"/>
                    <a:pt x="5364" y="24475"/>
                    <a:pt x="5375" y="24478"/>
                  </a:cubicBezTo>
                  <a:cubicBezTo>
                    <a:pt x="5403" y="24492"/>
                    <a:pt x="5427" y="24513"/>
                    <a:pt x="5441" y="24541"/>
                  </a:cubicBezTo>
                  <a:cubicBezTo>
                    <a:pt x="5466" y="24576"/>
                    <a:pt x="5494" y="24608"/>
                    <a:pt x="5522" y="24636"/>
                  </a:cubicBezTo>
                  <a:lnTo>
                    <a:pt x="5557" y="24674"/>
                  </a:lnTo>
                  <a:cubicBezTo>
                    <a:pt x="5606" y="24716"/>
                    <a:pt x="5648" y="24765"/>
                    <a:pt x="5683" y="24821"/>
                  </a:cubicBezTo>
                  <a:cubicBezTo>
                    <a:pt x="5707" y="24825"/>
                    <a:pt x="5746" y="24825"/>
                    <a:pt x="5774" y="24825"/>
                  </a:cubicBezTo>
                  <a:cubicBezTo>
                    <a:pt x="5882" y="24828"/>
                    <a:pt x="6015" y="24832"/>
                    <a:pt x="6106" y="24881"/>
                  </a:cubicBezTo>
                  <a:cubicBezTo>
                    <a:pt x="6166" y="24905"/>
                    <a:pt x="6232" y="24923"/>
                    <a:pt x="6299" y="24926"/>
                  </a:cubicBezTo>
                  <a:lnTo>
                    <a:pt x="6362" y="24937"/>
                  </a:lnTo>
                  <a:cubicBezTo>
                    <a:pt x="6435" y="24947"/>
                    <a:pt x="6505" y="24968"/>
                    <a:pt x="6568" y="25000"/>
                  </a:cubicBezTo>
                  <a:cubicBezTo>
                    <a:pt x="6603" y="25021"/>
                    <a:pt x="6638" y="25035"/>
                    <a:pt x="6673" y="25052"/>
                  </a:cubicBezTo>
                  <a:lnTo>
                    <a:pt x="6708" y="25063"/>
                  </a:lnTo>
                  <a:cubicBezTo>
                    <a:pt x="6733" y="25073"/>
                    <a:pt x="6758" y="25084"/>
                    <a:pt x="6782" y="25095"/>
                  </a:cubicBezTo>
                  <a:cubicBezTo>
                    <a:pt x="6852" y="25126"/>
                    <a:pt x="6908" y="25168"/>
                    <a:pt x="6915" y="25245"/>
                  </a:cubicBezTo>
                  <a:cubicBezTo>
                    <a:pt x="6922" y="25284"/>
                    <a:pt x="6912" y="25322"/>
                    <a:pt x="6891" y="25354"/>
                  </a:cubicBezTo>
                  <a:cubicBezTo>
                    <a:pt x="6866" y="25392"/>
                    <a:pt x="6835" y="25427"/>
                    <a:pt x="6796" y="25459"/>
                  </a:cubicBezTo>
                  <a:lnTo>
                    <a:pt x="6772" y="25480"/>
                  </a:lnTo>
                  <a:lnTo>
                    <a:pt x="6789" y="25494"/>
                  </a:lnTo>
                  <a:cubicBezTo>
                    <a:pt x="6831" y="25525"/>
                    <a:pt x="6894" y="25567"/>
                    <a:pt x="6894" y="25641"/>
                  </a:cubicBezTo>
                  <a:cubicBezTo>
                    <a:pt x="6894" y="25728"/>
                    <a:pt x="6807" y="25760"/>
                    <a:pt x="6750" y="25777"/>
                  </a:cubicBezTo>
                  <a:cubicBezTo>
                    <a:pt x="6733" y="25784"/>
                    <a:pt x="6715" y="25791"/>
                    <a:pt x="6698" y="25798"/>
                  </a:cubicBezTo>
                  <a:cubicBezTo>
                    <a:pt x="6715" y="25823"/>
                    <a:pt x="6729" y="25844"/>
                    <a:pt x="6747" y="25861"/>
                  </a:cubicBezTo>
                  <a:cubicBezTo>
                    <a:pt x="6775" y="25889"/>
                    <a:pt x="6800" y="25921"/>
                    <a:pt x="6817" y="25956"/>
                  </a:cubicBezTo>
                  <a:cubicBezTo>
                    <a:pt x="6838" y="26012"/>
                    <a:pt x="6810" y="26089"/>
                    <a:pt x="6761" y="26204"/>
                  </a:cubicBezTo>
                  <a:cubicBezTo>
                    <a:pt x="6747" y="26239"/>
                    <a:pt x="6733" y="26274"/>
                    <a:pt x="6722" y="26309"/>
                  </a:cubicBezTo>
                  <a:cubicBezTo>
                    <a:pt x="6722" y="26334"/>
                    <a:pt x="6712" y="26355"/>
                    <a:pt x="6694" y="26369"/>
                  </a:cubicBezTo>
                  <a:cubicBezTo>
                    <a:pt x="6672" y="26389"/>
                    <a:pt x="6638" y="26398"/>
                    <a:pt x="6579" y="26398"/>
                  </a:cubicBezTo>
                  <a:cubicBezTo>
                    <a:pt x="6546" y="26398"/>
                    <a:pt x="6505" y="26395"/>
                    <a:pt x="6453" y="26390"/>
                  </a:cubicBezTo>
                  <a:lnTo>
                    <a:pt x="6446" y="26390"/>
                  </a:lnTo>
                  <a:lnTo>
                    <a:pt x="6334" y="26376"/>
                  </a:lnTo>
                  <a:cubicBezTo>
                    <a:pt x="6281" y="26369"/>
                    <a:pt x="6229" y="26362"/>
                    <a:pt x="6208" y="26362"/>
                  </a:cubicBezTo>
                  <a:cubicBezTo>
                    <a:pt x="6187" y="26362"/>
                    <a:pt x="6085" y="26449"/>
                    <a:pt x="6026" y="26498"/>
                  </a:cubicBezTo>
                  <a:cubicBezTo>
                    <a:pt x="5928" y="26582"/>
                    <a:pt x="5861" y="26635"/>
                    <a:pt x="5809" y="26649"/>
                  </a:cubicBezTo>
                  <a:cubicBezTo>
                    <a:pt x="5809" y="26656"/>
                    <a:pt x="5809" y="26659"/>
                    <a:pt x="5809" y="26663"/>
                  </a:cubicBezTo>
                  <a:lnTo>
                    <a:pt x="5809" y="26670"/>
                  </a:lnTo>
                  <a:lnTo>
                    <a:pt x="5809" y="26680"/>
                  </a:lnTo>
                  <a:lnTo>
                    <a:pt x="5809" y="26687"/>
                  </a:lnTo>
                  <a:cubicBezTo>
                    <a:pt x="5809" y="26691"/>
                    <a:pt x="5809" y="26698"/>
                    <a:pt x="5812" y="26705"/>
                  </a:cubicBezTo>
                  <a:lnTo>
                    <a:pt x="5812" y="26712"/>
                  </a:lnTo>
                  <a:lnTo>
                    <a:pt x="5812" y="26726"/>
                  </a:lnTo>
                  <a:lnTo>
                    <a:pt x="5812" y="26733"/>
                  </a:lnTo>
                  <a:lnTo>
                    <a:pt x="5812" y="26747"/>
                  </a:lnTo>
                  <a:lnTo>
                    <a:pt x="5816" y="26761"/>
                  </a:lnTo>
                  <a:lnTo>
                    <a:pt x="5819" y="26771"/>
                  </a:lnTo>
                  <a:cubicBezTo>
                    <a:pt x="5975" y="26744"/>
                    <a:pt x="6087" y="26734"/>
                    <a:pt x="6167" y="26734"/>
                  </a:cubicBezTo>
                  <a:cubicBezTo>
                    <a:pt x="6348" y="26734"/>
                    <a:pt x="6373" y="26785"/>
                    <a:pt x="6383" y="26806"/>
                  </a:cubicBezTo>
                  <a:cubicBezTo>
                    <a:pt x="6397" y="26831"/>
                    <a:pt x="6397" y="26859"/>
                    <a:pt x="6383" y="26883"/>
                  </a:cubicBezTo>
                  <a:cubicBezTo>
                    <a:pt x="6330" y="27023"/>
                    <a:pt x="5858" y="27216"/>
                    <a:pt x="5711" y="27276"/>
                  </a:cubicBezTo>
                  <a:cubicBezTo>
                    <a:pt x="5728" y="27293"/>
                    <a:pt x="5749" y="27311"/>
                    <a:pt x="5767" y="27328"/>
                  </a:cubicBezTo>
                  <a:cubicBezTo>
                    <a:pt x="5851" y="27398"/>
                    <a:pt x="5928" y="27465"/>
                    <a:pt x="5921" y="27545"/>
                  </a:cubicBezTo>
                  <a:cubicBezTo>
                    <a:pt x="5914" y="27622"/>
                    <a:pt x="5837" y="27657"/>
                    <a:pt x="5756" y="27696"/>
                  </a:cubicBezTo>
                  <a:cubicBezTo>
                    <a:pt x="5637" y="27752"/>
                    <a:pt x="5588" y="27783"/>
                    <a:pt x="5595" y="27843"/>
                  </a:cubicBezTo>
                  <a:cubicBezTo>
                    <a:pt x="5613" y="27916"/>
                    <a:pt x="5599" y="27993"/>
                    <a:pt x="5553" y="28053"/>
                  </a:cubicBezTo>
                  <a:cubicBezTo>
                    <a:pt x="5480" y="28140"/>
                    <a:pt x="5343" y="28154"/>
                    <a:pt x="5235" y="28154"/>
                  </a:cubicBezTo>
                  <a:cubicBezTo>
                    <a:pt x="5203" y="28154"/>
                    <a:pt x="5172" y="28158"/>
                    <a:pt x="5140" y="28168"/>
                  </a:cubicBezTo>
                  <a:cubicBezTo>
                    <a:pt x="5175" y="28193"/>
                    <a:pt x="5203" y="28228"/>
                    <a:pt x="5221" y="28263"/>
                  </a:cubicBezTo>
                  <a:cubicBezTo>
                    <a:pt x="5284" y="28389"/>
                    <a:pt x="5399" y="28473"/>
                    <a:pt x="5532" y="28501"/>
                  </a:cubicBezTo>
                  <a:cubicBezTo>
                    <a:pt x="5840" y="28578"/>
                    <a:pt x="6194" y="28833"/>
                    <a:pt x="6582" y="29257"/>
                  </a:cubicBezTo>
                  <a:cubicBezTo>
                    <a:pt x="6614" y="29285"/>
                    <a:pt x="6645" y="29313"/>
                    <a:pt x="6680" y="29334"/>
                  </a:cubicBezTo>
                  <a:lnTo>
                    <a:pt x="6684" y="29331"/>
                  </a:lnTo>
                  <a:lnTo>
                    <a:pt x="6705" y="29320"/>
                  </a:lnTo>
                  <a:lnTo>
                    <a:pt x="6726" y="29310"/>
                  </a:lnTo>
                  <a:lnTo>
                    <a:pt x="6743" y="29299"/>
                  </a:lnTo>
                  <a:lnTo>
                    <a:pt x="6761" y="29292"/>
                  </a:lnTo>
                  <a:lnTo>
                    <a:pt x="6775" y="29285"/>
                  </a:lnTo>
                  <a:lnTo>
                    <a:pt x="6793" y="29278"/>
                  </a:lnTo>
                  <a:lnTo>
                    <a:pt x="6803" y="29271"/>
                  </a:lnTo>
                  <a:lnTo>
                    <a:pt x="6817" y="29268"/>
                  </a:lnTo>
                  <a:lnTo>
                    <a:pt x="6828" y="29264"/>
                  </a:lnTo>
                  <a:lnTo>
                    <a:pt x="6838" y="29261"/>
                  </a:lnTo>
                  <a:lnTo>
                    <a:pt x="6845" y="29257"/>
                  </a:lnTo>
                  <a:lnTo>
                    <a:pt x="6856" y="29254"/>
                  </a:lnTo>
                  <a:lnTo>
                    <a:pt x="6873" y="29254"/>
                  </a:lnTo>
                  <a:cubicBezTo>
                    <a:pt x="6895" y="29250"/>
                    <a:pt x="6918" y="29249"/>
                    <a:pt x="6943" y="29249"/>
                  </a:cubicBezTo>
                  <a:cubicBezTo>
                    <a:pt x="7132" y="29249"/>
                    <a:pt x="7406" y="29339"/>
                    <a:pt x="7577" y="29457"/>
                  </a:cubicBezTo>
                  <a:cubicBezTo>
                    <a:pt x="7618" y="29488"/>
                    <a:pt x="7712" y="29497"/>
                    <a:pt x="7816" y="29497"/>
                  </a:cubicBezTo>
                  <a:cubicBezTo>
                    <a:pt x="7887" y="29497"/>
                    <a:pt x="7963" y="29492"/>
                    <a:pt x="8028" y="29488"/>
                  </a:cubicBezTo>
                  <a:cubicBezTo>
                    <a:pt x="8100" y="29485"/>
                    <a:pt x="8161" y="29482"/>
                    <a:pt x="8213" y="29482"/>
                  </a:cubicBezTo>
                  <a:cubicBezTo>
                    <a:pt x="8331" y="29482"/>
                    <a:pt x="8401" y="29495"/>
                    <a:pt x="8438" y="29544"/>
                  </a:cubicBezTo>
                  <a:cubicBezTo>
                    <a:pt x="8487" y="29607"/>
                    <a:pt x="8546" y="29660"/>
                    <a:pt x="8613" y="29702"/>
                  </a:cubicBezTo>
                  <a:cubicBezTo>
                    <a:pt x="8648" y="29723"/>
                    <a:pt x="8686" y="29733"/>
                    <a:pt x="8725" y="29737"/>
                  </a:cubicBezTo>
                  <a:cubicBezTo>
                    <a:pt x="8805" y="29737"/>
                    <a:pt x="8872" y="29796"/>
                    <a:pt x="8932" y="29852"/>
                  </a:cubicBezTo>
                  <a:cubicBezTo>
                    <a:pt x="8960" y="29877"/>
                    <a:pt x="8988" y="29901"/>
                    <a:pt x="9019" y="29919"/>
                  </a:cubicBezTo>
                  <a:lnTo>
                    <a:pt x="9026" y="29919"/>
                  </a:lnTo>
                  <a:cubicBezTo>
                    <a:pt x="9037" y="29912"/>
                    <a:pt x="9051" y="29905"/>
                    <a:pt x="9061" y="29898"/>
                  </a:cubicBezTo>
                  <a:cubicBezTo>
                    <a:pt x="9156" y="29852"/>
                    <a:pt x="9338" y="29831"/>
                    <a:pt x="9625" y="29831"/>
                  </a:cubicBezTo>
                  <a:cubicBezTo>
                    <a:pt x="9674" y="29831"/>
                    <a:pt x="9723" y="29849"/>
                    <a:pt x="9761" y="29880"/>
                  </a:cubicBezTo>
                  <a:cubicBezTo>
                    <a:pt x="9775" y="29898"/>
                    <a:pt x="9796" y="29905"/>
                    <a:pt x="9817" y="29905"/>
                  </a:cubicBezTo>
                  <a:cubicBezTo>
                    <a:pt x="9922" y="29905"/>
                    <a:pt x="9954" y="30038"/>
                    <a:pt x="9978" y="30150"/>
                  </a:cubicBezTo>
                  <a:cubicBezTo>
                    <a:pt x="9985" y="30167"/>
                    <a:pt x="9992" y="30195"/>
                    <a:pt x="9999" y="30216"/>
                  </a:cubicBezTo>
                  <a:lnTo>
                    <a:pt x="9999" y="30223"/>
                  </a:lnTo>
                  <a:cubicBezTo>
                    <a:pt x="9999" y="30230"/>
                    <a:pt x="10003" y="30234"/>
                    <a:pt x="10003" y="30241"/>
                  </a:cubicBezTo>
                  <a:lnTo>
                    <a:pt x="10003" y="30244"/>
                  </a:lnTo>
                  <a:cubicBezTo>
                    <a:pt x="10024" y="30244"/>
                    <a:pt x="10045" y="30251"/>
                    <a:pt x="10062" y="30258"/>
                  </a:cubicBezTo>
                  <a:cubicBezTo>
                    <a:pt x="10122" y="30286"/>
                    <a:pt x="10178" y="30314"/>
                    <a:pt x="10230" y="30349"/>
                  </a:cubicBezTo>
                  <a:cubicBezTo>
                    <a:pt x="10269" y="30377"/>
                    <a:pt x="10311" y="30402"/>
                    <a:pt x="10353" y="30426"/>
                  </a:cubicBezTo>
                  <a:cubicBezTo>
                    <a:pt x="10395" y="30451"/>
                    <a:pt x="10437" y="30468"/>
                    <a:pt x="10482" y="30482"/>
                  </a:cubicBezTo>
                  <a:cubicBezTo>
                    <a:pt x="10489" y="30482"/>
                    <a:pt x="10496" y="30486"/>
                    <a:pt x="10500" y="30486"/>
                  </a:cubicBezTo>
                  <a:cubicBezTo>
                    <a:pt x="10601" y="30500"/>
                    <a:pt x="10692" y="30584"/>
                    <a:pt x="10769" y="30661"/>
                  </a:cubicBezTo>
                  <a:lnTo>
                    <a:pt x="10801" y="30692"/>
                  </a:lnTo>
                  <a:cubicBezTo>
                    <a:pt x="10832" y="30724"/>
                    <a:pt x="10860" y="30752"/>
                    <a:pt x="10895" y="30780"/>
                  </a:cubicBezTo>
                  <a:cubicBezTo>
                    <a:pt x="10902" y="30776"/>
                    <a:pt x="10913" y="30776"/>
                    <a:pt x="10920" y="30776"/>
                  </a:cubicBezTo>
                  <a:lnTo>
                    <a:pt x="10924" y="30776"/>
                  </a:lnTo>
                  <a:cubicBezTo>
                    <a:pt x="10934" y="30776"/>
                    <a:pt x="10941" y="30776"/>
                    <a:pt x="10948" y="30780"/>
                  </a:cubicBezTo>
                  <a:lnTo>
                    <a:pt x="10952" y="30780"/>
                  </a:lnTo>
                  <a:cubicBezTo>
                    <a:pt x="10959" y="30780"/>
                    <a:pt x="10969" y="30783"/>
                    <a:pt x="10976" y="30787"/>
                  </a:cubicBezTo>
                  <a:lnTo>
                    <a:pt x="10980" y="30787"/>
                  </a:lnTo>
                  <a:lnTo>
                    <a:pt x="11004" y="30794"/>
                  </a:lnTo>
                  <a:lnTo>
                    <a:pt x="11008" y="30794"/>
                  </a:lnTo>
                  <a:lnTo>
                    <a:pt x="11029" y="30804"/>
                  </a:lnTo>
                  <a:cubicBezTo>
                    <a:pt x="11043" y="30808"/>
                    <a:pt x="11057" y="30818"/>
                    <a:pt x="11071" y="30822"/>
                  </a:cubicBezTo>
                  <a:lnTo>
                    <a:pt x="11081" y="30825"/>
                  </a:lnTo>
                  <a:cubicBezTo>
                    <a:pt x="11081" y="30822"/>
                    <a:pt x="11085" y="30818"/>
                    <a:pt x="11085" y="30818"/>
                  </a:cubicBezTo>
                  <a:cubicBezTo>
                    <a:pt x="11116" y="30738"/>
                    <a:pt x="11193" y="30713"/>
                    <a:pt x="11263" y="30692"/>
                  </a:cubicBezTo>
                  <a:lnTo>
                    <a:pt x="11291" y="30682"/>
                  </a:lnTo>
                  <a:lnTo>
                    <a:pt x="11302" y="30678"/>
                  </a:lnTo>
                  <a:lnTo>
                    <a:pt x="11319" y="30671"/>
                  </a:lnTo>
                  <a:lnTo>
                    <a:pt x="11330" y="30668"/>
                  </a:lnTo>
                  <a:lnTo>
                    <a:pt x="11347" y="30661"/>
                  </a:lnTo>
                  <a:lnTo>
                    <a:pt x="11354" y="30654"/>
                  </a:lnTo>
                  <a:lnTo>
                    <a:pt x="11368" y="30647"/>
                  </a:lnTo>
                  <a:lnTo>
                    <a:pt x="11375" y="30643"/>
                  </a:lnTo>
                  <a:lnTo>
                    <a:pt x="11389" y="30633"/>
                  </a:lnTo>
                  <a:lnTo>
                    <a:pt x="11396" y="30629"/>
                  </a:lnTo>
                  <a:cubicBezTo>
                    <a:pt x="11403" y="30622"/>
                    <a:pt x="11407" y="30619"/>
                    <a:pt x="11410" y="30612"/>
                  </a:cubicBezTo>
                  <a:lnTo>
                    <a:pt x="11414" y="30608"/>
                  </a:lnTo>
                  <a:cubicBezTo>
                    <a:pt x="11417" y="30601"/>
                    <a:pt x="11421" y="30598"/>
                    <a:pt x="11424" y="30594"/>
                  </a:cubicBezTo>
                  <a:cubicBezTo>
                    <a:pt x="11025" y="30104"/>
                    <a:pt x="10797" y="29786"/>
                    <a:pt x="10804" y="29625"/>
                  </a:cubicBezTo>
                  <a:cubicBezTo>
                    <a:pt x="10808" y="29569"/>
                    <a:pt x="10815" y="29520"/>
                    <a:pt x="10822" y="29471"/>
                  </a:cubicBezTo>
                  <a:cubicBezTo>
                    <a:pt x="10850" y="29275"/>
                    <a:pt x="10867" y="29148"/>
                    <a:pt x="10619" y="28935"/>
                  </a:cubicBezTo>
                  <a:cubicBezTo>
                    <a:pt x="10517" y="28847"/>
                    <a:pt x="10465" y="28760"/>
                    <a:pt x="10461" y="28665"/>
                  </a:cubicBezTo>
                  <a:cubicBezTo>
                    <a:pt x="10451" y="28511"/>
                    <a:pt x="10580" y="28382"/>
                    <a:pt x="10713" y="28242"/>
                  </a:cubicBezTo>
                  <a:cubicBezTo>
                    <a:pt x="10773" y="28182"/>
                    <a:pt x="10832" y="28119"/>
                    <a:pt x="10885" y="28053"/>
                  </a:cubicBezTo>
                  <a:cubicBezTo>
                    <a:pt x="11032" y="27864"/>
                    <a:pt x="11277" y="27748"/>
                    <a:pt x="11512" y="27636"/>
                  </a:cubicBezTo>
                  <a:cubicBezTo>
                    <a:pt x="11606" y="27591"/>
                    <a:pt x="11701" y="27549"/>
                    <a:pt x="11785" y="27500"/>
                  </a:cubicBezTo>
                  <a:cubicBezTo>
                    <a:pt x="11757" y="27486"/>
                    <a:pt x="11729" y="27468"/>
                    <a:pt x="11701" y="27458"/>
                  </a:cubicBezTo>
                  <a:cubicBezTo>
                    <a:pt x="11680" y="27447"/>
                    <a:pt x="11659" y="27437"/>
                    <a:pt x="11641" y="27426"/>
                  </a:cubicBezTo>
                  <a:cubicBezTo>
                    <a:pt x="11505" y="27360"/>
                    <a:pt x="11442" y="27293"/>
                    <a:pt x="11449" y="27220"/>
                  </a:cubicBezTo>
                  <a:cubicBezTo>
                    <a:pt x="11449" y="27213"/>
                    <a:pt x="11449" y="27206"/>
                    <a:pt x="11452" y="27199"/>
                  </a:cubicBezTo>
                  <a:cubicBezTo>
                    <a:pt x="11466" y="27149"/>
                    <a:pt x="11512" y="27111"/>
                    <a:pt x="11589" y="27090"/>
                  </a:cubicBezTo>
                  <a:cubicBezTo>
                    <a:pt x="11606" y="27086"/>
                    <a:pt x="11620" y="27079"/>
                    <a:pt x="11634" y="27072"/>
                  </a:cubicBezTo>
                  <a:cubicBezTo>
                    <a:pt x="11634" y="27069"/>
                    <a:pt x="11638" y="27069"/>
                    <a:pt x="11638" y="27069"/>
                  </a:cubicBezTo>
                  <a:cubicBezTo>
                    <a:pt x="11641" y="27037"/>
                    <a:pt x="11536" y="26915"/>
                    <a:pt x="11484" y="26859"/>
                  </a:cubicBezTo>
                  <a:cubicBezTo>
                    <a:pt x="11424" y="26789"/>
                    <a:pt x="11372" y="26715"/>
                    <a:pt x="11323" y="26638"/>
                  </a:cubicBezTo>
                  <a:lnTo>
                    <a:pt x="11305" y="26614"/>
                  </a:lnTo>
                  <a:cubicBezTo>
                    <a:pt x="11263" y="26554"/>
                    <a:pt x="11218" y="26491"/>
                    <a:pt x="11193" y="26491"/>
                  </a:cubicBezTo>
                  <a:cubicBezTo>
                    <a:pt x="11172" y="26491"/>
                    <a:pt x="11144" y="26491"/>
                    <a:pt x="11116" y="26488"/>
                  </a:cubicBezTo>
                  <a:cubicBezTo>
                    <a:pt x="11087" y="26485"/>
                    <a:pt x="11059" y="26483"/>
                    <a:pt x="11030" y="26483"/>
                  </a:cubicBezTo>
                  <a:cubicBezTo>
                    <a:pt x="10961" y="26483"/>
                    <a:pt x="10892" y="26493"/>
                    <a:pt x="10825" y="26512"/>
                  </a:cubicBezTo>
                  <a:cubicBezTo>
                    <a:pt x="10807" y="26520"/>
                    <a:pt x="10787" y="26524"/>
                    <a:pt x="10767" y="26524"/>
                  </a:cubicBezTo>
                  <a:cubicBezTo>
                    <a:pt x="10735" y="26524"/>
                    <a:pt x="10704" y="26514"/>
                    <a:pt x="10678" y="26495"/>
                  </a:cubicBezTo>
                  <a:cubicBezTo>
                    <a:pt x="10605" y="26432"/>
                    <a:pt x="10622" y="26302"/>
                    <a:pt x="10643" y="26148"/>
                  </a:cubicBezTo>
                  <a:cubicBezTo>
                    <a:pt x="10650" y="26110"/>
                    <a:pt x="10619" y="26089"/>
                    <a:pt x="10500" y="26057"/>
                  </a:cubicBezTo>
                  <a:cubicBezTo>
                    <a:pt x="10433" y="26040"/>
                    <a:pt x="10370" y="26022"/>
                    <a:pt x="10339" y="25977"/>
                  </a:cubicBezTo>
                  <a:cubicBezTo>
                    <a:pt x="10311" y="25938"/>
                    <a:pt x="10311" y="25882"/>
                    <a:pt x="10328" y="25809"/>
                  </a:cubicBezTo>
                  <a:cubicBezTo>
                    <a:pt x="10353" y="25721"/>
                    <a:pt x="10423" y="25574"/>
                    <a:pt x="10486" y="25543"/>
                  </a:cubicBezTo>
                  <a:cubicBezTo>
                    <a:pt x="10591" y="25490"/>
                    <a:pt x="10626" y="25455"/>
                    <a:pt x="10636" y="25441"/>
                  </a:cubicBezTo>
                  <a:cubicBezTo>
                    <a:pt x="10626" y="25434"/>
                    <a:pt x="10612" y="25424"/>
                    <a:pt x="10601" y="25417"/>
                  </a:cubicBezTo>
                  <a:cubicBezTo>
                    <a:pt x="10549" y="25389"/>
                    <a:pt x="10440" y="25326"/>
                    <a:pt x="10451" y="25217"/>
                  </a:cubicBezTo>
                  <a:cubicBezTo>
                    <a:pt x="10454" y="25186"/>
                    <a:pt x="10465" y="25158"/>
                    <a:pt x="10482" y="25130"/>
                  </a:cubicBezTo>
                  <a:cubicBezTo>
                    <a:pt x="10524" y="25059"/>
                    <a:pt x="10587" y="25000"/>
                    <a:pt x="10661" y="24954"/>
                  </a:cubicBezTo>
                  <a:cubicBezTo>
                    <a:pt x="10731" y="24905"/>
                    <a:pt x="10762" y="24884"/>
                    <a:pt x="10762" y="24825"/>
                  </a:cubicBezTo>
                  <a:cubicBezTo>
                    <a:pt x="10762" y="24797"/>
                    <a:pt x="10766" y="24765"/>
                    <a:pt x="10773" y="24737"/>
                  </a:cubicBezTo>
                  <a:cubicBezTo>
                    <a:pt x="10794" y="24657"/>
                    <a:pt x="10843" y="24587"/>
                    <a:pt x="10917" y="24545"/>
                  </a:cubicBezTo>
                  <a:cubicBezTo>
                    <a:pt x="10924" y="24541"/>
                    <a:pt x="10931" y="24541"/>
                    <a:pt x="10938" y="24538"/>
                  </a:cubicBezTo>
                  <a:cubicBezTo>
                    <a:pt x="10966" y="24527"/>
                    <a:pt x="10995" y="24522"/>
                    <a:pt x="11024" y="24522"/>
                  </a:cubicBezTo>
                  <a:cubicBezTo>
                    <a:pt x="11081" y="24522"/>
                    <a:pt x="11136" y="24542"/>
                    <a:pt x="11183" y="24576"/>
                  </a:cubicBezTo>
                  <a:cubicBezTo>
                    <a:pt x="11200" y="24590"/>
                    <a:pt x="11218" y="24604"/>
                    <a:pt x="11235" y="24622"/>
                  </a:cubicBezTo>
                  <a:cubicBezTo>
                    <a:pt x="11281" y="24671"/>
                    <a:pt x="11323" y="24723"/>
                    <a:pt x="11361" y="24779"/>
                  </a:cubicBezTo>
                  <a:cubicBezTo>
                    <a:pt x="11424" y="24874"/>
                    <a:pt x="11466" y="24930"/>
                    <a:pt x="11512" y="24940"/>
                  </a:cubicBezTo>
                  <a:cubicBezTo>
                    <a:pt x="11515" y="24941"/>
                    <a:pt x="11519" y="24942"/>
                    <a:pt x="11524" y="24942"/>
                  </a:cubicBezTo>
                  <a:cubicBezTo>
                    <a:pt x="11535" y="24942"/>
                    <a:pt x="11547" y="24939"/>
                    <a:pt x="11557" y="24933"/>
                  </a:cubicBezTo>
                  <a:cubicBezTo>
                    <a:pt x="11582" y="24930"/>
                    <a:pt x="11606" y="24912"/>
                    <a:pt x="11620" y="24891"/>
                  </a:cubicBezTo>
                  <a:cubicBezTo>
                    <a:pt x="11634" y="24856"/>
                    <a:pt x="11610" y="24797"/>
                    <a:pt x="11592" y="24748"/>
                  </a:cubicBezTo>
                  <a:cubicBezTo>
                    <a:pt x="11582" y="24723"/>
                    <a:pt x="11571" y="24699"/>
                    <a:pt x="11568" y="24674"/>
                  </a:cubicBezTo>
                  <a:lnTo>
                    <a:pt x="11564" y="24660"/>
                  </a:lnTo>
                  <a:cubicBezTo>
                    <a:pt x="11547" y="24590"/>
                    <a:pt x="11522" y="24499"/>
                    <a:pt x="11571" y="24419"/>
                  </a:cubicBezTo>
                  <a:cubicBezTo>
                    <a:pt x="11617" y="24356"/>
                    <a:pt x="11687" y="24314"/>
                    <a:pt x="11760" y="24303"/>
                  </a:cubicBezTo>
                  <a:cubicBezTo>
                    <a:pt x="11813" y="24293"/>
                    <a:pt x="11858" y="24258"/>
                    <a:pt x="11872" y="24205"/>
                  </a:cubicBezTo>
                  <a:lnTo>
                    <a:pt x="11883" y="24184"/>
                  </a:lnTo>
                  <a:cubicBezTo>
                    <a:pt x="11904" y="24125"/>
                    <a:pt x="11942" y="24034"/>
                    <a:pt x="12068" y="24034"/>
                  </a:cubicBezTo>
                  <a:cubicBezTo>
                    <a:pt x="12180" y="24034"/>
                    <a:pt x="12401" y="23901"/>
                    <a:pt x="12516" y="23831"/>
                  </a:cubicBezTo>
                  <a:cubicBezTo>
                    <a:pt x="12562" y="23806"/>
                    <a:pt x="12593" y="23785"/>
                    <a:pt x="12618" y="23775"/>
                  </a:cubicBezTo>
                  <a:lnTo>
                    <a:pt x="12649" y="23761"/>
                  </a:lnTo>
                  <a:cubicBezTo>
                    <a:pt x="12740" y="23708"/>
                    <a:pt x="12842" y="23666"/>
                    <a:pt x="12947" y="23642"/>
                  </a:cubicBezTo>
                  <a:cubicBezTo>
                    <a:pt x="12965" y="23637"/>
                    <a:pt x="12983" y="23634"/>
                    <a:pt x="13001" y="23634"/>
                  </a:cubicBezTo>
                  <a:cubicBezTo>
                    <a:pt x="13032" y="23634"/>
                    <a:pt x="13062" y="23641"/>
                    <a:pt x="13091" y="23652"/>
                  </a:cubicBezTo>
                  <a:cubicBezTo>
                    <a:pt x="13112" y="23663"/>
                    <a:pt x="13129" y="23673"/>
                    <a:pt x="13150" y="23687"/>
                  </a:cubicBezTo>
                  <a:cubicBezTo>
                    <a:pt x="13178" y="23705"/>
                    <a:pt x="13206" y="23719"/>
                    <a:pt x="13238" y="23729"/>
                  </a:cubicBezTo>
                  <a:cubicBezTo>
                    <a:pt x="13241" y="23731"/>
                    <a:pt x="13245" y="23732"/>
                    <a:pt x="13248" y="23732"/>
                  </a:cubicBezTo>
                  <a:cubicBezTo>
                    <a:pt x="13252" y="23732"/>
                    <a:pt x="13255" y="23731"/>
                    <a:pt x="13259" y="23729"/>
                  </a:cubicBezTo>
                  <a:cubicBezTo>
                    <a:pt x="13269" y="23726"/>
                    <a:pt x="13283" y="23708"/>
                    <a:pt x="13294" y="23684"/>
                  </a:cubicBezTo>
                  <a:cubicBezTo>
                    <a:pt x="13332" y="23594"/>
                    <a:pt x="13420" y="23542"/>
                    <a:pt x="13532" y="23542"/>
                  </a:cubicBezTo>
                  <a:cubicBezTo>
                    <a:pt x="13542" y="23542"/>
                    <a:pt x="13553" y="23543"/>
                    <a:pt x="13563" y="23544"/>
                  </a:cubicBezTo>
                  <a:cubicBezTo>
                    <a:pt x="13588" y="23547"/>
                    <a:pt x="13612" y="23551"/>
                    <a:pt x="13637" y="23558"/>
                  </a:cubicBezTo>
                  <a:cubicBezTo>
                    <a:pt x="13714" y="23579"/>
                    <a:pt x="13784" y="23624"/>
                    <a:pt x="13801" y="23687"/>
                  </a:cubicBezTo>
                  <a:cubicBezTo>
                    <a:pt x="13833" y="23708"/>
                    <a:pt x="13962" y="23733"/>
                    <a:pt x="14050" y="23747"/>
                  </a:cubicBezTo>
                  <a:cubicBezTo>
                    <a:pt x="14148" y="23761"/>
                    <a:pt x="14246" y="23785"/>
                    <a:pt x="14337" y="23813"/>
                  </a:cubicBezTo>
                  <a:cubicBezTo>
                    <a:pt x="14361" y="23824"/>
                    <a:pt x="14386" y="23834"/>
                    <a:pt x="14407" y="23848"/>
                  </a:cubicBezTo>
                  <a:lnTo>
                    <a:pt x="14466" y="23887"/>
                  </a:lnTo>
                  <a:cubicBezTo>
                    <a:pt x="14760" y="24079"/>
                    <a:pt x="14900" y="24188"/>
                    <a:pt x="14900" y="24293"/>
                  </a:cubicBezTo>
                  <a:cubicBezTo>
                    <a:pt x="14900" y="24307"/>
                    <a:pt x="14904" y="24324"/>
                    <a:pt x="14914" y="24335"/>
                  </a:cubicBezTo>
                  <a:cubicBezTo>
                    <a:pt x="14914" y="24282"/>
                    <a:pt x="14939" y="24233"/>
                    <a:pt x="14984" y="24205"/>
                  </a:cubicBezTo>
                  <a:cubicBezTo>
                    <a:pt x="15005" y="24194"/>
                    <a:pt x="15027" y="24188"/>
                    <a:pt x="15051" y="24188"/>
                  </a:cubicBezTo>
                  <a:cubicBezTo>
                    <a:pt x="15121" y="24188"/>
                    <a:pt x="15208" y="24234"/>
                    <a:pt x="15328" y="24307"/>
                  </a:cubicBezTo>
                  <a:cubicBezTo>
                    <a:pt x="15394" y="24348"/>
                    <a:pt x="15469" y="24369"/>
                    <a:pt x="15543" y="24369"/>
                  </a:cubicBezTo>
                  <a:cubicBezTo>
                    <a:pt x="15581" y="24369"/>
                    <a:pt x="15620" y="24363"/>
                    <a:pt x="15657" y="24352"/>
                  </a:cubicBezTo>
                  <a:cubicBezTo>
                    <a:pt x="15692" y="24345"/>
                    <a:pt x="15727" y="24324"/>
                    <a:pt x="15744" y="24293"/>
                  </a:cubicBezTo>
                  <a:cubicBezTo>
                    <a:pt x="15786" y="24188"/>
                    <a:pt x="15947" y="24104"/>
                    <a:pt x="16080" y="24069"/>
                  </a:cubicBezTo>
                  <a:cubicBezTo>
                    <a:pt x="16118" y="24058"/>
                    <a:pt x="16170" y="24048"/>
                    <a:pt x="16224" y="24048"/>
                  </a:cubicBezTo>
                  <a:cubicBezTo>
                    <a:pt x="16279" y="24048"/>
                    <a:pt x="16337" y="24059"/>
                    <a:pt x="16381" y="24093"/>
                  </a:cubicBezTo>
                  <a:lnTo>
                    <a:pt x="16416" y="24125"/>
                  </a:lnTo>
                  <a:cubicBezTo>
                    <a:pt x="16465" y="24165"/>
                    <a:pt x="16491" y="24187"/>
                    <a:pt x="16518" y="24187"/>
                  </a:cubicBezTo>
                  <a:cubicBezTo>
                    <a:pt x="16542" y="24187"/>
                    <a:pt x="16567" y="24167"/>
                    <a:pt x="16609" y="24125"/>
                  </a:cubicBezTo>
                  <a:cubicBezTo>
                    <a:pt x="16693" y="24050"/>
                    <a:pt x="16802" y="24008"/>
                    <a:pt x="16915" y="24008"/>
                  </a:cubicBezTo>
                  <a:cubicBezTo>
                    <a:pt x="16924" y="24008"/>
                    <a:pt x="16933" y="24009"/>
                    <a:pt x="16941" y="24009"/>
                  </a:cubicBezTo>
                  <a:cubicBezTo>
                    <a:pt x="16962" y="24009"/>
                    <a:pt x="16983" y="24013"/>
                    <a:pt x="17004" y="24013"/>
                  </a:cubicBezTo>
                  <a:cubicBezTo>
                    <a:pt x="17022" y="24013"/>
                    <a:pt x="17036" y="24020"/>
                    <a:pt x="17050" y="24023"/>
                  </a:cubicBezTo>
                  <a:cubicBezTo>
                    <a:pt x="17155" y="24048"/>
                    <a:pt x="17225" y="24100"/>
                    <a:pt x="17250" y="24174"/>
                  </a:cubicBezTo>
                  <a:cubicBezTo>
                    <a:pt x="17274" y="24233"/>
                    <a:pt x="17323" y="24275"/>
                    <a:pt x="17386" y="24282"/>
                  </a:cubicBezTo>
                  <a:cubicBezTo>
                    <a:pt x="17432" y="24294"/>
                    <a:pt x="17476" y="24301"/>
                    <a:pt x="17522" y="24301"/>
                  </a:cubicBezTo>
                  <a:cubicBezTo>
                    <a:pt x="17531" y="24301"/>
                    <a:pt x="17541" y="24300"/>
                    <a:pt x="17551" y="24300"/>
                  </a:cubicBezTo>
                  <a:cubicBezTo>
                    <a:pt x="17659" y="24300"/>
                    <a:pt x="17719" y="24380"/>
                    <a:pt x="17757" y="24433"/>
                  </a:cubicBezTo>
                  <a:cubicBezTo>
                    <a:pt x="17768" y="24447"/>
                    <a:pt x="17782" y="24461"/>
                    <a:pt x="17792" y="24475"/>
                  </a:cubicBezTo>
                  <a:cubicBezTo>
                    <a:pt x="17813" y="24447"/>
                    <a:pt x="17827" y="24412"/>
                    <a:pt x="17838" y="24377"/>
                  </a:cubicBezTo>
                  <a:cubicBezTo>
                    <a:pt x="17857" y="24310"/>
                    <a:pt x="17893" y="24202"/>
                    <a:pt x="17995" y="24202"/>
                  </a:cubicBezTo>
                  <a:cubicBezTo>
                    <a:pt x="18005" y="24202"/>
                    <a:pt x="18016" y="24203"/>
                    <a:pt x="18027" y="24205"/>
                  </a:cubicBezTo>
                  <a:cubicBezTo>
                    <a:pt x="18083" y="24223"/>
                    <a:pt x="18139" y="24247"/>
                    <a:pt x="18188" y="24286"/>
                  </a:cubicBezTo>
                  <a:lnTo>
                    <a:pt x="18216" y="24300"/>
                  </a:lnTo>
                  <a:cubicBezTo>
                    <a:pt x="18275" y="24345"/>
                    <a:pt x="18349" y="24370"/>
                    <a:pt x="18426" y="24373"/>
                  </a:cubicBezTo>
                  <a:cubicBezTo>
                    <a:pt x="18699" y="24373"/>
                    <a:pt x="18699" y="24279"/>
                    <a:pt x="18699" y="24247"/>
                  </a:cubicBezTo>
                  <a:cubicBezTo>
                    <a:pt x="18699" y="24037"/>
                    <a:pt x="18653" y="23925"/>
                    <a:pt x="18618" y="23925"/>
                  </a:cubicBezTo>
                  <a:cubicBezTo>
                    <a:pt x="18548" y="23918"/>
                    <a:pt x="18478" y="23897"/>
                    <a:pt x="18415" y="23862"/>
                  </a:cubicBezTo>
                  <a:cubicBezTo>
                    <a:pt x="18359" y="23827"/>
                    <a:pt x="18296" y="23810"/>
                    <a:pt x="18230" y="23803"/>
                  </a:cubicBezTo>
                  <a:cubicBezTo>
                    <a:pt x="18188" y="23803"/>
                    <a:pt x="18149" y="23792"/>
                    <a:pt x="18114" y="23771"/>
                  </a:cubicBezTo>
                  <a:cubicBezTo>
                    <a:pt x="18037" y="23726"/>
                    <a:pt x="17981" y="23649"/>
                    <a:pt x="17960" y="23558"/>
                  </a:cubicBezTo>
                  <a:cubicBezTo>
                    <a:pt x="17960" y="23547"/>
                    <a:pt x="17960" y="23533"/>
                    <a:pt x="17960" y="23523"/>
                  </a:cubicBezTo>
                  <a:cubicBezTo>
                    <a:pt x="17964" y="23502"/>
                    <a:pt x="17967" y="23481"/>
                    <a:pt x="17974" y="23463"/>
                  </a:cubicBezTo>
                  <a:cubicBezTo>
                    <a:pt x="17992" y="23425"/>
                    <a:pt x="18027" y="23397"/>
                    <a:pt x="18065" y="23383"/>
                  </a:cubicBezTo>
                  <a:cubicBezTo>
                    <a:pt x="18160" y="23355"/>
                    <a:pt x="18247" y="23309"/>
                    <a:pt x="18328" y="23246"/>
                  </a:cubicBezTo>
                  <a:cubicBezTo>
                    <a:pt x="18342" y="23236"/>
                    <a:pt x="18352" y="23222"/>
                    <a:pt x="18363" y="23204"/>
                  </a:cubicBezTo>
                  <a:cubicBezTo>
                    <a:pt x="18366" y="23197"/>
                    <a:pt x="18370" y="23190"/>
                    <a:pt x="18366" y="23183"/>
                  </a:cubicBezTo>
                  <a:cubicBezTo>
                    <a:pt x="18338" y="23113"/>
                    <a:pt x="18321" y="23040"/>
                    <a:pt x="18317" y="22966"/>
                  </a:cubicBezTo>
                  <a:cubicBezTo>
                    <a:pt x="18314" y="22910"/>
                    <a:pt x="18324" y="22854"/>
                    <a:pt x="18352" y="22805"/>
                  </a:cubicBezTo>
                  <a:cubicBezTo>
                    <a:pt x="18387" y="22745"/>
                    <a:pt x="18447" y="22710"/>
                    <a:pt x="18517" y="22703"/>
                  </a:cubicBezTo>
                  <a:lnTo>
                    <a:pt x="18566" y="22700"/>
                  </a:lnTo>
                  <a:cubicBezTo>
                    <a:pt x="18611" y="22693"/>
                    <a:pt x="18664" y="22689"/>
                    <a:pt x="18716" y="22686"/>
                  </a:cubicBezTo>
                  <a:cubicBezTo>
                    <a:pt x="18769" y="22682"/>
                    <a:pt x="18839" y="22679"/>
                    <a:pt x="18902" y="22672"/>
                  </a:cubicBezTo>
                  <a:lnTo>
                    <a:pt x="18961" y="22665"/>
                  </a:lnTo>
                  <a:lnTo>
                    <a:pt x="18895" y="22644"/>
                  </a:lnTo>
                  <a:cubicBezTo>
                    <a:pt x="18758" y="22598"/>
                    <a:pt x="18618" y="22553"/>
                    <a:pt x="18566" y="22462"/>
                  </a:cubicBezTo>
                  <a:cubicBezTo>
                    <a:pt x="18489" y="22336"/>
                    <a:pt x="18436" y="21996"/>
                    <a:pt x="18559" y="21916"/>
                  </a:cubicBezTo>
                  <a:cubicBezTo>
                    <a:pt x="18599" y="21894"/>
                    <a:pt x="18641" y="21884"/>
                    <a:pt x="18684" y="21884"/>
                  </a:cubicBezTo>
                  <a:cubicBezTo>
                    <a:pt x="18690" y="21884"/>
                    <a:pt x="18696" y="21884"/>
                    <a:pt x="18702" y="21884"/>
                  </a:cubicBezTo>
                  <a:cubicBezTo>
                    <a:pt x="18730" y="21884"/>
                    <a:pt x="18762" y="21888"/>
                    <a:pt x="18797" y="21891"/>
                  </a:cubicBezTo>
                  <a:cubicBezTo>
                    <a:pt x="18827" y="21895"/>
                    <a:pt x="18857" y="21897"/>
                    <a:pt x="18887" y="21897"/>
                  </a:cubicBezTo>
                  <a:cubicBezTo>
                    <a:pt x="18937" y="21897"/>
                    <a:pt x="18987" y="21892"/>
                    <a:pt x="19035" y="21881"/>
                  </a:cubicBezTo>
                  <a:cubicBezTo>
                    <a:pt x="19084" y="21871"/>
                    <a:pt x="19133" y="21865"/>
                    <a:pt x="19181" y="21865"/>
                  </a:cubicBezTo>
                  <a:cubicBezTo>
                    <a:pt x="19216" y="21865"/>
                    <a:pt x="19250" y="21868"/>
                    <a:pt x="19284" y="21874"/>
                  </a:cubicBezTo>
                  <a:cubicBezTo>
                    <a:pt x="19331" y="21877"/>
                    <a:pt x="19380" y="21881"/>
                    <a:pt x="19428" y="21881"/>
                  </a:cubicBezTo>
                  <a:cubicBezTo>
                    <a:pt x="19518" y="21881"/>
                    <a:pt x="19606" y="21868"/>
                    <a:pt x="19672" y="21818"/>
                  </a:cubicBezTo>
                  <a:cubicBezTo>
                    <a:pt x="19893" y="21653"/>
                    <a:pt x="20351" y="21636"/>
                    <a:pt x="20537" y="21636"/>
                  </a:cubicBezTo>
                  <a:cubicBezTo>
                    <a:pt x="20649" y="21636"/>
                    <a:pt x="20750" y="21594"/>
                    <a:pt x="20848" y="21548"/>
                  </a:cubicBezTo>
                  <a:cubicBezTo>
                    <a:pt x="20925" y="21510"/>
                    <a:pt x="21002" y="21485"/>
                    <a:pt x="21086" y="21468"/>
                  </a:cubicBezTo>
                  <a:cubicBezTo>
                    <a:pt x="21377" y="21426"/>
                    <a:pt x="21752" y="21366"/>
                    <a:pt x="21846" y="21328"/>
                  </a:cubicBezTo>
                  <a:cubicBezTo>
                    <a:pt x="21923" y="21303"/>
                    <a:pt x="22000" y="21282"/>
                    <a:pt x="22077" y="21268"/>
                  </a:cubicBezTo>
                  <a:cubicBezTo>
                    <a:pt x="22112" y="21261"/>
                    <a:pt x="22161" y="21251"/>
                    <a:pt x="22214" y="21237"/>
                  </a:cubicBezTo>
                  <a:lnTo>
                    <a:pt x="22298" y="21216"/>
                  </a:lnTo>
                  <a:cubicBezTo>
                    <a:pt x="22434" y="21181"/>
                    <a:pt x="22578" y="21139"/>
                    <a:pt x="22609" y="21104"/>
                  </a:cubicBezTo>
                  <a:cubicBezTo>
                    <a:pt x="22623" y="21058"/>
                    <a:pt x="22655" y="21020"/>
                    <a:pt x="22700" y="20999"/>
                  </a:cubicBezTo>
                  <a:lnTo>
                    <a:pt x="22721" y="20985"/>
                  </a:lnTo>
                  <a:cubicBezTo>
                    <a:pt x="22841" y="20925"/>
                    <a:pt x="23056" y="20879"/>
                    <a:pt x="23218" y="20879"/>
                  </a:cubicBezTo>
                  <a:cubicBezTo>
                    <a:pt x="23284" y="20879"/>
                    <a:pt x="23341" y="20887"/>
                    <a:pt x="23380" y="20904"/>
                  </a:cubicBezTo>
                  <a:cubicBezTo>
                    <a:pt x="23487" y="20953"/>
                    <a:pt x="23586" y="20978"/>
                    <a:pt x="23663" y="20978"/>
                  </a:cubicBezTo>
                  <a:cubicBezTo>
                    <a:pt x="23697" y="20978"/>
                    <a:pt x="23726" y="20973"/>
                    <a:pt x="23751" y="20964"/>
                  </a:cubicBezTo>
                  <a:cubicBezTo>
                    <a:pt x="23778" y="20952"/>
                    <a:pt x="23807" y="20947"/>
                    <a:pt x="23838" y="20947"/>
                  </a:cubicBezTo>
                  <a:cubicBezTo>
                    <a:pt x="23930" y="20947"/>
                    <a:pt x="24032" y="20992"/>
                    <a:pt x="24097" y="21048"/>
                  </a:cubicBezTo>
                  <a:cubicBezTo>
                    <a:pt x="24171" y="21111"/>
                    <a:pt x="24206" y="21184"/>
                    <a:pt x="24192" y="21254"/>
                  </a:cubicBezTo>
                  <a:cubicBezTo>
                    <a:pt x="24185" y="21307"/>
                    <a:pt x="24213" y="21373"/>
                    <a:pt x="24241" y="21436"/>
                  </a:cubicBezTo>
                  <a:cubicBezTo>
                    <a:pt x="24276" y="21499"/>
                    <a:pt x="24293" y="21566"/>
                    <a:pt x="24290" y="21639"/>
                  </a:cubicBezTo>
                  <a:cubicBezTo>
                    <a:pt x="24283" y="21688"/>
                    <a:pt x="24262" y="21737"/>
                    <a:pt x="24230" y="21776"/>
                  </a:cubicBezTo>
                  <a:cubicBezTo>
                    <a:pt x="24220" y="21786"/>
                    <a:pt x="24213" y="21797"/>
                    <a:pt x="24209" y="21811"/>
                  </a:cubicBezTo>
                  <a:lnTo>
                    <a:pt x="24209" y="21814"/>
                  </a:lnTo>
                  <a:lnTo>
                    <a:pt x="24216" y="21818"/>
                  </a:lnTo>
                  <a:cubicBezTo>
                    <a:pt x="24237" y="21829"/>
                    <a:pt x="24259" y="21836"/>
                    <a:pt x="24284" y="21836"/>
                  </a:cubicBezTo>
                  <a:cubicBezTo>
                    <a:pt x="24290" y="21836"/>
                    <a:pt x="24295" y="21836"/>
                    <a:pt x="24300" y="21835"/>
                  </a:cubicBezTo>
                  <a:cubicBezTo>
                    <a:pt x="24416" y="21835"/>
                    <a:pt x="24563" y="21786"/>
                    <a:pt x="24615" y="21734"/>
                  </a:cubicBezTo>
                  <a:cubicBezTo>
                    <a:pt x="24643" y="21696"/>
                    <a:pt x="24687" y="21674"/>
                    <a:pt x="24733" y="21674"/>
                  </a:cubicBezTo>
                  <a:cubicBezTo>
                    <a:pt x="24751" y="21674"/>
                    <a:pt x="24769" y="21678"/>
                    <a:pt x="24787" y="21685"/>
                  </a:cubicBezTo>
                  <a:cubicBezTo>
                    <a:pt x="24874" y="21727"/>
                    <a:pt x="24930" y="21814"/>
                    <a:pt x="24934" y="21909"/>
                  </a:cubicBezTo>
                  <a:cubicBezTo>
                    <a:pt x="24937" y="21916"/>
                    <a:pt x="24941" y="21923"/>
                    <a:pt x="24944" y="21926"/>
                  </a:cubicBezTo>
                  <a:cubicBezTo>
                    <a:pt x="24948" y="21930"/>
                    <a:pt x="24955" y="21933"/>
                    <a:pt x="24962" y="21937"/>
                  </a:cubicBezTo>
                  <a:cubicBezTo>
                    <a:pt x="24962" y="21891"/>
                    <a:pt x="24993" y="21849"/>
                    <a:pt x="25035" y="21832"/>
                  </a:cubicBezTo>
                  <a:cubicBezTo>
                    <a:pt x="25049" y="21828"/>
                    <a:pt x="25060" y="21828"/>
                    <a:pt x="25074" y="21825"/>
                  </a:cubicBezTo>
                  <a:lnTo>
                    <a:pt x="25091" y="21825"/>
                  </a:lnTo>
                  <a:cubicBezTo>
                    <a:pt x="25105" y="21825"/>
                    <a:pt x="25119" y="21828"/>
                    <a:pt x="25133" y="21828"/>
                  </a:cubicBezTo>
                  <a:cubicBezTo>
                    <a:pt x="25207" y="21846"/>
                    <a:pt x="25277" y="21884"/>
                    <a:pt x="25329" y="21937"/>
                  </a:cubicBezTo>
                  <a:lnTo>
                    <a:pt x="25336" y="21937"/>
                  </a:lnTo>
                  <a:cubicBezTo>
                    <a:pt x="25364" y="21933"/>
                    <a:pt x="25389" y="21930"/>
                    <a:pt x="25417" y="21923"/>
                  </a:cubicBezTo>
                  <a:cubicBezTo>
                    <a:pt x="25452" y="21913"/>
                    <a:pt x="25488" y="21905"/>
                    <a:pt x="25520" y="21905"/>
                  </a:cubicBezTo>
                  <a:cubicBezTo>
                    <a:pt x="25549" y="21905"/>
                    <a:pt x="25576" y="21912"/>
                    <a:pt x="25599" y="21930"/>
                  </a:cubicBezTo>
                  <a:cubicBezTo>
                    <a:pt x="25624" y="21951"/>
                    <a:pt x="25638" y="21982"/>
                    <a:pt x="25638" y="22017"/>
                  </a:cubicBezTo>
                  <a:cubicBezTo>
                    <a:pt x="25638" y="22098"/>
                    <a:pt x="25568" y="22154"/>
                    <a:pt x="25498" y="22210"/>
                  </a:cubicBezTo>
                  <a:cubicBezTo>
                    <a:pt x="25473" y="22227"/>
                    <a:pt x="25452" y="22248"/>
                    <a:pt x="25427" y="22269"/>
                  </a:cubicBezTo>
                  <a:cubicBezTo>
                    <a:pt x="25417" y="22276"/>
                    <a:pt x="25410" y="22287"/>
                    <a:pt x="25406" y="22301"/>
                  </a:cubicBezTo>
                  <a:cubicBezTo>
                    <a:pt x="25410" y="22304"/>
                    <a:pt x="25410" y="22308"/>
                    <a:pt x="25413" y="22311"/>
                  </a:cubicBezTo>
                  <a:lnTo>
                    <a:pt x="25420" y="22318"/>
                  </a:lnTo>
                  <a:cubicBezTo>
                    <a:pt x="25434" y="22330"/>
                    <a:pt x="25443" y="22338"/>
                    <a:pt x="25454" y="22338"/>
                  </a:cubicBezTo>
                  <a:cubicBezTo>
                    <a:pt x="25471" y="22338"/>
                    <a:pt x="25493" y="22323"/>
                    <a:pt x="25540" y="22287"/>
                  </a:cubicBezTo>
                  <a:cubicBezTo>
                    <a:pt x="25589" y="22248"/>
                    <a:pt x="25654" y="22197"/>
                    <a:pt x="25737" y="22197"/>
                  </a:cubicBezTo>
                  <a:cubicBezTo>
                    <a:pt x="25759" y="22197"/>
                    <a:pt x="25784" y="22201"/>
                    <a:pt x="25809" y="22210"/>
                  </a:cubicBezTo>
                  <a:cubicBezTo>
                    <a:pt x="25825" y="22213"/>
                    <a:pt x="25840" y="22215"/>
                    <a:pt x="25854" y="22215"/>
                  </a:cubicBezTo>
                  <a:cubicBezTo>
                    <a:pt x="25869" y="22215"/>
                    <a:pt x="25883" y="22213"/>
                    <a:pt x="25897" y="22210"/>
                  </a:cubicBezTo>
                  <a:lnTo>
                    <a:pt x="25904" y="22210"/>
                  </a:lnTo>
                  <a:lnTo>
                    <a:pt x="25918" y="22203"/>
                  </a:lnTo>
                  <a:cubicBezTo>
                    <a:pt x="25960" y="22189"/>
                    <a:pt x="26002" y="22168"/>
                    <a:pt x="26037" y="22147"/>
                  </a:cubicBezTo>
                  <a:cubicBezTo>
                    <a:pt x="26068" y="22129"/>
                    <a:pt x="26096" y="22108"/>
                    <a:pt x="26124" y="22091"/>
                  </a:cubicBezTo>
                  <a:cubicBezTo>
                    <a:pt x="26201" y="22038"/>
                    <a:pt x="26282" y="21996"/>
                    <a:pt x="26369" y="21968"/>
                  </a:cubicBezTo>
                  <a:cubicBezTo>
                    <a:pt x="26478" y="21944"/>
                    <a:pt x="26597" y="21863"/>
                    <a:pt x="26705" y="21790"/>
                  </a:cubicBezTo>
                  <a:cubicBezTo>
                    <a:pt x="26754" y="21755"/>
                    <a:pt x="26803" y="21723"/>
                    <a:pt x="26849" y="21695"/>
                  </a:cubicBezTo>
                  <a:cubicBezTo>
                    <a:pt x="26916" y="21655"/>
                    <a:pt x="27018" y="21633"/>
                    <a:pt x="27111" y="21633"/>
                  </a:cubicBezTo>
                  <a:cubicBezTo>
                    <a:pt x="27198" y="21633"/>
                    <a:pt x="27277" y="21653"/>
                    <a:pt x="27311" y="21695"/>
                  </a:cubicBezTo>
                  <a:cubicBezTo>
                    <a:pt x="27342" y="21741"/>
                    <a:pt x="27335" y="21800"/>
                    <a:pt x="27293" y="21832"/>
                  </a:cubicBezTo>
                  <a:cubicBezTo>
                    <a:pt x="27258" y="21867"/>
                    <a:pt x="27206" y="21930"/>
                    <a:pt x="27220" y="21986"/>
                  </a:cubicBezTo>
                  <a:cubicBezTo>
                    <a:pt x="27234" y="22042"/>
                    <a:pt x="27307" y="22094"/>
                    <a:pt x="27426" y="22136"/>
                  </a:cubicBezTo>
                  <a:cubicBezTo>
                    <a:pt x="27549" y="22192"/>
                    <a:pt x="27658" y="22269"/>
                    <a:pt x="27749" y="22367"/>
                  </a:cubicBezTo>
                  <a:cubicBezTo>
                    <a:pt x="27983" y="22602"/>
                    <a:pt x="28207" y="22952"/>
                    <a:pt x="28375" y="23215"/>
                  </a:cubicBezTo>
                  <a:cubicBezTo>
                    <a:pt x="28407" y="23264"/>
                    <a:pt x="28438" y="23309"/>
                    <a:pt x="28463" y="23351"/>
                  </a:cubicBezTo>
                  <a:cubicBezTo>
                    <a:pt x="28568" y="23523"/>
                    <a:pt x="28659" y="23698"/>
                    <a:pt x="28743" y="23876"/>
                  </a:cubicBezTo>
                  <a:cubicBezTo>
                    <a:pt x="28820" y="24044"/>
                    <a:pt x="28932" y="24272"/>
                    <a:pt x="28981" y="24303"/>
                  </a:cubicBezTo>
                  <a:cubicBezTo>
                    <a:pt x="29016" y="24272"/>
                    <a:pt x="29040" y="24230"/>
                    <a:pt x="29058" y="24188"/>
                  </a:cubicBezTo>
                  <a:cubicBezTo>
                    <a:pt x="29110" y="24090"/>
                    <a:pt x="29166" y="23981"/>
                    <a:pt x="29278" y="23957"/>
                  </a:cubicBezTo>
                  <a:cubicBezTo>
                    <a:pt x="29293" y="23953"/>
                    <a:pt x="29306" y="23952"/>
                    <a:pt x="29320" y="23952"/>
                  </a:cubicBezTo>
                  <a:cubicBezTo>
                    <a:pt x="29421" y="23952"/>
                    <a:pt x="29497" y="24040"/>
                    <a:pt x="29565" y="24118"/>
                  </a:cubicBezTo>
                  <a:cubicBezTo>
                    <a:pt x="29618" y="24181"/>
                    <a:pt x="29674" y="24247"/>
                    <a:pt x="29730" y="24258"/>
                  </a:cubicBezTo>
                  <a:cubicBezTo>
                    <a:pt x="29779" y="24268"/>
                    <a:pt x="29828" y="24282"/>
                    <a:pt x="29884" y="24300"/>
                  </a:cubicBezTo>
                  <a:cubicBezTo>
                    <a:pt x="29980" y="24326"/>
                    <a:pt x="30083" y="24355"/>
                    <a:pt x="30162" y="24355"/>
                  </a:cubicBezTo>
                  <a:cubicBezTo>
                    <a:pt x="30186" y="24355"/>
                    <a:pt x="30209" y="24352"/>
                    <a:pt x="30227" y="24345"/>
                  </a:cubicBezTo>
                  <a:cubicBezTo>
                    <a:pt x="30259" y="24335"/>
                    <a:pt x="30301" y="24317"/>
                    <a:pt x="30346" y="24296"/>
                  </a:cubicBezTo>
                  <a:cubicBezTo>
                    <a:pt x="30501" y="24227"/>
                    <a:pt x="30633" y="24172"/>
                    <a:pt x="30732" y="24172"/>
                  </a:cubicBezTo>
                  <a:cubicBezTo>
                    <a:pt x="30768" y="24172"/>
                    <a:pt x="30799" y="24179"/>
                    <a:pt x="30826" y="24195"/>
                  </a:cubicBezTo>
                  <a:cubicBezTo>
                    <a:pt x="30850" y="24205"/>
                    <a:pt x="30875" y="24216"/>
                    <a:pt x="30899" y="24226"/>
                  </a:cubicBezTo>
                  <a:cubicBezTo>
                    <a:pt x="31043" y="24272"/>
                    <a:pt x="31155" y="24377"/>
                    <a:pt x="31207" y="24517"/>
                  </a:cubicBezTo>
                  <a:cubicBezTo>
                    <a:pt x="31295" y="24723"/>
                    <a:pt x="31417" y="24755"/>
                    <a:pt x="31484" y="24755"/>
                  </a:cubicBezTo>
                  <a:cubicBezTo>
                    <a:pt x="31550" y="24755"/>
                    <a:pt x="31669" y="24790"/>
                    <a:pt x="31669" y="25028"/>
                  </a:cubicBezTo>
                  <a:cubicBezTo>
                    <a:pt x="31669" y="25080"/>
                    <a:pt x="31810" y="25189"/>
                    <a:pt x="31876" y="25189"/>
                  </a:cubicBezTo>
                  <a:cubicBezTo>
                    <a:pt x="31981" y="25189"/>
                    <a:pt x="32219" y="25154"/>
                    <a:pt x="32279" y="25116"/>
                  </a:cubicBezTo>
                  <a:cubicBezTo>
                    <a:pt x="32336" y="25084"/>
                    <a:pt x="32393" y="25055"/>
                    <a:pt x="32446" y="25055"/>
                  </a:cubicBezTo>
                  <a:cubicBezTo>
                    <a:pt x="32464" y="25055"/>
                    <a:pt x="32482" y="25058"/>
                    <a:pt x="32499" y="25066"/>
                  </a:cubicBezTo>
                  <a:cubicBezTo>
                    <a:pt x="32534" y="25084"/>
                    <a:pt x="32559" y="25116"/>
                    <a:pt x="32566" y="25154"/>
                  </a:cubicBezTo>
                  <a:lnTo>
                    <a:pt x="32566" y="25158"/>
                  </a:lnTo>
                  <a:cubicBezTo>
                    <a:pt x="32566" y="25161"/>
                    <a:pt x="32569" y="25172"/>
                    <a:pt x="32569" y="25179"/>
                  </a:cubicBezTo>
                  <a:cubicBezTo>
                    <a:pt x="32587" y="25242"/>
                    <a:pt x="32622" y="25301"/>
                    <a:pt x="32667" y="25347"/>
                  </a:cubicBezTo>
                  <a:cubicBezTo>
                    <a:pt x="32692" y="25375"/>
                    <a:pt x="32723" y="25399"/>
                    <a:pt x="32755" y="25413"/>
                  </a:cubicBezTo>
                  <a:lnTo>
                    <a:pt x="32797" y="25413"/>
                  </a:lnTo>
                  <a:cubicBezTo>
                    <a:pt x="32828" y="25413"/>
                    <a:pt x="32860" y="25420"/>
                    <a:pt x="32891" y="25427"/>
                  </a:cubicBezTo>
                  <a:cubicBezTo>
                    <a:pt x="32923" y="25434"/>
                    <a:pt x="32951" y="25441"/>
                    <a:pt x="32979" y="25445"/>
                  </a:cubicBezTo>
                  <a:lnTo>
                    <a:pt x="33010" y="25445"/>
                  </a:lnTo>
                  <a:lnTo>
                    <a:pt x="33010" y="25438"/>
                  </a:lnTo>
                  <a:lnTo>
                    <a:pt x="33010" y="25434"/>
                  </a:lnTo>
                  <a:lnTo>
                    <a:pt x="33014" y="25427"/>
                  </a:lnTo>
                  <a:lnTo>
                    <a:pt x="33017" y="25420"/>
                  </a:lnTo>
                  <a:lnTo>
                    <a:pt x="33021" y="25417"/>
                  </a:lnTo>
                  <a:lnTo>
                    <a:pt x="33024" y="25410"/>
                  </a:lnTo>
                  <a:lnTo>
                    <a:pt x="33031" y="25403"/>
                  </a:lnTo>
                  <a:lnTo>
                    <a:pt x="33035" y="25399"/>
                  </a:lnTo>
                  <a:lnTo>
                    <a:pt x="33042" y="25392"/>
                  </a:lnTo>
                  <a:lnTo>
                    <a:pt x="33049" y="25385"/>
                  </a:lnTo>
                  <a:lnTo>
                    <a:pt x="33052" y="25382"/>
                  </a:lnTo>
                  <a:lnTo>
                    <a:pt x="33063" y="25375"/>
                  </a:lnTo>
                  <a:lnTo>
                    <a:pt x="33070" y="25371"/>
                  </a:lnTo>
                  <a:lnTo>
                    <a:pt x="33084" y="25364"/>
                  </a:lnTo>
                  <a:lnTo>
                    <a:pt x="33087" y="25361"/>
                  </a:lnTo>
                  <a:lnTo>
                    <a:pt x="33105" y="25350"/>
                  </a:lnTo>
                  <a:lnTo>
                    <a:pt x="33108" y="25347"/>
                  </a:lnTo>
                  <a:lnTo>
                    <a:pt x="33129" y="25340"/>
                  </a:lnTo>
                  <a:lnTo>
                    <a:pt x="33133" y="25340"/>
                  </a:lnTo>
                  <a:lnTo>
                    <a:pt x="33157" y="25329"/>
                  </a:lnTo>
                  <a:lnTo>
                    <a:pt x="33161" y="25329"/>
                  </a:lnTo>
                  <a:cubicBezTo>
                    <a:pt x="33248" y="25301"/>
                    <a:pt x="33336" y="25280"/>
                    <a:pt x="33427" y="25266"/>
                  </a:cubicBezTo>
                  <a:cubicBezTo>
                    <a:pt x="33668" y="25224"/>
                    <a:pt x="33847" y="25151"/>
                    <a:pt x="33879" y="25077"/>
                  </a:cubicBezTo>
                  <a:cubicBezTo>
                    <a:pt x="33928" y="24968"/>
                    <a:pt x="34050" y="24926"/>
                    <a:pt x="34159" y="24888"/>
                  </a:cubicBezTo>
                  <a:cubicBezTo>
                    <a:pt x="34222" y="24867"/>
                    <a:pt x="34285" y="24846"/>
                    <a:pt x="34309" y="24818"/>
                  </a:cubicBezTo>
                  <a:cubicBezTo>
                    <a:pt x="34316" y="24811"/>
                    <a:pt x="34323" y="24804"/>
                    <a:pt x="34327" y="24797"/>
                  </a:cubicBezTo>
                  <a:cubicBezTo>
                    <a:pt x="34383" y="24755"/>
                    <a:pt x="34442" y="24716"/>
                    <a:pt x="34505" y="24688"/>
                  </a:cubicBezTo>
                  <a:cubicBezTo>
                    <a:pt x="34565" y="24657"/>
                    <a:pt x="34642" y="24622"/>
                    <a:pt x="34656" y="24590"/>
                  </a:cubicBezTo>
                  <a:cubicBezTo>
                    <a:pt x="34698" y="24510"/>
                    <a:pt x="34803" y="24489"/>
                    <a:pt x="34904" y="24464"/>
                  </a:cubicBezTo>
                  <a:cubicBezTo>
                    <a:pt x="34946" y="24457"/>
                    <a:pt x="34988" y="24447"/>
                    <a:pt x="35030" y="24426"/>
                  </a:cubicBezTo>
                  <a:cubicBezTo>
                    <a:pt x="35055" y="24366"/>
                    <a:pt x="35132" y="24335"/>
                    <a:pt x="35216" y="24321"/>
                  </a:cubicBezTo>
                  <a:cubicBezTo>
                    <a:pt x="35256" y="24314"/>
                    <a:pt x="35296" y="24311"/>
                    <a:pt x="35336" y="24311"/>
                  </a:cubicBezTo>
                  <a:cubicBezTo>
                    <a:pt x="35382" y="24311"/>
                    <a:pt x="35427" y="24315"/>
                    <a:pt x="35471" y="24324"/>
                  </a:cubicBezTo>
                  <a:lnTo>
                    <a:pt x="35492" y="24328"/>
                  </a:lnTo>
                  <a:cubicBezTo>
                    <a:pt x="35621" y="24365"/>
                    <a:pt x="36122" y="24458"/>
                    <a:pt x="36216" y="24458"/>
                  </a:cubicBezTo>
                  <a:cubicBezTo>
                    <a:pt x="36219" y="24458"/>
                    <a:pt x="36222" y="24458"/>
                    <a:pt x="36224" y="24457"/>
                  </a:cubicBezTo>
                  <a:cubicBezTo>
                    <a:pt x="36231" y="24456"/>
                    <a:pt x="36238" y="24456"/>
                    <a:pt x="36244" y="24456"/>
                  </a:cubicBezTo>
                  <a:cubicBezTo>
                    <a:pt x="36327" y="24456"/>
                    <a:pt x="36359" y="24559"/>
                    <a:pt x="36389" y="24650"/>
                  </a:cubicBezTo>
                  <a:cubicBezTo>
                    <a:pt x="36399" y="24692"/>
                    <a:pt x="36413" y="24730"/>
                    <a:pt x="36434" y="24765"/>
                  </a:cubicBezTo>
                  <a:cubicBezTo>
                    <a:pt x="36487" y="24786"/>
                    <a:pt x="36539" y="24811"/>
                    <a:pt x="36585" y="24842"/>
                  </a:cubicBezTo>
                  <a:cubicBezTo>
                    <a:pt x="36651" y="24881"/>
                    <a:pt x="36784" y="24954"/>
                    <a:pt x="36826" y="24954"/>
                  </a:cubicBezTo>
                  <a:cubicBezTo>
                    <a:pt x="36885" y="24906"/>
                    <a:pt x="36994" y="24859"/>
                    <a:pt x="37114" y="24859"/>
                  </a:cubicBezTo>
                  <a:cubicBezTo>
                    <a:pt x="37186" y="24859"/>
                    <a:pt x="37262" y="24876"/>
                    <a:pt x="37334" y="24919"/>
                  </a:cubicBezTo>
                  <a:cubicBezTo>
                    <a:pt x="37358" y="24933"/>
                    <a:pt x="37383" y="24947"/>
                    <a:pt x="37407" y="24965"/>
                  </a:cubicBezTo>
                  <a:cubicBezTo>
                    <a:pt x="37474" y="25003"/>
                    <a:pt x="37558" y="25059"/>
                    <a:pt x="37603" y="25066"/>
                  </a:cubicBezTo>
                  <a:lnTo>
                    <a:pt x="37621" y="25066"/>
                  </a:lnTo>
                  <a:cubicBezTo>
                    <a:pt x="37621" y="25066"/>
                    <a:pt x="37624" y="25066"/>
                    <a:pt x="37631" y="25056"/>
                  </a:cubicBezTo>
                  <a:cubicBezTo>
                    <a:pt x="37673" y="24979"/>
                    <a:pt x="37782" y="24933"/>
                    <a:pt x="37897" y="24895"/>
                  </a:cubicBezTo>
                  <a:lnTo>
                    <a:pt x="37947" y="24877"/>
                  </a:lnTo>
                  <a:cubicBezTo>
                    <a:pt x="37996" y="24863"/>
                    <a:pt x="38045" y="24846"/>
                    <a:pt x="38090" y="24821"/>
                  </a:cubicBezTo>
                  <a:cubicBezTo>
                    <a:pt x="38125" y="24772"/>
                    <a:pt x="38157" y="24622"/>
                    <a:pt x="38115" y="24590"/>
                  </a:cubicBezTo>
                  <a:cubicBezTo>
                    <a:pt x="38020" y="24513"/>
                    <a:pt x="37943" y="24268"/>
                    <a:pt x="37911" y="24146"/>
                  </a:cubicBezTo>
                  <a:cubicBezTo>
                    <a:pt x="37904" y="24128"/>
                    <a:pt x="37901" y="24114"/>
                    <a:pt x="37897" y="24100"/>
                  </a:cubicBezTo>
                  <a:cubicBezTo>
                    <a:pt x="37869" y="23985"/>
                    <a:pt x="37968" y="23918"/>
                    <a:pt x="38038" y="23873"/>
                  </a:cubicBezTo>
                  <a:cubicBezTo>
                    <a:pt x="38076" y="23848"/>
                    <a:pt x="38118" y="23820"/>
                    <a:pt x="38125" y="23792"/>
                  </a:cubicBezTo>
                  <a:cubicBezTo>
                    <a:pt x="38153" y="23691"/>
                    <a:pt x="38255" y="23652"/>
                    <a:pt x="38339" y="23617"/>
                  </a:cubicBezTo>
                  <a:cubicBezTo>
                    <a:pt x="38370" y="23607"/>
                    <a:pt x="38402" y="23589"/>
                    <a:pt x="38433" y="23572"/>
                  </a:cubicBezTo>
                  <a:cubicBezTo>
                    <a:pt x="38447" y="23551"/>
                    <a:pt x="38461" y="23530"/>
                    <a:pt x="38472" y="23505"/>
                  </a:cubicBezTo>
                  <a:cubicBezTo>
                    <a:pt x="38502" y="23454"/>
                    <a:pt x="38548" y="23369"/>
                    <a:pt x="38643" y="23369"/>
                  </a:cubicBezTo>
                  <a:cubicBezTo>
                    <a:pt x="38658" y="23369"/>
                    <a:pt x="38674" y="23371"/>
                    <a:pt x="38692" y="23376"/>
                  </a:cubicBezTo>
                  <a:cubicBezTo>
                    <a:pt x="38706" y="23379"/>
                    <a:pt x="39049" y="23477"/>
                    <a:pt x="39123" y="23554"/>
                  </a:cubicBezTo>
                  <a:cubicBezTo>
                    <a:pt x="39151" y="23579"/>
                    <a:pt x="39298" y="23614"/>
                    <a:pt x="39417" y="23614"/>
                  </a:cubicBezTo>
                  <a:cubicBezTo>
                    <a:pt x="39536" y="23614"/>
                    <a:pt x="39707" y="23701"/>
                    <a:pt x="39854" y="23785"/>
                  </a:cubicBezTo>
                  <a:cubicBezTo>
                    <a:pt x="39921" y="23813"/>
                    <a:pt x="39991" y="23827"/>
                    <a:pt x="40065" y="23838"/>
                  </a:cubicBezTo>
                  <a:cubicBezTo>
                    <a:pt x="40215" y="23862"/>
                    <a:pt x="40359" y="23887"/>
                    <a:pt x="40411" y="23967"/>
                  </a:cubicBezTo>
                  <a:cubicBezTo>
                    <a:pt x="40453" y="24030"/>
                    <a:pt x="40450" y="24125"/>
                    <a:pt x="40446" y="24226"/>
                  </a:cubicBezTo>
                  <a:cubicBezTo>
                    <a:pt x="40446" y="24303"/>
                    <a:pt x="40443" y="24401"/>
                    <a:pt x="40471" y="24433"/>
                  </a:cubicBezTo>
                  <a:cubicBezTo>
                    <a:pt x="40583" y="24562"/>
                    <a:pt x="40688" y="24660"/>
                    <a:pt x="40733" y="24671"/>
                  </a:cubicBezTo>
                  <a:cubicBezTo>
                    <a:pt x="40749" y="24662"/>
                    <a:pt x="40767" y="24658"/>
                    <a:pt x="40787" y="24658"/>
                  </a:cubicBezTo>
                  <a:cubicBezTo>
                    <a:pt x="40848" y="24658"/>
                    <a:pt x="40927" y="24693"/>
                    <a:pt x="41024" y="24737"/>
                  </a:cubicBezTo>
                  <a:cubicBezTo>
                    <a:pt x="41087" y="24769"/>
                    <a:pt x="41153" y="24793"/>
                    <a:pt x="41220" y="24811"/>
                  </a:cubicBezTo>
                  <a:cubicBezTo>
                    <a:pt x="41223" y="24813"/>
                    <a:pt x="41227" y="24814"/>
                    <a:pt x="41230" y="24814"/>
                  </a:cubicBezTo>
                  <a:cubicBezTo>
                    <a:pt x="41233" y="24814"/>
                    <a:pt x="41236" y="24813"/>
                    <a:pt x="41237" y="24811"/>
                  </a:cubicBezTo>
                  <a:cubicBezTo>
                    <a:pt x="41290" y="24797"/>
                    <a:pt x="41339" y="24769"/>
                    <a:pt x="41384" y="24737"/>
                  </a:cubicBezTo>
                  <a:lnTo>
                    <a:pt x="41405" y="24723"/>
                  </a:lnTo>
                  <a:cubicBezTo>
                    <a:pt x="41489" y="24667"/>
                    <a:pt x="41566" y="24618"/>
                    <a:pt x="41636" y="24618"/>
                  </a:cubicBezTo>
                  <a:cubicBezTo>
                    <a:pt x="41699" y="24611"/>
                    <a:pt x="41762" y="24601"/>
                    <a:pt x="41825" y="24590"/>
                  </a:cubicBezTo>
                  <a:cubicBezTo>
                    <a:pt x="41913" y="24569"/>
                    <a:pt x="42004" y="24559"/>
                    <a:pt x="42092" y="24552"/>
                  </a:cubicBezTo>
                  <a:cubicBezTo>
                    <a:pt x="42109" y="24552"/>
                    <a:pt x="42130" y="24552"/>
                    <a:pt x="42148" y="24555"/>
                  </a:cubicBezTo>
                  <a:cubicBezTo>
                    <a:pt x="42197" y="24566"/>
                    <a:pt x="42246" y="24576"/>
                    <a:pt x="42295" y="24594"/>
                  </a:cubicBezTo>
                  <a:lnTo>
                    <a:pt x="42323" y="24601"/>
                  </a:lnTo>
                  <a:cubicBezTo>
                    <a:pt x="42407" y="24625"/>
                    <a:pt x="42557" y="24671"/>
                    <a:pt x="42605" y="24671"/>
                  </a:cubicBezTo>
                  <a:cubicBezTo>
                    <a:pt x="42607" y="24671"/>
                    <a:pt x="42608" y="24671"/>
                    <a:pt x="42610" y="24671"/>
                  </a:cubicBezTo>
                  <a:cubicBezTo>
                    <a:pt x="42633" y="24660"/>
                    <a:pt x="42665" y="24656"/>
                    <a:pt x="42700" y="24656"/>
                  </a:cubicBezTo>
                  <a:cubicBezTo>
                    <a:pt x="42788" y="24656"/>
                    <a:pt x="42892" y="24682"/>
                    <a:pt x="42897" y="24685"/>
                  </a:cubicBezTo>
                  <a:cubicBezTo>
                    <a:pt x="43016" y="24716"/>
                    <a:pt x="43089" y="24758"/>
                    <a:pt x="43117" y="24814"/>
                  </a:cubicBezTo>
                  <a:cubicBezTo>
                    <a:pt x="43135" y="24835"/>
                    <a:pt x="43233" y="24860"/>
                    <a:pt x="43296" y="24874"/>
                  </a:cubicBezTo>
                  <a:cubicBezTo>
                    <a:pt x="43432" y="24909"/>
                    <a:pt x="43576" y="24944"/>
                    <a:pt x="43576" y="25056"/>
                  </a:cubicBezTo>
                  <a:cubicBezTo>
                    <a:pt x="43576" y="25080"/>
                    <a:pt x="43635" y="25126"/>
                    <a:pt x="43684" y="25161"/>
                  </a:cubicBezTo>
                  <a:cubicBezTo>
                    <a:pt x="43758" y="25203"/>
                    <a:pt x="43817" y="25263"/>
                    <a:pt x="43859" y="25336"/>
                  </a:cubicBezTo>
                  <a:cubicBezTo>
                    <a:pt x="43884" y="25371"/>
                    <a:pt x="44069" y="25378"/>
                    <a:pt x="44178" y="25382"/>
                  </a:cubicBezTo>
                  <a:lnTo>
                    <a:pt x="44196" y="25382"/>
                  </a:lnTo>
                  <a:cubicBezTo>
                    <a:pt x="44371" y="25389"/>
                    <a:pt x="44483" y="25396"/>
                    <a:pt x="44539" y="25441"/>
                  </a:cubicBezTo>
                  <a:cubicBezTo>
                    <a:pt x="44574" y="25459"/>
                    <a:pt x="44612" y="25469"/>
                    <a:pt x="44654" y="25473"/>
                  </a:cubicBezTo>
                  <a:cubicBezTo>
                    <a:pt x="44720" y="25480"/>
                    <a:pt x="44787" y="25483"/>
                    <a:pt x="44853" y="25483"/>
                  </a:cubicBezTo>
                  <a:cubicBezTo>
                    <a:pt x="44951" y="25483"/>
                    <a:pt x="45050" y="25475"/>
                    <a:pt x="45148" y="25459"/>
                  </a:cubicBezTo>
                  <a:cubicBezTo>
                    <a:pt x="45155" y="25459"/>
                    <a:pt x="45165" y="25455"/>
                    <a:pt x="45172" y="25455"/>
                  </a:cubicBezTo>
                  <a:cubicBezTo>
                    <a:pt x="45176" y="25445"/>
                    <a:pt x="45186" y="25434"/>
                    <a:pt x="45197" y="25427"/>
                  </a:cubicBezTo>
                  <a:cubicBezTo>
                    <a:pt x="45207" y="25420"/>
                    <a:pt x="45221" y="25413"/>
                    <a:pt x="45235" y="25406"/>
                  </a:cubicBezTo>
                  <a:cubicBezTo>
                    <a:pt x="45333" y="25378"/>
                    <a:pt x="45431" y="25357"/>
                    <a:pt x="45533" y="25347"/>
                  </a:cubicBezTo>
                  <a:cubicBezTo>
                    <a:pt x="45627" y="25329"/>
                    <a:pt x="45743" y="25312"/>
                    <a:pt x="45820" y="25291"/>
                  </a:cubicBezTo>
                  <a:cubicBezTo>
                    <a:pt x="45848" y="25287"/>
                    <a:pt x="45876" y="25277"/>
                    <a:pt x="45897" y="25263"/>
                  </a:cubicBezTo>
                  <a:cubicBezTo>
                    <a:pt x="45960" y="25217"/>
                    <a:pt x="46051" y="25203"/>
                    <a:pt x="46138" y="25189"/>
                  </a:cubicBezTo>
                  <a:cubicBezTo>
                    <a:pt x="46194" y="25179"/>
                    <a:pt x="46293" y="25165"/>
                    <a:pt x="46310" y="25144"/>
                  </a:cubicBezTo>
                  <a:cubicBezTo>
                    <a:pt x="46324" y="25038"/>
                    <a:pt x="46457" y="24972"/>
                    <a:pt x="46597" y="24905"/>
                  </a:cubicBezTo>
                  <a:cubicBezTo>
                    <a:pt x="46657" y="24877"/>
                    <a:pt x="46716" y="24846"/>
                    <a:pt x="46772" y="24811"/>
                  </a:cubicBezTo>
                  <a:cubicBezTo>
                    <a:pt x="46844" y="24756"/>
                    <a:pt x="46990" y="24733"/>
                    <a:pt x="47132" y="24733"/>
                  </a:cubicBezTo>
                  <a:cubicBezTo>
                    <a:pt x="47245" y="24733"/>
                    <a:pt x="47356" y="24748"/>
                    <a:pt x="47427" y="24772"/>
                  </a:cubicBezTo>
                  <a:cubicBezTo>
                    <a:pt x="47500" y="24797"/>
                    <a:pt x="47542" y="24828"/>
                    <a:pt x="47553" y="24877"/>
                  </a:cubicBezTo>
                  <a:cubicBezTo>
                    <a:pt x="47556" y="24877"/>
                    <a:pt x="47556" y="24881"/>
                    <a:pt x="47556" y="24881"/>
                  </a:cubicBezTo>
                  <a:cubicBezTo>
                    <a:pt x="47567" y="24891"/>
                    <a:pt x="47577" y="24902"/>
                    <a:pt x="47591" y="24905"/>
                  </a:cubicBezTo>
                  <a:cubicBezTo>
                    <a:pt x="47657" y="24934"/>
                    <a:pt x="47726" y="24948"/>
                    <a:pt x="47796" y="24948"/>
                  </a:cubicBezTo>
                  <a:cubicBezTo>
                    <a:pt x="47803" y="24948"/>
                    <a:pt x="47811" y="24948"/>
                    <a:pt x="47819" y="24947"/>
                  </a:cubicBezTo>
                  <a:cubicBezTo>
                    <a:pt x="47857" y="24947"/>
                    <a:pt x="47899" y="24940"/>
                    <a:pt x="47938" y="24930"/>
                  </a:cubicBezTo>
                  <a:cubicBezTo>
                    <a:pt x="47952" y="24926"/>
                    <a:pt x="47966" y="24923"/>
                    <a:pt x="47980" y="24919"/>
                  </a:cubicBezTo>
                  <a:lnTo>
                    <a:pt x="47990" y="24919"/>
                  </a:lnTo>
                  <a:cubicBezTo>
                    <a:pt x="48004" y="24916"/>
                    <a:pt x="48018" y="24912"/>
                    <a:pt x="48032" y="24912"/>
                  </a:cubicBezTo>
                  <a:cubicBezTo>
                    <a:pt x="48044" y="24912"/>
                    <a:pt x="48056" y="24912"/>
                    <a:pt x="48068" y="24912"/>
                  </a:cubicBezTo>
                  <a:cubicBezTo>
                    <a:pt x="48154" y="24912"/>
                    <a:pt x="48240" y="24923"/>
                    <a:pt x="48323" y="24951"/>
                  </a:cubicBezTo>
                  <a:lnTo>
                    <a:pt x="48344" y="24958"/>
                  </a:lnTo>
                  <a:cubicBezTo>
                    <a:pt x="48365" y="24965"/>
                    <a:pt x="48386" y="24975"/>
                    <a:pt x="48404" y="24982"/>
                  </a:cubicBezTo>
                  <a:lnTo>
                    <a:pt x="48442" y="25000"/>
                  </a:lnTo>
                  <a:lnTo>
                    <a:pt x="48442" y="25003"/>
                  </a:lnTo>
                  <a:lnTo>
                    <a:pt x="48449" y="25007"/>
                  </a:lnTo>
                  <a:lnTo>
                    <a:pt x="48467" y="25017"/>
                  </a:lnTo>
                  <a:lnTo>
                    <a:pt x="48474" y="25021"/>
                  </a:lnTo>
                  <a:cubicBezTo>
                    <a:pt x="48491" y="25035"/>
                    <a:pt x="48509" y="25052"/>
                    <a:pt x="48519" y="25070"/>
                  </a:cubicBezTo>
                  <a:cubicBezTo>
                    <a:pt x="48526" y="25077"/>
                    <a:pt x="48533" y="25087"/>
                    <a:pt x="48537" y="25095"/>
                  </a:cubicBezTo>
                  <a:cubicBezTo>
                    <a:pt x="48560" y="25151"/>
                    <a:pt x="48809" y="25213"/>
                    <a:pt x="48935" y="25213"/>
                  </a:cubicBezTo>
                  <a:cubicBezTo>
                    <a:pt x="48957" y="25213"/>
                    <a:pt x="48976" y="25211"/>
                    <a:pt x="48988" y="25207"/>
                  </a:cubicBezTo>
                  <a:lnTo>
                    <a:pt x="49002" y="25200"/>
                  </a:lnTo>
                  <a:cubicBezTo>
                    <a:pt x="49041" y="25182"/>
                    <a:pt x="49111" y="25140"/>
                    <a:pt x="49177" y="25098"/>
                  </a:cubicBezTo>
                  <a:cubicBezTo>
                    <a:pt x="49335" y="25003"/>
                    <a:pt x="49443" y="24937"/>
                    <a:pt x="49517" y="24926"/>
                  </a:cubicBezTo>
                  <a:cubicBezTo>
                    <a:pt x="49587" y="24916"/>
                    <a:pt x="49650" y="24877"/>
                    <a:pt x="49692" y="24821"/>
                  </a:cubicBezTo>
                  <a:cubicBezTo>
                    <a:pt x="49699" y="24814"/>
                    <a:pt x="49702" y="24807"/>
                    <a:pt x="49702" y="24797"/>
                  </a:cubicBezTo>
                  <a:cubicBezTo>
                    <a:pt x="49706" y="24790"/>
                    <a:pt x="49706" y="24779"/>
                    <a:pt x="49702" y="24769"/>
                  </a:cubicBezTo>
                  <a:cubicBezTo>
                    <a:pt x="49678" y="24681"/>
                    <a:pt x="49744" y="24559"/>
                    <a:pt x="49856" y="24373"/>
                  </a:cubicBezTo>
                  <a:cubicBezTo>
                    <a:pt x="49891" y="24314"/>
                    <a:pt x="49926" y="24254"/>
                    <a:pt x="49947" y="24209"/>
                  </a:cubicBezTo>
                  <a:cubicBezTo>
                    <a:pt x="49954" y="24195"/>
                    <a:pt x="49958" y="24184"/>
                    <a:pt x="49961" y="24170"/>
                  </a:cubicBezTo>
                  <a:cubicBezTo>
                    <a:pt x="49993" y="24048"/>
                    <a:pt x="50175" y="23743"/>
                    <a:pt x="50294" y="23638"/>
                  </a:cubicBezTo>
                  <a:cubicBezTo>
                    <a:pt x="50308" y="23624"/>
                    <a:pt x="50322" y="23614"/>
                    <a:pt x="50339" y="23607"/>
                  </a:cubicBezTo>
                  <a:cubicBezTo>
                    <a:pt x="50424" y="23572"/>
                    <a:pt x="50550" y="23446"/>
                    <a:pt x="50543" y="23404"/>
                  </a:cubicBezTo>
                  <a:cubicBezTo>
                    <a:pt x="50532" y="23316"/>
                    <a:pt x="50511" y="23232"/>
                    <a:pt x="50483" y="23148"/>
                  </a:cubicBezTo>
                  <a:cubicBezTo>
                    <a:pt x="50476" y="23117"/>
                    <a:pt x="50462" y="23092"/>
                    <a:pt x="50441" y="23071"/>
                  </a:cubicBezTo>
                  <a:lnTo>
                    <a:pt x="50434" y="23071"/>
                  </a:lnTo>
                  <a:cubicBezTo>
                    <a:pt x="50371" y="23071"/>
                    <a:pt x="50276" y="23071"/>
                    <a:pt x="50234" y="22994"/>
                  </a:cubicBezTo>
                  <a:cubicBezTo>
                    <a:pt x="50196" y="22917"/>
                    <a:pt x="50231" y="22826"/>
                    <a:pt x="50346" y="22675"/>
                  </a:cubicBezTo>
                  <a:cubicBezTo>
                    <a:pt x="50511" y="22451"/>
                    <a:pt x="50758" y="22412"/>
                    <a:pt x="50926" y="22412"/>
                  </a:cubicBezTo>
                  <a:cubicBezTo>
                    <a:pt x="50984" y="22412"/>
                    <a:pt x="51032" y="22416"/>
                    <a:pt x="51064" y="22420"/>
                  </a:cubicBezTo>
                  <a:lnTo>
                    <a:pt x="51092" y="22420"/>
                  </a:lnTo>
                  <a:cubicBezTo>
                    <a:pt x="51099" y="22420"/>
                    <a:pt x="51159" y="22413"/>
                    <a:pt x="51204" y="22402"/>
                  </a:cubicBezTo>
                  <a:cubicBezTo>
                    <a:pt x="51344" y="22377"/>
                    <a:pt x="51556" y="22338"/>
                    <a:pt x="51731" y="22338"/>
                  </a:cubicBezTo>
                  <a:cubicBezTo>
                    <a:pt x="51802" y="22338"/>
                    <a:pt x="51866" y="22344"/>
                    <a:pt x="51918" y="22360"/>
                  </a:cubicBezTo>
                  <a:cubicBezTo>
                    <a:pt x="51978" y="22374"/>
                    <a:pt x="52037" y="22381"/>
                    <a:pt x="52097" y="22381"/>
                  </a:cubicBezTo>
                  <a:lnTo>
                    <a:pt x="52153" y="22381"/>
                  </a:lnTo>
                  <a:cubicBezTo>
                    <a:pt x="52166" y="22381"/>
                    <a:pt x="52179" y="22380"/>
                    <a:pt x="52193" y="22380"/>
                  </a:cubicBezTo>
                  <a:cubicBezTo>
                    <a:pt x="52257" y="22380"/>
                    <a:pt x="52323" y="22387"/>
                    <a:pt x="52384" y="22399"/>
                  </a:cubicBezTo>
                  <a:lnTo>
                    <a:pt x="52412" y="22406"/>
                  </a:lnTo>
                  <a:lnTo>
                    <a:pt x="52436" y="22413"/>
                  </a:lnTo>
                  <a:cubicBezTo>
                    <a:pt x="52450" y="22420"/>
                    <a:pt x="52468" y="22427"/>
                    <a:pt x="52486" y="22434"/>
                  </a:cubicBezTo>
                  <a:lnTo>
                    <a:pt x="52489" y="22434"/>
                  </a:lnTo>
                  <a:cubicBezTo>
                    <a:pt x="52507" y="22441"/>
                    <a:pt x="52528" y="22451"/>
                    <a:pt x="52545" y="22462"/>
                  </a:cubicBezTo>
                  <a:cubicBezTo>
                    <a:pt x="52654" y="22518"/>
                    <a:pt x="52790" y="22539"/>
                    <a:pt x="52909" y="22556"/>
                  </a:cubicBezTo>
                  <a:cubicBezTo>
                    <a:pt x="53053" y="22577"/>
                    <a:pt x="53172" y="22595"/>
                    <a:pt x="53231" y="22675"/>
                  </a:cubicBezTo>
                  <a:cubicBezTo>
                    <a:pt x="53270" y="22714"/>
                    <a:pt x="53312" y="22745"/>
                    <a:pt x="53357" y="22773"/>
                  </a:cubicBezTo>
                  <a:cubicBezTo>
                    <a:pt x="53469" y="22847"/>
                    <a:pt x="53620" y="22948"/>
                    <a:pt x="53602" y="23103"/>
                  </a:cubicBezTo>
                  <a:cubicBezTo>
                    <a:pt x="53602" y="23113"/>
                    <a:pt x="53599" y="23124"/>
                    <a:pt x="53599" y="23134"/>
                  </a:cubicBezTo>
                  <a:cubicBezTo>
                    <a:pt x="53595" y="23141"/>
                    <a:pt x="53595" y="23152"/>
                    <a:pt x="53592" y="23159"/>
                  </a:cubicBezTo>
                  <a:cubicBezTo>
                    <a:pt x="53592" y="23180"/>
                    <a:pt x="53599" y="23187"/>
                    <a:pt x="53637" y="23215"/>
                  </a:cubicBezTo>
                  <a:cubicBezTo>
                    <a:pt x="53704" y="23267"/>
                    <a:pt x="53809" y="23348"/>
                    <a:pt x="53858" y="23607"/>
                  </a:cubicBezTo>
                  <a:cubicBezTo>
                    <a:pt x="53882" y="23764"/>
                    <a:pt x="53952" y="23915"/>
                    <a:pt x="54057" y="24037"/>
                  </a:cubicBezTo>
                  <a:cubicBezTo>
                    <a:pt x="54117" y="24097"/>
                    <a:pt x="54155" y="24170"/>
                    <a:pt x="54180" y="24247"/>
                  </a:cubicBezTo>
                  <a:cubicBezTo>
                    <a:pt x="54183" y="24258"/>
                    <a:pt x="54187" y="24268"/>
                    <a:pt x="54190" y="24279"/>
                  </a:cubicBezTo>
                  <a:cubicBezTo>
                    <a:pt x="54225" y="24370"/>
                    <a:pt x="54267" y="24461"/>
                    <a:pt x="54316" y="24545"/>
                  </a:cubicBezTo>
                  <a:cubicBezTo>
                    <a:pt x="54404" y="24713"/>
                    <a:pt x="54463" y="24828"/>
                    <a:pt x="54460" y="24912"/>
                  </a:cubicBezTo>
                  <a:cubicBezTo>
                    <a:pt x="54460" y="24923"/>
                    <a:pt x="54460" y="24933"/>
                    <a:pt x="54456" y="24944"/>
                  </a:cubicBezTo>
                  <a:cubicBezTo>
                    <a:pt x="54442" y="24982"/>
                    <a:pt x="54439" y="25021"/>
                    <a:pt x="54435" y="25056"/>
                  </a:cubicBezTo>
                  <a:cubicBezTo>
                    <a:pt x="54435" y="25063"/>
                    <a:pt x="54439" y="25070"/>
                    <a:pt x="54439" y="25077"/>
                  </a:cubicBezTo>
                  <a:cubicBezTo>
                    <a:pt x="54442" y="25091"/>
                    <a:pt x="54446" y="25105"/>
                    <a:pt x="54453" y="25116"/>
                  </a:cubicBezTo>
                  <a:cubicBezTo>
                    <a:pt x="54481" y="25154"/>
                    <a:pt x="54551" y="25168"/>
                    <a:pt x="54607" y="25168"/>
                  </a:cubicBezTo>
                  <a:cubicBezTo>
                    <a:pt x="54782" y="25179"/>
                    <a:pt x="54929" y="25263"/>
                    <a:pt x="55027" y="25319"/>
                  </a:cubicBezTo>
                  <a:cubicBezTo>
                    <a:pt x="55055" y="25336"/>
                    <a:pt x="55080" y="25350"/>
                    <a:pt x="55108" y="25364"/>
                  </a:cubicBezTo>
                  <a:lnTo>
                    <a:pt x="55118" y="25368"/>
                  </a:lnTo>
                  <a:cubicBezTo>
                    <a:pt x="55133" y="25362"/>
                    <a:pt x="55150" y="25360"/>
                    <a:pt x="55171" y="25360"/>
                  </a:cubicBezTo>
                  <a:cubicBezTo>
                    <a:pt x="55316" y="25360"/>
                    <a:pt x="55589" y="25485"/>
                    <a:pt x="55731" y="25627"/>
                  </a:cubicBezTo>
                  <a:cubicBezTo>
                    <a:pt x="55769" y="25662"/>
                    <a:pt x="55815" y="25686"/>
                    <a:pt x="55867" y="25700"/>
                  </a:cubicBezTo>
                  <a:cubicBezTo>
                    <a:pt x="55899" y="25711"/>
                    <a:pt x="55927" y="25721"/>
                    <a:pt x="55958" y="25728"/>
                  </a:cubicBezTo>
                  <a:cubicBezTo>
                    <a:pt x="55983" y="25735"/>
                    <a:pt x="56004" y="25742"/>
                    <a:pt x="56028" y="25749"/>
                  </a:cubicBezTo>
                  <a:cubicBezTo>
                    <a:pt x="56102" y="25777"/>
                    <a:pt x="56172" y="25823"/>
                    <a:pt x="56161" y="25942"/>
                  </a:cubicBezTo>
                  <a:cubicBezTo>
                    <a:pt x="56161" y="26019"/>
                    <a:pt x="56182" y="26096"/>
                    <a:pt x="56217" y="26166"/>
                  </a:cubicBezTo>
                  <a:cubicBezTo>
                    <a:pt x="56256" y="26239"/>
                    <a:pt x="56277" y="26327"/>
                    <a:pt x="56273" y="26411"/>
                  </a:cubicBezTo>
                  <a:cubicBezTo>
                    <a:pt x="56277" y="26428"/>
                    <a:pt x="56284" y="26442"/>
                    <a:pt x="56298" y="26453"/>
                  </a:cubicBezTo>
                  <a:cubicBezTo>
                    <a:pt x="56305" y="26463"/>
                    <a:pt x="56319" y="26470"/>
                    <a:pt x="56329" y="26477"/>
                  </a:cubicBezTo>
                  <a:cubicBezTo>
                    <a:pt x="56427" y="26529"/>
                    <a:pt x="56531" y="26555"/>
                    <a:pt x="56639" y="26555"/>
                  </a:cubicBezTo>
                  <a:cubicBezTo>
                    <a:pt x="56663" y="26555"/>
                    <a:pt x="56687" y="26553"/>
                    <a:pt x="56711" y="26551"/>
                  </a:cubicBezTo>
                  <a:lnTo>
                    <a:pt x="56736" y="26551"/>
                  </a:lnTo>
                  <a:cubicBezTo>
                    <a:pt x="56771" y="26546"/>
                    <a:pt x="56806" y="26543"/>
                    <a:pt x="56843" y="26543"/>
                  </a:cubicBezTo>
                  <a:cubicBezTo>
                    <a:pt x="56879" y="26543"/>
                    <a:pt x="56916" y="26546"/>
                    <a:pt x="56953" y="26551"/>
                  </a:cubicBezTo>
                  <a:cubicBezTo>
                    <a:pt x="56984" y="26551"/>
                    <a:pt x="57012" y="26554"/>
                    <a:pt x="57037" y="26554"/>
                  </a:cubicBezTo>
                  <a:cubicBezTo>
                    <a:pt x="57042" y="26555"/>
                    <a:pt x="57047" y="26555"/>
                    <a:pt x="57052" y="26555"/>
                  </a:cubicBezTo>
                  <a:cubicBezTo>
                    <a:pt x="57103" y="26555"/>
                    <a:pt x="57151" y="26525"/>
                    <a:pt x="57170" y="26474"/>
                  </a:cubicBezTo>
                  <a:cubicBezTo>
                    <a:pt x="57229" y="26358"/>
                    <a:pt x="57341" y="26320"/>
                    <a:pt x="57450" y="26302"/>
                  </a:cubicBezTo>
                  <a:cubicBezTo>
                    <a:pt x="57488" y="26295"/>
                    <a:pt x="57523" y="26292"/>
                    <a:pt x="57558" y="26288"/>
                  </a:cubicBezTo>
                  <a:cubicBezTo>
                    <a:pt x="57618" y="26288"/>
                    <a:pt x="57674" y="26278"/>
                    <a:pt x="57723" y="26257"/>
                  </a:cubicBezTo>
                  <a:lnTo>
                    <a:pt x="57740" y="26243"/>
                  </a:lnTo>
                  <a:cubicBezTo>
                    <a:pt x="57824" y="26194"/>
                    <a:pt x="57915" y="26166"/>
                    <a:pt x="58013" y="26159"/>
                  </a:cubicBezTo>
                  <a:cubicBezTo>
                    <a:pt x="58062" y="26159"/>
                    <a:pt x="58111" y="26169"/>
                    <a:pt x="58157" y="26190"/>
                  </a:cubicBezTo>
                  <a:cubicBezTo>
                    <a:pt x="58209" y="26222"/>
                    <a:pt x="58272" y="26285"/>
                    <a:pt x="58265" y="26425"/>
                  </a:cubicBezTo>
                  <a:cubicBezTo>
                    <a:pt x="58262" y="26512"/>
                    <a:pt x="58276" y="26600"/>
                    <a:pt x="58314" y="26677"/>
                  </a:cubicBezTo>
                  <a:cubicBezTo>
                    <a:pt x="58321" y="26691"/>
                    <a:pt x="58328" y="26705"/>
                    <a:pt x="58332" y="26719"/>
                  </a:cubicBezTo>
                  <a:cubicBezTo>
                    <a:pt x="58335" y="26729"/>
                    <a:pt x="58339" y="26740"/>
                    <a:pt x="58342" y="26750"/>
                  </a:cubicBezTo>
                  <a:cubicBezTo>
                    <a:pt x="58342" y="26764"/>
                    <a:pt x="58346" y="26775"/>
                    <a:pt x="58346" y="26785"/>
                  </a:cubicBezTo>
                  <a:cubicBezTo>
                    <a:pt x="58346" y="26834"/>
                    <a:pt x="58325" y="26883"/>
                    <a:pt x="58248" y="26929"/>
                  </a:cubicBezTo>
                  <a:cubicBezTo>
                    <a:pt x="58136" y="26999"/>
                    <a:pt x="58055" y="27321"/>
                    <a:pt x="58013" y="27493"/>
                  </a:cubicBezTo>
                  <a:cubicBezTo>
                    <a:pt x="58003" y="27528"/>
                    <a:pt x="57996" y="27559"/>
                    <a:pt x="57989" y="27587"/>
                  </a:cubicBezTo>
                  <a:cubicBezTo>
                    <a:pt x="57961" y="27692"/>
                    <a:pt x="57880" y="27759"/>
                    <a:pt x="57810" y="27815"/>
                  </a:cubicBezTo>
                  <a:cubicBezTo>
                    <a:pt x="57740" y="27874"/>
                    <a:pt x="57677" y="27923"/>
                    <a:pt x="57667" y="28000"/>
                  </a:cubicBezTo>
                  <a:cubicBezTo>
                    <a:pt x="57646" y="28126"/>
                    <a:pt x="57562" y="28193"/>
                    <a:pt x="57492" y="28242"/>
                  </a:cubicBezTo>
                  <a:cubicBezTo>
                    <a:pt x="57432" y="28287"/>
                    <a:pt x="57408" y="28312"/>
                    <a:pt x="57408" y="28347"/>
                  </a:cubicBezTo>
                  <a:cubicBezTo>
                    <a:pt x="57408" y="28403"/>
                    <a:pt x="57373" y="28455"/>
                    <a:pt x="57324" y="28480"/>
                  </a:cubicBezTo>
                  <a:cubicBezTo>
                    <a:pt x="57284" y="28500"/>
                    <a:pt x="57234" y="28509"/>
                    <a:pt x="57180" y="28509"/>
                  </a:cubicBezTo>
                  <a:cubicBezTo>
                    <a:pt x="57056" y="28509"/>
                    <a:pt x="56910" y="28463"/>
                    <a:pt x="56820" y="28399"/>
                  </a:cubicBezTo>
                  <a:cubicBezTo>
                    <a:pt x="56809" y="28392"/>
                    <a:pt x="56797" y="28388"/>
                    <a:pt x="56785" y="28388"/>
                  </a:cubicBezTo>
                  <a:cubicBezTo>
                    <a:pt x="56746" y="28388"/>
                    <a:pt x="56696" y="28425"/>
                    <a:pt x="56617" y="28497"/>
                  </a:cubicBezTo>
                  <a:cubicBezTo>
                    <a:pt x="56546" y="28560"/>
                    <a:pt x="56480" y="28623"/>
                    <a:pt x="56403" y="28623"/>
                  </a:cubicBezTo>
                  <a:cubicBezTo>
                    <a:pt x="56399" y="28623"/>
                    <a:pt x="56396" y="28623"/>
                    <a:pt x="56392" y="28630"/>
                  </a:cubicBezTo>
                  <a:cubicBezTo>
                    <a:pt x="56357" y="28676"/>
                    <a:pt x="56357" y="28830"/>
                    <a:pt x="56385" y="28928"/>
                  </a:cubicBezTo>
                  <a:cubicBezTo>
                    <a:pt x="56392" y="28956"/>
                    <a:pt x="56396" y="28984"/>
                    <a:pt x="56396" y="29015"/>
                  </a:cubicBezTo>
                  <a:cubicBezTo>
                    <a:pt x="56396" y="29043"/>
                    <a:pt x="56392" y="29071"/>
                    <a:pt x="56389" y="29103"/>
                  </a:cubicBezTo>
                  <a:cubicBezTo>
                    <a:pt x="56389" y="29124"/>
                    <a:pt x="56385" y="29145"/>
                    <a:pt x="56385" y="29166"/>
                  </a:cubicBezTo>
                  <a:lnTo>
                    <a:pt x="56385" y="29197"/>
                  </a:lnTo>
                  <a:cubicBezTo>
                    <a:pt x="56382" y="29257"/>
                    <a:pt x="56396" y="29317"/>
                    <a:pt x="56417" y="29373"/>
                  </a:cubicBezTo>
                  <a:cubicBezTo>
                    <a:pt x="56448" y="29446"/>
                    <a:pt x="56448" y="29551"/>
                    <a:pt x="56452" y="29670"/>
                  </a:cubicBezTo>
                  <a:cubicBezTo>
                    <a:pt x="56452" y="29712"/>
                    <a:pt x="56452" y="29754"/>
                    <a:pt x="56452" y="29800"/>
                  </a:cubicBezTo>
                  <a:cubicBezTo>
                    <a:pt x="56641" y="29674"/>
                    <a:pt x="56774" y="29607"/>
                    <a:pt x="56851" y="29607"/>
                  </a:cubicBezTo>
                  <a:cubicBezTo>
                    <a:pt x="56974" y="29607"/>
                    <a:pt x="57086" y="29702"/>
                    <a:pt x="57194" y="29793"/>
                  </a:cubicBezTo>
                  <a:cubicBezTo>
                    <a:pt x="57289" y="29877"/>
                    <a:pt x="57390" y="29961"/>
                    <a:pt x="57481" y="29964"/>
                  </a:cubicBezTo>
                  <a:lnTo>
                    <a:pt x="57485" y="29964"/>
                  </a:lnTo>
                  <a:cubicBezTo>
                    <a:pt x="57674" y="29964"/>
                    <a:pt x="58605" y="29359"/>
                    <a:pt x="58678" y="29222"/>
                  </a:cubicBezTo>
                  <a:cubicBezTo>
                    <a:pt x="58693" y="29127"/>
                    <a:pt x="58868" y="28935"/>
                    <a:pt x="59333" y="28466"/>
                  </a:cubicBezTo>
                  <a:cubicBezTo>
                    <a:pt x="59424" y="28368"/>
                    <a:pt x="59515" y="28277"/>
                    <a:pt x="59585" y="28207"/>
                  </a:cubicBezTo>
                  <a:cubicBezTo>
                    <a:pt x="59813" y="27962"/>
                    <a:pt x="60219" y="27507"/>
                    <a:pt x="60373" y="27149"/>
                  </a:cubicBezTo>
                  <a:cubicBezTo>
                    <a:pt x="60429" y="27016"/>
                    <a:pt x="60597" y="26817"/>
                    <a:pt x="60744" y="26638"/>
                  </a:cubicBezTo>
                  <a:cubicBezTo>
                    <a:pt x="60821" y="26551"/>
                    <a:pt x="60891" y="26460"/>
                    <a:pt x="60958" y="26365"/>
                  </a:cubicBezTo>
                  <a:cubicBezTo>
                    <a:pt x="60986" y="26320"/>
                    <a:pt x="61017" y="26274"/>
                    <a:pt x="61052" y="26229"/>
                  </a:cubicBezTo>
                  <a:cubicBezTo>
                    <a:pt x="61150" y="26103"/>
                    <a:pt x="61231" y="25963"/>
                    <a:pt x="61294" y="25812"/>
                  </a:cubicBezTo>
                  <a:cubicBezTo>
                    <a:pt x="61399" y="25585"/>
                    <a:pt x="61441" y="25098"/>
                    <a:pt x="61469" y="24776"/>
                  </a:cubicBezTo>
                  <a:cubicBezTo>
                    <a:pt x="61497" y="24471"/>
                    <a:pt x="61504" y="24394"/>
                    <a:pt x="61539" y="24359"/>
                  </a:cubicBezTo>
                  <a:cubicBezTo>
                    <a:pt x="61553" y="24324"/>
                    <a:pt x="61560" y="24289"/>
                    <a:pt x="61563" y="24254"/>
                  </a:cubicBezTo>
                  <a:cubicBezTo>
                    <a:pt x="61567" y="24170"/>
                    <a:pt x="61595" y="24090"/>
                    <a:pt x="61640" y="24023"/>
                  </a:cubicBezTo>
                  <a:cubicBezTo>
                    <a:pt x="61665" y="23985"/>
                    <a:pt x="61679" y="23946"/>
                    <a:pt x="61689" y="23904"/>
                  </a:cubicBezTo>
                  <a:cubicBezTo>
                    <a:pt x="61710" y="23796"/>
                    <a:pt x="61766" y="23698"/>
                    <a:pt x="61850" y="23624"/>
                  </a:cubicBezTo>
                  <a:cubicBezTo>
                    <a:pt x="61980" y="23516"/>
                    <a:pt x="61962" y="23435"/>
                    <a:pt x="61924" y="23334"/>
                  </a:cubicBezTo>
                  <a:cubicBezTo>
                    <a:pt x="61899" y="23253"/>
                    <a:pt x="61892" y="23173"/>
                    <a:pt x="61903" y="23089"/>
                  </a:cubicBezTo>
                  <a:cubicBezTo>
                    <a:pt x="61906" y="23036"/>
                    <a:pt x="61903" y="22983"/>
                    <a:pt x="61892" y="22927"/>
                  </a:cubicBezTo>
                  <a:cubicBezTo>
                    <a:pt x="61826" y="22808"/>
                    <a:pt x="61878" y="22742"/>
                    <a:pt x="61976" y="22682"/>
                  </a:cubicBezTo>
                  <a:cubicBezTo>
                    <a:pt x="61927" y="22616"/>
                    <a:pt x="61864" y="22560"/>
                    <a:pt x="61787" y="22528"/>
                  </a:cubicBezTo>
                  <a:lnTo>
                    <a:pt x="61731" y="22504"/>
                  </a:lnTo>
                  <a:cubicBezTo>
                    <a:pt x="61598" y="22444"/>
                    <a:pt x="61437" y="22371"/>
                    <a:pt x="61416" y="22199"/>
                  </a:cubicBezTo>
                  <a:cubicBezTo>
                    <a:pt x="61406" y="22092"/>
                    <a:pt x="61222" y="21936"/>
                    <a:pt x="61077" y="21936"/>
                  </a:cubicBezTo>
                  <a:cubicBezTo>
                    <a:pt x="61071" y="21936"/>
                    <a:pt x="61065" y="21936"/>
                    <a:pt x="61059" y="21937"/>
                  </a:cubicBezTo>
                  <a:cubicBezTo>
                    <a:pt x="61045" y="21937"/>
                    <a:pt x="61031" y="21938"/>
                    <a:pt x="61017" y="21938"/>
                  </a:cubicBezTo>
                  <a:cubicBezTo>
                    <a:pt x="60946" y="21938"/>
                    <a:pt x="60874" y="21930"/>
                    <a:pt x="60804" y="21916"/>
                  </a:cubicBezTo>
                  <a:cubicBezTo>
                    <a:pt x="60758" y="21912"/>
                    <a:pt x="60695" y="21902"/>
                    <a:pt x="60656" y="21902"/>
                  </a:cubicBezTo>
                  <a:cubicBezTo>
                    <a:pt x="60674" y="21968"/>
                    <a:pt x="60660" y="22042"/>
                    <a:pt x="60614" y="22094"/>
                  </a:cubicBezTo>
                  <a:cubicBezTo>
                    <a:pt x="60585" y="22127"/>
                    <a:pt x="60542" y="22145"/>
                    <a:pt x="60501" y="22145"/>
                  </a:cubicBezTo>
                  <a:cubicBezTo>
                    <a:pt x="60488" y="22145"/>
                    <a:pt x="60476" y="22143"/>
                    <a:pt x="60464" y="22140"/>
                  </a:cubicBezTo>
                  <a:cubicBezTo>
                    <a:pt x="60459" y="22138"/>
                    <a:pt x="60455" y="22137"/>
                    <a:pt x="60450" y="22137"/>
                  </a:cubicBezTo>
                  <a:cubicBezTo>
                    <a:pt x="60423" y="22137"/>
                    <a:pt x="60398" y="22170"/>
                    <a:pt x="60317" y="22294"/>
                  </a:cubicBezTo>
                  <a:lnTo>
                    <a:pt x="60299" y="22322"/>
                  </a:lnTo>
                  <a:cubicBezTo>
                    <a:pt x="60228" y="22431"/>
                    <a:pt x="60073" y="22482"/>
                    <a:pt x="59973" y="22482"/>
                  </a:cubicBezTo>
                  <a:cubicBezTo>
                    <a:pt x="59961" y="22482"/>
                    <a:pt x="59949" y="22481"/>
                    <a:pt x="59939" y="22479"/>
                  </a:cubicBezTo>
                  <a:cubicBezTo>
                    <a:pt x="59890" y="22479"/>
                    <a:pt x="59848" y="22448"/>
                    <a:pt x="59834" y="22402"/>
                  </a:cubicBezTo>
                  <a:cubicBezTo>
                    <a:pt x="59820" y="22360"/>
                    <a:pt x="59841" y="22311"/>
                    <a:pt x="59893" y="22259"/>
                  </a:cubicBezTo>
                  <a:cubicBezTo>
                    <a:pt x="59935" y="22224"/>
                    <a:pt x="59939" y="22210"/>
                    <a:pt x="59939" y="22210"/>
                  </a:cubicBezTo>
                  <a:cubicBezTo>
                    <a:pt x="59932" y="22196"/>
                    <a:pt x="59925" y="22185"/>
                    <a:pt x="59914" y="22175"/>
                  </a:cubicBezTo>
                  <a:cubicBezTo>
                    <a:pt x="59862" y="22122"/>
                    <a:pt x="59837" y="22045"/>
                    <a:pt x="59851" y="21972"/>
                  </a:cubicBezTo>
                  <a:cubicBezTo>
                    <a:pt x="59858" y="21933"/>
                    <a:pt x="59872" y="21895"/>
                    <a:pt x="59886" y="21856"/>
                  </a:cubicBezTo>
                  <a:lnTo>
                    <a:pt x="59886" y="21856"/>
                  </a:lnTo>
                  <a:cubicBezTo>
                    <a:pt x="59841" y="21905"/>
                    <a:pt x="59806" y="21958"/>
                    <a:pt x="59778" y="22017"/>
                  </a:cubicBezTo>
                  <a:cubicBezTo>
                    <a:pt x="59732" y="22105"/>
                    <a:pt x="59683" y="22196"/>
                    <a:pt x="59575" y="22220"/>
                  </a:cubicBezTo>
                  <a:cubicBezTo>
                    <a:pt x="59565" y="22223"/>
                    <a:pt x="59555" y="22224"/>
                    <a:pt x="59545" y="22224"/>
                  </a:cubicBezTo>
                  <a:cubicBezTo>
                    <a:pt x="59510" y="22224"/>
                    <a:pt x="59477" y="22209"/>
                    <a:pt x="59452" y="22182"/>
                  </a:cubicBezTo>
                  <a:cubicBezTo>
                    <a:pt x="59354" y="22070"/>
                    <a:pt x="59396" y="21737"/>
                    <a:pt x="59424" y="21611"/>
                  </a:cubicBezTo>
                  <a:cubicBezTo>
                    <a:pt x="59389" y="21611"/>
                    <a:pt x="59333" y="21618"/>
                    <a:pt x="59284" y="21625"/>
                  </a:cubicBezTo>
                  <a:cubicBezTo>
                    <a:pt x="59182" y="21641"/>
                    <a:pt x="59077" y="21649"/>
                    <a:pt x="58973" y="21649"/>
                  </a:cubicBezTo>
                  <a:cubicBezTo>
                    <a:pt x="58938" y="21649"/>
                    <a:pt x="58903" y="21648"/>
                    <a:pt x="58868" y="21646"/>
                  </a:cubicBezTo>
                  <a:cubicBezTo>
                    <a:pt x="58664" y="21632"/>
                    <a:pt x="58605" y="21548"/>
                    <a:pt x="58591" y="21482"/>
                  </a:cubicBezTo>
                  <a:cubicBezTo>
                    <a:pt x="58566" y="21363"/>
                    <a:pt x="58675" y="21223"/>
                    <a:pt x="58868" y="21121"/>
                  </a:cubicBezTo>
                  <a:cubicBezTo>
                    <a:pt x="58962" y="21076"/>
                    <a:pt x="59039" y="21006"/>
                    <a:pt x="59092" y="20914"/>
                  </a:cubicBezTo>
                  <a:cubicBezTo>
                    <a:pt x="59123" y="20855"/>
                    <a:pt x="59176" y="20806"/>
                    <a:pt x="59235" y="20778"/>
                  </a:cubicBezTo>
                  <a:cubicBezTo>
                    <a:pt x="59386" y="20701"/>
                    <a:pt x="59533" y="20617"/>
                    <a:pt x="59673" y="20526"/>
                  </a:cubicBezTo>
                  <a:cubicBezTo>
                    <a:pt x="59771" y="20466"/>
                    <a:pt x="59858" y="20410"/>
                    <a:pt x="59935" y="20368"/>
                  </a:cubicBezTo>
                  <a:cubicBezTo>
                    <a:pt x="60114" y="20263"/>
                    <a:pt x="60152" y="20155"/>
                    <a:pt x="60198" y="20025"/>
                  </a:cubicBezTo>
                  <a:lnTo>
                    <a:pt x="60201" y="20008"/>
                  </a:lnTo>
                  <a:cubicBezTo>
                    <a:pt x="60236" y="19910"/>
                    <a:pt x="60376" y="19819"/>
                    <a:pt x="60576" y="19693"/>
                  </a:cubicBezTo>
                  <a:cubicBezTo>
                    <a:pt x="60726" y="19598"/>
                    <a:pt x="60870" y="19497"/>
                    <a:pt x="61007" y="19388"/>
                  </a:cubicBezTo>
                  <a:cubicBezTo>
                    <a:pt x="61332" y="19126"/>
                    <a:pt x="61511" y="18961"/>
                    <a:pt x="61588" y="18796"/>
                  </a:cubicBezTo>
                  <a:cubicBezTo>
                    <a:pt x="61637" y="18695"/>
                    <a:pt x="61784" y="18604"/>
                    <a:pt x="61938" y="18502"/>
                  </a:cubicBezTo>
                  <a:cubicBezTo>
                    <a:pt x="62029" y="18446"/>
                    <a:pt x="62179" y="18348"/>
                    <a:pt x="62190" y="18310"/>
                  </a:cubicBezTo>
                  <a:cubicBezTo>
                    <a:pt x="62200" y="18117"/>
                    <a:pt x="62880" y="17795"/>
                    <a:pt x="63268" y="17718"/>
                  </a:cubicBezTo>
                  <a:cubicBezTo>
                    <a:pt x="63372" y="17698"/>
                    <a:pt x="63495" y="17688"/>
                    <a:pt x="63622" y="17688"/>
                  </a:cubicBezTo>
                  <a:cubicBezTo>
                    <a:pt x="63992" y="17688"/>
                    <a:pt x="64403" y="17767"/>
                    <a:pt x="64518" y="17879"/>
                  </a:cubicBezTo>
                  <a:cubicBezTo>
                    <a:pt x="64538" y="17917"/>
                    <a:pt x="64575" y="17935"/>
                    <a:pt x="64611" y="17935"/>
                  </a:cubicBezTo>
                  <a:cubicBezTo>
                    <a:pt x="64648" y="17935"/>
                    <a:pt x="64686" y="17915"/>
                    <a:pt x="64703" y="17876"/>
                  </a:cubicBezTo>
                  <a:cubicBezTo>
                    <a:pt x="64750" y="17824"/>
                    <a:pt x="64813" y="17807"/>
                    <a:pt x="64896" y="17807"/>
                  </a:cubicBezTo>
                  <a:cubicBezTo>
                    <a:pt x="64964" y="17807"/>
                    <a:pt x="65044" y="17818"/>
                    <a:pt x="65138" y="17830"/>
                  </a:cubicBezTo>
                  <a:cubicBezTo>
                    <a:pt x="65180" y="17834"/>
                    <a:pt x="65222" y="17841"/>
                    <a:pt x="65271" y="17844"/>
                  </a:cubicBezTo>
                  <a:cubicBezTo>
                    <a:pt x="65292" y="17847"/>
                    <a:pt x="65313" y="17849"/>
                    <a:pt x="65334" y="17849"/>
                  </a:cubicBezTo>
                  <a:cubicBezTo>
                    <a:pt x="65403" y="17849"/>
                    <a:pt x="65472" y="17832"/>
                    <a:pt x="65537" y="17802"/>
                  </a:cubicBezTo>
                  <a:cubicBezTo>
                    <a:pt x="65590" y="17781"/>
                    <a:pt x="65644" y="17759"/>
                    <a:pt x="65710" y="17759"/>
                  </a:cubicBezTo>
                  <a:cubicBezTo>
                    <a:pt x="65739" y="17759"/>
                    <a:pt x="65771" y="17763"/>
                    <a:pt x="65806" y="17774"/>
                  </a:cubicBezTo>
                  <a:cubicBezTo>
                    <a:pt x="65884" y="17798"/>
                    <a:pt x="65946" y="17814"/>
                    <a:pt x="65998" y="17814"/>
                  </a:cubicBezTo>
                  <a:cubicBezTo>
                    <a:pt x="66076" y="17814"/>
                    <a:pt x="66130" y="17777"/>
                    <a:pt x="66181" y="17676"/>
                  </a:cubicBezTo>
                  <a:cubicBezTo>
                    <a:pt x="66226" y="17596"/>
                    <a:pt x="66317" y="17536"/>
                    <a:pt x="66443" y="17501"/>
                  </a:cubicBezTo>
                  <a:cubicBezTo>
                    <a:pt x="66508" y="17487"/>
                    <a:pt x="66580" y="17480"/>
                    <a:pt x="66653" y="17480"/>
                  </a:cubicBezTo>
                  <a:cubicBezTo>
                    <a:pt x="66812" y="17480"/>
                    <a:pt x="66971" y="17511"/>
                    <a:pt x="67046" y="17564"/>
                  </a:cubicBezTo>
                  <a:cubicBezTo>
                    <a:pt x="67063" y="17578"/>
                    <a:pt x="67081" y="17589"/>
                    <a:pt x="67095" y="17603"/>
                  </a:cubicBezTo>
                  <a:cubicBezTo>
                    <a:pt x="67158" y="17653"/>
                    <a:pt x="67205" y="17690"/>
                    <a:pt x="67262" y="17690"/>
                  </a:cubicBezTo>
                  <a:cubicBezTo>
                    <a:pt x="67296" y="17690"/>
                    <a:pt x="67334" y="17676"/>
                    <a:pt x="67382" y="17645"/>
                  </a:cubicBezTo>
                  <a:cubicBezTo>
                    <a:pt x="67429" y="17613"/>
                    <a:pt x="67470" y="17601"/>
                    <a:pt x="67506" y="17601"/>
                  </a:cubicBezTo>
                  <a:cubicBezTo>
                    <a:pt x="67594" y="17601"/>
                    <a:pt x="67649" y="17675"/>
                    <a:pt x="67686" y="17725"/>
                  </a:cubicBezTo>
                  <a:cubicBezTo>
                    <a:pt x="67728" y="17785"/>
                    <a:pt x="67760" y="17820"/>
                    <a:pt x="67809" y="17827"/>
                  </a:cubicBezTo>
                  <a:cubicBezTo>
                    <a:pt x="67963" y="17848"/>
                    <a:pt x="67959" y="17949"/>
                    <a:pt x="67959" y="17970"/>
                  </a:cubicBezTo>
                  <a:cubicBezTo>
                    <a:pt x="67946" y="18059"/>
                    <a:pt x="67838" y="18129"/>
                    <a:pt x="67721" y="18129"/>
                  </a:cubicBezTo>
                  <a:cubicBezTo>
                    <a:pt x="67713" y="18129"/>
                    <a:pt x="67705" y="18128"/>
                    <a:pt x="67697" y="18128"/>
                  </a:cubicBezTo>
                  <a:cubicBezTo>
                    <a:pt x="67684" y="18126"/>
                    <a:pt x="67672" y="18126"/>
                    <a:pt x="67660" y="18126"/>
                  </a:cubicBezTo>
                  <a:cubicBezTo>
                    <a:pt x="67611" y="18126"/>
                    <a:pt x="67564" y="18138"/>
                    <a:pt x="67522" y="18163"/>
                  </a:cubicBezTo>
                  <a:cubicBezTo>
                    <a:pt x="67532" y="18177"/>
                    <a:pt x="67543" y="18184"/>
                    <a:pt x="67557" y="18191"/>
                  </a:cubicBezTo>
                  <a:cubicBezTo>
                    <a:pt x="67585" y="18207"/>
                    <a:pt x="67615" y="18213"/>
                    <a:pt x="67646" y="18213"/>
                  </a:cubicBezTo>
                  <a:cubicBezTo>
                    <a:pt x="67712" y="18213"/>
                    <a:pt x="67783" y="18184"/>
                    <a:pt x="67854" y="18156"/>
                  </a:cubicBezTo>
                  <a:cubicBezTo>
                    <a:pt x="67924" y="18129"/>
                    <a:pt x="67988" y="18101"/>
                    <a:pt x="68052" y="18101"/>
                  </a:cubicBezTo>
                  <a:cubicBezTo>
                    <a:pt x="68062" y="18101"/>
                    <a:pt x="68072" y="18102"/>
                    <a:pt x="68082" y="18103"/>
                  </a:cubicBezTo>
                  <a:cubicBezTo>
                    <a:pt x="68133" y="18109"/>
                    <a:pt x="68186" y="18113"/>
                    <a:pt x="68240" y="18113"/>
                  </a:cubicBezTo>
                  <a:cubicBezTo>
                    <a:pt x="68365" y="18113"/>
                    <a:pt x="68494" y="18091"/>
                    <a:pt x="68614" y="18016"/>
                  </a:cubicBezTo>
                  <a:cubicBezTo>
                    <a:pt x="68660" y="17981"/>
                    <a:pt x="68715" y="17963"/>
                    <a:pt x="68770" y="17963"/>
                  </a:cubicBezTo>
                  <a:cubicBezTo>
                    <a:pt x="68819" y="17963"/>
                    <a:pt x="68868" y="17977"/>
                    <a:pt x="68911" y="18005"/>
                  </a:cubicBezTo>
                  <a:cubicBezTo>
                    <a:pt x="68940" y="18020"/>
                    <a:pt x="68954" y="18027"/>
                    <a:pt x="68964" y="18027"/>
                  </a:cubicBezTo>
                  <a:cubicBezTo>
                    <a:pt x="68974" y="18027"/>
                    <a:pt x="68981" y="18022"/>
                    <a:pt x="68992" y="18012"/>
                  </a:cubicBezTo>
                  <a:cubicBezTo>
                    <a:pt x="69125" y="17897"/>
                    <a:pt x="69381" y="17858"/>
                    <a:pt x="69549" y="17858"/>
                  </a:cubicBezTo>
                  <a:cubicBezTo>
                    <a:pt x="69496" y="17830"/>
                    <a:pt x="69440" y="17820"/>
                    <a:pt x="69384" y="17820"/>
                  </a:cubicBezTo>
                  <a:cubicBezTo>
                    <a:pt x="69311" y="17820"/>
                    <a:pt x="69206" y="17809"/>
                    <a:pt x="69157" y="17729"/>
                  </a:cubicBezTo>
                  <a:cubicBezTo>
                    <a:pt x="69097" y="17624"/>
                    <a:pt x="69164" y="17473"/>
                    <a:pt x="69286" y="17260"/>
                  </a:cubicBezTo>
                  <a:cubicBezTo>
                    <a:pt x="69430" y="17018"/>
                    <a:pt x="69661" y="16854"/>
                    <a:pt x="69864" y="16710"/>
                  </a:cubicBezTo>
                  <a:cubicBezTo>
                    <a:pt x="69951" y="16650"/>
                    <a:pt x="70032" y="16591"/>
                    <a:pt x="70102" y="16531"/>
                  </a:cubicBezTo>
                  <a:cubicBezTo>
                    <a:pt x="70193" y="16451"/>
                    <a:pt x="70305" y="16395"/>
                    <a:pt x="70427" y="16370"/>
                  </a:cubicBezTo>
                  <a:cubicBezTo>
                    <a:pt x="70445" y="16367"/>
                    <a:pt x="70466" y="16363"/>
                    <a:pt x="70483" y="16356"/>
                  </a:cubicBezTo>
                  <a:lnTo>
                    <a:pt x="70483" y="16346"/>
                  </a:lnTo>
                  <a:cubicBezTo>
                    <a:pt x="70483" y="16206"/>
                    <a:pt x="70606" y="15789"/>
                    <a:pt x="70837" y="15782"/>
                  </a:cubicBezTo>
                  <a:cubicBezTo>
                    <a:pt x="70851" y="15781"/>
                    <a:pt x="70867" y="15781"/>
                    <a:pt x="70883" y="15781"/>
                  </a:cubicBezTo>
                  <a:cubicBezTo>
                    <a:pt x="70923" y="15781"/>
                    <a:pt x="70969" y="15783"/>
                    <a:pt x="71019" y="15786"/>
                  </a:cubicBezTo>
                  <a:cubicBezTo>
                    <a:pt x="71091" y="15789"/>
                    <a:pt x="71173" y="15794"/>
                    <a:pt x="71256" y="15794"/>
                  </a:cubicBezTo>
                  <a:cubicBezTo>
                    <a:pt x="71415" y="15794"/>
                    <a:pt x="71581" y="15778"/>
                    <a:pt x="71705" y="15709"/>
                  </a:cubicBezTo>
                  <a:cubicBezTo>
                    <a:pt x="71777" y="15668"/>
                    <a:pt x="71835" y="15652"/>
                    <a:pt x="71882" y="15652"/>
                  </a:cubicBezTo>
                  <a:cubicBezTo>
                    <a:pt x="71993" y="15652"/>
                    <a:pt x="72044" y="15740"/>
                    <a:pt x="72076" y="15796"/>
                  </a:cubicBezTo>
                  <a:cubicBezTo>
                    <a:pt x="72090" y="15821"/>
                    <a:pt x="72108" y="15852"/>
                    <a:pt x="72125" y="15859"/>
                  </a:cubicBezTo>
                  <a:cubicBezTo>
                    <a:pt x="72126" y="15859"/>
                    <a:pt x="72126" y="15859"/>
                    <a:pt x="72127" y="15859"/>
                  </a:cubicBezTo>
                  <a:cubicBezTo>
                    <a:pt x="72144" y="15859"/>
                    <a:pt x="72207" y="15813"/>
                    <a:pt x="72237" y="15789"/>
                  </a:cubicBezTo>
                  <a:cubicBezTo>
                    <a:pt x="72294" y="15743"/>
                    <a:pt x="72367" y="15686"/>
                    <a:pt x="72445" y="15686"/>
                  </a:cubicBezTo>
                  <a:cubicBezTo>
                    <a:pt x="72473" y="15686"/>
                    <a:pt x="72502" y="15693"/>
                    <a:pt x="72531" y="15712"/>
                  </a:cubicBezTo>
                  <a:cubicBezTo>
                    <a:pt x="72566" y="15730"/>
                    <a:pt x="72587" y="15761"/>
                    <a:pt x="72594" y="15800"/>
                  </a:cubicBezTo>
                  <a:cubicBezTo>
                    <a:pt x="72605" y="15873"/>
                    <a:pt x="72542" y="15947"/>
                    <a:pt x="72465" y="16038"/>
                  </a:cubicBezTo>
                  <a:cubicBezTo>
                    <a:pt x="72398" y="16118"/>
                    <a:pt x="72321" y="16206"/>
                    <a:pt x="72293" y="16297"/>
                  </a:cubicBezTo>
                  <a:cubicBezTo>
                    <a:pt x="72279" y="16339"/>
                    <a:pt x="72283" y="16363"/>
                    <a:pt x="72286" y="16367"/>
                  </a:cubicBezTo>
                  <a:cubicBezTo>
                    <a:pt x="72297" y="16381"/>
                    <a:pt x="72356" y="16388"/>
                    <a:pt x="72395" y="16391"/>
                  </a:cubicBezTo>
                  <a:cubicBezTo>
                    <a:pt x="72454" y="16395"/>
                    <a:pt x="72514" y="16405"/>
                    <a:pt x="72566" y="16430"/>
                  </a:cubicBezTo>
                  <a:cubicBezTo>
                    <a:pt x="72605" y="16444"/>
                    <a:pt x="72633" y="16479"/>
                    <a:pt x="72640" y="16517"/>
                  </a:cubicBezTo>
                  <a:cubicBezTo>
                    <a:pt x="72643" y="16587"/>
                    <a:pt x="72580" y="16629"/>
                    <a:pt x="72517" y="16675"/>
                  </a:cubicBezTo>
                  <a:lnTo>
                    <a:pt x="72507" y="16682"/>
                  </a:lnTo>
                  <a:cubicBezTo>
                    <a:pt x="72598" y="16671"/>
                    <a:pt x="72780" y="16605"/>
                    <a:pt x="73011" y="16374"/>
                  </a:cubicBezTo>
                  <a:cubicBezTo>
                    <a:pt x="73390" y="15995"/>
                    <a:pt x="73712" y="15922"/>
                    <a:pt x="73901" y="15922"/>
                  </a:cubicBezTo>
                  <a:cubicBezTo>
                    <a:pt x="73926" y="15922"/>
                    <a:pt x="73950" y="15924"/>
                    <a:pt x="73970" y="15926"/>
                  </a:cubicBezTo>
                  <a:cubicBezTo>
                    <a:pt x="73981" y="15928"/>
                    <a:pt x="73990" y="15929"/>
                    <a:pt x="73997" y="15929"/>
                  </a:cubicBezTo>
                  <a:cubicBezTo>
                    <a:pt x="74013" y="15929"/>
                    <a:pt x="74020" y="15925"/>
                    <a:pt x="74023" y="15922"/>
                  </a:cubicBezTo>
                  <a:cubicBezTo>
                    <a:pt x="74040" y="15908"/>
                    <a:pt x="74030" y="15817"/>
                    <a:pt x="74023" y="15747"/>
                  </a:cubicBezTo>
                  <a:cubicBezTo>
                    <a:pt x="74012" y="15653"/>
                    <a:pt x="74005" y="15555"/>
                    <a:pt x="74009" y="15457"/>
                  </a:cubicBezTo>
                  <a:cubicBezTo>
                    <a:pt x="74016" y="15345"/>
                    <a:pt x="74082" y="15247"/>
                    <a:pt x="74201" y="15170"/>
                  </a:cubicBezTo>
                  <a:cubicBezTo>
                    <a:pt x="74357" y="15073"/>
                    <a:pt x="74583" y="15027"/>
                    <a:pt x="74774" y="15027"/>
                  </a:cubicBezTo>
                  <a:cubicBezTo>
                    <a:pt x="74879" y="15027"/>
                    <a:pt x="74973" y="15041"/>
                    <a:pt x="75038" y="15068"/>
                  </a:cubicBezTo>
                  <a:cubicBezTo>
                    <a:pt x="75195" y="15135"/>
                    <a:pt x="75262" y="15205"/>
                    <a:pt x="75237" y="15275"/>
                  </a:cubicBezTo>
                  <a:cubicBezTo>
                    <a:pt x="75222" y="15319"/>
                    <a:pt x="75182" y="15341"/>
                    <a:pt x="75119" y="15341"/>
                  </a:cubicBezTo>
                  <a:cubicBezTo>
                    <a:pt x="75083" y="15341"/>
                    <a:pt x="75040" y="15334"/>
                    <a:pt x="74989" y="15320"/>
                  </a:cubicBezTo>
                  <a:cubicBezTo>
                    <a:pt x="74968" y="15314"/>
                    <a:pt x="74947" y="15311"/>
                    <a:pt x="74926" y="15311"/>
                  </a:cubicBezTo>
                  <a:cubicBezTo>
                    <a:pt x="74873" y="15311"/>
                    <a:pt x="74822" y="15330"/>
                    <a:pt x="74782" y="15362"/>
                  </a:cubicBezTo>
                  <a:cubicBezTo>
                    <a:pt x="74695" y="15439"/>
                    <a:pt x="74649" y="15551"/>
                    <a:pt x="74660" y="15663"/>
                  </a:cubicBezTo>
                  <a:cubicBezTo>
                    <a:pt x="74660" y="15779"/>
                    <a:pt x="74632" y="15894"/>
                    <a:pt x="74572" y="15992"/>
                  </a:cubicBezTo>
                  <a:cubicBezTo>
                    <a:pt x="74530" y="16069"/>
                    <a:pt x="74534" y="16073"/>
                    <a:pt x="74551" y="16090"/>
                  </a:cubicBezTo>
                  <a:cubicBezTo>
                    <a:pt x="74579" y="16115"/>
                    <a:pt x="74597" y="16153"/>
                    <a:pt x="74593" y="16195"/>
                  </a:cubicBezTo>
                  <a:cubicBezTo>
                    <a:pt x="74586" y="16255"/>
                    <a:pt x="74530" y="16290"/>
                    <a:pt x="74481" y="16321"/>
                  </a:cubicBezTo>
                  <a:cubicBezTo>
                    <a:pt x="74453" y="16335"/>
                    <a:pt x="74408" y="16363"/>
                    <a:pt x="74408" y="16381"/>
                  </a:cubicBezTo>
                  <a:lnTo>
                    <a:pt x="74408" y="16405"/>
                  </a:lnTo>
                  <a:cubicBezTo>
                    <a:pt x="74401" y="16514"/>
                    <a:pt x="74394" y="16633"/>
                    <a:pt x="74201" y="16689"/>
                  </a:cubicBezTo>
                  <a:cubicBezTo>
                    <a:pt x="74163" y="16703"/>
                    <a:pt x="74110" y="16713"/>
                    <a:pt x="74051" y="16724"/>
                  </a:cubicBezTo>
                  <a:cubicBezTo>
                    <a:pt x="73883" y="16759"/>
                    <a:pt x="73536" y="16833"/>
                    <a:pt x="73529" y="16948"/>
                  </a:cubicBezTo>
                  <a:cubicBezTo>
                    <a:pt x="73515" y="17088"/>
                    <a:pt x="73410" y="17162"/>
                    <a:pt x="73309" y="17235"/>
                  </a:cubicBezTo>
                  <a:cubicBezTo>
                    <a:pt x="73221" y="17295"/>
                    <a:pt x="73133" y="17358"/>
                    <a:pt x="73074" y="17466"/>
                  </a:cubicBezTo>
                  <a:cubicBezTo>
                    <a:pt x="73007" y="17592"/>
                    <a:pt x="72867" y="17690"/>
                    <a:pt x="72703" y="17806"/>
                  </a:cubicBezTo>
                  <a:cubicBezTo>
                    <a:pt x="72500" y="17946"/>
                    <a:pt x="72251" y="18121"/>
                    <a:pt x="72062" y="18401"/>
                  </a:cubicBezTo>
                  <a:cubicBezTo>
                    <a:pt x="71817" y="18765"/>
                    <a:pt x="71471" y="18888"/>
                    <a:pt x="71285" y="18954"/>
                  </a:cubicBezTo>
                  <a:cubicBezTo>
                    <a:pt x="71247" y="18968"/>
                    <a:pt x="71212" y="18982"/>
                    <a:pt x="71173" y="19000"/>
                  </a:cubicBezTo>
                  <a:cubicBezTo>
                    <a:pt x="71152" y="19119"/>
                    <a:pt x="70945" y="19129"/>
                    <a:pt x="70725" y="19143"/>
                  </a:cubicBezTo>
                  <a:cubicBezTo>
                    <a:pt x="70686" y="19143"/>
                    <a:pt x="70651" y="19147"/>
                    <a:pt x="70627" y="19147"/>
                  </a:cubicBezTo>
                  <a:cubicBezTo>
                    <a:pt x="70627" y="19164"/>
                    <a:pt x="70630" y="19192"/>
                    <a:pt x="70630" y="19210"/>
                  </a:cubicBezTo>
                  <a:cubicBezTo>
                    <a:pt x="70648" y="19343"/>
                    <a:pt x="70676" y="19567"/>
                    <a:pt x="70462" y="19794"/>
                  </a:cubicBezTo>
                  <a:cubicBezTo>
                    <a:pt x="70151" y="20127"/>
                    <a:pt x="69972" y="20582"/>
                    <a:pt x="69979" y="21002"/>
                  </a:cubicBezTo>
                  <a:cubicBezTo>
                    <a:pt x="69986" y="21471"/>
                    <a:pt x="70140" y="22770"/>
                    <a:pt x="70270" y="22990"/>
                  </a:cubicBezTo>
                  <a:cubicBezTo>
                    <a:pt x="70347" y="23124"/>
                    <a:pt x="70361" y="23341"/>
                    <a:pt x="70371" y="23547"/>
                  </a:cubicBezTo>
                  <a:cubicBezTo>
                    <a:pt x="70382" y="23691"/>
                    <a:pt x="70392" y="23866"/>
                    <a:pt x="70431" y="23908"/>
                  </a:cubicBezTo>
                  <a:cubicBezTo>
                    <a:pt x="70504" y="23988"/>
                    <a:pt x="70522" y="24097"/>
                    <a:pt x="70539" y="24181"/>
                  </a:cubicBezTo>
                  <a:cubicBezTo>
                    <a:pt x="70543" y="24216"/>
                    <a:pt x="70550" y="24251"/>
                    <a:pt x="70564" y="24286"/>
                  </a:cubicBezTo>
                  <a:cubicBezTo>
                    <a:pt x="70616" y="24254"/>
                    <a:pt x="70739" y="24128"/>
                    <a:pt x="70819" y="24041"/>
                  </a:cubicBezTo>
                  <a:cubicBezTo>
                    <a:pt x="70893" y="23960"/>
                    <a:pt x="70973" y="23880"/>
                    <a:pt x="71057" y="23806"/>
                  </a:cubicBezTo>
                  <a:cubicBezTo>
                    <a:pt x="71120" y="23757"/>
                    <a:pt x="71173" y="23698"/>
                    <a:pt x="71208" y="23631"/>
                  </a:cubicBezTo>
                  <a:cubicBezTo>
                    <a:pt x="71240" y="23572"/>
                    <a:pt x="71285" y="23523"/>
                    <a:pt x="71341" y="23488"/>
                  </a:cubicBezTo>
                  <a:cubicBezTo>
                    <a:pt x="71401" y="23446"/>
                    <a:pt x="71408" y="23271"/>
                    <a:pt x="71411" y="23155"/>
                  </a:cubicBezTo>
                  <a:cubicBezTo>
                    <a:pt x="71411" y="23089"/>
                    <a:pt x="71418" y="23022"/>
                    <a:pt x="71436" y="22959"/>
                  </a:cubicBezTo>
                  <a:cubicBezTo>
                    <a:pt x="71467" y="22885"/>
                    <a:pt x="71555" y="22843"/>
                    <a:pt x="71649" y="22798"/>
                  </a:cubicBezTo>
                  <a:cubicBezTo>
                    <a:pt x="71716" y="22766"/>
                    <a:pt x="71789" y="22731"/>
                    <a:pt x="71817" y="22693"/>
                  </a:cubicBezTo>
                  <a:cubicBezTo>
                    <a:pt x="71887" y="22602"/>
                    <a:pt x="72006" y="22602"/>
                    <a:pt x="72115" y="22602"/>
                  </a:cubicBezTo>
                  <a:cubicBezTo>
                    <a:pt x="72126" y="22603"/>
                    <a:pt x="72137" y="22603"/>
                    <a:pt x="72149" y="22603"/>
                  </a:cubicBezTo>
                  <a:cubicBezTo>
                    <a:pt x="72183" y="22603"/>
                    <a:pt x="72217" y="22599"/>
                    <a:pt x="72251" y="22591"/>
                  </a:cubicBezTo>
                  <a:cubicBezTo>
                    <a:pt x="72272" y="22560"/>
                    <a:pt x="72220" y="22395"/>
                    <a:pt x="72199" y="22325"/>
                  </a:cubicBezTo>
                  <a:cubicBezTo>
                    <a:pt x="72185" y="22280"/>
                    <a:pt x="72171" y="22241"/>
                    <a:pt x="72160" y="22206"/>
                  </a:cubicBezTo>
                  <a:cubicBezTo>
                    <a:pt x="72118" y="22035"/>
                    <a:pt x="72374" y="21863"/>
                    <a:pt x="72598" y="21713"/>
                  </a:cubicBezTo>
                  <a:cubicBezTo>
                    <a:pt x="72640" y="21685"/>
                    <a:pt x="72678" y="21660"/>
                    <a:pt x="72713" y="21636"/>
                  </a:cubicBezTo>
                  <a:cubicBezTo>
                    <a:pt x="72779" y="21589"/>
                    <a:pt x="72849" y="21576"/>
                    <a:pt x="72917" y="21576"/>
                  </a:cubicBezTo>
                  <a:cubicBezTo>
                    <a:pt x="72961" y="21576"/>
                    <a:pt x="73005" y="21581"/>
                    <a:pt x="73046" y="21587"/>
                  </a:cubicBezTo>
                  <a:cubicBezTo>
                    <a:pt x="73091" y="21593"/>
                    <a:pt x="73134" y="21600"/>
                    <a:pt x="73174" y="21600"/>
                  </a:cubicBezTo>
                  <a:cubicBezTo>
                    <a:pt x="73240" y="21600"/>
                    <a:pt x="73300" y="21583"/>
                    <a:pt x="73361" y="21527"/>
                  </a:cubicBezTo>
                  <a:cubicBezTo>
                    <a:pt x="73501" y="21398"/>
                    <a:pt x="73403" y="21258"/>
                    <a:pt x="73284" y="21111"/>
                  </a:cubicBezTo>
                  <a:lnTo>
                    <a:pt x="73256" y="21076"/>
                  </a:lnTo>
                  <a:cubicBezTo>
                    <a:pt x="73221" y="21030"/>
                    <a:pt x="73221" y="20960"/>
                    <a:pt x="73253" y="20862"/>
                  </a:cubicBezTo>
                  <a:cubicBezTo>
                    <a:pt x="73316" y="20669"/>
                    <a:pt x="73515" y="20354"/>
                    <a:pt x="73680" y="20309"/>
                  </a:cubicBezTo>
                  <a:cubicBezTo>
                    <a:pt x="73708" y="20302"/>
                    <a:pt x="73737" y="20298"/>
                    <a:pt x="73767" y="20298"/>
                  </a:cubicBezTo>
                  <a:cubicBezTo>
                    <a:pt x="73811" y="20298"/>
                    <a:pt x="73855" y="20306"/>
                    <a:pt x="73897" y="20323"/>
                  </a:cubicBezTo>
                  <a:cubicBezTo>
                    <a:pt x="73929" y="20334"/>
                    <a:pt x="73954" y="20342"/>
                    <a:pt x="73979" y="20342"/>
                  </a:cubicBezTo>
                  <a:cubicBezTo>
                    <a:pt x="74008" y="20342"/>
                    <a:pt x="74036" y="20331"/>
                    <a:pt x="74072" y="20298"/>
                  </a:cubicBezTo>
                  <a:cubicBezTo>
                    <a:pt x="74100" y="20277"/>
                    <a:pt x="74107" y="20239"/>
                    <a:pt x="74086" y="20211"/>
                  </a:cubicBezTo>
                  <a:cubicBezTo>
                    <a:pt x="74045" y="20118"/>
                    <a:pt x="73910" y="20046"/>
                    <a:pt x="73871" y="20046"/>
                  </a:cubicBezTo>
                  <a:cubicBezTo>
                    <a:pt x="73870" y="20046"/>
                    <a:pt x="73869" y="20046"/>
                    <a:pt x="73869" y="20046"/>
                  </a:cubicBezTo>
                  <a:cubicBezTo>
                    <a:pt x="73865" y="20047"/>
                    <a:pt x="73859" y="20048"/>
                    <a:pt x="73852" y="20048"/>
                  </a:cubicBezTo>
                  <a:cubicBezTo>
                    <a:pt x="73822" y="20048"/>
                    <a:pt x="73766" y="20035"/>
                    <a:pt x="73732" y="19952"/>
                  </a:cubicBezTo>
                  <a:cubicBezTo>
                    <a:pt x="73669" y="19801"/>
                    <a:pt x="73704" y="19486"/>
                    <a:pt x="73932" y="19315"/>
                  </a:cubicBezTo>
                  <a:cubicBezTo>
                    <a:pt x="74037" y="19238"/>
                    <a:pt x="74061" y="19199"/>
                    <a:pt x="74065" y="19185"/>
                  </a:cubicBezTo>
                  <a:cubicBezTo>
                    <a:pt x="74026" y="19164"/>
                    <a:pt x="73981" y="19150"/>
                    <a:pt x="73939" y="19140"/>
                  </a:cubicBezTo>
                  <a:cubicBezTo>
                    <a:pt x="73907" y="19129"/>
                    <a:pt x="73874" y="19124"/>
                    <a:pt x="73841" y="19124"/>
                  </a:cubicBezTo>
                  <a:cubicBezTo>
                    <a:pt x="73807" y="19124"/>
                    <a:pt x="73774" y="19129"/>
                    <a:pt x="73743" y="19140"/>
                  </a:cubicBezTo>
                  <a:cubicBezTo>
                    <a:pt x="73701" y="19154"/>
                    <a:pt x="73659" y="19161"/>
                    <a:pt x="73613" y="19164"/>
                  </a:cubicBezTo>
                  <a:cubicBezTo>
                    <a:pt x="73611" y="19164"/>
                    <a:pt x="73608" y="19164"/>
                    <a:pt x="73605" y="19164"/>
                  </a:cubicBezTo>
                  <a:cubicBezTo>
                    <a:pt x="73531" y="19164"/>
                    <a:pt x="73461" y="19116"/>
                    <a:pt x="73417" y="19031"/>
                  </a:cubicBezTo>
                  <a:cubicBezTo>
                    <a:pt x="73354" y="18916"/>
                    <a:pt x="73337" y="18702"/>
                    <a:pt x="73491" y="18492"/>
                  </a:cubicBezTo>
                  <a:cubicBezTo>
                    <a:pt x="73568" y="18387"/>
                    <a:pt x="73666" y="18299"/>
                    <a:pt x="73778" y="18229"/>
                  </a:cubicBezTo>
                  <a:cubicBezTo>
                    <a:pt x="73865" y="18170"/>
                    <a:pt x="73918" y="18131"/>
                    <a:pt x="73942" y="18030"/>
                  </a:cubicBezTo>
                  <a:cubicBezTo>
                    <a:pt x="73981" y="17844"/>
                    <a:pt x="74145" y="17620"/>
                    <a:pt x="74268" y="17456"/>
                  </a:cubicBezTo>
                  <a:cubicBezTo>
                    <a:pt x="74306" y="17400"/>
                    <a:pt x="74345" y="17354"/>
                    <a:pt x="74362" y="17323"/>
                  </a:cubicBezTo>
                  <a:cubicBezTo>
                    <a:pt x="74401" y="17256"/>
                    <a:pt x="74473" y="17237"/>
                    <a:pt x="74553" y="17237"/>
                  </a:cubicBezTo>
                  <a:cubicBezTo>
                    <a:pt x="74612" y="17237"/>
                    <a:pt x="74676" y="17247"/>
                    <a:pt x="74733" y="17256"/>
                  </a:cubicBezTo>
                  <a:cubicBezTo>
                    <a:pt x="74779" y="17267"/>
                    <a:pt x="74831" y="17270"/>
                    <a:pt x="74880" y="17270"/>
                  </a:cubicBezTo>
                  <a:cubicBezTo>
                    <a:pt x="74893" y="17267"/>
                    <a:pt x="74904" y="17266"/>
                    <a:pt x="74914" y="17266"/>
                  </a:cubicBezTo>
                  <a:cubicBezTo>
                    <a:pt x="74992" y="17266"/>
                    <a:pt x="75026" y="17338"/>
                    <a:pt x="75041" y="17375"/>
                  </a:cubicBezTo>
                  <a:lnTo>
                    <a:pt x="75048" y="17389"/>
                  </a:lnTo>
                  <a:lnTo>
                    <a:pt x="75062" y="17382"/>
                  </a:lnTo>
                  <a:cubicBezTo>
                    <a:pt x="75115" y="17326"/>
                    <a:pt x="75164" y="17267"/>
                    <a:pt x="75209" y="17207"/>
                  </a:cubicBezTo>
                  <a:cubicBezTo>
                    <a:pt x="75343" y="17032"/>
                    <a:pt x="75497" y="16840"/>
                    <a:pt x="75654" y="16840"/>
                  </a:cubicBezTo>
                  <a:cubicBezTo>
                    <a:pt x="75658" y="16839"/>
                    <a:pt x="75662" y="16839"/>
                    <a:pt x="75666" y="16839"/>
                  </a:cubicBezTo>
                  <a:cubicBezTo>
                    <a:pt x="75707" y="16839"/>
                    <a:pt x="75748" y="16856"/>
                    <a:pt x="75777" y="16885"/>
                  </a:cubicBezTo>
                  <a:cubicBezTo>
                    <a:pt x="75836" y="16952"/>
                    <a:pt x="75829" y="17053"/>
                    <a:pt x="75826" y="17165"/>
                  </a:cubicBezTo>
                  <a:cubicBezTo>
                    <a:pt x="75819" y="17232"/>
                    <a:pt x="75819" y="17298"/>
                    <a:pt x="75833" y="17365"/>
                  </a:cubicBezTo>
                  <a:lnTo>
                    <a:pt x="75833" y="17368"/>
                  </a:lnTo>
                  <a:cubicBezTo>
                    <a:pt x="75857" y="17351"/>
                    <a:pt x="75892" y="17316"/>
                    <a:pt x="75927" y="17288"/>
                  </a:cubicBezTo>
                  <a:cubicBezTo>
                    <a:pt x="76025" y="17197"/>
                    <a:pt x="76130" y="17113"/>
                    <a:pt x="76239" y="17036"/>
                  </a:cubicBezTo>
                  <a:cubicBezTo>
                    <a:pt x="76449" y="16893"/>
                    <a:pt x="76793" y="16838"/>
                    <a:pt x="77098" y="16838"/>
                  </a:cubicBezTo>
                  <a:cubicBezTo>
                    <a:pt x="77341" y="16838"/>
                    <a:pt x="77560" y="16873"/>
                    <a:pt x="77671" y="16927"/>
                  </a:cubicBezTo>
                  <a:cubicBezTo>
                    <a:pt x="77779" y="16983"/>
                    <a:pt x="77870" y="17071"/>
                    <a:pt x="77937" y="17176"/>
                  </a:cubicBezTo>
                  <a:cubicBezTo>
                    <a:pt x="77980" y="17233"/>
                    <a:pt x="78008" y="17270"/>
                    <a:pt x="78028" y="17270"/>
                  </a:cubicBezTo>
                  <a:cubicBezTo>
                    <a:pt x="78029" y="17270"/>
                    <a:pt x="78030" y="17270"/>
                    <a:pt x="78031" y="17270"/>
                  </a:cubicBezTo>
                  <a:cubicBezTo>
                    <a:pt x="78084" y="17256"/>
                    <a:pt x="78087" y="17235"/>
                    <a:pt x="78094" y="17165"/>
                  </a:cubicBezTo>
                  <a:cubicBezTo>
                    <a:pt x="78105" y="17095"/>
                    <a:pt x="78115" y="16987"/>
                    <a:pt x="78255" y="16948"/>
                  </a:cubicBezTo>
                  <a:cubicBezTo>
                    <a:pt x="78448" y="16892"/>
                    <a:pt x="78791" y="16685"/>
                    <a:pt x="79029" y="16510"/>
                  </a:cubicBezTo>
                  <a:cubicBezTo>
                    <a:pt x="79158" y="16416"/>
                    <a:pt x="79211" y="16398"/>
                    <a:pt x="79246" y="16388"/>
                  </a:cubicBezTo>
                  <a:cubicBezTo>
                    <a:pt x="79267" y="16381"/>
                    <a:pt x="79277" y="16377"/>
                    <a:pt x="79333" y="16304"/>
                  </a:cubicBezTo>
                  <a:cubicBezTo>
                    <a:pt x="79393" y="16230"/>
                    <a:pt x="79477" y="16178"/>
                    <a:pt x="79572" y="16153"/>
                  </a:cubicBezTo>
                  <a:cubicBezTo>
                    <a:pt x="79624" y="16139"/>
                    <a:pt x="79631" y="16132"/>
                    <a:pt x="79638" y="16115"/>
                  </a:cubicBezTo>
                  <a:cubicBezTo>
                    <a:pt x="79698" y="15943"/>
                    <a:pt x="80174" y="15758"/>
                    <a:pt x="80608" y="15660"/>
                  </a:cubicBezTo>
                  <a:cubicBezTo>
                    <a:pt x="81080" y="15555"/>
                    <a:pt x="81634" y="15268"/>
                    <a:pt x="81697" y="15170"/>
                  </a:cubicBezTo>
                  <a:cubicBezTo>
                    <a:pt x="81690" y="15128"/>
                    <a:pt x="81704" y="15086"/>
                    <a:pt x="81732" y="15054"/>
                  </a:cubicBezTo>
                  <a:cubicBezTo>
                    <a:pt x="81773" y="15015"/>
                    <a:pt x="81828" y="14994"/>
                    <a:pt x="81884" y="14994"/>
                  </a:cubicBezTo>
                  <a:cubicBezTo>
                    <a:pt x="81903" y="14994"/>
                    <a:pt x="81923" y="14996"/>
                    <a:pt x="81942" y="15002"/>
                  </a:cubicBezTo>
                  <a:cubicBezTo>
                    <a:pt x="81994" y="15012"/>
                    <a:pt x="82033" y="15054"/>
                    <a:pt x="82043" y="15103"/>
                  </a:cubicBezTo>
                  <a:cubicBezTo>
                    <a:pt x="82050" y="15124"/>
                    <a:pt x="82145" y="15135"/>
                    <a:pt x="82215" y="15138"/>
                  </a:cubicBezTo>
                  <a:cubicBezTo>
                    <a:pt x="82306" y="15145"/>
                    <a:pt x="82393" y="15159"/>
                    <a:pt x="82477" y="15177"/>
                  </a:cubicBezTo>
                  <a:cubicBezTo>
                    <a:pt x="82537" y="15187"/>
                    <a:pt x="82589" y="15201"/>
                    <a:pt x="82631" y="15215"/>
                  </a:cubicBezTo>
                  <a:cubicBezTo>
                    <a:pt x="82706" y="15235"/>
                    <a:pt x="82763" y="15251"/>
                    <a:pt x="82814" y="15251"/>
                  </a:cubicBezTo>
                  <a:cubicBezTo>
                    <a:pt x="82881" y="15251"/>
                    <a:pt x="82939" y="15224"/>
                    <a:pt x="83016" y="15145"/>
                  </a:cubicBezTo>
                  <a:cubicBezTo>
                    <a:pt x="83114" y="15047"/>
                    <a:pt x="83093" y="15009"/>
                    <a:pt x="83044" y="14932"/>
                  </a:cubicBezTo>
                  <a:cubicBezTo>
                    <a:pt x="83006" y="14876"/>
                    <a:pt x="82981" y="14809"/>
                    <a:pt x="82981" y="14743"/>
                  </a:cubicBezTo>
                  <a:cubicBezTo>
                    <a:pt x="82985" y="14697"/>
                    <a:pt x="82908" y="14620"/>
                    <a:pt x="82845" y="14560"/>
                  </a:cubicBezTo>
                  <a:cubicBezTo>
                    <a:pt x="82747" y="14466"/>
                    <a:pt x="82631" y="14354"/>
                    <a:pt x="82670" y="14228"/>
                  </a:cubicBezTo>
                  <a:cubicBezTo>
                    <a:pt x="82684" y="14182"/>
                    <a:pt x="82649" y="14067"/>
                    <a:pt x="82558" y="13934"/>
                  </a:cubicBezTo>
                  <a:cubicBezTo>
                    <a:pt x="82488" y="13829"/>
                    <a:pt x="82425" y="13776"/>
                    <a:pt x="82397" y="13766"/>
                  </a:cubicBezTo>
                  <a:cubicBezTo>
                    <a:pt x="82363" y="13790"/>
                    <a:pt x="82322" y="13803"/>
                    <a:pt x="82282" y="13803"/>
                  </a:cubicBezTo>
                  <a:cubicBezTo>
                    <a:pt x="82248" y="13803"/>
                    <a:pt x="82214" y="13794"/>
                    <a:pt x="82183" y="13776"/>
                  </a:cubicBezTo>
                  <a:cubicBezTo>
                    <a:pt x="82082" y="13734"/>
                    <a:pt x="81973" y="13622"/>
                    <a:pt x="81973" y="13510"/>
                  </a:cubicBezTo>
                  <a:cubicBezTo>
                    <a:pt x="81973" y="13384"/>
                    <a:pt x="81956" y="13360"/>
                    <a:pt x="81949" y="13356"/>
                  </a:cubicBezTo>
                  <a:cubicBezTo>
                    <a:pt x="81935" y="13360"/>
                    <a:pt x="81917" y="13367"/>
                    <a:pt x="81903" y="13377"/>
                  </a:cubicBezTo>
                  <a:cubicBezTo>
                    <a:pt x="81833" y="13418"/>
                    <a:pt x="81755" y="13439"/>
                    <a:pt x="81676" y="13439"/>
                  </a:cubicBezTo>
                  <a:cubicBezTo>
                    <a:pt x="81625" y="13439"/>
                    <a:pt x="81574" y="13430"/>
                    <a:pt x="81525" y="13412"/>
                  </a:cubicBezTo>
                  <a:cubicBezTo>
                    <a:pt x="81444" y="13388"/>
                    <a:pt x="81378" y="13328"/>
                    <a:pt x="81346" y="13248"/>
                  </a:cubicBezTo>
                  <a:cubicBezTo>
                    <a:pt x="81325" y="13185"/>
                    <a:pt x="81346" y="13118"/>
                    <a:pt x="81395" y="13076"/>
                  </a:cubicBezTo>
                  <a:cubicBezTo>
                    <a:pt x="81467" y="13007"/>
                    <a:pt x="81599" y="12970"/>
                    <a:pt x="81734" y="12970"/>
                  </a:cubicBezTo>
                  <a:cubicBezTo>
                    <a:pt x="81817" y="12970"/>
                    <a:pt x="81901" y="12984"/>
                    <a:pt x="81973" y="13013"/>
                  </a:cubicBezTo>
                  <a:cubicBezTo>
                    <a:pt x="82141" y="13080"/>
                    <a:pt x="82183" y="13153"/>
                    <a:pt x="82215" y="13213"/>
                  </a:cubicBezTo>
                  <a:cubicBezTo>
                    <a:pt x="82225" y="13241"/>
                    <a:pt x="82246" y="13265"/>
                    <a:pt x="82274" y="13283"/>
                  </a:cubicBezTo>
                  <a:cubicBezTo>
                    <a:pt x="82310" y="13304"/>
                    <a:pt x="82378" y="13314"/>
                    <a:pt x="82456" y="13314"/>
                  </a:cubicBezTo>
                  <a:cubicBezTo>
                    <a:pt x="82581" y="13314"/>
                    <a:pt x="82735" y="13288"/>
                    <a:pt x="82834" y="13241"/>
                  </a:cubicBezTo>
                  <a:cubicBezTo>
                    <a:pt x="82883" y="13216"/>
                    <a:pt x="82946" y="13192"/>
                    <a:pt x="83023" y="13160"/>
                  </a:cubicBezTo>
                  <a:cubicBezTo>
                    <a:pt x="83198" y="13090"/>
                    <a:pt x="83485" y="12975"/>
                    <a:pt x="83534" y="12894"/>
                  </a:cubicBezTo>
                  <a:cubicBezTo>
                    <a:pt x="83555" y="12859"/>
                    <a:pt x="83566" y="12821"/>
                    <a:pt x="83569" y="12786"/>
                  </a:cubicBezTo>
                  <a:cubicBezTo>
                    <a:pt x="83580" y="12709"/>
                    <a:pt x="83597" y="12646"/>
                    <a:pt x="83717" y="12586"/>
                  </a:cubicBezTo>
                  <a:cubicBezTo>
                    <a:pt x="83755" y="12565"/>
                    <a:pt x="83755" y="12544"/>
                    <a:pt x="83755" y="12537"/>
                  </a:cubicBezTo>
                  <a:cubicBezTo>
                    <a:pt x="83755" y="12491"/>
                    <a:pt x="83692" y="12418"/>
                    <a:pt x="83619" y="12379"/>
                  </a:cubicBezTo>
                  <a:cubicBezTo>
                    <a:pt x="83527" y="12330"/>
                    <a:pt x="83478" y="12229"/>
                    <a:pt x="83499" y="12131"/>
                  </a:cubicBezTo>
                  <a:cubicBezTo>
                    <a:pt x="83520" y="12046"/>
                    <a:pt x="83597" y="11987"/>
                    <a:pt x="83681" y="11987"/>
                  </a:cubicBezTo>
                  <a:cubicBezTo>
                    <a:pt x="83684" y="11987"/>
                    <a:pt x="83686" y="11987"/>
                    <a:pt x="83689" y="11987"/>
                  </a:cubicBezTo>
                  <a:cubicBezTo>
                    <a:pt x="83724" y="11987"/>
                    <a:pt x="83731" y="11977"/>
                    <a:pt x="83755" y="11924"/>
                  </a:cubicBezTo>
                  <a:cubicBezTo>
                    <a:pt x="83773" y="11882"/>
                    <a:pt x="83804" y="11816"/>
                    <a:pt x="83885" y="11809"/>
                  </a:cubicBezTo>
                  <a:cubicBezTo>
                    <a:pt x="83891" y="11808"/>
                    <a:pt x="83898" y="11808"/>
                    <a:pt x="83904" y="11808"/>
                  </a:cubicBezTo>
                  <a:cubicBezTo>
                    <a:pt x="83935" y="11808"/>
                    <a:pt x="83964" y="11815"/>
                    <a:pt x="83993" y="11826"/>
                  </a:cubicBezTo>
                  <a:cubicBezTo>
                    <a:pt x="84008" y="11831"/>
                    <a:pt x="84022" y="11835"/>
                    <a:pt x="84040" y="11835"/>
                  </a:cubicBezTo>
                  <a:cubicBezTo>
                    <a:pt x="84066" y="11835"/>
                    <a:pt x="84099" y="11827"/>
                    <a:pt x="84154" y="11798"/>
                  </a:cubicBezTo>
                  <a:cubicBezTo>
                    <a:pt x="84171" y="11790"/>
                    <a:pt x="84206" y="11773"/>
                    <a:pt x="84241" y="11773"/>
                  </a:cubicBezTo>
                  <a:cubicBezTo>
                    <a:pt x="84263" y="11773"/>
                    <a:pt x="84286" y="11779"/>
                    <a:pt x="84305" y="11798"/>
                  </a:cubicBezTo>
                  <a:cubicBezTo>
                    <a:pt x="84350" y="11851"/>
                    <a:pt x="84308" y="11938"/>
                    <a:pt x="84228" y="12075"/>
                  </a:cubicBezTo>
                  <a:cubicBezTo>
                    <a:pt x="84207" y="12110"/>
                    <a:pt x="84186" y="12148"/>
                    <a:pt x="84168" y="12180"/>
                  </a:cubicBezTo>
                  <a:cubicBezTo>
                    <a:pt x="84140" y="12236"/>
                    <a:pt x="84193" y="12295"/>
                    <a:pt x="84266" y="12372"/>
                  </a:cubicBezTo>
                  <a:cubicBezTo>
                    <a:pt x="84308" y="12407"/>
                    <a:pt x="84343" y="12453"/>
                    <a:pt x="84364" y="12502"/>
                  </a:cubicBezTo>
                  <a:cubicBezTo>
                    <a:pt x="84388" y="12524"/>
                    <a:pt x="84469" y="12541"/>
                    <a:pt x="84565" y="12541"/>
                  </a:cubicBezTo>
                  <a:cubicBezTo>
                    <a:pt x="84655" y="12541"/>
                    <a:pt x="84758" y="12525"/>
                    <a:pt x="84837" y="12484"/>
                  </a:cubicBezTo>
                  <a:cubicBezTo>
                    <a:pt x="84882" y="12460"/>
                    <a:pt x="84940" y="12450"/>
                    <a:pt x="85004" y="12450"/>
                  </a:cubicBezTo>
                  <a:cubicBezTo>
                    <a:pt x="85167" y="12450"/>
                    <a:pt x="85366" y="12515"/>
                    <a:pt x="85484" y="12565"/>
                  </a:cubicBezTo>
                  <a:cubicBezTo>
                    <a:pt x="85610" y="12617"/>
                    <a:pt x="85765" y="12705"/>
                    <a:pt x="85789" y="12807"/>
                  </a:cubicBezTo>
                  <a:cubicBezTo>
                    <a:pt x="85835" y="12996"/>
                    <a:pt x="85968" y="13153"/>
                    <a:pt x="86146" y="13234"/>
                  </a:cubicBezTo>
                  <a:cubicBezTo>
                    <a:pt x="86244" y="13279"/>
                    <a:pt x="86346" y="13311"/>
                    <a:pt x="86454" y="13325"/>
                  </a:cubicBezTo>
                  <a:cubicBezTo>
                    <a:pt x="86573" y="13346"/>
                    <a:pt x="86678" y="13363"/>
                    <a:pt x="86717" y="13465"/>
                  </a:cubicBezTo>
                  <a:cubicBezTo>
                    <a:pt x="86736" y="13538"/>
                    <a:pt x="86806" y="13586"/>
                    <a:pt x="86879" y="13586"/>
                  </a:cubicBezTo>
                  <a:cubicBezTo>
                    <a:pt x="86897" y="13586"/>
                    <a:pt x="86916" y="13583"/>
                    <a:pt x="86934" y="13577"/>
                  </a:cubicBezTo>
                  <a:cubicBezTo>
                    <a:pt x="86952" y="13573"/>
                    <a:pt x="86970" y="13571"/>
                    <a:pt x="86988" y="13571"/>
                  </a:cubicBezTo>
                  <a:cubicBezTo>
                    <a:pt x="87042" y="13571"/>
                    <a:pt x="87097" y="13587"/>
                    <a:pt x="87144" y="13615"/>
                  </a:cubicBezTo>
                  <a:cubicBezTo>
                    <a:pt x="87176" y="13632"/>
                    <a:pt x="87194" y="13639"/>
                    <a:pt x="87206" y="13639"/>
                  </a:cubicBezTo>
                  <a:cubicBezTo>
                    <a:pt x="87218" y="13639"/>
                    <a:pt x="87225" y="13634"/>
                    <a:pt x="87235" y="13626"/>
                  </a:cubicBezTo>
                  <a:cubicBezTo>
                    <a:pt x="87269" y="13592"/>
                    <a:pt x="87315" y="13573"/>
                    <a:pt x="87362" y="13573"/>
                  </a:cubicBezTo>
                  <a:cubicBezTo>
                    <a:pt x="87383" y="13573"/>
                    <a:pt x="87404" y="13576"/>
                    <a:pt x="87424" y="13584"/>
                  </a:cubicBezTo>
                  <a:cubicBezTo>
                    <a:pt x="87436" y="13589"/>
                    <a:pt x="87450" y="13592"/>
                    <a:pt x="87463" y="13592"/>
                  </a:cubicBezTo>
                  <a:cubicBezTo>
                    <a:pt x="87490" y="13592"/>
                    <a:pt x="87517" y="13580"/>
                    <a:pt x="87536" y="13559"/>
                  </a:cubicBezTo>
                  <a:cubicBezTo>
                    <a:pt x="87501" y="13535"/>
                    <a:pt x="87466" y="13510"/>
                    <a:pt x="87427" y="13493"/>
                  </a:cubicBezTo>
                  <a:cubicBezTo>
                    <a:pt x="87350" y="13451"/>
                    <a:pt x="87284" y="13416"/>
                    <a:pt x="87270" y="13353"/>
                  </a:cubicBezTo>
                  <a:cubicBezTo>
                    <a:pt x="87259" y="13328"/>
                    <a:pt x="87266" y="13300"/>
                    <a:pt x="87280" y="13276"/>
                  </a:cubicBezTo>
                  <a:cubicBezTo>
                    <a:pt x="87294" y="13248"/>
                    <a:pt x="87322" y="13223"/>
                    <a:pt x="87354" y="13216"/>
                  </a:cubicBezTo>
                  <a:cubicBezTo>
                    <a:pt x="87362" y="13215"/>
                    <a:pt x="87369" y="13214"/>
                    <a:pt x="87376" y="13214"/>
                  </a:cubicBezTo>
                  <a:cubicBezTo>
                    <a:pt x="87420" y="13214"/>
                    <a:pt x="87458" y="13238"/>
                    <a:pt x="87494" y="13265"/>
                  </a:cubicBezTo>
                  <a:cubicBezTo>
                    <a:pt x="87522" y="13283"/>
                    <a:pt x="87553" y="13300"/>
                    <a:pt x="87585" y="13307"/>
                  </a:cubicBezTo>
                  <a:cubicBezTo>
                    <a:pt x="87585" y="13286"/>
                    <a:pt x="87581" y="13265"/>
                    <a:pt x="87574" y="13248"/>
                  </a:cubicBezTo>
                  <a:cubicBezTo>
                    <a:pt x="87564" y="13188"/>
                    <a:pt x="87543" y="13083"/>
                    <a:pt x="87627" y="13048"/>
                  </a:cubicBezTo>
                  <a:cubicBezTo>
                    <a:pt x="87655" y="12975"/>
                    <a:pt x="87602" y="12670"/>
                    <a:pt x="87553" y="12624"/>
                  </a:cubicBezTo>
                  <a:cubicBezTo>
                    <a:pt x="87508" y="12610"/>
                    <a:pt x="87476" y="12572"/>
                    <a:pt x="87473" y="12523"/>
                  </a:cubicBezTo>
                  <a:cubicBezTo>
                    <a:pt x="87466" y="12474"/>
                    <a:pt x="87494" y="12425"/>
                    <a:pt x="87539" y="12400"/>
                  </a:cubicBezTo>
                  <a:cubicBezTo>
                    <a:pt x="87554" y="12392"/>
                    <a:pt x="87581" y="12381"/>
                    <a:pt x="87619" y="12381"/>
                  </a:cubicBezTo>
                  <a:cubicBezTo>
                    <a:pt x="87662" y="12381"/>
                    <a:pt x="87719" y="12396"/>
                    <a:pt x="87788" y="12446"/>
                  </a:cubicBezTo>
                  <a:cubicBezTo>
                    <a:pt x="87928" y="12551"/>
                    <a:pt x="88149" y="12561"/>
                    <a:pt x="88292" y="12561"/>
                  </a:cubicBezTo>
                  <a:cubicBezTo>
                    <a:pt x="88268" y="12551"/>
                    <a:pt x="88247" y="12544"/>
                    <a:pt x="88222" y="12537"/>
                  </a:cubicBezTo>
                  <a:cubicBezTo>
                    <a:pt x="88138" y="12523"/>
                    <a:pt x="88121" y="12477"/>
                    <a:pt x="88114" y="12449"/>
                  </a:cubicBezTo>
                  <a:cubicBezTo>
                    <a:pt x="88110" y="12407"/>
                    <a:pt x="88135" y="12365"/>
                    <a:pt x="88177" y="12344"/>
                  </a:cubicBezTo>
                  <a:cubicBezTo>
                    <a:pt x="88205" y="12331"/>
                    <a:pt x="88235" y="12324"/>
                    <a:pt x="88265" y="12324"/>
                  </a:cubicBezTo>
                  <a:cubicBezTo>
                    <a:pt x="88313" y="12324"/>
                    <a:pt x="88361" y="12341"/>
                    <a:pt x="88397" y="12376"/>
                  </a:cubicBezTo>
                  <a:cubicBezTo>
                    <a:pt x="88452" y="12426"/>
                    <a:pt x="88529" y="12447"/>
                    <a:pt x="88568" y="12447"/>
                  </a:cubicBezTo>
                  <a:cubicBezTo>
                    <a:pt x="88578" y="12447"/>
                    <a:pt x="88586" y="12445"/>
                    <a:pt x="88590" y="12442"/>
                  </a:cubicBezTo>
                  <a:cubicBezTo>
                    <a:pt x="88607" y="12333"/>
                    <a:pt x="88718" y="12092"/>
                    <a:pt x="88927" y="12092"/>
                  </a:cubicBezTo>
                  <a:cubicBezTo>
                    <a:pt x="88931" y="12092"/>
                    <a:pt x="88935" y="12092"/>
                    <a:pt x="88940" y="12092"/>
                  </a:cubicBezTo>
                  <a:cubicBezTo>
                    <a:pt x="88964" y="12092"/>
                    <a:pt x="88989" y="12092"/>
                    <a:pt x="89010" y="12085"/>
                  </a:cubicBezTo>
                  <a:cubicBezTo>
                    <a:pt x="89003" y="12082"/>
                    <a:pt x="88992" y="12078"/>
                    <a:pt x="88982" y="12075"/>
                  </a:cubicBezTo>
                  <a:cubicBezTo>
                    <a:pt x="88807" y="12012"/>
                    <a:pt x="88282" y="11676"/>
                    <a:pt x="88138" y="11476"/>
                  </a:cubicBezTo>
                  <a:cubicBezTo>
                    <a:pt x="88058" y="11360"/>
                    <a:pt x="87710" y="11286"/>
                    <a:pt x="87557" y="11286"/>
                  </a:cubicBezTo>
                  <a:cubicBezTo>
                    <a:pt x="87535" y="11286"/>
                    <a:pt x="87517" y="11288"/>
                    <a:pt x="87504" y="11291"/>
                  </a:cubicBezTo>
                  <a:cubicBezTo>
                    <a:pt x="87494" y="11326"/>
                    <a:pt x="87466" y="11350"/>
                    <a:pt x="87431" y="11357"/>
                  </a:cubicBezTo>
                  <a:cubicBezTo>
                    <a:pt x="87424" y="11359"/>
                    <a:pt x="87416" y="11360"/>
                    <a:pt x="87408" y="11360"/>
                  </a:cubicBezTo>
                  <a:cubicBezTo>
                    <a:pt x="87315" y="11360"/>
                    <a:pt x="87178" y="11255"/>
                    <a:pt x="87133" y="11165"/>
                  </a:cubicBezTo>
                  <a:cubicBezTo>
                    <a:pt x="87094" y="11130"/>
                    <a:pt x="86931" y="11110"/>
                    <a:pt x="86783" y="11110"/>
                  </a:cubicBezTo>
                  <a:cubicBezTo>
                    <a:pt x="86680" y="11110"/>
                    <a:pt x="86584" y="11120"/>
                    <a:pt x="86545" y="11140"/>
                  </a:cubicBezTo>
                  <a:cubicBezTo>
                    <a:pt x="86552" y="11154"/>
                    <a:pt x="86570" y="11168"/>
                    <a:pt x="86619" y="11200"/>
                  </a:cubicBezTo>
                  <a:cubicBezTo>
                    <a:pt x="86682" y="11231"/>
                    <a:pt x="86738" y="11280"/>
                    <a:pt x="86783" y="11333"/>
                  </a:cubicBezTo>
                  <a:cubicBezTo>
                    <a:pt x="86864" y="11441"/>
                    <a:pt x="86794" y="11532"/>
                    <a:pt x="86755" y="11588"/>
                  </a:cubicBezTo>
                  <a:cubicBezTo>
                    <a:pt x="86713" y="11644"/>
                    <a:pt x="86699" y="11669"/>
                    <a:pt x="86710" y="11700"/>
                  </a:cubicBezTo>
                  <a:cubicBezTo>
                    <a:pt x="86734" y="11770"/>
                    <a:pt x="86703" y="11805"/>
                    <a:pt x="86685" y="11819"/>
                  </a:cubicBezTo>
                  <a:cubicBezTo>
                    <a:pt x="86671" y="11830"/>
                    <a:pt x="86654" y="11837"/>
                    <a:pt x="86633" y="11837"/>
                  </a:cubicBezTo>
                  <a:cubicBezTo>
                    <a:pt x="86573" y="11837"/>
                    <a:pt x="86474" y="11783"/>
                    <a:pt x="86262" y="11620"/>
                  </a:cubicBezTo>
                  <a:cubicBezTo>
                    <a:pt x="86223" y="11592"/>
                    <a:pt x="86111" y="11504"/>
                    <a:pt x="86213" y="10997"/>
                  </a:cubicBezTo>
                  <a:cubicBezTo>
                    <a:pt x="86220" y="10962"/>
                    <a:pt x="86213" y="10955"/>
                    <a:pt x="86150" y="10916"/>
                  </a:cubicBezTo>
                  <a:cubicBezTo>
                    <a:pt x="86090" y="10878"/>
                    <a:pt x="86020" y="10836"/>
                    <a:pt x="86003" y="10727"/>
                  </a:cubicBezTo>
                  <a:cubicBezTo>
                    <a:pt x="85985" y="10650"/>
                    <a:pt x="85600" y="10415"/>
                    <a:pt x="84980" y="10156"/>
                  </a:cubicBezTo>
                  <a:cubicBezTo>
                    <a:pt x="84910" y="10125"/>
                    <a:pt x="84830" y="10097"/>
                    <a:pt x="84753" y="10065"/>
                  </a:cubicBezTo>
                  <a:cubicBezTo>
                    <a:pt x="84487" y="9964"/>
                    <a:pt x="84235" y="9869"/>
                    <a:pt x="84144" y="9726"/>
                  </a:cubicBezTo>
                  <a:cubicBezTo>
                    <a:pt x="84109" y="9670"/>
                    <a:pt x="83958" y="9628"/>
                    <a:pt x="83811" y="9586"/>
                  </a:cubicBezTo>
                  <a:cubicBezTo>
                    <a:pt x="83622" y="9530"/>
                    <a:pt x="83408" y="9467"/>
                    <a:pt x="83286" y="9341"/>
                  </a:cubicBezTo>
                  <a:cubicBezTo>
                    <a:pt x="83100" y="9145"/>
                    <a:pt x="82194" y="8753"/>
                    <a:pt x="81802" y="8728"/>
                  </a:cubicBezTo>
                  <a:cubicBezTo>
                    <a:pt x="81553" y="8714"/>
                    <a:pt x="81469" y="8623"/>
                    <a:pt x="81413" y="8564"/>
                  </a:cubicBezTo>
                  <a:cubicBezTo>
                    <a:pt x="81382" y="8529"/>
                    <a:pt x="81369" y="8516"/>
                    <a:pt x="81339" y="8516"/>
                  </a:cubicBezTo>
                  <a:cubicBezTo>
                    <a:pt x="81332" y="8516"/>
                    <a:pt x="81324" y="8517"/>
                    <a:pt x="81315" y="8518"/>
                  </a:cubicBezTo>
                  <a:cubicBezTo>
                    <a:pt x="81261" y="8527"/>
                    <a:pt x="81163" y="8531"/>
                    <a:pt x="81044" y="8531"/>
                  </a:cubicBezTo>
                  <a:cubicBezTo>
                    <a:pt x="80707" y="8531"/>
                    <a:pt x="80198" y="8500"/>
                    <a:pt x="80009" y="8469"/>
                  </a:cubicBezTo>
                  <a:cubicBezTo>
                    <a:pt x="79990" y="8466"/>
                    <a:pt x="79971" y="8464"/>
                    <a:pt x="79953" y="8464"/>
                  </a:cubicBezTo>
                  <a:cubicBezTo>
                    <a:pt x="79888" y="8464"/>
                    <a:pt x="79825" y="8483"/>
                    <a:pt x="79771" y="8518"/>
                  </a:cubicBezTo>
                  <a:cubicBezTo>
                    <a:pt x="79722" y="8542"/>
                    <a:pt x="79667" y="8568"/>
                    <a:pt x="79601" y="8568"/>
                  </a:cubicBezTo>
                  <a:cubicBezTo>
                    <a:pt x="79569" y="8568"/>
                    <a:pt x="79533" y="8562"/>
                    <a:pt x="79495" y="8546"/>
                  </a:cubicBezTo>
                  <a:cubicBezTo>
                    <a:pt x="79074" y="8384"/>
                    <a:pt x="78547" y="8231"/>
                    <a:pt x="78362" y="8231"/>
                  </a:cubicBezTo>
                  <a:cubicBezTo>
                    <a:pt x="78335" y="8231"/>
                    <a:pt x="78315" y="8234"/>
                    <a:pt x="78304" y="8241"/>
                  </a:cubicBezTo>
                  <a:cubicBezTo>
                    <a:pt x="78266" y="8290"/>
                    <a:pt x="78238" y="8350"/>
                    <a:pt x="78231" y="8416"/>
                  </a:cubicBezTo>
                  <a:cubicBezTo>
                    <a:pt x="78210" y="8494"/>
                    <a:pt x="78189" y="8581"/>
                    <a:pt x="78098" y="8613"/>
                  </a:cubicBezTo>
                  <a:cubicBezTo>
                    <a:pt x="78108" y="8641"/>
                    <a:pt x="78154" y="8728"/>
                    <a:pt x="78385" y="8938"/>
                  </a:cubicBezTo>
                  <a:cubicBezTo>
                    <a:pt x="78507" y="9050"/>
                    <a:pt x="78560" y="9162"/>
                    <a:pt x="78539" y="9271"/>
                  </a:cubicBezTo>
                  <a:cubicBezTo>
                    <a:pt x="78521" y="9393"/>
                    <a:pt x="78413" y="9502"/>
                    <a:pt x="78227" y="9579"/>
                  </a:cubicBezTo>
                  <a:cubicBezTo>
                    <a:pt x="78172" y="9603"/>
                    <a:pt x="78111" y="9614"/>
                    <a:pt x="78048" y="9614"/>
                  </a:cubicBezTo>
                  <a:cubicBezTo>
                    <a:pt x="77793" y="9614"/>
                    <a:pt x="77501" y="9437"/>
                    <a:pt x="77398" y="9274"/>
                  </a:cubicBezTo>
                  <a:cubicBezTo>
                    <a:pt x="77352" y="9211"/>
                    <a:pt x="77271" y="9187"/>
                    <a:pt x="77184" y="9159"/>
                  </a:cubicBezTo>
                  <a:cubicBezTo>
                    <a:pt x="77054" y="9120"/>
                    <a:pt x="76911" y="9078"/>
                    <a:pt x="76855" y="8910"/>
                  </a:cubicBezTo>
                  <a:cubicBezTo>
                    <a:pt x="76799" y="8735"/>
                    <a:pt x="76862" y="8658"/>
                    <a:pt x="76904" y="8630"/>
                  </a:cubicBezTo>
                  <a:cubicBezTo>
                    <a:pt x="76932" y="8611"/>
                    <a:pt x="76965" y="8601"/>
                    <a:pt x="77001" y="8601"/>
                  </a:cubicBezTo>
                  <a:cubicBezTo>
                    <a:pt x="77069" y="8601"/>
                    <a:pt x="77148" y="8635"/>
                    <a:pt x="77219" y="8697"/>
                  </a:cubicBezTo>
                  <a:cubicBezTo>
                    <a:pt x="77252" y="8725"/>
                    <a:pt x="77294" y="8740"/>
                    <a:pt x="77336" y="8740"/>
                  </a:cubicBezTo>
                  <a:cubicBezTo>
                    <a:pt x="77357" y="8740"/>
                    <a:pt x="77378" y="8736"/>
                    <a:pt x="77398" y="8728"/>
                  </a:cubicBezTo>
                  <a:cubicBezTo>
                    <a:pt x="77461" y="8704"/>
                    <a:pt x="77506" y="8648"/>
                    <a:pt x="77517" y="8585"/>
                  </a:cubicBezTo>
                  <a:cubicBezTo>
                    <a:pt x="77517" y="8578"/>
                    <a:pt x="77520" y="8564"/>
                    <a:pt x="77496" y="8539"/>
                  </a:cubicBezTo>
                  <a:cubicBezTo>
                    <a:pt x="77407" y="8444"/>
                    <a:pt x="77125" y="8373"/>
                    <a:pt x="76937" y="8373"/>
                  </a:cubicBezTo>
                  <a:cubicBezTo>
                    <a:pt x="76925" y="8373"/>
                    <a:pt x="76912" y="8374"/>
                    <a:pt x="76900" y="8374"/>
                  </a:cubicBezTo>
                  <a:cubicBezTo>
                    <a:pt x="76781" y="8385"/>
                    <a:pt x="76687" y="8490"/>
                    <a:pt x="76578" y="8609"/>
                  </a:cubicBezTo>
                  <a:cubicBezTo>
                    <a:pt x="76494" y="8714"/>
                    <a:pt x="76393" y="8805"/>
                    <a:pt x="76281" y="8879"/>
                  </a:cubicBezTo>
                  <a:cubicBezTo>
                    <a:pt x="76209" y="8918"/>
                    <a:pt x="76085" y="8934"/>
                    <a:pt x="75939" y="8934"/>
                  </a:cubicBezTo>
                  <a:cubicBezTo>
                    <a:pt x="75529" y="8934"/>
                    <a:pt x="74944" y="8808"/>
                    <a:pt x="74838" y="8718"/>
                  </a:cubicBezTo>
                  <a:cubicBezTo>
                    <a:pt x="74806" y="8701"/>
                    <a:pt x="74697" y="8694"/>
                    <a:pt x="74551" y="8694"/>
                  </a:cubicBezTo>
                  <a:cubicBezTo>
                    <a:pt x="74121" y="8694"/>
                    <a:pt x="73364" y="8756"/>
                    <a:pt x="73270" y="8819"/>
                  </a:cubicBezTo>
                  <a:cubicBezTo>
                    <a:pt x="73214" y="8854"/>
                    <a:pt x="73214" y="9001"/>
                    <a:pt x="73214" y="9099"/>
                  </a:cubicBezTo>
                  <a:cubicBezTo>
                    <a:pt x="73214" y="9211"/>
                    <a:pt x="73214" y="9302"/>
                    <a:pt x="73147" y="9334"/>
                  </a:cubicBezTo>
                  <a:cubicBezTo>
                    <a:pt x="73136" y="9338"/>
                    <a:pt x="73125" y="9340"/>
                    <a:pt x="73113" y="9340"/>
                  </a:cubicBezTo>
                  <a:cubicBezTo>
                    <a:pt x="73096" y="9340"/>
                    <a:pt x="73078" y="9335"/>
                    <a:pt x="73063" y="9327"/>
                  </a:cubicBezTo>
                  <a:cubicBezTo>
                    <a:pt x="72948" y="9250"/>
                    <a:pt x="72909" y="8753"/>
                    <a:pt x="72909" y="8746"/>
                  </a:cubicBezTo>
                  <a:cubicBezTo>
                    <a:pt x="72909" y="8728"/>
                    <a:pt x="72815" y="8658"/>
                    <a:pt x="72552" y="8658"/>
                  </a:cubicBezTo>
                  <a:cubicBezTo>
                    <a:pt x="72311" y="8658"/>
                    <a:pt x="72202" y="8651"/>
                    <a:pt x="72167" y="8571"/>
                  </a:cubicBezTo>
                  <a:cubicBezTo>
                    <a:pt x="72150" y="8529"/>
                    <a:pt x="72167" y="8483"/>
                    <a:pt x="72216" y="8434"/>
                  </a:cubicBezTo>
                  <a:cubicBezTo>
                    <a:pt x="72234" y="8416"/>
                    <a:pt x="72234" y="8406"/>
                    <a:pt x="72220" y="8357"/>
                  </a:cubicBezTo>
                  <a:cubicBezTo>
                    <a:pt x="72202" y="8290"/>
                    <a:pt x="72174" y="8182"/>
                    <a:pt x="72321" y="8077"/>
                  </a:cubicBezTo>
                  <a:cubicBezTo>
                    <a:pt x="72332" y="8073"/>
                    <a:pt x="72335" y="8063"/>
                    <a:pt x="72332" y="8052"/>
                  </a:cubicBezTo>
                  <a:cubicBezTo>
                    <a:pt x="72318" y="7916"/>
                    <a:pt x="71905" y="7597"/>
                    <a:pt x="71446" y="7415"/>
                  </a:cubicBezTo>
                  <a:cubicBezTo>
                    <a:pt x="71238" y="7335"/>
                    <a:pt x="70923" y="7306"/>
                    <a:pt x="70601" y="7306"/>
                  </a:cubicBezTo>
                  <a:cubicBezTo>
                    <a:pt x="70109" y="7306"/>
                    <a:pt x="69599" y="7373"/>
                    <a:pt x="69419" y="7426"/>
                  </a:cubicBezTo>
                  <a:cubicBezTo>
                    <a:pt x="69206" y="7489"/>
                    <a:pt x="68864" y="7500"/>
                    <a:pt x="68566" y="7500"/>
                  </a:cubicBezTo>
                  <a:cubicBezTo>
                    <a:pt x="68502" y="7500"/>
                    <a:pt x="68441" y="7500"/>
                    <a:pt x="68383" y="7499"/>
                  </a:cubicBezTo>
                  <a:lnTo>
                    <a:pt x="68124" y="7499"/>
                  </a:lnTo>
                  <a:cubicBezTo>
                    <a:pt x="68110" y="7500"/>
                    <a:pt x="68097" y="7500"/>
                    <a:pt x="68085" y="7500"/>
                  </a:cubicBezTo>
                  <a:cubicBezTo>
                    <a:pt x="68006" y="7500"/>
                    <a:pt x="67947" y="7489"/>
                    <a:pt x="67917" y="7447"/>
                  </a:cubicBezTo>
                  <a:cubicBezTo>
                    <a:pt x="67893" y="7401"/>
                    <a:pt x="67893" y="7352"/>
                    <a:pt x="67917" y="7307"/>
                  </a:cubicBezTo>
                  <a:cubicBezTo>
                    <a:pt x="67931" y="7265"/>
                    <a:pt x="67938" y="7233"/>
                    <a:pt x="67921" y="7202"/>
                  </a:cubicBezTo>
                  <a:cubicBezTo>
                    <a:pt x="67879" y="7135"/>
                    <a:pt x="67662" y="7027"/>
                    <a:pt x="67473" y="6999"/>
                  </a:cubicBezTo>
                  <a:cubicBezTo>
                    <a:pt x="67445" y="6994"/>
                    <a:pt x="67422" y="6993"/>
                    <a:pt x="67404" y="6993"/>
                  </a:cubicBezTo>
                  <a:cubicBezTo>
                    <a:pt x="67366" y="6993"/>
                    <a:pt x="67348" y="7000"/>
                    <a:pt x="67343" y="7002"/>
                  </a:cubicBezTo>
                  <a:cubicBezTo>
                    <a:pt x="67317" y="7054"/>
                    <a:pt x="67264" y="7084"/>
                    <a:pt x="67207" y="7084"/>
                  </a:cubicBezTo>
                  <a:cubicBezTo>
                    <a:pt x="67194" y="7084"/>
                    <a:pt x="67181" y="7082"/>
                    <a:pt x="67168" y="7079"/>
                  </a:cubicBezTo>
                  <a:cubicBezTo>
                    <a:pt x="67084" y="7051"/>
                    <a:pt x="67025" y="6978"/>
                    <a:pt x="67014" y="6890"/>
                  </a:cubicBezTo>
                  <a:cubicBezTo>
                    <a:pt x="66963" y="6833"/>
                    <a:pt x="66639" y="6711"/>
                    <a:pt x="66458" y="6711"/>
                  </a:cubicBezTo>
                  <a:cubicBezTo>
                    <a:pt x="66438" y="6711"/>
                    <a:pt x="66420" y="6712"/>
                    <a:pt x="66405" y="6715"/>
                  </a:cubicBezTo>
                  <a:cubicBezTo>
                    <a:pt x="66386" y="6720"/>
                    <a:pt x="66366" y="6722"/>
                    <a:pt x="66347" y="6722"/>
                  </a:cubicBezTo>
                  <a:cubicBezTo>
                    <a:pt x="66279" y="6722"/>
                    <a:pt x="66213" y="6693"/>
                    <a:pt x="66167" y="6642"/>
                  </a:cubicBezTo>
                  <a:cubicBezTo>
                    <a:pt x="66132" y="6600"/>
                    <a:pt x="66125" y="6544"/>
                    <a:pt x="66149" y="6495"/>
                  </a:cubicBezTo>
                  <a:cubicBezTo>
                    <a:pt x="66163" y="6463"/>
                    <a:pt x="66209" y="6407"/>
                    <a:pt x="66335" y="6407"/>
                  </a:cubicBezTo>
                  <a:lnTo>
                    <a:pt x="66433" y="6407"/>
                  </a:lnTo>
                  <a:cubicBezTo>
                    <a:pt x="66458" y="6408"/>
                    <a:pt x="66494" y="6409"/>
                    <a:pt x="66532" y="6409"/>
                  </a:cubicBezTo>
                  <a:cubicBezTo>
                    <a:pt x="66626" y="6409"/>
                    <a:pt x="66738" y="6403"/>
                    <a:pt x="66755" y="6375"/>
                  </a:cubicBezTo>
                  <a:cubicBezTo>
                    <a:pt x="66755" y="6368"/>
                    <a:pt x="66755" y="6347"/>
                    <a:pt x="66723" y="6298"/>
                  </a:cubicBezTo>
                  <a:cubicBezTo>
                    <a:pt x="66606" y="6116"/>
                    <a:pt x="65583" y="6022"/>
                    <a:pt x="65187" y="6022"/>
                  </a:cubicBezTo>
                  <a:cubicBezTo>
                    <a:pt x="65112" y="6022"/>
                    <a:pt x="65060" y="6026"/>
                    <a:pt x="65040" y="6032"/>
                  </a:cubicBezTo>
                  <a:cubicBezTo>
                    <a:pt x="65019" y="6039"/>
                    <a:pt x="65012" y="6046"/>
                    <a:pt x="64994" y="6116"/>
                  </a:cubicBezTo>
                  <a:cubicBezTo>
                    <a:pt x="64970" y="6214"/>
                    <a:pt x="64935" y="6365"/>
                    <a:pt x="64738" y="6551"/>
                  </a:cubicBezTo>
                  <a:cubicBezTo>
                    <a:pt x="64603" y="6677"/>
                    <a:pt x="64468" y="6724"/>
                    <a:pt x="64354" y="6724"/>
                  </a:cubicBezTo>
                  <a:cubicBezTo>
                    <a:pt x="64280" y="6724"/>
                    <a:pt x="64214" y="6704"/>
                    <a:pt x="64164" y="6673"/>
                  </a:cubicBezTo>
                  <a:cubicBezTo>
                    <a:pt x="64070" y="6617"/>
                    <a:pt x="64024" y="6523"/>
                    <a:pt x="64045" y="6439"/>
                  </a:cubicBezTo>
                  <a:cubicBezTo>
                    <a:pt x="64077" y="6333"/>
                    <a:pt x="64203" y="6295"/>
                    <a:pt x="64315" y="6263"/>
                  </a:cubicBezTo>
                  <a:cubicBezTo>
                    <a:pt x="64364" y="6249"/>
                    <a:pt x="64462" y="6218"/>
                    <a:pt x="64472" y="6193"/>
                  </a:cubicBezTo>
                  <a:cubicBezTo>
                    <a:pt x="64441" y="6172"/>
                    <a:pt x="64308" y="6158"/>
                    <a:pt x="64227" y="6151"/>
                  </a:cubicBezTo>
                  <a:cubicBezTo>
                    <a:pt x="64066" y="6137"/>
                    <a:pt x="63923" y="6123"/>
                    <a:pt x="63870" y="6039"/>
                  </a:cubicBezTo>
                  <a:cubicBezTo>
                    <a:pt x="63828" y="5990"/>
                    <a:pt x="63828" y="5917"/>
                    <a:pt x="63867" y="5864"/>
                  </a:cubicBezTo>
                  <a:cubicBezTo>
                    <a:pt x="63910" y="5805"/>
                    <a:pt x="64000" y="5773"/>
                    <a:pt x="64101" y="5773"/>
                  </a:cubicBezTo>
                  <a:cubicBezTo>
                    <a:pt x="64149" y="5773"/>
                    <a:pt x="64199" y="5780"/>
                    <a:pt x="64248" y="5794"/>
                  </a:cubicBezTo>
                  <a:cubicBezTo>
                    <a:pt x="64366" y="5830"/>
                    <a:pt x="64488" y="5845"/>
                    <a:pt x="64611" y="5845"/>
                  </a:cubicBezTo>
                  <a:cubicBezTo>
                    <a:pt x="64635" y="5845"/>
                    <a:pt x="64659" y="5844"/>
                    <a:pt x="64682" y="5843"/>
                  </a:cubicBezTo>
                  <a:cubicBezTo>
                    <a:pt x="64591" y="5819"/>
                    <a:pt x="64497" y="5798"/>
                    <a:pt x="64402" y="5787"/>
                  </a:cubicBezTo>
                  <a:lnTo>
                    <a:pt x="64245" y="5759"/>
                  </a:lnTo>
                  <a:cubicBezTo>
                    <a:pt x="64178" y="5749"/>
                    <a:pt x="64094" y="5731"/>
                    <a:pt x="64000" y="5714"/>
                  </a:cubicBezTo>
                  <a:cubicBezTo>
                    <a:pt x="63670" y="5649"/>
                    <a:pt x="63193" y="5554"/>
                    <a:pt x="62866" y="5554"/>
                  </a:cubicBezTo>
                  <a:cubicBezTo>
                    <a:pt x="62822" y="5554"/>
                    <a:pt x="62781" y="5556"/>
                    <a:pt x="62743" y="5560"/>
                  </a:cubicBezTo>
                  <a:cubicBezTo>
                    <a:pt x="62704" y="5563"/>
                    <a:pt x="62667" y="5565"/>
                    <a:pt x="62632" y="5565"/>
                  </a:cubicBezTo>
                  <a:cubicBezTo>
                    <a:pt x="62416" y="5565"/>
                    <a:pt x="62264" y="5506"/>
                    <a:pt x="62137" y="5455"/>
                  </a:cubicBezTo>
                  <a:cubicBezTo>
                    <a:pt x="62064" y="5420"/>
                    <a:pt x="61987" y="5399"/>
                    <a:pt x="61906" y="5388"/>
                  </a:cubicBezTo>
                  <a:cubicBezTo>
                    <a:pt x="61893" y="5387"/>
                    <a:pt x="61882" y="5387"/>
                    <a:pt x="61871" y="5387"/>
                  </a:cubicBezTo>
                  <a:cubicBezTo>
                    <a:pt x="61816" y="5387"/>
                    <a:pt x="61794" y="5400"/>
                    <a:pt x="61791" y="5409"/>
                  </a:cubicBezTo>
                  <a:cubicBezTo>
                    <a:pt x="61784" y="5420"/>
                    <a:pt x="61791" y="5469"/>
                    <a:pt x="61840" y="5532"/>
                  </a:cubicBezTo>
                  <a:cubicBezTo>
                    <a:pt x="61878" y="5574"/>
                    <a:pt x="61885" y="5633"/>
                    <a:pt x="61857" y="5682"/>
                  </a:cubicBezTo>
                  <a:cubicBezTo>
                    <a:pt x="61806" y="5777"/>
                    <a:pt x="61628" y="5819"/>
                    <a:pt x="61449" y="5819"/>
                  </a:cubicBezTo>
                  <a:cubicBezTo>
                    <a:pt x="61396" y="5819"/>
                    <a:pt x="61343" y="5816"/>
                    <a:pt x="61294" y="5808"/>
                  </a:cubicBezTo>
                  <a:cubicBezTo>
                    <a:pt x="61271" y="5805"/>
                    <a:pt x="61247" y="5803"/>
                    <a:pt x="61223" y="5803"/>
                  </a:cubicBezTo>
                  <a:cubicBezTo>
                    <a:pt x="61062" y="5803"/>
                    <a:pt x="60891" y="5880"/>
                    <a:pt x="60846" y="5959"/>
                  </a:cubicBezTo>
                  <a:cubicBezTo>
                    <a:pt x="60828" y="5983"/>
                    <a:pt x="60832" y="6018"/>
                    <a:pt x="60853" y="6043"/>
                  </a:cubicBezTo>
                  <a:cubicBezTo>
                    <a:pt x="60882" y="6078"/>
                    <a:pt x="60908" y="6092"/>
                    <a:pt x="60937" y="6092"/>
                  </a:cubicBezTo>
                  <a:cubicBezTo>
                    <a:pt x="60966" y="6092"/>
                    <a:pt x="61000" y="6078"/>
                    <a:pt x="61045" y="6057"/>
                  </a:cubicBezTo>
                  <a:cubicBezTo>
                    <a:pt x="61088" y="6038"/>
                    <a:pt x="61139" y="6015"/>
                    <a:pt x="61193" y="6015"/>
                  </a:cubicBezTo>
                  <a:cubicBezTo>
                    <a:pt x="61218" y="6015"/>
                    <a:pt x="61244" y="6020"/>
                    <a:pt x="61269" y="6032"/>
                  </a:cubicBezTo>
                  <a:cubicBezTo>
                    <a:pt x="61301" y="6046"/>
                    <a:pt x="61325" y="6078"/>
                    <a:pt x="61329" y="6113"/>
                  </a:cubicBezTo>
                  <a:cubicBezTo>
                    <a:pt x="61332" y="6176"/>
                    <a:pt x="61269" y="6218"/>
                    <a:pt x="61199" y="6267"/>
                  </a:cubicBezTo>
                  <a:cubicBezTo>
                    <a:pt x="61175" y="6284"/>
                    <a:pt x="61147" y="6302"/>
                    <a:pt x="61122" y="6323"/>
                  </a:cubicBezTo>
                  <a:cubicBezTo>
                    <a:pt x="61322" y="6418"/>
                    <a:pt x="61325" y="6596"/>
                    <a:pt x="61325" y="6701"/>
                  </a:cubicBezTo>
                  <a:lnTo>
                    <a:pt x="61325" y="6750"/>
                  </a:lnTo>
                  <a:cubicBezTo>
                    <a:pt x="61325" y="6775"/>
                    <a:pt x="61322" y="6841"/>
                    <a:pt x="61224" y="6883"/>
                  </a:cubicBezTo>
                  <a:cubicBezTo>
                    <a:pt x="61179" y="6901"/>
                    <a:pt x="61120" y="6912"/>
                    <a:pt x="61058" y="6912"/>
                  </a:cubicBezTo>
                  <a:cubicBezTo>
                    <a:pt x="60952" y="6912"/>
                    <a:pt x="60836" y="6880"/>
                    <a:pt x="60765" y="6796"/>
                  </a:cubicBezTo>
                  <a:cubicBezTo>
                    <a:pt x="60737" y="6761"/>
                    <a:pt x="60705" y="6749"/>
                    <a:pt x="60659" y="6749"/>
                  </a:cubicBezTo>
                  <a:cubicBezTo>
                    <a:pt x="60627" y="6749"/>
                    <a:pt x="60587" y="6755"/>
                    <a:pt x="60537" y="6764"/>
                  </a:cubicBezTo>
                  <a:cubicBezTo>
                    <a:pt x="60470" y="6779"/>
                    <a:pt x="60403" y="6786"/>
                    <a:pt x="60334" y="6786"/>
                  </a:cubicBezTo>
                  <a:cubicBezTo>
                    <a:pt x="60320" y="6786"/>
                    <a:pt x="60306" y="6786"/>
                    <a:pt x="60292" y="6785"/>
                  </a:cubicBezTo>
                  <a:lnTo>
                    <a:pt x="60205" y="6785"/>
                  </a:lnTo>
                  <a:cubicBezTo>
                    <a:pt x="60341" y="6817"/>
                    <a:pt x="60425" y="6883"/>
                    <a:pt x="60425" y="6960"/>
                  </a:cubicBezTo>
                  <a:cubicBezTo>
                    <a:pt x="60425" y="7023"/>
                    <a:pt x="60376" y="7104"/>
                    <a:pt x="60152" y="7125"/>
                  </a:cubicBezTo>
                  <a:cubicBezTo>
                    <a:pt x="60134" y="7127"/>
                    <a:pt x="60116" y="7128"/>
                    <a:pt x="60099" y="7128"/>
                  </a:cubicBezTo>
                  <a:cubicBezTo>
                    <a:pt x="59917" y="7128"/>
                    <a:pt x="59854" y="7013"/>
                    <a:pt x="59809" y="6936"/>
                  </a:cubicBezTo>
                  <a:cubicBezTo>
                    <a:pt x="59773" y="6877"/>
                    <a:pt x="59761" y="6863"/>
                    <a:pt x="59741" y="6863"/>
                  </a:cubicBezTo>
                  <a:cubicBezTo>
                    <a:pt x="59735" y="6863"/>
                    <a:pt x="59729" y="6864"/>
                    <a:pt x="59722" y="6866"/>
                  </a:cubicBezTo>
                  <a:cubicBezTo>
                    <a:pt x="59699" y="6870"/>
                    <a:pt x="59674" y="6872"/>
                    <a:pt x="59647" y="6872"/>
                  </a:cubicBezTo>
                  <a:cubicBezTo>
                    <a:pt x="59536" y="6872"/>
                    <a:pt x="59396" y="6835"/>
                    <a:pt x="59249" y="6796"/>
                  </a:cubicBezTo>
                  <a:cubicBezTo>
                    <a:pt x="59115" y="6759"/>
                    <a:pt x="58978" y="6722"/>
                    <a:pt x="58883" y="6722"/>
                  </a:cubicBezTo>
                  <a:cubicBezTo>
                    <a:pt x="58879" y="6722"/>
                    <a:pt x="58875" y="6722"/>
                    <a:pt x="58871" y="6722"/>
                  </a:cubicBezTo>
                  <a:cubicBezTo>
                    <a:pt x="58784" y="6729"/>
                    <a:pt x="58700" y="6757"/>
                    <a:pt x="58622" y="6806"/>
                  </a:cubicBezTo>
                  <a:cubicBezTo>
                    <a:pt x="58507" y="6876"/>
                    <a:pt x="58377" y="6918"/>
                    <a:pt x="58244" y="6932"/>
                  </a:cubicBezTo>
                  <a:cubicBezTo>
                    <a:pt x="58225" y="6934"/>
                    <a:pt x="58206" y="6934"/>
                    <a:pt x="58186" y="6934"/>
                  </a:cubicBezTo>
                  <a:cubicBezTo>
                    <a:pt x="57867" y="6934"/>
                    <a:pt x="57484" y="6754"/>
                    <a:pt x="57362" y="6589"/>
                  </a:cubicBezTo>
                  <a:cubicBezTo>
                    <a:pt x="57327" y="6544"/>
                    <a:pt x="57275" y="6474"/>
                    <a:pt x="57254" y="6470"/>
                  </a:cubicBezTo>
                  <a:cubicBezTo>
                    <a:pt x="57254" y="6470"/>
                    <a:pt x="57229" y="6474"/>
                    <a:pt x="57159" y="6565"/>
                  </a:cubicBezTo>
                  <a:cubicBezTo>
                    <a:pt x="57100" y="6652"/>
                    <a:pt x="57058" y="6747"/>
                    <a:pt x="57033" y="6848"/>
                  </a:cubicBezTo>
                  <a:cubicBezTo>
                    <a:pt x="56984" y="6995"/>
                    <a:pt x="56939" y="7135"/>
                    <a:pt x="56816" y="7156"/>
                  </a:cubicBezTo>
                  <a:cubicBezTo>
                    <a:pt x="56771" y="7163"/>
                    <a:pt x="56722" y="7251"/>
                    <a:pt x="56680" y="7331"/>
                  </a:cubicBezTo>
                  <a:cubicBezTo>
                    <a:pt x="56631" y="7426"/>
                    <a:pt x="56574" y="7524"/>
                    <a:pt x="56490" y="7569"/>
                  </a:cubicBezTo>
                  <a:cubicBezTo>
                    <a:pt x="56455" y="7590"/>
                    <a:pt x="56424" y="7598"/>
                    <a:pt x="56396" y="7598"/>
                  </a:cubicBezTo>
                  <a:cubicBezTo>
                    <a:pt x="56334" y="7598"/>
                    <a:pt x="56290" y="7557"/>
                    <a:pt x="56256" y="7531"/>
                  </a:cubicBezTo>
                  <a:cubicBezTo>
                    <a:pt x="56227" y="7492"/>
                    <a:pt x="56183" y="7474"/>
                    <a:pt x="56139" y="7474"/>
                  </a:cubicBezTo>
                  <a:cubicBezTo>
                    <a:pt x="56134" y="7474"/>
                    <a:pt x="56130" y="7474"/>
                    <a:pt x="56126" y="7475"/>
                  </a:cubicBezTo>
                  <a:lnTo>
                    <a:pt x="56112" y="7475"/>
                  </a:lnTo>
                  <a:cubicBezTo>
                    <a:pt x="55874" y="7475"/>
                    <a:pt x="55272" y="6866"/>
                    <a:pt x="55237" y="6687"/>
                  </a:cubicBezTo>
                  <a:cubicBezTo>
                    <a:pt x="55213" y="6547"/>
                    <a:pt x="54873" y="6242"/>
                    <a:pt x="54765" y="6169"/>
                  </a:cubicBezTo>
                  <a:cubicBezTo>
                    <a:pt x="54730" y="6151"/>
                    <a:pt x="54709" y="6113"/>
                    <a:pt x="54712" y="6074"/>
                  </a:cubicBezTo>
                  <a:cubicBezTo>
                    <a:pt x="54716" y="6039"/>
                    <a:pt x="54740" y="6011"/>
                    <a:pt x="54772" y="6001"/>
                  </a:cubicBezTo>
                  <a:cubicBezTo>
                    <a:pt x="54791" y="5993"/>
                    <a:pt x="54815" y="5989"/>
                    <a:pt x="54841" y="5989"/>
                  </a:cubicBezTo>
                  <a:cubicBezTo>
                    <a:pt x="54910" y="5989"/>
                    <a:pt x="54996" y="6016"/>
                    <a:pt x="55062" y="6074"/>
                  </a:cubicBezTo>
                  <a:cubicBezTo>
                    <a:pt x="55115" y="6119"/>
                    <a:pt x="55181" y="6143"/>
                    <a:pt x="55248" y="6143"/>
                  </a:cubicBezTo>
                  <a:cubicBezTo>
                    <a:pt x="55296" y="6143"/>
                    <a:pt x="55344" y="6131"/>
                    <a:pt x="55388" y="6106"/>
                  </a:cubicBezTo>
                  <a:cubicBezTo>
                    <a:pt x="55416" y="6088"/>
                    <a:pt x="55437" y="6025"/>
                    <a:pt x="55423" y="5959"/>
                  </a:cubicBezTo>
                  <a:cubicBezTo>
                    <a:pt x="55416" y="5903"/>
                    <a:pt x="55367" y="5861"/>
                    <a:pt x="55311" y="5857"/>
                  </a:cubicBezTo>
                  <a:cubicBezTo>
                    <a:pt x="55150" y="5850"/>
                    <a:pt x="55122" y="5763"/>
                    <a:pt x="55115" y="5724"/>
                  </a:cubicBezTo>
                  <a:cubicBezTo>
                    <a:pt x="55111" y="5640"/>
                    <a:pt x="55157" y="5563"/>
                    <a:pt x="55234" y="5525"/>
                  </a:cubicBezTo>
                  <a:cubicBezTo>
                    <a:pt x="55220" y="5497"/>
                    <a:pt x="55192" y="5458"/>
                    <a:pt x="55174" y="5430"/>
                  </a:cubicBezTo>
                  <a:cubicBezTo>
                    <a:pt x="55115" y="5339"/>
                    <a:pt x="55062" y="5259"/>
                    <a:pt x="55087" y="5189"/>
                  </a:cubicBezTo>
                  <a:cubicBezTo>
                    <a:pt x="55101" y="5161"/>
                    <a:pt x="55129" y="5136"/>
                    <a:pt x="55160" y="5129"/>
                  </a:cubicBezTo>
                  <a:cubicBezTo>
                    <a:pt x="55167" y="5129"/>
                    <a:pt x="55174" y="5126"/>
                    <a:pt x="55181" y="5122"/>
                  </a:cubicBezTo>
                  <a:cubicBezTo>
                    <a:pt x="55174" y="5108"/>
                    <a:pt x="55139" y="5073"/>
                    <a:pt x="55062" y="5063"/>
                  </a:cubicBezTo>
                  <a:cubicBezTo>
                    <a:pt x="54873" y="5038"/>
                    <a:pt x="54670" y="4895"/>
                    <a:pt x="54639" y="4769"/>
                  </a:cubicBezTo>
                  <a:cubicBezTo>
                    <a:pt x="54585" y="4745"/>
                    <a:pt x="54432" y="4731"/>
                    <a:pt x="54291" y="4731"/>
                  </a:cubicBezTo>
                  <a:cubicBezTo>
                    <a:pt x="54182" y="4731"/>
                    <a:pt x="54080" y="4740"/>
                    <a:pt x="54040" y="4758"/>
                  </a:cubicBezTo>
                  <a:cubicBezTo>
                    <a:pt x="54043" y="4800"/>
                    <a:pt x="54022" y="4846"/>
                    <a:pt x="53987" y="4870"/>
                  </a:cubicBezTo>
                  <a:cubicBezTo>
                    <a:pt x="53955" y="4886"/>
                    <a:pt x="53920" y="4895"/>
                    <a:pt x="53885" y="4895"/>
                  </a:cubicBezTo>
                  <a:cubicBezTo>
                    <a:pt x="53837" y="4895"/>
                    <a:pt x="53790" y="4879"/>
                    <a:pt x="53749" y="4849"/>
                  </a:cubicBezTo>
                  <a:cubicBezTo>
                    <a:pt x="53714" y="4821"/>
                    <a:pt x="53697" y="4776"/>
                    <a:pt x="53704" y="4730"/>
                  </a:cubicBezTo>
                  <a:cubicBezTo>
                    <a:pt x="53644" y="4716"/>
                    <a:pt x="53585" y="4706"/>
                    <a:pt x="53525" y="4699"/>
                  </a:cubicBezTo>
                  <a:cubicBezTo>
                    <a:pt x="53392" y="4685"/>
                    <a:pt x="53259" y="4660"/>
                    <a:pt x="53130" y="4625"/>
                  </a:cubicBezTo>
                  <a:cubicBezTo>
                    <a:pt x="52965" y="4583"/>
                    <a:pt x="52818" y="4482"/>
                    <a:pt x="52727" y="4338"/>
                  </a:cubicBezTo>
                  <a:cubicBezTo>
                    <a:pt x="52710" y="4310"/>
                    <a:pt x="52685" y="4285"/>
                    <a:pt x="52661" y="4264"/>
                  </a:cubicBezTo>
                  <a:cubicBezTo>
                    <a:pt x="52647" y="4292"/>
                    <a:pt x="52636" y="4320"/>
                    <a:pt x="52626" y="4349"/>
                  </a:cubicBezTo>
                  <a:cubicBezTo>
                    <a:pt x="52605" y="4419"/>
                    <a:pt x="52577" y="4499"/>
                    <a:pt x="52507" y="4531"/>
                  </a:cubicBezTo>
                  <a:cubicBezTo>
                    <a:pt x="52488" y="4538"/>
                    <a:pt x="52469" y="4542"/>
                    <a:pt x="52450" y="4542"/>
                  </a:cubicBezTo>
                  <a:cubicBezTo>
                    <a:pt x="52424" y="4542"/>
                    <a:pt x="52399" y="4535"/>
                    <a:pt x="52377" y="4524"/>
                  </a:cubicBezTo>
                  <a:cubicBezTo>
                    <a:pt x="52356" y="4513"/>
                    <a:pt x="52333" y="4508"/>
                    <a:pt x="52310" y="4508"/>
                  </a:cubicBezTo>
                  <a:cubicBezTo>
                    <a:pt x="52272" y="4508"/>
                    <a:pt x="52234" y="4522"/>
                    <a:pt x="52205" y="4548"/>
                  </a:cubicBezTo>
                  <a:cubicBezTo>
                    <a:pt x="52163" y="4597"/>
                    <a:pt x="52156" y="4667"/>
                    <a:pt x="52188" y="4720"/>
                  </a:cubicBezTo>
                  <a:cubicBezTo>
                    <a:pt x="52265" y="4884"/>
                    <a:pt x="52240" y="4965"/>
                    <a:pt x="52212" y="5049"/>
                  </a:cubicBezTo>
                  <a:cubicBezTo>
                    <a:pt x="52202" y="5087"/>
                    <a:pt x="52191" y="5126"/>
                    <a:pt x="52188" y="5168"/>
                  </a:cubicBezTo>
                  <a:cubicBezTo>
                    <a:pt x="52188" y="5224"/>
                    <a:pt x="52160" y="5276"/>
                    <a:pt x="52118" y="5311"/>
                  </a:cubicBezTo>
                  <a:cubicBezTo>
                    <a:pt x="52096" y="5324"/>
                    <a:pt x="52073" y="5330"/>
                    <a:pt x="52048" y="5330"/>
                  </a:cubicBezTo>
                  <a:cubicBezTo>
                    <a:pt x="51999" y="5330"/>
                    <a:pt x="51943" y="5308"/>
                    <a:pt x="51873" y="5280"/>
                  </a:cubicBezTo>
                  <a:cubicBezTo>
                    <a:pt x="51841" y="5269"/>
                    <a:pt x="51810" y="5259"/>
                    <a:pt x="51775" y="5245"/>
                  </a:cubicBezTo>
                  <a:cubicBezTo>
                    <a:pt x="51757" y="5238"/>
                    <a:pt x="51741" y="5235"/>
                    <a:pt x="51726" y="5235"/>
                  </a:cubicBezTo>
                  <a:cubicBezTo>
                    <a:pt x="51693" y="5235"/>
                    <a:pt x="51666" y="5250"/>
                    <a:pt x="51624" y="5269"/>
                  </a:cubicBezTo>
                  <a:cubicBezTo>
                    <a:pt x="51562" y="5303"/>
                    <a:pt x="51482" y="5345"/>
                    <a:pt x="51345" y="5345"/>
                  </a:cubicBezTo>
                  <a:cubicBezTo>
                    <a:pt x="51283" y="5345"/>
                    <a:pt x="51209" y="5337"/>
                    <a:pt x="51120" y="5315"/>
                  </a:cubicBezTo>
                  <a:cubicBezTo>
                    <a:pt x="50966" y="5276"/>
                    <a:pt x="50812" y="5259"/>
                    <a:pt x="50655" y="5259"/>
                  </a:cubicBezTo>
                  <a:cubicBezTo>
                    <a:pt x="50515" y="5259"/>
                    <a:pt x="50403" y="5255"/>
                    <a:pt x="50343" y="5147"/>
                  </a:cubicBezTo>
                  <a:cubicBezTo>
                    <a:pt x="50307" y="5082"/>
                    <a:pt x="50262" y="5059"/>
                    <a:pt x="50245" y="5059"/>
                  </a:cubicBezTo>
                  <a:cubicBezTo>
                    <a:pt x="50244" y="5059"/>
                    <a:pt x="50242" y="5059"/>
                    <a:pt x="50241" y="5059"/>
                  </a:cubicBezTo>
                  <a:cubicBezTo>
                    <a:pt x="50234" y="5059"/>
                    <a:pt x="50231" y="5073"/>
                    <a:pt x="50231" y="5080"/>
                  </a:cubicBezTo>
                  <a:cubicBezTo>
                    <a:pt x="50217" y="5185"/>
                    <a:pt x="50066" y="5199"/>
                    <a:pt x="50017" y="5203"/>
                  </a:cubicBezTo>
                  <a:cubicBezTo>
                    <a:pt x="49996" y="5204"/>
                    <a:pt x="49972" y="5205"/>
                    <a:pt x="49944" y="5205"/>
                  </a:cubicBezTo>
                  <a:cubicBezTo>
                    <a:pt x="49740" y="5205"/>
                    <a:pt x="49387" y="5156"/>
                    <a:pt x="49335" y="4989"/>
                  </a:cubicBezTo>
                  <a:cubicBezTo>
                    <a:pt x="49279" y="4807"/>
                    <a:pt x="49401" y="4730"/>
                    <a:pt x="49499" y="4688"/>
                  </a:cubicBezTo>
                  <a:cubicBezTo>
                    <a:pt x="49425" y="4677"/>
                    <a:pt x="49349" y="4672"/>
                    <a:pt x="49273" y="4672"/>
                  </a:cubicBezTo>
                  <a:cubicBezTo>
                    <a:pt x="49227" y="4672"/>
                    <a:pt x="49181" y="4674"/>
                    <a:pt x="49135" y="4678"/>
                  </a:cubicBezTo>
                  <a:cubicBezTo>
                    <a:pt x="49112" y="4679"/>
                    <a:pt x="49089" y="4680"/>
                    <a:pt x="49067" y="4680"/>
                  </a:cubicBezTo>
                  <a:cubicBezTo>
                    <a:pt x="48901" y="4680"/>
                    <a:pt x="48760" y="4637"/>
                    <a:pt x="48624" y="4597"/>
                  </a:cubicBezTo>
                  <a:cubicBezTo>
                    <a:pt x="48495" y="4559"/>
                    <a:pt x="48364" y="4519"/>
                    <a:pt x="48216" y="4519"/>
                  </a:cubicBezTo>
                  <a:cubicBezTo>
                    <a:pt x="48187" y="4519"/>
                    <a:pt x="48157" y="4520"/>
                    <a:pt x="48127" y="4524"/>
                  </a:cubicBezTo>
                  <a:lnTo>
                    <a:pt x="47938" y="4541"/>
                  </a:lnTo>
                  <a:cubicBezTo>
                    <a:pt x="47563" y="4580"/>
                    <a:pt x="46870" y="4650"/>
                    <a:pt x="46772" y="4695"/>
                  </a:cubicBezTo>
                  <a:cubicBezTo>
                    <a:pt x="46776" y="4716"/>
                    <a:pt x="46783" y="4741"/>
                    <a:pt x="46790" y="4762"/>
                  </a:cubicBezTo>
                  <a:cubicBezTo>
                    <a:pt x="46807" y="4814"/>
                    <a:pt x="46828" y="4881"/>
                    <a:pt x="46793" y="4937"/>
                  </a:cubicBezTo>
                  <a:cubicBezTo>
                    <a:pt x="46761" y="4975"/>
                    <a:pt x="46713" y="4994"/>
                    <a:pt x="46666" y="4994"/>
                  </a:cubicBezTo>
                  <a:cubicBezTo>
                    <a:pt x="46626" y="4994"/>
                    <a:pt x="46587" y="4981"/>
                    <a:pt x="46555" y="4954"/>
                  </a:cubicBezTo>
                  <a:cubicBezTo>
                    <a:pt x="46489" y="4884"/>
                    <a:pt x="46499" y="4755"/>
                    <a:pt x="46513" y="4615"/>
                  </a:cubicBezTo>
                  <a:cubicBezTo>
                    <a:pt x="46524" y="4545"/>
                    <a:pt x="46524" y="4475"/>
                    <a:pt x="46517" y="4408"/>
                  </a:cubicBezTo>
                  <a:cubicBezTo>
                    <a:pt x="46510" y="4366"/>
                    <a:pt x="46478" y="4334"/>
                    <a:pt x="46440" y="4320"/>
                  </a:cubicBezTo>
                  <a:cubicBezTo>
                    <a:pt x="46424" y="4313"/>
                    <a:pt x="46406" y="4309"/>
                    <a:pt x="46388" y="4309"/>
                  </a:cubicBezTo>
                  <a:cubicBezTo>
                    <a:pt x="46382" y="4309"/>
                    <a:pt x="46376" y="4309"/>
                    <a:pt x="46370" y="4310"/>
                  </a:cubicBezTo>
                  <a:cubicBezTo>
                    <a:pt x="46387" y="4373"/>
                    <a:pt x="46359" y="4436"/>
                    <a:pt x="46303" y="4464"/>
                  </a:cubicBezTo>
                  <a:cubicBezTo>
                    <a:pt x="46233" y="4509"/>
                    <a:pt x="46106" y="4535"/>
                    <a:pt x="45984" y="4535"/>
                  </a:cubicBezTo>
                  <a:cubicBezTo>
                    <a:pt x="45868" y="4535"/>
                    <a:pt x="45755" y="4512"/>
                    <a:pt x="45697" y="4461"/>
                  </a:cubicBezTo>
                  <a:cubicBezTo>
                    <a:pt x="45526" y="4310"/>
                    <a:pt x="45316" y="4205"/>
                    <a:pt x="45095" y="4152"/>
                  </a:cubicBezTo>
                  <a:cubicBezTo>
                    <a:pt x="45066" y="4145"/>
                    <a:pt x="45037" y="4141"/>
                    <a:pt x="45007" y="4141"/>
                  </a:cubicBezTo>
                  <a:cubicBezTo>
                    <a:pt x="44875" y="4141"/>
                    <a:pt x="44740" y="4210"/>
                    <a:pt x="44654" y="4278"/>
                  </a:cubicBezTo>
                  <a:cubicBezTo>
                    <a:pt x="44609" y="4310"/>
                    <a:pt x="44574" y="4352"/>
                    <a:pt x="44549" y="4405"/>
                  </a:cubicBezTo>
                  <a:cubicBezTo>
                    <a:pt x="44584" y="4433"/>
                    <a:pt x="44658" y="4433"/>
                    <a:pt x="44714" y="4436"/>
                  </a:cubicBezTo>
                  <a:cubicBezTo>
                    <a:pt x="44791" y="4436"/>
                    <a:pt x="44882" y="4440"/>
                    <a:pt x="44892" y="4524"/>
                  </a:cubicBezTo>
                  <a:cubicBezTo>
                    <a:pt x="44896" y="4548"/>
                    <a:pt x="44889" y="4576"/>
                    <a:pt x="44871" y="4597"/>
                  </a:cubicBezTo>
                  <a:cubicBezTo>
                    <a:pt x="44819" y="4664"/>
                    <a:pt x="44689" y="4681"/>
                    <a:pt x="44483" y="4702"/>
                  </a:cubicBezTo>
                  <a:cubicBezTo>
                    <a:pt x="44395" y="4709"/>
                    <a:pt x="44308" y="4723"/>
                    <a:pt x="44220" y="4748"/>
                  </a:cubicBezTo>
                  <a:cubicBezTo>
                    <a:pt x="44210" y="4807"/>
                    <a:pt x="44139" y="4874"/>
                    <a:pt x="43831" y="4968"/>
                  </a:cubicBezTo>
                  <a:cubicBezTo>
                    <a:pt x="43667" y="5017"/>
                    <a:pt x="43502" y="5056"/>
                    <a:pt x="43331" y="5084"/>
                  </a:cubicBezTo>
                  <a:lnTo>
                    <a:pt x="43208" y="5098"/>
                  </a:lnTo>
                  <a:cubicBezTo>
                    <a:pt x="42785" y="5150"/>
                    <a:pt x="42683" y="5161"/>
                    <a:pt x="42470" y="5343"/>
                  </a:cubicBezTo>
                  <a:cubicBezTo>
                    <a:pt x="42437" y="5368"/>
                    <a:pt x="42377" y="5419"/>
                    <a:pt x="42322" y="5419"/>
                  </a:cubicBezTo>
                  <a:cubicBezTo>
                    <a:pt x="42301" y="5419"/>
                    <a:pt x="42281" y="5411"/>
                    <a:pt x="42263" y="5392"/>
                  </a:cubicBezTo>
                  <a:cubicBezTo>
                    <a:pt x="42162" y="5276"/>
                    <a:pt x="42470" y="4912"/>
                    <a:pt x="42519" y="4867"/>
                  </a:cubicBezTo>
                  <a:cubicBezTo>
                    <a:pt x="42606" y="4779"/>
                    <a:pt x="42718" y="4723"/>
                    <a:pt x="42841" y="4699"/>
                  </a:cubicBezTo>
                  <a:cubicBezTo>
                    <a:pt x="42921" y="4678"/>
                    <a:pt x="42981" y="4664"/>
                    <a:pt x="43019" y="4608"/>
                  </a:cubicBezTo>
                  <a:cubicBezTo>
                    <a:pt x="43124" y="4464"/>
                    <a:pt x="43275" y="4447"/>
                    <a:pt x="43481" y="4419"/>
                  </a:cubicBezTo>
                  <a:cubicBezTo>
                    <a:pt x="43537" y="4412"/>
                    <a:pt x="43597" y="4405"/>
                    <a:pt x="43660" y="4394"/>
                  </a:cubicBezTo>
                  <a:cubicBezTo>
                    <a:pt x="43772" y="4387"/>
                    <a:pt x="43873" y="4327"/>
                    <a:pt x="43936" y="4233"/>
                  </a:cubicBezTo>
                  <a:cubicBezTo>
                    <a:pt x="43971" y="4180"/>
                    <a:pt x="44024" y="4138"/>
                    <a:pt x="44080" y="4110"/>
                  </a:cubicBezTo>
                  <a:lnTo>
                    <a:pt x="44139" y="4082"/>
                  </a:lnTo>
                  <a:cubicBezTo>
                    <a:pt x="44276" y="4023"/>
                    <a:pt x="44567" y="3900"/>
                    <a:pt x="44612" y="3795"/>
                  </a:cubicBezTo>
                  <a:cubicBezTo>
                    <a:pt x="44695" y="3612"/>
                    <a:pt x="45434" y="3375"/>
                    <a:pt x="45606" y="3375"/>
                  </a:cubicBezTo>
                  <a:cubicBezTo>
                    <a:pt x="45609" y="3375"/>
                    <a:pt x="45611" y="3375"/>
                    <a:pt x="45613" y="3375"/>
                  </a:cubicBezTo>
                  <a:cubicBezTo>
                    <a:pt x="45614" y="3375"/>
                    <a:pt x="45615" y="3375"/>
                    <a:pt x="45616" y="3375"/>
                  </a:cubicBezTo>
                  <a:cubicBezTo>
                    <a:pt x="45657" y="3375"/>
                    <a:pt x="45694" y="3294"/>
                    <a:pt x="45722" y="3235"/>
                  </a:cubicBezTo>
                  <a:cubicBezTo>
                    <a:pt x="45760" y="3158"/>
                    <a:pt x="45795" y="3085"/>
                    <a:pt x="45869" y="3085"/>
                  </a:cubicBezTo>
                  <a:cubicBezTo>
                    <a:pt x="45907" y="3085"/>
                    <a:pt x="46096" y="3015"/>
                    <a:pt x="46506" y="2833"/>
                  </a:cubicBezTo>
                  <a:cubicBezTo>
                    <a:pt x="46618" y="2780"/>
                    <a:pt x="46699" y="2679"/>
                    <a:pt x="46720" y="2556"/>
                  </a:cubicBezTo>
                  <a:cubicBezTo>
                    <a:pt x="46695" y="2542"/>
                    <a:pt x="46671" y="2532"/>
                    <a:pt x="46643" y="2521"/>
                  </a:cubicBezTo>
                  <a:cubicBezTo>
                    <a:pt x="46580" y="2500"/>
                    <a:pt x="46496" y="2469"/>
                    <a:pt x="46478" y="2392"/>
                  </a:cubicBezTo>
                  <a:cubicBezTo>
                    <a:pt x="46468" y="2360"/>
                    <a:pt x="46471" y="2325"/>
                    <a:pt x="46492" y="2294"/>
                  </a:cubicBezTo>
                  <a:cubicBezTo>
                    <a:pt x="46520" y="2255"/>
                    <a:pt x="46573" y="2251"/>
                    <a:pt x="46625" y="2248"/>
                  </a:cubicBezTo>
                  <a:cubicBezTo>
                    <a:pt x="46681" y="2244"/>
                    <a:pt x="46737" y="2234"/>
                    <a:pt x="46793" y="2216"/>
                  </a:cubicBezTo>
                  <a:cubicBezTo>
                    <a:pt x="46821" y="2206"/>
                    <a:pt x="46825" y="2192"/>
                    <a:pt x="46818" y="2171"/>
                  </a:cubicBezTo>
                  <a:cubicBezTo>
                    <a:pt x="46805" y="2130"/>
                    <a:pt x="46753" y="2089"/>
                    <a:pt x="46712" y="2089"/>
                  </a:cubicBezTo>
                  <a:cubicBezTo>
                    <a:pt x="46707" y="2089"/>
                    <a:pt x="46703" y="2089"/>
                    <a:pt x="46699" y="2090"/>
                  </a:cubicBezTo>
                  <a:cubicBezTo>
                    <a:pt x="46684" y="2097"/>
                    <a:pt x="46669" y="2100"/>
                    <a:pt x="46653" y="2100"/>
                  </a:cubicBezTo>
                  <a:cubicBezTo>
                    <a:pt x="46628" y="2100"/>
                    <a:pt x="46603" y="2092"/>
                    <a:pt x="46583" y="2076"/>
                  </a:cubicBezTo>
                  <a:cubicBezTo>
                    <a:pt x="46548" y="2038"/>
                    <a:pt x="46566" y="1992"/>
                    <a:pt x="46580" y="1957"/>
                  </a:cubicBezTo>
                  <a:cubicBezTo>
                    <a:pt x="46604" y="1898"/>
                    <a:pt x="46618" y="1852"/>
                    <a:pt x="46580" y="1803"/>
                  </a:cubicBezTo>
                  <a:cubicBezTo>
                    <a:pt x="46564" y="1783"/>
                    <a:pt x="46544" y="1775"/>
                    <a:pt x="46521" y="1775"/>
                  </a:cubicBezTo>
                  <a:cubicBezTo>
                    <a:pt x="46492" y="1775"/>
                    <a:pt x="46457" y="1786"/>
                    <a:pt x="46415" y="1800"/>
                  </a:cubicBezTo>
                  <a:cubicBezTo>
                    <a:pt x="46381" y="1808"/>
                    <a:pt x="46348" y="1817"/>
                    <a:pt x="46316" y="1817"/>
                  </a:cubicBezTo>
                  <a:cubicBezTo>
                    <a:pt x="46291" y="1817"/>
                    <a:pt x="46268" y="1812"/>
                    <a:pt x="46247" y="1796"/>
                  </a:cubicBezTo>
                  <a:cubicBezTo>
                    <a:pt x="46219" y="1772"/>
                    <a:pt x="46205" y="1733"/>
                    <a:pt x="46208" y="1695"/>
                  </a:cubicBezTo>
                  <a:cubicBezTo>
                    <a:pt x="46219" y="1555"/>
                    <a:pt x="46198" y="1380"/>
                    <a:pt x="46117" y="1299"/>
                  </a:cubicBezTo>
                  <a:cubicBezTo>
                    <a:pt x="46116" y="1298"/>
                    <a:pt x="46114" y="1298"/>
                    <a:pt x="46111" y="1298"/>
                  </a:cubicBezTo>
                  <a:cubicBezTo>
                    <a:pt x="46094" y="1298"/>
                    <a:pt x="46053" y="1315"/>
                    <a:pt x="46023" y="1327"/>
                  </a:cubicBezTo>
                  <a:cubicBezTo>
                    <a:pt x="45970" y="1354"/>
                    <a:pt x="45900" y="1385"/>
                    <a:pt x="45822" y="1385"/>
                  </a:cubicBezTo>
                  <a:cubicBezTo>
                    <a:pt x="45766" y="1385"/>
                    <a:pt x="45706" y="1369"/>
                    <a:pt x="45645" y="1324"/>
                  </a:cubicBezTo>
                  <a:cubicBezTo>
                    <a:pt x="45496" y="1208"/>
                    <a:pt x="45105" y="1127"/>
                    <a:pt x="44967" y="1127"/>
                  </a:cubicBezTo>
                  <a:cubicBezTo>
                    <a:pt x="44958" y="1127"/>
                    <a:pt x="44951" y="1127"/>
                    <a:pt x="44945" y="1128"/>
                  </a:cubicBezTo>
                  <a:cubicBezTo>
                    <a:pt x="44941" y="1138"/>
                    <a:pt x="44934" y="1142"/>
                    <a:pt x="44927" y="1149"/>
                  </a:cubicBezTo>
                  <a:cubicBezTo>
                    <a:pt x="44910" y="1161"/>
                    <a:pt x="44891" y="1166"/>
                    <a:pt x="44870" y="1166"/>
                  </a:cubicBezTo>
                  <a:cubicBezTo>
                    <a:pt x="44835" y="1166"/>
                    <a:pt x="44793" y="1152"/>
                    <a:pt x="44738" y="1135"/>
                  </a:cubicBezTo>
                  <a:cubicBezTo>
                    <a:pt x="44693" y="1117"/>
                    <a:pt x="44647" y="1107"/>
                    <a:pt x="44598" y="1103"/>
                  </a:cubicBezTo>
                  <a:cubicBezTo>
                    <a:pt x="44544" y="1150"/>
                    <a:pt x="44399" y="1166"/>
                    <a:pt x="44251" y="1166"/>
                  </a:cubicBezTo>
                  <a:cubicBezTo>
                    <a:pt x="44090" y="1166"/>
                    <a:pt x="43925" y="1148"/>
                    <a:pt x="43866" y="1131"/>
                  </a:cubicBezTo>
                  <a:cubicBezTo>
                    <a:pt x="43848" y="1128"/>
                    <a:pt x="43829" y="1126"/>
                    <a:pt x="43811" y="1126"/>
                  </a:cubicBezTo>
                  <a:cubicBezTo>
                    <a:pt x="43756" y="1126"/>
                    <a:pt x="43701" y="1142"/>
                    <a:pt x="43656" y="1173"/>
                  </a:cubicBezTo>
                  <a:cubicBezTo>
                    <a:pt x="43621" y="1198"/>
                    <a:pt x="43600" y="1233"/>
                    <a:pt x="43593" y="1275"/>
                  </a:cubicBezTo>
                  <a:cubicBezTo>
                    <a:pt x="43590" y="1313"/>
                    <a:pt x="43572" y="1348"/>
                    <a:pt x="43541" y="1369"/>
                  </a:cubicBezTo>
                  <a:cubicBezTo>
                    <a:pt x="43475" y="1419"/>
                    <a:pt x="43344" y="1433"/>
                    <a:pt x="43212" y="1433"/>
                  </a:cubicBezTo>
                  <a:cubicBezTo>
                    <a:pt x="43034" y="1433"/>
                    <a:pt x="42855" y="1407"/>
                    <a:pt x="42827" y="1401"/>
                  </a:cubicBezTo>
                  <a:cubicBezTo>
                    <a:pt x="42795" y="1394"/>
                    <a:pt x="42771" y="1373"/>
                    <a:pt x="42764" y="1341"/>
                  </a:cubicBezTo>
                  <a:cubicBezTo>
                    <a:pt x="42743" y="1275"/>
                    <a:pt x="42806" y="1198"/>
                    <a:pt x="43002" y="1002"/>
                  </a:cubicBezTo>
                  <a:cubicBezTo>
                    <a:pt x="43044" y="960"/>
                    <a:pt x="43096" y="904"/>
                    <a:pt x="43131" y="862"/>
                  </a:cubicBezTo>
                  <a:cubicBezTo>
                    <a:pt x="43106" y="860"/>
                    <a:pt x="43074" y="860"/>
                    <a:pt x="43040" y="860"/>
                  </a:cubicBezTo>
                  <a:cubicBezTo>
                    <a:pt x="42971" y="860"/>
                    <a:pt x="42891" y="862"/>
                    <a:pt x="42823" y="862"/>
                  </a:cubicBezTo>
                  <a:cubicBezTo>
                    <a:pt x="42748" y="863"/>
                    <a:pt x="42684" y="864"/>
                    <a:pt x="42628" y="864"/>
                  </a:cubicBezTo>
                  <a:cubicBezTo>
                    <a:pt x="42391" y="864"/>
                    <a:pt x="42312" y="849"/>
                    <a:pt x="42281" y="795"/>
                  </a:cubicBezTo>
                  <a:cubicBezTo>
                    <a:pt x="42247" y="761"/>
                    <a:pt x="41994" y="730"/>
                    <a:pt x="41779" y="730"/>
                  </a:cubicBezTo>
                  <a:cubicBezTo>
                    <a:pt x="41749" y="730"/>
                    <a:pt x="41720" y="731"/>
                    <a:pt x="41692" y="732"/>
                  </a:cubicBezTo>
                  <a:cubicBezTo>
                    <a:pt x="41688" y="732"/>
                    <a:pt x="41682" y="732"/>
                    <a:pt x="41677" y="732"/>
                  </a:cubicBezTo>
                  <a:cubicBezTo>
                    <a:pt x="41622" y="732"/>
                    <a:pt x="41552" y="729"/>
                    <a:pt x="41545" y="662"/>
                  </a:cubicBezTo>
                  <a:cubicBezTo>
                    <a:pt x="41545" y="634"/>
                    <a:pt x="41538" y="564"/>
                    <a:pt x="41846" y="536"/>
                  </a:cubicBezTo>
                  <a:cubicBezTo>
                    <a:pt x="41927" y="519"/>
                    <a:pt x="42007" y="491"/>
                    <a:pt x="42078" y="449"/>
                  </a:cubicBezTo>
                  <a:cubicBezTo>
                    <a:pt x="42165" y="400"/>
                    <a:pt x="42256" y="365"/>
                    <a:pt x="42351" y="340"/>
                  </a:cubicBezTo>
                  <a:cubicBezTo>
                    <a:pt x="42379" y="340"/>
                    <a:pt x="42403" y="333"/>
                    <a:pt x="42428" y="319"/>
                  </a:cubicBezTo>
                  <a:cubicBezTo>
                    <a:pt x="42414" y="291"/>
                    <a:pt x="42396" y="260"/>
                    <a:pt x="42375" y="232"/>
                  </a:cubicBezTo>
                  <a:cubicBezTo>
                    <a:pt x="42344" y="193"/>
                    <a:pt x="42281" y="186"/>
                    <a:pt x="42176" y="179"/>
                  </a:cubicBezTo>
                  <a:cubicBezTo>
                    <a:pt x="42099" y="175"/>
                    <a:pt x="42021" y="165"/>
                    <a:pt x="41948" y="144"/>
                  </a:cubicBezTo>
                  <a:lnTo>
                    <a:pt x="41839" y="112"/>
                  </a:lnTo>
                  <a:cubicBezTo>
                    <a:pt x="41685" y="63"/>
                    <a:pt x="41514" y="7"/>
                    <a:pt x="41388" y="0"/>
                  </a:cubicBezTo>
                  <a:cubicBezTo>
                    <a:pt x="41383" y="0"/>
                    <a:pt x="41378" y="0"/>
                    <a:pt x="413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8" name="Google Shape;6738;p53"/>
            <p:cNvSpPr/>
            <p:nvPr/>
          </p:nvSpPr>
          <p:spPr>
            <a:xfrm>
              <a:off x="2192984" y="1581360"/>
              <a:ext cx="21262" cy="7753"/>
            </a:xfrm>
            <a:custGeom>
              <a:avLst/>
              <a:gdLst/>
              <a:ahLst/>
              <a:cxnLst/>
              <a:rect l="l" t="t" r="r" b="b"/>
              <a:pathLst>
                <a:path w="1566" h="571" extrusionOk="0">
                  <a:moveTo>
                    <a:pt x="813" y="0"/>
                  </a:moveTo>
                  <a:cubicBezTo>
                    <a:pt x="876" y="116"/>
                    <a:pt x="753" y="186"/>
                    <a:pt x="694" y="217"/>
                  </a:cubicBezTo>
                  <a:cubicBezTo>
                    <a:pt x="669" y="231"/>
                    <a:pt x="624" y="259"/>
                    <a:pt x="620" y="273"/>
                  </a:cubicBezTo>
                  <a:cubicBezTo>
                    <a:pt x="620" y="277"/>
                    <a:pt x="624" y="284"/>
                    <a:pt x="627" y="287"/>
                  </a:cubicBezTo>
                  <a:cubicBezTo>
                    <a:pt x="669" y="333"/>
                    <a:pt x="676" y="396"/>
                    <a:pt x="641" y="448"/>
                  </a:cubicBezTo>
                  <a:cubicBezTo>
                    <a:pt x="609" y="492"/>
                    <a:pt x="547" y="510"/>
                    <a:pt x="485" y="510"/>
                  </a:cubicBezTo>
                  <a:cubicBezTo>
                    <a:pt x="453" y="510"/>
                    <a:pt x="421" y="505"/>
                    <a:pt x="392" y="497"/>
                  </a:cubicBezTo>
                  <a:cubicBezTo>
                    <a:pt x="312" y="480"/>
                    <a:pt x="252" y="410"/>
                    <a:pt x="252" y="326"/>
                  </a:cubicBezTo>
                  <a:cubicBezTo>
                    <a:pt x="252" y="322"/>
                    <a:pt x="252" y="315"/>
                    <a:pt x="224" y="308"/>
                  </a:cubicBezTo>
                  <a:cubicBezTo>
                    <a:pt x="206" y="305"/>
                    <a:pt x="187" y="303"/>
                    <a:pt x="169" y="303"/>
                  </a:cubicBezTo>
                  <a:cubicBezTo>
                    <a:pt x="113" y="303"/>
                    <a:pt x="58" y="319"/>
                    <a:pt x="11" y="350"/>
                  </a:cubicBezTo>
                  <a:cubicBezTo>
                    <a:pt x="14" y="382"/>
                    <a:pt x="11" y="413"/>
                    <a:pt x="0" y="445"/>
                  </a:cubicBezTo>
                  <a:lnTo>
                    <a:pt x="49" y="462"/>
                  </a:lnTo>
                  <a:lnTo>
                    <a:pt x="53" y="462"/>
                  </a:lnTo>
                  <a:lnTo>
                    <a:pt x="81" y="473"/>
                  </a:lnTo>
                  <a:lnTo>
                    <a:pt x="95" y="476"/>
                  </a:lnTo>
                  <a:lnTo>
                    <a:pt x="123" y="487"/>
                  </a:lnTo>
                  <a:lnTo>
                    <a:pt x="140" y="494"/>
                  </a:lnTo>
                  <a:lnTo>
                    <a:pt x="154" y="497"/>
                  </a:lnTo>
                  <a:lnTo>
                    <a:pt x="168" y="504"/>
                  </a:lnTo>
                  <a:lnTo>
                    <a:pt x="182" y="508"/>
                  </a:lnTo>
                  <a:lnTo>
                    <a:pt x="193" y="511"/>
                  </a:lnTo>
                  <a:lnTo>
                    <a:pt x="214" y="522"/>
                  </a:lnTo>
                  <a:lnTo>
                    <a:pt x="280" y="522"/>
                  </a:lnTo>
                  <a:lnTo>
                    <a:pt x="294" y="525"/>
                  </a:lnTo>
                  <a:lnTo>
                    <a:pt x="305" y="525"/>
                  </a:lnTo>
                  <a:lnTo>
                    <a:pt x="322" y="529"/>
                  </a:lnTo>
                  <a:lnTo>
                    <a:pt x="368" y="529"/>
                  </a:lnTo>
                  <a:lnTo>
                    <a:pt x="389" y="532"/>
                  </a:lnTo>
                  <a:lnTo>
                    <a:pt x="466" y="532"/>
                  </a:lnTo>
                  <a:lnTo>
                    <a:pt x="490" y="536"/>
                  </a:lnTo>
                  <a:lnTo>
                    <a:pt x="508" y="536"/>
                  </a:lnTo>
                  <a:lnTo>
                    <a:pt x="536" y="539"/>
                  </a:lnTo>
                  <a:lnTo>
                    <a:pt x="553" y="539"/>
                  </a:lnTo>
                  <a:lnTo>
                    <a:pt x="585" y="543"/>
                  </a:lnTo>
                  <a:lnTo>
                    <a:pt x="599" y="543"/>
                  </a:lnTo>
                  <a:lnTo>
                    <a:pt x="638" y="546"/>
                  </a:lnTo>
                  <a:lnTo>
                    <a:pt x="648" y="546"/>
                  </a:lnTo>
                  <a:lnTo>
                    <a:pt x="694" y="550"/>
                  </a:lnTo>
                  <a:lnTo>
                    <a:pt x="697" y="550"/>
                  </a:lnTo>
                  <a:cubicBezTo>
                    <a:pt x="837" y="560"/>
                    <a:pt x="991" y="567"/>
                    <a:pt x="1135" y="571"/>
                  </a:cubicBezTo>
                  <a:lnTo>
                    <a:pt x="1509" y="571"/>
                  </a:lnTo>
                  <a:lnTo>
                    <a:pt x="1530" y="567"/>
                  </a:lnTo>
                  <a:lnTo>
                    <a:pt x="1537" y="567"/>
                  </a:lnTo>
                  <a:cubicBezTo>
                    <a:pt x="1541" y="508"/>
                    <a:pt x="1544" y="448"/>
                    <a:pt x="1555" y="385"/>
                  </a:cubicBezTo>
                  <a:cubicBezTo>
                    <a:pt x="1558" y="336"/>
                    <a:pt x="1565" y="291"/>
                    <a:pt x="1565" y="266"/>
                  </a:cubicBezTo>
                  <a:cubicBezTo>
                    <a:pt x="1565" y="263"/>
                    <a:pt x="1555" y="235"/>
                    <a:pt x="1506" y="203"/>
                  </a:cubicBezTo>
                  <a:cubicBezTo>
                    <a:pt x="1495" y="196"/>
                    <a:pt x="1488" y="193"/>
                    <a:pt x="1481" y="186"/>
                  </a:cubicBezTo>
                  <a:lnTo>
                    <a:pt x="1464" y="179"/>
                  </a:lnTo>
                  <a:lnTo>
                    <a:pt x="1457" y="172"/>
                  </a:lnTo>
                  <a:lnTo>
                    <a:pt x="1439" y="165"/>
                  </a:lnTo>
                  <a:lnTo>
                    <a:pt x="1432" y="161"/>
                  </a:lnTo>
                  <a:lnTo>
                    <a:pt x="1418" y="158"/>
                  </a:lnTo>
                  <a:lnTo>
                    <a:pt x="1411" y="154"/>
                  </a:lnTo>
                  <a:lnTo>
                    <a:pt x="1401" y="151"/>
                  </a:lnTo>
                  <a:lnTo>
                    <a:pt x="1355" y="151"/>
                  </a:lnTo>
                  <a:lnTo>
                    <a:pt x="1348" y="154"/>
                  </a:lnTo>
                  <a:cubicBezTo>
                    <a:pt x="1328" y="162"/>
                    <a:pt x="1305" y="166"/>
                    <a:pt x="1279" y="166"/>
                  </a:cubicBezTo>
                  <a:cubicBezTo>
                    <a:pt x="1164" y="166"/>
                    <a:pt x="1006" y="90"/>
                    <a:pt x="946" y="7"/>
                  </a:cubicBezTo>
                  <a:cubicBezTo>
                    <a:pt x="946" y="4"/>
                    <a:pt x="942" y="4"/>
                    <a:pt x="9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9" name="Google Shape;6739;p53"/>
            <p:cNvSpPr/>
            <p:nvPr/>
          </p:nvSpPr>
          <p:spPr>
            <a:xfrm>
              <a:off x="2688889" y="1342735"/>
              <a:ext cx="3394" cy="828"/>
            </a:xfrm>
            <a:custGeom>
              <a:avLst/>
              <a:gdLst/>
              <a:ahLst/>
              <a:cxnLst/>
              <a:rect l="l" t="t" r="r" b="b"/>
              <a:pathLst>
                <a:path w="250" h="61" extrusionOk="0">
                  <a:moveTo>
                    <a:pt x="1" y="1"/>
                  </a:moveTo>
                  <a:lnTo>
                    <a:pt x="1" y="1"/>
                  </a:lnTo>
                  <a:cubicBezTo>
                    <a:pt x="62" y="40"/>
                    <a:pt x="136" y="61"/>
                    <a:pt x="211" y="61"/>
                  </a:cubicBezTo>
                  <a:cubicBezTo>
                    <a:pt x="217" y="61"/>
                    <a:pt x="222" y="61"/>
                    <a:pt x="228" y="60"/>
                  </a:cubicBezTo>
                  <a:lnTo>
                    <a:pt x="249" y="60"/>
                  </a:lnTo>
                  <a:cubicBezTo>
                    <a:pt x="218" y="53"/>
                    <a:pt x="186" y="46"/>
                    <a:pt x="151" y="36"/>
                  </a:cubicBezTo>
                  <a:cubicBezTo>
                    <a:pt x="102" y="18"/>
                    <a:pt x="50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0" name="Google Shape;6740;p53"/>
            <p:cNvSpPr/>
            <p:nvPr/>
          </p:nvSpPr>
          <p:spPr>
            <a:xfrm>
              <a:off x="3095345" y="1594612"/>
              <a:ext cx="18737" cy="78777"/>
            </a:xfrm>
            <a:custGeom>
              <a:avLst/>
              <a:gdLst/>
              <a:ahLst/>
              <a:cxnLst/>
              <a:rect l="l" t="t" r="r" b="b"/>
              <a:pathLst>
                <a:path w="1380" h="5802" extrusionOk="0">
                  <a:moveTo>
                    <a:pt x="417" y="1"/>
                  </a:moveTo>
                  <a:cubicBezTo>
                    <a:pt x="382" y="32"/>
                    <a:pt x="375" y="116"/>
                    <a:pt x="371" y="197"/>
                  </a:cubicBezTo>
                  <a:cubicBezTo>
                    <a:pt x="357" y="344"/>
                    <a:pt x="340" y="540"/>
                    <a:pt x="144" y="564"/>
                  </a:cubicBezTo>
                  <a:cubicBezTo>
                    <a:pt x="98" y="571"/>
                    <a:pt x="84" y="582"/>
                    <a:pt x="81" y="585"/>
                  </a:cubicBezTo>
                  <a:cubicBezTo>
                    <a:pt x="70" y="603"/>
                    <a:pt x="77" y="666"/>
                    <a:pt x="88" y="722"/>
                  </a:cubicBezTo>
                  <a:cubicBezTo>
                    <a:pt x="119" y="855"/>
                    <a:pt x="116" y="988"/>
                    <a:pt x="84" y="1118"/>
                  </a:cubicBezTo>
                  <a:cubicBezTo>
                    <a:pt x="0" y="1398"/>
                    <a:pt x="119" y="1835"/>
                    <a:pt x="259" y="2154"/>
                  </a:cubicBezTo>
                  <a:cubicBezTo>
                    <a:pt x="333" y="2315"/>
                    <a:pt x="287" y="2770"/>
                    <a:pt x="238" y="3257"/>
                  </a:cubicBezTo>
                  <a:cubicBezTo>
                    <a:pt x="200" y="3670"/>
                    <a:pt x="151" y="4139"/>
                    <a:pt x="210" y="4251"/>
                  </a:cubicBezTo>
                  <a:cubicBezTo>
                    <a:pt x="284" y="4398"/>
                    <a:pt x="238" y="4709"/>
                    <a:pt x="165" y="5168"/>
                  </a:cubicBezTo>
                  <a:cubicBezTo>
                    <a:pt x="126" y="5399"/>
                    <a:pt x="74" y="5721"/>
                    <a:pt x="105" y="5777"/>
                  </a:cubicBezTo>
                  <a:lnTo>
                    <a:pt x="116" y="5788"/>
                  </a:lnTo>
                  <a:cubicBezTo>
                    <a:pt x="119" y="5770"/>
                    <a:pt x="126" y="5753"/>
                    <a:pt x="130" y="5735"/>
                  </a:cubicBezTo>
                  <a:cubicBezTo>
                    <a:pt x="158" y="5620"/>
                    <a:pt x="207" y="5427"/>
                    <a:pt x="399" y="5399"/>
                  </a:cubicBezTo>
                  <a:cubicBezTo>
                    <a:pt x="420" y="5396"/>
                    <a:pt x="438" y="5392"/>
                    <a:pt x="459" y="5392"/>
                  </a:cubicBezTo>
                  <a:cubicBezTo>
                    <a:pt x="638" y="5392"/>
                    <a:pt x="718" y="5539"/>
                    <a:pt x="781" y="5648"/>
                  </a:cubicBezTo>
                  <a:cubicBezTo>
                    <a:pt x="816" y="5714"/>
                    <a:pt x="851" y="5781"/>
                    <a:pt x="900" y="5802"/>
                  </a:cubicBezTo>
                  <a:cubicBezTo>
                    <a:pt x="911" y="5714"/>
                    <a:pt x="897" y="5620"/>
                    <a:pt x="858" y="5539"/>
                  </a:cubicBezTo>
                  <a:cubicBezTo>
                    <a:pt x="827" y="5466"/>
                    <a:pt x="799" y="5448"/>
                    <a:pt x="795" y="5445"/>
                  </a:cubicBezTo>
                  <a:cubicBezTo>
                    <a:pt x="783" y="5447"/>
                    <a:pt x="772" y="5448"/>
                    <a:pt x="761" y="5448"/>
                  </a:cubicBezTo>
                  <a:cubicBezTo>
                    <a:pt x="582" y="5448"/>
                    <a:pt x="469" y="5138"/>
                    <a:pt x="350" y="4765"/>
                  </a:cubicBezTo>
                  <a:lnTo>
                    <a:pt x="347" y="4755"/>
                  </a:lnTo>
                  <a:cubicBezTo>
                    <a:pt x="298" y="4590"/>
                    <a:pt x="354" y="4422"/>
                    <a:pt x="413" y="4244"/>
                  </a:cubicBezTo>
                  <a:cubicBezTo>
                    <a:pt x="459" y="4114"/>
                    <a:pt x="504" y="3978"/>
                    <a:pt x="504" y="3845"/>
                  </a:cubicBezTo>
                  <a:cubicBezTo>
                    <a:pt x="504" y="3712"/>
                    <a:pt x="568" y="3607"/>
                    <a:pt x="680" y="3561"/>
                  </a:cubicBezTo>
                  <a:cubicBezTo>
                    <a:pt x="723" y="3543"/>
                    <a:pt x="771" y="3535"/>
                    <a:pt x="822" y="3535"/>
                  </a:cubicBezTo>
                  <a:cubicBezTo>
                    <a:pt x="971" y="3535"/>
                    <a:pt x="1139" y="3608"/>
                    <a:pt x="1264" y="3736"/>
                  </a:cubicBezTo>
                  <a:cubicBezTo>
                    <a:pt x="1299" y="3771"/>
                    <a:pt x="1338" y="3803"/>
                    <a:pt x="1380" y="3831"/>
                  </a:cubicBezTo>
                  <a:cubicBezTo>
                    <a:pt x="1373" y="3789"/>
                    <a:pt x="1359" y="3750"/>
                    <a:pt x="1338" y="3719"/>
                  </a:cubicBezTo>
                  <a:cubicBezTo>
                    <a:pt x="1285" y="3621"/>
                    <a:pt x="1187" y="3264"/>
                    <a:pt x="1072" y="2847"/>
                  </a:cubicBezTo>
                  <a:cubicBezTo>
                    <a:pt x="963" y="2451"/>
                    <a:pt x="841" y="2000"/>
                    <a:pt x="753" y="1769"/>
                  </a:cubicBezTo>
                  <a:cubicBezTo>
                    <a:pt x="666" y="1534"/>
                    <a:pt x="715" y="1307"/>
                    <a:pt x="760" y="1107"/>
                  </a:cubicBezTo>
                  <a:cubicBezTo>
                    <a:pt x="816" y="869"/>
                    <a:pt x="841" y="732"/>
                    <a:pt x="708" y="634"/>
                  </a:cubicBezTo>
                  <a:cubicBezTo>
                    <a:pt x="508" y="484"/>
                    <a:pt x="466" y="249"/>
                    <a:pt x="438" y="95"/>
                  </a:cubicBezTo>
                  <a:cubicBezTo>
                    <a:pt x="431" y="64"/>
                    <a:pt x="424" y="25"/>
                    <a:pt x="41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1" name="Google Shape;6741;p53"/>
            <p:cNvSpPr/>
            <p:nvPr/>
          </p:nvSpPr>
          <p:spPr>
            <a:xfrm>
              <a:off x="2726485" y="1235772"/>
              <a:ext cx="39185" cy="27603"/>
            </a:xfrm>
            <a:custGeom>
              <a:avLst/>
              <a:gdLst/>
              <a:ahLst/>
              <a:cxnLst/>
              <a:rect l="l" t="t" r="r" b="b"/>
              <a:pathLst>
                <a:path w="2886" h="2033" extrusionOk="0">
                  <a:moveTo>
                    <a:pt x="2063" y="0"/>
                  </a:moveTo>
                  <a:cubicBezTo>
                    <a:pt x="2044" y="0"/>
                    <a:pt x="2016" y="18"/>
                    <a:pt x="1947" y="61"/>
                  </a:cubicBezTo>
                  <a:cubicBezTo>
                    <a:pt x="1769" y="184"/>
                    <a:pt x="1569" y="268"/>
                    <a:pt x="1359" y="306"/>
                  </a:cubicBezTo>
                  <a:cubicBezTo>
                    <a:pt x="887" y="401"/>
                    <a:pt x="740" y="495"/>
                    <a:pt x="718" y="527"/>
                  </a:cubicBezTo>
                  <a:cubicBezTo>
                    <a:pt x="732" y="537"/>
                    <a:pt x="747" y="544"/>
                    <a:pt x="761" y="551"/>
                  </a:cubicBezTo>
                  <a:cubicBezTo>
                    <a:pt x="866" y="604"/>
                    <a:pt x="911" y="695"/>
                    <a:pt x="883" y="797"/>
                  </a:cubicBezTo>
                  <a:cubicBezTo>
                    <a:pt x="850" y="920"/>
                    <a:pt x="693" y="1050"/>
                    <a:pt x="511" y="1050"/>
                  </a:cubicBezTo>
                  <a:cubicBezTo>
                    <a:pt x="502" y="1050"/>
                    <a:pt x="493" y="1049"/>
                    <a:pt x="484" y="1049"/>
                  </a:cubicBezTo>
                  <a:cubicBezTo>
                    <a:pt x="479" y="1048"/>
                    <a:pt x="474" y="1048"/>
                    <a:pt x="470" y="1048"/>
                  </a:cubicBezTo>
                  <a:cubicBezTo>
                    <a:pt x="411" y="1048"/>
                    <a:pt x="368" y="1069"/>
                    <a:pt x="358" y="1108"/>
                  </a:cubicBezTo>
                  <a:cubicBezTo>
                    <a:pt x="347" y="1161"/>
                    <a:pt x="396" y="1241"/>
                    <a:pt x="533" y="1297"/>
                  </a:cubicBezTo>
                  <a:cubicBezTo>
                    <a:pt x="645" y="1343"/>
                    <a:pt x="771" y="1409"/>
                    <a:pt x="750" y="1507"/>
                  </a:cubicBezTo>
                  <a:cubicBezTo>
                    <a:pt x="732" y="1595"/>
                    <a:pt x="620" y="1633"/>
                    <a:pt x="375" y="1633"/>
                  </a:cubicBezTo>
                  <a:cubicBezTo>
                    <a:pt x="366" y="1633"/>
                    <a:pt x="357" y="1633"/>
                    <a:pt x="348" y="1633"/>
                  </a:cubicBezTo>
                  <a:cubicBezTo>
                    <a:pt x="231" y="1633"/>
                    <a:pt x="111" y="1654"/>
                    <a:pt x="1" y="1696"/>
                  </a:cubicBezTo>
                  <a:lnTo>
                    <a:pt x="11" y="1700"/>
                  </a:lnTo>
                  <a:cubicBezTo>
                    <a:pt x="78" y="1731"/>
                    <a:pt x="134" y="1777"/>
                    <a:pt x="176" y="1833"/>
                  </a:cubicBezTo>
                  <a:cubicBezTo>
                    <a:pt x="253" y="1931"/>
                    <a:pt x="365" y="2001"/>
                    <a:pt x="487" y="2022"/>
                  </a:cubicBezTo>
                  <a:cubicBezTo>
                    <a:pt x="524" y="2029"/>
                    <a:pt x="560" y="2033"/>
                    <a:pt x="597" y="2033"/>
                  </a:cubicBezTo>
                  <a:cubicBezTo>
                    <a:pt x="731" y="2033"/>
                    <a:pt x="861" y="1983"/>
                    <a:pt x="964" y="1889"/>
                  </a:cubicBezTo>
                  <a:cubicBezTo>
                    <a:pt x="1027" y="1829"/>
                    <a:pt x="1065" y="1759"/>
                    <a:pt x="1055" y="1707"/>
                  </a:cubicBezTo>
                  <a:cubicBezTo>
                    <a:pt x="1023" y="1528"/>
                    <a:pt x="1405" y="1420"/>
                    <a:pt x="2273" y="1252"/>
                  </a:cubicBezTo>
                  <a:cubicBezTo>
                    <a:pt x="2413" y="1224"/>
                    <a:pt x="2535" y="1199"/>
                    <a:pt x="2609" y="1182"/>
                  </a:cubicBezTo>
                  <a:cubicBezTo>
                    <a:pt x="2644" y="1171"/>
                    <a:pt x="2661" y="1161"/>
                    <a:pt x="2665" y="1154"/>
                  </a:cubicBezTo>
                  <a:cubicBezTo>
                    <a:pt x="2675" y="1133"/>
                    <a:pt x="2647" y="1070"/>
                    <a:pt x="2626" y="1031"/>
                  </a:cubicBezTo>
                  <a:cubicBezTo>
                    <a:pt x="2591" y="961"/>
                    <a:pt x="2553" y="881"/>
                    <a:pt x="2591" y="814"/>
                  </a:cubicBezTo>
                  <a:cubicBezTo>
                    <a:pt x="2619" y="765"/>
                    <a:pt x="2675" y="737"/>
                    <a:pt x="2763" y="730"/>
                  </a:cubicBezTo>
                  <a:cubicBezTo>
                    <a:pt x="2805" y="727"/>
                    <a:pt x="2847" y="720"/>
                    <a:pt x="2886" y="706"/>
                  </a:cubicBezTo>
                  <a:cubicBezTo>
                    <a:pt x="2844" y="678"/>
                    <a:pt x="2731" y="629"/>
                    <a:pt x="2532" y="601"/>
                  </a:cubicBezTo>
                  <a:cubicBezTo>
                    <a:pt x="2203" y="551"/>
                    <a:pt x="2171" y="338"/>
                    <a:pt x="2147" y="180"/>
                  </a:cubicBezTo>
                  <a:cubicBezTo>
                    <a:pt x="2136" y="110"/>
                    <a:pt x="2129" y="47"/>
                    <a:pt x="2094" y="19"/>
                  </a:cubicBezTo>
                  <a:cubicBezTo>
                    <a:pt x="2082" y="7"/>
                    <a:pt x="2074" y="0"/>
                    <a:pt x="20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2" name="Google Shape;6742;p53"/>
            <p:cNvSpPr/>
            <p:nvPr/>
          </p:nvSpPr>
          <p:spPr>
            <a:xfrm>
              <a:off x="2452749" y="1237876"/>
              <a:ext cx="24249" cy="7875"/>
            </a:xfrm>
            <a:custGeom>
              <a:avLst/>
              <a:gdLst/>
              <a:ahLst/>
              <a:cxnLst/>
              <a:rect l="l" t="t" r="r" b="b"/>
              <a:pathLst>
                <a:path w="1786" h="580" extrusionOk="0">
                  <a:moveTo>
                    <a:pt x="477" y="1"/>
                  </a:moveTo>
                  <a:cubicBezTo>
                    <a:pt x="501" y="32"/>
                    <a:pt x="529" y="60"/>
                    <a:pt x="561" y="88"/>
                  </a:cubicBezTo>
                  <a:cubicBezTo>
                    <a:pt x="589" y="109"/>
                    <a:pt x="603" y="144"/>
                    <a:pt x="596" y="179"/>
                  </a:cubicBezTo>
                  <a:cubicBezTo>
                    <a:pt x="578" y="256"/>
                    <a:pt x="477" y="291"/>
                    <a:pt x="263" y="354"/>
                  </a:cubicBezTo>
                  <a:cubicBezTo>
                    <a:pt x="176" y="379"/>
                    <a:pt x="88" y="407"/>
                    <a:pt x="0" y="446"/>
                  </a:cubicBezTo>
                  <a:cubicBezTo>
                    <a:pt x="117" y="538"/>
                    <a:pt x="380" y="580"/>
                    <a:pt x="671" y="580"/>
                  </a:cubicBezTo>
                  <a:cubicBezTo>
                    <a:pt x="965" y="580"/>
                    <a:pt x="1288" y="537"/>
                    <a:pt x="1516" y="460"/>
                  </a:cubicBezTo>
                  <a:cubicBezTo>
                    <a:pt x="1698" y="400"/>
                    <a:pt x="1772" y="330"/>
                    <a:pt x="1779" y="288"/>
                  </a:cubicBezTo>
                  <a:cubicBezTo>
                    <a:pt x="1786" y="263"/>
                    <a:pt x="1782" y="235"/>
                    <a:pt x="1768" y="214"/>
                  </a:cubicBezTo>
                  <a:cubicBezTo>
                    <a:pt x="1745" y="186"/>
                    <a:pt x="1678" y="180"/>
                    <a:pt x="1598" y="180"/>
                  </a:cubicBezTo>
                  <a:cubicBezTo>
                    <a:pt x="1558" y="180"/>
                    <a:pt x="1514" y="182"/>
                    <a:pt x="1471" y="183"/>
                  </a:cubicBezTo>
                  <a:cubicBezTo>
                    <a:pt x="1421" y="185"/>
                    <a:pt x="1368" y="187"/>
                    <a:pt x="1313" y="187"/>
                  </a:cubicBezTo>
                  <a:cubicBezTo>
                    <a:pt x="1173" y="187"/>
                    <a:pt x="1020" y="174"/>
                    <a:pt x="879" y="116"/>
                  </a:cubicBezTo>
                  <a:cubicBezTo>
                    <a:pt x="666" y="25"/>
                    <a:pt x="533" y="1"/>
                    <a:pt x="4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3" name="Google Shape;6743;p53"/>
            <p:cNvSpPr/>
            <p:nvPr/>
          </p:nvSpPr>
          <p:spPr>
            <a:xfrm>
              <a:off x="2405554" y="1415592"/>
              <a:ext cx="14406" cy="8065"/>
            </a:xfrm>
            <a:custGeom>
              <a:avLst/>
              <a:gdLst/>
              <a:ahLst/>
              <a:cxnLst/>
              <a:rect l="l" t="t" r="r" b="b"/>
              <a:pathLst>
                <a:path w="1061" h="594" extrusionOk="0">
                  <a:moveTo>
                    <a:pt x="489" y="1"/>
                  </a:moveTo>
                  <a:cubicBezTo>
                    <a:pt x="483" y="1"/>
                    <a:pt x="476" y="1"/>
                    <a:pt x="469" y="2"/>
                  </a:cubicBezTo>
                  <a:cubicBezTo>
                    <a:pt x="294" y="2"/>
                    <a:pt x="112" y="100"/>
                    <a:pt x="49" y="215"/>
                  </a:cubicBezTo>
                  <a:cubicBezTo>
                    <a:pt x="0" y="303"/>
                    <a:pt x="21" y="387"/>
                    <a:pt x="109" y="467"/>
                  </a:cubicBezTo>
                  <a:cubicBezTo>
                    <a:pt x="206" y="558"/>
                    <a:pt x="299" y="593"/>
                    <a:pt x="388" y="593"/>
                  </a:cubicBezTo>
                  <a:cubicBezTo>
                    <a:pt x="544" y="593"/>
                    <a:pt x="688" y="485"/>
                    <a:pt x="819" y="387"/>
                  </a:cubicBezTo>
                  <a:cubicBezTo>
                    <a:pt x="910" y="317"/>
                    <a:pt x="987" y="261"/>
                    <a:pt x="1061" y="243"/>
                  </a:cubicBezTo>
                  <a:cubicBezTo>
                    <a:pt x="1001" y="187"/>
                    <a:pt x="812" y="79"/>
                    <a:pt x="581" y="16"/>
                  </a:cubicBezTo>
                  <a:cubicBezTo>
                    <a:pt x="550" y="7"/>
                    <a:pt x="520" y="1"/>
                    <a:pt x="48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4" name="Google Shape;6744;p53"/>
            <p:cNvSpPr/>
            <p:nvPr/>
          </p:nvSpPr>
          <p:spPr>
            <a:xfrm>
              <a:off x="2399471" y="1241556"/>
              <a:ext cx="30047" cy="12613"/>
            </a:xfrm>
            <a:custGeom>
              <a:avLst/>
              <a:gdLst/>
              <a:ahLst/>
              <a:cxnLst/>
              <a:rect l="l" t="t" r="r" b="b"/>
              <a:pathLst>
                <a:path w="2213" h="929" extrusionOk="0">
                  <a:moveTo>
                    <a:pt x="1672" y="0"/>
                  </a:moveTo>
                  <a:cubicBezTo>
                    <a:pt x="1466" y="0"/>
                    <a:pt x="1275" y="85"/>
                    <a:pt x="1229" y="168"/>
                  </a:cubicBezTo>
                  <a:cubicBezTo>
                    <a:pt x="1218" y="185"/>
                    <a:pt x="1215" y="196"/>
                    <a:pt x="1246" y="220"/>
                  </a:cubicBezTo>
                  <a:cubicBezTo>
                    <a:pt x="1299" y="255"/>
                    <a:pt x="1320" y="297"/>
                    <a:pt x="1309" y="343"/>
                  </a:cubicBezTo>
                  <a:cubicBezTo>
                    <a:pt x="1285" y="427"/>
                    <a:pt x="1152" y="448"/>
                    <a:pt x="928" y="476"/>
                  </a:cubicBezTo>
                  <a:cubicBezTo>
                    <a:pt x="788" y="497"/>
                    <a:pt x="553" y="528"/>
                    <a:pt x="518" y="581"/>
                  </a:cubicBezTo>
                  <a:cubicBezTo>
                    <a:pt x="452" y="675"/>
                    <a:pt x="308" y="707"/>
                    <a:pt x="182" y="735"/>
                  </a:cubicBezTo>
                  <a:cubicBezTo>
                    <a:pt x="119" y="749"/>
                    <a:pt x="18" y="770"/>
                    <a:pt x="0" y="794"/>
                  </a:cubicBezTo>
                  <a:cubicBezTo>
                    <a:pt x="0" y="794"/>
                    <a:pt x="0" y="798"/>
                    <a:pt x="4" y="805"/>
                  </a:cubicBezTo>
                  <a:cubicBezTo>
                    <a:pt x="28" y="850"/>
                    <a:pt x="158" y="906"/>
                    <a:pt x="364" y="924"/>
                  </a:cubicBezTo>
                  <a:cubicBezTo>
                    <a:pt x="407" y="927"/>
                    <a:pt x="448" y="928"/>
                    <a:pt x="486" y="928"/>
                  </a:cubicBezTo>
                  <a:cubicBezTo>
                    <a:pt x="651" y="928"/>
                    <a:pt x="761" y="901"/>
                    <a:pt x="784" y="878"/>
                  </a:cubicBezTo>
                  <a:cubicBezTo>
                    <a:pt x="791" y="738"/>
                    <a:pt x="959" y="735"/>
                    <a:pt x="1071" y="731"/>
                  </a:cubicBezTo>
                  <a:cubicBezTo>
                    <a:pt x="1120" y="731"/>
                    <a:pt x="1208" y="731"/>
                    <a:pt x="1225" y="714"/>
                  </a:cubicBezTo>
                  <a:cubicBezTo>
                    <a:pt x="1232" y="633"/>
                    <a:pt x="1313" y="364"/>
                    <a:pt x="1929" y="318"/>
                  </a:cubicBezTo>
                  <a:cubicBezTo>
                    <a:pt x="2181" y="301"/>
                    <a:pt x="2213" y="248"/>
                    <a:pt x="2213" y="248"/>
                  </a:cubicBezTo>
                  <a:cubicBezTo>
                    <a:pt x="2213" y="248"/>
                    <a:pt x="2202" y="178"/>
                    <a:pt x="1939" y="55"/>
                  </a:cubicBezTo>
                  <a:cubicBezTo>
                    <a:pt x="1854" y="16"/>
                    <a:pt x="1762" y="0"/>
                    <a:pt x="16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5" name="Google Shape;6745;p53"/>
            <p:cNvSpPr/>
            <p:nvPr/>
          </p:nvSpPr>
          <p:spPr>
            <a:xfrm>
              <a:off x="2429179" y="1308887"/>
              <a:ext cx="131865" cy="90535"/>
            </a:xfrm>
            <a:custGeom>
              <a:avLst/>
              <a:gdLst/>
              <a:ahLst/>
              <a:cxnLst/>
              <a:rect l="l" t="t" r="r" b="b"/>
              <a:pathLst>
                <a:path w="9712" h="6668" extrusionOk="0">
                  <a:moveTo>
                    <a:pt x="9297" y="0"/>
                  </a:moveTo>
                  <a:cubicBezTo>
                    <a:pt x="8855" y="0"/>
                    <a:pt x="8218" y="261"/>
                    <a:pt x="8034" y="411"/>
                  </a:cubicBezTo>
                  <a:cubicBezTo>
                    <a:pt x="7873" y="540"/>
                    <a:pt x="7688" y="551"/>
                    <a:pt x="7506" y="558"/>
                  </a:cubicBezTo>
                  <a:cubicBezTo>
                    <a:pt x="7369" y="565"/>
                    <a:pt x="7240" y="568"/>
                    <a:pt x="7135" y="628"/>
                  </a:cubicBezTo>
                  <a:cubicBezTo>
                    <a:pt x="6953" y="731"/>
                    <a:pt x="6653" y="818"/>
                    <a:pt x="6383" y="818"/>
                  </a:cubicBezTo>
                  <a:cubicBezTo>
                    <a:pt x="6231" y="818"/>
                    <a:pt x="6089" y="790"/>
                    <a:pt x="5983" y="722"/>
                  </a:cubicBezTo>
                  <a:cubicBezTo>
                    <a:pt x="5945" y="697"/>
                    <a:pt x="5904" y="687"/>
                    <a:pt x="5861" y="687"/>
                  </a:cubicBezTo>
                  <a:cubicBezTo>
                    <a:pt x="5756" y="687"/>
                    <a:pt x="5640" y="750"/>
                    <a:pt x="5528" y="810"/>
                  </a:cubicBezTo>
                  <a:cubicBezTo>
                    <a:pt x="5422" y="869"/>
                    <a:pt x="5319" y="926"/>
                    <a:pt x="5222" y="926"/>
                  </a:cubicBezTo>
                  <a:cubicBezTo>
                    <a:pt x="5217" y="926"/>
                    <a:pt x="5211" y="926"/>
                    <a:pt x="5206" y="925"/>
                  </a:cubicBezTo>
                  <a:cubicBezTo>
                    <a:pt x="5200" y="925"/>
                    <a:pt x="5194" y="925"/>
                    <a:pt x="5188" y="925"/>
                  </a:cubicBezTo>
                  <a:cubicBezTo>
                    <a:pt x="5105" y="925"/>
                    <a:pt x="5013" y="967"/>
                    <a:pt x="4912" y="1013"/>
                  </a:cubicBezTo>
                  <a:cubicBezTo>
                    <a:pt x="4796" y="1065"/>
                    <a:pt x="4679" y="1119"/>
                    <a:pt x="4558" y="1119"/>
                  </a:cubicBezTo>
                  <a:cubicBezTo>
                    <a:pt x="4547" y="1119"/>
                    <a:pt x="4537" y="1119"/>
                    <a:pt x="4527" y="1118"/>
                  </a:cubicBezTo>
                  <a:cubicBezTo>
                    <a:pt x="4519" y="1117"/>
                    <a:pt x="4511" y="1117"/>
                    <a:pt x="4503" y="1117"/>
                  </a:cubicBezTo>
                  <a:cubicBezTo>
                    <a:pt x="4282" y="1117"/>
                    <a:pt x="3903" y="1299"/>
                    <a:pt x="3886" y="1377"/>
                  </a:cubicBezTo>
                  <a:cubicBezTo>
                    <a:pt x="3861" y="1472"/>
                    <a:pt x="3746" y="1503"/>
                    <a:pt x="3637" y="1535"/>
                  </a:cubicBezTo>
                  <a:cubicBezTo>
                    <a:pt x="3564" y="1556"/>
                    <a:pt x="3466" y="1580"/>
                    <a:pt x="3466" y="1619"/>
                  </a:cubicBezTo>
                  <a:cubicBezTo>
                    <a:pt x="3466" y="1717"/>
                    <a:pt x="3389" y="1815"/>
                    <a:pt x="3266" y="1867"/>
                  </a:cubicBezTo>
                  <a:cubicBezTo>
                    <a:pt x="3216" y="1890"/>
                    <a:pt x="3155" y="1906"/>
                    <a:pt x="3093" y="1906"/>
                  </a:cubicBezTo>
                  <a:cubicBezTo>
                    <a:pt x="3021" y="1906"/>
                    <a:pt x="2948" y="1885"/>
                    <a:pt x="2888" y="1829"/>
                  </a:cubicBezTo>
                  <a:cubicBezTo>
                    <a:pt x="2876" y="1815"/>
                    <a:pt x="2859" y="1808"/>
                    <a:pt x="2843" y="1808"/>
                  </a:cubicBezTo>
                  <a:cubicBezTo>
                    <a:pt x="2827" y="1808"/>
                    <a:pt x="2811" y="1815"/>
                    <a:pt x="2801" y="1829"/>
                  </a:cubicBezTo>
                  <a:cubicBezTo>
                    <a:pt x="2752" y="1878"/>
                    <a:pt x="2734" y="2000"/>
                    <a:pt x="2846" y="2102"/>
                  </a:cubicBezTo>
                  <a:cubicBezTo>
                    <a:pt x="2899" y="2154"/>
                    <a:pt x="2923" y="2207"/>
                    <a:pt x="2913" y="2259"/>
                  </a:cubicBezTo>
                  <a:cubicBezTo>
                    <a:pt x="2892" y="2354"/>
                    <a:pt x="2776" y="2396"/>
                    <a:pt x="2664" y="2438"/>
                  </a:cubicBezTo>
                  <a:cubicBezTo>
                    <a:pt x="2626" y="2452"/>
                    <a:pt x="2591" y="2466"/>
                    <a:pt x="2556" y="2483"/>
                  </a:cubicBezTo>
                  <a:cubicBezTo>
                    <a:pt x="2573" y="2508"/>
                    <a:pt x="2584" y="2536"/>
                    <a:pt x="2580" y="2567"/>
                  </a:cubicBezTo>
                  <a:cubicBezTo>
                    <a:pt x="2577" y="2637"/>
                    <a:pt x="2517" y="2683"/>
                    <a:pt x="2465" y="2732"/>
                  </a:cubicBezTo>
                  <a:cubicBezTo>
                    <a:pt x="2395" y="2788"/>
                    <a:pt x="2377" y="2812"/>
                    <a:pt x="2388" y="2830"/>
                  </a:cubicBezTo>
                  <a:cubicBezTo>
                    <a:pt x="2412" y="2872"/>
                    <a:pt x="2416" y="2921"/>
                    <a:pt x="2398" y="2963"/>
                  </a:cubicBezTo>
                  <a:cubicBezTo>
                    <a:pt x="2346" y="3078"/>
                    <a:pt x="2139" y="3117"/>
                    <a:pt x="1926" y="3159"/>
                  </a:cubicBezTo>
                  <a:lnTo>
                    <a:pt x="1873" y="3169"/>
                  </a:lnTo>
                  <a:cubicBezTo>
                    <a:pt x="1761" y="3190"/>
                    <a:pt x="1677" y="3292"/>
                    <a:pt x="1684" y="3362"/>
                  </a:cubicBezTo>
                  <a:cubicBezTo>
                    <a:pt x="1687" y="3411"/>
                    <a:pt x="1750" y="3425"/>
                    <a:pt x="1799" y="3428"/>
                  </a:cubicBezTo>
                  <a:cubicBezTo>
                    <a:pt x="1880" y="3432"/>
                    <a:pt x="1950" y="3435"/>
                    <a:pt x="1964" y="3499"/>
                  </a:cubicBezTo>
                  <a:cubicBezTo>
                    <a:pt x="1978" y="3558"/>
                    <a:pt x="1926" y="3583"/>
                    <a:pt x="1877" y="3611"/>
                  </a:cubicBezTo>
                  <a:cubicBezTo>
                    <a:pt x="1789" y="3656"/>
                    <a:pt x="1705" y="3712"/>
                    <a:pt x="1715" y="3793"/>
                  </a:cubicBezTo>
                  <a:cubicBezTo>
                    <a:pt x="1726" y="3838"/>
                    <a:pt x="1712" y="3887"/>
                    <a:pt x="1684" y="3926"/>
                  </a:cubicBezTo>
                  <a:cubicBezTo>
                    <a:pt x="1621" y="4003"/>
                    <a:pt x="1498" y="4013"/>
                    <a:pt x="1379" y="4020"/>
                  </a:cubicBezTo>
                  <a:cubicBezTo>
                    <a:pt x="1330" y="4020"/>
                    <a:pt x="1281" y="4027"/>
                    <a:pt x="1232" y="4041"/>
                  </a:cubicBezTo>
                  <a:cubicBezTo>
                    <a:pt x="1243" y="4122"/>
                    <a:pt x="1218" y="4199"/>
                    <a:pt x="1166" y="4262"/>
                  </a:cubicBezTo>
                  <a:cubicBezTo>
                    <a:pt x="1092" y="4342"/>
                    <a:pt x="966" y="4381"/>
                    <a:pt x="777" y="4381"/>
                  </a:cubicBezTo>
                  <a:lnTo>
                    <a:pt x="819" y="4416"/>
                  </a:lnTo>
                  <a:cubicBezTo>
                    <a:pt x="907" y="4493"/>
                    <a:pt x="1001" y="4577"/>
                    <a:pt x="1019" y="4675"/>
                  </a:cubicBezTo>
                  <a:cubicBezTo>
                    <a:pt x="1047" y="4815"/>
                    <a:pt x="924" y="4850"/>
                    <a:pt x="854" y="4871"/>
                  </a:cubicBezTo>
                  <a:cubicBezTo>
                    <a:pt x="756" y="4895"/>
                    <a:pt x="704" y="4916"/>
                    <a:pt x="697" y="5014"/>
                  </a:cubicBezTo>
                  <a:cubicBezTo>
                    <a:pt x="686" y="5203"/>
                    <a:pt x="501" y="5214"/>
                    <a:pt x="347" y="5221"/>
                  </a:cubicBezTo>
                  <a:cubicBezTo>
                    <a:pt x="161" y="5235"/>
                    <a:pt x="46" y="5249"/>
                    <a:pt x="14" y="5382"/>
                  </a:cubicBezTo>
                  <a:cubicBezTo>
                    <a:pt x="0" y="5455"/>
                    <a:pt x="4" y="5508"/>
                    <a:pt x="32" y="5543"/>
                  </a:cubicBezTo>
                  <a:cubicBezTo>
                    <a:pt x="91" y="5613"/>
                    <a:pt x="252" y="5617"/>
                    <a:pt x="396" y="5624"/>
                  </a:cubicBezTo>
                  <a:cubicBezTo>
                    <a:pt x="434" y="5624"/>
                    <a:pt x="473" y="5624"/>
                    <a:pt x="511" y="5627"/>
                  </a:cubicBezTo>
                  <a:cubicBezTo>
                    <a:pt x="515" y="5627"/>
                    <a:pt x="518" y="5627"/>
                    <a:pt x="522" y="5627"/>
                  </a:cubicBezTo>
                  <a:cubicBezTo>
                    <a:pt x="573" y="5627"/>
                    <a:pt x="618" y="5651"/>
                    <a:pt x="651" y="5694"/>
                  </a:cubicBezTo>
                  <a:cubicBezTo>
                    <a:pt x="686" y="5750"/>
                    <a:pt x="662" y="5816"/>
                    <a:pt x="637" y="5872"/>
                  </a:cubicBezTo>
                  <a:cubicBezTo>
                    <a:pt x="599" y="5974"/>
                    <a:pt x="595" y="6009"/>
                    <a:pt x="641" y="6044"/>
                  </a:cubicBezTo>
                  <a:cubicBezTo>
                    <a:pt x="712" y="6097"/>
                    <a:pt x="762" y="6112"/>
                    <a:pt x="784" y="6112"/>
                  </a:cubicBezTo>
                  <a:cubicBezTo>
                    <a:pt x="789" y="6112"/>
                    <a:pt x="793" y="6111"/>
                    <a:pt x="795" y="6110"/>
                  </a:cubicBezTo>
                  <a:cubicBezTo>
                    <a:pt x="795" y="6110"/>
                    <a:pt x="812" y="6072"/>
                    <a:pt x="753" y="5946"/>
                  </a:cubicBezTo>
                  <a:cubicBezTo>
                    <a:pt x="700" y="5834"/>
                    <a:pt x="763" y="5785"/>
                    <a:pt x="784" y="5774"/>
                  </a:cubicBezTo>
                  <a:cubicBezTo>
                    <a:pt x="809" y="5760"/>
                    <a:pt x="833" y="5757"/>
                    <a:pt x="861" y="5757"/>
                  </a:cubicBezTo>
                  <a:cubicBezTo>
                    <a:pt x="1001" y="5757"/>
                    <a:pt x="1222" y="5879"/>
                    <a:pt x="1313" y="6005"/>
                  </a:cubicBezTo>
                  <a:cubicBezTo>
                    <a:pt x="1383" y="6103"/>
                    <a:pt x="1376" y="6205"/>
                    <a:pt x="1292" y="6275"/>
                  </a:cubicBezTo>
                  <a:cubicBezTo>
                    <a:pt x="1274" y="6289"/>
                    <a:pt x="1257" y="6310"/>
                    <a:pt x="1260" y="6327"/>
                  </a:cubicBezTo>
                  <a:cubicBezTo>
                    <a:pt x="1292" y="6415"/>
                    <a:pt x="1656" y="6534"/>
                    <a:pt x="1947" y="6548"/>
                  </a:cubicBezTo>
                  <a:cubicBezTo>
                    <a:pt x="2027" y="6551"/>
                    <a:pt x="2150" y="6569"/>
                    <a:pt x="2293" y="6593"/>
                  </a:cubicBezTo>
                  <a:cubicBezTo>
                    <a:pt x="2511" y="6623"/>
                    <a:pt x="2824" y="6667"/>
                    <a:pt x="3047" y="6667"/>
                  </a:cubicBezTo>
                  <a:cubicBezTo>
                    <a:pt x="3161" y="6667"/>
                    <a:pt x="3250" y="6656"/>
                    <a:pt x="3291" y="6625"/>
                  </a:cubicBezTo>
                  <a:cubicBezTo>
                    <a:pt x="3301" y="6618"/>
                    <a:pt x="3301" y="6611"/>
                    <a:pt x="3301" y="6611"/>
                  </a:cubicBezTo>
                  <a:cubicBezTo>
                    <a:pt x="3305" y="6558"/>
                    <a:pt x="3175" y="6471"/>
                    <a:pt x="3049" y="6383"/>
                  </a:cubicBezTo>
                  <a:cubicBezTo>
                    <a:pt x="2878" y="6271"/>
                    <a:pt x="2720" y="6142"/>
                    <a:pt x="2577" y="5998"/>
                  </a:cubicBezTo>
                  <a:cubicBezTo>
                    <a:pt x="2363" y="5774"/>
                    <a:pt x="2129" y="5396"/>
                    <a:pt x="2171" y="5067"/>
                  </a:cubicBezTo>
                  <a:cubicBezTo>
                    <a:pt x="2185" y="4923"/>
                    <a:pt x="2269" y="4794"/>
                    <a:pt x="2395" y="4717"/>
                  </a:cubicBezTo>
                  <a:cubicBezTo>
                    <a:pt x="2563" y="4612"/>
                    <a:pt x="2570" y="4545"/>
                    <a:pt x="2584" y="4461"/>
                  </a:cubicBezTo>
                  <a:cubicBezTo>
                    <a:pt x="2594" y="4363"/>
                    <a:pt x="2612" y="4244"/>
                    <a:pt x="2829" y="4090"/>
                  </a:cubicBezTo>
                  <a:cubicBezTo>
                    <a:pt x="2948" y="4013"/>
                    <a:pt x="3035" y="3891"/>
                    <a:pt x="3070" y="3751"/>
                  </a:cubicBezTo>
                  <a:cubicBezTo>
                    <a:pt x="3102" y="3646"/>
                    <a:pt x="3137" y="3534"/>
                    <a:pt x="3343" y="3513"/>
                  </a:cubicBezTo>
                  <a:cubicBezTo>
                    <a:pt x="3441" y="3502"/>
                    <a:pt x="3438" y="3485"/>
                    <a:pt x="3431" y="3404"/>
                  </a:cubicBezTo>
                  <a:cubicBezTo>
                    <a:pt x="3424" y="3323"/>
                    <a:pt x="3410" y="3173"/>
                    <a:pt x="3634" y="3141"/>
                  </a:cubicBezTo>
                  <a:cubicBezTo>
                    <a:pt x="3732" y="3127"/>
                    <a:pt x="3823" y="3068"/>
                    <a:pt x="3872" y="2980"/>
                  </a:cubicBezTo>
                  <a:cubicBezTo>
                    <a:pt x="3924" y="2893"/>
                    <a:pt x="3942" y="2791"/>
                    <a:pt x="3921" y="2697"/>
                  </a:cubicBezTo>
                  <a:cubicBezTo>
                    <a:pt x="3907" y="2665"/>
                    <a:pt x="3910" y="2627"/>
                    <a:pt x="3928" y="2599"/>
                  </a:cubicBezTo>
                  <a:cubicBezTo>
                    <a:pt x="3963" y="2550"/>
                    <a:pt x="4030" y="2546"/>
                    <a:pt x="4124" y="2543"/>
                  </a:cubicBezTo>
                  <a:cubicBezTo>
                    <a:pt x="4236" y="2539"/>
                    <a:pt x="4373" y="2536"/>
                    <a:pt x="4450" y="2452"/>
                  </a:cubicBezTo>
                  <a:cubicBezTo>
                    <a:pt x="4544" y="2347"/>
                    <a:pt x="4688" y="2322"/>
                    <a:pt x="4824" y="2298"/>
                  </a:cubicBezTo>
                  <a:cubicBezTo>
                    <a:pt x="4978" y="2273"/>
                    <a:pt x="5111" y="2249"/>
                    <a:pt x="5167" y="2126"/>
                  </a:cubicBezTo>
                  <a:cubicBezTo>
                    <a:pt x="5321" y="1804"/>
                    <a:pt x="7278" y="1167"/>
                    <a:pt x="8252" y="943"/>
                  </a:cubicBezTo>
                  <a:cubicBezTo>
                    <a:pt x="9148" y="736"/>
                    <a:pt x="9662" y="428"/>
                    <a:pt x="9704" y="232"/>
                  </a:cubicBezTo>
                  <a:cubicBezTo>
                    <a:pt x="9711" y="201"/>
                    <a:pt x="9711" y="148"/>
                    <a:pt x="9634" y="89"/>
                  </a:cubicBezTo>
                  <a:cubicBezTo>
                    <a:pt x="9554" y="26"/>
                    <a:pt x="9435" y="0"/>
                    <a:pt x="92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6" name="Google Shape;6746;p53"/>
            <p:cNvSpPr/>
            <p:nvPr/>
          </p:nvSpPr>
          <p:spPr>
            <a:xfrm>
              <a:off x="2439104" y="1251861"/>
              <a:ext cx="6857" cy="1833"/>
            </a:xfrm>
            <a:custGeom>
              <a:avLst/>
              <a:gdLst/>
              <a:ahLst/>
              <a:cxnLst/>
              <a:rect l="l" t="t" r="r" b="b"/>
              <a:pathLst>
                <a:path w="505" h="135" extrusionOk="0">
                  <a:moveTo>
                    <a:pt x="386" y="0"/>
                  </a:moveTo>
                  <a:cubicBezTo>
                    <a:pt x="266" y="0"/>
                    <a:pt x="98" y="47"/>
                    <a:pt x="1" y="88"/>
                  </a:cubicBezTo>
                  <a:cubicBezTo>
                    <a:pt x="104" y="115"/>
                    <a:pt x="223" y="134"/>
                    <a:pt x="320" y="134"/>
                  </a:cubicBezTo>
                  <a:cubicBezTo>
                    <a:pt x="387" y="134"/>
                    <a:pt x="444" y="125"/>
                    <a:pt x="477" y="102"/>
                  </a:cubicBezTo>
                  <a:cubicBezTo>
                    <a:pt x="494" y="88"/>
                    <a:pt x="505" y="67"/>
                    <a:pt x="501" y="42"/>
                  </a:cubicBezTo>
                  <a:cubicBezTo>
                    <a:pt x="501" y="35"/>
                    <a:pt x="501" y="25"/>
                    <a:pt x="477" y="14"/>
                  </a:cubicBezTo>
                  <a:cubicBezTo>
                    <a:pt x="453" y="5"/>
                    <a:pt x="421" y="0"/>
                    <a:pt x="38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7" name="Google Shape;6747;p53"/>
            <p:cNvSpPr/>
            <p:nvPr/>
          </p:nvSpPr>
          <p:spPr>
            <a:xfrm>
              <a:off x="2870271" y="1345763"/>
              <a:ext cx="11758" cy="4576"/>
            </a:xfrm>
            <a:custGeom>
              <a:avLst/>
              <a:gdLst/>
              <a:ahLst/>
              <a:cxnLst/>
              <a:rect l="l" t="t" r="r" b="b"/>
              <a:pathLst>
                <a:path w="866" h="337" extrusionOk="0">
                  <a:moveTo>
                    <a:pt x="583" y="0"/>
                  </a:moveTo>
                  <a:cubicBezTo>
                    <a:pt x="457" y="0"/>
                    <a:pt x="342" y="35"/>
                    <a:pt x="323" y="61"/>
                  </a:cubicBezTo>
                  <a:cubicBezTo>
                    <a:pt x="284" y="142"/>
                    <a:pt x="183" y="180"/>
                    <a:pt x="95" y="215"/>
                  </a:cubicBezTo>
                  <a:cubicBezTo>
                    <a:pt x="60" y="229"/>
                    <a:pt x="29" y="243"/>
                    <a:pt x="1" y="261"/>
                  </a:cubicBezTo>
                  <a:cubicBezTo>
                    <a:pt x="46" y="310"/>
                    <a:pt x="164" y="336"/>
                    <a:pt x="302" y="336"/>
                  </a:cubicBezTo>
                  <a:cubicBezTo>
                    <a:pt x="408" y="336"/>
                    <a:pt x="526" y="321"/>
                    <a:pt x="631" y="289"/>
                  </a:cubicBezTo>
                  <a:cubicBezTo>
                    <a:pt x="768" y="247"/>
                    <a:pt x="859" y="184"/>
                    <a:pt x="862" y="128"/>
                  </a:cubicBezTo>
                  <a:cubicBezTo>
                    <a:pt x="862" y="110"/>
                    <a:pt x="866" y="58"/>
                    <a:pt x="757" y="26"/>
                  </a:cubicBezTo>
                  <a:cubicBezTo>
                    <a:pt x="702" y="8"/>
                    <a:pt x="641" y="0"/>
                    <a:pt x="58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8" name="Google Shape;6748;p53"/>
            <p:cNvSpPr/>
            <p:nvPr/>
          </p:nvSpPr>
          <p:spPr>
            <a:xfrm>
              <a:off x="2384020" y="1243620"/>
              <a:ext cx="22783" cy="4983"/>
            </a:xfrm>
            <a:custGeom>
              <a:avLst/>
              <a:gdLst/>
              <a:ahLst/>
              <a:cxnLst/>
              <a:rect l="l" t="t" r="r" b="b"/>
              <a:pathLst>
                <a:path w="1678" h="367" extrusionOk="0">
                  <a:moveTo>
                    <a:pt x="1256" y="0"/>
                  </a:moveTo>
                  <a:cubicBezTo>
                    <a:pt x="1089" y="0"/>
                    <a:pt x="915" y="22"/>
                    <a:pt x="809" y="79"/>
                  </a:cubicBezTo>
                  <a:cubicBezTo>
                    <a:pt x="669" y="152"/>
                    <a:pt x="462" y="163"/>
                    <a:pt x="280" y="173"/>
                  </a:cubicBezTo>
                  <a:cubicBezTo>
                    <a:pt x="182" y="180"/>
                    <a:pt x="42" y="187"/>
                    <a:pt x="0" y="208"/>
                  </a:cubicBezTo>
                  <a:cubicBezTo>
                    <a:pt x="74" y="285"/>
                    <a:pt x="168" y="334"/>
                    <a:pt x="273" y="352"/>
                  </a:cubicBezTo>
                  <a:cubicBezTo>
                    <a:pt x="316" y="361"/>
                    <a:pt x="359" y="366"/>
                    <a:pt x="402" y="366"/>
                  </a:cubicBezTo>
                  <a:cubicBezTo>
                    <a:pt x="542" y="366"/>
                    <a:pt x="680" y="314"/>
                    <a:pt x="784" y="215"/>
                  </a:cubicBezTo>
                  <a:cubicBezTo>
                    <a:pt x="939" y="69"/>
                    <a:pt x="1115" y="34"/>
                    <a:pt x="1273" y="34"/>
                  </a:cubicBezTo>
                  <a:cubicBezTo>
                    <a:pt x="1361" y="34"/>
                    <a:pt x="1443" y="45"/>
                    <a:pt x="1513" y="54"/>
                  </a:cubicBezTo>
                  <a:cubicBezTo>
                    <a:pt x="1552" y="62"/>
                    <a:pt x="1593" y="66"/>
                    <a:pt x="1635" y="66"/>
                  </a:cubicBezTo>
                  <a:cubicBezTo>
                    <a:pt x="1649" y="66"/>
                    <a:pt x="1663" y="65"/>
                    <a:pt x="1677" y="65"/>
                  </a:cubicBezTo>
                  <a:cubicBezTo>
                    <a:pt x="1628" y="29"/>
                    <a:pt x="1448" y="0"/>
                    <a:pt x="125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9" name="Google Shape;6749;p53"/>
            <p:cNvSpPr/>
            <p:nvPr/>
          </p:nvSpPr>
          <p:spPr>
            <a:xfrm>
              <a:off x="2517202" y="1238691"/>
              <a:ext cx="17406" cy="5404"/>
            </a:xfrm>
            <a:custGeom>
              <a:avLst/>
              <a:gdLst/>
              <a:ahLst/>
              <a:cxnLst/>
              <a:rect l="l" t="t" r="r" b="b"/>
              <a:pathLst>
                <a:path w="1282" h="398" extrusionOk="0">
                  <a:moveTo>
                    <a:pt x="1023" y="1"/>
                  </a:moveTo>
                  <a:cubicBezTo>
                    <a:pt x="919" y="1"/>
                    <a:pt x="860" y="48"/>
                    <a:pt x="799" y="98"/>
                  </a:cubicBezTo>
                  <a:cubicBezTo>
                    <a:pt x="748" y="140"/>
                    <a:pt x="688" y="187"/>
                    <a:pt x="609" y="187"/>
                  </a:cubicBezTo>
                  <a:cubicBezTo>
                    <a:pt x="601" y="187"/>
                    <a:pt x="593" y="187"/>
                    <a:pt x="585" y="186"/>
                  </a:cubicBezTo>
                  <a:cubicBezTo>
                    <a:pt x="573" y="184"/>
                    <a:pt x="559" y="184"/>
                    <a:pt x="543" y="184"/>
                  </a:cubicBezTo>
                  <a:cubicBezTo>
                    <a:pt x="376" y="184"/>
                    <a:pt x="55" y="265"/>
                    <a:pt x="1" y="322"/>
                  </a:cubicBezTo>
                  <a:cubicBezTo>
                    <a:pt x="56" y="379"/>
                    <a:pt x="171" y="397"/>
                    <a:pt x="306" y="397"/>
                  </a:cubicBezTo>
                  <a:cubicBezTo>
                    <a:pt x="437" y="397"/>
                    <a:pt x="585" y="380"/>
                    <a:pt x="711" y="365"/>
                  </a:cubicBezTo>
                  <a:lnTo>
                    <a:pt x="844" y="351"/>
                  </a:lnTo>
                  <a:cubicBezTo>
                    <a:pt x="1138" y="319"/>
                    <a:pt x="1275" y="217"/>
                    <a:pt x="1282" y="140"/>
                  </a:cubicBezTo>
                  <a:cubicBezTo>
                    <a:pt x="1282" y="84"/>
                    <a:pt x="1215" y="32"/>
                    <a:pt x="1114" y="11"/>
                  </a:cubicBezTo>
                  <a:cubicBezTo>
                    <a:pt x="1080" y="4"/>
                    <a:pt x="1050" y="1"/>
                    <a:pt x="10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0" name="Google Shape;6750;p53"/>
            <p:cNvSpPr/>
            <p:nvPr/>
          </p:nvSpPr>
          <p:spPr>
            <a:xfrm>
              <a:off x="2718026" y="1237646"/>
              <a:ext cx="8757" cy="2403"/>
            </a:xfrm>
            <a:custGeom>
              <a:avLst/>
              <a:gdLst/>
              <a:ahLst/>
              <a:cxnLst/>
              <a:rect l="l" t="t" r="r" b="b"/>
              <a:pathLst>
                <a:path w="645" h="177" extrusionOk="0">
                  <a:moveTo>
                    <a:pt x="400" y="0"/>
                  </a:moveTo>
                  <a:cubicBezTo>
                    <a:pt x="179" y="0"/>
                    <a:pt x="11" y="60"/>
                    <a:pt x="1" y="95"/>
                  </a:cubicBezTo>
                  <a:cubicBezTo>
                    <a:pt x="1" y="95"/>
                    <a:pt x="8" y="105"/>
                    <a:pt x="22" y="119"/>
                  </a:cubicBezTo>
                  <a:cubicBezTo>
                    <a:pt x="55" y="145"/>
                    <a:pt x="193" y="176"/>
                    <a:pt x="334" y="176"/>
                  </a:cubicBezTo>
                  <a:cubicBezTo>
                    <a:pt x="401" y="176"/>
                    <a:pt x="469" y="169"/>
                    <a:pt x="526" y="151"/>
                  </a:cubicBezTo>
                  <a:cubicBezTo>
                    <a:pt x="596" y="130"/>
                    <a:pt x="634" y="98"/>
                    <a:pt x="645" y="53"/>
                  </a:cubicBezTo>
                  <a:cubicBezTo>
                    <a:pt x="645" y="53"/>
                    <a:pt x="645" y="53"/>
                    <a:pt x="645" y="49"/>
                  </a:cubicBezTo>
                  <a:cubicBezTo>
                    <a:pt x="641" y="39"/>
                    <a:pt x="575" y="0"/>
                    <a:pt x="4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1" name="Google Shape;6751;p53"/>
            <p:cNvSpPr/>
            <p:nvPr/>
          </p:nvSpPr>
          <p:spPr>
            <a:xfrm>
              <a:off x="2570534" y="1361377"/>
              <a:ext cx="11229" cy="4209"/>
            </a:xfrm>
            <a:custGeom>
              <a:avLst/>
              <a:gdLst/>
              <a:ahLst/>
              <a:cxnLst/>
              <a:rect l="l" t="t" r="r" b="b"/>
              <a:pathLst>
                <a:path w="827" h="310" extrusionOk="0">
                  <a:moveTo>
                    <a:pt x="284" y="0"/>
                  </a:moveTo>
                  <a:cubicBezTo>
                    <a:pt x="78" y="0"/>
                    <a:pt x="11" y="140"/>
                    <a:pt x="4" y="214"/>
                  </a:cubicBezTo>
                  <a:cubicBezTo>
                    <a:pt x="4" y="221"/>
                    <a:pt x="1" y="298"/>
                    <a:pt x="50" y="305"/>
                  </a:cubicBezTo>
                  <a:cubicBezTo>
                    <a:pt x="73" y="308"/>
                    <a:pt x="101" y="310"/>
                    <a:pt x="131" y="310"/>
                  </a:cubicBezTo>
                  <a:cubicBezTo>
                    <a:pt x="371" y="310"/>
                    <a:pt x="783" y="209"/>
                    <a:pt x="827" y="144"/>
                  </a:cubicBezTo>
                  <a:cubicBezTo>
                    <a:pt x="816" y="102"/>
                    <a:pt x="617" y="0"/>
                    <a:pt x="2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2" name="Google Shape;6752;p53"/>
            <p:cNvSpPr/>
            <p:nvPr/>
          </p:nvSpPr>
          <p:spPr>
            <a:xfrm>
              <a:off x="2635516" y="1366890"/>
              <a:ext cx="4616" cy="2865"/>
            </a:xfrm>
            <a:custGeom>
              <a:avLst/>
              <a:gdLst/>
              <a:ahLst/>
              <a:cxnLst/>
              <a:rect l="l" t="t" r="r" b="b"/>
              <a:pathLst>
                <a:path w="340" h="211" extrusionOk="0">
                  <a:moveTo>
                    <a:pt x="277" y="0"/>
                  </a:moveTo>
                  <a:cubicBezTo>
                    <a:pt x="165" y="0"/>
                    <a:pt x="18" y="102"/>
                    <a:pt x="0" y="144"/>
                  </a:cubicBezTo>
                  <a:lnTo>
                    <a:pt x="7" y="147"/>
                  </a:lnTo>
                  <a:cubicBezTo>
                    <a:pt x="90" y="189"/>
                    <a:pt x="167" y="211"/>
                    <a:pt x="224" y="211"/>
                  </a:cubicBezTo>
                  <a:cubicBezTo>
                    <a:pt x="254" y="211"/>
                    <a:pt x="278" y="205"/>
                    <a:pt x="294" y="193"/>
                  </a:cubicBezTo>
                  <a:cubicBezTo>
                    <a:pt x="340" y="161"/>
                    <a:pt x="340" y="91"/>
                    <a:pt x="333" y="39"/>
                  </a:cubicBezTo>
                  <a:cubicBezTo>
                    <a:pt x="333" y="21"/>
                    <a:pt x="329" y="0"/>
                    <a:pt x="27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3" name="Google Shape;6753;p53"/>
            <p:cNvSpPr/>
            <p:nvPr/>
          </p:nvSpPr>
          <p:spPr>
            <a:xfrm>
              <a:off x="2491961" y="1240701"/>
              <a:ext cx="20176" cy="8119"/>
            </a:xfrm>
            <a:custGeom>
              <a:avLst/>
              <a:gdLst/>
              <a:ahLst/>
              <a:cxnLst/>
              <a:rect l="l" t="t" r="r" b="b"/>
              <a:pathLst>
                <a:path w="1486" h="598" extrusionOk="0">
                  <a:moveTo>
                    <a:pt x="750" y="1"/>
                  </a:moveTo>
                  <a:cubicBezTo>
                    <a:pt x="588" y="1"/>
                    <a:pt x="493" y="24"/>
                    <a:pt x="463" y="41"/>
                  </a:cubicBezTo>
                  <a:cubicBezTo>
                    <a:pt x="480" y="153"/>
                    <a:pt x="347" y="234"/>
                    <a:pt x="204" y="322"/>
                  </a:cubicBezTo>
                  <a:cubicBezTo>
                    <a:pt x="134" y="367"/>
                    <a:pt x="4" y="441"/>
                    <a:pt x="1" y="479"/>
                  </a:cubicBezTo>
                  <a:cubicBezTo>
                    <a:pt x="4" y="483"/>
                    <a:pt x="11" y="486"/>
                    <a:pt x="15" y="490"/>
                  </a:cubicBezTo>
                  <a:cubicBezTo>
                    <a:pt x="105" y="562"/>
                    <a:pt x="245" y="598"/>
                    <a:pt x="425" y="598"/>
                  </a:cubicBezTo>
                  <a:cubicBezTo>
                    <a:pt x="490" y="598"/>
                    <a:pt x="560" y="593"/>
                    <a:pt x="634" y="584"/>
                  </a:cubicBezTo>
                  <a:cubicBezTo>
                    <a:pt x="1033" y="535"/>
                    <a:pt x="1422" y="374"/>
                    <a:pt x="1475" y="308"/>
                  </a:cubicBezTo>
                  <a:cubicBezTo>
                    <a:pt x="1478" y="304"/>
                    <a:pt x="1482" y="301"/>
                    <a:pt x="1485" y="294"/>
                  </a:cubicBezTo>
                  <a:cubicBezTo>
                    <a:pt x="1461" y="276"/>
                    <a:pt x="1433" y="262"/>
                    <a:pt x="1408" y="252"/>
                  </a:cubicBezTo>
                  <a:cubicBezTo>
                    <a:pt x="1334" y="213"/>
                    <a:pt x="1243" y="171"/>
                    <a:pt x="1222" y="76"/>
                  </a:cubicBezTo>
                  <a:cubicBezTo>
                    <a:pt x="1194" y="52"/>
                    <a:pt x="1061" y="10"/>
                    <a:pt x="841" y="3"/>
                  </a:cubicBezTo>
                  <a:cubicBezTo>
                    <a:pt x="808" y="1"/>
                    <a:pt x="778" y="1"/>
                    <a:pt x="7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4" name="Google Shape;6754;p53"/>
            <p:cNvSpPr/>
            <p:nvPr/>
          </p:nvSpPr>
          <p:spPr>
            <a:xfrm>
              <a:off x="2465159" y="1249621"/>
              <a:ext cx="23394" cy="6734"/>
            </a:xfrm>
            <a:custGeom>
              <a:avLst/>
              <a:gdLst/>
              <a:ahLst/>
              <a:cxnLst/>
              <a:rect l="l" t="t" r="r" b="b"/>
              <a:pathLst>
                <a:path w="1723" h="496" extrusionOk="0">
                  <a:moveTo>
                    <a:pt x="993" y="0"/>
                  </a:moveTo>
                  <a:cubicBezTo>
                    <a:pt x="912" y="0"/>
                    <a:pt x="846" y="5"/>
                    <a:pt x="809" y="15"/>
                  </a:cubicBezTo>
                  <a:cubicBezTo>
                    <a:pt x="816" y="50"/>
                    <a:pt x="809" y="88"/>
                    <a:pt x="788" y="120"/>
                  </a:cubicBezTo>
                  <a:cubicBezTo>
                    <a:pt x="735" y="197"/>
                    <a:pt x="609" y="211"/>
                    <a:pt x="333" y="211"/>
                  </a:cubicBezTo>
                  <a:cubicBezTo>
                    <a:pt x="151" y="211"/>
                    <a:pt x="32" y="274"/>
                    <a:pt x="11" y="330"/>
                  </a:cubicBezTo>
                  <a:cubicBezTo>
                    <a:pt x="0" y="358"/>
                    <a:pt x="14" y="386"/>
                    <a:pt x="49" y="417"/>
                  </a:cubicBezTo>
                  <a:cubicBezTo>
                    <a:pt x="109" y="467"/>
                    <a:pt x="265" y="495"/>
                    <a:pt x="453" y="495"/>
                  </a:cubicBezTo>
                  <a:cubicBezTo>
                    <a:pt x="530" y="495"/>
                    <a:pt x="613" y="490"/>
                    <a:pt x="697" y="480"/>
                  </a:cubicBezTo>
                  <a:cubicBezTo>
                    <a:pt x="956" y="452"/>
                    <a:pt x="1113" y="386"/>
                    <a:pt x="1152" y="333"/>
                  </a:cubicBezTo>
                  <a:cubicBezTo>
                    <a:pt x="1243" y="211"/>
                    <a:pt x="1397" y="200"/>
                    <a:pt x="1520" y="193"/>
                  </a:cubicBezTo>
                  <a:cubicBezTo>
                    <a:pt x="1642" y="186"/>
                    <a:pt x="1702" y="176"/>
                    <a:pt x="1723" y="134"/>
                  </a:cubicBezTo>
                  <a:cubicBezTo>
                    <a:pt x="1709" y="123"/>
                    <a:pt x="1670" y="95"/>
                    <a:pt x="1548" y="64"/>
                  </a:cubicBezTo>
                  <a:cubicBezTo>
                    <a:pt x="1374" y="20"/>
                    <a:pt x="1154" y="0"/>
                    <a:pt x="9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5" name="Google Shape;6755;p53"/>
            <p:cNvSpPr/>
            <p:nvPr/>
          </p:nvSpPr>
          <p:spPr>
            <a:xfrm>
              <a:off x="2466530" y="1232500"/>
              <a:ext cx="20597" cy="4358"/>
            </a:xfrm>
            <a:custGeom>
              <a:avLst/>
              <a:gdLst/>
              <a:ahLst/>
              <a:cxnLst/>
              <a:rect l="l" t="t" r="r" b="b"/>
              <a:pathLst>
                <a:path w="1517" h="321" extrusionOk="0">
                  <a:moveTo>
                    <a:pt x="1106" y="0"/>
                  </a:moveTo>
                  <a:cubicBezTo>
                    <a:pt x="908" y="0"/>
                    <a:pt x="721" y="29"/>
                    <a:pt x="655" y="57"/>
                  </a:cubicBezTo>
                  <a:cubicBezTo>
                    <a:pt x="662" y="78"/>
                    <a:pt x="659" y="99"/>
                    <a:pt x="652" y="120"/>
                  </a:cubicBezTo>
                  <a:cubicBezTo>
                    <a:pt x="613" y="197"/>
                    <a:pt x="480" y="215"/>
                    <a:pt x="102" y="229"/>
                  </a:cubicBezTo>
                  <a:lnTo>
                    <a:pt x="1" y="232"/>
                  </a:lnTo>
                  <a:cubicBezTo>
                    <a:pt x="160" y="290"/>
                    <a:pt x="330" y="321"/>
                    <a:pt x="502" y="321"/>
                  </a:cubicBezTo>
                  <a:cubicBezTo>
                    <a:pt x="519" y="321"/>
                    <a:pt x="537" y="321"/>
                    <a:pt x="554" y="320"/>
                  </a:cubicBezTo>
                  <a:cubicBezTo>
                    <a:pt x="732" y="320"/>
                    <a:pt x="781" y="267"/>
                    <a:pt x="834" y="211"/>
                  </a:cubicBezTo>
                  <a:cubicBezTo>
                    <a:pt x="883" y="145"/>
                    <a:pt x="961" y="104"/>
                    <a:pt x="1044" y="104"/>
                  </a:cubicBezTo>
                  <a:cubicBezTo>
                    <a:pt x="1061" y="104"/>
                    <a:pt x="1079" y="106"/>
                    <a:pt x="1096" y="110"/>
                  </a:cubicBezTo>
                  <a:cubicBezTo>
                    <a:pt x="1171" y="119"/>
                    <a:pt x="1239" y="123"/>
                    <a:pt x="1297" y="123"/>
                  </a:cubicBezTo>
                  <a:cubicBezTo>
                    <a:pt x="1414" y="123"/>
                    <a:pt x="1493" y="107"/>
                    <a:pt x="1517" y="89"/>
                  </a:cubicBezTo>
                  <a:cubicBezTo>
                    <a:pt x="1513" y="82"/>
                    <a:pt x="1510" y="78"/>
                    <a:pt x="1503" y="71"/>
                  </a:cubicBezTo>
                  <a:cubicBezTo>
                    <a:pt x="1489" y="54"/>
                    <a:pt x="1415" y="19"/>
                    <a:pt x="1240" y="5"/>
                  </a:cubicBezTo>
                  <a:cubicBezTo>
                    <a:pt x="1196" y="2"/>
                    <a:pt x="1151" y="0"/>
                    <a:pt x="11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6" name="Google Shape;6756;p53"/>
            <p:cNvSpPr/>
            <p:nvPr/>
          </p:nvSpPr>
          <p:spPr>
            <a:xfrm>
              <a:off x="2698353" y="164214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7" name="Google Shape;6757;p53"/>
            <p:cNvSpPr/>
            <p:nvPr/>
          </p:nvSpPr>
          <p:spPr>
            <a:xfrm>
              <a:off x="2818038" y="1630266"/>
              <a:ext cx="3625" cy="530"/>
            </a:xfrm>
            <a:custGeom>
              <a:avLst/>
              <a:gdLst/>
              <a:ahLst/>
              <a:cxnLst/>
              <a:rect l="l" t="t" r="r" b="b"/>
              <a:pathLst>
                <a:path w="267" h="39" extrusionOk="0">
                  <a:moveTo>
                    <a:pt x="0" y="39"/>
                  </a:moveTo>
                  <a:cubicBezTo>
                    <a:pt x="88" y="21"/>
                    <a:pt x="179" y="7"/>
                    <a:pt x="267" y="0"/>
                  </a:cubicBezTo>
                  <a:cubicBezTo>
                    <a:pt x="179" y="7"/>
                    <a:pt x="88" y="21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8" name="Google Shape;6758;p53"/>
            <p:cNvSpPr/>
            <p:nvPr/>
          </p:nvSpPr>
          <p:spPr>
            <a:xfrm>
              <a:off x="2835580" y="1633878"/>
              <a:ext cx="2430" cy="815"/>
            </a:xfrm>
            <a:custGeom>
              <a:avLst/>
              <a:gdLst/>
              <a:ahLst/>
              <a:cxnLst/>
              <a:rect l="l" t="t" r="r" b="b"/>
              <a:pathLst>
                <a:path w="179" h="60" extrusionOk="0">
                  <a:moveTo>
                    <a:pt x="0" y="0"/>
                  </a:moveTo>
                  <a:cubicBezTo>
                    <a:pt x="18" y="18"/>
                    <a:pt x="119" y="42"/>
                    <a:pt x="179" y="60"/>
                  </a:cubicBezTo>
                  <a:cubicBezTo>
                    <a:pt x="119" y="42"/>
                    <a:pt x="18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9" name="Google Shape;6759;p53"/>
            <p:cNvSpPr/>
            <p:nvPr/>
          </p:nvSpPr>
          <p:spPr>
            <a:xfrm>
              <a:off x="2863808" y="1641861"/>
              <a:ext cx="584" cy="299"/>
            </a:xfrm>
            <a:custGeom>
              <a:avLst/>
              <a:gdLst/>
              <a:ahLst/>
              <a:cxnLst/>
              <a:rect l="l" t="t" r="r" b="b"/>
              <a:pathLst>
                <a:path w="43" h="22" extrusionOk="0">
                  <a:moveTo>
                    <a:pt x="1" y="22"/>
                  </a:moveTo>
                  <a:cubicBezTo>
                    <a:pt x="15" y="15"/>
                    <a:pt x="25" y="8"/>
                    <a:pt x="43" y="1"/>
                  </a:cubicBezTo>
                  <a:cubicBezTo>
                    <a:pt x="25" y="8"/>
                    <a:pt x="15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0" name="Google Shape;6760;p53"/>
            <p:cNvSpPr/>
            <p:nvPr/>
          </p:nvSpPr>
          <p:spPr>
            <a:xfrm>
              <a:off x="2807149" y="1632778"/>
              <a:ext cx="2729" cy="1059"/>
            </a:xfrm>
            <a:custGeom>
              <a:avLst/>
              <a:gdLst/>
              <a:ahLst/>
              <a:cxnLst/>
              <a:rect l="l" t="t" r="r" b="b"/>
              <a:pathLst>
                <a:path w="201" h="78" extrusionOk="0">
                  <a:moveTo>
                    <a:pt x="1" y="1"/>
                  </a:moveTo>
                  <a:cubicBezTo>
                    <a:pt x="64" y="32"/>
                    <a:pt x="130" y="60"/>
                    <a:pt x="200" y="78"/>
                  </a:cubicBezTo>
                  <a:cubicBezTo>
                    <a:pt x="130" y="60"/>
                    <a:pt x="64" y="3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1" name="Google Shape;6761;p53"/>
            <p:cNvSpPr/>
            <p:nvPr/>
          </p:nvSpPr>
          <p:spPr>
            <a:xfrm>
              <a:off x="2901553" y="163524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2" name="Google Shape;6762;p53"/>
            <p:cNvSpPr/>
            <p:nvPr/>
          </p:nvSpPr>
          <p:spPr>
            <a:xfrm>
              <a:off x="2907351" y="1636064"/>
              <a:ext cx="584" cy="299"/>
            </a:xfrm>
            <a:custGeom>
              <a:avLst/>
              <a:gdLst/>
              <a:ahLst/>
              <a:cxnLst/>
              <a:rect l="l" t="t" r="r" b="b"/>
              <a:pathLst>
                <a:path w="43" h="22" extrusionOk="0">
                  <a:moveTo>
                    <a:pt x="1" y="0"/>
                  </a:moveTo>
                  <a:cubicBezTo>
                    <a:pt x="15" y="7"/>
                    <a:pt x="29" y="14"/>
                    <a:pt x="39" y="21"/>
                  </a:cubicBezTo>
                  <a:lnTo>
                    <a:pt x="43" y="18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3" name="Google Shape;6763;p53"/>
            <p:cNvSpPr/>
            <p:nvPr/>
          </p:nvSpPr>
          <p:spPr>
            <a:xfrm>
              <a:off x="2902355" y="1635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4" name="Google Shape;6764;p53"/>
            <p:cNvSpPr/>
            <p:nvPr/>
          </p:nvSpPr>
          <p:spPr>
            <a:xfrm>
              <a:off x="2873367" y="1638915"/>
              <a:ext cx="3286" cy="1018"/>
            </a:xfrm>
            <a:custGeom>
              <a:avLst/>
              <a:gdLst/>
              <a:ahLst/>
              <a:cxnLst/>
              <a:rect l="l" t="t" r="r" b="b"/>
              <a:pathLst>
                <a:path w="242" h="75" extrusionOk="0">
                  <a:moveTo>
                    <a:pt x="242" y="1"/>
                  </a:moveTo>
                  <a:lnTo>
                    <a:pt x="242" y="1"/>
                  </a:lnTo>
                  <a:cubicBezTo>
                    <a:pt x="151" y="15"/>
                    <a:pt x="60" y="29"/>
                    <a:pt x="0" y="74"/>
                  </a:cubicBezTo>
                  <a:cubicBezTo>
                    <a:pt x="60" y="29"/>
                    <a:pt x="154" y="15"/>
                    <a:pt x="2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5" name="Google Shape;6765;p53"/>
            <p:cNvSpPr/>
            <p:nvPr/>
          </p:nvSpPr>
          <p:spPr>
            <a:xfrm>
              <a:off x="2746879" y="1634258"/>
              <a:ext cx="3299" cy="1494"/>
            </a:xfrm>
            <a:custGeom>
              <a:avLst/>
              <a:gdLst/>
              <a:ahLst/>
              <a:cxnLst/>
              <a:rect l="l" t="t" r="r" b="b"/>
              <a:pathLst>
                <a:path w="243" h="110" extrusionOk="0">
                  <a:moveTo>
                    <a:pt x="1" y="1"/>
                  </a:moveTo>
                  <a:cubicBezTo>
                    <a:pt x="66" y="35"/>
                    <a:pt x="191" y="109"/>
                    <a:pt x="239" y="109"/>
                  </a:cubicBezTo>
                  <a:cubicBezTo>
                    <a:pt x="239" y="109"/>
                    <a:pt x="239" y="109"/>
                    <a:pt x="239" y="109"/>
                  </a:cubicBezTo>
                  <a:lnTo>
                    <a:pt x="239" y="109"/>
                  </a:lnTo>
                  <a:cubicBezTo>
                    <a:pt x="194" y="109"/>
                    <a:pt x="66" y="35"/>
                    <a:pt x="1" y="1"/>
                  </a:cubicBezTo>
                  <a:close/>
                  <a:moveTo>
                    <a:pt x="242" y="109"/>
                  </a:moveTo>
                  <a:cubicBezTo>
                    <a:pt x="241" y="109"/>
                    <a:pt x="240" y="109"/>
                    <a:pt x="239" y="109"/>
                  </a:cubicBezTo>
                  <a:lnTo>
                    <a:pt x="239" y="109"/>
                  </a:lnTo>
                  <a:cubicBezTo>
                    <a:pt x="239" y="109"/>
                    <a:pt x="239" y="109"/>
                    <a:pt x="239" y="109"/>
                  </a:cubicBezTo>
                  <a:cubicBezTo>
                    <a:pt x="240" y="109"/>
                    <a:pt x="241" y="109"/>
                    <a:pt x="242" y="1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6" name="Google Shape;6766;p53"/>
            <p:cNvSpPr/>
            <p:nvPr/>
          </p:nvSpPr>
          <p:spPr>
            <a:xfrm>
              <a:off x="2716221" y="1632113"/>
              <a:ext cx="2444" cy="1534"/>
            </a:xfrm>
            <a:custGeom>
              <a:avLst/>
              <a:gdLst/>
              <a:ahLst/>
              <a:cxnLst/>
              <a:rect l="l" t="t" r="r" b="b"/>
              <a:pathLst>
                <a:path w="180" h="113" extrusionOk="0">
                  <a:moveTo>
                    <a:pt x="1" y="113"/>
                  </a:moveTo>
                  <a:cubicBezTo>
                    <a:pt x="57" y="67"/>
                    <a:pt x="116" y="29"/>
                    <a:pt x="179" y="1"/>
                  </a:cubicBezTo>
                  <a:cubicBezTo>
                    <a:pt x="116" y="29"/>
                    <a:pt x="57" y="67"/>
                    <a:pt x="1" y="1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7" name="Google Shape;6767;p53"/>
            <p:cNvSpPr/>
            <p:nvPr/>
          </p:nvSpPr>
          <p:spPr>
            <a:xfrm>
              <a:off x="2699059" y="164144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8" name="Google Shape;6768;p53"/>
            <p:cNvSpPr/>
            <p:nvPr/>
          </p:nvSpPr>
          <p:spPr>
            <a:xfrm>
              <a:off x="2698869" y="164157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9" name="Google Shape;6769;p53"/>
            <p:cNvSpPr/>
            <p:nvPr/>
          </p:nvSpPr>
          <p:spPr>
            <a:xfrm>
              <a:off x="2698678" y="164172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0" name="Google Shape;6770;p53"/>
            <p:cNvSpPr/>
            <p:nvPr/>
          </p:nvSpPr>
          <p:spPr>
            <a:xfrm>
              <a:off x="2698543" y="164191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1" name="Google Shape;6771;p53"/>
            <p:cNvSpPr/>
            <p:nvPr/>
          </p:nvSpPr>
          <p:spPr>
            <a:xfrm>
              <a:off x="2700348" y="164087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2" name="Google Shape;6772;p53"/>
            <p:cNvSpPr/>
            <p:nvPr/>
          </p:nvSpPr>
          <p:spPr>
            <a:xfrm>
              <a:off x="2699629" y="164115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3" name="Google Shape;6773;p53"/>
            <p:cNvSpPr/>
            <p:nvPr/>
          </p:nvSpPr>
          <p:spPr>
            <a:xfrm>
              <a:off x="2698448" y="1642051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4" name="Google Shape;6774;p53"/>
            <p:cNvSpPr/>
            <p:nvPr/>
          </p:nvSpPr>
          <p:spPr>
            <a:xfrm>
              <a:off x="2699968" y="164100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5" name="Google Shape;6775;p53"/>
            <p:cNvSpPr/>
            <p:nvPr/>
          </p:nvSpPr>
          <p:spPr>
            <a:xfrm>
              <a:off x="2699303" y="1641291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6" name="Google Shape;6776;p53"/>
            <p:cNvSpPr/>
            <p:nvPr/>
          </p:nvSpPr>
          <p:spPr>
            <a:xfrm>
              <a:off x="2750164" y="1633688"/>
              <a:ext cx="6952" cy="2050"/>
            </a:xfrm>
            <a:custGeom>
              <a:avLst/>
              <a:gdLst/>
              <a:ahLst/>
              <a:cxnLst/>
              <a:rect l="l" t="t" r="r" b="b"/>
              <a:pathLst>
                <a:path w="512" h="151" extrusionOk="0">
                  <a:moveTo>
                    <a:pt x="511" y="116"/>
                  </a:moveTo>
                  <a:cubicBezTo>
                    <a:pt x="319" y="0"/>
                    <a:pt x="98" y="74"/>
                    <a:pt x="0" y="151"/>
                  </a:cubicBezTo>
                  <a:lnTo>
                    <a:pt x="0" y="151"/>
                  </a:lnTo>
                  <a:cubicBezTo>
                    <a:pt x="98" y="74"/>
                    <a:pt x="319" y="0"/>
                    <a:pt x="511" y="11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7" name="Google Shape;6777;p53"/>
            <p:cNvSpPr/>
            <p:nvPr/>
          </p:nvSpPr>
          <p:spPr>
            <a:xfrm>
              <a:off x="2757102" y="1635249"/>
              <a:ext cx="3666" cy="2009"/>
            </a:xfrm>
            <a:custGeom>
              <a:avLst/>
              <a:gdLst/>
              <a:ahLst/>
              <a:cxnLst/>
              <a:rect l="l" t="t" r="r" b="b"/>
              <a:pathLst>
                <a:path w="270" h="148" extrusionOk="0">
                  <a:moveTo>
                    <a:pt x="270" y="148"/>
                  </a:moveTo>
                  <a:cubicBezTo>
                    <a:pt x="224" y="141"/>
                    <a:pt x="137" y="88"/>
                    <a:pt x="74" y="46"/>
                  </a:cubicBezTo>
                  <a:cubicBezTo>
                    <a:pt x="49" y="32"/>
                    <a:pt x="25" y="15"/>
                    <a:pt x="0" y="1"/>
                  </a:cubicBezTo>
                  <a:cubicBezTo>
                    <a:pt x="25" y="15"/>
                    <a:pt x="49" y="32"/>
                    <a:pt x="74" y="46"/>
                  </a:cubicBezTo>
                  <a:cubicBezTo>
                    <a:pt x="137" y="88"/>
                    <a:pt x="224" y="141"/>
                    <a:pt x="270" y="14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8" name="Google Shape;6778;p53"/>
            <p:cNvSpPr/>
            <p:nvPr/>
          </p:nvSpPr>
          <p:spPr>
            <a:xfrm>
              <a:off x="2728291" y="1626980"/>
              <a:ext cx="3489" cy="204"/>
            </a:xfrm>
            <a:custGeom>
              <a:avLst/>
              <a:gdLst/>
              <a:ahLst/>
              <a:cxnLst/>
              <a:rect l="l" t="t" r="r" b="b"/>
              <a:pathLst>
                <a:path w="257" h="15" extrusionOk="0">
                  <a:moveTo>
                    <a:pt x="256" y="15"/>
                  </a:moveTo>
                  <a:cubicBezTo>
                    <a:pt x="172" y="1"/>
                    <a:pt x="85" y="1"/>
                    <a:pt x="1" y="11"/>
                  </a:cubicBezTo>
                  <a:cubicBezTo>
                    <a:pt x="85" y="1"/>
                    <a:pt x="172" y="1"/>
                    <a:pt x="256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9" name="Google Shape;6779;p53"/>
            <p:cNvSpPr/>
            <p:nvPr/>
          </p:nvSpPr>
          <p:spPr>
            <a:xfrm>
              <a:off x="2720688" y="1629126"/>
              <a:ext cx="3340" cy="1670"/>
            </a:xfrm>
            <a:custGeom>
              <a:avLst/>
              <a:gdLst/>
              <a:ahLst/>
              <a:cxnLst/>
              <a:rect l="l" t="t" r="r" b="b"/>
              <a:pathLst>
                <a:path w="246" h="123" extrusionOk="0">
                  <a:moveTo>
                    <a:pt x="246" y="0"/>
                  </a:moveTo>
                  <a:cubicBezTo>
                    <a:pt x="144" y="21"/>
                    <a:pt x="39" y="42"/>
                    <a:pt x="1" y="123"/>
                  </a:cubicBezTo>
                  <a:cubicBezTo>
                    <a:pt x="39" y="46"/>
                    <a:pt x="144" y="21"/>
                    <a:pt x="2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0" name="Google Shape;6780;p53"/>
            <p:cNvSpPr/>
            <p:nvPr/>
          </p:nvSpPr>
          <p:spPr>
            <a:xfrm>
              <a:off x="2697877" y="1642337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25" y="8"/>
                  </a:moveTo>
                  <a:lnTo>
                    <a:pt x="32" y="8"/>
                  </a:lnTo>
                  <a:lnTo>
                    <a:pt x="32" y="1"/>
                  </a:lnTo>
                  <a:lnTo>
                    <a:pt x="32" y="8"/>
                  </a:lnTo>
                  <a:cubicBezTo>
                    <a:pt x="21" y="8"/>
                    <a:pt x="11" y="8"/>
                    <a:pt x="0" y="8"/>
                  </a:cubicBez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1" name="Google Shape;6781;p53"/>
            <p:cNvSpPr/>
            <p:nvPr/>
          </p:nvSpPr>
          <p:spPr>
            <a:xfrm>
              <a:off x="2761094" y="1634923"/>
              <a:ext cx="3666" cy="2200"/>
            </a:xfrm>
            <a:custGeom>
              <a:avLst/>
              <a:gdLst/>
              <a:ahLst/>
              <a:cxnLst/>
              <a:rect l="l" t="t" r="r" b="b"/>
              <a:pathLst>
                <a:path w="270" h="162" extrusionOk="0">
                  <a:moveTo>
                    <a:pt x="270" y="0"/>
                  </a:moveTo>
                  <a:cubicBezTo>
                    <a:pt x="154" y="42"/>
                    <a:pt x="46" y="84"/>
                    <a:pt x="0" y="161"/>
                  </a:cubicBezTo>
                  <a:cubicBezTo>
                    <a:pt x="46" y="84"/>
                    <a:pt x="154" y="42"/>
                    <a:pt x="2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2" name="Google Shape;6782;p53"/>
            <p:cNvSpPr/>
            <p:nvPr/>
          </p:nvSpPr>
          <p:spPr>
            <a:xfrm>
              <a:off x="2741991" y="1628963"/>
              <a:ext cx="2240" cy="2688"/>
            </a:xfrm>
            <a:custGeom>
              <a:avLst/>
              <a:gdLst/>
              <a:ahLst/>
              <a:cxnLst/>
              <a:rect l="l" t="t" r="r" b="b"/>
              <a:pathLst>
                <a:path w="165" h="198" extrusionOk="0">
                  <a:moveTo>
                    <a:pt x="20" y="0"/>
                  </a:moveTo>
                  <a:cubicBezTo>
                    <a:pt x="14" y="0"/>
                    <a:pt x="7" y="1"/>
                    <a:pt x="0" y="2"/>
                  </a:cubicBezTo>
                  <a:lnTo>
                    <a:pt x="0" y="2"/>
                  </a:lnTo>
                  <a:cubicBezTo>
                    <a:pt x="7" y="1"/>
                    <a:pt x="13" y="0"/>
                    <a:pt x="19" y="0"/>
                  </a:cubicBezTo>
                  <a:cubicBezTo>
                    <a:pt x="67" y="0"/>
                    <a:pt x="99" y="35"/>
                    <a:pt x="122" y="82"/>
                  </a:cubicBezTo>
                  <a:lnTo>
                    <a:pt x="122" y="82"/>
                  </a:lnTo>
                  <a:cubicBezTo>
                    <a:pt x="99" y="34"/>
                    <a:pt x="68" y="0"/>
                    <a:pt x="20" y="0"/>
                  </a:cubicBezTo>
                  <a:close/>
                  <a:moveTo>
                    <a:pt x="122" y="82"/>
                  </a:moveTo>
                  <a:cubicBezTo>
                    <a:pt x="139" y="116"/>
                    <a:pt x="152" y="158"/>
                    <a:pt x="165" y="198"/>
                  </a:cubicBezTo>
                  <a:cubicBezTo>
                    <a:pt x="153" y="160"/>
                    <a:pt x="140" y="117"/>
                    <a:pt x="122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3" name="Google Shape;6783;p53"/>
            <p:cNvSpPr/>
            <p:nvPr/>
          </p:nvSpPr>
          <p:spPr>
            <a:xfrm>
              <a:off x="2895851" y="1634774"/>
              <a:ext cx="3571" cy="964"/>
            </a:xfrm>
            <a:custGeom>
              <a:avLst/>
              <a:gdLst/>
              <a:ahLst/>
              <a:cxnLst/>
              <a:rect l="l" t="t" r="r" b="b"/>
              <a:pathLst>
                <a:path w="263" h="71" extrusionOk="0">
                  <a:moveTo>
                    <a:pt x="35" y="25"/>
                  </a:moveTo>
                  <a:cubicBezTo>
                    <a:pt x="105" y="57"/>
                    <a:pt x="182" y="71"/>
                    <a:pt x="263" y="67"/>
                  </a:cubicBezTo>
                  <a:cubicBezTo>
                    <a:pt x="182" y="71"/>
                    <a:pt x="105" y="57"/>
                    <a:pt x="35" y="25"/>
                  </a:cubicBezTo>
                  <a:cubicBezTo>
                    <a:pt x="21" y="18"/>
                    <a:pt x="7" y="11"/>
                    <a:pt x="0" y="1"/>
                  </a:cubicBezTo>
                  <a:cubicBezTo>
                    <a:pt x="7" y="11"/>
                    <a:pt x="21" y="18"/>
                    <a:pt x="3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4" name="Google Shape;6784;p53"/>
            <p:cNvSpPr/>
            <p:nvPr/>
          </p:nvSpPr>
          <p:spPr>
            <a:xfrm>
              <a:off x="2850271" y="1641576"/>
              <a:ext cx="6191" cy="1208"/>
            </a:xfrm>
            <a:custGeom>
              <a:avLst/>
              <a:gdLst/>
              <a:ahLst/>
              <a:cxnLst/>
              <a:rect l="l" t="t" r="r" b="b"/>
              <a:pathLst>
                <a:path w="456" h="89" extrusionOk="0">
                  <a:moveTo>
                    <a:pt x="455" y="88"/>
                  </a:moveTo>
                  <a:cubicBezTo>
                    <a:pt x="417" y="85"/>
                    <a:pt x="378" y="78"/>
                    <a:pt x="343" y="60"/>
                  </a:cubicBezTo>
                  <a:cubicBezTo>
                    <a:pt x="284" y="11"/>
                    <a:pt x="175" y="4"/>
                    <a:pt x="0" y="1"/>
                  </a:cubicBezTo>
                  <a:cubicBezTo>
                    <a:pt x="175" y="4"/>
                    <a:pt x="284" y="11"/>
                    <a:pt x="343" y="60"/>
                  </a:cubicBezTo>
                  <a:cubicBezTo>
                    <a:pt x="378" y="78"/>
                    <a:pt x="417" y="85"/>
                    <a:pt x="455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5" name="Google Shape;6785;p53"/>
            <p:cNvSpPr/>
            <p:nvPr/>
          </p:nvSpPr>
          <p:spPr>
            <a:xfrm>
              <a:off x="2868370" y="1640300"/>
              <a:ext cx="3965" cy="774"/>
            </a:xfrm>
            <a:custGeom>
              <a:avLst/>
              <a:gdLst/>
              <a:ahLst/>
              <a:cxnLst/>
              <a:rect l="l" t="t" r="r" b="b"/>
              <a:pathLst>
                <a:path w="292" h="57" extrusionOk="0">
                  <a:moveTo>
                    <a:pt x="291" y="0"/>
                  </a:moveTo>
                  <a:cubicBezTo>
                    <a:pt x="211" y="21"/>
                    <a:pt x="95" y="39"/>
                    <a:pt x="1" y="56"/>
                  </a:cubicBezTo>
                  <a:cubicBezTo>
                    <a:pt x="95" y="42"/>
                    <a:pt x="211" y="21"/>
                    <a:pt x="2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6" name="Google Shape;6786;p53"/>
            <p:cNvSpPr/>
            <p:nvPr/>
          </p:nvSpPr>
          <p:spPr>
            <a:xfrm>
              <a:off x="2799315" y="1625840"/>
              <a:ext cx="394" cy="2824"/>
            </a:xfrm>
            <a:custGeom>
              <a:avLst/>
              <a:gdLst/>
              <a:ahLst/>
              <a:cxnLst/>
              <a:rect l="l" t="t" r="r" b="b"/>
              <a:pathLst>
                <a:path w="29" h="208" extrusionOk="0">
                  <a:moveTo>
                    <a:pt x="28" y="207"/>
                  </a:moveTo>
                  <a:cubicBezTo>
                    <a:pt x="0" y="176"/>
                    <a:pt x="4" y="78"/>
                    <a:pt x="4" y="1"/>
                  </a:cubicBezTo>
                  <a:cubicBezTo>
                    <a:pt x="4" y="78"/>
                    <a:pt x="0" y="176"/>
                    <a:pt x="28" y="20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7" name="Google Shape;6787;p53"/>
            <p:cNvSpPr/>
            <p:nvPr/>
          </p:nvSpPr>
          <p:spPr>
            <a:xfrm>
              <a:off x="2845696" y="1640911"/>
              <a:ext cx="4290" cy="638"/>
            </a:xfrm>
            <a:custGeom>
              <a:avLst/>
              <a:gdLst/>
              <a:ahLst/>
              <a:cxnLst/>
              <a:rect l="l" t="t" r="r" b="b"/>
              <a:pathLst>
                <a:path w="316" h="47" extrusionOk="0">
                  <a:moveTo>
                    <a:pt x="316" y="46"/>
                  </a:moveTo>
                  <a:cubicBezTo>
                    <a:pt x="211" y="43"/>
                    <a:pt x="22" y="36"/>
                    <a:pt x="1" y="1"/>
                  </a:cubicBezTo>
                  <a:cubicBezTo>
                    <a:pt x="22" y="36"/>
                    <a:pt x="211" y="43"/>
                    <a:pt x="316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8" name="Google Shape;6788;p53"/>
            <p:cNvSpPr/>
            <p:nvPr/>
          </p:nvSpPr>
          <p:spPr>
            <a:xfrm>
              <a:off x="2342147" y="1694393"/>
              <a:ext cx="190" cy="54"/>
            </a:xfrm>
            <a:custGeom>
              <a:avLst/>
              <a:gdLst/>
              <a:ahLst/>
              <a:cxnLst/>
              <a:rect l="l" t="t" r="r" b="b"/>
              <a:pathLst>
                <a:path w="14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9" name="Google Shape;6789;p53"/>
            <p:cNvSpPr/>
            <p:nvPr/>
          </p:nvSpPr>
          <p:spPr>
            <a:xfrm>
              <a:off x="2342527" y="169424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0" name="Google Shape;6790;p53"/>
            <p:cNvSpPr/>
            <p:nvPr/>
          </p:nvSpPr>
          <p:spPr>
            <a:xfrm>
              <a:off x="2342812" y="169414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1" name="Google Shape;6791;p53"/>
            <p:cNvSpPr/>
            <p:nvPr/>
          </p:nvSpPr>
          <p:spPr>
            <a:xfrm>
              <a:off x="2341767" y="1694529"/>
              <a:ext cx="190" cy="109"/>
            </a:xfrm>
            <a:custGeom>
              <a:avLst/>
              <a:gdLst/>
              <a:ahLst/>
              <a:cxnLst/>
              <a:rect l="l" t="t" r="r" b="b"/>
              <a:pathLst>
                <a:path w="14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2" name="Google Shape;6792;p53"/>
            <p:cNvSpPr/>
            <p:nvPr/>
          </p:nvSpPr>
          <p:spPr>
            <a:xfrm>
              <a:off x="2341278" y="1694773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3" name="Google Shape;6793;p53"/>
            <p:cNvSpPr/>
            <p:nvPr/>
          </p:nvSpPr>
          <p:spPr>
            <a:xfrm>
              <a:off x="2371230" y="1702227"/>
              <a:ext cx="1208" cy="923"/>
            </a:xfrm>
            <a:custGeom>
              <a:avLst/>
              <a:gdLst/>
              <a:ahLst/>
              <a:cxnLst/>
              <a:rect l="l" t="t" r="r" b="b"/>
              <a:pathLst>
                <a:path w="89" h="68" extrusionOk="0">
                  <a:moveTo>
                    <a:pt x="1" y="1"/>
                  </a:moveTo>
                  <a:cubicBezTo>
                    <a:pt x="29" y="25"/>
                    <a:pt x="57" y="50"/>
                    <a:pt x="88" y="67"/>
                  </a:cubicBezTo>
                  <a:cubicBezTo>
                    <a:pt x="57" y="50"/>
                    <a:pt x="29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4" name="Google Shape;6794;p53"/>
            <p:cNvSpPr/>
            <p:nvPr/>
          </p:nvSpPr>
          <p:spPr>
            <a:xfrm>
              <a:off x="2343043" y="169414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5" name="Google Shape;6795;p53"/>
            <p:cNvSpPr/>
            <p:nvPr/>
          </p:nvSpPr>
          <p:spPr>
            <a:xfrm>
              <a:off x="2385676" y="170722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6" name="Google Shape;6796;p53"/>
            <p:cNvSpPr/>
            <p:nvPr/>
          </p:nvSpPr>
          <p:spPr>
            <a:xfrm>
              <a:off x="2340708" y="1695058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7" name="Google Shape;6797;p53"/>
            <p:cNvSpPr/>
            <p:nvPr/>
          </p:nvSpPr>
          <p:spPr>
            <a:xfrm>
              <a:off x="2372520" y="1702892"/>
              <a:ext cx="489" cy="299"/>
            </a:xfrm>
            <a:custGeom>
              <a:avLst/>
              <a:gdLst/>
              <a:ahLst/>
              <a:cxnLst/>
              <a:rect l="l" t="t" r="r" b="b"/>
              <a:pathLst>
                <a:path w="36" h="22" extrusionOk="0">
                  <a:moveTo>
                    <a:pt x="0" y="22"/>
                  </a:moveTo>
                  <a:cubicBezTo>
                    <a:pt x="11" y="11"/>
                    <a:pt x="21" y="4"/>
                    <a:pt x="35" y="1"/>
                  </a:cubicBezTo>
                  <a:cubicBezTo>
                    <a:pt x="21" y="4"/>
                    <a:pt x="11" y="11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8" name="Google Shape;6798;p53"/>
            <p:cNvSpPr/>
            <p:nvPr/>
          </p:nvSpPr>
          <p:spPr>
            <a:xfrm>
              <a:off x="2372995" y="1701942"/>
              <a:ext cx="7617" cy="923"/>
            </a:xfrm>
            <a:custGeom>
              <a:avLst/>
              <a:gdLst/>
              <a:ahLst/>
              <a:cxnLst/>
              <a:rect l="l" t="t" r="r" b="b"/>
              <a:pathLst>
                <a:path w="561" h="68" extrusionOk="0">
                  <a:moveTo>
                    <a:pt x="560" y="1"/>
                  </a:moveTo>
                  <a:cubicBezTo>
                    <a:pt x="273" y="1"/>
                    <a:pt x="91" y="25"/>
                    <a:pt x="0" y="67"/>
                  </a:cubicBezTo>
                  <a:cubicBezTo>
                    <a:pt x="91" y="25"/>
                    <a:pt x="273" y="4"/>
                    <a:pt x="5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9" name="Google Shape;6799;p53"/>
            <p:cNvSpPr/>
            <p:nvPr/>
          </p:nvSpPr>
          <p:spPr>
            <a:xfrm>
              <a:off x="2343287" y="1694040"/>
              <a:ext cx="9518" cy="2878"/>
            </a:xfrm>
            <a:custGeom>
              <a:avLst/>
              <a:gdLst/>
              <a:ahLst/>
              <a:cxnLst/>
              <a:rect l="l" t="t" r="r" b="b"/>
              <a:pathLst>
                <a:path w="701" h="212" extrusionOk="0">
                  <a:moveTo>
                    <a:pt x="69" y="0"/>
                  </a:moveTo>
                  <a:cubicBezTo>
                    <a:pt x="44" y="0"/>
                    <a:pt x="21" y="2"/>
                    <a:pt x="0" y="5"/>
                  </a:cubicBezTo>
                  <a:cubicBezTo>
                    <a:pt x="19" y="2"/>
                    <a:pt x="41" y="1"/>
                    <a:pt x="63" y="1"/>
                  </a:cubicBezTo>
                  <a:cubicBezTo>
                    <a:pt x="251" y="1"/>
                    <a:pt x="531" y="90"/>
                    <a:pt x="700" y="212"/>
                  </a:cubicBezTo>
                  <a:cubicBezTo>
                    <a:pt x="533" y="91"/>
                    <a:pt x="256" y="0"/>
                    <a:pt x="6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0" name="Google Shape;6800;p53"/>
            <p:cNvSpPr/>
            <p:nvPr/>
          </p:nvSpPr>
          <p:spPr>
            <a:xfrm>
              <a:off x="2385771" y="170750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1" name="Google Shape;6801;p53"/>
            <p:cNvSpPr/>
            <p:nvPr/>
          </p:nvSpPr>
          <p:spPr>
            <a:xfrm>
              <a:off x="2386667" y="1707807"/>
              <a:ext cx="3870" cy="2227"/>
            </a:xfrm>
            <a:custGeom>
              <a:avLst/>
              <a:gdLst/>
              <a:ahLst/>
              <a:cxnLst/>
              <a:rect l="l" t="t" r="r" b="b"/>
              <a:pathLst>
                <a:path w="285" h="164" extrusionOk="0">
                  <a:moveTo>
                    <a:pt x="1" y="1"/>
                  </a:moveTo>
                  <a:lnTo>
                    <a:pt x="1" y="1"/>
                  </a:lnTo>
                  <a:cubicBezTo>
                    <a:pt x="56" y="25"/>
                    <a:pt x="111" y="56"/>
                    <a:pt x="159" y="90"/>
                  </a:cubicBezTo>
                  <a:cubicBezTo>
                    <a:pt x="187" y="108"/>
                    <a:pt x="215" y="125"/>
                    <a:pt x="243" y="143"/>
                  </a:cubicBezTo>
                  <a:lnTo>
                    <a:pt x="285" y="164"/>
                  </a:lnTo>
                  <a:cubicBezTo>
                    <a:pt x="243" y="143"/>
                    <a:pt x="204" y="115"/>
                    <a:pt x="162" y="90"/>
                  </a:cubicBezTo>
                  <a:cubicBezTo>
                    <a:pt x="111" y="56"/>
                    <a:pt x="56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2" name="Google Shape;6802;p53"/>
            <p:cNvSpPr/>
            <p:nvPr/>
          </p:nvSpPr>
          <p:spPr>
            <a:xfrm>
              <a:off x="2210472" y="15893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3" name="Google Shape;6803;p53"/>
            <p:cNvSpPr/>
            <p:nvPr/>
          </p:nvSpPr>
          <p:spPr>
            <a:xfrm>
              <a:off x="2211138" y="15893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4" name="Google Shape;6804;p53"/>
            <p:cNvSpPr/>
            <p:nvPr/>
          </p:nvSpPr>
          <p:spPr>
            <a:xfrm>
              <a:off x="2198728" y="1588678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2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5" name="Google Shape;6805;p53"/>
            <p:cNvSpPr/>
            <p:nvPr/>
          </p:nvSpPr>
          <p:spPr>
            <a:xfrm>
              <a:off x="2198253" y="1588678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6" name="Google Shape;6806;p53"/>
            <p:cNvSpPr/>
            <p:nvPr/>
          </p:nvSpPr>
          <p:spPr>
            <a:xfrm>
              <a:off x="2194071" y="1587579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7" name="Google Shape;6807;p53"/>
            <p:cNvSpPr/>
            <p:nvPr/>
          </p:nvSpPr>
          <p:spPr>
            <a:xfrm>
              <a:off x="2193650" y="158744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8" name="Google Shape;6808;p53"/>
            <p:cNvSpPr/>
            <p:nvPr/>
          </p:nvSpPr>
          <p:spPr>
            <a:xfrm>
              <a:off x="2197777" y="158858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9" name="Google Shape;6809;p53"/>
            <p:cNvSpPr/>
            <p:nvPr/>
          </p:nvSpPr>
          <p:spPr>
            <a:xfrm>
              <a:off x="2209807" y="15893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0" name="Google Shape;6810;p53"/>
            <p:cNvSpPr/>
            <p:nvPr/>
          </p:nvSpPr>
          <p:spPr>
            <a:xfrm>
              <a:off x="2199298" y="1588719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1" name="Google Shape;6811;p53"/>
            <p:cNvSpPr/>
            <p:nvPr/>
          </p:nvSpPr>
          <p:spPr>
            <a:xfrm>
              <a:off x="2208436" y="1589344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49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2" name="Google Shape;6812;p53"/>
            <p:cNvSpPr/>
            <p:nvPr/>
          </p:nvSpPr>
          <p:spPr>
            <a:xfrm>
              <a:off x="2202448" y="1589004"/>
              <a:ext cx="5947" cy="353"/>
            </a:xfrm>
            <a:custGeom>
              <a:avLst/>
              <a:gdLst/>
              <a:ahLst/>
              <a:cxnLst/>
              <a:rect l="l" t="t" r="r" b="b"/>
              <a:pathLst>
                <a:path w="438" h="26" extrusionOk="0">
                  <a:moveTo>
                    <a:pt x="438" y="25"/>
                  </a:moveTo>
                  <a:cubicBezTo>
                    <a:pt x="294" y="22"/>
                    <a:pt x="140" y="11"/>
                    <a:pt x="0" y="1"/>
                  </a:cubicBezTo>
                  <a:cubicBezTo>
                    <a:pt x="140" y="11"/>
                    <a:pt x="294" y="22"/>
                    <a:pt x="43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3" name="Google Shape;6813;p53"/>
            <p:cNvSpPr/>
            <p:nvPr/>
          </p:nvSpPr>
          <p:spPr>
            <a:xfrm>
              <a:off x="2213228" y="1589194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4" name="Google Shape;6814;p53"/>
            <p:cNvSpPr/>
            <p:nvPr/>
          </p:nvSpPr>
          <p:spPr>
            <a:xfrm>
              <a:off x="2212047" y="1589289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5" name="Google Shape;6815;p53"/>
            <p:cNvSpPr/>
            <p:nvPr/>
          </p:nvSpPr>
          <p:spPr>
            <a:xfrm>
              <a:off x="2211382" y="1589289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6" name="Google Shape;6816;p53"/>
            <p:cNvSpPr/>
            <p:nvPr/>
          </p:nvSpPr>
          <p:spPr>
            <a:xfrm>
              <a:off x="2195876" y="158824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7" name="Google Shape;6817;p53"/>
            <p:cNvSpPr/>
            <p:nvPr/>
          </p:nvSpPr>
          <p:spPr>
            <a:xfrm>
              <a:off x="2195456" y="158810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8" name="Google Shape;6818;p53"/>
            <p:cNvSpPr/>
            <p:nvPr/>
          </p:nvSpPr>
          <p:spPr>
            <a:xfrm>
              <a:off x="2196067" y="1588339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9" name="Google Shape;6819;p53"/>
            <p:cNvSpPr/>
            <p:nvPr/>
          </p:nvSpPr>
          <p:spPr>
            <a:xfrm>
              <a:off x="2212658" y="158924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0" name="Google Shape;6820;p53"/>
            <p:cNvSpPr/>
            <p:nvPr/>
          </p:nvSpPr>
          <p:spPr>
            <a:xfrm>
              <a:off x="2196352" y="158839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1" name="Google Shape;6821;p53"/>
            <p:cNvSpPr/>
            <p:nvPr/>
          </p:nvSpPr>
          <p:spPr>
            <a:xfrm>
              <a:off x="2194641" y="158776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2" name="Google Shape;6822;p53"/>
            <p:cNvSpPr/>
            <p:nvPr/>
          </p:nvSpPr>
          <p:spPr>
            <a:xfrm>
              <a:off x="2196976" y="158848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3" name="Google Shape;6823;p53"/>
            <p:cNvSpPr/>
            <p:nvPr/>
          </p:nvSpPr>
          <p:spPr>
            <a:xfrm>
              <a:off x="2195075" y="158795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4" name="Google Shape;6824;p53"/>
            <p:cNvSpPr/>
            <p:nvPr/>
          </p:nvSpPr>
          <p:spPr>
            <a:xfrm>
              <a:off x="2197356" y="158852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5" name="Google Shape;6825;p53"/>
            <p:cNvSpPr/>
            <p:nvPr/>
          </p:nvSpPr>
          <p:spPr>
            <a:xfrm>
              <a:off x="2196637" y="158843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6" name="Google Shape;6826;p53"/>
            <p:cNvSpPr/>
            <p:nvPr/>
          </p:nvSpPr>
          <p:spPr>
            <a:xfrm>
              <a:off x="2201783" y="1588963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7" name="Google Shape;6827;p53"/>
            <p:cNvSpPr/>
            <p:nvPr/>
          </p:nvSpPr>
          <p:spPr>
            <a:xfrm>
              <a:off x="2201117" y="1588909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39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8" name="Google Shape;6828;p53"/>
            <p:cNvSpPr/>
            <p:nvPr/>
          </p:nvSpPr>
          <p:spPr>
            <a:xfrm>
              <a:off x="2199868" y="158881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9" name="Google Shape;6829;p53"/>
            <p:cNvSpPr/>
            <p:nvPr/>
          </p:nvSpPr>
          <p:spPr>
            <a:xfrm>
              <a:off x="2200493" y="1588868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36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0" name="Google Shape;6830;p53"/>
            <p:cNvSpPr/>
            <p:nvPr/>
          </p:nvSpPr>
          <p:spPr>
            <a:xfrm>
              <a:off x="2213799" y="158915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1" name="Google Shape;6831;p53"/>
            <p:cNvSpPr/>
            <p:nvPr/>
          </p:nvSpPr>
          <p:spPr>
            <a:xfrm>
              <a:off x="2328882" y="1660259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2" name="Google Shape;6832;p53"/>
            <p:cNvSpPr/>
            <p:nvPr/>
          </p:nvSpPr>
          <p:spPr>
            <a:xfrm>
              <a:off x="2335860" y="1655032"/>
              <a:ext cx="1534" cy="204"/>
            </a:xfrm>
            <a:custGeom>
              <a:avLst/>
              <a:gdLst/>
              <a:ahLst/>
              <a:cxnLst/>
              <a:rect l="l" t="t" r="r" b="b"/>
              <a:pathLst>
                <a:path w="113" h="15" extrusionOk="0">
                  <a:moveTo>
                    <a:pt x="113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3" name="Google Shape;6833;p53"/>
            <p:cNvSpPr/>
            <p:nvPr/>
          </p:nvSpPr>
          <p:spPr>
            <a:xfrm>
              <a:off x="2341468" y="1648039"/>
              <a:ext cx="964" cy="1344"/>
            </a:xfrm>
            <a:custGeom>
              <a:avLst/>
              <a:gdLst/>
              <a:ahLst/>
              <a:cxnLst/>
              <a:rect l="l" t="t" r="r" b="b"/>
              <a:pathLst>
                <a:path w="71" h="99" extrusionOk="0">
                  <a:moveTo>
                    <a:pt x="1" y="1"/>
                  </a:moveTo>
                  <a:cubicBezTo>
                    <a:pt x="29" y="29"/>
                    <a:pt x="54" y="64"/>
                    <a:pt x="71" y="99"/>
                  </a:cubicBezTo>
                  <a:cubicBezTo>
                    <a:pt x="54" y="64"/>
                    <a:pt x="29" y="2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4" name="Google Shape;6834;p53"/>
            <p:cNvSpPr/>
            <p:nvPr/>
          </p:nvSpPr>
          <p:spPr>
            <a:xfrm>
              <a:off x="2309574" y="1627510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cubicBezTo>
                    <a:pt x="1" y="11"/>
                    <a:pt x="1" y="21"/>
                    <a:pt x="1" y="32"/>
                  </a:cubicBez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5" name="Google Shape;6835;p53"/>
            <p:cNvSpPr/>
            <p:nvPr/>
          </p:nvSpPr>
          <p:spPr>
            <a:xfrm>
              <a:off x="2281483" y="1611298"/>
              <a:ext cx="1303" cy="475"/>
            </a:xfrm>
            <a:custGeom>
              <a:avLst/>
              <a:gdLst/>
              <a:ahLst/>
              <a:cxnLst/>
              <a:rect l="l" t="t" r="r" b="b"/>
              <a:pathLst>
                <a:path w="96" h="35" extrusionOk="0">
                  <a:moveTo>
                    <a:pt x="1" y="1"/>
                  </a:moveTo>
                  <a:cubicBezTo>
                    <a:pt x="12" y="16"/>
                    <a:pt x="23" y="24"/>
                    <a:pt x="43" y="28"/>
                  </a:cubicBezTo>
                  <a:lnTo>
                    <a:pt x="43" y="28"/>
                  </a:lnTo>
                  <a:cubicBezTo>
                    <a:pt x="31" y="24"/>
                    <a:pt x="19" y="17"/>
                    <a:pt x="8" y="8"/>
                  </a:cubicBezTo>
                  <a:lnTo>
                    <a:pt x="1" y="1"/>
                  </a:lnTo>
                  <a:close/>
                  <a:moveTo>
                    <a:pt x="43" y="28"/>
                  </a:moveTo>
                  <a:cubicBezTo>
                    <a:pt x="54" y="32"/>
                    <a:pt x="65" y="34"/>
                    <a:pt x="76" y="34"/>
                  </a:cubicBezTo>
                  <a:cubicBezTo>
                    <a:pt x="82" y="34"/>
                    <a:pt x="89" y="34"/>
                    <a:pt x="95" y="32"/>
                  </a:cubicBezTo>
                  <a:cubicBezTo>
                    <a:pt x="73" y="32"/>
                    <a:pt x="56" y="31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6" name="Google Shape;6836;p53"/>
            <p:cNvSpPr/>
            <p:nvPr/>
          </p:nvSpPr>
          <p:spPr>
            <a:xfrm>
              <a:off x="2284714" y="1609778"/>
              <a:ext cx="1833" cy="1113"/>
            </a:xfrm>
            <a:custGeom>
              <a:avLst/>
              <a:gdLst/>
              <a:ahLst/>
              <a:cxnLst/>
              <a:rect l="l" t="t" r="r" b="b"/>
              <a:pathLst>
                <a:path w="135" h="82" extrusionOk="0">
                  <a:moveTo>
                    <a:pt x="134" y="1"/>
                  </a:moveTo>
                  <a:cubicBezTo>
                    <a:pt x="113" y="4"/>
                    <a:pt x="96" y="11"/>
                    <a:pt x="82" y="22"/>
                  </a:cubicBezTo>
                  <a:cubicBezTo>
                    <a:pt x="54" y="39"/>
                    <a:pt x="25" y="57"/>
                    <a:pt x="1" y="81"/>
                  </a:cubicBezTo>
                  <a:cubicBezTo>
                    <a:pt x="25" y="57"/>
                    <a:pt x="54" y="39"/>
                    <a:pt x="82" y="22"/>
                  </a:cubicBezTo>
                  <a:cubicBezTo>
                    <a:pt x="96" y="11"/>
                    <a:pt x="113" y="4"/>
                    <a:pt x="13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7" name="Google Shape;6837;p53"/>
            <p:cNvSpPr/>
            <p:nvPr/>
          </p:nvSpPr>
          <p:spPr>
            <a:xfrm>
              <a:off x="2314625" y="1629832"/>
              <a:ext cx="1860" cy="1018"/>
            </a:xfrm>
            <a:custGeom>
              <a:avLst/>
              <a:gdLst/>
              <a:ahLst/>
              <a:cxnLst/>
              <a:rect l="l" t="t" r="r" b="b"/>
              <a:pathLst>
                <a:path w="137" h="75" extrusionOk="0">
                  <a:moveTo>
                    <a:pt x="137" y="74"/>
                  </a:moveTo>
                  <a:cubicBezTo>
                    <a:pt x="112" y="71"/>
                    <a:pt x="88" y="64"/>
                    <a:pt x="67" y="50"/>
                  </a:cubicBezTo>
                  <a:cubicBezTo>
                    <a:pt x="46" y="36"/>
                    <a:pt x="25" y="18"/>
                    <a:pt x="0" y="1"/>
                  </a:cubicBezTo>
                  <a:cubicBezTo>
                    <a:pt x="25" y="18"/>
                    <a:pt x="46" y="36"/>
                    <a:pt x="67" y="50"/>
                  </a:cubicBezTo>
                  <a:cubicBezTo>
                    <a:pt x="88" y="64"/>
                    <a:pt x="112" y="71"/>
                    <a:pt x="137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8" name="Google Shape;6838;p53"/>
            <p:cNvSpPr/>
            <p:nvPr/>
          </p:nvSpPr>
          <p:spPr>
            <a:xfrm>
              <a:off x="2299079" y="1615860"/>
              <a:ext cx="339" cy="1494"/>
            </a:xfrm>
            <a:custGeom>
              <a:avLst/>
              <a:gdLst/>
              <a:ahLst/>
              <a:cxnLst/>
              <a:rect l="l" t="t" r="r" b="b"/>
              <a:pathLst>
                <a:path w="25" h="110" extrusionOk="0">
                  <a:moveTo>
                    <a:pt x="25" y="1"/>
                  </a:moveTo>
                  <a:cubicBezTo>
                    <a:pt x="25" y="39"/>
                    <a:pt x="14" y="78"/>
                    <a:pt x="0" y="109"/>
                  </a:cubicBezTo>
                  <a:cubicBezTo>
                    <a:pt x="14" y="78"/>
                    <a:pt x="25" y="39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9" name="Google Shape;6839;p53"/>
            <p:cNvSpPr/>
            <p:nvPr/>
          </p:nvSpPr>
          <p:spPr>
            <a:xfrm>
              <a:off x="2291136" y="1609398"/>
              <a:ext cx="2824" cy="339"/>
            </a:xfrm>
            <a:custGeom>
              <a:avLst/>
              <a:gdLst/>
              <a:ahLst/>
              <a:cxnLst/>
              <a:rect l="l" t="t" r="r" b="b"/>
              <a:pathLst>
                <a:path w="208" h="25" extrusionOk="0">
                  <a:moveTo>
                    <a:pt x="1" y="25"/>
                  </a:moveTo>
                  <a:cubicBezTo>
                    <a:pt x="67" y="8"/>
                    <a:pt x="137" y="1"/>
                    <a:pt x="207" y="1"/>
                  </a:cubicBezTo>
                  <a:cubicBezTo>
                    <a:pt x="137" y="1"/>
                    <a:pt x="67" y="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0" name="Google Shape;6840;p53"/>
            <p:cNvSpPr/>
            <p:nvPr/>
          </p:nvSpPr>
          <p:spPr>
            <a:xfrm>
              <a:off x="2341862" y="1642581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1" name="Google Shape;6841;p53"/>
            <p:cNvSpPr/>
            <p:nvPr/>
          </p:nvSpPr>
          <p:spPr>
            <a:xfrm>
              <a:off x="2337476" y="1655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2" name="Google Shape;6842;p53"/>
            <p:cNvSpPr/>
            <p:nvPr/>
          </p:nvSpPr>
          <p:spPr>
            <a:xfrm>
              <a:off x="2328692" y="1659023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3" name="Google Shape;6843;p53"/>
            <p:cNvSpPr/>
            <p:nvPr/>
          </p:nvSpPr>
          <p:spPr>
            <a:xfrm>
              <a:off x="2328787" y="165959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4" name="Google Shape;6844;p53"/>
            <p:cNvSpPr/>
            <p:nvPr/>
          </p:nvSpPr>
          <p:spPr>
            <a:xfrm>
              <a:off x="2328692" y="1658779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cubicBezTo>
                    <a:pt x="0" y="8"/>
                    <a:pt x="0" y="4"/>
                    <a:pt x="0" y="1"/>
                  </a:cubicBezTo>
                  <a:cubicBezTo>
                    <a:pt x="0" y="4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5" name="Google Shape;6845;p53"/>
            <p:cNvSpPr/>
            <p:nvPr/>
          </p:nvSpPr>
          <p:spPr>
            <a:xfrm>
              <a:off x="2328827" y="1659919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6" name="Google Shape;6846;p53"/>
            <p:cNvSpPr/>
            <p:nvPr/>
          </p:nvSpPr>
          <p:spPr>
            <a:xfrm>
              <a:off x="2328732" y="165925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cubicBezTo>
                    <a:pt x="1" y="8"/>
                    <a:pt x="1" y="11"/>
                    <a:pt x="1" y="18"/>
                  </a:cubicBezTo>
                  <a:cubicBezTo>
                    <a:pt x="1" y="11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7" name="Google Shape;6847;p53"/>
            <p:cNvSpPr/>
            <p:nvPr/>
          </p:nvSpPr>
          <p:spPr>
            <a:xfrm>
              <a:off x="2341957" y="1637680"/>
              <a:ext cx="1914" cy="3489"/>
            </a:xfrm>
            <a:custGeom>
              <a:avLst/>
              <a:gdLst/>
              <a:ahLst/>
              <a:cxnLst/>
              <a:rect l="l" t="t" r="r" b="b"/>
              <a:pathLst>
                <a:path w="141" h="257" extrusionOk="0">
                  <a:moveTo>
                    <a:pt x="137" y="151"/>
                  </a:moveTo>
                  <a:cubicBezTo>
                    <a:pt x="140" y="186"/>
                    <a:pt x="130" y="225"/>
                    <a:pt x="109" y="256"/>
                  </a:cubicBezTo>
                  <a:cubicBezTo>
                    <a:pt x="130" y="225"/>
                    <a:pt x="140" y="186"/>
                    <a:pt x="137" y="151"/>
                  </a:cubicBezTo>
                  <a:cubicBezTo>
                    <a:pt x="126" y="71"/>
                    <a:pt x="70" y="32"/>
                    <a:pt x="0" y="1"/>
                  </a:cubicBezTo>
                  <a:cubicBezTo>
                    <a:pt x="70" y="32"/>
                    <a:pt x="126" y="71"/>
                    <a:pt x="137" y="15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8" name="Google Shape;6848;p53"/>
            <p:cNvSpPr/>
            <p:nvPr/>
          </p:nvSpPr>
          <p:spPr>
            <a:xfrm>
              <a:off x="2282908" y="1603600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0"/>
                  </a:moveTo>
                  <a:cubicBezTo>
                    <a:pt x="22" y="0"/>
                    <a:pt x="8" y="0"/>
                    <a:pt x="1" y="0"/>
                  </a:cubicBezTo>
                  <a:cubicBezTo>
                    <a:pt x="8" y="0"/>
                    <a:pt x="22" y="0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9" name="Google Shape;6849;p53"/>
            <p:cNvSpPr/>
            <p:nvPr/>
          </p:nvSpPr>
          <p:spPr>
            <a:xfrm>
              <a:off x="2279161" y="160236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cubicBezTo>
                    <a:pt x="4" y="0"/>
                    <a:pt x="7" y="0"/>
                    <a:pt x="7" y="0"/>
                  </a:cubicBezTo>
                  <a:cubicBezTo>
                    <a:pt x="7" y="0"/>
                    <a:pt x="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0" name="Google Shape;6850;p53"/>
            <p:cNvSpPr/>
            <p:nvPr/>
          </p:nvSpPr>
          <p:spPr>
            <a:xfrm>
              <a:off x="2283438" y="15943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1" name="Google Shape;6851;p53"/>
            <p:cNvSpPr/>
            <p:nvPr/>
          </p:nvSpPr>
          <p:spPr>
            <a:xfrm>
              <a:off x="2280342" y="1602690"/>
              <a:ext cx="2580" cy="869"/>
            </a:xfrm>
            <a:custGeom>
              <a:avLst/>
              <a:gdLst/>
              <a:ahLst/>
              <a:cxnLst/>
              <a:rect l="l" t="t" r="r" b="b"/>
              <a:pathLst>
                <a:path w="190" h="64" extrusionOk="0">
                  <a:moveTo>
                    <a:pt x="1" y="1"/>
                  </a:moveTo>
                  <a:lnTo>
                    <a:pt x="32" y="15"/>
                  </a:lnTo>
                  <a:cubicBezTo>
                    <a:pt x="81" y="39"/>
                    <a:pt x="134" y="57"/>
                    <a:pt x="190" y="64"/>
                  </a:cubicBezTo>
                  <a:cubicBezTo>
                    <a:pt x="134" y="57"/>
                    <a:pt x="81" y="39"/>
                    <a:pt x="32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2" name="Google Shape;6852;p53"/>
            <p:cNvSpPr/>
            <p:nvPr/>
          </p:nvSpPr>
          <p:spPr>
            <a:xfrm>
              <a:off x="2280532" y="1608488"/>
              <a:ext cx="964" cy="2824"/>
            </a:xfrm>
            <a:custGeom>
              <a:avLst/>
              <a:gdLst/>
              <a:ahLst/>
              <a:cxnLst/>
              <a:rect l="l" t="t" r="r" b="b"/>
              <a:pathLst>
                <a:path w="71" h="208" extrusionOk="0">
                  <a:moveTo>
                    <a:pt x="1" y="1"/>
                  </a:moveTo>
                  <a:cubicBezTo>
                    <a:pt x="7" y="40"/>
                    <a:pt x="17" y="79"/>
                    <a:pt x="31" y="118"/>
                  </a:cubicBezTo>
                  <a:lnTo>
                    <a:pt x="31" y="118"/>
                  </a:lnTo>
                  <a:cubicBezTo>
                    <a:pt x="18" y="79"/>
                    <a:pt x="7" y="40"/>
                    <a:pt x="1" y="1"/>
                  </a:cubicBezTo>
                  <a:close/>
                  <a:moveTo>
                    <a:pt x="31" y="118"/>
                  </a:moveTo>
                  <a:cubicBezTo>
                    <a:pt x="39" y="141"/>
                    <a:pt x="48" y="164"/>
                    <a:pt x="57" y="187"/>
                  </a:cubicBezTo>
                  <a:lnTo>
                    <a:pt x="71" y="208"/>
                  </a:lnTo>
                  <a:cubicBezTo>
                    <a:pt x="55" y="178"/>
                    <a:pt x="42" y="148"/>
                    <a:pt x="31" y="1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3" name="Google Shape;6853;p53"/>
            <p:cNvSpPr/>
            <p:nvPr/>
          </p:nvSpPr>
          <p:spPr>
            <a:xfrm>
              <a:off x="2278631" y="1589724"/>
              <a:ext cx="869" cy="679"/>
            </a:xfrm>
            <a:custGeom>
              <a:avLst/>
              <a:gdLst/>
              <a:ahLst/>
              <a:cxnLst/>
              <a:rect l="l" t="t" r="r" b="b"/>
              <a:pathLst>
                <a:path w="64" h="50" extrusionOk="0">
                  <a:moveTo>
                    <a:pt x="1" y="0"/>
                  </a:moveTo>
                  <a:lnTo>
                    <a:pt x="1" y="0"/>
                  </a:lnTo>
                  <a:cubicBezTo>
                    <a:pt x="15" y="25"/>
                    <a:pt x="39" y="42"/>
                    <a:pt x="64" y="49"/>
                  </a:cubicBezTo>
                  <a:cubicBezTo>
                    <a:pt x="39" y="42"/>
                    <a:pt x="18" y="2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4" name="Google Shape;6854;p53"/>
            <p:cNvSpPr/>
            <p:nvPr/>
          </p:nvSpPr>
          <p:spPr>
            <a:xfrm>
              <a:off x="2256066" y="157037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0"/>
                  </a:moveTo>
                  <a:lnTo>
                    <a:pt x="7" y="14"/>
                  </a:lnTo>
                  <a:cubicBezTo>
                    <a:pt x="7" y="14"/>
                    <a:pt x="7" y="18"/>
                    <a:pt x="10" y="18"/>
                  </a:cubicBezTo>
                  <a:cubicBezTo>
                    <a:pt x="7" y="11"/>
                    <a:pt x="3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5" name="Google Shape;6855;p53"/>
            <p:cNvSpPr/>
            <p:nvPr/>
          </p:nvSpPr>
          <p:spPr>
            <a:xfrm>
              <a:off x="2276215" y="1585868"/>
              <a:ext cx="1724" cy="2349"/>
            </a:xfrm>
            <a:custGeom>
              <a:avLst/>
              <a:gdLst/>
              <a:ahLst/>
              <a:cxnLst/>
              <a:rect l="l" t="t" r="r" b="b"/>
              <a:pathLst>
                <a:path w="127" h="173" extrusionOk="0">
                  <a:moveTo>
                    <a:pt x="126" y="172"/>
                  </a:moveTo>
                  <a:cubicBezTo>
                    <a:pt x="105" y="102"/>
                    <a:pt x="60" y="43"/>
                    <a:pt x="0" y="1"/>
                  </a:cubicBezTo>
                  <a:cubicBezTo>
                    <a:pt x="60" y="43"/>
                    <a:pt x="105" y="102"/>
                    <a:pt x="126" y="1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6" name="Google Shape;6856;p53"/>
            <p:cNvSpPr/>
            <p:nvPr/>
          </p:nvSpPr>
          <p:spPr>
            <a:xfrm>
              <a:off x="2281293" y="1611013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1"/>
                  </a:moveTo>
                  <a:lnTo>
                    <a:pt x="1" y="1"/>
                  </a:lnTo>
                  <a:cubicBezTo>
                    <a:pt x="8" y="11"/>
                    <a:pt x="15" y="22"/>
                    <a:pt x="22" y="29"/>
                  </a:cubicBezTo>
                  <a:lnTo>
                    <a:pt x="15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7" name="Google Shape;6857;p53"/>
            <p:cNvSpPr/>
            <p:nvPr/>
          </p:nvSpPr>
          <p:spPr>
            <a:xfrm>
              <a:off x="2250879" y="1556826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0" y="1"/>
                  </a:moveTo>
                  <a:cubicBezTo>
                    <a:pt x="4" y="11"/>
                    <a:pt x="14" y="18"/>
                    <a:pt x="21" y="25"/>
                  </a:cubicBezTo>
                  <a:cubicBezTo>
                    <a:pt x="14" y="18"/>
                    <a:pt x="7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8" name="Google Shape;6858;p53"/>
            <p:cNvSpPr/>
            <p:nvPr/>
          </p:nvSpPr>
          <p:spPr>
            <a:xfrm>
              <a:off x="2250539" y="1556445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1"/>
                  </a:moveTo>
                  <a:cubicBezTo>
                    <a:pt x="4" y="8"/>
                    <a:pt x="11" y="15"/>
                    <a:pt x="18" y="22"/>
                  </a:cubicBezTo>
                  <a:cubicBezTo>
                    <a:pt x="11" y="15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9" name="Google Shape;6859;p53"/>
            <p:cNvSpPr/>
            <p:nvPr/>
          </p:nvSpPr>
          <p:spPr>
            <a:xfrm>
              <a:off x="2255577" y="1568760"/>
              <a:ext cx="489" cy="1629"/>
            </a:xfrm>
            <a:custGeom>
              <a:avLst/>
              <a:gdLst/>
              <a:ahLst/>
              <a:cxnLst/>
              <a:rect l="l" t="t" r="r" b="b"/>
              <a:pathLst>
                <a:path w="36" h="120" extrusionOk="0">
                  <a:moveTo>
                    <a:pt x="1" y="0"/>
                  </a:moveTo>
                  <a:cubicBezTo>
                    <a:pt x="8" y="42"/>
                    <a:pt x="18" y="81"/>
                    <a:pt x="36" y="119"/>
                  </a:cubicBezTo>
                  <a:lnTo>
                    <a:pt x="29" y="102"/>
                  </a:lnTo>
                  <a:cubicBezTo>
                    <a:pt x="18" y="70"/>
                    <a:pt x="8" y="3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0" name="Google Shape;6860;p53"/>
            <p:cNvSpPr/>
            <p:nvPr/>
          </p:nvSpPr>
          <p:spPr>
            <a:xfrm>
              <a:off x="2250119" y="1555590"/>
              <a:ext cx="394" cy="828"/>
            </a:xfrm>
            <a:custGeom>
              <a:avLst/>
              <a:gdLst/>
              <a:ahLst/>
              <a:cxnLst/>
              <a:rect l="l" t="t" r="r" b="b"/>
              <a:pathLst>
                <a:path w="29" h="61" extrusionOk="0">
                  <a:moveTo>
                    <a:pt x="0" y="1"/>
                  </a:moveTo>
                  <a:lnTo>
                    <a:pt x="4" y="15"/>
                  </a:lnTo>
                  <a:cubicBezTo>
                    <a:pt x="11" y="32"/>
                    <a:pt x="21" y="46"/>
                    <a:pt x="28" y="60"/>
                  </a:cubicBezTo>
                  <a:cubicBezTo>
                    <a:pt x="18" y="39"/>
                    <a:pt x="7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1" name="Google Shape;6861;p53"/>
            <p:cNvSpPr/>
            <p:nvPr/>
          </p:nvSpPr>
          <p:spPr>
            <a:xfrm>
              <a:off x="2255957" y="1570131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" y="1"/>
                  </a:moveTo>
                  <a:lnTo>
                    <a:pt x="1" y="1"/>
                  </a:lnTo>
                  <a:cubicBezTo>
                    <a:pt x="4" y="11"/>
                    <a:pt x="8" y="22"/>
                    <a:pt x="15" y="32"/>
                  </a:cubicBezTo>
                  <a:lnTo>
                    <a:pt x="8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2" name="Google Shape;6862;p53"/>
            <p:cNvSpPr/>
            <p:nvPr/>
          </p:nvSpPr>
          <p:spPr>
            <a:xfrm>
              <a:off x="2211667" y="158330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3" name="Google Shape;6863;p53"/>
            <p:cNvSpPr/>
            <p:nvPr/>
          </p:nvSpPr>
          <p:spPr>
            <a:xfrm>
              <a:off x="2211898" y="158335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4" name="Google Shape;6864;p53"/>
            <p:cNvSpPr/>
            <p:nvPr/>
          </p:nvSpPr>
          <p:spPr>
            <a:xfrm>
              <a:off x="2211382" y="15833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5" name="Google Shape;6865;p53"/>
            <p:cNvSpPr/>
            <p:nvPr/>
          </p:nvSpPr>
          <p:spPr>
            <a:xfrm>
              <a:off x="2211477" y="158330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6" name="Google Shape;6866;p53"/>
            <p:cNvSpPr/>
            <p:nvPr/>
          </p:nvSpPr>
          <p:spPr>
            <a:xfrm>
              <a:off x="2212753" y="158373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7" name="Google Shape;6867;p53"/>
            <p:cNvSpPr/>
            <p:nvPr/>
          </p:nvSpPr>
          <p:spPr>
            <a:xfrm>
              <a:off x="2212427" y="158354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8" name="Google Shape;6868;p53"/>
            <p:cNvSpPr/>
            <p:nvPr/>
          </p:nvSpPr>
          <p:spPr>
            <a:xfrm>
              <a:off x="2212142" y="15834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9" name="Google Shape;6869;p53"/>
            <p:cNvSpPr/>
            <p:nvPr/>
          </p:nvSpPr>
          <p:spPr>
            <a:xfrm>
              <a:off x="2213093" y="1583872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8"/>
                    <a:pt x="14" y="11"/>
                    <a:pt x="25" y="18"/>
                  </a:cubicBezTo>
                  <a:cubicBezTo>
                    <a:pt x="14" y="11"/>
                    <a:pt x="7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0" name="Google Shape;6870;p53"/>
            <p:cNvSpPr/>
            <p:nvPr/>
          </p:nvSpPr>
          <p:spPr>
            <a:xfrm>
              <a:off x="2213853" y="1584972"/>
              <a:ext cx="394" cy="4195"/>
            </a:xfrm>
            <a:custGeom>
              <a:avLst/>
              <a:gdLst/>
              <a:ahLst/>
              <a:cxnLst/>
              <a:rect l="l" t="t" r="r" b="b"/>
              <a:pathLst>
                <a:path w="29" h="309" extrusionOk="0">
                  <a:moveTo>
                    <a:pt x="0" y="308"/>
                  </a:moveTo>
                  <a:lnTo>
                    <a:pt x="0" y="308"/>
                  </a:lnTo>
                  <a:cubicBezTo>
                    <a:pt x="4" y="245"/>
                    <a:pt x="7" y="182"/>
                    <a:pt x="18" y="119"/>
                  </a:cubicBezTo>
                  <a:cubicBezTo>
                    <a:pt x="21" y="70"/>
                    <a:pt x="28" y="25"/>
                    <a:pt x="28" y="0"/>
                  </a:cubicBezTo>
                  <a:cubicBezTo>
                    <a:pt x="28" y="25"/>
                    <a:pt x="21" y="70"/>
                    <a:pt x="18" y="119"/>
                  </a:cubicBezTo>
                  <a:cubicBezTo>
                    <a:pt x="7" y="182"/>
                    <a:pt x="4" y="245"/>
                    <a:pt x="0" y="30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1" name="Google Shape;6871;p53"/>
            <p:cNvSpPr/>
            <p:nvPr/>
          </p:nvSpPr>
          <p:spPr>
            <a:xfrm>
              <a:off x="2204009" y="1581143"/>
              <a:ext cx="774" cy="27"/>
            </a:xfrm>
            <a:custGeom>
              <a:avLst/>
              <a:gdLst/>
              <a:ahLst/>
              <a:cxnLst/>
              <a:rect l="l" t="t" r="r" b="b"/>
              <a:pathLst>
                <a:path w="57" h="2" extrusionOk="0">
                  <a:moveTo>
                    <a:pt x="38" y="0"/>
                  </a:moveTo>
                  <a:cubicBezTo>
                    <a:pt x="25" y="0"/>
                    <a:pt x="12" y="2"/>
                    <a:pt x="1" y="2"/>
                  </a:cubicBezTo>
                  <a:lnTo>
                    <a:pt x="57" y="2"/>
                  </a:lnTo>
                  <a:cubicBezTo>
                    <a:pt x="51" y="1"/>
                    <a:pt x="45" y="0"/>
                    <a:pt x="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2" name="Google Shape;6872;p53"/>
            <p:cNvSpPr/>
            <p:nvPr/>
          </p:nvSpPr>
          <p:spPr>
            <a:xfrm>
              <a:off x="2205815" y="1581360"/>
              <a:ext cx="5485" cy="2172"/>
            </a:xfrm>
            <a:custGeom>
              <a:avLst/>
              <a:gdLst/>
              <a:ahLst/>
              <a:cxnLst/>
              <a:rect l="l" t="t" r="r" b="b"/>
              <a:pathLst>
                <a:path w="404" h="160" extrusionOk="0">
                  <a:moveTo>
                    <a:pt x="1" y="0"/>
                  </a:moveTo>
                  <a:cubicBezTo>
                    <a:pt x="61" y="83"/>
                    <a:pt x="217" y="159"/>
                    <a:pt x="333" y="159"/>
                  </a:cubicBezTo>
                  <a:cubicBezTo>
                    <a:pt x="333" y="159"/>
                    <a:pt x="334" y="159"/>
                    <a:pt x="334" y="159"/>
                  </a:cubicBezTo>
                  <a:lnTo>
                    <a:pt x="334" y="159"/>
                  </a:lnTo>
                  <a:cubicBezTo>
                    <a:pt x="334" y="159"/>
                    <a:pt x="334" y="159"/>
                    <a:pt x="334" y="159"/>
                  </a:cubicBezTo>
                  <a:cubicBezTo>
                    <a:pt x="360" y="159"/>
                    <a:pt x="383" y="155"/>
                    <a:pt x="403" y="147"/>
                  </a:cubicBezTo>
                  <a:lnTo>
                    <a:pt x="403" y="147"/>
                  </a:lnTo>
                  <a:cubicBezTo>
                    <a:pt x="383" y="155"/>
                    <a:pt x="359" y="159"/>
                    <a:pt x="334" y="159"/>
                  </a:cubicBezTo>
                  <a:lnTo>
                    <a:pt x="334" y="159"/>
                  </a:lnTo>
                  <a:cubicBezTo>
                    <a:pt x="219" y="159"/>
                    <a:pt x="61" y="8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3" name="Google Shape;6873;p53"/>
            <p:cNvSpPr/>
            <p:nvPr/>
          </p:nvSpPr>
          <p:spPr>
            <a:xfrm>
              <a:off x="2204824" y="158111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4" name="Google Shape;6874;p53"/>
            <p:cNvSpPr/>
            <p:nvPr/>
          </p:nvSpPr>
          <p:spPr>
            <a:xfrm>
              <a:off x="2205720" y="1581265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5" name="Google Shape;6875;p53"/>
            <p:cNvSpPr/>
            <p:nvPr/>
          </p:nvSpPr>
          <p:spPr>
            <a:xfrm>
              <a:off x="2205530" y="158121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6" name="Google Shape;6876;p53"/>
            <p:cNvSpPr/>
            <p:nvPr/>
          </p:nvSpPr>
          <p:spPr>
            <a:xfrm>
              <a:off x="2205055" y="158115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7" name="Google Shape;6877;p53"/>
            <p:cNvSpPr/>
            <p:nvPr/>
          </p:nvSpPr>
          <p:spPr>
            <a:xfrm>
              <a:off x="2205299" y="1581156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8" name="Google Shape;6878;p53"/>
            <p:cNvSpPr/>
            <p:nvPr/>
          </p:nvSpPr>
          <p:spPr>
            <a:xfrm>
              <a:off x="2213894" y="1589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9" name="Google Shape;6879;p53"/>
            <p:cNvSpPr/>
            <p:nvPr/>
          </p:nvSpPr>
          <p:spPr>
            <a:xfrm>
              <a:off x="2269276" y="1477017"/>
              <a:ext cx="1629" cy="1303"/>
            </a:xfrm>
            <a:custGeom>
              <a:avLst/>
              <a:gdLst/>
              <a:ahLst/>
              <a:cxnLst/>
              <a:rect l="l" t="t" r="r" b="b"/>
              <a:pathLst>
                <a:path w="120" h="96" extrusionOk="0">
                  <a:moveTo>
                    <a:pt x="0" y="1"/>
                  </a:moveTo>
                  <a:cubicBezTo>
                    <a:pt x="32" y="43"/>
                    <a:pt x="74" y="74"/>
                    <a:pt x="119" y="95"/>
                  </a:cubicBezTo>
                  <a:cubicBezTo>
                    <a:pt x="74" y="74"/>
                    <a:pt x="32" y="4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0" name="Google Shape;6880;p53"/>
            <p:cNvSpPr/>
            <p:nvPr/>
          </p:nvSpPr>
          <p:spPr>
            <a:xfrm>
              <a:off x="2260193" y="1430147"/>
              <a:ext cx="3394" cy="1398"/>
            </a:xfrm>
            <a:custGeom>
              <a:avLst/>
              <a:gdLst/>
              <a:ahLst/>
              <a:cxnLst/>
              <a:rect l="l" t="t" r="r" b="b"/>
              <a:pathLst>
                <a:path w="250" h="103" extrusionOk="0">
                  <a:moveTo>
                    <a:pt x="1" y="1"/>
                  </a:moveTo>
                  <a:cubicBezTo>
                    <a:pt x="46" y="39"/>
                    <a:pt x="102" y="67"/>
                    <a:pt x="162" y="74"/>
                  </a:cubicBezTo>
                  <a:cubicBezTo>
                    <a:pt x="193" y="81"/>
                    <a:pt x="221" y="92"/>
                    <a:pt x="249" y="102"/>
                  </a:cubicBezTo>
                  <a:cubicBezTo>
                    <a:pt x="221" y="92"/>
                    <a:pt x="193" y="81"/>
                    <a:pt x="162" y="74"/>
                  </a:cubicBezTo>
                  <a:cubicBezTo>
                    <a:pt x="102" y="67"/>
                    <a:pt x="46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1" name="Google Shape;6881;p53"/>
            <p:cNvSpPr/>
            <p:nvPr/>
          </p:nvSpPr>
          <p:spPr>
            <a:xfrm>
              <a:off x="2262664" y="1417466"/>
              <a:ext cx="1344" cy="2009"/>
            </a:xfrm>
            <a:custGeom>
              <a:avLst/>
              <a:gdLst/>
              <a:ahLst/>
              <a:cxnLst/>
              <a:rect l="l" t="t" r="r" b="b"/>
              <a:pathLst>
                <a:path w="99" h="148" extrusionOk="0">
                  <a:moveTo>
                    <a:pt x="99" y="0"/>
                  </a:moveTo>
                  <a:lnTo>
                    <a:pt x="81" y="18"/>
                  </a:lnTo>
                  <a:cubicBezTo>
                    <a:pt x="46" y="53"/>
                    <a:pt x="18" y="98"/>
                    <a:pt x="1" y="147"/>
                  </a:cubicBezTo>
                  <a:cubicBezTo>
                    <a:pt x="22" y="91"/>
                    <a:pt x="57" y="42"/>
                    <a:pt x="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2" name="Google Shape;6882;p53"/>
            <p:cNvSpPr/>
            <p:nvPr/>
          </p:nvSpPr>
          <p:spPr>
            <a:xfrm>
              <a:off x="2263520" y="1448640"/>
              <a:ext cx="6246" cy="10047"/>
            </a:xfrm>
            <a:custGeom>
              <a:avLst/>
              <a:gdLst/>
              <a:ahLst/>
              <a:cxnLst/>
              <a:rect l="l" t="t" r="r" b="b"/>
              <a:pathLst>
                <a:path w="460" h="740" extrusionOk="0">
                  <a:moveTo>
                    <a:pt x="1" y="1"/>
                  </a:moveTo>
                  <a:lnTo>
                    <a:pt x="1" y="1"/>
                  </a:lnTo>
                  <a:cubicBezTo>
                    <a:pt x="113" y="169"/>
                    <a:pt x="316" y="477"/>
                    <a:pt x="459" y="739"/>
                  </a:cubicBezTo>
                  <a:cubicBezTo>
                    <a:pt x="316" y="477"/>
                    <a:pt x="113" y="16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3" name="Google Shape;6883;p53"/>
            <p:cNvSpPr/>
            <p:nvPr/>
          </p:nvSpPr>
          <p:spPr>
            <a:xfrm>
              <a:off x="2269127" y="1476542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cubicBezTo>
                    <a:pt x="1" y="8"/>
                    <a:pt x="1" y="4"/>
                    <a:pt x="1" y="1"/>
                  </a:cubicBezTo>
                  <a:cubicBezTo>
                    <a:pt x="1" y="4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4" name="Google Shape;6884;p53"/>
            <p:cNvSpPr/>
            <p:nvPr/>
          </p:nvSpPr>
          <p:spPr>
            <a:xfrm>
              <a:off x="2257002" y="1519610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5" name="Google Shape;6885;p53"/>
            <p:cNvSpPr/>
            <p:nvPr/>
          </p:nvSpPr>
          <p:spPr>
            <a:xfrm>
              <a:off x="2271082" y="1504593"/>
              <a:ext cx="3476" cy="2716"/>
            </a:xfrm>
            <a:custGeom>
              <a:avLst/>
              <a:gdLst/>
              <a:ahLst/>
              <a:cxnLst/>
              <a:rect l="l" t="t" r="r" b="b"/>
              <a:pathLst>
                <a:path w="256" h="200" extrusionOk="0">
                  <a:moveTo>
                    <a:pt x="0" y="200"/>
                  </a:moveTo>
                  <a:cubicBezTo>
                    <a:pt x="81" y="130"/>
                    <a:pt x="168" y="63"/>
                    <a:pt x="256" y="0"/>
                  </a:cubicBezTo>
                  <a:cubicBezTo>
                    <a:pt x="168" y="63"/>
                    <a:pt x="81" y="130"/>
                    <a:pt x="0" y="20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6" name="Google Shape;6886;p53"/>
            <p:cNvSpPr/>
            <p:nvPr/>
          </p:nvSpPr>
          <p:spPr>
            <a:xfrm>
              <a:off x="2268801" y="1485625"/>
              <a:ext cx="3286" cy="2295"/>
            </a:xfrm>
            <a:custGeom>
              <a:avLst/>
              <a:gdLst/>
              <a:ahLst/>
              <a:cxnLst/>
              <a:rect l="l" t="t" r="r" b="b"/>
              <a:pathLst>
                <a:path w="242" h="169" extrusionOk="0">
                  <a:moveTo>
                    <a:pt x="0" y="0"/>
                  </a:moveTo>
                  <a:cubicBezTo>
                    <a:pt x="25" y="39"/>
                    <a:pt x="154" y="116"/>
                    <a:pt x="242" y="168"/>
                  </a:cubicBezTo>
                  <a:cubicBezTo>
                    <a:pt x="154" y="116"/>
                    <a:pt x="25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7" name="Google Shape;6887;p53"/>
            <p:cNvSpPr/>
            <p:nvPr/>
          </p:nvSpPr>
          <p:spPr>
            <a:xfrm>
              <a:off x="2257966" y="1513187"/>
              <a:ext cx="8282" cy="5580"/>
            </a:xfrm>
            <a:custGeom>
              <a:avLst/>
              <a:gdLst/>
              <a:ahLst/>
              <a:cxnLst/>
              <a:rect l="l" t="t" r="r" b="b"/>
              <a:pathLst>
                <a:path w="610" h="411" extrusionOk="0">
                  <a:moveTo>
                    <a:pt x="609" y="1"/>
                  </a:moveTo>
                  <a:cubicBezTo>
                    <a:pt x="511" y="74"/>
                    <a:pt x="410" y="141"/>
                    <a:pt x="305" y="204"/>
                  </a:cubicBezTo>
                  <a:cubicBezTo>
                    <a:pt x="196" y="263"/>
                    <a:pt x="95" y="333"/>
                    <a:pt x="0" y="410"/>
                  </a:cubicBezTo>
                  <a:cubicBezTo>
                    <a:pt x="95" y="333"/>
                    <a:pt x="196" y="263"/>
                    <a:pt x="305" y="204"/>
                  </a:cubicBezTo>
                  <a:cubicBezTo>
                    <a:pt x="410" y="141"/>
                    <a:pt x="511" y="74"/>
                    <a:pt x="6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8" name="Google Shape;6888;p53"/>
            <p:cNvSpPr/>
            <p:nvPr/>
          </p:nvSpPr>
          <p:spPr>
            <a:xfrm>
              <a:off x="2256581" y="152012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9" name="Google Shape;6889;p53"/>
            <p:cNvSpPr/>
            <p:nvPr/>
          </p:nvSpPr>
          <p:spPr>
            <a:xfrm>
              <a:off x="2274449" y="1489372"/>
              <a:ext cx="6056" cy="6816"/>
            </a:xfrm>
            <a:custGeom>
              <a:avLst/>
              <a:gdLst/>
              <a:ahLst/>
              <a:cxnLst/>
              <a:rect l="l" t="t" r="r" b="b"/>
              <a:pathLst>
                <a:path w="446" h="502" extrusionOk="0">
                  <a:moveTo>
                    <a:pt x="1" y="1"/>
                  </a:moveTo>
                  <a:cubicBezTo>
                    <a:pt x="99" y="60"/>
                    <a:pt x="186" y="130"/>
                    <a:pt x="260" y="214"/>
                  </a:cubicBezTo>
                  <a:cubicBezTo>
                    <a:pt x="372" y="340"/>
                    <a:pt x="424" y="428"/>
                    <a:pt x="445" y="501"/>
                  </a:cubicBezTo>
                  <a:cubicBezTo>
                    <a:pt x="424" y="428"/>
                    <a:pt x="372" y="340"/>
                    <a:pt x="260" y="214"/>
                  </a:cubicBezTo>
                  <a:cubicBezTo>
                    <a:pt x="186" y="130"/>
                    <a:pt x="99" y="60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0" name="Google Shape;6890;p53"/>
            <p:cNvSpPr/>
            <p:nvPr/>
          </p:nvSpPr>
          <p:spPr>
            <a:xfrm>
              <a:off x="2275929" y="1499121"/>
              <a:ext cx="4195" cy="4481"/>
            </a:xfrm>
            <a:custGeom>
              <a:avLst/>
              <a:gdLst/>
              <a:ahLst/>
              <a:cxnLst/>
              <a:rect l="l" t="t" r="r" b="b"/>
              <a:pathLst>
                <a:path w="309" h="330" extrusionOk="0">
                  <a:moveTo>
                    <a:pt x="308" y="1"/>
                  </a:moveTo>
                  <a:lnTo>
                    <a:pt x="308" y="1"/>
                  </a:lnTo>
                  <a:cubicBezTo>
                    <a:pt x="263" y="120"/>
                    <a:pt x="144" y="225"/>
                    <a:pt x="0" y="330"/>
                  </a:cubicBezTo>
                  <a:cubicBezTo>
                    <a:pt x="144" y="225"/>
                    <a:pt x="266" y="120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1" name="Google Shape;6891;p53"/>
            <p:cNvSpPr/>
            <p:nvPr/>
          </p:nvSpPr>
          <p:spPr>
            <a:xfrm>
              <a:off x="2249874" y="1554544"/>
              <a:ext cx="258" cy="1059"/>
            </a:xfrm>
            <a:custGeom>
              <a:avLst/>
              <a:gdLst/>
              <a:ahLst/>
              <a:cxnLst/>
              <a:rect l="l" t="t" r="r" b="b"/>
              <a:pathLst>
                <a:path w="19" h="78" extrusionOk="0">
                  <a:moveTo>
                    <a:pt x="18" y="1"/>
                  </a:moveTo>
                  <a:cubicBezTo>
                    <a:pt x="16" y="2"/>
                    <a:pt x="14" y="5"/>
                    <a:pt x="13" y="7"/>
                  </a:cubicBezTo>
                  <a:lnTo>
                    <a:pt x="13" y="7"/>
                  </a:lnTo>
                  <a:cubicBezTo>
                    <a:pt x="14" y="5"/>
                    <a:pt x="16" y="3"/>
                    <a:pt x="18" y="1"/>
                  </a:cubicBezTo>
                  <a:close/>
                  <a:moveTo>
                    <a:pt x="13" y="7"/>
                  </a:moveTo>
                  <a:lnTo>
                    <a:pt x="13" y="7"/>
                  </a:lnTo>
                  <a:cubicBezTo>
                    <a:pt x="8" y="13"/>
                    <a:pt x="4" y="21"/>
                    <a:pt x="4" y="29"/>
                  </a:cubicBezTo>
                  <a:cubicBezTo>
                    <a:pt x="4" y="39"/>
                    <a:pt x="8" y="50"/>
                    <a:pt x="11" y="60"/>
                  </a:cubicBezTo>
                  <a:lnTo>
                    <a:pt x="18" y="78"/>
                  </a:lnTo>
                  <a:cubicBezTo>
                    <a:pt x="12" y="62"/>
                    <a:pt x="0" y="27"/>
                    <a:pt x="13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2" name="Google Shape;6892;p53"/>
            <p:cNvSpPr/>
            <p:nvPr/>
          </p:nvSpPr>
          <p:spPr>
            <a:xfrm>
              <a:off x="2251965" y="1550498"/>
              <a:ext cx="774" cy="1724"/>
            </a:xfrm>
            <a:custGeom>
              <a:avLst/>
              <a:gdLst/>
              <a:ahLst/>
              <a:cxnLst/>
              <a:rect l="l" t="t" r="r" b="b"/>
              <a:pathLst>
                <a:path w="57" h="127" extrusionOk="0">
                  <a:moveTo>
                    <a:pt x="1" y="1"/>
                  </a:moveTo>
                  <a:lnTo>
                    <a:pt x="22" y="29"/>
                  </a:lnTo>
                  <a:cubicBezTo>
                    <a:pt x="43" y="57"/>
                    <a:pt x="57" y="88"/>
                    <a:pt x="57" y="127"/>
                  </a:cubicBezTo>
                  <a:cubicBezTo>
                    <a:pt x="57" y="88"/>
                    <a:pt x="43" y="57"/>
                    <a:pt x="22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3" name="Google Shape;6893;p53"/>
            <p:cNvSpPr/>
            <p:nvPr/>
          </p:nvSpPr>
          <p:spPr>
            <a:xfrm>
              <a:off x="2254871" y="15361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4" name="Google Shape;6894;p53"/>
            <p:cNvSpPr/>
            <p:nvPr/>
          </p:nvSpPr>
          <p:spPr>
            <a:xfrm>
              <a:off x="2254681" y="153700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5" name="Google Shape;6895;p53"/>
            <p:cNvSpPr/>
            <p:nvPr/>
          </p:nvSpPr>
          <p:spPr>
            <a:xfrm>
              <a:off x="2253961" y="153804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6" name="Google Shape;6896;p53"/>
            <p:cNvSpPr/>
            <p:nvPr/>
          </p:nvSpPr>
          <p:spPr>
            <a:xfrm>
              <a:off x="2254110" y="153785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7" name="Google Shape;6897;p53"/>
            <p:cNvSpPr/>
            <p:nvPr/>
          </p:nvSpPr>
          <p:spPr>
            <a:xfrm>
              <a:off x="2253825" y="153823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8" name="Google Shape;6898;p53"/>
            <p:cNvSpPr/>
            <p:nvPr/>
          </p:nvSpPr>
          <p:spPr>
            <a:xfrm>
              <a:off x="2250974" y="1540519"/>
              <a:ext cx="1249" cy="1629"/>
            </a:xfrm>
            <a:custGeom>
              <a:avLst/>
              <a:gdLst/>
              <a:ahLst/>
              <a:cxnLst/>
              <a:rect l="l" t="t" r="r" b="b"/>
              <a:pathLst>
                <a:path w="92" h="120" extrusionOk="0">
                  <a:moveTo>
                    <a:pt x="0" y="120"/>
                  </a:moveTo>
                  <a:cubicBezTo>
                    <a:pt x="35" y="85"/>
                    <a:pt x="67" y="43"/>
                    <a:pt x="91" y="1"/>
                  </a:cubicBezTo>
                  <a:cubicBezTo>
                    <a:pt x="67" y="43"/>
                    <a:pt x="35" y="85"/>
                    <a:pt x="0" y="12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9" name="Google Shape;6899;p53"/>
            <p:cNvSpPr/>
            <p:nvPr/>
          </p:nvSpPr>
          <p:spPr>
            <a:xfrm>
              <a:off x="2252875" y="1538428"/>
              <a:ext cx="774" cy="923"/>
            </a:xfrm>
            <a:custGeom>
              <a:avLst/>
              <a:gdLst/>
              <a:ahLst/>
              <a:cxnLst/>
              <a:rect l="l" t="t" r="r" b="b"/>
              <a:pathLst>
                <a:path w="57" h="68" extrusionOk="0">
                  <a:moveTo>
                    <a:pt x="0" y="67"/>
                  </a:moveTo>
                  <a:cubicBezTo>
                    <a:pt x="18" y="43"/>
                    <a:pt x="35" y="22"/>
                    <a:pt x="56" y="1"/>
                  </a:cubicBezTo>
                  <a:cubicBezTo>
                    <a:pt x="35" y="22"/>
                    <a:pt x="18" y="43"/>
                    <a:pt x="0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0" name="Google Shape;6900;p53"/>
            <p:cNvSpPr/>
            <p:nvPr/>
          </p:nvSpPr>
          <p:spPr>
            <a:xfrm>
              <a:off x="2254300" y="153766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1" name="Google Shape;6901;p53"/>
            <p:cNvSpPr/>
            <p:nvPr/>
          </p:nvSpPr>
          <p:spPr>
            <a:xfrm>
              <a:off x="2252820" y="153937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2" name="Google Shape;6902;p53"/>
            <p:cNvSpPr/>
            <p:nvPr/>
          </p:nvSpPr>
          <p:spPr>
            <a:xfrm>
              <a:off x="2254531" y="1534721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3" name="Google Shape;6903;p53"/>
            <p:cNvSpPr/>
            <p:nvPr/>
          </p:nvSpPr>
          <p:spPr>
            <a:xfrm>
              <a:off x="2254776" y="1535427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1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1" y="2"/>
                    <a:pt x="1" y="2"/>
                    <a:pt x="2" y="3"/>
                  </a:cubicBezTo>
                  <a:lnTo>
                    <a:pt x="2" y="3"/>
                  </a:lnTo>
                  <a:cubicBezTo>
                    <a:pt x="1" y="1"/>
                    <a:pt x="1" y="0"/>
                    <a:pt x="1" y="0"/>
                  </a:cubicBezTo>
                  <a:close/>
                  <a:moveTo>
                    <a:pt x="2" y="3"/>
                  </a:moveTo>
                  <a:lnTo>
                    <a:pt x="2" y="3"/>
                  </a:lnTo>
                  <a:cubicBezTo>
                    <a:pt x="3" y="6"/>
                    <a:pt x="4" y="10"/>
                    <a:pt x="4" y="12"/>
                  </a:cubicBezTo>
                  <a:cubicBezTo>
                    <a:pt x="4" y="9"/>
                    <a:pt x="4" y="6"/>
                    <a:pt x="2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4" name="Google Shape;6904;p53"/>
            <p:cNvSpPr/>
            <p:nvPr/>
          </p:nvSpPr>
          <p:spPr>
            <a:xfrm>
              <a:off x="2254436" y="1537437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5" name="Google Shape;6905;p53"/>
            <p:cNvSpPr/>
            <p:nvPr/>
          </p:nvSpPr>
          <p:spPr>
            <a:xfrm>
              <a:off x="2254871" y="153576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6" name="Google Shape;6906;p53"/>
            <p:cNvSpPr/>
            <p:nvPr/>
          </p:nvSpPr>
          <p:spPr>
            <a:xfrm>
              <a:off x="2254681" y="1535102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7" name="Google Shape;6907;p53"/>
            <p:cNvSpPr/>
            <p:nvPr/>
          </p:nvSpPr>
          <p:spPr>
            <a:xfrm>
              <a:off x="2254816" y="153643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8"/>
                  </a:moveTo>
                  <a:lnTo>
                    <a:pt x="1" y="4"/>
                  </a:lnTo>
                  <a:cubicBezTo>
                    <a:pt x="1" y="1"/>
                    <a:pt x="1" y="8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8" name="Google Shape;6908;p53"/>
            <p:cNvSpPr/>
            <p:nvPr/>
          </p:nvSpPr>
          <p:spPr>
            <a:xfrm>
              <a:off x="2254531" y="15371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9" name="Google Shape;6909;p53"/>
            <p:cNvSpPr/>
            <p:nvPr/>
          </p:nvSpPr>
          <p:spPr>
            <a:xfrm>
              <a:off x="2254776" y="153671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0" name="Google Shape;6910;p53"/>
            <p:cNvSpPr/>
            <p:nvPr/>
          </p:nvSpPr>
          <p:spPr>
            <a:xfrm>
              <a:off x="2250024" y="1555359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0"/>
                  </a:moveTo>
                  <a:cubicBezTo>
                    <a:pt x="4" y="11"/>
                    <a:pt x="7" y="25"/>
                    <a:pt x="11" y="35"/>
                  </a:cubicBezTo>
                  <a:lnTo>
                    <a:pt x="7" y="1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1" name="Google Shape;6911;p53"/>
            <p:cNvSpPr/>
            <p:nvPr/>
          </p:nvSpPr>
          <p:spPr>
            <a:xfrm>
              <a:off x="2263995" y="1416040"/>
              <a:ext cx="2770" cy="1439"/>
            </a:xfrm>
            <a:custGeom>
              <a:avLst/>
              <a:gdLst/>
              <a:ahLst/>
              <a:cxnLst/>
              <a:rect l="l" t="t" r="r" b="b"/>
              <a:pathLst>
                <a:path w="204" h="106" extrusionOk="0">
                  <a:moveTo>
                    <a:pt x="204" y="0"/>
                  </a:moveTo>
                  <a:lnTo>
                    <a:pt x="204" y="0"/>
                  </a:lnTo>
                  <a:cubicBezTo>
                    <a:pt x="127" y="7"/>
                    <a:pt x="53" y="46"/>
                    <a:pt x="1" y="105"/>
                  </a:cubicBezTo>
                  <a:lnTo>
                    <a:pt x="18" y="88"/>
                  </a:lnTo>
                  <a:cubicBezTo>
                    <a:pt x="67" y="39"/>
                    <a:pt x="134" y="7"/>
                    <a:pt x="20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2" name="Google Shape;6912;p53"/>
            <p:cNvSpPr/>
            <p:nvPr/>
          </p:nvSpPr>
          <p:spPr>
            <a:xfrm>
              <a:off x="2276350" y="1412130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8" y="1"/>
                  </a:moveTo>
                  <a:cubicBezTo>
                    <a:pt x="11" y="8"/>
                    <a:pt x="4" y="15"/>
                    <a:pt x="1" y="19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3" name="Google Shape;6913;p53"/>
            <p:cNvSpPr/>
            <p:nvPr/>
          </p:nvSpPr>
          <p:spPr>
            <a:xfrm>
              <a:off x="2276921" y="1411139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5"/>
                  </a:moveTo>
                  <a:cubicBezTo>
                    <a:pt x="8" y="25"/>
                    <a:pt x="15" y="14"/>
                    <a:pt x="18" y="0"/>
                  </a:cubicBezTo>
                  <a:cubicBezTo>
                    <a:pt x="15" y="14"/>
                    <a:pt x="8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4" name="Google Shape;6914;p53"/>
            <p:cNvSpPr/>
            <p:nvPr/>
          </p:nvSpPr>
          <p:spPr>
            <a:xfrm>
              <a:off x="2275875" y="1412470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1" y="22"/>
                  </a:moveTo>
                  <a:cubicBezTo>
                    <a:pt x="11" y="15"/>
                    <a:pt x="18" y="8"/>
                    <a:pt x="29" y="1"/>
                  </a:cubicBezTo>
                  <a:cubicBezTo>
                    <a:pt x="18" y="8"/>
                    <a:pt x="1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5" name="Google Shape;6915;p53"/>
            <p:cNvSpPr/>
            <p:nvPr/>
          </p:nvSpPr>
          <p:spPr>
            <a:xfrm>
              <a:off x="2276690" y="1411709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0" y="25"/>
                  </a:moveTo>
                  <a:cubicBezTo>
                    <a:pt x="4" y="14"/>
                    <a:pt x="11" y="7"/>
                    <a:pt x="14" y="0"/>
                  </a:cubicBezTo>
                  <a:cubicBezTo>
                    <a:pt x="11" y="7"/>
                    <a:pt x="4" y="14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6" name="Google Shape;6916;p53"/>
            <p:cNvSpPr/>
            <p:nvPr/>
          </p:nvSpPr>
          <p:spPr>
            <a:xfrm>
              <a:off x="2263764" y="1417222"/>
              <a:ext cx="434" cy="44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32" y="1"/>
                  </a:moveTo>
                  <a:lnTo>
                    <a:pt x="18" y="15"/>
                  </a:lnTo>
                  <a:lnTo>
                    <a:pt x="0" y="32"/>
                  </a:lnTo>
                  <a:cubicBezTo>
                    <a:pt x="14" y="22"/>
                    <a:pt x="21" y="1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7" name="Google Shape;6917;p53"/>
            <p:cNvSpPr/>
            <p:nvPr/>
          </p:nvSpPr>
          <p:spPr>
            <a:xfrm>
              <a:off x="3015482" y="1689586"/>
              <a:ext cx="163" cy="1195"/>
            </a:xfrm>
            <a:custGeom>
              <a:avLst/>
              <a:gdLst/>
              <a:ahLst/>
              <a:cxnLst/>
              <a:rect l="l" t="t" r="r" b="b"/>
              <a:pathLst>
                <a:path w="12" h="88" extrusionOk="0">
                  <a:moveTo>
                    <a:pt x="1" y="0"/>
                  </a:moveTo>
                  <a:cubicBezTo>
                    <a:pt x="8" y="28"/>
                    <a:pt x="11" y="56"/>
                    <a:pt x="11" y="88"/>
                  </a:cubicBezTo>
                  <a:cubicBezTo>
                    <a:pt x="11" y="56"/>
                    <a:pt x="8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8" name="Google Shape;6918;p53"/>
            <p:cNvSpPr/>
            <p:nvPr/>
          </p:nvSpPr>
          <p:spPr>
            <a:xfrm>
              <a:off x="2958307" y="1600694"/>
              <a:ext cx="3150" cy="353"/>
            </a:xfrm>
            <a:custGeom>
              <a:avLst/>
              <a:gdLst/>
              <a:ahLst/>
              <a:cxnLst/>
              <a:rect l="l" t="t" r="r" b="b"/>
              <a:pathLst>
                <a:path w="232" h="26" extrusionOk="0">
                  <a:moveTo>
                    <a:pt x="0" y="8"/>
                  </a:moveTo>
                  <a:cubicBezTo>
                    <a:pt x="77" y="1"/>
                    <a:pt x="154" y="8"/>
                    <a:pt x="231" y="25"/>
                  </a:cubicBezTo>
                  <a:cubicBezTo>
                    <a:pt x="154" y="8"/>
                    <a:pt x="77" y="1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9" name="Google Shape;6919;p53"/>
            <p:cNvSpPr/>
            <p:nvPr/>
          </p:nvSpPr>
          <p:spPr>
            <a:xfrm>
              <a:off x="2924961" y="1625555"/>
              <a:ext cx="3408" cy="7671"/>
            </a:xfrm>
            <a:custGeom>
              <a:avLst/>
              <a:gdLst/>
              <a:ahLst/>
              <a:cxnLst/>
              <a:rect l="l" t="t" r="r" b="b"/>
              <a:pathLst>
                <a:path w="251" h="565" extrusionOk="0">
                  <a:moveTo>
                    <a:pt x="251" y="1"/>
                  </a:moveTo>
                  <a:cubicBezTo>
                    <a:pt x="230" y="46"/>
                    <a:pt x="191" y="109"/>
                    <a:pt x="156" y="169"/>
                  </a:cubicBezTo>
                  <a:cubicBezTo>
                    <a:pt x="195" y="109"/>
                    <a:pt x="230" y="46"/>
                    <a:pt x="251" y="1"/>
                  </a:cubicBezTo>
                  <a:close/>
                  <a:moveTo>
                    <a:pt x="156" y="170"/>
                  </a:moveTo>
                  <a:lnTo>
                    <a:pt x="156" y="170"/>
                  </a:lnTo>
                  <a:cubicBezTo>
                    <a:pt x="63" y="329"/>
                    <a:pt x="1" y="439"/>
                    <a:pt x="1" y="525"/>
                  </a:cubicBezTo>
                  <a:lnTo>
                    <a:pt x="1" y="525"/>
                  </a:lnTo>
                  <a:cubicBezTo>
                    <a:pt x="1" y="441"/>
                    <a:pt x="63" y="329"/>
                    <a:pt x="156" y="170"/>
                  </a:cubicBezTo>
                  <a:close/>
                  <a:moveTo>
                    <a:pt x="1" y="525"/>
                  </a:moveTo>
                  <a:cubicBezTo>
                    <a:pt x="1" y="539"/>
                    <a:pt x="2" y="552"/>
                    <a:pt x="6" y="564"/>
                  </a:cubicBezTo>
                  <a:cubicBezTo>
                    <a:pt x="2" y="552"/>
                    <a:pt x="1" y="539"/>
                    <a:pt x="1" y="5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0" name="Google Shape;6920;p53"/>
            <p:cNvSpPr/>
            <p:nvPr/>
          </p:nvSpPr>
          <p:spPr>
            <a:xfrm>
              <a:off x="2928546" y="1617856"/>
              <a:ext cx="4535" cy="7196"/>
            </a:xfrm>
            <a:custGeom>
              <a:avLst/>
              <a:gdLst/>
              <a:ahLst/>
              <a:cxnLst/>
              <a:rect l="l" t="t" r="r" b="b"/>
              <a:pathLst>
                <a:path w="334" h="530" extrusionOk="0">
                  <a:moveTo>
                    <a:pt x="1" y="529"/>
                  </a:moveTo>
                  <a:cubicBezTo>
                    <a:pt x="32" y="410"/>
                    <a:pt x="214" y="102"/>
                    <a:pt x="333" y="1"/>
                  </a:cubicBezTo>
                  <a:cubicBezTo>
                    <a:pt x="214" y="102"/>
                    <a:pt x="32" y="410"/>
                    <a:pt x="1" y="5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1" name="Google Shape;6921;p53"/>
            <p:cNvSpPr/>
            <p:nvPr/>
          </p:nvSpPr>
          <p:spPr>
            <a:xfrm>
              <a:off x="2906265" y="163562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1"/>
                  </a:moveTo>
                  <a:lnTo>
                    <a:pt x="0" y="1"/>
                  </a:lnTo>
                  <a:lnTo>
                    <a:pt x="2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2" name="Google Shape;6922;p53"/>
            <p:cNvSpPr/>
            <p:nvPr/>
          </p:nvSpPr>
          <p:spPr>
            <a:xfrm>
              <a:off x="2908301" y="1636634"/>
              <a:ext cx="638" cy="625"/>
            </a:xfrm>
            <a:custGeom>
              <a:avLst/>
              <a:gdLst/>
              <a:ahLst/>
              <a:cxnLst/>
              <a:rect l="l" t="t" r="r" b="b"/>
              <a:pathLst>
                <a:path w="47" h="46" extrusionOk="0">
                  <a:moveTo>
                    <a:pt x="1" y="1"/>
                  </a:moveTo>
                  <a:cubicBezTo>
                    <a:pt x="18" y="11"/>
                    <a:pt x="32" y="29"/>
                    <a:pt x="46" y="46"/>
                  </a:cubicBezTo>
                  <a:cubicBezTo>
                    <a:pt x="36" y="29"/>
                    <a:pt x="18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3" name="Google Shape;6923;p53"/>
            <p:cNvSpPr/>
            <p:nvPr/>
          </p:nvSpPr>
          <p:spPr>
            <a:xfrm>
              <a:off x="2908967" y="1637299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8" y="25"/>
                  </a:moveTo>
                  <a:cubicBezTo>
                    <a:pt x="11" y="14"/>
                    <a:pt x="8" y="7"/>
                    <a:pt x="1" y="0"/>
                  </a:cubicBezTo>
                  <a:cubicBezTo>
                    <a:pt x="8" y="7"/>
                    <a:pt x="11" y="14"/>
                    <a:pt x="1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4" name="Google Shape;6924;p53"/>
            <p:cNvSpPr/>
            <p:nvPr/>
          </p:nvSpPr>
          <p:spPr>
            <a:xfrm>
              <a:off x="2935633" y="1611163"/>
              <a:ext cx="828" cy="3530"/>
            </a:xfrm>
            <a:custGeom>
              <a:avLst/>
              <a:gdLst/>
              <a:ahLst/>
              <a:cxnLst/>
              <a:rect l="l" t="t" r="r" b="b"/>
              <a:pathLst>
                <a:path w="61" h="260" extrusionOk="0">
                  <a:moveTo>
                    <a:pt x="1" y="0"/>
                  </a:moveTo>
                  <a:cubicBezTo>
                    <a:pt x="29" y="84"/>
                    <a:pt x="50" y="172"/>
                    <a:pt x="60" y="259"/>
                  </a:cubicBezTo>
                  <a:cubicBezTo>
                    <a:pt x="50" y="172"/>
                    <a:pt x="29" y="8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5" name="Google Shape;6925;p53"/>
            <p:cNvSpPr/>
            <p:nvPr/>
          </p:nvSpPr>
          <p:spPr>
            <a:xfrm>
              <a:off x="2907976" y="1636390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"/>
                  </a:moveTo>
                  <a:lnTo>
                    <a:pt x="18" y="15"/>
                  </a:lnTo>
                  <a:cubicBezTo>
                    <a:pt x="14" y="8"/>
                    <a:pt x="7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6" name="Google Shape;6926;p53"/>
            <p:cNvSpPr/>
            <p:nvPr/>
          </p:nvSpPr>
          <p:spPr>
            <a:xfrm>
              <a:off x="2695420" y="1641956"/>
              <a:ext cx="2417" cy="448"/>
            </a:xfrm>
            <a:custGeom>
              <a:avLst/>
              <a:gdLst/>
              <a:ahLst/>
              <a:cxnLst/>
              <a:rect l="l" t="t" r="r" b="b"/>
              <a:pathLst>
                <a:path w="178" h="33" extrusionOk="0">
                  <a:moveTo>
                    <a:pt x="1" y="1"/>
                  </a:moveTo>
                  <a:cubicBezTo>
                    <a:pt x="29" y="4"/>
                    <a:pt x="63" y="11"/>
                    <a:pt x="90" y="18"/>
                  </a:cubicBezTo>
                  <a:cubicBezTo>
                    <a:pt x="93" y="18"/>
                    <a:pt x="97" y="19"/>
                    <a:pt x="100" y="19"/>
                  </a:cubicBezTo>
                  <a:lnTo>
                    <a:pt x="100" y="19"/>
                  </a:lnTo>
                  <a:cubicBezTo>
                    <a:pt x="98" y="19"/>
                    <a:pt x="96" y="18"/>
                    <a:pt x="94" y="18"/>
                  </a:cubicBezTo>
                  <a:cubicBezTo>
                    <a:pt x="63" y="11"/>
                    <a:pt x="29" y="4"/>
                    <a:pt x="1" y="1"/>
                  </a:cubicBezTo>
                  <a:close/>
                  <a:moveTo>
                    <a:pt x="100" y="19"/>
                  </a:moveTo>
                  <a:lnTo>
                    <a:pt x="100" y="19"/>
                  </a:lnTo>
                  <a:cubicBezTo>
                    <a:pt x="115" y="22"/>
                    <a:pt x="134" y="25"/>
                    <a:pt x="151" y="28"/>
                  </a:cubicBezTo>
                  <a:lnTo>
                    <a:pt x="151" y="28"/>
                  </a:lnTo>
                  <a:cubicBezTo>
                    <a:pt x="135" y="25"/>
                    <a:pt x="117" y="22"/>
                    <a:pt x="100" y="19"/>
                  </a:cubicBezTo>
                  <a:close/>
                  <a:moveTo>
                    <a:pt x="151" y="28"/>
                  </a:moveTo>
                  <a:cubicBezTo>
                    <a:pt x="160" y="29"/>
                    <a:pt x="169" y="31"/>
                    <a:pt x="178" y="32"/>
                  </a:cubicBezTo>
                  <a:lnTo>
                    <a:pt x="157" y="29"/>
                  </a:lnTo>
                  <a:cubicBezTo>
                    <a:pt x="155" y="28"/>
                    <a:pt x="153" y="28"/>
                    <a:pt x="15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7" name="Google Shape;6927;p53"/>
            <p:cNvSpPr/>
            <p:nvPr/>
          </p:nvSpPr>
          <p:spPr>
            <a:xfrm>
              <a:off x="2693641" y="1641060"/>
              <a:ext cx="1208" cy="869"/>
            </a:xfrm>
            <a:custGeom>
              <a:avLst/>
              <a:gdLst/>
              <a:ahLst/>
              <a:cxnLst/>
              <a:rect l="l" t="t" r="r" b="b"/>
              <a:pathLst>
                <a:path w="89" h="64" extrusionOk="0">
                  <a:moveTo>
                    <a:pt x="1" y="0"/>
                  </a:moveTo>
                  <a:cubicBezTo>
                    <a:pt x="6" y="6"/>
                    <a:pt x="12" y="12"/>
                    <a:pt x="18" y="18"/>
                  </a:cubicBezTo>
                  <a:lnTo>
                    <a:pt x="18" y="18"/>
                  </a:lnTo>
                  <a:cubicBezTo>
                    <a:pt x="16" y="15"/>
                    <a:pt x="13" y="13"/>
                    <a:pt x="11" y="11"/>
                  </a:cubicBezTo>
                  <a:lnTo>
                    <a:pt x="1" y="0"/>
                  </a:lnTo>
                  <a:close/>
                  <a:moveTo>
                    <a:pt x="18" y="18"/>
                  </a:moveTo>
                  <a:cubicBezTo>
                    <a:pt x="37" y="39"/>
                    <a:pt x="60" y="54"/>
                    <a:pt x="88" y="63"/>
                  </a:cubicBezTo>
                  <a:cubicBezTo>
                    <a:pt x="61" y="52"/>
                    <a:pt x="38" y="37"/>
                    <a:pt x="18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8" name="Google Shape;6928;p53"/>
            <p:cNvSpPr/>
            <p:nvPr/>
          </p:nvSpPr>
          <p:spPr>
            <a:xfrm>
              <a:off x="2974655" y="1606071"/>
              <a:ext cx="3584" cy="4481"/>
            </a:xfrm>
            <a:custGeom>
              <a:avLst/>
              <a:gdLst/>
              <a:ahLst/>
              <a:cxnLst/>
              <a:rect l="l" t="t" r="r" b="b"/>
              <a:pathLst>
                <a:path w="264" h="330" extrusionOk="0">
                  <a:moveTo>
                    <a:pt x="1" y="0"/>
                  </a:moveTo>
                  <a:cubicBezTo>
                    <a:pt x="113" y="77"/>
                    <a:pt x="263" y="175"/>
                    <a:pt x="246" y="330"/>
                  </a:cubicBezTo>
                  <a:cubicBezTo>
                    <a:pt x="263" y="175"/>
                    <a:pt x="113" y="7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9" name="Google Shape;6929;p53"/>
            <p:cNvSpPr/>
            <p:nvPr/>
          </p:nvSpPr>
          <p:spPr>
            <a:xfrm>
              <a:off x="3023194" y="1657313"/>
              <a:ext cx="1100" cy="54"/>
            </a:xfrm>
            <a:custGeom>
              <a:avLst/>
              <a:gdLst/>
              <a:ahLst/>
              <a:cxnLst/>
              <a:rect l="l" t="t" r="r" b="b"/>
              <a:pathLst>
                <a:path w="81" h="4" extrusionOk="0">
                  <a:moveTo>
                    <a:pt x="81" y="4"/>
                  </a:moveTo>
                  <a:cubicBezTo>
                    <a:pt x="56" y="4"/>
                    <a:pt x="32" y="4"/>
                    <a:pt x="0" y="0"/>
                  </a:cubicBezTo>
                  <a:cubicBezTo>
                    <a:pt x="32" y="4"/>
                    <a:pt x="56" y="4"/>
                    <a:pt x="81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0" name="Google Shape;6930;p53"/>
            <p:cNvSpPr/>
            <p:nvPr/>
          </p:nvSpPr>
          <p:spPr>
            <a:xfrm>
              <a:off x="3010594" y="1646478"/>
              <a:ext cx="1874" cy="2620"/>
            </a:xfrm>
            <a:custGeom>
              <a:avLst/>
              <a:gdLst/>
              <a:ahLst/>
              <a:cxnLst/>
              <a:rect l="l" t="t" r="r" b="b"/>
              <a:pathLst>
                <a:path w="138" h="193" extrusionOk="0">
                  <a:moveTo>
                    <a:pt x="0" y="0"/>
                  </a:moveTo>
                  <a:cubicBezTo>
                    <a:pt x="72" y="26"/>
                    <a:pt x="138" y="68"/>
                    <a:pt x="138" y="170"/>
                  </a:cubicBezTo>
                  <a:lnTo>
                    <a:pt x="138" y="170"/>
                  </a:lnTo>
                  <a:cubicBezTo>
                    <a:pt x="138" y="67"/>
                    <a:pt x="72" y="23"/>
                    <a:pt x="0" y="0"/>
                  </a:cubicBezTo>
                  <a:close/>
                  <a:moveTo>
                    <a:pt x="138" y="170"/>
                  </a:moveTo>
                  <a:lnTo>
                    <a:pt x="138" y="170"/>
                  </a:lnTo>
                  <a:cubicBezTo>
                    <a:pt x="138" y="177"/>
                    <a:pt x="138" y="185"/>
                    <a:pt x="137" y="193"/>
                  </a:cubicBezTo>
                  <a:cubicBezTo>
                    <a:pt x="138" y="185"/>
                    <a:pt x="138" y="177"/>
                    <a:pt x="138" y="1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1" name="Google Shape;6931;p53"/>
            <p:cNvSpPr/>
            <p:nvPr/>
          </p:nvSpPr>
          <p:spPr>
            <a:xfrm>
              <a:off x="3041863" y="1659634"/>
              <a:ext cx="163" cy="448"/>
            </a:xfrm>
            <a:custGeom>
              <a:avLst/>
              <a:gdLst/>
              <a:ahLst/>
              <a:cxnLst/>
              <a:rect l="l" t="t" r="r" b="b"/>
              <a:pathLst>
                <a:path w="12" h="33" extrusionOk="0">
                  <a:moveTo>
                    <a:pt x="11" y="32"/>
                  </a:moveTo>
                  <a:cubicBezTo>
                    <a:pt x="8" y="22"/>
                    <a:pt x="4" y="11"/>
                    <a:pt x="1" y="1"/>
                  </a:cubicBezTo>
                  <a:cubicBezTo>
                    <a:pt x="4" y="11"/>
                    <a:pt x="8" y="22"/>
                    <a:pt x="11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2" name="Google Shape;6932;p53"/>
            <p:cNvSpPr/>
            <p:nvPr/>
          </p:nvSpPr>
          <p:spPr>
            <a:xfrm>
              <a:off x="3006888" y="1644862"/>
              <a:ext cx="1534" cy="964"/>
            </a:xfrm>
            <a:custGeom>
              <a:avLst/>
              <a:gdLst/>
              <a:ahLst/>
              <a:cxnLst/>
              <a:rect l="l" t="t" r="r" b="b"/>
              <a:pathLst>
                <a:path w="113" h="71" extrusionOk="0">
                  <a:moveTo>
                    <a:pt x="112" y="70"/>
                  </a:moveTo>
                  <a:cubicBezTo>
                    <a:pt x="70" y="56"/>
                    <a:pt x="32" y="32"/>
                    <a:pt x="0" y="0"/>
                  </a:cubicBezTo>
                  <a:cubicBezTo>
                    <a:pt x="32" y="32"/>
                    <a:pt x="70" y="56"/>
                    <a:pt x="112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3" name="Google Shape;6933;p53"/>
            <p:cNvSpPr/>
            <p:nvPr/>
          </p:nvSpPr>
          <p:spPr>
            <a:xfrm>
              <a:off x="3014722" y="1656362"/>
              <a:ext cx="5159" cy="1154"/>
            </a:xfrm>
            <a:custGeom>
              <a:avLst/>
              <a:gdLst/>
              <a:ahLst/>
              <a:cxnLst/>
              <a:rect l="l" t="t" r="r" b="b"/>
              <a:pathLst>
                <a:path w="380" h="85" extrusionOk="0">
                  <a:moveTo>
                    <a:pt x="1" y="0"/>
                  </a:moveTo>
                  <a:cubicBezTo>
                    <a:pt x="116" y="60"/>
                    <a:pt x="249" y="84"/>
                    <a:pt x="379" y="74"/>
                  </a:cubicBezTo>
                  <a:cubicBezTo>
                    <a:pt x="249" y="84"/>
                    <a:pt x="116" y="6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4" name="Google Shape;6934;p53"/>
            <p:cNvSpPr/>
            <p:nvPr/>
          </p:nvSpPr>
          <p:spPr>
            <a:xfrm>
              <a:off x="3033880" y="1652031"/>
              <a:ext cx="3680" cy="1113"/>
            </a:xfrm>
            <a:custGeom>
              <a:avLst/>
              <a:gdLst/>
              <a:ahLst/>
              <a:cxnLst/>
              <a:rect l="l" t="t" r="r" b="b"/>
              <a:pathLst>
                <a:path w="271" h="82" extrusionOk="0">
                  <a:moveTo>
                    <a:pt x="1" y="81"/>
                  </a:moveTo>
                  <a:cubicBezTo>
                    <a:pt x="81" y="32"/>
                    <a:pt x="176" y="4"/>
                    <a:pt x="270" y="1"/>
                  </a:cubicBezTo>
                  <a:cubicBezTo>
                    <a:pt x="176" y="4"/>
                    <a:pt x="81" y="32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5" name="Google Shape;6935;p53"/>
            <p:cNvSpPr/>
            <p:nvPr/>
          </p:nvSpPr>
          <p:spPr>
            <a:xfrm>
              <a:off x="3018632" y="1682254"/>
              <a:ext cx="2715" cy="1494"/>
            </a:xfrm>
            <a:custGeom>
              <a:avLst/>
              <a:gdLst/>
              <a:ahLst/>
              <a:cxnLst/>
              <a:rect l="l" t="t" r="r" b="b"/>
              <a:pathLst>
                <a:path w="200" h="110" extrusionOk="0">
                  <a:moveTo>
                    <a:pt x="165" y="1"/>
                  </a:moveTo>
                  <a:cubicBezTo>
                    <a:pt x="127" y="1"/>
                    <a:pt x="80" y="38"/>
                    <a:pt x="0" y="110"/>
                  </a:cubicBezTo>
                  <a:cubicBezTo>
                    <a:pt x="79" y="38"/>
                    <a:pt x="129" y="1"/>
                    <a:pt x="166" y="1"/>
                  </a:cubicBezTo>
                  <a:lnTo>
                    <a:pt x="166" y="1"/>
                  </a:lnTo>
                  <a:cubicBezTo>
                    <a:pt x="178" y="1"/>
                    <a:pt x="189" y="4"/>
                    <a:pt x="200" y="12"/>
                  </a:cubicBezTo>
                  <a:cubicBezTo>
                    <a:pt x="189" y="4"/>
                    <a:pt x="179" y="1"/>
                    <a:pt x="167" y="1"/>
                  </a:cubicBezTo>
                  <a:cubicBezTo>
                    <a:pt x="167" y="1"/>
                    <a:pt x="166" y="1"/>
                    <a:pt x="166" y="1"/>
                  </a:cubicBezTo>
                  <a:lnTo>
                    <a:pt x="166" y="1"/>
                  </a:lnTo>
                  <a:cubicBezTo>
                    <a:pt x="166" y="1"/>
                    <a:pt x="166" y="1"/>
                    <a:pt x="16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6" name="Google Shape;6936;p53"/>
            <p:cNvSpPr/>
            <p:nvPr/>
          </p:nvSpPr>
          <p:spPr>
            <a:xfrm>
              <a:off x="2985965" y="1626560"/>
              <a:ext cx="3720" cy="8608"/>
            </a:xfrm>
            <a:custGeom>
              <a:avLst/>
              <a:gdLst/>
              <a:ahLst/>
              <a:cxnLst/>
              <a:rect l="l" t="t" r="r" b="b"/>
              <a:pathLst>
                <a:path w="274" h="634" extrusionOk="0">
                  <a:moveTo>
                    <a:pt x="127" y="266"/>
                  </a:moveTo>
                  <a:cubicBezTo>
                    <a:pt x="78" y="179"/>
                    <a:pt x="36" y="91"/>
                    <a:pt x="1" y="0"/>
                  </a:cubicBezTo>
                  <a:cubicBezTo>
                    <a:pt x="36" y="91"/>
                    <a:pt x="78" y="179"/>
                    <a:pt x="127" y="266"/>
                  </a:cubicBezTo>
                  <a:cubicBezTo>
                    <a:pt x="214" y="434"/>
                    <a:pt x="274" y="550"/>
                    <a:pt x="270" y="634"/>
                  </a:cubicBezTo>
                  <a:cubicBezTo>
                    <a:pt x="274" y="550"/>
                    <a:pt x="214" y="434"/>
                    <a:pt x="127" y="26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7" name="Google Shape;6937;p53"/>
            <p:cNvSpPr/>
            <p:nvPr/>
          </p:nvSpPr>
          <p:spPr>
            <a:xfrm>
              <a:off x="2972944" y="1604741"/>
              <a:ext cx="1724" cy="1344"/>
            </a:xfrm>
            <a:custGeom>
              <a:avLst/>
              <a:gdLst/>
              <a:ahLst/>
              <a:cxnLst/>
              <a:rect l="l" t="t" r="r" b="b"/>
              <a:pathLst>
                <a:path w="127" h="99" extrusionOk="0">
                  <a:moveTo>
                    <a:pt x="1" y="0"/>
                  </a:moveTo>
                  <a:cubicBezTo>
                    <a:pt x="39" y="39"/>
                    <a:pt x="81" y="74"/>
                    <a:pt x="127" y="98"/>
                  </a:cubicBezTo>
                  <a:cubicBezTo>
                    <a:pt x="81" y="74"/>
                    <a:pt x="39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8" name="Google Shape;6938;p53"/>
            <p:cNvSpPr/>
            <p:nvPr/>
          </p:nvSpPr>
          <p:spPr>
            <a:xfrm>
              <a:off x="3042013" y="1660069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cubicBezTo>
                    <a:pt x="4" y="11"/>
                    <a:pt x="4" y="21"/>
                    <a:pt x="4" y="32"/>
                  </a:cubicBezTo>
                  <a:cubicBezTo>
                    <a:pt x="4" y="21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9" name="Google Shape;6939;p53"/>
            <p:cNvSpPr/>
            <p:nvPr/>
          </p:nvSpPr>
          <p:spPr>
            <a:xfrm>
              <a:off x="3015876" y="1695628"/>
              <a:ext cx="475" cy="4046"/>
            </a:xfrm>
            <a:custGeom>
              <a:avLst/>
              <a:gdLst/>
              <a:ahLst/>
              <a:cxnLst/>
              <a:rect l="l" t="t" r="r" b="b"/>
              <a:pathLst>
                <a:path w="35" h="298" extrusionOk="0">
                  <a:moveTo>
                    <a:pt x="0" y="1"/>
                  </a:moveTo>
                  <a:lnTo>
                    <a:pt x="0" y="1"/>
                  </a:lnTo>
                  <a:cubicBezTo>
                    <a:pt x="31" y="74"/>
                    <a:pt x="31" y="179"/>
                    <a:pt x="35" y="298"/>
                  </a:cubicBezTo>
                  <a:cubicBezTo>
                    <a:pt x="31" y="175"/>
                    <a:pt x="31" y="7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0" name="Google Shape;6940;p53"/>
            <p:cNvSpPr/>
            <p:nvPr/>
          </p:nvSpPr>
          <p:spPr>
            <a:xfrm>
              <a:off x="2961824" y="160112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1" name="Google Shape;6941;p53"/>
            <p:cNvSpPr/>
            <p:nvPr/>
          </p:nvSpPr>
          <p:spPr>
            <a:xfrm>
              <a:off x="2989291" y="163710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1"/>
                  </a:moveTo>
                  <a:cubicBezTo>
                    <a:pt x="4" y="14"/>
                    <a:pt x="1" y="7"/>
                    <a:pt x="1" y="0"/>
                  </a:cubicBezTo>
                  <a:cubicBezTo>
                    <a:pt x="1" y="7"/>
                    <a:pt x="4" y="14"/>
                    <a:pt x="4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2" name="Google Shape;6942;p53"/>
            <p:cNvSpPr/>
            <p:nvPr/>
          </p:nvSpPr>
          <p:spPr>
            <a:xfrm>
              <a:off x="2977845" y="1610973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0" y="28"/>
                  </a:moveTo>
                  <a:cubicBezTo>
                    <a:pt x="4" y="18"/>
                    <a:pt x="4" y="11"/>
                    <a:pt x="7" y="0"/>
                  </a:cubicBezTo>
                  <a:cubicBezTo>
                    <a:pt x="4" y="11"/>
                    <a:pt x="4" y="18"/>
                    <a:pt x="0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3" name="Google Shape;6943;p53"/>
            <p:cNvSpPr/>
            <p:nvPr/>
          </p:nvSpPr>
          <p:spPr>
            <a:xfrm>
              <a:off x="2962829" y="160150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4" name="Google Shape;6944;p53"/>
            <p:cNvSpPr/>
            <p:nvPr/>
          </p:nvSpPr>
          <p:spPr>
            <a:xfrm>
              <a:off x="2955117" y="1600464"/>
              <a:ext cx="2444" cy="339"/>
            </a:xfrm>
            <a:custGeom>
              <a:avLst/>
              <a:gdLst/>
              <a:ahLst/>
              <a:cxnLst/>
              <a:rect l="l" t="t" r="r" b="b"/>
              <a:pathLst>
                <a:path w="180" h="25" extrusionOk="0">
                  <a:moveTo>
                    <a:pt x="179" y="25"/>
                  </a:moveTo>
                  <a:cubicBezTo>
                    <a:pt x="120" y="25"/>
                    <a:pt x="60" y="18"/>
                    <a:pt x="1" y="0"/>
                  </a:cubicBezTo>
                  <a:cubicBezTo>
                    <a:pt x="60" y="18"/>
                    <a:pt x="120" y="25"/>
                    <a:pt x="17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5" name="Google Shape;6945;p53"/>
            <p:cNvSpPr/>
            <p:nvPr/>
          </p:nvSpPr>
          <p:spPr>
            <a:xfrm>
              <a:off x="2998429" y="164125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11" y="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6" name="Google Shape;6946;p53"/>
            <p:cNvSpPr/>
            <p:nvPr/>
          </p:nvSpPr>
          <p:spPr>
            <a:xfrm>
              <a:off x="2694931" y="1641956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0" y="1"/>
                  </a:moveTo>
                  <a:lnTo>
                    <a:pt x="32" y="1"/>
                  </a:lnTo>
                  <a:cubicBezTo>
                    <a:pt x="21" y="1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7" name="Google Shape;6947;p53"/>
            <p:cNvSpPr/>
            <p:nvPr/>
          </p:nvSpPr>
          <p:spPr>
            <a:xfrm>
              <a:off x="2697538" y="1642337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1" y="1"/>
                  </a:moveTo>
                  <a:lnTo>
                    <a:pt x="1" y="1"/>
                  </a:lnTo>
                  <a:cubicBezTo>
                    <a:pt x="15" y="4"/>
                    <a:pt x="32" y="8"/>
                    <a:pt x="50" y="8"/>
                  </a:cubicBezTo>
                  <a:lnTo>
                    <a:pt x="25" y="4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8" name="Google Shape;6948;p53"/>
            <p:cNvSpPr/>
            <p:nvPr/>
          </p:nvSpPr>
          <p:spPr>
            <a:xfrm>
              <a:off x="2409736" y="1625609"/>
              <a:ext cx="1534" cy="1344"/>
            </a:xfrm>
            <a:custGeom>
              <a:avLst/>
              <a:gdLst/>
              <a:ahLst/>
              <a:cxnLst/>
              <a:rect l="l" t="t" r="r" b="b"/>
              <a:pathLst>
                <a:path w="113" h="99" extrusionOk="0">
                  <a:moveTo>
                    <a:pt x="112" y="0"/>
                  </a:moveTo>
                  <a:cubicBezTo>
                    <a:pt x="95" y="53"/>
                    <a:pt x="53" y="88"/>
                    <a:pt x="0" y="98"/>
                  </a:cubicBezTo>
                  <a:cubicBezTo>
                    <a:pt x="53" y="88"/>
                    <a:pt x="95" y="53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9" name="Google Shape;6949;p53"/>
            <p:cNvSpPr/>
            <p:nvPr/>
          </p:nvSpPr>
          <p:spPr>
            <a:xfrm>
              <a:off x="2425798" y="1617761"/>
              <a:ext cx="2824" cy="828"/>
            </a:xfrm>
            <a:custGeom>
              <a:avLst/>
              <a:gdLst/>
              <a:ahLst/>
              <a:cxnLst/>
              <a:rect l="l" t="t" r="r" b="b"/>
              <a:pathLst>
                <a:path w="208" h="61" extrusionOk="0">
                  <a:moveTo>
                    <a:pt x="148" y="25"/>
                  </a:moveTo>
                  <a:cubicBezTo>
                    <a:pt x="165" y="36"/>
                    <a:pt x="186" y="46"/>
                    <a:pt x="207" y="60"/>
                  </a:cubicBezTo>
                  <a:cubicBezTo>
                    <a:pt x="186" y="46"/>
                    <a:pt x="165" y="36"/>
                    <a:pt x="148" y="25"/>
                  </a:cubicBezTo>
                  <a:cubicBezTo>
                    <a:pt x="102" y="4"/>
                    <a:pt x="50" y="1"/>
                    <a:pt x="0" y="11"/>
                  </a:cubicBezTo>
                  <a:cubicBezTo>
                    <a:pt x="50" y="1"/>
                    <a:pt x="102" y="4"/>
                    <a:pt x="14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0" name="Google Shape;6950;p53"/>
            <p:cNvSpPr/>
            <p:nvPr/>
          </p:nvSpPr>
          <p:spPr>
            <a:xfrm>
              <a:off x="2458167" y="1627035"/>
              <a:ext cx="4440" cy="828"/>
            </a:xfrm>
            <a:custGeom>
              <a:avLst/>
              <a:gdLst/>
              <a:ahLst/>
              <a:cxnLst/>
              <a:rect l="l" t="t" r="r" b="b"/>
              <a:pathLst>
                <a:path w="327" h="61" extrusionOk="0">
                  <a:moveTo>
                    <a:pt x="1" y="0"/>
                  </a:moveTo>
                  <a:cubicBezTo>
                    <a:pt x="65" y="39"/>
                    <a:pt x="138" y="60"/>
                    <a:pt x="211" y="60"/>
                  </a:cubicBezTo>
                  <a:cubicBezTo>
                    <a:pt x="250" y="60"/>
                    <a:pt x="289" y="54"/>
                    <a:pt x="326" y="42"/>
                  </a:cubicBezTo>
                  <a:lnTo>
                    <a:pt x="326" y="42"/>
                  </a:lnTo>
                  <a:cubicBezTo>
                    <a:pt x="289" y="53"/>
                    <a:pt x="250" y="59"/>
                    <a:pt x="211" y="59"/>
                  </a:cubicBezTo>
                  <a:cubicBezTo>
                    <a:pt x="138" y="59"/>
                    <a:pt x="65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1" name="Google Shape;6951;p53"/>
            <p:cNvSpPr/>
            <p:nvPr/>
          </p:nvSpPr>
          <p:spPr>
            <a:xfrm>
              <a:off x="2567398" y="1580681"/>
              <a:ext cx="5051" cy="1303"/>
            </a:xfrm>
            <a:custGeom>
              <a:avLst/>
              <a:gdLst/>
              <a:ahLst/>
              <a:cxnLst/>
              <a:rect l="l" t="t" r="r" b="b"/>
              <a:pathLst>
                <a:path w="372" h="96" extrusionOk="0">
                  <a:moveTo>
                    <a:pt x="372" y="61"/>
                  </a:moveTo>
                  <a:cubicBezTo>
                    <a:pt x="291" y="96"/>
                    <a:pt x="155" y="71"/>
                    <a:pt x="1" y="1"/>
                  </a:cubicBezTo>
                  <a:cubicBezTo>
                    <a:pt x="155" y="71"/>
                    <a:pt x="291" y="96"/>
                    <a:pt x="372" y="6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2" name="Google Shape;6952;p53"/>
            <p:cNvSpPr/>
            <p:nvPr/>
          </p:nvSpPr>
          <p:spPr>
            <a:xfrm>
              <a:off x="2468336" y="1623505"/>
              <a:ext cx="4100" cy="638"/>
            </a:xfrm>
            <a:custGeom>
              <a:avLst/>
              <a:gdLst/>
              <a:ahLst/>
              <a:cxnLst/>
              <a:rect l="l" t="t" r="r" b="b"/>
              <a:pathLst>
                <a:path w="302" h="47" extrusionOk="0">
                  <a:moveTo>
                    <a:pt x="146" y="0"/>
                  </a:moveTo>
                  <a:cubicBezTo>
                    <a:pt x="91" y="0"/>
                    <a:pt x="38" y="12"/>
                    <a:pt x="1" y="22"/>
                  </a:cubicBezTo>
                  <a:cubicBezTo>
                    <a:pt x="39" y="12"/>
                    <a:pt x="92" y="0"/>
                    <a:pt x="147" y="0"/>
                  </a:cubicBezTo>
                  <a:lnTo>
                    <a:pt x="147" y="0"/>
                  </a:lnTo>
                  <a:cubicBezTo>
                    <a:pt x="202" y="0"/>
                    <a:pt x="258" y="12"/>
                    <a:pt x="302" y="47"/>
                  </a:cubicBezTo>
                  <a:cubicBezTo>
                    <a:pt x="258" y="12"/>
                    <a:pt x="202" y="0"/>
                    <a:pt x="147" y="0"/>
                  </a:cubicBezTo>
                  <a:cubicBezTo>
                    <a:pt x="147" y="0"/>
                    <a:pt x="147" y="0"/>
                    <a:pt x="147" y="0"/>
                  </a:cubicBezTo>
                  <a:lnTo>
                    <a:pt x="147" y="0"/>
                  </a:lnTo>
                  <a:cubicBezTo>
                    <a:pt x="146" y="0"/>
                    <a:pt x="146" y="0"/>
                    <a:pt x="1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3" name="Google Shape;6953;p53"/>
            <p:cNvSpPr/>
            <p:nvPr/>
          </p:nvSpPr>
          <p:spPr>
            <a:xfrm>
              <a:off x="2501995" y="1594001"/>
              <a:ext cx="1914" cy="434"/>
            </a:xfrm>
            <a:custGeom>
              <a:avLst/>
              <a:gdLst/>
              <a:ahLst/>
              <a:cxnLst/>
              <a:rect l="l" t="t" r="r" b="b"/>
              <a:pathLst>
                <a:path w="141" h="32" extrusionOk="0">
                  <a:moveTo>
                    <a:pt x="140" y="4"/>
                  </a:moveTo>
                  <a:cubicBezTo>
                    <a:pt x="91" y="0"/>
                    <a:pt x="42" y="11"/>
                    <a:pt x="0" y="32"/>
                  </a:cubicBezTo>
                  <a:cubicBezTo>
                    <a:pt x="42" y="11"/>
                    <a:pt x="91" y="0"/>
                    <a:pt x="14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4" name="Google Shape;6954;p53"/>
            <p:cNvSpPr/>
            <p:nvPr/>
          </p:nvSpPr>
          <p:spPr>
            <a:xfrm>
              <a:off x="2407020" y="1631787"/>
              <a:ext cx="448" cy="1154"/>
            </a:xfrm>
            <a:custGeom>
              <a:avLst/>
              <a:gdLst/>
              <a:ahLst/>
              <a:cxnLst/>
              <a:rect l="l" t="t" r="r" b="b"/>
              <a:pathLst>
                <a:path w="33" h="85" extrusionOk="0">
                  <a:moveTo>
                    <a:pt x="1" y="0"/>
                  </a:moveTo>
                  <a:lnTo>
                    <a:pt x="4" y="14"/>
                  </a:lnTo>
                  <a:cubicBezTo>
                    <a:pt x="11" y="39"/>
                    <a:pt x="22" y="63"/>
                    <a:pt x="32" y="84"/>
                  </a:cubicBezTo>
                  <a:cubicBezTo>
                    <a:pt x="22" y="63"/>
                    <a:pt x="11" y="39"/>
                    <a:pt x="4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5" name="Google Shape;6955;p53"/>
            <p:cNvSpPr/>
            <p:nvPr/>
          </p:nvSpPr>
          <p:spPr>
            <a:xfrm>
              <a:off x="2480882" y="1622989"/>
              <a:ext cx="638" cy="109"/>
            </a:xfrm>
            <a:custGeom>
              <a:avLst/>
              <a:gdLst/>
              <a:ahLst/>
              <a:cxnLst/>
              <a:rect l="l" t="t" r="r" b="b"/>
              <a:pathLst>
                <a:path w="47" h="8" extrusionOk="0">
                  <a:moveTo>
                    <a:pt x="1" y="1"/>
                  </a:moveTo>
                  <a:cubicBezTo>
                    <a:pt x="15" y="4"/>
                    <a:pt x="32" y="8"/>
                    <a:pt x="46" y="8"/>
                  </a:cubicBezTo>
                  <a:cubicBezTo>
                    <a:pt x="32" y="4"/>
                    <a:pt x="15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6" name="Google Shape;6956;p53"/>
            <p:cNvSpPr/>
            <p:nvPr/>
          </p:nvSpPr>
          <p:spPr>
            <a:xfrm>
              <a:off x="2472898" y="1624509"/>
              <a:ext cx="2634" cy="1208"/>
            </a:xfrm>
            <a:custGeom>
              <a:avLst/>
              <a:gdLst/>
              <a:ahLst/>
              <a:cxnLst/>
              <a:rect l="l" t="t" r="r" b="b"/>
              <a:pathLst>
                <a:path w="194" h="89" extrusionOk="0">
                  <a:moveTo>
                    <a:pt x="193" y="1"/>
                  </a:moveTo>
                  <a:cubicBezTo>
                    <a:pt x="106" y="88"/>
                    <a:pt x="95" y="81"/>
                    <a:pt x="1" y="1"/>
                  </a:cubicBezTo>
                  <a:cubicBezTo>
                    <a:pt x="95" y="81"/>
                    <a:pt x="106" y="88"/>
                    <a:pt x="1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7" name="Google Shape;6957;p53"/>
            <p:cNvSpPr/>
            <p:nvPr/>
          </p:nvSpPr>
          <p:spPr>
            <a:xfrm>
              <a:off x="2643499" y="1625270"/>
              <a:ext cx="1059" cy="1629"/>
            </a:xfrm>
            <a:custGeom>
              <a:avLst/>
              <a:gdLst/>
              <a:ahLst/>
              <a:cxnLst/>
              <a:rect l="l" t="t" r="r" b="b"/>
              <a:pathLst>
                <a:path w="78" h="120" extrusionOk="0">
                  <a:moveTo>
                    <a:pt x="77" y="1"/>
                  </a:moveTo>
                  <a:cubicBezTo>
                    <a:pt x="56" y="43"/>
                    <a:pt x="32" y="85"/>
                    <a:pt x="0" y="120"/>
                  </a:cubicBezTo>
                  <a:cubicBezTo>
                    <a:pt x="32" y="85"/>
                    <a:pt x="56" y="46"/>
                    <a:pt x="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8" name="Google Shape;6958;p53"/>
            <p:cNvSpPr/>
            <p:nvPr/>
          </p:nvSpPr>
          <p:spPr>
            <a:xfrm>
              <a:off x="2626772" y="1600559"/>
              <a:ext cx="9708" cy="13415"/>
            </a:xfrm>
            <a:custGeom>
              <a:avLst/>
              <a:gdLst/>
              <a:ahLst/>
              <a:cxnLst/>
              <a:rect l="l" t="t" r="r" b="b"/>
              <a:pathLst>
                <a:path w="715" h="988" extrusionOk="0">
                  <a:moveTo>
                    <a:pt x="0" y="0"/>
                  </a:moveTo>
                  <a:cubicBezTo>
                    <a:pt x="235" y="238"/>
                    <a:pt x="462" y="588"/>
                    <a:pt x="627" y="848"/>
                  </a:cubicBezTo>
                  <a:cubicBezTo>
                    <a:pt x="462" y="588"/>
                    <a:pt x="235" y="235"/>
                    <a:pt x="0" y="0"/>
                  </a:cubicBezTo>
                  <a:close/>
                  <a:moveTo>
                    <a:pt x="627" y="848"/>
                  </a:moveTo>
                  <a:cubicBezTo>
                    <a:pt x="655" y="900"/>
                    <a:pt x="686" y="946"/>
                    <a:pt x="714" y="988"/>
                  </a:cubicBezTo>
                  <a:cubicBezTo>
                    <a:pt x="686" y="942"/>
                    <a:pt x="658" y="900"/>
                    <a:pt x="627" y="84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9" name="Google Shape;6959;p53"/>
            <p:cNvSpPr/>
            <p:nvPr/>
          </p:nvSpPr>
          <p:spPr>
            <a:xfrm>
              <a:off x="2691319" y="1637245"/>
              <a:ext cx="910" cy="1208"/>
            </a:xfrm>
            <a:custGeom>
              <a:avLst/>
              <a:gdLst/>
              <a:ahLst/>
              <a:cxnLst/>
              <a:rect l="l" t="t" r="r" b="b"/>
              <a:pathLst>
                <a:path w="67" h="89" extrusionOk="0">
                  <a:moveTo>
                    <a:pt x="67" y="89"/>
                  </a:moveTo>
                  <a:cubicBezTo>
                    <a:pt x="60" y="50"/>
                    <a:pt x="35" y="15"/>
                    <a:pt x="0" y="1"/>
                  </a:cubicBezTo>
                  <a:cubicBezTo>
                    <a:pt x="35" y="15"/>
                    <a:pt x="60" y="50"/>
                    <a:pt x="67" y="8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0" name="Google Shape;6960;p53"/>
            <p:cNvSpPr/>
            <p:nvPr/>
          </p:nvSpPr>
          <p:spPr>
            <a:xfrm>
              <a:off x="2692216" y="1638494"/>
              <a:ext cx="1398" cy="2580"/>
            </a:xfrm>
            <a:custGeom>
              <a:avLst/>
              <a:gdLst/>
              <a:ahLst/>
              <a:cxnLst/>
              <a:rect l="l" t="t" r="r" b="b"/>
              <a:pathLst>
                <a:path w="103" h="190" extrusionOk="0">
                  <a:moveTo>
                    <a:pt x="1" y="0"/>
                  </a:moveTo>
                  <a:cubicBezTo>
                    <a:pt x="1" y="7"/>
                    <a:pt x="4" y="14"/>
                    <a:pt x="4" y="21"/>
                  </a:cubicBezTo>
                  <a:cubicBezTo>
                    <a:pt x="18" y="81"/>
                    <a:pt x="50" y="137"/>
                    <a:pt x="95" y="182"/>
                  </a:cubicBezTo>
                  <a:lnTo>
                    <a:pt x="102" y="189"/>
                  </a:lnTo>
                  <a:cubicBezTo>
                    <a:pt x="57" y="140"/>
                    <a:pt x="22" y="84"/>
                    <a:pt x="4" y="18"/>
                  </a:cubicBezTo>
                  <a:cubicBezTo>
                    <a:pt x="4" y="11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1" name="Google Shape;6961;p53"/>
            <p:cNvSpPr/>
            <p:nvPr/>
          </p:nvSpPr>
          <p:spPr>
            <a:xfrm>
              <a:off x="2584125" y="1590959"/>
              <a:ext cx="2390" cy="1005"/>
            </a:xfrm>
            <a:custGeom>
              <a:avLst/>
              <a:gdLst/>
              <a:ahLst/>
              <a:cxnLst/>
              <a:rect l="l" t="t" r="r" b="b"/>
              <a:pathLst>
                <a:path w="176" h="74" extrusionOk="0">
                  <a:moveTo>
                    <a:pt x="176" y="25"/>
                  </a:moveTo>
                  <a:cubicBezTo>
                    <a:pt x="113" y="0"/>
                    <a:pt x="43" y="21"/>
                    <a:pt x="1" y="74"/>
                  </a:cubicBezTo>
                  <a:cubicBezTo>
                    <a:pt x="43" y="21"/>
                    <a:pt x="113" y="0"/>
                    <a:pt x="176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2" name="Google Shape;6962;p53"/>
            <p:cNvSpPr/>
            <p:nvPr/>
          </p:nvSpPr>
          <p:spPr>
            <a:xfrm>
              <a:off x="2673723" y="1629737"/>
              <a:ext cx="3815" cy="3245"/>
            </a:xfrm>
            <a:custGeom>
              <a:avLst/>
              <a:gdLst/>
              <a:ahLst/>
              <a:cxnLst/>
              <a:rect l="l" t="t" r="r" b="b"/>
              <a:pathLst>
                <a:path w="281" h="239" extrusionOk="0">
                  <a:moveTo>
                    <a:pt x="1" y="1"/>
                  </a:moveTo>
                  <a:lnTo>
                    <a:pt x="1" y="1"/>
                  </a:lnTo>
                  <a:cubicBezTo>
                    <a:pt x="88" y="211"/>
                    <a:pt x="214" y="239"/>
                    <a:pt x="281" y="239"/>
                  </a:cubicBezTo>
                  <a:cubicBezTo>
                    <a:pt x="214" y="239"/>
                    <a:pt x="88" y="207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3" name="Google Shape;6963;p53"/>
            <p:cNvSpPr/>
            <p:nvPr/>
          </p:nvSpPr>
          <p:spPr>
            <a:xfrm>
              <a:off x="2619345" y="1593335"/>
              <a:ext cx="1208" cy="2050"/>
            </a:xfrm>
            <a:custGeom>
              <a:avLst/>
              <a:gdLst/>
              <a:ahLst/>
              <a:cxnLst/>
              <a:rect l="l" t="t" r="r" b="b"/>
              <a:pathLst>
                <a:path w="89" h="151" extrusionOk="0">
                  <a:moveTo>
                    <a:pt x="15" y="151"/>
                  </a:moveTo>
                  <a:cubicBezTo>
                    <a:pt x="1" y="98"/>
                    <a:pt x="53" y="35"/>
                    <a:pt x="88" y="0"/>
                  </a:cubicBezTo>
                  <a:cubicBezTo>
                    <a:pt x="53" y="35"/>
                    <a:pt x="1" y="98"/>
                    <a:pt x="15" y="15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4" name="Google Shape;6964;p53"/>
            <p:cNvSpPr/>
            <p:nvPr/>
          </p:nvSpPr>
          <p:spPr>
            <a:xfrm>
              <a:off x="2593969" y="15947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5" name="Google Shape;6965;p53"/>
            <p:cNvSpPr/>
            <p:nvPr/>
          </p:nvSpPr>
          <p:spPr>
            <a:xfrm>
              <a:off x="2594919" y="1599269"/>
              <a:ext cx="299" cy="448"/>
            </a:xfrm>
            <a:custGeom>
              <a:avLst/>
              <a:gdLst/>
              <a:ahLst/>
              <a:cxnLst/>
              <a:rect l="l" t="t" r="r" b="b"/>
              <a:pathLst>
                <a:path w="22" h="33" extrusionOk="0">
                  <a:moveTo>
                    <a:pt x="0" y="32"/>
                  </a:moveTo>
                  <a:cubicBezTo>
                    <a:pt x="4" y="18"/>
                    <a:pt x="11" y="8"/>
                    <a:pt x="21" y="1"/>
                  </a:cubicBezTo>
                  <a:cubicBezTo>
                    <a:pt x="11" y="8"/>
                    <a:pt x="4" y="18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6" name="Google Shape;6966;p53"/>
            <p:cNvSpPr/>
            <p:nvPr/>
          </p:nvSpPr>
          <p:spPr>
            <a:xfrm>
              <a:off x="2600391" y="1598413"/>
              <a:ext cx="1195" cy="163"/>
            </a:xfrm>
            <a:custGeom>
              <a:avLst/>
              <a:gdLst/>
              <a:ahLst/>
              <a:cxnLst/>
              <a:rect l="l" t="t" r="r" b="b"/>
              <a:pathLst>
                <a:path w="88" h="12" extrusionOk="0">
                  <a:moveTo>
                    <a:pt x="88" y="1"/>
                  </a:moveTo>
                  <a:cubicBezTo>
                    <a:pt x="60" y="11"/>
                    <a:pt x="28" y="11"/>
                    <a:pt x="0" y="1"/>
                  </a:cubicBezTo>
                  <a:cubicBezTo>
                    <a:pt x="28" y="11"/>
                    <a:pt x="60" y="11"/>
                    <a:pt x="8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7" name="Google Shape;6967;p53"/>
            <p:cNvSpPr/>
            <p:nvPr/>
          </p:nvSpPr>
          <p:spPr>
            <a:xfrm>
              <a:off x="2607994" y="1592711"/>
              <a:ext cx="4576" cy="2444"/>
            </a:xfrm>
            <a:custGeom>
              <a:avLst/>
              <a:gdLst/>
              <a:ahLst/>
              <a:cxnLst/>
              <a:rect l="l" t="t" r="r" b="b"/>
              <a:pathLst>
                <a:path w="337" h="180" extrusionOk="0">
                  <a:moveTo>
                    <a:pt x="0" y="179"/>
                  </a:moveTo>
                  <a:cubicBezTo>
                    <a:pt x="109" y="155"/>
                    <a:pt x="228" y="74"/>
                    <a:pt x="336" y="1"/>
                  </a:cubicBezTo>
                  <a:cubicBezTo>
                    <a:pt x="228" y="74"/>
                    <a:pt x="109" y="155"/>
                    <a:pt x="0" y="17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8" name="Google Shape;6968;p53"/>
            <p:cNvSpPr/>
            <p:nvPr/>
          </p:nvSpPr>
          <p:spPr>
            <a:xfrm>
              <a:off x="2408921" y="1669763"/>
              <a:ext cx="1113" cy="638"/>
            </a:xfrm>
            <a:custGeom>
              <a:avLst/>
              <a:gdLst/>
              <a:ahLst/>
              <a:cxnLst/>
              <a:rect l="l" t="t" r="r" b="b"/>
              <a:pathLst>
                <a:path w="82" h="47" extrusionOk="0">
                  <a:moveTo>
                    <a:pt x="1" y="1"/>
                  </a:moveTo>
                  <a:cubicBezTo>
                    <a:pt x="25" y="15"/>
                    <a:pt x="53" y="29"/>
                    <a:pt x="81" y="46"/>
                  </a:cubicBezTo>
                  <a:lnTo>
                    <a:pt x="81" y="46"/>
                  </a:lnTo>
                  <a:cubicBezTo>
                    <a:pt x="53" y="29"/>
                    <a:pt x="25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9" name="Google Shape;6969;p53"/>
            <p:cNvSpPr/>
            <p:nvPr/>
          </p:nvSpPr>
          <p:spPr>
            <a:xfrm>
              <a:off x="2397041" y="1656498"/>
              <a:ext cx="3965" cy="489"/>
            </a:xfrm>
            <a:custGeom>
              <a:avLst/>
              <a:gdLst/>
              <a:ahLst/>
              <a:cxnLst/>
              <a:rect l="l" t="t" r="r" b="b"/>
              <a:pathLst>
                <a:path w="292" h="36" extrusionOk="0">
                  <a:moveTo>
                    <a:pt x="0" y="36"/>
                  </a:moveTo>
                  <a:cubicBezTo>
                    <a:pt x="95" y="8"/>
                    <a:pt x="193" y="1"/>
                    <a:pt x="291" y="11"/>
                  </a:cubicBezTo>
                  <a:cubicBezTo>
                    <a:pt x="193" y="1"/>
                    <a:pt x="95" y="8"/>
                    <a:pt x="0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0" name="Google Shape;6970;p53"/>
            <p:cNvSpPr/>
            <p:nvPr/>
          </p:nvSpPr>
          <p:spPr>
            <a:xfrm>
              <a:off x="2395045" y="1656742"/>
              <a:ext cx="2009" cy="530"/>
            </a:xfrm>
            <a:custGeom>
              <a:avLst/>
              <a:gdLst/>
              <a:ahLst/>
              <a:cxnLst/>
              <a:rect l="l" t="t" r="r" b="b"/>
              <a:pathLst>
                <a:path w="148" h="39" extrusionOk="0">
                  <a:moveTo>
                    <a:pt x="0" y="0"/>
                  </a:moveTo>
                  <a:cubicBezTo>
                    <a:pt x="42" y="32"/>
                    <a:pt x="98" y="39"/>
                    <a:pt x="147" y="18"/>
                  </a:cubicBezTo>
                  <a:cubicBezTo>
                    <a:pt x="98" y="39"/>
                    <a:pt x="42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1" name="Google Shape;6971;p53"/>
            <p:cNvSpPr/>
            <p:nvPr/>
          </p:nvSpPr>
          <p:spPr>
            <a:xfrm>
              <a:off x="2498668" y="1608732"/>
              <a:ext cx="679" cy="2919"/>
            </a:xfrm>
            <a:custGeom>
              <a:avLst/>
              <a:gdLst/>
              <a:ahLst/>
              <a:cxnLst/>
              <a:rect l="l" t="t" r="r" b="b"/>
              <a:pathLst>
                <a:path w="50" h="215" extrusionOk="0">
                  <a:moveTo>
                    <a:pt x="49" y="214"/>
                  </a:moveTo>
                  <a:cubicBezTo>
                    <a:pt x="21" y="148"/>
                    <a:pt x="7" y="74"/>
                    <a:pt x="0" y="0"/>
                  </a:cubicBezTo>
                  <a:cubicBezTo>
                    <a:pt x="7" y="74"/>
                    <a:pt x="21" y="148"/>
                    <a:pt x="49" y="2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2" name="Google Shape;6972;p53"/>
            <p:cNvSpPr/>
            <p:nvPr/>
          </p:nvSpPr>
          <p:spPr>
            <a:xfrm>
              <a:off x="2403748" y="1658684"/>
              <a:ext cx="2240" cy="2960"/>
            </a:xfrm>
            <a:custGeom>
              <a:avLst/>
              <a:gdLst/>
              <a:ahLst/>
              <a:cxnLst/>
              <a:rect l="l" t="t" r="r" b="b"/>
              <a:pathLst>
                <a:path w="165" h="218" extrusionOk="0">
                  <a:moveTo>
                    <a:pt x="165" y="218"/>
                  </a:moveTo>
                  <a:cubicBezTo>
                    <a:pt x="105" y="148"/>
                    <a:pt x="49" y="74"/>
                    <a:pt x="0" y="1"/>
                  </a:cubicBezTo>
                  <a:cubicBezTo>
                    <a:pt x="49" y="74"/>
                    <a:pt x="105" y="148"/>
                    <a:pt x="165" y="2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3" name="Google Shape;6973;p53"/>
            <p:cNvSpPr/>
            <p:nvPr/>
          </p:nvSpPr>
          <p:spPr>
            <a:xfrm>
              <a:off x="2475519" y="1622853"/>
              <a:ext cx="4521" cy="1670"/>
            </a:xfrm>
            <a:custGeom>
              <a:avLst/>
              <a:gdLst/>
              <a:ahLst/>
              <a:cxnLst/>
              <a:rect l="l" t="t" r="r" b="b"/>
              <a:pathLst>
                <a:path w="333" h="123" extrusionOk="0">
                  <a:moveTo>
                    <a:pt x="0" y="123"/>
                  </a:moveTo>
                  <a:cubicBezTo>
                    <a:pt x="88" y="42"/>
                    <a:pt x="210" y="0"/>
                    <a:pt x="333" y="7"/>
                  </a:cubicBezTo>
                  <a:cubicBezTo>
                    <a:pt x="210" y="0"/>
                    <a:pt x="88" y="42"/>
                    <a:pt x="0" y="12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4" name="Google Shape;6974;p53"/>
            <p:cNvSpPr/>
            <p:nvPr/>
          </p:nvSpPr>
          <p:spPr>
            <a:xfrm>
              <a:off x="2428608" y="1618576"/>
              <a:ext cx="1195" cy="584"/>
            </a:xfrm>
            <a:custGeom>
              <a:avLst/>
              <a:gdLst/>
              <a:ahLst/>
              <a:cxnLst/>
              <a:rect l="l" t="t" r="r" b="b"/>
              <a:pathLst>
                <a:path w="88" h="43" extrusionOk="0">
                  <a:moveTo>
                    <a:pt x="0" y="0"/>
                  </a:moveTo>
                  <a:cubicBezTo>
                    <a:pt x="28" y="18"/>
                    <a:pt x="56" y="32"/>
                    <a:pt x="88" y="42"/>
                  </a:cubicBezTo>
                  <a:cubicBezTo>
                    <a:pt x="56" y="32"/>
                    <a:pt x="28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5" name="Google Shape;6975;p53"/>
            <p:cNvSpPr/>
            <p:nvPr/>
          </p:nvSpPr>
          <p:spPr>
            <a:xfrm>
              <a:off x="2493862" y="1615480"/>
              <a:ext cx="204" cy="828"/>
            </a:xfrm>
            <a:custGeom>
              <a:avLst/>
              <a:gdLst/>
              <a:ahLst/>
              <a:cxnLst/>
              <a:rect l="l" t="t" r="r" b="b"/>
              <a:pathLst>
                <a:path w="15" h="61" extrusionOk="0">
                  <a:moveTo>
                    <a:pt x="1" y="60"/>
                  </a:moveTo>
                  <a:cubicBezTo>
                    <a:pt x="1" y="39"/>
                    <a:pt x="4" y="22"/>
                    <a:pt x="15" y="1"/>
                  </a:cubicBezTo>
                  <a:cubicBezTo>
                    <a:pt x="4" y="22"/>
                    <a:pt x="1" y="39"/>
                    <a:pt x="1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6" name="Google Shape;6976;p53"/>
            <p:cNvSpPr/>
            <p:nvPr/>
          </p:nvSpPr>
          <p:spPr>
            <a:xfrm>
              <a:off x="2578667" y="1593050"/>
              <a:ext cx="1249" cy="339"/>
            </a:xfrm>
            <a:custGeom>
              <a:avLst/>
              <a:gdLst/>
              <a:ahLst/>
              <a:cxnLst/>
              <a:rect l="l" t="t" r="r" b="b"/>
              <a:pathLst>
                <a:path w="92" h="25" extrusionOk="0">
                  <a:moveTo>
                    <a:pt x="91" y="21"/>
                  </a:moveTo>
                  <a:lnTo>
                    <a:pt x="91" y="21"/>
                  </a:lnTo>
                  <a:cubicBezTo>
                    <a:pt x="60" y="25"/>
                    <a:pt x="32" y="21"/>
                    <a:pt x="7" y="7"/>
                  </a:cubicBezTo>
                  <a:lnTo>
                    <a:pt x="0" y="0"/>
                  </a:lnTo>
                  <a:lnTo>
                    <a:pt x="7" y="7"/>
                  </a:lnTo>
                  <a:cubicBezTo>
                    <a:pt x="32" y="21"/>
                    <a:pt x="60" y="25"/>
                    <a:pt x="9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7" name="Google Shape;6977;p53"/>
            <p:cNvSpPr/>
            <p:nvPr/>
          </p:nvSpPr>
          <p:spPr>
            <a:xfrm>
              <a:off x="2601667" y="159831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8" name="Google Shape;6978;p53"/>
            <p:cNvSpPr/>
            <p:nvPr/>
          </p:nvSpPr>
          <p:spPr>
            <a:xfrm>
              <a:off x="2398561" y="1629913"/>
              <a:ext cx="3340" cy="787"/>
            </a:xfrm>
            <a:custGeom>
              <a:avLst/>
              <a:gdLst/>
              <a:ahLst/>
              <a:cxnLst/>
              <a:rect l="l" t="t" r="r" b="b"/>
              <a:pathLst>
                <a:path w="246" h="58" extrusionOk="0">
                  <a:moveTo>
                    <a:pt x="84" y="0"/>
                  </a:moveTo>
                  <a:cubicBezTo>
                    <a:pt x="56" y="0"/>
                    <a:pt x="27" y="5"/>
                    <a:pt x="1" y="16"/>
                  </a:cubicBezTo>
                  <a:cubicBezTo>
                    <a:pt x="28" y="5"/>
                    <a:pt x="57" y="0"/>
                    <a:pt x="85" y="0"/>
                  </a:cubicBezTo>
                  <a:lnTo>
                    <a:pt x="85" y="0"/>
                  </a:lnTo>
                  <a:cubicBezTo>
                    <a:pt x="142" y="0"/>
                    <a:pt x="199" y="21"/>
                    <a:pt x="246" y="58"/>
                  </a:cubicBezTo>
                  <a:cubicBezTo>
                    <a:pt x="199" y="21"/>
                    <a:pt x="143" y="0"/>
                    <a:pt x="86" y="0"/>
                  </a:cubicBezTo>
                  <a:cubicBezTo>
                    <a:pt x="86" y="0"/>
                    <a:pt x="85" y="0"/>
                    <a:pt x="85" y="0"/>
                  </a:cubicBezTo>
                  <a:lnTo>
                    <a:pt x="85" y="0"/>
                  </a:lnTo>
                  <a:cubicBezTo>
                    <a:pt x="85" y="0"/>
                    <a:pt x="85" y="0"/>
                    <a:pt x="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9" name="Google Shape;6979;p53"/>
            <p:cNvSpPr/>
            <p:nvPr/>
          </p:nvSpPr>
          <p:spPr>
            <a:xfrm>
              <a:off x="2603473" y="1596798"/>
              <a:ext cx="1208" cy="774"/>
            </a:xfrm>
            <a:custGeom>
              <a:avLst/>
              <a:gdLst/>
              <a:ahLst/>
              <a:cxnLst/>
              <a:rect l="l" t="t" r="r" b="b"/>
              <a:pathLst>
                <a:path w="89" h="57" extrusionOk="0">
                  <a:moveTo>
                    <a:pt x="1" y="57"/>
                  </a:moveTo>
                  <a:cubicBezTo>
                    <a:pt x="32" y="39"/>
                    <a:pt x="60" y="18"/>
                    <a:pt x="88" y="1"/>
                  </a:cubicBezTo>
                  <a:cubicBezTo>
                    <a:pt x="60" y="18"/>
                    <a:pt x="32" y="39"/>
                    <a:pt x="1" y="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0" name="Google Shape;6980;p53"/>
            <p:cNvSpPr/>
            <p:nvPr/>
          </p:nvSpPr>
          <p:spPr>
            <a:xfrm>
              <a:off x="2501370" y="1605066"/>
              <a:ext cx="733" cy="109"/>
            </a:xfrm>
            <a:custGeom>
              <a:avLst/>
              <a:gdLst/>
              <a:ahLst/>
              <a:cxnLst/>
              <a:rect l="l" t="t" r="r" b="b"/>
              <a:pathLst>
                <a:path w="54" h="8" extrusionOk="0">
                  <a:moveTo>
                    <a:pt x="1" y="8"/>
                  </a:moveTo>
                  <a:lnTo>
                    <a:pt x="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1" name="Google Shape;6981;p53"/>
            <p:cNvSpPr/>
            <p:nvPr/>
          </p:nvSpPr>
          <p:spPr>
            <a:xfrm>
              <a:off x="2590398" y="159324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2" name="Google Shape;6982;p53"/>
            <p:cNvSpPr/>
            <p:nvPr/>
          </p:nvSpPr>
          <p:spPr>
            <a:xfrm>
              <a:off x="2693587" y="1641047"/>
              <a:ext cx="122" cy="122"/>
            </a:xfrm>
            <a:custGeom>
              <a:avLst/>
              <a:gdLst/>
              <a:ahLst/>
              <a:cxnLst/>
              <a:rect l="l" t="t" r="r" b="b"/>
              <a:pathLst>
                <a:path w="9" h="9" extrusionOk="0">
                  <a:moveTo>
                    <a:pt x="1" y="1"/>
                  </a:moveTo>
                  <a:lnTo>
                    <a:pt x="1" y="1"/>
                  </a:lnTo>
                  <a:lnTo>
                    <a:pt x="8" y="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3" name="Google Shape;6983;p53"/>
            <p:cNvSpPr/>
            <p:nvPr/>
          </p:nvSpPr>
          <p:spPr>
            <a:xfrm>
              <a:off x="2139177" y="2004096"/>
              <a:ext cx="134295" cy="138844"/>
            </a:xfrm>
            <a:custGeom>
              <a:avLst/>
              <a:gdLst/>
              <a:ahLst/>
              <a:cxnLst/>
              <a:rect l="l" t="t" r="r" b="b"/>
              <a:pathLst>
                <a:path w="9891" h="10226" extrusionOk="0">
                  <a:moveTo>
                    <a:pt x="7044" y="1"/>
                  </a:moveTo>
                  <a:cubicBezTo>
                    <a:pt x="7023" y="1"/>
                    <a:pt x="7004" y="3"/>
                    <a:pt x="6988" y="9"/>
                  </a:cubicBezTo>
                  <a:cubicBezTo>
                    <a:pt x="6971" y="12"/>
                    <a:pt x="6957" y="23"/>
                    <a:pt x="6950" y="40"/>
                  </a:cubicBezTo>
                  <a:cubicBezTo>
                    <a:pt x="6891" y="157"/>
                    <a:pt x="6822" y="187"/>
                    <a:pt x="6751" y="187"/>
                  </a:cubicBezTo>
                  <a:cubicBezTo>
                    <a:pt x="6711" y="187"/>
                    <a:pt x="6671" y="178"/>
                    <a:pt x="6631" y="170"/>
                  </a:cubicBezTo>
                  <a:cubicBezTo>
                    <a:pt x="6571" y="156"/>
                    <a:pt x="6512" y="145"/>
                    <a:pt x="6449" y="145"/>
                  </a:cubicBezTo>
                  <a:cubicBezTo>
                    <a:pt x="6232" y="145"/>
                    <a:pt x="6036" y="243"/>
                    <a:pt x="5906" y="306"/>
                  </a:cubicBezTo>
                  <a:cubicBezTo>
                    <a:pt x="5866" y="325"/>
                    <a:pt x="5824" y="332"/>
                    <a:pt x="5781" y="332"/>
                  </a:cubicBezTo>
                  <a:cubicBezTo>
                    <a:pt x="5729" y="332"/>
                    <a:pt x="5677" y="321"/>
                    <a:pt x="5626" y="310"/>
                  </a:cubicBezTo>
                  <a:cubicBezTo>
                    <a:pt x="5587" y="303"/>
                    <a:pt x="5545" y="294"/>
                    <a:pt x="5514" y="294"/>
                  </a:cubicBezTo>
                  <a:cubicBezTo>
                    <a:pt x="5497" y="294"/>
                    <a:pt x="5484" y="297"/>
                    <a:pt x="5476" y="303"/>
                  </a:cubicBezTo>
                  <a:cubicBezTo>
                    <a:pt x="5420" y="338"/>
                    <a:pt x="5360" y="520"/>
                    <a:pt x="5332" y="632"/>
                  </a:cubicBezTo>
                  <a:lnTo>
                    <a:pt x="5318" y="695"/>
                  </a:lnTo>
                  <a:lnTo>
                    <a:pt x="4184" y="478"/>
                  </a:lnTo>
                  <a:lnTo>
                    <a:pt x="4170" y="453"/>
                  </a:lnTo>
                  <a:cubicBezTo>
                    <a:pt x="4117" y="376"/>
                    <a:pt x="3949" y="180"/>
                    <a:pt x="3785" y="180"/>
                  </a:cubicBezTo>
                  <a:cubicBezTo>
                    <a:pt x="3641" y="180"/>
                    <a:pt x="3403" y="415"/>
                    <a:pt x="3277" y="572"/>
                  </a:cubicBezTo>
                  <a:lnTo>
                    <a:pt x="3277" y="912"/>
                  </a:lnTo>
                  <a:cubicBezTo>
                    <a:pt x="3277" y="919"/>
                    <a:pt x="3281" y="926"/>
                    <a:pt x="3281" y="933"/>
                  </a:cubicBezTo>
                  <a:cubicBezTo>
                    <a:pt x="3281" y="943"/>
                    <a:pt x="3281" y="947"/>
                    <a:pt x="3284" y="954"/>
                  </a:cubicBezTo>
                  <a:cubicBezTo>
                    <a:pt x="3288" y="961"/>
                    <a:pt x="3284" y="971"/>
                    <a:pt x="3288" y="978"/>
                  </a:cubicBezTo>
                  <a:cubicBezTo>
                    <a:pt x="3288" y="989"/>
                    <a:pt x="3288" y="992"/>
                    <a:pt x="3288" y="999"/>
                  </a:cubicBezTo>
                  <a:lnTo>
                    <a:pt x="3288" y="1024"/>
                  </a:lnTo>
                  <a:lnTo>
                    <a:pt x="3288" y="1045"/>
                  </a:lnTo>
                  <a:lnTo>
                    <a:pt x="3288" y="1069"/>
                  </a:lnTo>
                  <a:lnTo>
                    <a:pt x="3288" y="1087"/>
                  </a:lnTo>
                  <a:lnTo>
                    <a:pt x="3288" y="1111"/>
                  </a:lnTo>
                  <a:lnTo>
                    <a:pt x="3288" y="1132"/>
                  </a:lnTo>
                  <a:lnTo>
                    <a:pt x="3288" y="1157"/>
                  </a:lnTo>
                  <a:lnTo>
                    <a:pt x="3288" y="1174"/>
                  </a:lnTo>
                  <a:cubicBezTo>
                    <a:pt x="3288" y="1181"/>
                    <a:pt x="3288" y="1188"/>
                    <a:pt x="3284" y="1195"/>
                  </a:cubicBezTo>
                  <a:cubicBezTo>
                    <a:pt x="3281" y="1202"/>
                    <a:pt x="3284" y="1209"/>
                    <a:pt x="3281" y="1216"/>
                  </a:cubicBezTo>
                  <a:cubicBezTo>
                    <a:pt x="3281" y="1223"/>
                    <a:pt x="3281" y="1230"/>
                    <a:pt x="3281" y="1237"/>
                  </a:cubicBezTo>
                  <a:cubicBezTo>
                    <a:pt x="3277" y="1244"/>
                    <a:pt x="3281" y="1251"/>
                    <a:pt x="3277" y="1258"/>
                  </a:cubicBezTo>
                  <a:cubicBezTo>
                    <a:pt x="3274" y="1265"/>
                    <a:pt x="3274" y="1269"/>
                    <a:pt x="3274" y="1276"/>
                  </a:cubicBezTo>
                  <a:cubicBezTo>
                    <a:pt x="3270" y="1283"/>
                    <a:pt x="3270" y="1290"/>
                    <a:pt x="3267" y="1297"/>
                  </a:cubicBezTo>
                  <a:cubicBezTo>
                    <a:pt x="3267" y="1304"/>
                    <a:pt x="3267" y="1307"/>
                    <a:pt x="3263" y="1314"/>
                  </a:cubicBezTo>
                  <a:cubicBezTo>
                    <a:pt x="3263" y="1318"/>
                    <a:pt x="3260" y="1328"/>
                    <a:pt x="3260" y="1335"/>
                  </a:cubicBezTo>
                  <a:lnTo>
                    <a:pt x="3256" y="1349"/>
                  </a:lnTo>
                  <a:cubicBezTo>
                    <a:pt x="3256" y="1356"/>
                    <a:pt x="3249" y="1363"/>
                    <a:pt x="3249" y="1370"/>
                  </a:cubicBezTo>
                  <a:lnTo>
                    <a:pt x="3246" y="1384"/>
                  </a:lnTo>
                  <a:cubicBezTo>
                    <a:pt x="3242" y="1391"/>
                    <a:pt x="3239" y="1398"/>
                    <a:pt x="3239" y="1405"/>
                  </a:cubicBezTo>
                  <a:lnTo>
                    <a:pt x="3235" y="1416"/>
                  </a:lnTo>
                  <a:cubicBezTo>
                    <a:pt x="3232" y="1423"/>
                    <a:pt x="3228" y="1430"/>
                    <a:pt x="3225" y="1437"/>
                  </a:cubicBezTo>
                  <a:lnTo>
                    <a:pt x="3221" y="1447"/>
                  </a:lnTo>
                  <a:lnTo>
                    <a:pt x="3214" y="1465"/>
                  </a:lnTo>
                  <a:lnTo>
                    <a:pt x="3207" y="1475"/>
                  </a:lnTo>
                  <a:lnTo>
                    <a:pt x="3200" y="1493"/>
                  </a:lnTo>
                  <a:cubicBezTo>
                    <a:pt x="3197" y="1503"/>
                    <a:pt x="3190" y="1510"/>
                    <a:pt x="3186" y="1517"/>
                  </a:cubicBezTo>
                  <a:cubicBezTo>
                    <a:pt x="3165" y="1552"/>
                    <a:pt x="3144" y="1580"/>
                    <a:pt x="3127" y="1612"/>
                  </a:cubicBezTo>
                  <a:cubicBezTo>
                    <a:pt x="3050" y="1724"/>
                    <a:pt x="2994" y="1808"/>
                    <a:pt x="2994" y="2060"/>
                  </a:cubicBezTo>
                  <a:cubicBezTo>
                    <a:pt x="2994" y="2253"/>
                    <a:pt x="2878" y="2491"/>
                    <a:pt x="2770" y="2722"/>
                  </a:cubicBezTo>
                  <a:cubicBezTo>
                    <a:pt x="2682" y="2907"/>
                    <a:pt x="2588" y="3096"/>
                    <a:pt x="2588" y="3208"/>
                  </a:cubicBezTo>
                  <a:cubicBezTo>
                    <a:pt x="2588" y="3390"/>
                    <a:pt x="2430" y="3520"/>
                    <a:pt x="2286" y="3635"/>
                  </a:cubicBezTo>
                  <a:cubicBezTo>
                    <a:pt x="2209" y="3695"/>
                    <a:pt x="2115" y="3772"/>
                    <a:pt x="2115" y="3817"/>
                  </a:cubicBezTo>
                  <a:cubicBezTo>
                    <a:pt x="2115" y="3887"/>
                    <a:pt x="2111" y="3992"/>
                    <a:pt x="2104" y="4108"/>
                  </a:cubicBezTo>
                  <a:cubicBezTo>
                    <a:pt x="2094" y="4287"/>
                    <a:pt x="2080" y="4511"/>
                    <a:pt x="2080" y="4728"/>
                  </a:cubicBezTo>
                  <a:cubicBezTo>
                    <a:pt x="2080" y="4931"/>
                    <a:pt x="2020" y="4987"/>
                    <a:pt x="1926" y="5008"/>
                  </a:cubicBezTo>
                  <a:cubicBezTo>
                    <a:pt x="1898" y="5018"/>
                    <a:pt x="1880" y="5022"/>
                    <a:pt x="1880" y="5134"/>
                  </a:cubicBezTo>
                  <a:cubicBezTo>
                    <a:pt x="1880" y="5375"/>
                    <a:pt x="1786" y="5407"/>
                    <a:pt x="1674" y="5421"/>
                  </a:cubicBezTo>
                  <a:cubicBezTo>
                    <a:pt x="1618" y="5424"/>
                    <a:pt x="1562" y="5445"/>
                    <a:pt x="1523" y="5484"/>
                  </a:cubicBezTo>
                  <a:cubicBezTo>
                    <a:pt x="1414" y="5593"/>
                    <a:pt x="1345" y="5650"/>
                    <a:pt x="1286" y="5650"/>
                  </a:cubicBezTo>
                  <a:cubicBezTo>
                    <a:pt x="1272" y="5650"/>
                    <a:pt x="1259" y="5647"/>
                    <a:pt x="1247" y="5641"/>
                  </a:cubicBezTo>
                  <a:cubicBezTo>
                    <a:pt x="1173" y="5613"/>
                    <a:pt x="1173" y="5515"/>
                    <a:pt x="1173" y="5473"/>
                  </a:cubicBezTo>
                  <a:cubicBezTo>
                    <a:pt x="1177" y="5445"/>
                    <a:pt x="1159" y="5417"/>
                    <a:pt x="1131" y="5407"/>
                  </a:cubicBezTo>
                  <a:cubicBezTo>
                    <a:pt x="1114" y="5399"/>
                    <a:pt x="1093" y="5395"/>
                    <a:pt x="1069" y="5395"/>
                  </a:cubicBezTo>
                  <a:cubicBezTo>
                    <a:pt x="1005" y="5395"/>
                    <a:pt x="921" y="5423"/>
                    <a:pt x="841" y="5491"/>
                  </a:cubicBezTo>
                  <a:cubicBezTo>
                    <a:pt x="762" y="5557"/>
                    <a:pt x="696" y="5579"/>
                    <a:pt x="640" y="5579"/>
                  </a:cubicBezTo>
                  <a:cubicBezTo>
                    <a:pt x="563" y="5579"/>
                    <a:pt x="507" y="5535"/>
                    <a:pt x="466" y="5505"/>
                  </a:cubicBezTo>
                  <a:cubicBezTo>
                    <a:pt x="449" y="5491"/>
                    <a:pt x="431" y="5480"/>
                    <a:pt x="414" y="5470"/>
                  </a:cubicBezTo>
                  <a:lnTo>
                    <a:pt x="389" y="5470"/>
                  </a:lnTo>
                  <a:lnTo>
                    <a:pt x="379" y="5473"/>
                  </a:lnTo>
                  <a:lnTo>
                    <a:pt x="372" y="5477"/>
                  </a:lnTo>
                  <a:lnTo>
                    <a:pt x="364" y="5480"/>
                  </a:lnTo>
                  <a:lnTo>
                    <a:pt x="354" y="5484"/>
                  </a:lnTo>
                  <a:lnTo>
                    <a:pt x="347" y="5487"/>
                  </a:lnTo>
                  <a:lnTo>
                    <a:pt x="336" y="5491"/>
                  </a:lnTo>
                  <a:lnTo>
                    <a:pt x="326" y="5498"/>
                  </a:lnTo>
                  <a:lnTo>
                    <a:pt x="312" y="5501"/>
                  </a:lnTo>
                  <a:lnTo>
                    <a:pt x="301" y="5508"/>
                  </a:lnTo>
                  <a:lnTo>
                    <a:pt x="287" y="5515"/>
                  </a:lnTo>
                  <a:lnTo>
                    <a:pt x="273" y="5522"/>
                  </a:lnTo>
                  <a:lnTo>
                    <a:pt x="263" y="5529"/>
                  </a:lnTo>
                  <a:lnTo>
                    <a:pt x="245" y="5536"/>
                  </a:lnTo>
                  <a:lnTo>
                    <a:pt x="231" y="5547"/>
                  </a:lnTo>
                  <a:lnTo>
                    <a:pt x="214" y="5554"/>
                  </a:lnTo>
                  <a:lnTo>
                    <a:pt x="200" y="5564"/>
                  </a:lnTo>
                  <a:lnTo>
                    <a:pt x="182" y="5575"/>
                  </a:lnTo>
                  <a:lnTo>
                    <a:pt x="165" y="5585"/>
                  </a:lnTo>
                  <a:lnTo>
                    <a:pt x="144" y="5599"/>
                  </a:lnTo>
                  <a:lnTo>
                    <a:pt x="126" y="5610"/>
                  </a:lnTo>
                  <a:lnTo>
                    <a:pt x="105" y="5624"/>
                  </a:lnTo>
                  <a:lnTo>
                    <a:pt x="88" y="5634"/>
                  </a:lnTo>
                  <a:lnTo>
                    <a:pt x="63" y="5648"/>
                  </a:lnTo>
                  <a:lnTo>
                    <a:pt x="46" y="5662"/>
                  </a:lnTo>
                  <a:lnTo>
                    <a:pt x="14" y="5683"/>
                  </a:lnTo>
                  <a:lnTo>
                    <a:pt x="0" y="5690"/>
                  </a:lnTo>
                  <a:cubicBezTo>
                    <a:pt x="74" y="5862"/>
                    <a:pt x="130" y="6037"/>
                    <a:pt x="168" y="6219"/>
                  </a:cubicBezTo>
                  <a:lnTo>
                    <a:pt x="172" y="6216"/>
                  </a:lnTo>
                  <a:lnTo>
                    <a:pt x="217" y="6187"/>
                  </a:lnTo>
                  <a:lnTo>
                    <a:pt x="259" y="6163"/>
                  </a:lnTo>
                  <a:lnTo>
                    <a:pt x="266" y="6156"/>
                  </a:lnTo>
                  <a:lnTo>
                    <a:pt x="301" y="6138"/>
                  </a:lnTo>
                  <a:lnTo>
                    <a:pt x="308" y="6135"/>
                  </a:lnTo>
                  <a:lnTo>
                    <a:pt x="336" y="6121"/>
                  </a:lnTo>
                  <a:lnTo>
                    <a:pt x="340" y="6121"/>
                  </a:lnTo>
                  <a:lnTo>
                    <a:pt x="361" y="6114"/>
                  </a:lnTo>
                  <a:lnTo>
                    <a:pt x="364" y="6114"/>
                  </a:lnTo>
                  <a:lnTo>
                    <a:pt x="386" y="6107"/>
                  </a:lnTo>
                  <a:lnTo>
                    <a:pt x="389" y="6107"/>
                  </a:lnTo>
                  <a:lnTo>
                    <a:pt x="407" y="6100"/>
                  </a:lnTo>
                  <a:lnTo>
                    <a:pt x="424" y="6100"/>
                  </a:lnTo>
                  <a:cubicBezTo>
                    <a:pt x="482" y="6091"/>
                    <a:pt x="692" y="6088"/>
                    <a:pt x="949" y="6088"/>
                  </a:cubicBezTo>
                  <a:cubicBezTo>
                    <a:pt x="1462" y="6088"/>
                    <a:pt x="2162" y="6100"/>
                    <a:pt x="2206" y="6100"/>
                  </a:cubicBezTo>
                  <a:lnTo>
                    <a:pt x="2241" y="6100"/>
                  </a:lnTo>
                  <a:lnTo>
                    <a:pt x="2258" y="6128"/>
                  </a:lnTo>
                  <a:cubicBezTo>
                    <a:pt x="2265" y="6142"/>
                    <a:pt x="2419" y="6398"/>
                    <a:pt x="2363" y="6639"/>
                  </a:cubicBezTo>
                  <a:cubicBezTo>
                    <a:pt x="2346" y="6720"/>
                    <a:pt x="2353" y="6723"/>
                    <a:pt x="2398" y="6762"/>
                  </a:cubicBezTo>
                  <a:cubicBezTo>
                    <a:pt x="2483" y="6828"/>
                    <a:pt x="2542" y="6916"/>
                    <a:pt x="2581" y="7010"/>
                  </a:cubicBezTo>
                  <a:cubicBezTo>
                    <a:pt x="2677" y="7245"/>
                    <a:pt x="2746" y="7332"/>
                    <a:pt x="2860" y="7332"/>
                  </a:cubicBezTo>
                  <a:cubicBezTo>
                    <a:pt x="2890" y="7332"/>
                    <a:pt x="2924" y="7326"/>
                    <a:pt x="2962" y="7315"/>
                  </a:cubicBezTo>
                  <a:cubicBezTo>
                    <a:pt x="3152" y="7257"/>
                    <a:pt x="3395" y="7207"/>
                    <a:pt x="3542" y="7207"/>
                  </a:cubicBezTo>
                  <a:cubicBezTo>
                    <a:pt x="3563" y="7207"/>
                    <a:pt x="3583" y="7208"/>
                    <a:pt x="3599" y="7210"/>
                  </a:cubicBezTo>
                  <a:cubicBezTo>
                    <a:pt x="3613" y="7168"/>
                    <a:pt x="3624" y="7126"/>
                    <a:pt x="3634" y="7080"/>
                  </a:cubicBezTo>
                  <a:cubicBezTo>
                    <a:pt x="3662" y="6944"/>
                    <a:pt x="3694" y="6786"/>
                    <a:pt x="3799" y="6734"/>
                  </a:cubicBezTo>
                  <a:cubicBezTo>
                    <a:pt x="3859" y="6704"/>
                    <a:pt x="3936" y="6694"/>
                    <a:pt x="4011" y="6694"/>
                  </a:cubicBezTo>
                  <a:cubicBezTo>
                    <a:pt x="4140" y="6694"/>
                    <a:pt x="4262" y="6723"/>
                    <a:pt x="4282" y="6730"/>
                  </a:cubicBezTo>
                  <a:lnTo>
                    <a:pt x="4320" y="6741"/>
                  </a:lnTo>
                  <a:lnTo>
                    <a:pt x="4331" y="6779"/>
                  </a:lnTo>
                  <a:cubicBezTo>
                    <a:pt x="4331" y="6779"/>
                    <a:pt x="4355" y="6849"/>
                    <a:pt x="4531" y="6849"/>
                  </a:cubicBezTo>
                  <a:cubicBezTo>
                    <a:pt x="4594" y="6849"/>
                    <a:pt x="4657" y="6842"/>
                    <a:pt x="4716" y="6832"/>
                  </a:cubicBezTo>
                  <a:cubicBezTo>
                    <a:pt x="4752" y="6827"/>
                    <a:pt x="4785" y="6822"/>
                    <a:pt x="4815" y="6822"/>
                  </a:cubicBezTo>
                  <a:cubicBezTo>
                    <a:pt x="4853" y="6822"/>
                    <a:pt x="4885" y="6829"/>
                    <a:pt x="4912" y="6853"/>
                  </a:cubicBezTo>
                  <a:cubicBezTo>
                    <a:pt x="4947" y="6888"/>
                    <a:pt x="4965" y="6937"/>
                    <a:pt x="4961" y="6986"/>
                  </a:cubicBezTo>
                  <a:cubicBezTo>
                    <a:pt x="4961" y="7178"/>
                    <a:pt x="4993" y="7329"/>
                    <a:pt x="5038" y="7378"/>
                  </a:cubicBezTo>
                  <a:cubicBezTo>
                    <a:pt x="5094" y="7434"/>
                    <a:pt x="5070" y="7539"/>
                    <a:pt x="5017" y="7759"/>
                  </a:cubicBezTo>
                  <a:cubicBezTo>
                    <a:pt x="4989" y="7871"/>
                    <a:pt x="4930" y="8109"/>
                    <a:pt x="4961" y="8148"/>
                  </a:cubicBezTo>
                  <a:cubicBezTo>
                    <a:pt x="5077" y="8242"/>
                    <a:pt x="5283" y="8484"/>
                    <a:pt x="5252" y="8649"/>
                  </a:cubicBezTo>
                  <a:cubicBezTo>
                    <a:pt x="5248" y="8663"/>
                    <a:pt x="5245" y="8677"/>
                    <a:pt x="5241" y="8694"/>
                  </a:cubicBezTo>
                  <a:cubicBezTo>
                    <a:pt x="5206" y="8869"/>
                    <a:pt x="5192" y="8974"/>
                    <a:pt x="5210" y="9009"/>
                  </a:cubicBezTo>
                  <a:cubicBezTo>
                    <a:pt x="5224" y="8999"/>
                    <a:pt x="5238" y="8988"/>
                    <a:pt x="5248" y="8974"/>
                  </a:cubicBezTo>
                  <a:cubicBezTo>
                    <a:pt x="5304" y="8904"/>
                    <a:pt x="5388" y="8866"/>
                    <a:pt x="5479" y="8862"/>
                  </a:cubicBezTo>
                  <a:lnTo>
                    <a:pt x="5581" y="8862"/>
                  </a:lnTo>
                  <a:cubicBezTo>
                    <a:pt x="5613" y="8863"/>
                    <a:pt x="5645" y="8864"/>
                    <a:pt x="5675" y="8864"/>
                  </a:cubicBezTo>
                  <a:cubicBezTo>
                    <a:pt x="5764" y="8864"/>
                    <a:pt x="5847" y="8856"/>
                    <a:pt x="5938" y="8820"/>
                  </a:cubicBezTo>
                  <a:cubicBezTo>
                    <a:pt x="5964" y="8807"/>
                    <a:pt x="5994" y="8800"/>
                    <a:pt x="6023" y="8800"/>
                  </a:cubicBezTo>
                  <a:cubicBezTo>
                    <a:pt x="6033" y="8800"/>
                    <a:pt x="6043" y="8801"/>
                    <a:pt x="6053" y="8803"/>
                  </a:cubicBezTo>
                  <a:lnTo>
                    <a:pt x="6053" y="8785"/>
                  </a:lnTo>
                  <a:lnTo>
                    <a:pt x="6144" y="8834"/>
                  </a:lnTo>
                  <a:lnTo>
                    <a:pt x="6190" y="8855"/>
                  </a:lnTo>
                  <a:lnTo>
                    <a:pt x="6190" y="8859"/>
                  </a:lnTo>
                  <a:cubicBezTo>
                    <a:pt x="6239" y="8894"/>
                    <a:pt x="6281" y="8939"/>
                    <a:pt x="6316" y="8992"/>
                  </a:cubicBezTo>
                  <a:lnTo>
                    <a:pt x="6319" y="9002"/>
                  </a:lnTo>
                  <a:lnTo>
                    <a:pt x="6326" y="9016"/>
                  </a:lnTo>
                  <a:cubicBezTo>
                    <a:pt x="6333" y="9048"/>
                    <a:pt x="6351" y="9076"/>
                    <a:pt x="6375" y="9097"/>
                  </a:cubicBezTo>
                  <a:lnTo>
                    <a:pt x="6379" y="9097"/>
                  </a:lnTo>
                  <a:cubicBezTo>
                    <a:pt x="6382" y="9097"/>
                    <a:pt x="6552" y="9020"/>
                    <a:pt x="6680" y="9020"/>
                  </a:cubicBezTo>
                  <a:cubicBezTo>
                    <a:pt x="6720" y="9020"/>
                    <a:pt x="6756" y="9028"/>
                    <a:pt x="6782" y="9048"/>
                  </a:cubicBezTo>
                  <a:cubicBezTo>
                    <a:pt x="6810" y="9072"/>
                    <a:pt x="6824" y="9111"/>
                    <a:pt x="6813" y="9149"/>
                  </a:cubicBezTo>
                  <a:cubicBezTo>
                    <a:pt x="6810" y="9202"/>
                    <a:pt x="6824" y="9258"/>
                    <a:pt x="6855" y="9303"/>
                  </a:cubicBezTo>
                  <a:cubicBezTo>
                    <a:pt x="6873" y="9331"/>
                    <a:pt x="6890" y="9342"/>
                    <a:pt x="6894" y="9342"/>
                  </a:cubicBezTo>
                  <a:cubicBezTo>
                    <a:pt x="6914" y="9330"/>
                    <a:pt x="6937" y="9325"/>
                    <a:pt x="6961" y="9325"/>
                  </a:cubicBezTo>
                  <a:cubicBezTo>
                    <a:pt x="7032" y="9325"/>
                    <a:pt x="7116" y="9367"/>
                    <a:pt x="7202" y="9412"/>
                  </a:cubicBezTo>
                  <a:cubicBezTo>
                    <a:pt x="7258" y="9443"/>
                    <a:pt x="7317" y="9468"/>
                    <a:pt x="7380" y="9478"/>
                  </a:cubicBezTo>
                  <a:cubicBezTo>
                    <a:pt x="7394" y="9479"/>
                    <a:pt x="7408" y="9480"/>
                    <a:pt x="7422" y="9480"/>
                  </a:cubicBezTo>
                  <a:cubicBezTo>
                    <a:pt x="7468" y="9480"/>
                    <a:pt x="7512" y="9475"/>
                    <a:pt x="7555" y="9464"/>
                  </a:cubicBezTo>
                  <a:cubicBezTo>
                    <a:pt x="7562" y="9380"/>
                    <a:pt x="7650" y="9296"/>
                    <a:pt x="7727" y="9279"/>
                  </a:cubicBezTo>
                  <a:cubicBezTo>
                    <a:pt x="7737" y="9275"/>
                    <a:pt x="7748" y="9275"/>
                    <a:pt x="7758" y="9275"/>
                  </a:cubicBezTo>
                  <a:lnTo>
                    <a:pt x="7765" y="9275"/>
                  </a:lnTo>
                  <a:cubicBezTo>
                    <a:pt x="7776" y="9275"/>
                    <a:pt x="7786" y="9275"/>
                    <a:pt x="7793" y="9279"/>
                  </a:cubicBezTo>
                  <a:lnTo>
                    <a:pt x="7797" y="9279"/>
                  </a:lnTo>
                  <a:cubicBezTo>
                    <a:pt x="7807" y="9282"/>
                    <a:pt x="7814" y="9286"/>
                    <a:pt x="7825" y="9289"/>
                  </a:cubicBezTo>
                  <a:lnTo>
                    <a:pt x="7828" y="9293"/>
                  </a:lnTo>
                  <a:cubicBezTo>
                    <a:pt x="7835" y="9300"/>
                    <a:pt x="7846" y="9307"/>
                    <a:pt x="7853" y="9314"/>
                  </a:cubicBezTo>
                  <a:lnTo>
                    <a:pt x="7856" y="9317"/>
                  </a:lnTo>
                  <a:cubicBezTo>
                    <a:pt x="7863" y="9328"/>
                    <a:pt x="7870" y="9335"/>
                    <a:pt x="7874" y="9345"/>
                  </a:cubicBezTo>
                  <a:cubicBezTo>
                    <a:pt x="7972" y="9538"/>
                    <a:pt x="8059" y="9625"/>
                    <a:pt x="8105" y="9625"/>
                  </a:cubicBezTo>
                  <a:cubicBezTo>
                    <a:pt x="8121" y="9625"/>
                    <a:pt x="8137" y="9624"/>
                    <a:pt x="8153" y="9624"/>
                  </a:cubicBezTo>
                  <a:cubicBezTo>
                    <a:pt x="8227" y="9624"/>
                    <a:pt x="8298" y="9631"/>
                    <a:pt x="8367" y="9639"/>
                  </a:cubicBezTo>
                  <a:cubicBezTo>
                    <a:pt x="8423" y="9643"/>
                    <a:pt x="8476" y="9657"/>
                    <a:pt x="8521" y="9681"/>
                  </a:cubicBezTo>
                  <a:cubicBezTo>
                    <a:pt x="8528" y="9685"/>
                    <a:pt x="8535" y="9688"/>
                    <a:pt x="8539" y="9695"/>
                  </a:cubicBezTo>
                  <a:lnTo>
                    <a:pt x="8546" y="9699"/>
                  </a:lnTo>
                  <a:cubicBezTo>
                    <a:pt x="8549" y="9702"/>
                    <a:pt x="8556" y="9706"/>
                    <a:pt x="8560" y="9713"/>
                  </a:cubicBezTo>
                  <a:cubicBezTo>
                    <a:pt x="8560" y="9716"/>
                    <a:pt x="8563" y="9720"/>
                    <a:pt x="8563" y="9720"/>
                  </a:cubicBezTo>
                  <a:cubicBezTo>
                    <a:pt x="8567" y="9723"/>
                    <a:pt x="8570" y="9727"/>
                    <a:pt x="8570" y="9730"/>
                  </a:cubicBezTo>
                  <a:cubicBezTo>
                    <a:pt x="8574" y="9734"/>
                    <a:pt x="8574" y="9737"/>
                    <a:pt x="8577" y="9741"/>
                  </a:cubicBezTo>
                  <a:cubicBezTo>
                    <a:pt x="8577" y="9744"/>
                    <a:pt x="8581" y="9748"/>
                    <a:pt x="8581" y="9755"/>
                  </a:cubicBezTo>
                  <a:cubicBezTo>
                    <a:pt x="8581" y="9755"/>
                    <a:pt x="8581" y="9758"/>
                    <a:pt x="8581" y="9762"/>
                  </a:cubicBezTo>
                  <a:cubicBezTo>
                    <a:pt x="8584" y="9769"/>
                    <a:pt x="8584" y="9779"/>
                    <a:pt x="8584" y="9786"/>
                  </a:cubicBezTo>
                  <a:cubicBezTo>
                    <a:pt x="8584" y="9867"/>
                    <a:pt x="8675" y="10115"/>
                    <a:pt x="8777" y="10196"/>
                  </a:cubicBezTo>
                  <a:cubicBezTo>
                    <a:pt x="8804" y="10217"/>
                    <a:pt x="8846" y="10225"/>
                    <a:pt x="8892" y="10225"/>
                  </a:cubicBezTo>
                  <a:cubicBezTo>
                    <a:pt x="8960" y="10225"/>
                    <a:pt x="9038" y="10208"/>
                    <a:pt x="9092" y="10189"/>
                  </a:cubicBezTo>
                  <a:cubicBezTo>
                    <a:pt x="9138" y="10136"/>
                    <a:pt x="9162" y="10070"/>
                    <a:pt x="9159" y="10003"/>
                  </a:cubicBezTo>
                  <a:cubicBezTo>
                    <a:pt x="9159" y="9916"/>
                    <a:pt x="9159" y="9748"/>
                    <a:pt x="9138" y="9688"/>
                  </a:cubicBezTo>
                  <a:cubicBezTo>
                    <a:pt x="9124" y="9695"/>
                    <a:pt x="9106" y="9706"/>
                    <a:pt x="9092" y="9716"/>
                  </a:cubicBezTo>
                  <a:cubicBezTo>
                    <a:pt x="9033" y="9756"/>
                    <a:pt x="8951" y="9811"/>
                    <a:pt x="8848" y="9811"/>
                  </a:cubicBezTo>
                  <a:cubicBezTo>
                    <a:pt x="8823" y="9811"/>
                    <a:pt x="8797" y="9808"/>
                    <a:pt x="8770" y="9800"/>
                  </a:cubicBezTo>
                  <a:cubicBezTo>
                    <a:pt x="8630" y="9762"/>
                    <a:pt x="8539" y="9601"/>
                    <a:pt x="8462" y="9471"/>
                  </a:cubicBezTo>
                  <a:cubicBezTo>
                    <a:pt x="8441" y="9429"/>
                    <a:pt x="8416" y="9391"/>
                    <a:pt x="8385" y="9356"/>
                  </a:cubicBezTo>
                  <a:cubicBezTo>
                    <a:pt x="8301" y="9300"/>
                    <a:pt x="8350" y="9177"/>
                    <a:pt x="8409" y="9020"/>
                  </a:cubicBezTo>
                  <a:cubicBezTo>
                    <a:pt x="8444" y="8946"/>
                    <a:pt x="8465" y="8869"/>
                    <a:pt x="8479" y="8792"/>
                  </a:cubicBezTo>
                  <a:cubicBezTo>
                    <a:pt x="8483" y="8719"/>
                    <a:pt x="8493" y="8645"/>
                    <a:pt x="8507" y="8572"/>
                  </a:cubicBezTo>
                  <a:cubicBezTo>
                    <a:pt x="8521" y="8477"/>
                    <a:pt x="8556" y="8285"/>
                    <a:pt x="8535" y="8239"/>
                  </a:cubicBezTo>
                  <a:cubicBezTo>
                    <a:pt x="8486" y="8214"/>
                    <a:pt x="8458" y="8169"/>
                    <a:pt x="8451" y="8116"/>
                  </a:cubicBezTo>
                  <a:cubicBezTo>
                    <a:pt x="8444" y="8029"/>
                    <a:pt x="8500" y="7920"/>
                    <a:pt x="8602" y="7840"/>
                  </a:cubicBezTo>
                  <a:cubicBezTo>
                    <a:pt x="8630" y="7819"/>
                    <a:pt x="8626" y="7759"/>
                    <a:pt x="8623" y="7703"/>
                  </a:cubicBezTo>
                  <a:cubicBezTo>
                    <a:pt x="8619" y="7633"/>
                    <a:pt x="8616" y="7560"/>
                    <a:pt x="8665" y="7507"/>
                  </a:cubicBezTo>
                  <a:cubicBezTo>
                    <a:pt x="8697" y="7479"/>
                    <a:pt x="8734" y="7465"/>
                    <a:pt x="8774" y="7465"/>
                  </a:cubicBezTo>
                  <a:cubicBezTo>
                    <a:pt x="8778" y="7465"/>
                    <a:pt x="8783" y="7465"/>
                    <a:pt x="8788" y="7465"/>
                  </a:cubicBezTo>
                  <a:lnTo>
                    <a:pt x="8861" y="7465"/>
                  </a:lnTo>
                  <a:cubicBezTo>
                    <a:pt x="8873" y="7465"/>
                    <a:pt x="8886" y="7465"/>
                    <a:pt x="8900" y="7465"/>
                  </a:cubicBezTo>
                  <a:cubicBezTo>
                    <a:pt x="9060" y="7465"/>
                    <a:pt x="9329" y="7462"/>
                    <a:pt x="9397" y="7388"/>
                  </a:cubicBezTo>
                  <a:lnTo>
                    <a:pt x="9411" y="7374"/>
                  </a:lnTo>
                  <a:cubicBezTo>
                    <a:pt x="9418" y="7364"/>
                    <a:pt x="9421" y="7357"/>
                    <a:pt x="9425" y="7346"/>
                  </a:cubicBezTo>
                  <a:lnTo>
                    <a:pt x="9428" y="7336"/>
                  </a:lnTo>
                  <a:lnTo>
                    <a:pt x="9432" y="7332"/>
                  </a:lnTo>
                  <a:cubicBezTo>
                    <a:pt x="9407" y="7294"/>
                    <a:pt x="9386" y="7252"/>
                    <a:pt x="9362" y="7210"/>
                  </a:cubicBezTo>
                  <a:cubicBezTo>
                    <a:pt x="9274" y="7056"/>
                    <a:pt x="9173" y="6877"/>
                    <a:pt x="9075" y="6825"/>
                  </a:cubicBezTo>
                  <a:cubicBezTo>
                    <a:pt x="8798" y="6674"/>
                    <a:pt x="8714" y="5351"/>
                    <a:pt x="8746" y="4927"/>
                  </a:cubicBezTo>
                  <a:cubicBezTo>
                    <a:pt x="8760" y="4766"/>
                    <a:pt x="8784" y="4700"/>
                    <a:pt x="8840" y="4679"/>
                  </a:cubicBezTo>
                  <a:lnTo>
                    <a:pt x="8823" y="4427"/>
                  </a:lnTo>
                  <a:lnTo>
                    <a:pt x="8486" y="4287"/>
                  </a:lnTo>
                  <a:lnTo>
                    <a:pt x="8690" y="4294"/>
                  </a:lnTo>
                  <a:cubicBezTo>
                    <a:pt x="8690" y="4290"/>
                    <a:pt x="8690" y="4287"/>
                    <a:pt x="8686" y="4283"/>
                  </a:cubicBezTo>
                  <a:lnTo>
                    <a:pt x="8686" y="4280"/>
                  </a:lnTo>
                  <a:cubicBezTo>
                    <a:pt x="8686" y="4269"/>
                    <a:pt x="8683" y="4262"/>
                    <a:pt x="8683" y="4252"/>
                  </a:cubicBezTo>
                  <a:lnTo>
                    <a:pt x="8683" y="4245"/>
                  </a:lnTo>
                  <a:cubicBezTo>
                    <a:pt x="8679" y="4231"/>
                    <a:pt x="8679" y="4220"/>
                    <a:pt x="8679" y="4206"/>
                  </a:cubicBezTo>
                  <a:cubicBezTo>
                    <a:pt x="8672" y="4118"/>
                    <a:pt x="8721" y="4038"/>
                    <a:pt x="8798" y="4003"/>
                  </a:cubicBezTo>
                  <a:cubicBezTo>
                    <a:pt x="8798" y="3894"/>
                    <a:pt x="8812" y="3688"/>
                    <a:pt x="8952" y="3635"/>
                  </a:cubicBezTo>
                  <a:cubicBezTo>
                    <a:pt x="8970" y="3628"/>
                    <a:pt x="8984" y="3618"/>
                    <a:pt x="8991" y="3604"/>
                  </a:cubicBezTo>
                  <a:cubicBezTo>
                    <a:pt x="9036" y="3551"/>
                    <a:pt x="9061" y="3446"/>
                    <a:pt x="9068" y="3310"/>
                  </a:cubicBezTo>
                  <a:lnTo>
                    <a:pt x="9068" y="3247"/>
                  </a:lnTo>
                  <a:cubicBezTo>
                    <a:pt x="9068" y="3075"/>
                    <a:pt x="9103" y="2907"/>
                    <a:pt x="9169" y="2750"/>
                  </a:cubicBezTo>
                  <a:cubicBezTo>
                    <a:pt x="9190" y="2697"/>
                    <a:pt x="9204" y="2645"/>
                    <a:pt x="9211" y="2592"/>
                  </a:cubicBezTo>
                  <a:cubicBezTo>
                    <a:pt x="9225" y="2494"/>
                    <a:pt x="9243" y="2393"/>
                    <a:pt x="9323" y="2333"/>
                  </a:cubicBezTo>
                  <a:cubicBezTo>
                    <a:pt x="9355" y="2302"/>
                    <a:pt x="9376" y="2263"/>
                    <a:pt x="9386" y="2218"/>
                  </a:cubicBezTo>
                  <a:cubicBezTo>
                    <a:pt x="9418" y="2144"/>
                    <a:pt x="9453" y="2050"/>
                    <a:pt x="9551" y="2021"/>
                  </a:cubicBezTo>
                  <a:cubicBezTo>
                    <a:pt x="9712" y="1972"/>
                    <a:pt x="9733" y="1927"/>
                    <a:pt x="9733" y="1916"/>
                  </a:cubicBezTo>
                  <a:cubicBezTo>
                    <a:pt x="9750" y="1864"/>
                    <a:pt x="9778" y="1818"/>
                    <a:pt x="9813" y="1780"/>
                  </a:cubicBezTo>
                  <a:cubicBezTo>
                    <a:pt x="9852" y="1738"/>
                    <a:pt x="9890" y="1685"/>
                    <a:pt x="9890" y="1650"/>
                  </a:cubicBezTo>
                  <a:cubicBezTo>
                    <a:pt x="9890" y="1629"/>
                    <a:pt x="9869" y="1612"/>
                    <a:pt x="9831" y="1580"/>
                  </a:cubicBezTo>
                  <a:cubicBezTo>
                    <a:pt x="9778" y="1542"/>
                    <a:pt x="9708" y="1486"/>
                    <a:pt x="9708" y="1384"/>
                  </a:cubicBezTo>
                  <a:lnTo>
                    <a:pt x="9708" y="1356"/>
                  </a:lnTo>
                  <a:lnTo>
                    <a:pt x="9708" y="1349"/>
                  </a:lnTo>
                  <a:lnTo>
                    <a:pt x="9708" y="1328"/>
                  </a:lnTo>
                  <a:lnTo>
                    <a:pt x="9708" y="1314"/>
                  </a:lnTo>
                  <a:lnTo>
                    <a:pt x="9708" y="1297"/>
                  </a:lnTo>
                  <a:lnTo>
                    <a:pt x="9708" y="1283"/>
                  </a:lnTo>
                  <a:lnTo>
                    <a:pt x="9708" y="1262"/>
                  </a:lnTo>
                  <a:lnTo>
                    <a:pt x="9708" y="1248"/>
                  </a:lnTo>
                  <a:lnTo>
                    <a:pt x="9712" y="1220"/>
                  </a:lnTo>
                  <a:lnTo>
                    <a:pt x="9712" y="1213"/>
                  </a:lnTo>
                  <a:cubicBezTo>
                    <a:pt x="9712" y="1199"/>
                    <a:pt x="9715" y="1188"/>
                    <a:pt x="9715" y="1174"/>
                  </a:cubicBezTo>
                  <a:lnTo>
                    <a:pt x="9715" y="1171"/>
                  </a:lnTo>
                  <a:lnTo>
                    <a:pt x="9719" y="1139"/>
                  </a:lnTo>
                  <a:lnTo>
                    <a:pt x="9719" y="1125"/>
                  </a:lnTo>
                  <a:lnTo>
                    <a:pt x="9722" y="1101"/>
                  </a:lnTo>
                  <a:lnTo>
                    <a:pt x="9722" y="1087"/>
                  </a:lnTo>
                  <a:lnTo>
                    <a:pt x="9726" y="1066"/>
                  </a:lnTo>
                  <a:lnTo>
                    <a:pt x="9726" y="1052"/>
                  </a:lnTo>
                  <a:lnTo>
                    <a:pt x="9726" y="1034"/>
                  </a:lnTo>
                  <a:lnTo>
                    <a:pt x="9726" y="1020"/>
                  </a:lnTo>
                  <a:lnTo>
                    <a:pt x="9726" y="1006"/>
                  </a:lnTo>
                  <a:cubicBezTo>
                    <a:pt x="9729" y="971"/>
                    <a:pt x="9733" y="947"/>
                    <a:pt x="9736" y="926"/>
                  </a:cubicBezTo>
                  <a:lnTo>
                    <a:pt x="9729" y="919"/>
                  </a:lnTo>
                  <a:lnTo>
                    <a:pt x="9705" y="898"/>
                  </a:lnTo>
                  <a:lnTo>
                    <a:pt x="9680" y="873"/>
                  </a:lnTo>
                  <a:lnTo>
                    <a:pt x="9656" y="852"/>
                  </a:lnTo>
                  <a:lnTo>
                    <a:pt x="9628" y="831"/>
                  </a:lnTo>
                  <a:lnTo>
                    <a:pt x="9607" y="810"/>
                  </a:lnTo>
                  <a:lnTo>
                    <a:pt x="9579" y="786"/>
                  </a:lnTo>
                  <a:lnTo>
                    <a:pt x="9558" y="768"/>
                  </a:lnTo>
                  <a:lnTo>
                    <a:pt x="9530" y="744"/>
                  </a:lnTo>
                  <a:lnTo>
                    <a:pt x="9512" y="726"/>
                  </a:lnTo>
                  <a:lnTo>
                    <a:pt x="9484" y="702"/>
                  </a:lnTo>
                  <a:lnTo>
                    <a:pt x="9463" y="688"/>
                  </a:lnTo>
                  <a:lnTo>
                    <a:pt x="9435" y="663"/>
                  </a:lnTo>
                  <a:lnTo>
                    <a:pt x="9421" y="649"/>
                  </a:lnTo>
                  <a:lnTo>
                    <a:pt x="9390" y="625"/>
                  </a:lnTo>
                  <a:lnTo>
                    <a:pt x="9376" y="614"/>
                  </a:lnTo>
                  <a:lnTo>
                    <a:pt x="9348" y="590"/>
                  </a:lnTo>
                  <a:lnTo>
                    <a:pt x="9337" y="579"/>
                  </a:lnTo>
                  <a:lnTo>
                    <a:pt x="9309" y="555"/>
                  </a:lnTo>
                  <a:lnTo>
                    <a:pt x="9299" y="548"/>
                  </a:lnTo>
                  <a:lnTo>
                    <a:pt x="9271" y="527"/>
                  </a:lnTo>
                  <a:lnTo>
                    <a:pt x="9264" y="520"/>
                  </a:lnTo>
                  <a:lnTo>
                    <a:pt x="9239" y="499"/>
                  </a:lnTo>
                  <a:lnTo>
                    <a:pt x="9232" y="492"/>
                  </a:lnTo>
                  <a:lnTo>
                    <a:pt x="9211" y="478"/>
                  </a:lnTo>
                  <a:lnTo>
                    <a:pt x="9204" y="471"/>
                  </a:lnTo>
                  <a:lnTo>
                    <a:pt x="9183" y="457"/>
                  </a:lnTo>
                  <a:lnTo>
                    <a:pt x="9180" y="453"/>
                  </a:lnTo>
                  <a:lnTo>
                    <a:pt x="9162" y="443"/>
                  </a:lnTo>
                  <a:lnTo>
                    <a:pt x="9159" y="439"/>
                  </a:lnTo>
                  <a:lnTo>
                    <a:pt x="9145" y="429"/>
                  </a:lnTo>
                  <a:cubicBezTo>
                    <a:pt x="9141" y="425"/>
                    <a:pt x="9134" y="422"/>
                    <a:pt x="9127" y="422"/>
                  </a:cubicBezTo>
                  <a:lnTo>
                    <a:pt x="9099" y="422"/>
                  </a:lnTo>
                  <a:cubicBezTo>
                    <a:pt x="9092" y="422"/>
                    <a:pt x="9085" y="422"/>
                    <a:pt x="9078" y="425"/>
                  </a:cubicBezTo>
                  <a:lnTo>
                    <a:pt x="9075" y="425"/>
                  </a:lnTo>
                  <a:cubicBezTo>
                    <a:pt x="9047" y="432"/>
                    <a:pt x="9022" y="446"/>
                    <a:pt x="8998" y="460"/>
                  </a:cubicBezTo>
                  <a:lnTo>
                    <a:pt x="8973" y="474"/>
                  </a:lnTo>
                  <a:lnTo>
                    <a:pt x="8956" y="492"/>
                  </a:lnTo>
                  <a:lnTo>
                    <a:pt x="8952" y="492"/>
                  </a:lnTo>
                  <a:lnTo>
                    <a:pt x="8907" y="523"/>
                  </a:lnTo>
                  <a:lnTo>
                    <a:pt x="8865" y="481"/>
                  </a:lnTo>
                  <a:cubicBezTo>
                    <a:pt x="8857" y="471"/>
                    <a:pt x="8795" y="414"/>
                    <a:pt x="8730" y="414"/>
                  </a:cubicBezTo>
                  <a:cubicBezTo>
                    <a:pt x="8704" y="414"/>
                    <a:pt x="8678" y="423"/>
                    <a:pt x="8654" y="446"/>
                  </a:cubicBezTo>
                  <a:cubicBezTo>
                    <a:pt x="8602" y="499"/>
                    <a:pt x="8528" y="527"/>
                    <a:pt x="8455" y="527"/>
                  </a:cubicBezTo>
                  <a:cubicBezTo>
                    <a:pt x="8378" y="523"/>
                    <a:pt x="8301" y="499"/>
                    <a:pt x="8234" y="457"/>
                  </a:cubicBezTo>
                  <a:cubicBezTo>
                    <a:pt x="8122" y="383"/>
                    <a:pt x="8028" y="278"/>
                    <a:pt x="7972" y="156"/>
                  </a:cubicBezTo>
                  <a:cubicBezTo>
                    <a:pt x="7972" y="149"/>
                    <a:pt x="7968" y="142"/>
                    <a:pt x="7965" y="135"/>
                  </a:cubicBezTo>
                  <a:lnTo>
                    <a:pt x="7961" y="128"/>
                  </a:lnTo>
                  <a:cubicBezTo>
                    <a:pt x="7958" y="124"/>
                    <a:pt x="7954" y="117"/>
                    <a:pt x="7951" y="114"/>
                  </a:cubicBezTo>
                  <a:lnTo>
                    <a:pt x="7947" y="110"/>
                  </a:lnTo>
                  <a:cubicBezTo>
                    <a:pt x="7944" y="103"/>
                    <a:pt x="7937" y="100"/>
                    <a:pt x="7933" y="93"/>
                  </a:cubicBezTo>
                  <a:lnTo>
                    <a:pt x="7926" y="89"/>
                  </a:lnTo>
                  <a:lnTo>
                    <a:pt x="7912" y="79"/>
                  </a:lnTo>
                  <a:lnTo>
                    <a:pt x="7909" y="75"/>
                  </a:lnTo>
                  <a:lnTo>
                    <a:pt x="7485" y="145"/>
                  </a:lnTo>
                  <a:lnTo>
                    <a:pt x="7464" y="135"/>
                  </a:lnTo>
                  <a:cubicBezTo>
                    <a:pt x="7357" y="78"/>
                    <a:pt x="7166" y="1"/>
                    <a:pt x="70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4" name="Google Shape;6984;p53"/>
            <p:cNvSpPr/>
            <p:nvPr/>
          </p:nvSpPr>
          <p:spPr>
            <a:xfrm>
              <a:off x="2142218" y="2087909"/>
              <a:ext cx="584" cy="339"/>
            </a:xfrm>
            <a:custGeom>
              <a:avLst/>
              <a:gdLst/>
              <a:ahLst/>
              <a:cxnLst/>
              <a:rect l="l" t="t" r="r" b="b"/>
              <a:pathLst>
                <a:path w="43" h="25" extrusionOk="0">
                  <a:moveTo>
                    <a:pt x="42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5" name="Google Shape;6985;p53"/>
            <p:cNvSpPr/>
            <p:nvPr/>
          </p:nvSpPr>
          <p:spPr>
            <a:xfrm>
              <a:off x="2143834" y="2087244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6" name="Google Shape;6986;p53"/>
            <p:cNvSpPr/>
            <p:nvPr/>
          </p:nvSpPr>
          <p:spPr>
            <a:xfrm>
              <a:off x="2143399" y="2087380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7" name="Google Shape;6987;p53"/>
            <p:cNvSpPr/>
            <p:nvPr/>
          </p:nvSpPr>
          <p:spPr>
            <a:xfrm>
              <a:off x="2141553" y="2088235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49" y="1"/>
                  </a:moveTo>
                  <a:lnTo>
                    <a:pt x="0" y="3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8" name="Google Shape;6988;p53"/>
            <p:cNvSpPr/>
            <p:nvPr/>
          </p:nvSpPr>
          <p:spPr>
            <a:xfrm>
              <a:off x="2142829" y="2087624"/>
              <a:ext cx="489" cy="244"/>
            </a:xfrm>
            <a:custGeom>
              <a:avLst/>
              <a:gdLst/>
              <a:ahLst/>
              <a:cxnLst/>
              <a:rect l="l" t="t" r="r" b="b"/>
              <a:pathLst>
                <a:path w="36" h="18" extrusionOk="0">
                  <a:moveTo>
                    <a:pt x="36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9" name="Google Shape;6989;p53"/>
            <p:cNvSpPr/>
            <p:nvPr/>
          </p:nvSpPr>
          <p:spPr>
            <a:xfrm>
              <a:off x="2144214" y="2087095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0" name="Google Shape;6990;p53"/>
            <p:cNvSpPr/>
            <p:nvPr/>
          </p:nvSpPr>
          <p:spPr>
            <a:xfrm>
              <a:off x="2144554" y="208705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1" name="Google Shape;6991;p53"/>
            <p:cNvSpPr/>
            <p:nvPr/>
          </p:nvSpPr>
          <p:spPr>
            <a:xfrm>
              <a:off x="2144839" y="2087000"/>
              <a:ext cx="190" cy="68"/>
            </a:xfrm>
            <a:custGeom>
              <a:avLst/>
              <a:gdLst/>
              <a:ahLst/>
              <a:cxnLst/>
              <a:rect l="l" t="t" r="r" b="b"/>
              <a:pathLst>
                <a:path w="14" h="5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2" name="Google Shape;6992;p53"/>
            <p:cNvSpPr/>
            <p:nvPr/>
          </p:nvSpPr>
          <p:spPr>
            <a:xfrm>
              <a:off x="2222597" y="2124039"/>
              <a:ext cx="584" cy="339"/>
            </a:xfrm>
            <a:custGeom>
              <a:avLst/>
              <a:gdLst/>
              <a:ahLst/>
              <a:cxnLst/>
              <a:rect l="l" t="t" r="r" b="b"/>
              <a:pathLst>
                <a:path w="43" h="25" extrusionOk="0">
                  <a:moveTo>
                    <a:pt x="1" y="0"/>
                  </a:moveTo>
                  <a:cubicBezTo>
                    <a:pt x="15" y="7"/>
                    <a:pt x="29" y="14"/>
                    <a:pt x="42" y="25"/>
                  </a:cubicBezTo>
                  <a:lnTo>
                    <a:pt x="42" y="2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3" name="Google Shape;6993;p53"/>
            <p:cNvSpPr/>
            <p:nvPr/>
          </p:nvSpPr>
          <p:spPr>
            <a:xfrm>
              <a:off x="2254816" y="2135539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cubicBezTo>
                    <a:pt x="8" y="4"/>
                    <a:pt x="15" y="11"/>
                    <a:pt x="18" y="14"/>
                  </a:cubicBezTo>
                  <a:cubicBezTo>
                    <a:pt x="15" y="11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4" name="Google Shape;6994;p53"/>
            <p:cNvSpPr/>
            <p:nvPr/>
          </p:nvSpPr>
          <p:spPr>
            <a:xfrm>
              <a:off x="2249168" y="2134725"/>
              <a:ext cx="5621" cy="828"/>
            </a:xfrm>
            <a:custGeom>
              <a:avLst/>
              <a:gdLst/>
              <a:ahLst/>
              <a:cxnLst/>
              <a:rect l="l" t="t" r="r" b="b"/>
              <a:pathLst>
                <a:path w="414" h="61" extrusionOk="0">
                  <a:moveTo>
                    <a:pt x="0" y="1"/>
                  </a:moveTo>
                  <a:cubicBezTo>
                    <a:pt x="88" y="1"/>
                    <a:pt x="175" y="4"/>
                    <a:pt x="263" y="15"/>
                  </a:cubicBezTo>
                  <a:cubicBezTo>
                    <a:pt x="315" y="22"/>
                    <a:pt x="368" y="36"/>
                    <a:pt x="413" y="60"/>
                  </a:cubicBezTo>
                  <a:cubicBezTo>
                    <a:pt x="326" y="8"/>
                    <a:pt x="16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5" name="Google Shape;6995;p53"/>
            <p:cNvSpPr/>
            <p:nvPr/>
          </p:nvSpPr>
          <p:spPr>
            <a:xfrm>
              <a:off x="2245787" y="2130597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0"/>
                  </a:moveTo>
                  <a:cubicBezTo>
                    <a:pt x="8" y="7"/>
                    <a:pt x="15" y="18"/>
                    <a:pt x="18" y="28"/>
                  </a:cubicBezTo>
                  <a:cubicBezTo>
                    <a:pt x="15" y="18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6" name="Google Shape;6996;p53"/>
            <p:cNvSpPr/>
            <p:nvPr/>
          </p:nvSpPr>
          <p:spPr>
            <a:xfrm>
              <a:off x="2255387" y="213611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cubicBezTo>
                    <a:pt x="4" y="0"/>
                    <a:pt x="8" y="4"/>
                    <a:pt x="8" y="7"/>
                  </a:cubicBezTo>
                  <a:cubicBezTo>
                    <a:pt x="8" y="4"/>
                    <a:pt x="4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7" name="Google Shape;6997;p53"/>
            <p:cNvSpPr/>
            <p:nvPr/>
          </p:nvSpPr>
          <p:spPr>
            <a:xfrm>
              <a:off x="2255577" y="2136340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cubicBezTo>
                    <a:pt x="1" y="4"/>
                    <a:pt x="4" y="8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8" name="Google Shape;6998;p53"/>
            <p:cNvSpPr/>
            <p:nvPr/>
          </p:nvSpPr>
          <p:spPr>
            <a:xfrm>
              <a:off x="2253866" y="2114331"/>
              <a:ext cx="1154" cy="1684"/>
            </a:xfrm>
            <a:custGeom>
              <a:avLst/>
              <a:gdLst/>
              <a:ahLst/>
              <a:cxnLst/>
              <a:rect l="l" t="t" r="r" b="b"/>
              <a:pathLst>
                <a:path w="85" h="124" extrusionOk="0">
                  <a:moveTo>
                    <a:pt x="1" y="1"/>
                  </a:moveTo>
                  <a:cubicBezTo>
                    <a:pt x="8" y="53"/>
                    <a:pt x="36" y="99"/>
                    <a:pt x="85" y="123"/>
                  </a:cubicBezTo>
                  <a:cubicBezTo>
                    <a:pt x="36" y="99"/>
                    <a:pt x="8" y="5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9" name="Google Shape;6999;p53"/>
            <p:cNvSpPr/>
            <p:nvPr/>
          </p:nvSpPr>
          <p:spPr>
            <a:xfrm>
              <a:off x="2266710" y="210421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0"/>
                  </a:moveTo>
                  <a:lnTo>
                    <a:pt x="14" y="0"/>
                  </a:lnTo>
                  <a:lnTo>
                    <a:pt x="0" y="14"/>
                  </a:ln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0" name="Google Shape;7000;p53"/>
            <p:cNvSpPr/>
            <p:nvPr/>
          </p:nvSpPr>
          <p:spPr>
            <a:xfrm>
              <a:off x="2254246" y="2120468"/>
              <a:ext cx="394" cy="3014"/>
            </a:xfrm>
            <a:custGeom>
              <a:avLst/>
              <a:gdLst/>
              <a:ahLst/>
              <a:cxnLst/>
              <a:rect l="l" t="t" r="r" b="b"/>
              <a:pathLst>
                <a:path w="29" h="222" extrusionOk="0">
                  <a:moveTo>
                    <a:pt x="1" y="221"/>
                  </a:moveTo>
                  <a:cubicBezTo>
                    <a:pt x="4" y="148"/>
                    <a:pt x="15" y="74"/>
                    <a:pt x="29" y="1"/>
                  </a:cubicBezTo>
                  <a:cubicBezTo>
                    <a:pt x="15" y="74"/>
                    <a:pt x="4" y="148"/>
                    <a:pt x="1" y="2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1" name="Google Shape;7001;p53"/>
            <p:cNvSpPr/>
            <p:nvPr/>
          </p:nvSpPr>
          <p:spPr>
            <a:xfrm>
              <a:off x="2223167" y="2124365"/>
              <a:ext cx="1724" cy="1819"/>
            </a:xfrm>
            <a:custGeom>
              <a:avLst/>
              <a:gdLst/>
              <a:ahLst/>
              <a:cxnLst/>
              <a:rect l="l" t="t" r="r" b="b"/>
              <a:pathLst>
                <a:path w="127" h="134" extrusionOk="0">
                  <a:moveTo>
                    <a:pt x="126" y="134"/>
                  </a:moveTo>
                  <a:cubicBezTo>
                    <a:pt x="95" y="81"/>
                    <a:pt x="49" y="36"/>
                    <a:pt x="0" y="1"/>
                  </a:cubicBezTo>
                  <a:lnTo>
                    <a:pt x="0" y="1"/>
                  </a:lnTo>
                  <a:cubicBezTo>
                    <a:pt x="49" y="36"/>
                    <a:pt x="95" y="81"/>
                    <a:pt x="126" y="13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2" name="Google Shape;7002;p53"/>
            <p:cNvSpPr/>
            <p:nvPr/>
          </p:nvSpPr>
          <p:spPr>
            <a:xfrm>
              <a:off x="2232196" y="2130353"/>
              <a:ext cx="489" cy="543"/>
            </a:xfrm>
            <a:custGeom>
              <a:avLst/>
              <a:gdLst/>
              <a:ahLst/>
              <a:cxnLst/>
              <a:rect l="l" t="t" r="r" b="b"/>
              <a:pathLst>
                <a:path w="36" h="40" extrusionOk="0">
                  <a:moveTo>
                    <a:pt x="1" y="1"/>
                  </a:moveTo>
                  <a:lnTo>
                    <a:pt x="1" y="1"/>
                  </a:lnTo>
                  <a:cubicBezTo>
                    <a:pt x="18" y="32"/>
                    <a:pt x="32" y="39"/>
                    <a:pt x="36" y="39"/>
                  </a:cubicBezTo>
                  <a:cubicBezTo>
                    <a:pt x="36" y="39"/>
                    <a:pt x="18" y="3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3" name="Google Shape;7003;p53"/>
            <p:cNvSpPr/>
            <p:nvPr/>
          </p:nvSpPr>
          <p:spPr>
            <a:xfrm>
              <a:off x="2255156" y="2135770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"/>
                  </a:moveTo>
                  <a:cubicBezTo>
                    <a:pt x="4" y="4"/>
                    <a:pt x="11" y="11"/>
                    <a:pt x="14" y="15"/>
                  </a:cubicBezTo>
                  <a:cubicBezTo>
                    <a:pt x="11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4" name="Google Shape;7004;p53"/>
            <p:cNvSpPr/>
            <p:nvPr/>
          </p:nvSpPr>
          <p:spPr>
            <a:xfrm>
              <a:off x="2245027" y="2130068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"/>
                  </a:moveTo>
                  <a:cubicBezTo>
                    <a:pt x="8" y="1"/>
                    <a:pt x="18" y="4"/>
                    <a:pt x="25" y="11"/>
                  </a:cubicBezTo>
                  <a:cubicBezTo>
                    <a:pt x="18" y="4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5" name="Google Shape;7005;p53"/>
            <p:cNvSpPr/>
            <p:nvPr/>
          </p:nvSpPr>
          <p:spPr>
            <a:xfrm>
              <a:off x="2221497" y="2123510"/>
              <a:ext cx="1208" cy="584"/>
            </a:xfrm>
            <a:custGeom>
              <a:avLst/>
              <a:gdLst/>
              <a:ahLst/>
              <a:cxnLst/>
              <a:rect l="l" t="t" r="r" b="b"/>
              <a:pathLst>
                <a:path w="89" h="43" extrusionOk="0">
                  <a:moveTo>
                    <a:pt x="1" y="1"/>
                  </a:moveTo>
                  <a:lnTo>
                    <a:pt x="1" y="18"/>
                  </a:lnTo>
                  <a:cubicBezTo>
                    <a:pt x="26" y="18"/>
                    <a:pt x="54" y="27"/>
                    <a:pt x="79" y="38"/>
                  </a:cubicBezTo>
                  <a:lnTo>
                    <a:pt x="79" y="38"/>
                  </a:lnTo>
                  <a:lnTo>
                    <a:pt x="1" y="1"/>
                  </a:lnTo>
                  <a:close/>
                  <a:moveTo>
                    <a:pt x="79" y="38"/>
                  </a:moveTo>
                  <a:lnTo>
                    <a:pt x="88" y="43"/>
                  </a:lnTo>
                  <a:cubicBezTo>
                    <a:pt x="85" y="41"/>
                    <a:pt x="82" y="40"/>
                    <a:pt x="79" y="3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6" name="Google Shape;7006;p53"/>
            <p:cNvSpPr/>
            <p:nvPr/>
          </p:nvSpPr>
          <p:spPr>
            <a:xfrm>
              <a:off x="2244552" y="2129973"/>
              <a:ext cx="448" cy="68"/>
            </a:xfrm>
            <a:custGeom>
              <a:avLst/>
              <a:gdLst/>
              <a:ahLst/>
              <a:cxnLst/>
              <a:rect l="l" t="t" r="r" b="b"/>
              <a:pathLst>
                <a:path w="33" h="5" extrusionOk="0">
                  <a:moveTo>
                    <a:pt x="1" y="1"/>
                  </a:moveTo>
                  <a:cubicBezTo>
                    <a:pt x="11" y="1"/>
                    <a:pt x="22" y="4"/>
                    <a:pt x="32" y="4"/>
                  </a:cubicBezTo>
                  <a:cubicBezTo>
                    <a:pt x="22" y="4"/>
                    <a:pt x="1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7" name="Google Shape;7007;p53"/>
            <p:cNvSpPr/>
            <p:nvPr/>
          </p:nvSpPr>
          <p:spPr>
            <a:xfrm>
              <a:off x="2244036" y="2130027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4"/>
                  </a:moveTo>
                  <a:cubicBezTo>
                    <a:pt x="11" y="0"/>
                    <a:pt x="21" y="0"/>
                    <a:pt x="32" y="0"/>
                  </a:cubicBezTo>
                  <a:cubicBezTo>
                    <a:pt x="21" y="0"/>
                    <a:pt x="11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8" name="Google Shape;7008;p53"/>
            <p:cNvSpPr/>
            <p:nvPr/>
          </p:nvSpPr>
          <p:spPr>
            <a:xfrm>
              <a:off x="2255672" y="2136625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1"/>
                  </a:moveTo>
                  <a:cubicBezTo>
                    <a:pt x="1" y="8"/>
                    <a:pt x="1" y="18"/>
                    <a:pt x="1" y="25"/>
                  </a:cubicBezTo>
                  <a:cubicBezTo>
                    <a:pt x="1" y="18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9" name="Google Shape;7009;p53"/>
            <p:cNvSpPr/>
            <p:nvPr/>
          </p:nvSpPr>
          <p:spPr>
            <a:xfrm>
              <a:off x="2245407" y="2130258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1" y="1"/>
                  </a:moveTo>
                  <a:cubicBezTo>
                    <a:pt x="11" y="4"/>
                    <a:pt x="18" y="11"/>
                    <a:pt x="25" y="18"/>
                  </a:cubicBezTo>
                  <a:cubicBezTo>
                    <a:pt x="18" y="11"/>
                    <a:pt x="1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0" name="Google Shape;7010;p53"/>
            <p:cNvSpPr/>
            <p:nvPr/>
          </p:nvSpPr>
          <p:spPr>
            <a:xfrm>
              <a:off x="2222638" y="2124039"/>
              <a:ext cx="543" cy="339"/>
            </a:xfrm>
            <a:custGeom>
              <a:avLst/>
              <a:gdLst/>
              <a:ahLst/>
              <a:cxnLst/>
              <a:rect l="l" t="t" r="r" b="b"/>
              <a:pathLst>
                <a:path w="40" h="25" extrusionOk="0">
                  <a:moveTo>
                    <a:pt x="1" y="0"/>
                  </a:moveTo>
                  <a:lnTo>
                    <a:pt x="1" y="0"/>
                  </a:lnTo>
                  <a:cubicBezTo>
                    <a:pt x="15" y="7"/>
                    <a:pt x="29" y="18"/>
                    <a:pt x="39" y="25"/>
                  </a:cubicBezTo>
                  <a:lnTo>
                    <a:pt x="39" y="25"/>
                  </a:lnTo>
                  <a:cubicBezTo>
                    <a:pt x="29" y="18"/>
                    <a:pt x="15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1" name="Google Shape;7011;p53"/>
            <p:cNvSpPr/>
            <p:nvPr/>
          </p:nvSpPr>
          <p:spPr>
            <a:xfrm>
              <a:off x="2257057" y="206219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2" name="Google Shape;7012;p53"/>
            <p:cNvSpPr/>
            <p:nvPr/>
          </p:nvSpPr>
          <p:spPr>
            <a:xfrm>
              <a:off x="2256907" y="2061678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4"/>
                  </a:lnTo>
                  <a:cubicBezTo>
                    <a:pt x="1" y="0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3" name="Google Shape;7013;p53"/>
            <p:cNvSpPr/>
            <p:nvPr/>
          </p:nvSpPr>
          <p:spPr>
            <a:xfrm>
              <a:off x="2215659" y="2008291"/>
              <a:ext cx="3802" cy="380"/>
            </a:xfrm>
            <a:custGeom>
              <a:avLst/>
              <a:gdLst/>
              <a:ahLst/>
              <a:cxnLst/>
              <a:rect l="l" t="t" r="r" b="b"/>
              <a:pathLst>
                <a:path w="280" h="28" extrusionOk="0">
                  <a:moveTo>
                    <a:pt x="280" y="1"/>
                  </a:moveTo>
                  <a:cubicBezTo>
                    <a:pt x="242" y="20"/>
                    <a:pt x="201" y="28"/>
                    <a:pt x="159" y="28"/>
                  </a:cubicBezTo>
                  <a:lnTo>
                    <a:pt x="159" y="28"/>
                  </a:lnTo>
                  <a:cubicBezTo>
                    <a:pt x="106" y="28"/>
                    <a:pt x="51" y="16"/>
                    <a:pt x="0" y="4"/>
                  </a:cubicBezTo>
                  <a:lnTo>
                    <a:pt x="0" y="4"/>
                  </a:lnTo>
                  <a:cubicBezTo>
                    <a:pt x="49" y="16"/>
                    <a:pt x="104" y="28"/>
                    <a:pt x="158" y="28"/>
                  </a:cubicBezTo>
                  <a:cubicBezTo>
                    <a:pt x="158" y="28"/>
                    <a:pt x="159" y="28"/>
                    <a:pt x="159" y="28"/>
                  </a:cubicBezTo>
                  <a:lnTo>
                    <a:pt x="159" y="28"/>
                  </a:lnTo>
                  <a:cubicBezTo>
                    <a:pt x="159" y="28"/>
                    <a:pt x="159" y="28"/>
                    <a:pt x="159" y="28"/>
                  </a:cubicBezTo>
                  <a:cubicBezTo>
                    <a:pt x="201" y="28"/>
                    <a:pt x="242" y="21"/>
                    <a:pt x="2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4" name="Google Shape;7014;p53"/>
            <p:cNvSpPr/>
            <p:nvPr/>
          </p:nvSpPr>
          <p:spPr>
            <a:xfrm>
              <a:off x="2196121" y="2010572"/>
              <a:ext cx="15601" cy="3014"/>
            </a:xfrm>
            <a:custGeom>
              <a:avLst/>
              <a:gdLst/>
              <a:ahLst/>
              <a:cxnLst/>
              <a:rect l="l" t="t" r="r" b="b"/>
              <a:pathLst>
                <a:path w="1149" h="222" extrusionOk="0">
                  <a:moveTo>
                    <a:pt x="0" y="1"/>
                  </a:moveTo>
                  <a:lnTo>
                    <a:pt x="1135" y="221"/>
                  </a:lnTo>
                  <a:lnTo>
                    <a:pt x="1149" y="158"/>
                  </a:lnTo>
                  <a:lnTo>
                    <a:pt x="1135" y="2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5" name="Google Shape;7015;p53"/>
            <p:cNvSpPr/>
            <p:nvPr/>
          </p:nvSpPr>
          <p:spPr>
            <a:xfrm>
              <a:off x="2183955" y="201804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6" name="Google Shape;7016;p53"/>
            <p:cNvSpPr/>
            <p:nvPr/>
          </p:nvSpPr>
          <p:spPr>
            <a:xfrm>
              <a:off x="2183806" y="2016845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4" y="4"/>
                    <a:pt x="1" y="1"/>
                  </a:cubicBezTo>
                  <a:cubicBezTo>
                    <a:pt x="4" y="4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7" name="Google Shape;7017;p53"/>
            <p:cNvSpPr/>
            <p:nvPr/>
          </p:nvSpPr>
          <p:spPr>
            <a:xfrm>
              <a:off x="2183901" y="201746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4"/>
                    <a:pt x="1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8" name="Google Shape;7018;p53"/>
            <p:cNvSpPr/>
            <p:nvPr/>
          </p:nvSpPr>
          <p:spPr>
            <a:xfrm>
              <a:off x="2183955" y="201865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9" name="Google Shape;7019;p53"/>
            <p:cNvSpPr/>
            <p:nvPr/>
          </p:nvSpPr>
          <p:spPr>
            <a:xfrm>
              <a:off x="2139218" y="20815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0" name="Google Shape;7020;p53"/>
            <p:cNvSpPr/>
            <p:nvPr/>
          </p:nvSpPr>
          <p:spPr>
            <a:xfrm>
              <a:off x="2144404" y="207850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1" name="Google Shape;7021;p53"/>
            <p:cNvSpPr/>
            <p:nvPr/>
          </p:nvSpPr>
          <p:spPr>
            <a:xfrm>
              <a:off x="2143644" y="207878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7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2" name="Google Shape;7022;p53"/>
            <p:cNvSpPr/>
            <p:nvPr/>
          </p:nvSpPr>
          <p:spPr>
            <a:xfrm>
              <a:off x="2182910" y="2023783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3" name="Google Shape;7023;p53"/>
            <p:cNvSpPr/>
            <p:nvPr/>
          </p:nvSpPr>
          <p:spPr>
            <a:xfrm>
              <a:off x="2143929" y="207869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4" name="Google Shape;7024;p53"/>
            <p:cNvSpPr/>
            <p:nvPr/>
          </p:nvSpPr>
          <p:spPr>
            <a:xfrm>
              <a:off x="2182720" y="2024163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5" name="Google Shape;7025;p53"/>
            <p:cNvSpPr/>
            <p:nvPr/>
          </p:nvSpPr>
          <p:spPr>
            <a:xfrm>
              <a:off x="2183765" y="2020932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2"/>
                  </a:moveTo>
                  <a:cubicBezTo>
                    <a:pt x="0" y="15"/>
                    <a:pt x="4" y="8"/>
                    <a:pt x="4" y="1"/>
                  </a:cubicBezTo>
                  <a:cubicBezTo>
                    <a:pt x="4" y="8"/>
                    <a:pt x="0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6" name="Google Shape;7026;p53"/>
            <p:cNvSpPr/>
            <p:nvPr/>
          </p:nvSpPr>
          <p:spPr>
            <a:xfrm>
              <a:off x="2144839" y="2078405"/>
              <a:ext cx="774" cy="489"/>
            </a:xfrm>
            <a:custGeom>
              <a:avLst/>
              <a:gdLst/>
              <a:ahLst/>
              <a:cxnLst/>
              <a:rect l="l" t="t" r="r" b="b"/>
              <a:pathLst>
                <a:path w="57" h="36" extrusionOk="0">
                  <a:moveTo>
                    <a:pt x="0" y="0"/>
                  </a:moveTo>
                  <a:cubicBezTo>
                    <a:pt x="21" y="11"/>
                    <a:pt x="39" y="21"/>
                    <a:pt x="56" y="35"/>
                  </a:cubicBezTo>
                  <a:cubicBezTo>
                    <a:pt x="39" y="21"/>
                    <a:pt x="2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7" name="Google Shape;7027;p53"/>
            <p:cNvSpPr/>
            <p:nvPr/>
          </p:nvSpPr>
          <p:spPr>
            <a:xfrm>
              <a:off x="2183670" y="202146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cubicBezTo>
                    <a:pt x="0" y="14"/>
                    <a:pt x="4" y="7"/>
                    <a:pt x="4" y="0"/>
                  </a:cubicBezTo>
                  <a:cubicBezTo>
                    <a:pt x="4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8" name="Google Shape;7028;p53"/>
            <p:cNvSpPr/>
            <p:nvPr/>
          </p:nvSpPr>
          <p:spPr>
            <a:xfrm>
              <a:off x="2143359" y="207897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9" name="Google Shape;7029;p53"/>
            <p:cNvSpPr/>
            <p:nvPr/>
          </p:nvSpPr>
          <p:spPr>
            <a:xfrm>
              <a:off x="2183236" y="202292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2"/>
                  </a:moveTo>
                  <a:cubicBezTo>
                    <a:pt x="4" y="15"/>
                    <a:pt x="8" y="8"/>
                    <a:pt x="8" y="1"/>
                  </a:cubicBezTo>
                  <a:cubicBezTo>
                    <a:pt x="8" y="8"/>
                    <a:pt x="4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0" name="Google Shape;7030;p53"/>
            <p:cNvSpPr/>
            <p:nvPr/>
          </p:nvSpPr>
          <p:spPr>
            <a:xfrm>
              <a:off x="2142979" y="207911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1" name="Google Shape;7031;p53"/>
            <p:cNvSpPr/>
            <p:nvPr/>
          </p:nvSpPr>
          <p:spPr>
            <a:xfrm>
              <a:off x="2183521" y="2021977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4" y="15"/>
                    <a:pt x="4" y="8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2" name="Google Shape;7032;p53"/>
            <p:cNvSpPr/>
            <p:nvPr/>
          </p:nvSpPr>
          <p:spPr>
            <a:xfrm>
              <a:off x="2183385" y="202245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22"/>
                  </a:moveTo>
                  <a:cubicBezTo>
                    <a:pt x="4" y="15"/>
                    <a:pt x="7" y="8"/>
                    <a:pt x="7" y="1"/>
                  </a:cubicBezTo>
                  <a:cubicBezTo>
                    <a:pt x="7" y="8"/>
                    <a:pt x="4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3" name="Google Shape;7033;p53"/>
            <p:cNvSpPr/>
            <p:nvPr/>
          </p:nvSpPr>
          <p:spPr>
            <a:xfrm>
              <a:off x="2183100" y="202336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21"/>
                  </a:moveTo>
                  <a:cubicBezTo>
                    <a:pt x="4" y="14"/>
                    <a:pt x="4" y="7"/>
                    <a:pt x="7" y="0"/>
                  </a:cubicBezTo>
                  <a:cubicBezTo>
                    <a:pt x="4" y="7"/>
                    <a:pt x="4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4" name="Google Shape;7034;p53"/>
            <p:cNvSpPr/>
            <p:nvPr/>
          </p:nvSpPr>
          <p:spPr>
            <a:xfrm>
              <a:off x="2139462" y="2081107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0" y="22"/>
                  </a:move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5" name="Google Shape;7035;p53"/>
            <p:cNvSpPr/>
            <p:nvPr/>
          </p:nvSpPr>
          <p:spPr>
            <a:xfrm>
              <a:off x="2140127" y="2080727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6" name="Google Shape;7036;p53"/>
            <p:cNvSpPr/>
            <p:nvPr/>
          </p:nvSpPr>
          <p:spPr>
            <a:xfrm>
              <a:off x="2140697" y="2080401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7" name="Google Shape;7037;p53"/>
            <p:cNvSpPr/>
            <p:nvPr/>
          </p:nvSpPr>
          <p:spPr>
            <a:xfrm>
              <a:off x="2183860" y="202036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2"/>
                  </a:moveTo>
                  <a:cubicBezTo>
                    <a:pt x="0" y="15"/>
                    <a:pt x="0" y="8"/>
                    <a:pt x="0" y="1"/>
                  </a:cubicBezTo>
                  <a:cubicBezTo>
                    <a:pt x="0" y="8"/>
                    <a:pt x="0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8" name="Google Shape;7038;p53"/>
            <p:cNvSpPr/>
            <p:nvPr/>
          </p:nvSpPr>
          <p:spPr>
            <a:xfrm>
              <a:off x="2141213" y="208006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5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9" name="Google Shape;7039;p53"/>
            <p:cNvSpPr/>
            <p:nvPr/>
          </p:nvSpPr>
          <p:spPr>
            <a:xfrm>
              <a:off x="2183955" y="201927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4"/>
                    <a:pt x="0" y="11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0" name="Google Shape;7040;p53"/>
            <p:cNvSpPr/>
            <p:nvPr/>
          </p:nvSpPr>
          <p:spPr>
            <a:xfrm>
              <a:off x="2141743" y="207977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1" name="Google Shape;7041;p53"/>
            <p:cNvSpPr/>
            <p:nvPr/>
          </p:nvSpPr>
          <p:spPr>
            <a:xfrm>
              <a:off x="2144214" y="2078595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2" name="Google Shape;7042;p53"/>
            <p:cNvSpPr/>
            <p:nvPr/>
          </p:nvSpPr>
          <p:spPr>
            <a:xfrm>
              <a:off x="2142164" y="2079546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1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3" name="Google Shape;7043;p53"/>
            <p:cNvSpPr/>
            <p:nvPr/>
          </p:nvSpPr>
          <p:spPr>
            <a:xfrm>
              <a:off x="2142598" y="2079301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4" name="Google Shape;7044;p53"/>
            <p:cNvSpPr/>
            <p:nvPr/>
          </p:nvSpPr>
          <p:spPr>
            <a:xfrm>
              <a:off x="2144594" y="20785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5" name="Google Shape;7045;p53"/>
            <p:cNvSpPr/>
            <p:nvPr/>
          </p:nvSpPr>
          <p:spPr>
            <a:xfrm>
              <a:off x="2144744" y="2078446"/>
              <a:ext cx="95" cy="14"/>
            </a:xfrm>
            <a:custGeom>
              <a:avLst/>
              <a:gdLst/>
              <a:ahLst/>
              <a:cxnLst/>
              <a:rect l="l" t="t" r="r" b="b"/>
              <a:pathLst>
                <a:path w="7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6" name="Google Shape;7046;p53"/>
            <p:cNvSpPr/>
            <p:nvPr/>
          </p:nvSpPr>
          <p:spPr>
            <a:xfrm>
              <a:off x="2183901" y="201984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7" name="Google Shape;7047;p53"/>
            <p:cNvSpPr/>
            <p:nvPr/>
          </p:nvSpPr>
          <p:spPr>
            <a:xfrm>
              <a:off x="2246887" y="200539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8" name="Google Shape;7048;p53"/>
            <p:cNvSpPr/>
            <p:nvPr/>
          </p:nvSpPr>
          <p:spPr>
            <a:xfrm>
              <a:off x="2263194" y="20098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9" name="Google Shape;7049;p53"/>
            <p:cNvSpPr/>
            <p:nvPr/>
          </p:nvSpPr>
          <p:spPr>
            <a:xfrm>
              <a:off x="2260818" y="2010572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0" y="18"/>
                  </a:moveTo>
                  <a:lnTo>
                    <a:pt x="0" y="18"/>
                  </a:lnTo>
                  <a:lnTo>
                    <a:pt x="21" y="1"/>
                  </a:ln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0" name="Google Shape;7050;p53"/>
            <p:cNvSpPr/>
            <p:nvPr/>
          </p:nvSpPr>
          <p:spPr>
            <a:xfrm>
              <a:off x="2266235" y="201209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1" name="Google Shape;7051;p53"/>
            <p:cNvSpPr/>
            <p:nvPr/>
          </p:nvSpPr>
          <p:spPr>
            <a:xfrm>
              <a:off x="2265665" y="2011617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2" name="Google Shape;7052;p53"/>
            <p:cNvSpPr/>
            <p:nvPr/>
          </p:nvSpPr>
          <p:spPr>
            <a:xfrm>
              <a:off x="2265190" y="2011197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3" name="Google Shape;7053;p53"/>
            <p:cNvSpPr/>
            <p:nvPr/>
          </p:nvSpPr>
          <p:spPr>
            <a:xfrm>
              <a:off x="2246643" y="2005155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4" name="Google Shape;7054;p53"/>
            <p:cNvSpPr/>
            <p:nvPr/>
          </p:nvSpPr>
          <p:spPr>
            <a:xfrm>
              <a:off x="2263995" y="201028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5" name="Google Shape;7055;p53"/>
            <p:cNvSpPr/>
            <p:nvPr/>
          </p:nvSpPr>
          <p:spPr>
            <a:xfrm>
              <a:off x="2266805" y="2012527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6" name="Google Shape;7056;p53"/>
            <p:cNvSpPr/>
            <p:nvPr/>
          </p:nvSpPr>
          <p:spPr>
            <a:xfrm>
              <a:off x="2263710" y="2010056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7" name="Google Shape;7057;p53"/>
            <p:cNvSpPr/>
            <p:nvPr/>
          </p:nvSpPr>
          <p:spPr>
            <a:xfrm>
              <a:off x="2261429" y="2010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8" name="Google Shape;7058;p53"/>
            <p:cNvSpPr/>
            <p:nvPr/>
          </p:nvSpPr>
          <p:spPr>
            <a:xfrm>
              <a:off x="2264334" y="2010531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21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9" name="Google Shape;7059;p53"/>
            <p:cNvSpPr/>
            <p:nvPr/>
          </p:nvSpPr>
          <p:spPr>
            <a:xfrm>
              <a:off x="2264714" y="2010857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25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0" name="Google Shape;7060;p53"/>
            <p:cNvSpPr/>
            <p:nvPr/>
          </p:nvSpPr>
          <p:spPr>
            <a:xfrm>
              <a:off x="2263479" y="2009907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1" name="Google Shape;7061;p53"/>
            <p:cNvSpPr/>
            <p:nvPr/>
          </p:nvSpPr>
          <p:spPr>
            <a:xfrm>
              <a:off x="2262528" y="200986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2" name="Google Shape;7062;p53"/>
            <p:cNvSpPr/>
            <p:nvPr/>
          </p:nvSpPr>
          <p:spPr>
            <a:xfrm>
              <a:off x="2262814" y="200981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3" name="Google Shape;7063;p53"/>
            <p:cNvSpPr/>
            <p:nvPr/>
          </p:nvSpPr>
          <p:spPr>
            <a:xfrm>
              <a:off x="2268706" y="201414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28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4" name="Google Shape;7064;p53"/>
            <p:cNvSpPr/>
            <p:nvPr/>
          </p:nvSpPr>
          <p:spPr>
            <a:xfrm>
              <a:off x="2251069" y="2010341"/>
              <a:ext cx="3001" cy="964"/>
            </a:xfrm>
            <a:custGeom>
              <a:avLst/>
              <a:gdLst/>
              <a:ahLst/>
              <a:cxnLst/>
              <a:rect l="l" t="t" r="r" b="b"/>
              <a:pathLst>
                <a:path w="221" h="71" extrusionOk="0">
                  <a:moveTo>
                    <a:pt x="221" y="70"/>
                  </a:moveTo>
                  <a:cubicBezTo>
                    <a:pt x="144" y="67"/>
                    <a:pt x="67" y="42"/>
                    <a:pt x="0" y="0"/>
                  </a:cubicBezTo>
                  <a:cubicBezTo>
                    <a:pt x="67" y="42"/>
                    <a:pt x="144" y="67"/>
                    <a:pt x="221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5" name="Google Shape;7065;p53"/>
            <p:cNvSpPr/>
            <p:nvPr/>
          </p:nvSpPr>
          <p:spPr>
            <a:xfrm>
              <a:off x="2268041" y="201361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6" name="Google Shape;7066;p53"/>
            <p:cNvSpPr/>
            <p:nvPr/>
          </p:nvSpPr>
          <p:spPr>
            <a:xfrm>
              <a:off x="2271367" y="201656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7" name="Google Shape;7067;p53"/>
            <p:cNvSpPr/>
            <p:nvPr/>
          </p:nvSpPr>
          <p:spPr>
            <a:xfrm>
              <a:off x="2269371" y="2014754"/>
              <a:ext cx="339" cy="299"/>
            </a:xfrm>
            <a:custGeom>
              <a:avLst/>
              <a:gdLst/>
              <a:ahLst/>
              <a:cxnLst/>
              <a:rect l="l" t="t" r="r" b="b"/>
              <a:pathLst>
                <a:path w="25" h="22" extrusionOk="0">
                  <a:moveTo>
                    <a:pt x="25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8" name="Google Shape;7068;p53"/>
            <p:cNvSpPr/>
            <p:nvPr/>
          </p:nvSpPr>
          <p:spPr>
            <a:xfrm>
              <a:off x="2270743" y="2015949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25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9" name="Google Shape;7069;p53"/>
            <p:cNvSpPr/>
            <p:nvPr/>
          </p:nvSpPr>
          <p:spPr>
            <a:xfrm>
              <a:off x="2270037" y="2015324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25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0" name="Google Shape;7070;p53"/>
            <p:cNvSpPr/>
            <p:nvPr/>
          </p:nvSpPr>
          <p:spPr>
            <a:xfrm>
              <a:off x="2247172" y="2005684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1" name="Google Shape;7071;p53"/>
            <p:cNvSpPr/>
            <p:nvPr/>
          </p:nvSpPr>
          <p:spPr>
            <a:xfrm>
              <a:off x="2267416" y="201304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9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2" name="Google Shape;7072;p53"/>
            <p:cNvSpPr/>
            <p:nvPr/>
          </p:nvSpPr>
          <p:spPr>
            <a:xfrm>
              <a:off x="2247362" y="2005915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3" name="Google Shape;7073;p53"/>
            <p:cNvSpPr/>
            <p:nvPr/>
          </p:nvSpPr>
          <p:spPr>
            <a:xfrm>
              <a:off x="2271028" y="202051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4" name="Google Shape;7074;p53"/>
            <p:cNvSpPr/>
            <p:nvPr/>
          </p:nvSpPr>
          <p:spPr>
            <a:xfrm>
              <a:off x="2271367" y="2016655"/>
              <a:ext cx="149" cy="1059"/>
            </a:xfrm>
            <a:custGeom>
              <a:avLst/>
              <a:gdLst/>
              <a:ahLst/>
              <a:cxnLst/>
              <a:rect l="l" t="t" r="r" b="b"/>
              <a:pathLst>
                <a:path w="11" h="78" extrusionOk="0">
                  <a:moveTo>
                    <a:pt x="11" y="1"/>
                  </a:moveTo>
                  <a:lnTo>
                    <a:pt x="11" y="1"/>
                  </a:lnTo>
                  <a:cubicBezTo>
                    <a:pt x="7" y="18"/>
                    <a:pt x="4" y="43"/>
                    <a:pt x="0" y="78"/>
                  </a:cubicBezTo>
                  <a:cubicBezTo>
                    <a:pt x="4" y="46"/>
                    <a:pt x="7" y="1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5" name="Google Shape;7075;p53"/>
            <p:cNvSpPr/>
            <p:nvPr/>
          </p:nvSpPr>
          <p:spPr>
            <a:xfrm>
              <a:off x="2270987" y="20209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6" name="Google Shape;7076;p53"/>
            <p:cNvSpPr/>
            <p:nvPr/>
          </p:nvSpPr>
          <p:spPr>
            <a:xfrm>
              <a:off x="2271082" y="20199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7" name="Google Shape;7077;p53"/>
            <p:cNvSpPr/>
            <p:nvPr/>
          </p:nvSpPr>
          <p:spPr>
            <a:xfrm>
              <a:off x="2271313" y="201789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8" name="Google Shape;7078;p53"/>
            <p:cNvSpPr/>
            <p:nvPr/>
          </p:nvSpPr>
          <p:spPr>
            <a:xfrm>
              <a:off x="2270933" y="202146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9" name="Google Shape;7079;p53"/>
            <p:cNvSpPr/>
            <p:nvPr/>
          </p:nvSpPr>
          <p:spPr>
            <a:xfrm>
              <a:off x="2261143" y="2049037"/>
              <a:ext cx="1018" cy="3992"/>
            </a:xfrm>
            <a:custGeom>
              <a:avLst/>
              <a:gdLst/>
              <a:ahLst/>
              <a:cxnLst/>
              <a:rect l="l" t="t" r="r" b="b"/>
              <a:pathLst>
                <a:path w="75" h="294" extrusionOk="0">
                  <a:moveTo>
                    <a:pt x="74" y="0"/>
                  </a:moveTo>
                  <a:cubicBezTo>
                    <a:pt x="67" y="137"/>
                    <a:pt x="39" y="241"/>
                    <a:pt x="1" y="294"/>
                  </a:cubicBezTo>
                  <a:cubicBezTo>
                    <a:pt x="43" y="241"/>
                    <a:pt x="67" y="137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0" name="Google Shape;7080;p53"/>
            <p:cNvSpPr/>
            <p:nvPr/>
          </p:nvSpPr>
          <p:spPr>
            <a:xfrm>
              <a:off x="2271272" y="201832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1" name="Google Shape;7081;p53"/>
            <p:cNvSpPr/>
            <p:nvPr/>
          </p:nvSpPr>
          <p:spPr>
            <a:xfrm>
              <a:off x="2271123" y="201937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2" name="Google Shape;7082;p53"/>
            <p:cNvSpPr/>
            <p:nvPr/>
          </p:nvSpPr>
          <p:spPr>
            <a:xfrm>
              <a:off x="2270892" y="2021936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3" name="Google Shape;7083;p53"/>
            <p:cNvSpPr/>
            <p:nvPr/>
          </p:nvSpPr>
          <p:spPr>
            <a:xfrm>
              <a:off x="2271177" y="2018800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4" name="Google Shape;7084;p53"/>
            <p:cNvSpPr/>
            <p:nvPr/>
          </p:nvSpPr>
          <p:spPr>
            <a:xfrm>
              <a:off x="2270892" y="202235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ubicBezTo>
                    <a:pt x="0" y="1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5" name="Google Shape;7085;p53"/>
            <p:cNvSpPr/>
            <p:nvPr/>
          </p:nvSpPr>
          <p:spPr>
            <a:xfrm>
              <a:off x="2260668" y="2062248"/>
              <a:ext cx="9192" cy="13265"/>
            </a:xfrm>
            <a:custGeom>
              <a:avLst/>
              <a:gdLst/>
              <a:ahLst/>
              <a:cxnLst/>
              <a:rect l="l" t="t" r="r" b="b"/>
              <a:pathLst>
                <a:path w="677" h="977" extrusionOk="0">
                  <a:moveTo>
                    <a:pt x="417" y="0"/>
                  </a:moveTo>
                  <a:cubicBezTo>
                    <a:pt x="417" y="4"/>
                    <a:pt x="414" y="7"/>
                    <a:pt x="410" y="14"/>
                  </a:cubicBezTo>
                  <a:cubicBezTo>
                    <a:pt x="410" y="18"/>
                    <a:pt x="410" y="21"/>
                    <a:pt x="407" y="28"/>
                  </a:cubicBezTo>
                  <a:cubicBezTo>
                    <a:pt x="403" y="32"/>
                    <a:pt x="403" y="35"/>
                    <a:pt x="400" y="42"/>
                  </a:cubicBezTo>
                  <a:cubicBezTo>
                    <a:pt x="400" y="46"/>
                    <a:pt x="400" y="49"/>
                    <a:pt x="396" y="56"/>
                  </a:cubicBezTo>
                  <a:cubicBezTo>
                    <a:pt x="393" y="60"/>
                    <a:pt x="389" y="67"/>
                    <a:pt x="386" y="74"/>
                  </a:cubicBezTo>
                  <a:cubicBezTo>
                    <a:pt x="379" y="81"/>
                    <a:pt x="379" y="81"/>
                    <a:pt x="379" y="84"/>
                  </a:cubicBezTo>
                  <a:cubicBezTo>
                    <a:pt x="372" y="91"/>
                    <a:pt x="365" y="102"/>
                    <a:pt x="354" y="109"/>
                  </a:cubicBezTo>
                  <a:cubicBezTo>
                    <a:pt x="344" y="119"/>
                    <a:pt x="333" y="126"/>
                    <a:pt x="319" y="137"/>
                  </a:cubicBezTo>
                  <a:lnTo>
                    <a:pt x="312" y="140"/>
                  </a:lnTo>
                  <a:cubicBezTo>
                    <a:pt x="302" y="147"/>
                    <a:pt x="291" y="151"/>
                    <a:pt x="277" y="158"/>
                  </a:cubicBezTo>
                  <a:lnTo>
                    <a:pt x="270" y="158"/>
                  </a:lnTo>
                  <a:cubicBezTo>
                    <a:pt x="256" y="165"/>
                    <a:pt x="242" y="168"/>
                    <a:pt x="228" y="168"/>
                  </a:cubicBezTo>
                  <a:lnTo>
                    <a:pt x="214" y="168"/>
                  </a:lnTo>
                  <a:cubicBezTo>
                    <a:pt x="204" y="172"/>
                    <a:pt x="190" y="172"/>
                    <a:pt x="176" y="172"/>
                  </a:cubicBezTo>
                  <a:lnTo>
                    <a:pt x="116" y="172"/>
                  </a:lnTo>
                  <a:cubicBezTo>
                    <a:pt x="99" y="172"/>
                    <a:pt x="81" y="168"/>
                    <a:pt x="64" y="165"/>
                  </a:cubicBezTo>
                  <a:lnTo>
                    <a:pt x="32" y="161"/>
                  </a:lnTo>
                  <a:lnTo>
                    <a:pt x="1" y="161"/>
                  </a:lnTo>
                  <a:lnTo>
                    <a:pt x="22" y="497"/>
                  </a:lnTo>
                  <a:cubicBezTo>
                    <a:pt x="74" y="655"/>
                    <a:pt x="113" y="812"/>
                    <a:pt x="141" y="977"/>
                  </a:cubicBezTo>
                  <a:lnTo>
                    <a:pt x="176" y="952"/>
                  </a:lnTo>
                  <a:lnTo>
                    <a:pt x="179" y="952"/>
                  </a:lnTo>
                  <a:lnTo>
                    <a:pt x="239" y="917"/>
                  </a:lnTo>
                  <a:lnTo>
                    <a:pt x="256" y="907"/>
                  </a:lnTo>
                  <a:lnTo>
                    <a:pt x="284" y="893"/>
                  </a:lnTo>
                  <a:lnTo>
                    <a:pt x="291" y="889"/>
                  </a:lnTo>
                  <a:cubicBezTo>
                    <a:pt x="344" y="872"/>
                    <a:pt x="456" y="711"/>
                    <a:pt x="568" y="525"/>
                  </a:cubicBezTo>
                  <a:lnTo>
                    <a:pt x="596" y="476"/>
                  </a:lnTo>
                  <a:cubicBezTo>
                    <a:pt x="613" y="445"/>
                    <a:pt x="631" y="413"/>
                    <a:pt x="648" y="382"/>
                  </a:cubicBezTo>
                  <a:lnTo>
                    <a:pt x="676" y="333"/>
                  </a:lnTo>
                  <a:lnTo>
                    <a:pt x="554" y="259"/>
                  </a:lnTo>
                  <a:lnTo>
                    <a:pt x="557" y="214"/>
                  </a:lnTo>
                  <a:lnTo>
                    <a:pt x="557" y="210"/>
                  </a:lnTo>
                  <a:lnTo>
                    <a:pt x="557" y="200"/>
                  </a:lnTo>
                  <a:lnTo>
                    <a:pt x="557" y="196"/>
                  </a:lnTo>
                  <a:lnTo>
                    <a:pt x="557" y="182"/>
                  </a:lnTo>
                  <a:lnTo>
                    <a:pt x="557" y="179"/>
                  </a:lnTo>
                  <a:lnTo>
                    <a:pt x="557" y="158"/>
                  </a:lnTo>
                  <a:lnTo>
                    <a:pt x="557" y="130"/>
                  </a:lnTo>
                  <a:lnTo>
                    <a:pt x="557" y="123"/>
                  </a:lnTo>
                  <a:lnTo>
                    <a:pt x="557" y="95"/>
                  </a:lnTo>
                  <a:lnTo>
                    <a:pt x="557" y="88"/>
                  </a:lnTo>
                  <a:cubicBezTo>
                    <a:pt x="557" y="77"/>
                    <a:pt x="557" y="63"/>
                    <a:pt x="554" y="53"/>
                  </a:cubicBezTo>
                  <a:lnTo>
                    <a:pt x="554" y="49"/>
                  </a:lnTo>
                  <a:cubicBezTo>
                    <a:pt x="554" y="35"/>
                    <a:pt x="554" y="21"/>
                    <a:pt x="550" y="11"/>
                  </a:cubicBezTo>
                  <a:cubicBezTo>
                    <a:pt x="512" y="0"/>
                    <a:pt x="459" y="0"/>
                    <a:pt x="41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6" name="Google Shape;7086;p53"/>
            <p:cNvSpPr/>
            <p:nvPr/>
          </p:nvSpPr>
          <p:spPr>
            <a:xfrm>
              <a:off x="2266140" y="206262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0"/>
                  </a:moveTo>
                  <a:lnTo>
                    <a:pt x="7" y="0"/>
                  </a:lnTo>
                  <a:cubicBezTo>
                    <a:pt x="4" y="4"/>
                    <a:pt x="0" y="7"/>
                    <a:pt x="0" y="14"/>
                  </a:cubicBezTo>
                  <a:cubicBezTo>
                    <a:pt x="4" y="7"/>
                    <a:pt x="4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7" name="Google Shape;7087;p53"/>
            <p:cNvSpPr/>
            <p:nvPr/>
          </p:nvSpPr>
          <p:spPr>
            <a:xfrm>
              <a:off x="2263044" y="20646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8" name="Google Shape;7088;p53"/>
            <p:cNvSpPr/>
            <p:nvPr/>
          </p:nvSpPr>
          <p:spPr>
            <a:xfrm>
              <a:off x="2265515" y="2063388"/>
              <a:ext cx="353" cy="339"/>
            </a:xfrm>
            <a:custGeom>
              <a:avLst/>
              <a:gdLst/>
              <a:ahLst/>
              <a:cxnLst/>
              <a:rect l="l" t="t" r="r" b="b"/>
              <a:pathLst>
                <a:path w="26" h="25" extrusionOk="0">
                  <a:moveTo>
                    <a:pt x="1" y="25"/>
                  </a:moveTo>
                  <a:cubicBezTo>
                    <a:pt x="8" y="18"/>
                    <a:pt x="15" y="7"/>
                    <a:pt x="25" y="0"/>
                  </a:cubicBezTo>
                  <a:cubicBezTo>
                    <a:pt x="15" y="7"/>
                    <a:pt x="8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9" name="Google Shape;7089;p53"/>
            <p:cNvSpPr/>
            <p:nvPr/>
          </p:nvSpPr>
          <p:spPr>
            <a:xfrm>
              <a:off x="2261103" y="2064380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0" y="1"/>
                  </a:moveTo>
                  <a:lnTo>
                    <a:pt x="32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0" name="Google Shape;7090;p53"/>
            <p:cNvSpPr/>
            <p:nvPr/>
          </p:nvSpPr>
          <p:spPr>
            <a:xfrm>
              <a:off x="2264904" y="206405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1" name="Google Shape;7091;p53"/>
            <p:cNvSpPr/>
            <p:nvPr/>
          </p:nvSpPr>
          <p:spPr>
            <a:xfrm>
              <a:off x="2264375" y="20643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2" name="Google Shape;7092;p53"/>
            <p:cNvSpPr/>
            <p:nvPr/>
          </p:nvSpPr>
          <p:spPr>
            <a:xfrm>
              <a:off x="2262243" y="206457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3" name="Google Shape;7093;p53"/>
            <p:cNvSpPr/>
            <p:nvPr/>
          </p:nvSpPr>
          <p:spPr>
            <a:xfrm>
              <a:off x="2263615" y="206457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4" name="Google Shape;7094;p53"/>
            <p:cNvSpPr/>
            <p:nvPr/>
          </p:nvSpPr>
          <p:spPr>
            <a:xfrm>
              <a:off x="2260668" y="2064380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5" name="Google Shape;7095;p53"/>
            <p:cNvSpPr/>
            <p:nvPr/>
          </p:nvSpPr>
          <p:spPr>
            <a:xfrm>
              <a:off x="2265896" y="2063008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cubicBezTo>
                    <a:pt x="4" y="11"/>
                    <a:pt x="11" y="4"/>
                    <a:pt x="11" y="0"/>
                  </a:cubicBezTo>
                  <a:cubicBezTo>
                    <a:pt x="11" y="4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6" name="Google Shape;7096;p53"/>
            <p:cNvSpPr/>
            <p:nvPr/>
          </p:nvSpPr>
          <p:spPr>
            <a:xfrm>
              <a:off x="2266235" y="2062194"/>
              <a:ext cx="2050" cy="258"/>
            </a:xfrm>
            <a:custGeom>
              <a:avLst/>
              <a:gdLst/>
              <a:ahLst/>
              <a:cxnLst/>
              <a:rect l="l" t="t" r="r" b="b"/>
              <a:pathLst>
                <a:path w="151" h="19" extrusionOk="0">
                  <a:moveTo>
                    <a:pt x="151" y="1"/>
                  </a:moveTo>
                  <a:lnTo>
                    <a:pt x="151" y="1"/>
                  </a:lnTo>
                  <a:cubicBezTo>
                    <a:pt x="98" y="4"/>
                    <a:pt x="46" y="4"/>
                    <a:pt x="7" y="4"/>
                  </a:cubicBezTo>
                  <a:cubicBezTo>
                    <a:pt x="49" y="4"/>
                    <a:pt x="98" y="4"/>
                    <a:pt x="151" y="1"/>
                  </a:cubicBezTo>
                  <a:close/>
                  <a:moveTo>
                    <a:pt x="7" y="4"/>
                  </a:moveTo>
                  <a:cubicBezTo>
                    <a:pt x="4" y="8"/>
                    <a:pt x="0" y="15"/>
                    <a:pt x="0" y="18"/>
                  </a:cubicBezTo>
                  <a:cubicBezTo>
                    <a:pt x="4" y="11"/>
                    <a:pt x="7" y="8"/>
                    <a:pt x="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7" name="Google Shape;7097;p53"/>
            <p:cNvSpPr/>
            <p:nvPr/>
          </p:nvSpPr>
          <p:spPr>
            <a:xfrm>
              <a:off x="2260668" y="2064339"/>
              <a:ext cx="353" cy="4616"/>
            </a:xfrm>
            <a:custGeom>
              <a:avLst/>
              <a:gdLst/>
              <a:ahLst/>
              <a:cxnLst/>
              <a:rect l="l" t="t" r="r" b="b"/>
              <a:pathLst>
                <a:path w="26" h="340" extrusionOk="0">
                  <a:moveTo>
                    <a:pt x="1" y="0"/>
                  </a:moveTo>
                  <a:lnTo>
                    <a:pt x="25" y="340"/>
                  </a:lnTo>
                  <a:lnTo>
                    <a:pt x="25" y="34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8" name="Google Shape;7098;p53"/>
            <p:cNvSpPr/>
            <p:nvPr/>
          </p:nvSpPr>
          <p:spPr>
            <a:xfrm>
              <a:off x="2267851" y="2123754"/>
              <a:ext cx="76781" cy="124832"/>
            </a:xfrm>
            <a:custGeom>
              <a:avLst/>
              <a:gdLst/>
              <a:ahLst/>
              <a:cxnLst/>
              <a:rect l="l" t="t" r="r" b="b"/>
              <a:pathLst>
                <a:path w="5655" h="9194" extrusionOk="0">
                  <a:moveTo>
                    <a:pt x="5448" y="0"/>
                  </a:moveTo>
                  <a:lnTo>
                    <a:pt x="5402" y="21"/>
                  </a:lnTo>
                  <a:lnTo>
                    <a:pt x="5384" y="28"/>
                  </a:lnTo>
                  <a:lnTo>
                    <a:pt x="5321" y="60"/>
                  </a:lnTo>
                  <a:lnTo>
                    <a:pt x="5265" y="84"/>
                  </a:lnTo>
                  <a:lnTo>
                    <a:pt x="5251" y="91"/>
                  </a:lnTo>
                  <a:lnTo>
                    <a:pt x="5216" y="109"/>
                  </a:lnTo>
                  <a:lnTo>
                    <a:pt x="5202" y="119"/>
                  </a:lnTo>
                  <a:lnTo>
                    <a:pt x="5174" y="133"/>
                  </a:lnTo>
                  <a:lnTo>
                    <a:pt x="5160" y="140"/>
                  </a:lnTo>
                  <a:lnTo>
                    <a:pt x="5136" y="151"/>
                  </a:lnTo>
                  <a:lnTo>
                    <a:pt x="5122" y="158"/>
                  </a:lnTo>
                  <a:lnTo>
                    <a:pt x="5104" y="168"/>
                  </a:lnTo>
                  <a:lnTo>
                    <a:pt x="5094" y="175"/>
                  </a:lnTo>
                  <a:lnTo>
                    <a:pt x="5076" y="182"/>
                  </a:lnTo>
                  <a:lnTo>
                    <a:pt x="5066" y="189"/>
                  </a:lnTo>
                  <a:lnTo>
                    <a:pt x="5055" y="196"/>
                  </a:lnTo>
                  <a:lnTo>
                    <a:pt x="5045" y="200"/>
                  </a:lnTo>
                  <a:lnTo>
                    <a:pt x="5038" y="207"/>
                  </a:lnTo>
                  <a:lnTo>
                    <a:pt x="5031" y="210"/>
                  </a:lnTo>
                  <a:lnTo>
                    <a:pt x="5020" y="217"/>
                  </a:lnTo>
                  <a:lnTo>
                    <a:pt x="5017" y="221"/>
                  </a:lnTo>
                  <a:lnTo>
                    <a:pt x="5010" y="224"/>
                  </a:lnTo>
                  <a:lnTo>
                    <a:pt x="5006" y="228"/>
                  </a:lnTo>
                  <a:lnTo>
                    <a:pt x="4999" y="231"/>
                  </a:lnTo>
                  <a:lnTo>
                    <a:pt x="4996" y="235"/>
                  </a:lnTo>
                  <a:lnTo>
                    <a:pt x="4992" y="238"/>
                  </a:lnTo>
                  <a:lnTo>
                    <a:pt x="4989" y="242"/>
                  </a:lnTo>
                  <a:cubicBezTo>
                    <a:pt x="4954" y="305"/>
                    <a:pt x="4884" y="316"/>
                    <a:pt x="4819" y="316"/>
                  </a:cubicBezTo>
                  <a:cubicBezTo>
                    <a:pt x="4805" y="316"/>
                    <a:pt x="4792" y="316"/>
                    <a:pt x="4779" y="315"/>
                  </a:cubicBezTo>
                  <a:cubicBezTo>
                    <a:pt x="4768" y="315"/>
                    <a:pt x="4757" y="315"/>
                    <a:pt x="4747" y="315"/>
                  </a:cubicBezTo>
                  <a:cubicBezTo>
                    <a:pt x="4683" y="315"/>
                    <a:pt x="4629" y="318"/>
                    <a:pt x="4590" y="354"/>
                  </a:cubicBezTo>
                  <a:cubicBezTo>
                    <a:pt x="4529" y="406"/>
                    <a:pt x="4474" y="423"/>
                    <a:pt x="4425" y="423"/>
                  </a:cubicBezTo>
                  <a:cubicBezTo>
                    <a:pt x="4368" y="423"/>
                    <a:pt x="4318" y="400"/>
                    <a:pt x="4275" y="382"/>
                  </a:cubicBezTo>
                  <a:cubicBezTo>
                    <a:pt x="4254" y="368"/>
                    <a:pt x="4229" y="361"/>
                    <a:pt x="4205" y="350"/>
                  </a:cubicBezTo>
                  <a:cubicBezTo>
                    <a:pt x="4200" y="349"/>
                    <a:pt x="4196" y="348"/>
                    <a:pt x="4192" y="348"/>
                  </a:cubicBezTo>
                  <a:cubicBezTo>
                    <a:pt x="4186" y="348"/>
                    <a:pt x="4181" y="350"/>
                    <a:pt x="4177" y="354"/>
                  </a:cubicBezTo>
                  <a:cubicBezTo>
                    <a:pt x="4149" y="371"/>
                    <a:pt x="4121" y="434"/>
                    <a:pt x="4110" y="508"/>
                  </a:cubicBezTo>
                  <a:cubicBezTo>
                    <a:pt x="4103" y="543"/>
                    <a:pt x="4086" y="571"/>
                    <a:pt x="4058" y="588"/>
                  </a:cubicBezTo>
                  <a:cubicBezTo>
                    <a:pt x="4023" y="613"/>
                    <a:pt x="3976" y="622"/>
                    <a:pt x="3923" y="622"/>
                  </a:cubicBezTo>
                  <a:cubicBezTo>
                    <a:pt x="3859" y="622"/>
                    <a:pt x="3786" y="609"/>
                    <a:pt x="3718" y="595"/>
                  </a:cubicBezTo>
                  <a:lnTo>
                    <a:pt x="3708" y="595"/>
                  </a:lnTo>
                  <a:cubicBezTo>
                    <a:pt x="3638" y="599"/>
                    <a:pt x="3568" y="609"/>
                    <a:pt x="3501" y="627"/>
                  </a:cubicBezTo>
                  <a:cubicBezTo>
                    <a:pt x="3421" y="644"/>
                    <a:pt x="3336" y="658"/>
                    <a:pt x="3252" y="662"/>
                  </a:cubicBezTo>
                  <a:cubicBezTo>
                    <a:pt x="3248" y="662"/>
                    <a:pt x="3243" y="662"/>
                    <a:pt x="3238" y="662"/>
                  </a:cubicBezTo>
                  <a:cubicBezTo>
                    <a:pt x="3174" y="662"/>
                    <a:pt x="3115" y="619"/>
                    <a:pt x="3105" y="553"/>
                  </a:cubicBezTo>
                  <a:cubicBezTo>
                    <a:pt x="3102" y="525"/>
                    <a:pt x="3081" y="504"/>
                    <a:pt x="3053" y="497"/>
                  </a:cubicBezTo>
                  <a:cubicBezTo>
                    <a:pt x="3035" y="492"/>
                    <a:pt x="3019" y="489"/>
                    <a:pt x="3003" y="489"/>
                  </a:cubicBezTo>
                  <a:cubicBezTo>
                    <a:pt x="2957" y="489"/>
                    <a:pt x="2916" y="508"/>
                    <a:pt x="2874" y="529"/>
                  </a:cubicBezTo>
                  <a:cubicBezTo>
                    <a:pt x="2836" y="550"/>
                    <a:pt x="2794" y="564"/>
                    <a:pt x="2748" y="567"/>
                  </a:cubicBezTo>
                  <a:lnTo>
                    <a:pt x="2650" y="567"/>
                  </a:lnTo>
                  <a:lnTo>
                    <a:pt x="2626" y="564"/>
                  </a:lnTo>
                  <a:lnTo>
                    <a:pt x="2601" y="560"/>
                  </a:lnTo>
                  <a:lnTo>
                    <a:pt x="2573" y="557"/>
                  </a:lnTo>
                  <a:lnTo>
                    <a:pt x="2552" y="553"/>
                  </a:lnTo>
                  <a:lnTo>
                    <a:pt x="2531" y="553"/>
                  </a:lnTo>
                  <a:lnTo>
                    <a:pt x="2510" y="550"/>
                  </a:lnTo>
                  <a:lnTo>
                    <a:pt x="2500" y="550"/>
                  </a:lnTo>
                  <a:cubicBezTo>
                    <a:pt x="2496" y="599"/>
                    <a:pt x="2489" y="648"/>
                    <a:pt x="2472" y="693"/>
                  </a:cubicBezTo>
                  <a:cubicBezTo>
                    <a:pt x="2416" y="840"/>
                    <a:pt x="2517" y="1148"/>
                    <a:pt x="2598" y="1393"/>
                  </a:cubicBezTo>
                  <a:cubicBezTo>
                    <a:pt x="2647" y="1523"/>
                    <a:pt x="2685" y="1656"/>
                    <a:pt x="2710" y="1793"/>
                  </a:cubicBezTo>
                  <a:lnTo>
                    <a:pt x="2724" y="1807"/>
                  </a:lnTo>
                  <a:lnTo>
                    <a:pt x="2759" y="1835"/>
                  </a:lnTo>
                  <a:lnTo>
                    <a:pt x="2780" y="1852"/>
                  </a:lnTo>
                  <a:lnTo>
                    <a:pt x="2811" y="1884"/>
                  </a:lnTo>
                  <a:lnTo>
                    <a:pt x="2829" y="1898"/>
                  </a:lnTo>
                  <a:lnTo>
                    <a:pt x="2857" y="1926"/>
                  </a:lnTo>
                  <a:lnTo>
                    <a:pt x="2874" y="1943"/>
                  </a:lnTo>
                  <a:lnTo>
                    <a:pt x="2902" y="1968"/>
                  </a:lnTo>
                  <a:lnTo>
                    <a:pt x="2916" y="1982"/>
                  </a:lnTo>
                  <a:lnTo>
                    <a:pt x="2941" y="2006"/>
                  </a:lnTo>
                  <a:lnTo>
                    <a:pt x="2955" y="2020"/>
                  </a:lnTo>
                  <a:lnTo>
                    <a:pt x="2972" y="2041"/>
                  </a:lnTo>
                  <a:lnTo>
                    <a:pt x="2986" y="2055"/>
                  </a:lnTo>
                  <a:lnTo>
                    <a:pt x="3004" y="2073"/>
                  </a:lnTo>
                  <a:lnTo>
                    <a:pt x="3014" y="2087"/>
                  </a:lnTo>
                  <a:lnTo>
                    <a:pt x="3028" y="2101"/>
                  </a:lnTo>
                  <a:cubicBezTo>
                    <a:pt x="3039" y="2115"/>
                    <a:pt x="3049" y="2129"/>
                    <a:pt x="3056" y="2139"/>
                  </a:cubicBezTo>
                  <a:cubicBezTo>
                    <a:pt x="3098" y="2192"/>
                    <a:pt x="3116" y="2262"/>
                    <a:pt x="3102" y="2328"/>
                  </a:cubicBezTo>
                  <a:cubicBezTo>
                    <a:pt x="3098" y="2346"/>
                    <a:pt x="3095" y="2363"/>
                    <a:pt x="3091" y="2381"/>
                  </a:cubicBezTo>
                  <a:lnTo>
                    <a:pt x="3084" y="2405"/>
                  </a:lnTo>
                  <a:cubicBezTo>
                    <a:pt x="3060" y="2500"/>
                    <a:pt x="3053" y="2594"/>
                    <a:pt x="3060" y="2689"/>
                  </a:cubicBezTo>
                  <a:cubicBezTo>
                    <a:pt x="3070" y="2979"/>
                    <a:pt x="2976" y="3025"/>
                    <a:pt x="2846" y="3049"/>
                  </a:cubicBezTo>
                  <a:cubicBezTo>
                    <a:pt x="2804" y="3053"/>
                    <a:pt x="2762" y="3070"/>
                    <a:pt x="2727" y="3098"/>
                  </a:cubicBezTo>
                  <a:cubicBezTo>
                    <a:pt x="2661" y="3158"/>
                    <a:pt x="2678" y="3291"/>
                    <a:pt x="2696" y="3399"/>
                  </a:cubicBezTo>
                  <a:cubicBezTo>
                    <a:pt x="2706" y="3473"/>
                    <a:pt x="2717" y="3529"/>
                    <a:pt x="2699" y="3574"/>
                  </a:cubicBezTo>
                  <a:cubicBezTo>
                    <a:pt x="2696" y="3581"/>
                    <a:pt x="2692" y="3588"/>
                    <a:pt x="2685" y="3595"/>
                  </a:cubicBezTo>
                  <a:cubicBezTo>
                    <a:pt x="2682" y="3599"/>
                    <a:pt x="2675" y="3606"/>
                    <a:pt x="2671" y="3609"/>
                  </a:cubicBezTo>
                  <a:cubicBezTo>
                    <a:pt x="2664" y="3613"/>
                    <a:pt x="2661" y="3617"/>
                    <a:pt x="2654" y="3617"/>
                  </a:cubicBezTo>
                  <a:lnTo>
                    <a:pt x="2626" y="3617"/>
                  </a:lnTo>
                  <a:cubicBezTo>
                    <a:pt x="2489" y="3613"/>
                    <a:pt x="2094" y="2962"/>
                    <a:pt x="2073" y="2902"/>
                  </a:cubicBezTo>
                  <a:cubicBezTo>
                    <a:pt x="2055" y="2843"/>
                    <a:pt x="2073" y="2766"/>
                    <a:pt x="2118" y="2619"/>
                  </a:cubicBezTo>
                  <a:cubicBezTo>
                    <a:pt x="2160" y="2475"/>
                    <a:pt x="2209" y="2300"/>
                    <a:pt x="2185" y="2181"/>
                  </a:cubicBezTo>
                  <a:cubicBezTo>
                    <a:pt x="2185" y="2157"/>
                    <a:pt x="2171" y="2136"/>
                    <a:pt x="2150" y="2122"/>
                  </a:cubicBezTo>
                  <a:cubicBezTo>
                    <a:pt x="2134" y="2113"/>
                    <a:pt x="2113" y="2109"/>
                    <a:pt x="2090" y="2109"/>
                  </a:cubicBezTo>
                  <a:cubicBezTo>
                    <a:pt x="2032" y="2109"/>
                    <a:pt x="1960" y="2131"/>
                    <a:pt x="1905" y="2146"/>
                  </a:cubicBezTo>
                  <a:cubicBezTo>
                    <a:pt x="1880" y="2157"/>
                    <a:pt x="1852" y="2164"/>
                    <a:pt x="1824" y="2167"/>
                  </a:cubicBezTo>
                  <a:cubicBezTo>
                    <a:pt x="1818" y="2168"/>
                    <a:pt x="1811" y="2169"/>
                    <a:pt x="1804" y="2169"/>
                  </a:cubicBezTo>
                  <a:cubicBezTo>
                    <a:pt x="1726" y="2169"/>
                    <a:pt x="1639" y="2095"/>
                    <a:pt x="1516" y="1985"/>
                  </a:cubicBezTo>
                  <a:lnTo>
                    <a:pt x="1495" y="1968"/>
                  </a:lnTo>
                  <a:lnTo>
                    <a:pt x="1488" y="1957"/>
                  </a:lnTo>
                  <a:lnTo>
                    <a:pt x="1471" y="1947"/>
                  </a:lnTo>
                  <a:lnTo>
                    <a:pt x="1464" y="1936"/>
                  </a:lnTo>
                  <a:lnTo>
                    <a:pt x="1450" y="1929"/>
                  </a:lnTo>
                  <a:lnTo>
                    <a:pt x="1443" y="1922"/>
                  </a:lnTo>
                  <a:lnTo>
                    <a:pt x="1436" y="1915"/>
                  </a:lnTo>
                  <a:cubicBezTo>
                    <a:pt x="1320" y="1947"/>
                    <a:pt x="595" y="2213"/>
                    <a:pt x="56" y="2416"/>
                  </a:cubicBezTo>
                  <a:lnTo>
                    <a:pt x="53" y="2416"/>
                  </a:lnTo>
                  <a:lnTo>
                    <a:pt x="0" y="2433"/>
                  </a:lnTo>
                  <a:lnTo>
                    <a:pt x="119" y="2860"/>
                  </a:lnTo>
                  <a:lnTo>
                    <a:pt x="102" y="2860"/>
                  </a:lnTo>
                  <a:lnTo>
                    <a:pt x="126" y="2913"/>
                  </a:lnTo>
                  <a:cubicBezTo>
                    <a:pt x="252" y="2923"/>
                    <a:pt x="627" y="2962"/>
                    <a:pt x="823" y="3091"/>
                  </a:cubicBezTo>
                  <a:cubicBezTo>
                    <a:pt x="952" y="3179"/>
                    <a:pt x="1131" y="3217"/>
                    <a:pt x="1264" y="3249"/>
                  </a:cubicBezTo>
                  <a:cubicBezTo>
                    <a:pt x="1331" y="3259"/>
                    <a:pt x="1394" y="3280"/>
                    <a:pt x="1453" y="3308"/>
                  </a:cubicBezTo>
                  <a:cubicBezTo>
                    <a:pt x="1520" y="3354"/>
                    <a:pt x="1523" y="3473"/>
                    <a:pt x="1509" y="3809"/>
                  </a:cubicBezTo>
                  <a:cubicBezTo>
                    <a:pt x="1499" y="3942"/>
                    <a:pt x="1499" y="4075"/>
                    <a:pt x="1506" y="4205"/>
                  </a:cubicBezTo>
                  <a:cubicBezTo>
                    <a:pt x="1520" y="4366"/>
                    <a:pt x="1439" y="4464"/>
                    <a:pt x="1376" y="4537"/>
                  </a:cubicBezTo>
                  <a:cubicBezTo>
                    <a:pt x="1310" y="4618"/>
                    <a:pt x="1313" y="4625"/>
                    <a:pt x="1341" y="4649"/>
                  </a:cubicBezTo>
                  <a:cubicBezTo>
                    <a:pt x="1432" y="4744"/>
                    <a:pt x="1450" y="4866"/>
                    <a:pt x="1464" y="4957"/>
                  </a:cubicBezTo>
                  <a:cubicBezTo>
                    <a:pt x="1467" y="4989"/>
                    <a:pt x="1474" y="5017"/>
                    <a:pt x="1485" y="5048"/>
                  </a:cubicBezTo>
                  <a:cubicBezTo>
                    <a:pt x="1520" y="5059"/>
                    <a:pt x="1544" y="5087"/>
                    <a:pt x="1548" y="5122"/>
                  </a:cubicBezTo>
                  <a:cubicBezTo>
                    <a:pt x="1569" y="5248"/>
                    <a:pt x="1310" y="5517"/>
                    <a:pt x="1204" y="5580"/>
                  </a:cubicBezTo>
                  <a:cubicBezTo>
                    <a:pt x="1180" y="5594"/>
                    <a:pt x="1176" y="5664"/>
                    <a:pt x="1173" y="5735"/>
                  </a:cubicBezTo>
                  <a:cubicBezTo>
                    <a:pt x="1173" y="5843"/>
                    <a:pt x="1166" y="5980"/>
                    <a:pt x="1078" y="6095"/>
                  </a:cubicBezTo>
                  <a:cubicBezTo>
                    <a:pt x="1008" y="6190"/>
                    <a:pt x="844" y="6347"/>
                    <a:pt x="686" y="6498"/>
                  </a:cubicBezTo>
                  <a:lnTo>
                    <a:pt x="609" y="6568"/>
                  </a:lnTo>
                  <a:lnTo>
                    <a:pt x="592" y="6585"/>
                  </a:lnTo>
                  <a:lnTo>
                    <a:pt x="560" y="6613"/>
                  </a:lnTo>
                  <a:cubicBezTo>
                    <a:pt x="571" y="6638"/>
                    <a:pt x="578" y="6662"/>
                    <a:pt x="585" y="6687"/>
                  </a:cubicBezTo>
                  <a:lnTo>
                    <a:pt x="592" y="6718"/>
                  </a:lnTo>
                  <a:lnTo>
                    <a:pt x="595" y="6729"/>
                  </a:lnTo>
                  <a:lnTo>
                    <a:pt x="602" y="6760"/>
                  </a:lnTo>
                  <a:lnTo>
                    <a:pt x="606" y="6774"/>
                  </a:lnTo>
                  <a:lnTo>
                    <a:pt x="616" y="6813"/>
                  </a:lnTo>
                  <a:lnTo>
                    <a:pt x="620" y="6823"/>
                  </a:lnTo>
                  <a:lnTo>
                    <a:pt x="630" y="6879"/>
                  </a:lnTo>
                  <a:cubicBezTo>
                    <a:pt x="679" y="7079"/>
                    <a:pt x="791" y="7544"/>
                    <a:pt x="868" y="7586"/>
                  </a:cubicBezTo>
                  <a:cubicBezTo>
                    <a:pt x="1075" y="7709"/>
                    <a:pt x="949" y="8640"/>
                    <a:pt x="949" y="8651"/>
                  </a:cubicBezTo>
                  <a:lnTo>
                    <a:pt x="949" y="8654"/>
                  </a:lnTo>
                  <a:lnTo>
                    <a:pt x="949" y="8714"/>
                  </a:lnTo>
                  <a:lnTo>
                    <a:pt x="949" y="8738"/>
                  </a:lnTo>
                  <a:lnTo>
                    <a:pt x="952" y="8780"/>
                  </a:lnTo>
                  <a:cubicBezTo>
                    <a:pt x="956" y="8857"/>
                    <a:pt x="970" y="8955"/>
                    <a:pt x="984" y="9085"/>
                  </a:cubicBezTo>
                  <a:lnTo>
                    <a:pt x="998" y="9193"/>
                  </a:lnTo>
                  <a:lnTo>
                    <a:pt x="1005" y="9193"/>
                  </a:lnTo>
                  <a:lnTo>
                    <a:pt x="1029" y="9190"/>
                  </a:lnTo>
                  <a:lnTo>
                    <a:pt x="1033" y="9190"/>
                  </a:lnTo>
                  <a:cubicBezTo>
                    <a:pt x="1099" y="9183"/>
                    <a:pt x="1194" y="9176"/>
                    <a:pt x="1289" y="9172"/>
                  </a:cubicBezTo>
                  <a:cubicBezTo>
                    <a:pt x="1296" y="9099"/>
                    <a:pt x="1303" y="9022"/>
                    <a:pt x="1306" y="8962"/>
                  </a:cubicBezTo>
                  <a:cubicBezTo>
                    <a:pt x="1310" y="8938"/>
                    <a:pt x="1310" y="8913"/>
                    <a:pt x="1303" y="8889"/>
                  </a:cubicBezTo>
                  <a:lnTo>
                    <a:pt x="1274" y="8889"/>
                  </a:lnTo>
                  <a:cubicBezTo>
                    <a:pt x="1265" y="8890"/>
                    <a:pt x="1256" y="8891"/>
                    <a:pt x="1247" y="8891"/>
                  </a:cubicBezTo>
                  <a:cubicBezTo>
                    <a:pt x="1177" y="8891"/>
                    <a:pt x="1114" y="8845"/>
                    <a:pt x="1092" y="8777"/>
                  </a:cubicBezTo>
                  <a:cubicBezTo>
                    <a:pt x="1005" y="8532"/>
                    <a:pt x="1597" y="8210"/>
                    <a:pt x="1989" y="8063"/>
                  </a:cubicBezTo>
                  <a:cubicBezTo>
                    <a:pt x="2447" y="7895"/>
                    <a:pt x="2598" y="7804"/>
                    <a:pt x="2636" y="7677"/>
                  </a:cubicBezTo>
                  <a:cubicBezTo>
                    <a:pt x="2654" y="7611"/>
                    <a:pt x="2654" y="7474"/>
                    <a:pt x="2654" y="7341"/>
                  </a:cubicBezTo>
                  <a:cubicBezTo>
                    <a:pt x="2654" y="7166"/>
                    <a:pt x="2654" y="6988"/>
                    <a:pt x="2692" y="6883"/>
                  </a:cubicBezTo>
                  <a:cubicBezTo>
                    <a:pt x="2724" y="6795"/>
                    <a:pt x="2706" y="6732"/>
                    <a:pt x="2671" y="6603"/>
                  </a:cubicBezTo>
                  <a:cubicBezTo>
                    <a:pt x="2636" y="6480"/>
                    <a:pt x="2612" y="6354"/>
                    <a:pt x="2594" y="6225"/>
                  </a:cubicBezTo>
                  <a:cubicBezTo>
                    <a:pt x="2573" y="6064"/>
                    <a:pt x="2521" y="5910"/>
                    <a:pt x="2433" y="5770"/>
                  </a:cubicBezTo>
                  <a:cubicBezTo>
                    <a:pt x="2388" y="5700"/>
                    <a:pt x="2353" y="5622"/>
                    <a:pt x="2328" y="5538"/>
                  </a:cubicBezTo>
                  <a:cubicBezTo>
                    <a:pt x="2290" y="5409"/>
                    <a:pt x="2262" y="5227"/>
                    <a:pt x="2335" y="5118"/>
                  </a:cubicBezTo>
                  <a:cubicBezTo>
                    <a:pt x="2367" y="5073"/>
                    <a:pt x="2419" y="5045"/>
                    <a:pt x="2475" y="5045"/>
                  </a:cubicBezTo>
                  <a:cubicBezTo>
                    <a:pt x="2545" y="5038"/>
                    <a:pt x="2552" y="5031"/>
                    <a:pt x="2619" y="4898"/>
                  </a:cubicBezTo>
                  <a:cubicBezTo>
                    <a:pt x="2633" y="4866"/>
                    <a:pt x="2650" y="4831"/>
                    <a:pt x="2671" y="4789"/>
                  </a:cubicBezTo>
                  <a:cubicBezTo>
                    <a:pt x="2752" y="4635"/>
                    <a:pt x="2843" y="4607"/>
                    <a:pt x="2941" y="4576"/>
                  </a:cubicBezTo>
                  <a:cubicBezTo>
                    <a:pt x="3018" y="4555"/>
                    <a:pt x="3088" y="4520"/>
                    <a:pt x="3154" y="4474"/>
                  </a:cubicBezTo>
                  <a:cubicBezTo>
                    <a:pt x="3231" y="4411"/>
                    <a:pt x="3301" y="4334"/>
                    <a:pt x="3354" y="4247"/>
                  </a:cubicBezTo>
                  <a:cubicBezTo>
                    <a:pt x="3452" y="4093"/>
                    <a:pt x="3578" y="3956"/>
                    <a:pt x="3725" y="3844"/>
                  </a:cubicBezTo>
                  <a:cubicBezTo>
                    <a:pt x="3928" y="3687"/>
                    <a:pt x="4142" y="3624"/>
                    <a:pt x="4348" y="3560"/>
                  </a:cubicBezTo>
                  <a:cubicBezTo>
                    <a:pt x="4506" y="3518"/>
                    <a:pt x="4656" y="3459"/>
                    <a:pt x="4800" y="3378"/>
                  </a:cubicBezTo>
                  <a:cubicBezTo>
                    <a:pt x="5122" y="3189"/>
                    <a:pt x="5654" y="2444"/>
                    <a:pt x="5637" y="2318"/>
                  </a:cubicBezTo>
                  <a:cubicBezTo>
                    <a:pt x="5577" y="2167"/>
                    <a:pt x="5462" y="1505"/>
                    <a:pt x="5497" y="1222"/>
                  </a:cubicBezTo>
                  <a:cubicBezTo>
                    <a:pt x="5514" y="1068"/>
                    <a:pt x="5497" y="756"/>
                    <a:pt x="5472" y="455"/>
                  </a:cubicBezTo>
                  <a:cubicBezTo>
                    <a:pt x="5462" y="287"/>
                    <a:pt x="5451" y="126"/>
                    <a:pt x="54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9" name="Google Shape;7099;p53"/>
            <p:cNvSpPr/>
            <p:nvPr/>
          </p:nvSpPr>
          <p:spPr>
            <a:xfrm>
              <a:off x="2344428" y="21553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0" name="Google Shape;7100;p53"/>
            <p:cNvSpPr/>
            <p:nvPr/>
          </p:nvSpPr>
          <p:spPr>
            <a:xfrm>
              <a:off x="2275454" y="2213298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35" y="1"/>
                  </a:moveTo>
                  <a:lnTo>
                    <a:pt x="0" y="32"/>
                  </a:lnTo>
                  <a:lnTo>
                    <a:pt x="4" y="32"/>
                  </a:ln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1" name="Google Shape;7101;p53"/>
            <p:cNvSpPr/>
            <p:nvPr/>
          </p:nvSpPr>
          <p:spPr>
            <a:xfrm>
              <a:off x="2276119" y="2212116"/>
              <a:ext cx="1059" cy="964"/>
            </a:xfrm>
            <a:custGeom>
              <a:avLst/>
              <a:gdLst/>
              <a:ahLst/>
              <a:cxnLst/>
              <a:rect l="l" t="t" r="r" b="b"/>
              <a:pathLst>
                <a:path w="78" h="71" extrusionOk="0">
                  <a:moveTo>
                    <a:pt x="77" y="0"/>
                  </a:moveTo>
                  <a:lnTo>
                    <a:pt x="0" y="7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2" name="Google Shape;7102;p53"/>
            <p:cNvSpPr/>
            <p:nvPr/>
          </p:nvSpPr>
          <p:spPr>
            <a:xfrm>
              <a:off x="2280777" y="2242204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25"/>
                  </a:moveTo>
                  <a:lnTo>
                    <a:pt x="0" y="0"/>
                  </a:ln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3" name="Google Shape;7103;p53"/>
            <p:cNvSpPr/>
            <p:nvPr/>
          </p:nvSpPr>
          <p:spPr>
            <a:xfrm>
              <a:off x="2280817" y="2243155"/>
              <a:ext cx="448" cy="4141"/>
            </a:xfrm>
            <a:custGeom>
              <a:avLst/>
              <a:gdLst/>
              <a:ahLst/>
              <a:cxnLst/>
              <a:rect l="l" t="t" r="r" b="b"/>
              <a:pathLst>
                <a:path w="33" h="305" extrusionOk="0">
                  <a:moveTo>
                    <a:pt x="1" y="0"/>
                  </a:moveTo>
                  <a:lnTo>
                    <a:pt x="1" y="35"/>
                  </a:lnTo>
                  <a:cubicBezTo>
                    <a:pt x="4" y="54"/>
                    <a:pt x="6" y="74"/>
                    <a:pt x="9" y="95"/>
                  </a:cubicBezTo>
                  <a:lnTo>
                    <a:pt x="9" y="95"/>
                  </a:lnTo>
                  <a:cubicBezTo>
                    <a:pt x="5" y="59"/>
                    <a:pt x="2" y="28"/>
                    <a:pt x="1" y="0"/>
                  </a:cubicBezTo>
                  <a:close/>
                  <a:moveTo>
                    <a:pt x="9" y="95"/>
                  </a:moveTo>
                  <a:cubicBezTo>
                    <a:pt x="15" y="155"/>
                    <a:pt x="24" y="226"/>
                    <a:pt x="32" y="305"/>
                  </a:cubicBezTo>
                  <a:cubicBezTo>
                    <a:pt x="25" y="231"/>
                    <a:pt x="17" y="159"/>
                    <a:pt x="9" y="9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4" name="Google Shape;7104;p53"/>
            <p:cNvSpPr/>
            <p:nvPr/>
          </p:nvSpPr>
          <p:spPr>
            <a:xfrm>
              <a:off x="2281252" y="2247282"/>
              <a:ext cx="204" cy="1494"/>
            </a:xfrm>
            <a:custGeom>
              <a:avLst/>
              <a:gdLst/>
              <a:ahLst/>
              <a:cxnLst/>
              <a:rect l="l" t="t" r="r" b="b"/>
              <a:pathLst>
                <a:path w="15" h="110" extrusionOk="0">
                  <a:moveTo>
                    <a:pt x="0" y="1"/>
                  </a:moveTo>
                  <a:cubicBezTo>
                    <a:pt x="4" y="36"/>
                    <a:pt x="7" y="71"/>
                    <a:pt x="14" y="109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5" name="Google Shape;7105;p53"/>
            <p:cNvSpPr/>
            <p:nvPr/>
          </p:nvSpPr>
          <p:spPr>
            <a:xfrm>
              <a:off x="2276215" y="2216393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6" name="Google Shape;7106;p53"/>
            <p:cNvSpPr/>
            <p:nvPr/>
          </p:nvSpPr>
          <p:spPr>
            <a:xfrm>
              <a:off x="2280722" y="2241389"/>
              <a:ext cx="14" cy="828"/>
            </a:xfrm>
            <a:custGeom>
              <a:avLst/>
              <a:gdLst/>
              <a:ahLst/>
              <a:cxnLst/>
              <a:rect l="l" t="t" r="r" b="b"/>
              <a:pathLst>
                <a:path w="1" h="61" extrusionOk="0">
                  <a:moveTo>
                    <a:pt x="1" y="53"/>
                  </a:moveTo>
                  <a:lnTo>
                    <a:pt x="1" y="53"/>
                  </a:lnTo>
                  <a:lnTo>
                    <a:pt x="1" y="60"/>
                  </a:lnTo>
                  <a:lnTo>
                    <a:pt x="1" y="1"/>
                  </a:lnTo>
                  <a:cubicBezTo>
                    <a:pt x="1" y="18"/>
                    <a:pt x="1" y="36"/>
                    <a:pt x="1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7" name="Google Shape;7107;p53"/>
            <p:cNvSpPr/>
            <p:nvPr/>
          </p:nvSpPr>
          <p:spPr>
            <a:xfrm>
              <a:off x="2281917" y="22487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8" name="Google Shape;7108;p53"/>
            <p:cNvSpPr/>
            <p:nvPr/>
          </p:nvSpPr>
          <p:spPr>
            <a:xfrm>
              <a:off x="2280777" y="2242530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0" y="1"/>
                  </a:moveTo>
                  <a:cubicBezTo>
                    <a:pt x="0" y="15"/>
                    <a:pt x="0" y="32"/>
                    <a:pt x="4" y="46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9" name="Google Shape;7109;p53"/>
            <p:cNvSpPr/>
            <p:nvPr/>
          </p:nvSpPr>
          <p:spPr>
            <a:xfrm>
              <a:off x="2275875" y="221515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0" name="Google Shape;7110;p53"/>
            <p:cNvSpPr/>
            <p:nvPr/>
          </p:nvSpPr>
          <p:spPr>
            <a:xfrm>
              <a:off x="2275780" y="22146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1" name="Google Shape;7111;p53"/>
            <p:cNvSpPr/>
            <p:nvPr/>
          </p:nvSpPr>
          <p:spPr>
            <a:xfrm>
              <a:off x="2276024" y="2215728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2" name="Google Shape;7112;p53"/>
            <p:cNvSpPr/>
            <p:nvPr/>
          </p:nvSpPr>
          <p:spPr>
            <a:xfrm>
              <a:off x="2280722" y="2242109"/>
              <a:ext cx="163" cy="1534"/>
            </a:xfrm>
            <a:custGeom>
              <a:avLst/>
              <a:gdLst/>
              <a:ahLst/>
              <a:cxnLst/>
              <a:rect l="l" t="t" r="r" b="b"/>
              <a:pathLst>
                <a:path w="12" h="113" extrusionOk="0">
                  <a:moveTo>
                    <a:pt x="1" y="0"/>
                  </a:moveTo>
                  <a:cubicBezTo>
                    <a:pt x="1" y="28"/>
                    <a:pt x="4" y="67"/>
                    <a:pt x="11" y="112"/>
                  </a:cubicBezTo>
                  <a:lnTo>
                    <a:pt x="8" y="77"/>
                  </a:lnTo>
                  <a:cubicBezTo>
                    <a:pt x="8" y="60"/>
                    <a:pt x="4" y="46"/>
                    <a:pt x="4" y="32"/>
                  </a:cubicBezTo>
                  <a:lnTo>
                    <a:pt x="4" y="7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3" name="Google Shape;7113;p53"/>
            <p:cNvSpPr/>
            <p:nvPr/>
          </p:nvSpPr>
          <p:spPr>
            <a:xfrm>
              <a:off x="2281252" y="2247296"/>
              <a:ext cx="204" cy="1480"/>
            </a:xfrm>
            <a:custGeom>
              <a:avLst/>
              <a:gdLst/>
              <a:ahLst/>
              <a:cxnLst/>
              <a:rect l="l" t="t" r="r" b="b"/>
              <a:pathLst>
                <a:path w="15" h="109" extrusionOk="0">
                  <a:moveTo>
                    <a:pt x="0" y="0"/>
                  </a:moveTo>
                  <a:lnTo>
                    <a:pt x="0" y="0"/>
                  </a:lnTo>
                  <a:cubicBezTo>
                    <a:pt x="4" y="35"/>
                    <a:pt x="7" y="73"/>
                    <a:pt x="14" y="108"/>
                  </a:cubicBezTo>
                  <a:cubicBezTo>
                    <a:pt x="7" y="70"/>
                    <a:pt x="4" y="35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4" name="Google Shape;7114;p53"/>
            <p:cNvSpPr/>
            <p:nvPr/>
          </p:nvSpPr>
          <p:spPr>
            <a:xfrm>
              <a:off x="2269222" y="2162721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5" name="Google Shape;7115;p53"/>
            <p:cNvSpPr/>
            <p:nvPr/>
          </p:nvSpPr>
          <p:spPr>
            <a:xfrm>
              <a:off x="2268611" y="2149850"/>
              <a:ext cx="18737" cy="6802"/>
            </a:xfrm>
            <a:custGeom>
              <a:avLst/>
              <a:gdLst/>
              <a:ahLst/>
              <a:cxnLst/>
              <a:rect l="l" t="t" r="r" b="b"/>
              <a:pathLst>
                <a:path w="1380" h="501" extrusionOk="0">
                  <a:moveTo>
                    <a:pt x="1380" y="0"/>
                  </a:moveTo>
                  <a:cubicBezTo>
                    <a:pt x="1372" y="2"/>
                    <a:pt x="1363" y="5"/>
                    <a:pt x="1352" y="9"/>
                  </a:cubicBezTo>
                  <a:lnTo>
                    <a:pt x="1352" y="9"/>
                  </a:lnTo>
                  <a:cubicBezTo>
                    <a:pt x="1363" y="5"/>
                    <a:pt x="1372" y="2"/>
                    <a:pt x="1380" y="0"/>
                  </a:cubicBezTo>
                  <a:close/>
                  <a:moveTo>
                    <a:pt x="1352" y="9"/>
                  </a:moveTo>
                  <a:cubicBezTo>
                    <a:pt x="1169" y="68"/>
                    <a:pt x="505" y="313"/>
                    <a:pt x="0" y="501"/>
                  </a:cubicBezTo>
                  <a:cubicBezTo>
                    <a:pt x="507" y="313"/>
                    <a:pt x="1174" y="67"/>
                    <a:pt x="1352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6" name="Google Shape;7116;p53"/>
            <p:cNvSpPr/>
            <p:nvPr/>
          </p:nvSpPr>
          <p:spPr>
            <a:xfrm>
              <a:off x="2267851" y="2156693"/>
              <a:ext cx="720" cy="244"/>
            </a:xfrm>
            <a:custGeom>
              <a:avLst/>
              <a:gdLst/>
              <a:ahLst/>
              <a:cxnLst/>
              <a:rect l="l" t="t" r="r" b="b"/>
              <a:pathLst>
                <a:path w="53" h="18" extrusionOk="0">
                  <a:moveTo>
                    <a:pt x="53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7" name="Google Shape;7117;p53"/>
            <p:cNvSpPr/>
            <p:nvPr/>
          </p:nvSpPr>
          <p:spPr>
            <a:xfrm>
              <a:off x="2262854" y="2051169"/>
              <a:ext cx="78532" cy="79768"/>
            </a:xfrm>
            <a:custGeom>
              <a:avLst/>
              <a:gdLst/>
              <a:ahLst/>
              <a:cxnLst/>
              <a:rect l="l" t="t" r="r" b="b"/>
              <a:pathLst>
                <a:path w="5784" h="5875" extrusionOk="0">
                  <a:moveTo>
                    <a:pt x="1121" y="0"/>
                  </a:moveTo>
                  <a:lnTo>
                    <a:pt x="844" y="25"/>
                  </a:lnTo>
                  <a:lnTo>
                    <a:pt x="767" y="28"/>
                  </a:lnTo>
                  <a:cubicBezTo>
                    <a:pt x="750" y="35"/>
                    <a:pt x="673" y="53"/>
                    <a:pt x="585" y="77"/>
                  </a:cubicBezTo>
                  <a:lnTo>
                    <a:pt x="648" y="245"/>
                  </a:lnTo>
                  <a:lnTo>
                    <a:pt x="655" y="256"/>
                  </a:lnTo>
                  <a:cubicBezTo>
                    <a:pt x="704" y="361"/>
                    <a:pt x="736" y="473"/>
                    <a:pt x="743" y="588"/>
                  </a:cubicBezTo>
                  <a:cubicBezTo>
                    <a:pt x="743" y="609"/>
                    <a:pt x="739" y="630"/>
                    <a:pt x="736" y="648"/>
                  </a:cubicBezTo>
                  <a:cubicBezTo>
                    <a:pt x="732" y="659"/>
                    <a:pt x="729" y="669"/>
                    <a:pt x="725" y="680"/>
                  </a:cubicBezTo>
                  <a:cubicBezTo>
                    <a:pt x="725" y="683"/>
                    <a:pt x="722" y="683"/>
                    <a:pt x="722" y="687"/>
                  </a:cubicBezTo>
                  <a:cubicBezTo>
                    <a:pt x="718" y="694"/>
                    <a:pt x="715" y="701"/>
                    <a:pt x="708" y="708"/>
                  </a:cubicBezTo>
                  <a:lnTo>
                    <a:pt x="704" y="715"/>
                  </a:lnTo>
                  <a:cubicBezTo>
                    <a:pt x="697" y="718"/>
                    <a:pt x="694" y="725"/>
                    <a:pt x="687" y="729"/>
                  </a:cubicBezTo>
                  <a:lnTo>
                    <a:pt x="680" y="736"/>
                  </a:lnTo>
                  <a:cubicBezTo>
                    <a:pt x="673" y="739"/>
                    <a:pt x="666" y="746"/>
                    <a:pt x="659" y="750"/>
                  </a:cubicBezTo>
                  <a:lnTo>
                    <a:pt x="655" y="750"/>
                  </a:lnTo>
                  <a:cubicBezTo>
                    <a:pt x="617" y="771"/>
                    <a:pt x="575" y="785"/>
                    <a:pt x="529" y="795"/>
                  </a:cubicBezTo>
                  <a:lnTo>
                    <a:pt x="529" y="802"/>
                  </a:lnTo>
                  <a:lnTo>
                    <a:pt x="529" y="813"/>
                  </a:lnTo>
                  <a:cubicBezTo>
                    <a:pt x="529" y="823"/>
                    <a:pt x="533" y="830"/>
                    <a:pt x="533" y="837"/>
                  </a:cubicBezTo>
                  <a:lnTo>
                    <a:pt x="533" y="848"/>
                  </a:lnTo>
                  <a:cubicBezTo>
                    <a:pt x="533" y="858"/>
                    <a:pt x="533" y="869"/>
                    <a:pt x="536" y="879"/>
                  </a:cubicBezTo>
                  <a:lnTo>
                    <a:pt x="536" y="911"/>
                  </a:lnTo>
                  <a:lnTo>
                    <a:pt x="536" y="918"/>
                  </a:lnTo>
                  <a:lnTo>
                    <a:pt x="536" y="935"/>
                  </a:lnTo>
                  <a:lnTo>
                    <a:pt x="536" y="946"/>
                  </a:lnTo>
                  <a:lnTo>
                    <a:pt x="536" y="963"/>
                  </a:lnTo>
                  <a:lnTo>
                    <a:pt x="536" y="967"/>
                  </a:lnTo>
                  <a:lnTo>
                    <a:pt x="536" y="988"/>
                  </a:lnTo>
                  <a:lnTo>
                    <a:pt x="697" y="1082"/>
                  </a:lnTo>
                  <a:lnTo>
                    <a:pt x="666" y="1138"/>
                  </a:lnTo>
                  <a:cubicBezTo>
                    <a:pt x="592" y="1282"/>
                    <a:pt x="337" y="1751"/>
                    <a:pt x="186" y="1810"/>
                  </a:cubicBezTo>
                  <a:lnTo>
                    <a:pt x="179" y="1814"/>
                  </a:lnTo>
                  <a:lnTo>
                    <a:pt x="172" y="1817"/>
                  </a:lnTo>
                  <a:lnTo>
                    <a:pt x="169" y="1821"/>
                  </a:lnTo>
                  <a:lnTo>
                    <a:pt x="158" y="1824"/>
                  </a:lnTo>
                  <a:lnTo>
                    <a:pt x="151" y="1828"/>
                  </a:lnTo>
                  <a:lnTo>
                    <a:pt x="141" y="1835"/>
                  </a:lnTo>
                  <a:lnTo>
                    <a:pt x="130" y="1842"/>
                  </a:lnTo>
                  <a:lnTo>
                    <a:pt x="116" y="1849"/>
                  </a:lnTo>
                  <a:lnTo>
                    <a:pt x="106" y="1856"/>
                  </a:lnTo>
                  <a:lnTo>
                    <a:pt x="88" y="1866"/>
                  </a:lnTo>
                  <a:lnTo>
                    <a:pt x="71" y="1877"/>
                  </a:lnTo>
                  <a:lnTo>
                    <a:pt x="53" y="1887"/>
                  </a:lnTo>
                  <a:lnTo>
                    <a:pt x="25" y="1905"/>
                  </a:lnTo>
                  <a:lnTo>
                    <a:pt x="11" y="1915"/>
                  </a:lnTo>
                  <a:lnTo>
                    <a:pt x="1" y="1922"/>
                  </a:lnTo>
                  <a:cubicBezTo>
                    <a:pt x="71" y="2272"/>
                    <a:pt x="172" y="2763"/>
                    <a:pt x="309" y="2885"/>
                  </a:cubicBezTo>
                  <a:cubicBezTo>
                    <a:pt x="526" y="3085"/>
                    <a:pt x="561" y="3309"/>
                    <a:pt x="585" y="3473"/>
                  </a:cubicBezTo>
                  <a:cubicBezTo>
                    <a:pt x="592" y="3526"/>
                    <a:pt x="599" y="3578"/>
                    <a:pt x="617" y="3627"/>
                  </a:cubicBezTo>
                  <a:cubicBezTo>
                    <a:pt x="641" y="3683"/>
                    <a:pt x="673" y="3736"/>
                    <a:pt x="708" y="3785"/>
                  </a:cubicBezTo>
                  <a:cubicBezTo>
                    <a:pt x="771" y="3876"/>
                    <a:pt x="830" y="3967"/>
                    <a:pt x="806" y="4047"/>
                  </a:cubicBezTo>
                  <a:cubicBezTo>
                    <a:pt x="799" y="4079"/>
                    <a:pt x="778" y="4107"/>
                    <a:pt x="753" y="4124"/>
                  </a:cubicBezTo>
                  <a:lnTo>
                    <a:pt x="771" y="4124"/>
                  </a:lnTo>
                  <a:lnTo>
                    <a:pt x="792" y="4131"/>
                  </a:lnTo>
                  <a:lnTo>
                    <a:pt x="806" y="4135"/>
                  </a:lnTo>
                  <a:lnTo>
                    <a:pt x="827" y="4142"/>
                  </a:lnTo>
                  <a:lnTo>
                    <a:pt x="844" y="4145"/>
                  </a:lnTo>
                  <a:lnTo>
                    <a:pt x="865" y="4152"/>
                  </a:lnTo>
                  <a:lnTo>
                    <a:pt x="883" y="4159"/>
                  </a:lnTo>
                  <a:lnTo>
                    <a:pt x="904" y="4170"/>
                  </a:lnTo>
                  <a:lnTo>
                    <a:pt x="921" y="4177"/>
                  </a:lnTo>
                  <a:lnTo>
                    <a:pt x="946" y="4187"/>
                  </a:lnTo>
                  <a:lnTo>
                    <a:pt x="960" y="4194"/>
                  </a:lnTo>
                  <a:lnTo>
                    <a:pt x="984" y="4208"/>
                  </a:lnTo>
                  <a:lnTo>
                    <a:pt x="998" y="4215"/>
                  </a:lnTo>
                  <a:lnTo>
                    <a:pt x="1037" y="4233"/>
                  </a:lnTo>
                  <a:cubicBezTo>
                    <a:pt x="1100" y="4268"/>
                    <a:pt x="1166" y="4299"/>
                    <a:pt x="1236" y="4320"/>
                  </a:cubicBezTo>
                  <a:cubicBezTo>
                    <a:pt x="1359" y="4345"/>
                    <a:pt x="1895" y="4544"/>
                    <a:pt x="1979" y="4653"/>
                  </a:cubicBezTo>
                  <a:cubicBezTo>
                    <a:pt x="1982" y="4660"/>
                    <a:pt x="1989" y="4670"/>
                    <a:pt x="1996" y="4677"/>
                  </a:cubicBezTo>
                  <a:lnTo>
                    <a:pt x="2311" y="4677"/>
                  </a:lnTo>
                  <a:cubicBezTo>
                    <a:pt x="2339" y="4660"/>
                    <a:pt x="2374" y="4649"/>
                    <a:pt x="2409" y="4649"/>
                  </a:cubicBezTo>
                  <a:cubicBezTo>
                    <a:pt x="2462" y="4653"/>
                    <a:pt x="2511" y="4677"/>
                    <a:pt x="2542" y="4716"/>
                  </a:cubicBezTo>
                  <a:cubicBezTo>
                    <a:pt x="2717" y="4895"/>
                    <a:pt x="2861" y="5420"/>
                    <a:pt x="2868" y="5766"/>
                  </a:cubicBezTo>
                  <a:lnTo>
                    <a:pt x="2917" y="5773"/>
                  </a:lnTo>
                  <a:lnTo>
                    <a:pt x="2927" y="5773"/>
                  </a:lnTo>
                  <a:lnTo>
                    <a:pt x="2962" y="5777"/>
                  </a:lnTo>
                  <a:lnTo>
                    <a:pt x="2973" y="5777"/>
                  </a:lnTo>
                  <a:lnTo>
                    <a:pt x="3001" y="5780"/>
                  </a:lnTo>
                  <a:lnTo>
                    <a:pt x="3113" y="5780"/>
                  </a:lnTo>
                  <a:cubicBezTo>
                    <a:pt x="3137" y="5773"/>
                    <a:pt x="3162" y="5766"/>
                    <a:pt x="3183" y="5752"/>
                  </a:cubicBezTo>
                  <a:cubicBezTo>
                    <a:pt x="3236" y="5720"/>
                    <a:pt x="3298" y="5703"/>
                    <a:pt x="3361" y="5703"/>
                  </a:cubicBezTo>
                  <a:cubicBezTo>
                    <a:pt x="3394" y="5703"/>
                    <a:pt x="3427" y="5708"/>
                    <a:pt x="3459" y="5717"/>
                  </a:cubicBezTo>
                  <a:cubicBezTo>
                    <a:pt x="3526" y="5735"/>
                    <a:pt x="3578" y="5791"/>
                    <a:pt x="3596" y="5861"/>
                  </a:cubicBezTo>
                  <a:cubicBezTo>
                    <a:pt x="3596" y="5864"/>
                    <a:pt x="3599" y="5871"/>
                    <a:pt x="3599" y="5875"/>
                  </a:cubicBezTo>
                  <a:lnTo>
                    <a:pt x="3613" y="5875"/>
                  </a:lnTo>
                  <a:cubicBezTo>
                    <a:pt x="3690" y="5868"/>
                    <a:pt x="3764" y="5857"/>
                    <a:pt x="3838" y="5840"/>
                  </a:cubicBezTo>
                  <a:cubicBezTo>
                    <a:pt x="3908" y="5826"/>
                    <a:pt x="3981" y="5812"/>
                    <a:pt x="4051" y="5808"/>
                  </a:cubicBezTo>
                  <a:cubicBezTo>
                    <a:pt x="4065" y="5808"/>
                    <a:pt x="4083" y="5808"/>
                    <a:pt x="4097" y="5812"/>
                  </a:cubicBezTo>
                  <a:lnTo>
                    <a:pt x="4104" y="5812"/>
                  </a:lnTo>
                  <a:cubicBezTo>
                    <a:pt x="4195" y="5830"/>
                    <a:pt x="4251" y="5836"/>
                    <a:pt x="4287" y="5836"/>
                  </a:cubicBezTo>
                  <a:cubicBezTo>
                    <a:pt x="4320" y="5836"/>
                    <a:pt x="4335" y="5831"/>
                    <a:pt x="4342" y="5826"/>
                  </a:cubicBezTo>
                  <a:cubicBezTo>
                    <a:pt x="4352" y="5759"/>
                    <a:pt x="4387" y="5640"/>
                    <a:pt x="4468" y="5588"/>
                  </a:cubicBezTo>
                  <a:cubicBezTo>
                    <a:pt x="4492" y="5570"/>
                    <a:pt x="4521" y="5561"/>
                    <a:pt x="4550" y="5561"/>
                  </a:cubicBezTo>
                  <a:cubicBezTo>
                    <a:pt x="4567" y="5561"/>
                    <a:pt x="4584" y="5564"/>
                    <a:pt x="4601" y="5570"/>
                  </a:cubicBezTo>
                  <a:cubicBezTo>
                    <a:pt x="4632" y="5577"/>
                    <a:pt x="4664" y="5591"/>
                    <a:pt x="4692" y="5605"/>
                  </a:cubicBezTo>
                  <a:cubicBezTo>
                    <a:pt x="4713" y="5612"/>
                    <a:pt x="4727" y="5619"/>
                    <a:pt x="4741" y="5626"/>
                  </a:cubicBezTo>
                  <a:cubicBezTo>
                    <a:pt x="4754" y="5632"/>
                    <a:pt x="4769" y="5635"/>
                    <a:pt x="4783" y="5635"/>
                  </a:cubicBezTo>
                  <a:cubicBezTo>
                    <a:pt x="4814" y="5635"/>
                    <a:pt x="4844" y="5622"/>
                    <a:pt x="4863" y="5598"/>
                  </a:cubicBezTo>
                  <a:cubicBezTo>
                    <a:pt x="4933" y="5537"/>
                    <a:pt x="5017" y="5527"/>
                    <a:pt x="5089" y="5527"/>
                  </a:cubicBezTo>
                  <a:cubicBezTo>
                    <a:pt x="5108" y="5527"/>
                    <a:pt x="5127" y="5527"/>
                    <a:pt x="5143" y="5528"/>
                  </a:cubicBezTo>
                  <a:lnTo>
                    <a:pt x="5185" y="5528"/>
                  </a:lnTo>
                  <a:cubicBezTo>
                    <a:pt x="5203" y="5528"/>
                    <a:pt x="5220" y="5528"/>
                    <a:pt x="5238" y="5521"/>
                  </a:cubicBezTo>
                  <a:lnTo>
                    <a:pt x="5238" y="5518"/>
                  </a:lnTo>
                  <a:lnTo>
                    <a:pt x="5238" y="5514"/>
                  </a:lnTo>
                  <a:lnTo>
                    <a:pt x="5238" y="5511"/>
                  </a:lnTo>
                  <a:lnTo>
                    <a:pt x="5241" y="5507"/>
                  </a:lnTo>
                  <a:lnTo>
                    <a:pt x="5245" y="5504"/>
                  </a:lnTo>
                  <a:lnTo>
                    <a:pt x="5248" y="5500"/>
                  </a:lnTo>
                  <a:lnTo>
                    <a:pt x="5255" y="5497"/>
                  </a:lnTo>
                  <a:lnTo>
                    <a:pt x="5262" y="5493"/>
                  </a:lnTo>
                  <a:lnTo>
                    <a:pt x="5266" y="5493"/>
                  </a:lnTo>
                  <a:lnTo>
                    <a:pt x="5269" y="5490"/>
                  </a:lnTo>
                  <a:lnTo>
                    <a:pt x="5273" y="5486"/>
                  </a:lnTo>
                  <a:lnTo>
                    <a:pt x="5280" y="5479"/>
                  </a:lnTo>
                  <a:lnTo>
                    <a:pt x="5283" y="5479"/>
                  </a:lnTo>
                  <a:lnTo>
                    <a:pt x="5294" y="5476"/>
                  </a:lnTo>
                  <a:lnTo>
                    <a:pt x="5297" y="5472"/>
                  </a:lnTo>
                  <a:lnTo>
                    <a:pt x="5304" y="5465"/>
                  </a:lnTo>
                  <a:lnTo>
                    <a:pt x="5311" y="5465"/>
                  </a:lnTo>
                  <a:lnTo>
                    <a:pt x="5322" y="5458"/>
                  </a:lnTo>
                  <a:lnTo>
                    <a:pt x="5325" y="5455"/>
                  </a:lnTo>
                  <a:lnTo>
                    <a:pt x="5336" y="5448"/>
                  </a:lnTo>
                  <a:lnTo>
                    <a:pt x="5343" y="5444"/>
                  </a:lnTo>
                  <a:lnTo>
                    <a:pt x="5353" y="5437"/>
                  </a:lnTo>
                  <a:lnTo>
                    <a:pt x="5360" y="5434"/>
                  </a:lnTo>
                  <a:lnTo>
                    <a:pt x="5374" y="5427"/>
                  </a:lnTo>
                  <a:lnTo>
                    <a:pt x="5381" y="5423"/>
                  </a:lnTo>
                  <a:lnTo>
                    <a:pt x="5395" y="5416"/>
                  </a:lnTo>
                  <a:lnTo>
                    <a:pt x="5402" y="5413"/>
                  </a:lnTo>
                  <a:lnTo>
                    <a:pt x="5420" y="5402"/>
                  </a:lnTo>
                  <a:lnTo>
                    <a:pt x="5427" y="5399"/>
                  </a:lnTo>
                  <a:lnTo>
                    <a:pt x="5444" y="5388"/>
                  </a:lnTo>
                  <a:lnTo>
                    <a:pt x="5451" y="5385"/>
                  </a:lnTo>
                  <a:lnTo>
                    <a:pt x="5472" y="5374"/>
                  </a:lnTo>
                  <a:lnTo>
                    <a:pt x="5479" y="5371"/>
                  </a:lnTo>
                  <a:lnTo>
                    <a:pt x="5504" y="5360"/>
                  </a:lnTo>
                  <a:lnTo>
                    <a:pt x="5511" y="5353"/>
                  </a:lnTo>
                  <a:lnTo>
                    <a:pt x="5535" y="5343"/>
                  </a:lnTo>
                  <a:lnTo>
                    <a:pt x="5546" y="5339"/>
                  </a:lnTo>
                  <a:lnTo>
                    <a:pt x="5570" y="5325"/>
                  </a:lnTo>
                  <a:lnTo>
                    <a:pt x="5581" y="5322"/>
                  </a:lnTo>
                  <a:lnTo>
                    <a:pt x="5605" y="5308"/>
                  </a:lnTo>
                  <a:lnTo>
                    <a:pt x="5619" y="5301"/>
                  </a:lnTo>
                  <a:lnTo>
                    <a:pt x="5647" y="5290"/>
                  </a:lnTo>
                  <a:lnTo>
                    <a:pt x="5658" y="5283"/>
                  </a:lnTo>
                  <a:lnTo>
                    <a:pt x="5689" y="5269"/>
                  </a:lnTo>
                  <a:lnTo>
                    <a:pt x="5700" y="5266"/>
                  </a:lnTo>
                  <a:lnTo>
                    <a:pt x="5735" y="5248"/>
                  </a:lnTo>
                  <a:lnTo>
                    <a:pt x="5745" y="5245"/>
                  </a:lnTo>
                  <a:lnTo>
                    <a:pt x="5784" y="5224"/>
                  </a:lnTo>
                  <a:cubicBezTo>
                    <a:pt x="5766" y="5143"/>
                    <a:pt x="5714" y="5119"/>
                    <a:pt x="5637" y="5080"/>
                  </a:cubicBezTo>
                  <a:cubicBezTo>
                    <a:pt x="5542" y="5038"/>
                    <a:pt x="5413" y="4975"/>
                    <a:pt x="5402" y="4772"/>
                  </a:cubicBezTo>
                  <a:cubicBezTo>
                    <a:pt x="5402" y="4663"/>
                    <a:pt x="5364" y="4558"/>
                    <a:pt x="5294" y="4474"/>
                  </a:cubicBezTo>
                  <a:cubicBezTo>
                    <a:pt x="5231" y="4401"/>
                    <a:pt x="5199" y="4306"/>
                    <a:pt x="5199" y="4208"/>
                  </a:cubicBezTo>
                  <a:lnTo>
                    <a:pt x="5203" y="4145"/>
                  </a:lnTo>
                  <a:cubicBezTo>
                    <a:pt x="5206" y="4030"/>
                    <a:pt x="5213" y="3851"/>
                    <a:pt x="5189" y="3820"/>
                  </a:cubicBezTo>
                  <a:cubicBezTo>
                    <a:pt x="5154" y="3806"/>
                    <a:pt x="5126" y="3781"/>
                    <a:pt x="5115" y="3746"/>
                  </a:cubicBezTo>
                  <a:cubicBezTo>
                    <a:pt x="5073" y="3634"/>
                    <a:pt x="5164" y="3438"/>
                    <a:pt x="5252" y="3309"/>
                  </a:cubicBezTo>
                  <a:cubicBezTo>
                    <a:pt x="5280" y="3263"/>
                    <a:pt x="5283" y="3253"/>
                    <a:pt x="5171" y="3169"/>
                  </a:cubicBezTo>
                  <a:cubicBezTo>
                    <a:pt x="5087" y="3109"/>
                    <a:pt x="4982" y="3032"/>
                    <a:pt x="4951" y="2899"/>
                  </a:cubicBezTo>
                  <a:cubicBezTo>
                    <a:pt x="4940" y="2854"/>
                    <a:pt x="4916" y="2745"/>
                    <a:pt x="5175" y="2076"/>
                  </a:cubicBezTo>
                  <a:cubicBezTo>
                    <a:pt x="4741" y="1775"/>
                    <a:pt x="4303" y="1457"/>
                    <a:pt x="4300" y="1453"/>
                  </a:cubicBezTo>
                  <a:lnTo>
                    <a:pt x="4272" y="1432"/>
                  </a:lnTo>
                  <a:lnTo>
                    <a:pt x="4300" y="1100"/>
                  </a:lnTo>
                  <a:lnTo>
                    <a:pt x="2357" y="70"/>
                  </a:lnTo>
                  <a:cubicBezTo>
                    <a:pt x="2350" y="287"/>
                    <a:pt x="2241" y="462"/>
                    <a:pt x="2094" y="532"/>
                  </a:cubicBezTo>
                  <a:cubicBezTo>
                    <a:pt x="2108" y="564"/>
                    <a:pt x="2126" y="592"/>
                    <a:pt x="2147" y="620"/>
                  </a:cubicBezTo>
                  <a:cubicBezTo>
                    <a:pt x="2189" y="683"/>
                    <a:pt x="2234" y="746"/>
                    <a:pt x="2210" y="809"/>
                  </a:cubicBezTo>
                  <a:cubicBezTo>
                    <a:pt x="2192" y="848"/>
                    <a:pt x="2157" y="876"/>
                    <a:pt x="2115" y="879"/>
                  </a:cubicBezTo>
                  <a:cubicBezTo>
                    <a:pt x="2096" y="883"/>
                    <a:pt x="2074" y="885"/>
                    <a:pt x="2052" y="885"/>
                  </a:cubicBezTo>
                  <a:cubicBezTo>
                    <a:pt x="1978" y="885"/>
                    <a:pt x="1889" y="866"/>
                    <a:pt x="1790" y="844"/>
                  </a:cubicBezTo>
                  <a:cubicBezTo>
                    <a:pt x="1675" y="820"/>
                    <a:pt x="1550" y="793"/>
                    <a:pt x="1433" y="793"/>
                  </a:cubicBezTo>
                  <a:cubicBezTo>
                    <a:pt x="1365" y="793"/>
                    <a:pt x="1299" y="802"/>
                    <a:pt x="1240" y="827"/>
                  </a:cubicBezTo>
                  <a:cubicBezTo>
                    <a:pt x="1221" y="836"/>
                    <a:pt x="1200" y="841"/>
                    <a:pt x="1178" y="841"/>
                  </a:cubicBezTo>
                  <a:cubicBezTo>
                    <a:pt x="1145" y="841"/>
                    <a:pt x="1112" y="829"/>
                    <a:pt x="1086" y="806"/>
                  </a:cubicBezTo>
                  <a:cubicBezTo>
                    <a:pt x="963" y="687"/>
                    <a:pt x="1030" y="291"/>
                    <a:pt x="1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8" name="Google Shape;7118;p53"/>
            <p:cNvSpPr/>
            <p:nvPr/>
          </p:nvSpPr>
          <p:spPr>
            <a:xfrm>
              <a:off x="2274164" y="2107447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0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9" name="Google Shape;7119;p53"/>
            <p:cNvSpPr/>
            <p:nvPr/>
          </p:nvSpPr>
          <p:spPr>
            <a:xfrm>
              <a:off x="2273173" y="210720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0" name="Google Shape;7120;p53"/>
            <p:cNvSpPr/>
            <p:nvPr/>
          </p:nvSpPr>
          <p:spPr>
            <a:xfrm>
              <a:off x="2275739" y="2108058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1" name="Google Shape;7121;p53"/>
            <p:cNvSpPr/>
            <p:nvPr/>
          </p:nvSpPr>
          <p:spPr>
            <a:xfrm>
              <a:off x="2274694" y="210758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2" name="Google Shape;7122;p53"/>
            <p:cNvSpPr/>
            <p:nvPr/>
          </p:nvSpPr>
          <p:spPr>
            <a:xfrm>
              <a:off x="2275210" y="2107828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3" name="Google Shape;7123;p53"/>
            <p:cNvSpPr/>
            <p:nvPr/>
          </p:nvSpPr>
          <p:spPr>
            <a:xfrm>
              <a:off x="2273648" y="2107298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4" name="Google Shape;7124;p53"/>
            <p:cNvSpPr/>
            <p:nvPr/>
          </p:nvSpPr>
          <p:spPr>
            <a:xfrm>
              <a:off x="2276310" y="210834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5" name="Google Shape;7125;p53"/>
            <p:cNvSpPr/>
            <p:nvPr/>
          </p:nvSpPr>
          <p:spPr>
            <a:xfrm>
              <a:off x="2272168" y="2060822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8" y="0"/>
                  </a:moveTo>
                  <a:cubicBezTo>
                    <a:pt x="11" y="7"/>
                    <a:pt x="8" y="14"/>
                    <a:pt x="1" y="18"/>
                  </a:cubicBezTo>
                  <a:cubicBezTo>
                    <a:pt x="8" y="14"/>
                    <a:pt x="11" y="7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6" name="Google Shape;7126;p53"/>
            <p:cNvSpPr/>
            <p:nvPr/>
          </p:nvSpPr>
          <p:spPr>
            <a:xfrm>
              <a:off x="2272454" y="206048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"/>
                  </a:moveTo>
                  <a:cubicBezTo>
                    <a:pt x="11" y="8"/>
                    <a:pt x="8" y="15"/>
                    <a:pt x="1" y="18"/>
                  </a:cubicBezTo>
                  <a:cubicBezTo>
                    <a:pt x="8" y="15"/>
                    <a:pt x="11" y="8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7" name="Google Shape;7127;p53"/>
            <p:cNvSpPr/>
            <p:nvPr/>
          </p:nvSpPr>
          <p:spPr>
            <a:xfrm>
              <a:off x="2271788" y="2061148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"/>
                  </a:moveTo>
                  <a:cubicBezTo>
                    <a:pt x="15" y="4"/>
                    <a:pt x="8" y="11"/>
                    <a:pt x="1" y="15"/>
                  </a:cubicBezTo>
                  <a:cubicBezTo>
                    <a:pt x="8" y="11"/>
                    <a:pt x="15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8" name="Google Shape;7128;p53"/>
            <p:cNvSpPr/>
            <p:nvPr/>
          </p:nvSpPr>
          <p:spPr>
            <a:xfrm>
              <a:off x="2271693" y="2054590"/>
              <a:ext cx="1208" cy="4576"/>
            </a:xfrm>
            <a:custGeom>
              <a:avLst/>
              <a:gdLst/>
              <a:ahLst/>
              <a:cxnLst/>
              <a:rect l="l" t="t" r="r" b="b"/>
              <a:pathLst>
                <a:path w="89" h="337" extrusionOk="0">
                  <a:moveTo>
                    <a:pt x="1" y="0"/>
                  </a:moveTo>
                  <a:cubicBezTo>
                    <a:pt x="53" y="105"/>
                    <a:pt x="81" y="217"/>
                    <a:pt x="88" y="336"/>
                  </a:cubicBezTo>
                  <a:cubicBezTo>
                    <a:pt x="81" y="217"/>
                    <a:pt x="53" y="10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9" name="Google Shape;7129;p53"/>
            <p:cNvSpPr/>
            <p:nvPr/>
          </p:nvSpPr>
          <p:spPr>
            <a:xfrm>
              <a:off x="2272698" y="2059953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1"/>
                  </a:moveTo>
                  <a:cubicBezTo>
                    <a:pt x="7" y="12"/>
                    <a:pt x="4" y="19"/>
                    <a:pt x="0" y="29"/>
                  </a:cubicBezTo>
                  <a:cubicBezTo>
                    <a:pt x="4" y="19"/>
                    <a:pt x="7" y="12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0" name="Google Shape;7130;p53"/>
            <p:cNvSpPr/>
            <p:nvPr/>
          </p:nvSpPr>
          <p:spPr>
            <a:xfrm>
              <a:off x="2270077" y="2061393"/>
              <a:ext cx="1684" cy="584"/>
            </a:xfrm>
            <a:custGeom>
              <a:avLst/>
              <a:gdLst/>
              <a:ahLst/>
              <a:cxnLst/>
              <a:rect l="l" t="t" r="r" b="b"/>
              <a:pathLst>
                <a:path w="124" h="43" extrusionOk="0">
                  <a:moveTo>
                    <a:pt x="1" y="42"/>
                  </a:moveTo>
                  <a:cubicBezTo>
                    <a:pt x="43" y="35"/>
                    <a:pt x="85" y="21"/>
                    <a:pt x="123" y="0"/>
                  </a:cubicBezTo>
                  <a:cubicBezTo>
                    <a:pt x="85" y="21"/>
                    <a:pt x="43" y="35"/>
                    <a:pt x="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1" name="Google Shape;7131;p53"/>
            <p:cNvSpPr/>
            <p:nvPr/>
          </p:nvSpPr>
          <p:spPr>
            <a:xfrm>
              <a:off x="2295223" y="2052024"/>
              <a:ext cx="26354" cy="13985"/>
            </a:xfrm>
            <a:custGeom>
              <a:avLst/>
              <a:gdLst/>
              <a:ahLst/>
              <a:cxnLst/>
              <a:rect l="l" t="t" r="r" b="b"/>
              <a:pathLst>
                <a:path w="1941" h="1030" extrusionOk="0">
                  <a:moveTo>
                    <a:pt x="1" y="0"/>
                  </a:moveTo>
                  <a:lnTo>
                    <a:pt x="1" y="0"/>
                  </a:lnTo>
                  <a:lnTo>
                    <a:pt x="1940" y="103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2" name="Google Shape;7132;p53"/>
            <p:cNvSpPr/>
            <p:nvPr/>
          </p:nvSpPr>
          <p:spPr>
            <a:xfrm>
              <a:off x="2274259" y="2051169"/>
              <a:ext cx="3775" cy="299"/>
            </a:xfrm>
            <a:custGeom>
              <a:avLst/>
              <a:gdLst/>
              <a:ahLst/>
              <a:cxnLst/>
              <a:rect l="l" t="t" r="r" b="b"/>
              <a:pathLst>
                <a:path w="278" h="22" extrusionOk="0">
                  <a:moveTo>
                    <a:pt x="1" y="21"/>
                  </a:moveTo>
                  <a:lnTo>
                    <a:pt x="277" y="0"/>
                  </a:lnTo>
                  <a:lnTo>
                    <a:pt x="27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3" name="Google Shape;7133;p53"/>
            <p:cNvSpPr/>
            <p:nvPr/>
          </p:nvSpPr>
          <p:spPr>
            <a:xfrm>
              <a:off x="2270227" y="206428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4" name="Google Shape;7134;p53"/>
            <p:cNvSpPr/>
            <p:nvPr/>
          </p:nvSpPr>
          <p:spPr>
            <a:xfrm>
              <a:off x="2270227" y="206357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5" name="Google Shape;7135;p53"/>
            <p:cNvSpPr/>
            <p:nvPr/>
          </p:nvSpPr>
          <p:spPr>
            <a:xfrm>
              <a:off x="2264375" y="2076314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6" name="Google Shape;7136;p53"/>
            <p:cNvSpPr/>
            <p:nvPr/>
          </p:nvSpPr>
          <p:spPr>
            <a:xfrm>
              <a:off x="2270227" y="206390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7" name="Google Shape;7137;p53"/>
            <p:cNvSpPr/>
            <p:nvPr/>
          </p:nvSpPr>
          <p:spPr>
            <a:xfrm>
              <a:off x="2265380" y="20758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8" name="Google Shape;7138;p53"/>
            <p:cNvSpPr/>
            <p:nvPr/>
          </p:nvSpPr>
          <p:spPr>
            <a:xfrm>
              <a:off x="2265190" y="207588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9" name="Google Shape;7139;p53"/>
            <p:cNvSpPr/>
            <p:nvPr/>
          </p:nvSpPr>
          <p:spPr>
            <a:xfrm>
              <a:off x="2263900" y="207659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0" name="Google Shape;7140;p53"/>
            <p:cNvSpPr/>
            <p:nvPr/>
          </p:nvSpPr>
          <p:spPr>
            <a:xfrm>
              <a:off x="2265000" y="207597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1" name="Google Shape;7141;p53"/>
            <p:cNvSpPr/>
            <p:nvPr/>
          </p:nvSpPr>
          <p:spPr>
            <a:xfrm>
              <a:off x="2264714" y="207612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2" name="Google Shape;7142;p53"/>
            <p:cNvSpPr/>
            <p:nvPr/>
          </p:nvSpPr>
          <p:spPr>
            <a:xfrm>
              <a:off x="2262949" y="207721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3" name="Google Shape;7143;p53"/>
            <p:cNvSpPr/>
            <p:nvPr/>
          </p:nvSpPr>
          <p:spPr>
            <a:xfrm>
              <a:off x="2270077" y="206205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4" name="Google Shape;7144;p53"/>
            <p:cNvSpPr/>
            <p:nvPr/>
          </p:nvSpPr>
          <p:spPr>
            <a:xfrm>
              <a:off x="2270132" y="206257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5" name="Google Shape;7145;p53"/>
            <p:cNvSpPr/>
            <p:nvPr/>
          </p:nvSpPr>
          <p:spPr>
            <a:xfrm>
              <a:off x="2263289" y="2076830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8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6" name="Google Shape;7146;p53"/>
            <p:cNvSpPr/>
            <p:nvPr/>
          </p:nvSpPr>
          <p:spPr>
            <a:xfrm>
              <a:off x="2270173" y="20631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7" name="Google Shape;7147;p53"/>
            <p:cNvSpPr/>
            <p:nvPr/>
          </p:nvSpPr>
          <p:spPr>
            <a:xfrm>
              <a:off x="2334109" y="21262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8" name="Google Shape;7148;p53"/>
            <p:cNvSpPr/>
            <p:nvPr/>
          </p:nvSpPr>
          <p:spPr>
            <a:xfrm>
              <a:off x="2334204" y="212607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9" name="Google Shape;7149;p53"/>
            <p:cNvSpPr/>
            <p:nvPr/>
          </p:nvSpPr>
          <p:spPr>
            <a:xfrm>
              <a:off x="2334150" y="21261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0" name="Google Shape;7150;p53"/>
            <p:cNvSpPr/>
            <p:nvPr/>
          </p:nvSpPr>
          <p:spPr>
            <a:xfrm>
              <a:off x="2334204" y="212603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1" name="Google Shape;7151;p53"/>
            <p:cNvSpPr/>
            <p:nvPr/>
          </p:nvSpPr>
          <p:spPr>
            <a:xfrm>
              <a:off x="2334055" y="21263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2" name="Google Shape;7152;p53"/>
            <p:cNvSpPr/>
            <p:nvPr/>
          </p:nvSpPr>
          <p:spPr>
            <a:xfrm>
              <a:off x="2334109" y="212626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3" name="Google Shape;7153;p53"/>
            <p:cNvSpPr/>
            <p:nvPr/>
          </p:nvSpPr>
          <p:spPr>
            <a:xfrm>
              <a:off x="2336580" y="2124365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4" name="Google Shape;7154;p53"/>
            <p:cNvSpPr/>
            <p:nvPr/>
          </p:nvSpPr>
          <p:spPr>
            <a:xfrm>
              <a:off x="2304306" y="212978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5" name="Google Shape;7155;p53"/>
            <p:cNvSpPr/>
            <p:nvPr/>
          </p:nvSpPr>
          <p:spPr>
            <a:xfrm>
              <a:off x="2337245" y="212398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6" name="Google Shape;7156;p53"/>
            <p:cNvSpPr/>
            <p:nvPr/>
          </p:nvSpPr>
          <p:spPr>
            <a:xfrm>
              <a:off x="2317952" y="2130217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0" y="0"/>
                  </a:moveTo>
                  <a:cubicBezTo>
                    <a:pt x="14" y="0"/>
                    <a:pt x="28" y="0"/>
                    <a:pt x="42" y="4"/>
                  </a:cubicBezTo>
                  <a:cubicBezTo>
                    <a:pt x="28" y="0"/>
                    <a:pt x="1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7" name="Google Shape;7157;p53"/>
            <p:cNvSpPr/>
            <p:nvPr/>
          </p:nvSpPr>
          <p:spPr>
            <a:xfrm>
              <a:off x="2304687" y="212978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8" name="Google Shape;7158;p53"/>
            <p:cNvSpPr/>
            <p:nvPr/>
          </p:nvSpPr>
          <p:spPr>
            <a:xfrm>
              <a:off x="2318658" y="2130312"/>
              <a:ext cx="3245" cy="312"/>
            </a:xfrm>
            <a:custGeom>
              <a:avLst/>
              <a:gdLst/>
              <a:ahLst/>
              <a:cxnLst/>
              <a:rect l="l" t="t" r="r" b="b"/>
              <a:pathLst>
                <a:path w="239" h="23" extrusionOk="0">
                  <a:moveTo>
                    <a:pt x="1" y="0"/>
                  </a:moveTo>
                  <a:cubicBezTo>
                    <a:pt x="88" y="18"/>
                    <a:pt x="144" y="23"/>
                    <a:pt x="180" y="23"/>
                  </a:cubicBezTo>
                  <a:cubicBezTo>
                    <a:pt x="216" y="23"/>
                    <a:pt x="232" y="18"/>
                    <a:pt x="239" y="14"/>
                  </a:cubicBezTo>
                  <a:lnTo>
                    <a:pt x="239" y="14"/>
                  </a:lnTo>
                  <a:cubicBezTo>
                    <a:pt x="232" y="18"/>
                    <a:pt x="217" y="22"/>
                    <a:pt x="185" y="22"/>
                  </a:cubicBezTo>
                  <a:cubicBezTo>
                    <a:pt x="149" y="22"/>
                    <a:pt x="92" y="1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9" name="Google Shape;7159;p53"/>
            <p:cNvSpPr/>
            <p:nvPr/>
          </p:nvSpPr>
          <p:spPr>
            <a:xfrm>
              <a:off x="2336241" y="2124555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0" name="Google Shape;7160;p53"/>
            <p:cNvSpPr/>
            <p:nvPr/>
          </p:nvSpPr>
          <p:spPr>
            <a:xfrm>
              <a:off x="2336010" y="212470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1" name="Google Shape;7161;p53"/>
            <p:cNvSpPr/>
            <p:nvPr/>
          </p:nvSpPr>
          <p:spPr>
            <a:xfrm>
              <a:off x="2335725" y="212489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2" name="Google Shape;7162;p53"/>
            <p:cNvSpPr/>
            <p:nvPr/>
          </p:nvSpPr>
          <p:spPr>
            <a:xfrm>
              <a:off x="2341237" y="2121989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39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3" name="Google Shape;7163;p53"/>
            <p:cNvSpPr/>
            <p:nvPr/>
          </p:nvSpPr>
          <p:spPr>
            <a:xfrm>
              <a:off x="2336865" y="212422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4" name="Google Shape;7164;p53"/>
            <p:cNvSpPr/>
            <p:nvPr/>
          </p:nvSpPr>
          <p:spPr>
            <a:xfrm>
              <a:off x="2339472" y="2122844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5" name="Google Shape;7165;p53"/>
            <p:cNvSpPr/>
            <p:nvPr/>
          </p:nvSpPr>
          <p:spPr>
            <a:xfrm>
              <a:off x="2301876" y="2129457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1" y="0"/>
                  </a:moveTo>
                  <a:lnTo>
                    <a:pt x="5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6" name="Google Shape;7166;p53"/>
            <p:cNvSpPr/>
            <p:nvPr/>
          </p:nvSpPr>
          <p:spPr>
            <a:xfrm>
              <a:off x="2340572" y="2122274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39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7" name="Google Shape;7167;p53"/>
            <p:cNvSpPr/>
            <p:nvPr/>
          </p:nvSpPr>
          <p:spPr>
            <a:xfrm>
              <a:off x="2334340" y="2125886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8" name="Google Shape;7168;p53"/>
            <p:cNvSpPr/>
            <p:nvPr/>
          </p:nvSpPr>
          <p:spPr>
            <a:xfrm>
              <a:off x="2338956" y="2123129"/>
              <a:ext cx="394" cy="163"/>
            </a:xfrm>
            <a:custGeom>
              <a:avLst/>
              <a:gdLst/>
              <a:ahLst/>
              <a:cxnLst/>
              <a:rect l="l" t="t" r="r" b="b"/>
              <a:pathLst>
                <a:path w="29" h="12" extrusionOk="0">
                  <a:moveTo>
                    <a:pt x="28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9" name="Google Shape;7169;p53"/>
            <p:cNvSpPr/>
            <p:nvPr/>
          </p:nvSpPr>
          <p:spPr>
            <a:xfrm>
              <a:off x="2327307" y="2127406"/>
              <a:ext cx="1684" cy="638"/>
            </a:xfrm>
            <a:custGeom>
              <a:avLst/>
              <a:gdLst/>
              <a:ahLst/>
              <a:cxnLst/>
              <a:rect l="l" t="t" r="r" b="b"/>
              <a:pathLst>
                <a:path w="124" h="47" extrusionOk="0">
                  <a:moveTo>
                    <a:pt x="1" y="29"/>
                  </a:moveTo>
                  <a:cubicBezTo>
                    <a:pt x="43" y="46"/>
                    <a:pt x="95" y="36"/>
                    <a:pt x="123" y="1"/>
                  </a:cubicBezTo>
                  <a:cubicBezTo>
                    <a:pt x="95" y="36"/>
                    <a:pt x="43" y="46"/>
                    <a:pt x="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0" name="Google Shape;7170;p53"/>
            <p:cNvSpPr/>
            <p:nvPr/>
          </p:nvSpPr>
          <p:spPr>
            <a:xfrm>
              <a:off x="2338481" y="2123374"/>
              <a:ext cx="339" cy="149"/>
            </a:xfrm>
            <a:custGeom>
              <a:avLst/>
              <a:gdLst/>
              <a:ahLst/>
              <a:cxnLst/>
              <a:rect l="l" t="t" r="r" b="b"/>
              <a:pathLst>
                <a:path w="25" h="11" extrusionOk="0">
                  <a:moveTo>
                    <a:pt x="25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1" name="Google Shape;7171;p53"/>
            <p:cNvSpPr/>
            <p:nvPr/>
          </p:nvSpPr>
          <p:spPr>
            <a:xfrm>
              <a:off x="2328977" y="2126361"/>
              <a:ext cx="3815" cy="1059"/>
            </a:xfrm>
            <a:custGeom>
              <a:avLst/>
              <a:gdLst/>
              <a:ahLst/>
              <a:cxnLst/>
              <a:rect l="l" t="t" r="r" b="b"/>
              <a:pathLst>
                <a:path w="281" h="78" extrusionOk="0">
                  <a:moveTo>
                    <a:pt x="0" y="78"/>
                  </a:moveTo>
                  <a:cubicBezTo>
                    <a:pt x="88" y="1"/>
                    <a:pt x="200" y="4"/>
                    <a:pt x="280" y="8"/>
                  </a:cubicBezTo>
                  <a:cubicBezTo>
                    <a:pt x="200" y="4"/>
                    <a:pt x="88" y="1"/>
                    <a:pt x="0" y="7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2" name="Google Shape;7172;p53"/>
            <p:cNvSpPr/>
            <p:nvPr/>
          </p:nvSpPr>
          <p:spPr>
            <a:xfrm>
              <a:off x="2302691" y="2129592"/>
              <a:ext cx="489" cy="68"/>
            </a:xfrm>
            <a:custGeom>
              <a:avLst/>
              <a:gdLst/>
              <a:ahLst/>
              <a:cxnLst/>
              <a:rect l="l" t="t" r="r" b="b"/>
              <a:pathLst>
                <a:path w="36" h="5" extrusionOk="0">
                  <a:moveTo>
                    <a:pt x="35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3" name="Google Shape;7173;p53"/>
            <p:cNvSpPr/>
            <p:nvPr/>
          </p:nvSpPr>
          <p:spPr>
            <a:xfrm>
              <a:off x="2334245" y="2125981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4" name="Google Shape;7174;p53"/>
            <p:cNvSpPr/>
            <p:nvPr/>
          </p:nvSpPr>
          <p:spPr>
            <a:xfrm>
              <a:off x="2334489" y="2125750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5" name="Google Shape;7175;p53"/>
            <p:cNvSpPr/>
            <p:nvPr/>
          </p:nvSpPr>
          <p:spPr>
            <a:xfrm>
              <a:off x="2303302" y="2129647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9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6" name="Google Shape;7176;p53"/>
            <p:cNvSpPr/>
            <p:nvPr/>
          </p:nvSpPr>
          <p:spPr>
            <a:xfrm>
              <a:off x="2333294" y="212645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7" name="Google Shape;7177;p53"/>
            <p:cNvSpPr/>
            <p:nvPr/>
          </p:nvSpPr>
          <p:spPr>
            <a:xfrm>
              <a:off x="2334394" y="212584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8" name="Google Shape;7178;p53"/>
            <p:cNvSpPr/>
            <p:nvPr/>
          </p:nvSpPr>
          <p:spPr>
            <a:xfrm>
              <a:off x="2340002" y="2122559"/>
              <a:ext cx="489" cy="258"/>
            </a:xfrm>
            <a:custGeom>
              <a:avLst/>
              <a:gdLst/>
              <a:ahLst/>
              <a:cxnLst/>
              <a:rect l="l" t="t" r="r" b="b"/>
              <a:pathLst>
                <a:path w="36" h="19" extrusionOk="0">
                  <a:moveTo>
                    <a:pt x="35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9" name="Google Shape;7179;p53"/>
            <p:cNvSpPr/>
            <p:nvPr/>
          </p:nvSpPr>
          <p:spPr>
            <a:xfrm>
              <a:off x="2334530" y="212565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0" name="Google Shape;7180;p53"/>
            <p:cNvSpPr/>
            <p:nvPr/>
          </p:nvSpPr>
          <p:spPr>
            <a:xfrm>
              <a:off x="2305202" y="2129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1" name="Google Shape;7181;p53"/>
            <p:cNvSpPr/>
            <p:nvPr/>
          </p:nvSpPr>
          <p:spPr>
            <a:xfrm>
              <a:off x="2335100" y="2125275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2" name="Google Shape;7182;p53"/>
            <p:cNvSpPr/>
            <p:nvPr/>
          </p:nvSpPr>
          <p:spPr>
            <a:xfrm>
              <a:off x="2334964" y="212537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3" name="Google Shape;7183;p53"/>
            <p:cNvSpPr/>
            <p:nvPr/>
          </p:nvSpPr>
          <p:spPr>
            <a:xfrm>
              <a:off x="2335535" y="212499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4" name="Google Shape;7184;p53"/>
            <p:cNvSpPr/>
            <p:nvPr/>
          </p:nvSpPr>
          <p:spPr>
            <a:xfrm>
              <a:off x="2338046" y="212360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2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5" name="Google Shape;7185;p53"/>
            <p:cNvSpPr/>
            <p:nvPr/>
          </p:nvSpPr>
          <p:spPr>
            <a:xfrm>
              <a:off x="2303831" y="212974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6" name="Google Shape;7186;p53"/>
            <p:cNvSpPr/>
            <p:nvPr/>
          </p:nvSpPr>
          <p:spPr>
            <a:xfrm>
              <a:off x="2335290" y="2125125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7" name="Google Shape;7187;p53"/>
            <p:cNvSpPr/>
            <p:nvPr/>
          </p:nvSpPr>
          <p:spPr>
            <a:xfrm>
              <a:off x="2334679" y="212556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8" name="Google Shape;7188;p53"/>
            <p:cNvSpPr/>
            <p:nvPr/>
          </p:nvSpPr>
          <p:spPr>
            <a:xfrm>
              <a:off x="2337626" y="212379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9" name="Google Shape;7189;p53"/>
            <p:cNvSpPr/>
            <p:nvPr/>
          </p:nvSpPr>
          <p:spPr>
            <a:xfrm>
              <a:off x="2334815" y="212546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0" name="Google Shape;7190;p53"/>
            <p:cNvSpPr/>
            <p:nvPr/>
          </p:nvSpPr>
          <p:spPr>
            <a:xfrm>
              <a:off x="2286819" y="2116381"/>
              <a:ext cx="21398" cy="53672"/>
            </a:xfrm>
            <a:custGeom>
              <a:avLst/>
              <a:gdLst/>
              <a:ahLst/>
              <a:cxnLst/>
              <a:rect l="l" t="t" r="r" b="b"/>
              <a:pathLst>
                <a:path w="1576" h="3953" extrusionOk="0">
                  <a:moveTo>
                    <a:pt x="308" y="0"/>
                  </a:moveTo>
                  <a:cubicBezTo>
                    <a:pt x="350" y="85"/>
                    <a:pt x="392" y="172"/>
                    <a:pt x="427" y="260"/>
                  </a:cubicBezTo>
                  <a:lnTo>
                    <a:pt x="434" y="281"/>
                  </a:lnTo>
                  <a:lnTo>
                    <a:pt x="441" y="305"/>
                  </a:lnTo>
                  <a:lnTo>
                    <a:pt x="452" y="333"/>
                  </a:lnTo>
                  <a:lnTo>
                    <a:pt x="455" y="344"/>
                  </a:lnTo>
                  <a:cubicBezTo>
                    <a:pt x="462" y="368"/>
                    <a:pt x="469" y="393"/>
                    <a:pt x="476" y="417"/>
                  </a:cubicBezTo>
                  <a:lnTo>
                    <a:pt x="476" y="421"/>
                  </a:lnTo>
                  <a:cubicBezTo>
                    <a:pt x="476" y="431"/>
                    <a:pt x="480" y="438"/>
                    <a:pt x="480" y="449"/>
                  </a:cubicBezTo>
                  <a:lnTo>
                    <a:pt x="480" y="452"/>
                  </a:lnTo>
                  <a:cubicBezTo>
                    <a:pt x="480" y="463"/>
                    <a:pt x="480" y="470"/>
                    <a:pt x="480" y="480"/>
                  </a:cubicBezTo>
                  <a:cubicBezTo>
                    <a:pt x="483" y="512"/>
                    <a:pt x="469" y="543"/>
                    <a:pt x="448" y="568"/>
                  </a:cubicBezTo>
                  <a:cubicBezTo>
                    <a:pt x="423" y="584"/>
                    <a:pt x="394" y="594"/>
                    <a:pt x="364" y="594"/>
                  </a:cubicBezTo>
                  <a:cubicBezTo>
                    <a:pt x="356" y="594"/>
                    <a:pt x="348" y="594"/>
                    <a:pt x="340" y="592"/>
                  </a:cubicBezTo>
                  <a:cubicBezTo>
                    <a:pt x="330" y="591"/>
                    <a:pt x="323" y="591"/>
                    <a:pt x="316" y="591"/>
                  </a:cubicBezTo>
                  <a:cubicBezTo>
                    <a:pt x="292" y="591"/>
                    <a:pt x="288" y="597"/>
                    <a:pt x="280" y="617"/>
                  </a:cubicBezTo>
                  <a:cubicBezTo>
                    <a:pt x="224" y="753"/>
                    <a:pt x="210" y="1359"/>
                    <a:pt x="291" y="1439"/>
                  </a:cubicBezTo>
                  <a:cubicBezTo>
                    <a:pt x="326" y="1467"/>
                    <a:pt x="340" y="1509"/>
                    <a:pt x="329" y="1551"/>
                  </a:cubicBezTo>
                  <a:cubicBezTo>
                    <a:pt x="308" y="1611"/>
                    <a:pt x="245" y="1614"/>
                    <a:pt x="179" y="1621"/>
                  </a:cubicBezTo>
                  <a:lnTo>
                    <a:pt x="154" y="1625"/>
                  </a:lnTo>
                  <a:cubicBezTo>
                    <a:pt x="133" y="1625"/>
                    <a:pt x="109" y="1632"/>
                    <a:pt x="88" y="1639"/>
                  </a:cubicBezTo>
                  <a:cubicBezTo>
                    <a:pt x="88" y="1779"/>
                    <a:pt x="74" y="1919"/>
                    <a:pt x="46" y="2059"/>
                  </a:cubicBezTo>
                  <a:cubicBezTo>
                    <a:pt x="39" y="2094"/>
                    <a:pt x="28" y="2129"/>
                    <a:pt x="14" y="2161"/>
                  </a:cubicBezTo>
                  <a:cubicBezTo>
                    <a:pt x="11" y="2168"/>
                    <a:pt x="4" y="2178"/>
                    <a:pt x="0" y="2185"/>
                  </a:cubicBezTo>
                  <a:cubicBezTo>
                    <a:pt x="7" y="2206"/>
                    <a:pt x="28" y="2245"/>
                    <a:pt x="42" y="2273"/>
                  </a:cubicBezTo>
                  <a:lnTo>
                    <a:pt x="63" y="2311"/>
                  </a:lnTo>
                  <a:lnTo>
                    <a:pt x="70" y="2325"/>
                  </a:lnTo>
                  <a:lnTo>
                    <a:pt x="81" y="2339"/>
                  </a:lnTo>
                  <a:cubicBezTo>
                    <a:pt x="88" y="2343"/>
                    <a:pt x="95" y="2346"/>
                    <a:pt x="102" y="2350"/>
                  </a:cubicBezTo>
                  <a:lnTo>
                    <a:pt x="105" y="2353"/>
                  </a:lnTo>
                  <a:cubicBezTo>
                    <a:pt x="112" y="2360"/>
                    <a:pt x="119" y="2367"/>
                    <a:pt x="130" y="2374"/>
                  </a:cubicBezTo>
                  <a:lnTo>
                    <a:pt x="137" y="2381"/>
                  </a:lnTo>
                  <a:lnTo>
                    <a:pt x="158" y="2399"/>
                  </a:lnTo>
                  <a:lnTo>
                    <a:pt x="168" y="2409"/>
                  </a:lnTo>
                  <a:lnTo>
                    <a:pt x="203" y="2441"/>
                  </a:lnTo>
                  <a:cubicBezTo>
                    <a:pt x="256" y="2486"/>
                    <a:pt x="364" y="2588"/>
                    <a:pt x="403" y="2588"/>
                  </a:cubicBezTo>
                  <a:cubicBezTo>
                    <a:pt x="413" y="2588"/>
                    <a:pt x="441" y="2577"/>
                    <a:pt x="466" y="2570"/>
                  </a:cubicBezTo>
                  <a:lnTo>
                    <a:pt x="511" y="2556"/>
                  </a:lnTo>
                  <a:lnTo>
                    <a:pt x="522" y="2553"/>
                  </a:lnTo>
                  <a:lnTo>
                    <a:pt x="560" y="2542"/>
                  </a:lnTo>
                  <a:lnTo>
                    <a:pt x="578" y="2539"/>
                  </a:lnTo>
                  <a:cubicBezTo>
                    <a:pt x="588" y="2539"/>
                    <a:pt x="602" y="2535"/>
                    <a:pt x="616" y="2532"/>
                  </a:cubicBezTo>
                  <a:lnTo>
                    <a:pt x="630" y="2532"/>
                  </a:lnTo>
                  <a:cubicBezTo>
                    <a:pt x="648" y="2528"/>
                    <a:pt x="665" y="2528"/>
                    <a:pt x="683" y="2528"/>
                  </a:cubicBezTo>
                  <a:lnTo>
                    <a:pt x="735" y="2528"/>
                  </a:lnTo>
                  <a:cubicBezTo>
                    <a:pt x="746" y="2532"/>
                    <a:pt x="753" y="2532"/>
                    <a:pt x="763" y="2535"/>
                  </a:cubicBezTo>
                  <a:lnTo>
                    <a:pt x="774" y="2539"/>
                  </a:lnTo>
                  <a:cubicBezTo>
                    <a:pt x="788" y="2542"/>
                    <a:pt x="802" y="2549"/>
                    <a:pt x="812" y="2556"/>
                  </a:cubicBezTo>
                  <a:cubicBezTo>
                    <a:pt x="865" y="2588"/>
                    <a:pt x="900" y="2644"/>
                    <a:pt x="910" y="2703"/>
                  </a:cubicBezTo>
                  <a:cubicBezTo>
                    <a:pt x="942" y="2850"/>
                    <a:pt x="886" y="3046"/>
                    <a:pt x="840" y="3204"/>
                  </a:cubicBezTo>
                  <a:cubicBezTo>
                    <a:pt x="819" y="3277"/>
                    <a:pt x="788" y="3382"/>
                    <a:pt x="798" y="3407"/>
                  </a:cubicBezTo>
                  <a:cubicBezTo>
                    <a:pt x="819" y="3473"/>
                    <a:pt x="1008" y="3757"/>
                    <a:pt x="1138" y="3921"/>
                  </a:cubicBezTo>
                  <a:lnTo>
                    <a:pt x="1166" y="3953"/>
                  </a:lnTo>
                  <a:cubicBezTo>
                    <a:pt x="1145" y="3823"/>
                    <a:pt x="1120" y="3648"/>
                    <a:pt x="1239" y="3540"/>
                  </a:cubicBezTo>
                  <a:cubicBezTo>
                    <a:pt x="1292" y="3498"/>
                    <a:pt x="1355" y="3470"/>
                    <a:pt x="1421" y="3463"/>
                  </a:cubicBezTo>
                  <a:cubicBezTo>
                    <a:pt x="1498" y="3445"/>
                    <a:pt x="1533" y="3438"/>
                    <a:pt x="1526" y="3239"/>
                  </a:cubicBezTo>
                  <a:cubicBezTo>
                    <a:pt x="1519" y="3120"/>
                    <a:pt x="1530" y="3004"/>
                    <a:pt x="1561" y="2889"/>
                  </a:cubicBezTo>
                  <a:cubicBezTo>
                    <a:pt x="1568" y="2868"/>
                    <a:pt x="1572" y="2847"/>
                    <a:pt x="1575" y="2826"/>
                  </a:cubicBezTo>
                  <a:cubicBezTo>
                    <a:pt x="1575" y="2794"/>
                    <a:pt x="1561" y="2773"/>
                    <a:pt x="1523" y="2728"/>
                  </a:cubicBezTo>
                  <a:lnTo>
                    <a:pt x="1502" y="2703"/>
                  </a:lnTo>
                  <a:lnTo>
                    <a:pt x="1495" y="2693"/>
                  </a:lnTo>
                  <a:lnTo>
                    <a:pt x="1477" y="2672"/>
                  </a:lnTo>
                  <a:lnTo>
                    <a:pt x="1467" y="2665"/>
                  </a:lnTo>
                  <a:lnTo>
                    <a:pt x="1446" y="2640"/>
                  </a:lnTo>
                  <a:lnTo>
                    <a:pt x="1435" y="2630"/>
                  </a:lnTo>
                  <a:lnTo>
                    <a:pt x="1404" y="2598"/>
                  </a:lnTo>
                  <a:lnTo>
                    <a:pt x="1400" y="2595"/>
                  </a:lnTo>
                  <a:lnTo>
                    <a:pt x="1362" y="2556"/>
                  </a:lnTo>
                  <a:lnTo>
                    <a:pt x="1351" y="2549"/>
                  </a:lnTo>
                  <a:lnTo>
                    <a:pt x="1316" y="2518"/>
                  </a:lnTo>
                  <a:lnTo>
                    <a:pt x="1302" y="2504"/>
                  </a:lnTo>
                  <a:lnTo>
                    <a:pt x="1285" y="2490"/>
                  </a:lnTo>
                  <a:lnTo>
                    <a:pt x="1281" y="2497"/>
                  </a:lnTo>
                  <a:cubicBezTo>
                    <a:pt x="1253" y="2539"/>
                    <a:pt x="1208" y="2565"/>
                    <a:pt x="1158" y="2565"/>
                  </a:cubicBezTo>
                  <a:cubicBezTo>
                    <a:pt x="1146" y="2565"/>
                    <a:pt x="1133" y="2563"/>
                    <a:pt x="1120" y="2560"/>
                  </a:cubicBezTo>
                  <a:cubicBezTo>
                    <a:pt x="900" y="2504"/>
                    <a:pt x="609" y="1968"/>
                    <a:pt x="571" y="1628"/>
                  </a:cubicBezTo>
                  <a:cubicBezTo>
                    <a:pt x="546" y="1439"/>
                    <a:pt x="592" y="1292"/>
                    <a:pt x="630" y="1163"/>
                  </a:cubicBezTo>
                  <a:cubicBezTo>
                    <a:pt x="679" y="1005"/>
                    <a:pt x="721" y="869"/>
                    <a:pt x="637" y="680"/>
                  </a:cubicBezTo>
                  <a:cubicBezTo>
                    <a:pt x="462" y="295"/>
                    <a:pt x="441" y="102"/>
                    <a:pt x="4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1" name="Google Shape;7191;p53"/>
            <p:cNvSpPr/>
            <p:nvPr/>
          </p:nvSpPr>
          <p:spPr>
            <a:xfrm>
              <a:off x="2291041" y="2116476"/>
              <a:ext cx="1589" cy="3435"/>
            </a:xfrm>
            <a:custGeom>
              <a:avLst/>
              <a:gdLst/>
              <a:ahLst/>
              <a:cxnLst/>
              <a:rect l="l" t="t" r="r" b="b"/>
              <a:pathLst>
                <a:path w="117" h="253" extrusionOk="0">
                  <a:moveTo>
                    <a:pt x="1" y="1"/>
                  </a:moveTo>
                  <a:lnTo>
                    <a:pt x="1" y="1"/>
                  </a:lnTo>
                  <a:cubicBezTo>
                    <a:pt x="43" y="81"/>
                    <a:pt x="81" y="165"/>
                    <a:pt x="116" y="253"/>
                  </a:cubicBezTo>
                  <a:cubicBezTo>
                    <a:pt x="81" y="165"/>
                    <a:pt x="43" y="8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2" name="Google Shape;7192;p53"/>
            <p:cNvSpPr/>
            <p:nvPr/>
          </p:nvSpPr>
          <p:spPr>
            <a:xfrm>
              <a:off x="2287484" y="2138431"/>
              <a:ext cx="1534" cy="5906"/>
            </a:xfrm>
            <a:custGeom>
              <a:avLst/>
              <a:gdLst/>
              <a:ahLst/>
              <a:cxnLst/>
              <a:rect l="l" t="t" r="r" b="b"/>
              <a:pathLst>
                <a:path w="113" h="435" extrusionOk="0">
                  <a:moveTo>
                    <a:pt x="112" y="1"/>
                  </a:moveTo>
                  <a:cubicBezTo>
                    <a:pt x="88" y="1"/>
                    <a:pt x="63" y="8"/>
                    <a:pt x="42" y="11"/>
                  </a:cubicBezTo>
                  <a:cubicBezTo>
                    <a:pt x="42" y="155"/>
                    <a:pt x="28" y="295"/>
                    <a:pt x="0" y="435"/>
                  </a:cubicBezTo>
                  <a:cubicBezTo>
                    <a:pt x="28" y="295"/>
                    <a:pt x="42" y="155"/>
                    <a:pt x="42" y="11"/>
                  </a:cubicBezTo>
                  <a:cubicBezTo>
                    <a:pt x="63" y="8"/>
                    <a:pt x="88" y="1"/>
                    <a:pt x="11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3" name="Google Shape;7193;p53"/>
            <p:cNvSpPr/>
            <p:nvPr/>
          </p:nvSpPr>
          <p:spPr>
            <a:xfrm>
              <a:off x="2292942" y="212090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4" name="Google Shape;7194;p53"/>
            <p:cNvSpPr/>
            <p:nvPr/>
          </p:nvSpPr>
          <p:spPr>
            <a:xfrm>
              <a:off x="2292711" y="2120183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5" name="Google Shape;7195;p53"/>
            <p:cNvSpPr/>
            <p:nvPr/>
          </p:nvSpPr>
          <p:spPr>
            <a:xfrm>
              <a:off x="2293376" y="212246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6" name="Google Shape;7196;p53"/>
            <p:cNvSpPr/>
            <p:nvPr/>
          </p:nvSpPr>
          <p:spPr>
            <a:xfrm>
              <a:off x="2287049" y="2144324"/>
              <a:ext cx="448" cy="1398"/>
            </a:xfrm>
            <a:custGeom>
              <a:avLst/>
              <a:gdLst/>
              <a:ahLst/>
              <a:cxnLst/>
              <a:rect l="l" t="t" r="r" b="b"/>
              <a:pathLst>
                <a:path w="33" h="103" extrusionOk="0">
                  <a:moveTo>
                    <a:pt x="1" y="103"/>
                  </a:moveTo>
                  <a:cubicBezTo>
                    <a:pt x="15" y="71"/>
                    <a:pt x="25" y="36"/>
                    <a:pt x="32" y="1"/>
                  </a:cubicBezTo>
                  <a:cubicBezTo>
                    <a:pt x="25" y="36"/>
                    <a:pt x="15" y="71"/>
                    <a:pt x="1" y="10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7" name="Google Shape;7197;p53"/>
            <p:cNvSpPr/>
            <p:nvPr/>
          </p:nvSpPr>
          <p:spPr>
            <a:xfrm>
              <a:off x="2293281" y="212204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8" name="Google Shape;7198;p53"/>
            <p:cNvSpPr/>
            <p:nvPr/>
          </p:nvSpPr>
          <p:spPr>
            <a:xfrm>
              <a:off x="2287769" y="2147800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9" name="Google Shape;7199;p53"/>
            <p:cNvSpPr/>
            <p:nvPr/>
          </p:nvSpPr>
          <p:spPr>
            <a:xfrm>
              <a:off x="2288000" y="214818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1"/>
                  </a:moveTo>
                  <a:cubicBezTo>
                    <a:pt x="11" y="8"/>
                    <a:pt x="8" y="4"/>
                    <a:pt x="1" y="1"/>
                  </a:cubicBezTo>
                  <a:cubicBezTo>
                    <a:pt x="8" y="4"/>
                    <a:pt x="11" y="8"/>
                    <a:pt x="18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0" name="Google Shape;7200;p53"/>
            <p:cNvSpPr/>
            <p:nvPr/>
          </p:nvSpPr>
          <p:spPr>
            <a:xfrm>
              <a:off x="2295467" y="2150705"/>
              <a:ext cx="720" cy="109"/>
            </a:xfrm>
            <a:custGeom>
              <a:avLst/>
              <a:gdLst/>
              <a:ahLst/>
              <a:cxnLst/>
              <a:rect l="l" t="t" r="r" b="b"/>
              <a:pathLst>
                <a:path w="53" h="8" extrusionOk="0">
                  <a:moveTo>
                    <a:pt x="0" y="7"/>
                  </a:moveTo>
                  <a:cubicBezTo>
                    <a:pt x="18" y="4"/>
                    <a:pt x="35" y="0"/>
                    <a:pt x="53" y="0"/>
                  </a:cubicBezTo>
                  <a:cubicBezTo>
                    <a:pt x="35" y="0"/>
                    <a:pt x="18" y="4"/>
                    <a:pt x="0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1" name="Google Shape;7201;p53"/>
            <p:cNvSpPr/>
            <p:nvPr/>
          </p:nvSpPr>
          <p:spPr>
            <a:xfrm>
              <a:off x="2288760" y="2148709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22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2" name="Google Shape;7202;p53"/>
            <p:cNvSpPr/>
            <p:nvPr/>
          </p:nvSpPr>
          <p:spPr>
            <a:xfrm>
              <a:off x="2288285" y="2148370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cubicBezTo>
                    <a:pt x="18" y="11"/>
                    <a:pt x="8" y="8"/>
                    <a:pt x="1" y="1"/>
                  </a:cubicBezTo>
                  <a:cubicBezTo>
                    <a:pt x="8" y="8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3" name="Google Shape;7203;p53"/>
            <p:cNvSpPr/>
            <p:nvPr/>
          </p:nvSpPr>
          <p:spPr>
            <a:xfrm>
              <a:off x="2294748" y="2150800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0"/>
                  </a:moveTo>
                  <a:cubicBezTo>
                    <a:pt x="25" y="0"/>
                    <a:pt x="11" y="4"/>
                    <a:pt x="1" y="7"/>
                  </a:cubicBezTo>
                  <a:cubicBezTo>
                    <a:pt x="11" y="4"/>
                    <a:pt x="25" y="4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4" name="Google Shape;7204;p53"/>
            <p:cNvSpPr/>
            <p:nvPr/>
          </p:nvSpPr>
          <p:spPr>
            <a:xfrm>
              <a:off x="2293227" y="2151126"/>
              <a:ext cx="638" cy="204"/>
            </a:xfrm>
            <a:custGeom>
              <a:avLst/>
              <a:gdLst/>
              <a:ahLst/>
              <a:cxnLst/>
              <a:rect l="l" t="t" r="r" b="b"/>
              <a:pathLst>
                <a:path w="47" h="15" extrusionOk="0">
                  <a:moveTo>
                    <a:pt x="46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5" name="Google Shape;7205;p53"/>
            <p:cNvSpPr/>
            <p:nvPr/>
          </p:nvSpPr>
          <p:spPr>
            <a:xfrm>
              <a:off x="2296703" y="215080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6" name="Google Shape;7206;p53"/>
            <p:cNvSpPr/>
            <p:nvPr/>
          </p:nvSpPr>
          <p:spPr>
            <a:xfrm>
              <a:off x="2289195" y="2149130"/>
              <a:ext cx="489" cy="394"/>
            </a:xfrm>
            <a:custGeom>
              <a:avLst/>
              <a:gdLst/>
              <a:ahLst/>
              <a:cxnLst/>
              <a:rect l="l" t="t" r="r" b="b"/>
              <a:pathLst>
                <a:path w="36" h="29" extrusionOk="0">
                  <a:moveTo>
                    <a:pt x="35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7" name="Google Shape;7207;p53"/>
            <p:cNvSpPr/>
            <p:nvPr/>
          </p:nvSpPr>
          <p:spPr>
            <a:xfrm>
              <a:off x="2297273" y="215089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8" name="Google Shape;7208;p53"/>
            <p:cNvSpPr/>
            <p:nvPr/>
          </p:nvSpPr>
          <p:spPr>
            <a:xfrm>
              <a:off x="2293987" y="2150936"/>
              <a:ext cx="543" cy="163"/>
            </a:xfrm>
            <a:custGeom>
              <a:avLst/>
              <a:gdLst/>
              <a:ahLst/>
              <a:cxnLst/>
              <a:rect l="l" t="t" r="r" b="b"/>
              <a:pathLst>
                <a:path w="40" h="12" extrusionOk="0">
                  <a:moveTo>
                    <a:pt x="39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9" name="Google Shape;7209;p53"/>
            <p:cNvSpPr/>
            <p:nvPr/>
          </p:nvSpPr>
          <p:spPr>
            <a:xfrm>
              <a:off x="2306913" y="2152701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0" name="Google Shape;7210;p53"/>
            <p:cNvSpPr/>
            <p:nvPr/>
          </p:nvSpPr>
          <p:spPr>
            <a:xfrm>
              <a:off x="2307293" y="2153081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1" name="Google Shape;7211;p53"/>
            <p:cNvSpPr/>
            <p:nvPr/>
          </p:nvSpPr>
          <p:spPr>
            <a:xfrm>
              <a:off x="2305352" y="2151126"/>
              <a:ext cx="530" cy="543"/>
            </a:xfrm>
            <a:custGeom>
              <a:avLst/>
              <a:gdLst/>
              <a:ahLst/>
              <a:cxnLst/>
              <a:rect l="l" t="t" r="r" b="b"/>
              <a:pathLst>
                <a:path w="39" h="40" extrusionOk="0">
                  <a:moveTo>
                    <a:pt x="0" y="1"/>
                  </a:moveTo>
                  <a:lnTo>
                    <a:pt x="39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2" name="Google Shape;7212;p53"/>
            <p:cNvSpPr/>
            <p:nvPr/>
          </p:nvSpPr>
          <p:spPr>
            <a:xfrm>
              <a:off x="2305922" y="2151697"/>
              <a:ext cx="434" cy="44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0" y="1"/>
                  </a:moveTo>
                  <a:lnTo>
                    <a:pt x="32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3" name="Google Shape;7213;p53"/>
            <p:cNvSpPr/>
            <p:nvPr/>
          </p:nvSpPr>
          <p:spPr>
            <a:xfrm>
              <a:off x="2308108" y="2154792"/>
              <a:ext cx="149" cy="910"/>
            </a:xfrm>
            <a:custGeom>
              <a:avLst/>
              <a:gdLst/>
              <a:ahLst/>
              <a:cxnLst/>
              <a:rect l="l" t="t" r="r" b="b"/>
              <a:pathLst>
                <a:path w="11" h="67" extrusionOk="0">
                  <a:moveTo>
                    <a:pt x="11" y="0"/>
                  </a:moveTo>
                  <a:cubicBezTo>
                    <a:pt x="11" y="21"/>
                    <a:pt x="7" y="42"/>
                    <a:pt x="0" y="67"/>
                  </a:cubicBezTo>
                  <a:cubicBezTo>
                    <a:pt x="7" y="42"/>
                    <a:pt x="11" y="2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4" name="Google Shape;7214;p53"/>
            <p:cNvSpPr/>
            <p:nvPr/>
          </p:nvSpPr>
          <p:spPr>
            <a:xfrm>
              <a:off x="2306492" y="2152267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1"/>
                  </a:moveTo>
                  <a:lnTo>
                    <a:pt x="2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5" name="Google Shape;7215;p53"/>
            <p:cNvSpPr/>
            <p:nvPr/>
          </p:nvSpPr>
          <p:spPr>
            <a:xfrm>
              <a:off x="2297694" y="2162681"/>
              <a:ext cx="4671" cy="7047"/>
            </a:xfrm>
            <a:custGeom>
              <a:avLst/>
              <a:gdLst/>
              <a:ahLst/>
              <a:cxnLst/>
              <a:rect l="l" t="t" r="r" b="b"/>
              <a:pathLst>
                <a:path w="344" h="519" extrusionOk="0">
                  <a:moveTo>
                    <a:pt x="344" y="518"/>
                  </a:moveTo>
                  <a:cubicBezTo>
                    <a:pt x="214" y="354"/>
                    <a:pt x="22" y="70"/>
                    <a:pt x="1" y="0"/>
                  </a:cubicBezTo>
                  <a:cubicBezTo>
                    <a:pt x="22" y="70"/>
                    <a:pt x="214" y="354"/>
                    <a:pt x="344" y="5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6" name="Google Shape;7216;p53"/>
            <p:cNvSpPr/>
            <p:nvPr/>
          </p:nvSpPr>
          <p:spPr>
            <a:xfrm>
              <a:off x="2304727" y="2150610"/>
              <a:ext cx="489" cy="434"/>
            </a:xfrm>
            <a:custGeom>
              <a:avLst/>
              <a:gdLst/>
              <a:ahLst/>
              <a:cxnLst/>
              <a:rect l="l" t="t" r="r" b="b"/>
              <a:pathLst>
                <a:path w="36" h="32" extrusionOk="0">
                  <a:moveTo>
                    <a:pt x="1" y="0"/>
                  </a:moveTo>
                  <a:lnTo>
                    <a:pt x="36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7" name="Google Shape;7217;p53"/>
            <p:cNvSpPr/>
            <p:nvPr/>
          </p:nvSpPr>
          <p:spPr>
            <a:xfrm>
              <a:off x="2304347" y="2150271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lnTo>
                    <a:pt x="1" y="1"/>
                  </a:ln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8" name="Google Shape;7218;p53"/>
            <p:cNvSpPr/>
            <p:nvPr/>
          </p:nvSpPr>
          <p:spPr>
            <a:xfrm>
              <a:off x="2291951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9" name="Google Shape;7219;p53"/>
            <p:cNvSpPr/>
            <p:nvPr/>
          </p:nvSpPr>
          <p:spPr>
            <a:xfrm>
              <a:off x="2292562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0" name="Google Shape;7220;p53"/>
            <p:cNvSpPr/>
            <p:nvPr/>
          </p:nvSpPr>
          <p:spPr>
            <a:xfrm>
              <a:off x="2291095" y="211647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1" name="Google Shape;7221;p53"/>
            <p:cNvSpPr/>
            <p:nvPr/>
          </p:nvSpPr>
          <p:spPr>
            <a:xfrm>
              <a:off x="2293132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2" name="Google Shape;7222;p53"/>
            <p:cNvSpPr/>
            <p:nvPr/>
          </p:nvSpPr>
          <p:spPr>
            <a:xfrm>
              <a:off x="2291326" y="2116476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1" y="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3" name="Google Shape;7223;p53"/>
            <p:cNvSpPr/>
            <p:nvPr/>
          </p:nvSpPr>
          <p:spPr>
            <a:xfrm>
              <a:off x="2550480" y="1720977"/>
              <a:ext cx="54867" cy="35763"/>
            </a:xfrm>
            <a:custGeom>
              <a:avLst/>
              <a:gdLst/>
              <a:ahLst/>
              <a:cxnLst/>
              <a:rect l="l" t="t" r="r" b="b"/>
              <a:pathLst>
                <a:path w="4041" h="2634" extrusionOk="0">
                  <a:moveTo>
                    <a:pt x="1609" y="0"/>
                  </a:moveTo>
                  <a:cubicBezTo>
                    <a:pt x="1562" y="0"/>
                    <a:pt x="1456" y="27"/>
                    <a:pt x="1355" y="104"/>
                  </a:cubicBezTo>
                  <a:cubicBezTo>
                    <a:pt x="1301" y="144"/>
                    <a:pt x="1237" y="154"/>
                    <a:pt x="1176" y="154"/>
                  </a:cubicBezTo>
                  <a:cubicBezTo>
                    <a:pt x="1147" y="154"/>
                    <a:pt x="1119" y="152"/>
                    <a:pt x="1092" y="150"/>
                  </a:cubicBezTo>
                  <a:cubicBezTo>
                    <a:pt x="1063" y="147"/>
                    <a:pt x="1040" y="146"/>
                    <a:pt x="1022" y="146"/>
                  </a:cubicBezTo>
                  <a:cubicBezTo>
                    <a:pt x="978" y="146"/>
                    <a:pt x="964" y="153"/>
                    <a:pt x="959" y="171"/>
                  </a:cubicBezTo>
                  <a:cubicBezTo>
                    <a:pt x="924" y="279"/>
                    <a:pt x="847" y="507"/>
                    <a:pt x="641" y="507"/>
                  </a:cubicBezTo>
                  <a:cubicBezTo>
                    <a:pt x="639" y="505"/>
                    <a:pt x="637" y="504"/>
                    <a:pt x="636" y="504"/>
                  </a:cubicBezTo>
                  <a:cubicBezTo>
                    <a:pt x="634" y="504"/>
                    <a:pt x="632" y="505"/>
                    <a:pt x="630" y="507"/>
                  </a:cubicBezTo>
                  <a:cubicBezTo>
                    <a:pt x="620" y="528"/>
                    <a:pt x="616" y="552"/>
                    <a:pt x="616" y="580"/>
                  </a:cubicBezTo>
                  <a:cubicBezTo>
                    <a:pt x="606" y="650"/>
                    <a:pt x="595" y="759"/>
                    <a:pt x="487" y="804"/>
                  </a:cubicBezTo>
                  <a:cubicBezTo>
                    <a:pt x="417" y="832"/>
                    <a:pt x="343" y="850"/>
                    <a:pt x="270" y="860"/>
                  </a:cubicBezTo>
                  <a:cubicBezTo>
                    <a:pt x="168" y="874"/>
                    <a:pt x="18" y="902"/>
                    <a:pt x="7" y="955"/>
                  </a:cubicBezTo>
                  <a:cubicBezTo>
                    <a:pt x="0" y="979"/>
                    <a:pt x="91" y="1042"/>
                    <a:pt x="137" y="1074"/>
                  </a:cubicBezTo>
                  <a:cubicBezTo>
                    <a:pt x="242" y="1147"/>
                    <a:pt x="371" y="1238"/>
                    <a:pt x="347" y="1371"/>
                  </a:cubicBezTo>
                  <a:cubicBezTo>
                    <a:pt x="336" y="1427"/>
                    <a:pt x="371" y="1497"/>
                    <a:pt x="399" y="1564"/>
                  </a:cubicBezTo>
                  <a:cubicBezTo>
                    <a:pt x="448" y="1665"/>
                    <a:pt x="511" y="1802"/>
                    <a:pt x="389" y="1896"/>
                  </a:cubicBezTo>
                  <a:lnTo>
                    <a:pt x="371" y="1910"/>
                  </a:lnTo>
                  <a:lnTo>
                    <a:pt x="364" y="1914"/>
                  </a:lnTo>
                  <a:lnTo>
                    <a:pt x="354" y="1924"/>
                  </a:lnTo>
                  <a:lnTo>
                    <a:pt x="347" y="1931"/>
                  </a:lnTo>
                  <a:lnTo>
                    <a:pt x="336" y="1942"/>
                  </a:lnTo>
                  <a:lnTo>
                    <a:pt x="329" y="1949"/>
                  </a:lnTo>
                  <a:lnTo>
                    <a:pt x="319" y="1963"/>
                  </a:lnTo>
                  <a:lnTo>
                    <a:pt x="312" y="1970"/>
                  </a:lnTo>
                  <a:lnTo>
                    <a:pt x="301" y="1984"/>
                  </a:lnTo>
                  <a:lnTo>
                    <a:pt x="294" y="1994"/>
                  </a:lnTo>
                  <a:lnTo>
                    <a:pt x="284" y="2005"/>
                  </a:lnTo>
                  <a:lnTo>
                    <a:pt x="277" y="2019"/>
                  </a:lnTo>
                  <a:lnTo>
                    <a:pt x="266" y="2033"/>
                  </a:lnTo>
                  <a:lnTo>
                    <a:pt x="259" y="2043"/>
                  </a:lnTo>
                  <a:lnTo>
                    <a:pt x="252" y="2061"/>
                  </a:lnTo>
                  <a:lnTo>
                    <a:pt x="245" y="2075"/>
                  </a:lnTo>
                  <a:lnTo>
                    <a:pt x="238" y="2089"/>
                  </a:lnTo>
                  <a:lnTo>
                    <a:pt x="231" y="2106"/>
                  </a:lnTo>
                  <a:lnTo>
                    <a:pt x="224" y="2124"/>
                  </a:lnTo>
                  <a:lnTo>
                    <a:pt x="217" y="2141"/>
                  </a:lnTo>
                  <a:cubicBezTo>
                    <a:pt x="217" y="2148"/>
                    <a:pt x="214" y="2156"/>
                    <a:pt x="214" y="2159"/>
                  </a:cubicBezTo>
                  <a:cubicBezTo>
                    <a:pt x="210" y="2166"/>
                    <a:pt x="210" y="2173"/>
                    <a:pt x="207" y="2180"/>
                  </a:cubicBezTo>
                  <a:cubicBezTo>
                    <a:pt x="207" y="2187"/>
                    <a:pt x="203" y="2194"/>
                    <a:pt x="203" y="2201"/>
                  </a:cubicBezTo>
                  <a:cubicBezTo>
                    <a:pt x="200" y="2208"/>
                    <a:pt x="200" y="2215"/>
                    <a:pt x="200" y="2222"/>
                  </a:cubicBezTo>
                  <a:cubicBezTo>
                    <a:pt x="196" y="2229"/>
                    <a:pt x="196" y="2236"/>
                    <a:pt x="196" y="2243"/>
                  </a:cubicBezTo>
                  <a:cubicBezTo>
                    <a:pt x="193" y="2250"/>
                    <a:pt x="196" y="2257"/>
                    <a:pt x="193" y="2268"/>
                  </a:cubicBezTo>
                  <a:cubicBezTo>
                    <a:pt x="189" y="2275"/>
                    <a:pt x="193" y="2282"/>
                    <a:pt x="189" y="2292"/>
                  </a:cubicBezTo>
                  <a:cubicBezTo>
                    <a:pt x="186" y="2299"/>
                    <a:pt x="189" y="2306"/>
                    <a:pt x="189" y="2313"/>
                  </a:cubicBezTo>
                  <a:lnTo>
                    <a:pt x="189" y="2341"/>
                  </a:lnTo>
                  <a:lnTo>
                    <a:pt x="189" y="2366"/>
                  </a:lnTo>
                  <a:lnTo>
                    <a:pt x="189" y="2380"/>
                  </a:lnTo>
                  <a:lnTo>
                    <a:pt x="210" y="2390"/>
                  </a:lnTo>
                  <a:lnTo>
                    <a:pt x="217" y="2394"/>
                  </a:lnTo>
                  <a:lnTo>
                    <a:pt x="228" y="2401"/>
                  </a:lnTo>
                  <a:lnTo>
                    <a:pt x="238" y="2408"/>
                  </a:lnTo>
                  <a:lnTo>
                    <a:pt x="252" y="2415"/>
                  </a:lnTo>
                  <a:lnTo>
                    <a:pt x="266" y="2422"/>
                  </a:lnTo>
                  <a:lnTo>
                    <a:pt x="273" y="2425"/>
                  </a:lnTo>
                  <a:lnTo>
                    <a:pt x="280" y="2425"/>
                  </a:lnTo>
                  <a:lnTo>
                    <a:pt x="291" y="2429"/>
                  </a:lnTo>
                  <a:lnTo>
                    <a:pt x="308" y="2429"/>
                  </a:lnTo>
                  <a:cubicBezTo>
                    <a:pt x="312" y="2429"/>
                    <a:pt x="319" y="2418"/>
                    <a:pt x="319" y="2411"/>
                  </a:cubicBezTo>
                  <a:cubicBezTo>
                    <a:pt x="368" y="2317"/>
                    <a:pt x="476" y="2296"/>
                    <a:pt x="592" y="2292"/>
                  </a:cubicBezTo>
                  <a:lnTo>
                    <a:pt x="707" y="2292"/>
                  </a:lnTo>
                  <a:cubicBezTo>
                    <a:pt x="722" y="2293"/>
                    <a:pt x="737" y="2293"/>
                    <a:pt x="752" y="2293"/>
                  </a:cubicBezTo>
                  <a:cubicBezTo>
                    <a:pt x="793" y="2293"/>
                    <a:pt x="834" y="2290"/>
                    <a:pt x="875" y="2285"/>
                  </a:cubicBezTo>
                  <a:cubicBezTo>
                    <a:pt x="882" y="2159"/>
                    <a:pt x="1036" y="2127"/>
                    <a:pt x="1187" y="2096"/>
                  </a:cubicBezTo>
                  <a:cubicBezTo>
                    <a:pt x="1254" y="2082"/>
                    <a:pt x="1380" y="2057"/>
                    <a:pt x="1394" y="2029"/>
                  </a:cubicBezTo>
                  <a:cubicBezTo>
                    <a:pt x="1394" y="1910"/>
                    <a:pt x="1520" y="1742"/>
                    <a:pt x="1635" y="1634"/>
                  </a:cubicBezTo>
                  <a:lnTo>
                    <a:pt x="1660" y="1613"/>
                  </a:lnTo>
                  <a:lnTo>
                    <a:pt x="1688" y="1592"/>
                  </a:lnTo>
                  <a:lnTo>
                    <a:pt x="1695" y="1588"/>
                  </a:lnTo>
                  <a:lnTo>
                    <a:pt x="1723" y="1567"/>
                  </a:lnTo>
                  <a:lnTo>
                    <a:pt x="1730" y="1564"/>
                  </a:lnTo>
                  <a:lnTo>
                    <a:pt x="1761" y="1543"/>
                  </a:lnTo>
                  <a:lnTo>
                    <a:pt x="1768" y="1539"/>
                  </a:lnTo>
                  <a:cubicBezTo>
                    <a:pt x="1779" y="1536"/>
                    <a:pt x="1789" y="1529"/>
                    <a:pt x="1803" y="1522"/>
                  </a:cubicBezTo>
                  <a:lnTo>
                    <a:pt x="1810" y="1522"/>
                  </a:lnTo>
                  <a:cubicBezTo>
                    <a:pt x="1821" y="1515"/>
                    <a:pt x="1835" y="1511"/>
                    <a:pt x="1845" y="1508"/>
                  </a:cubicBezTo>
                  <a:lnTo>
                    <a:pt x="1852" y="1508"/>
                  </a:lnTo>
                  <a:cubicBezTo>
                    <a:pt x="1863" y="1501"/>
                    <a:pt x="1877" y="1497"/>
                    <a:pt x="1891" y="1497"/>
                  </a:cubicBezTo>
                  <a:lnTo>
                    <a:pt x="1894" y="1497"/>
                  </a:lnTo>
                  <a:cubicBezTo>
                    <a:pt x="1908" y="1494"/>
                    <a:pt x="1922" y="1494"/>
                    <a:pt x="1936" y="1494"/>
                  </a:cubicBezTo>
                  <a:lnTo>
                    <a:pt x="1961" y="1494"/>
                  </a:lnTo>
                  <a:cubicBezTo>
                    <a:pt x="2111" y="1511"/>
                    <a:pt x="2111" y="1648"/>
                    <a:pt x="2111" y="1739"/>
                  </a:cubicBezTo>
                  <a:cubicBezTo>
                    <a:pt x="2111" y="1847"/>
                    <a:pt x="2115" y="1914"/>
                    <a:pt x="2199" y="1952"/>
                  </a:cubicBezTo>
                  <a:cubicBezTo>
                    <a:pt x="2381" y="2036"/>
                    <a:pt x="2318" y="2236"/>
                    <a:pt x="2272" y="2380"/>
                  </a:cubicBezTo>
                  <a:cubicBezTo>
                    <a:pt x="2241" y="2474"/>
                    <a:pt x="2209" y="2576"/>
                    <a:pt x="2241" y="2618"/>
                  </a:cubicBezTo>
                  <a:cubicBezTo>
                    <a:pt x="2251" y="2628"/>
                    <a:pt x="2270" y="2634"/>
                    <a:pt x="2296" y="2634"/>
                  </a:cubicBezTo>
                  <a:cubicBezTo>
                    <a:pt x="2329" y="2634"/>
                    <a:pt x="2376" y="2625"/>
                    <a:pt x="2437" y="2607"/>
                  </a:cubicBezTo>
                  <a:lnTo>
                    <a:pt x="2454" y="2604"/>
                  </a:lnTo>
                  <a:cubicBezTo>
                    <a:pt x="2500" y="2586"/>
                    <a:pt x="2552" y="2572"/>
                    <a:pt x="2605" y="2551"/>
                  </a:cubicBezTo>
                  <a:lnTo>
                    <a:pt x="2706" y="2516"/>
                  </a:lnTo>
                  <a:lnTo>
                    <a:pt x="2731" y="2495"/>
                  </a:lnTo>
                  <a:cubicBezTo>
                    <a:pt x="2787" y="2446"/>
                    <a:pt x="2836" y="2404"/>
                    <a:pt x="2885" y="2362"/>
                  </a:cubicBezTo>
                  <a:lnTo>
                    <a:pt x="2892" y="2355"/>
                  </a:lnTo>
                  <a:lnTo>
                    <a:pt x="2927" y="2327"/>
                  </a:lnTo>
                  <a:lnTo>
                    <a:pt x="2941" y="2313"/>
                  </a:lnTo>
                  <a:lnTo>
                    <a:pt x="2986" y="2282"/>
                  </a:lnTo>
                  <a:lnTo>
                    <a:pt x="2990" y="2278"/>
                  </a:lnTo>
                  <a:cubicBezTo>
                    <a:pt x="3124" y="2171"/>
                    <a:pt x="3227" y="2109"/>
                    <a:pt x="3305" y="2109"/>
                  </a:cubicBezTo>
                  <a:cubicBezTo>
                    <a:pt x="3330" y="2109"/>
                    <a:pt x="3352" y="2115"/>
                    <a:pt x="3372" y="2127"/>
                  </a:cubicBezTo>
                  <a:lnTo>
                    <a:pt x="3396" y="2141"/>
                  </a:lnTo>
                  <a:cubicBezTo>
                    <a:pt x="3431" y="2163"/>
                    <a:pt x="3459" y="2194"/>
                    <a:pt x="3484" y="2229"/>
                  </a:cubicBezTo>
                  <a:lnTo>
                    <a:pt x="3494" y="2240"/>
                  </a:lnTo>
                  <a:cubicBezTo>
                    <a:pt x="3510" y="2266"/>
                    <a:pt x="3514" y="2273"/>
                    <a:pt x="3527" y="2273"/>
                  </a:cubicBezTo>
                  <a:cubicBezTo>
                    <a:pt x="3531" y="2273"/>
                    <a:pt x="3536" y="2272"/>
                    <a:pt x="3543" y="2271"/>
                  </a:cubicBezTo>
                  <a:cubicBezTo>
                    <a:pt x="3554" y="2271"/>
                    <a:pt x="3568" y="2268"/>
                    <a:pt x="3582" y="2268"/>
                  </a:cubicBezTo>
                  <a:lnTo>
                    <a:pt x="3638" y="2268"/>
                  </a:lnTo>
                  <a:lnTo>
                    <a:pt x="3676" y="2275"/>
                  </a:lnTo>
                  <a:lnTo>
                    <a:pt x="3690" y="2275"/>
                  </a:lnTo>
                  <a:lnTo>
                    <a:pt x="3715" y="2282"/>
                  </a:lnTo>
                  <a:cubicBezTo>
                    <a:pt x="3750" y="2289"/>
                    <a:pt x="3785" y="2299"/>
                    <a:pt x="3820" y="2313"/>
                  </a:cubicBezTo>
                  <a:lnTo>
                    <a:pt x="3841" y="2320"/>
                  </a:lnTo>
                  <a:cubicBezTo>
                    <a:pt x="3855" y="2327"/>
                    <a:pt x="3865" y="2334"/>
                    <a:pt x="3876" y="2338"/>
                  </a:cubicBezTo>
                  <a:lnTo>
                    <a:pt x="3946" y="2369"/>
                  </a:lnTo>
                  <a:lnTo>
                    <a:pt x="4040" y="2362"/>
                  </a:lnTo>
                  <a:lnTo>
                    <a:pt x="4023" y="2226"/>
                  </a:lnTo>
                  <a:lnTo>
                    <a:pt x="4023" y="2212"/>
                  </a:lnTo>
                  <a:lnTo>
                    <a:pt x="4019" y="2194"/>
                  </a:lnTo>
                  <a:lnTo>
                    <a:pt x="4016" y="2166"/>
                  </a:lnTo>
                  <a:lnTo>
                    <a:pt x="4016" y="2152"/>
                  </a:lnTo>
                  <a:lnTo>
                    <a:pt x="4009" y="2120"/>
                  </a:lnTo>
                  <a:cubicBezTo>
                    <a:pt x="3984" y="1959"/>
                    <a:pt x="3960" y="1781"/>
                    <a:pt x="3949" y="1693"/>
                  </a:cubicBezTo>
                  <a:cubicBezTo>
                    <a:pt x="3946" y="1690"/>
                    <a:pt x="3946" y="1683"/>
                    <a:pt x="3942" y="1679"/>
                  </a:cubicBezTo>
                  <a:cubicBezTo>
                    <a:pt x="3907" y="1599"/>
                    <a:pt x="3669" y="1476"/>
                    <a:pt x="3452" y="1403"/>
                  </a:cubicBezTo>
                  <a:lnTo>
                    <a:pt x="3417" y="1389"/>
                  </a:lnTo>
                  <a:lnTo>
                    <a:pt x="3333" y="941"/>
                  </a:lnTo>
                  <a:cubicBezTo>
                    <a:pt x="3231" y="955"/>
                    <a:pt x="3028" y="979"/>
                    <a:pt x="2864" y="986"/>
                  </a:cubicBezTo>
                  <a:lnTo>
                    <a:pt x="2706" y="986"/>
                  </a:lnTo>
                  <a:lnTo>
                    <a:pt x="2685" y="983"/>
                  </a:lnTo>
                  <a:lnTo>
                    <a:pt x="2675" y="983"/>
                  </a:lnTo>
                  <a:cubicBezTo>
                    <a:pt x="2664" y="979"/>
                    <a:pt x="2657" y="976"/>
                    <a:pt x="2650" y="976"/>
                  </a:cubicBezTo>
                  <a:cubicBezTo>
                    <a:pt x="2643" y="972"/>
                    <a:pt x="2633" y="969"/>
                    <a:pt x="2626" y="969"/>
                  </a:cubicBezTo>
                  <a:lnTo>
                    <a:pt x="2521" y="969"/>
                  </a:lnTo>
                  <a:cubicBezTo>
                    <a:pt x="2490" y="972"/>
                    <a:pt x="2456" y="975"/>
                    <a:pt x="2421" y="975"/>
                  </a:cubicBezTo>
                  <a:cubicBezTo>
                    <a:pt x="2330" y="975"/>
                    <a:pt x="2233" y="955"/>
                    <a:pt x="2167" y="864"/>
                  </a:cubicBezTo>
                  <a:cubicBezTo>
                    <a:pt x="2157" y="848"/>
                    <a:pt x="2146" y="840"/>
                    <a:pt x="2126" y="840"/>
                  </a:cubicBezTo>
                  <a:cubicBezTo>
                    <a:pt x="2106" y="840"/>
                    <a:pt x="2076" y="849"/>
                    <a:pt x="2027" y="867"/>
                  </a:cubicBezTo>
                  <a:cubicBezTo>
                    <a:pt x="1974" y="885"/>
                    <a:pt x="1912" y="906"/>
                    <a:pt x="1846" y="906"/>
                  </a:cubicBezTo>
                  <a:cubicBezTo>
                    <a:pt x="1795" y="906"/>
                    <a:pt x="1741" y="893"/>
                    <a:pt x="1688" y="857"/>
                  </a:cubicBezTo>
                  <a:cubicBezTo>
                    <a:pt x="1642" y="827"/>
                    <a:pt x="1563" y="818"/>
                    <a:pt x="1476" y="818"/>
                  </a:cubicBezTo>
                  <a:cubicBezTo>
                    <a:pt x="1397" y="818"/>
                    <a:pt x="1313" y="826"/>
                    <a:pt x="1240" y="832"/>
                  </a:cubicBezTo>
                  <a:cubicBezTo>
                    <a:pt x="1173" y="837"/>
                    <a:pt x="1113" y="842"/>
                    <a:pt x="1062" y="842"/>
                  </a:cubicBezTo>
                  <a:cubicBezTo>
                    <a:pt x="962" y="842"/>
                    <a:pt x="896" y="823"/>
                    <a:pt x="882" y="752"/>
                  </a:cubicBezTo>
                  <a:cubicBezTo>
                    <a:pt x="865" y="664"/>
                    <a:pt x="938" y="573"/>
                    <a:pt x="984" y="524"/>
                  </a:cubicBezTo>
                  <a:cubicBezTo>
                    <a:pt x="1071" y="434"/>
                    <a:pt x="1202" y="347"/>
                    <a:pt x="1315" y="347"/>
                  </a:cubicBezTo>
                  <a:cubicBezTo>
                    <a:pt x="1325" y="347"/>
                    <a:pt x="1335" y="348"/>
                    <a:pt x="1345" y="349"/>
                  </a:cubicBezTo>
                  <a:cubicBezTo>
                    <a:pt x="1383" y="356"/>
                    <a:pt x="1425" y="356"/>
                    <a:pt x="1467" y="356"/>
                  </a:cubicBezTo>
                  <a:lnTo>
                    <a:pt x="1471" y="349"/>
                  </a:lnTo>
                  <a:lnTo>
                    <a:pt x="1481" y="328"/>
                  </a:lnTo>
                  <a:lnTo>
                    <a:pt x="1492" y="311"/>
                  </a:lnTo>
                  <a:lnTo>
                    <a:pt x="1502" y="293"/>
                  </a:lnTo>
                  <a:lnTo>
                    <a:pt x="1513" y="272"/>
                  </a:lnTo>
                  <a:lnTo>
                    <a:pt x="1523" y="258"/>
                  </a:lnTo>
                  <a:lnTo>
                    <a:pt x="1534" y="241"/>
                  </a:lnTo>
                  <a:lnTo>
                    <a:pt x="1541" y="223"/>
                  </a:lnTo>
                  <a:lnTo>
                    <a:pt x="1551" y="209"/>
                  </a:lnTo>
                  <a:lnTo>
                    <a:pt x="1558" y="195"/>
                  </a:lnTo>
                  <a:lnTo>
                    <a:pt x="1565" y="178"/>
                  </a:lnTo>
                  <a:lnTo>
                    <a:pt x="1572" y="167"/>
                  </a:lnTo>
                  <a:lnTo>
                    <a:pt x="1579" y="150"/>
                  </a:lnTo>
                  <a:lnTo>
                    <a:pt x="1586" y="139"/>
                  </a:lnTo>
                  <a:lnTo>
                    <a:pt x="1593" y="125"/>
                  </a:lnTo>
                  <a:lnTo>
                    <a:pt x="1597" y="118"/>
                  </a:lnTo>
                  <a:lnTo>
                    <a:pt x="1604" y="104"/>
                  </a:lnTo>
                  <a:lnTo>
                    <a:pt x="1607" y="97"/>
                  </a:lnTo>
                  <a:lnTo>
                    <a:pt x="1611" y="83"/>
                  </a:lnTo>
                  <a:lnTo>
                    <a:pt x="1614" y="76"/>
                  </a:lnTo>
                  <a:lnTo>
                    <a:pt x="1618" y="65"/>
                  </a:lnTo>
                  <a:lnTo>
                    <a:pt x="1621" y="58"/>
                  </a:lnTo>
                  <a:lnTo>
                    <a:pt x="1625" y="51"/>
                  </a:lnTo>
                  <a:lnTo>
                    <a:pt x="1625" y="44"/>
                  </a:lnTo>
                  <a:lnTo>
                    <a:pt x="1628" y="37"/>
                  </a:lnTo>
                  <a:lnTo>
                    <a:pt x="1628" y="30"/>
                  </a:lnTo>
                  <a:lnTo>
                    <a:pt x="1628" y="23"/>
                  </a:lnTo>
                  <a:lnTo>
                    <a:pt x="1628" y="20"/>
                  </a:lnTo>
                  <a:lnTo>
                    <a:pt x="1628" y="13"/>
                  </a:lnTo>
                  <a:lnTo>
                    <a:pt x="1628" y="2"/>
                  </a:lnTo>
                  <a:cubicBezTo>
                    <a:pt x="1624" y="1"/>
                    <a:pt x="1617" y="0"/>
                    <a:pt x="16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4" name="Google Shape;7224;p53"/>
            <p:cNvSpPr/>
            <p:nvPr/>
          </p:nvSpPr>
          <p:spPr>
            <a:xfrm>
              <a:off x="2585741" y="17340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5" name="Google Shape;7225;p53"/>
            <p:cNvSpPr/>
            <p:nvPr/>
          </p:nvSpPr>
          <p:spPr>
            <a:xfrm>
              <a:off x="2587696" y="173436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6" name="Google Shape;7226;p53"/>
            <p:cNvSpPr/>
            <p:nvPr/>
          </p:nvSpPr>
          <p:spPr>
            <a:xfrm>
              <a:off x="2588782" y="1734365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1" y="0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7" name="Google Shape;7227;p53"/>
            <p:cNvSpPr/>
            <p:nvPr/>
          </p:nvSpPr>
          <p:spPr>
            <a:xfrm>
              <a:off x="2587221" y="173436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8" name="Google Shape;7228;p53"/>
            <p:cNvSpPr/>
            <p:nvPr/>
          </p:nvSpPr>
          <p:spPr>
            <a:xfrm>
              <a:off x="2586786" y="173427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9" name="Google Shape;7229;p53"/>
            <p:cNvSpPr/>
            <p:nvPr/>
          </p:nvSpPr>
          <p:spPr>
            <a:xfrm>
              <a:off x="2588646" y="173436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0" name="Google Shape;7230;p53"/>
            <p:cNvSpPr/>
            <p:nvPr/>
          </p:nvSpPr>
          <p:spPr>
            <a:xfrm>
              <a:off x="2589352" y="1733740"/>
              <a:ext cx="6381" cy="638"/>
            </a:xfrm>
            <a:custGeom>
              <a:avLst/>
              <a:gdLst/>
              <a:ahLst/>
              <a:cxnLst/>
              <a:rect l="l" t="t" r="r" b="b"/>
              <a:pathLst>
                <a:path w="470" h="47" extrusionOk="0">
                  <a:moveTo>
                    <a:pt x="470" y="1"/>
                  </a:moveTo>
                  <a:cubicBezTo>
                    <a:pt x="386" y="12"/>
                    <a:pt x="231" y="31"/>
                    <a:pt x="89" y="41"/>
                  </a:cubicBezTo>
                  <a:lnTo>
                    <a:pt x="89" y="41"/>
                  </a:lnTo>
                  <a:cubicBezTo>
                    <a:pt x="224" y="32"/>
                    <a:pt x="373" y="15"/>
                    <a:pt x="470" y="1"/>
                  </a:cubicBezTo>
                  <a:close/>
                  <a:moveTo>
                    <a:pt x="89" y="41"/>
                  </a:moveTo>
                  <a:cubicBezTo>
                    <a:pt x="59" y="43"/>
                    <a:pt x="29" y="45"/>
                    <a:pt x="1" y="46"/>
                  </a:cubicBezTo>
                  <a:cubicBezTo>
                    <a:pt x="29" y="45"/>
                    <a:pt x="59" y="43"/>
                    <a:pt x="89" y="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1" name="Google Shape;7231;p53"/>
            <p:cNvSpPr/>
            <p:nvPr/>
          </p:nvSpPr>
          <p:spPr>
            <a:xfrm>
              <a:off x="2586121" y="17340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2" name="Google Shape;7232;p53"/>
            <p:cNvSpPr/>
            <p:nvPr/>
          </p:nvSpPr>
          <p:spPr>
            <a:xfrm>
              <a:off x="2585075" y="1734080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3" name="Google Shape;7233;p53"/>
            <p:cNvSpPr/>
            <p:nvPr/>
          </p:nvSpPr>
          <p:spPr>
            <a:xfrm>
              <a:off x="2553752" y="174913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4" name="Google Shape;7234;p53"/>
            <p:cNvSpPr/>
            <p:nvPr/>
          </p:nvSpPr>
          <p:spPr>
            <a:xfrm>
              <a:off x="2553997" y="174871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5" name="Google Shape;7235;p53"/>
            <p:cNvSpPr/>
            <p:nvPr/>
          </p:nvSpPr>
          <p:spPr>
            <a:xfrm>
              <a:off x="2555612" y="1746720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18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6" name="Google Shape;7236;p53"/>
            <p:cNvSpPr/>
            <p:nvPr/>
          </p:nvSpPr>
          <p:spPr>
            <a:xfrm>
              <a:off x="2554893" y="1747426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7" name="Google Shape;7237;p53"/>
            <p:cNvSpPr/>
            <p:nvPr/>
          </p:nvSpPr>
          <p:spPr>
            <a:xfrm>
              <a:off x="2554187" y="1748377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8" name="Google Shape;7238;p53"/>
            <p:cNvSpPr/>
            <p:nvPr/>
          </p:nvSpPr>
          <p:spPr>
            <a:xfrm>
              <a:off x="2555368" y="174695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9" name="Google Shape;7239;p53"/>
            <p:cNvSpPr/>
            <p:nvPr/>
          </p:nvSpPr>
          <p:spPr>
            <a:xfrm>
              <a:off x="2554417" y="174799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0" name="Google Shape;7240;p53"/>
            <p:cNvSpPr/>
            <p:nvPr/>
          </p:nvSpPr>
          <p:spPr>
            <a:xfrm>
              <a:off x="2553616" y="1749572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1" name="Google Shape;7241;p53"/>
            <p:cNvSpPr/>
            <p:nvPr/>
          </p:nvSpPr>
          <p:spPr>
            <a:xfrm>
              <a:off x="2553141" y="1752423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1"/>
                  </a:moveTo>
                  <a:lnTo>
                    <a:pt x="0" y="25"/>
                  </a:lnTo>
                  <a:cubicBezTo>
                    <a:pt x="0" y="18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2" name="Google Shape;7242;p53"/>
            <p:cNvSpPr/>
            <p:nvPr/>
          </p:nvSpPr>
          <p:spPr>
            <a:xfrm>
              <a:off x="2572679" y="172095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4"/>
                  </a:lnTo>
                  <a:cubicBezTo>
                    <a:pt x="0" y="1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3" name="Google Shape;7243;p53"/>
            <p:cNvSpPr/>
            <p:nvPr/>
          </p:nvSpPr>
          <p:spPr>
            <a:xfrm>
              <a:off x="2553087" y="1753143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4" name="Google Shape;7244;p53"/>
            <p:cNvSpPr/>
            <p:nvPr/>
          </p:nvSpPr>
          <p:spPr>
            <a:xfrm>
              <a:off x="2553141" y="175175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1"/>
                  </a:moveTo>
                  <a:cubicBezTo>
                    <a:pt x="4" y="8"/>
                    <a:pt x="0" y="15"/>
                    <a:pt x="0" y="25"/>
                  </a:cubicBezTo>
                  <a:cubicBezTo>
                    <a:pt x="4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5" name="Google Shape;7245;p53"/>
            <p:cNvSpPr/>
            <p:nvPr/>
          </p:nvSpPr>
          <p:spPr>
            <a:xfrm>
              <a:off x="2555137" y="1747196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6" name="Google Shape;7246;p53"/>
            <p:cNvSpPr/>
            <p:nvPr/>
          </p:nvSpPr>
          <p:spPr>
            <a:xfrm>
              <a:off x="2553467" y="1750047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4" y="7"/>
                    <a:pt x="1" y="15"/>
                    <a:pt x="1" y="18"/>
                  </a:cubicBezTo>
                  <a:cubicBezTo>
                    <a:pt x="1" y="15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7" name="Google Shape;7247;p53"/>
            <p:cNvSpPr/>
            <p:nvPr/>
          </p:nvSpPr>
          <p:spPr>
            <a:xfrm>
              <a:off x="2553236" y="175114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4" y="7"/>
                    <a:pt x="0" y="14"/>
                    <a:pt x="0" y="21"/>
                  </a:cubicBezTo>
                  <a:cubicBezTo>
                    <a:pt x="4" y="14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8" name="Google Shape;7248;p53"/>
            <p:cNvSpPr/>
            <p:nvPr/>
          </p:nvSpPr>
          <p:spPr>
            <a:xfrm>
              <a:off x="2553331" y="1750576"/>
              <a:ext cx="54" cy="285"/>
            </a:xfrm>
            <a:custGeom>
              <a:avLst/>
              <a:gdLst/>
              <a:ahLst/>
              <a:cxnLst/>
              <a:rect l="l" t="t" r="r" b="b"/>
              <a:pathLst>
                <a:path w="4" h="21" extrusionOk="0">
                  <a:moveTo>
                    <a:pt x="4" y="0"/>
                  </a:moveTo>
                  <a:cubicBezTo>
                    <a:pt x="4" y="7"/>
                    <a:pt x="0" y="14"/>
                    <a:pt x="0" y="21"/>
                  </a:cubicBezTo>
                  <a:cubicBezTo>
                    <a:pt x="0" y="14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9" name="Google Shape;7249;p53"/>
            <p:cNvSpPr/>
            <p:nvPr/>
          </p:nvSpPr>
          <p:spPr>
            <a:xfrm>
              <a:off x="2570398" y="172571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0" name="Google Shape;7250;p53"/>
            <p:cNvSpPr/>
            <p:nvPr/>
          </p:nvSpPr>
          <p:spPr>
            <a:xfrm>
              <a:off x="2554662" y="174771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1" name="Google Shape;7251;p53"/>
            <p:cNvSpPr/>
            <p:nvPr/>
          </p:nvSpPr>
          <p:spPr>
            <a:xfrm>
              <a:off x="2572014" y="1722675"/>
              <a:ext cx="109" cy="190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2" name="Google Shape;7252;p53"/>
            <p:cNvSpPr/>
            <p:nvPr/>
          </p:nvSpPr>
          <p:spPr>
            <a:xfrm>
              <a:off x="2572489" y="172161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3" name="Google Shape;7253;p53"/>
            <p:cNvSpPr/>
            <p:nvPr/>
          </p:nvSpPr>
          <p:spPr>
            <a:xfrm>
              <a:off x="2572299" y="172205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4" name="Google Shape;7254;p53"/>
            <p:cNvSpPr/>
            <p:nvPr/>
          </p:nvSpPr>
          <p:spPr>
            <a:xfrm>
              <a:off x="2571824" y="172300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5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5" name="Google Shape;7255;p53"/>
            <p:cNvSpPr/>
            <p:nvPr/>
          </p:nvSpPr>
          <p:spPr>
            <a:xfrm>
              <a:off x="2572394" y="172186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6" name="Google Shape;7256;p53"/>
            <p:cNvSpPr/>
            <p:nvPr/>
          </p:nvSpPr>
          <p:spPr>
            <a:xfrm>
              <a:off x="2572150" y="172233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5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7" name="Google Shape;7257;p53"/>
            <p:cNvSpPr/>
            <p:nvPr/>
          </p:nvSpPr>
          <p:spPr>
            <a:xfrm>
              <a:off x="2570914" y="1724671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8" name="Google Shape;7258;p53"/>
            <p:cNvSpPr/>
            <p:nvPr/>
          </p:nvSpPr>
          <p:spPr>
            <a:xfrm>
              <a:off x="2570588" y="1725187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9" name="Google Shape;7259;p53"/>
            <p:cNvSpPr/>
            <p:nvPr/>
          </p:nvSpPr>
          <p:spPr>
            <a:xfrm>
              <a:off x="2571634" y="172338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0" name="Google Shape;7260;p53"/>
            <p:cNvSpPr/>
            <p:nvPr/>
          </p:nvSpPr>
          <p:spPr>
            <a:xfrm>
              <a:off x="2571159" y="1724195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1" name="Google Shape;7261;p53"/>
            <p:cNvSpPr/>
            <p:nvPr/>
          </p:nvSpPr>
          <p:spPr>
            <a:xfrm>
              <a:off x="2571389" y="1723761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2" name="Google Shape;7262;p53"/>
            <p:cNvSpPr/>
            <p:nvPr/>
          </p:nvSpPr>
          <p:spPr>
            <a:xfrm>
              <a:off x="2572679" y="172114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3" name="Google Shape;7263;p53"/>
            <p:cNvSpPr/>
            <p:nvPr/>
          </p:nvSpPr>
          <p:spPr>
            <a:xfrm>
              <a:off x="2572584" y="172142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4" name="Google Shape;7264;p53"/>
            <p:cNvSpPr/>
            <p:nvPr/>
          </p:nvSpPr>
          <p:spPr>
            <a:xfrm>
              <a:off x="2572625" y="172123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5" name="Google Shape;7265;p53"/>
            <p:cNvSpPr/>
            <p:nvPr/>
          </p:nvSpPr>
          <p:spPr>
            <a:xfrm>
              <a:off x="2604994" y="175023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6" name="Google Shape;7266;p53"/>
            <p:cNvSpPr/>
            <p:nvPr/>
          </p:nvSpPr>
          <p:spPr>
            <a:xfrm>
              <a:off x="2604003" y="1751242"/>
              <a:ext cx="1439" cy="2105"/>
            </a:xfrm>
            <a:custGeom>
              <a:avLst/>
              <a:gdLst/>
              <a:ahLst/>
              <a:cxnLst/>
              <a:rect l="l" t="t" r="r" b="b"/>
              <a:pathLst>
                <a:path w="106" h="155" extrusionOk="0">
                  <a:moveTo>
                    <a:pt x="84" y="0"/>
                  </a:moveTo>
                  <a:lnTo>
                    <a:pt x="102" y="137"/>
                  </a:lnTo>
                  <a:lnTo>
                    <a:pt x="7" y="144"/>
                  </a:lnTo>
                  <a:lnTo>
                    <a:pt x="0" y="147"/>
                  </a:lnTo>
                  <a:lnTo>
                    <a:pt x="7" y="151"/>
                  </a:lnTo>
                  <a:lnTo>
                    <a:pt x="14" y="154"/>
                  </a:lnTo>
                  <a:cubicBezTo>
                    <a:pt x="46" y="147"/>
                    <a:pt x="74" y="144"/>
                    <a:pt x="98" y="140"/>
                  </a:cubicBezTo>
                  <a:lnTo>
                    <a:pt x="105" y="140"/>
                  </a:lnTo>
                  <a:lnTo>
                    <a:pt x="8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7" name="Google Shape;7267;p53"/>
            <p:cNvSpPr/>
            <p:nvPr/>
          </p:nvSpPr>
          <p:spPr>
            <a:xfrm>
              <a:off x="2605048" y="1750807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8" name="Google Shape;7268;p53"/>
            <p:cNvSpPr/>
            <p:nvPr/>
          </p:nvSpPr>
          <p:spPr>
            <a:xfrm>
              <a:off x="2604003" y="174377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cubicBezTo>
                    <a:pt x="4" y="7"/>
                    <a:pt x="4" y="11"/>
                    <a:pt x="7" y="18"/>
                  </a:cubicBezTo>
                  <a:cubicBezTo>
                    <a:pt x="4" y="11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9" name="Google Shape;7269;p53"/>
            <p:cNvSpPr/>
            <p:nvPr/>
          </p:nvSpPr>
          <p:spPr>
            <a:xfrm>
              <a:off x="2604043" y="1744005"/>
              <a:ext cx="869" cy="5770"/>
            </a:xfrm>
            <a:custGeom>
              <a:avLst/>
              <a:gdLst/>
              <a:ahLst/>
              <a:cxnLst/>
              <a:rect l="l" t="t" r="r" b="b"/>
              <a:pathLst>
                <a:path w="64" h="425" extrusionOk="0">
                  <a:moveTo>
                    <a:pt x="1" y="1"/>
                  </a:moveTo>
                  <a:cubicBezTo>
                    <a:pt x="15" y="88"/>
                    <a:pt x="39" y="267"/>
                    <a:pt x="64" y="424"/>
                  </a:cubicBezTo>
                  <a:cubicBezTo>
                    <a:pt x="39" y="267"/>
                    <a:pt x="15" y="8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0" name="Google Shape;7270;p53"/>
            <p:cNvSpPr/>
            <p:nvPr/>
          </p:nvSpPr>
          <p:spPr>
            <a:xfrm>
              <a:off x="1464633" y="1859509"/>
              <a:ext cx="1344" cy="2009"/>
            </a:xfrm>
            <a:custGeom>
              <a:avLst/>
              <a:gdLst/>
              <a:ahLst/>
              <a:cxnLst/>
              <a:rect l="l" t="t" r="r" b="b"/>
              <a:pathLst>
                <a:path w="99" h="148" extrusionOk="0">
                  <a:moveTo>
                    <a:pt x="1" y="1"/>
                  </a:moveTo>
                  <a:lnTo>
                    <a:pt x="1" y="1"/>
                  </a:lnTo>
                  <a:cubicBezTo>
                    <a:pt x="18" y="60"/>
                    <a:pt x="53" y="109"/>
                    <a:pt x="99" y="148"/>
                  </a:cubicBezTo>
                  <a:cubicBezTo>
                    <a:pt x="81" y="102"/>
                    <a:pt x="57" y="64"/>
                    <a:pt x="25" y="29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1" name="Google Shape;7271;p53"/>
            <p:cNvSpPr/>
            <p:nvPr/>
          </p:nvSpPr>
          <p:spPr>
            <a:xfrm>
              <a:off x="1462026" y="1851905"/>
              <a:ext cx="2050" cy="5580"/>
            </a:xfrm>
            <a:custGeom>
              <a:avLst/>
              <a:gdLst/>
              <a:ahLst/>
              <a:cxnLst/>
              <a:rect l="l" t="t" r="r" b="b"/>
              <a:pathLst>
                <a:path w="151" h="411" extrusionOk="0">
                  <a:moveTo>
                    <a:pt x="42" y="1"/>
                  </a:moveTo>
                  <a:cubicBezTo>
                    <a:pt x="14" y="57"/>
                    <a:pt x="0" y="120"/>
                    <a:pt x="7" y="183"/>
                  </a:cubicBezTo>
                  <a:cubicBezTo>
                    <a:pt x="7" y="284"/>
                    <a:pt x="49" y="326"/>
                    <a:pt x="98" y="379"/>
                  </a:cubicBezTo>
                  <a:cubicBezTo>
                    <a:pt x="109" y="389"/>
                    <a:pt x="119" y="400"/>
                    <a:pt x="130" y="410"/>
                  </a:cubicBezTo>
                  <a:cubicBezTo>
                    <a:pt x="130" y="382"/>
                    <a:pt x="130" y="354"/>
                    <a:pt x="133" y="330"/>
                  </a:cubicBezTo>
                  <a:cubicBezTo>
                    <a:pt x="151" y="235"/>
                    <a:pt x="133" y="141"/>
                    <a:pt x="84" y="57"/>
                  </a:cubicBezTo>
                  <a:cubicBezTo>
                    <a:pt x="74" y="36"/>
                    <a:pt x="60" y="18"/>
                    <a:pt x="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2" name="Google Shape;7272;p53"/>
            <p:cNvSpPr/>
            <p:nvPr/>
          </p:nvSpPr>
          <p:spPr>
            <a:xfrm>
              <a:off x="1586043" y="1964015"/>
              <a:ext cx="5146" cy="4100"/>
            </a:xfrm>
            <a:custGeom>
              <a:avLst/>
              <a:gdLst/>
              <a:ahLst/>
              <a:cxnLst/>
              <a:rect l="l" t="t" r="r" b="b"/>
              <a:pathLst>
                <a:path w="379" h="302" extrusionOk="0">
                  <a:moveTo>
                    <a:pt x="214" y="1"/>
                  </a:moveTo>
                  <a:cubicBezTo>
                    <a:pt x="201" y="1"/>
                    <a:pt x="188" y="3"/>
                    <a:pt x="175" y="6"/>
                  </a:cubicBezTo>
                  <a:cubicBezTo>
                    <a:pt x="116" y="13"/>
                    <a:pt x="60" y="30"/>
                    <a:pt x="7" y="55"/>
                  </a:cubicBezTo>
                  <a:cubicBezTo>
                    <a:pt x="74" y="118"/>
                    <a:pt x="35" y="205"/>
                    <a:pt x="18" y="251"/>
                  </a:cubicBezTo>
                  <a:cubicBezTo>
                    <a:pt x="11" y="265"/>
                    <a:pt x="4" y="279"/>
                    <a:pt x="0" y="296"/>
                  </a:cubicBezTo>
                  <a:cubicBezTo>
                    <a:pt x="8" y="300"/>
                    <a:pt x="22" y="302"/>
                    <a:pt x="40" y="302"/>
                  </a:cubicBezTo>
                  <a:cubicBezTo>
                    <a:pt x="106" y="302"/>
                    <a:pt x="229" y="277"/>
                    <a:pt x="340" y="230"/>
                  </a:cubicBezTo>
                  <a:cubicBezTo>
                    <a:pt x="361" y="223"/>
                    <a:pt x="375" y="205"/>
                    <a:pt x="375" y="184"/>
                  </a:cubicBezTo>
                  <a:cubicBezTo>
                    <a:pt x="378" y="121"/>
                    <a:pt x="347" y="62"/>
                    <a:pt x="294" y="23"/>
                  </a:cubicBezTo>
                  <a:cubicBezTo>
                    <a:pt x="270" y="9"/>
                    <a:pt x="242" y="1"/>
                    <a:pt x="2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3" name="Google Shape;7273;p53"/>
            <p:cNvSpPr/>
            <p:nvPr/>
          </p:nvSpPr>
          <p:spPr>
            <a:xfrm>
              <a:off x="2367754" y="1716578"/>
              <a:ext cx="22213" cy="19226"/>
            </a:xfrm>
            <a:custGeom>
              <a:avLst/>
              <a:gdLst/>
              <a:ahLst/>
              <a:cxnLst/>
              <a:rect l="l" t="t" r="r" b="b"/>
              <a:pathLst>
                <a:path w="1636" h="1416" extrusionOk="0">
                  <a:moveTo>
                    <a:pt x="505" y="1"/>
                  </a:moveTo>
                  <a:cubicBezTo>
                    <a:pt x="488" y="1"/>
                    <a:pt x="474" y="1"/>
                    <a:pt x="460" y="4"/>
                  </a:cubicBezTo>
                  <a:cubicBezTo>
                    <a:pt x="362" y="15"/>
                    <a:pt x="264" y="36"/>
                    <a:pt x="166" y="60"/>
                  </a:cubicBezTo>
                  <a:lnTo>
                    <a:pt x="95" y="78"/>
                  </a:lnTo>
                  <a:lnTo>
                    <a:pt x="74" y="85"/>
                  </a:lnTo>
                  <a:lnTo>
                    <a:pt x="15" y="95"/>
                  </a:lnTo>
                  <a:lnTo>
                    <a:pt x="1" y="99"/>
                  </a:lnTo>
                  <a:cubicBezTo>
                    <a:pt x="25" y="148"/>
                    <a:pt x="43" y="200"/>
                    <a:pt x="46" y="253"/>
                  </a:cubicBezTo>
                  <a:cubicBezTo>
                    <a:pt x="50" y="326"/>
                    <a:pt x="67" y="396"/>
                    <a:pt x="95" y="463"/>
                  </a:cubicBezTo>
                  <a:cubicBezTo>
                    <a:pt x="141" y="572"/>
                    <a:pt x="215" y="579"/>
                    <a:pt x="327" y="579"/>
                  </a:cubicBezTo>
                  <a:cubicBezTo>
                    <a:pt x="390" y="579"/>
                    <a:pt x="449" y="579"/>
                    <a:pt x="495" y="614"/>
                  </a:cubicBezTo>
                  <a:lnTo>
                    <a:pt x="505" y="621"/>
                  </a:lnTo>
                  <a:lnTo>
                    <a:pt x="512" y="631"/>
                  </a:lnTo>
                  <a:lnTo>
                    <a:pt x="523" y="645"/>
                  </a:lnTo>
                  <a:lnTo>
                    <a:pt x="523" y="649"/>
                  </a:lnTo>
                  <a:lnTo>
                    <a:pt x="533" y="663"/>
                  </a:lnTo>
                  <a:lnTo>
                    <a:pt x="533" y="666"/>
                  </a:lnTo>
                  <a:cubicBezTo>
                    <a:pt x="537" y="673"/>
                    <a:pt x="540" y="680"/>
                    <a:pt x="544" y="687"/>
                  </a:cubicBezTo>
                  <a:cubicBezTo>
                    <a:pt x="547" y="694"/>
                    <a:pt x="554" y="705"/>
                    <a:pt x="558" y="715"/>
                  </a:cubicBezTo>
                  <a:lnTo>
                    <a:pt x="558" y="719"/>
                  </a:lnTo>
                  <a:cubicBezTo>
                    <a:pt x="561" y="726"/>
                    <a:pt x="565" y="736"/>
                    <a:pt x="572" y="750"/>
                  </a:cubicBezTo>
                  <a:lnTo>
                    <a:pt x="575" y="754"/>
                  </a:lnTo>
                  <a:cubicBezTo>
                    <a:pt x="579" y="768"/>
                    <a:pt x="582" y="778"/>
                    <a:pt x="589" y="792"/>
                  </a:cubicBezTo>
                  <a:lnTo>
                    <a:pt x="589" y="796"/>
                  </a:lnTo>
                  <a:lnTo>
                    <a:pt x="607" y="799"/>
                  </a:lnTo>
                  <a:cubicBezTo>
                    <a:pt x="617" y="799"/>
                    <a:pt x="628" y="803"/>
                    <a:pt x="638" y="806"/>
                  </a:cubicBezTo>
                  <a:lnTo>
                    <a:pt x="649" y="810"/>
                  </a:lnTo>
                  <a:lnTo>
                    <a:pt x="670" y="817"/>
                  </a:lnTo>
                  <a:lnTo>
                    <a:pt x="680" y="820"/>
                  </a:lnTo>
                  <a:lnTo>
                    <a:pt x="698" y="831"/>
                  </a:lnTo>
                  <a:lnTo>
                    <a:pt x="705" y="834"/>
                  </a:lnTo>
                  <a:cubicBezTo>
                    <a:pt x="712" y="838"/>
                    <a:pt x="719" y="845"/>
                    <a:pt x="722" y="848"/>
                  </a:cubicBezTo>
                  <a:lnTo>
                    <a:pt x="736" y="859"/>
                  </a:lnTo>
                  <a:lnTo>
                    <a:pt x="740" y="862"/>
                  </a:lnTo>
                  <a:cubicBezTo>
                    <a:pt x="761" y="883"/>
                    <a:pt x="775" y="904"/>
                    <a:pt x="785" y="929"/>
                  </a:cubicBezTo>
                  <a:lnTo>
                    <a:pt x="806" y="936"/>
                  </a:lnTo>
                  <a:lnTo>
                    <a:pt x="831" y="943"/>
                  </a:lnTo>
                  <a:lnTo>
                    <a:pt x="866" y="960"/>
                  </a:lnTo>
                  <a:lnTo>
                    <a:pt x="887" y="967"/>
                  </a:lnTo>
                  <a:lnTo>
                    <a:pt x="922" y="988"/>
                  </a:lnTo>
                  <a:lnTo>
                    <a:pt x="936" y="995"/>
                  </a:lnTo>
                  <a:lnTo>
                    <a:pt x="981" y="1020"/>
                  </a:lnTo>
                  <a:cubicBezTo>
                    <a:pt x="1002" y="1034"/>
                    <a:pt x="1020" y="1044"/>
                    <a:pt x="1034" y="1048"/>
                  </a:cubicBezTo>
                  <a:cubicBezTo>
                    <a:pt x="1035" y="1049"/>
                    <a:pt x="1037" y="1050"/>
                    <a:pt x="1039" y="1050"/>
                  </a:cubicBezTo>
                  <a:cubicBezTo>
                    <a:pt x="1040" y="1050"/>
                    <a:pt x="1041" y="1049"/>
                    <a:pt x="1041" y="1048"/>
                  </a:cubicBezTo>
                  <a:lnTo>
                    <a:pt x="1062" y="1048"/>
                  </a:lnTo>
                  <a:lnTo>
                    <a:pt x="1083" y="1044"/>
                  </a:lnTo>
                  <a:lnTo>
                    <a:pt x="1132" y="1044"/>
                  </a:lnTo>
                  <a:lnTo>
                    <a:pt x="1149" y="1048"/>
                  </a:lnTo>
                  <a:lnTo>
                    <a:pt x="1153" y="1048"/>
                  </a:lnTo>
                  <a:lnTo>
                    <a:pt x="1174" y="1051"/>
                  </a:lnTo>
                  <a:lnTo>
                    <a:pt x="1177" y="1051"/>
                  </a:lnTo>
                  <a:lnTo>
                    <a:pt x="1195" y="1062"/>
                  </a:lnTo>
                  <a:lnTo>
                    <a:pt x="1202" y="1062"/>
                  </a:lnTo>
                  <a:cubicBezTo>
                    <a:pt x="1209" y="1065"/>
                    <a:pt x="1216" y="1069"/>
                    <a:pt x="1223" y="1072"/>
                  </a:cubicBezTo>
                  <a:lnTo>
                    <a:pt x="1230" y="1076"/>
                  </a:lnTo>
                  <a:cubicBezTo>
                    <a:pt x="1237" y="1083"/>
                    <a:pt x="1244" y="1086"/>
                    <a:pt x="1251" y="1093"/>
                  </a:cubicBezTo>
                  <a:lnTo>
                    <a:pt x="1254" y="1093"/>
                  </a:lnTo>
                  <a:cubicBezTo>
                    <a:pt x="1261" y="1100"/>
                    <a:pt x="1268" y="1107"/>
                    <a:pt x="1279" y="1114"/>
                  </a:cubicBezTo>
                  <a:lnTo>
                    <a:pt x="1286" y="1121"/>
                  </a:lnTo>
                  <a:cubicBezTo>
                    <a:pt x="1293" y="1132"/>
                    <a:pt x="1303" y="1139"/>
                    <a:pt x="1314" y="1149"/>
                  </a:cubicBezTo>
                  <a:lnTo>
                    <a:pt x="1345" y="1188"/>
                  </a:lnTo>
                  <a:lnTo>
                    <a:pt x="1349" y="1195"/>
                  </a:lnTo>
                  <a:cubicBezTo>
                    <a:pt x="1359" y="1205"/>
                    <a:pt x="1366" y="1216"/>
                    <a:pt x="1377" y="1226"/>
                  </a:cubicBezTo>
                  <a:lnTo>
                    <a:pt x="1380" y="1230"/>
                  </a:lnTo>
                  <a:cubicBezTo>
                    <a:pt x="1387" y="1240"/>
                    <a:pt x="1394" y="1247"/>
                    <a:pt x="1398" y="1258"/>
                  </a:cubicBezTo>
                  <a:lnTo>
                    <a:pt x="1401" y="1261"/>
                  </a:lnTo>
                  <a:cubicBezTo>
                    <a:pt x="1408" y="1272"/>
                    <a:pt x="1412" y="1279"/>
                    <a:pt x="1419" y="1289"/>
                  </a:cubicBezTo>
                  <a:lnTo>
                    <a:pt x="1422" y="1296"/>
                  </a:lnTo>
                  <a:cubicBezTo>
                    <a:pt x="1426" y="1303"/>
                    <a:pt x="1429" y="1314"/>
                    <a:pt x="1433" y="1321"/>
                  </a:cubicBezTo>
                  <a:cubicBezTo>
                    <a:pt x="1436" y="1331"/>
                    <a:pt x="1440" y="1338"/>
                    <a:pt x="1440" y="1349"/>
                  </a:cubicBezTo>
                  <a:lnTo>
                    <a:pt x="1440" y="1352"/>
                  </a:lnTo>
                  <a:cubicBezTo>
                    <a:pt x="1443" y="1363"/>
                    <a:pt x="1443" y="1370"/>
                    <a:pt x="1447" y="1380"/>
                  </a:cubicBezTo>
                  <a:lnTo>
                    <a:pt x="1447" y="1387"/>
                  </a:lnTo>
                  <a:lnTo>
                    <a:pt x="1447" y="1412"/>
                  </a:lnTo>
                  <a:lnTo>
                    <a:pt x="1447" y="1415"/>
                  </a:lnTo>
                  <a:cubicBezTo>
                    <a:pt x="1510" y="1408"/>
                    <a:pt x="1573" y="1394"/>
                    <a:pt x="1636" y="1373"/>
                  </a:cubicBezTo>
                  <a:cubicBezTo>
                    <a:pt x="1625" y="1356"/>
                    <a:pt x="1618" y="1342"/>
                    <a:pt x="1611" y="1324"/>
                  </a:cubicBezTo>
                  <a:lnTo>
                    <a:pt x="1608" y="1317"/>
                  </a:lnTo>
                  <a:cubicBezTo>
                    <a:pt x="1601" y="1303"/>
                    <a:pt x="1594" y="1289"/>
                    <a:pt x="1590" y="1279"/>
                  </a:cubicBezTo>
                  <a:lnTo>
                    <a:pt x="1587" y="1272"/>
                  </a:lnTo>
                  <a:cubicBezTo>
                    <a:pt x="1583" y="1258"/>
                    <a:pt x="1580" y="1247"/>
                    <a:pt x="1576" y="1237"/>
                  </a:cubicBezTo>
                  <a:lnTo>
                    <a:pt x="1576" y="1233"/>
                  </a:lnTo>
                  <a:cubicBezTo>
                    <a:pt x="1573" y="1223"/>
                    <a:pt x="1569" y="1216"/>
                    <a:pt x="1566" y="1205"/>
                  </a:cubicBezTo>
                  <a:cubicBezTo>
                    <a:pt x="1562" y="1198"/>
                    <a:pt x="1562" y="1191"/>
                    <a:pt x="1562" y="1184"/>
                  </a:cubicBezTo>
                  <a:lnTo>
                    <a:pt x="1562" y="1181"/>
                  </a:lnTo>
                  <a:cubicBezTo>
                    <a:pt x="1562" y="1174"/>
                    <a:pt x="1562" y="1170"/>
                    <a:pt x="1559" y="1163"/>
                  </a:cubicBezTo>
                  <a:lnTo>
                    <a:pt x="1559" y="1160"/>
                  </a:lnTo>
                  <a:lnTo>
                    <a:pt x="1559" y="1149"/>
                  </a:lnTo>
                  <a:lnTo>
                    <a:pt x="1559" y="1142"/>
                  </a:lnTo>
                  <a:cubicBezTo>
                    <a:pt x="1559" y="1111"/>
                    <a:pt x="1478" y="1051"/>
                    <a:pt x="1426" y="1013"/>
                  </a:cubicBezTo>
                  <a:cubicBezTo>
                    <a:pt x="1328" y="939"/>
                    <a:pt x="1216" y="855"/>
                    <a:pt x="1216" y="736"/>
                  </a:cubicBezTo>
                  <a:cubicBezTo>
                    <a:pt x="1216" y="677"/>
                    <a:pt x="1170" y="614"/>
                    <a:pt x="1121" y="547"/>
                  </a:cubicBezTo>
                  <a:cubicBezTo>
                    <a:pt x="1062" y="467"/>
                    <a:pt x="1002" y="379"/>
                    <a:pt x="1023" y="284"/>
                  </a:cubicBezTo>
                  <a:cubicBezTo>
                    <a:pt x="1034" y="249"/>
                    <a:pt x="978" y="165"/>
                    <a:pt x="936" y="106"/>
                  </a:cubicBezTo>
                  <a:cubicBezTo>
                    <a:pt x="922" y="85"/>
                    <a:pt x="908" y="60"/>
                    <a:pt x="897" y="43"/>
                  </a:cubicBezTo>
                  <a:lnTo>
                    <a:pt x="873" y="36"/>
                  </a:lnTo>
                  <a:lnTo>
                    <a:pt x="841" y="29"/>
                  </a:lnTo>
                  <a:lnTo>
                    <a:pt x="803" y="22"/>
                  </a:lnTo>
                  <a:lnTo>
                    <a:pt x="778" y="18"/>
                  </a:lnTo>
                  <a:lnTo>
                    <a:pt x="740" y="11"/>
                  </a:lnTo>
                  <a:lnTo>
                    <a:pt x="715" y="8"/>
                  </a:lnTo>
                  <a:lnTo>
                    <a:pt x="677" y="4"/>
                  </a:lnTo>
                  <a:lnTo>
                    <a:pt x="659" y="4"/>
                  </a:lnTo>
                  <a:lnTo>
                    <a:pt x="61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4" name="Google Shape;7274;p53"/>
            <p:cNvSpPr/>
            <p:nvPr/>
          </p:nvSpPr>
          <p:spPr>
            <a:xfrm>
              <a:off x="2376321" y="1716673"/>
              <a:ext cx="584" cy="68"/>
            </a:xfrm>
            <a:custGeom>
              <a:avLst/>
              <a:gdLst/>
              <a:ahLst/>
              <a:cxnLst/>
              <a:rect l="l" t="t" r="r" b="b"/>
              <a:pathLst>
                <a:path w="43" h="5" extrusionOk="0">
                  <a:moveTo>
                    <a:pt x="0" y="1"/>
                  </a:moveTo>
                  <a:lnTo>
                    <a:pt x="4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5" name="Google Shape;7275;p53"/>
            <p:cNvSpPr/>
            <p:nvPr/>
          </p:nvSpPr>
          <p:spPr>
            <a:xfrm>
              <a:off x="2377122" y="1716728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1" y="0"/>
                  </a:moveTo>
                  <a:lnTo>
                    <a:pt x="39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6" name="Google Shape;7276;p53"/>
            <p:cNvSpPr/>
            <p:nvPr/>
          </p:nvSpPr>
          <p:spPr>
            <a:xfrm>
              <a:off x="2378833" y="1717013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1" y="0"/>
                  </a:moveTo>
                  <a:lnTo>
                    <a:pt x="39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7" name="Google Shape;7277;p53"/>
            <p:cNvSpPr/>
            <p:nvPr/>
          </p:nvSpPr>
          <p:spPr>
            <a:xfrm>
              <a:off x="2377937" y="1716864"/>
              <a:ext cx="584" cy="68"/>
            </a:xfrm>
            <a:custGeom>
              <a:avLst/>
              <a:gdLst/>
              <a:ahLst/>
              <a:cxnLst/>
              <a:rect l="l" t="t" r="r" b="b"/>
              <a:pathLst>
                <a:path w="43" h="5" extrusionOk="0">
                  <a:moveTo>
                    <a:pt x="0" y="1"/>
                  </a:moveTo>
                  <a:lnTo>
                    <a:pt x="4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8" name="Google Shape;7278;p53"/>
            <p:cNvSpPr/>
            <p:nvPr/>
          </p:nvSpPr>
          <p:spPr>
            <a:xfrm>
              <a:off x="2375561" y="1716633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0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9" name="Google Shape;7279;p53"/>
            <p:cNvSpPr/>
            <p:nvPr/>
          </p:nvSpPr>
          <p:spPr>
            <a:xfrm>
              <a:off x="2379784" y="1717203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0" name="Google Shape;7280;p53"/>
            <p:cNvSpPr/>
            <p:nvPr/>
          </p:nvSpPr>
          <p:spPr>
            <a:xfrm>
              <a:off x="2368134" y="1717773"/>
              <a:ext cx="828" cy="149"/>
            </a:xfrm>
            <a:custGeom>
              <a:avLst/>
              <a:gdLst/>
              <a:ahLst/>
              <a:cxnLst/>
              <a:rect l="l" t="t" r="r" b="b"/>
              <a:pathLst>
                <a:path w="61" h="11" extrusionOk="0">
                  <a:moveTo>
                    <a:pt x="1" y="11"/>
                  </a:moveTo>
                  <a:lnTo>
                    <a:pt x="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1" name="Google Shape;7281;p53"/>
            <p:cNvSpPr/>
            <p:nvPr/>
          </p:nvSpPr>
          <p:spPr>
            <a:xfrm>
              <a:off x="2374896" y="17166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2" name="Google Shape;7282;p53"/>
            <p:cNvSpPr/>
            <p:nvPr/>
          </p:nvSpPr>
          <p:spPr>
            <a:xfrm>
              <a:off x="2369234" y="1717488"/>
              <a:ext cx="964" cy="244"/>
            </a:xfrm>
            <a:custGeom>
              <a:avLst/>
              <a:gdLst/>
              <a:ahLst/>
              <a:cxnLst/>
              <a:rect l="l" t="t" r="r" b="b"/>
              <a:pathLst>
                <a:path w="71" h="18" extrusionOk="0">
                  <a:moveTo>
                    <a:pt x="0" y="18"/>
                  </a:moveTo>
                  <a:lnTo>
                    <a:pt x="7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3" name="Google Shape;7283;p53"/>
            <p:cNvSpPr/>
            <p:nvPr/>
          </p:nvSpPr>
          <p:spPr>
            <a:xfrm>
              <a:off x="2374176" y="1716633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46" y="0"/>
                  </a:moveTo>
                  <a:cubicBezTo>
                    <a:pt x="29" y="0"/>
                    <a:pt x="15" y="0"/>
                    <a:pt x="1" y="4"/>
                  </a:cubicBezTo>
                  <a:cubicBezTo>
                    <a:pt x="15" y="4"/>
                    <a:pt x="29" y="0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4" name="Google Shape;7284;p53"/>
            <p:cNvSpPr/>
            <p:nvPr/>
          </p:nvSpPr>
          <p:spPr>
            <a:xfrm>
              <a:off x="2374611" y="1725051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5" name="Google Shape;7285;p53"/>
            <p:cNvSpPr/>
            <p:nvPr/>
          </p:nvSpPr>
          <p:spPr>
            <a:xfrm>
              <a:off x="2375656" y="1726857"/>
              <a:ext cx="244" cy="530"/>
            </a:xfrm>
            <a:custGeom>
              <a:avLst/>
              <a:gdLst/>
              <a:ahLst/>
              <a:cxnLst/>
              <a:rect l="l" t="t" r="r" b="b"/>
              <a:pathLst>
                <a:path w="18" h="39" extrusionOk="0">
                  <a:moveTo>
                    <a:pt x="18" y="39"/>
                  </a:moveTo>
                  <a:cubicBezTo>
                    <a:pt x="11" y="25"/>
                    <a:pt x="7" y="14"/>
                    <a:pt x="0" y="0"/>
                  </a:cubicBezTo>
                  <a:cubicBezTo>
                    <a:pt x="7" y="14"/>
                    <a:pt x="11" y="25"/>
                    <a:pt x="18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6" name="Google Shape;7286;p53"/>
            <p:cNvSpPr/>
            <p:nvPr/>
          </p:nvSpPr>
          <p:spPr>
            <a:xfrm>
              <a:off x="2374461" y="172490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7" name="Google Shape;7287;p53"/>
            <p:cNvSpPr/>
            <p:nvPr/>
          </p:nvSpPr>
          <p:spPr>
            <a:xfrm>
              <a:off x="2374896" y="1725377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8" name="Google Shape;7288;p53"/>
            <p:cNvSpPr/>
            <p:nvPr/>
          </p:nvSpPr>
          <p:spPr>
            <a:xfrm>
              <a:off x="2374746" y="172518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9" name="Google Shape;7289;p53"/>
            <p:cNvSpPr/>
            <p:nvPr/>
          </p:nvSpPr>
          <p:spPr>
            <a:xfrm>
              <a:off x="2375466" y="1726381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4" y="32"/>
                  </a:moveTo>
                  <a:cubicBezTo>
                    <a:pt x="7" y="18"/>
                    <a:pt x="4" y="7"/>
                    <a:pt x="0" y="0"/>
                  </a:cubicBezTo>
                  <a:cubicBezTo>
                    <a:pt x="4" y="7"/>
                    <a:pt x="7" y="18"/>
                    <a:pt x="14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0" name="Google Shape;7290;p53"/>
            <p:cNvSpPr/>
            <p:nvPr/>
          </p:nvSpPr>
          <p:spPr>
            <a:xfrm>
              <a:off x="2375276" y="1725947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29"/>
                  </a:moveTo>
                  <a:cubicBezTo>
                    <a:pt x="7" y="18"/>
                    <a:pt x="4" y="8"/>
                    <a:pt x="0" y="1"/>
                  </a:cubicBezTo>
                  <a:cubicBezTo>
                    <a:pt x="4" y="8"/>
                    <a:pt x="7" y="18"/>
                    <a:pt x="1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1" name="Google Shape;7291;p53"/>
            <p:cNvSpPr/>
            <p:nvPr/>
          </p:nvSpPr>
          <p:spPr>
            <a:xfrm>
              <a:off x="2375086" y="1725662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22"/>
                  </a:moveTo>
                  <a:cubicBezTo>
                    <a:pt x="7" y="11"/>
                    <a:pt x="4" y="4"/>
                    <a:pt x="0" y="1"/>
                  </a:cubicBezTo>
                  <a:cubicBezTo>
                    <a:pt x="4" y="4"/>
                    <a:pt x="7" y="11"/>
                    <a:pt x="1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2" name="Google Shape;7292;p53"/>
            <p:cNvSpPr/>
            <p:nvPr/>
          </p:nvSpPr>
          <p:spPr>
            <a:xfrm>
              <a:off x="2367944" y="1717963"/>
              <a:ext cx="1113" cy="4901"/>
            </a:xfrm>
            <a:custGeom>
              <a:avLst/>
              <a:gdLst/>
              <a:ahLst/>
              <a:cxnLst/>
              <a:rect l="l" t="t" r="r" b="b"/>
              <a:pathLst>
                <a:path w="82" h="361" extrusionOk="0">
                  <a:moveTo>
                    <a:pt x="1" y="0"/>
                  </a:moveTo>
                  <a:cubicBezTo>
                    <a:pt x="18" y="49"/>
                    <a:pt x="32" y="98"/>
                    <a:pt x="32" y="151"/>
                  </a:cubicBezTo>
                  <a:cubicBezTo>
                    <a:pt x="39" y="224"/>
                    <a:pt x="53" y="294"/>
                    <a:pt x="81" y="361"/>
                  </a:cubicBezTo>
                  <a:cubicBezTo>
                    <a:pt x="53" y="294"/>
                    <a:pt x="39" y="224"/>
                    <a:pt x="36" y="151"/>
                  </a:cubicBezTo>
                  <a:cubicBezTo>
                    <a:pt x="32" y="98"/>
                    <a:pt x="22" y="4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3" name="Google Shape;7293;p53"/>
            <p:cNvSpPr/>
            <p:nvPr/>
          </p:nvSpPr>
          <p:spPr>
            <a:xfrm>
              <a:off x="2376702" y="1727617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4" name="Google Shape;7294;p53"/>
            <p:cNvSpPr/>
            <p:nvPr/>
          </p:nvSpPr>
          <p:spPr>
            <a:xfrm>
              <a:off x="2377177" y="1727753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5" name="Google Shape;7295;p53"/>
            <p:cNvSpPr/>
            <p:nvPr/>
          </p:nvSpPr>
          <p:spPr>
            <a:xfrm>
              <a:off x="2377462" y="172794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6" name="Google Shape;7296;p53"/>
            <p:cNvSpPr/>
            <p:nvPr/>
          </p:nvSpPr>
          <p:spPr>
            <a:xfrm>
              <a:off x="2376131" y="1727468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0" y="1"/>
                  </a:moveTo>
                  <a:cubicBezTo>
                    <a:pt x="11" y="1"/>
                    <a:pt x="25" y="4"/>
                    <a:pt x="35" y="8"/>
                  </a:cubicBezTo>
                  <a:cubicBezTo>
                    <a:pt x="25" y="4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7" name="Google Shape;7297;p53"/>
            <p:cNvSpPr/>
            <p:nvPr/>
          </p:nvSpPr>
          <p:spPr>
            <a:xfrm>
              <a:off x="2377937" y="172832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8" name="Google Shape;7298;p53"/>
            <p:cNvSpPr/>
            <p:nvPr/>
          </p:nvSpPr>
          <p:spPr>
            <a:xfrm>
              <a:off x="2381169" y="1711881"/>
              <a:ext cx="32763" cy="27725"/>
            </a:xfrm>
            <a:custGeom>
              <a:avLst/>
              <a:gdLst/>
              <a:ahLst/>
              <a:cxnLst/>
              <a:rect l="l" t="t" r="r" b="b"/>
              <a:pathLst>
                <a:path w="2413" h="2042" extrusionOk="0">
                  <a:moveTo>
                    <a:pt x="676" y="0"/>
                  </a:moveTo>
                  <a:lnTo>
                    <a:pt x="665" y="14"/>
                  </a:lnTo>
                  <a:lnTo>
                    <a:pt x="662" y="21"/>
                  </a:lnTo>
                  <a:lnTo>
                    <a:pt x="648" y="35"/>
                  </a:lnTo>
                  <a:lnTo>
                    <a:pt x="648" y="39"/>
                  </a:lnTo>
                  <a:lnTo>
                    <a:pt x="637" y="56"/>
                  </a:lnTo>
                  <a:lnTo>
                    <a:pt x="634" y="60"/>
                  </a:lnTo>
                  <a:lnTo>
                    <a:pt x="630" y="67"/>
                  </a:lnTo>
                  <a:lnTo>
                    <a:pt x="627" y="70"/>
                  </a:lnTo>
                  <a:lnTo>
                    <a:pt x="623" y="77"/>
                  </a:lnTo>
                  <a:lnTo>
                    <a:pt x="623" y="81"/>
                  </a:lnTo>
                  <a:lnTo>
                    <a:pt x="620" y="88"/>
                  </a:lnTo>
                  <a:lnTo>
                    <a:pt x="620" y="91"/>
                  </a:lnTo>
                  <a:lnTo>
                    <a:pt x="616" y="95"/>
                  </a:lnTo>
                  <a:cubicBezTo>
                    <a:pt x="637" y="116"/>
                    <a:pt x="662" y="137"/>
                    <a:pt x="690" y="154"/>
                  </a:cubicBezTo>
                  <a:cubicBezTo>
                    <a:pt x="749" y="203"/>
                    <a:pt x="812" y="249"/>
                    <a:pt x="816" y="319"/>
                  </a:cubicBezTo>
                  <a:cubicBezTo>
                    <a:pt x="819" y="354"/>
                    <a:pt x="805" y="385"/>
                    <a:pt x="781" y="410"/>
                  </a:cubicBezTo>
                  <a:cubicBezTo>
                    <a:pt x="725" y="466"/>
                    <a:pt x="637" y="476"/>
                    <a:pt x="571" y="476"/>
                  </a:cubicBezTo>
                  <a:cubicBezTo>
                    <a:pt x="469" y="476"/>
                    <a:pt x="336" y="445"/>
                    <a:pt x="266" y="378"/>
                  </a:cubicBezTo>
                  <a:cubicBezTo>
                    <a:pt x="198" y="310"/>
                    <a:pt x="67" y="249"/>
                    <a:pt x="15" y="249"/>
                  </a:cubicBezTo>
                  <a:cubicBezTo>
                    <a:pt x="13" y="249"/>
                    <a:pt x="12" y="249"/>
                    <a:pt x="11" y="249"/>
                  </a:cubicBezTo>
                  <a:lnTo>
                    <a:pt x="0" y="249"/>
                  </a:lnTo>
                  <a:cubicBezTo>
                    <a:pt x="7" y="266"/>
                    <a:pt x="14" y="287"/>
                    <a:pt x="25" y="301"/>
                  </a:cubicBezTo>
                  <a:cubicBezTo>
                    <a:pt x="39" y="326"/>
                    <a:pt x="56" y="354"/>
                    <a:pt x="74" y="382"/>
                  </a:cubicBezTo>
                  <a:cubicBezTo>
                    <a:pt x="137" y="476"/>
                    <a:pt x="207" y="574"/>
                    <a:pt x="182" y="669"/>
                  </a:cubicBezTo>
                  <a:cubicBezTo>
                    <a:pt x="172" y="704"/>
                    <a:pt x="217" y="767"/>
                    <a:pt x="259" y="823"/>
                  </a:cubicBezTo>
                  <a:cubicBezTo>
                    <a:pt x="315" y="900"/>
                    <a:pt x="378" y="988"/>
                    <a:pt x="378" y="1089"/>
                  </a:cubicBezTo>
                  <a:cubicBezTo>
                    <a:pt x="378" y="1142"/>
                    <a:pt x="466" y="1208"/>
                    <a:pt x="536" y="1261"/>
                  </a:cubicBezTo>
                  <a:cubicBezTo>
                    <a:pt x="630" y="1334"/>
                    <a:pt x="718" y="1401"/>
                    <a:pt x="718" y="1495"/>
                  </a:cubicBezTo>
                  <a:cubicBezTo>
                    <a:pt x="718" y="1495"/>
                    <a:pt x="718" y="1499"/>
                    <a:pt x="718" y="1502"/>
                  </a:cubicBezTo>
                  <a:lnTo>
                    <a:pt x="718" y="1506"/>
                  </a:lnTo>
                  <a:lnTo>
                    <a:pt x="718" y="1513"/>
                  </a:lnTo>
                  <a:lnTo>
                    <a:pt x="718" y="1520"/>
                  </a:lnTo>
                  <a:lnTo>
                    <a:pt x="721" y="1530"/>
                  </a:lnTo>
                  <a:lnTo>
                    <a:pt x="721" y="1537"/>
                  </a:lnTo>
                  <a:lnTo>
                    <a:pt x="725" y="1551"/>
                  </a:lnTo>
                  <a:lnTo>
                    <a:pt x="732" y="1562"/>
                  </a:lnTo>
                  <a:lnTo>
                    <a:pt x="739" y="1579"/>
                  </a:lnTo>
                  <a:lnTo>
                    <a:pt x="742" y="1593"/>
                  </a:lnTo>
                  <a:lnTo>
                    <a:pt x="753" y="1618"/>
                  </a:lnTo>
                  <a:lnTo>
                    <a:pt x="760" y="1632"/>
                  </a:lnTo>
                  <a:cubicBezTo>
                    <a:pt x="767" y="1642"/>
                    <a:pt x="770" y="1656"/>
                    <a:pt x="777" y="1667"/>
                  </a:cubicBezTo>
                  <a:lnTo>
                    <a:pt x="784" y="1677"/>
                  </a:lnTo>
                  <a:lnTo>
                    <a:pt x="784" y="1681"/>
                  </a:lnTo>
                  <a:cubicBezTo>
                    <a:pt x="907" y="1618"/>
                    <a:pt x="1026" y="1541"/>
                    <a:pt x="1138" y="1457"/>
                  </a:cubicBezTo>
                  <a:cubicBezTo>
                    <a:pt x="1197" y="1418"/>
                    <a:pt x="1250" y="1380"/>
                    <a:pt x="1303" y="1345"/>
                  </a:cubicBezTo>
                  <a:cubicBezTo>
                    <a:pt x="1331" y="1331"/>
                    <a:pt x="1355" y="1313"/>
                    <a:pt x="1380" y="1303"/>
                  </a:cubicBezTo>
                  <a:cubicBezTo>
                    <a:pt x="1387" y="1299"/>
                    <a:pt x="1394" y="1296"/>
                    <a:pt x="1401" y="1292"/>
                  </a:cubicBezTo>
                  <a:cubicBezTo>
                    <a:pt x="1424" y="1280"/>
                    <a:pt x="1448" y="1274"/>
                    <a:pt x="1473" y="1274"/>
                  </a:cubicBezTo>
                  <a:cubicBezTo>
                    <a:pt x="1511" y="1274"/>
                    <a:pt x="1549" y="1289"/>
                    <a:pt x="1579" y="1317"/>
                  </a:cubicBezTo>
                  <a:cubicBezTo>
                    <a:pt x="1695" y="1432"/>
                    <a:pt x="1621" y="1772"/>
                    <a:pt x="1583" y="1870"/>
                  </a:cubicBezTo>
                  <a:cubicBezTo>
                    <a:pt x="1586" y="1877"/>
                    <a:pt x="1593" y="1880"/>
                    <a:pt x="1597" y="1887"/>
                  </a:cubicBezTo>
                  <a:lnTo>
                    <a:pt x="1604" y="1891"/>
                  </a:lnTo>
                  <a:lnTo>
                    <a:pt x="1618" y="1905"/>
                  </a:lnTo>
                  <a:lnTo>
                    <a:pt x="1628" y="1915"/>
                  </a:lnTo>
                  <a:lnTo>
                    <a:pt x="1649" y="1929"/>
                  </a:lnTo>
                  <a:lnTo>
                    <a:pt x="1660" y="1940"/>
                  </a:lnTo>
                  <a:lnTo>
                    <a:pt x="1688" y="1957"/>
                  </a:lnTo>
                  <a:lnTo>
                    <a:pt x="1702" y="1964"/>
                  </a:lnTo>
                  <a:lnTo>
                    <a:pt x="1740" y="1989"/>
                  </a:lnTo>
                  <a:lnTo>
                    <a:pt x="1747" y="1992"/>
                  </a:lnTo>
                  <a:cubicBezTo>
                    <a:pt x="1761" y="2003"/>
                    <a:pt x="1779" y="2010"/>
                    <a:pt x="1796" y="2020"/>
                  </a:cubicBezTo>
                  <a:lnTo>
                    <a:pt x="1814" y="2027"/>
                  </a:lnTo>
                  <a:lnTo>
                    <a:pt x="1845" y="2041"/>
                  </a:lnTo>
                  <a:cubicBezTo>
                    <a:pt x="1856" y="1943"/>
                    <a:pt x="1891" y="1852"/>
                    <a:pt x="1954" y="1775"/>
                  </a:cubicBezTo>
                  <a:cubicBezTo>
                    <a:pt x="2216" y="1450"/>
                    <a:pt x="2412" y="942"/>
                    <a:pt x="2269" y="683"/>
                  </a:cubicBezTo>
                  <a:cubicBezTo>
                    <a:pt x="2216" y="585"/>
                    <a:pt x="2052" y="382"/>
                    <a:pt x="1877" y="168"/>
                  </a:cubicBezTo>
                  <a:lnTo>
                    <a:pt x="1849" y="137"/>
                  </a:lnTo>
                  <a:lnTo>
                    <a:pt x="1849" y="140"/>
                  </a:lnTo>
                  <a:cubicBezTo>
                    <a:pt x="1842" y="147"/>
                    <a:pt x="1835" y="154"/>
                    <a:pt x="1831" y="158"/>
                  </a:cubicBezTo>
                  <a:lnTo>
                    <a:pt x="1824" y="165"/>
                  </a:lnTo>
                  <a:cubicBezTo>
                    <a:pt x="1817" y="172"/>
                    <a:pt x="1810" y="175"/>
                    <a:pt x="1803" y="182"/>
                  </a:cubicBezTo>
                  <a:lnTo>
                    <a:pt x="1800" y="186"/>
                  </a:lnTo>
                  <a:lnTo>
                    <a:pt x="1779" y="200"/>
                  </a:lnTo>
                  <a:lnTo>
                    <a:pt x="1775" y="200"/>
                  </a:lnTo>
                  <a:lnTo>
                    <a:pt x="1751" y="214"/>
                  </a:lnTo>
                  <a:lnTo>
                    <a:pt x="1747" y="214"/>
                  </a:lnTo>
                  <a:lnTo>
                    <a:pt x="1726" y="224"/>
                  </a:lnTo>
                  <a:lnTo>
                    <a:pt x="1719" y="228"/>
                  </a:lnTo>
                  <a:lnTo>
                    <a:pt x="1695" y="235"/>
                  </a:lnTo>
                  <a:lnTo>
                    <a:pt x="1674" y="245"/>
                  </a:lnTo>
                  <a:lnTo>
                    <a:pt x="1667" y="245"/>
                  </a:lnTo>
                  <a:lnTo>
                    <a:pt x="1646" y="252"/>
                  </a:lnTo>
                  <a:cubicBezTo>
                    <a:pt x="1604" y="266"/>
                    <a:pt x="1558" y="280"/>
                    <a:pt x="1548" y="301"/>
                  </a:cubicBezTo>
                  <a:cubicBezTo>
                    <a:pt x="1537" y="336"/>
                    <a:pt x="1509" y="364"/>
                    <a:pt x="1474" y="382"/>
                  </a:cubicBezTo>
                  <a:cubicBezTo>
                    <a:pt x="1467" y="385"/>
                    <a:pt x="1460" y="385"/>
                    <a:pt x="1453" y="389"/>
                  </a:cubicBezTo>
                  <a:lnTo>
                    <a:pt x="1397" y="389"/>
                  </a:lnTo>
                  <a:cubicBezTo>
                    <a:pt x="1387" y="385"/>
                    <a:pt x="1380" y="385"/>
                    <a:pt x="1373" y="382"/>
                  </a:cubicBezTo>
                  <a:lnTo>
                    <a:pt x="1366" y="382"/>
                  </a:lnTo>
                  <a:lnTo>
                    <a:pt x="1348" y="375"/>
                  </a:lnTo>
                  <a:lnTo>
                    <a:pt x="1338" y="371"/>
                  </a:lnTo>
                  <a:lnTo>
                    <a:pt x="1317" y="361"/>
                  </a:lnTo>
                  <a:lnTo>
                    <a:pt x="1303" y="357"/>
                  </a:lnTo>
                  <a:cubicBezTo>
                    <a:pt x="1292" y="350"/>
                    <a:pt x="1278" y="343"/>
                    <a:pt x="1264" y="343"/>
                  </a:cubicBezTo>
                  <a:cubicBezTo>
                    <a:pt x="1254" y="346"/>
                    <a:pt x="1245" y="348"/>
                    <a:pt x="1236" y="348"/>
                  </a:cubicBezTo>
                  <a:cubicBezTo>
                    <a:pt x="1177" y="348"/>
                    <a:pt x="1123" y="293"/>
                    <a:pt x="1050" y="221"/>
                  </a:cubicBezTo>
                  <a:cubicBezTo>
                    <a:pt x="984" y="151"/>
                    <a:pt x="896" y="63"/>
                    <a:pt x="823" y="53"/>
                  </a:cubicBezTo>
                  <a:cubicBezTo>
                    <a:pt x="812" y="49"/>
                    <a:pt x="798" y="49"/>
                    <a:pt x="788" y="46"/>
                  </a:cubicBezTo>
                  <a:lnTo>
                    <a:pt x="774" y="42"/>
                  </a:lnTo>
                  <a:lnTo>
                    <a:pt x="749" y="35"/>
                  </a:lnTo>
                  <a:lnTo>
                    <a:pt x="721" y="21"/>
                  </a:lnTo>
                  <a:lnTo>
                    <a:pt x="714" y="18"/>
                  </a:lnTo>
                  <a:cubicBezTo>
                    <a:pt x="704" y="14"/>
                    <a:pt x="690" y="7"/>
                    <a:pt x="6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9" name="Google Shape;7299;p53"/>
            <p:cNvSpPr/>
            <p:nvPr/>
          </p:nvSpPr>
          <p:spPr>
            <a:xfrm>
              <a:off x="2379363" y="1731459"/>
              <a:ext cx="6517" cy="4535"/>
            </a:xfrm>
            <a:custGeom>
              <a:avLst/>
              <a:gdLst/>
              <a:ahLst/>
              <a:cxnLst/>
              <a:rect l="l" t="t" r="r" b="b"/>
              <a:pathLst>
                <a:path w="480" h="334" extrusionOk="0">
                  <a:moveTo>
                    <a:pt x="0" y="1"/>
                  </a:moveTo>
                  <a:cubicBezTo>
                    <a:pt x="0" y="8"/>
                    <a:pt x="4" y="15"/>
                    <a:pt x="7" y="22"/>
                  </a:cubicBezTo>
                  <a:lnTo>
                    <a:pt x="11" y="25"/>
                  </a:lnTo>
                  <a:cubicBezTo>
                    <a:pt x="11" y="32"/>
                    <a:pt x="14" y="36"/>
                    <a:pt x="18" y="43"/>
                  </a:cubicBezTo>
                  <a:lnTo>
                    <a:pt x="21" y="50"/>
                  </a:lnTo>
                  <a:cubicBezTo>
                    <a:pt x="25" y="53"/>
                    <a:pt x="28" y="60"/>
                    <a:pt x="32" y="64"/>
                  </a:cubicBezTo>
                  <a:lnTo>
                    <a:pt x="35" y="67"/>
                  </a:lnTo>
                  <a:cubicBezTo>
                    <a:pt x="39" y="74"/>
                    <a:pt x="46" y="81"/>
                    <a:pt x="53" y="85"/>
                  </a:cubicBezTo>
                  <a:lnTo>
                    <a:pt x="56" y="92"/>
                  </a:lnTo>
                  <a:lnTo>
                    <a:pt x="74" y="102"/>
                  </a:lnTo>
                  <a:lnTo>
                    <a:pt x="81" y="106"/>
                  </a:lnTo>
                  <a:cubicBezTo>
                    <a:pt x="88" y="113"/>
                    <a:pt x="98" y="116"/>
                    <a:pt x="105" y="120"/>
                  </a:cubicBezTo>
                  <a:cubicBezTo>
                    <a:pt x="158" y="137"/>
                    <a:pt x="203" y="176"/>
                    <a:pt x="228" y="225"/>
                  </a:cubicBezTo>
                  <a:cubicBezTo>
                    <a:pt x="238" y="246"/>
                    <a:pt x="242" y="267"/>
                    <a:pt x="238" y="288"/>
                  </a:cubicBezTo>
                  <a:cubicBezTo>
                    <a:pt x="308" y="309"/>
                    <a:pt x="382" y="326"/>
                    <a:pt x="455" y="330"/>
                  </a:cubicBezTo>
                  <a:lnTo>
                    <a:pt x="480" y="333"/>
                  </a:lnTo>
                  <a:cubicBezTo>
                    <a:pt x="480" y="326"/>
                    <a:pt x="476" y="323"/>
                    <a:pt x="476" y="319"/>
                  </a:cubicBezTo>
                  <a:lnTo>
                    <a:pt x="476" y="316"/>
                  </a:lnTo>
                  <a:cubicBezTo>
                    <a:pt x="473" y="302"/>
                    <a:pt x="469" y="291"/>
                    <a:pt x="466" y="281"/>
                  </a:cubicBezTo>
                  <a:lnTo>
                    <a:pt x="466" y="277"/>
                  </a:lnTo>
                  <a:cubicBezTo>
                    <a:pt x="459" y="267"/>
                    <a:pt x="452" y="253"/>
                    <a:pt x="445" y="242"/>
                  </a:cubicBezTo>
                  <a:lnTo>
                    <a:pt x="441" y="239"/>
                  </a:lnTo>
                  <a:cubicBezTo>
                    <a:pt x="431" y="225"/>
                    <a:pt x="420" y="207"/>
                    <a:pt x="403" y="190"/>
                  </a:cubicBezTo>
                  <a:lnTo>
                    <a:pt x="399" y="183"/>
                  </a:lnTo>
                  <a:lnTo>
                    <a:pt x="371" y="155"/>
                  </a:lnTo>
                  <a:cubicBezTo>
                    <a:pt x="316" y="94"/>
                    <a:pt x="287" y="83"/>
                    <a:pt x="261" y="83"/>
                  </a:cubicBezTo>
                  <a:cubicBezTo>
                    <a:pt x="255" y="83"/>
                    <a:pt x="248" y="84"/>
                    <a:pt x="242" y="85"/>
                  </a:cubicBezTo>
                  <a:cubicBezTo>
                    <a:pt x="228" y="89"/>
                    <a:pt x="214" y="91"/>
                    <a:pt x="201" y="91"/>
                  </a:cubicBezTo>
                  <a:cubicBezTo>
                    <a:pt x="180" y="91"/>
                    <a:pt x="159" y="86"/>
                    <a:pt x="140" y="78"/>
                  </a:cubicBezTo>
                  <a:cubicBezTo>
                    <a:pt x="123" y="71"/>
                    <a:pt x="98" y="57"/>
                    <a:pt x="74" y="43"/>
                  </a:cubicBezTo>
                  <a:lnTo>
                    <a:pt x="35" y="22"/>
                  </a:lnTo>
                  <a:lnTo>
                    <a:pt x="25" y="1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0" name="Google Shape;7300;p53"/>
            <p:cNvSpPr/>
            <p:nvPr/>
          </p:nvSpPr>
          <p:spPr>
            <a:xfrm>
              <a:off x="2389668" y="171268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1" name="Google Shape;7301;p53"/>
            <p:cNvSpPr/>
            <p:nvPr/>
          </p:nvSpPr>
          <p:spPr>
            <a:xfrm>
              <a:off x="2389953" y="1712111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2" name="Google Shape;7302;p53"/>
            <p:cNvSpPr/>
            <p:nvPr/>
          </p:nvSpPr>
          <p:spPr>
            <a:xfrm>
              <a:off x="2389532" y="1713021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3" name="Google Shape;7303;p53"/>
            <p:cNvSpPr/>
            <p:nvPr/>
          </p:nvSpPr>
          <p:spPr>
            <a:xfrm>
              <a:off x="2389573" y="1712872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4" name="Google Shape;7304;p53"/>
            <p:cNvSpPr/>
            <p:nvPr/>
          </p:nvSpPr>
          <p:spPr>
            <a:xfrm>
              <a:off x="2389763" y="1712397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5" name="Google Shape;7305;p53"/>
            <p:cNvSpPr/>
            <p:nvPr/>
          </p:nvSpPr>
          <p:spPr>
            <a:xfrm>
              <a:off x="2389478" y="171311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6" name="Google Shape;7306;p53"/>
            <p:cNvSpPr/>
            <p:nvPr/>
          </p:nvSpPr>
          <p:spPr>
            <a:xfrm>
              <a:off x="2381114" y="1715248"/>
              <a:ext cx="353" cy="774"/>
            </a:xfrm>
            <a:custGeom>
              <a:avLst/>
              <a:gdLst/>
              <a:ahLst/>
              <a:cxnLst/>
              <a:rect l="l" t="t" r="r" b="b"/>
              <a:pathLst>
                <a:path w="26" h="57" extrusionOk="0">
                  <a:moveTo>
                    <a:pt x="1" y="1"/>
                  </a:moveTo>
                  <a:cubicBezTo>
                    <a:pt x="1" y="11"/>
                    <a:pt x="4" y="22"/>
                    <a:pt x="11" y="32"/>
                  </a:cubicBezTo>
                  <a:lnTo>
                    <a:pt x="13" y="35"/>
                  </a:lnTo>
                  <a:lnTo>
                    <a:pt x="13" y="35"/>
                  </a:lnTo>
                  <a:cubicBezTo>
                    <a:pt x="7" y="25"/>
                    <a:pt x="3" y="13"/>
                    <a:pt x="1" y="1"/>
                  </a:cubicBezTo>
                  <a:close/>
                  <a:moveTo>
                    <a:pt x="13" y="35"/>
                  </a:moveTo>
                  <a:lnTo>
                    <a:pt x="13" y="35"/>
                  </a:lnTo>
                  <a:cubicBezTo>
                    <a:pt x="17" y="43"/>
                    <a:pt x="21" y="50"/>
                    <a:pt x="25" y="57"/>
                  </a:cubicBezTo>
                  <a:lnTo>
                    <a:pt x="13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7" name="Google Shape;7307;p53"/>
            <p:cNvSpPr/>
            <p:nvPr/>
          </p:nvSpPr>
          <p:spPr>
            <a:xfrm>
              <a:off x="2381114" y="171524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8" name="Google Shape;7308;p53"/>
            <p:cNvSpPr/>
            <p:nvPr/>
          </p:nvSpPr>
          <p:spPr>
            <a:xfrm>
              <a:off x="2381209" y="1715248"/>
              <a:ext cx="3530" cy="1779"/>
            </a:xfrm>
            <a:custGeom>
              <a:avLst/>
              <a:gdLst/>
              <a:ahLst/>
              <a:cxnLst/>
              <a:rect l="l" t="t" r="r" b="b"/>
              <a:pathLst>
                <a:path w="260" h="131" extrusionOk="0">
                  <a:moveTo>
                    <a:pt x="1" y="1"/>
                  </a:moveTo>
                  <a:cubicBezTo>
                    <a:pt x="53" y="1"/>
                    <a:pt x="193" y="64"/>
                    <a:pt x="260" y="130"/>
                  </a:cubicBezTo>
                  <a:cubicBezTo>
                    <a:pt x="193" y="64"/>
                    <a:pt x="53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9" name="Google Shape;7309;p53"/>
            <p:cNvSpPr/>
            <p:nvPr/>
          </p:nvSpPr>
          <p:spPr>
            <a:xfrm>
              <a:off x="2390198" y="1711921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0" name="Google Shape;7310;p53"/>
            <p:cNvSpPr/>
            <p:nvPr/>
          </p:nvSpPr>
          <p:spPr>
            <a:xfrm>
              <a:off x="2379404" y="1731799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0"/>
                  </a:moveTo>
                  <a:cubicBezTo>
                    <a:pt x="4" y="7"/>
                    <a:pt x="8" y="14"/>
                    <a:pt x="11" y="18"/>
                  </a:cubicBezTo>
                  <a:cubicBezTo>
                    <a:pt x="8" y="11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1" name="Google Shape;7311;p53"/>
            <p:cNvSpPr/>
            <p:nvPr/>
          </p:nvSpPr>
          <p:spPr>
            <a:xfrm>
              <a:off x="2379268" y="173145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"/>
                  </a:moveTo>
                  <a:cubicBezTo>
                    <a:pt x="4" y="8"/>
                    <a:pt x="7" y="15"/>
                    <a:pt x="11" y="18"/>
                  </a:cubicBezTo>
                  <a:cubicBezTo>
                    <a:pt x="7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2" name="Google Shape;7312;p53"/>
            <p:cNvSpPr/>
            <p:nvPr/>
          </p:nvSpPr>
          <p:spPr>
            <a:xfrm>
              <a:off x="2403748" y="1738262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3" name="Google Shape;7313;p53"/>
            <p:cNvSpPr/>
            <p:nvPr/>
          </p:nvSpPr>
          <p:spPr>
            <a:xfrm>
              <a:off x="2404888" y="1738968"/>
              <a:ext cx="720" cy="394"/>
            </a:xfrm>
            <a:custGeom>
              <a:avLst/>
              <a:gdLst/>
              <a:ahLst/>
              <a:cxnLst/>
              <a:rect l="l" t="t" r="r" b="b"/>
              <a:pathLst>
                <a:path w="53" h="29" extrusionOk="0">
                  <a:moveTo>
                    <a:pt x="53" y="29"/>
                  </a:moveTo>
                  <a:cubicBezTo>
                    <a:pt x="35" y="18"/>
                    <a:pt x="18" y="11"/>
                    <a:pt x="0" y="1"/>
                  </a:cubicBezTo>
                  <a:cubicBezTo>
                    <a:pt x="18" y="11"/>
                    <a:pt x="35" y="18"/>
                    <a:pt x="53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4" name="Google Shape;7314;p53"/>
            <p:cNvSpPr/>
            <p:nvPr/>
          </p:nvSpPr>
          <p:spPr>
            <a:xfrm>
              <a:off x="2403273" y="173792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5" name="Google Shape;7315;p53"/>
            <p:cNvSpPr/>
            <p:nvPr/>
          </p:nvSpPr>
          <p:spPr>
            <a:xfrm>
              <a:off x="2398901" y="1729613"/>
              <a:ext cx="1005" cy="584"/>
            </a:xfrm>
            <a:custGeom>
              <a:avLst/>
              <a:gdLst/>
              <a:ahLst/>
              <a:cxnLst/>
              <a:rect l="l" t="t" r="r" b="b"/>
              <a:pathLst>
                <a:path w="74" h="43" extrusionOk="0">
                  <a:moveTo>
                    <a:pt x="73" y="0"/>
                  </a:moveTo>
                  <a:cubicBezTo>
                    <a:pt x="49" y="11"/>
                    <a:pt x="25" y="25"/>
                    <a:pt x="0" y="42"/>
                  </a:cubicBezTo>
                  <a:cubicBezTo>
                    <a:pt x="25" y="28"/>
                    <a:pt x="49" y="11"/>
                    <a:pt x="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6" name="Google Shape;7316;p53"/>
            <p:cNvSpPr/>
            <p:nvPr/>
          </p:nvSpPr>
          <p:spPr>
            <a:xfrm>
              <a:off x="2405839" y="1739443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5"/>
                  </a:moveTo>
                  <a:lnTo>
                    <a:pt x="28" y="15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7" name="Google Shape;7317;p53"/>
            <p:cNvSpPr/>
            <p:nvPr/>
          </p:nvSpPr>
          <p:spPr>
            <a:xfrm>
              <a:off x="2385486" y="1735981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8" name="Google Shape;7318;p53"/>
            <p:cNvSpPr/>
            <p:nvPr/>
          </p:nvSpPr>
          <p:spPr>
            <a:xfrm>
              <a:off x="2379784" y="1732369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11" y="14"/>
                    <a:pt x="4" y="7"/>
                    <a:pt x="1" y="0"/>
                  </a:cubicBezTo>
                  <a:cubicBezTo>
                    <a:pt x="4" y="7"/>
                    <a:pt x="11" y="14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9" name="Google Shape;7319;p53"/>
            <p:cNvSpPr/>
            <p:nvPr/>
          </p:nvSpPr>
          <p:spPr>
            <a:xfrm>
              <a:off x="2402933" y="173759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0" name="Google Shape;7320;p53"/>
            <p:cNvSpPr/>
            <p:nvPr/>
          </p:nvSpPr>
          <p:spPr>
            <a:xfrm>
              <a:off x="2379594" y="173212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cubicBezTo>
                    <a:pt x="8" y="11"/>
                    <a:pt x="4" y="4"/>
                    <a:pt x="1" y="1"/>
                  </a:cubicBezTo>
                  <a:cubicBezTo>
                    <a:pt x="4" y="4"/>
                    <a:pt x="8" y="11"/>
                    <a:pt x="1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1" name="Google Shape;7321;p53"/>
            <p:cNvSpPr/>
            <p:nvPr/>
          </p:nvSpPr>
          <p:spPr>
            <a:xfrm>
              <a:off x="2380069" y="1732695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2" name="Google Shape;7322;p53"/>
            <p:cNvSpPr/>
            <p:nvPr/>
          </p:nvSpPr>
          <p:spPr>
            <a:xfrm>
              <a:off x="2402648" y="1737311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11" y="11"/>
                    <a:pt x="8" y="7"/>
                    <a:pt x="1" y="0"/>
                  </a:cubicBezTo>
                  <a:cubicBezTo>
                    <a:pt x="8" y="7"/>
                    <a:pt x="11" y="11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3" name="Google Shape;7323;p53"/>
            <p:cNvSpPr/>
            <p:nvPr/>
          </p:nvSpPr>
          <p:spPr>
            <a:xfrm>
              <a:off x="2380408" y="1732885"/>
              <a:ext cx="339" cy="204"/>
            </a:xfrm>
            <a:custGeom>
              <a:avLst/>
              <a:gdLst/>
              <a:ahLst/>
              <a:cxnLst/>
              <a:rect l="l" t="t" r="r" b="b"/>
              <a:pathLst>
                <a:path w="25" h="15" extrusionOk="0">
                  <a:moveTo>
                    <a:pt x="25" y="15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4" name="Google Shape;7324;p53"/>
            <p:cNvSpPr/>
            <p:nvPr/>
          </p:nvSpPr>
          <p:spPr>
            <a:xfrm>
              <a:off x="2404264" y="1738588"/>
              <a:ext cx="543" cy="353"/>
            </a:xfrm>
            <a:custGeom>
              <a:avLst/>
              <a:gdLst/>
              <a:ahLst/>
              <a:cxnLst/>
              <a:rect l="l" t="t" r="r" b="b"/>
              <a:pathLst>
                <a:path w="40" h="26" extrusionOk="0">
                  <a:moveTo>
                    <a:pt x="39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5" name="Google Shape;7325;p53"/>
            <p:cNvSpPr/>
            <p:nvPr/>
          </p:nvSpPr>
          <p:spPr>
            <a:xfrm>
              <a:off x="2392329" y="1712641"/>
              <a:ext cx="3109" cy="2295"/>
            </a:xfrm>
            <a:custGeom>
              <a:avLst/>
              <a:gdLst/>
              <a:ahLst/>
              <a:cxnLst/>
              <a:rect l="l" t="t" r="r" b="b"/>
              <a:pathLst>
                <a:path w="229" h="169" extrusionOk="0">
                  <a:moveTo>
                    <a:pt x="228" y="168"/>
                  </a:moveTo>
                  <a:cubicBezTo>
                    <a:pt x="158" y="98"/>
                    <a:pt x="74" y="11"/>
                    <a:pt x="1" y="0"/>
                  </a:cubicBezTo>
                  <a:cubicBezTo>
                    <a:pt x="74" y="11"/>
                    <a:pt x="158" y="98"/>
                    <a:pt x="228" y="16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6" name="Google Shape;7326;p53"/>
            <p:cNvSpPr/>
            <p:nvPr/>
          </p:nvSpPr>
          <p:spPr>
            <a:xfrm>
              <a:off x="2405364" y="171444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7" name="Google Shape;7327;p53"/>
            <p:cNvSpPr/>
            <p:nvPr/>
          </p:nvSpPr>
          <p:spPr>
            <a:xfrm>
              <a:off x="2400612" y="171729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8" name="Google Shape;7328;p53"/>
            <p:cNvSpPr/>
            <p:nvPr/>
          </p:nvSpPr>
          <p:spPr>
            <a:xfrm>
              <a:off x="2403884" y="171515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8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9" name="Google Shape;7329;p53"/>
            <p:cNvSpPr/>
            <p:nvPr/>
          </p:nvSpPr>
          <p:spPr>
            <a:xfrm>
              <a:off x="2404603" y="171486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8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0" name="Google Shape;7330;p53"/>
            <p:cNvSpPr/>
            <p:nvPr/>
          </p:nvSpPr>
          <p:spPr>
            <a:xfrm>
              <a:off x="2403504" y="1715302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1" name="Google Shape;7331;p53"/>
            <p:cNvSpPr/>
            <p:nvPr/>
          </p:nvSpPr>
          <p:spPr>
            <a:xfrm>
              <a:off x="2404929" y="1714637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14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2" name="Google Shape;7332;p53"/>
            <p:cNvSpPr/>
            <p:nvPr/>
          </p:nvSpPr>
          <p:spPr>
            <a:xfrm>
              <a:off x="2404223" y="1715017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3" name="Google Shape;7333;p53"/>
            <p:cNvSpPr/>
            <p:nvPr/>
          </p:nvSpPr>
          <p:spPr>
            <a:xfrm>
              <a:off x="2390333" y="1711921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1" y="1"/>
                  </a:moveTo>
                  <a:cubicBezTo>
                    <a:pt x="11" y="8"/>
                    <a:pt x="25" y="15"/>
                    <a:pt x="39" y="22"/>
                  </a:cubicBezTo>
                  <a:cubicBezTo>
                    <a:pt x="29" y="15"/>
                    <a:pt x="15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4" name="Google Shape;7334;p53"/>
            <p:cNvSpPr/>
            <p:nvPr/>
          </p:nvSpPr>
          <p:spPr>
            <a:xfrm>
              <a:off x="2390958" y="171226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0" y="0"/>
                  </a:moveTo>
                  <a:lnTo>
                    <a:pt x="2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5" name="Google Shape;7335;p53"/>
            <p:cNvSpPr/>
            <p:nvPr/>
          </p:nvSpPr>
          <p:spPr>
            <a:xfrm>
              <a:off x="2391664" y="171249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6" name="Google Shape;7336;p53"/>
            <p:cNvSpPr/>
            <p:nvPr/>
          </p:nvSpPr>
          <p:spPr>
            <a:xfrm>
              <a:off x="2400136" y="171724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7" name="Google Shape;7337;p53"/>
            <p:cNvSpPr/>
            <p:nvPr/>
          </p:nvSpPr>
          <p:spPr>
            <a:xfrm>
              <a:off x="2406029" y="1713822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18" y="1"/>
                  </a:moveTo>
                  <a:cubicBezTo>
                    <a:pt x="11" y="8"/>
                    <a:pt x="4" y="15"/>
                    <a:pt x="0" y="18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8" name="Google Shape;7338;p53"/>
            <p:cNvSpPr/>
            <p:nvPr/>
          </p:nvSpPr>
          <p:spPr>
            <a:xfrm>
              <a:off x="2398331" y="1716578"/>
              <a:ext cx="530" cy="204"/>
            </a:xfrm>
            <a:custGeom>
              <a:avLst/>
              <a:gdLst/>
              <a:ahLst/>
              <a:cxnLst/>
              <a:rect l="l" t="t" r="r" b="b"/>
              <a:pathLst>
                <a:path w="39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4"/>
                    <a:pt x="28" y="8"/>
                    <a:pt x="39" y="15"/>
                  </a:cubicBezTo>
                  <a:cubicBezTo>
                    <a:pt x="28" y="8"/>
                    <a:pt x="1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9" name="Google Shape;7339;p53"/>
            <p:cNvSpPr/>
            <p:nvPr/>
          </p:nvSpPr>
          <p:spPr>
            <a:xfrm>
              <a:off x="2399702" y="171710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0" name="Google Shape;7340;p53"/>
            <p:cNvSpPr/>
            <p:nvPr/>
          </p:nvSpPr>
          <p:spPr>
            <a:xfrm>
              <a:off x="2405649" y="1714162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0"/>
                  </a:moveTo>
                  <a:cubicBezTo>
                    <a:pt x="14" y="4"/>
                    <a:pt x="7" y="11"/>
                    <a:pt x="0" y="18"/>
                  </a:cubicBezTo>
                  <a:cubicBezTo>
                    <a:pt x="7" y="11"/>
                    <a:pt x="18" y="4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1" name="Google Shape;7341;p53"/>
            <p:cNvSpPr/>
            <p:nvPr/>
          </p:nvSpPr>
          <p:spPr>
            <a:xfrm>
              <a:off x="2400747" y="171724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2" name="Google Shape;7342;p53"/>
            <p:cNvSpPr/>
            <p:nvPr/>
          </p:nvSpPr>
          <p:spPr>
            <a:xfrm>
              <a:off x="2399322" y="171695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3" name="Google Shape;7343;p53"/>
            <p:cNvSpPr/>
            <p:nvPr/>
          </p:nvSpPr>
          <p:spPr>
            <a:xfrm>
              <a:off x="2381454" y="1716008"/>
              <a:ext cx="2485" cy="5010"/>
            </a:xfrm>
            <a:custGeom>
              <a:avLst/>
              <a:gdLst/>
              <a:ahLst/>
              <a:cxnLst/>
              <a:rect l="l" t="t" r="r" b="b"/>
              <a:pathLst>
                <a:path w="183" h="369" extrusionOk="0">
                  <a:moveTo>
                    <a:pt x="0" y="1"/>
                  </a:moveTo>
                  <a:lnTo>
                    <a:pt x="18" y="32"/>
                  </a:lnTo>
                  <a:cubicBezTo>
                    <a:pt x="28" y="50"/>
                    <a:pt x="39" y="67"/>
                    <a:pt x="49" y="81"/>
                  </a:cubicBezTo>
                  <a:cubicBezTo>
                    <a:pt x="32" y="53"/>
                    <a:pt x="14" y="25"/>
                    <a:pt x="0" y="1"/>
                  </a:cubicBezTo>
                  <a:close/>
                  <a:moveTo>
                    <a:pt x="49" y="82"/>
                  </a:moveTo>
                  <a:cubicBezTo>
                    <a:pt x="112" y="176"/>
                    <a:pt x="179" y="274"/>
                    <a:pt x="154" y="368"/>
                  </a:cubicBezTo>
                  <a:cubicBezTo>
                    <a:pt x="182" y="274"/>
                    <a:pt x="112" y="176"/>
                    <a:pt x="49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4" name="Google Shape;7344;p53"/>
            <p:cNvSpPr/>
            <p:nvPr/>
          </p:nvSpPr>
          <p:spPr>
            <a:xfrm>
              <a:off x="2390863" y="173231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"/>
                  </a:moveTo>
                  <a:lnTo>
                    <a:pt x="0" y="11"/>
                  </a:lnTo>
                  <a:cubicBezTo>
                    <a:pt x="0" y="15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5" name="Google Shape;7345;p53"/>
            <p:cNvSpPr/>
            <p:nvPr/>
          </p:nvSpPr>
          <p:spPr>
            <a:xfrm>
              <a:off x="2390958" y="173279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6" name="Google Shape;7346;p53"/>
            <p:cNvSpPr/>
            <p:nvPr/>
          </p:nvSpPr>
          <p:spPr>
            <a:xfrm>
              <a:off x="2390809" y="173217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cubicBezTo>
                    <a:pt x="1" y="4"/>
                    <a:pt x="1" y="7"/>
                    <a:pt x="4" y="7"/>
                  </a:cubicBezTo>
                  <a:cubicBezTo>
                    <a:pt x="1" y="7"/>
                    <a:pt x="1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7" name="Google Shape;7347;p53"/>
            <p:cNvSpPr/>
            <p:nvPr/>
          </p:nvSpPr>
          <p:spPr>
            <a:xfrm>
              <a:off x="2391243" y="1733550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8" name="Google Shape;7348;p53"/>
            <p:cNvSpPr/>
            <p:nvPr/>
          </p:nvSpPr>
          <p:spPr>
            <a:xfrm>
              <a:off x="2391813" y="173469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9" name="Google Shape;7349;p53"/>
            <p:cNvSpPr/>
            <p:nvPr/>
          </p:nvSpPr>
          <p:spPr>
            <a:xfrm>
              <a:off x="2391474" y="1734080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0"/>
                  </a:moveTo>
                  <a:cubicBezTo>
                    <a:pt x="4" y="11"/>
                    <a:pt x="11" y="21"/>
                    <a:pt x="18" y="35"/>
                  </a:cubicBezTo>
                  <a:cubicBezTo>
                    <a:pt x="11" y="21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0" name="Google Shape;7350;p53"/>
            <p:cNvSpPr/>
            <p:nvPr/>
          </p:nvSpPr>
          <p:spPr>
            <a:xfrm>
              <a:off x="2390904" y="173255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1" name="Google Shape;7351;p53"/>
            <p:cNvSpPr/>
            <p:nvPr/>
          </p:nvSpPr>
          <p:spPr>
            <a:xfrm>
              <a:off x="2391094" y="173317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2" name="Google Shape;7352;p53"/>
            <p:cNvSpPr/>
            <p:nvPr/>
          </p:nvSpPr>
          <p:spPr>
            <a:xfrm>
              <a:off x="2384726" y="173393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3" name="Google Shape;7353;p53"/>
            <p:cNvSpPr/>
            <p:nvPr/>
          </p:nvSpPr>
          <p:spPr>
            <a:xfrm>
              <a:off x="2379308" y="1731459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4" name="Google Shape;7354;p53"/>
            <p:cNvSpPr/>
            <p:nvPr/>
          </p:nvSpPr>
          <p:spPr>
            <a:xfrm>
              <a:off x="2385350" y="173469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5" name="Google Shape;7355;p53"/>
            <p:cNvSpPr/>
            <p:nvPr/>
          </p:nvSpPr>
          <p:spPr>
            <a:xfrm>
              <a:off x="2379784" y="1731744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39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6" name="Google Shape;7356;p53"/>
            <p:cNvSpPr/>
            <p:nvPr/>
          </p:nvSpPr>
          <p:spPr>
            <a:xfrm>
              <a:off x="2385826" y="17357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7" name="Google Shape;7357;p53"/>
            <p:cNvSpPr/>
            <p:nvPr/>
          </p:nvSpPr>
          <p:spPr>
            <a:xfrm>
              <a:off x="2385676" y="1735220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8" name="Google Shape;7358;p53"/>
            <p:cNvSpPr/>
            <p:nvPr/>
          </p:nvSpPr>
          <p:spPr>
            <a:xfrm>
              <a:off x="2381264" y="1715682"/>
              <a:ext cx="434" cy="774"/>
            </a:xfrm>
            <a:custGeom>
              <a:avLst/>
              <a:gdLst/>
              <a:ahLst/>
              <a:cxnLst/>
              <a:rect l="l" t="t" r="r" b="b"/>
              <a:pathLst>
                <a:path w="32" h="57" extrusionOk="0">
                  <a:moveTo>
                    <a:pt x="0" y="0"/>
                  </a:moveTo>
                  <a:cubicBezTo>
                    <a:pt x="7" y="18"/>
                    <a:pt x="21" y="39"/>
                    <a:pt x="32" y="56"/>
                  </a:cubicBezTo>
                  <a:lnTo>
                    <a:pt x="14" y="25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9" name="Google Shape;7359;p53"/>
            <p:cNvSpPr/>
            <p:nvPr/>
          </p:nvSpPr>
          <p:spPr>
            <a:xfrm>
              <a:off x="2379404" y="173132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0" name="Google Shape;7360;p53"/>
            <p:cNvSpPr/>
            <p:nvPr/>
          </p:nvSpPr>
          <p:spPr>
            <a:xfrm>
              <a:off x="2385826" y="17359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1" name="Google Shape;7361;p53"/>
            <p:cNvSpPr/>
            <p:nvPr/>
          </p:nvSpPr>
          <p:spPr>
            <a:xfrm>
              <a:off x="2497528" y="1743000"/>
              <a:ext cx="87140" cy="73726"/>
            </a:xfrm>
            <a:custGeom>
              <a:avLst/>
              <a:gdLst/>
              <a:ahLst/>
              <a:cxnLst/>
              <a:rect l="l" t="t" r="r" b="b"/>
              <a:pathLst>
                <a:path w="6418" h="5430" extrusionOk="0">
                  <a:moveTo>
                    <a:pt x="5842" y="1"/>
                  </a:moveTo>
                  <a:cubicBezTo>
                    <a:pt x="5789" y="1"/>
                    <a:pt x="5711" y="42"/>
                    <a:pt x="5630" y="113"/>
                  </a:cubicBezTo>
                  <a:cubicBezTo>
                    <a:pt x="5511" y="218"/>
                    <a:pt x="5434" y="351"/>
                    <a:pt x="5434" y="411"/>
                  </a:cubicBezTo>
                  <a:cubicBezTo>
                    <a:pt x="5434" y="537"/>
                    <a:pt x="5273" y="572"/>
                    <a:pt x="5122" y="604"/>
                  </a:cubicBezTo>
                  <a:cubicBezTo>
                    <a:pt x="5052" y="618"/>
                    <a:pt x="4929" y="642"/>
                    <a:pt x="4912" y="670"/>
                  </a:cubicBezTo>
                  <a:cubicBezTo>
                    <a:pt x="4912" y="702"/>
                    <a:pt x="4901" y="733"/>
                    <a:pt x="4877" y="754"/>
                  </a:cubicBezTo>
                  <a:cubicBezTo>
                    <a:pt x="4835" y="796"/>
                    <a:pt x="4765" y="804"/>
                    <a:pt x="4680" y="804"/>
                  </a:cubicBezTo>
                  <a:cubicBezTo>
                    <a:pt x="4658" y="804"/>
                    <a:pt x="4635" y="804"/>
                    <a:pt x="4611" y="803"/>
                  </a:cubicBezTo>
                  <a:cubicBezTo>
                    <a:pt x="4590" y="803"/>
                    <a:pt x="4567" y="803"/>
                    <a:pt x="4543" y="803"/>
                  </a:cubicBezTo>
                  <a:cubicBezTo>
                    <a:pt x="4457" y="803"/>
                    <a:pt x="4367" y="807"/>
                    <a:pt x="4345" y="849"/>
                  </a:cubicBezTo>
                  <a:cubicBezTo>
                    <a:pt x="4341" y="856"/>
                    <a:pt x="4338" y="863"/>
                    <a:pt x="4334" y="870"/>
                  </a:cubicBezTo>
                  <a:cubicBezTo>
                    <a:pt x="4331" y="877"/>
                    <a:pt x="4327" y="880"/>
                    <a:pt x="4324" y="884"/>
                  </a:cubicBezTo>
                  <a:lnTo>
                    <a:pt x="4317" y="894"/>
                  </a:lnTo>
                  <a:lnTo>
                    <a:pt x="4310" y="898"/>
                  </a:lnTo>
                  <a:cubicBezTo>
                    <a:pt x="4296" y="915"/>
                    <a:pt x="4271" y="926"/>
                    <a:pt x="4250" y="933"/>
                  </a:cubicBezTo>
                  <a:cubicBezTo>
                    <a:pt x="4235" y="936"/>
                    <a:pt x="4220" y="937"/>
                    <a:pt x="4205" y="937"/>
                  </a:cubicBezTo>
                  <a:cubicBezTo>
                    <a:pt x="4168" y="937"/>
                    <a:pt x="4132" y="928"/>
                    <a:pt x="4100" y="908"/>
                  </a:cubicBezTo>
                  <a:lnTo>
                    <a:pt x="4100" y="915"/>
                  </a:lnTo>
                  <a:lnTo>
                    <a:pt x="3995" y="849"/>
                  </a:lnTo>
                  <a:lnTo>
                    <a:pt x="3967" y="831"/>
                  </a:lnTo>
                  <a:lnTo>
                    <a:pt x="3939" y="810"/>
                  </a:lnTo>
                  <a:lnTo>
                    <a:pt x="3925" y="803"/>
                  </a:lnTo>
                  <a:lnTo>
                    <a:pt x="3914" y="796"/>
                  </a:lnTo>
                  <a:lnTo>
                    <a:pt x="3907" y="793"/>
                  </a:lnTo>
                  <a:lnTo>
                    <a:pt x="3893" y="786"/>
                  </a:lnTo>
                  <a:lnTo>
                    <a:pt x="3886" y="782"/>
                  </a:lnTo>
                  <a:lnTo>
                    <a:pt x="3872" y="775"/>
                  </a:lnTo>
                  <a:lnTo>
                    <a:pt x="3865" y="775"/>
                  </a:lnTo>
                  <a:lnTo>
                    <a:pt x="3851" y="768"/>
                  </a:lnTo>
                  <a:lnTo>
                    <a:pt x="3844" y="768"/>
                  </a:lnTo>
                  <a:lnTo>
                    <a:pt x="3830" y="765"/>
                  </a:lnTo>
                  <a:lnTo>
                    <a:pt x="3816" y="765"/>
                  </a:lnTo>
                  <a:cubicBezTo>
                    <a:pt x="3732" y="765"/>
                    <a:pt x="3666" y="719"/>
                    <a:pt x="3599" y="677"/>
                  </a:cubicBezTo>
                  <a:cubicBezTo>
                    <a:pt x="3536" y="633"/>
                    <a:pt x="3489" y="603"/>
                    <a:pt x="3434" y="603"/>
                  </a:cubicBezTo>
                  <a:cubicBezTo>
                    <a:pt x="3419" y="603"/>
                    <a:pt x="3403" y="605"/>
                    <a:pt x="3386" y="611"/>
                  </a:cubicBezTo>
                  <a:lnTo>
                    <a:pt x="3347" y="618"/>
                  </a:lnTo>
                  <a:cubicBezTo>
                    <a:pt x="3330" y="625"/>
                    <a:pt x="3312" y="628"/>
                    <a:pt x="3291" y="628"/>
                  </a:cubicBezTo>
                  <a:lnTo>
                    <a:pt x="3260" y="635"/>
                  </a:lnTo>
                  <a:lnTo>
                    <a:pt x="3260" y="632"/>
                  </a:lnTo>
                  <a:cubicBezTo>
                    <a:pt x="3179" y="628"/>
                    <a:pt x="3102" y="607"/>
                    <a:pt x="3032" y="572"/>
                  </a:cubicBezTo>
                  <a:cubicBezTo>
                    <a:pt x="2990" y="551"/>
                    <a:pt x="2948" y="537"/>
                    <a:pt x="2906" y="526"/>
                  </a:cubicBezTo>
                  <a:lnTo>
                    <a:pt x="2899" y="526"/>
                  </a:lnTo>
                  <a:cubicBezTo>
                    <a:pt x="2874" y="526"/>
                    <a:pt x="2836" y="558"/>
                    <a:pt x="2801" y="597"/>
                  </a:cubicBezTo>
                  <a:cubicBezTo>
                    <a:pt x="2790" y="607"/>
                    <a:pt x="2776" y="621"/>
                    <a:pt x="2766" y="635"/>
                  </a:cubicBezTo>
                  <a:cubicBezTo>
                    <a:pt x="2703" y="707"/>
                    <a:pt x="2625" y="796"/>
                    <a:pt x="2524" y="796"/>
                  </a:cubicBezTo>
                  <a:cubicBezTo>
                    <a:pt x="2502" y="796"/>
                    <a:pt x="2479" y="791"/>
                    <a:pt x="2454" y="782"/>
                  </a:cubicBezTo>
                  <a:cubicBezTo>
                    <a:pt x="2451" y="780"/>
                    <a:pt x="2446" y="779"/>
                    <a:pt x="2442" y="779"/>
                  </a:cubicBezTo>
                  <a:cubicBezTo>
                    <a:pt x="2437" y="779"/>
                    <a:pt x="2432" y="780"/>
                    <a:pt x="2426" y="782"/>
                  </a:cubicBezTo>
                  <a:cubicBezTo>
                    <a:pt x="2349" y="824"/>
                    <a:pt x="2279" y="1059"/>
                    <a:pt x="2241" y="1199"/>
                  </a:cubicBezTo>
                  <a:cubicBezTo>
                    <a:pt x="2234" y="1230"/>
                    <a:pt x="2223" y="1255"/>
                    <a:pt x="2216" y="1279"/>
                  </a:cubicBezTo>
                  <a:cubicBezTo>
                    <a:pt x="2178" y="1416"/>
                    <a:pt x="1985" y="1472"/>
                    <a:pt x="1782" y="1535"/>
                  </a:cubicBezTo>
                  <a:cubicBezTo>
                    <a:pt x="1635" y="1577"/>
                    <a:pt x="1436" y="1636"/>
                    <a:pt x="1443" y="1710"/>
                  </a:cubicBezTo>
                  <a:cubicBezTo>
                    <a:pt x="1457" y="1881"/>
                    <a:pt x="1296" y="1990"/>
                    <a:pt x="1135" y="2021"/>
                  </a:cubicBezTo>
                  <a:cubicBezTo>
                    <a:pt x="1121" y="2025"/>
                    <a:pt x="1103" y="2025"/>
                    <a:pt x="1086" y="2028"/>
                  </a:cubicBezTo>
                  <a:lnTo>
                    <a:pt x="1023" y="2028"/>
                  </a:lnTo>
                  <a:cubicBezTo>
                    <a:pt x="1012" y="2025"/>
                    <a:pt x="1002" y="2025"/>
                    <a:pt x="991" y="2021"/>
                  </a:cubicBezTo>
                  <a:lnTo>
                    <a:pt x="981" y="2021"/>
                  </a:lnTo>
                  <a:cubicBezTo>
                    <a:pt x="956" y="2018"/>
                    <a:pt x="931" y="2007"/>
                    <a:pt x="907" y="1993"/>
                  </a:cubicBezTo>
                  <a:lnTo>
                    <a:pt x="900" y="1990"/>
                  </a:lnTo>
                  <a:cubicBezTo>
                    <a:pt x="893" y="1983"/>
                    <a:pt x="886" y="1979"/>
                    <a:pt x="879" y="1972"/>
                  </a:cubicBezTo>
                  <a:lnTo>
                    <a:pt x="872" y="1965"/>
                  </a:lnTo>
                  <a:cubicBezTo>
                    <a:pt x="865" y="1958"/>
                    <a:pt x="861" y="1955"/>
                    <a:pt x="858" y="1948"/>
                  </a:cubicBezTo>
                  <a:cubicBezTo>
                    <a:pt x="858" y="1944"/>
                    <a:pt x="854" y="1941"/>
                    <a:pt x="851" y="1937"/>
                  </a:cubicBezTo>
                  <a:cubicBezTo>
                    <a:pt x="844" y="1927"/>
                    <a:pt x="840" y="1916"/>
                    <a:pt x="837" y="1906"/>
                  </a:cubicBezTo>
                  <a:cubicBezTo>
                    <a:pt x="823" y="1860"/>
                    <a:pt x="742" y="1860"/>
                    <a:pt x="641" y="1860"/>
                  </a:cubicBezTo>
                  <a:cubicBezTo>
                    <a:pt x="571" y="1860"/>
                    <a:pt x="515" y="1860"/>
                    <a:pt x="476" y="1836"/>
                  </a:cubicBezTo>
                  <a:cubicBezTo>
                    <a:pt x="459" y="1836"/>
                    <a:pt x="441" y="1843"/>
                    <a:pt x="427" y="1850"/>
                  </a:cubicBezTo>
                  <a:cubicBezTo>
                    <a:pt x="389" y="1871"/>
                    <a:pt x="357" y="1909"/>
                    <a:pt x="347" y="1951"/>
                  </a:cubicBezTo>
                  <a:lnTo>
                    <a:pt x="347" y="1958"/>
                  </a:lnTo>
                  <a:cubicBezTo>
                    <a:pt x="343" y="1969"/>
                    <a:pt x="343" y="1976"/>
                    <a:pt x="343" y="1986"/>
                  </a:cubicBezTo>
                  <a:lnTo>
                    <a:pt x="343" y="1993"/>
                  </a:lnTo>
                  <a:cubicBezTo>
                    <a:pt x="340" y="2007"/>
                    <a:pt x="340" y="2021"/>
                    <a:pt x="343" y="2035"/>
                  </a:cubicBezTo>
                  <a:cubicBezTo>
                    <a:pt x="350" y="2147"/>
                    <a:pt x="312" y="2256"/>
                    <a:pt x="238" y="2340"/>
                  </a:cubicBezTo>
                  <a:cubicBezTo>
                    <a:pt x="228" y="2354"/>
                    <a:pt x="221" y="2364"/>
                    <a:pt x="210" y="2378"/>
                  </a:cubicBezTo>
                  <a:lnTo>
                    <a:pt x="182" y="2410"/>
                  </a:lnTo>
                  <a:cubicBezTo>
                    <a:pt x="161" y="2434"/>
                    <a:pt x="140" y="2459"/>
                    <a:pt x="126" y="2487"/>
                  </a:cubicBezTo>
                  <a:cubicBezTo>
                    <a:pt x="119" y="2508"/>
                    <a:pt x="109" y="2536"/>
                    <a:pt x="98" y="2567"/>
                  </a:cubicBezTo>
                  <a:cubicBezTo>
                    <a:pt x="63" y="2662"/>
                    <a:pt x="0" y="2834"/>
                    <a:pt x="53" y="2907"/>
                  </a:cubicBezTo>
                  <a:cubicBezTo>
                    <a:pt x="109" y="2991"/>
                    <a:pt x="84" y="3089"/>
                    <a:pt x="60" y="3187"/>
                  </a:cubicBezTo>
                  <a:cubicBezTo>
                    <a:pt x="35" y="3282"/>
                    <a:pt x="7" y="3394"/>
                    <a:pt x="60" y="3502"/>
                  </a:cubicBezTo>
                  <a:cubicBezTo>
                    <a:pt x="130" y="3660"/>
                    <a:pt x="133" y="3842"/>
                    <a:pt x="133" y="3971"/>
                  </a:cubicBezTo>
                  <a:cubicBezTo>
                    <a:pt x="130" y="4024"/>
                    <a:pt x="133" y="4073"/>
                    <a:pt x="144" y="4122"/>
                  </a:cubicBezTo>
                  <a:cubicBezTo>
                    <a:pt x="182" y="4136"/>
                    <a:pt x="224" y="4146"/>
                    <a:pt x="266" y="4153"/>
                  </a:cubicBezTo>
                  <a:cubicBezTo>
                    <a:pt x="413" y="4185"/>
                    <a:pt x="620" y="4230"/>
                    <a:pt x="686" y="4412"/>
                  </a:cubicBezTo>
                  <a:cubicBezTo>
                    <a:pt x="756" y="4601"/>
                    <a:pt x="522" y="4829"/>
                    <a:pt x="312" y="5025"/>
                  </a:cubicBezTo>
                  <a:cubicBezTo>
                    <a:pt x="238" y="5095"/>
                    <a:pt x="137" y="5193"/>
                    <a:pt x="130" y="5225"/>
                  </a:cubicBezTo>
                  <a:cubicBezTo>
                    <a:pt x="126" y="5228"/>
                    <a:pt x="126" y="5232"/>
                    <a:pt x="130" y="5235"/>
                  </a:cubicBezTo>
                  <a:cubicBezTo>
                    <a:pt x="147" y="5270"/>
                    <a:pt x="172" y="5305"/>
                    <a:pt x="200" y="5330"/>
                  </a:cubicBezTo>
                  <a:lnTo>
                    <a:pt x="245" y="5333"/>
                  </a:lnTo>
                  <a:lnTo>
                    <a:pt x="294" y="5337"/>
                  </a:lnTo>
                  <a:lnTo>
                    <a:pt x="350" y="5340"/>
                  </a:lnTo>
                  <a:lnTo>
                    <a:pt x="399" y="5344"/>
                  </a:lnTo>
                  <a:lnTo>
                    <a:pt x="459" y="5347"/>
                  </a:lnTo>
                  <a:lnTo>
                    <a:pt x="508" y="5351"/>
                  </a:lnTo>
                  <a:lnTo>
                    <a:pt x="564" y="5358"/>
                  </a:lnTo>
                  <a:lnTo>
                    <a:pt x="616" y="5361"/>
                  </a:lnTo>
                  <a:lnTo>
                    <a:pt x="672" y="5368"/>
                  </a:lnTo>
                  <a:lnTo>
                    <a:pt x="721" y="5375"/>
                  </a:lnTo>
                  <a:lnTo>
                    <a:pt x="777" y="5382"/>
                  </a:lnTo>
                  <a:lnTo>
                    <a:pt x="826" y="5389"/>
                  </a:lnTo>
                  <a:lnTo>
                    <a:pt x="882" y="5400"/>
                  </a:lnTo>
                  <a:lnTo>
                    <a:pt x="928" y="5403"/>
                  </a:lnTo>
                  <a:lnTo>
                    <a:pt x="1026" y="5421"/>
                  </a:lnTo>
                  <a:cubicBezTo>
                    <a:pt x="1059" y="5427"/>
                    <a:pt x="1106" y="5429"/>
                    <a:pt x="1165" y="5429"/>
                  </a:cubicBezTo>
                  <a:cubicBezTo>
                    <a:pt x="1657" y="5429"/>
                    <a:pt x="2951" y="5237"/>
                    <a:pt x="3155" y="5169"/>
                  </a:cubicBezTo>
                  <a:cubicBezTo>
                    <a:pt x="3148" y="5085"/>
                    <a:pt x="3137" y="5001"/>
                    <a:pt x="3123" y="4917"/>
                  </a:cubicBezTo>
                  <a:cubicBezTo>
                    <a:pt x="3102" y="4777"/>
                    <a:pt x="3092" y="4693"/>
                    <a:pt x="3099" y="4650"/>
                  </a:cubicBezTo>
                  <a:cubicBezTo>
                    <a:pt x="3122" y="4544"/>
                    <a:pt x="3353" y="4338"/>
                    <a:pt x="3575" y="4338"/>
                  </a:cubicBezTo>
                  <a:cubicBezTo>
                    <a:pt x="3585" y="4338"/>
                    <a:pt x="3596" y="4338"/>
                    <a:pt x="3606" y="4339"/>
                  </a:cubicBezTo>
                  <a:lnTo>
                    <a:pt x="3662" y="4342"/>
                  </a:lnTo>
                  <a:cubicBezTo>
                    <a:pt x="3710" y="4348"/>
                    <a:pt x="3764" y="4353"/>
                    <a:pt x="3809" y="4353"/>
                  </a:cubicBezTo>
                  <a:cubicBezTo>
                    <a:pt x="3850" y="4353"/>
                    <a:pt x="3883" y="4349"/>
                    <a:pt x="3897" y="4335"/>
                  </a:cubicBezTo>
                  <a:cubicBezTo>
                    <a:pt x="3897" y="4335"/>
                    <a:pt x="3907" y="4328"/>
                    <a:pt x="3907" y="4307"/>
                  </a:cubicBezTo>
                  <a:cubicBezTo>
                    <a:pt x="3907" y="4146"/>
                    <a:pt x="4208" y="4038"/>
                    <a:pt x="4348" y="4013"/>
                  </a:cubicBezTo>
                  <a:cubicBezTo>
                    <a:pt x="4388" y="4006"/>
                    <a:pt x="4421" y="4002"/>
                    <a:pt x="4450" y="4002"/>
                  </a:cubicBezTo>
                  <a:cubicBezTo>
                    <a:pt x="4556" y="4002"/>
                    <a:pt x="4598" y="4046"/>
                    <a:pt x="4614" y="4090"/>
                  </a:cubicBezTo>
                  <a:cubicBezTo>
                    <a:pt x="4620" y="4105"/>
                    <a:pt x="4628" y="4112"/>
                    <a:pt x="4637" y="4112"/>
                  </a:cubicBezTo>
                  <a:cubicBezTo>
                    <a:pt x="4639" y="4112"/>
                    <a:pt x="4641" y="4112"/>
                    <a:pt x="4642" y="4111"/>
                  </a:cubicBezTo>
                  <a:cubicBezTo>
                    <a:pt x="4677" y="4108"/>
                    <a:pt x="4737" y="4034"/>
                    <a:pt x="4747" y="3866"/>
                  </a:cubicBezTo>
                  <a:cubicBezTo>
                    <a:pt x="4747" y="3814"/>
                    <a:pt x="4751" y="3761"/>
                    <a:pt x="4751" y="3712"/>
                  </a:cubicBezTo>
                  <a:cubicBezTo>
                    <a:pt x="4758" y="3460"/>
                    <a:pt x="4765" y="3240"/>
                    <a:pt x="4985" y="3222"/>
                  </a:cubicBezTo>
                  <a:cubicBezTo>
                    <a:pt x="5118" y="3212"/>
                    <a:pt x="5245" y="3149"/>
                    <a:pt x="5287" y="3096"/>
                  </a:cubicBezTo>
                  <a:cubicBezTo>
                    <a:pt x="5297" y="3082"/>
                    <a:pt x="5297" y="3075"/>
                    <a:pt x="5297" y="3072"/>
                  </a:cubicBezTo>
                  <a:cubicBezTo>
                    <a:pt x="5276" y="3026"/>
                    <a:pt x="5248" y="2984"/>
                    <a:pt x="5217" y="2946"/>
                  </a:cubicBezTo>
                  <a:cubicBezTo>
                    <a:pt x="5143" y="2848"/>
                    <a:pt x="5059" y="2736"/>
                    <a:pt x="5136" y="2659"/>
                  </a:cubicBezTo>
                  <a:cubicBezTo>
                    <a:pt x="5159" y="2636"/>
                    <a:pt x="5190" y="2627"/>
                    <a:pt x="5230" y="2627"/>
                  </a:cubicBezTo>
                  <a:cubicBezTo>
                    <a:pt x="5283" y="2627"/>
                    <a:pt x="5350" y="2642"/>
                    <a:pt x="5434" y="2662"/>
                  </a:cubicBezTo>
                  <a:cubicBezTo>
                    <a:pt x="5559" y="2692"/>
                    <a:pt x="5645" y="2706"/>
                    <a:pt x="5694" y="2706"/>
                  </a:cubicBezTo>
                  <a:cubicBezTo>
                    <a:pt x="5720" y="2706"/>
                    <a:pt x="5734" y="2702"/>
                    <a:pt x="5738" y="2694"/>
                  </a:cubicBezTo>
                  <a:cubicBezTo>
                    <a:pt x="5759" y="2634"/>
                    <a:pt x="5763" y="2571"/>
                    <a:pt x="5752" y="2511"/>
                  </a:cubicBezTo>
                  <a:cubicBezTo>
                    <a:pt x="5745" y="2427"/>
                    <a:pt x="5738" y="2336"/>
                    <a:pt x="5791" y="2249"/>
                  </a:cubicBezTo>
                  <a:cubicBezTo>
                    <a:pt x="5826" y="2196"/>
                    <a:pt x="5868" y="2147"/>
                    <a:pt x="5910" y="2102"/>
                  </a:cubicBezTo>
                  <a:cubicBezTo>
                    <a:pt x="5976" y="2035"/>
                    <a:pt x="6046" y="1958"/>
                    <a:pt x="6043" y="1902"/>
                  </a:cubicBezTo>
                  <a:cubicBezTo>
                    <a:pt x="6039" y="1871"/>
                    <a:pt x="6036" y="1839"/>
                    <a:pt x="6036" y="1811"/>
                  </a:cubicBezTo>
                  <a:cubicBezTo>
                    <a:pt x="6032" y="1731"/>
                    <a:pt x="6032" y="1685"/>
                    <a:pt x="5966" y="1619"/>
                  </a:cubicBezTo>
                  <a:cubicBezTo>
                    <a:pt x="5896" y="1556"/>
                    <a:pt x="5868" y="1461"/>
                    <a:pt x="5892" y="1370"/>
                  </a:cubicBezTo>
                  <a:cubicBezTo>
                    <a:pt x="5924" y="1293"/>
                    <a:pt x="5997" y="1237"/>
                    <a:pt x="6085" y="1234"/>
                  </a:cubicBezTo>
                  <a:cubicBezTo>
                    <a:pt x="6102" y="1227"/>
                    <a:pt x="6123" y="1220"/>
                    <a:pt x="6137" y="1209"/>
                  </a:cubicBezTo>
                  <a:lnTo>
                    <a:pt x="6148" y="1202"/>
                  </a:lnTo>
                  <a:lnTo>
                    <a:pt x="6162" y="1199"/>
                  </a:lnTo>
                  <a:cubicBezTo>
                    <a:pt x="6267" y="1178"/>
                    <a:pt x="6354" y="1157"/>
                    <a:pt x="6417" y="1111"/>
                  </a:cubicBezTo>
                  <a:lnTo>
                    <a:pt x="6372" y="1111"/>
                  </a:lnTo>
                  <a:lnTo>
                    <a:pt x="6340" y="1118"/>
                  </a:lnTo>
                  <a:lnTo>
                    <a:pt x="6326" y="1122"/>
                  </a:lnTo>
                  <a:lnTo>
                    <a:pt x="6298" y="1129"/>
                  </a:lnTo>
                  <a:lnTo>
                    <a:pt x="6284" y="1132"/>
                  </a:lnTo>
                  <a:lnTo>
                    <a:pt x="6253" y="1136"/>
                  </a:lnTo>
                  <a:lnTo>
                    <a:pt x="6246" y="1136"/>
                  </a:lnTo>
                  <a:cubicBezTo>
                    <a:pt x="6232" y="1139"/>
                    <a:pt x="6218" y="1139"/>
                    <a:pt x="6207" y="1139"/>
                  </a:cubicBezTo>
                  <a:cubicBezTo>
                    <a:pt x="6203" y="1139"/>
                    <a:pt x="6198" y="1140"/>
                    <a:pt x="6194" y="1140"/>
                  </a:cubicBezTo>
                  <a:cubicBezTo>
                    <a:pt x="6146" y="1140"/>
                    <a:pt x="6102" y="1123"/>
                    <a:pt x="6067" y="1097"/>
                  </a:cubicBezTo>
                  <a:lnTo>
                    <a:pt x="6057" y="1087"/>
                  </a:lnTo>
                  <a:lnTo>
                    <a:pt x="6050" y="1080"/>
                  </a:lnTo>
                  <a:cubicBezTo>
                    <a:pt x="6018" y="1038"/>
                    <a:pt x="6001" y="985"/>
                    <a:pt x="6004" y="936"/>
                  </a:cubicBezTo>
                  <a:cubicBezTo>
                    <a:pt x="6004" y="912"/>
                    <a:pt x="6008" y="887"/>
                    <a:pt x="6015" y="863"/>
                  </a:cubicBezTo>
                  <a:cubicBezTo>
                    <a:pt x="6015" y="849"/>
                    <a:pt x="6022" y="831"/>
                    <a:pt x="6025" y="817"/>
                  </a:cubicBezTo>
                  <a:cubicBezTo>
                    <a:pt x="6032" y="782"/>
                    <a:pt x="6043" y="751"/>
                    <a:pt x="6053" y="716"/>
                  </a:cubicBezTo>
                  <a:cubicBezTo>
                    <a:pt x="6109" y="544"/>
                    <a:pt x="6116" y="477"/>
                    <a:pt x="6053" y="449"/>
                  </a:cubicBezTo>
                  <a:cubicBezTo>
                    <a:pt x="5889" y="372"/>
                    <a:pt x="5889" y="218"/>
                    <a:pt x="5889" y="113"/>
                  </a:cubicBezTo>
                  <a:cubicBezTo>
                    <a:pt x="5889" y="5"/>
                    <a:pt x="5878" y="1"/>
                    <a:pt x="5854" y="1"/>
                  </a:cubicBezTo>
                  <a:cubicBezTo>
                    <a:pt x="5850" y="1"/>
                    <a:pt x="5846" y="1"/>
                    <a:pt x="58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2" name="Google Shape;7362;p53"/>
            <p:cNvSpPr/>
            <p:nvPr/>
          </p:nvSpPr>
          <p:spPr>
            <a:xfrm>
              <a:off x="2595449" y="1751378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3" name="Google Shape;7363;p53"/>
            <p:cNvSpPr/>
            <p:nvPr/>
          </p:nvSpPr>
          <p:spPr>
            <a:xfrm>
              <a:off x="2589692" y="1751432"/>
              <a:ext cx="11134" cy="4046"/>
            </a:xfrm>
            <a:custGeom>
              <a:avLst/>
              <a:gdLst/>
              <a:ahLst/>
              <a:cxnLst/>
              <a:rect l="l" t="t" r="r" b="b"/>
              <a:pathLst>
                <a:path w="820" h="298" extrusionOk="0">
                  <a:moveTo>
                    <a:pt x="420" y="0"/>
                  </a:moveTo>
                  <a:cubicBezTo>
                    <a:pt x="350" y="0"/>
                    <a:pt x="137" y="179"/>
                    <a:pt x="0" y="298"/>
                  </a:cubicBezTo>
                  <a:lnTo>
                    <a:pt x="18" y="294"/>
                  </a:lnTo>
                  <a:lnTo>
                    <a:pt x="42" y="287"/>
                  </a:lnTo>
                  <a:lnTo>
                    <a:pt x="77" y="277"/>
                  </a:lnTo>
                  <a:lnTo>
                    <a:pt x="98" y="270"/>
                  </a:lnTo>
                  <a:lnTo>
                    <a:pt x="133" y="263"/>
                  </a:lnTo>
                  <a:lnTo>
                    <a:pt x="158" y="259"/>
                  </a:lnTo>
                  <a:lnTo>
                    <a:pt x="189" y="252"/>
                  </a:lnTo>
                  <a:lnTo>
                    <a:pt x="210" y="249"/>
                  </a:lnTo>
                  <a:lnTo>
                    <a:pt x="242" y="245"/>
                  </a:lnTo>
                  <a:lnTo>
                    <a:pt x="361" y="245"/>
                  </a:lnTo>
                  <a:lnTo>
                    <a:pt x="382" y="249"/>
                  </a:lnTo>
                  <a:cubicBezTo>
                    <a:pt x="396" y="252"/>
                    <a:pt x="406" y="256"/>
                    <a:pt x="420" y="259"/>
                  </a:cubicBezTo>
                  <a:lnTo>
                    <a:pt x="435" y="266"/>
                  </a:lnTo>
                  <a:lnTo>
                    <a:pt x="582" y="266"/>
                  </a:lnTo>
                  <a:lnTo>
                    <a:pt x="599" y="263"/>
                  </a:lnTo>
                  <a:lnTo>
                    <a:pt x="613" y="263"/>
                  </a:lnTo>
                  <a:lnTo>
                    <a:pt x="631" y="259"/>
                  </a:lnTo>
                  <a:lnTo>
                    <a:pt x="645" y="256"/>
                  </a:lnTo>
                  <a:lnTo>
                    <a:pt x="662" y="249"/>
                  </a:lnTo>
                  <a:lnTo>
                    <a:pt x="676" y="245"/>
                  </a:lnTo>
                  <a:lnTo>
                    <a:pt x="701" y="238"/>
                  </a:lnTo>
                  <a:lnTo>
                    <a:pt x="708" y="235"/>
                  </a:lnTo>
                  <a:lnTo>
                    <a:pt x="739" y="221"/>
                  </a:lnTo>
                  <a:lnTo>
                    <a:pt x="750" y="217"/>
                  </a:lnTo>
                  <a:lnTo>
                    <a:pt x="771" y="207"/>
                  </a:lnTo>
                  <a:lnTo>
                    <a:pt x="785" y="200"/>
                  </a:lnTo>
                  <a:lnTo>
                    <a:pt x="802" y="189"/>
                  </a:lnTo>
                  <a:lnTo>
                    <a:pt x="816" y="182"/>
                  </a:lnTo>
                  <a:lnTo>
                    <a:pt x="820" y="179"/>
                  </a:lnTo>
                  <a:lnTo>
                    <a:pt x="820" y="172"/>
                  </a:lnTo>
                  <a:lnTo>
                    <a:pt x="781" y="165"/>
                  </a:lnTo>
                  <a:lnTo>
                    <a:pt x="771" y="165"/>
                  </a:lnTo>
                  <a:lnTo>
                    <a:pt x="743" y="161"/>
                  </a:lnTo>
                  <a:lnTo>
                    <a:pt x="708" y="161"/>
                  </a:lnTo>
                  <a:cubicBezTo>
                    <a:pt x="702" y="159"/>
                    <a:pt x="697" y="158"/>
                    <a:pt x="692" y="158"/>
                  </a:cubicBezTo>
                  <a:cubicBezTo>
                    <a:pt x="687" y="158"/>
                    <a:pt x="681" y="159"/>
                    <a:pt x="676" y="161"/>
                  </a:cubicBezTo>
                  <a:cubicBezTo>
                    <a:pt x="667" y="162"/>
                    <a:pt x="658" y="163"/>
                    <a:pt x="650" y="163"/>
                  </a:cubicBezTo>
                  <a:cubicBezTo>
                    <a:pt x="589" y="163"/>
                    <a:pt x="532" y="132"/>
                    <a:pt x="501" y="74"/>
                  </a:cubicBezTo>
                  <a:lnTo>
                    <a:pt x="487" y="56"/>
                  </a:lnTo>
                  <a:lnTo>
                    <a:pt x="484" y="53"/>
                  </a:lnTo>
                  <a:cubicBezTo>
                    <a:pt x="480" y="46"/>
                    <a:pt x="477" y="42"/>
                    <a:pt x="473" y="35"/>
                  </a:cubicBezTo>
                  <a:lnTo>
                    <a:pt x="463" y="28"/>
                  </a:lnTo>
                  <a:cubicBezTo>
                    <a:pt x="459" y="25"/>
                    <a:pt x="456" y="21"/>
                    <a:pt x="452" y="18"/>
                  </a:cubicBezTo>
                  <a:lnTo>
                    <a:pt x="438" y="7"/>
                  </a:lnTo>
                  <a:lnTo>
                    <a:pt x="4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4" name="Google Shape;7364;p53"/>
            <p:cNvSpPr/>
            <p:nvPr/>
          </p:nvSpPr>
          <p:spPr>
            <a:xfrm>
              <a:off x="2541736" y="1751432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32" y="0"/>
                  </a:moveTo>
                  <a:cubicBezTo>
                    <a:pt x="21" y="0"/>
                    <a:pt x="11" y="4"/>
                    <a:pt x="0" y="4"/>
                  </a:cubicBezTo>
                  <a:lnTo>
                    <a:pt x="0" y="7"/>
                  </a:ln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5" name="Google Shape;7365;p53"/>
            <p:cNvSpPr/>
            <p:nvPr/>
          </p:nvSpPr>
          <p:spPr>
            <a:xfrm>
              <a:off x="2550955" y="1754039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0" y="1"/>
                  </a:moveTo>
                  <a:lnTo>
                    <a:pt x="28" y="18"/>
                  </a:lnTo>
                  <a:lnTo>
                    <a:pt x="2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6" name="Google Shape;7366;p53"/>
            <p:cNvSpPr/>
            <p:nvPr/>
          </p:nvSpPr>
          <p:spPr>
            <a:xfrm>
              <a:off x="2549950" y="175352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7" name="Google Shape;7367;p53"/>
            <p:cNvSpPr/>
            <p:nvPr/>
          </p:nvSpPr>
          <p:spPr>
            <a:xfrm>
              <a:off x="2550236" y="175361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8" name="Google Shape;7368;p53"/>
            <p:cNvSpPr/>
            <p:nvPr/>
          </p:nvSpPr>
          <p:spPr>
            <a:xfrm>
              <a:off x="2549244" y="1753278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cubicBezTo>
                    <a:pt x="11" y="1"/>
                    <a:pt x="7" y="1"/>
                    <a:pt x="0" y="1"/>
                  </a:cubicBezTo>
                  <a:cubicBezTo>
                    <a:pt x="7" y="1"/>
                    <a:pt x="11" y="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9" name="Google Shape;7369;p53"/>
            <p:cNvSpPr/>
            <p:nvPr/>
          </p:nvSpPr>
          <p:spPr>
            <a:xfrm>
              <a:off x="2550480" y="1753754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0" name="Google Shape;7370;p53"/>
            <p:cNvSpPr/>
            <p:nvPr/>
          </p:nvSpPr>
          <p:spPr>
            <a:xfrm>
              <a:off x="2550711" y="175390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1" name="Google Shape;7371;p53"/>
            <p:cNvSpPr/>
            <p:nvPr/>
          </p:nvSpPr>
          <p:spPr>
            <a:xfrm>
              <a:off x="2549625" y="175337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2" name="Google Shape;7372;p53"/>
            <p:cNvSpPr/>
            <p:nvPr/>
          </p:nvSpPr>
          <p:spPr>
            <a:xfrm>
              <a:off x="2551756" y="1754568"/>
              <a:ext cx="1439" cy="910"/>
            </a:xfrm>
            <a:custGeom>
              <a:avLst/>
              <a:gdLst/>
              <a:ahLst/>
              <a:cxnLst/>
              <a:rect l="l" t="t" r="r" b="b"/>
              <a:pathLst>
                <a:path w="106" h="67" extrusionOk="0">
                  <a:moveTo>
                    <a:pt x="1" y="0"/>
                  </a:moveTo>
                  <a:lnTo>
                    <a:pt x="106" y="67"/>
                  </a:lnTo>
                  <a:lnTo>
                    <a:pt x="106" y="60"/>
                  </a:lnTo>
                  <a:lnTo>
                    <a:pt x="88" y="53"/>
                  </a:lnTo>
                  <a:cubicBezTo>
                    <a:pt x="57" y="35"/>
                    <a:pt x="29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3" name="Google Shape;7373;p53"/>
            <p:cNvSpPr/>
            <p:nvPr/>
          </p:nvSpPr>
          <p:spPr>
            <a:xfrm>
              <a:off x="2542917" y="1751147"/>
              <a:ext cx="543" cy="149"/>
            </a:xfrm>
            <a:custGeom>
              <a:avLst/>
              <a:gdLst/>
              <a:ahLst/>
              <a:cxnLst/>
              <a:rect l="l" t="t" r="r" b="b"/>
              <a:pathLst>
                <a:path w="40" h="11" extrusionOk="0">
                  <a:moveTo>
                    <a:pt x="36" y="0"/>
                  </a:moveTo>
                  <a:cubicBezTo>
                    <a:pt x="29" y="3"/>
                    <a:pt x="24" y="5"/>
                    <a:pt x="19" y="7"/>
                  </a:cubicBezTo>
                  <a:lnTo>
                    <a:pt x="19" y="7"/>
                  </a:lnTo>
                  <a:lnTo>
                    <a:pt x="39" y="4"/>
                  </a:lnTo>
                  <a:lnTo>
                    <a:pt x="39" y="0"/>
                  </a:lnTo>
                  <a:close/>
                  <a:moveTo>
                    <a:pt x="19" y="7"/>
                  </a:moveTo>
                  <a:lnTo>
                    <a:pt x="1" y="11"/>
                  </a:lnTo>
                  <a:cubicBezTo>
                    <a:pt x="7" y="11"/>
                    <a:pt x="12" y="9"/>
                    <a:pt x="19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4" name="Google Shape;7374;p53"/>
            <p:cNvSpPr/>
            <p:nvPr/>
          </p:nvSpPr>
          <p:spPr>
            <a:xfrm>
              <a:off x="2508784" y="1768770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22"/>
                    <a:pt x="4" y="11"/>
                    <a:pt x="1" y="1"/>
                  </a:cubicBezTo>
                  <a:cubicBezTo>
                    <a:pt x="4" y="11"/>
                    <a:pt x="11" y="22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5" name="Google Shape;7375;p53"/>
            <p:cNvSpPr/>
            <p:nvPr/>
          </p:nvSpPr>
          <p:spPr>
            <a:xfrm>
              <a:off x="2511499" y="1770440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15" y="0"/>
                  </a:moveTo>
                  <a:lnTo>
                    <a:pt x="36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6" name="Google Shape;7376;p53"/>
            <p:cNvSpPr/>
            <p:nvPr/>
          </p:nvSpPr>
          <p:spPr>
            <a:xfrm>
              <a:off x="2509734" y="1769965"/>
              <a:ext cx="1018" cy="394"/>
            </a:xfrm>
            <a:custGeom>
              <a:avLst/>
              <a:gdLst/>
              <a:ahLst/>
              <a:cxnLst/>
              <a:rect l="l" t="t" r="r" b="b"/>
              <a:pathLst>
                <a:path w="75" h="29" extrusionOk="0">
                  <a:moveTo>
                    <a:pt x="74" y="28"/>
                  </a:moveTo>
                  <a:cubicBezTo>
                    <a:pt x="50" y="21"/>
                    <a:pt x="25" y="11"/>
                    <a:pt x="1" y="0"/>
                  </a:cubicBezTo>
                  <a:cubicBezTo>
                    <a:pt x="25" y="11"/>
                    <a:pt x="50" y="21"/>
                    <a:pt x="74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7" name="Google Shape;7377;p53"/>
            <p:cNvSpPr/>
            <p:nvPr/>
          </p:nvSpPr>
          <p:spPr>
            <a:xfrm>
              <a:off x="2510888" y="1770345"/>
              <a:ext cx="475" cy="54"/>
            </a:xfrm>
            <a:custGeom>
              <a:avLst/>
              <a:gdLst/>
              <a:ahLst/>
              <a:cxnLst/>
              <a:rect l="l" t="t" r="r" b="b"/>
              <a:pathLst>
                <a:path w="35" h="4" extrusionOk="0">
                  <a:moveTo>
                    <a:pt x="35" y="4"/>
                  </a:moveTo>
                  <a:cubicBezTo>
                    <a:pt x="21" y="4"/>
                    <a:pt x="11" y="4"/>
                    <a:pt x="0" y="0"/>
                  </a:cubicBezTo>
                  <a:cubicBezTo>
                    <a:pt x="11" y="4"/>
                    <a:pt x="21" y="4"/>
                    <a:pt x="35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8" name="Google Shape;7378;p53"/>
            <p:cNvSpPr/>
            <p:nvPr/>
          </p:nvSpPr>
          <p:spPr>
            <a:xfrm>
              <a:off x="2509354" y="1769680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cubicBezTo>
                    <a:pt x="15" y="11"/>
                    <a:pt x="8" y="4"/>
                    <a:pt x="1" y="0"/>
                  </a:cubicBezTo>
                  <a:cubicBezTo>
                    <a:pt x="8" y="4"/>
                    <a:pt x="15" y="11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9" name="Google Shape;7379;p53"/>
            <p:cNvSpPr/>
            <p:nvPr/>
          </p:nvSpPr>
          <p:spPr>
            <a:xfrm>
              <a:off x="2509069" y="1769300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8" y="11"/>
                    <a:pt x="4" y="7"/>
                    <a:pt x="1" y="0"/>
                  </a:cubicBezTo>
                  <a:cubicBezTo>
                    <a:pt x="4" y="7"/>
                    <a:pt x="8" y="11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0" name="Google Shape;7380;p53"/>
            <p:cNvSpPr/>
            <p:nvPr/>
          </p:nvSpPr>
          <p:spPr>
            <a:xfrm>
              <a:off x="2534975" y="1750997"/>
              <a:ext cx="489" cy="543"/>
            </a:xfrm>
            <a:custGeom>
              <a:avLst/>
              <a:gdLst/>
              <a:ahLst/>
              <a:cxnLst/>
              <a:rect l="l" t="t" r="r" b="b"/>
              <a:pathLst>
                <a:path w="36" h="40" extrusionOk="0">
                  <a:moveTo>
                    <a:pt x="36" y="1"/>
                  </a:moveTo>
                  <a:cubicBezTo>
                    <a:pt x="25" y="11"/>
                    <a:pt x="11" y="25"/>
                    <a:pt x="1" y="39"/>
                  </a:cubicBezTo>
                  <a:cubicBezTo>
                    <a:pt x="11" y="25"/>
                    <a:pt x="25" y="11"/>
                    <a:pt x="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1" name="Google Shape;7381;p53"/>
            <p:cNvSpPr/>
            <p:nvPr/>
          </p:nvSpPr>
          <p:spPr>
            <a:xfrm>
              <a:off x="2536780" y="175004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1" y="0"/>
                  </a:lnTo>
                  <a:lnTo>
                    <a:pt x="8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2" name="Google Shape;7382;p53"/>
            <p:cNvSpPr/>
            <p:nvPr/>
          </p:nvSpPr>
          <p:spPr>
            <a:xfrm>
              <a:off x="2512219" y="1770291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49" y="1"/>
                  </a:moveTo>
                  <a:cubicBezTo>
                    <a:pt x="32" y="4"/>
                    <a:pt x="14" y="8"/>
                    <a:pt x="0" y="8"/>
                  </a:cubicBezTo>
                  <a:cubicBezTo>
                    <a:pt x="14" y="8"/>
                    <a:pt x="32" y="4"/>
                    <a:pt x="4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3" name="Google Shape;7383;p53"/>
            <p:cNvSpPr/>
            <p:nvPr/>
          </p:nvSpPr>
          <p:spPr>
            <a:xfrm>
              <a:off x="2503230" y="1767779"/>
              <a:ext cx="679" cy="204"/>
            </a:xfrm>
            <a:custGeom>
              <a:avLst/>
              <a:gdLst/>
              <a:ahLst/>
              <a:cxnLst/>
              <a:rect l="l" t="t" r="r" b="b"/>
              <a:pathLst>
                <a:path w="50" h="15" extrusionOk="0">
                  <a:moveTo>
                    <a:pt x="49" y="0"/>
                  </a:moveTo>
                  <a:cubicBezTo>
                    <a:pt x="35" y="0"/>
                    <a:pt x="25" y="4"/>
                    <a:pt x="14" y="7"/>
                  </a:cubicBezTo>
                  <a:lnTo>
                    <a:pt x="0" y="14"/>
                  </a:lnTo>
                  <a:cubicBezTo>
                    <a:pt x="14" y="7"/>
                    <a:pt x="32" y="0"/>
                    <a:pt x="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4" name="Google Shape;7384;p53"/>
            <p:cNvSpPr/>
            <p:nvPr/>
          </p:nvSpPr>
          <p:spPr>
            <a:xfrm>
              <a:off x="2542917" y="1751187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6" y="1"/>
                  </a:moveTo>
                  <a:lnTo>
                    <a:pt x="36" y="1"/>
                  </a:lnTo>
                  <a:cubicBezTo>
                    <a:pt x="22" y="4"/>
                    <a:pt x="11" y="4"/>
                    <a:pt x="1" y="8"/>
                  </a:cubicBezTo>
                  <a:cubicBezTo>
                    <a:pt x="11" y="8"/>
                    <a:pt x="22" y="4"/>
                    <a:pt x="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5" name="Google Shape;7385;p53"/>
            <p:cNvSpPr/>
            <p:nvPr/>
          </p:nvSpPr>
          <p:spPr>
            <a:xfrm>
              <a:off x="2502035" y="1769436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1" y="29"/>
                  </a:moveTo>
                  <a:cubicBezTo>
                    <a:pt x="1" y="18"/>
                    <a:pt x="4" y="11"/>
                    <a:pt x="4" y="1"/>
                  </a:cubicBezTo>
                  <a:cubicBezTo>
                    <a:pt x="4" y="11"/>
                    <a:pt x="1" y="18"/>
                    <a:pt x="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6" name="Google Shape;7386;p53"/>
            <p:cNvSpPr/>
            <p:nvPr/>
          </p:nvSpPr>
          <p:spPr>
            <a:xfrm>
              <a:off x="2499143" y="181379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cubicBezTo>
                    <a:pt x="0" y="7"/>
                    <a:pt x="0" y="4"/>
                    <a:pt x="0" y="0"/>
                  </a:cubicBezTo>
                  <a:cubicBezTo>
                    <a:pt x="0" y="4"/>
                    <a:pt x="0" y="7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7" name="Google Shape;7387;p53"/>
            <p:cNvSpPr/>
            <p:nvPr/>
          </p:nvSpPr>
          <p:spPr>
            <a:xfrm>
              <a:off x="2500230" y="1774663"/>
              <a:ext cx="448" cy="489"/>
            </a:xfrm>
            <a:custGeom>
              <a:avLst/>
              <a:gdLst/>
              <a:ahLst/>
              <a:cxnLst/>
              <a:rect l="l" t="t" r="r" b="b"/>
              <a:pathLst>
                <a:path w="33" h="36" extrusionOk="0">
                  <a:moveTo>
                    <a:pt x="32" y="1"/>
                  </a:moveTo>
                  <a:cubicBezTo>
                    <a:pt x="22" y="15"/>
                    <a:pt x="11" y="25"/>
                    <a:pt x="1" y="36"/>
                  </a:cubicBezTo>
                  <a:cubicBezTo>
                    <a:pt x="15" y="25"/>
                    <a:pt x="22" y="15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8" name="Google Shape;7388;p53"/>
            <p:cNvSpPr/>
            <p:nvPr/>
          </p:nvSpPr>
          <p:spPr>
            <a:xfrm>
              <a:off x="2502131" y="1767969"/>
              <a:ext cx="1113" cy="1385"/>
            </a:xfrm>
            <a:custGeom>
              <a:avLst/>
              <a:gdLst/>
              <a:ahLst/>
              <a:cxnLst/>
              <a:rect l="l" t="t" r="r" b="b"/>
              <a:pathLst>
                <a:path w="82" h="102" extrusionOk="0">
                  <a:moveTo>
                    <a:pt x="81" y="0"/>
                  </a:moveTo>
                  <a:cubicBezTo>
                    <a:pt x="76" y="3"/>
                    <a:pt x="70" y="6"/>
                    <a:pt x="65" y="10"/>
                  </a:cubicBezTo>
                  <a:lnTo>
                    <a:pt x="65" y="10"/>
                  </a:lnTo>
                  <a:cubicBezTo>
                    <a:pt x="67" y="9"/>
                    <a:pt x="69" y="8"/>
                    <a:pt x="71" y="7"/>
                  </a:cubicBezTo>
                  <a:lnTo>
                    <a:pt x="81" y="0"/>
                  </a:lnTo>
                  <a:close/>
                  <a:moveTo>
                    <a:pt x="65" y="10"/>
                  </a:moveTo>
                  <a:lnTo>
                    <a:pt x="65" y="10"/>
                  </a:lnTo>
                  <a:cubicBezTo>
                    <a:pt x="62" y="11"/>
                    <a:pt x="59" y="12"/>
                    <a:pt x="57" y="14"/>
                  </a:cubicBezTo>
                  <a:cubicBezTo>
                    <a:pt x="29" y="39"/>
                    <a:pt x="8" y="67"/>
                    <a:pt x="1" y="102"/>
                  </a:cubicBezTo>
                  <a:cubicBezTo>
                    <a:pt x="10" y="66"/>
                    <a:pt x="32" y="32"/>
                    <a:pt x="65" y="1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9" name="Google Shape;7389;p53"/>
            <p:cNvSpPr/>
            <p:nvPr/>
          </p:nvSpPr>
          <p:spPr>
            <a:xfrm>
              <a:off x="2500664" y="1769911"/>
              <a:ext cx="1480" cy="4725"/>
            </a:xfrm>
            <a:custGeom>
              <a:avLst/>
              <a:gdLst/>
              <a:ahLst/>
              <a:cxnLst/>
              <a:rect l="l" t="t" r="r" b="b"/>
              <a:pathLst>
                <a:path w="109" h="348" extrusionOk="0">
                  <a:moveTo>
                    <a:pt x="102" y="43"/>
                  </a:moveTo>
                  <a:cubicBezTo>
                    <a:pt x="102" y="29"/>
                    <a:pt x="102" y="15"/>
                    <a:pt x="102" y="1"/>
                  </a:cubicBezTo>
                  <a:cubicBezTo>
                    <a:pt x="102" y="15"/>
                    <a:pt x="102" y="29"/>
                    <a:pt x="102" y="43"/>
                  </a:cubicBezTo>
                  <a:cubicBezTo>
                    <a:pt x="109" y="155"/>
                    <a:pt x="70" y="263"/>
                    <a:pt x="0" y="347"/>
                  </a:cubicBezTo>
                  <a:cubicBezTo>
                    <a:pt x="70" y="263"/>
                    <a:pt x="109" y="155"/>
                    <a:pt x="102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0" name="Google Shape;7390;p53"/>
            <p:cNvSpPr/>
            <p:nvPr/>
          </p:nvSpPr>
          <p:spPr>
            <a:xfrm>
              <a:off x="2503081" y="1767874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0"/>
                  </a:moveTo>
                  <a:cubicBezTo>
                    <a:pt x="15" y="4"/>
                    <a:pt x="8" y="7"/>
                    <a:pt x="1" y="14"/>
                  </a:cubicBezTo>
                  <a:lnTo>
                    <a:pt x="11" y="7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1" name="Google Shape;7391;p53"/>
            <p:cNvSpPr/>
            <p:nvPr/>
          </p:nvSpPr>
          <p:spPr>
            <a:xfrm>
              <a:off x="2579848" y="175789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2" name="Google Shape;7392;p53"/>
            <p:cNvSpPr/>
            <p:nvPr/>
          </p:nvSpPr>
          <p:spPr>
            <a:xfrm>
              <a:off x="2583419" y="175822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3" name="Google Shape;7393;p53"/>
            <p:cNvSpPr/>
            <p:nvPr/>
          </p:nvSpPr>
          <p:spPr>
            <a:xfrm>
              <a:off x="2556318" y="175456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" y="18"/>
                  </a:moveTo>
                  <a:cubicBezTo>
                    <a:pt x="8" y="11"/>
                    <a:pt x="11" y="4"/>
                    <a:pt x="15" y="0"/>
                  </a:cubicBezTo>
                  <a:cubicBezTo>
                    <a:pt x="11" y="4"/>
                    <a:pt x="8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4" name="Google Shape;7394;p53"/>
            <p:cNvSpPr/>
            <p:nvPr/>
          </p:nvSpPr>
          <p:spPr>
            <a:xfrm>
              <a:off x="2582319" y="175846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5" name="Google Shape;7395;p53"/>
            <p:cNvSpPr/>
            <p:nvPr/>
          </p:nvSpPr>
          <p:spPr>
            <a:xfrm>
              <a:off x="2584030" y="175812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6" name="Google Shape;7396;p53"/>
            <p:cNvSpPr/>
            <p:nvPr/>
          </p:nvSpPr>
          <p:spPr>
            <a:xfrm>
              <a:off x="2551335" y="1754283"/>
              <a:ext cx="394" cy="244"/>
            </a:xfrm>
            <a:custGeom>
              <a:avLst/>
              <a:gdLst/>
              <a:ahLst/>
              <a:cxnLst/>
              <a:rect l="l" t="t" r="r" b="b"/>
              <a:pathLst>
                <a:path w="29" h="18" extrusionOk="0">
                  <a:moveTo>
                    <a:pt x="0" y="0"/>
                  </a:moveTo>
                  <a:lnTo>
                    <a:pt x="28" y="18"/>
                  </a:lnTo>
                  <a:lnTo>
                    <a:pt x="18" y="1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7" name="Google Shape;7397;p53"/>
            <p:cNvSpPr/>
            <p:nvPr/>
          </p:nvSpPr>
          <p:spPr>
            <a:xfrm>
              <a:off x="2582890" y="1758370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8" name="Google Shape;7398;p53"/>
            <p:cNvSpPr/>
            <p:nvPr/>
          </p:nvSpPr>
          <p:spPr>
            <a:xfrm>
              <a:off x="2581803" y="17585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9" name="Google Shape;7399;p53"/>
            <p:cNvSpPr/>
            <p:nvPr/>
          </p:nvSpPr>
          <p:spPr>
            <a:xfrm>
              <a:off x="2596494" y="1752423"/>
              <a:ext cx="2811" cy="1344"/>
            </a:xfrm>
            <a:custGeom>
              <a:avLst/>
              <a:gdLst/>
              <a:ahLst/>
              <a:cxnLst/>
              <a:rect l="l" t="t" r="r" b="b"/>
              <a:pathLst>
                <a:path w="207" h="99" extrusionOk="0">
                  <a:moveTo>
                    <a:pt x="175" y="85"/>
                  </a:moveTo>
                  <a:cubicBezTo>
                    <a:pt x="186" y="85"/>
                    <a:pt x="196" y="85"/>
                    <a:pt x="207" y="85"/>
                  </a:cubicBezTo>
                  <a:cubicBezTo>
                    <a:pt x="196" y="85"/>
                    <a:pt x="186" y="85"/>
                    <a:pt x="175" y="85"/>
                  </a:cubicBezTo>
                  <a:cubicBezTo>
                    <a:pt x="105" y="99"/>
                    <a:pt x="35" y="64"/>
                    <a:pt x="0" y="1"/>
                  </a:cubicBezTo>
                  <a:cubicBezTo>
                    <a:pt x="35" y="64"/>
                    <a:pt x="105" y="99"/>
                    <a:pt x="175" y="8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0" name="Google Shape;7400;p53"/>
            <p:cNvSpPr/>
            <p:nvPr/>
          </p:nvSpPr>
          <p:spPr>
            <a:xfrm>
              <a:off x="2600147" y="1753618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1" name="Google Shape;7401;p53"/>
            <p:cNvSpPr/>
            <p:nvPr/>
          </p:nvSpPr>
          <p:spPr>
            <a:xfrm>
              <a:off x="2596250" y="175209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1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2" name="Google Shape;7402;p53"/>
            <p:cNvSpPr/>
            <p:nvPr/>
          </p:nvSpPr>
          <p:spPr>
            <a:xfrm>
              <a:off x="2599536" y="1753563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3" name="Google Shape;7403;p53"/>
            <p:cNvSpPr/>
            <p:nvPr/>
          </p:nvSpPr>
          <p:spPr>
            <a:xfrm>
              <a:off x="2595639" y="1751473"/>
              <a:ext cx="190" cy="163"/>
            </a:xfrm>
            <a:custGeom>
              <a:avLst/>
              <a:gdLst/>
              <a:ahLst/>
              <a:cxnLst/>
              <a:rect l="l" t="t" r="r" b="b"/>
              <a:pathLst>
                <a:path w="14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4" name="Google Shape;7404;p53"/>
            <p:cNvSpPr/>
            <p:nvPr/>
          </p:nvSpPr>
          <p:spPr>
            <a:xfrm>
              <a:off x="2595965" y="175175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5" name="Google Shape;7405;p53"/>
            <p:cNvSpPr/>
            <p:nvPr/>
          </p:nvSpPr>
          <p:spPr>
            <a:xfrm>
              <a:off x="2600812" y="17537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6" name="Google Shape;7406;p53"/>
            <p:cNvSpPr/>
            <p:nvPr/>
          </p:nvSpPr>
          <p:spPr>
            <a:xfrm>
              <a:off x="2578952" y="1755709"/>
              <a:ext cx="774" cy="2050"/>
            </a:xfrm>
            <a:custGeom>
              <a:avLst/>
              <a:gdLst/>
              <a:ahLst/>
              <a:cxnLst/>
              <a:rect l="l" t="t" r="r" b="b"/>
              <a:pathLst>
                <a:path w="57" h="151" extrusionOk="0">
                  <a:moveTo>
                    <a:pt x="53" y="144"/>
                  </a:moveTo>
                  <a:lnTo>
                    <a:pt x="56" y="151"/>
                  </a:lnTo>
                  <a:lnTo>
                    <a:pt x="53" y="144"/>
                  </a:lnTo>
                  <a:cubicBezTo>
                    <a:pt x="18" y="105"/>
                    <a:pt x="0" y="53"/>
                    <a:pt x="7" y="0"/>
                  </a:cubicBezTo>
                  <a:cubicBezTo>
                    <a:pt x="0" y="53"/>
                    <a:pt x="18" y="105"/>
                    <a:pt x="53" y="14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7" name="Google Shape;7407;p53"/>
            <p:cNvSpPr/>
            <p:nvPr/>
          </p:nvSpPr>
          <p:spPr>
            <a:xfrm>
              <a:off x="2556183" y="175485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11" y="0"/>
                  </a:lnTo>
                  <a:cubicBezTo>
                    <a:pt x="7" y="4"/>
                    <a:pt x="4" y="11"/>
                    <a:pt x="0" y="14"/>
                  </a:cubicBezTo>
                  <a:cubicBezTo>
                    <a:pt x="7" y="11"/>
                    <a:pt x="7" y="4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8" name="Google Shape;7408;p53"/>
            <p:cNvSpPr/>
            <p:nvPr/>
          </p:nvSpPr>
          <p:spPr>
            <a:xfrm>
              <a:off x="2556033" y="1755138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9" name="Google Shape;7409;p53"/>
            <p:cNvSpPr/>
            <p:nvPr/>
          </p:nvSpPr>
          <p:spPr>
            <a:xfrm>
              <a:off x="2589692" y="1751378"/>
              <a:ext cx="5716" cy="4100"/>
            </a:xfrm>
            <a:custGeom>
              <a:avLst/>
              <a:gdLst/>
              <a:ahLst/>
              <a:cxnLst/>
              <a:rect l="l" t="t" r="r" b="b"/>
              <a:pathLst>
                <a:path w="421" h="302" extrusionOk="0">
                  <a:moveTo>
                    <a:pt x="420" y="1"/>
                  </a:moveTo>
                  <a:cubicBezTo>
                    <a:pt x="350" y="1"/>
                    <a:pt x="140" y="179"/>
                    <a:pt x="0" y="302"/>
                  </a:cubicBezTo>
                  <a:cubicBezTo>
                    <a:pt x="144" y="179"/>
                    <a:pt x="354" y="1"/>
                    <a:pt x="4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0" name="Google Shape;7410;p53"/>
            <p:cNvSpPr/>
            <p:nvPr/>
          </p:nvSpPr>
          <p:spPr>
            <a:xfrm>
              <a:off x="2552951" y="175527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1" name="Google Shape;7411;p53"/>
            <p:cNvSpPr/>
            <p:nvPr/>
          </p:nvSpPr>
          <p:spPr>
            <a:xfrm>
              <a:off x="2551566" y="1754419"/>
              <a:ext cx="1398" cy="828"/>
            </a:xfrm>
            <a:custGeom>
              <a:avLst/>
              <a:gdLst/>
              <a:ahLst/>
              <a:cxnLst/>
              <a:rect l="l" t="t" r="r" b="b"/>
              <a:pathLst>
                <a:path w="103" h="61" extrusionOk="0">
                  <a:moveTo>
                    <a:pt x="1" y="1"/>
                  </a:moveTo>
                  <a:cubicBezTo>
                    <a:pt x="17" y="11"/>
                    <a:pt x="34" y="22"/>
                    <a:pt x="52" y="32"/>
                  </a:cubicBezTo>
                  <a:lnTo>
                    <a:pt x="52" y="32"/>
                  </a:lnTo>
                  <a:cubicBezTo>
                    <a:pt x="38" y="24"/>
                    <a:pt x="26" y="15"/>
                    <a:pt x="15" y="8"/>
                  </a:cubicBezTo>
                  <a:lnTo>
                    <a:pt x="1" y="1"/>
                  </a:lnTo>
                  <a:close/>
                  <a:moveTo>
                    <a:pt x="52" y="32"/>
                  </a:moveTo>
                  <a:lnTo>
                    <a:pt x="52" y="32"/>
                  </a:lnTo>
                  <a:cubicBezTo>
                    <a:pt x="68" y="43"/>
                    <a:pt x="85" y="52"/>
                    <a:pt x="102" y="60"/>
                  </a:cubicBezTo>
                  <a:cubicBezTo>
                    <a:pt x="85" y="52"/>
                    <a:pt x="68" y="42"/>
                    <a:pt x="5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2" name="Google Shape;7412;p53"/>
            <p:cNvSpPr/>
            <p:nvPr/>
          </p:nvSpPr>
          <p:spPr>
            <a:xfrm>
              <a:off x="2502185" y="1754514"/>
              <a:ext cx="119265" cy="108620"/>
            </a:xfrm>
            <a:custGeom>
              <a:avLst/>
              <a:gdLst/>
              <a:ahLst/>
              <a:cxnLst/>
              <a:rect l="l" t="t" r="r" b="b"/>
              <a:pathLst>
                <a:path w="8784" h="8000" extrusionOk="0">
                  <a:moveTo>
                    <a:pt x="7405" y="1"/>
                  </a:moveTo>
                  <a:lnTo>
                    <a:pt x="7398" y="8"/>
                  </a:lnTo>
                  <a:cubicBezTo>
                    <a:pt x="7387" y="18"/>
                    <a:pt x="7380" y="25"/>
                    <a:pt x="7370" y="32"/>
                  </a:cubicBezTo>
                  <a:lnTo>
                    <a:pt x="7352" y="43"/>
                  </a:lnTo>
                  <a:lnTo>
                    <a:pt x="7331" y="60"/>
                  </a:lnTo>
                  <a:lnTo>
                    <a:pt x="7310" y="71"/>
                  </a:lnTo>
                  <a:lnTo>
                    <a:pt x="7289" y="85"/>
                  </a:lnTo>
                  <a:lnTo>
                    <a:pt x="7268" y="95"/>
                  </a:lnTo>
                  <a:lnTo>
                    <a:pt x="7247" y="106"/>
                  </a:lnTo>
                  <a:lnTo>
                    <a:pt x="7226" y="113"/>
                  </a:lnTo>
                  <a:lnTo>
                    <a:pt x="7205" y="123"/>
                  </a:lnTo>
                  <a:lnTo>
                    <a:pt x="7184" y="130"/>
                  </a:lnTo>
                  <a:lnTo>
                    <a:pt x="7163" y="137"/>
                  </a:lnTo>
                  <a:lnTo>
                    <a:pt x="7142" y="144"/>
                  </a:lnTo>
                  <a:lnTo>
                    <a:pt x="7121" y="151"/>
                  </a:lnTo>
                  <a:lnTo>
                    <a:pt x="7100" y="155"/>
                  </a:lnTo>
                  <a:lnTo>
                    <a:pt x="7079" y="158"/>
                  </a:lnTo>
                  <a:lnTo>
                    <a:pt x="7058" y="162"/>
                  </a:lnTo>
                  <a:lnTo>
                    <a:pt x="7037" y="165"/>
                  </a:lnTo>
                  <a:lnTo>
                    <a:pt x="7020" y="169"/>
                  </a:lnTo>
                  <a:lnTo>
                    <a:pt x="6908" y="169"/>
                  </a:lnTo>
                  <a:lnTo>
                    <a:pt x="6890" y="165"/>
                  </a:lnTo>
                  <a:lnTo>
                    <a:pt x="6876" y="165"/>
                  </a:lnTo>
                  <a:lnTo>
                    <a:pt x="6855" y="162"/>
                  </a:lnTo>
                  <a:lnTo>
                    <a:pt x="6844" y="158"/>
                  </a:lnTo>
                  <a:cubicBezTo>
                    <a:pt x="6834" y="158"/>
                    <a:pt x="6827" y="155"/>
                    <a:pt x="6816" y="151"/>
                  </a:cubicBezTo>
                  <a:cubicBezTo>
                    <a:pt x="6799" y="145"/>
                    <a:pt x="6777" y="142"/>
                    <a:pt x="6750" y="142"/>
                  </a:cubicBezTo>
                  <a:cubicBezTo>
                    <a:pt x="6595" y="142"/>
                    <a:pt x="6302" y="241"/>
                    <a:pt x="6141" y="361"/>
                  </a:cubicBezTo>
                  <a:cubicBezTo>
                    <a:pt x="6060" y="421"/>
                    <a:pt x="5962" y="445"/>
                    <a:pt x="5843" y="470"/>
                  </a:cubicBezTo>
                  <a:cubicBezTo>
                    <a:pt x="5812" y="491"/>
                    <a:pt x="5780" y="501"/>
                    <a:pt x="5745" y="508"/>
                  </a:cubicBezTo>
                  <a:cubicBezTo>
                    <a:pt x="5707" y="508"/>
                    <a:pt x="5675" y="529"/>
                    <a:pt x="5661" y="561"/>
                  </a:cubicBezTo>
                  <a:cubicBezTo>
                    <a:pt x="5654" y="603"/>
                    <a:pt x="5668" y="645"/>
                    <a:pt x="5703" y="673"/>
                  </a:cubicBezTo>
                  <a:cubicBezTo>
                    <a:pt x="5777" y="743"/>
                    <a:pt x="5819" y="844"/>
                    <a:pt x="5812" y="953"/>
                  </a:cubicBezTo>
                  <a:cubicBezTo>
                    <a:pt x="5812" y="977"/>
                    <a:pt x="5812" y="1005"/>
                    <a:pt x="5819" y="1033"/>
                  </a:cubicBezTo>
                  <a:cubicBezTo>
                    <a:pt x="5833" y="1149"/>
                    <a:pt x="5742" y="1243"/>
                    <a:pt x="5654" y="1338"/>
                  </a:cubicBezTo>
                  <a:cubicBezTo>
                    <a:pt x="5616" y="1376"/>
                    <a:pt x="5581" y="1422"/>
                    <a:pt x="5549" y="1464"/>
                  </a:cubicBezTo>
                  <a:cubicBezTo>
                    <a:pt x="5518" y="1513"/>
                    <a:pt x="5525" y="1576"/>
                    <a:pt x="5532" y="1646"/>
                  </a:cubicBezTo>
                  <a:cubicBezTo>
                    <a:pt x="5542" y="1730"/>
                    <a:pt x="5535" y="1814"/>
                    <a:pt x="5507" y="1895"/>
                  </a:cubicBezTo>
                  <a:cubicBezTo>
                    <a:pt x="5476" y="1960"/>
                    <a:pt x="5410" y="1982"/>
                    <a:pt x="5328" y="1982"/>
                  </a:cubicBezTo>
                  <a:cubicBezTo>
                    <a:pt x="5245" y="1982"/>
                    <a:pt x="5146" y="1960"/>
                    <a:pt x="5052" y="1937"/>
                  </a:cubicBezTo>
                  <a:cubicBezTo>
                    <a:pt x="5000" y="1923"/>
                    <a:pt x="4947" y="1912"/>
                    <a:pt x="4895" y="1905"/>
                  </a:cubicBezTo>
                  <a:lnTo>
                    <a:pt x="4895" y="1905"/>
                  </a:lnTo>
                  <a:cubicBezTo>
                    <a:pt x="4916" y="1944"/>
                    <a:pt x="4944" y="1979"/>
                    <a:pt x="4968" y="2014"/>
                  </a:cubicBezTo>
                  <a:cubicBezTo>
                    <a:pt x="5017" y="2080"/>
                    <a:pt x="5066" y="2140"/>
                    <a:pt x="5073" y="2196"/>
                  </a:cubicBezTo>
                  <a:cubicBezTo>
                    <a:pt x="5080" y="2241"/>
                    <a:pt x="5066" y="2287"/>
                    <a:pt x="5038" y="2322"/>
                  </a:cubicBezTo>
                  <a:cubicBezTo>
                    <a:pt x="4965" y="2413"/>
                    <a:pt x="4804" y="2486"/>
                    <a:pt x="4642" y="2497"/>
                  </a:cubicBezTo>
                  <a:cubicBezTo>
                    <a:pt x="4548" y="2504"/>
                    <a:pt x="4537" y="2602"/>
                    <a:pt x="4530" y="2861"/>
                  </a:cubicBezTo>
                  <a:cubicBezTo>
                    <a:pt x="4530" y="2910"/>
                    <a:pt x="4527" y="2962"/>
                    <a:pt x="4523" y="3018"/>
                  </a:cubicBezTo>
                  <a:cubicBezTo>
                    <a:pt x="4513" y="3267"/>
                    <a:pt x="4401" y="3372"/>
                    <a:pt x="4310" y="3386"/>
                  </a:cubicBezTo>
                  <a:cubicBezTo>
                    <a:pt x="4302" y="3387"/>
                    <a:pt x="4295" y="3387"/>
                    <a:pt x="4287" y="3387"/>
                  </a:cubicBezTo>
                  <a:cubicBezTo>
                    <a:pt x="4222" y="3387"/>
                    <a:pt x="4161" y="3347"/>
                    <a:pt x="4142" y="3284"/>
                  </a:cubicBezTo>
                  <a:cubicBezTo>
                    <a:pt x="4131" y="3277"/>
                    <a:pt x="4117" y="3277"/>
                    <a:pt x="4107" y="3277"/>
                  </a:cubicBezTo>
                  <a:cubicBezTo>
                    <a:pt x="4019" y="3277"/>
                    <a:pt x="3932" y="3298"/>
                    <a:pt x="3855" y="3333"/>
                  </a:cubicBezTo>
                  <a:cubicBezTo>
                    <a:pt x="3729" y="3386"/>
                    <a:pt x="3687" y="3438"/>
                    <a:pt x="3683" y="3449"/>
                  </a:cubicBezTo>
                  <a:cubicBezTo>
                    <a:pt x="3687" y="3498"/>
                    <a:pt x="3669" y="3543"/>
                    <a:pt x="3634" y="3575"/>
                  </a:cubicBezTo>
                  <a:cubicBezTo>
                    <a:pt x="3589" y="3615"/>
                    <a:pt x="3527" y="3627"/>
                    <a:pt x="3452" y="3627"/>
                  </a:cubicBezTo>
                  <a:cubicBezTo>
                    <a:pt x="3404" y="3627"/>
                    <a:pt x="3351" y="3622"/>
                    <a:pt x="3295" y="3617"/>
                  </a:cubicBezTo>
                  <a:lnTo>
                    <a:pt x="3242" y="3613"/>
                  </a:lnTo>
                  <a:cubicBezTo>
                    <a:pt x="3236" y="3613"/>
                    <a:pt x="3230" y="3613"/>
                    <a:pt x="3223" y="3613"/>
                  </a:cubicBezTo>
                  <a:cubicBezTo>
                    <a:pt x="3069" y="3613"/>
                    <a:pt x="2888" y="3770"/>
                    <a:pt x="2875" y="3820"/>
                  </a:cubicBezTo>
                  <a:cubicBezTo>
                    <a:pt x="2878" y="3894"/>
                    <a:pt x="2885" y="3967"/>
                    <a:pt x="2899" y="4037"/>
                  </a:cubicBezTo>
                  <a:cubicBezTo>
                    <a:pt x="2931" y="4240"/>
                    <a:pt x="2945" y="4335"/>
                    <a:pt x="2917" y="4384"/>
                  </a:cubicBezTo>
                  <a:cubicBezTo>
                    <a:pt x="2903" y="4412"/>
                    <a:pt x="2875" y="4471"/>
                    <a:pt x="1891" y="4604"/>
                  </a:cubicBezTo>
                  <a:lnTo>
                    <a:pt x="1852" y="4611"/>
                  </a:lnTo>
                  <a:lnTo>
                    <a:pt x="1849" y="4611"/>
                  </a:lnTo>
                  <a:lnTo>
                    <a:pt x="1803" y="4615"/>
                  </a:lnTo>
                  <a:cubicBezTo>
                    <a:pt x="1614" y="4639"/>
                    <a:pt x="1289" y="4681"/>
                    <a:pt x="1023" y="4695"/>
                  </a:cubicBezTo>
                  <a:lnTo>
                    <a:pt x="1019" y="4695"/>
                  </a:lnTo>
                  <a:cubicBezTo>
                    <a:pt x="970" y="4699"/>
                    <a:pt x="925" y="4702"/>
                    <a:pt x="883" y="4702"/>
                  </a:cubicBezTo>
                  <a:lnTo>
                    <a:pt x="722" y="4702"/>
                  </a:lnTo>
                  <a:lnTo>
                    <a:pt x="690" y="4699"/>
                  </a:lnTo>
                  <a:lnTo>
                    <a:pt x="683" y="4699"/>
                  </a:lnTo>
                  <a:lnTo>
                    <a:pt x="652" y="4695"/>
                  </a:lnTo>
                  <a:lnTo>
                    <a:pt x="564" y="4681"/>
                  </a:lnTo>
                  <a:lnTo>
                    <a:pt x="539" y="4674"/>
                  </a:lnTo>
                  <a:lnTo>
                    <a:pt x="469" y="4667"/>
                  </a:lnTo>
                  <a:lnTo>
                    <a:pt x="441" y="4660"/>
                  </a:lnTo>
                  <a:lnTo>
                    <a:pt x="368" y="4653"/>
                  </a:lnTo>
                  <a:lnTo>
                    <a:pt x="347" y="4650"/>
                  </a:lnTo>
                  <a:lnTo>
                    <a:pt x="249" y="4636"/>
                  </a:lnTo>
                  <a:lnTo>
                    <a:pt x="238" y="4636"/>
                  </a:lnTo>
                  <a:lnTo>
                    <a:pt x="151" y="4629"/>
                  </a:lnTo>
                  <a:lnTo>
                    <a:pt x="123" y="4625"/>
                  </a:lnTo>
                  <a:lnTo>
                    <a:pt x="53" y="4618"/>
                  </a:lnTo>
                  <a:lnTo>
                    <a:pt x="0" y="4618"/>
                  </a:lnTo>
                  <a:cubicBezTo>
                    <a:pt x="39" y="4653"/>
                    <a:pt x="77" y="4695"/>
                    <a:pt x="105" y="4741"/>
                  </a:cubicBezTo>
                  <a:lnTo>
                    <a:pt x="109" y="4744"/>
                  </a:lnTo>
                  <a:cubicBezTo>
                    <a:pt x="116" y="4751"/>
                    <a:pt x="119" y="4762"/>
                    <a:pt x="126" y="4772"/>
                  </a:cubicBezTo>
                  <a:lnTo>
                    <a:pt x="130" y="4779"/>
                  </a:lnTo>
                  <a:cubicBezTo>
                    <a:pt x="133" y="4790"/>
                    <a:pt x="140" y="4800"/>
                    <a:pt x="144" y="4811"/>
                  </a:cubicBezTo>
                  <a:cubicBezTo>
                    <a:pt x="172" y="4877"/>
                    <a:pt x="214" y="4940"/>
                    <a:pt x="266" y="4989"/>
                  </a:cubicBezTo>
                  <a:cubicBezTo>
                    <a:pt x="291" y="5014"/>
                    <a:pt x="315" y="5038"/>
                    <a:pt x="343" y="5059"/>
                  </a:cubicBezTo>
                  <a:cubicBezTo>
                    <a:pt x="357" y="5070"/>
                    <a:pt x="371" y="5080"/>
                    <a:pt x="389" y="5094"/>
                  </a:cubicBezTo>
                  <a:cubicBezTo>
                    <a:pt x="406" y="5105"/>
                    <a:pt x="424" y="5119"/>
                    <a:pt x="441" y="5129"/>
                  </a:cubicBezTo>
                  <a:cubicBezTo>
                    <a:pt x="515" y="5175"/>
                    <a:pt x="588" y="5217"/>
                    <a:pt x="669" y="5248"/>
                  </a:cubicBezTo>
                  <a:cubicBezTo>
                    <a:pt x="690" y="5259"/>
                    <a:pt x="711" y="5269"/>
                    <a:pt x="732" y="5283"/>
                  </a:cubicBezTo>
                  <a:cubicBezTo>
                    <a:pt x="862" y="5378"/>
                    <a:pt x="879" y="5560"/>
                    <a:pt x="893" y="5693"/>
                  </a:cubicBezTo>
                  <a:lnTo>
                    <a:pt x="897" y="5717"/>
                  </a:lnTo>
                  <a:lnTo>
                    <a:pt x="897" y="5738"/>
                  </a:lnTo>
                  <a:cubicBezTo>
                    <a:pt x="897" y="5749"/>
                    <a:pt x="897" y="5756"/>
                    <a:pt x="900" y="5763"/>
                  </a:cubicBezTo>
                  <a:lnTo>
                    <a:pt x="900" y="5766"/>
                  </a:lnTo>
                  <a:cubicBezTo>
                    <a:pt x="900" y="5773"/>
                    <a:pt x="900" y="5780"/>
                    <a:pt x="904" y="5787"/>
                  </a:cubicBezTo>
                  <a:lnTo>
                    <a:pt x="904" y="5794"/>
                  </a:lnTo>
                  <a:cubicBezTo>
                    <a:pt x="904" y="5798"/>
                    <a:pt x="904" y="5805"/>
                    <a:pt x="907" y="5808"/>
                  </a:cubicBezTo>
                  <a:lnTo>
                    <a:pt x="907" y="5815"/>
                  </a:lnTo>
                  <a:cubicBezTo>
                    <a:pt x="907" y="5819"/>
                    <a:pt x="907" y="5822"/>
                    <a:pt x="911" y="5826"/>
                  </a:cubicBezTo>
                  <a:lnTo>
                    <a:pt x="911" y="5833"/>
                  </a:lnTo>
                  <a:cubicBezTo>
                    <a:pt x="911" y="5836"/>
                    <a:pt x="911" y="5840"/>
                    <a:pt x="914" y="5840"/>
                  </a:cubicBezTo>
                  <a:cubicBezTo>
                    <a:pt x="914" y="5843"/>
                    <a:pt x="918" y="5843"/>
                    <a:pt x="918" y="5847"/>
                  </a:cubicBezTo>
                  <a:cubicBezTo>
                    <a:pt x="918" y="5847"/>
                    <a:pt x="918" y="5847"/>
                    <a:pt x="921" y="5850"/>
                  </a:cubicBezTo>
                  <a:cubicBezTo>
                    <a:pt x="928" y="5854"/>
                    <a:pt x="939" y="5857"/>
                    <a:pt x="949" y="5861"/>
                  </a:cubicBezTo>
                  <a:cubicBezTo>
                    <a:pt x="1033" y="5906"/>
                    <a:pt x="1117" y="6026"/>
                    <a:pt x="1149" y="6138"/>
                  </a:cubicBezTo>
                  <a:cubicBezTo>
                    <a:pt x="1152" y="6148"/>
                    <a:pt x="1156" y="6159"/>
                    <a:pt x="1159" y="6166"/>
                  </a:cubicBezTo>
                  <a:cubicBezTo>
                    <a:pt x="1159" y="6176"/>
                    <a:pt x="1159" y="6176"/>
                    <a:pt x="1159" y="6183"/>
                  </a:cubicBezTo>
                  <a:cubicBezTo>
                    <a:pt x="1163" y="6187"/>
                    <a:pt x="1159" y="6190"/>
                    <a:pt x="1163" y="6197"/>
                  </a:cubicBezTo>
                  <a:cubicBezTo>
                    <a:pt x="1166" y="6201"/>
                    <a:pt x="1163" y="6211"/>
                    <a:pt x="1163" y="6218"/>
                  </a:cubicBezTo>
                  <a:lnTo>
                    <a:pt x="1163" y="6225"/>
                  </a:lnTo>
                  <a:cubicBezTo>
                    <a:pt x="1163" y="6232"/>
                    <a:pt x="1163" y="6243"/>
                    <a:pt x="1163" y="6253"/>
                  </a:cubicBezTo>
                  <a:cubicBezTo>
                    <a:pt x="1159" y="6323"/>
                    <a:pt x="1103" y="6379"/>
                    <a:pt x="1033" y="6386"/>
                  </a:cubicBezTo>
                  <a:cubicBezTo>
                    <a:pt x="865" y="6404"/>
                    <a:pt x="704" y="6453"/>
                    <a:pt x="557" y="6530"/>
                  </a:cubicBezTo>
                  <a:cubicBezTo>
                    <a:pt x="420" y="6596"/>
                    <a:pt x="228" y="6785"/>
                    <a:pt x="245" y="7027"/>
                  </a:cubicBezTo>
                  <a:cubicBezTo>
                    <a:pt x="245" y="7037"/>
                    <a:pt x="245" y="7048"/>
                    <a:pt x="249" y="7062"/>
                  </a:cubicBezTo>
                  <a:lnTo>
                    <a:pt x="249" y="7065"/>
                  </a:lnTo>
                  <a:lnTo>
                    <a:pt x="252" y="7104"/>
                  </a:lnTo>
                  <a:cubicBezTo>
                    <a:pt x="302" y="7105"/>
                    <a:pt x="351" y="7105"/>
                    <a:pt x="398" y="7105"/>
                  </a:cubicBezTo>
                  <a:cubicBezTo>
                    <a:pt x="805" y="7105"/>
                    <a:pt x="1116" y="7079"/>
                    <a:pt x="1170" y="7048"/>
                  </a:cubicBezTo>
                  <a:cubicBezTo>
                    <a:pt x="1239" y="6973"/>
                    <a:pt x="1364" y="6922"/>
                    <a:pt x="1486" y="6922"/>
                  </a:cubicBezTo>
                  <a:cubicBezTo>
                    <a:pt x="1553" y="6922"/>
                    <a:pt x="1619" y="6938"/>
                    <a:pt x="1674" y="6974"/>
                  </a:cubicBezTo>
                  <a:cubicBezTo>
                    <a:pt x="1726" y="7010"/>
                    <a:pt x="1897" y="7036"/>
                    <a:pt x="2075" y="7036"/>
                  </a:cubicBezTo>
                  <a:cubicBezTo>
                    <a:pt x="2231" y="7036"/>
                    <a:pt x="2393" y="7016"/>
                    <a:pt x="2486" y="6964"/>
                  </a:cubicBezTo>
                  <a:cubicBezTo>
                    <a:pt x="2556" y="6922"/>
                    <a:pt x="2640" y="6897"/>
                    <a:pt x="2724" y="6894"/>
                  </a:cubicBezTo>
                  <a:cubicBezTo>
                    <a:pt x="2777" y="6894"/>
                    <a:pt x="2829" y="6908"/>
                    <a:pt x="2878" y="6932"/>
                  </a:cubicBezTo>
                  <a:cubicBezTo>
                    <a:pt x="2959" y="6974"/>
                    <a:pt x="3011" y="7055"/>
                    <a:pt x="3018" y="7149"/>
                  </a:cubicBezTo>
                  <a:cubicBezTo>
                    <a:pt x="3022" y="7212"/>
                    <a:pt x="3067" y="7251"/>
                    <a:pt x="3155" y="7324"/>
                  </a:cubicBezTo>
                  <a:cubicBezTo>
                    <a:pt x="3183" y="7345"/>
                    <a:pt x="3218" y="7373"/>
                    <a:pt x="3249" y="7401"/>
                  </a:cubicBezTo>
                  <a:cubicBezTo>
                    <a:pt x="3337" y="7485"/>
                    <a:pt x="3340" y="7576"/>
                    <a:pt x="3344" y="7650"/>
                  </a:cubicBezTo>
                  <a:cubicBezTo>
                    <a:pt x="3340" y="7699"/>
                    <a:pt x="3351" y="7744"/>
                    <a:pt x="3372" y="7790"/>
                  </a:cubicBezTo>
                  <a:cubicBezTo>
                    <a:pt x="3407" y="7842"/>
                    <a:pt x="3459" y="7860"/>
                    <a:pt x="3571" y="7891"/>
                  </a:cubicBezTo>
                  <a:cubicBezTo>
                    <a:pt x="3659" y="7909"/>
                    <a:pt x="3739" y="7937"/>
                    <a:pt x="3820" y="7972"/>
                  </a:cubicBezTo>
                  <a:cubicBezTo>
                    <a:pt x="3837" y="7983"/>
                    <a:pt x="3855" y="7990"/>
                    <a:pt x="3869" y="8000"/>
                  </a:cubicBezTo>
                  <a:lnTo>
                    <a:pt x="3872" y="7997"/>
                  </a:lnTo>
                  <a:cubicBezTo>
                    <a:pt x="3886" y="7979"/>
                    <a:pt x="3897" y="7965"/>
                    <a:pt x="3907" y="7947"/>
                  </a:cubicBezTo>
                  <a:lnTo>
                    <a:pt x="3911" y="7944"/>
                  </a:lnTo>
                  <a:cubicBezTo>
                    <a:pt x="3921" y="7926"/>
                    <a:pt x="3932" y="7905"/>
                    <a:pt x="3942" y="7888"/>
                  </a:cubicBezTo>
                  <a:cubicBezTo>
                    <a:pt x="4012" y="7770"/>
                    <a:pt x="4092" y="7628"/>
                    <a:pt x="4311" y="7628"/>
                  </a:cubicBezTo>
                  <a:cubicBezTo>
                    <a:pt x="4346" y="7628"/>
                    <a:pt x="4384" y="7632"/>
                    <a:pt x="4425" y="7639"/>
                  </a:cubicBezTo>
                  <a:cubicBezTo>
                    <a:pt x="4491" y="7651"/>
                    <a:pt x="4542" y="7655"/>
                    <a:pt x="4582" y="7655"/>
                  </a:cubicBezTo>
                  <a:cubicBezTo>
                    <a:pt x="4652" y="7655"/>
                    <a:pt x="4692" y="7642"/>
                    <a:pt x="4730" y="7629"/>
                  </a:cubicBezTo>
                  <a:cubicBezTo>
                    <a:pt x="4769" y="7614"/>
                    <a:pt x="4811" y="7607"/>
                    <a:pt x="4853" y="7607"/>
                  </a:cubicBezTo>
                  <a:cubicBezTo>
                    <a:pt x="4871" y="7607"/>
                    <a:pt x="4890" y="7608"/>
                    <a:pt x="4909" y="7611"/>
                  </a:cubicBezTo>
                  <a:cubicBezTo>
                    <a:pt x="4919" y="7611"/>
                    <a:pt x="4933" y="7615"/>
                    <a:pt x="4944" y="7615"/>
                  </a:cubicBezTo>
                  <a:cubicBezTo>
                    <a:pt x="5001" y="7627"/>
                    <a:pt x="5049" y="7633"/>
                    <a:pt x="5089" y="7633"/>
                  </a:cubicBezTo>
                  <a:cubicBezTo>
                    <a:pt x="5194" y="7633"/>
                    <a:pt x="5246" y="7594"/>
                    <a:pt x="5287" y="7538"/>
                  </a:cubicBezTo>
                  <a:cubicBezTo>
                    <a:pt x="5339" y="7457"/>
                    <a:pt x="5210" y="7233"/>
                    <a:pt x="5101" y="7121"/>
                  </a:cubicBezTo>
                  <a:cubicBezTo>
                    <a:pt x="5014" y="7034"/>
                    <a:pt x="4863" y="6827"/>
                    <a:pt x="4842" y="6603"/>
                  </a:cubicBezTo>
                  <a:cubicBezTo>
                    <a:pt x="4839" y="6572"/>
                    <a:pt x="4839" y="6540"/>
                    <a:pt x="4842" y="6509"/>
                  </a:cubicBezTo>
                  <a:cubicBezTo>
                    <a:pt x="4849" y="6442"/>
                    <a:pt x="4800" y="6411"/>
                    <a:pt x="4695" y="6351"/>
                  </a:cubicBezTo>
                  <a:cubicBezTo>
                    <a:pt x="4607" y="6306"/>
                    <a:pt x="4495" y="6246"/>
                    <a:pt x="4495" y="6124"/>
                  </a:cubicBezTo>
                  <a:cubicBezTo>
                    <a:pt x="4495" y="5973"/>
                    <a:pt x="4681" y="5784"/>
                    <a:pt x="4881" y="5605"/>
                  </a:cubicBezTo>
                  <a:cubicBezTo>
                    <a:pt x="4902" y="5584"/>
                    <a:pt x="4916" y="5570"/>
                    <a:pt x="4926" y="5560"/>
                  </a:cubicBezTo>
                  <a:cubicBezTo>
                    <a:pt x="4948" y="5538"/>
                    <a:pt x="4975" y="5529"/>
                    <a:pt x="5004" y="5529"/>
                  </a:cubicBezTo>
                  <a:cubicBezTo>
                    <a:pt x="5053" y="5529"/>
                    <a:pt x="5111" y="5553"/>
                    <a:pt x="5168" y="5577"/>
                  </a:cubicBezTo>
                  <a:cubicBezTo>
                    <a:pt x="5208" y="5593"/>
                    <a:pt x="5281" y="5625"/>
                    <a:pt x="5312" y="5625"/>
                  </a:cubicBezTo>
                  <a:cubicBezTo>
                    <a:pt x="5316" y="5625"/>
                    <a:pt x="5319" y="5624"/>
                    <a:pt x="5322" y="5623"/>
                  </a:cubicBezTo>
                  <a:cubicBezTo>
                    <a:pt x="5365" y="5539"/>
                    <a:pt x="5437" y="5515"/>
                    <a:pt x="5512" y="5515"/>
                  </a:cubicBezTo>
                  <a:cubicBezTo>
                    <a:pt x="5578" y="5515"/>
                    <a:pt x="5646" y="5533"/>
                    <a:pt x="5700" y="5546"/>
                  </a:cubicBezTo>
                  <a:cubicBezTo>
                    <a:pt x="5721" y="5553"/>
                    <a:pt x="5742" y="5560"/>
                    <a:pt x="5763" y="5563"/>
                  </a:cubicBezTo>
                  <a:cubicBezTo>
                    <a:pt x="5766" y="5563"/>
                    <a:pt x="5773" y="5563"/>
                    <a:pt x="5777" y="5560"/>
                  </a:cubicBezTo>
                  <a:lnTo>
                    <a:pt x="5787" y="5556"/>
                  </a:lnTo>
                  <a:cubicBezTo>
                    <a:pt x="5794" y="5553"/>
                    <a:pt x="5801" y="5549"/>
                    <a:pt x="5805" y="5546"/>
                  </a:cubicBezTo>
                  <a:cubicBezTo>
                    <a:pt x="5903" y="5458"/>
                    <a:pt x="5969" y="5339"/>
                    <a:pt x="5987" y="5210"/>
                  </a:cubicBezTo>
                  <a:cubicBezTo>
                    <a:pt x="6008" y="5035"/>
                    <a:pt x="6207" y="4975"/>
                    <a:pt x="6347" y="4930"/>
                  </a:cubicBezTo>
                  <a:cubicBezTo>
                    <a:pt x="6386" y="4919"/>
                    <a:pt x="6424" y="4905"/>
                    <a:pt x="6459" y="4888"/>
                  </a:cubicBezTo>
                  <a:cubicBezTo>
                    <a:pt x="6473" y="4863"/>
                    <a:pt x="6487" y="4839"/>
                    <a:pt x="6494" y="4814"/>
                  </a:cubicBezTo>
                  <a:cubicBezTo>
                    <a:pt x="6526" y="4737"/>
                    <a:pt x="6564" y="4615"/>
                    <a:pt x="6589" y="4538"/>
                  </a:cubicBezTo>
                  <a:cubicBezTo>
                    <a:pt x="6620" y="4440"/>
                    <a:pt x="6641" y="4377"/>
                    <a:pt x="6655" y="4338"/>
                  </a:cubicBezTo>
                  <a:lnTo>
                    <a:pt x="6662" y="4321"/>
                  </a:lnTo>
                  <a:cubicBezTo>
                    <a:pt x="6694" y="4265"/>
                    <a:pt x="6757" y="4247"/>
                    <a:pt x="6820" y="4233"/>
                  </a:cubicBezTo>
                  <a:cubicBezTo>
                    <a:pt x="6932" y="4205"/>
                    <a:pt x="6981" y="4184"/>
                    <a:pt x="6981" y="4093"/>
                  </a:cubicBezTo>
                  <a:cubicBezTo>
                    <a:pt x="6981" y="3816"/>
                    <a:pt x="7139" y="3750"/>
                    <a:pt x="7296" y="3725"/>
                  </a:cubicBezTo>
                  <a:cubicBezTo>
                    <a:pt x="7331" y="3718"/>
                    <a:pt x="7338" y="3638"/>
                    <a:pt x="7338" y="3526"/>
                  </a:cubicBezTo>
                  <a:cubicBezTo>
                    <a:pt x="7338" y="3473"/>
                    <a:pt x="7342" y="3424"/>
                    <a:pt x="7349" y="3372"/>
                  </a:cubicBezTo>
                  <a:cubicBezTo>
                    <a:pt x="7370" y="3183"/>
                    <a:pt x="7471" y="2959"/>
                    <a:pt x="7678" y="2906"/>
                  </a:cubicBezTo>
                  <a:lnTo>
                    <a:pt x="7685" y="2903"/>
                  </a:lnTo>
                  <a:cubicBezTo>
                    <a:pt x="7671" y="2882"/>
                    <a:pt x="7653" y="2861"/>
                    <a:pt x="7632" y="2847"/>
                  </a:cubicBezTo>
                  <a:cubicBezTo>
                    <a:pt x="7590" y="2813"/>
                    <a:pt x="7538" y="2795"/>
                    <a:pt x="7484" y="2795"/>
                  </a:cubicBezTo>
                  <a:cubicBezTo>
                    <a:pt x="7472" y="2795"/>
                    <a:pt x="7459" y="2796"/>
                    <a:pt x="7447" y="2798"/>
                  </a:cubicBezTo>
                  <a:cubicBezTo>
                    <a:pt x="7434" y="2801"/>
                    <a:pt x="7422" y="2802"/>
                    <a:pt x="7410" y="2802"/>
                  </a:cubicBezTo>
                  <a:cubicBezTo>
                    <a:pt x="7202" y="2802"/>
                    <a:pt x="7087" y="2394"/>
                    <a:pt x="7051" y="2245"/>
                  </a:cubicBezTo>
                  <a:lnTo>
                    <a:pt x="7048" y="2231"/>
                  </a:lnTo>
                  <a:lnTo>
                    <a:pt x="7048" y="2220"/>
                  </a:lnTo>
                  <a:lnTo>
                    <a:pt x="7048" y="2213"/>
                  </a:lnTo>
                  <a:cubicBezTo>
                    <a:pt x="7055" y="2000"/>
                    <a:pt x="7030" y="1783"/>
                    <a:pt x="6992" y="1754"/>
                  </a:cubicBezTo>
                  <a:cubicBezTo>
                    <a:pt x="6932" y="1716"/>
                    <a:pt x="6908" y="1646"/>
                    <a:pt x="6932" y="1579"/>
                  </a:cubicBezTo>
                  <a:cubicBezTo>
                    <a:pt x="6964" y="1457"/>
                    <a:pt x="7114" y="1327"/>
                    <a:pt x="7307" y="1327"/>
                  </a:cubicBezTo>
                  <a:cubicBezTo>
                    <a:pt x="7415" y="1327"/>
                    <a:pt x="7555" y="1376"/>
                    <a:pt x="7688" y="1422"/>
                  </a:cubicBezTo>
                  <a:cubicBezTo>
                    <a:pt x="7803" y="1459"/>
                    <a:pt x="7941" y="1507"/>
                    <a:pt x="8026" y="1507"/>
                  </a:cubicBezTo>
                  <a:cubicBezTo>
                    <a:pt x="8052" y="1507"/>
                    <a:pt x="8073" y="1503"/>
                    <a:pt x="8087" y="1492"/>
                  </a:cubicBezTo>
                  <a:cubicBezTo>
                    <a:pt x="8196" y="1415"/>
                    <a:pt x="8364" y="1362"/>
                    <a:pt x="8497" y="1317"/>
                  </a:cubicBezTo>
                  <a:cubicBezTo>
                    <a:pt x="8546" y="1303"/>
                    <a:pt x="8591" y="1289"/>
                    <a:pt x="8637" y="1268"/>
                  </a:cubicBezTo>
                  <a:cubicBezTo>
                    <a:pt x="8661" y="1264"/>
                    <a:pt x="8714" y="1187"/>
                    <a:pt x="8784" y="1023"/>
                  </a:cubicBezTo>
                  <a:lnTo>
                    <a:pt x="8745" y="998"/>
                  </a:lnTo>
                  <a:lnTo>
                    <a:pt x="8735" y="991"/>
                  </a:lnTo>
                  <a:lnTo>
                    <a:pt x="8696" y="974"/>
                  </a:lnTo>
                  <a:lnTo>
                    <a:pt x="8679" y="963"/>
                  </a:lnTo>
                  <a:lnTo>
                    <a:pt x="8647" y="946"/>
                  </a:lnTo>
                  <a:lnTo>
                    <a:pt x="8626" y="935"/>
                  </a:lnTo>
                  <a:lnTo>
                    <a:pt x="8595" y="918"/>
                  </a:lnTo>
                  <a:lnTo>
                    <a:pt x="8570" y="907"/>
                  </a:lnTo>
                  <a:lnTo>
                    <a:pt x="8542" y="893"/>
                  </a:lnTo>
                  <a:lnTo>
                    <a:pt x="8518" y="879"/>
                  </a:lnTo>
                  <a:lnTo>
                    <a:pt x="8483" y="865"/>
                  </a:lnTo>
                  <a:lnTo>
                    <a:pt x="8462" y="855"/>
                  </a:lnTo>
                  <a:lnTo>
                    <a:pt x="8409" y="830"/>
                  </a:lnTo>
                  <a:cubicBezTo>
                    <a:pt x="8224" y="750"/>
                    <a:pt x="8101" y="571"/>
                    <a:pt x="8094" y="368"/>
                  </a:cubicBezTo>
                  <a:cubicBezTo>
                    <a:pt x="8070" y="330"/>
                    <a:pt x="7937" y="235"/>
                    <a:pt x="7839" y="165"/>
                  </a:cubicBezTo>
                  <a:lnTo>
                    <a:pt x="7751" y="106"/>
                  </a:lnTo>
                  <a:lnTo>
                    <a:pt x="7737" y="92"/>
                  </a:lnTo>
                  <a:cubicBezTo>
                    <a:pt x="7706" y="71"/>
                    <a:pt x="7678" y="50"/>
                    <a:pt x="7650" y="29"/>
                  </a:cubicBezTo>
                  <a:lnTo>
                    <a:pt x="7643" y="22"/>
                  </a:lnTo>
                  <a:lnTo>
                    <a:pt x="7615" y="29"/>
                  </a:lnTo>
                  <a:cubicBezTo>
                    <a:pt x="7583" y="32"/>
                    <a:pt x="7548" y="39"/>
                    <a:pt x="7510" y="50"/>
                  </a:cubicBezTo>
                  <a:lnTo>
                    <a:pt x="7475" y="60"/>
                  </a:lnTo>
                  <a:lnTo>
                    <a:pt x="7447" y="32"/>
                  </a:lnTo>
                  <a:lnTo>
                    <a:pt x="7443" y="29"/>
                  </a:lnTo>
                  <a:cubicBezTo>
                    <a:pt x="7436" y="22"/>
                    <a:pt x="7429" y="18"/>
                    <a:pt x="7422" y="15"/>
                  </a:cubicBezTo>
                  <a:lnTo>
                    <a:pt x="740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3" name="Google Shape;7413;p53"/>
            <p:cNvSpPr/>
            <p:nvPr/>
          </p:nvSpPr>
          <p:spPr>
            <a:xfrm>
              <a:off x="2562306" y="1858137"/>
              <a:ext cx="4155" cy="353"/>
            </a:xfrm>
            <a:custGeom>
              <a:avLst/>
              <a:gdLst/>
              <a:ahLst/>
              <a:cxnLst/>
              <a:rect l="l" t="t" r="r" b="b"/>
              <a:pathLst>
                <a:path w="306" h="26" extrusionOk="0">
                  <a:moveTo>
                    <a:pt x="305" y="0"/>
                  </a:moveTo>
                  <a:cubicBezTo>
                    <a:pt x="268" y="11"/>
                    <a:pt x="228" y="24"/>
                    <a:pt x="160" y="24"/>
                  </a:cubicBezTo>
                  <a:cubicBezTo>
                    <a:pt x="119" y="24"/>
                    <a:pt x="68" y="19"/>
                    <a:pt x="1" y="7"/>
                  </a:cubicBezTo>
                  <a:lnTo>
                    <a:pt x="1" y="7"/>
                  </a:lnTo>
                  <a:cubicBezTo>
                    <a:pt x="67" y="20"/>
                    <a:pt x="118" y="25"/>
                    <a:pt x="159" y="25"/>
                  </a:cubicBezTo>
                  <a:cubicBezTo>
                    <a:pt x="228" y="25"/>
                    <a:pt x="268" y="11"/>
                    <a:pt x="3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4" name="Google Shape;7414;p53"/>
            <p:cNvSpPr/>
            <p:nvPr/>
          </p:nvSpPr>
          <p:spPr>
            <a:xfrm>
              <a:off x="2597961" y="1785077"/>
              <a:ext cx="5431" cy="8187"/>
            </a:xfrm>
            <a:custGeom>
              <a:avLst/>
              <a:gdLst/>
              <a:ahLst/>
              <a:cxnLst/>
              <a:rect l="l" t="t" r="r" b="b"/>
              <a:pathLst>
                <a:path w="400" h="603" extrusionOk="0">
                  <a:moveTo>
                    <a:pt x="400" y="554"/>
                  </a:moveTo>
                  <a:cubicBezTo>
                    <a:pt x="169" y="603"/>
                    <a:pt x="39" y="158"/>
                    <a:pt x="1" y="1"/>
                  </a:cubicBezTo>
                  <a:cubicBezTo>
                    <a:pt x="39" y="158"/>
                    <a:pt x="169" y="603"/>
                    <a:pt x="400" y="55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5" name="Google Shape;7415;p53"/>
            <p:cNvSpPr/>
            <p:nvPr/>
          </p:nvSpPr>
          <p:spPr>
            <a:xfrm>
              <a:off x="2605903" y="1793210"/>
              <a:ext cx="720" cy="815"/>
            </a:xfrm>
            <a:custGeom>
              <a:avLst/>
              <a:gdLst/>
              <a:ahLst/>
              <a:cxnLst/>
              <a:rect l="l" t="t" r="r" b="b"/>
              <a:pathLst>
                <a:path w="53" h="60" extrusionOk="0">
                  <a:moveTo>
                    <a:pt x="53" y="60"/>
                  </a:moveTo>
                  <a:cubicBezTo>
                    <a:pt x="39" y="35"/>
                    <a:pt x="21" y="14"/>
                    <a:pt x="0" y="0"/>
                  </a:cubicBezTo>
                  <a:cubicBezTo>
                    <a:pt x="21" y="14"/>
                    <a:pt x="39" y="35"/>
                    <a:pt x="53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6" name="Google Shape;7416;p53"/>
            <p:cNvSpPr/>
            <p:nvPr/>
          </p:nvSpPr>
          <p:spPr>
            <a:xfrm>
              <a:off x="2580663" y="182995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7" name="Google Shape;7417;p53"/>
            <p:cNvSpPr/>
            <p:nvPr/>
          </p:nvSpPr>
          <p:spPr>
            <a:xfrm>
              <a:off x="2555273" y="1862360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8" name="Google Shape;7418;p53"/>
            <p:cNvSpPr/>
            <p:nvPr/>
          </p:nvSpPr>
          <p:spPr>
            <a:xfrm>
              <a:off x="2554798" y="1863080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4" y="1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9" name="Google Shape;7419;p53"/>
            <p:cNvSpPr/>
            <p:nvPr/>
          </p:nvSpPr>
          <p:spPr>
            <a:xfrm>
              <a:off x="2580853" y="1829801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"/>
                  </a:moveTo>
                  <a:cubicBezTo>
                    <a:pt x="11" y="4"/>
                    <a:pt x="4" y="8"/>
                    <a:pt x="0" y="11"/>
                  </a:cubicBezTo>
                  <a:cubicBezTo>
                    <a:pt x="4" y="8"/>
                    <a:pt x="11" y="4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0" name="Google Shape;7420;p53"/>
            <p:cNvSpPr/>
            <p:nvPr/>
          </p:nvSpPr>
          <p:spPr>
            <a:xfrm>
              <a:off x="2620255" y="1767725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0" y="1"/>
                  </a:moveTo>
                  <a:lnTo>
                    <a:pt x="39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1" name="Google Shape;7421;p53"/>
            <p:cNvSpPr/>
            <p:nvPr/>
          </p:nvSpPr>
          <p:spPr>
            <a:xfrm>
              <a:off x="2619589" y="1767345"/>
              <a:ext cx="434" cy="258"/>
            </a:xfrm>
            <a:custGeom>
              <a:avLst/>
              <a:gdLst/>
              <a:ahLst/>
              <a:cxnLst/>
              <a:rect l="l" t="t" r="r" b="b"/>
              <a:pathLst>
                <a:path w="32" h="19" extrusionOk="0">
                  <a:moveTo>
                    <a:pt x="0" y="1"/>
                  </a:moveTo>
                  <a:lnTo>
                    <a:pt x="3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2" name="Google Shape;7422;p53"/>
            <p:cNvSpPr/>
            <p:nvPr/>
          </p:nvSpPr>
          <p:spPr>
            <a:xfrm>
              <a:off x="2612081" y="1759510"/>
              <a:ext cx="4290" cy="6286"/>
            </a:xfrm>
            <a:custGeom>
              <a:avLst/>
              <a:gdLst/>
              <a:ahLst/>
              <a:cxnLst/>
              <a:rect l="l" t="t" r="r" b="b"/>
              <a:pathLst>
                <a:path w="316" h="463" extrusionOk="0">
                  <a:moveTo>
                    <a:pt x="315" y="462"/>
                  </a:moveTo>
                  <a:lnTo>
                    <a:pt x="315" y="462"/>
                  </a:lnTo>
                  <a:cubicBezTo>
                    <a:pt x="130" y="382"/>
                    <a:pt x="7" y="203"/>
                    <a:pt x="0" y="0"/>
                  </a:cubicBezTo>
                  <a:cubicBezTo>
                    <a:pt x="7" y="203"/>
                    <a:pt x="130" y="382"/>
                    <a:pt x="315" y="46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3" name="Google Shape;7423;p53"/>
            <p:cNvSpPr/>
            <p:nvPr/>
          </p:nvSpPr>
          <p:spPr>
            <a:xfrm>
              <a:off x="2620920" y="1768064"/>
              <a:ext cx="530" cy="339"/>
            </a:xfrm>
            <a:custGeom>
              <a:avLst/>
              <a:gdLst/>
              <a:ahLst/>
              <a:cxnLst/>
              <a:rect l="l" t="t" r="r" b="b"/>
              <a:pathLst>
                <a:path w="39" h="25" extrusionOk="0">
                  <a:moveTo>
                    <a:pt x="39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4" name="Google Shape;7424;p53"/>
            <p:cNvSpPr/>
            <p:nvPr/>
          </p:nvSpPr>
          <p:spPr>
            <a:xfrm>
              <a:off x="2618870" y="1766964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1" y="1"/>
                  </a:moveTo>
                  <a:lnTo>
                    <a:pt x="3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5" name="Google Shape;7425;p53"/>
            <p:cNvSpPr/>
            <p:nvPr/>
          </p:nvSpPr>
          <p:spPr>
            <a:xfrm>
              <a:off x="2608660" y="1756754"/>
              <a:ext cx="3476" cy="2770"/>
            </a:xfrm>
            <a:custGeom>
              <a:avLst/>
              <a:gdLst/>
              <a:ahLst/>
              <a:cxnLst/>
              <a:rect l="l" t="t" r="r" b="b"/>
              <a:pathLst>
                <a:path w="256" h="204" extrusionOk="0">
                  <a:moveTo>
                    <a:pt x="0" y="0"/>
                  </a:moveTo>
                  <a:lnTo>
                    <a:pt x="0" y="0"/>
                  </a:lnTo>
                  <a:cubicBezTo>
                    <a:pt x="95" y="70"/>
                    <a:pt x="228" y="165"/>
                    <a:pt x="256" y="203"/>
                  </a:cubicBezTo>
                  <a:cubicBezTo>
                    <a:pt x="228" y="165"/>
                    <a:pt x="98" y="7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6" name="Google Shape;7426;p53"/>
            <p:cNvSpPr/>
            <p:nvPr/>
          </p:nvSpPr>
          <p:spPr>
            <a:xfrm>
              <a:off x="2606093" y="1754894"/>
              <a:ext cx="1154" cy="869"/>
            </a:xfrm>
            <a:custGeom>
              <a:avLst/>
              <a:gdLst/>
              <a:ahLst/>
              <a:cxnLst/>
              <a:rect l="l" t="t" r="r" b="b"/>
              <a:pathLst>
                <a:path w="85" h="64" extrusionOk="0">
                  <a:moveTo>
                    <a:pt x="0" y="1"/>
                  </a:moveTo>
                  <a:cubicBezTo>
                    <a:pt x="28" y="22"/>
                    <a:pt x="56" y="43"/>
                    <a:pt x="84" y="64"/>
                  </a:cubicBezTo>
                  <a:cubicBezTo>
                    <a:pt x="56" y="43"/>
                    <a:pt x="28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7" name="Google Shape;7427;p53"/>
            <p:cNvSpPr/>
            <p:nvPr/>
          </p:nvSpPr>
          <p:spPr>
            <a:xfrm>
              <a:off x="2616358" y="1765783"/>
              <a:ext cx="720" cy="339"/>
            </a:xfrm>
            <a:custGeom>
              <a:avLst/>
              <a:gdLst/>
              <a:ahLst/>
              <a:cxnLst/>
              <a:rect l="l" t="t" r="r" b="b"/>
              <a:pathLst>
                <a:path w="53" h="25" extrusionOk="0">
                  <a:moveTo>
                    <a:pt x="0" y="0"/>
                  </a:moveTo>
                  <a:lnTo>
                    <a:pt x="53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8" name="Google Shape;7428;p53"/>
            <p:cNvSpPr/>
            <p:nvPr/>
          </p:nvSpPr>
          <p:spPr>
            <a:xfrm>
              <a:off x="2618164" y="1766639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0"/>
                  </a:moveTo>
                  <a:lnTo>
                    <a:pt x="2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9" name="Google Shape;7429;p53"/>
            <p:cNvSpPr/>
            <p:nvPr/>
          </p:nvSpPr>
          <p:spPr>
            <a:xfrm>
              <a:off x="2607465" y="1755940"/>
              <a:ext cx="1208" cy="828"/>
            </a:xfrm>
            <a:custGeom>
              <a:avLst/>
              <a:gdLst/>
              <a:ahLst/>
              <a:cxnLst/>
              <a:rect l="l" t="t" r="r" b="b"/>
              <a:pathLst>
                <a:path w="89" h="61" extrusionOk="0">
                  <a:moveTo>
                    <a:pt x="1" y="1"/>
                  </a:moveTo>
                  <a:lnTo>
                    <a:pt x="88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0" name="Google Shape;7430;p53"/>
            <p:cNvSpPr/>
            <p:nvPr/>
          </p:nvSpPr>
          <p:spPr>
            <a:xfrm>
              <a:off x="2617349" y="1766258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0"/>
                  </a:moveTo>
                  <a:lnTo>
                    <a:pt x="36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1" name="Google Shape;7431;p53"/>
            <p:cNvSpPr/>
            <p:nvPr/>
          </p:nvSpPr>
          <p:spPr>
            <a:xfrm>
              <a:off x="2514350" y="18328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2" name="Google Shape;7432;p53"/>
            <p:cNvSpPr/>
            <p:nvPr/>
          </p:nvSpPr>
          <p:spPr>
            <a:xfrm>
              <a:off x="2505742" y="1822252"/>
              <a:ext cx="1059" cy="910"/>
            </a:xfrm>
            <a:custGeom>
              <a:avLst/>
              <a:gdLst/>
              <a:ahLst/>
              <a:cxnLst/>
              <a:rect l="l" t="t" r="r" b="b"/>
              <a:pathLst>
                <a:path w="78" h="67" extrusionOk="0">
                  <a:moveTo>
                    <a:pt x="78" y="67"/>
                  </a:moveTo>
                  <a:cubicBezTo>
                    <a:pt x="50" y="46"/>
                    <a:pt x="22" y="25"/>
                    <a:pt x="1" y="0"/>
                  </a:cubicBezTo>
                  <a:cubicBezTo>
                    <a:pt x="22" y="25"/>
                    <a:pt x="50" y="46"/>
                    <a:pt x="78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3" name="Google Shape;7433;p53"/>
            <p:cNvSpPr/>
            <p:nvPr/>
          </p:nvSpPr>
          <p:spPr>
            <a:xfrm>
              <a:off x="2514635" y="1833942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0"/>
                  </a:moveTo>
                  <a:cubicBezTo>
                    <a:pt x="11" y="4"/>
                    <a:pt x="22" y="7"/>
                    <a:pt x="29" y="11"/>
                  </a:cubicBezTo>
                  <a:cubicBezTo>
                    <a:pt x="22" y="7"/>
                    <a:pt x="11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4" name="Google Shape;7434;p53"/>
            <p:cNvSpPr/>
            <p:nvPr/>
          </p:nvSpPr>
          <p:spPr>
            <a:xfrm>
              <a:off x="2517772" y="18378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5" name="Google Shape;7435;p53"/>
            <p:cNvSpPr/>
            <p:nvPr/>
          </p:nvSpPr>
          <p:spPr>
            <a:xfrm>
              <a:off x="2518016" y="183903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0"/>
                  </a:moveTo>
                  <a:cubicBezTo>
                    <a:pt x="0" y="11"/>
                    <a:pt x="0" y="18"/>
                    <a:pt x="0" y="28"/>
                  </a:cubicBezTo>
                  <a:cubicBezTo>
                    <a:pt x="0" y="18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6" name="Google Shape;7436;p53"/>
            <p:cNvSpPr/>
            <p:nvPr/>
          </p:nvSpPr>
          <p:spPr>
            <a:xfrm>
              <a:off x="2517962" y="1838654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1"/>
                  </a:moveTo>
                  <a:lnTo>
                    <a:pt x="1" y="0"/>
                  </a:lnTo>
                  <a:cubicBezTo>
                    <a:pt x="1" y="7"/>
                    <a:pt x="1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7" name="Google Shape;7437;p53"/>
            <p:cNvSpPr/>
            <p:nvPr/>
          </p:nvSpPr>
          <p:spPr>
            <a:xfrm>
              <a:off x="2517867" y="1838219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4" y="8"/>
                    <a:pt x="1" y="1"/>
                  </a:cubicBezTo>
                  <a:cubicBezTo>
                    <a:pt x="4" y="8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8" name="Google Shape;7438;p53"/>
            <p:cNvSpPr/>
            <p:nvPr/>
          </p:nvSpPr>
          <p:spPr>
            <a:xfrm>
              <a:off x="2514500" y="183360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cubicBezTo>
                    <a:pt x="4" y="4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9" name="Google Shape;7439;p53"/>
            <p:cNvSpPr/>
            <p:nvPr/>
          </p:nvSpPr>
          <p:spPr>
            <a:xfrm>
              <a:off x="2514500" y="183337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0" name="Google Shape;7440;p53"/>
            <p:cNvSpPr/>
            <p:nvPr/>
          </p:nvSpPr>
          <p:spPr>
            <a:xfrm>
              <a:off x="2503556" y="181883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1" name="Google Shape;7441;p53"/>
            <p:cNvSpPr/>
            <p:nvPr/>
          </p:nvSpPr>
          <p:spPr>
            <a:xfrm>
              <a:off x="2514310" y="18324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2" name="Google Shape;7442;p53"/>
            <p:cNvSpPr/>
            <p:nvPr/>
          </p:nvSpPr>
          <p:spPr>
            <a:xfrm>
              <a:off x="2505606" y="18504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3" name="Google Shape;7443;p53"/>
            <p:cNvSpPr/>
            <p:nvPr/>
          </p:nvSpPr>
          <p:spPr>
            <a:xfrm>
              <a:off x="2503801" y="181925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4" name="Google Shape;7444;p53"/>
            <p:cNvSpPr/>
            <p:nvPr/>
          </p:nvSpPr>
          <p:spPr>
            <a:xfrm>
              <a:off x="2514595" y="183379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cubicBezTo>
                    <a:pt x="0" y="4"/>
                    <a:pt x="0" y="4"/>
                    <a:pt x="0" y="1"/>
                  </a:cubicBezTo>
                  <a:cubicBezTo>
                    <a:pt x="0" y="4"/>
                    <a:pt x="0" y="4"/>
                    <a:pt x="4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5" name="Google Shape;7445;p53"/>
            <p:cNvSpPr/>
            <p:nvPr/>
          </p:nvSpPr>
          <p:spPr>
            <a:xfrm>
              <a:off x="2514405" y="183308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6" name="Google Shape;7446;p53"/>
            <p:cNvSpPr/>
            <p:nvPr/>
          </p:nvSpPr>
          <p:spPr>
            <a:xfrm>
              <a:off x="2514255" y="18321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7" name="Google Shape;7447;p53"/>
            <p:cNvSpPr/>
            <p:nvPr/>
          </p:nvSpPr>
          <p:spPr>
            <a:xfrm>
              <a:off x="2507412" y="1823623"/>
              <a:ext cx="720" cy="543"/>
            </a:xfrm>
            <a:custGeom>
              <a:avLst/>
              <a:gdLst/>
              <a:ahLst/>
              <a:cxnLst/>
              <a:rect l="l" t="t" r="r" b="b"/>
              <a:pathLst>
                <a:path w="53" h="40" extrusionOk="0">
                  <a:moveTo>
                    <a:pt x="0" y="1"/>
                  </a:moveTo>
                  <a:cubicBezTo>
                    <a:pt x="14" y="15"/>
                    <a:pt x="32" y="25"/>
                    <a:pt x="53" y="39"/>
                  </a:cubicBezTo>
                  <a:cubicBezTo>
                    <a:pt x="35" y="25"/>
                    <a:pt x="18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8" name="Google Shape;7448;p53"/>
            <p:cNvSpPr/>
            <p:nvPr/>
          </p:nvSpPr>
          <p:spPr>
            <a:xfrm>
              <a:off x="2602998" y="1754704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cubicBezTo>
                    <a:pt x="15" y="8"/>
                    <a:pt x="8" y="4"/>
                    <a:pt x="1" y="1"/>
                  </a:cubicBezTo>
                  <a:cubicBezTo>
                    <a:pt x="8" y="4"/>
                    <a:pt x="15" y="8"/>
                    <a:pt x="18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9" name="Google Shape;7449;p53"/>
            <p:cNvSpPr/>
            <p:nvPr/>
          </p:nvSpPr>
          <p:spPr>
            <a:xfrm>
              <a:off x="2605564" y="1754799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1" y="8"/>
                  </a:moveTo>
                  <a:lnTo>
                    <a:pt x="29" y="1"/>
                  </a:ln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0" name="Google Shape;7450;p53"/>
            <p:cNvSpPr/>
            <p:nvPr/>
          </p:nvSpPr>
          <p:spPr>
            <a:xfrm>
              <a:off x="2554513" y="1799007"/>
              <a:ext cx="3435" cy="774"/>
            </a:xfrm>
            <a:custGeom>
              <a:avLst/>
              <a:gdLst/>
              <a:ahLst/>
              <a:cxnLst/>
              <a:rect l="l" t="t" r="r" b="b"/>
              <a:pathLst>
                <a:path w="253" h="57" extrusionOk="0">
                  <a:moveTo>
                    <a:pt x="1" y="56"/>
                  </a:moveTo>
                  <a:cubicBezTo>
                    <a:pt x="81" y="21"/>
                    <a:pt x="165" y="0"/>
                    <a:pt x="253" y="0"/>
                  </a:cubicBezTo>
                  <a:cubicBezTo>
                    <a:pt x="165" y="0"/>
                    <a:pt x="81" y="21"/>
                    <a:pt x="1" y="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1" name="Google Shape;7451;p53"/>
            <p:cNvSpPr/>
            <p:nvPr/>
          </p:nvSpPr>
          <p:spPr>
            <a:xfrm>
              <a:off x="2599196" y="175637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2" name="Google Shape;7452;p53"/>
            <p:cNvSpPr/>
            <p:nvPr/>
          </p:nvSpPr>
          <p:spPr>
            <a:xfrm>
              <a:off x="2502796" y="1817215"/>
              <a:ext cx="964" cy="109"/>
            </a:xfrm>
            <a:custGeom>
              <a:avLst/>
              <a:gdLst/>
              <a:ahLst/>
              <a:cxnLst/>
              <a:rect l="l" t="t" r="r" b="b"/>
              <a:pathLst>
                <a:path w="71" h="8" extrusionOk="0">
                  <a:moveTo>
                    <a:pt x="7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3" name="Google Shape;7453;p53"/>
            <p:cNvSpPr/>
            <p:nvPr/>
          </p:nvSpPr>
          <p:spPr>
            <a:xfrm>
              <a:off x="2513264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4" name="Google Shape;7454;p53"/>
            <p:cNvSpPr/>
            <p:nvPr/>
          </p:nvSpPr>
          <p:spPr>
            <a:xfrm>
              <a:off x="2516020" y="181830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5" name="Google Shape;7455;p53"/>
            <p:cNvSpPr/>
            <p:nvPr/>
          </p:nvSpPr>
          <p:spPr>
            <a:xfrm>
              <a:off x="2514119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6" name="Google Shape;7456;p53"/>
            <p:cNvSpPr/>
            <p:nvPr/>
          </p:nvSpPr>
          <p:spPr>
            <a:xfrm>
              <a:off x="2596725" y="17568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7" name="Google Shape;7457;p53"/>
            <p:cNvSpPr/>
            <p:nvPr/>
          </p:nvSpPr>
          <p:spPr>
            <a:xfrm>
              <a:off x="2599766" y="175618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8" name="Google Shape;7458;p53"/>
            <p:cNvSpPr/>
            <p:nvPr/>
          </p:nvSpPr>
          <p:spPr>
            <a:xfrm>
              <a:off x="2502131" y="1817161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9" name="Google Shape;7459;p53"/>
            <p:cNvSpPr/>
            <p:nvPr/>
          </p:nvSpPr>
          <p:spPr>
            <a:xfrm>
              <a:off x="2595109" y="1756659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0" name="Google Shape;7460;p53"/>
            <p:cNvSpPr/>
            <p:nvPr/>
          </p:nvSpPr>
          <p:spPr>
            <a:xfrm>
              <a:off x="2602672" y="175456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1" name="Google Shape;7461;p53"/>
            <p:cNvSpPr/>
            <p:nvPr/>
          </p:nvSpPr>
          <p:spPr>
            <a:xfrm>
              <a:off x="2595544" y="1756795"/>
              <a:ext cx="190" cy="14"/>
            </a:xfrm>
            <a:custGeom>
              <a:avLst/>
              <a:gdLst/>
              <a:ahLst/>
              <a:cxnLst/>
              <a:rect l="l" t="t" r="r" b="b"/>
              <a:pathLst>
                <a:path w="14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2" name="Google Shape;7462;p53"/>
            <p:cNvSpPr/>
            <p:nvPr/>
          </p:nvSpPr>
          <p:spPr>
            <a:xfrm>
              <a:off x="2595965" y="175684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3" name="Google Shape;7463;p53"/>
            <p:cNvSpPr/>
            <p:nvPr/>
          </p:nvSpPr>
          <p:spPr>
            <a:xfrm>
              <a:off x="2602047" y="1754948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4" name="Google Shape;7464;p53"/>
            <p:cNvSpPr/>
            <p:nvPr/>
          </p:nvSpPr>
          <p:spPr>
            <a:xfrm>
              <a:off x="2507127" y="1817690"/>
              <a:ext cx="1005" cy="109"/>
            </a:xfrm>
            <a:custGeom>
              <a:avLst/>
              <a:gdLst/>
              <a:ahLst/>
              <a:cxnLst/>
              <a:rect l="l" t="t" r="r" b="b"/>
              <a:pathLst>
                <a:path w="74" h="8" extrusionOk="0">
                  <a:moveTo>
                    <a:pt x="7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5" name="Google Shape;7465;p53"/>
            <p:cNvSpPr/>
            <p:nvPr/>
          </p:nvSpPr>
          <p:spPr>
            <a:xfrm>
              <a:off x="2526665" y="18172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6" name="Google Shape;7466;p53"/>
            <p:cNvSpPr/>
            <p:nvPr/>
          </p:nvSpPr>
          <p:spPr>
            <a:xfrm>
              <a:off x="2597010" y="1756795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7" name="Google Shape;7467;p53"/>
            <p:cNvSpPr/>
            <p:nvPr/>
          </p:nvSpPr>
          <p:spPr>
            <a:xfrm>
              <a:off x="2527330" y="18171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8" name="Google Shape;7468;p53"/>
            <p:cNvSpPr/>
            <p:nvPr/>
          </p:nvSpPr>
          <p:spPr>
            <a:xfrm>
              <a:off x="2598626" y="175656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9" name="Google Shape;7469;p53"/>
            <p:cNvSpPr/>
            <p:nvPr/>
          </p:nvSpPr>
          <p:spPr>
            <a:xfrm>
              <a:off x="2600337" y="1755940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0" name="Google Shape;7470;p53"/>
            <p:cNvSpPr/>
            <p:nvPr/>
          </p:nvSpPr>
          <p:spPr>
            <a:xfrm>
              <a:off x="2598056" y="1756659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1" name="Google Shape;7471;p53"/>
            <p:cNvSpPr/>
            <p:nvPr/>
          </p:nvSpPr>
          <p:spPr>
            <a:xfrm>
              <a:off x="2597485" y="175675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2" name="Google Shape;7472;p53"/>
            <p:cNvSpPr/>
            <p:nvPr/>
          </p:nvSpPr>
          <p:spPr>
            <a:xfrm>
              <a:off x="2601477" y="1755329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3" name="Google Shape;7473;p53"/>
            <p:cNvSpPr/>
            <p:nvPr/>
          </p:nvSpPr>
          <p:spPr>
            <a:xfrm>
              <a:off x="2508498" y="1817880"/>
              <a:ext cx="923" cy="109"/>
            </a:xfrm>
            <a:custGeom>
              <a:avLst/>
              <a:gdLst/>
              <a:ahLst/>
              <a:cxnLst/>
              <a:rect l="l" t="t" r="r" b="b"/>
              <a:pathLst>
                <a:path w="68" h="8" extrusionOk="0">
                  <a:moveTo>
                    <a:pt x="67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4" name="Google Shape;7474;p53"/>
            <p:cNvSpPr/>
            <p:nvPr/>
          </p:nvSpPr>
          <p:spPr>
            <a:xfrm>
              <a:off x="2600907" y="1755654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5" name="Google Shape;7475;p53"/>
            <p:cNvSpPr/>
            <p:nvPr/>
          </p:nvSpPr>
          <p:spPr>
            <a:xfrm>
              <a:off x="2504181" y="1817310"/>
              <a:ext cx="1195" cy="149"/>
            </a:xfrm>
            <a:custGeom>
              <a:avLst/>
              <a:gdLst/>
              <a:ahLst/>
              <a:cxnLst/>
              <a:rect l="l" t="t" r="r" b="b"/>
              <a:pathLst>
                <a:path w="88" h="11" extrusionOk="0">
                  <a:moveTo>
                    <a:pt x="88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6" name="Google Shape;7476;p53"/>
            <p:cNvSpPr/>
            <p:nvPr/>
          </p:nvSpPr>
          <p:spPr>
            <a:xfrm>
              <a:off x="2512640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7" name="Google Shape;7477;p53"/>
            <p:cNvSpPr/>
            <p:nvPr/>
          </p:nvSpPr>
          <p:spPr>
            <a:xfrm>
              <a:off x="2505457" y="1817446"/>
              <a:ext cx="1344" cy="204"/>
            </a:xfrm>
            <a:custGeom>
              <a:avLst/>
              <a:gdLst/>
              <a:ahLst/>
              <a:cxnLst/>
              <a:rect l="l" t="t" r="r" b="b"/>
              <a:pathLst>
                <a:path w="99" h="15" extrusionOk="0">
                  <a:moveTo>
                    <a:pt x="99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8" name="Google Shape;7478;p53"/>
            <p:cNvSpPr/>
            <p:nvPr/>
          </p:nvSpPr>
          <p:spPr>
            <a:xfrm>
              <a:off x="2509788" y="1818070"/>
              <a:ext cx="1195" cy="204"/>
            </a:xfrm>
            <a:custGeom>
              <a:avLst/>
              <a:gdLst/>
              <a:ahLst/>
              <a:cxnLst/>
              <a:rect l="l" t="t" r="r" b="b"/>
              <a:pathLst>
                <a:path w="88" h="15" extrusionOk="0">
                  <a:moveTo>
                    <a:pt x="88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9" name="Google Shape;7479;p53"/>
            <p:cNvSpPr/>
            <p:nvPr/>
          </p:nvSpPr>
          <p:spPr>
            <a:xfrm>
              <a:off x="2511404" y="1818355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0" name="Google Shape;7480;p53"/>
            <p:cNvSpPr/>
            <p:nvPr/>
          </p:nvSpPr>
          <p:spPr>
            <a:xfrm>
              <a:off x="2512029" y="1818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1" name="Google Shape;7481;p53"/>
            <p:cNvSpPr/>
            <p:nvPr/>
          </p:nvSpPr>
          <p:spPr>
            <a:xfrm>
              <a:off x="2991016" y="2067204"/>
              <a:ext cx="18968" cy="6409"/>
            </a:xfrm>
            <a:custGeom>
              <a:avLst/>
              <a:gdLst/>
              <a:ahLst/>
              <a:cxnLst/>
              <a:rect l="l" t="t" r="r" b="b"/>
              <a:pathLst>
                <a:path w="1397" h="472" extrusionOk="0">
                  <a:moveTo>
                    <a:pt x="585" y="1"/>
                  </a:moveTo>
                  <a:cubicBezTo>
                    <a:pt x="334" y="1"/>
                    <a:pt x="94" y="53"/>
                    <a:pt x="18" y="129"/>
                  </a:cubicBezTo>
                  <a:cubicBezTo>
                    <a:pt x="0" y="150"/>
                    <a:pt x="4" y="157"/>
                    <a:pt x="4" y="164"/>
                  </a:cubicBezTo>
                  <a:cubicBezTo>
                    <a:pt x="28" y="227"/>
                    <a:pt x="110" y="246"/>
                    <a:pt x="242" y="246"/>
                  </a:cubicBezTo>
                  <a:cubicBezTo>
                    <a:pt x="300" y="246"/>
                    <a:pt x="368" y="243"/>
                    <a:pt x="445" y="237"/>
                  </a:cubicBezTo>
                  <a:cubicBezTo>
                    <a:pt x="525" y="234"/>
                    <a:pt x="606" y="230"/>
                    <a:pt x="686" y="230"/>
                  </a:cubicBezTo>
                  <a:cubicBezTo>
                    <a:pt x="903" y="230"/>
                    <a:pt x="1054" y="318"/>
                    <a:pt x="1180" y="388"/>
                  </a:cubicBezTo>
                  <a:cubicBezTo>
                    <a:pt x="1257" y="433"/>
                    <a:pt x="1327" y="472"/>
                    <a:pt x="1383" y="472"/>
                  </a:cubicBezTo>
                  <a:lnTo>
                    <a:pt x="1390" y="472"/>
                  </a:lnTo>
                  <a:cubicBezTo>
                    <a:pt x="1397" y="451"/>
                    <a:pt x="1397" y="426"/>
                    <a:pt x="1386" y="405"/>
                  </a:cubicBezTo>
                  <a:cubicBezTo>
                    <a:pt x="1351" y="283"/>
                    <a:pt x="1211" y="122"/>
                    <a:pt x="991" y="55"/>
                  </a:cubicBezTo>
                  <a:cubicBezTo>
                    <a:pt x="871" y="17"/>
                    <a:pt x="726" y="1"/>
                    <a:pt x="58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2" name="Google Shape;7482;p53"/>
            <p:cNvSpPr/>
            <p:nvPr/>
          </p:nvSpPr>
          <p:spPr>
            <a:xfrm>
              <a:off x="3012726" y="2048969"/>
              <a:ext cx="73699" cy="62008"/>
            </a:xfrm>
            <a:custGeom>
              <a:avLst/>
              <a:gdLst/>
              <a:ahLst/>
              <a:cxnLst/>
              <a:rect l="l" t="t" r="r" b="b"/>
              <a:pathLst>
                <a:path w="5428" h="4567" extrusionOk="0">
                  <a:moveTo>
                    <a:pt x="760" y="0"/>
                  </a:moveTo>
                  <a:cubicBezTo>
                    <a:pt x="716" y="0"/>
                    <a:pt x="675" y="3"/>
                    <a:pt x="638" y="8"/>
                  </a:cubicBezTo>
                  <a:cubicBezTo>
                    <a:pt x="547" y="22"/>
                    <a:pt x="491" y="50"/>
                    <a:pt x="477" y="89"/>
                  </a:cubicBezTo>
                  <a:cubicBezTo>
                    <a:pt x="414" y="264"/>
                    <a:pt x="270" y="302"/>
                    <a:pt x="162" y="330"/>
                  </a:cubicBezTo>
                  <a:cubicBezTo>
                    <a:pt x="57" y="358"/>
                    <a:pt x="18" y="376"/>
                    <a:pt x="11" y="435"/>
                  </a:cubicBezTo>
                  <a:cubicBezTo>
                    <a:pt x="1" y="495"/>
                    <a:pt x="11" y="512"/>
                    <a:pt x="11" y="512"/>
                  </a:cubicBezTo>
                  <a:cubicBezTo>
                    <a:pt x="21" y="513"/>
                    <a:pt x="30" y="514"/>
                    <a:pt x="40" y="514"/>
                  </a:cubicBezTo>
                  <a:cubicBezTo>
                    <a:pt x="63" y="514"/>
                    <a:pt x="88" y="511"/>
                    <a:pt x="113" y="509"/>
                  </a:cubicBezTo>
                  <a:cubicBezTo>
                    <a:pt x="148" y="505"/>
                    <a:pt x="190" y="505"/>
                    <a:pt x="239" y="505"/>
                  </a:cubicBezTo>
                  <a:cubicBezTo>
                    <a:pt x="446" y="505"/>
                    <a:pt x="498" y="642"/>
                    <a:pt x="551" y="785"/>
                  </a:cubicBezTo>
                  <a:cubicBezTo>
                    <a:pt x="568" y="828"/>
                    <a:pt x="582" y="870"/>
                    <a:pt x="603" y="915"/>
                  </a:cubicBezTo>
                  <a:cubicBezTo>
                    <a:pt x="630" y="970"/>
                    <a:pt x="726" y="988"/>
                    <a:pt x="841" y="988"/>
                  </a:cubicBezTo>
                  <a:cubicBezTo>
                    <a:pt x="981" y="988"/>
                    <a:pt x="1149" y="962"/>
                    <a:pt x="1254" y="947"/>
                  </a:cubicBezTo>
                  <a:cubicBezTo>
                    <a:pt x="1317" y="936"/>
                    <a:pt x="1373" y="929"/>
                    <a:pt x="1412" y="926"/>
                  </a:cubicBezTo>
                  <a:cubicBezTo>
                    <a:pt x="1421" y="924"/>
                    <a:pt x="1430" y="924"/>
                    <a:pt x="1439" y="924"/>
                  </a:cubicBezTo>
                  <a:cubicBezTo>
                    <a:pt x="1513" y="924"/>
                    <a:pt x="1581" y="962"/>
                    <a:pt x="1618" y="1027"/>
                  </a:cubicBezTo>
                  <a:cubicBezTo>
                    <a:pt x="1646" y="1080"/>
                    <a:pt x="1639" y="1143"/>
                    <a:pt x="1604" y="1188"/>
                  </a:cubicBezTo>
                  <a:cubicBezTo>
                    <a:pt x="1583" y="1209"/>
                    <a:pt x="1545" y="1238"/>
                    <a:pt x="1476" y="1238"/>
                  </a:cubicBezTo>
                  <a:cubicBezTo>
                    <a:pt x="1441" y="1238"/>
                    <a:pt x="1400" y="1231"/>
                    <a:pt x="1349" y="1213"/>
                  </a:cubicBezTo>
                  <a:cubicBezTo>
                    <a:pt x="1307" y="1198"/>
                    <a:pt x="1275" y="1193"/>
                    <a:pt x="1248" y="1193"/>
                  </a:cubicBezTo>
                  <a:cubicBezTo>
                    <a:pt x="1194" y="1193"/>
                    <a:pt x="1161" y="1215"/>
                    <a:pt x="1121" y="1241"/>
                  </a:cubicBezTo>
                  <a:cubicBezTo>
                    <a:pt x="1074" y="1282"/>
                    <a:pt x="1012" y="1305"/>
                    <a:pt x="948" y="1305"/>
                  </a:cubicBezTo>
                  <a:cubicBezTo>
                    <a:pt x="926" y="1305"/>
                    <a:pt x="905" y="1302"/>
                    <a:pt x="883" y="1297"/>
                  </a:cubicBezTo>
                  <a:cubicBezTo>
                    <a:pt x="823" y="1281"/>
                    <a:pt x="760" y="1273"/>
                    <a:pt x="698" y="1273"/>
                  </a:cubicBezTo>
                  <a:cubicBezTo>
                    <a:pt x="677" y="1273"/>
                    <a:pt x="656" y="1274"/>
                    <a:pt x="635" y="1276"/>
                  </a:cubicBezTo>
                  <a:cubicBezTo>
                    <a:pt x="652" y="1290"/>
                    <a:pt x="670" y="1304"/>
                    <a:pt x="687" y="1321"/>
                  </a:cubicBezTo>
                  <a:cubicBezTo>
                    <a:pt x="813" y="1419"/>
                    <a:pt x="981" y="1552"/>
                    <a:pt x="981" y="1797"/>
                  </a:cubicBezTo>
                  <a:cubicBezTo>
                    <a:pt x="978" y="1832"/>
                    <a:pt x="988" y="1864"/>
                    <a:pt x="1013" y="1885"/>
                  </a:cubicBezTo>
                  <a:cubicBezTo>
                    <a:pt x="1034" y="1902"/>
                    <a:pt x="1062" y="1913"/>
                    <a:pt x="1086" y="1913"/>
                  </a:cubicBezTo>
                  <a:cubicBezTo>
                    <a:pt x="1142" y="1913"/>
                    <a:pt x="1223" y="1878"/>
                    <a:pt x="1223" y="1801"/>
                  </a:cubicBezTo>
                  <a:cubicBezTo>
                    <a:pt x="1223" y="1773"/>
                    <a:pt x="1223" y="1703"/>
                    <a:pt x="1279" y="1668"/>
                  </a:cubicBezTo>
                  <a:cubicBezTo>
                    <a:pt x="1293" y="1660"/>
                    <a:pt x="1307" y="1656"/>
                    <a:pt x="1323" y="1656"/>
                  </a:cubicBezTo>
                  <a:cubicBezTo>
                    <a:pt x="1371" y="1656"/>
                    <a:pt x="1430" y="1689"/>
                    <a:pt x="1506" y="1731"/>
                  </a:cubicBezTo>
                  <a:cubicBezTo>
                    <a:pt x="1618" y="1804"/>
                    <a:pt x="1741" y="1860"/>
                    <a:pt x="1870" y="1899"/>
                  </a:cubicBezTo>
                  <a:cubicBezTo>
                    <a:pt x="2063" y="1948"/>
                    <a:pt x="2112" y="2014"/>
                    <a:pt x="2150" y="2084"/>
                  </a:cubicBezTo>
                  <a:cubicBezTo>
                    <a:pt x="2171" y="2123"/>
                    <a:pt x="2185" y="2147"/>
                    <a:pt x="2343" y="2154"/>
                  </a:cubicBezTo>
                  <a:cubicBezTo>
                    <a:pt x="2718" y="2172"/>
                    <a:pt x="3579" y="2448"/>
                    <a:pt x="3915" y="2700"/>
                  </a:cubicBezTo>
                  <a:cubicBezTo>
                    <a:pt x="4118" y="2854"/>
                    <a:pt x="4132" y="2988"/>
                    <a:pt x="4139" y="3103"/>
                  </a:cubicBezTo>
                  <a:cubicBezTo>
                    <a:pt x="4139" y="3191"/>
                    <a:pt x="4170" y="3275"/>
                    <a:pt x="4230" y="3341"/>
                  </a:cubicBezTo>
                  <a:cubicBezTo>
                    <a:pt x="4394" y="3516"/>
                    <a:pt x="4464" y="3691"/>
                    <a:pt x="4412" y="3810"/>
                  </a:cubicBezTo>
                  <a:cubicBezTo>
                    <a:pt x="4387" y="3866"/>
                    <a:pt x="4324" y="3936"/>
                    <a:pt x="4167" y="3936"/>
                  </a:cubicBezTo>
                  <a:cubicBezTo>
                    <a:pt x="3988" y="3943"/>
                    <a:pt x="3827" y="4034"/>
                    <a:pt x="3726" y="4181"/>
                  </a:cubicBezTo>
                  <a:cubicBezTo>
                    <a:pt x="3705" y="4206"/>
                    <a:pt x="3698" y="4237"/>
                    <a:pt x="3705" y="4269"/>
                  </a:cubicBezTo>
                  <a:cubicBezTo>
                    <a:pt x="3725" y="4285"/>
                    <a:pt x="3776" y="4291"/>
                    <a:pt x="3846" y="4291"/>
                  </a:cubicBezTo>
                  <a:cubicBezTo>
                    <a:pt x="4032" y="4291"/>
                    <a:pt x="4348" y="4245"/>
                    <a:pt x="4524" y="4220"/>
                  </a:cubicBezTo>
                  <a:cubicBezTo>
                    <a:pt x="4650" y="4199"/>
                    <a:pt x="4780" y="4181"/>
                    <a:pt x="4909" y="4174"/>
                  </a:cubicBezTo>
                  <a:cubicBezTo>
                    <a:pt x="5021" y="4174"/>
                    <a:pt x="5112" y="4265"/>
                    <a:pt x="5231" y="4384"/>
                  </a:cubicBezTo>
                  <a:cubicBezTo>
                    <a:pt x="5287" y="4440"/>
                    <a:pt x="5354" y="4503"/>
                    <a:pt x="5427" y="4566"/>
                  </a:cubicBezTo>
                  <a:lnTo>
                    <a:pt x="5427" y="1290"/>
                  </a:lnTo>
                  <a:cubicBezTo>
                    <a:pt x="5165" y="1202"/>
                    <a:pt x="4874" y="1087"/>
                    <a:pt x="4594" y="978"/>
                  </a:cubicBezTo>
                  <a:cubicBezTo>
                    <a:pt x="4179" y="820"/>
                    <a:pt x="3743" y="652"/>
                    <a:pt x="3627" y="652"/>
                  </a:cubicBezTo>
                  <a:cubicBezTo>
                    <a:pt x="3625" y="652"/>
                    <a:pt x="3623" y="652"/>
                    <a:pt x="3621" y="652"/>
                  </a:cubicBezTo>
                  <a:cubicBezTo>
                    <a:pt x="3530" y="659"/>
                    <a:pt x="3474" y="754"/>
                    <a:pt x="3414" y="852"/>
                  </a:cubicBezTo>
                  <a:cubicBezTo>
                    <a:pt x="3348" y="964"/>
                    <a:pt x="3271" y="1090"/>
                    <a:pt x="3131" y="1090"/>
                  </a:cubicBezTo>
                  <a:cubicBezTo>
                    <a:pt x="3054" y="1090"/>
                    <a:pt x="2935" y="1192"/>
                    <a:pt x="2809" y="1297"/>
                  </a:cubicBezTo>
                  <a:cubicBezTo>
                    <a:pt x="2651" y="1430"/>
                    <a:pt x="2472" y="1580"/>
                    <a:pt x="2262" y="1654"/>
                  </a:cubicBezTo>
                  <a:cubicBezTo>
                    <a:pt x="2240" y="1662"/>
                    <a:pt x="2216" y="1666"/>
                    <a:pt x="2192" y="1666"/>
                  </a:cubicBezTo>
                  <a:cubicBezTo>
                    <a:pt x="2153" y="1666"/>
                    <a:pt x="2115" y="1656"/>
                    <a:pt x="2080" y="1636"/>
                  </a:cubicBezTo>
                  <a:cubicBezTo>
                    <a:pt x="1898" y="1531"/>
                    <a:pt x="1821" y="1150"/>
                    <a:pt x="1748" y="782"/>
                  </a:cubicBezTo>
                  <a:cubicBezTo>
                    <a:pt x="1706" y="568"/>
                    <a:pt x="1660" y="344"/>
                    <a:pt x="1608" y="271"/>
                  </a:cubicBezTo>
                  <a:cubicBezTo>
                    <a:pt x="1507" y="133"/>
                    <a:pt x="1069" y="0"/>
                    <a:pt x="7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3" name="Google Shape;7483;p53"/>
            <p:cNvSpPr/>
            <p:nvPr/>
          </p:nvSpPr>
          <p:spPr>
            <a:xfrm>
              <a:off x="2746593" y="2003634"/>
              <a:ext cx="83583" cy="84330"/>
            </a:xfrm>
            <a:custGeom>
              <a:avLst/>
              <a:gdLst/>
              <a:ahLst/>
              <a:cxnLst/>
              <a:rect l="l" t="t" r="r" b="b"/>
              <a:pathLst>
                <a:path w="6156" h="6211" extrusionOk="0">
                  <a:moveTo>
                    <a:pt x="116" y="0"/>
                  </a:moveTo>
                  <a:cubicBezTo>
                    <a:pt x="116" y="0"/>
                    <a:pt x="109" y="7"/>
                    <a:pt x="102" y="22"/>
                  </a:cubicBezTo>
                  <a:cubicBezTo>
                    <a:pt x="1" y="235"/>
                    <a:pt x="533" y="820"/>
                    <a:pt x="820" y="988"/>
                  </a:cubicBezTo>
                  <a:cubicBezTo>
                    <a:pt x="953" y="1065"/>
                    <a:pt x="1051" y="1222"/>
                    <a:pt x="1149" y="1373"/>
                  </a:cubicBezTo>
                  <a:cubicBezTo>
                    <a:pt x="1264" y="1555"/>
                    <a:pt x="1384" y="1740"/>
                    <a:pt x="1538" y="1754"/>
                  </a:cubicBezTo>
                  <a:cubicBezTo>
                    <a:pt x="1755" y="1779"/>
                    <a:pt x="1849" y="2098"/>
                    <a:pt x="1940" y="2409"/>
                  </a:cubicBezTo>
                  <a:cubicBezTo>
                    <a:pt x="1996" y="2591"/>
                    <a:pt x="2070" y="2843"/>
                    <a:pt x="2143" y="2857"/>
                  </a:cubicBezTo>
                  <a:cubicBezTo>
                    <a:pt x="2423" y="2913"/>
                    <a:pt x="2952" y="3743"/>
                    <a:pt x="3036" y="4170"/>
                  </a:cubicBezTo>
                  <a:cubicBezTo>
                    <a:pt x="3078" y="4398"/>
                    <a:pt x="3277" y="4562"/>
                    <a:pt x="3474" y="4727"/>
                  </a:cubicBezTo>
                  <a:cubicBezTo>
                    <a:pt x="3610" y="4842"/>
                    <a:pt x="3743" y="4954"/>
                    <a:pt x="3824" y="5087"/>
                  </a:cubicBezTo>
                  <a:cubicBezTo>
                    <a:pt x="3929" y="5269"/>
                    <a:pt x="4258" y="5511"/>
                    <a:pt x="4496" y="5686"/>
                  </a:cubicBezTo>
                  <a:cubicBezTo>
                    <a:pt x="4667" y="5812"/>
                    <a:pt x="4765" y="5885"/>
                    <a:pt x="4804" y="5938"/>
                  </a:cubicBezTo>
                  <a:cubicBezTo>
                    <a:pt x="4835" y="5983"/>
                    <a:pt x="4863" y="6029"/>
                    <a:pt x="4891" y="6081"/>
                  </a:cubicBezTo>
                  <a:cubicBezTo>
                    <a:pt x="4912" y="6127"/>
                    <a:pt x="4940" y="6169"/>
                    <a:pt x="4972" y="6211"/>
                  </a:cubicBezTo>
                  <a:cubicBezTo>
                    <a:pt x="5014" y="6143"/>
                    <a:pt x="5088" y="6120"/>
                    <a:pt x="5174" y="6120"/>
                  </a:cubicBezTo>
                  <a:cubicBezTo>
                    <a:pt x="5264" y="6120"/>
                    <a:pt x="5367" y="6146"/>
                    <a:pt x="5458" y="6169"/>
                  </a:cubicBezTo>
                  <a:cubicBezTo>
                    <a:pt x="5511" y="6179"/>
                    <a:pt x="5560" y="6193"/>
                    <a:pt x="5613" y="6200"/>
                  </a:cubicBezTo>
                  <a:cubicBezTo>
                    <a:pt x="5683" y="6183"/>
                    <a:pt x="5756" y="5749"/>
                    <a:pt x="5735" y="5465"/>
                  </a:cubicBezTo>
                  <a:cubicBezTo>
                    <a:pt x="5732" y="5329"/>
                    <a:pt x="5749" y="5189"/>
                    <a:pt x="5788" y="5056"/>
                  </a:cubicBezTo>
                  <a:cubicBezTo>
                    <a:pt x="5802" y="5003"/>
                    <a:pt x="5812" y="4951"/>
                    <a:pt x="5816" y="4895"/>
                  </a:cubicBezTo>
                  <a:cubicBezTo>
                    <a:pt x="5812" y="4835"/>
                    <a:pt x="5837" y="4776"/>
                    <a:pt x="5886" y="4737"/>
                  </a:cubicBezTo>
                  <a:cubicBezTo>
                    <a:pt x="5923" y="4707"/>
                    <a:pt x="5970" y="4692"/>
                    <a:pt x="6029" y="4692"/>
                  </a:cubicBezTo>
                  <a:cubicBezTo>
                    <a:pt x="6058" y="4692"/>
                    <a:pt x="6089" y="4695"/>
                    <a:pt x="6124" y="4702"/>
                  </a:cubicBezTo>
                  <a:lnTo>
                    <a:pt x="6127" y="4702"/>
                  </a:lnTo>
                  <a:cubicBezTo>
                    <a:pt x="6148" y="4667"/>
                    <a:pt x="6155" y="4629"/>
                    <a:pt x="6145" y="4590"/>
                  </a:cubicBezTo>
                  <a:cubicBezTo>
                    <a:pt x="6145" y="4552"/>
                    <a:pt x="6131" y="4517"/>
                    <a:pt x="6106" y="4489"/>
                  </a:cubicBezTo>
                  <a:cubicBezTo>
                    <a:pt x="6040" y="4471"/>
                    <a:pt x="5998" y="4394"/>
                    <a:pt x="5949" y="4310"/>
                  </a:cubicBezTo>
                  <a:cubicBezTo>
                    <a:pt x="5882" y="4191"/>
                    <a:pt x="5805" y="4054"/>
                    <a:pt x="5672" y="4054"/>
                  </a:cubicBezTo>
                  <a:cubicBezTo>
                    <a:pt x="5585" y="4054"/>
                    <a:pt x="5543" y="4082"/>
                    <a:pt x="5539" y="4107"/>
                  </a:cubicBezTo>
                  <a:cubicBezTo>
                    <a:pt x="5539" y="4131"/>
                    <a:pt x="5564" y="4163"/>
                    <a:pt x="5613" y="4167"/>
                  </a:cubicBezTo>
                  <a:cubicBezTo>
                    <a:pt x="5714" y="4174"/>
                    <a:pt x="5805" y="4230"/>
                    <a:pt x="5861" y="4314"/>
                  </a:cubicBezTo>
                  <a:cubicBezTo>
                    <a:pt x="5900" y="4377"/>
                    <a:pt x="5903" y="4450"/>
                    <a:pt x="5875" y="4517"/>
                  </a:cubicBezTo>
                  <a:cubicBezTo>
                    <a:pt x="5865" y="4548"/>
                    <a:pt x="5840" y="4576"/>
                    <a:pt x="5805" y="4587"/>
                  </a:cubicBezTo>
                  <a:cubicBezTo>
                    <a:pt x="5798" y="4588"/>
                    <a:pt x="5792" y="4589"/>
                    <a:pt x="5786" y="4589"/>
                  </a:cubicBezTo>
                  <a:cubicBezTo>
                    <a:pt x="5746" y="4589"/>
                    <a:pt x="5713" y="4562"/>
                    <a:pt x="5683" y="4538"/>
                  </a:cubicBezTo>
                  <a:cubicBezTo>
                    <a:pt x="5630" y="4485"/>
                    <a:pt x="5557" y="4457"/>
                    <a:pt x="5483" y="4457"/>
                  </a:cubicBezTo>
                  <a:cubicBezTo>
                    <a:pt x="5474" y="4458"/>
                    <a:pt x="5464" y="4458"/>
                    <a:pt x="5456" y="4458"/>
                  </a:cubicBezTo>
                  <a:cubicBezTo>
                    <a:pt x="5314" y="4458"/>
                    <a:pt x="5282" y="4355"/>
                    <a:pt x="5259" y="4282"/>
                  </a:cubicBezTo>
                  <a:cubicBezTo>
                    <a:pt x="5234" y="4209"/>
                    <a:pt x="5220" y="4170"/>
                    <a:pt x="5133" y="4167"/>
                  </a:cubicBezTo>
                  <a:cubicBezTo>
                    <a:pt x="4968" y="4156"/>
                    <a:pt x="4898" y="4005"/>
                    <a:pt x="4846" y="3886"/>
                  </a:cubicBezTo>
                  <a:cubicBezTo>
                    <a:pt x="4786" y="3760"/>
                    <a:pt x="4744" y="3680"/>
                    <a:pt x="4653" y="3680"/>
                  </a:cubicBezTo>
                  <a:cubicBezTo>
                    <a:pt x="4510" y="3680"/>
                    <a:pt x="4408" y="3624"/>
                    <a:pt x="4370" y="3529"/>
                  </a:cubicBezTo>
                  <a:cubicBezTo>
                    <a:pt x="4331" y="3421"/>
                    <a:pt x="4380" y="3284"/>
                    <a:pt x="4496" y="3179"/>
                  </a:cubicBezTo>
                  <a:cubicBezTo>
                    <a:pt x="4503" y="3169"/>
                    <a:pt x="4517" y="3158"/>
                    <a:pt x="4513" y="3148"/>
                  </a:cubicBezTo>
                  <a:cubicBezTo>
                    <a:pt x="4513" y="3116"/>
                    <a:pt x="4443" y="3053"/>
                    <a:pt x="4391" y="3008"/>
                  </a:cubicBezTo>
                  <a:cubicBezTo>
                    <a:pt x="4300" y="2931"/>
                    <a:pt x="4198" y="2840"/>
                    <a:pt x="4198" y="2724"/>
                  </a:cubicBezTo>
                  <a:cubicBezTo>
                    <a:pt x="4198" y="2682"/>
                    <a:pt x="4184" y="2675"/>
                    <a:pt x="4093" y="2654"/>
                  </a:cubicBezTo>
                  <a:cubicBezTo>
                    <a:pt x="4023" y="2640"/>
                    <a:pt x="3908" y="2612"/>
                    <a:pt x="3908" y="2483"/>
                  </a:cubicBezTo>
                  <a:cubicBezTo>
                    <a:pt x="3908" y="2441"/>
                    <a:pt x="3904" y="2437"/>
                    <a:pt x="3852" y="2413"/>
                  </a:cubicBezTo>
                  <a:cubicBezTo>
                    <a:pt x="3771" y="2378"/>
                    <a:pt x="3698" y="2322"/>
                    <a:pt x="3645" y="2248"/>
                  </a:cubicBezTo>
                  <a:cubicBezTo>
                    <a:pt x="3594" y="2177"/>
                    <a:pt x="3566" y="2174"/>
                    <a:pt x="3527" y="2174"/>
                  </a:cubicBezTo>
                  <a:cubicBezTo>
                    <a:pt x="3523" y="2174"/>
                    <a:pt x="3519" y="2175"/>
                    <a:pt x="3516" y="2175"/>
                  </a:cubicBezTo>
                  <a:cubicBezTo>
                    <a:pt x="3505" y="2176"/>
                    <a:pt x="3495" y="2177"/>
                    <a:pt x="3485" y="2177"/>
                  </a:cubicBezTo>
                  <a:cubicBezTo>
                    <a:pt x="3416" y="2177"/>
                    <a:pt x="3352" y="2146"/>
                    <a:pt x="3309" y="2091"/>
                  </a:cubicBezTo>
                  <a:cubicBezTo>
                    <a:pt x="3216" y="1986"/>
                    <a:pt x="3098" y="1920"/>
                    <a:pt x="3012" y="1920"/>
                  </a:cubicBezTo>
                  <a:cubicBezTo>
                    <a:pt x="2994" y="1920"/>
                    <a:pt x="2977" y="1923"/>
                    <a:pt x="2962" y="1929"/>
                  </a:cubicBezTo>
                  <a:cubicBezTo>
                    <a:pt x="2943" y="1937"/>
                    <a:pt x="2922" y="1941"/>
                    <a:pt x="2902" y="1941"/>
                  </a:cubicBezTo>
                  <a:cubicBezTo>
                    <a:pt x="2875" y="1941"/>
                    <a:pt x="2848" y="1934"/>
                    <a:pt x="2822" y="1922"/>
                  </a:cubicBezTo>
                  <a:cubicBezTo>
                    <a:pt x="2672" y="1856"/>
                    <a:pt x="2486" y="1635"/>
                    <a:pt x="2406" y="1422"/>
                  </a:cubicBezTo>
                  <a:cubicBezTo>
                    <a:pt x="2378" y="1348"/>
                    <a:pt x="2192" y="1215"/>
                    <a:pt x="2028" y="1100"/>
                  </a:cubicBezTo>
                  <a:cubicBezTo>
                    <a:pt x="1790" y="935"/>
                    <a:pt x="1545" y="764"/>
                    <a:pt x="1485" y="596"/>
                  </a:cubicBezTo>
                  <a:cubicBezTo>
                    <a:pt x="1407" y="375"/>
                    <a:pt x="1202" y="268"/>
                    <a:pt x="842" y="268"/>
                  </a:cubicBezTo>
                  <a:cubicBezTo>
                    <a:pt x="815" y="268"/>
                    <a:pt x="786" y="269"/>
                    <a:pt x="757" y="270"/>
                  </a:cubicBezTo>
                  <a:cubicBezTo>
                    <a:pt x="750" y="270"/>
                    <a:pt x="744" y="270"/>
                    <a:pt x="737" y="270"/>
                  </a:cubicBezTo>
                  <a:cubicBezTo>
                    <a:pt x="499" y="270"/>
                    <a:pt x="334" y="149"/>
                    <a:pt x="221" y="67"/>
                  </a:cubicBezTo>
                  <a:cubicBezTo>
                    <a:pt x="190" y="39"/>
                    <a:pt x="155" y="15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4" name="Google Shape;7484;p53"/>
            <p:cNvSpPr/>
            <p:nvPr/>
          </p:nvSpPr>
          <p:spPr>
            <a:xfrm>
              <a:off x="2846320" y="2013450"/>
              <a:ext cx="74445" cy="60949"/>
            </a:xfrm>
            <a:custGeom>
              <a:avLst/>
              <a:gdLst/>
              <a:ahLst/>
              <a:cxnLst/>
              <a:rect l="l" t="t" r="r" b="b"/>
              <a:pathLst>
                <a:path w="5483" h="4489" extrusionOk="0">
                  <a:moveTo>
                    <a:pt x="4422" y="1"/>
                  </a:moveTo>
                  <a:cubicBezTo>
                    <a:pt x="4235" y="1"/>
                    <a:pt x="4018" y="15"/>
                    <a:pt x="3921" y="118"/>
                  </a:cubicBezTo>
                  <a:cubicBezTo>
                    <a:pt x="3879" y="167"/>
                    <a:pt x="3858" y="226"/>
                    <a:pt x="3869" y="289"/>
                  </a:cubicBezTo>
                  <a:cubicBezTo>
                    <a:pt x="3890" y="580"/>
                    <a:pt x="3732" y="643"/>
                    <a:pt x="3627" y="688"/>
                  </a:cubicBezTo>
                  <a:cubicBezTo>
                    <a:pt x="3543" y="723"/>
                    <a:pt x="3540" y="730"/>
                    <a:pt x="3543" y="772"/>
                  </a:cubicBezTo>
                  <a:cubicBezTo>
                    <a:pt x="3564" y="905"/>
                    <a:pt x="3508" y="979"/>
                    <a:pt x="3456" y="1045"/>
                  </a:cubicBezTo>
                  <a:cubicBezTo>
                    <a:pt x="3396" y="1108"/>
                    <a:pt x="3368" y="1199"/>
                    <a:pt x="3382" y="1290"/>
                  </a:cubicBezTo>
                  <a:cubicBezTo>
                    <a:pt x="3389" y="1339"/>
                    <a:pt x="3386" y="1389"/>
                    <a:pt x="3375" y="1438"/>
                  </a:cubicBezTo>
                  <a:cubicBezTo>
                    <a:pt x="3344" y="1550"/>
                    <a:pt x="3242" y="1567"/>
                    <a:pt x="3141" y="1592"/>
                  </a:cubicBezTo>
                  <a:cubicBezTo>
                    <a:pt x="3071" y="1602"/>
                    <a:pt x="3004" y="1620"/>
                    <a:pt x="2938" y="1644"/>
                  </a:cubicBezTo>
                  <a:cubicBezTo>
                    <a:pt x="2913" y="1655"/>
                    <a:pt x="2889" y="1665"/>
                    <a:pt x="2861" y="1679"/>
                  </a:cubicBezTo>
                  <a:cubicBezTo>
                    <a:pt x="2773" y="1722"/>
                    <a:pt x="2711" y="1739"/>
                    <a:pt x="2662" y="1739"/>
                  </a:cubicBezTo>
                  <a:cubicBezTo>
                    <a:pt x="2596" y="1739"/>
                    <a:pt x="2555" y="1707"/>
                    <a:pt x="2511" y="1665"/>
                  </a:cubicBezTo>
                  <a:cubicBezTo>
                    <a:pt x="2466" y="1615"/>
                    <a:pt x="2403" y="1587"/>
                    <a:pt x="2334" y="1587"/>
                  </a:cubicBezTo>
                  <a:cubicBezTo>
                    <a:pt x="2327" y="1587"/>
                    <a:pt x="2319" y="1587"/>
                    <a:pt x="2311" y="1588"/>
                  </a:cubicBezTo>
                  <a:cubicBezTo>
                    <a:pt x="2302" y="1588"/>
                    <a:pt x="2293" y="1587"/>
                    <a:pt x="2285" y="1587"/>
                  </a:cubicBezTo>
                  <a:cubicBezTo>
                    <a:pt x="2171" y="1587"/>
                    <a:pt x="2059" y="1629"/>
                    <a:pt x="1971" y="1707"/>
                  </a:cubicBezTo>
                  <a:cubicBezTo>
                    <a:pt x="1915" y="1753"/>
                    <a:pt x="1852" y="1788"/>
                    <a:pt x="1782" y="1812"/>
                  </a:cubicBezTo>
                  <a:cubicBezTo>
                    <a:pt x="1715" y="1834"/>
                    <a:pt x="1630" y="1839"/>
                    <a:pt x="1541" y="1839"/>
                  </a:cubicBezTo>
                  <a:cubicBezTo>
                    <a:pt x="1499" y="1839"/>
                    <a:pt x="1457" y="1838"/>
                    <a:pt x="1415" y="1837"/>
                  </a:cubicBezTo>
                  <a:cubicBezTo>
                    <a:pt x="1372" y="1835"/>
                    <a:pt x="1327" y="1834"/>
                    <a:pt x="1284" y="1834"/>
                  </a:cubicBezTo>
                  <a:cubicBezTo>
                    <a:pt x="1200" y="1834"/>
                    <a:pt x="1124" y="1840"/>
                    <a:pt x="1089" y="1868"/>
                  </a:cubicBezTo>
                  <a:cubicBezTo>
                    <a:pt x="1082" y="1872"/>
                    <a:pt x="1075" y="1875"/>
                    <a:pt x="1068" y="1882"/>
                  </a:cubicBezTo>
                  <a:lnTo>
                    <a:pt x="1058" y="1886"/>
                  </a:lnTo>
                  <a:lnTo>
                    <a:pt x="1044" y="1889"/>
                  </a:lnTo>
                  <a:lnTo>
                    <a:pt x="1033" y="1893"/>
                  </a:lnTo>
                  <a:lnTo>
                    <a:pt x="1023" y="1896"/>
                  </a:lnTo>
                  <a:lnTo>
                    <a:pt x="995" y="1896"/>
                  </a:lnTo>
                  <a:cubicBezTo>
                    <a:pt x="984" y="1896"/>
                    <a:pt x="977" y="1896"/>
                    <a:pt x="970" y="1893"/>
                  </a:cubicBezTo>
                  <a:lnTo>
                    <a:pt x="960" y="1893"/>
                  </a:lnTo>
                  <a:cubicBezTo>
                    <a:pt x="953" y="1893"/>
                    <a:pt x="942" y="1889"/>
                    <a:pt x="932" y="1886"/>
                  </a:cubicBezTo>
                  <a:lnTo>
                    <a:pt x="928" y="1886"/>
                  </a:lnTo>
                  <a:cubicBezTo>
                    <a:pt x="921" y="1882"/>
                    <a:pt x="911" y="1879"/>
                    <a:pt x="904" y="1875"/>
                  </a:cubicBezTo>
                  <a:lnTo>
                    <a:pt x="897" y="1872"/>
                  </a:lnTo>
                  <a:cubicBezTo>
                    <a:pt x="886" y="1865"/>
                    <a:pt x="876" y="1861"/>
                    <a:pt x="869" y="1854"/>
                  </a:cubicBezTo>
                  <a:lnTo>
                    <a:pt x="862" y="1851"/>
                  </a:lnTo>
                  <a:lnTo>
                    <a:pt x="837" y="1833"/>
                  </a:lnTo>
                  <a:lnTo>
                    <a:pt x="830" y="1830"/>
                  </a:lnTo>
                  <a:lnTo>
                    <a:pt x="806" y="1809"/>
                  </a:lnTo>
                  <a:lnTo>
                    <a:pt x="802" y="1805"/>
                  </a:lnTo>
                  <a:lnTo>
                    <a:pt x="778" y="1784"/>
                  </a:lnTo>
                  <a:lnTo>
                    <a:pt x="771" y="1777"/>
                  </a:lnTo>
                  <a:lnTo>
                    <a:pt x="746" y="1756"/>
                  </a:lnTo>
                  <a:cubicBezTo>
                    <a:pt x="697" y="1718"/>
                    <a:pt x="627" y="1655"/>
                    <a:pt x="599" y="1655"/>
                  </a:cubicBezTo>
                  <a:cubicBezTo>
                    <a:pt x="596" y="1656"/>
                    <a:pt x="593" y="1657"/>
                    <a:pt x="590" y="1657"/>
                  </a:cubicBezTo>
                  <a:cubicBezTo>
                    <a:pt x="588" y="1657"/>
                    <a:pt x="585" y="1656"/>
                    <a:pt x="582" y="1655"/>
                  </a:cubicBezTo>
                  <a:lnTo>
                    <a:pt x="564" y="1655"/>
                  </a:lnTo>
                  <a:lnTo>
                    <a:pt x="557" y="1651"/>
                  </a:lnTo>
                  <a:lnTo>
                    <a:pt x="550" y="1648"/>
                  </a:lnTo>
                  <a:lnTo>
                    <a:pt x="543" y="1644"/>
                  </a:lnTo>
                  <a:lnTo>
                    <a:pt x="533" y="1637"/>
                  </a:lnTo>
                  <a:lnTo>
                    <a:pt x="526" y="1634"/>
                  </a:lnTo>
                  <a:lnTo>
                    <a:pt x="519" y="1627"/>
                  </a:lnTo>
                  <a:lnTo>
                    <a:pt x="512" y="1620"/>
                  </a:lnTo>
                  <a:lnTo>
                    <a:pt x="505" y="1609"/>
                  </a:lnTo>
                  <a:lnTo>
                    <a:pt x="498" y="1602"/>
                  </a:lnTo>
                  <a:lnTo>
                    <a:pt x="491" y="1592"/>
                  </a:lnTo>
                  <a:lnTo>
                    <a:pt x="484" y="1581"/>
                  </a:lnTo>
                  <a:lnTo>
                    <a:pt x="477" y="1571"/>
                  </a:lnTo>
                  <a:lnTo>
                    <a:pt x="470" y="1560"/>
                  </a:lnTo>
                  <a:lnTo>
                    <a:pt x="463" y="1546"/>
                  </a:lnTo>
                  <a:lnTo>
                    <a:pt x="456" y="1532"/>
                  </a:lnTo>
                  <a:lnTo>
                    <a:pt x="452" y="1518"/>
                  </a:lnTo>
                  <a:lnTo>
                    <a:pt x="445" y="1504"/>
                  </a:lnTo>
                  <a:lnTo>
                    <a:pt x="438" y="1487"/>
                  </a:lnTo>
                  <a:lnTo>
                    <a:pt x="431" y="1469"/>
                  </a:lnTo>
                  <a:lnTo>
                    <a:pt x="424" y="1452"/>
                  </a:lnTo>
                  <a:lnTo>
                    <a:pt x="417" y="1434"/>
                  </a:lnTo>
                  <a:lnTo>
                    <a:pt x="414" y="1417"/>
                  </a:lnTo>
                  <a:lnTo>
                    <a:pt x="407" y="1396"/>
                  </a:lnTo>
                  <a:lnTo>
                    <a:pt x="400" y="1375"/>
                  </a:lnTo>
                  <a:lnTo>
                    <a:pt x="393" y="1353"/>
                  </a:lnTo>
                  <a:lnTo>
                    <a:pt x="389" y="1329"/>
                  </a:lnTo>
                  <a:lnTo>
                    <a:pt x="382" y="1304"/>
                  </a:lnTo>
                  <a:lnTo>
                    <a:pt x="386" y="1294"/>
                  </a:lnTo>
                  <a:lnTo>
                    <a:pt x="386" y="1294"/>
                  </a:lnTo>
                  <a:cubicBezTo>
                    <a:pt x="298" y="1301"/>
                    <a:pt x="126" y="1483"/>
                    <a:pt x="56" y="1686"/>
                  </a:cubicBezTo>
                  <a:cubicBezTo>
                    <a:pt x="39" y="1742"/>
                    <a:pt x="0" y="1879"/>
                    <a:pt x="70" y="1942"/>
                  </a:cubicBezTo>
                  <a:cubicBezTo>
                    <a:pt x="235" y="2096"/>
                    <a:pt x="270" y="2302"/>
                    <a:pt x="302" y="2467"/>
                  </a:cubicBezTo>
                  <a:cubicBezTo>
                    <a:pt x="319" y="2565"/>
                    <a:pt x="333" y="2656"/>
                    <a:pt x="372" y="2712"/>
                  </a:cubicBezTo>
                  <a:cubicBezTo>
                    <a:pt x="417" y="2768"/>
                    <a:pt x="473" y="2813"/>
                    <a:pt x="540" y="2848"/>
                  </a:cubicBezTo>
                  <a:cubicBezTo>
                    <a:pt x="676" y="2936"/>
                    <a:pt x="851" y="3044"/>
                    <a:pt x="851" y="3296"/>
                  </a:cubicBezTo>
                  <a:cubicBezTo>
                    <a:pt x="851" y="3538"/>
                    <a:pt x="1023" y="3888"/>
                    <a:pt x="1177" y="3969"/>
                  </a:cubicBezTo>
                  <a:cubicBezTo>
                    <a:pt x="1189" y="3977"/>
                    <a:pt x="1204" y="3982"/>
                    <a:pt x="1219" y="3982"/>
                  </a:cubicBezTo>
                  <a:cubicBezTo>
                    <a:pt x="1234" y="3982"/>
                    <a:pt x="1250" y="3977"/>
                    <a:pt x="1264" y="3969"/>
                  </a:cubicBezTo>
                  <a:cubicBezTo>
                    <a:pt x="1315" y="3931"/>
                    <a:pt x="1378" y="3909"/>
                    <a:pt x="1440" y="3909"/>
                  </a:cubicBezTo>
                  <a:cubicBezTo>
                    <a:pt x="1465" y="3909"/>
                    <a:pt x="1489" y="3913"/>
                    <a:pt x="1513" y="3920"/>
                  </a:cubicBezTo>
                  <a:cubicBezTo>
                    <a:pt x="1677" y="3962"/>
                    <a:pt x="1772" y="4151"/>
                    <a:pt x="1796" y="4207"/>
                  </a:cubicBezTo>
                  <a:cubicBezTo>
                    <a:pt x="1803" y="4212"/>
                    <a:pt x="1816" y="4214"/>
                    <a:pt x="1833" y="4214"/>
                  </a:cubicBezTo>
                  <a:cubicBezTo>
                    <a:pt x="1905" y="4214"/>
                    <a:pt x="2052" y="4173"/>
                    <a:pt x="2129" y="4147"/>
                  </a:cubicBezTo>
                  <a:cubicBezTo>
                    <a:pt x="2227" y="4116"/>
                    <a:pt x="2329" y="4095"/>
                    <a:pt x="2434" y="4084"/>
                  </a:cubicBezTo>
                  <a:cubicBezTo>
                    <a:pt x="2448" y="4084"/>
                    <a:pt x="2462" y="4084"/>
                    <a:pt x="2476" y="4088"/>
                  </a:cubicBezTo>
                  <a:lnTo>
                    <a:pt x="2486" y="4088"/>
                  </a:lnTo>
                  <a:cubicBezTo>
                    <a:pt x="2812" y="4154"/>
                    <a:pt x="3190" y="4256"/>
                    <a:pt x="3225" y="4462"/>
                  </a:cubicBezTo>
                  <a:cubicBezTo>
                    <a:pt x="3225" y="4476"/>
                    <a:pt x="3228" y="4476"/>
                    <a:pt x="3232" y="4480"/>
                  </a:cubicBezTo>
                  <a:cubicBezTo>
                    <a:pt x="3243" y="4486"/>
                    <a:pt x="3260" y="4489"/>
                    <a:pt x="3280" y="4489"/>
                  </a:cubicBezTo>
                  <a:cubicBezTo>
                    <a:pt x="3393" y="4489"/>
                    <a:pt x="3624" y="4399"/>
                    <a:pt x="3785" y="4336"/>
                  </a:cubicBezTo>
                  <a:cubicBezTo>
                    <a:pt x="3834" y="4319"/>
                    <a:pt x="3883" y="4301"/>
                    <a:pt x="3928" y="4284"/>
                  </a:cubicBezTo>
                  <a:cubicBezTo>
                    <a:pt x="4047" y="4238"/>
                    <a:pt x="4079" y="3972"/>
                    <a:pt x="4103" y="3738"/>
                  </a:cubicBezTo>
                  <a:cubicBezTo>
                    <a:pt x="4135" y="3465"/>
                    <a:pt x="4166" y="3181"/>
                    <a:pt x="4338" y="3076"/>
                  </a:cubicBezTo>
                  <a:cubicBezTo>
                    <a:pt x="4625" y="2901"/>
                    <a:pt x="4653" y="2554"/>
                    <a:pt x="4629" y="2299"/>
                  </a:cubicBezTo>
                  <a:cubicBezTo>
                    <a:pt x="4601" y="2036"/>
                    <a:pt x="4937" y="1945"/>
                    <a:pt x="5206" y="1872"/>
                  </a:cubicBezTo>
                  <a:cubicBezTo>
                    <a:pt x="5311" y="1844"/>
                    <a:pt x="5441" y="1809"/>
                    <a:pt x="5469" y="1781"/>
                  </a:cubicBezTo>
                  <a:cubicBezTo>
                    <a:pt x="5479" y="1770"/>
                    <a:pt x="5483" y="1756"/>
                    <a:pt x="5479" y="1742"/>
                  </a:cubicBezTo>
                  <a:cubicBezTo>
                    <a:pt x="5462" y="1662"/>
                    <a:pt x="5301" y="1529"/>
                    <a:pt x="5119" y="1445"/>
                  </a:cubicBezTo>
                  <a:cubicBezTo>
                    <a:pt x="4965" y="1375"/>
                    <a:pt x="4968" y="1248"/>
                    <a:pt x="4968" y="1157"/>
                  </a:cubicBezTo>
                  <a:cubicBezTo>
                    <a:pt x="4968" y="1084"/>
                    <a:pt x="4968" y="1035"/>
                    <a:pt x="4923" y="1000"/>
                  </a:cubicBezTo>
                  <a:cubicBezTo>
                    <a:pt x="4832" y="916"/>
                    <a:pt x="4597" y="650"/>
                    <a:pt x="4650" y="492"/>
                  </a:cubicBezTo>
                  <a:cubicBezTo>
                    <a:pt x="4671" y="433"/>
                    <a:pt x="4723" y="398"/>
                    <a:pt x="4786" y="398"/>
                  </a:cubicBezTo>
                  <a:lnTo>
                    <a:pt x="4793" y="398"/>
                  </a:lnTo>
                  <a:cubicBezTo>
                    <a:pt x="4783" y="373"/>
                    <a:pt x="4772" y="345"/>
                    <a:pt x="4758" y="321"/>
                  </a:cubicBezTo>
                  <a:cubicBezTo>
                    <a:pt x="4723" y="244"/>
                    <a:pt x="4660" y="107"/>
                    <a:pt x="4758" y="27"/>
                  </a:cubicBezTo>
                  <a:lnTo>
                    <a:pt x="4755" y="27"/>
                  </a:lnTo>
                  <a:lnTo>
                    <a:pt x="4720" y="13"/>
                  </a:lnTo>
                  <a:lnTo>
                    <a:pt x="4713" y="13"/>
                  </a:lnTo>
                  <a:lnTo>
                    <a:pt x="4688" y="6"/>
                  </a:lnTo>
                  <a:lnTo>
                    <a:pt x="4681" y="6"/>
                  </a:lnTo>
                  <a:lnTo>
                    <a:pt x="4664" y="2"/>
                  </a:lnTo>
                  <a:lnTo>
                    <a:pt x="4545" y="2"/>
                  </a:lnTo>
                  <a:cubicBezTo>
                    <a:pt x="4506" y="2"/>
                    <a:pt x="4465" y="1"/>
                    <a:pt x="44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5" name="Google Shape;7485;p53"/>
            <p:cNvSpPr/>
            <p:nvPr/>
          </p:nvSpPr>
          <p:spPr>
            <a:xfrm>
              <a:off x="2823415" y="2090109"/>
              <a:ext cx="73061" cy="19457"/>
            </a:xfrm>
            <a:custGeom>
              <a:avLst/>
              <a:gdLst/>
              <a:ahLst/>
              <a:cxnLst/>
              <a:rect l="l" t="t" r="r" b="b"/>
              <a:pathLst>
                <a:path w="5381" h="1433" extrusionOk="0">
                  <a:moveTo>
                    <a:pt x="626" y="1"/>
                  </a:moveTo>
                  <a:cubicBezTo>
                    <a:pt x="563" y="1"/>
                    <a:pt x="503" y="6"/>
                    <a:pt x="448" y="17"/>
                  </a:cubicBezTo>
                  <a:cubicBezTo>
                    <a:pt x="357" y="38"/>
                    <a:pt x="294" y="73"/>
                    <a:pt x="266" y="126"/>
                  </a:cubicBezTo>
                  <a:cubicBezTo>
                    <a:pt x="165" y="301"/>
                    <a:pt x="56" y="318"/>
                    <a:pt x="0" y="325"/>
                  </a:cubicBezTo>
                  <a:cubicBezTo>
                    <a:pt x="4" y="350"/>
                    <a:pt x="7" y="378"/>
                    <a:pt x="14" y="402"/>
                  </a:cubicBezTo>
                  <a:cubicBezTo>
                    <a:pt x="25" y="445"/>
                    <a:pt x="44" y="463"/>
                    <a:pt x="96" y="463"/>
                  </a:cubicBezTo>
                  <a:cubicBezTo>
                    <a:pt x="125" y="463"/>
                    <a:pt x="164" y="458"/>
                    <a:pt x="217" y="448"/>
                  </a:cubicBezTo>
                  <a:cubicBezTo>
                    <a:pt x="263" y="441"/>
                    <a:pt x="308" y="434"/>
                    <a:pt x="354" y="434"/>
                  </a:cubicBezTo>
                  <a:cubicBezTo>
                    <a:pt x="469" y="434"/>
                    <a:pt x="504" y="528"/>
                    <a:pt x="529" y="598"/>
                  </a:cubicBezTo>
                  <a:cubicBezTo>
                    <a:pt x="560" y="679"/>
                    <a:pt x="581" y="731"/>
                    <a:pt x="655" y="738"/>
                  </a:cubicBezTo>
                  <a:cubicBezTo>
                    <a:pt x="704" y="749"/>
                    <a:pt x="770" y="763"/>
                    <a:pt x="854" y="780"/>
                  </a:cubicBezTo>
                  <a:cubicBezTo>
                    <a:pt x="990" y="810"/>
                    <a:pt x="1302" y="876"/>
                    <a:pt x="1463" y="876"/>
                  </a:cubicBezTo>
                  <a:cubicBezTo>
                    <a:pt x="1510" y="876"/>
                    <a:pt x="1544" y="871"/>
                    <a:pt x="1558" y="857"/>
                  </a:cubicBezTo>
                  <a:cubicBezTo>
                    <a:pt x="1579" y="812"/>
                    <a:pt x="1624" y="780"/>
                    <a:pt x="1673" y="773"/>
                  </a:cubicBezTo>
                  <a:cubicBezTo>
                    <a:pt x="1702" y="767"/>
                    <a:pt x="1737" y="763"/>
                    <a:pt x="1775" y="763"/>
                  </a:cubicBezTo>
                  <a:cubicBezTo>
                    <a:pt x="2021" y="763"/>
                    <a:pt x="2444" y="893"/>
                    <a:pt x="2692" y="1095"/>
                  </a:cubicBezTo>
                  <a:cubicBezTo>
                    <a:pt x="2903" y="1265"/>
                    <a:pt x="3347" y="1327"/>
                    <a:pt x="3687" y="1327"/>
                  </a:cubicBezTo>
                  <a:cubicBezTo>
                    <a:pt x="3810" y="1327"/>
                    <a:pt x="3918" y="1319"/>
                    <a:pt x="3998" y="1305"/>
                  </a:cubicBezTo>
                  <a:cubicBezTo>
                    <a:pt x="4026" y="1301"/>
                    <a:pt x="4055" y="1299"/>
                    <a:pt x="4084" y="1299"/>
                  </a:cubicBezTo>
                  <a:cubicBezTo>
                    <a:pt x="4199" y="1299"/>
                    <a:pt x="4314" y="1329"/>
                    <a:pt x="4415" y="1354"/>
                  </a:cubicBezTo>
                  <a:cubicBezTo>
                    <a:pt x="4500" y="1379"/>
                    <a:pt x="4566" y="1397"/>
                    <a:pt x="4613" y="1397"/>
                  </a:cubicBezTo>
                  <a:cubicBezTo>
                    <a:pt x="4645" y="1397"/>
                    <a:pt x="4668" y="1388"/>
                    <a:pt x="4681" y="1368"/>
                  </a:cubicBezTo>
                  <a:cubicBezTo>
                    <a:pt x="4705" y="1326"/>
                    <a:pt x="4751" y="1302"/>
                    <a:pt x="4800" y="1302"/>
                  </a:cubicBezTo>
                  <a:cubicBezTo>
                    <a:pt x="4856" y="1305"/>
                    <a:pt x="4915" y="1326"/>
                    <a:pt x="4964" y="1361"/>
                  </a:cubicBezTo>
                  <a:cubicBezTo>
                    <a:pt x="5030" y="1397"/>
                    <a:pt x="5097" y="1433"/>
                    <a:pt x="5172" y="1433"/>
                  </a:cubicBezTo>
                  <a:cubicBezTo>
                    <a:pt x="5223" y="1433"/>
                    <a:pt x="5279" y="1416"/>
                    <a:pt x="5342" y="1368"/>
                  </a:cubicBezTo>
                  <a:cubicBezTo>
                    <a:pt x="5356" y="1358"/>
                    <a:pt x="5370" y="1347"/>
                    <a:pt x="5381" y="1337"/>
                  </a:cubicBezTo>
                  <a:cubicBezTo>
                    <a:pt x="5311" y="1312"/>
                    <a:pt x="5237" y="1298"/>
                    <a:pt x="5167" y="1288"/>
                  </a:cubicBezTo>
                  <a:cubicBezTo>
                    <a:pt x="4975" y="1256"/>
                    <a:pt x="4779" y="1225"/>
                    <a:pt x="4768" y="1085"/>
                  </a:cubicBezTo>
                  <a:cubicBezTo>
                    <a:pt x="4766" y="1053"/>
                    <a:pt x="4631" y="1049"/>
                    <a:pt x="4517" y="1049"/>
                  </a:cubicBezTo>
                  <a:cubicBezTo>
                    <a:pt x="4478" y="1049"/>
                    <a:pt x="4443" y="1050"/>
                    <a:pt x="4415" y="1050"/>
                  </a:cubicBezTo>
                  <a:cubicBezTo>
                    <a:pt x="4360" y="1052"/>
                    <a:pt x="4304" y="1053"/>
                    <a:pt x="4248" y="1053"/>
                  </a:cubicBezTo>
                  <a:cubicBezTo>
                    <a:pt x="4105" y="1053"/>
                    <a:pt x="3962" y="1042"/>
                    <a:pt x="3854" y="997"/>
                  </a:cubicBezTo>
                  <a:cubicBezTo>
                    <a:pt x="3823" y="983"/>
                    <a:pt x="3728" y="945"/>
                    <a:pt x="3732" y="861"/>
                  </a:cubicBezTo>
                  <a:cubicBezTo>
                    <a:pt x="3735" y="759"/>
                    <a:pt x="3868" y="707"/>
                    <a:pt x="4110" y="623"/>
                  </a:cubicBezTo>
                  <a:cubicBezTo>
                    <a:pt x="4205" y="595"/>
                    <a:pt x="4296" y="556"/>
                    <a:pt x="4383" y="511"/>
                  </a:cubicBezTo>
                  <a:cubicBezTo>
                    <a:pt x="4371" y="510"/>
                    <a:pt x="4356" y="509"/>
                    <a:pt x="4340" y="509"/>
                  </a:cubicBezTo>
                  <a:cubicBezTo>
                    <a:pt x="4239" y="509"/>
                    <a:pt x="4058" y="530"/>
                    <a:pt x="3802" y="609"/>
                  </a:cubicBezTo>
                  <a:cubicBezTo>
                    <a:pt x="3721" y="634"/>
                    <a:pt x="3639" y="645"/>
                    <a:pt x="3558" y="645"/>
                  </a:cubicBezTo>
                  <a:cubicBezTo>
                    <a:pt x="3329" y="645"/>
                    <a:pt x="3110" y="560"/>
                    <a:pt x="2934" y="493"/>
                  </a:cubicBezTo>
                  <a:cubicBezTo>
                    <a:pt x="2864" y="462"/>
                    <a:pt x="2794" y="441"/>
                    <a:pt x="2717" y="423"/>
                  </a:cubicBezTo>
                  <a:cubicBezTo>
                    <a:pt x="2713" y="476"/>
                    <a:pt x="2682" y="518"/>
                    <a:pt x="2636" y="535"/>
                  </a:cubicBezTo>
                  <a:cubicBezTo>
                    <a:pt x="2601" y="552"/>
                    <a:pt x="2554" y="559"/>
                    <a:pt x="2498" y="559"/>
                  </a:cubicBezTo>
                  <a:cubicBezTo>
                    <a:pt x="2190" y="559"/>
                    <a:pt x="1621" y="335"/>
                    <a:pt x="1449" y="213"/>
                  </a:cubicBezTo>
                  <a:cubicBezTo>
                    <a:pt x="1324" y="123"/>
                    <a:pt x="939" y="1"/>
                    <a:pt x="6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6" name="Google Shape;7486;p53"/>
            <p:cNvSpPr/>
            <p:nvPr/>
          </p:nvSpPr>
          <p:spPr>
            <a:xfrm>
              <a:off x="2838907" y="2066647"/>
              <a:ext cx="2675" cy="2281"/>
            </a:xfrm>
            <a:custGeom>
              <a:avLst/>
              <a:gdLst/>
              <a:ahLst/>
              <a:cxnLst/>
              <a:rect l="l" t="t" r="r" b="b"/>
              <a:pathLst>
                <a:path w="197" h="168" extrusionOk="0">
                  <a:moveTo>
                    <a:pt x="157" y="0"/>
                  </a:moveTo>
                  <a:cubicBezTo>
                    <a:pt x="153" y="0"/>
                    <a:pt x="148" y="1"/>
                    <a:pt x="144" y="2"/>
                  </a:cubicBezTo>
                  <a:cubicBezTo>
                    <a:pt x="105" y="2"/>
                    <a:pt x="70" y="12"/>
                    <a:pt x="35" y="33"/>
                  </a:cubicBezTo>
                  <a:cubicBezTo>
                    <a:pt x="11" y="51"/>
                    <a:pt x="0" y="68"/>
                    <a:pt x="25" y="107"/>
                  </a:cubicBezTo>
                  <a:cubicBezTo>
                    <a:pt x="44" y="132"/>
                    <a:pt x="71" y="168"/>
                    <a:pt x="99" y="168"/>
                  </a:cubicBezTo>
                  <a:cubicBezTo>
                    <a:pt x="102" y="168"/>
                    <a:pt x="105" y="167"/>
                    <a:pt x="109" y="166"/>
                  </a:cubicBezTo>
                  <a:cubicBezTo>
                    <a:pt x="151" y="156"/>
                    <a:pt x="196" y="75"/>
                    <a:pt x="196" y="12"/>
                  </a:cubicBezTo>
                  <a:cubicBezTo>
                    <a:pt x="183" y="4"/>
                    <a:pt x="170" y="0"/>
                    <a:pt x="1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7" name="Google Shape;7487;p53"/>
            <p:cNvSpPr/>
            <p:nvPr/>
          </p:nvSpPr>
          <p:spPr>
            <a:xfrm>
              <a:off x="2928980" y="2107991"/>
              <a:ext cx="29246" cy="3842"/>
            </a:xfrm>
            <a:custGeom>
              <a:avLst/>
              <a:gdLst/>
              <a:ahLst/>
              <a:cxnLst/>
              <a:rect l="l" t="t" r="r" b="b"/>
              <a:pathLst>
                <a:path w="2154" h="283" extrusionOk="0">
                  <a:moveTo>
                    <a:pt x="1999" y="1"/>
                  </a:moveTo>
                  <a:cubicBezTo>
                    <a:pt x="1864" y="1"/>
                    <a:pt x="1740" y="37"/>
                    <a:pt x="1611" y="76"/>
                  </a:cubicBezTo>
                  <a:cubicBezTo>
                    <a:pt x="1482" y="113"/>
                    <a:pt x="1352" y="151"/>
                    <a:pt x="1209" y="151"/>
                  </a:cubicBezTo>
                  <a:cubicBezTo>
                    <a:pt x="1122" y="151"/>
                    <a:pt x="1031" y="137"/>
                    <a:pt x="932" y="100"/>
                  </a:cubicBezTo>
                  <a:cubicBezTo>
                    <a:pt x="808" y="56"/>
                    <a:pt x="672" y="39"/>
                    <a:pt x="543" y="39"/>
                  </a:cubicBezTo>
                  <a:cubicBezTo>
                    <a:pt x="276" y="39"/>
                    <a:pt x="38" y="111"/>
                    <a:pt x="0" y="163"/>
                  </a:cubicBezTo>
                  <a:cubicBezTo>
                    <a:pt x="67" y="254"/>
                    <a:pt x="505" y="268"/>
                    <a:pt x="827" y="282"/>
                  </a:cubicBezTo>
                  <a:cubicBezTo>
                    <a:pt x="837" y="283"/>
                    <a:pt x="848" y="283"/>
                    <a:pt x="858" y="283"/>
                  </a:cubicBezTo>
                  <a:cubicBezTo>
                    <a:pt x="1092" y="283"/>
                    <a:pt x="1315" y="210"/>
                    <a:pt x="1513" y="146"/>
                  </a:cubicBezTo>
                  <a:cubicBezTo>
                    <a:pt x="1663" y="93"/>
                    <a:pt x="1807" y="48"/>
                    <a:pt x="1936" y="41"/>
                  </a:cubicBezTo>
                  <a:cubicBezTo>
                    <a:pt x="2010" y="34"/>
                    <a:pt x="2083" y="27"/>
                    <a:pt x="2153" y="16"/>
                  </a:cubicBezTo>
                  <a:lnTo>
                    <a:pt x="2111" y="9"/>
                  </a:lnTo>
                  <a:cubicBezTo>
                    <a:pt x="2073" y="3"/>
                    <a:pt x="2036" y="1"/>
                    <a:pt x="199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8" name="Google Shape;7488;p53"/>
            <p:cNvSpPr/>
            <p:nvPr/>
          </p:nvSpPr>
          <p:spPr>
            <a:xfrm>
              <a:off x="2771508" y="2053260"/>
              <a:ext cx="2240" cy="3666"/>
            </a:xfrm>
            <a:custGeom>
              <a:avLst/>
              <a:gdLst/>
              <a:ahLst/>
              <a:cxnLst/>
              <a:rect l="l" t="t" r="r" b="b"/>
              <a:pathLst>
                <a:path w="165" h="270" extrusionOk="0">
                  <a:moveTo>
                    <a:pt x="21" y="0"/>
                  </a:moveTo>
                  <a:cubicBezTo>
                    <a:pt x="11" y="11"/>
                    <a:pt x="4" y="21"/>
                    <a:pt x="0" y="35"/>
                  </a:cubicBezTo>
                  <a:cubicBezTo>
                    <a:pt x="14" y="112"/>
                    <a:pt x="49" y="182"/>
                    <a:pt x="105" y="242"/>
                  </a:cubicBezTo>
                  <a:cubicBezTo>
                    <a:pt x="119" y="256"/>
                    <a:pt x="133" y="266"/>
                    <a:pt x="151" y="270"/>
                  </a:cubicBezTo>
                  <a:cubicBezTo>
                    <a:pt x="165" y="259"/>
                    <a:pt x="165" y="203"/>
                    <a:pt x="126" y="123"/>
                  </a:cubicBezTo>
                  <a:cubicBezTo>
                    <a:pt x="88" y="42"/>
                    <a:pt x="35" y="0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9" name="Google Shape;7489;p53"/>
            <p:cNvSpPr/>
            <p:nvPr/>
          </p:nvSpPr>
          <p:spPr>
            <a:xfrm>
              <a:off x="2920182" y="2034251"/>
              <a:ext cx="46788" cy="53482"/>
            </a:xfrm>
            <a:custGeom>
              <a:avLst/>
              <a:gdLst/>
              <a:ahLst/>
              <a:cxnLst/>
              <a:rect l="l" t="t" r="r" b="b"/>
              <a:pathLst>
                <a:path w="3446" h="3939" extrusionOk="0">
                  <a:moveTo>
                    <a:pt x="3446" y="0"/>
                  </a:moveTo>
                  <a:cubicBezTo>
                    <a:pt x="3316" y="70"/>
                    <a:pt x="3190" y="147"/>
                    <a:pt x="3071" y="231"/>
                  </a:cubicBezTo>
                  <a:lnTo>
                    <a:pt x="2962" y="301"/>
                  </a:lnTo>
                  <a:cubicBezTo>
                    <a:pt x="2872" y="360"/>
                    <a:pt x="2742" y="383"/>
                    <a:pt x="2596" y="383"/>
                  </a:cubicBezTo>
                  <a:cubicBezTo>
                    <a:pt x="2190" y="383"/>
                    <a:pt x="1662" y="207"/>
                    <a:pt x="1531" y="161"/>
                  </a:cubicBezTo>
                  <a:cubicBezTo>
                    <a:pt x="1481" y="145"/>
                    <a:pt x="1441" y="137"/>
                    <a:pt x="1407" y="137"/>
                  </a:cubicBezTo>
                  <a:cubicBezTo>
                    <a:pt x="1318" y="137"/>
                    <a:pt x="1271" y="187"/>
                    <a:pt x="1205" y="256"/>
                  </a:cubicBezTo>
                  <a:cubicBezTo>
                    <a:pt x="1135" y="329"/>
                    <a:pt x="1051" y="417"/>
                    <a:pt x="897" y="441"/>
                  </a:cubicBezTo>
                  <a:cubicBezTo>
                    <a:pt x="760" y="462"/>
                    <a:pt x="711" y="704"/>
                    <a:pt x="676" y="893"/>
                  </a:cubicBezTo>
                  <a:cubicBezTo>
                    <a:pt x="641" y="1061"/>
                    <a:pt x="617" y="1194"/>
                    <a:pt x="533" y="1243"/>
                  </a:cubicBezTo>
                  <a:cubicBezTo>
                    <a:pt x="487" y="1267"/>
                    <a:pt x="449" y="1407"/>
                    <a:pt x="410" y="1544"/>
                  </a:cubicBezTo>
                  <a:cubicBezTo>
                    <a:pt x="358" y="1743"/>
                    <a:pt x="281" y="2013"/>
                    <a:pt x="123" y="2272"/>
                  </a:cubicBezTo>
                  <a:cubicBezTo>
                    <a:pt x="60" y="2367"/>
                    <a:pt x="1" y="2503"/>
                    <a:pt x="43" y="2587"/>
                  </a:cubicBezTo>
                  <a:cubicBezTo>
                    <a:pt x="102" y="2699"/>
                    <a:pt x="333" y="2717"/>
                    <a:pt x="410" y="2720"/>
                  </a:cubicBezTo>
                  <a:cubicBezTo>
                    <a:pt x="484" y="2720"/>
                    <a:pt x="550" y="2759"/>
                    <a:pt x="596" y="2818"/>
                  </a:cubicBezTo>
                  <a:cubicBezTo>
                    <a:pt x="704" y="2965"/>
                    <a:pt x="666" y="3235"/>
                    <a:pt x="631" y="3382"/>
                  </a:cubicBezTo>
                  <a:cubicBezTo>
                    <a:pt x="536" y="3791"/>
                    <a:pt x="571" y="3924"/>
                    <a:pt x="589" y="3938"/>
                  </a:cubicBezTo>
                  <a:cubicBezTo>
                    <a:pt x="596" y="3938"/>
                    <a:pt x="603" y="3938"/>
                    <a:pt x="610" y="3935"/>
                  </a:cubicBezTo>
                  <a:cubicBezTo>
                    <a:pt x="767" y="3875"/>
                    <a:pt x="876" y="3725"/>
                    <a:pt x="893" y="3613"/>
                  </a:cubicBezTo>
                  <a:cubicBezTo>
                    <a:pt x="904" y="3578"/>
                    <a:pt x="893" y="3539"/>
                    <a:pt x="869" y="3515"/>
                  </a:cubicBezTo>
                  <a:cubicBezTo>
                    <a:pt x="680" y="3368"/>
                    <a:pt x="718" y="2608"/>
                    <a:pt x="781" y="2437"/>
                  </a:cubicBezTo>
                  <a:cubicBezTo>
                    <a:pt x="806" y="2370"/>
                    <a:pt x="872" y="2321"/>
                    <a:pt x="946" y="2314"/>
                  </a:cubicBezTo>
                  <a:cubicBezTo>
                    <a:pt x="957" y="2313"/>
                    <a:pt x="967" y="2313"/>
                    <a:pt x="978" y="2313"/>
                  </a:cubicBezTo>
                  <a:cubicBezTo>
                    <a:pt x="1085" y="2313"/>
                    <a:pt x="1187" y="2361"/>
                    <a:pt x="1251" y="2447"/>
                  </a:cubicBezTo>
                  <a:cubicBezTo>
                    <a:pt x="1307" y="2528"/>
                    <a:pt x="1307" y="2636"/>
                    <a:pt x="1254" y="2720"/>
                  </a:cubicBezTo>
                  <a:cubicBezTo>
                    <a:pt x="1209" y="2811"/>
                    <a:pt x="1233" y="2836"/>
                    <a:pt x="1335" y="2909"/>
                  </a:cubicBezTo>
                  <a:cubicBezTo>
                    <a:pt x="1422" y="2972"/>
                    <a:pt x="1538" y="3060"/>
                    <a:pt x="1538" y="3238"/>
                  </a:cubicBezTo>
                  <a:cubicBezTo>
                    <a:pt x="1538" y="3319"/>
                    <a:pt x="1555" y="3340"/>
                    <a:pt x="1566" y="3347"/>
                  </a:cubicBezTo>
                  <a:cubicBezTo>
                    <a:pt x="1573" y="3352"/>
                    <a:pt x="1583" y="3354"/>
                    <a:pt x="1595" y="3354"/>
                  </a:cubicBezTo>
                  <a:cubicBezTo>
                    <a:pt x="1645" y="3354"/>
                    <a:pt x="1734" y="3319"/>
                    <a:pt x="1807" y="3291"/>
                  </a:cubicBezTo>
                  <a:cubicBezTo>
                    <a:pt x="1856" y="3273"/>
                    <a:pt x="1905" y="3256"/>
                    <a:pt x="1954" y="3242"/>
                  </a:cubicBezTo>
                  <a:cubicBezTo>
                    <a:pt x="2031" y="3217"/>
                    <a:pt x="2077" y="3186"/>
                    <a:pt x="2084" y="3154"/>
                  </a:cubicBezTo>
                  <a:cubicBezTo>
                    <a:pt x="2094" y="3119"/>
                    <a:pt x="2077" y="3060"/>
                    <a:pt x="1958" y="2927"/>
                  </a:cubicBezTo>
                  <a:cubicBezTo>
                    <a:pt x="1849" y="2811"/>
                    <a:pt x="1881" y="2671"/>
                    <a:pt x="1905" y="2559"/>
                  </a:cubicBezTo>
                  <a:cubicBezTo>
                    <a:pt x="1933" y="2433"/>
                    <a:pt x="1944" y="2363"/>
                    <a:pt x="1856" y="2307"/>
                  </a:cubicBezTo>
                  <a:cubicBezTo>
                    <a:pt x="1695" y="2199"/>
                    <a:pt x="1513" y="2020"/>
                    <a:pt x="1545" y="1873"/>
                  </a:cubicBezTo>
                  <a:cubicBezTo>
                    <a:pt x="1552" y="1831"/>
                    <a:pt x="1583" y="1761"/>
                    <a:pt x="1699" y="1736"/>
                  </a:cubicBezTo>
                  <a:cubicBezTo>
                    <a:pt x="1947" y="1680"/>
                    <a:pt x="2493" y="1327"/>
                    <a:pt x="2479" y="1229"/>
                  </a:cubicBezTo>
                  <a:cubicBezTo>
                    <a:pt x="2469" y="1219"/>
                    <a:pt x="2424" y="1208"/>
                    <a:pt x="2348" y="1208"/>
                  </a:cubicBezTo>
                  <a:cubicBezTo>
                    <a:pt x="2269" y="1208"/>
                    <a:pt x="2157" y="1219"/>
                    <a:pt x="2014" y="1253"/>
                  </a:cubicBezTo>
                  <a:cubicBezTo>
                    <a:pt x="1737" y="1320"/>
                    <a:pt x="1513" y="1439"/>
                    <a:pt x="1485" y="1540"/>
                  </a:cubicBezTo>
                  <a:cubicBezTo>
                    <a:pt x="1457" y="1643"/>
                    <a:pt x="1372" y="1700"/>
                    <a:pt x="1258" y="1700"/>
                  </a:cubicBezTo>
                  <a:cubicBezTo>
                    <a:pt x="1232" y="1700"/>
                    <a:pt x="1205" y="1697"/>
                    <a:pt x="1177" y="1691"/>
                  </a:cubicBezTo>
                  <a:cubicBezTo>
                    <a:pt x="935" y="1638"/>
                    <a:pt x="617" y="1355"/>
                    <a:pt x="680" y="980"/>
                  </a:cubicBezTo>
                  <a:cubicBezTo>
                    <a:pt x="701" y="844"/>
                    <a:pt x="799" y="728"/>
                    <a:pt x="970" y="634"/>
                  </a:cubicBezTo>
                  <a:cubicBezTo>
                    <a:pt x="1225" y="499"/>
                    <a:pt x="1630" y="434"/>
                    <a:pt x="1984" y="434"/>
                  </a:cubicBezTo>
                  <a:cubicBezTo>
                    <a:pt x="2229" y="434"/>
                    <a:pt x="2449" y="465"/>
                    <a:pt x="2581" y="525"/>
                  </a:cubicBezTo>
                  <a:cubicBezTo>
                    <a:pt x="2631" y="548"/>
                    <a:pt x="2683" y="558"/>
                    <a:pt x="2734" y="558"/>
                  </a:cubicBezTo>
                  <a:cubicBezTo>
                    <a:pt x="3034" y="558"/>
                    <a:pt x="3332" y="206"/>
                    <a:pt x="34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0" name="Google Shape;7490;p53"/>
            <p:cNvSpPr/>
            <p:nvPr/>
          </p:nvSpPr>
          <p:spPr>
            <a:xfrm>
              <a:off x="2975850" y="2069105"/>
              <a:ext cx="7658" cy="4046"/>
            </a:xfrm>
            <a:custGeom>
              <a:avLst/>
              <a:gdLst/>
              <a:ahLst/>
              <a:cxnLst/>
              <a:rect l="l" t="t" r="r" b="b"/>
              <a:pathLst>
                <a:path w="564" h="298" extrusionOk="0">
                  <a:moveTo>
                    <a:pt x="103" y="1"/>
                  </a:moveTo>
                  <a:cubicBezTo>
                    <a:pt x="67" y="1"/>
                    <a:pt x="37" y="6"/>
                    <a:pt x="18" y="17"/>
                  </a:cubicBezTo>
                  <a:cubicBezTo>
                    <a:pt x="7" y="24"/>
                    <a:pt x="0" y="27"/>
                    <a:pt x="7" y="59"/>
                  </a:cubicBezTo>
                  <a:cubicBezTo>
                    <a:pt x="39" y="181"/>
                    <a:pt x="196" y="276"/>
                    <a:pt x="329" y="293"/>
                  </a:cubicBezTo>
                  <a:cubicBezTo>
                    <a:pt x="344" y="295"/>
                    <a:pt x="363" y="297"/>
                    <a:pt x="384" y="297"/>
                  </a:cubicBezTo>
                  <a:cubicBezTo>
                    <a:pt x="441" y="297"/>
                    <a:pt x="514" y="283"/>
                    <a:pt x="550" y="220"/>
                  </a:cubicBezTo>
                  <a:cubicBezTo>
                    <a:pt x="553" y="213"/>
                    <a:pt x="564" y="195"/>
                    <a:pt x="525" y="153"/>
                  </a:cubicBezTo>
                  <a:cubicBezTo>
                    <a:pt x="433" y="63"/>
                    <a:pt x="229" y="1"/>
                    <a:pt x="1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1" name="Google Shape;7491;p53"/>
            <p:cNvSpPr/>
            <p:nvPr/>
          </p:nvSpPr>
          <p:spPr>
            <a:xfrm>
              <a:off x="2759899" y="2034536"/>
              <a:ext cx="923" cy="204"/>
            </a:xfrm>
            <a:custGeom>
              <a:avLst/>
              <a:gdLst/>
              <a:ahLst/>
              <a:cxnLst/>
              <a:rect l="l" t="t" r="r" b="b"/>
              <a:pathLst>
                <a:path w="68" h="15" extrusionOk="0">
                  <a:moveTo>
                    <a:pt x="67" y="14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6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2" name="Google Shape;7492;p53"/>
            <p:cNvSpPr/>
            <p:nvPr/>
          </p:nvSpPr>
          <p:spPr>
            <a:xfrm>
              <a:off x="2760660" y="2035011"/>
              <a:ext cx="3870" cy="5227"/>
            </a:xfrm>
            <a:custGeom>
              <a:avLst/>
              <a:gdLst/>
              <a:ahLst/>
              <a:cxnLst/>
              <a:rect l="l" t="t" r="r" b="b"/>
              <a:pathLst>
                <a:path w="285" h="385" extrusionOk="0">
                  <a:moveTo>
                    <a:pt x="8" y="0"/>
                  </a:moveTo>
                  <a:lnTo>
                    <a:pt x="8" y="0"/>
                  </a:lnTo>
                  <a:cubicBezTo>
                    <a:pt x="1" y="105"/>
                    <a:pt x="78" y="329"/>
                    <a:pt x="169" y="378"/>
                  </a:cubicBezTo>
                  <a:cubicBezTo>
                    <a:pt x="174" y="381"/>
                    <a:pt x="180" y="385"/>
                    <a:pt x="189" y="385"/>
                  </a:cubicBezTo>
                  <a:cubicBezTo>
                    <a:pt x="201" y="385"/>
                    <a:pt x="217" y="379"/>
                    <a:pt x="239" y="357"/>
                  </a:cubicBezTo>
                  <a:cubicBezTo>
                    <a:pt x="249" y="347"/>
                    <a:pt x="284" y="312"/>
                    <a:pt x="246" y="224"/>
                  </a:cubicBezTo>
                  <a:cubicBezTo>
                    <a:pt x="193" y="126"/>
                    <a:pt x="109" y="46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3" name="Google Shape;7493;p53"/>
            <p:cNvSpPr/>
            <p:nvPr/>
          </p:nvSpPr>
          <p:spPr>
            <a:xfrm>
              <a:off x="2956787" y="2113666"/>
              <a:ext cx="11093" cy="8595"/>
            </a:xfrm>
            <a:custGeom>
              <a:avLst/>
              <a:gdLst/>
              <a:ahLst/>
              <a:cxnLst/>
              <a:rect l="l" t="t" r="r" b="b"/>
              <a:pathLst>
                <a:path w="817" h="633" extrusionOk="0">
                  <a:moveTo>
                    <a:pt x="732" y="1"/>
                  </a:moveTo>
                  <a:cubicBezTo>
                    <a:pt x="694" y="22"/>
                    <a:pt x="655" y="39"/>
                    <a:pt x="613" y="50"/>
                  </a:cubicBezTo>
                  <a:lnTo>
                    <a:pt x="610" y="50"/>
                  </a:lnTo>
                  <a:cubicBezTo>
                    <a:pt x="603" y="64"/>
                    <a:pt x="599" y="78"/>
                    <a:pt x="592" y="92"/>
                  </a:cubicBezTo>
                  <a:lnTo>
                    <a:pt x="592" y="95"/>
                  </a:lnTo>
                  <a:cubicBezTo>
                    <a:pt x="585" y="109"/>
                    <a:pt x="578" y="120"/>
                    <a:pt x="575" y="134"/>
                  </a:cubicBezTo>
                  <a:lnTo>
                    <a:pt x="571" y="141"/>
                  </a:lnTo>
                  <a:cubicBezTo>
                    <a:pt x="564" y="151"/>
                    <a:pt x="557" y="162"/>
                    <a:pt x="550" y="172"/>
                  </a:cubicBezTo>
                  <a:lnTo>
                    <a:pt x="547" y="176"/>
                  </a:lnTo>
                  <a:cubicBezTo>
                    <a:pt x="540" y="186"/>
                    <a:pt x="529" y="197"/>
                    <a:pt x="519" y="204"/>
                  </a:cubicBezTo>
                  <a:cubicBezTo>
                    <a:pt x="512" y="208"/>
                    <a:pt x="505" y="215"/>
                    <a:pt x="498" y="218"/>
                  </a:cubicBezTo>
                  <a:lnTo>
                    <a:pt x="491" y="218"/>
                  </a:lnTo>
                  <a:cubicBezTo>
                    <a:pt x="484" y="222"/>
                    <a:pt x="477" y="225"/>
                    <a:pt x="470" y="225"/>
                  </a:cubicBezTo>
                  <a:lnTo>
                    <a:pt x="438" y="225"/>
                  </a:lnTo>
                  <a:lnTo>
                    <a:pt x="421" y="222"/>
                  </a:lnTo>
                  <a:lnTo>
                    <a:pt x="414" y="222"/>
                  </a:lnTo>
                  <a:cubicBezTo>
                    <a:pt x="403" y="218"/>
                    <a:pt x="396" y="215"/>
                    <a:pt x="389" y="211"/>
                  </a:cubicBezTo>
                  <a:lnTo>
                    <a:pt x="385" y="211"/>
                  </a:lnTo>
                  <a:cubicBezTo>
                    <a:pt x="375" y="204"/>
                    <a:pt x="364" y="200"/>
                    <a:pt x="357" y="193"/>
                  </a:cubicBezTo>
                  <a:lnTo>
                    <a:pt x="347" y="186"/>
                  </a:lnTo>
                  <a:lnTo>
                    <a:pt x="326" y="169"/>
                  </a:lnTo>
                  <a:lnTo>
                    <a:pt x="315" y="162"/>
                  </a:lnTo>
                  <a:lnTo>
                    <a:pt x="291" y="141"/>
                  </a:lnTo>
                  <a:lnTo>
                    <a:pt x="284" y="134"/>
                  </a:lnTo>
                  <a:cubicBezTo>
                    <a:pt x="119" y="222"/>
                    <a:pt x="14" y="379"/>
                    <a:pt x="7" y="495"/>
                  </a:cubicBezTo>
                  <a:cubicBezTo>
                    <a:pt x="0" y="544"/>
                    <a:pt x="25" y="593"/>
                    <a:pt x="70" y="617"/>
                  </a:cubicBezTo>
                  <a:cubicBezTo>
                    <a:pt x="91" y="628"/>
                    <a:pt x="114" y="633"/>
                    <a:pt x="139" y="633"/>
                  </a:cubicBezTo>
                  <a:cubicBezTo>
                    <a:pt x="292" y="633"/>
                    <a:pt x="510" y="441"/>
                    <a:pt x="676" y="239"/>
                  </a:cubicBezTo>
                  <a:cubicBezTo>
                    <a:pt x="704" y="208"/>
                    <a:pt x="729" y="176"/>
                    <a:pt x="750" y="148"/>
                  </a:cubicBezTo>
                  <a:cubicBezTo>
                    <a:pt x="767" y="127"/>
                    <a:pt x="792" y="106"/>
                    <a:pt x="816" y="88"/>
                  </a:cubicBezTo>
                  <a:lnTo>
                    <a:pt x="813" y="85"/>
                  </a:lnTo>
                  <a:cubicBezTo>
                    <a:pt x="802" y="71"/>
                    <a:pt x="788" y="57"/>
                    <a:pt x="774" y="43"/>
                  </a:cubicBezTo>
                  <a:lnTo>
                    <a:pt x="771" y="36"/>
                  </a:lnTo>
                  <a:cubicBezTo>
                    <a:pt x="757" y="25"/>
                    <a:pt x="746" y="11"/>
                    <a:pt x="7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4" name="Google Shape;7494;p53"/>
            <p:cNvSpPr/>
            <p:nvPr/>
          </p:nvSpPr>
          <p:spPr>
            <a:xfrm>
              <a:off x="2901173" y="2106945"/>
              <a:ext cx="20312" cy="6490"/>
            </a:xfrm>
            <a:custGeom>
              <a:avLst/>
              <a:gdLst/>
              <a:ahLst/>
              <a:cxnLst/>
              <a:rect l="l" t="t" r="r" b="b"/>
              <a:pathLst>
                <a:path w="1496" h="478" extrusionOk="0">
                  <a:moveTo>
                    <a:pt x="887" y="1"/>
                  </a:moveTo>
                  <a:cubicBezTo>
                    <a:pt x="843" y="1"/>
                    <a:pt x="810" y="6"/>
                    <a:pt x="795" y="16"/>
                  </a:cubicBezTo>
                  <a:cubicBezTo>
                    <a:pt x="757" y="93"/>
                    <a:pt x="683" y="149"/>
                    <a:pt x="599" y="167"/>
                  </a:cubicBezTo>
                  <a:cubicBezTo>
                    <a:pt x="555" y="179"/>
                    <a:pt x="510" y="186"/>
                    <a:pt x="465" y="186"/>
                  </a:cubicBezTo>
                  <a:cubicBezTo>
                    <a:pt x="372" y="186"/>
                    <a:pt x="280" y="158"/>
                    <a:pt x="200" y="104"/>
                  </a:cubicBezTo>
                  <a:cubicBezTo>
                    <a:pt x="186" y="97"/>
                    <a:pt x="172" y="90"/>
                    <a:pt x="154" y="90"/>
                  </a:cubicBezTo>
                  <a:cubicBezTo>
                    <a:pt x="123" y="93"/>
                    <a:pt x="91" y="111"/>
                    <a:pt x="70" y="135"/>
                  </a:cubicBezTo>
                  <a:cubicBezTo>
                    <a:pt x="28" y="181"/>
                    <a:pt x="0" y="258"/>
                    <a:pt x="32" y="303"/>
                  </a:cubicBezTo>
                  <a:cubicBezTo>
                    <a:pt x="153" y="418"/>
                    <a:pt x="311" y="477"/>
                    <a:pt x="469" y="477"/>
                  </a:cubicBezTo>
                  <a:cubicBezTo>
                    <a:pt x="562" y="477"/>
                    <a:pt x="656" y="457"/>
                    <a:pt x="743" y="415"/>
                  </a:cubicBezTo>
                  <a:cubicBezTo>
                    <a:pt x="904" y="338"/>
                    <a:pt x="1079" y="300"/>
                    <a:pt x="1257" y="300"/>
                  </a:cubicBezTo>
                  <a:cubicBezTo>
                    <a:pt x="1408" y="293"/>
                    <a:pt x="1457" y="286"/>
                    <a:pt x="1488" y="219"/>
                  </a:cubicBezTo>
                  <a:cubicBezTo>
                    <a:pt x="1495" y="198"/>
                    <a:pt x="1457" y="167"/>
                    <a:pt x="1446" y="160"/>
                  </a:cubicBezTo>
                  <a:cubicBezTo>
                    <a:pt x="1312" y="58"/>
                    <a:pt x="1036" y="1"/>
                    <a:pt x="88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5" name="Google Shape;7495;p53"/>
            <p:cNvSpPr/>
            <p:nvPr/>
          </p:nvSpPr>
          <p:spPr>
            <a:xfrm>
              <a:off x="2923413" y="2117536"/>
              <a:ext cx="11527" cy="4711"/>
            </a:xfrm>
            <a:custGeom>
              <a:avLst/>
              <a:gdLst/>
              <a:ahLst/>
              <a:cxnLst/>
              <a:rect l="l" t="t" r="r" b="b"/>
              <a:pathLst>
                <a:path w="849" h="347" extrusionOk="0">
                  <a:moveTo>
                    <a:pt x="52" y="1"/>
                  </a:moveTo>
                  <a:cubicBezTo>
                    <a:pt x="33" y="1"/>
                    <a:pt x="16" y="2"/>
                    <a:pt x="1" y="3"/>
                  </a:cubicBezTo>
                  <a:cubicBezTo>
                    <a:pt x="64" y="42"/>
                    <a:pt x="137" y="73"/>
                    <a:pt x="211" y="91"/>
                  </a:cubicBezTo>
                  <a:cubicBezTo>
                    <a:pt x="291" y="108"/>
                    <a:pt x="368" y="143"/>
                    <a:pt x="438" y="192"/>
                  </a:cubicBezTo>
                  <a:cubicBezTo>
                    <a:pt x="517" y="261"/>
                    <a:pt x="688" y="346"/>
                    <a:pt x="784" y="346"/>
                  </a:cubicBezTo>
                  <a:cubicBezTo>
                    <a:pt x="799" y="346"/>
                    <a:pt x="813" y="344"/>
                    <a:pt x="824" y="339"/>
                  </a:cubicBezTo>
                  <a:cubicBezTo>
                    <a:pt x="831" y="336"/>
                    <a:pt x="848" y="329"/>
                    <a:pt x="848" y="276"/>
                  </a:cubicBezTo>
                  <a:cubicBezTo>
                    <a:pt x="848" y="245"/>
                    <a:pt x="813" y="210"/>
                    <a:pt x="750" y="171"/>
                  </a:cubicBezTo>
                  <a:cubicBezTo>
                    <a:pt x="558" y="58"/>
                    <a:pt x="224" y="1"/>
                    <a:pt x="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6" name="Google Shape;7496;p53"/>
            <p:cNvSpPr/>
            <p:nvPr/>
          </p:nvSpPr>
          <p:spPr>
            <a:xfrm>
              <a:off x="2984729" y="2031441"/>
              <a:ext cx="10713" cy="16320"/>
            </a:xfrm>
            <a:custGeom>
              <a:avLst/>
              <a:gdLst/>
              <a:ahLst/>
              <a:cxnLst/>
              <a:rect l="l" t="t" r="r" b="b"/>
              <a:pathLst>
                <a:path w="789" h="1202" extrusionOk="0">
                  <a:moveTo>
                    <a:pt x="295" y="0"/>
                  </a:moveTo>
                  <a:cubicBezTo>
                    <a:pt x="263" y="0"/>
                    <a:pt x="218" y="39"/>
                    <a:pt x="169" y="106"/>
                  </a:cubicBezTo>
                  <a:cubicBezTo>
                    <a:pt x="1" y="337"/>
                    <a:pt x="120" y="837"/>
                    <a:pt x="274" y="1082"/>
                  </a:cubicBezTo>
                  <a:cubicBezTo>
                    <a:pt x="330" y="1172"/>
                    <a:pt x="377" y="1202"/>
                    <a:pt x="391" y="1202"/>
                  </a:cubicBezTo>
                  <a:cubicBezTo>
                    <a:pt x="392" y="1202"/>
                    <a:pt x="392" y="1201"/>
                    <a:pt x="393" y="1201"/>
                  </a:cubicBezTo>
                  <a:cubicBezTo>
                    <a:pt x="400" y="1163"/>
                    <a:pt x="396" y="1124"/>
                    <a:pt x="386" y="1086"/>
                  </a:cubicBezTo>
                  <a:cubicBezTo>
                    <a:pt x="372" y="995"/>
                    <a:pt x="354" y="890"/>
                    <a:pt x="421" y="820"/>
                  </a:cubicBezTo>
                  <a:cubicBezTo>
                    <a:pt x="459" y="782"/>
                    <a:pt x="509" y="761"/>
                    <a:pt x="577" y="761"/>
                  </a:cubicBezTo>
                  <a:cubicBezTo>
                    <a:pt x="590" y="761"/>
                    <a:pt x="605" y="762"/>
                    <a:pt x="621" y="764"/>
                  </a:cubicBezTo>
                  <a:cubicBezTo>
                    <a:pt x="644" y="766"/>
                    <a:pt x="663" y="767"/>
                    <a:pt x="680" y="767"/>
                  </a:cubicBezTo>
                  <a:cubicBezTo>
                    <a:pt x="750" y="767"/>
                    <a:pt x="769" y="752"/>
                    <a:pt x="775" y="746"/>
                  </a:cubicBezTo>
                  <a:cubicBezTo>
                    <a:pt x="789" y="729"/>
                    <a:pt x="778" y="662"/>
                    <a:pt x="768" y="606"/>
                  </a:cubicBezTo>
                  <a:cubicBezTo>
                    <a:pt x="754" y="543"/>
                    <a:pt x="747" y="484"/>
                    <a:pt x="747" y="421"/>
                  </a:cubicBezTo>
                  <a:cubicBezTo>
                    <a:pt x="747" y="407"/>
                    <a:pt x="743" y="393"/>
                    <a:pt x="736" y="382"/>
                  </a:cubicBezTo>
                  <a:cubicBezTo>
                    <a:pt x="727" y="373"/>
                    <a:pt x="707" y="371"/>
                    <a:pt x="684" y="371"/>
                  </a:cubicBezTo>
                  <a:cubicBezTo>
                    <a:pt x="661" y="371"/>
                    <a:pt x="635" y="373"/>
                    <a:pt x="614" y="375"/>
                  </a:cubicBezTo>
                  <a:cubicBezTo>
                    <a:pt x="590" y="378"/>
                    <a:pt x="567" y="381"/>
                    <a:pt x="545" y="381"/>
                  </a:cubicBezTo>
                  <a:cubicBezTo>
                    <a:pt x="510" y="381"/>
                    <a:pt x="478" y="374"/>
                    <a:pt x="453" y="351"/>
                  </a:cubicBezTo>
                  <a:cubicBezTo>
                    <a:pt x="432" y="333"/>
                    <a:pt x="421" y="305"/>
                    <a:pt x="421" y="277"/>
                  </a:cubicBezTo>
                  <a:cubicBezTo>
                    <a:pt x="421" y="197"/>
                    <a:pt x="368" y="21"/>
                    <a:pt x="3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7" name="Google Shape;7497;p53"/>
            <p:cNvSpPr/>
            <p:nvPr/>
          </p:nvSpPr>
          <p:spPr>
            <a:xfrm>
              <a:off x="2859015" y="203900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8" name="Google Shape;7498;p53"/>
            <p:cNvSpPr/>
            <p:nvPr/>
          </p:nvSpPr>
          <p:spPr>
            <a:xfrm>
              <a:off x="2860481" y="203909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9" name="Google Shape;7499;p53"/>
            <p:cNvSpPr/>
            <p:nvPr/>
          </p:nvSpPr>
          <p:spPr>
            <a:xfrm>
              <a:off x="2860156" y="203919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0" name="Google Shape;7500;p53"/>
            <p:cNvSpPr/>
            <p:nvPr/>
          </p:nvSpPr>
          <p:spPr>
            <a:xfrm>
              <a:off x="2858160" y="203856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1" name="Google Shape;7501;p53"/>
            <p:cNvSpPr/>
            <p:nvPr/>
          </p:nvSpPr>
          <p:spPr>
            <a:xfrm>
              <a:off x="2858581" y="203875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2" name="Google Shape;7502;p53"/>
            <p:cNvSpPr/>
            <p:nvPr/>
          </p:nvSpPr>
          <p:spPr>
            <a:xfrm>
              <a:off x="2860821" y="203894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3" name="Google Shape;7503;p53"/>
            <p:cNvSpPr/>
            <p:nvPr/>
          </p:nvSpPr>
          <p:spPr>
            <a:xfrm>
              <a:off x="2852457" y="203377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4" name="Google Shape;7504;p53"/>
            <p:cNvSpPr/>
            <p:nvPr/>
          </p:nvSpPr>
          <p:spPr>
            <a:xfrm>
              <a:off x="2852267" y="2033301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5" name="Google Shape;7505;p53"/>
            <p:cNvSpPr/>
            <p:nvPr/>
          </p:nvSpPr>
          <p:spPr>
            <a:xfrm>
              <a:off x="2852647" y="203415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6" name="Google Shape;7506;p53"/>
            <p:cNvSpPr/>
            <p:nvPr/>
          </p:nvSpPr>
          <p:spPr>
            <a:xfrm>
              <a:off x="2852118" y="203282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0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7" name="Google Shape;7507;p53"/>
            <p:cNvSpPr/>
            <p:nvPr/>
          </p:nvSpPr>
          <p:spPr>
            <a:xfrm>
              <a:off x="2851602" y="2031060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lnTo>
                    <a:pt x="7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8" name="Google Shape;7508;p53"/>
            <p:cNvSpPr/>
            <p:nvPr/>
          </p:nvSpPr>
          <p:spPr>
            <a:xfrm>
              <a:off x="2851928" y="203229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9" name="Google Shape;7509;p53"/>
            <p:cNvSpPr/>
            <p:nvPr/>
          </p:nvSpPr>
          <p:spPr>
            <a:xfrm>
              <a:off x="2857725" y="203818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0" name="Google Shape;7510;p53"/>
            <p:cNvSpPr/>
            <p:nvPr/>
          </p:nvSpPr>
          <p:spPr>
            <a:xfrm>
              <a:off x="2851792" y="2031671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lnTo>
                    <a:pt x="7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1" name="Google Shape;7511;p53"/>
            <p:cNvSpPr/>
            <p:nvPr/>
          </p:nvSpPr>
          <p:spPr>
            <a:xfrm>
              <a:off x="2852837" y="2034482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2" name="Google Shape;7512;p53"/>
            <p:cNvSpPr/>
            <p:nvPr/>
          </p:nvSpPr>
          <p:spPr>
            <a:xfrm>
              <a:off x="2856870" y="203752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3" name="Google Shape;7513;p53"/>
            <p:cNvSpPr/>
            <p:nvPr/>
          </p:nvSpPr>
          <p:spPr>
            <a:xfrm>
              <a:off x="2852973" y="203482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0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4" name="Google Shape;7514;p53"/>
            <p:cNvSpPr/>
            <p:nvPr/>
          </p:nvSpPr>
          <p:spPr>
            <a:xfrm>
              <a:off x="2854019" y="203577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5" name="Google Shape;7515;p53"/>
            <p:cNvSpPr/>
            <p:nvPr/>
          </p:nvSpPr>
          <p:spPr>
            <a:xfrm>
              <a:off x="2857304" y="203790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6" name="Google Shape;7516;p53"/>
            <p:cNvSpPr/>
            <p:nvPr/>
          </p:nvSpPr>
          <p:spPr>
            <a:xfrm>
              <a:off x="2854263" y="203581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7" name="Google Shape;7517;p53"/>
            <p:cNvSpPr/>
            <p:nvPr/>
          </p:nvSpPr>
          <p:spPr>
            <a:xfrm>
              <a:off x="2853163" y="203510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8" name="Google Shape;7518;p53"/>
            <p:cNvSpPr/>
            <p:nvPr/>
          </p:nvSpPr>
          <p:spPr>
            <a:xfrm>
              <a:off x="2853598" y="203548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0"/>
                  </a:moveTo>
                  <a:lnTo>
                    <a:pt x="7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9" name="Google Shape;7519;p53"/>
            <p:cNvSpPr/>
            <p:nvPr/>
          </p:nvSpPr>
          <p:spPr>
            <a:xfrm>
              <a:off x="2853788" y="20356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1"/>
                  </a:moveTo>
                  <a:lnTo>
                    <a:pt x="7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0" name="Google Shape;7520;p53"/>
            <p:cNvSpPr/>
            <p:nvPr/>
          </p:nvSpPr>
          <p:spPr>
            <a:xfrm>
              <a:off x="2859490" y="203913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1" name="Google Shape;7521;p53"/>
            <p:cNvSpPr/>
            <p:nvPr/>
          </p:nvSpPr>
          <p:spPr>
            <a:xfrm>
              <a:off x="2889049" y="2032921"/>
              <a:ext cx="3204" cy="2105"/>
            </a:xfrm>
            <a:custGeom>
              <a:avLst/>
              <a:gdLst/>
              <a:ahLst/>
              <a:cxnLst/>
              <a:rect l="l" t="t" r="r" b="b"/>
              <a:pathLst>
                <a:path w="236" h="155" extrusionOk="0">
                  <a:moveTo>
                    <a:pt x="235" y="0"/>
                  </a:moveTo>
                  <a:cubicBezTo>
                    <a:pt x="204" y="112"/>
                    <a:pt x="102" y="130"/>
                    <a:pt x="1" y="154"/>
                  </a:cubicBezTo>
                  <a:cubicBezTo>
                    <a:pt x="106" y="133"/>
                    <a:pt x="204" y="112"/>
                    <a:pt x="2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2" name="Google Shape;7522;p53"/>
            <p:cNvSpPr/>
            <p:nvPr/>
          </p:nvSpPr>
          <p:spPr>
            <a:xfrm>
              <a:off x="2861242" y="2038243"/>
              <a:ext cx="4440" cy="530"/>
            </a:xfrm>
            <a:custGeom>
              <a:avLst/>
              <a:gdLst/>
              <a:ahLst/>
              <a:cxnLst/>
              <a:rect l="l" t="t" r="r" b="b"/>
              <a:pathLst>
                <a:path w="327" h="39" extrusionOk="0">
                  <a:moveTo>
                    <a:pt x="326" y="7"/>
                  </a:moveTo>
                  <a:cubicBezTo>
                    <a:pt x="197" y="4"/>
                    <a:pt x="53" y="0"/>
                    <a:pt x="1" y="39"/>
                  </a:cubicBezTo>
                  <a:cubicBezTo>
                    <a:pt x="53" y="0"/>
                    <a:pt x="197" y="4"/>
                    <a:pt x="326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3" name="Google Shape;7523;p53"/>
            <p:cNvSpPr/>
            <p:nvPr/>
          </p:nvSpPr>
          <p:spPr>
            <a:xfrm>
              <a:off x="2910922" y="201385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4" name="Google Shape;7524;p53"/>
            <p:cNvSpPr/>
            <p:nvPr/>
          </p:nvSpPr>
          <p:spPr>
            <a:xfrm>
              <a:off x="2853353" y="203529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5" name="Google Shape;7525;p53"/>
            <p:cNvSpPr/>
            <p:nvPr/>
          </p:nvSpPr>
          <p:spPr>
            <a:xfrm>
              <a:off x="2860006" y="20391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6" name="Google Shape;7526;p53"/>
            <p:cNvSpPr/>
            <p:nvPr/>
          </p:nvSpPr>
          <p:spPr>
            <a:xfrm>
              <a:off x="2899598" y="2013287"/>
              <a:ext cx="8486" cy="1765"/>
            </a:xfrm>
            <a:custGeom>
              <a:avLst/>
              <a:gdLst/>
              <a:ahLst/>
              <a:cxnLst/>
              <a:rect l="l" t="t" r="r" b="b"/>
              <a:pathLst>
                <a:path w="625" h="130" extrusionOk="0">
                  <a:moveTo>
                    <a:pt x="624" y="11"/>
                  </a:moveTo>
                  <a:cubicBezTo>
                    <a:pt x="424" y="7"/>
                    <a:pt x="120" y="0"/>
                    <a:pt x="1" y="130"/>
                  </a:cubicBezTo>
                  <a:cubicBezTo>
                    <a:pt x="120" y="0"/>
                    <a:pt x="424" y="7"/>
                    <a:pt x="62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7" name="Google Shape;7527;p53"/>
            <p:cNvSpPr/>
            <p:nvPr/>
          </p:nvSpPr>
          <p:spPr>
            <a:xfrm>
              <a:off x="2909971" y="201351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8" name="Google Shape;7528;p53"/>
            <p:cNvSpPr/>
            <p:nvPr/>
          </p:nvSpPr>
          <p:spPr>
            <a:xfrm>
              <a:off x="2909632" y="201347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9" name="Google Shape;7529;p53"/>
            <p:cNvSpPr/>
            <p:nvPr/>
          </p:nvSpPr>
          <p:spPr>
            <a:xfrm>
              <a:off x="2910392" y="201366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0" name="Google Shape;7530;p53"/>
            <p:cNvSpPr/>
            <p:nvPr/>
          </p:nvSpPr>
          <p:spPr>
            <a:xfrm>
              <a:off x="2962544" y="2114711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"/>
                  </a:moveTo>
                  <a:lnTo>
                    <a:pt x="0" y="8"/>
                  </a:lnTo>
                  <a:lnTo>
                    <a:pt x="4" y="8"/>
                  </a:lnTo>
                  <a:lnTo>
                    <a:pt x="11" y="11"/>
                  </a:lnTo>
                  <a:lnTo>
                    <a:pt x="14" y="11"/>
                  </a:lnTo>
                  <a:lnTo>
                    <a:pt x="21" y="15"/>
                  </a:lnTo>
                  <a:cubicBezTo>
                    <a:pt x="21" y="11"/>
                    <a:pt x="25" y="4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1" name="Google Shape;7531;p53"/>
            <p:cNvSpPr/>
            <p:nvPr/>
          </p:nvSpPr>
          <p:spPr>
            <a:xfrm>
              <a:off x="2968192" y="2108113"/>
              <a:ext cx="14895" cy="5757"/>
            </a:xfrm>
            <a:custGeom>
              <a:avLst/>
              <a:gdLst/>
              <a:ahLst/>
              <a:cxnLst/>
              <a:rect l="l" t="t" r="r" b="b"/>
              <a:pathLst>
                <a:path w="1097" h="424" extrusionOk="0">
                  <a:moveTo>
                    <a:pt x="1096" y="0"/>
                  </a:moveTo>
                  <a:cubicBezTo>
                    <a:pt x="1030" y="4"/>
                    <a:pt x="946" y="14"/>
                    <a:pt x="876" y="25"/>
                  </a:cubicBezTo>
                  <a:cubicBezTo>
                    <a:pt x="722" y="53"/>
                    <a:pt x="564" y="63"/>
                    <a:pt x="407" y="63"/>
                  </a:cubicBezTo>
                  <a:cubicBezTo>
                    <a:pt x="401" y="63"/>
                    <a:pt x="396" y="63"/>
                    <a:pt x="391" y="63"/>
                  </a:cubicBezTo>
                  <a:cubicBezTo>
                    <a:pt x="274" y="63"/>
                    <a:pt x="203" y="137"/>
                    <a:pt x="113" y="228"/>
                  </a:cubicBezTo>
                  <a:cubicBezTo>
                    <a:pt x="78" y="263"/>
                    <a:pt x="43" y="298"/>
                    <a:pt x="1" y="333"/>
                  </a:cubicBezTo>
                  <a:cubicBezTo>
                    <a:pt x="15" y="347"/>
                    <a:pt x="29" y="361"/>
                    <a:pt x="39" y="371"/>
                  </a:cubicBezTo>
                  <a:lnTo>
                    <a:pt x="46" y="378"/>
                  </a:lnTo>
                  <a:cubicBezTo>
                    <a:pt x="57" y="392"/>
                    <a:pt x="71" y="406"/>
                    <a:pt x="85" y="424"/>
                  </a:cubicBezTo>
                  <a:cubicBezTo>
                    <a:pt x="267" y="336"/>
                    <a:pt x="456" y="256"/>
                    <a:pt x="648" y="186"/>
                  </a:cubicBezTo>
                  <a:cubicBezTo>
                    <a:pt x="802" y="126"/>
                    <a:pt x="995" y="53"/>
                    <a:pt x="10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2" name="Google Shape;7532;p53"/>
            <p:cNvSpPr/>
            <p:nvPr/>
          </p:nvSpPr>
          <p:spPr>
            <a:xfrm>
              <a:off x="2962679" y="21148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3" name="Google Shape;7533;p53"/>
            <p:cNvSpPr/>
            <p:nvPr/>
          </p:nvSpPr>
          <p:spPr>
            <a:xfrm>
              <a:off x="2968246" y="2112675"/>
              <a:ext cx="530" cy="530"/>
            </a:xfrm>
            <a:custGeom>
              <a:avLst/>
              <a:gdLst/>
              <a:ahLst/>
              <a:cxnLst/>
              <a:rect l="l" t="t" r="r" b="b"/>
              <a:pathLst>
                <a:path w="39" h="39" extrusionOk="0">
                  <a:moveTo>
                    <a:pt x="0" y="0"/>
                  </a:moveTo>
                  <a:cubicBezTo>
                    <a:pt x="11" y="11"/>
                    <a:pt x="25" y="25"/>
                    <a:pt x="39" y="39"/>
                  </a:cubicBezTo>
                  <a:cubicBezTo>
                    <a:pt x="25" y="25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4" name="Google Shape;7534;p53"/>
            <p:cNvSpPr/>
            <p:nvPr/>
          </p:nvSpPr>
          <p:spPr>
            <a:xfrm>
              <a:off x="2962544" y="2114806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5" name="Google Shape;7535;p53"/>
            <p:cNvSpPr/>
            <p:nvPr/>
          </p:nvSpPr>
          <p:spPr>
            <a:xfrm>
              <a:off x="2962924" y="211471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6" name="Google Shape;7536;p53"/>
            <p:cNvSpPr/>
            <p:nvPr/>
          </p:nvSpPr>
          <p:spPr>
            <a:xfrm>
              <a:off x="2968816" y="2113286"/>
              <a:ext cx="530" cy="584"/>
            </a:xfrm>
            <a:custGeom>
              <a:avLst/>
              <a:gdLst/>
              <a:ahLst/>
              <a:cxnLst/>
              <a:rect l="l" t="t" r="r" b="b"/>
              <a:pathLst>
                <a:path w="39" h="43" extrusionOk="0">
                  <a:moveTo>
                    <a:pt x="39" y="43"/>
                  </a:moveTo>
                  <a:cubicBezTo>
                    <a:pt x="25" y="29"/>
                    <a:pt x="14" y="15"/>
                    <a:pt x="0" y="1"/>
                  </a:cubicBezTo>
                  <a:cubicBezTo>
                    <a:pt x="14" y="15"/>
                    <a:pt x="25" y="29"/>
                    <a:pt x="39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7" name="Google Shape;7537;p53"/>
            <p:cNvSpPr/>
            <p:nvPr/>
          </p:nvSpPr>
          <p:spPr>
            <a:xfrm>
              <a:off x="2109605" y="1718303"/>
              <a:ext cx="11147" cy="17827"/>
            </a:xfrm>
            <a:custGeom>
              <a:avLst/>
              <a:gdLst/>
              <a:ahLst/>
              <a:cxnLst/>
              <a:rect l="l" t="t" r="r" b="b"/>
              <a:pathLst>
                <a:path w="821" h="1313" extrusionOk="0">
                  <a:moveTo>
                    <a:pt x="571" y="0"/>
                  </a:moveTo>
                  <a:cubicBezTo>
                    <a:pt x="510" y="0"/>
                    <a:pt x="450" y="16"/>
                    <a:pt x="407" y="52"/>
                  </a:cubicBezTo>
                  <a:cubicBezTo>
                    <a:pt x="344" y="107"/>
                    <a:pt x="265" y="137"/>
                    <a:pt x="183" y="137"/>
                  </a:cubicBezTo>
                  <a:cubicBezTo>
                    <a:pt x="155" y="137"/>
                    <a:pt x="127" y="133"/>
                    <a:pt x="99" y="126"/>
                  </a:cubicBezTo>
                  <a:cubicBezTo>
                    <a:pt x="81" y="122"/>
                    <a:pt x="64" y="119"/>
                    <a:pt x="46" y="119"/>
                  </a:cubicBezTo>
                  <a:cubicBezTo>
                    <a:pt x="36" y="119"/>
                    <a:pt x="25" y="122"/>
                    <a:pt x="22" y="133"/>
                  </a:cubicBezTo>
                  <a:cubicBezTo>
                    <a:pt x="1" y="171"/>
                    <a:pt x="46" y="245"/>
                    <a:pt x="95" y="326"/>
                  </a:cubicBezTo>
                  <a:cubicBezTo>
                    <a:pt x="176" y="459"/>
                    <a:pt x="277" y="620"/>
                    <a:pt x="232" y="819"/>
                  </a:cubicBezTo>
                  <a:cubicBezTo>
                    <a:pt x="179" y="1043"/>
                    <a:pt x="232" y="1274"/>
                    <a:pt x="295" y="1309"/>
                  </a:cubicBezTo>
                  <a:cubicBezTo>
                    <a:pt x="298" y="1311"/>
                    <a:pt x="301" y="1312"/>
                    <a:pt x="304" y="1312"/>
                  </a:cubicBezTo>
                  <a:cubicBezTo>
                    <a:pt x="318" y="1312"/>
                    <a:pt x="336" y="1296"/>
                    <a:pt x="347" y="1285"/>
                  </a:cubicBezTo>
                  <a:cubicBezTo>
                    <a:pt x="417" y="1208"/>
                    <a:pt x="505" y="1155"/>
                    <a:pt x="603" y="1131"/>
                  </a:cubicBezTo>
                  <a:cubicBezTo>
                    <a:pt x="652" y="1120"/>
                    <a:pt x="694" y="1096"/>
                    <a:pt x="722" y="1057"/>
                  </a:cubicBezTo>
                  <a:cubicBezTo>
                    <a:pt x="764" y="998"/>
                    <a:pt x="764" y="809"/>
                    <a:pt x="764" y="644"/>
                  </a:cubicBezTo>
                  <a:cubicBezTo>
                    <a:pt x="764" y="476"/>
                    <a:pt x="764" y="308"/>
                    <a:pt x="803" y="189"/>
                  </a:cubicBezTo>
                  <a:cubicBezTo>
                    <a:pt x="820" y="133"/>
                    <a:pt x="792" y="70"/>
                    <a:pt x="740" y="45"/>
                  </a:cubicBezTo>
                  <a:cubicBezTo>
                    <a:pt x="695" y="17"/>
                    <a:pt x="633" y="0"/>
                    <a:pt x="57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8" name="Google Shape;7538;p53"/>
            <p:cNvSpPr/>
            <p:nvPr/>
          </p:nvSpPr>
          <p:spPr>
            <a:xfrm>
              <a:off x="2142544" y="1743706"/>
              <a:ext cx="19171" cy="11066"/>
            </a:xfrm>
            <a:custGeom>
              <a:avLst/>
              <a:gdLst/>
              <a:ahLst/>
              <a:cxnLst/>
              <a:rect l="l" t="t" r="r" b="b"/>
              <a:pathLst>
                <a:path w="1412" h="815" extrusionOk="0">
                  <a:moveTo>
                    <a:pt x="1338" y="1"/>
                  </a:moveTo>
                  <a:cubicBezTo>
                    <a:pt x="1278" y="1"/>
                    <a:pt x="1194" y="8"/>
                    <a:pt x="1079" y="33"/>
                  </a:cubicBezTo>
                  <a:cubicBezTo>
                    <a:pt x="902" y="72"/>
                    <a:pt x="774" y="98"/>
                    <a:pt x="661" y="98"/>
                  </a:cubicBezTo>
                  <a:cubicBezTo>
                    <a:pt x="561" y="98"/>
                    <a:pt x="473" y="78"/>
                    <a:pt x="372" y="26"/>
                  </a:cubicBezTo>
                  <a:cubicBezTo>
                    <a:pt x="349" y="15"/>
                    <a:pt x="321" y="8"/>
                    <a:pt x="294" y="8"/>
                  </a:cubicBezTo>
                  <a:cubicBezTo>
                    <a:pt x="288" y="8"/>
                    <a:pt x="283" y="8"/>
                    <a:pt x="278" y="9"/>
                  </a:cubicBezTo>
                  <a:cubicBezTo>
                    <a:pt x="194" y="9"/>
                    <a:pt x="109" y="40"/>
                    <a:pt x="43" y="96"/>
                  </a:cubicBezTo>
                  <a:cubicBezTo>
                    <a:pt x="11" y="124"/>
                    <a:pt x="1" y="152"/>
                    <a:pt x="4" y="163"/>
                  </a:cubicBezTo>
                  <a:cubicBezTo>
                    <a:pt x="22" y="215"/>
                    <a:pt x="116" y="324"/>
                    <a:pt x="523" y="429"/>
                  </a:cubicBezTo>
                  <a:cubicBezTo>
                    <a:pt x="705" y="474"/>
                    <a:pt x="866" y="576"/>
                    <a:pt x="992" y="716"/>
                  </a:cubicBezTo>
                  <a:cubicBezTo>
                    <a:pt x="1055" y="779"/>
                    <a:pt x="1090" y="814"/>
                    <a:pt x="1132" y="814"/>
                  </a:cubicBezTo>
                  <a:cubicBezTo>
                    <a:pt x="1137" y="814"/>
                    <a:pt x="1141" y="815"/>
                    <a:pt x="1145" y="815"/>
                  </a:cubicBezTo>
                  <a:cubicBezTo>
                    <a:pt x="1180" y="815"/>
                    <a:pt x="1192" y="802"/>
                    <a:pt x="1202" y="793"/>
                  </a:cubicBezTo>
                  <a:cubicBezTo>
                    <a:pt x="1219" y="772"/>
                    <a:pt x="1244" y="706"/>
                    <a:pt x="1212" y="520"/>
                  </a:cubicBezTo>
                  <a:cubicBezTo>
                    <a:pt x="1174" y="317"/>
                    <a:pt x="1331" y="107"/>
                    <a:pt x="1412" y="5"/>
                  </a:cubicBezTo>
                  <a:cubicBezTo>
                    <a:pt x="1394" y="3"/>
                    <a:pt x="1369" y="1"/>
                    <a:pt x="133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9" name="Google Shape;7539;p53"/>
            <p:cNvSpPr/>
            <p:nvPr/>
          </p:nvSpPr>
          <p:spPr>
            <a:xfrm>
              <a:off x="2099300" y="1663436"/>
              <a:ext cx="82904" cy="79917"/>
            </a:xfrm>
            <a:custGeom>
              <a:avLst/>
              <a:gdLst/>
              <a:ahLst/>
              <a:cxnLst/>
              <a:rect l="l" t="t" r="r" b="b"/>
              <a:pathLst>
                <a:path w="6106" h="5886" extrusionOk="0">
                  <a:moveTo>
                    <a:pt x="3259" y="267"/>
                  </a:moveTo>
                  <a:lnTo>
                    <a:pt x="3258" y="277"/>
                  </a:lnTo>
                  <a:lnTo>
                    <a:pt x="3258" y="277"/>
                  </a:lnTo>
                  <a:lnTo>
                    <a:pt x="3259" y="278"/>
                  </a:lnTo>
                  <a:lnTo>
                    <a:pt x="3259" y="267"/>
                  </a:lnTo>
                  <a:close/>
                  <a:moveTo>
                    <a:pt x="2881" y="1"/>
                  </a:moveTo>
                  <a:cubicBezTo>
                    <a:pt x="2703" y="4"/>
                    <a:pt x="2584" y="22"/>
                    <a:pt x="2559" y="43"/>
                  </a:cubicBezTo>
                  <a:cubicBezTo>
                    <a:pt x="2513" y="92"/>
                    <a:pt x="2372" y="190"/>
                    <a:pt x="2244" y="190"/>
                  </a:cubicBezTo>
                  <a:cubicBezTo>
                    <a:pt x="2207" y="190"/>
                    <a:pt x="2171" y="182"/>
                    <a:pt x="2139" y="162"/>
                  </a:cubicBezTo>
                  <a:lnTo>
                    <a:pt x="2118" y="148"/>
                  </a:lnTo>
                  <a:lnTo>
                    <a:pt x="2062" y="197"/>
                  </a:lnTo>
                  <a:cubicBezTo>
                    <a:pt x="2045" y="281"/>
                    <a:pt x="2003" y="362"/>
                    <a:pt x="1919" y="362"/>
                  </a:cubicBezTo>
                  <a:cubicBezTo>
                    <a:pt x="1901" y="362"/>
                    <a:pt x="1880" y="358"/>
                    <a:pt x="1863" y="355"/>
                  </a:cubicBezTo>
                  <a:cubicBezTo>
                    <a:pt x="1849" y="355"/>
                    <a:pt x="1838" y="351"/>
                    <a:pt x="1824" y="351"/>
                  </a:cubicBezTo>
                  <a:lnTo>
                    <a:pt x="1824" y="362"/>
                  </a:lnTo>
                  <a:cubicBezTo>
                    <a:pt x="1828" y="400"/>
                    <a:pt x="1807" y="442"/>
                    <a:pt x="1775" y="467"/>
                  </a:cubicBezTo>
                  <a:cubicBezTo>
                    <a:pt x="1739" y="497"/>
                    <a:pt x="1688" y="508"/>
                    <a:pt x="1632" y="508"/>
                  </a:cubicBezTo>
                  <a:cubicBezTo>
                    <a:pt x="1585" y="508"/>
                    <a:pt x="1536" y="501"/>
                    <a:pt x="1488" y="491"/>
                  </a:cubicBezTo>
                  <a:cubicBezTo>
                    <a:pt x="1477" y="488"/>
                    <a:pt x="1466" y="486"/>
                    <a:pt x="1455" y="486"/>
                  </a:cubicBezTo>
                  <a:cubicBezTo>
                    <a:pt x="1430" y="486"/>
                    <a:pt x="1406" y="494"/>
                    <a:pt x="1387" y="509"/>
                  </a:cubicBezTo>
                  <a:cubicBezTo>
                    <a:pt x="1376" y="516"/>
                    <a:pt x="1373" y="526"/>
                    <a:pt x="1373" y="537"/>
                  </a:cubicBezTo>
                  <a:cubicBezTo>
                    <a:pt x="1373" y="775"/>
                    <a:pt x="1296" y="810"/>
                    <a:pt x="1271" y="820"/>
                  </a:cubicBezTo>
                  <a:cubicBezTo>
                    <a:pt x="1259" y="825"/>
                    <a:pt x="1243" y="830"/>
                    <a:pt x="1225" y="830"/>
                  </a:cubicBezTo>
                  <a:cubicBezTo>
                    <a:pt x="1195" y="830"/>
                    <a:pt x="1158" y="818"/>
                    <a:pt x="1117" y="782"/>
                  </a:cubicBezTo>
                  <a:cubicBezTo>
                    <a:pt x="1047" y="712"/>
                    <a:pt x="984" y="631"/>
                    <a:pt x="931" y="544"/>
                  </a:cubicBezTo>
                  <a:cubicBezTo>
                    <a:pt x="914" y="516"/>
                    <a:pt x="889" y="477"/>
                    <a:pt x="872" y="453"/>
                  </a:cubicBezTo>
                  <a:cubicBezTo>
                    <a:pt x="861" y="470"/>
                    <a:pt x="851" y="495"/>
                    <a:pt x="840" y="512"/>
                  </a:cubicBezTo>
                  <a:cubicBezTo>
                    <a:pt x="770" y="652"/>
                    <a:pt x="693" y="813"/>
                    <a:pt x="578" y="813"/>
                  </a:cubicBezTo>
                  <a:lnTo>
                    <a:pt x="392" y="813"/>
                  </a:lnTo>
                  <a:lnTo>
                    <a:pt x="186" y="831"/>
                  </a:lnTo>
                  <a:lnTo>
                    <a:pt x="165" y="831"/>
                  </a:lnTo>
                  <a:cubicBezTo>
                    <a:pt x="158" y="866"/>
                    <a:pt x="158" y="901"/>
                    <a:pt x="172" y="932"/>
                  </a:cubicBezTo>
                  <a:cubicBezTo>
                    <a:pt x="175" y="936"/>
                    <a:pt x="179" y="939"/>
                    <a:pt x="179" y="946"/>
                  </a:cubicBezTo>
                  <a:lnTo>
                    <a:pt x="186" y="950"/>
                  </a:lnTo>
                  <a:lnTo>
                    <a:pt x="193" y="957"/>
                  </a:lnTo>
                  <a:cubicBezTo>
                    <a:pt x="196" y="964"/>
                    <a:pt x="200" y="967"/>
                    <a:pt x="207" y="971"/>
                  </a:cubicBezTo>
                  <a:cubicBezTo>
                    <a:pt x="231" y="985"/>
                    <a:pt x="249" y="1006"/>
                    <a:pt x="252" y="1034"/>
                  </a:cubicBezTo>
                  <a:cubicBezTo>
                    <a:pt x="256" y="1044"/>
                    <a:pt x="256" y="1058"/>
                    <a:pt x="256" y="1069"/>
                  </a:cubicBezTo>
                  <a:cubicBezTo>
                    <a:pt x="252" y="1156"/>
                    <a:pt x="165" y="1265"/>
                    <a:pt x="91" y="1303"/>
                  </a:cubicBezTo>
                  <a:cubicBezTo>
                    <a:pt x="67" y="1314"/>
                    <a:pt x="39" y="1324"/>
                    <a:pt x="7" y="1328"/>
                  </a:cubicBezTo>
                  <a:lnTo>
                    <a:pt x="0" y="1328"/>
                  </a:lnTo>
                  <a:lnTo>
                    <a:pt x="11" y="1342"/>
                  </a:lnTo>
                  <a:cubicBezTo>
                    <a:pt x="35" y="1377"/>
                    <a:pt x="67" y="1408"/>
                    <a:pt x="102" y="1433"/>
                  </a:cubicBezTo>
                  <a:cubicBezTo>
                    <a:pt x="161" y="1482"/>
                    <a:pt x="252" y="1555"/>
                    <a:pt x="168" y="1692"/>
                  </a:cubicBezTo>
                  <a:cubicBezTo>
                    <a:pt x="144" y="1723"/>
                    <a:pt x="137" y="1765"/>
                    <a:pt x="154" y="1800"/>
                  </a:cubicBezTo>
                  <a:cubicBezTo>
                    <a:pt x="172" y="1832"/>
                    <a:pt x="203" y="1853"/>
                    <a:pt x="242" y="1856"/>
                  </a:cubicBezTo>
                  <a:cubicBezTo>
                    <a:pt x="266" y="1860"/>
                    <a:pt x="294" y="1860"/>
                    <a:pt x="322" y="1860"/>
                  </a:cubicBezTo>
                  <a:cubicBezTo>
                    <a:pt x="330" y="1859"/>
                    <a:pt x="338" y="1859"/>
                    <a:pt x="346" y="1859"/>
                  </a:cubicBezTo>
                  <a:cubicBezTo>
                    <a:pt x="400" y="1859"/>
                    <a:pt x="452" y="1870"/>
                    <a:pt x="504" y="1891"/>
                  </a:cubicBezTo>
                  <a:cubicBezTo>
                    <a:pt x="553" y="1916"/>
                    <a:pt x="574" y="1979"/>
                    <a:pt x="550" y="2031"/>
                  </a:cubicBezTo>
                  <a:cubicBezTo>
                    <a:pt x="543" y="2045"/>
                    <a:pt x="539" y="2059"/>
                    <a:pt x="532" y="2077"/>
                  </a:cubicBezTo>
                  <a:lnTo>
                    <a:pt x="522" y="2101"/>
                  </a:lnTo>
                  <a:cubicBezTo>
                    <a:pt x="567" y="2094"/>
                    <a:pt x="616" y="2080"/>
                    <a:pt x="662" y="2059"/>
                  </a:cubicBezTo>
                  <a:cubicBezTo>
                    <a:pt x="704" y="2035"/>
                    <a:pt x="742" y="1996"/>
                    <a:pt x="763" y="1951"/>
                  </a:cubicBezTo>
                  <a:cubicBezTo>
                    <a:pt x="805" y="1877"/>
                    <a:pt x="861" y="1786"/>
                    <a:pt x="1054" y="1730"/>
                  </a:cubicBezTo>
                  <a:cubicBezTo>
                    <a:pt x="1096" y="1716"/>
                    <a:pt x="1145" y="1713"/>
                    <a:pt x="1190" y="1713"/>
                  </a:cubicBezTo>
                  <a:cubicBezTo>
                    <a:pt x="1471" y="1713"/>
                    <a:pt x="1782" y="1912"/>
                    <a:pt x="1891" y="2080"/>
                  </a:cubicBezTo>
                  <a:cubicBezTo>
                    <a:pt x="1915" y="2119"/>
                    <a:pt x="1936" y="2147"/>
                    <a:pt x="1954" y="2175"/>
                  </a:cubicBezTo>
                  <a:cubicBezTo>
                    <a:pt x="2017" y="2245"/>
                    <a:pt x="2055" y="2336"/>
                    <a:pt x="2073" y="2431"/>
                  </a:cubicBezTo>
                  <a:cubicBezTo>
                    <a:pt x="2090" y="2532"/>
                    <a:pt x="2174" y="2798"/>
                    <a:pt x="2559" y="3047"/>
                  </a:cubicBezTo>
                  <a:cubicBezTo>
                    <a:pt x="2738" y="3166"/>
                    <a:pt x="2899" y="3306"/>
                    <a:pt x="3042" y="3463"/>
                  </a:cubicBezTo>
                  <a:cubicBezTo>
                    <a:pt x="3140" y="3561"/>
                    <a:pt x="3217" y="3642"/>
                    <a:pt x="3298" y="3680"/>
                  </a:cubicBezTo>
                  <a:cubicBezTo>
                    <a:pt x="3372" y="3715"/>
                    <a:pt x="3445" y="3743"/>
                    <a:pt x="3526" y="3761"/>
                  </a:cubicBezTo>
                  <a:cubicBezTo>
                    <a:pt x="3645" y="3792"/>
                    <a:pt x="3757" y="3820"/>
                    <a:pt x="3844" y="3925"/>
                  </a:cubicBezTo>
                  <a:cubicBezTo>
                    <a:pt x="3956" y="4058"/>
                    <a:pt x="4110" y="4135"/>
                    <a:pt x="4299" y="4223"/>
                  </a:cubicBezTo>
                  <a:cubicBezTo>
                    <a:pt x="4383" y="4265"/>
                    <a:pt x="4457" y="4332"/>
                    <a:pt x="4509" y="4416"/>
                  </a:cubicBezTo>
                  <a:cubicBezTo>
                    <a:pt x="4565" y="4489"/>
                    <a:pt x="4597" y="4531"/>
                    <a:pt x="4667" y="4542"/>
                  </a:cubicBezTo>
                  <a:cubicBezTo>
                    <a:pt x="4824" y="4563"/>
                    <a:pt x="4835" y="4671"/>
                    <a:pt x="4842" y="4748"/>
                  </a:cubicBezTo>
                  <a:cubicBezTo>
                    <a:pt x="4842" y="4797"/>
                    <a:pt x="4856" y="4846"/>
                    <a:pt x="4887" y="4888"/>
                  </a:cubicBezTo>
                  <a:cubicBezTo>
                    <a:pt x="5013" y="5042"/>
                    <a:pt x="5052" y="5368"/>
                    <a:pt x="4912" y="5560"/>
                  </a:cubicBezTo>
                  <a:cubicBezTo>
                    <a:pt x="4849" y="5655"/>
                    <a:pt x="4838" y="5777"/>
                    <a:pt x="4887" y="5886"/>
                  </a:cubicBezTo>
                  <a:cubicBezTo>
                    <a:pt x="4947" y="5840"/>
                    <a:pt x="5073" y="5627"/>
                    <a:pt x="5094" y="5494"/>
                  </a:cubicBezTo>
                  <a:cubicBezTo>
                    <a:pt x="5111" y="5371"/>
                    <a:pt x="5188" y="5322"/>
                    <a:pt x="5265" y="5273"/>
                  </a:cubicBezTo>
                  <a:cubicBezTo>
                    <a:pt x="5325" y="5242"/>
                    <a:pt x="5377" y="5196"/>
                    <a:pt x="5423" y="5140"/>
                  </a:cubicBezTo>
                  <a:cubicBezTo>
                    <a:pt x="5448" y="5105"/>
                    <a:pt x="5455" y="5098"/>
                    <a:pt x="5353" y="5014"/>
                  </a:cubicBezTo>
                  <a:cubicBezTo>
                    <a:pt x="5279" y="4958"/>
                    <a:pt x="5192" y="4885"/>
                    <a:pt x="5160" y="4769"/>
                  </a:cubicBezTo>
                  <a:cubicBezTo>
                    <a:pt x="5132" y="4650"/>
                    <a:pt x="5178" y="4524"/>
                    <a:pt x="5279" y="4458"/>
                  </a:cubicBezTo>
                  <a:cubicBezTo>
                    <a:pt x="5349" y="4407"/>
                    <a:pt x="5433" y="4382"/>
                    <a:pt x="5520" y="4382"/>
                  </a:cubicBezTo>
                  <a:cubicBezTo>
                    <a:pt x="5609" y="4382"/>
                    <a:pt x="5701" y="4408"/>
                    <a:pt x="5784" y="4461"/>
                  </a:cubicBezTo>
                  <a:cubicBezTo>
                    <a:pt x="5826" y="4486"/>
                    <a:pt x="5861" y="4510"/>
                    <a:pt x="5896" y="4535"/>
                  </a:cubicBezTo>
                  <a:cubicBezTo>
                    <a:pt x="5952" y="4577"/>
                    <a:pt x="6015" y="4612"/>
                    <a:pt x="6078" y="4636"/>
                  </a:cubicBezTo>
                  <a:cubicBezTo>
                    <a:pt x="6092" y="4605"/>
                    <a:pt x="6095" y="4573"/>
                    <a:pt x="6095" y="4538"/>
                  </a:cubicBezTo>
                  <a:cubicBezTo>
                    <a:pt x="6106" y="4367"/>
                    <a:pt x="5546" y="4086"/>
                    <a:pt x="5276" y="3953"/>
                  </a:cubicBezTo>
                  <a:cubicBezTo>
                    <a:pt x="5174" y="3901"/>
                    <a:pt x="5094" y="3859"/>
                    <a:pt x="5045" y="3831"/>
                  </a:cubicBezTo>
                  <a:cubicBezTo>
                    <a:pt x="4968" y="3782"/>
                    <a:pt x="4908" y="3708"/>
                    <a:pt x="4880" y="3624"/>
                  </a:cubicBezTo>
                  <a:cubicBezTo>
                    <a:pt x="4848" y="3551"/>
                    <a:pt x="4834" y="3515"/>
                    <a:pt x="4713" y="3515"/>
                  </a:cubicBezTo>
                  <a:cubicBezTo>
                    <a:pt x="4702" y="3515"/>
                    <a:pt x="4690" y="3515"/>
                    <a:pt x="4677" y="3516"/>
                  </a:cubicBezTo>
                  <a:cubicBezTo>
                    <a:pt x="4669" y="3516"/>
                    <a:pt x="4660" y="3517"/>
                    <a:pt x="4652" y="3517"/>
                  </a:cubicBezTo>
                  <a:cubicBezTo>
                    <a:pt x="4297" y="3517"/>
                    <a:pt x="3887" y="3091"/>
                    <a:pt x="3760" y="2592"/>
                  </a:cubicBezTo>
                  <a:cubicBezTo>
                    <a:pt x="3697" y="2340"/>
                    <a:pt x="3512" y="2227"/>
                    <a:pt x="3330" y="2119"/>
                  </a:cubicBezTo>
                  <a:cubicBezTo>
                    <a:pt x="3189" y="2035"/>
                    <a:pt x="3060" y="1958"/>
                    <a:pt x="2997" y="1821"/>
                  </a:cubicBezTo>
                  <a:cubicBezTo>
                    <a:pt x="2937" y="1709"/>
                    <a:pt x="2937" y="1573"/>
                    <a:pt x="2997" y="1464"/>
                  </a:cubicBezTo>
                  <a:cubicBezTo>
                    <a:pt x="3025" y="1398"/>
                    <a:pt x="3046" y="1356"/>
                    <a:pt x="3004" y="1272"/>
                  </a:cubicBezTo>
                  <a:cubicBezTo>
                    <a:pt x="2979" y="1219"/>
                    <a:pt x="2976" y="1156"/>
                    <a:pt x="2997" y="1104"/>
                  </a:cubicBezTo>
                  <a:cubicBezTo>
                    <a:pt x="3039" y="999"/>
                    <a:pt x="3151" y="929"/>
                    <a:pt x="3238" y="890"/>
                  </a:cubicBezTo>
                  <a:lnTo>
                    <a:pt x="3238" y="859"/>
                  </a:lnTo>
                  <a:lnTo>
                    <a:pt x="3238" y="820"/>
                  </a:lnTo>
                  <a:lnTo>
                    <a:pt x="3238" y="757"/>
                  </a:lnTo>
                  <a:lnTo>
                    <a:pt x="3238" y="729"/>
                  </a:lnTo>
                  <a:lnTo>
                    <a:pt x="3238" y="638"/>
                  </a:lnTo>
                  <a:lnTo>
                    <a:pt x="3238" y="621"/>
                  </a:lnTo>
                  <a:cubicBezTo>
                    <a:pt x="3238" y="596"/>
                    <a:pt x="3238" y="572"/>
                    <a:pt x="3242" y="547"/>
                  </a:cubicBezTo>
                  <a:lnTo>
                    <a:pt x="3242" y="516"/>
                  </a:lnTo>
                  <a:cubicBezTo>
                    <a:pt x="3242" y="498"/>
                    <a:pt x="3242" y="477"/>
                    <a:pt x="3242" y="460"/>
                  </a:cubicBezTo>
                  <a:cubicBezTo>
                    <a:pt x="3242" y="449"/>
                    <a:pt x="3242" y="439"/>
                    <a:pt x="3245" y="428"/>
                  </a:cubicBezTo>
                  <a:cubicBezTo>
                    <a:pt x="3249" y="414"/>
                    <a:pt x="3249" y="393"/>
                    <a:pt x="3249" y="376"/>
                  </a:cubicBezTo>
                  <a:cubicBezTo>
                    <a:pt x="3252" y="362"/>
                    <a:pt x="3249" y="355"/>
                    <a:pt x="3252" y="344"/>
                  </a:cubicBezTo>
                  <a:cubicBezTo>
                    <a:pt x="3256" y="334"/>
                    <a:pt x="3256" y="313"/>
                    <a:pt x="3256" y="295"/>
                  </a:cubicBezTo>
                  <a:lnTo>
                    <a:pt x="3258" y="277"/>
                  </a:lnTo>
                  <a:lnTo>
                    <a:pt x="3258" y="277"/>
                  </a:lnTo>
                  <a:lnTo>
                    <a:pt x="3200" y="267"/>
                  </a:lnTo>
                  <a:cubicBezTo>
                    <a:pt x="3140" y="264"/>
                    <a:pt x="3081" y="246"/>
                    <a:pt x="3025" y="222"/>
                  </a:cubicBezTo>
                  <a:cubicBezTo>
                    <a:pt x="2972" y="187"/>
                    <a:pt x="2948" y="109"/>
                    <a:pt x="2930" y="39"/>
                  </a:cubicBezTo>
                  <a:cubicBezTo>
                    <a:pt x="2927" y="29"/>
                    <a:pt x="2923" y="11"/>
                    <a:pt x="291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0" name="Google Shape;7540;p53"/>
            <p:cNvSpPr/>
            <p:nvPr/>
          </p:nvSpPr>
          <p:spPr>
            <a:xfrm>
              <a:off x="2139082" y="1663966"/>
              <a:ext cx="1344" cy="2485"/>
            </a:xfrm>
            <a:custGeom>
              <a:avLst/>
              <a:gdLst/>
              <a:ahLst/>
              <a:cxnLst/>
              <a:rect l="l" t="t" r="r" b="b"/>
              <a:pathLst>
                <a:path w="99" h="183" extrusionOk="0">
                  <a:moveTo>
                    <a:pt x="98" y="183"/>
                  </a:moveTo>
                  <a:lnTo>
                    <a:pt x="98" y="183"/>
                  </a:lnTo>
                  <a:cubicBezTo>
                    <a:pt x="42" y="148"/>
                    <a:pt x="21" y="70"/>
                    <a:pt x="0" y="0"/>
                  </a:cubicBezTo>
                  <a:cubicBezTo>
                    <a:pt x="21" y="70"/>
                    <a:pt x="42" y="148"/>
                    <a:pt x="98" y="18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1" name="Google Shape;7541;p53"/>
            <p:cNvSpPr/>
            <p:nvPr/>
          </p:nvSpPr>
          <p:spPr>
            <a:xfrm>
              <a:off x="2128057" y="1665391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4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2" name="Google Shape;7542;p53"/>
            <p:cNvSpPr/>
            <p:nvPr/>
          </p:nvSpPr>
          <p:spPr>
            <a:xfrm>
              <a:off x="2142734" y="1667061"/>
              <a:ext cx="923" cy="149"/>
            </a:xfrm>
            <a:custGeom>
              <a:avLst/>
              <a:gdLst/>
              <a:ahLst/>
              <a:cxnLst/>
              <a:rect l="l" t="t" r="r" b="b"/>
              <a:pathLst>
                <a:path w="68" h="11" extrusionOk="0">
                  <a:moveTo>
                    <a:pt x="67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3" name="Google Shape;7543;p53"/>
            <p:cNvSpPr/>
            <p:nvPr/>
          </p:nvSpPr>
          <p:spPr>
            <a:xfrm>
              <a:off x="2105477" y="167451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4" name="Google Shape;7544;p53"/>
            <p:cNvSpPr/>
            <p:nvPr/>
          </p:nvSpPr>
          <p:spPr>
            <a:xfrm>
              <a:off x="2105097" y="1674570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5" name="Google Shape;7545;p53"/>
            <p:cNvSpPr/>
            <p:nvPr/>
          </p:nvSpPr>
          <p:spPr>
            <a:xfrm>
              <a:off x="2101866" y="1674610"/>
              <a:ext cx="2770" cy="204"/>
            </a:xfrm>
            <a:custGeom>
              <a:avLst/>
              <a:gdLst/>
              <a:ahLst/>
              <a:cxnLst/>
              <a:rect l="l" t="t" r="r" b="b"/>
              <a:pathLst>
                <a:path w="204" h="15" extrusionOk="0">
                  <a:moveTo>
                    <a:pt x="203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6" name="Google Shape;7546;p53"/>
            <p:cNvSpPr/>
            <p:nvPr/>
          </p:nvSpPr>
          <p:spPr>
            <a:xfrm>
              <a:off x="2104622" y="1674570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7" name="Google Shape;7547;p53"/>
            <p:cNvSpPr/>
            <p:nvPr/>
          </p:nvSpPr>
          <p:spPr>
            <a:xfrm>
              <a:off x="2101526" y="16748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8" name="Google Shape;7548;p53"/>
            <p:cNvSpPr/>
            <p:nvPr/>
          </p:nvSpPr>
          <p:spPr>
            <a:xfrm>
              <a:off x="2127296" y="1665391"/>
              <a:ext cx="774" cy="720"/>
            </a:xfrm>
            <a:custGeom>
              <a:avLst/>
              <a:gdLst/>
              <a:ahLst/>
              <a:cxnLst/>
              <a:rect l="l" t="t" r="r" b="b"/>
              <a:pathLst>
                <a:path w="57" h="53" extrusionOk="0">
                  <a:moveTo>
                    <a:pt x="0" y="53"/>
                  </a:moveTo>
                  <a:lnTo>
                    <a:pt x="56" y="0"/>
                  </a:lnTo>
                  <a:lnTo>
                    <a:pt x="5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9" name="Google Shape;7549;p53"/>
            <p:cNvSpPr/>
            <p:nvPr/>
          </p:nvSpPr>
          <p:spPr>
            <a:xfrm>
              <a:off x="2106903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0" name="Google Shape;7550;p53"/>
            <p:cNvSpPr/>
            <p:nvPr/>
          </p:nvSpPr>
          <p:spPr>
            <a:xfrm>
              <a:off x="2106659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1" name="Google Shape;7551;p53"/>
            <p:cNvSpPr/>
            <p:nvPr/>
          </p:nvSpPr>
          <p:spPr>
            <a:xfrm>
              <a:off x="2105858" y="1674515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2" name="Google Shape;7552;p53"/>
            <p:cNvSpPr/>
            <p:nvPr/>
          </p:nvSpPr>
          <p:spPr>
            <a:xfrm>
              <a:off x="2107134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3" name="Google Shape;7553;p53"/>
            <p:cNvSpPr/>
            <p:nvPr/>
          </p:nvSpPr>
          <p:spPr>
            <a:xfrm>
              <a:off x="2106183" y="167447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4" name="Google Shape;7554;p53"/>
            <p:cNvSpPr/>
            <p:nvPr/>
          </p:nvSpPr>
          <p:spPr>
            <a:xfrm>
              <a:off x="2102762" y="1677652"/>
              <a:ext cx="68" cy="448"/>
            </a:xfrm>
            <a:custGeom>
              <a:avLst/>
              <a:gdLst/>
              <a:ahLst/>
              <a:cxnLst/>
              <a:rect l="l" t="t" r="r" b="b"/>
              <a:pathLst>
                <a:path w="5" h="33" extrusionOk="0">
                  <a:moveTo>
                    <a:pt x="4" y="32"/>
                  </a:moveTo>
                  <a:cubicBezTo>
                    <a:pt x="4" y="22"/>
                    <a:pt x="4" y="11"/>
                    <a:pt x="1" y="1"/>
                  </a:cubicBezTo>
                  <a:cubicBezTo>
                    <a:pt x="4" y="11"/>
                    <a:pt x="4" y="22"/>
                    <a:pt x="4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5" name="Google Shape;7555;p53"/>
            <p:cNvSpPr/>
            <p:nvPr/>
          </p:nvSpPr>
          <p:spPr>
            <a:xfrm>
              <a:off x="2101771" y="167641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6" name="Google Shape;7556;p53"/>
            <p:cNvSpPr/>
            <p:nvPr/>
          </p:nvSpPr>
          <p:spPr>
            <a:xfrm>
              <a:off x="2102572" y="1688826"/>
              <a:ext cx="3584" cy="434"/>
            </a:xfrm>
            <a:custGeom>
              <a:avLst/>
              <a:gdLst/>
              <a:ahLst/>
              <a:cxnLst/>
              <a:rect l="l" t="t" r="r" b="b"/>
              <a:pathLst>
                <a:path w="264" h="32" extrusionOk="0">
                  <a:moveTo>
                    <a:pt x="1" y="0"/>
                  </a:moveTo>
                  <a:cubicBezTo>
                    <a:pt x="25" y="4"/>
                    <a:pt x="53" y="4"/>
                    <a:pt x="81" y="4"/>
                  </a:cubicBezTo>
                  <a:cubicBezTo>
                    <a:pt x="144" y="0"/>
                    <a:pt x="207" y="11"/>
                    <a:pt x="263" y="32"/>
                  </a:cubicBezTo>
                  <a:cubicBezTo>
                    <a:pt x="207" y="11"/>
                    <a:pt x="144" y="0"/>
                    <a:pt x="81" y="4"/>
                  </a:cubicBezTo>
                  <a:cubicBezTo>
                    <a:pt x="53" y="4"/>
                    <a:pt x="25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7" name="Google Shape;7557;p53"/>
            <p:cNvSpPr/>
            <p:nvPr/>
          </p:nvSpPr>
          <p:spPr>
            <a:xfrm>
              <a:off x="2106374" y="1691813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25"/>
                  </a:moveTo>
                  <a:lnTo>
                    <a:pt x="1" y="25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8" name="Google Shape;7558;p53"/>
            <p:cNvSpPr/>
            <p:nvPr/>
          </p:nvSpPr>
          <p:spPr>
            <a:xfrm>
              <a:off x="2101676" y="16762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9" name="Google Shape;7559;p53"/>
            <p:cNvSpPr/>
            <p:nvPr/>
          </p:nvSpPr>
          <p:spPr>
            <a:xfrm>
              <a:off x="2101907" y="1676606"/>
              <a:ext cx="543" cy="394"/>
            </a:xfrm>
            <a:custGeom>
              <a:avLst/>
              <a:gdLst/>
              <a:ahLst/>
              <a:cxnLst/>
              <a:rect l="l" t="t" r="r" b="b"/>
              <a:pathLst>
                <a:path w="40" h="29" extrusionOk="0">
                  <a:moveTo>
                    <a:pt x="15" y="11"/>
                  </a:moveTo>
                  <a:cubicBezTo>
                    <a:pt x="11" y="8"/>
                    <a:pt x="4" y="4"/>
                    <a:pt x="1" y="1"/>
                  </a:cubicBezTo>
                  <a:cubicBezTo>
                    <a:pt x="4" y="4"/>
                    <a:pt x="11" y="8"/>
                    <a:pt x="15" y="11"/>
                  </a:cubicBezTo>
                  <a:cubicBezTo>
                    <a:pt x="25" y="18"/>
                    <a:pt x="32" y="22"/>
                    <a:pt x="39" y="29"/>
                  </a:cubicBezTo>
                  <a:cubicBezTo>
                    <a:pt x="32" y="22"/>
                    <a:pt x="25" y="18"/>
                    <a:pt x="1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0" name="Google Shape;7560;p53"/>
            <p:cNvSpPr/>
            <p:nvPr/>
          </p:nvSpPr>
          <p:spPr>
            <a:xfrm>
              <a:off x="2143359" y="1670619"/>
              <a:ext cx="54" cy="448"/>
            </a:xfrm>
            <a:custGeom>
              <a:avLst/>
              <a:gdLst/>
              <a:ahLst/>
              <a:cxnLst/>
              <a:rect l="l" t="t" r="r" b="b"/>
              <a:pathLst>
                <a:path w="4" h="33" extrusionOk="0">
                  <a:moveTo>
                    <a:pt x="4" y="1"/>
                  </a:moveTo>
                  <a:cubicBezTo>
                    <a:pt x="4" y="11"/>
                    <a:pt x="0" y="22"/>
                    <a:pt x="4" y="32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1" name="Google Shape;7561;p53"/>
            <p:cNvSpPr/>
            <p:nvPr/>
          </p:nvSpPr>
          <p:spPr>
            <a:xfrm>
              <a:off x="2143304" y="1674760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2" name="Google Shape;7562;p53"/>
            <p:cNvSpPr/>
            <p:nvPr/>
          </p:nvSpPr>
          <p:spPr>
            <a:xfrm>
              <a:off x="2143454" y="1669383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0" y="1"/>
                  </a:moveTo>
                  <a:cubicBezTo>
                    <a:pt x="0" y="15"/>
                    <a:pt x="0" y="25"/>
                    <a:pt x="0" y="36"/>
                  </a:cubicBezTo>
                  <a:cubicBezTo>
                    <a:pt x="0" y="25"/>
                    <a:pt x="0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3" name="Google Shape;7563;p53"/>
            <p:cNvSpPr/>
            <p:nvPr/>
          </p:nvSpPr>
          <p:spPr>
            <a:xfrm>
              <a:off x="2143304" y="167204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4" name="Google Shape;7564;p53"/>
            <p:cNvSpPr/>
            <p:nvPr/>
          </p:nvSpPr>
          <p:spPr>
            <a:xfrm>
              <a:off x="2143304" y="167352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5" name="Google Shape;7565;p53"/>
            <p:cNvSpPr/>
            <p:nvPr/>
          </p:nvSpPr>
          <p:spPr>
            <a:xfrm>
              <a:off x="2143494" y="1668297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4" y="11"/>
                    <a:pt x="4" y="21"/>
                    <a:pt x="1" y="32"/>
                  </a:cubicBezTo>
                  <a:cubicBezTo>
                    <a:pt x="4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6" name="Google Shape;7566;p53"/>
            <p:cNvSpPr/>
            <p:nvPr/>
          </p:nvSpPr>
          <p:spPr>
            <a:xfrm>
              <a:off x="2143589" y="1667251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0"/>
                  </a:move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7" name="Google Shape;7567;p53"/>
            <p:cNvSpPr/>
            <p:nvPr/>
          </p:nvSpPr>
          <p:spPr>
            <a:xfrm>
              <a:off x="2184186" y="1698140"/>
              <a:ext cx="6626" cy="9138"/>
            </a:xfrm>
            <a:custGeom>
              <a:avLst/>
              <a:gdLst/>
              <a:ahLst/>
              <a:cxnLst/>
              <a:rect l="l" t="t" r="r" b="b"/>
              <a:pathLst>
                <a:path w="488" h="673" extrusionOk="0">
                  <a:moveTo>
                    <a:pt x="162" y="1"/>
                  </a:moveTo>
                  <a:lnTo>
                    <a:pt x="137" y="36"/>
                  </a:lnTo>
                  <a:cubicBezTo>
                    <a:pt x="127" y="53"/>
                    <a:pt x="116" y="71"/>
                    <a:pt x="109" y="85"/>
                  </a:cubicBezTo>
                  <a:lnTo>
                    <a:pt x="99" y="99"/>
                  </a:lnTo>
                  <a:lnTo>
                    <a:pt x="92" y="113"/>
                  </a:lnTo>
                  <a:cubicBezTo>
                    <a:pt x="53" y="165"/>
                    <a:pt x="25" y="228"/>
                    <a:pt x="11" y="295"/>
                  </a:cubicBezTo>
                  <a:lnTo>
                    <a:pt x="11" y="298"/>
                  </a:lnTo>
                  <a:lnTo>
                    <a:pt x="11" y="302"/>
                  </a:lnTo>
                  <a:lnTo>
                    <a:pt x="11" y="316"/>
                  </a:lnTo>
                  <a:lnTo>
                    <a:pt x="11" y="330"/>
                  </a:lnTo>
                  <a:lnTo>
                    <a:pt x="11" y="347"/>
                  </a:lnTo>
                  <a:lnTo>
                    <a:pt x="11" y="351"/>
                  </a:lnTo>
                  <a:lnTo>
                    <a:pt x="11" y="368"/>
                  </a:lnTo>
                  <a:lnTo>
                    <a:pt x="11" y="379"/>
                  </a:lnTo>
                  <a:cubicBezTo>
                    <a:pt x="11" y="382"/>
                    <a:pt x="11" y="389"/>
                    <a:pt x="8" y="396"/>
                  </a:cubicBezTo>
                  <a:lnTo>
                    <a:pt x="8" y="407"/>
                  </a:lnTo>
                  <a:cubicBezTo>
                    <a:pt x="8" y="414"/>
                    <a:pt x="4" y="421"/>
                    <a:pt x="4" y="428"/>
                  </a:cubicBezTo>
                  <a:lnTo>
                    <a:pt x="1" y="445"/>
                  </a:lnTo>
                  <a:lnTo>
                    <a:pt x="18" y="459"/>
                  </a:lnTo>
                  <a:cubicBezTo>
                    <a:pt x="109" y="536"/>
                    <a:pt x="204" y="606"/>
                    <a:pt x="302" y="673"/>
                  </a:cubicBezTo>
                  <a:cubicBezTo>
                    <a:pt x="333" y="557"/>
                    <a:pt x="400" y="449"/>
                    <a:pt x="487" y="368"/>
                  </a:cubicBezTo>
                  <a:lnTo>
                    <a:pt x="477" y="351"/>
                  </a:lnTo>
                  <a:lnTo>
                    <a:pt x="438" y="316"/>
                  </a:lnTo>
                  <a:lnTo>
                    <a:pt x="417" y="291"/>
                  </a:lnTo>
                  <a:lnTo>
                    <a:pt x="386" y="256"/>
                  </a:lnTo>
                  <a:lnTo>
                    <a:pt x="368" y="232"/>
                  </a:lnTo>
                  <a:lnTo>
                    <a:pt x="319" y="176"/>
                  </a:lnTo>
                  <a:lnTo>
                    <a:pt x="305" y="162"/>
                  </a:lnTo>
                  <a:lnTo>
                    <a:pt x="267" y="116"/>
                  </a:lnTo>
                  <a:lnTo>
                    <a:pt x="253" y="99"/>
                  </a:lnTo>
                  <a:lnTo>
                    <a:pt x="214" y="57"/>
                  </a:lnTo>
                  <a:lnTo>
                    <a:pt x="204" y="46"/>
                  </a:lnTo>
                  <a:lnTo>
                    <a:pt x="16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8" name="Google Shape;7568;p53"/>
            <p:cNvSpPr/>
            <p:nvPr/>
          </p:nvSpPr>
          <p:spPr>
            <a:xfrm>
              <a:off x="2184336" y="17022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9" name="Google Shape;7569;p53"/>
            <p:cNvSpPr/>
            <p:nvPr/>
          </p:nvSpPr>
          <p:spPr>
            <a:xfrm>
              <a:off x="2184376" y="170266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0" name="Google Shape;7570;p53"/>
            <p:cNvSpPr/>
            <p:nvPr/>
          </p:nvSpPr>
          <p:spPr>
            <a:xfrm>
              <a:off x="2184376" y="17024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1" name="Google Shape;7571;p53"/>
            <p:cNvSpPr/>
            <p:nvPr/>
          </p:nvSpPr>
          <p:spPr>
            <a:xfrm>
              <a:off x="2184336" y="170213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2" name="Google Shape;7572;p53"/>
            <p:cNvSpPr/>
            <p:nvPr/>
          </p:nvSpPr>
          <p:spPr>
            <a:xfrm>
              <a:off x="2185666" y="1698615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1"/>
                  </a:moveTo>
                  <a:lnTo>
                    <a:pt x="28" y="1"/>
                  </a:lnTo>
                  <a:cubicBezTo>
                    <a:pt x="18" y="18"/>
                    <a:pt x="7" y="32"/>
                    <a:pt x="0" y="50"/>
                  </a:cubicBezTo>
                  <a:cubicBezTo>
                    <a:pt x="7" y="36"/>
                    <a:pt x="18" y="18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3" name="Google Shape;7573;p53"/>
            <p:cNvSpPr/>
            <p:nvPr/>
          </p:nvSpPr>
          <p:spPr>
            <a:xfrm>
              <a:off x="2184241" y="170355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4" name="Google Shape;7574;p53"/>
            <p:cNvSpPr/>
            <p:nvPr/>
          </p:nvSpPr>
          <p:spPr>
            <a:xfrm>
              <a:off x="2184145" y="1704033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5" name="Google Shape;7575;p53"/>
            <p:cNvSpPr/>
            <p:nvPr/>
          </p:nvSpPr>
          <p:spPr>
            <a:xfrm>
              <a:off x="2185422" y="169952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6" name="Google Shape;7576;p53"/>
            <p:cNvSpPr/>
            <p:nvPr/>
          </p:nvSpPr>
          <p:spPr>
            <a:xfrm>
              <a:off x="2184336" y="17029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7" name="Google Shape;7577;p53"/>
            <p:cNvSpPr/>
            <p:nvPr/>
          </p:nvSpPr>
          <p:spPr>
            <a:xfrm>
              <a:off x="2184336" y="170323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8" name="Google Shape;7578;p53"/>
            <p:cNvSpPr/>
            <p:nvPr/>
          </p:nvSpPr>
          <p:spPr>
            <a:xfrm>
              <a:off x="2188178" y="1703177"/>
              <a:ext cx="2580" cy="4195"/>
            </a:xfrm>
            <a:custGeom>
              <a:avLst/>
              <a:gdLst/>
              <a:ahLst/>
              <a:cxnLst/>
              <a:rect l="l" t="t" r="r" b="b"/>
              <a:pathLst>
                <a:path w="190" h="309" extrusionOk="0">
                  <a:moveTo>
                    <a:pt x="1" y="309"/>
                  </a:moveTo>
                  <a:cubicBezTo>
                    <a:pt x="36" y="190"/>
                    <a:pt x="102" y="85"/>
                    <a:pt x="190" y="1"/>
                  </a:cubicBezTo>
                  <a:lnTo>
                    <a:pt x="190" y="1"/>
                  </a:lnTo>
                  <a:cubicBezTo>
                    <a:pt x="102" y="85"/>
                    <a:pt x="36" y="190"/>
                    <a:pt x="1" y="3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9" name="Google Shape;7579;p53"/>
            <p:cNvSpPr/>
            <p:nvPr/>
          </p:nvSpPr>
          <p:spPr>
            <a:xfrm>
              <a:off x="2186372" y="1671338"/>
              <a:ext cx="27820" cy="35044"/>
            </a:xfrm>
            <a:custGeom>
              <a:avLst/>
              <a:gdLst/>
              <a:ahLst/>
              <a:cxnLst/>
              <a:rect l="l" t="t" r="r" b="b"/>
              <a:pathLst>
                <a:path w="2049" h="2581" extrusionOk="0">
                  <a:moveTo>
                    <a:pt x="498" y="0"/>
                  </a:moveTo>
                  <a:cubicBezTo>
                    <a:pt x="424" y="21"/>
                    <a:pt x="190" y="98"/>
                    <a:pt x="1" y="158"/>
                  </a:cubicBezTo>
                  <a:lnTo>
                    <a:pt x="1" y="161"/>
                  </a:lnTo>
                  <a:cubicBezTo>
                    <a:pt x="1" y="168"/>
                    <a:pt x="4" y="175"/>
                    <a:pt x="4" y="182"/>
                  </a:cubicBezTo>
                  <a:cubicBezTo>
                    <a:pt x="4" y="189"/>
                    <a:pt x="8" y="203"/>
                    <a:pt x="11" y="214"/>
                  </a:cubicBezTo>
                  <a:cubicBezTo>
                    <a:pt x="15" y="224"/>
                    <a:pt x="15" y="228"/>
                    <a:pt x="15" y="235"/>
                  </a:cubicBezTo>
                  <a:cubicBezTo>
                    <a:pt x="18" y="238"/>
                    <a:pt x="18" y="252"/>
                    <a:pt x="22" y="259"/>
                  </a:cubicBezTo>
                  <a:lnTo>
                    <a:pt x="29" y="277"/>
                  </a:lnTo>
                  <a:cubicBezTo>
                    <a:pt x="29" y="284"/>
                    <a:pt x="32" y="291"/>
                    <a:pt x="36" y="298"/>
                  </a:cubicBezTo>
                  <a:lnTo>
                    <a:pt x="39" y="312"/>
                  </a:lnTo>
                  <a:cubicBezTo>
                    <a:pt x="43" y="315"/>
                    <a:pt x="46" y="322"/>
                    <a:pt x="46" y="326"/>
                  </a:cubicBezTo>
                  <a:lnTo>
                    <a:pt x="53" y="336"/>
                  </a:lnTo>
                  <a:cubicBezTo>
                    <a:pt x="57" y="343"/>
                    <a:pt x="60" y="347"/>
                    <a:pt x="60" y="350"/>
                  </a:cubicBezTo>
                  <a:lnTo>
                    <a:pt x="67" y="357"/>
                  </a:lnTo>
                  <a:cubicBezTo>
                    <a:pt x="71" y="361"/>
                    <a:pt x="71" y="364"/>
                    <a:pt x="74" y="368"/>
                  </a:cubicBezTo>
                  <a:lnTo>
                    <a:pt x="81" y="371"/>
                  </a:lnTo>
                  <a:cubicBezTo>
                    <a:pt x="85" y="375"/>
                    <a:pt x="88" y="378"/>
                    <a:pt x="92" y="378"/>
                  </a:cubicBezTo>
                  <a:cubicBezTo>
                    <a:pt x="246" y="434"/>
                    <a:pt x="260" y="560"/>
                    <a:pt x="274" y="662"/>
                  </a:cubicBezTo>
                  <a:cubicBezTo>
                    <a:pt x="277" y="711"/>
                    <a:pt x="288" y="760"/>
                    <a:pt x="305" y="805"/>
                  </a:cubicBezTo>
                  <a:cubicBezTo>
                    <a:pt x="305" y="812"/>
                    <a:pt x="309" y="816"/>
                    <a:pt x="312" y="823"/>
                  </a:cubicBezTo>
                  <a:cubicBezTo>
                    <a:pt x="319" y="851"/>
                    <a:pt x="326" y="882"/>
                    <a:pt x="330" y="910"/>
                  </a:cubicBezTo>
                  <a:lnTo>
                    <a:pt x="333" y="938"/>
                  </a:lnTo>
                  <a:lnTo>
                    <a:pt x="351" y="1085"/>
                  </a:lnTo>
                  <a:lnTo>
                    <a:pt x="344" y="1078"/>
                  </a:lnTo>
                  <a:lnTo>
                    <a:pt x="344" y="1078"/>
                  </a:lnTo>
                  <a:cubicBezTo>
                    <a:pt x="351" y="1246"/>
                    <a:pt x="344" y="1411"/>
                    <a:pt x="316" y="1572"/>
                  </a:cubicBezTo>
                  <a:lnTo>
                    <a:pt x="316" y="1575"/>
                  </a:lnTo>
                  <a:cubicBezTo>
                    <a:pt x="309" y="1617"/>
                    <a:pt x="298" y="1659"/>
                    <a:pt x="277" y="1698"/>
                  </a:cubicBezTo>
                  <a:cubicBezTo>
                    <a:pt x="277" y="1702"/>
                    <a:pt x="274" y="1702"/>
                    <a:pt x="270" y="1705"/>
                  </a:cubicBezTo>
                  <a:cubicBezTo>
                    <a:pt x="267" y="1709"/>
                    <a:pt x="267" y="1709"/>
                    <a:pt x="267" y="1712"/>
                  </a:cubicBezTo>
                  <a:lnTo>
                    <a:pt x="260" y="1716"/>
                  </a:lnTo>
                  <a:lnTo>
                    <a:pt x="256" y="1719"/>
                  </a:lnTo>
                  <a:cubicBezTo>
                    <a:pt x="253" y="1726"/>
                    <a:pt x="249" y="1726"/>
                    <a:pt x="242" y="1730"/>
                  </a:cubicBezTo>
                  <a:lnTo>
                    <a:pt x="239" y="1733"/>
                  </a:lnTo>
                  <a:cubicBezTo>
                    <a:pt x="235" y="1737"/>
                    <a:pt x="228" y="1737"/>
                    <a:pt x="225" y="1740"/>
                  </a:cubicBezTo>
                  <a:cubicBezTo>
                    <a:pt x="218" y="1740"/>
                    <a:pt x="214" y="1744"/>
                    <a:pt x="207" y="1744"/>
                  </a:cubicBezTo>
                  <a:cubicBezTo>
                    <a:pt x="158" y="1782"/>
                    <a:pt x="116" y="1824"/>
                    <a:pt x="81" y="1873"/>
                  </a:cubicBezTo>
                  <a:lnTo>
                    <a:pt x="85" y="1880"/>
                  </a:lnTo>
                  <a:lnTo>
                    <a:pt x="99" y="1894"/>
                  </a:lnTo>
                  <a:lnTo>
                    <a:pt x="134" y="1929"/>
                  </a:lnTo>
                  <a:lnTo>
                    <a:pt x="155" y="1950"/>
                  </a:lnTo>
                  <a:lnTo>
                    <a:pt x="186" y="1989"/>
                  </a:lnTo>
                  <a:lnTo>
                    <a:pt x="207" y="2010"/>
                  </a:lnTo>
                  <a:lnTo>
                    <a:pt x="239" y="2048"/>
                  </a:lnTo>
                  <a:lnTo>
                    <a:pt x="260" y="2073"/>
                  </a:lnTo>
                  <a:lnTo>
                    <a:pt x="295" y="2118"/>
                  </a:lnTo>
                  <a:lnTo>
                    <a:pt x="319" y="2146"/>
                  </a:lnTo>
                  <a:lnTo>
                    <a:pt x="365" y="2195"/>
                  </a:lnTo>
                  <a:lnTo>
                    <a:pt x="386" y="2223"/>
                  </a:lnTo>
                  <a:lnTo>
                    <a:pt x="414" y="2258"/>
                  </a:lnTo>
                  <a:lnTo>
                    <a:pt x="435" y="2283"/>
                  </a:lnTo>
                  <a:lnTo>
                    <a:pt x="452" y="2304"/>
                  </a:lnTo>
                  <a:cubicBezTo>
                    <a:pt x="459" y="2300"/>
                    <a:pt x="463" y="2300"/>
                    <a:pt x="470" y="2297"/>
                  </a:cubicBezTo>
                  <a:lnTo>
                    <a:pt x="480" y="2300"/>
                  </a:lnTo>
                  <a:lnTo>
                    <a:pt x="508" y="2307"/>
                  </a:lnTo>
                  <a:lnTo>
                    <a:pt x="529" y="2318"/>
                  </a:lnTo>
                  <a:lnTo>
                    <a:pt x="543" y="2321"/>
                  </a:lnTo>
                  <a:cubicBezTo>
                    <a:pt x="557" y="2328"/>
                    <a:pt x="575" y="2339"/>
                    <a:pt x="592" y="2346"/>
                  </a:cubicBezTo>
                  <a:lnTo>
                    <a:pt x="603" y="2353"/>
                  </a:lnTo>
                  <a:lnTo>
                    <a:pt x="652" y="2377"/>
                  </a:lnTo>
                  <a:lnTo>
                    <a:pt x="683" y="2395"/>
                  </a:lnTo>
                  <a:lnTo>
                    <a:pt x="704" y="2409"/>
                  </a:lnTo>
                  <a:cubicBezTo>
                    <a:pt x="802" y="2468"/>
                    <a:pt x="904" y="2538"/>
                    <a:pt x="960" y="2580"/>
                  </a:cubicBezTo>
                  <a:lnTo>
                    <a:pt x="1016" y="2566"/>
                  </a:lnTo>
                  <a:lnTo>
                    <a:pt x="1198" y="2531"/>
                  </a:lnTo>
                  <a:lnTo>
                    <a:pt x="1202" y="2531"/>
                  </a:lnTo>
                  <a:lnTo>
                    <a:pt x="1247" y="2524"/>
                  </a:lnTo>
                  <a:lnTo>
                    <a:pt x="1261" y="2524"/>
                  </a:lnTo>
                  <a:lnTo>
                    <a:pt x="1307" y="2514"/>
                  </a:lnTo>
                  <a:lnTo>
                    <a:pt x="1321" y="2510"/>
                  </a:lnTo>
                  <a:lnTo>
                    <a:pt x="1370" y="2503"/>
                  </a:lnTo>
                  <a:lnTo>
                    <a:pt x="1384" y="2500"/>
                  </a:lnTo>
                  <a:lnTo>
                    <a:pt x="1433" y="2489"/>
                  </a:lnTo>
                  <a:lnTo>
                    <a:pt x="1450" y="2486"/>
                  </a:lnTo>
                  <a:lnTo>
                    <a:pt x="1496" y="2479"/>
                  </a:lnTo>
                  <a:lnTo>
                    <a:pt x="1517" y="2475"/>
                  </a:lnTo>
                  <a:lnTo>
                    <a:pt x="1562" y="2468"/>
                  </a:lnTo>
                  <a:lnTo>
                    <a:pt x="1583" y="2461"/>
                  </a:lnTo>
                  <a:lnTo>
                    <a:pt x="1629" y="2454"/>
                  </a:lnTo>
                  <a:lnTo>
                    <a:pt x="1653" y="2451"/>
                  </a:lnTo>
                  <a:lnTo>
                    <a:pt x="1695" y="2444"/>
                  </a:lnTo>
                  <a:lnTo>
                    <a:pt x="1723" y="2440"/>
                  </a:lnTo>
                  <a:lnTo>
                    <a:pt x="1758" y="2433"/>
                  </a:lnTo>
                  <a:lnTo>
                    <a:pt x="1790" y="2430"/>
                  </a:lnTo>
                  <a:lnTo>
                    <a:pt x="1825" y="2423"/>
                  </a:lnTo>
                  <a:lnTo>
                    <a:pt x="1828" y="2423"/>
                  </a:lnTo>
                  <a:cubicBezTo>
                    <a:pt x="1835" y="2391"/>
                    <a:pt x="1835" y="2360"/>
                    <a:pt x="1835" y="2328"/>
                  </a:cubicBezTo>
                  <a:cubicBezTo>
                    <a:pt x="1835" y="2318"/>
                    <a:pt x="1835" y="2311"/>
                    <a:pt x="1835" y="2304"/>
                  </a:cubicBezTo>
                  <a:cubicBezTo>
                    <a:pt x="1835" y="2258"/>
                    <a:pt x="1849" y="2213"/>
                    <a:pt x="1874" y="2171"/>
                  </a:cubicBezTo>
                  <a:cubicBezTo>
                    <a:pt x="1884" y="2153"/>
                    <a:pt x="1895" y="2136"/>
                    <a:pt x="1909" y="2122"/>
                  </a:cubicBezTo>
                  <a:cubicBezTo>
                    <a:pt x="1944" y="2076"/>
                    <a:pt x="1993" y="2048"/>
                    <a:pt x="2049" y="2034"/>
                  </a:cubicBezTo>
                  <a:cubicBezTo>
                    <a:pt x="2003" y="1943"/>
                    <a:pt x="1944" y="1863"/>
                    <a:pt x="1870" y="1793"/>
                  </a:cubicBezTo>
                  <a:cubicBezTo>
                    <a:pt x="1793" y="1726"/>
                    <a:pt x="1755" y="1628"/>
                    <a:pt x="1762" y="1526"/>
                  </a:cubicBezTo>
                  <a:cubicBezTo>
                    <a:pt x="1765" y="1442"/>
                    <a:pt x="1807" y="1362"/>
                    <a:pt x="1877" y="1313"/>
                  </a:cubicBezTo>
                  <a:cubicBezTo>
                    <a:pt x="1884" y="1309"/>
                    <a:pt x="1891" y="1302"/>
                    <a:pt x="1895" y="1292"/>
                  </a:cubicBezTo>
                  <a:cubicBezTo>
                    <a:pt x="1898" y="1264"/>
                    <a:pt x="1895" y="1236"/>
                    <a:pt x="1884" y="1211"/>
                  </a:cubicBezTo>
                  <a:cubicBezTo>
                    <a:pt x="1870" y="1169"/>
                    <a:pt x="1863" y="1127"/>
                    <a:pt x="1860" y="1085"/>
                  </a:cubicBezTo>
                  <a:cubicBezTo>
                    <a:pt x="1814" y="1036"/>
                    <a:pt x="1527" y="994"/>
                    <a:pt x="1433" y="980"/>
                  </a:cubicBezTo>
                  <a:cubicBezTo>
                    <a:pt x="1387" y="977"/>
                    <a:pt x="1345" y="970"/>
                    <a:pt x="1300" y="959"/>
                  </a:cubicBezTo>
                  <a:cubicBezTo>
                    <a:pt x="1209" y="931"/>
                    <a:pt x="1223" y="823"/>
                    <a:pt x="1233" y="735"/>
                  </a:cubicBezTo>
                  <a:cubicBezTo>
                    <a:pt x="1237" y="697"/>
                    <a:pt x="1240" y="658"/>
                    <a:pt x="1237" y="623"/>
                  </a:cubicBezTo>
                  <a:cubicBezTo>
                    <a:pt x="1093" y="616"/>
                    <a:pt x="998" y="518"/>
                    <a:pt x="998" y="361"/>
                  </a:cubicBezTo>
                  <a:cubicBezTo>
                    <a:pt x="998" y="336"/>
                    <a:pt x="935" y="263"/>
                    <a:pt x="904" y="221"/>
                  </a:cubicBezTo>
                  <a:lnTo>
                    <a:pt x="883" y="200"/>
                  </a:lnTo>
                  <a:lnTo>
                    <a:pt x="876" y="193"/>
                  </a:lnTo>
                  <a:lnTo>
                    <a:pt x="865" y="175"/>
                  </a:lnTo>
                  <a:lnTo>
                    <a:pt x="858" y="168"/>
                  </a:lnTo>
                  <a:lnTo>
                    <a:pt x="844" y="151"/>
                  </a:lnTo>
                  <a:lnTo>
                    <a:pt x="841" y="147"/>
                  </a:lnTo>
                  <a:cubicBezTo>
                    <a:pt x="837" y="140"/>
                    <a:pt x="834" y="130"/>
                    <a:pt x="827" y="126"/>
                  </a:cubicBezTo>
                  <a:lnTo>
                    <a:pt x="823" y="119"/>
                  </a:lnTo>
                  <a:cubicBezTo>
                    <a:pt x="820" y="112"/>
                    <a:pt x="820" y="109"/>
                    <a:pt x="816" y="105"/>
                  </a:cubicBezTo>
                  <a:lnTo>
                    <a:pt x="813" y="98"/>
                  </a:lnTo>
                  <a:cubicBezTo>
                    <a:pt x="809" y="91"/>
                    <a:pt x="809" y="88"/>
                    <a:pt x="809" y="81"/>
                  </a:cubicBezTo>
                  <a:lnTo>
                    <a:pt x="809" y="77"/>
                  </a:lnTo>
                  <a:lnTo>
                    <a:pt x="788" y="77"/>
                  </a:lnTo>
                  <a:lnTo>
                    <a:pt x="774" y="74"/>
                  </a:lnTo>
                  <a:lnTo>
                    <a:pt x="753" y="70"/>
                  </a:lnTo>
                  <a:lnTo>
                    <a:pt x="732" y="70"/>
                  </a:lnTo>
                  <a:lnTo>
                    <a:pt x="718" y="67"/>
                  </a:lnTo>
                  <a:cubicBezTo>
                    <a:pt x="645" y="49"/>
                    <a:pt x="568" y="25"/>
                    <a:pt x="49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0" name="Google Shape;7580;p53"/>
            <p:cNvSpPr/>
            <p:nvPr/>
          </p:nvSpPr>
          <p:spPr>
            <a:xfrm>
              <a:off x="2189889" y="169439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cubicBezTo>
                    <a:pt x="8" y="4"/>
                    <a:pt x="4" y="7"/>
                    <a:pt x="1" y="11"/>
                  </a:cubicBezTo>
                  <a:lnTo>
                    <a:pt x="4" y="7"/>
                  </a:lnTo>
                  <a:cubicBezTo>
                    <a:pt x="4" y="7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1" name="Google Shape;7581;p53"/>
            <p:cNvSpPr/>
            <p:nvPr/>
          </p:nvSpPr>
          <p:spPr>
            <a:xfrm>
              <a:off x="2189373" y="169477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7"/>
                  </a:moveTo>
                  <a:cubicBezTo>
                    <a:pt x="7" y="4"/>
                    <a:pt x="11" y="4"/>
                    <a:pt x="18" y="0"/>
                  </a:cubicBezTo>
                  <a:cubicBezTo>
                    <a:pt x="11" y="4"/>
                    <a:pt x="7" y="4"/>
                    <a:pt x="0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2" name="Google Shape;7582;p53"/>
            <p:cNvSpPr/>
            <p:nvPr/>
          </p:nvSpPr>
          <p:spPr>
            <a:xfrm>
              <a:off x="2189658" y="169458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cubicBezTo>
                    <a:pt x="4" y="7"/>
                    <a:pt x="11" y="4"/>
                    <a:pt x="14" y="0"/>
                  </a:cubicBezTo>
                  <a:cubicBezTo>
                    <a:pt x="11" y="4"/>
                    <a:pt x="4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3" name="Google Shape;7583;p53"/>
            <p:cNvSpPr/>
            <p:nvPr/>
          </p:nvSpPr>
          <p:spPr>
            <a:xfrm>
              <a:off x="2190798" y="1683599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cubicBezTo>
                    <a:pt x="0" y="8"/>
                    <a:pt x="2" y="16"/>
                    <a:pt x="3" y="24"/>
                  </a:cubicBezTo>
                  <a:lnTo>
                    <a:pt x="0" y="0"/>
                  </a:lnTo>
                  <a:close/>
                  <a:moveTo>
                    <a:pt x="3" y="24"/>
                  </a:moveTo>
                  <a:lnTo>
                    <a:pt x="3" y="24"/>
                  </a:lnTo>
                  <a:cubicBezTo>
                    <a:pt x="4" y="27"/>
                    <a:pt x="4" y="29"/>
                    <a:pt x="4" y="32"/>
                  </a:cubicBezTo>
                  <a:lnTo>
                    <a:pt x="4" y="28"/>
                  </a:lnTo>
                  <a:lnTo>
                    <a:pt x="3" y="2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4" name="Google Shape;7584;p53"/>
            <p:cNvSpPr/>
            <p:nvPr/>
          </p:nvSpPr>
          <p:spPr>
            <a:xfrm>
              <a:off x="2190649" y="16926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5" name="Google Shape;7585;p53"/>
            <p:cNvSpPr/>
            <p:nvPr/>
          </p:nvSpPr>
          <p:spPr>
            <a:xfrm>
              <a:off x="2190894" y="1684020"/>
              <a:ext cx="204" cy="1969"/>
            </a:xfrm>
            <a:custGeom>
              <a:avLst/>
              <a:gdLst/>
              <a:ahLst/>
              <a:cxnLst/>
              <a:rect l="l" t="t" r="r" b="b"/>
              <a:pathLst>
                <a:path w="15" h="14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22"/>
                    <a:pt x="4" y="46"/>
                    <a:pt x="7" y="78"/>
                  </a:cubicBezTo>
                  <a:lnTo>
                    <a:pt x="7" y="81"/>
                  </a:lnTo>
                  <a:cubicBezTo>
                    <a:pt x="7" y="102"/>
                    <a:pt x="7" y="120"/>
                    <a:pt x="7" y="137"/>
                  </a:cubicBezTo>
                  <a:lnTo>
                    <a:pt x="14" y="14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6" name="Google Shape;7586;p53"/>
            <p:cNvSpPr/>
            <p:nvPr/>
          </p:nvSpPr>
          <p:spPr>
            <a:xfrm>
              <a:off x="2190554" y="1682404"/>
              <a:ext cx="258" cy="1208"/>
            </a:xfrm>
            <a:custGeom>
              <a:avLst/>
              <a:gdLst/>
              <a:ahLst/>
              <a:cxnLst/>
              <a:rect l="l" t="t" r="r" b="b"/>
              <a:pathLst>
                <a:path w="19" h="89" extrusionOk="0">
                  <a:moveTo>
                    <a:pt x="1" y="1"/>
                  </a:moveTo>
                  <a:cubicBezTo>
                    <a:pt x="8" y="29"/>
                    <a:pt x="15" y="57"/>
                    <a:pt x="18" y="88"/>
                  </a:cubicBezTo>
                  <a:lnTo>
                    <a:pt x="18" y="88"/>
                  </a:lnTo>
                  <a:cubicBezTo>
                    <a:pt x="15" y="57"/>
                    <a:pt x="8" y="2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7" name="Google Shape;7587;p53"/>
            <p:cNvSpPr/>
            <p:nvPr/>
          </p:nvSpPr>
          <p:spPr>
            <a:xfrm>
              <a:off x="2186331" y="167333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8" name="Google Shape;7588;p53"/>
            <p:cNvSpPr/>
            <p:nvPr/>
          </p:nvSpPr>
          <p:spPr>
            <a:xfrm>
              <a:off x="2187418" y="167628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cubicBezTo>
                    <a:pt x="8" y="4"/>
                    <a:pt x="4" y="4"/>
                    <a:pt x="1" y="0"/>
                  </a:cubicBezTo>
                  <a:cubicBezTo>
                    <a:pt x="4" y="4"/>
                    <a:pt x="8" y="4"/>
                    <a:pt x="1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9" name="Google Shape;7589;p53"/>
            <p:cNvSpPr/>
            <p:nvPr/>
          </p:nvSpPr>
          <p:spPr>
            <a:xfrm>
              <a:off x="2186522" y="1674380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8"/>
                  </a:moveTo>
                  <a:cubicBezTo>
                    <a:pt x="7" y="18"/>
                    <a:pt x="4" y="11"/>
                    <a:pt x="0" y="0"/>
                  </a:cubicBezTo>
                  <a:cubicBezTo>
                    <a:pt x="4" y="11"/>
                    <a:pt x="7" y="18"/>
                    <a:pt x="7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0" name="Google Shape;7590;p53"/>
            <p:cNvSpPr/>
            <p:nvPr/>
          </p:nvSpPr>
          <p:spPr>
            <a:xfrm>
              <a:off x="2187228" y="167609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cubicBezTo>
                    <a:pt x="8" y="7"/>
                    <a:pt x="4" y="4"/>
                    <a:pt x="1" y="0"/>
                  </a:cubicBezTo>
                  <a:cubicBezTo>
                    <a:pt x="4" y="4"/>
                    <a:pt x="8" y="7"/>
                    <a:pt x="1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1" name="Google Shape;7591;p53"/>
            <p:cNvSpPr/>
            <p:nvPr/>
          </p:nvSpPr>
          <p:spPr>
            <a:xfrm>
              <a:off x="2187037" y="167580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cubicBezTo>
                    <a:pt x="8" y="11"/>
                    <a:pt x="4" y="4"/>
                    <a:pt x="1" y="0"/>
                  </a:cubicBezTo>
                  <a:cubicBezTo>
                    <a:pt x="4" y="4"/>
                    <a:pt x="8" y="11"/>
                    <a:pt x="1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2" name="Google Shape;7592;p53"/>
            <p:cNvSpPr/>
            <p:nvPr/>
          </p:nvSpPr>
          <p:spPr>
            <a:xfrm>
              <a:off x="2186372" y="1673714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8" y="32"/>
                  </a:moveTo>
                  <a:cubicBezTo>
                    <a:pt x="8" y="21"/>
                    <a:pt x="4" y="11"/>
                    <a:pt x="1" y="0"/>
                  </a:cubicBezTo>
                  <a:cubicBezTo>
                    <a:pt x="4" y="11"/>
                    <a:pt x="8" y="21"/>
                    <a:pt x="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3" name="Google Shape;7593;p53"/>
            <p:cNvSpPr/>
            <p:nvPr/>
          </p:nvSpPr>
          <p:spPr>
            <a:xfrm>
              <a:off x="2186902" y="167542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18"/>
                  </a:moveTo>
                  <a:cubicBezTo>
                    <a:pt x="4" y="14"/>
                    <a:pt x="0" y="7"/>
                    <a:pt x="0" y="0"/>
                  </a:cubicBezTo>
                  <a:cubicBezTo>
                    <a:pt x="0" y="7"/>
                    <a:pt x="4" y="14"/>
                    <a:pt x="7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4" name="Google Shape;7594;p53"/>
            <p:cNvSpPr/>
            <p:nvPr/>
          </p:nvSpPr>
          <p:spPr>
            <a:xfrm>
              <a:off x="2186712" y="1674950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0" y="11"/>
                    <a:pt x="4" y="18"/>
                    <a:pt x="7" y="21"/>
                  </a:cubicBezTo>
                  <a:cubicBezTo>
                    <a:pt x="4" y="18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5" name="Google Shape;7595;p53"/>
            <p:cNvSpPr/>
            <p:nvPr/>
          </p:nvSpPr>
          <p:spPr>
            <a:xfrm>
              <a:off x="2190989" y="16851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6" name="Google Shape;7596;p53"/>
            <p:cNvSpPr/>
            <p:nvPr/>
          </p:nvSpPr>
          <p:spPr>
            <a:xfrm>
              <a:off x="2190839" y="1683599"/>
              <a:ext cx="163" cy="1480"/>
            </a:xfrm>
            <a:custGeom>
              <a:avLst/>
              <a:gdLst/>
              <a:ahLst/>
              <a:cxnLst/>
              <a:rect l="l" t="t" r="r" b="b"/>
              <a:pathLst>
                <a:path w="12" h="109" extrusionOk="0">
                  <a:moveTo>
                    <a:pt x="1" y="0"/>
                  </a:moveTo>
                  <a:cubicBezTo>
                    <a:pt x="1" y="11"/>
                    <a:pt x="1" y="18"/>
                    <a:pt x="4" y="31"/>
                  </a:cubicBezTo>
                  <a:lnTo>
                    <a:pt x="4" y="31"/>
                  </a:lnTo>
                  <a:cubicBezTo>
                    <a:pt x="3" y="20"/>
                    <a:pt x="2" y="10"/>
                    <a:pt x="1" y="0"/>
                  </a:cubicBezTo>
                  <a:close/>
                  <a:moveTo>
                    <a:pt x="4" y="31"/>
                  </a:moveTo>
                  <a:cubicBezTo>
                    <a:pt x="7" y="54"/>
                    <a:pt x="9" y="80"/>
                    <a:pt x="11" y="109"/>
                  </a:cubicBezTo>
                  <a:cubicBezTo>
                    <a:pt x="11" y="77"/>
                    <a:pt x="8" y="53"/>
                    <a:pt x="4" y="32"/>
                  </a:cubicBezTo>
                  <a:cubicBezTo>
                    <a:pt x="4" y="32"/>
                    <a:pt x="4" y="31"/>
                    <a:pt x="4" y="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7" name="Google Shape;7597;p53"/>
            <p:cNvSpPr/>
            <p:nvPr/>
          </p:nvSpPr>
          <p:spPr>
            <a:xfrm>
              <a:off x="2193745" y="1702892"/>
              <a:ext cx="679" cy="299"/>
            </a:xfrm>
            <a:custGeom>
              <a:avLst/>
              <a:gdLst/>
              <a:ahLst/>
              <a:cxnLst/>
              <a:rect l="l" t="t" r="r" b="b"/>
              <a:pathLst>
                <a:path w="50" h="22" extrusionOk="0">
                  <a:moveTo>
                    <a:pt x="49" y="22"/>
                  </a:moveTo>
                  <a:cubicBezTo>
                    <a:pt x="32" y="15"/>
                    <a:pt x="14" y="4"/>
                    <a:pt x="0" y="1"/>
                  </a:cubicBezTo>
                  <a:cubicBezTo>
                    <a:pt x="14" y="4"/>
                    <a:pt x="32" y="15"/>
                    <a:pt x="49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8" name="Google Shape;7598;p53"/>
            <p:cNvSpPr/>
            <p:nvPr/>
          </p:nvSpPr>
          <p:spPr>
            <a:xfrm>
              <a:off x="2192740" y="1702512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9" name="Google Shape;7599;p53"/>
            <p:cNvSpPr/>
            <p:nvPr/>
          </p:nvSpPr>
          <p:spPr>
            <a:xfrm>
              <a:off x="2194546" y="1703272"/>
              <a:ext cx="679" cy="353"/>
            </a:xfrm>
            <a:custGeom>
              <a:avLst/>
              <a:gdLst/>
              <a:ahLst/>
              <a:cxnLst/>
              <a:rect l="l" t="t" r="r" b="b"/>
              <a:pathLst>
                <a:path w="50" h="26" extrusionOk="0">
                  <a:moveTo>
                    <a:pt x="50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0" name="Google Shape;7600;p53"/>
            <p:cNvSpPr/>
            <p:nvPr/>
          </p:nvSpPr>
          <p:spPr>
            <a:xfrm>
              <a:off x="2193270" y="170266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1" name="Google Shape;7601;p53"/>
            <p:cNvSpPr/>
            <p:nvPr/>
          </p:nvSpPr>
          <p:spPr>
            <a:xfrm>
              <a:off x="2195646" y="170384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2" name="Google Shape;7602;p53"/>
            <p:cNvSpPr/>
            <p:nvPr/>
          </p:nvSpPr>
          <p:spPr>
            <a:xfrm>
              <a:off x="2196067" y="167209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3" name="Google Shape;7603;p53"/>
            <p:cNvSpPr/>
            <p:nvPr/>
          </p:nvSpPr>
          <p:spPr>
            <a:xfrm>
              <a:off x="2197017" y="1672289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4" name="Google Shape;7604;p53"/>
            <p:cNvSpPr/>
            <p:nvPr/>
          </p:nvSpPr>
          <p:spPr>
            <a:xfrm>
              <a:off x="2196596" y="167219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5" name="Google Shape;7605;p53"/>
            <p:cNvSpPr/>
            <p:nvPr/>
          </p:nvSpPr>
          <p:spPr>
            <a:xfrm>
              <a:off x="2186331" y="1671189"/>
              <a:ext cx="6762" cy="2159"/>
            </a:xfrm>
            <a:custGeom>
              <a:avLst/>
              <a:gdLst/>
              <a:ahLst/>
              <a:cxnLst/>
              <a:rect l="l" t="t" r="r" b="b"/>
              <a:pathLst>
                <a:path w="498" h="159" extrusionOk="0">
                  <a:moveTo>
                    <a:pt x="497" y="1"/>
                  </a:moveTo>
                  <a:cubicBezTo>
                    <a:pt x="424" y="25"/>
                    <a:pt x="189" y="99"/>
                    <a:pt x="0" y="158"/>
                  </a:cubicBezTo>
                  <a:cubicBezTo>
                    <a:pt x="193" y="102"/>
                    <a:pt x="424" y="25"/>
                    <a:pt x="4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6" name="Google Shape;7606;p53"/>
            <p:cNvSpPr/>
            <p:nvPr/>
          </p:nvSpPr>
          <p:spPr>
            <a:xfrm>
              <a:off x="2196311" y="167213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7" name="Google Shape;7607;p53"/>
            <p:cNvSpPr/>
            <p:nvPr/>
          </p:nvSpPr>
          <p:spPr>
            <a:xfrm>
              <a:off x="2197397" y="1672614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8" name="Google Shape;7608;p53"/>
            <p:cNvSpPr/>
            <p:nvPr/>
          </p:nvSpPr>
          <p:spPr>
            <a:xfrm>
              <a:off x="2197546" y="167290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9" name="Google Shape;7609;p53"/>
            <p:cNvSpPr/>
            <p:nvPr/>
          </p:nvSpPr>
          <p:spPr>
            <a:xfrm>
              <a:off x="2197302" y="167232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0" name="Google Shape;7610;p53"/>
            <p:cNvSpPr/>
            <p:nvPr/>
          </p:nvSpPr>
          <p:spPr>
            <a:xfrm>
              <a:off x="2211572" y="1686029"/>
              <a:ext cx="584" cy="2811"/>
            </a:xfrm>
            <a:custGeom>
              <a:avLst/>
              <a:gdLst/>
              <a:ahLst/>
              <a:cxnLst/>
              <a:rect l="l" t="t" r="r" b="b"/>
              <a:pathLst>
                <a:path w="43" h="207" extrusionOk="0">
                  <a:moveTo>
                    <a:pt x="0" y="0"/>
                  </a:moveTo>
                  <a:cubicBezTo>
                    <a:pt x="1" y="13"/>
                    <a:pt x="3" y="25"/>
                    <a:pt x="4" y="38"/>
                  </a:cubicBezTo>
                  <a:lnTo>
                    <a:pt x="4" y="38"/>
                  </a:lnTo>
                  <a:cubicBezTo>
                    <a:pt x="3" y="25"/>
                    <a:pt x="1" y="13"/>
                    <a:pt x="0" y="0"/>
                  </a:cubicBezTo>
                  <a:close/>
                  <a:moveTo>
                    <a:pt x="4" y="38"/>
                  </a:moveTo>
                  <a:lnTo>
                    <a:pt x="4" y="38"/>
                  </a:lnTo>
                  <a:cubicBezTo>
                    <a:pt x="9" y="67"/>
                    <a:pt x="15" y="97"/>
                    <a:pt x="25" y="126"/>
                  </a:cubicBezTo>
                  <a:cubicBezTo>
                    <a:pt x="35" y="150"/>
                    <a:pt x="42" y="178"/>
                    <a:pt x="39" y="206"/>
                  </a:cubicBezTo>
                  <a:lnTo>
                    <a:pt x="42" y="203"/>
                  </a:lnTo>
                  <a:cubicBezTo>
                    <a:pt x="42" y="175"/>
                    <a:pt x="35" y="150"/>
                    <a:pt x="28" y="126"/>
                  </a:cubicBezTo>
                  <a:cubicBezTo>
                    <a:pt x="16" y="99"/>
                    <a:pt x="9" y="68"/>
                    <a:pt x="4" y="3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1" name="Google Shape;7611;p53"/>
            <p:cNvSpPr/>
            <p:nvPr/>
          </p:nvSpPr>
          <p:spPr>
            <a:xfrm>
              <a:off x="2198253" y="167390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2" name="Google Shape;7612;p53"/>
            <p:cNvSpPr/>
            <p:nvPr/>
          </p:nvSpPr>
          <p:spPr>
            <a:xfrm>
              <a:off x="2198022" y="1673565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3" name="Google Shape;7613;p53"/>
            <p:cNvSpPr/>
            <p:nvPr/>
          </p:nvSpPr>
          <p:spPr>
            <a:xfrm>
              <a:off x="2197777" y="167328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4" name="Google Shape;7614;p53"/>
            <p:cNvSpPr/>
            <p:nvPr/>
          </p:nvSpPr>
          <p:spPr>
            <a:xfrm>
              <a:off x="2211803" y="1688826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0"/>
                  </a:moveTo>
                  <a:cubicBezTo>
                    <a:pt x="15" y="11"/>
                    <a:pt x="8" y="18"/>
                    <a:pt x="1" y="21"/>
                  </a:cubicBezTo>
                  <a:cubicBezTo>
                    <a:pt x="8" y="18"/>
                    <a:pt x="15" y="14"/>
                    <a:pt x="18" y="7"/>
                  </a:cubicBez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5" name="Google Shape;7615;p53"/>
            <p:cNvSpPr/>
            <p:nvPr/>
          </p:nvSpPr>
          <p:spPr>
            <a:xfrm>
              <a:off x="2211762" y="1700095"/>
              <a:ext cx="489" cy="679"/>
            </a:xfrm>
            <a:custGeom>
              <a:avLst/>
              <a:gdLst/>
              <a:ahLst/>
              <a:cxnLst/>
              <a:rect l="l" t="t" r="r" b="b"/>
              <a:pathLst>
                <a:path w="36" h="50" extrusionOk="0">
                  <a:moveTo>
                    <a:pt x="0" y="49"/>
                  </a:moveTo>
                  <a:cubicBezTo>
                    <a:pt x="11" y="32"/>
                    <a:pt x="21" y="14"/>
                    <a:pt x="35" y="0"/>
                  </a:cubicBezTo>
                  <a:cubicBezTo>
                    <a:pt x="21" y="14"/>
                    <a:pt x="11" y="32"/>
                    <a:pt x="0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6" name="Google Shape;7616;p53"/>
            <p:cNvSpPr/>
            <p:nvPr/>
          </p:nvSpPr>
          <p:spPr>
            <a:xfrm>
              <a:off x="2211233" y="1700761"/>
              <a:ext cx="543" cy="1819"/>
            </a:xfrm>
            <a:custGeom>
              <a:avLst/>
              <a:gdLst/>
              <a:ahLst/>
              <a:cxnLst/>
              <a:rect l="l" t="t" r="r" b="b"/>
              <a:pathLst>
                <a:path w="40" h="134" extrusionOk="0">
                  <a:moveTo>
                    <a:pt x="1" y="133"/>
                  </a:moveTo>
                  <a:cubicBezTo>
                    <a:pt x="1" y="84"/>
                    <a:pt x="15" y="39"/>
                    <a:pt x="39" y="0"/>
                  </a:cubicBezTo>
                  <a:cubicBezTo>
                    <a:pt x="15" y="39"/>
                    <a:pt x="1" y="84"/>
                    <a:pt x="1" y="13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7" name="Google Shape;7617;p53"/>
            <p:cNvSpPr/>
            <p:nvPr/>
          </p:nvSpPr>
          <p:spPr>
            <a:xfrm>
              <a:off x="2211192" y="1702852"/>
              <a:ext cx="109" cy="1344"/>
            </a:xfrm>
            <a:custGeom>
              <a:avLst/>
              <a:gdLst/>
              <a:ahLst/>
              <a:cxnLst/>
              <a:rect l="l" t="t" r="r" b="b"/>
              <a:pathLst>
                <a:path w="8" h="99" extrusionOk="0">
                  <a:moveTo>
                    <a:pt x="7" y="0"/>
                  </a:moveTo>
                  <a:cubicBezTo>
                    <a:pt x="7" y="32"/>
                    <a:pt x="7" y="63"/>
                    <a:pt x="0" y="98"/>
                  </a:cubicBezTo>
                  <a:lnTo>
                    <a:pt x="0" y="98"/>
                  </a:lnTo>
                  <a:cubicBezTo>
                    <a:pt x="7" y="63"/>
                    <a:pt x="7" y="32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8" name="Google Shape;7618;p53"/>
            <p:cNvSpPr/>
            <p:nvPr/>
          </p:nvSpPr>
          <p:spPr>
            <a:xfrm>
              <a:off x="2212047" y="168877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4" y="4"/>
                  </a:lnTo>
                  <a:lnTo>
                    <a:pt x="0" y="11"/>
                  </a:lnTo>
                  <a:cubicBezTo>
                    <a:pt x="4" y="8"/>
                    <a:pt x="4" y="4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9" name="Google Shape;7619;p53"/>
            <p:cNvSpPr/>
            <p:nvPr/>
          </p:nvSpPr>
          <p:spPr>
            <a:xfrm>
              <a:off x="2200208" y="1705703"/>
              <a:ext cx="2444" cy="489"/>
            </a:xfrm>
            <a:custGeom>
              <a:avLst/>
              <a:gdLst/>
              <a:ahLst/>
              <a:cxnLst/>
              <a:rect l="l" t="t" r="r" b="b"/>
              <a:pathLst>
                <a:path w="180" h="36" extrusionOk="0">
                  <a:moveTo>
                    <a:pt x="179" y="0"/>
                  </a:moveTo>
                  <a:lnTo>
                    <a:pt x="0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0" name="Google Shape;7620;p53"/>
            <p:cNvSpPr/>
            <p:nvPr/>
          </p:nvSpPr>
          <p:spPr>
            <a:xfrm>
              <a:off x="2207906" y="1704657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3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1" name="Google Shape;7621;p53"/>
            <p:cNvSpPr/>
            <p:nvPr/>
          </p:nvSpPr>
          <p:spPr>
            <a:xfrm>
              <a:off x="2208857" y="1704467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2" name="Google Shape;7622;p53"/>
            <p:cNvSpPr/>
            <p:nvPr/>
          </p:nvSpPr>
          <p:spPr>
            <a:xfrm>
              <a:off x="2206100" y="1704942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3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3" name="Google Shape;7623;p53"/>
            <p:cNvSpPr/>
            <p:nvPr/>
          </p:nvSpPr>
          <p:spPr>
            <a:xfrm>
              <a:off x="2209766" y="1704318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4" name="Google Shape;7624;p53"/>
            <p:cNvSpPr/>
            <p:nvPr/>
          </p:nvSpPr>
          <p:spPr>
            <a:xfrm>
              <a:off x="2203493" y="1705418"/>
              <a:ext cx="625" cy="149"/>
            </a:xfrm>
            <a:custGeom>
              <a:avLst/>
              <a:gdLst/>
              <a:ahLst/>
              <a:cxnLst/>
              <a:rect l="l" t="t" r="r" b="b"/>
              <a:pathLst>
                <a:path w="46" h="11" extrusionOk="0">
                  <a:moveTo>
                    <a:pt x="46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5" name="Google Shape;7625;p53"/>
            <p:cNvSpPr/>
            <p:nvPr/>
          </p:nvSpPr>
          <p:spPr>
            <a:xfrm>
              <a:off x="2210662" y="1704182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6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6" name="Google Shape;7626;p53"/>
            <p:cNvSpPr/>
            <p:nvPr/>
          </p:nvSpPr>
          <p:spPr>
            <a:xfrm>
              <a:off x="2205150" y="1705078"/>
              <a:ext cx="679" cy="163"/>
            </a:xfrm>
            <a:custGeom>
              <a:avLst/>
              <a:gdLst/>
              <a:ahLst/>
              <a:cxnLst/>
              <a:rect l="l" t="t" r="r" b="b"/>
              <a:pathLst>
                <a:path w="50" h="12" extrusionOk="0">
                  <a:moveTo>
                    <a:pt x="50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7" name="Google Shape;7627;p53"/>
            <p:cNvSpPr/>
            <p:nvPr/>
          </p:nvSpPr>
          <p:spPr>
            <a:xfrm>
              <a:off x="2202679" y="1705553"/>
              <a:ext cx="679" cy="163"/>
            </a:xfrm>
            <a:custGeom>
              <a:avLst/>
              <a:gdLst/>
              <a:ahLst/>
              <a:cxnLst/>
              <a:rect l="l" t="t" r="r" b="b"/>
              <a:pathLst>
                <a:path w="50" h="12" extrusionOk="0">
                  <a:moveTo>
                    <a:pt x="50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8" name="Google Shape;7628;p53"/>
            <p:cNvSpPr/>
            <p:nvPr/>
          </p:nvSpPr>
          <p:spPr>
            <a:xfrm>
              <a:off x="2204295" y="1705268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50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9" name="Google Shape;7629;p53"/>
            <p:cNvSpPr/>
            <p:nvPr/>
          </p:nvSpPr>
          <p:spPr>
            <a:xfrm>
              <a:off x="2207010" y="1704793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2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0" name="Google Shape;7630;p53"/>
            <p:cNvSpPr/>
            <p:nvPr/>
          </p:nvSpPr>
          <p:spPr>
            <a:xfrm>
              <a:off x="2189604" y="1699050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22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1" name="Google Shape;7631;p53"/>
            <p:cNvSpPr/>
            <p:nvPr/>
          </p:nvSpPr>
          <p:spPr>
            <a:xfrm>
              <a:off x="2190364" y="1699946"/>
              <a:ext cx="353" cy="394"/>
            </a:xfrm>
            <a:custGeom>
              <a:avLst/>
              <a:gdLst/>
              <a:ahLst/>
              <a:cxnLst/>
              <a:rect l="l" t="t" r="r" b="b"/>
              <a:pathLst>
                <a:path w="26" h="29" extrusionOk="0">
                  <a:moveTo>
                    <a:pt x="25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2" name="Google Shape;7632;p53"/>
            <p:cNvSpPr/>
            <p:nvPr/>
          </p:nvSpPr>
          <p:spPr>
            <a:xfrm>
              <a:off x="2191314" y="1701046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3" name="Google Shape;7633;p53"/>
            <p:cNvSpPr/>
            <p:nvPr/>
          </p:nvSpPr>
          <p:spPr>
            <a:xfrm>
              <a:off x="2188178" y="1697475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4" name="Google Shape;7634;p53"/>
            <p:cNvSpPr/>
            <p:nvPr/>
          </p:nvSpPr>
          <p:spPr>
            <a:xfrm>
              <a:off x="2188843" y="1698235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22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5" name="Google Shape;7635;p53"/>
            <p:cNvSpPr/>
            <p:nvPr/>
          </p:nvSpPr>
          <p:spPr>
            <a:xfrm>
              <a:off x="2191980" y="170190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6" name="Google Shape;7636;p53"/>
            <p:cNvSpPr/>
            <p:nvPr/>
          </p:nvSpPr>
          <p:spPr>
            <a:xfrm>
              <a:off x="2187513" y="169676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637" name="Google Shape;7637;p53"/>
          <p:cNvGrpSpPr/>
          <p:nvPr/>
        </p:nvGrpSpPr>
        <p:grpSpPr>
          <a:xfrm>
            <a:off x="3597785" y="3065882"/>
            <a:ext cx="2241344" cy="1330656"/>
            <a:chOff x="3597785" y="3065882"/>
            <a:chExt cx="2241344" cy="1330656"/>
          </a:xfrm>
        </p:grpSpPr>
        <p:grpSp>
          <p:nvGrpSpPr>
            <p:cNvPr id="7638" name="Google Shape;7638;p53"/>
            <p:cNvGrpSpPr/>
            <p:nvPr/>
          </p:nvGrpSpPr>
          <p:grpSpPr>
            <a:xfrm>
              <a:off x="5296908" y="3937355"/>
              <a:ext cx="143198" cy="32380"/>
              <a:chOff x="5296908" y="3937355"/>
              <a:chExt cx="143198" cy="32380"/>
            </a:xfrm>
          </p:grpSpPr>
          <p:sp>
            <p:nvSpPr>
              <p:cNvPr id="7639" name="Google Shape;7639;p53"/>
              <p:cNvSpPr/>
              <p:nvPr/>
            </p:nvSpPr>
            <p:spPr>
              <a:xfrm>
                <a:off x="5319457" y="3952794"/>
                <a:ext cx="111895" cy="8"/>
              </a:xfrm>
              <a:custGeom>
                <a:avLst/>
                <a:gdLst/>
                <a:ahLst/>
                <a:cxnLst/>
                <a:rect l="l" t="t" r="r" b="b"/>
                <a:pathLst>
                  <a:path w="14227" h="1" fill="none" extrusionOk="0">
                    <a:moveTo>
                      <a:pt x="1" y="0"/>
                    </a:moveTo>
                    <a:lnTo>
                      <a:pt x="14227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640" name="Google Shape;7640;p53"/>
              <p:cNvGrpSpPr/>
              <p:nvPr/>
            </p:nvGrpSpPr>
            <p:grpSpPr>
              <a:xfrm>
                <a:off x="5402331" y="3937355"/>
                <a:ext cx="37776" cy="32380"/>
                <a:chOff x="5402331" y="3937355"/>
                <a:chExt cx="37776" cy="32380"/>
              </a:xfrm>
            </p:grpSpPr>
            <p:sp>
              <p:nvSpPr>
                <p:cNvPr id="7641" name="Google Shape;7641;p53"/>
                <p:cNvSpPr/>
                <p:nvPr/>
              </p:nvSpPr>
              <p:spPr>
                <a:xfrm>
                  <a:off x="5402331" y="3937355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4" y="609"/>
                      </a:cubicBezTo>
                      <a:cubicBezTo>
                        <a:pt x="0" y="1903"/>
                        <a:pt x="919" y="4117"/>
                        <a:pt x="2746" y="4117"/>
                      </a:cubicBezTo>
                      <a:cubicBezTo>
                        <a:pt x="3883" y="4117"/>
                        <a:pt x="4802" y="3185"/>
                        <a:pt x="4802" y="2060"/>
                      </a:cubicBezTo>
                      <a:cubicBezTo>
                        <a:pt x="4802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2" name="Google Shape;7642;p53"/>
                <p:cNvSpPr/>
                <p:nvPr/>
              </p:nvSpPr>
              <p:spPr>
                <a:xfrm>
                  <a:off x="5415174" y="3946990"/>
                  <a:ext cx="15321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8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32" y="1416"/>
                      </a:cubicBezTo>
                      <a:cubicBezTo>
                        <a:pt x="701" y="1585"/>
                        <a:pt x="910" y="1661"/>
                        <a:pt x="1114" y="1661"/>
                      </a:cubicBezTo>
                      <a:cubicBezTo>
                        <a:pt x="1540" y="1661"/>
                        <a:pt x="1948" y="1333"/>
                        <a:pt x="1948" y="835"/>
                      </a:cubicBezTo>
                      <a:cubicBezTo>
                        <a:pt x="1948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43" name="Google Shape;7643;p53"/>
              <p:cNvGrpSpPr/>
              <p:nvPr/>
            </p:nvGrpSpPr>
            <p:grpSpPr>
              <a:xfrm>
                <a:off x="5296908" y="3937355"/>
                <a:ext cx="37783" cy="32380"/>
                <a:chOff x="5296908" y="3937355"/>
                <a:chExt cx="37783" cy="32380"/>
              </a:xfrm>
            </p:grpSpPr>
            <p:sp>
              <p:nvSpPr>
                <p:cNvPr id="7644" name="Google Shape;7644;p53"/>
                <p:cNvSpPr/>
                <p:nvPr/>
              </p:nvSpPr>
              <p:spPr>
                <a:xfrm>
                  <a:off x="5296908" y="3937355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47" y="4117"/>
                      </a:cubicBezTo>
                      <a:cubicBezTo>
                        <a:pt x="3884" y="4117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5" name="Google Shape;7645;p53"/>
                <p:cNvSpPr/>
                <p:nvPr/>
              </p:nvSpPr>
              <p:spPr>
                <a:xfrm>
                  <a:off x="5309846" y="3946990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02" y="1"/>
                      </a:moveTo>
                      <a:cubicBezTo>
                        <a:pt x="364" y="1"/>
                        <a:pt x="1" y="896"/>
                        <a:pt x="521" y="1416"/>
                      </a:cubicBezTo>
                      <a:cubicBezTo>
                        <a:pt x="690" y="1585"/>
                        <a:pt x="899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61" y="1"/>
                        <a:pt x="11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46" name="Google Shape;7646;p53"/>
            <p:cNvGrpSpPr/>
            <p:nvPr/>
          </p:nvGrpSpPr>
          <p:grpSpPr>
            <a:xfrm>
              <a:off x="4724163" y="3119631"/>
              <a:ext cx="120838" cy="84218"/>
              <a:chOff x="4724163" y="3119631"/>
              <a:chExt cx="120838" cy="84218"/>
            </a:xfrm>
          </p:grpSpPr>
          <p:grpSp>
            <p:nvGrpSpPr>
              <p:cNvPr id="7647" name="Google Shape;7647;p53"/>
              <p:cNvGrpSpPr/>
              <p:nvPr/>
            </p:nvGrpSpPr>
            <p:grpSpPr>
              <a:xfrm>
                <a:off x="4746712" y="3132773"/>
                <a:ext cx="86869" cy="56424"/>
                <a:chOff x="4746712" y="3132773"/>
                <a:chExt cx="86869" cy="56424"/>
              </a:xfrm>
            </p:grpSpPr>
            <p:sp>
              <p:nvSpPr>
                <p:cNvPr id="7648" name="Google Shape;7648;p53"/>
                <p:cNvSpPr/>
                <p:nvPr/>
              </p:nvSpPr>
              <p:spPr>
                <a:xfrm>
                  <a:off x="4746712" y="3132773"/>
                  <a:ext cx="86869" cy="564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45" h="7174" fill="none" extrusionOk="0">
                      <a:moveTo>
                        <a:pt x="0" y="1597"/>
                      </a:moveTo>
                      <a:cubicBezTo>
                        <a:pt x="242" y="1743"/>
                        <a:pt x="3532" y="7174"/>
                        <a:pt x="3532" y="7174"/>
                      </a:cubicBezTo>
                      <a:lnTo>
                        <a:pt x="6290" y="3315"/>
                      </a:lnTo>
                      <a:lnTo>
                        <a:pt x="11044" y="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9" name="Google Shape;7649;p53"/>
                <p:cNvSpPr/>
                <p:nvPr/>
              </p:nvSpPr>
              <p:spPr>
                <a:xfrm>
                  <a:off x="4746712" y="3145334"/>
                  <a:ext cx="49479" cy="135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91" h="1719" fill="none" extrusionOk="0">
                      <a:moveTo>
                        <a:pt x="0" y="0"/>
                      </a:moveTo>
                      <a:lnTo>
                        <a:pt x="6290" y="171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0" name="Google Shape;7650;p53"/>
              <p:cNvGrpSpPr/>
              <p:nvPr/>
            </p:nvGrpSpPr>
            <p:grpSpPr>
              <a:xfrm>
                <a:off x="4773634" y="3143336"/>
                <a:ext cx="37776" cy="32451"/>
                <a:chOff x="4773634" y="3143336"/>
                <a:chExt cx="37776" cy="32451"/>
              </a:xfrm>
            </p:grpSpPr>
            <p:sp>
              <p:nvSpPr>
                <p:cNvPr id="7651" name="Google Shape;7651;p53"/>
                <p:cNvSpPr/>
                <p:nvPr/>
              </p:nvSpPr>
              <p:spPr>
                <a:xfrm>
                  <a:off x="4773634" y="3143336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900"/>
                        <a:pt x="920" y="4125"/>
                        <a:pt x="2746" y="4125"/>
                      </a:cubicBezTo>
                      <a:cubicBezTo>
                        <a:pt x="3884" y="4125"/>
                        <a:pt x="4803" y="3206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2" name="Google Shape;7652;p53"/>
                <p:cNvSpPr/>
                <p:nvPr/>
              </p:nvSpPr>
              <p:spPr>
                <a:xfrm>
                  <a:off x="4788664" y="315304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7"/>
                        <a:pt x="835" y="1657"/>
                      </a:cubicBezTo>
                      <a:cubicBezTo>
                        <a:pt x="1295" y="1657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3" name="Google Shape;7653;p53"/>
              <p:cNvGrpSpPr/>
              <p:nvPr/>
            </p:nvGrpSpPr>
            <p:grpSpPr>
              <a:xfrm>
                <a:off x="4724163" y="3131248"/>
                <a:ext cx="37776" cy="32459"/>
                <a:chOff x="4724163" y="3131248"/>
                <a:chExt cx="37776" cy="32459"/>
              </a:xfrm>
            </p:grpSpPr>
            <p:sp>
              <p:nvSpPr>
                <p:cNvPr id="7654" name="Google Shape;7654;p53"/>
                <p:cNvSpPr/>
                <p:nvPr/>
              </p:nvSpPr>
              <p:spPr>
                <a:xfrm>
                  <a:off x="4724163" y="3131248"/>
                  <a:ext cx="37776" cy="324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7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00"/>
                        <a:pt x="920" y="4114"/>
                        <a:pt x="2746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5" name="Google Shape;7655;p53"/>
                <p:cNvSpPr/>
                <p:nvPr/>
              </p:nvSpPr>
              <p:spPr>
                <a:xfrm>
                  <a:off x="4739288" y="314095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6" name="Google Shape;7656;p53"/>
              <p:cNvGrpSpPr/>
              <p:nvPr/>
            </p:nvGrpSpPr>
            <p:grpSpPr>
              <a:xfrm>
                <a:off x="4755081" y="3176054"/>
                <a:ext cx="32357" cy="27795"/>
                <a:chOff x="4755081" y="3176054"/>
                <a:chExt cx="32357" cy="27795"/>
              </a:xfrm>
            </p:grpSpPr>
            <p:sp>
              <p:nvSpPr>
                <p:cNvPr id="7657" name="Google Shape;7657;p53"/>
                <p:cNvSpPr/>
                <p:nvPr/>
              </p:nvSpPr>
              <p:spPr>
                <a:xfrm>
                  <a:off x="4755081" y="3176054"/>
                  <a:ext cx="32357" cy="277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14" h="3534" extrusionOk="0">
                      <a:moveTo>
                        <a:pt x="2338" y="0"/>
                      </a:moveTo>
                      <a:cubicBezTo>
                        <a:pt x="1904" y="0"/>
                        <a:pt x="1462" y="162"/>
                        <a:pt x="1101" y="522"/>
                      </a:cubicBezTo>
                      <a:cubicBezTo>
                        <a:pt x="1" y="1635"/>
                        <a:pt x="787" y="3534"/>
                        <a:pt x="2360" y="3534"/>
                      </a:cubicBezTo>
                      <a:cubicBezTo>
                        <a:pt x="3327" y="3534"/>
                        <a:pt x="4114" y="2735"/>
                        <a:pt x="4114" y="1768"/>
                      </a:cubicBezTo>
                      <a:cubicBezTo>
                        <a:pt x="4114" y="704"/>
                        <a:pt x="3245" y="0"/>
                        <a:pt x="23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8" name="Google Shape;7658;p53"/>
                <p:cNvSpPr/>
                <p:nvPr/>
              </p:nvSpPr>
              <p:spPr>
                <a:xfrm>
                  <a:off x="4767924" y="3185768"/>
                  <a:ext cx="9902" cy="83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9" h="1067" extrusionOk="0">
                      <a:moveTo>
                        <a:pt x="714" y="0"/>
                      </a:moveTo>
                      <a:cubicBezTo>
                        <a:pt x="243" y="0"/>
                        <a:pt x="1" y="569"/>
                        <a:pt x="339" y="908"/>
                      </a:cubicBezTo>
                      <a:cubicBezTo>
                        <a:pt x="449" y="1017"/>
                        <a:pt x="584" y="1066"/>
                        <a:pt x="716" y="1066"/>
                      </a:cubicBezTo>
                      <a:cubicBezTo>
                        <a:pt x="993" y="1066"/>
                        <a:pt x="1259" y="852"/>
                        <a:pt x="1259" y="533"/>
                      </a:cubicBezTo>
                      <a:cubicBezTo>
                        <a:pt x="1259" y="230"/>
                        <a:pt x="1017" y="0"/>
                        <a:pt x="7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9" name="Google Shape;7659;p53"/>
              <p:cNvGrpSpPr/>
              <p:nvPr/>
            </p:nvGrpSpPr>
            <p:grpSpPr>
              <a:xfrm>
                <a:off x="4812550" y="3119631"/>
                <a:ext cx="32451" cy="27803"/>
                <a:chOff x="4812550" y="3119631"/>
                <a:chExt cx="32451" cy="27803"/>
              </a:xfrm>
            </p:grpSpPr>
            <p:sp>
              <p:nvSpPr>
                <p:cNvPr id="7660" name="Google Shape;7660;p53"/>
                <p:cNvSpPr/>
                <p:nvPr/>
              </p:nvSpPr>
              <p:spPr>
                <a:xfrm>
                  <a:off x="4812550" y="3119631"/>
                  <a:ext cx="32451" cy="278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26" h="3535" extrusionOk="0">
                      <a:moveTo>
                        <a:pt x="2350" y="1"/>
                      </a:moveTo>
                      <a:cubicBezTo>
                        <a:pt x="1916" y="1"/>
                        <a:pt x="1473" y="162"/>
                        <a:pt x="1113" y="522"/>
                      </a:cubicBezTo>
                      <a:cubicBezTo>
                        <a:pt x="0" y="1635"/>
                        <a:pt x="798" y="3534"/>
                        <a:pt x="2371" y="3534"/>
                      </a:cubicBezTo>
                      <a:cubicBezTo>
                        <a:pt x="3339" y="3534"/>
                        <a:pt x="4125" y="2748"/>
                        <a:pt x="4125" y="1768"/>
                      </a:cubicBezTo>
                      <a:cubicBezTo>
                        <a:pt x="4125" y="705"/>
                        <a:pt x="3256" y="1"/>
                        <a:pt x="235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1" name="Google Shape;7661;p53"/>
                <p:cNvSpPr/>
                <p:nvPr/>
              </p:nvSpPr>
              <p:spPr>
                <a:xfrm>
                  <a:off x="4826912" y="3129352"/>
                  <a:ext cx="8478" cy="83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8" h="1065" extrusionOk="0">
                      <a:moveTo>
                        <a:pt x="533" y="0"/>
                      </a:moveTo>
                      <a:cubicBezTo>
                        <a:pt x="243" y="0"/>
                        <a:pt x="1" y="242"/>
                        <a:pt x="1" y="532"/>
                      </a:cubicBezTo>
                      <a:cubicBezTo>
                        <a:pt x="1" y="835"/>
                        <a:pt x="243" y="1065"/>
                        <a:pt x="533" y="1065"/>
                      </a:cubicBezTo>
                      <a:cubicBezTo>
                        <a:pt x="835" y="1065"/>
                        <a:pt x="1077" y="835"/>
                        <a:pt x="1077" y="532"/>
                      </a:cubicBezTo>
                      <a:cubicBezTo>
                        <a:pt x="1077" y="242"/>
                        <a:pt x="835" y="0"/>
                        <a:pt x="53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62" name="Google Shape;7662;p53"/>
            <p:cNvGrpSpPr/>
            <p:nvPr/>
          </p:nvGrpSpPr>
          <p:grpSpPr>
            <a:xfrm>
              <a:off x="5382826" y="4027197"/>
              <a:ext cx="268967" cy="250422"/>
              <a:chOff x="5382826" y="4027197"/>
              <a:chExt cx="268967" cy="250422"/>
            </a:xfrm>
          </p:grpSpPr>
          <p:grpSp>
            <p:nvGrpSpPr>
              <p:cNvPr id="7663" name="Google Shape;7663;p53"/>
              <p:cNvGrpSpPr/>
              <p:nvPr/>
            </p:nvGrpSpPr>
            <p:grpSpPr>
              <a:xfrm>
                <a:off x="5405280" y="4042510"/>
                <a:ext cx="237570" cy="218647"/>
                <a:chOff x="5405280" y="4042510"/>
                <a:chExt cx="237570" cy="218647"/>
              </a:xfrm>
            </p:grpSpPr>
            <p:sp>
              <p:nvSpPr>
                <p:cNvPr id="7664" name="Google Shape;7664;p53"/>
                <p:cNvSpPr/>
                <p:nvPr/>
              </p:nvSpPr>
              <p:spPr>
                <a:xfrm>
                  <a:off x="5405280" y="4042510"/>
                  <a:ext cx="144999" cy="173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436" h="22102" fill="none" extrusionOk="0">
                      <a:moveTo>
                        <a:pt x="0" y="12037"/>
                      </a:moveTo>
                      <a:cubicBezTo>
                        <a:pt x="702" y="12073"/>
                        <a:pt x="12302" y="22101"/>
                        <a:pt x="12302" y="22101"/>
                      </a:cubicBezTo>
                      <a:lnTo>
                        <a:pt x="11819" y="13005"/>
                      </a:lnTo>
                      <a:lnTo>
                        <a:pt x="18435" y="1"/>
                      </a:lnTo>
                      <a:lnTo>
                        <a:pt x="0" y="125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5" name="Google Shape;7665;p53"/>
                <p:cNvSpPr/>
                <p:nvPr/>
              </p:nvSpPr>
              <p:spPr>
                <a:xfrm>
                  <a:off x="5502036" y="4125093"/>
                  <a:ext cx="134350" cy="1355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82" h="17239" fill="none" extrusionOk="0">
                      <a:moveTo>
                        <a:pt x="13513" y="17239"/>
                      </a:moveTo>
                      <a:lnTo>
                        <a:pt x="12690" y="8614"/>
                      </a:lnTo>
                      <a:lnTo>
                        <a:pt x="17081" y="1"/>
                      </a:lnTo>
                      <a:lnTo>
                        <a:pt x="0" y="202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6" name="Google Shape;7666;p53"/>
                <p:cNvSpPr/>
                <p:nvPr/>
              </p:nvSpPr>
              <p:spPr>
                <a:xfrm>
                  <a:off x="5543704" y="4042990"/>
                  <a:ext cx="99146" cy="8163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06" h="10380" fill="none" extrusionOk="0">
                      <a:moveTo>
                        <a:pt x="1" y="0"/>
                      </a:moveTo>
                      <a:lnTo>
                        <a:pt x="12606" y="1037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7" name="Google Shape;7667;p53"/>
                <p:cNvSpPr/>
                <p:nvPr/>
              </p:nvSpPr>
              <p:spPr>
                <a:xfrm>
                  <a:off x="5501941" y="4140980"/>
                  <a:ext cx="103708" cy="518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86" h="6594" fill="none" extrusionOk="0">
                      <a:moveTo>
                        <a:pt x="13186" y="6594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8" name="Google Shape;7668;p53"/>
                <p:cNvSpPr/>
                <p:nvPr/>
              </p:nvSpPr>
              <p:spPr>
                <a:xfrm>
                  <a:off x="5495854" y="4211010"/>
                  <a:ext cx="105989" cy="501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76" h="6376" fill="none" extrusionOk="0">
                      <a:moveTo>
                        <a:pt x="0" y="0"/>
                      </a:moveTo>
                      <a:lnTo>
                        <a:pt x="13476" y="637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9" name="Google Shape;7669;p53"/>
                <p:cNvSpPr/>
                <p:nvPr/>
              </p:nvSpPr>
              <p:spPr>
                <a:xfrm>
                  <a:off x="5405280" y="4134420"/>
                  <a:ext cx="96669" cy="65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91" h="835" fill="none" extrusionOk="0">
                      <a:moveTo>
                        <a:pt x="12290" y="835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0" name="Google Shape;7670;p53"/>
              <p:cNvGrpSpPr/>
              <p:nvPr/>
            </p:nvGrpSpPr>
            <p:grpSpPr>
              <a:xfrm>
                <a:off x="5382826" y="4125549"/>
                <a:ext cx="37776" cy="32380"/>
                <a:chOff x="5382826" y="4125549"/>
                <a:chExt cx="37776" cy="32380"/>
              </a:xfrm>
            </p:grpSpPr>
            <p:sp>
              <p:nvSpPr>
                <p:cNvPr id="7671" name="Google Shape;7671;p53"/>
                <p:cNvSpPr/>
                <p:nvPr/>
              </p:nvSpPr>
              <p:spPr>
                <a:xfrm>
                  <a:off x="5382826" y="4125549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4" y="0"/>
                      </a:moveTo>
                      <a:cubicBezTo>
                        <a:pt x="2229" y="0"/>
                        <a:pt x="1714" y="188"/>
                        <a:pt x="1295" y="608"/>
                      </a:cubicBezTo>
                      <a:cubicBezTo>
                        <a:pt x="0" y="1902"/>
                        <a:pt x="907" y="4116"/>
                        <a:pt x="2746" y="4116"/>
                      </a:cubicBezTo>
                      <a:cubicBezTo>
                        <a:pt x="3871" y="4116"/>
                        <a:pt x="4790" y="3197"/>
                        <a:pt x="4803" y="2060"/>
                      </a:cubicBezTo>
                      <a:cubicBezTo>
                        <a:pt x="4794" y="817"/>
                        <a:pt x="3787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2" name="Google Shape;7672;p53"/>
                <p:cNvSpPr/>
                <p:nvPr/>
              </p:nvSpPr>
              <p:spPr>
                <a:xfrm>
                  <a:off x="5395669" y="4135176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3" name="Google Shape;7673;p53"/>
              <p:cNvGrpSpPr/>
              <p:nvPr/>
            </p:nvGrpSpPr>
            <p:grpSpPr>
              <a:xfrm>
                <a:off x="5475680" y="4195587"/>
                <a:ext cx="37783" cy="32364"/>
                <a:chOff x="5475680" y="4195587"/>
                <a:chExt cx="37783" cy="32364"/>
              </a:xfrm>
            </p:grpSpPr>
            <p:sp>
              <p:nvSpPr>
                <p:cNvPr id="7674" name="Google Shape;7674;p53"/>
                <p:cNvSpPr/>
                <p:nvPr/>
              </p:nvSpPr>
              <p:spPr>
                <a:xfrm>
                  <a:off x="5475680" y="4195587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1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5" name="Google Shape;7675;p53"/>
                <p:cNvSpPr/>
                <p:nvPr/>
              </p:nvSpPr>
              <p:spPr>
                <a:xfrm>
                  <a:off x="5488523" y="4205300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16"/>
                      </a:cubicBezTo>
                      <a:cubicBezTo>
                        <a:pt x="700" y="1583"/>
                        <a:pt x="905" y="1657"/>
                        <a:pt x="1106" y="1657"/>
                      </a:cubicBezTo>
                      <a:cubicBezTo>
                        <a:pt x="1531" y="1657"/>
                        <a:pt x="1940" y="1324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6" name="Google Shape;7676;p53"/>
              <p:cNvGrpSpPr/>
              <p:nvPr/>
            </p:nvGrpSpPr>
            <p:grpSpPr>
              <a:xfrm>
                <a:off x="5532575" y="4027197"/>
                <a:ext cx="33308" cy="32262"/>
                <a:chOff x="5532575" y="4027197"/>
                <a:chExt cx="33308" cy="32262"/>
              </a:xfrm>
            </p:grpSpPr>
            <p:sp>
              <p:nvSpPr>
                <p:cNvPr id="7677" name="Google Shape;7677;p53"/>
                <p:cNvSpPr/>
                <p:nvPr/>
              </p:nvSpPr>
              <p:spPr>
                <a:xfrm>
                  <a:off x="5532575" y="4027197"/>
                  <a:ext cx="33308" cy="322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5" h="4102" extrusionOk="0">
                      <a:moveTo>
                        <a:pt x="1984" y="0"/>
                      </a:moveTo>
                      <a:cubicBezTo>
                        <a:pt x="871" y="49"/>
                        <a:pt x="0" y="1004"/>
                        <a:pt x="37" y="2117"/>
                      </a:cubicBezTo>
                      <a:cubicBezTo>
                        <a:pt x="73" y="3227"/>
                        <a:pt x="980" y="4101"/>
                        <a:pt x="2084" y="4101"/>
                      </a:cubicBezTo>
                      <a:cubicBezTo>
                        <a:pt x="2099" y="4101"/>
                        <a:pt x="2114" y="4101"/>
                        <a:pt x="2130" y="4101"/>
                      </a:cubicBezTo>
                      <a:lnTo>
                        <a:pt x="2275" y="4101"/>
                      </a:lnTo>
                      <a:cubicBezTo>
                        <a:pt x="3375" y="4028"/>
                        <a:pt x="4234" y="3085"/>
                        <a:pt x="4186" y="1984"/>
                      </a:cubicBezTo>
                      <a:cubicBezTo>
                        <a:pt x="4150" y="871"/>
                        <a:pt x="3242" y="0"/>
                        <a:pt x="21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8" name="Google Shape;7678;p53"/>
                <p:cNvSpPr/>
                <p:nvPr/>
              </p:nvSpPr>
              <p:spPr>
                <a:xfrm>
                  <a:off x="5540661" y="4036792"/>
                  <a:ext cx="15502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1" h="1661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50"/>
                        <a:pt x="1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8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9" name="Google Shape;7679;p53"/>
              <p:cNvGrpSpPr/>
              <p:nvPr/>
            </p:nvGrpSpPr>
            <p:grpSpPr>
              <a:xfrm>
                <a:off x="5590706" y="4245348"/>
                <a:ext cx="33497" cy="32270"/>
                <a:chOff x="5590706" y="4245348"/>
                <a:chExt cx="33497" cy="32270"/>
              </a:xfrm>
            </p:grpSpPr>
            <p:sp>
              <p:nvSpPr>
                <p:cNvPr id="7680" name="Google Shape;7680;p53"/>
                <p:cNvSpPr/>
                <p:nvPr/>
              </p:nvSpPr>
              <p:spPr>
                <a:xfrm>
                  <a:off x="5590706" y="4245348"/>
                  <a:ext cx="33497" cy="322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4103" extrusionOk="0">
                      <a:moveTo>
                        <a:pt x="2175" y="0"/>
                      </a:moveTo>
                      <a:cubicBezTo>
                        <a:pt x="2160" y="0"/>
                        <a:pt x="2145" y="1"/>
                        <a:pt x="2130" y="1"/>
                      </a:cubicBezTo>
                      <a:lnTo>
                        <a:pt x="1984" y="1"/>
                      </a:lnTo>
                      <a:cubicBezTo>
                        <a:pt x="872" y="49"/>
                        <a:pt x="1" y="993"/>
                        <a:pt x="37" y="2118"/>
                      </a:cubicBezTo>
                      <a:cubicBezTo>
                        <a:pt x="73" y="3228"/>
                        <a:pt x="980" y="4102"/>
                        <a:pt x="2085" y="4102"/>
                      </a:cubicBezTo>
                      <a:cubicBezTo>
                        <a:pt x="2100" y="4102"/>
                        <a:pt x="2115" y="4102"/>
                        <a:pt x="2130" y="4102"/>
                      </a:cubicBezTo>
                      <a:lnTo>
                        <a:pt x="2275" y="4102"/>
                      </a:lnTo>
                      <a:cubicBezTo>
                        <a:pt x="3388" y="4041"/>
                        <a:pt x="4259" y="3098"/>
                        <a:pt x="4222" y="1985"/>
                      </a:cubicBezTo>
                      <a:cubicBezTo>
                        <a:pt x="4175" y="875"/>
                        <a:pt x="3279" y="0"/>
                        <a:pt x="21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1" name="Google Shape;7681;p53"/>
                <p:cNvSpPr/>
                <p:nvPr/>
              </p:nvSpPr>
              <p:spPr>
                <a:xfrm>
                  <a:off x="5598791" y="4254944"/>
                  <a:ext cx="1540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9" h="1659" extrusionOk="0">
                      <a:moveTo>
                        <a:pt x="1106" y="0"/>
                      </a:moveTo>
                      <a:cubicBezTo>
                        <a:pt x="1085" y="0"/>
                        <a:pt x="1063" y="1"/>
                        <a:pt x="1041" y="3"/>
                      </a:cubicBezTo>
                      <a:cubicBezTo>
                        <a:pt x="303" y="51"/>
                        <a:pt x="1" y="970"/>
                        <a:pt x="557" y="1454"/>
                      </a:cubicBezTo>
                      <a:cubicBezTo>
                        <a:pt x="720" y="1596"/>
                        <a:pt x="909" y="1659"/>
                        <a:pt x="1093" y="1659"/>
                      </a:cubicBezTo>
                      <a:cubicBezTo>
                        <a:pt x="1538" y="1659"/>
                        <a:pt x="1958" y="1290"/>
                        <a:pt x="1924" y="777"/>
                      </a:cubicBezTo>
                      <a:cubicBezTo>
                        <a:pt x="1901" y="339"/>
                        <a:pt x="1538" y="0"/>
                        <a:pt x="1106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2" name="Google Shape;7682;p53"/>
              <p:cNvGrpSpPr/>
              <p:nvPr/>
            </p:nvGrpSpPr>
            <p:grpSpPr>
              <a:xfrm>
                <a:off x="5618681" y="4109677"/>
                <a:ext cx="33112" cy="32357"/>
                <a:chOff x="5618681" y="4109677"/>
                <a:chExt cx="33112" cy="32357"/>
              </a:xfrm>
            </p:grpSpPr>
            <p:sp>
              <p:nvSpPr>
                <p:cNvPr id="7683" name="Google Shape;7683;p53"/>
                <p:cNvSpPr/>
                <p:nvPr/>
              </p:nvSpPr>
              <p:spPr>
                <a:xfrm>
                  <a:off x="5618681" y="4109677"/>
                  <a:ext cx="33112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10" h="4114" extrusionOk="0">
                      <a:moveTo>
                        <a:pt x="1984" y="1"/>
                      </a:moveTo>
                      <a:cubicBezTo>
                        <a:pt x="871" y="61"/>
                        <a:pt x="0" y="1005"/>
                        <a:pt x="36" y="2130"/>
                      </a:cubicBezTo>
                      <a:cubicBezTo>
                        <a:pt x="84" y="3235"/>
                        <a:pt x="992" y="4114"/>
                        <a:pt x="2106" y="4114"/>
                      </a:cubicBezTo>
                      <a:cubicBezTo>
                        <a:pt x="2114" y="4114"/>
                        <a:pt x="2121" y="4114"/>
                        <a:pt x="2129" y="4114"/>
                      </a:cubicBezTo>
                      <a:lnTo>
                        <a:pt x="2274" y="4114"/>
                      </a:lnTo>
                      <a:cubicBezTo>
                        <a:pt x="3375" y="4029"/>
                        <a:pt x="4210" y="3086"/>
                        <a:pt x="4173" y="1985"/>
                      </a:cubicBezTo>
                      <a:cubicBezTo>
                        <a:pt x="4137" y="884"/>
                        <a:pt x="3230" y="13"/>
                        <a:pt x="21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4" name="Google Shape;7684;p53"/>
                <p:cNvSpPr/>
                <p:nvPr/>
              </p:nvSpPr>
              <p:spPr>
                <a:xfrm>
                  <a:off x="5626767" y="4119280"/>
                  <a:ext cx="15494" cy="130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0" h="1660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62"/>
                        <a:pt x="0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7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5" name="Google Shape;7685;p53"/>
              <p:cNvGrpSpPr/>
              <p:nvPr/>
            </p:nvGrpSpPr>
            <p:grpSpPr>
              <a:xfrm>
                <a:off x="5479298" y="4128262"/>
                <a:ext cx="31405" cy="26906"/>
                <a:chOff x="5479298" y="4128262"/>
                <a:chExt cx="31405" cy="26906"/>
              </a:xfrm>
            </p:grpSpPr>
            <p:sp>
              <p:nvSpPr>
                <p:cNvPr id="7686" name="Google Shape;7686;p53"/>
                <p:cNvSpPr/>
                <p:nvPr/>
              </p:nvSpPr>
              <p:spPr>
                <a:xfrm>
                  <a:off x="5479298" y="4128262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7" name="Google Shape;7687;p53"/>
                <p:cNvSpPr/>
                <p:nvPr/>
              </p:nvSpPr>
              <p:spPr>
                <a:xfrm>
                  <a:off x="5493471" y="413793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8" y="1"/>
                        <a:pt x="1" y="218"/>
                        <a:pt x="1" y="485"/>
                      </a:cubicBezTo>
                      <a:cubicBezTo>
                        <a:pt x="1" y="751"/>
                        <a:pt x="218" y="968"/>
                        <a:pt x="485" y="968"/>
                      </a:cubicBezTo>
                      <a:cubicBezTo>
                        <a:pt x="751" y="968"/>
                        <a:pt x="968" y="751"/>
                        <a:pt x="968" y="485"/>
                      </a:cubicBezTo>
                      <a:cubicBezTo>
                        <a:pt x="968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8" name="Google Shape;7688;p53"/>
              <p:cNvGrpSpPr/>
              <p:nvPr/>
            </p:nvGrpSpPr>
            <p:grpSpPr>
              <a:xfrm>
                <a:off x="5582903" y="4180116"/>
                <a:ext cx="31499" cy="26898"/>
                <a:chOff x="5582903" y="4180116"/>
                <a:chExt cx="31499" cy="26898"/>
              </a:xfrm>
            </p:grpSpPr>
            <p:sp>
              <p:nvSpPr>
                <p:cNvPr id="7689" name="Google Shape;7689;p53"/>
                <p:cNvSpPr/>
                <p:nvPr/>
              </p:nvSpPr>
              <p:spPr>
                <a:xfrm>
                  <a:off x="5582903" y="4180116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1"/>
                      </a:moveTo>
                      <a:cubicBezTo>
                        <a:pt x="1855" y="1"/>
                        <a:pt x="1425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0" name="Google Shape;7690;p53"/>
                <p:cNvSpPr/>
                <p:nvPr/>
              </p:nvSpPr>
              <p:spPr>
                <a:xfrm>
                  <a:off x="5597084" y="4189790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91" name="Google Shape;7691;p53"/>
            <p:cNvGrpSpPr/>
            <p:nvPr/>
          </p:nvGrpSpPr>
          <p:grpSpPr>
            <a:xfrm>
              <a:off x="3977681" y="3230323"/>
              <a:ext cx="94584" cy="84085"/>
              <a:chOff x="3977681" y="3230323"/>
              <a:chExt cx="94584" cy="84085"/>
            </a:xfrm>
          </p:grpSpPr>
          <p:grpSp>
            <p:nvGrpSpPr>
              <p:cNvPr id="7692" name="Google Shape;7692;p53"/>
              <p:cNvGrpSpPr/>
              <p:nvPr/>
            </p:nvGrpSpPr>
            <p:grpSpPr>
              <a:xfrm>
                <a:off x="4000135" y="3243041"/>
                <a:ext cx="59570" cy="57186"/>
                <a:chOff x="4000135" y="3243041"/>
                <a:chExt cx="59570" cy="57186"/>
              </a:xfrm>
            </p:grpSpPr>
            <p:sp>
              <p:nvSpPr>
                <p:cNvPr id="7693" name="Google Shape;7693;p53"/>
                <p:cNvSpPr/>
                <p:nvPr/>
              </p:nvSpPr>
              <p:spPr>
                <a:xfrm>
                  <a:off x="4000135" y="3243041"/>
                  <a:ext cx="59570" cy="570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74" h="7259" fill="none" extrusionOk="0">
                      <a:moveTo>
                        <a:pt x="1" y="2323"/>
                      </a:moveTo>
                      <a:lnTo>
                        <a:pt x="2577" y="7259"/>
                      </a:lnTo>
                      <a:lnTo>
                        <a:pt x="7573" y="4114"/>
                      </a:lnTo>
                      <a:lnTo>
                        <a:pt x="5541" y="1"/>
                      </a:lnTo>
                      <a:lnTo>
                        <a:pt x="352" y="232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4" name="Google Shape;7694;p53"/>
                <p:cNvSpPr/>
                <p:nvPr/>
              </p:nvSpPr>
              <p:spPr>
                <a:xfrm>
                  <a:off x="4024210" y="3246847"/>
                  <a:ext cx="15706" cy="53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97" h="6787" fill="none" extrusionOk="0">
                      <a:moveTo>
                        <a:pt x="0" y="6787"/>
                      </a:moveTo>
                      <a:lnTo>
                        <a:pt x="199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5" name="Google Shape;7695;p53"/>
                <p:cNvSpPr/>
                <p:nvPr/>
              </p:nvSpPr>
              <p:spPr>
                <a:xfrm>
                  <a:off x="4002896" y="3261311"/>
                  <a:ext cx="56809" cy="140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23" h="1791" fill="none" extrusionOk="0">
                      <a:moveTo>
                        <a:pt x="7222" y="1791"/>
                      </a:moveTo>
                      <a:lnTo>
                        <a:pt x="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96" name="Google Shape;7696;p53"/>
              <p:cNvGrpSpPr/>
              <p:nvPr/>
            </p:nvGrpSpPr>
            <p:grpSpPr>
              <a:xfrm>
                <a:off x="3977681" y="3245872"/>
                <a:ext cx="37783" cy="32380"/>
                <a:chOff x="3977681" y="3245872"/>
                <a:chExt cx="37783" cy="32380"/>
              </a:xfrm>
            </p:grpSpPr>
            <p:sp>
              <p:nvSpPr>
                <p:cNvPr id="7697" name="Google Shape;7697;p53"/>
                <p:cNvSpPr/>
                <p:nvPr/>
              </p:nvSpPr>
              <p:spPr>
                <a:xfrm>
                  <a:off x="3977681" y="3245872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26" y="1"/>
                      </a:moveTo>
                      <a:cubicBezTo>
                        <a:pt x="2219" y="1"/>
                        <a:pt x="1703" y="189"/>
                        <a:pt x="1283" y="608"/>
                      </a:cubicBezTo>
                      <a:cubicBezTo>
                        <a:pt x="1" y="1903"/>
                        <a:pt x="908" y="4117"/>
                        <a:pt x="2747" y="4117"/>
                      </a:cubicBezTo>
                      <a:cubicBezTo>
                        <a:pt x="3872" y="4104"/>
                        <a:pt x="4791" y="3185"/>
                        <a:pt x="4803" y="2060"/>
                      </a:cubicBezTo>
                      <a:cubicBezTo>
                        <a:pt x="4795" y="818"/>
                        <a:pt x="3782" y="1"/>
                        <a:pt x="27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8" name="Google Shape;7698;p53"/>
                <p:cNvSpPr/>
                <p:nvPr/>
              </p:nvSpPr>
              <p:spPr>
                <a:xfrm>
                  <a:off x="3992718" y="325550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99" name="Google Shape;7699;p53"/>
              <p:cNvGrpSpPr/>
              <p:nvPr/>
            </p:nvGrpSpPr>
            <p:grpSpPr>
              <a:xfrm>
                <a:off x="4040860" y="3262672"/>
                <a:ext cx="31405" cy="27001"/>
                <a:chOff x="4040860" y="3262672"/>
                <a:chExt cx="31405" cy="27001"/>
              </a:xfrm>
            </p:grpSpPr>
            <p:sp>
              <p:nvSpPr>
                <p:cNvPr id="7700" name="Google Shape;7700;p53"/>
                <p:cNvSpPr/>
                <p:nvPr/>
              </p:nvSpPr>
              <p:spPr>
                <a:xfrm>
                  <a:off x="4040860" y="326267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1" name="Google Shape;7701;p53"/>
                <p:cNvSpPr/>
                <p:nvPr/>
              </p:nvSpPr>
              <p:spPr>
                <a:xfrm>
                  <a:off x="4054938" y="327234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02" name="Google Shape;7702;p53"/>
              <p:cNvGrpSpPr/>
              <p:nvPr/>
            </p:nvGrpSpPr>
            <p:grpSpPr>
              <a:xfrm>
                <a:off x="4021072" y="3230323"/>
                <a:ext cx="31397" cy="26906"/>
                <a:chOff x="4021072" y="3230323"/>
                <a:chExt cx="31397" cy="26906"/>
              </a:xfrm>
            </p:grpSpPr>
            <p:sp>
              <p:nvSpPr>
                <p:cNvPr id="7703" name="Google Shape;7703;p53"/>
                <p:cNvSpPr/>
                <p:nvPr/>
              </p:nvSpPr>
              <p:spPr>
                <a:xfrm>
                  <a:off x="4021072" y="3230323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4" name="Google Shape;7704;p53"/>
                <p:cNvSpPr/>
                <p:nvPr/>
              </p:nvSpPr>
              <p:spPr>
                <a:xfrm>
                  <a:off x="403524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05" name="Google Shape;7705;p53"/>
              <p:cNvGrpSpPr/>
              <p:nvPr/>
            </p:nvGrpSpPr>
            <p:grpSpPr>
              <a:xfrm>
                <a:off x="4001472" y="3287462"/>
                <a:ext cx="31499" cy="26945"/>
                <a:chOff x="4001472" y="3287462"/>
                <a:chExt cx="31499" cy="26945"/>
              </a:xfrm>
            </p:grpSpPr>
            <p:sp>
              <p:nvSpPr>
                <p:cNvPr id="7706" name="Google Shape;7706;p53"/>
                <p:cNvSpPr/>
                <p:nvPr/>
              </p:nvSpPr>
              <p:spPr>
                <a:xfrm>
                  <a:off x="4001472" y="3287462"/>
                  <a:ext cx="31499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6" extrusionOk="0">
                      <a:moveTo>
                        <a:pt x="2276" y="1"/>
                      </a:moveTo>
                      <a:cubicBezTo>
                        <a:pt x="1854" y="1"/>
                        <a:pt x="1425" y="158"/>
                        <a:pt x="1077" y="510"/>
                      </a:cubicBezTo>
                      <a:cubicBezTo>
                        <a:pt x="0" y="1587"/>
                        <a:pt x="762" y="3425"/>
                        <a:pt x="2286" y="3425"/>
                      </a:cubicBezTo>
                      <a:cubicBezTo>
                        <a:pt x="3230" y="3425"/>
                        <a:pt x="3992" y="2663"/>
                        <a:pt x="4004" y="1720"/>
                      </a:cubicBezTo>
                      <a:cubicBezTo>
                        <a:pt x="4004" y="688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7" name="Google Shape;7707;p53"/>
                <p:cNvSpPr/>
                <p:nvPr/>
              </p:nvSpPr>
              <p:spPr>
                <a:xfrm>
                  <a:off x="4014410" y="3297175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06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08" name="Google Shape;7708;p53"/>
            <p:cNvGrpSpPr/>
            <p:nvPr/>
          </p:nvGrpSpPr>
          <p:grpSpPr>
            <a:xfrm>
              <a:off x="4084715" y="3258865"/>
              <a:ext cx="184961" cy="137268"/>
              <a:chOff x="4084715" y="3258865"/>
              <a:chExt cx="184961" cy="137268"/>
            </a:xfrm>
          </p:grpSpPr>
          <p:grpSp>
            <p:nvGrpSpPr>
              <p:cNvPr id="7709" name="Google Shape;7709;p53"/>
              <p:cNvGrpSpPr/>
              <p:nvPr/>
            </p:nvGrpSpPr>
            <p:grpSpPr>
              <a:xfrm>
                <a:off x="4107453" y="3271583"/>
                <a:ext cx="153470" cy="110275"/>
                <a:chOff x="4107453" y="3271583"/>
                <a:chExt cx="153470" cy="110275"/>
              </a:xfrm>
            </p:grpSpPr>
            <p:sp>
              <p:nvSpPr>
                <p:cNvPr id="7710" name="Google Shape;7710;p53"/>
                <p:cNvSpPr/>
                <p:nvPr/>
              </p:nvSpPr>
              <p:spPr>
                <a:xfrm>
                  <a:off x="4107453" y="3271583"/>
                  <a:ext cx="153470" cy="110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13" h="14021" fill="none" extrusionOk="0">
                      <a:moveTo>
                        <a:pt x="19513" y="14021"/>
                      </a:moveTo>
                      <a:lnTo>
                        <a:pt x="14844" y="968"/>
                      </a:lnTo>
                      <a:lnTo>
                        <a:pt x="5674" y="1"/>
                      </a:lnTo>
                      <a:lnTo>
                        <a:pt x="1" y="968"/>
                      </a:lnTo>
                      <a:lnTo>
                        <a:pt x="8977" y="2674"/>
                      </a:lnTo>
                      <a:lnTo>
                        <a:pt x="14360" y="10102"/>
                      </a:lnTo>
                      <a:lnTo>
                        <a:pt x="19029" y="14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1" name="Google Shape;7711;p53"/>
                <p:cNvSpPr/>
                <p:nvPr/>
              </p:nvSpPr>
              <p:spPr>
                <a:xfrm>
                  <a:off x="4155886" y="3271968"/>
                  <a:ext cx="22171" cy="205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19" h="2614" fill="none" extrusionOk="0">
                      <a:moveTo>
                        <a:pt x="2819" y="2613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2" name="Google Shape;7712;p53"/>
                <p:cNvSpPr/>
                <p:nvPr/>
              </p:nvSpPr>
              <p:spPr>
                <a:xfrm>
                  <a:off x="4178049" y="3279196"/>
                  <a:ext cx="42345" cy="133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84" h="1695" fill="none" extrusionOk="0">
                      <a:moveTo>
                        <a:pt x="1" y="1694"/>
                      </a:moveTo>
                      <a:lnTo>
                        <a:pt x="538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3" name="Google Shape;7713;p53"/>
                <p:cNvSpPr/>
                <p:nvPr/>
              </p:nvSpPr>
              <p:spPr>
                <a:xfrm>
                  <a:off x="4220387" y="3279196"/>
                  <a:ext cx="8" cy="71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" h="9122" fill="none" extrusionOk="0">
                      <a:moveTo>
                        <a:pt x="1" y="0"/>
                      </a:moveTo>
                      <a:lnTo>
                        <a:pt x="1" y="91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14" name="Google Shape;7714;p53"/>
              <p:cNvGrpSpPr/>
              <p:nvPr/>
            </p:nvGrpSpPr>
            <p:grpSpPr>
              <a:xfrm>
                <a:off x="4136947" y="3258865"/>
                <a:ext cx="31499" cy="27001"/>
                <a:chOff x="4136947" y="3258865"/>
                <a:chExt cx="31499" cy="27001"/>
              </a:xfrm>
            </p:grpSpPr>
            <p:sp>
              <p:nvSpPr>
                <p:cNvPr id="7715" name="Google Shape;7715;p53"/>
                <p:cNvSpPr/>
                <p:nvPr/>
              </p:nvSpPr>
              <p:spPr>
                <a:xfrm>
                  <a:off x="4136947" y="3258865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32"/>
                        <a:pt x="2299" y="3432"/>
                      </a:cubicBezTo>
                      <a:cubicBezTo>
                        <a:pt x="3243" y="3420"/>
                        <a:pt x="4005" y="2658"/>
                        <a:pt x="4005" y="1715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6" name="Google Shape;7716;p53"/>
                <p:cNvSpPr/>
                <p:nvPr/>
              </p:nvSpPr>
              <p:spPr>
                <a:xfrm>
                  <a:off x="4151222" y="3268539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06" y="1"/>
                        <a:pt x="0" y="218"/>
                        <a:pt x="0" y="485"/>
                      </a:cubicBezTo>
                      <a:cubicBezTo>
                        <a:pt x="0" y="751"/>
                        <a:pt x="206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17" name="Google Shape;7717;p53"/>
              <p:cNvGrpSpPr/>
              <p:nvPr/>
            </p:nvGrpSpPr>
            <p:grpSpPr>
              <a:xfrm>
                <a:off x="4084715" y="3266478"/>
                <a:ext cx="31468" cy="26898"/>
                <a:chOff x="4084715" y="3266478"/>
                <a:chExt cx="31468" cy="26898"/>
              </a:xfrm>
            </p:grpSpPr>
            <p:sp>
              <p:nvSpPr>
                <p:cNvPr id="7718" name="Google Shape;7718;p53"/>
                <p:cNvSpPr/>
                <p:nvPr/>
              </p:nvSpPr>
              <p:spPr>
                <a:xfrm>
                  <a:off x="4084715" y="3266478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9" y="1"/>
                      </a:moveTo>
                      <a:cubicBezTo>
                        <a:pt x="1859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26"/>
                      </a:cubicBezTo>
                      <a:cubicBezTo>
                        <a:pt x="4001" y="686"/>
                        <a:pt x="3161" y="1"/>
                        <a:pt x="227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9" name="Google Shape;7719;p53"/>
                <p:cNvSpPr/>
                <p:nvPr/>
              </p:nvSpPr>
              <p:spPr>
                <a:xfrm>
                  <a:off x="4098896" y="327615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0" name="Google Shape;7720;p53"/>
              <p:cNvGrpSpPr/>
              <p:nvPr/>
            </p:nvGrpSpPr>
            <p:grpSpPr>
              <a:xfrm>
                <a:off x="4159213" y="3279849"/>
                <a:ext cx="31405" cy="26945"/>
                <a:chOff x="4159213" y="3279849"/>
                <a:chExt cx="31405" cy="26945"/>
              </a:xfrm>
            </p:grpSpPr>
            <p:sp>
              <p:nvSpPr>
                <p:cNvPr id="7721" name="Google Shape;7721;p53"/>
                <p:cNvSpPr/>
                <p:nvPr/>
              </p:nvSpPr>
              <p:spPr>
                <a:xfrm>
                  <a:off x="4159213" y="3279849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6"/>
                        <a:pt x="2287" y="3426"/>
                      </a:cubicBezTo>
                      <a:cubicBezTo>
                        <a:pt x="3230" y="3426"/>
                        <a:pt x="3992" y="2663"/>
                        <a:pt x="3992" y="1720"/>
                      </a:cubicBezTo>
                      <a:cubicBezTo>
                        <a:pt x="3992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2" name="Google Shape;7722;p53"/>
                <p:cNvSpPr/>
                <p:nvPr/>
              </p:nvSpPr>
              <p:spPr>
                <a:xfrm>
                  <a:off x="4173385" y="3289570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3" name="Google Shape;7723;p53"/>
              <p:cNvGrpSpPr/>
              <p:nvPr/>
            </p:nvGrpSpPr>
            <p:grpSpPr>
              <a:xfrm>
                <a:off x="4201550" y="3266502"/>
                <a:ext cx="31405" cy="26883"/>
                <a:chOff x="4201550" y="3266502"/>
                <a:chExt cx="31405" cy="26883"/>
              </a:xfrm>
            </p:grpSpPr>
            <p:sp>
              <p:nvSpPr>
                <p:cNvPr id="7724" name="Google Shape;7724;p53"/>
                <p:cNvSpPr/>
                <p:nvPr/>
              </p:nvSpPr>
              <p:spPr>
                <a:xfrm>
                  <a:off x="4201550" y="3266502"/>
                  <a:ext cx="31405" cy="268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18" extrusionOk="0">
                      <a:moveTo>
                        <a:pt x="2266" y="1"/>
                      </a:moveTo>
                      <a:cubicBezTo>
                        <a:pt x="1849" y="1"/>
                        <a:pt x="1423" y="155"/>
                        <a:pt x="1077" y="502"/>
                      </a:cubicBezTo>
                      <a:cubicBezTo>
                        <a:pt x="1" y="1566"/>
                        <a:pt x="751" y="3417"/>
                        <a:pt x="2275" y="3417"/>
                      </a:cubicBezTo>
                      <a:cubicBezTo>
                        <a:pt x="2282" y="3417"/>
                        <a:pt x="2290" y="3417"/>
                        <a:pt x="2297" y="3417"/>
                      </a:cubicBezTo>
                      <a:cubicBezTo>
                        <a:pt x="3230" y="3417"/>
                        <a:pt x="3993" y="2660"/>
                        <a:pt x="3993" y="1723"/>
                      </a:cubicBezTo>
                      <a:cubicBezTo>
                        <a:pt x="3993" y="689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5" name="Google Shape;7725;p53"/>
                <p:cNvSpPr/>
                <p:nvPr/>
              </p:nvSpPr>
              <p:spPr>
                <a:xfrm>
                  <a:off x="4214331" y="3276247"/>
                  <a:ext cx="8919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4" extrusionOk="0">
                      <a:moveTo>
                        <a:pt x="635" y="0"/>
                      </a:moveTo>
                      <a:cubicBezTo>
                        <a:pt x="209" y="0"/>
                        <a:pt x="0" y="512"/>
                        <a:pt x="311" y="823"/>
                      </a:cubicBezTo>
                      <a:cubicBezTo>
                        <a:pt x="408" y="920"/>
                        <a:pt x="528" y="964"/>
                        <a:pt x="646" y="964"/>
                      </a:cubicBezTo>
                      <a:cubicBezTo>
                        <a:pt x="895" y="964"/>
                        <a:pt x="1134" y="771"/>
                        <a:pt x="1134" y="484"/>
                      </a:cubicBezTo>
                      <a:cubicBezTo>
                        <a:pt x="1134" y="206"/>
                        <a:pt x="916" y="0"/>
                        <a:pt x="650" y="0"/>
                      </a:cubicBezTo>
                      <a:cubicBezTo>
                        <a:pt x="645" y="0"/>
                        <a:pt x="640" y="0"/>
                        <a:pt x="6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6" name="Google Shape;7726;p53"/>
              <p:cNvGrpSpPr/>
              <p:nvPr/>
            </p:nvGrpSpPr>
            <p:grpSpPr>
              <a:xfrm>
                <a:off x="4201550" y="3338278"/>
                <a:ext cx="31405" cy="26930"/>
                <a:chOff x="4201550" y="3338278"/>
                <a:chExt cx="31405" cy="26930"/>
              </a:xfrm>
            </p:grpSpPr>
            <p:sp>
              <p:nvSpPr>
                <p:cNvPr id="7727" name="Google Shape;7727;p53"/>
                <p:cNvSpPr/>
                <p:nvPr/>
              </p:nvSpPr>
              <p:spPr>
                <a:xfrm>
                  <a:off x="4201550" y="3338278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6" y="1"/>
                      </a:moveTo>
                      <a:cubicBezTo>
                        <a:pt x="1848" y="1"/>
                        <a:pt x="1423" y="154"/>
                        <a:pt x="1077" y="497"/>
                      </a:cubicBezTo>
                      <a:cubicBezTo>
                        <a:pt x="1" y="1573"/>
                        <a:pt x="751" y="3412"/>
                        <a:pt x="2275" y="3424"/>
                      </a:cubicBezTo>
                      <a:cubicBezTo>
                        <a:pt x="3218" y="3424"/>
                        <a:pt x="3993" y="2662"/>
                        <a:pt x="3993" y="1718"/>
                      </a:cubicBezTo>
                      <a:cubicBezTo>
                        <a:pt x="3993" y="684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8" name="Google Shape;7728;p53"/>
                <p:cNvSpPr/>
                <p:nvPr/>
              </p:nvSpPr>
              <p:spPr>
                <a:xfrm>
                  <a:off x="4214331" y="3347976"/>
                  <a:ext cx="8919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5" extrusionOk="0">
                      <a:moveTo>
                        <a:pt x="671" y="1"/>
                      </a:moveTo>
                      <a:cubicBezTo>
                        <a:pt x="664" y="1"/>
                        <a:pt x="657" y="1"/>
                        <a:pt x="650" y="1"/>
                      </a:cubicBezTo>
                      <a:cubicBezTo>
                        <a:pt x="645" y="1"/>
                        <a:pt x="640" y="1"/>
                        <a:pt x="635" y="1"/>
                      </a:cubicBezTo>
                      <a:cubicBezTo>
                        <a:pt x="209" y="1"/>
                        <a:pt x="0" y="513"/>
                        <a:pt x="311" y="824"/>
                      </a:cubicBezTo>
                      <a:cubicBezTo>
                        <a:pt x="408" y="921"/>
                        <a:pt x="528" y="965"/>
                        <a:pt x="646" y="965"/>
                      </a:cubicBezTo>
                      <a:cubicBezTo>
                        <a:pt x="895" y="965"/>
                        <a:pt x="1134" y="772"/>
                        <a:pt x="1134" y="485"/>
                      </a:cubicBezTo>
                      <a:cubicBezTo>
                        <a:pt x="1134" y="214"/>
                        <a:pt x="927" y="1"/>
                        <a:pt x="67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9" name="Google Shape;7729;p53"/>
              <p:cNvGrpSpPr/>
              <p:nvPr/>
            </p:nvGrpSpPr>
            <p:grpSpPr>
              <a:xfrm>
                <a:off x="4238272" y="3369132"/>
                <a:ext cx="31405" cy="27001"/>
                <a:chOff x="4238272" y="3369132"/>
                <a:chExt cx="31405" cy="27001"/>
              </a:xfrm>
            </p:grpSpPr>
            <p:sp>
              <p:nvSpPr>
                <p:cNvPr id="7730" name="Google Shape;7730;p53"/>
                <p:cNvSpPr/>
                <p:nvPr/>
              </p:nvSpPr>
              <p:spPr>
                <a:xfrm>
                  <a:off x="4238272" y="33691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4" y="1"/>
                        <a:pt x="1426" y="157"/>
                        <a:pt x="1078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1" name="Google Shape;7731;p53"/>
                <p:cNvSpPr/>
                <p:nvPr/>
              </p:nvSpPr>
              <p:spPr>
                <a:xfrm>
                  <a:off x="4251217" y="3378806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3"/>
                      </a:cubicBezTo>
                      <a:cubicBezTo>
                        <a:pt x="401" y="922"/>
                        <a:pt x="524" y="967"/>
                        <a:pt x="643" y="967"/>
                      </a:cubicBezTo>
                      <a:cubicBezTo>
                        <a:pt x="889" y="967"/>
                        <a:pt x="1125" y="778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32" name="Google Shape;7732;p53"/>
            <p:cNvGrpSpPr/>
            <p:nvPr/>
          </p:nvGrpSpPr>
          <p:grpSpPr>
            <a:xfrm>
              <a:off x="4068639" y="3200169"/>
              <a:ext cx="77643" cy="37272"/>
              <a:chOff x="4068639" y="3200169"/>
              <a:chExt cx="77643" cy="37272"/>
            </a:xfrm>
          </p:grpSpPr>
          <p:sp>
            <p:nvSpPr>
              <p:cNvPr id="7733" name="Google Shape;7733;p53"/>
              <p:cNvSpPr/>
              <p:nvPr/>
            </p:nvSpPr>
            <p:spPr>
              <a:xfrm>
                <a:off x="4087570" y="3212886"/>
                <a:ext cx="49958" cy="10374"/>
              </a:xfrm>
              <a:custGeom>
                <a:avLst/>
                <a:gdLst/>
                <a:ahLst/>
                <a:cxnLst/>
                <a:rect l="l" t="t" r="r" b="b"/>
                <a:pathLst>
                  <a:path w="6352" h="1319" fill="none" extrusionOk="0">
                    <a:moveTo>
                      <a:pt x="1" y="1319"/>
                    </a:moveTo>
                    <a:lnTo>
                      <a:pt x="6351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734" name="Google Shape;7734;p53"/>
              <p:cNvGrpSpPr/>
              <p:nvPr/>
            </p:nvGrpSpPr>
            <p:grpSpPr>
              <a:xfrm>
                <a:off x="4114878" y="3200169"/>
                <a:ext cx="31405" cy="26993"/>
                <a:chOff x="4114878" y="3200169"/>
                <a:chExt cx="31405" cy="26993"/>
              </a:xfrm>
            </p:grpSpPr>
            <p:sp>
              <p:nvSpPr>
                <p:cNvPr id="7735" name="Google Shape;7735;p53"/>
                <p:cNvSpPr/>
                <p:nvPr/>
              </p:nvSpPr>
              <p:spPr>
                <a:xfrm>
                  <a:off x="4114878" y="3200169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7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6" name="Google Shape;7736;p53"/>
                <p:cNvSpPr/>
                <p:nvPr/>
              </p:nvSpPr>
              <p:spPr>
                <a:xfrm>
                  <a:off x="4127721" y="320983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36"/>
                      </a:cubicBezTo>
                      <a:cubicBezTo>
                        <a:pt x="400" y="933"/>
                        <a:pt x="519" y="976"/>
                        <a:pt x="637" y="976"/>
                      </a:cubicBezTo>
                      <a:cubicBezTo>
                        <a:pt x="887" y="976"/>
                        <a:pt x="1129" y="781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37" name="Google Shape;7737;p53"/>
              <p:cNvGrpSpPr/>
              <p:nvPr/>
            </p:nvGrpSpPr>
            <p:grpSpPr>
              <a:xfrm>
                <a:off x="4068639" y="3210535"/>
                <a:ext cx="31499" cy="26906"/>
                <a:chOff x="4068639" y="3210535"/>
                <a:chExt cx="31499" cy="26906"/>
              </a:xfrm>
            </p:grpSpPr>
            <p:sp>
              <p:nvSpPr>
                <p:cNvPr id="7738" name="Google Shape;7738;p53"/>
                <p:cNvSpPr/>
                <p:nvPr/>
              </p:nvSpPr>
              <p:spPr>
                <a:xfrm>
                  <a:off x="4068639" y="321053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9" name="Google Shape;7739;p53"/>
                <p:cNvSpPr/>
                <p:nvPr/>
              </p:nvSpPr>
              <p:spPr>
                <a:xfrm>
                  <a:off x="4081577" y="3220209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7" y="964"/>
                        <a:pt x="1126" y="771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40" name="Google Shape;7740;p53"/>
            <p:cNvGrpSpPr/>
            <p:nvPr/>
          </p:nvGrpSpPr>
          <p:grpSpPr>
            <a:xfrm>
              <a:off x="3869702" y="3066935"/>
              <a:ext cx="382664" cy="190294"/>
              <a:chOff x="3869702" y="3066935"/>
              <a:chExt cx="382664" cy="190294"/>
            </a:xfrm>
          </p:grpSpPr>
          <p:grpSp>
            <p:nvGrpSpPr>
              <p:cNvPr id="7741" name="Google Shape;7741;p53"/>
              <p:cNvGrpSpPr/>
              <p:nvPr/>
            </p:nvGrpSpPr>
            <p:grpSpPr>
              <a:xfrm>
                <a:off x="3888633" y="3082351"/>
                <a:ext cx="351172" cy="160698"/>
                <a:chOff x="3888633" y="3082351"/>
                <a:chExt cx="351172" cy="160698"/>
              </a:xfrm>
            </p:grpSpPr>
            <p:sp>
              <p:nvSpPr>
                <p:cNvPr id="7742" name="Google Shape;7742;p53"/>
                <p:cNvSpPr/>
                <p:nvPr/>
              </p:nvSpPr>
              <p:spPr>
                <a:xfrm>
                  <a:off x="3892440" y="3082351"/>
                  <a:ext cx="347366" cy="1606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166" h="20432" fill="none" extrusionOk="0">
                      <a:moveTo>
                        <a:pt x="7041" y="11529"/>
                      </a:moveTo>
                      <a:lnTo>
                        <a:pt x="22440" y="4162"/>
                      </a:lnTo>
                      <a:lnTo>
                        <a:pt x="34815" y="0"/>
                      </a:lnTo>
                      <a:lnTo>
                        <a:pt x="44166" y="484"/>
                      </a:lnTo>
                      <a:lnTo>
                        <a:pt x="38964" y="8565"/>
                      </a:lnTo>
                      <a:lnTo>
                        <a:pt x="33012" y="10065"/>
                      </a:lnTo>
                      <a:lnTo>
                        <a:pt x="22440" y="4839"/>
                      </a:lnTo>
                      <a:lnTo>
                        <a:pt x="18750" y="15424"/>
                      </a:lnTo>
                      <a:cubicBezTo>
                        <a:pt x="18750" y="15424"/>
                        <a:pt x="6206" y="11154"/>
                        <a:pt x="6557" y="11516"/>
                      </a:cubicBezTo>
                      <a:lnTo>
                        <a:pt x="0" y="204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3" name="Google Shape;7743;p53"/>
                <p:cNvSpPr/>
                <p:nvPr/>
              </p:nvSpPr>
              <p:spPr>
                <a:xfrm>
                  <a:off x="3888633" y="3172924"/>
                  <a:ext cx="72979" cy="701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79" h="8916" fill="none" extrusionOk="0">
                      <a:moveTo>
                        <a:pt x="0" y="8916"/>
                      </a:moveTo>
                      <a:lnTo>
                        <a:pt x="9279" y="6883"/>
                      </a:lnTo>
                      <a:lnTo>
                        <a:pt x="704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4" name="Google Shape;7744;p53"/>
                <p:cNvSpPr/>
                <p:nvPr/>
              </p:nvSpPr>
              <p:spPr>
                <a:xfrm>
                  <a:off x="3960370" y="3203653"/>
                  <a:ext cx="79547" cy="196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14" h="2493" fill="none" extrusionOk="0">
                      <a:moveTo>
                        <a:pt x="0" y="2493"/>
                      </a:moveTo>
                      <a:lnTo>
                        <a:pt x="1011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5" name="Google Shape;7745;p53"/>
                <p:cNvSpPr/>
                <p:nvPr/>
              </p:nvSpPr>
              <p:spPr>
                <a:xfrm>
                  <a:off x="4043613" y="3161504"/>
                  <a:ext cx="108474" cy="421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792" h="5360" fill="none" extrusionOk="0">
                      <a:moveTo>
                        <a:pt x="1" y="5360"/>
                      </a:moveTo>
                      <a:lnTo>
                        <a:pt x="1379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6" name="Google Shape;7746;p53"/>
                <p:cNvSpPr/>
                <p:nvPr/>
              </p:nvSpPr>
              <p:spPr>
                <a:xfrm>
                  <a:off x="4152079" y="3082351"/>
                  <a:ext cx="17224" cy="829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90" h="10549" fill="none" extrusionOk="0">
                      <a:moveTo>
                        <a:pt x="0" y="10549"/>
                      </a:moveTo>
                      <a:lnTo>
                        <a:pt x="219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7" name="Google Shape;7747;p53"/>
                <p:cNvSpPr/>
                <p:nvPr/>
              </p:nvSpPr>
              <p:spPr>
                <a:xfrm>
                  <a:off x="4169296" y="3082351"/>
                  <a:ext cx="25797" cy="635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80" h="8081" fill="none" extrusionOk="0">
                      <a:moveTo>
                        <a:pt x="1" y="0"/>
                      </a:moveTo>
                      <a:lnTo>
                        <a:pt x="3279" y="808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48" name="Google Shape;7748;p53"/>
              <p:cNvGrpSpPr/>
              <p:nvPr/>
            </p:nvGrpSpPr>
            <p:grpSpPr>
              <a:xfrm>
                <a:off x="4143703" y="3066935"/>
                <a:ext cx="37783" cy="32357"/>
                <a:chOff x="4143703" y="3066935"/>
                <a:chExt cx="37783" cy="32357"/>
              </a:xfrm>
            </p:grpSpPr>
            <p:sp>
              <p:nvSpPr>
                <p:cNvPr id="7749" name="Google Shape;7749;p53"/>
                <p:cNvSpPr/>
                <p:nvPr/>
              </p:nvSpPr>
              <p:spPr>
                <a:xfrm>
                  <a:off x="4143703" y="306693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1" y="0"/>
                      </a:moveTo>
                      <a:cubicBezTo>
                        <a:pt x="2227" y="0"/>
                        <a:pt x="1713" y="188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0" name="Google Shape;7750;p53"/>
                <p:cNvSpPr/>
                <p:nvPr/>
              </p:nvSpPr>
              <p:spPr>
                <a:xfrm>
                  <a:off x="4158741" y="3076641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4" y="1658"/>
                        <a:pt x="1657" y="1283"/>
                        <a:pt x="1657" y="823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1" name="Google Shape;7751;p53"/>
              <p:cNvGrpSpPr/>
              <p:nvPr/>
            </p:nvGrpSpPr>
            <p:grpSpPr>
              <a:xfrm>
                <a:off x="4044565" y="3103563"/>
                <a:ext cx="37783" cy="32451"/>
                <a:chOff x="4044565" y="3103563"/>
                <a:chExt cx="37783" cy="32451"/>
              </a:xfrm>
            </p:grpSpPr>
            <p:sp>
              <p:nvSpPr>
                <p:cNvPr id="7752" name="Google Shape;7752;p53"/>
                <p:cNvSpPr/>
                <p:nvPr/>
              </p:nvSpPr>
              <p:spPr>
                <a:xfrm>
                  <a:off x="4044565" y="3103563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3" name="Google Shape;7753;p53"/>
                <p:cNvSpPr/>
                <p:nvPr/>
              </p:nvSpPr>
              <p:spPr>
                <a:xfrm>
                  <a:off x="4059602" y="3113268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4" name="Google Shape;7754;p53"/>
              <p:cNvGrpSpPr/>
              <p:nvPr/>
            </p:nvGrpSpPr>
            <p:grpSpPr>
              <a:xfrm>
                <a:off x="4017454" y="3188237"/>
                <a:ext cx="37776" cy="32357"/>
                <a:chOff x="4017454" y="3188237"/>
                <a:chExt cx="37776" cy="32357"/>
              </a:xfrm>
            </p:grpSpPr>
            <p:sp>
              <p:nvSpPr>
                <p:cNvPr id="7755" name="Google Shape;7755;p53"/>
                <p:cNvSpPr/>
                <p:nvPr/>
              </p:nvSpPr>
              <p:spPr>
                <a:xfrm>
                  <a:off x="4017454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08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6" name="Google Shape;7756;p53"/>
                <p:cNvSpPr/>
                <p:nvPr/>
              </p:nvSpPr>
              <p:spPr>
                <a:xfrm>
                  <a:off x="4032484" y="319794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7" name="Google Shape;7757;p53"/>
              <p:cNvGrpSpPr/>
              <p:nvPr/>
            </p:nvGrpSpPr>
            <p:grpSpPr>
              <a:xfrm>
                <a:off x="3921548" y="3157509"/>
                <a:ext cx="37783" cy="32357"/>
                <a:chOff x="3921548" y="3157509"/>
                <a:chExt cx="37783" cy="32357"/>
              </a:xfrm>
            </p:grpSpPr>
            <p:sp>
              <p:nvSpPr>
                <p:cNvPr id="7758" name="Google Shape;7758;p53"/>
                <p:cNvSpPr/>
                <p:nvPr/>
              </p:nvSpPr>
              <p:spPr>
                <a:xfrm>
                  <a:off x="3921548" y="31575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9" name="Google Shape;7759;p53"/>
                <p:cNvSpPr/>
                <p:nvPr/>
              </p:nvSpPr>
              <p:spPr>
                <a:xfrm>
                  <a:off x="3936586" y="3167214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4"/>
                        <a:pt x="1282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0" name="Google Shape;7760;p53"/>
              <p:cNvGrpSpPr/>
              <p:nvPr/>
            </p:nvGrpSpPr>
            <p:grpSpPr>
              <a:xfrm>
                <a:off x="3939056" y="3211620"/>
                <a:ext cx="37783" cy="32380"/>
                <a:chOff x="3939056" y="3211620"/>
                <a:chExt cx="37783" cy="32380"/>
              </a:xfrm>
            </p:grpSpPr>
            <p:sp>
              <p:nvSpPr>
                <p:cNvPr id="7761" name="Google Shape;7761;p53"/>
                <p:cNvSpPr/>
                <p:nvPr/>
              </p:nvSpPr>
              <p:spPr>
                <a:xfrm>
                  <a:off x="3939056" y="3211620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59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2" name="Google Shape;7762;p53"/>
                <p:cNvSpPr/>
                <p:nvPr/>
              </p:nvSpPr>
              <p:spPr>
                <a:xfrm>
                  <a:off x="3954188" y="32212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3" name="Google Shape;7763;p53"/>
              <p:cNvGrpSpPr/>
              <p:nvPr/>
            </p:nvGrpSpPr>
            <p:grpSpPr>
              <a:xfrm>
                <a:off x="4176240" y="3136965"/>
                <a:ext cx="31405" cy="26930"/>
                <a:chOff x="4176240" y="3136965"/>
                <a:chExt cx="31405" cy="26930"/>
              </a:xfrm>
            </p:grpSpPr>
            <p:sp>
              <p:nvSpPr>
                <p:cNvPr id="7764" name="Google Shape;7764;p53"/>
                <p:cNvSpPr/>
                <p:nvPr/>
              </p:nvSpPr>
              <p:spPr>
                <a:xfrm>
                  <a:off x="4176240" y="3136965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8" y="1"/>
                      </a:moveTo>
                      <a:cubicBezTo>
                        <a:pt x="1846" y="1"/>
                        <a:pt x="1415" y="158"/>
                        <a:pt x="1065" y="508"/>
                      </a:cubicBezTo>
                      <a:cubicBezTo>
                        <a:pt x="1" y="1585"/>
                        <a:pt x="763" y="3423"/>
                        <a:pt x="2275" y="3423"/>
                      </a:cubicBezTo>
                      <a:cubicBezTo>
                        <a:pt x="3231" y="3423"/>
                        <a:pt x="3993" y="2649"/>
                        <a:pt x="3993" y="1705"/>
                      </a:cubicBezTo>
                      <a:cubicBezTo>
                        <a:pt x="3985" y="677"/>
                        <a:pt x="3145" y="1"/>
                        <a:pt x="226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5" name="Google Shape;7765;p53"/>
                <p:cNvSpPr/>
                <p:nvPr/>
              </p:nvSpPr>
              <p:spPr>
                <a:xfrm>
                  <a:off x="4190327" y="3146663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6" name="Google Shape;7766;p53"/>
              <p:cNvGrpSpPr/>
              <p:nvPr/>
            </p:nvGrpSpPr>
            <p:grpSpPr>
              <a:xfrm>
                <a:off x="4133148" y="3152593"/>
                <a:ext cx="31499" cy="27001"/>
                <a:chOff x="4133148" y="3152593"/>
                <a:chExt cx="31499" cy="27001"/>
              </a:xfrm>
            </p:grpSpPr>
            <p:sp>
              <p:nvSpPr>
                <p:cNvPr id="7767" name="Google Shape;7767;p53"/>
                <p:cNvSpPr/>
                <p:nvPr/>
              </p:nvSpPr>
              <p:spPr>
                <a:xfrm>
                  <a:off x="4133148" y="31525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8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8" name="Google Shape;7768;p53"/>
                <p:cNvSpPr/>
                <p:nvPr/>
              </p:nvSpPr>
              <p:spPr>
                <a:xfrm>
                  <a:off x="4147321" y="316226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9" name="Google Shape;7769;p53"/>
              <p:cNvGrpSpPr/>
              <p:nvPr/>
            </p:nvGrpSpPr>
            <p:grpSpPr>
              <a:xfrm>
                <a:off x="4220866" y="3073534"/>
                <a:ext cx="31499" cy="26898"/>
                <a:chOff x="4220866" y="3073534"/>
                <a:chExt cx="31499" cy="26898"/>
              </a:xfrm>
            </p:grpSpPr>
            <p:sp>
              <p:nvSpPr>
                <p:cNvPr id="7770" name="Google Shape;7770;p53"/>
                <p:cNvSpPr/>
                <p:nvPr/>
              </p:nvSpPr>
              <p:spPr>
                <a:xfrm>
                  <a:off x="4220866" y="307353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1" name="Google Shape;7771;p53"/>
                <p:cNvSpPr/>
                <p:nvPr/>
              </p:nvSpPr>
              <p:spPr>
                <a:xfrm>
                  <a:off x="4235039" y="3083114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5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72" name="Google Shape;7772;p53"/>
              <p:cNvGrpSpPr/>
              <p:nvPr/>
            </p:nvGrpSpPr>
            <p:grpSpPr>
              <a:xfrm>
                <a:off x="3869702" y="3230323"/>
                <a:ext cx="31499" cy="26906"/>
                <a:chOff x="3869702" y="3230323"/>
                <a:chExt cx="31499" cy="26906"/>
              </a:xfrm>
            </p:grpSpPr>
            <p:sp>
              <p:nvSpPr>
                <p:cNvPr id="7773" name="Google Shape;7773;p53"/>
                <p:cNvSpPr/>
                <p:nvPr/>
              </p:nvSpPr>
              <p:spPr>
                <a:xfrm>
                  <a:off x="3869702" y="32303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4" name="Google Shape;7774;p53"/>
                <p:cNvSpPr/>
                <p:nvPr/>
              </p:nvSpPr>
              <p:spPr>
                <a:xfrm>
                  <a:off x="388387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75" name="Google Shape;7775;p53"/>
            <p:cNvGrpSpPr/>
            <p:nvPr/>
          </p:nvGrpSpPr>
          <p:grpSpPr>
            <a:xfrm>
              <a:off x="4271383" y="3065882"/>
              <a:ext cx="304556" cy="341663"/>
              <a:chOff x="4271383" y="3065882"/>
              <a:chExt cx="304556" cy="341663"/>
            </a:xfrm>
          </p:grpSpPr>
          <p:grpSp>
            <p:nvGrpSpPr>
              <p:cNvPr id="7776" name="Google Shape;7776;p53"/>
              <p:cNvGrpSpPr/>
              <p:nvPr/>
            </p:nvGrpSpPr>
            <p:grpSpPr>
              <a:xfrm>
                <a:off x="4293838" y="3078639"/>
                <a:ext cx="269353" cy="311973"/>
                <a:chOff x="4293838" y="3078639"/>
                <a:chExt cx="269353" cy="311973"/>
              </a:xfrm>
            </p:grpSpPr>
            <p:sp>
              <p:nvSpPr>
                <p:cNvPr id="7777" name="Google Shape;7777;p53"/>
                <p:cNvSpPr/>
                <p:nvPr/>
              </p:nvSpPr>
              <p:spPr>
                <a:xfrm>
                  <a:off x="4293838" y="3078639"/>
                  <a:ext cx="269353" cy="3119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7" h="39666" fill="none" extrusionOk="0">
                      <a:moveTo>
                        <a:pt x="13" y="16730"/>
                      </a:moveTo>
                      <a:lnTo>
                        <a:pt x="7162" y="27690"/>
                      </a:lnTo>
                      <a:lnTo>
                        <a:pt x="8480" y="39666"/>
                      </a:lnTo>
                      <a:lnTo>
                        <a:pt x="18182" y="34138"/>
                      </a:lnTo>
                      <a:lnTo>
                        <a:pt x="26371" y="29807"/>
                      </a:lnTo>
                      <a:cubicBezTo>
                        <a:pt x="26371" y="29807"/>
                        <a:pt x="33605" y="34694"/>
                        <a:pt x="33932" y="35456"/>
                      </a:cubicBezTo>
                      <a:cubicBezTo>
                        <a:pt x="34246" y="36218"/>
                        <a:pt x="32263" y="18388"/>
                        <a:pt x="32263" y="18388"/>
                      </a:cubicBezTo>
                      <a:lnTo>
                        <a:pt x="28428" y="2928"/>
                      </a:lnTo>
                      <a:lnTo>
                        <a:pt x="12932" y="1"/>
                      </a:lnTo>
                      <a:lnTo>
                        <a:pt x="1670" y="2650"/>
                      </a:lnTo>
                      <a:lnTo>
                        <a:pt x="0" y="1714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8" name="Google Shape;7778;p53"/>
                <p:cNvSpPr/>
                <p:nvPr/>
              </p:nvSpPr>
              <p:spPr>
                <a:xfrm>
                  <a:off x="4306965" y="3099473"/>
                  <a:ext cx="62519" cy="696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49" h="8856" fill="none" extrusionOk="0">
                      <a:moveTo>
                        <a:pt x="1" y="1"/>
                      </a:moveTo>
                      <a:lnTo>
                        <a:pt x="7948" y="885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9" name="Google Shape;7779;p53"/>
                <p:cNvSpPr/>
                <p:nvPr/>
              </p:nvSpPr>
              <p:spPr>
                <a:xfrm>
                  <a:off x="4369476" y="3169118"/>
                  <a:ext cx="26072" cy="986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15" h="12545" fill="none" extrusionOk="0">
                      <a:moveTo>
                        <a:pt x="0" y="1"/>
                      </a:moveTo>
                      <a:lnTo>
                        <a:pt x="3315" y="1254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0" name="Google Shape;7780;p53"/>
                <p:cNvSpPr/>
                <p:nvPr/>
              </p:nvSpPr>
              <p:spPr>
                <a:xfrm>
                  <a:off x="4399347" y="3078639"/>
                  <a:ext cx="60041" cy="1105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34" h="14057" fill="none" extrusionOk="0">
                      <a:moveTo>
                        <a:pt x="7634" y="14057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1" name="Google Shape;7781;p53"/>
                <p:cNvSpPr/>
                <p:nvPr/>
              </p:nvSpPr>
              <p:spPr>
                <a:xfrm>
                  <a:off x="4373282" y="3169118"/>
                  <a:ext cx="82299" cy="200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64" h="2553" fill="none" extrusionOk="0">
                      <a:moveTo>
                        <a:pt x="0" y="1"/>
                      </a:moveTo>
                      <a:lnTo>
                        <a:pt x="10464" y="2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2" name="Google Shape;7782;p53"/>
                <p:cNvSpPr/>
                <p:nvPr/>
              </p:nvSpPr>
              <p:spPr>
                <a:xfrm>
                  <a:off x="4369476" y="3078639"/>
                  <a:ext cx="29879" cy="90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99" h="11505" fill="none" extrusionOk="0">
                      <a:moveTo>
                        <a:pt x="0" y="11505"/>
                      </a:moveTo>
                      <a:lnTo>
                        <a:pt x="379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3" name="Google Shape;7783;p53"/>
                <p:cNvSpPr/>
                <p:nvPr/>
              </p:nvSpPr>
              <p:spPr>
                <a:xfrm>
                  <a:off x="4293932" y="3169118"/>
                  <a:ext cx="75551" cy="411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06" h="5227" fill="none" extrusionOk="0">
                      <a:moveTo>
                        <a:pt x="1" y="5226"/>
                      </a:moveTo>
                      <a:lnTo>
                        <a:pt x="9605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4" name="Google Shape;7784;p53"/>
                <p:cNvSpPr/>
                <p:nvPr/>
              </p:nvSpPr>
              <p:spPr>
                <a:xfrm>
                  <a:off x="4350159" y="3267776"/>
                  <a:ext cx="45389" cy="270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71" h="3437" fill="none" extrusionOk="0">
                      <a:moveTo>
                        <a:pt x="1" y="3436"/>
                      </a:moveTo>
                      <a:lnTo>
                        <a:pt x="577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5" name="Google Shape;7785;p53"/>
                <p:cNvSpPr/>
                <p:nvPr/>
              </p:nvSpPr>
              <p:spPr>
                <a:xfrm>
                  <a:off x="4395540" y="3267776"/>
                  <a:ext cx="38830" cy="760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37" h="9667" fill="none" extrusionOk="0">
                      <a:moveTo>
                        <a:pt x="1" y="1"/>
                      </a:moveTo>
                      <a:lnTo>
                        <a:pt x="4936" y="96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6" name="Google Shape;7786;p53"/>
                <p:cNvSpPr/>
                <p:nvPr/>
              </p:nvSpPr>
              <p:spPr>
                <a:xfrm>
                  <a:off x="4360439" y="3267776"/>
                  <a:ext cx="35109" cy="1219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64" h="15509" fill="none" extrusionOk="0">
                      <a:moveTo>
                        <a:pt x="0" y="15509"/>
                      </a:moveTo>
                      <a:lnTo>
                        <a:pt x="446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7" name="Google Shape;7787;p53"/>
                <p:cNvSpPr/>
                <p:nvPr/>
              </p:nvSpPr>
              <p:spPr>
                <a:xfrm>
                  <a:off x="4293932" y="3210220"/>
                  <a:ext cx="101616" cy="575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920" h="7319" fill="none" extrusionOk="0">
                      <a:moveTo>
                        <a:pt x="1" y="0"/>
                      </a:moveTo>
                      <a:lnTo>
                        <a:pt x="12920" y="73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8" name="Google Shape;7788;p53"/>
                <p:cNvSpPr/>
                <p:nvPr/>
              </p:nvSpPr>
              <p:spPr>
                <a:xfrm>
                  <a:off x="4395540" y="3186436"/>
                  <a:ext cx="66420" cy="797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45" h="10138" fill="none" extrusionOk="0">
                      <a:moveTo>
                        <a:pt x="8444" y="0"/>
                      </a:moveTo>
                      <a:lnTo>
                        <a:pt x="1" y="1013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9" name="Google Shape;7789;p53"/>
                <p:cNvSpPr/>
                <p:nvPr/>
              </p:nvSpPr>
              <p:spPr>
                <a:xfrm>
                  <a:off x="4459380" y="3189669"/>
                  <a:ext cx="41873" cy="123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24" h="15690" fill="none" extrusionOk="0">
                      <a:moveTo>
                        <a:pt x="1" y="0"/>
                      </a:moveTo>
                      <a:lnTo>
                        <a:pt x="5323" y="15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0" name="Google Shape;7790;p53"/>
                <p:cNvSpPr/>
                <p:nvPr/>
              </p:nvSpPr>
              <p:spPr>
                <a:xfrm>
                  <a:off x="4395540" y="3267776"/>
                  <a:ext cx="105713" cy="452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41" h="5759" fill="none" extrusionOk="0">
                      <a:moveTo>
                        <a:pt x="1" y="1"/>
                      </a:moveTo>
                      <a:lnTo>
                        <a:pt x="13440" y="575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1" name="Google Shape;7791;p53"/>
                <p:cNvSpPr/>
                <p:nvPr/>
              </p:nvSpPr>
              <p:spPr>
                <a:xfrm>
                  <a:off x="4501246" y="3223252"/>
                  <a:ext cx="46435" cy="898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04" h="11420" fill="none" extrusionOk="0">
                      <a:moveTo>
                        <a:pt x="0" y="11420"/>
                      </a:moveTo>
                      <a:lnTo>
                        <a:pt x="590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2" name="Google Shape;7792;p53"/>
                <p:cNvSpPr/>
                <p:nvPr/>
              </p:nvSpPr>
              <p:spPr>
                <a:xfrm>
                  <a:off x="4459671" y="3104231"/>
                  <a:ext cx="58421" cy="84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428" h="10803" fill="none" extrusionOk="0">
                      <a:moveTo>
                        <a:pt x="0" y="10803"/>
                      </a:moveTo>
                      <a:lnTo>
                        <a:pt x="7428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3" name="Google Shape;7793;p53"/>
                <p:cNvSpPr/>
                <p:nvPr/>
              </p:nvSpPr>
              <p:spPr>
                <a:xfrm>
                  <a:off x="4459671" y="3189189"/>
                  <a:ext cx="86586" cy="367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4671" fill="none" extrusionOk="0">
                      <a:moveTo>
                        <a:pt x="0" y="1"/>
                      </a:moveTo>
                      <a:lnTo>
                        <a:pt x="11008" y="467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94" name="Google Shape;7794;p53"/>
              <p:cNvGrpSpPr/>
              <p:nvPr/>
            </p:nvGrpSpPr>
            <p:grpSpPr>
              <a:xfrm>
                <a:off x="4538164" y="3342061"/>
                <a:ext cx="37776" cy="32380"/>
                <a:chOff x="4538164" y="3342061"/>
                <a:chExt cx="37776" cy="32380"/>
              </a:xfrm>
            </p:grpSpPr>
            <p:sp>
              <p:nvSpPr>
                <p:cNvPr id="7795" name="Google Shape;7795;p53"/>
                <p:cNvSpPr/>
                <p:nvPr/>
              </p:nvSpPr>
              <p:spPr>
                <a:xfrm>
                  <a:off x="4538164" y="3342061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9"/>
                        <a:pt x="1294" y="608"/>
                      </a:cubicBezTo>
                      <a:cubicBezTo>
                        <a:pt x="0" y="1903"/>
                        <a:pt x="919" y="4116"/>
                        <a:pt x="2746" y="4116"/>
                      </a:cubicBezTo>
                      <a:cubicBezTo>
                        <a:pt x="3883" y="4116"/>
                        <a:pt x="4802" y="3197"/>
                        <a:pt x="4802" y="2060"/>
                      </a:cubicBezTo>
                      <a:cubicBezTo>
                        <a:pt x="4802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6" name="Google Shape;7796;p53"/>
                <p:cNvSpPr/>
                <p:nvPr/>
              </p:nvSpPr>
              <p:spPr>
                <a:xfrm>
                  <a:off x="455319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97" name="Google Shape;7797;p53"/>
              <p:cNvGrpSpPr/>
              <p:nvPr/>
            </p:nvGrpSpPr>
            <p:grpSpPr>
              <a:xfrm>
                <a:off x="4271383" y="3194742"/>
                <a:ext cx="37783" cy="32420"/>
                <a:chOff x="4271383" y="3194742"/>
                <a:chExt cx="37783" cy="32420"/>
              </a:xfrm>
            </p:grpSpPr>
            <p:sp>
              <p:nvSpPr>
                <p:cNvPr id="7798" name="Google Shape;7798;p53"/>
                <p:cNvSpPr/>
                <p:nvPr/>
              </p:nvSpPr>
              <p:spPr>
                <a:xfrm>
                  <a:off x="4271383" y="3194742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9" name="Google Shape;7799;p53"/>
                <p:cNvSpPr/>
                <p:nvPr/>
              </p:nvSpPr>
              <p:spPr>
                <a:xfrm>
                  <a:off x="4286516" y="320441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0" name="Google Shape;7800;p53"/>
              <p:cNvGrpSpPr/>
              <p:nvPr/>
            </p:nvGrpSpPr>
            <p:grpSpPr>
              <a:xfrm>
                <a:off x="4284416" y="3084058"/>
                <a:ext cx="37783" cy="32357"/>
                <a:chOff x="4284416" y="3084058"/>
                <a:chExt cx="37783" cy="32357"/>
              </a:xfrm>
            </p:grpSpPr>
            <p:sp>
              <p:nvSpPr>
                <p:cNvPr id="7801" name="Google Shape;7801;p53"/>
                <p:cNvSpPr/>
                <p:nvPr/>
              </p:nvSpPr>
              <p:spPr>
                <a:xfrm>
                  <a:off x="4284416" y="308405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2" name="Google Shape;7802;p53"/>
                <p:cNvSpPr/>
                <p:nvPr/>
              </p:nvSpPr>
              <p:spPr>
                <a:xfrm>
                  <a:off x="4299548" y="309376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4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3" name="Google Shape;7803;p53"/>
              <p:cNvGrpSpPr/>
              <p:nvPr/>
            </p:nvGrpSpPr>
            <p:grpSpPr>
              <a:xfrm>
                <a:off x="4478697" y="3297561"/>
                <a:ext cx="37776" cy="32451"/>
                <a:chOff x="4478697" y="3297561"/>
                <a:chExt cx="37776" cy="32451"/>
              </a:xfrm>
            </p:grpSpPr>
            <p:sp>
              <p:nvSpPr>
                <p:cNvPr id="7804" name="Google Shape;7804;p53"/>
                <p:cNvSpPr/>
                <p:nvPr/>
              </p:nvSpPr>
              <p:spPr>
                <a:xfrm>
                  <a:off x="4478697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46" y="4125"/>
                      </a:cubicBezTo>
                      <a:cubicBezTo>
                        <a:pt x="3884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5" name="Google Shape;7805;p53"/>
                <p:cNvSpPr/>
                <p:nvPr/>
              </p:nvSpPr>
              <p:spPr>
                <a:xfrm>
                  <a:off x="4493727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2"/>
                        <a:pt x="376" y="1657"/>
                        <a:pt x="835" y="1657"/>
                      </a:cubicBezTo>
                      <a:cubicBezTo>
                        <a:pt x="1295" y="1657"/>
                        <a:pt x="1658" y="1282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6" name="Google Shape;7806;p53"/>
              <p:cNvGrpSpPr/>
              <p:nvPr/>
            </p:nvGrpSpPr>
            <p:grpSpPr>
              <a:xfrm>
                <a:off x="4411813" y="3331711"/>
                <a:ext cx="37776" cy="32451"/>
                <a:chOff x="4411813" y="3331711"/>
                <a:chExt cx="37776" cy="32451"/>
              </a:xfrm>
            </p:grpSpPr>
            <p:sp>
              <p:nvSpPr>
                <p:cNvPr id="7807" name="Google Shape;7807;p53"/>
                <p:cNvSpPr/>
                <p:nvPr/>
              </p:nvSpPr>
              <p:spPr>
                <a:xfrm>
                  <a:off x="4411813" y="333171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3" y="188"/>
                        <a:pt x="1295" y="606"/>
                      </a:cubicBezTo>
                      <a:cubicBezTo>
                        <a:pt x="0" y="1900"/>
                        <a:pt x="920" y="4126"/>
                        <a:pt x="2759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8" name="Google Shape;7808;p53"/>
                <p:cNvSpPr/>
                <p:nvPr/>
              </p:nvSpPr>
              <p:spPr>
                <a:xfrm>
                  <a:off x="4426937" y="3341416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9" name="Google Shape;7809;p53"/>
              <p:cNvGrpSpPr/>
              <p:nvPr/>
            </p:nvGrpSpPr>
            <p:grpSpPr>
              <a:xfrm>
                <a:off x="4337984" y="3375188"/>
                <a:ext cx="37776" cy="32357"/>
                <a:chOff x="4337984" y="3375188"/>
                <a:chExt cx="37776" cy="32357"/>
              </a:xfrm>
            </p:grpSpPr>
            <p:sp>
              <p:nvSpPr>
                <p:cNvPr id="7810" name="Google Shape;7810;p53"/>
                <p:cNvSpPr/>
                <p:nvPr/>
              </p:nvSpPr>
              <p:spPr>
                <a:xfrm>
                  <a:off x="4337984" y="3375188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1" name="Google Shape;7811;p53"/>
                <p:cNvSpPr/>
                <p:nvPr/>
              </p:nvSpPr>
              <p:spPr>
                <a:xfrm>
                  <a:off x="4353108" y="3384894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64"/>
                        <a:pt x="1" y="824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2" name="Google Shape;7812;p53"/>
              <p:cNvGrpSpPr/>
              <p:nvPr/>
            </p:nvGrpSpPr>
            <p:grpSpPr>
              <a:xfrm>
                <a:off x="4494867" y="3090530"/>
                <a:ext cx="37878" cy="32451"/>
                <a:chOff x="4494867" y="3090530"/>
                <a:chExt cx="37878" cy="32451"/>
              </a:xfrm>
            </p:grpSpPr>
            <p:sp>
              <p:nvSpPr>
                <p:cNvPr id="7813" name="Google Shape;7813;p53"/>
                <p:cNvSpPr/>
                <p:nvPr/>
              </p:nvSpPr>
              <p:spPr>
                <a:xfrm>
                  <a:off x="4494867" y="3090530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96" y="4114"/>
                        <a:pt x="4803" y="3194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4" name="Google Shape;7814;p53"/>
                <p:cNvSpPr/>
                <p:nvPr/>
              </p:nvSpPr>
              <p:spPr>
                <a:xfrm>
                  <a:off x="4510000" y="310023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5" name="Google Shape;7815;p53"/>
              <p:cNvGrpSpPr/>
              <p:nvPr/>
            </p:nvGrpSpPr>
            <p:grpSpPr>
              <a:xfrm>
                <a:off x="4525124" y="3207774"/>
                <a:ext cx="37783" cy="32420"/>
                <a:chOff x="4525124" y="3207774"/>
                <a:chExt cx="37783" cy="32420"/>
              </a:xfrm>
            </p:grpSpPr>
            <p:sp>
              <p:nvSpPr>
                <p:cNvPr id="7816" name="Google Shape;7816;p53"/>
                <p:cNvSpPr/>
                <p:nvPr/>
              </p:nvSpPr>
              <p:spPr>
                <a:xfrm>
                  <a:off x="4525124" y="3207774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7" name="Google Shape;7817;p53"/>
                <p:cNvSpPr/>
                <p:nvPr/>
              </p:nvSpPr>
              <p:spPr>
                <a:xfrm>
                  <a:off x="4540256" y="32174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8" name="Google Shape;7818;p53"/>
              <p:cNvGrpSpPr/>
              <p:nvPr/>
            </p:nvGrpSpPr>
            <p:grpSpPr>
              <a:xfrm>
                <a:off x="4440544" y="3176479"/>
                <a:ext cx="31499" cy="26898"/>
                <a:chOff x="4440544" y="3176479"/>
                <a:chExt cx="31499" cy="26898"/>
              </a:xfrm>
            </p:grpSpPr>
            <p:sp>
              <p:nvSpPr>
                <p:cNvPr id="7819" name="Google Shape;7819;p53"/>
                <p:cNvSpPr/>
                <p:nvPr/>
              </p:nvSpPr>
              <p:spPr>
                <a:xfrm>
                  <a:off x="4440544" y="3176479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1" y="0"/>
                      </a:moveTo>
                      <a:cubicBezTo>
                        <a:pt x="1860" y="0"/>
                        <a:pt x="1429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2"/>
                        <a:pt x="3163" y="0"/>
                        <a:pt x="228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0" name="Google Shape;7820;p53"/>
                <p:cNvSpPr/>
                <p:nvPr/>
              </p:nvSpPr>
              <p:spPr>
                <a:xfrm>
                  <a:off x="4454724" y="3186145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1" name="Google Shape;7821;p53"/>
              <p:cNvGrpSpPr/>
              <p:nvPr/>
            </p:nvGrpSpPr>
            <p:grpSpPr>
              <a:xfrm>
                <a:off x="4350545" y="3156400"/>
                <a:ext cx="31405" cy="27001"/>
                <a:chOff x="4350545" y="3156400"/>
                <a:chExt cx="31405" cy="27001"/>
              </a:xfrm>
            </p:grpSpPr>
            <p:sp>
              <p:nvSpPr>
                <p:cNvPr id="7822" name="Google Shape;7822;p53"/>
                <p:cNvSpPr/>
                <p:nvPr/>
              </p:nvSpPr>
              <p:spPr>
                <a:xfrm>
                  <a:off x="4350545" y="3156400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3" name="Google Shape;7823;p53"/>
                <p:cNvSpPr/>
                <p:nvPr/>
              </p:nvSpPr>
              <p:spPr>
                <a:xfrm>
                  <a:off x="4364717" y="3166074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4" name="Google Shape;7824;p53"/>
              <p:cNvGrpSpPr/>
              <p:nvPr/>
            </p:nvGrpSpPr>
            <p:grpSpPr>
              <a:xfrm>
                <a:off x="4376703" y="3255058"/>
                <a:ext cx="31405" cy="27001"/>
                <a:chOff x="4376703" y="3255058"/>
                <a:chExt cx="31405" cy="27001"/>
              </a:xfrm>
            </p:grpSpPr>
            <p:sp>
              <p:nvSpPr>
                <p:cNvPr id="7825" name="Google Shape;7825;p53"/>
                <p:cNvSpPr/>
                <p:nvPr/>
              </p:nvSpPr>
              <p:spPr>
                <a:xfrm>
                  <a:off x="4376703" y="325505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6" name="Google Shape;7826;p53"/>
                <p:cNvSpPr/>
                <p:nvPr/>
              </p:nvSpPr>
              <p:spPr>
                <a:xfrm>
                  <a:off x="4390884" y="326473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7" name="Google Shape;7827;p53"/>
              <p:cNvGrpSpPr/>
              <p:nvPr/>
            </p:nvGrpSpPr>
            <p:grpSpPr>
              <a:xfrm>
                <a:off x="4331322" y="3283656"/>
                <a:ext cx="31405" cy="26945"/>
                <a:chOff x="4331322" y="3283656"/>
                <a:chExt cx="31405" cy="26945"/>
              </a:xfrm>
            </p:grpSpPr>
            <p:sp>
              <p:nvSpPr>
                <p:cNvPr id="7828" name="Google Shape;7828;p53"/>
                <p:cNvSpPr/>
                <p:nvPr/>
              </p:nvSpPr>
              <p:spPr>
                <a:xfrm>
                  <a:off x="4331322" y="3283656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20"/>
                      </a:cubicBezTo>
                      <a:cubicBezTo>
                        <a:pt x="3993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9" name="Google Shape;7829;p53"/>
                <p:cNvSpPr/>
                <p:nvPr/>
              </p:nvSpPr>
              <p:spPr>
                <a:xfrm>
                  <a:off x="4345503" y="3293274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63"/>
                        <a:pt x="218" y="969"/>
                        <a:pt x="484" y="969"/>
                      </a:cubicBezTo>
                      <a:cubicBezTo>
                        <a:pt x="750" y="969"/>
                        <a:pt x="968" y="763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30" name="Google Shape;7830;p53"/>
              <p:cNvGrpSpPr/>
              <p:nvPr/>
            </p:nvGrpSpPr>
            <p:grpSpPr>
              <a:xfrm>
                <a:off x="4380510" y="3065882"/>
                <a:ext cx="31405" cy="26938"/>
                <a:chOff x="4380510" y="3065882"/>
                <a:chExt cx="31405" cy="26938"/>
              </a:xfrm>
            </p:grpSpPr>
            <p:sp>
              <p:nvSpPr>
                <p:cNvPr id="7831" name="Google Shape;7831;p53"/>
                <p:cNvSpPr/>
                <p:nvPr/>
              </p:nvSpPr>
              <p:spPr>
                <a:xfrm>
                  <a:off x="4380510" y="3065882"/>
                  <a:ext cx="31405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5" extrusionOk="0">
                      <a:moveTo>
                        <a:pt x="2273" y="0"/>
                      </a:moveTo>
                      <a:cubicBezTo>
                        <a:pt x="1853" y="0"/>
                        <a:pt x="1426" y="157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19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32" name="Google Shape;7832;p53"/>
                <p:cNvSpPr/>
                <p:nvPr/>
              </p:nvSpPr>
              <p:spPr>
                <a:xfrm>
                  <a:off x="4393354" y="3075500"/>
                  <a:ext cx="8950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6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35"/>
                      </a:cubicBezTo>
                      <a:cubicBezTo>
                        <a:pt x="401" y="932"/>
                        <a:pt x="522" y="976"/>
                        <a:pt x="641" y="976"/>
                      </a:cubicBezTo>
                      <a:cubicBezTo>
                        <a:pt x="893" y="976"/>
                        <a:pt x="1138" y="783"/>
                        <a:pt x="1138" y="496"/>
                      </a:cubicBezTo>
                      <a:cubicBezTo>
                        <a:pt x="1138" y="218"/>
                        <a:pt x="920" y="12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833" name="Google Shape;7833;p53"/>
            <p:cNvGrpSpPr/>
            <p:nvPr/>
          </p:nvGrpSpPr>
          <p:grpSpPr>
            <a:xfrm>
              <a:off x="4558998" y="3188237"/>
              <a:ext cx="1280131" cy="1052746"/>
              <a:chOff x="4558998" y="3188237"/>
              <a:chExt cx="1280131" cy="1052746"/>
            </a:xfrm>
          </p:grpSpPr>
          <p:sp>
            <p:nvSpPr>
              <p:cNvPr id="7834" name="Google Shape;7834;p53"/>
              <p:cNvSpPr/>
              <p:nvPr/>
            </p:nvSpPr>
            <p:spPr>
              <a:xfrm>
                <a:off x="4916156" y="3750813"/>
                <a:ext cx="8" cy="8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close/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835" name="Google Shape;7835;p53"/>
              <p:cNvGrpSpPr/>
              <p:nvPr/>
            </p:nvGrpSpPr>
            <p:grpSpPr>
              <a:xfrm>
                <a:off x="4579164" y="3203653"/>
                <a:ext cx="1244833" cy="1020397"/>
                <a:chOff x="4579164" y="3203653"/>
                <a:chExt cx="1244833" cy="1020397"/>
              </a:xfrm>
            </p:grpSpPr>
            <p:sp>
              <p:nvSpPr>
                <p:cNvPr id="7836" name="Google Shape;7836;p53"/>
                <p:cNvSpPr/>
                <p:nvPr/>
              </p:nvSpPr>
              <p:spPr>
                <a:xfrm>
                  <a:off x="5490144" y="3482892"/>
                  <a:ext cx="58995" cy="49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01" h="630" fill="none" extrusionOk="0">
                      <a:moveTo>
                        <a:pt x="0" y="630"/>
                      </a:moveTo>
                      <a:lnTo>
                        <a:pt x="750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37" name="Google Shape;7837;p53"/>
                <p:cNvSpPr/>
                <p:nvPr/>
              </p:nvSpPr>
              <p:spPr>
                <a:xfrm>
                  <a:off x="5490616" y="3482892"/>
                  <a:ext cx="66137" cy="773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09" h="9836" fill="none" extrusionOk="0">
                      <a:moveTo>
                        <a:pt x="1" y="1"/>
                      </a:moveTo>
                      <a:lnTo>
                        <a:pt x="8408" y="98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7838" name="Google Shape;7838;p53"/>
                <p:cNvGrpSpPr/>
                <p:nvPr/>
              </p:nvGrpSpPr>
              <p:grpSpPr>
                <a:xfrm>
                  <a:off x="4579164" y="3203653"/>
                  <a:ext cx="1244833" cy="1020397"/>
                  <a:chOff x="4579164" y="3203653"/>
                  <a:chExt cx="1244833" cy="1020397"/>
                </a:xfrm>
              </p:grpSpPr>
              <p:sp>
                <p:nvSpPr>
                  <p:cNvPr id="7839" name="Google Shape;7839;p53"/>
                  <p:cNvSpPr/>
                  <p:nvPr/>
                </p:nvSpPr>
                <p:spPr>
                  <a:xfrm>
                    <a:off x="4787909" y="3833395"/>
                    <a:ext cx="69267" cy="222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07" h="2831" fill="none" extrusionOk="0">
                        <a:moveTo>
                          <a:pt x="8806" y="0"/>
                        </a:moveTo>
                        <a:lnTo>
                          <a:pt x="0" y="2831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7840" name="Google Shape;7840;p53"/>
                  <p:cNvSpPr/>
                  <p:nvPr/>
                </p:nvSpPr>
                <p:spPr>
                  <a:xfrm>
                    <a:off x="4857263" y="3819695"/>
                    <a:ext cx="69936" cy="1418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92" h="1803" fill="none" extrusionOk="0">
                        <a:moveTo>
                          <a:pt x="1" y="1803"/>
                        </a:moveTo>
                        <a:lnTo>
                          <a:pt x="8892" y="0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grpSp>
                <p:nvGrpSpPr>
                  <p:cNvPr id="7841" name="Google Shape;7841;p53"/>
                  <p:cNvGrpSpPr/>
                  <p:nvPr/>
                </p:nvGrpSpPr>
                <p:grpSpPr>
                  <a:xfrm>
                    <a:off x="4579164" y="3203653"/>
                    <a:ext cx="1244833" cy="1020397"/>
                    <a:chOff x="4579164" y="3203653"/>
                    <a:chExt cx="1244833" cy="1020397"/>
                  </a:xfrm>
                </p:grpSpPr>
                <p:sp>
                  <p:nvSpPr>
                    <p:cNvPr id="7842" name="Google Shape;7842;p53"/>
                    <p:cNvSpPr/>
                    <p:nvPr/>
                  </p:nvSpPr>
                  <p:spPr>
                    <a:xfrm>
                      <a:off x="4930329" y="3363965"/>
                      <a:ext cx="23894" cy="102764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038" h="13066" fill="none" extrusionOk="0">
                          <a:moveTo>
                            <a:pt x="3037" y="13065"/>
                          </a:moveTo>
                          <a:lnTo>
                            <a:pt x="1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3" name="Google Shape;7843;p53"/>
                    <p:cNvSpPr/>
                    <p:nvPr/>
                  </p:nvSpPr>
                  <p:spPr>
                    <a:xfrm>
                      <a:off x="4849846" y="3385948"/>
                      <a:ext cx="104085" cy="79256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3234" h="10077" fill="none" extrusionOk="0">
                          <a:moveTo>
                            <a:pt x="0" y="0"/>
                          </a:moveTo>
                          <a:lnTo>
                            <a:pt x="13234" y="10077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4" name="Google Shape;7844;p53"/>
                    <p:cNvSpPr/>
                    <p:nvPr/>
                  </p:nvSpPr>
                  <p:spPr>
                    <a:xfrm>
                      <a:off x="4849650" y="3306598"/>
                      <a:ext cx="45869" cy="79358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5832" h="10090" fill="none" extrusionOk="0">
                          <a:moveTo>
                            <a:pt x="5831" y="0"/>
                          </a:moveTo>
                          <a:lnTo>
                            <a:pt x="1" y="10089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5" name="Google Shape;7845;p53"/>
                    <p:cNvSpPr/>
                    <p:nvPr/>
                  </p:nvSpPr>
                  <p:spPr>
                    <a:xfrm>
                      <a:off x="4849650" y="3361299"/>
                      <a:ext cx="84305" cy="246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0719" h="3135" fill="none" extrusionOk="0">
                          <a:moveTo>
                            <a:pt x="1" y="3134"/>
                          </a:moveTo>
                          <a:lnTo>
                            <a:pt x="10719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6" name="Google Shape;7846;p53"/>
                    <p:cNvSpPr/>
                    <p:nvPr/>
                  </p:nvSpPr>
                  <p:spPr>
                    <a:xfrm>
                      <a:off x="4789616" y="3306598"/>
                      <a:ext cx="19702" cy="547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505" h="6956" fill="none" extrusionOk="0">
                          <a:moveTo>
                            <a:pt x="2505" y="6956"/>
                          </a:move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7" name="Google Shape;7847;p53"/>
                    <p:cNvSpPr/>
                    <p:nvPr/>
                  </p:nvSpPr>
                  <p:spPr>
                    <a:xfrm>
                      <a:off x="4738242" y="3357500"/>
                      <a:ext cx="74883" cy="1028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9521" h="1307" fill="none" extrusionOk="0">
                          <a:moveTo>
                            <a:pt x="1" y="1307"/>
                          </a:moveTo>
                          <a:lnTo>
                            <a:pt x="952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8" name="Google Shape;7848;p53"/>
                    <p:cNvSpPr/>
                    <p:nvPr/>
                  </p:nvSpPr>
                  <p:spPr>
                    <a:xfrm>
                      <a:off x="4710274" y="3357500"/>
                      <a:ext cx="99044" cy="635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2593" h="8081" fill="none" extrusionOk="0">
                          <a:moveTo>
                            <a:pt x="0" y="8081"/>
                          </a:moveTo>
                          <a:lnTo>
                            <a:pt x="12593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9" name="Google Shape;7849;p53"/>
                    <p:cNvSpPr/>
                    <p:nvPr/>
                  </p:nvSpPr>
                  <p:spPr>
                    <a:xfrm>
                      <a:off x="4809310" y="3306598"/>
                      <a:ext cx="87443" cy="5091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1118" h="6473" fill="none" extrusionOk="0">
                          <a:moveTo>
                            <a:pt x="1" y="6472"/>
                          </a:moveTo>
                          <a:lnTo>
                            <a:pt x="11118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grpSp>
                  <p:nvGrpSpPr>
                    <p:cNvPr id="7850" name="Google Shape;7850;p53"/>
                    <p:cNvGrpSpPr/>
                    <p:nvPr/>
                  </p:nvGrpSpPr>
                  <p:grpSpPr>
                    <a:xfrm>
                      <a:off x="4579164" y="3203653"/>
                      <a:ext cx="1244833" cy="1020397"/>
                      <a:chOff x="4579164" y="3203653"/>
                      <a:chExt cx="1244833" cy="1020397"/>
                    </a:xfrm>
                  </p:grpSpPr>
                  <p:sp>
                    <p:nvSpPr>
                      <p:cNvPr id="7851" name="Google Shape;7851;p53"/>
                      <p:cNvSpPr/>
                      <p:nvPr/>
                    </p:nvSpPr>
                    <p:spPr>
                      <a:xfrm>
                        <a:off x="4617986" y="3614284"/>
                        <a:ext cx="53002" cy="2103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6739" h="2674" fill="none" extrusionOk="0">
                            <a:moveTo>
                              <a:pt x="0" y="0"/>
                            </a:moveTo>
                            <a:lnTo>
                              <a:pt x="6738" y="267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2" name="Google Shape;7852;p53"/>
                      <p:cNvSpPr/>
                      <p:nvPr/>
                    </p:nvSpPr>
                    <p:spPr>
                      <a:xfrm>
                        <a:off x="4624545" y="3589069"/>
                        <a:ext cx="43682" cy="6318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554" h="8033" fill="none" extrusionOk="0">
                            <a:moveTo>
                              <a:pt x="1" y="8033"/>
                            </a:moveTo>
                            <a:lnTo>
                              <a:pt x="5553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3" name="Google Shape;7853;p53"/>
                      <p:cNvSpPr/>
                      <p:nvPr/>
                    </p:nvSpPr>
                    <p:spPr>
                      <a:xfrm>
                        <a:off x="4668220" y="3517907"/>
                        <a:ext cx="112178" cy="7117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263" h="9049" fill="none" extrusionOk="0">
                            <a:moveTo>
                              <a:pt x="0" y="9049"/>
                            </a:moveTo>
                            <a:lnTo>
                              <a:pt x="14262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4" name="Google Shape;7854;p53"/>
                      <p:cNvSpPr/>
                      <p:nvPr/>
                    </p:nvSpPr>
                    <p:spPr>
                      <a:xfrm>
                        <a:off x="4706562" y="3516766"/>
                        <a:ext cx="77455" cy="799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848" h="10162" fill="none" extrusionOk="0">
                            <a:moveTo>
                              <a:pt x="0" y="10161"/>
                            </a:moveTo>
                            <a:lnTo>
                              <a:pt x="9847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5" name="Google Shape;7855;p53"/>
                      <p:cNvSpPr/>
                      <p:nvPr/>
                    </p:nvSpPr>
                    <p:spPr>
                      <a:xfrm>
                        <a:off x="4763646" y="3516766"/>
                        <a:ext cx="20370" cy="52806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590" h="6714" fill="none" extrusionOk="0">
                            <a:moveTo>
                              <a:pt x="0" y="6714"/>
                            </a:moveTo>
                            <a:lnTo>
                              <a:pt x="258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6" name="Google Shape;7856;p53"/>
                      <p:cNvSpPr/>
                      <p:nvPr/>
                    </p:nvSpPr>
                    <p:spPr>
                      <a:xfrm>
                        <a:off x="4783151" y="3520565"/>
                        <a:ext cx="45861" cy="9743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831" h="12388" fill="none" extrusionOk="0">
                            <a:moveTo>
                              <a:pt x="5831" y="12388"/>
                            </a:moveTo>
                            <a:lnTo>
                              <a:pt x="0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7" name="Google Shape;7857;p53"/>
                      <p:cNvSpPr/>
                      <p:nvPr/>
                    </p:nvSpPr>
                    <p:spPr>
                      <a:xfrm>
                        <a:off x="4738242" y="3483175"/>
                        <a:ext cx="44917" cy="37398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711" h="4755" fill="none" extrusionOk="0">
                            <a:moveTo>
                              <a:pt x="1" y="1"/>
                            </a:moveTo>
                            <a:lnTo>
                              <a:pt x="5710" y="475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8" name="Google Shape;7858;p53"/>
                      <p:cNvSpPr/>
                      <p:nvPr/>
                    </p:nvSpPr>
                    <p:spPr>
                      <a:xfrm>
                        <a:off x="4704941" y="3501823"/>
                        <a:ext cx="78217" cy="1875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945" h="2384" fill="none" extrusionOk="0">
                            <a:moveTo>
                              <a:pt x="1" y="1"/>
                            </a:moveTo>
                            <a:lnTo>
                              <a:pt x="9944" y="238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9" name="Google Shape;7859;p53"/>
                      <p:cNvSpPr/>
                      <p:nvPr/>
                    </p:nvSpPr>
                    <p:spPr>
                      <a:xfrm>
                        <a:off x="4668220" y="3520565"/>
                        <a:ext cx="115796" cy="193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723" h="2457" fill="none" extrusionOk="0">
                            <a:moveTo>
                              <a:pt x="0" y="2457"/>
                            </a:moveTo>
                            <a:lnTo>
                              <a:pt x="14722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0" name="Google Shape;7860;p53"/>
                      <p:cNvSpPr/>
                      <p:nvPr/>
                    </p:nvSpPr>
                    <p:spPr>
                      <a:xfrm>
                        <a:off x="4813117" y="3462915"/>
                        <a:ext cx="40347" cy="5119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130" h="6509" fill="none" extrusionOk="0">
                            <a:moveTo>
                              <a:pt x="5130" y="6508"/>
                            </a:moveTo>
                            <a:lnTo>
                              <a:pt x="1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1" name="Google Shape;7861;p53"/>
                      <p:cNvSpPr/>
                      <p:nvPr/>
                    </p:nvSpPr>
                    <p:spPr>
                      <a:xfrm>
                        <a:off x="4787807" y="3462915"/>
                        <a:ext cx="25317" cy="5500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219" h="6993" fill="none" extrusionOk="0">
                            <a:moveTo>
                              <a:pt x="1" y="6992"/>
                            </a:moveTo>
                            <a:lnTo>
                              <a:pt x="321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2" name="Google Shape;7862;p53"/>
                      <p:cNvSpPr/>
                      <p:nvPr/>
                    </p:nvSpPr>
                    <p:spPr>
                      <a:xfrm>
                        <a:off x="4781342" y="3514100"/>
                        <a:ext cx="72311" cy="695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194" h="884" fill="none" extrusionOk="0">
                            <a:moveTo>
                              <a:pt x="0" y="883"/>
                            </a:moveTo>
                            <a:lnTo>
                              <a:pt x="9194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3" name="Google Shape;7863;p53"/>
                      <p:cNvSpPr/>
                      <p:nvPr/>
                    </p:nvSpPr>
                    <p:spPr>
                      <a:xfrm>
                        <a:off x="4853645" y="3514100"/>
                        <a:ext cx="26175" cy="5918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28" h="7525" fill="none" extrusionOk="0">
                            <a:moveTo>
                              <a:pt x="1" y="0"/>
                            </a:moveTo>
                            <a:lnTo>
                              <a:pt x="3328" y="752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4" name="Google Shape;7864;p53"/>
                      <p:cNvSpPr/>
                      <p:nvPr/>
                    </p:nvSpPr>
                    <p:spPr>
                      <a:xfrm>
                        <a:off x="4827392" y="3514100"/>
                        <a:ext cx="26261" cy="10038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39" h="12763" fill="none" extrusionOk="0">
                            <a:moveTo>
                              <a:pt x="3339" y="0"/>
                            </a:moveTo>
                            <a:lnTo>
                              <a:pt x="0" y="12762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grpSp>
                    <p:nvGrpSpPr>
                      <p:cNvPr id="7865" name="Google Shape;7865;p53"/>
                      <p:cNvGrpSpPr/>
                      <p:nvPr/>
                    </p:nvGrpSpPr>
                    <p:grpSpPr>
                      <a:xfrm>
                        <a:off x="4579164" y="3203653"/>
                        <a:ext cx="1244833" cy="1020397"/>
                        <a:chOff x="4579164" y="3203653"/>
                        <a:chExt cx="1244833" cy="1020397"/>
                      </a:xfrm>
                    </p:grpSpPr>
                    <p:sp>
                      <p:nvSpPr>
                        <p:cNvPr id="7866" name="Google Shape;7866;p53"/>
                        <p:cNvSpPr/>
                        <p:nvPr/>
                      </p:nvSpPr>
                      <p:spPr>
                        <a:xfrm>
                          <a:off x="4879812" y="3466721"/>
                          <a:ext cx="74411" cy="1065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461" h="13549" fill="none" extrusionOk="0">
                              <a:moveTo>
                                <a:pt x="1" y="13549"/>
                              </a:moveTo>
                              <a:lnTo>
                                <a:pt x="946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7" name="Google Shape;7867;p53"/>
                        <p:cNvSpPr/>
                        <p:nvPr/>
                      </p:nvSpPr>
                      <p:spPr>
                        <a:xfrm>
                          <a:off x="4954215" y="3408017"/>
                          <a:ext cx="105989" cy="5871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476" h="7465" fill="none" extrusionOk="0">
                              <a:moveTo>
                                <a:pt x="0" y="7464"/>
                              </a:moveTo>
                              <a:lnTo>
                                <a:pt x="13476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8" name="Google Shape;7868;p53"/>
                        <p:cNvSpPr/>
                        <p:nvPr/>
                      </p:nvSpPr>
                      <p:spPr>
                        <a:xfrm>
                          <a:off x="4953924" y="3465195"/>
                          <a:ext cx="119792" cy="5481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231" h="6969" fill="none" extrusionOk="0">
                              <a:moveTo>
                                <a:pt x="1" y="1"/>
                              </a:moveTo>
                              <a:lnTo>
                                <a:pt x="15231" y="6968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9" name="Google Shape;7869;p53"/>
                        <p:cNvSpPr/>
                        <p:nvPr/>
                      </p:nvSpPr>
                      <p:spPr>
                        <a:xfrm>
                          <a:off x="5073708" y="3521045"/>
                          <a:ext cx="26938" cy="718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25" h="9134" fill="none" extrusionOk="0">
                              <a:moveTo>
                                <a:pt x="1" y="0"/>
                              </a:moveTo>
                              <a:lnTo>
                                <a:pt x="3424" y="913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0" name="Google Shape;7870;p53"/>
                        <p:cNvSpPr/>
                        <p:nvPr/>
                      </p:nvSpPr>
                      <p:spPr>
                        <a:xfrm>
                          <a:off x="5100637" y="3586309"/>
                          <a:ext cx="26741" cy="81167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00" h="10320" fill="none" extrusionOk="0">
                              <a:moveTo>
                                <a:pt x="3399" y="10319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1" name="Google Shape;7871;p53"/>
                        <p:cNvSpPr/>
                        <p:nvPr/>
                      </p:nvSpPr>
                      <p:spPr>
                        <a:xfrm>
                          <a:off x="5088549" y="3252840"/>
                          <a:ext cx="693968" cy="52062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88235" h="66195" fill="none" extrusionOk="0">
                              <a:moveTo>
                                <a:pt x="1" y="63509"/>
                              </a:moveTo>
                              <a:lnTo>
                                <a:pt x="1537" y="42400"/>
                              </a:lnTo>
                              <a:lnTo>
                                <a:pt x="10077" y="22210"/>
                              </a:lnTo>
                              <a:cubicBezTo>
                                <a:pt x="10077" y="22210"/>
                                <a:pt x="14202" y="33218"/>
                                <a:pt x="14202" y="32384"/>
                              </a:cubicBezTo>
                              <a:cubicBezTo>
                                <a:pt x="14202" y="31561"/>
                                <a:pt x="26009" y="8976"/>
                                <a:pt x="26009" y="8976"/>
                              </a:cubicBezTo>
                              <a:lnTo>
                                <a:pt x="33618" y="31077"/>
                              </a:lnTo>
                              <a:lnTo>
                                <a:pt x="15025" y="46779"/>
                              </a:lnTo>
                              <a:lnTo>
                                <a:pt x="36037" y="48944"/>
                              </a:lnTo>
                              <a:lnTo>
                                <a:pt x="27557" y="58863"/>
                              </a:lnTo>
                              <a:lnTo>
                                <a:pt x="40803" y="66194"/>
                              </a:lnTo>
                              <a:lnTo>
                                <a:pt x="43586" y="48448"/>
                              </a:lnTo>
                              <a:lnTo>
                                <a:pt x="51122" y="29734"/>
                              </a:lnTo>
                              <a:lnTo>
                                <a:pt x="49670" y="16694"/>
                              </a:lnTo>
                              <a:lnTo>
                                <a:pt x="65263" y="21376"/>
                              </a:lnTo>
                              <a:lnTo>
                                <a:pt x="68819" y="9448"/>
                              </a:lnTo>
                              <a:lnTo>
                                <a:pt x="66098" y="1"/>
                              </a:lnTo>
                              <a:lnTo>
                                <a:pt x="88235" y="200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2" name="Google Shape;7872;p53"/>
                        <p:cNvSpPr/>
                        <p:nvPr/>
                      </p:nvSpPr>
                      <p:spPr>
                        <a:xfrm>
                          <a:off x="5060203" y="3203653"/>
                          <a:ext cx="544588" cy="31635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69242" h="40223" fill="none" extrusionOk="0">
                              <a:moveTo>
                                <a:pt x="69242" y="6255"/>
                              </a:moveTo>
                              <a:lnTo>
                                <a:pt x="53274" y="22948"/>
                              </a:lnTo>
                              <a:lnTo>
                                <a:pt x="45532" y="5432"/>
                              </a:lnTo>
                              <a:lnTo>
                                <a:pt x="29613" y="14747"/>
                              </a:lnTo>
                              <a:lnTo>
                                <a:pt x="28790" y="1"/>
                              </a:lnTo>
                              <a:lnTo>
                                <a:pt x="13500" y="28912"/>
                              </a:lnTo>
                              <a:lnTo>
                                <a:pt x="4306" y="13089"/>
                              </a:lnTo>
                              <a:lnTo>
                                <a:pt x="0" y="25984"/>
                              </a:lnTo>
                              <a:lnTo>
                                <a:pt x="1718" y="4022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3" name="Google Shape;7873;p53"/>
                        <p:cNvSpPr/>
                        <p:nvPr/>
                      </p:nvSpPr>
                      <p:spPr>
                        <a:xfrm>
                          <a:off x="5127371" y="3507533"/>
                          <a:ext cx="124739" cy="26783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860" h="34054" fill="none" extrusionOk="0">
                              <a:moveTo>
                                <a:pt x="9266" y="1"/>
                              </a:moveTo>
                              <a:lnTo>
                                <a:pt x="10101" y="14396"/>
                              </a:lnTo>
                              <a:lnTo>
                                <a:pt x="15859" y="34053"/>
                              </a:lnTo>
                              <a:lnTo>
                                <a:pt x="0" y="19851"/>
                              </a:lnTo>
                              <a:lnTo>
                                <a:pt x="1234" y="3364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4" name="Google Shape;7874;p53"/>
                        <p:cNvSpPr/>
                        <p:nvPr/>
                      </p:nvSpPr>
                      <p:spPr>
                        <a:xfrm>
                          <a:off x="5100637" y="3507533"/>
                          <a:ext cx="99618" cy="7878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2666" h="10017" fill="none" extrusionOk="0">
                              <a:moveTo>
                                <a:pt x="0" y="10017"/>
                              </a:moveTo>
                              <a:lnTo>
                                <a:pt x="12665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5" name="Google Shape;7875;p53"/>
                        <p:cNvSpPr/>
                        <p:nvPr/>
                      </p:nvSpPr>
                      <p:spPr>
                        <a:xfrm>
                          <a:off x="5200248" y="3501068"/>
                          <a:ext cx="156514" cy="647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900" h="823" fill="none" extrusionOk="0">
                              <a:moveTo>
                                <a:pt x="0" y="823"/>
                              </a:moveTo>
                              <a:lnTo>
                                <a:pt x="1990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6" name="Google Shape;7876;p53"/>
                        <p:cNvSpPr/>
                        <p:nvPr/>
                      </p:nvSpPr>
                      <p:spPr>
                        <a:xfrm>
                          <a:off x="5127371" y="3507533"/>
                          <a:ext cx="72885" cy="15585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267" h="19816" fill="none" extrusionOk="0">
                              <a:moveTo>
                                <a:pt x="9266" y="1"/>
                              </a:moveTo>
                              <a:lnTo>
                                <a:pt x="0" y="19815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7" name="Google Shape;7877;p53"/>
                        <p:cNvSpPr/>
                        <p:nvPr/>
                      </p:nvSpPr>
                      <p:spPr>
                        <a:xfrm>
                          <a:off x="5352947" y="3384139"/>
                          <a:ext cx="126265" cy="11769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6054" h="14964" fill="none" extrusionOk="0">
                              <a:moveTo>
                                <a:pt x="1" y="14964"/>
                              </a:moveTo>
                              <a:lnTo>
                                <a:pt x="16053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8" name="Google Shape;7878;p53"/>
                        <p:cNvSpPr/>
                        <p:nvPr/>
                      </p:nvSpPr>
                      <p:spPr>
                        <a:xfrm>
                          <a:off x="5356753" y="3246375"/>
                          <a:ext cx="61567" cy="254700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828" h="32384" fill="none" extrusionOk="0">
                              <a:moveTo>
                                <a:pt x="1" y="32383"/>
                              </a:moveTo>
                              <a:lnTo>
                                <a:pt x="7827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9" name="Google Shape;7879;p53"/>
                        <p:cNvSpPr/>
                        <p:nvPr/>
                      </p:nvSpPr>
                      <p:spPr>
                        <a:xfrm>
                          <a:off x="5352947" y="3486698"/>
                          <a:ext cx="141483" cy="1057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7989" h="1344" fill="none" extrusionOk="0">
                              <a:moveTo>
                                <a:pt x="1" y="1343"/>
                              </a:moveTo>
                              <a:lnTo>
                                <a:pt x="1798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0" name="Google Shape;7880;p53"/>
                        <p:cNvSpPr/>
                        <p:nvPr/>
                      </p:nvSpPr>
                      <p:spPr>
                        <a:xfrm>
                          <a:off x="5353898" y="3501068"/>
                          <a:ext cx="18089" cy="13672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300" h="17384" fill="none" extrusionOk="0">
                              <a:moveTo>
                                <a:pt x="1" y="0"/>
                              </a:moveTo>
                              <a:lnTo>
                                <a:pt x="2299" y="1738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1" name="Google Shape;7881;p53"/>
                        <p:cNvSpPr/>
                        <p:nvPr/>
                      </p:nvSpPr>
                      <p:spPr>
                        <a:xfrm>
                          <a:off x="5206721" y="3620749"/>
                          <a:ext cx="102379" cy="988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017" h="12570" fill="none" extrusionOk="0">
                              <a:moveTo>
                                <a:pt x="0" y="1"/>
                              </a:moveTo>
                              <a:lnTo>
                                <a:pt x="13016" y="125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2" name="Google Shape;7882;p53"/>
                        <p:cNvSpPr/>
                        <p:nvPr/>
                      </p:nvSpPr>
                      <p:spPr>
                        <a:xfrm>
                          <a:off x="5293102" y="3715798"/>
                          <a:ext cx="15997" cy="10123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034" h="12872" fill="none" extrusionOk="0">
                              <a:moveTo>
                                <a:pt x="2033" y="0"/>
                              </a:moveTo>
                              <a:lnTo>
                                <a:pt x="1" y="1287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3" name="Google Shape;7883;p53"/>
                        <p:cNvSpPr/>
                        <p:nvPr/>
                      </p:nvSpPr>
                      <p:spPr>
                        <a:xfrm>
                          <a:off x="5127371" y="3659854"/>
                          <a:ext cx="92862" cy="1345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1807" h="17106" fill="none" extrusionOk="0">
                              <a:moveTo>
                                <a:pt x="11807" y="17105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4" name="Google Shape;7884;p53"/>
                        <p:cNvSpPr/>
                        <p:nvPr/>
                      </p:nvSpPr>
                      <p:spPr>
                        <a:xfrm>
                          <a:off x="5479203" y="3327149"/>
                          <a:ext cx="150615" cy="5699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150" h="7247" fill="none" extrusionOk="0">
                              <a:moveTo>
                                <a:pt x="19149" y="0"/>
                              </a:moveTo>
                              <a:lnTo>
                                <a:pt x="0" y="7246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5" name="Google Shape;7885;p53"/>
                        <p:cNvSpPr/>
                        <p:nvPr/>
                      </p:nvSpPr>
                      <p:spPr>
                        <a:xfrm>
                          <a:off x="5371980" y="3633790"/>
                          <a:ext cx="59373" cy="400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549" h="509" fill="none" extrusionOk="0">
                              <a:moveTo>
                                <a:pt x="0" y="508"/>
                              </a:moveTo>
                              <a:lnTo>
                                <a:pt x="754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6" name="Google Shape;7886;p53"/>
                        <p:cNvSpPr/>
                        <p:nvPr/>
                      </p:nvSpPr>
                      <p:spPr>
                        <a:xfrm>
                          <a:off x="5352947" y="3497261"/>
                          <a:ext cx="78406" cy="1365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969" h="17360" fill="none" extrusionOk="0">
                              <a:moveTo>
                                <a:pt x="9969" y="17359"/>
                              </a:moveTo>
                              <a:lnTo>
                                <a:pt x="1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7" name="Google Shape;7887;p53"/>
                        <p:cNvSpPr/>
                        <p:nvPr/>
                      </p:nvSpPr>
                      <p:spPr>
                        <a:xfrm>
                          <a:off x="4917296" y="3466721"/>
                          <a:ext cx="40733" cy="12235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5179" h="15557" fill="none" extrusionOk="0">
                              <a:moveTo>
                                <a:pt x="1" y="15557"/>
                              </a:moveTo>
                              <a:lnTo>
                                <a:pt x="5178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8" name="Google Shape;7888;p53"/>
                        <p:cNvSpPr/>
                        <p:nvPr/>
                      </p:nvSpPr>
                      <p:spPr>
                        <a:xfrm>
                          <a:off x="5060203" y="3408017"/>
                          <a:ext cx="111416" cy="1951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4166" h="2481" fill="none" extrusionOk="0">
                              <a:moveTo>
                                <a:pt x="0" y="0"/>
                              </a:moveTo>
                              <a:lnTo>
                                <a:pt x="14165" y="248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9" name="Google Shape;7889;p53"/>
                        <p:cNvSpPr/>
                        <p:nvPr/>
                      </p:nvSpPr>
                      <p:spPr>
                        <a:xfrm>
                          <a:off x="5127371" y="3620749"/>
                          <a:ext cx="79358" cy="426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0090" h="5421" fill="none" extrusionOk="0">
                              <a:moveTo>
                                <a:pt x="0" y="5420"/>
                              </a:moveTo>
                              <a:lnTo>
                                <a:pt x="1008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grpSp>
                      <p:nvGrpSpPr>
                        <p:cNvPr id="7890" name="Google Shape;7890;p53"/>
                        <p:cNvGrpSpPr/>
                        <p:nvPr/>
                      </p:nvGrpSpPr>
                      <p:grpSpPr>
                        <a:xfrm>
                          <a:off x="4579164" y="3203653"/>
                          <a:ext cx="1244833" cy="1020397"/>
                          <a:chOff x="4579164" y="3203653"/>
                          <a:chExt cx="1244833" cy="1020397"/>
                        </a:xfrm>
                      </p:grpSpPr>
                      <p:sp>
                        <p:nvSpPr>
                          <p:cNvPr id="7891" name="Google Shape;7891;p53"/>
                          <p:cNvSpPr/>
                          <p:nvPr/>
                        </p:nvSpPr>
                        <p:spPr>
                          <a:xfrm>
                            <a:off x="4949551" y="3708185"/>
                            <a:ext cx="37972" cy="3815"/>
                          </a:xfrm>
                          <a:custGeom>
                            <a:avLst/>
                            <a:gdLst/>
                            <a:ahLst/>
                            <a:cxnLst/>
                            <a:rect l="l" t="t" r="r" b="b"/>
                            <a:pathLst>
                              <a:path w="4828" h="485" fill="none" extrusionOk="0">
                                <a:moveTo>
                                  <a:pt x="0" y="1"/>
                                </a:moveTo>
                                <a:lnTo>
                                  <a:pt x="4827" y="485"/>
                                </a:lnTo>
                              </a:path>
                            </a:pathLst>
                          </a:custGeom>
                          <a:noFill/>
                          <a:ln w="1825" cap="flat" cmpd="sng">
                            <a:solidFill>
                              <a:srgbClr val="A5B7C5"/>
                            </a:solidFill>
                            <a:prstDash val="solid"/>
                            <a:miter lim="12096"/>
                            <a:headEnd type="none" w="sm" len="sm"/>
                            <a:tailEnd type="none" w="sm" len="sm"/>
                          </a:ln>
                        </p:spPr>
                        <p:txBody>
                          <a:bodyPr spcFirstLastPara="1" wrap="square" lIns="91425" tIns="91425" rIns="91425" bIns="91425" anchor="ctr" anchorCtr="0">
                            <a:noAutofit/>
                          </a:bodyPr>
                          <a:lstStyle/>
                          <a:p>
                            <a:pPr marL="0" lvl="0" indent="0" algn="l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endParaRPr/>
                          </a:p>
                        </p:txBody>
                      </p:sp>
                      <p:grpSp>
                        <p:nvGrpSpPr>
                          <p:cNvPr id="7892" name="Google Shape;7892;p53"/>
                          <p:cNvGrpSpPr/>
                          <p:nvPr/>
                        </p:nvGrpSpPr>
                        <p:grpSpPr>
                          <a:xfrm>
                            <a:off x="4579164" y="3203653"/>
                            <a:ext cx="1244833" cy="1020397"/>
                            <a:chOff x="4579164" y="3203653"/>
                            <a:chExt cx="1244833" cy="1020397"/>
                          </a:xfrm>
                        </p:grpSpPr>
                        <p:sp>
                          <p:nvSpPr>
                            <p:cNvPr id="7893" name="Google Shape;7893;p53"/>
                            <p:cNvSpPr/>
                            <p:nvPr/>
                          </p:nvSpPr>
                          <p:spPr>
                            <a:xfrm>
                              <a:off x="4953357" y="3586309"/>
                              <a:ext cx="147288" cy="12188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8727" h="15497" fill="none" extrusionOk="0">
                                  <a:moveTo>
                                    <a:pt x="18726" y="1"/>
                                  </a:moveTo>
                                  <a:lnTo>
                                    <a:pt x="0" y="1549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4" name="Google Shape;7894;p53"/>
                            <p:cNvSpPr/>
                            <p:nvPr/>
                          </p:nvSpPr>
                          <p:spPr>
                            <a:xfrm>
                              <a:off x="4987515" y="3592876"/>
                              <a:ext cx="113130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4384" h="15146" fill="none" extrusionOk="0">
                                  <a:moveTo>
                                    <a:pt x="0" y="15146"/>
                                  </a:moveTo>
                                  <a:lnTo>
                                    <a:pt x="14383" y="0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5" name="Google Shape;7895;p53"/>
                            <p:cNvSpPr/>
                            <p:nvPr/>
                          </p:nvSpPr>
                          <p:spPr>
                            <a:xfrm>
                              <a:off x="4913395" y="3708185"/>
                              <a:ext cx="39970" cy="4538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5082" h="5771" fill="none" extrusionOk="0">
                                  <a:moveTo>
                                    <a:pt x="1" y="5771"/>
                                  </a:moveTo>
                                  <a:lnTo>
                                    <a:pt x="5081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6" name="Google Shape;7896;p53"/>
                            <p:cNvSpPr/>
                            <p:nvPr/>
                          </p:nvSpPr>
                          <p:spPr>
                            <a:xfrm>
                              <a:off x="4888943" y="3704378"/>
                              <a:ext cx="60616" cy="26080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707" h="3316" fill="none" extrusionOk="0">
                                  <a:moveTo>
                                    <a:pt x="1" y="3315"/>
                                  </a:moveTo>
                                  <a:lnTo>
                                    <a:pt x="7706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7" name="Google Shape;7897;p53"/>
                            <p:cNvSpPr/>
                            <p:nvPr/>
                          </p:nvSpPr>
                          <p:spPr>
                            <a:xfrm>
                              <a:off x="4917296" y="3589069"/>
                              <a:ext cx="32262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4102" h="15146" fill="none" extrusionOk="0">
                                  <a:moveTo>
                                    <a:pt x="1" y="1"/>
                                  </a:moveTo>
                                  <a:lnTo>
                                    <a:pt x="4101" y="1514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8" name="Google Shape;7898;p53"/>
                            <p:cNvSpPr/>
                            <p:nvPr/>
                          </p:nvSpPr>
                          <p:spPr>
                            <a:xfrm>
                              <a:off x="4949551" y="3708185"/>
                              <a:ext cx="22840" cy="72885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2904" h="9267" fill="none" extrusionOk="0">
                                  <a:moveTo>
                                    <a:pt x="0" y="1"/>
                                  </a:moveTo>
                                  <a:lnTo>
                                    <a:pt x="2904" y="926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9" name="Google Shape;7899;p53"/>
                            <p:cNvSpPr/>
                            <p:nvPr/>
                          </p:nvSpPr>
                          <p:spPr>
                            <a:xfrm>
                              <a:off x="4912066" y="3752237"/>
                              <a:ext cx="60325" cy="2883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670" h="3666" fill="none" extrusionOk="0">
                                  <a:moveTo>
                                    <a:pt x="0" y="1"/>
                                  </a:moveTo>
                                  <a:lnTo>
                                    <a:pt x="7670" y="366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grpSp>
                          <p:nvGrpSpPr>
                            <p:cNvPr id="7900" name="Google Shape;7900;p53"/>
                            <p:cNvGrpSpPr/>
                            <p:nvPr/>
                          </p:nvGrpSpPr>
                          <p:grpSpPr>
                            <a:xfrm>
                              <a:off x="4579164" y="3203653"/>
                              <a:ext cx="1244833" cy="1020397"/>
                              <a:chOff x="4579164" y="3203653"/>
                              <a:chExt cx="1244833" cy="1020397"/>
                            </a:xfrm>
                          </p:grpSpPr>
                          <p:sp>
                            <p:nvSpPr>
                              <p:cNvPr id="7901" name="Google Shape;7901;p53"/>
                              <p:cNvSpPr/>
                              <p:nvPr/>
                            </p:nvSpPr>
                            <p:spPr>
                              <a:xfrm>
                                <a:off x="4590301" y="3738347"/>
                                <a:ext cx="92956" cy="9172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1819" h="11662" fill="none" extrusionOk="0">
                                    <a:moveTo>
                                      <a:pt x="0" y="0"/>
                                    </a:moveTo>
                                    <a:lnTo>
                                      <a:pt x="11819" y="11662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2" name="Google Shape;7902;p53"/>
                              <p:cNvSpPr/>
                              <p:nvPr/>
                            </p:nvSpPr>
                            <p:spPr>
                              <a:xfrm>
                                <a:off x="4683250" y="3652241"/>
                                <a:ext cx="33591" cy="17782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271" h="22610" fill="none" extrusionOk="0">
                                    <a:moveTo>
                                      <a:pt x="1" y="22610"/>
                                    </a:moveTo>
                                    <a:lnTo>
                                      <a:pt x="427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3" name="Google Shape;7903;p53"/>
                              <p:cNvSpPr/>
                              <p:nvPr/>
                            </p:nvSpPr>
                            <p:spPr>
                              <a:xfrm>
                                <a:off x="4716833" y="3652241"/>
                                <a:ext cx="70982" cy="20770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9025" h="26409" fill="none" extrusionOk="0">
                                    <a:moveTo>
                                      <a:pt x="1" y="1"/>
                                    </a:moveTo>
                                    <a:lnTo>
                                      <a:pt x="9025" y="26408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4" name="Google Shape;7904;p53"/>
                              <p:cNvSpPr/>
                              <p:nvPr/>
                            </p:nvSpPr>
                            <p:spPr>
                              <a:xfrm>
                                <a:off x="4813117" y="3694578"/>
                                <a:ext cx="44154" cy="13929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5614" h="17711" fill="none" extrusionOk="0">
                                    <a:moveTo>
                                      <a:pt x="5614" y="17711"/>
                                    </a:moveTo>
                                    <a:lnTo>
                                      <a:pt x="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5" name="Google Shape;7905;p53"/>
                              <p:cNvSpPr/>
                              <p:nvPr/>
                            </p:nvSpPr>
                            <p:spPr>
                              <a:xfrm>
                                <a:off x="4787807" y="3694578"/>
                                <a:ext cx="25317" cy="165369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3219" h="21026" fill="none" extrusionOk="0">
                                    <a:moveTo>
                                      <a:pt x="3219" y="1"/>
                                    </a:moveTo>
                                    <a:lnTo>
                                      <a:pt x="1" y="21025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6" name="Google Shape;7906;p53"/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106374" cy="2522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3525" h="3207" fill="none" extrusionOk="0">
                                    <a:moveTo>
                                      <a:pt x="1" y="1"/>
                                    </a:moveTo>
                                    <a:lnTo>
                                      <a:pt x="13525" y="3206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7" name="Google Shape;7907;p53"/>
                              <p:cNvSpPr/>
                              <p:nvPr/>
                            </p:nvSpPr>
                            <p:spPr>
                              <a:xfrm>
                                <a:off x="4670980" y="3830061"/>
                                <a:ext cx="12277" cy="7926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561" h="10078" fill="none" extrusionOk="0">
                                    <a:moveTo>
                                      <a:pt x="1561" y="1"/>
                                    </a:moveTo>
                                    <a:lnTo>
                                      <a:pt x="0" y="10077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8" name="Google Shape;7908;p53"/>
                              <p:cNvSpPr/>
                              <p:nvPr/>
                            </p:nvSpPr>
                            <p:spPr>
                              <a:xfrm>
                                <a:off x="4583828" y="3830061"/>
                                <a:ext cx="99429" cy="3454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2642" h="4392" fill="none" extrusionOk="0">
                                    <a:moveTo>
                                      <a:pt x="0" y="4392"/>
                                    </a:moveTo>
                                    <a:lnTo>
                                      <a:pt x="12642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9" name="Google Shape;7909;p53"/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50336" cy="11798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400" h="15001" fill="none" extrusionOk="0">
                                    <a:moveTo>
                                      <a:pt x="1" y="1"/>
                                    </a:moveTo>
                                    <a:lnTo>
                                      <a:pt x="6400" y="1500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0" name="Google Shape;7910;p53"/>
                              <p:cNvSpPr/>
                              <p:nvPr/>
                            </p:nvSpPr>
                            <p:spPr>
                              <a:xfrm>
                                <a:off x="4733578" y="3855276"/>
                                <a:ext cx="56046" cy="927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7126" h="11795" fill="none" extrusionOk="0">
                                    <a:moveTo>
                                      <a:pt x="1" y="11795"/>
                                    </a:moveTo>
                                    <a:lnTo>
                                      <a:pt x="7126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1" name="Google Shape;7911;p53"/>
                              <p:cNvSpPr/>
                              <p:nvPr/>
                            </p:nvSpPr>
                            <p:spPr>
                              <a:xfrm>
                                <a:off x="4888943" y="3730450"/>
                                <a:ext cx="34928" cy="8925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441" h="11348" fill="none" extrusionOk="0">
                                    <a:moveTo>
                                      <a:pt x="4440" y="11347"/>
                                    </a:moveTo>
                                    <a:lnTo>
                                      <a:pt x="1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2" name="Google Shape;7912;p53"/>
                              <p:cNvSpPr/>
                              <p:nvPr/>
                            </p:nvSpPr>
                            <p:spPr>
                              <a:xfrm>
                                <a:off x="4590301" y="3667468"/>
                                <a:ext cx="49762" cy="7088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327" h="9013" fill="none" extrusionOk="0">
                                    <a:moveTo>
                                      <a:pt x="0" y="9012"/>
                                    </a:moveTo>
                                    <a:lnTo>
                                      <a:pt x="632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3" name="Google Shape;7913;p53"/>
                              <p:cNvSpPr/>
                              <p:nvPr/>
                            </p:nvSpPr>
                            <p:spPr>
                              <a:xfrm>
                                <a:off x="4640338" y="3648536"/>
                                <a:ext cx="80593" cy="202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0247" h="2577" fill="none" extrusionOk="0">
                                    <a:moveTo>
                                      <a:pt x="1" y="2577"/>
                                    </a:moveTo>
                                    <a:lnTo>
                                      <a:pt x="1024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grpSp>
                            <p:nvGrpSpPr>
                              <p:cNvPr id="7914" name="Google Shape;7914;p53"/>
                              <p:cNvGrpSpPr/>
                              <p:nvPr/>
                            </p:nvGrpSpPr>
                            <p:grpSpPr>
                              <a:xfrm>
                                <a:off x="4579164" y="3203653"/>
                                <a:ext cx="1244833" cy="1020397"/>
                                <a:chOff x="4579164" y="3203653"/>
                                <a:chExt cx="1244833" cy="1020397"/>
                              </a:xfrm>
                            </p:grpSpPr>
                            <p:sp>
                              <p:nvSpPr>
                                <p:cNvPr id="7915" name="Google Shape;7915;p53"/>
                                <p:cNvSpPr/>
                                <p:nvPr/>
                              </p:nvSpPr>
                              <p:spPr>
                                <a:xfrm>
                                  <a:off x="4753083" y="3966015"/>
                                  <a:ext cx="92964" cy="5376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1820" h="6836" fill="none" extrusionOk="0">
                                      <a:moveTo>
                                        <a:pt x="1" y="6836"/>
                                      </a:moveTo>
                                      <a:lnTo>
                                        <a:pt x="11819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6" name="Google Shape;7916;p53"/>
                                <p:cNvSpPr/>
                                <p:nvPr/>
                              </p:nvSpPr>
                              <p:spPr>
                                <a:xfrm>
                                  <a:off x="4846040" y="3952794"/>
                                  <a:ext cx="103519" cy="1313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3162" h="1670" fill="none" extrusionOk="0">
                                      <a:moveTo>
                                        <a:pt x="13161" y="0"/>
                                      </a:moveTo>
                                      <a:lnTo>
                                        <a:pt x="0" y="167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7" name="Google Shape;7917;p53"/>
                                <p:cNvSpPr/>
                                <p:nvPr/>
                              </p:nvSpPr>
                              <p:spPr>
                                <a:xfrm>
                                  <a:off x="4846040" y="3962216"/>
                                  <a:ext cx="64800" cy="128066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239" h="16283" fill="none" extrusionOk="0">
                                      <a:moveTo>
                                        <a:pt x="0" y="0"/>
                                      </a:moveTo>
                                      <a:lnTo>
                                        <a:pt x="8238" y="16282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8" name="Google Shape;7918;p53"/>
                                <p:cNvSpPr/>
                                <p:nvPr/>
                              </p:nvSpPr>
                              <p:spPr>
                                <a:xfrm>
                                  <a:off x="4842233" y="3962216"/>
                                  <a:ext cx="3815" cy="164787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85" h="20952" fill="none" extrusionOk="0">
                                      <a:moveTo>
                                        <a:pt x="0" y="20952"/>
                                      </a:moveTo>
                                      <a:lnTo>
                                        <a:pt x="484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9" name="Google Shape;7919;p53"/>
                                <p:cNvSpPr/>
                                <p:nvPr/>
                              </p:nvSpPr>
                              <p:spPr>
                                <a:xfrm>
                                  <a:off x="4842233" y="4123189"/>
                                  <a:ext cx="37587" cy="5300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779" h="6739" fill="none" extrusionOk="0">
                                      <a:moveTo>
                                        <a:pt x="4779" y="6739"/>
                                      </a:moveTo>
                                      <a:lnTo>
                                        <a:pt x="0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20" name="Google Shape;7920;p53"/>
                                <p:cNvSpPr/>
                                <p:nvPr/>
                              </p:nvSpPr>
                              <p:spPr>
                                <a:xfrm>
                                  <a:off x="4770779" y="4118525"/>
                                  <a:ext cx="71461" cy="467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9086" h="594" fill="none" extrusionOk="0">
                                      <a:moveTo>
                                        <a:pt x="9085" y="594"/>
                                      </a:moveTo>
                                      <a:lnTo>
                                        <a:pt x="1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21" name="Google Shape;7921;p53"/>
                                <p:cNvSpPr/>
                                <p:nvPr/>
                              </p:nvSpPr>
                              <p:spPr>
                                <a:xfrm>
                                  <a:off x="4842233" y="4090274"/>
                                  <a:ext cx="68606" cy="32923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723" h="4186" fill="none" extrusionOk="0">
                                      <a:moveTo>
                                        <a:pt x="0" y="4186"/>
                                      </a:moveTo>
                                      <a:lnTo>
                                        <a:pt x="8722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grpSp>
                              <p:nvGrpSpPr>
                                <p:cNvPr id="7922" name="Google Shape;7922;p53"/>
                                <p:cNvGrpSpPr/>
                                <p:nvPr/>
                              </p:nvGrpSpPr>
                              <p:grpSpPr>
                                <a:xfrm>
                                  <a:off x="4579164" y="3203653"/>
                                  <a:ext cx="1244833" cy="1020397"/>
                                  <a:chOff x="4579164" y="3203653"/>
                                  <a:chExt cx="1244833" cy="1020397"/>
                                </a:xfrm>
                              </p:grpSpPr>
                              <p:sp>
                                <p:nvSpPr>
                                  <p:cNvPr id="7923" name="Google Shape;7923;p53"/>
                                  <p:cNvSpPr/>
                                  <p:nvPr/>
                                </p:nvSpPr>
                                <p:spPr>
                                  <a:xfrm>
                                    <a:off x="4788476" y="3855276"/>
                                    <a:ext cx="57572" cy="11074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7320" h="14081" fill="none" extrusionOk="0">
                                        <a:moveTo>
                                          <a:pt x="7319" y="14081"/>
                                        </a:moveTo>
                                        <a:lnTo>
                                          <a:pt x="1" y="0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4" name="Google Shape;7924;p53"/>
                                  <p:cNvSpPr/>
                                  <p:nvPr/>
                                </p:nvSpPr>
                                <p:spPr>
                                  <a:xfrm>
                                    <a:off x="4846040" y="3833867"/>
                                    <a:ext cx="11231" cy="132156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1428" h="16803" fill="none" extrusionOk="0">
                                        <a:moveTo>
                                          <a:pt x="0" y="16803"/>
                                        </a:moveTo>
                                        <a:lnTo>
                                          <a:pt x="1428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5" name="Google Shape;7925;p53"/>
                                  <p:cNvSpPr/>
                                  <p:nvPr/>
                                </p:nvSpPr>
                                <p:spPr>
                                  <a:xfrm>
                                    <a:off x="4761554" y="3854796"/>
                                    <a:ext cx="26261" cy="164984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3339" h="20977" fill="none" extrusionOk="0">
                                        <a:moveTo>
                                          <a:pt x="0" y="20977"/>
                                        </a:moveTo>
                                        <a:lnTo>
                                          <a:pt x="3339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6" name="Google Shape;7926;p53"/>
                                  <p:cNvSpPr/>
                                  <p:nvPr/>
                                </p:nvSpPr>
                                <p:spPr>
                                  <a:xfrm>
                                    <a:off x="4846991" y="3818263"/>
                                    <a:ext cx="74025" cy="146242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9412" h="18594" fill="none" extrusionOk="0">
                                        <a:moveTo>
                                          <a:pt x="0" y="18593"/>
                                        </a:moveTo>
                                        <a:lnTo>
                                          <a:pt x="9411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7" name="Google Shape;7927;p53"/>
                                  <p:cNvSpPr/>
                                  <p:nvPr/>
                                </p:nvSpPr>
                                <p:spPr>
                                  <a:xfrm>
                                    <a:off x="4927191" y="3823305"/>
                                    <a:ext cx="22368" cy="12949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2844" h="16465" fill="none" extrusionOk="0">
                                        <a:moveTo>
                                          <a:pt x="1" y="1"/>
                                        </a:moveTo>
                                        <a:lnTo>
                                          <a:pt x="2843" y="16464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grpSp>
                                <p:nvGrpSpPr>
                                  <p:cNvPr id="7928" name="Google Shape;7928;p53"/>
                                  <p:cNvGrpSpPr/>
                                  <p:nvPr/>
                                </p:nvGrpSpPr>
                                <p:grpSpPr>
                                  <a:xfrm>
                                    <a:off x="4579164" y="3203653"/>
                                    <a:ext cx="1244833" cy="1020397"/>
                                    <a:chOff x="4579164" y="3203653"/>
                                    <a:chExt cx="1244833" cy="1020397"/>
                                  </a:xfrm>
                                </p:grpSpPr>
                                <p:sp>
                                  <p:nvSpPr>
                                    <p:cNvPr id="7929" name="Google Shape;7929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579164" y="3652241"/>
                                      <a:ext cx="422626" cy="571809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53735" h="72703" fill="none" extrusionOk="0">
                                          <a:moveTo>
                                            <a:pt x="27593" y="71880"/>
                                          </a:moveTo>
                                          <a:lnTo>
                                            <a:pt x="23771" y="58694"/>
                                          </a:lnTo>
                                          <a:lnTo>
                                            <a:pt x="22936" y="46731"/>
                                          </a:lnTo>
                                          <a:lnTo>
                                            <a:pt x="19972" y="37380"/>
                                          </a:lnTo>
                                          <a:lnTo>
                                            <a:pt x="11674" y="32686"/>
                                          </a:lnTo>
                                          <a:lnTo>
                                            <a:pt x="1" y="27001"/>
                                          </a:lnTo>
                                          <a:lnTo>
                                            <a:pt x="1392" y="10610"/>
                                          </a:lnTo>
                                          <a:lnTo>
                                            <a:pt x="17517" y="1"/>
                                          </a:lnTo>
                                          <a:lnTo>
                                            <a:pt x="29747" y="5384"/>
                                          </a:lnTo>
                                          <a:lnTo>
                                            <a:pt x="43827" y="21291"/>
                                          </a:lnTo>
                                          <a:lnTo>
                                            <a:pt x="49343" y="27122"/>
                                          </a:lnTo>
                                          <a:lnTo>
                                            <a:pt x="53735" y="25815"/>
                                          </a:lnTo>
                                          <a:lnTo>
                                            <a:pt x="50347" y="35940"/>
                                          </a:lnTo>
                                          <a:lnTo>
                                            <a:pt x="47093" y="38214"/>
                                          </a:lnTo>
                                          <a:lnTo>
                                            <a:pt x="44069" y="44275"/>
                                          </a:lnTo>
                                          <a:lnTo>
                                            <a:pt x="45073" y="51944"/>
                                          </a:lnTo>
                                          <a:lnTo>
                                            <a:pt x="42170" y="55694"/>
                                          </a:lnTo>
                                          <a:lnTo>
                                            <a:pt x="38227" y="66025"/>
                                          </a:lnTo>
                                          <a:lnTo>
                                            <a:pt x="27593" y="7270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0" name="Google Shape;7930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617986" y="3203653"/>
                                      <a:ext cx="1206011" cy="684357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153339" h="87013" fill="none" extrusionOk="0">
                                          <a:moveTo>
                                            <a:pt x="24811" y="62214"/>
                                          </a:moveTo>
                                          <a:lnTo>
                                            <a:pt x="34452" y="66980"/>
                                          </a:lnTo>
                                          <a:lnTo>
                                            <a:pt x="37549" y="69920"/>
                                          </a:lnTo>
                                          <a:lnTo>
                                            <a:pt x="41274" y="77698"/>
                                          </a:lnTo>
                                          <a:lnTo>
                                            <a:pt x="46270" y="79222"/>
                                          </a:lnTo>
                                          <a:lnTo>
                                            <a:pt x="55899" y="72775"/>
                                          </a:lnTo>
                                          <a:lnTo>
                                            <a:pt x="52645" y="69085"/>
                                          </a:lnTo>
                                          <a:lnTo>
                                            <a:pt x="48291" y="70234"/>
                                          </a:lnTo>
                                          <a:lnTo>
                                            <a:pt x="46585" y="64634"/>
                                          </a:lnTo>
                                          <a:lnTo>
                                            <a:pt x="48774" y="66097"/>
                                          </a:lnTo>
                                          <a:lnTo>
                                            <a:pt x="59698" y="70234"/>
                                          </a:lnTo>
                                          <a:lnTo>
                                            <a:pt x="65988" y="72279"/>
                                          </a:lnTo>
                                          <a:lnTo>
                                            <a:pt x="66315" y="75944"/>
                                          </a:lnTo>
                                          <a:lnTo>
                                            <a:pt x="70960" y="87013"/>
                                          </a:lnTo>
                                          <a:lnTo>
                                            <a:pt x="76573" y="75944"/>
                                          </a:lnTo>
                                          <a:lnTo>
                                            <a:pt x="80831" y="72932"/>
                                          </a:lnTo>
                                          <a:lnTo>
                                            <a:pt x="86069" y="78146"/>
                                          </a:lnTo>
                                          <a:lnTo>
                                            <a:pt x="88355" y="83928"/>
                                          </a:lnTo>
                                          <a:lnTo>
                                            <a:pt x="94633" y="84037"/>
                                          </a:lnTo>
                                          <a:lnTo>
                                            <a:pt x="94270" y="74299"/>
                                          </a:lnTo>
                                          <a:lnTo>
                                            <a:pt x="100936" y="72690"/>
                                          </a:lnTo>
                                          <a:lnTo>
                                            <a:pt x="106682" y="64307"/>
                                          </a:lnTo>
                                          <a:lnTo>
                                            <a:pt x="106319" y="56553"/>
                                          </a:lnTo>
                                          <a:lnTo>
                                            <a:pt x="103416" y="54690"/>
                                          </a:lnTo>
                                          <a:lnTo>
                                            <a:pt x="106827" y="53105"/>
                                          </a:lnTo>
                                          <a:lnTo>
                                            <a:pt x="120194" y="45339"/>
                                          </a:lnTo>
                                          <a:lnTo>
                                            <a:pt x="122528" y="36859"/>
                                          </a:lnTo>
                                          <a:lnTo>
                                            <a:pt x="118851" y="35493"/>
                                          </a:lnTo>
                                          <a:lnTo>
                                            <a:pt x="125093" y="28464"/>
                                          </a:lnTo>
                                          <a:lnTo>
                                            <a:pt x="148536" y="25972"/>
                                          </a:lnTo>
                                          <a:lnTo>
                                            <a:pt x="153339" y="12255"/>
                                          </a:lnTo>
                                          <a:lnTo>
                                            <a:pt x="125468" y="6255"/>
                                          </a:lnTo>
                                          <a:lnTo>
                                            <a:pt x="101758" y="5432"/>
                                          </a:lnTo>
                                          <a:lnTo>
                                            <a:pt x="85016" y="1"/>
                                          </a:lnTo>
                                          <a:lnTo>
                                            <a:pt x="60532" y="12255"/>
                                          </a:lnTo>
                                          <a:lnTo>
                                            <a:pt x="39714" y="20214"/>
                                          </a:lnTo>
                                          <a:lnTo>
                                            <a:pt x="35444" y="13089"/>
                                          </a:lnTo>
                                          <a:lnTo>
                                            <a:pt x="22186" y="13464"/>
                                          </a:lnTo>
                                          <a:lnTo>
                                            <a:pt x="15291" y="21351"/>
                                          </a:lnTo>
                                          <a:lnTo>
                                            <a:pt x="11831" y="27484"/>
                                          </a:lnTo>
                                          <a:lnTo>
                                            <a:pt x="21581" y="26614"/>
                                          </a:lnTo>
                                          <a:lnTo>
                                            <a:pt x="24532" y="19561"/>
                                          </a:lnTo>
                                          <a:lnTo>
                                            <a:pt x="29480" y="22694"/>
                                          </a:lnTo>
                                          <a:lnTo>
                                            <a:pt x="24811" y="32964"/>
                                          </a:lnTo>
                                          <a:lnTo>
                                            <a:pt x="20262" y="35541"/>
                                          </a:lnTo>
                                          <a:lnTo>
                                            <a:pt x="15569" y="31368"/>
                                          </a:lnTo>
                                          <a:lnTo>
                                            <a:pt x="15061" y="35650"/>
                                          </a:lnTo>
                                          <a:lnTo>
                                            <a:pt x="11057" y="37924"/>
                                          </a:lnTo>
                                          <a:lnTo>
                                            <a:pt x="6024" y="43089"/>
                                          </a:lnTo>
                                          <a:lnTo>
                                            <a:pt x="6387" y="49210"/>
                                          </a:lnTo>
                                          <a:lnTo>
                                            <a:pt x="992" y="49210"/>
                                          </a:lnTo>
                                          <a:lnTo>
                                            <a:pt x="0" y="52198"/>
                                          </a:lnTo>
                                          <a:lnTo>
                                            <a:pt x="835" y="57037"/>
                                          </a:lnTo>
                                          <a:lnTo>
                                            <a:pt x="6726" y="55198"/>
                                          </a:lnTo>
                                          <a:lnTo>
                                            <a:pt x="10924" y="50069"/>
                                          </a:lnTo>
                                          <a:lnTo>
                                            <a:pt x="16367" y="50686"/>
                                          </a:lnTo>
                                          <a:lnTo>
                                            <a:pt x="18049" y="46670"/>
                                          </a:lnTo>
                                          <a:lnTo>
                                            <a:pt x="23093" y="54363"/>
                                          </a:lnTo>
                                          <a:lnTo>
                                            <a:pt x="26528" y="56105"/>
                                          </a:lnTo>
                                          <a:lnTo>
                                            <a:pt x="26734" y="52210"/>
                                          </a:lnTo>
                                          <a:lnTo>
                                            <a:pt x="33835" y="47069"/>
                                          </a:lnTo>
                                          <a:lnTo>
                                            <a:pt x="38069" y="49488"/>
                                          </a:lnTo>
                                          <a:lnTo>
                                            <a:pt x="36278" y="53045"/>
                                          </a:lnTo>
                                          <a:lnTo>
                                            <a:pt x="28343" y="55392"/>
                                          </a:lnTo>
                                          <a:cubicBezTo>
                                            <a:pt x="28343" y="55392"/>
                                            <a:pt x="31041" y="58888"/>
                                            <a:pt x="31319" y="58984"/>
                                          </a:cubicBezTo>
                                          <a:cubicBezTo>
                                            <a:pt x="31597" y="59069"/>
                                            <a:pt x="36278" y="58150"/>
                                            <a:pt x="36278" y="58150"/>
                                          </a:cubicBezTo>
                                          <a:lnTo>
                                            <a:pt x="35456" y="61948"/>
                                          </a:lnTo>
                                          <a:lnTo>
                                            <a:pt x="30920" y="63255"/>
                                          </a:lnTo>
                                          <a:lnTo>
                                            <a:pt x="24823" y="6214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1" name="Google Shape;7931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06356" y="3466721"/>
                                      <a:ext cx="194289" cy="358880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24703" h="45630" fill="none" extrusionOk="0">
                                          <a:moveTo>
                                            <a:pt x="8396" y="39968"/>
                                          </a:moveTo>
                                          <a:lnTo>
                                            <a:pt x="9835" y="45629"/>
                                          </a:lnTo>
                                          <a:lnTo>
                                            <a:pt x="11626" y="36786"/>
                                          </a:lnTo>
                                          <a:lnTo>
                                            <a:pt x="5492" y="30218"/>
                                          </a:lnTo>
                                          <a:lnTo>
                                            <a:pt x="1" y="25016"/>
                                          </a:lnTo>
                                          <a:lnTo>
                                            <a:pt x="1392" y="16040"/>
                                          </a:lnTo>
                                          <a:lnTo>
                                            <a:pt x="24702" y="15206"/>
                                          </a:lnTo>
                                          <a:lnTo>
                                            <a:pt x="6472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2" name="Google Shape;7932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72383" y="3756043"/>
                                      <a:ext cx="25412" cy="25026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3231" h="3182" fill="none" extrusionOk="0">
                                          <a:moveTo>
                                            <a:pt x="1" y="3182"/>
                                          </a:moveTo>
                                          <a:lnTo>
                                            <a:pt x="3231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</p:grpSp>
                            </p:grpSp>
                          </p:grpSp>
                        </p:grpSp>
                        <p:sp>
                          <p:nvSpPr>
                            <p:cNvPr id="7933" name="Google Shape;7933;p53"/>
                            <p:cNvSpPr/>
                            <p:nvPr/>
                          </p:nvSpPr>
                          <p:spPr>
                            <a:xfrm>
                              <a:off x="4890375" y="3688019"/>
                              <a:ext cx="5144" cy="4376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54" h="5565" fill="none" extrusionOk="0">
                                  <a:moveTo>
                                    <a:pt x="653" y="0"/>
                                  </a:moveTo>
                                  <a:lnTo>
                                    <a:pt x="0" y="5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934" name="Google Shape;7934;p53"/>
                            <p:cNvSpPr/>
                            <p:nvPr/>
                          </p:nvSpPr>
                          <p:spPr>
                            <a:xfrm>
                              <a:off x="4899317" y="3688019"/>
                              <a:ext cx="54048" cy="2017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872" h="2565" fill="none" extrusionOk="0">
                                  <a:moveTo>
                                    <a:pt x="0" y="0"/>
                                  </a:moveTo>
                                  <a:lnTo>
                                    <a:pt x="6871" y="2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935" name="Google Shape;7935;p53"/>
                            <p:cNvSpPr/>
                            <p:nvPr/>
                          </p:nvSpPr>
                          <p:spPr>
                            <a:xfrm>
                              <a:off x="4862690" y="3700571"/>
                              <a:ext cx="27693" cy="31216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3521" h="3969" fill="none" extrusionOk="0">
                                  <a:moveTo>
                                    <a:pt x="0" y="1"/>
                                  </a:moveTo>
                                  <a:lnTo>
                                    <a:pt x="3520" y="3969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</p:grpSp>
                    </p:grpSp>
                    <p:sp>
                      <p:nvSpPr>
                        <p:cNvPr id="7936" name="Google Shape;7936;p53"/>
                        <p:cNvSpPr/>
                        <p:nvPr/>
                      </p:nvSpPr>
                      <p:spPr>
                        <a:xfrm>
                          <a:off x="4953924" y="3297081"/>
                          <a:ext cx="146053" cy="16812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8570" h="21376" fill="none" extrusionOk="0">
                              <a:moveTo>
                                <a:pt x="1" y="21376"/>
                              </a:moveTo>
                              <a:lnTo>
                                <a:pt x="1856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</p:grpSp>
                </p:grpSp>
              </p:grpSp>
            </p:grpSp>
          </p:grpSp>
          <p:grpSp>
            <p:nvGrpSpPr>
              <p:cNvPr id="7937" name="Google Shape;7937;p53"/>
              <p:cNvGrpSpPr/>
              <p:nvPr/>
            </p:nvGrpSpPr>
            <p:grpSpPr>
              <a:xfrm>
                <a:off x="4595437" y="3598775"/>
                <a:ext cx="37776" cy="32451"/>
                <a:chOff x="4595437" y="3598775"/>
                <a:chExt cx="37776" cy="32451"/>
              </a:xfrm>
            </p:grpSpPr>
            <p:sp>
              <p:nvSpPr>
                <p:cNvPr id="7938" name="Google Shape;7938;p53"/>
                <p:cNvSpPr/>
                <p:nvPr/>
              </p:nvSpPr>
              <p:spPr>
                <a:xfrm>
                  <a:off x="4595437" y="3598775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00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39" name="Google Shape;7939;p53"/>
                <p:cNvSpPr/>
                <p:nvPr/>
              </p:nvSpPr>
              <p:spPr>
                <a:xfrm>
                  <a:off x="4610561" y="360848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35"/>
                      </a:cubicBezTo>
                      <a:cubicBezTo>
                        <a:pt x="1658" y="375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0" name="Google Shape;7940;p53"/>
              <p:cNvGrpSpPr/>
              <p:nvPr/>
            </p:nvGrpSpPr>
            <p:grpSpPr>
              <a:xfrm>
                <a:off x="4641864" y="3524443"/>
                <a:ext cx="37776" cy="32380"/>
                <a:chOff x="4641864" y="3524443"/>
                <a:chExt cx="37776" cy="32380"/>
              </a:xfrm>
            </p:grpSpPr>
            <p:sp>
              <p:nvSpPr>
                <p:cNvPr id="7941" name="Google Shape;7941;p53"/>
                <p:cNvSpPr/>
                <p:nvPr/>
              </p:nvSpPr>
              <p:spPr>
                <a:xfrm>
                  <a:off x="4641864" y="3524443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0" y="1903"/>
                        <a:pt x="908" y="4117"/>
                        <a:pt x="2746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2" name="Google Shape;7942;p53"/>
                <p:cNvSpPr/>
                <p:nvPr/>
              </p:nvSpPr>
              <p:spPr>
                <a:xfrm>
                  <a:off x="4656988" y="3534077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3" name="Google Shape;7943;p53"/>
              <p:cNvGrpSpPr/>
              <p:nvPr/>
            </p:nvGrpSpPr>
            <p:grpSpPr>
              <a:xfrm>
                <a:off x="4648431" y="3893901"/>
                <a:ext cx="37776" cy="32357"/>
                <a:chOff x="4648431" y="3893901"/>
                <a:chExt cx="37776" cy="32357"/>
              </a:xfrm>
            </p:grpSpPr>
            <p:sp>
              <p:nvSpPr>
                <p:cNvPr id="7944" name="Google Shape;7944;p53"/>
                <p:cNvSpPr/>
                <p:nvPr/>
              </p:nvSpPr>
              <p:spPr>
                <a:xfrm>
                  <a:off x="4648431" y="389390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3"/>
                        <a:pt x="2746" y="4113"/>
                      </a:cubicBezTo>
                      <a:cubicBezTo>
                        <a:pt x="3883" y="4113"/>
                        <a:pt x="4803" y="3194"/>
                        <a:pt x="4803" y="2057"/>
                      </a:cubicBezTo>
                      <a:cubicBezTo>
                        <a:pt x="4803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5" name="Google Shape;7945;p53"/>
                <p:cNvSpPr/>
                <p:nvPr/>
              </p:nvSpPr>
              <p:spPr>
                <a:xfrm>
                  <a:off x="4663556" y="390360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6" name="Google Shape;7946;p53"/>
              <p:cNvGrpSpPr/>
              <p:nvPr/>
            </p:nvGrpSpPr>
            <p:grpSpPr>
              <a:xfrm>
                <a:off x="4567752" y="3722908"/>
                <a:ext cx="37870" cy="32380"/>
                <a:chOff x="4567752" y="3722908"/>
                <a:chExt cx="37870" cy="32380"/>
              </a:xfrm>
            </p:grpSpPr>
            <p:sp>
              <p:nvSpPr>
                <p:cNvPr id="7947" name="Google Shape;7947;p53"/>
                <p:cNvSpPr/>
                <p:nvPr/>
              </p:nvSpPr>
              <p:spPr>
                <a:xfrm>
                  <a:off x="4567752" y="3722908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1"/>
                      </a:moveTo>
                      <a:cubicBezTo>
                        <a:pt x="2243" y="1"/>
                        <a:pt x="1726" y="189"/>
                        <a:pt x="1307" y="609"/>
                      </a:cubicBezTo>
                      <a:cubicBezTo>
                        <a:pt x="0" y="1903"/>
                        <a:pt x="919" y="4117"/>
                        <a:pt x="2758" y="4117"/>
                      </a:cubicBezTo>
                      <a:cubicBezTo>
                        <a:pt x="3895" y="4117"/>
                        <a:pt x="4815" y="3197"/>
                        <a:pt x="4815" y="2060"/>
                      </a:cubicBezTo>
                      <a:cubicBezTo>
                        <a:pt x="4815" y="818"/>
                        <a:pt x="3804" y="1"/>
                        <a:pt x="274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8" name="Google Shape;7948;p53"/>
                <p:cNvSpPr/>
                <p:nvPr/>
              </p:nvSpPr>
              <p:spPr>
                <a:xfrm>
                  <a:off x="4580690" y="373254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9" name="Google Shape;7949;p53"/>
              <p:cNvGrpSpPr/>
              <p:nvPr/>
            </p:nvGrpSpPr>
            <p:grpSpPr>
              <a:xfrm>
                <a:off x="4617506" y="3652052"/>
                <a:ext cx="37783" cy="32357"/>
                <a:chOff x="4617506" y="3652052"/>
                <a:chExt cx="37783" cy="32357"/>
              </a:xfrm>
            </p:grpSpPr>
            <p:sp>
              <p:nvSpPr>
                <p:cNvPr id="7950" name="Google Shape;7950;p53"/>
                <p:cNvSpPr/>
                <p:nvPr/>
              </p:nvSpPr>
              <p:spPr>
                <a:xfrm>
                  <a:off x="4617506" y="3652052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1" name="Google Shape;7951;p53"/>
                <p:cNvSpPr/>
                <p:nvPr/>
              </p:nvSpPr>
              <p:spPr>
                <a:xfrm>
                  <a:off x="4632638" y="366175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3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3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2" name="Google Shape;7952;p53"/>
              <p:cNvGrpSpPr/>
              <p:nvPr/>
            </p:nvGrpSpPr>
            <p:grpSpPr>
              <a:xfrm>
                <a:off x="4739005" y="3554149"/>
                <a:ext cx="37870" cy="32357"/>
                <a:chOff x="4739005" y="3554149"/>
                <a:chExt cx="37870" cy="32357"/>
              </a:xfrm>
            </p:grpSpPr>
            <p:sp>
              <p:nvSpPr>
                <p:cNvPr id="7953" name="Google Shape;7953;p53"/>
                <p:cNvSpPr/>
                <p:nvPr/>
              </p:nvSpPr>
              <p:spPr>
                <a:xfrm>
                  <a:off x="4739005" y="3554149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4" y="1"/>
                      </a:moveTo>
                      <a:cubicBezTo>
                        <a:pt x="2239" y="1"/>
                        <a:pt x="1725" y="188"/>
                        <a:pt x="1307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15" y="3195"/>
                        <a:pt x="4815" y="2058"/>
                      </a:cubicBezTo>
                      <a:cubicBezTo>
                        <a:pt x="4815" y="821"/>
                        <a:pt x="3801" y="1"/>
                        <a:pt x="274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4" name="Google Shape;7954;p53"/>
                <p:cNvSpPr/>
                <p:nvPr/>
              </p:nvSpPr>
              <p:spPr>
                <a:xfrm>
                  <a:off x="4751943" y="3563854"/>
                  <a:ext cx="15227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9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1" y="1416"/>
                      </a:cubicBezTo>
                      <a:cubicBezTo>
                        <a:pt x="692" y="1583"/>
                        <a:pt x="899" y="1658"/>
                        <a:pt x="1101" y="1658"/>
                      </a:cubicBezTo>
                      <a:cubicBezTo>
                        <a:pt x="1529" y="1658"/>
                        <a:pt x="1936" y="1324"/>
                        <a:pt x="1936" y="824"/>
                      </a:cubicBezTo>
                      <a:cubicBezTo>
                        <a:pt x="1936" y="364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5" name="Google Shape;7955;p53"/>
              <p:cNvGrpSpPr/>
              <p:nvPr/>
            </p:nvGrpSpPr>
            <p:grpSpPr>
              <a:xfrm>
                <a:off x="4806557" y="3630258"/>
                <a:ext cx="37776" cy="32364"/>
                <a:chOff x="4806557" y="3630258"/>
                <a:chExt cx="37776" cy="32364"/>
              </a:xfrm>
            </p:grpSpPr>
            <p:sp>
              <p:nvSpPr>
                <p:cNvPr id="7956" name="Google Shape;7956;p53"/>
                <p:cNvSpPr/>
                <p:nvPr/>
              </p:nvSpPr>
              <p:spPr>
                <a:xfrm>
                  <a:off x="4806557" y="3630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4" y="606"/>
                      </a:cubicBezTo>
                      <a:cubicBezTo>
                        <a:pt x="0" y="1901"/>
                        <a:pt x="907" y="4114"/>
                        <a:pt x="2746" y="4114"/>
                      </a:cubicBezTo>
                      <a:cubicBezTo>
                        <a:pt x="3883" y="4114"/>
                        <a:pt x="4802" y="3195"/>
                        <a:pt x="4802" y="2058"/>
                      </a:cubicBezTo>
                      <a:cubicBezTo>
                        <a:pt x="4802" y="822"/>
                        <a:pt x="3788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7" name="Google Shape;7957;p53"/>
                <p:cNvSpPr/>
                <p:nvPr/>
              </p:nvSpPr>
              <p:spPr>
                <a:xfrm>
                  <a:off x="4819495" y="3639972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13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7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8" name="Google Shape;7958;p53"/>
              <p:cNvGrpSpPr/>
              <p:nvPr/>
            </p:nvGrpSpPr>
            <p:grpSpPr>
              <a:xfrm>
                <a:off x="4737007" y="4004357"/>
                <a:ext cx="37870" cy="32357"/>
                <a:chOff x="4737007" y="4004357"/>
                <a:chExt cx="37870" cy="32357"/>
              </a:xfrm>
            </p:grpSpPr>
            <p:sp>
              <p:nvSpPr>
                <p:cNvPr id="7959" name="Google Shape;7959;p53"/>
                <p:cNvSpPr/>
                <p:nvPr/>
              </p:nvSpPr>
              <p:spPr>
                <a:xfrm>
                  <a:off x="4737007" y="4004357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0" y="0"/>
                      </a:moveTo>
                      <a:cubicBezTo>
                        <a:pt x="2234" y="0"/>
                        <a:pt x="1717" y="187"/>
                        <a:pt x="1295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03" y="3194"/>
                        <a:pt x="4815" y="2057"/>
                      </a:cubicBezTo>
                      <a:cubicBezTo>
                        <a:pt x="4815" y="821"/>
                        <a:pt x="3801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0" name="Google Shape;7960;p53"/>
                <p:cNvSpPr/>
                <p:nvPr/>
              </p:nvSpPr>
              <p:spPr>
                <a:xfrm>
                  <a:off x="4752131" y="4014062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4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1" name="Google Shape;7961;p53"/>
              <p:cNvGrpSpPr/>
              <p:nvPr/>
            </p:nvGrpSpPr>
            <p:grpSpPr>
              <a:xfrm>
                <a:off x="4773634" y="4208627"/>
                <a:ext cx="37776" cy="32357"/>
                <a:chOff x="4773634" y="4208627"/>
                <a:chExt cx="37776" cy="32357"/>
              </a:xfrm>
            </p:grpSpPr>
            <p:sp>
              <p:nvSpPr>
                <p:cNvPr id="7962" name="Google Shape;7962;p53"/>
                <p:cNvSpPr/>
                <p:nvPr/>
              </p:nvSpPr>
              <p:spPr>
                <a:xfrm>
                  <a:off x="4773634" y="420862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3" name="Google Shape;7963;p53"/>
                <p:cNvSpPr/>
                <p:nvPr/>
              </p:nvSpPr>
              <p:spPr>
                <a:xfrm>
                  <a:off x="4788664" y="421833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4" name="Google Shape;7964;p53"/>
              <p:cNvGrpSpPr/>
              <p:nvPr/>
            </p:nvGrpSpPr>
            <p:grpSpPr>
              <a:xfrm>
                <a:off x="4888282" y="4074764"/>
                <a:ext cx="37776" cy="32451"/>
                <a:chOff x="4888282" y="4074764"/>
                <a:chExt cx="37776" cy="32451"/>
              </a:xfrm>
            </p:grpSpPr>
            <p:sp>
              <p:nvSpPr>
                <p:cNvPr id="7965" name="Google Shape;7965;p53"/>
                <p:cNvSpPr/>
                <p:nvPr/>
              </p:nvSpPr>
              <p:spPr>
                <a:xfrm>
                  <a:off x="4888282" y="4074764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912"/>
                        <a:pt x="919" y="4125"/>
                        <a:pt x="2746" y="4125"/>
                      </a:cubicBezTo>
                      <a:cubicBezTo>
                        <a:pt x="3883" y="4125"/>
                        <a:pt x="4803" y="3206"/>
                        <a:pt x="4803" y="2069"/>
                      </a:cubicBezTo>
                      <a:cubicBezTo>
                        <a:pt x="4803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6" name="Google Shape;7966;p53"/>
                <p:cNvSpPr/>
                <p:nvPr/>
              </p:nvSpPr>
              <p:spPr>
                <a:xfrm>
                  <a:off x="4901220" y="4084470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7" name="Google Shape;7967;p53"/>
              <p:cNvGrpSpPr/>
              <p:nvPr/>
            </p:nvGrpSpPr>
            <p:grpSpPr>
              <a:xfrm>
                <a:off x="4901315" y="3804271"/>
                <a:ext cx="37776" cy="32364"/>
                <a:chOff x="4901315" y="3804271"/>
                <a:chExt cx="37776" cy="32364"/>
              </a:xfrm>
            </p:grpSpPr>
            <p:sp>
              <p:nvSpPr>
                <p:cNvPr id="7968" name="Google Shape;7968;p53"/>
                <p:cNvSpPr/>
                <p:nvPr/>
              </p:nvSpPr>
              <p:spPr>
                <a:xfrm>
                  <a:off x="4901315" y="3804271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9" name="Google Shape;7969;p53"/>
                <p:cNvSpPr/>
                <p:nvPr/>
              </p:nvSpPr>
              <p:spPr>
                <a:xfrm>
                  <a:off x="4914253" y="3813985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0" name="Google Shape;7970;p53"/>
              <p:cNvGrpSpPr/>
              <p:nvPr/>
            </p:nvGrpSpPr>
            <p:grpSpPr>
              <a:xfrm>
                <a:off x="4866394" y="3715035"/>
                <a:ext cx="37846" cy="32357"/>
                <a:chOff x="4866394" y="3715035"/>
                <a:chExt cx="37846" cy="32357"/>
              </a:xfrm>
            </p:grpSpPr>
            <p:sp>
              <p:nvSpPr>
                <p:cNvPr id="7971" name="Google Shape;7971;p53"/>
                <p:cNvSpPr/>
                <p:nvPr/>
              </p:nvSpPr>
              <p:spPr>
                <a:xfrm>
                  <a:off x="4866394" y="3715035"/>
                  <a:ext cx="3784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2" h="4114" extrusionOk="0">
                      <a:moveTo>
                        <a:pt x="2735" y="0"/>
                      </a:moveTo>
                      <a:cubicBezTo>
                        <a:pt x="2229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11" y="821"/>
                        <a:pt x="3794" y="0"/>
                        <a:pt x="273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2" name="Google Shape;7972;p53"/>
                <p:cNvSpPr/>
                <p:nvPr/>
              </p:nvSpPr>
              <p:spPr>
                <a:xfrm>
                  <a:off x="4879340" y="3724646"/>
                  <a:ext cx="15227" cy="131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6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9"/>
                        <a:pt x="898" y="1666"/>
                        <a:pt x="1103" y="1666"/>
                      </a:cubicBezTo>
                      <a:cubicBezTo>
                        <a:pt x="1528" y="1666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3" name="Google Shape;7973;p53"/>
              <p:cNvGrpSpPr/>
              <p:nvPr/>
            </p:nvGrpSpPr>
            <p:grpSpPr>
              <a:xfrm>
                <a:off x="4979233" y="3839798"/>
                <a:ext cx="37878" cy="32420"/>
                <a:chOff x="4979233" y="3839798"/>
                <a:chExt cx="37878" cy="32420"/>
              </a:xfrm>
            </p:grpSpPr>
            <p:sp>
              <p:nvSpPr>
                <p:cNvPr id="7974" name="Google Shape;7974;p53"/>
                <p:cNvSpPr/>
                <p:nvPr/>
              </p:nvSpPr>
              <p:spPr>
                <a:xfrm>
                  <a:off x="4979233" y="3839798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84" y="4122"/>
                        <a:pt x="4803" y="3202"/>
                        <a:pt x="4815" y="2065"/>
                      </a:cubicBezTo>
                      <a:cubicBezTo>
                        <a:pt x="4807" y="823"/>
                        <a:pt x="3794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5" name="Google Shape;7975;p53"/>
                <p:cNvSpPr/>
                <p:nvPr/>
              </p:nvSpPr>
              <p:spPr>
                <a:xfrm>
                  <a:off x="4994366" y="38494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6" name="Google Shape;7976;p53"/>
              <p:cNvGrpSpPr/>
              <p:nvPr/>
            </p:nvGrpSpPr>
            <p:grpSpPr>
              <a:xfrm>
                <a:off x="4790662" y="3679147"/>
                <a:ext cx="37783" cy="32380"/>
                <a:chOff x="4790662" y="3679147"/>
                <a:chExt cx="37783" cy="32380"/>
              </a:xfrm>
            </p:grpSpPr>
            <p:sp>
              <p:nvSpPr>
                <p:cNvPr id="7977" name="Google Shape;7977;p53"/>
                <p:cNvSpPr/>
                <p:nvPr/>
              </p:nvSpPr>
              <p:spPr>
                <a:xfrm>
                  <a:off x="4790662" y="3679147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2"/>
                        <a:pt x="908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8" name="Google Shape;7978;p53"/>
                <p:cNvSpPr/>
                <p:nvPr/>
              </p:nvSpPr>
              <p:spPr>
                <a:xfrm>
                  <a:off x="4803506" y="3688774"/>
                  <a:ext cx="15235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2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4" y="1585"/>
                        <a:pt x="904" y="1661"/>
                        <a:pt x="1109" y="1661"/>
                      </a:cubicBezTo>
                      <a:cubicBezTo>
                        <a:pt x="1534" y="1661"/>
                        <a:pt x="1936" y="1334"/>
                        <a:pt x="1936" y="836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9" name="Google Shape;7979;p53"/>
              <p:cNvGrpSpPr/>
              <p:nvPr/>
            </p:nvGrpSpPr>
            <p:grpSpPr>
              <a:xfrm>
                <a:off x="4857263" y="3557861"/>
                <a:ext cx="37776" cy="32357"/>
                <a:chOff x="4857263" y="3557861"/>
                <a:chExt cx="37776" cy="32357"/>
              </a:xfrm>
            </p:grpSpPr>
            <p:sp>
              <p:nvSpPr>
                <p:cNvPr id="7980" name="Google Shape;7980;p53"/>
                <p:cNvSpPr/>
                <p:nvPr/>
              </p:nvSpPr>
              <p:spPr>
                <a:xfrm>
                  <a:off x="4857263" y="355786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1" name="Google Shape;7981;p53"/>
                <p:cNvSpPr/>
                <p:nvPr/>
              </p:nvSpPr>
              <p:spPr>
                <a:xfrm>
                  <a:off x="4870106" y="3567566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33" y="1416"/>
                      </a:cubicBezTo>
                      <a:cubicBezTo>
                        <a:pt x="700" y="1583"/>
                        <a:pt x="905" y="1658"/>
                        <a:pt x="1105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48" y="364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2" name="Google Shape;7982;p53"/>
              <p:cNvGrpSpPr/>
              <p:nvPr/>
            </p:nvGrpSpPr>
            <p:grpSpPr>
              <a:xfrm>
                <a:off x="4883902" y="3648033"/>
                <a:ext cx="37783" cy="32380"/>
                <a:chOff x="4883902" y="3648033"/>
                <a:chExt cx="37783" cy="32380"/>
              </a:xfrm>
            </p:grpSpPr>
            <p:sp>
              <p:nvSpPr>
                <p:cNvPr id="7983" name="Google Shape;7983;p53"/>
                <p:cNvSpPr/>
                <p:nvPr/>
              </p:nvSpPr>
              <p:spPr>
                <a:xfrm>
                  <a:off x="4883902" y="3648033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1" y="0"/>
                      </a:moveTo>
                      <a:cubicBezTo>
                        <a:pt x="2226" y="0"/>
                        <a:pt x="1711" y="188"/>
                        <a:pt x="1295" y="608"/>
                      </a:cubicBezTo>
                      <a:cubicBezTo>
                        <a:pt x="1" y="1903"/>
                        <a:pt x="920" y="4104"/>
                        <a:pt x="2747" y="4116"/>
                      </a:cubicBezTo>
                      <a:cubicBezTo>
                        <a:pt x="3884" y="4104"/>
                        <a:pt x="4803" y="3185"/>
                        <a:pt x="4803" y="2048"/>
                      </a:cubicBezTo>
                      <a:cubicBezTo>
                        <a:pt x="4795" y="814"/>
                        <a:pt x="3783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4" name="Google Shape;7984;p53"/>
                <p:cNvSpPr/>
                <p:nvPr/>
              </p:nvSpPr>
              <p:spPr>
                <a:xfrm>
                  <a:off x="4896745" y="3657668"/>
                  <a:ext cx="15329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4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04"/>
                      </a:cubicBezTo>
                      <a:cubicBezTo>
                        <a:pt x="702" y="1577"/>
                        <a:pt x="911" y="1654"/>
                        <a:pt x="1115" y="1654"/>
                      </a:cubicBezTo>
                      <a:cubicBezTo>
                        <a:pt x="1541" y="1654"/>
                        <a:pt x="1948" y="1321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5" name="Google Shape;7985;p53"/>
              <p:cNvGrpSpPr/>
              <p:nvPr/>
            </p:nvGrpSpPr>
            <p:grpSpPr>
              <a:xfrm>
                <a:off x="4907780" y="3347220"/>
                <a:ext cx="37878" cy="32357"/>
                <a:chOff x="4907780" y="3347220"/>
                <a:chExt cx="37878" cy="32357"/>
              </a:xfrm>
            </p:grpSpPr>
            <p:sp>
              <p:nvSpPr>
                <p:cNvPr id="7986" name="Google Shape;7986;p53"/>
                <p:cNvSpPr/>
                <p:nvPr/>
              </p:nvSpPr>
              <p:spPr>
                <a:xfrm>
                  <a:off x="4907780" y="3347220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33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4"/>
                        <a:pt x="4815" y="2057"/>
                      </a:cubicBezTo>
                      <a:cubicBezTo>
                        <a:pt x="4807" y="821"/>
                        <a:pt x="3791" y="0"/>
                        <a:pt x="273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7" name="Google Shape;7987;p53"/>
                <p:cNvSpPr/>
                <p:nvPr/>
              </p:nvSpPr>
              <p:spPr>
                <a:xfrm>
                  <a:off x="4922912" y="335692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8" name="Google Shape;7988;p53"/>
              <p:cNvGrpSpPr/>
              <p:nvPr/>
            </p:nvGrpSpPr>
            <p:grpSpPr>
              <a:xfrm>
                <a:off x="5065048" y="3738150"/>
                <a:ext cx="37783" cy="32364"/>
                <a:chOff x="5065048" y="3738150"/>
                <a:chExt cx="37783" cy="32364"/>
              </a:xfrm>
            </p:grpSpPr>
            <p:sp>
              <p:nvSpPr>
                <p:cNvPr id="7989" name="Google Shape;7989;p53"/>
                <p:cNvSpPr/>
                <p:nvPr/>
              </p:nvSpPr>
              <p:spPr>
                <a:xfrm>
                  <a:off x="5065048" y="3738150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0" name="Google Shape;7990;p53"/>
                <p:cNvSpPr/>
                <p:nvPr/>
              </p:nvSpPr>
              <p:spPr>
                <a:xfrm>
                  <a:off x="5077994" y="3747761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01" y="1"/>
                      </a:moveTo>
                      <a:cubicBezTo>
                        <a:pt x="363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2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0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1" name="Google Shape;7991;p53"/>
              <p:cNvGrpSpPr/>
              <p:nvPr/>
            </p:nvGrpSpPr>
            <p:grpSpPr>
              <a:xfrm>
                <a:off x="5071616" y="3284615"/>
                <a:ext cx="37783" cy="32357"/>
                <a:chOff x="5071616" y="3284615"/>
                <a:chExt cx="37783" cy="32357"/>
              </a:xfrm>
            </p:grpSpPr>
            <p:sp>
              <p:nvSpPr>
                <p:cNvPr id="7992" name="Google Shape;7992;p53"/>
                <p:cNvSpPr/>
                <p:nvPr/>
              </p:nvSpPr>
              <p:spPr>
                <a:xfrm>
                  <a:off x="507161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3" name="Google Shape;7993;p53"/>
                <p:cNvSpPr/>
                <p:nvPr/>
              </p:nvSpPr>
              <p:spPr>
                <a:xfrm>
                  <a:off x="5086646" y="3294320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36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6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4" name="Google Shape;7994;p53"/>
              <p:cNvGrpSpPr/>
              <p:nvPr/>
            </p:nvGrpSpPr>
            <p:grpSpPr>
              <a:xfrm>
                <a:off x="5389291" y="3759921"/>
                <a:ext cx="37783" cy="32380"/>
                <a:chOff x="5389291" y="3759921"/>
                <a:chExt cx="37783" cy="32380"/>
              </a:xfrm>
            </p:grpSpPr>
            <p:sp>
              <p:nvSpPr>
                <p:cNvPr id="7995" name="Google Shape;7995;p53"/>
                <p:cNvSpPr/>
                <p:nvPr/>
              </p:nvSpPr>
              <p:spPr>
                <a:xfrm>
                  <a:off x="5389291" y="3759921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3"/>
                        <a:pt x="920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6" name="Google Shape;7996;p53"/>
                <p:cNvSpPr/>
                <p:nvPr/>
              </p:nvSpPr>
              <p:spPr>
                <a:xfrm>
                  <a:off x="5402229" y="3769555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64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7" name="Google Shape;7997;p53"/>
              <p:cNvGrpSpPr/>
              <p:nvPr/>
            </p:nvGrpSpPr>
            <p:grpSpPr>
              <a:xfrm>
                <a:off x="5431534" y="3632932"/>
                <a:ext cx="37878" cy="32451"/>
                <a:chOff x="5431534" y="3632932"/>
                <a:chExt cx="37878" cy="32451"/>
              </a:xfrm>
            </p:grpSpPr>
            <p:sp>
              <p:nvSpPr>
                <p:cNvPr id="7998" name="Google Shape;7998;p53"/>
                <p:cNvSpPr/>
                <p:nvPr/>
              </p:nvSpPr>
              <p:spPr>
                <a:xfrm>
                  <a:off x="5431534" y="3632932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4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59" y="4125"/>
                      </a:cubicBezTo>
                      <a:cubicBezTo>
                        <a:pt x="3896" y="4113"/>
                        <a:pt x="4815" y="3194"/>
                        <a:pt x="4815" y="2069"/>
                      </a:cubicBezTo>
                      <a:cubicBezTo>
                        <a:pt x="4815" y="824"/>
                        <a:pt x="3795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9" name="Google Shape;7999;p53"/>
                <p:cNvSpPr/>
                <p:nvPr/>
              </p:nvSpPr>
              <p:spPr>
                <a:xfrm>
                  <a:off x="5444472" y="3642638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76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0" name="Google Shape;8000;p53"/>
              <p:cNvGrpSpPr/>
              <p:nvPr/>
            </p:nvGrpSpPr>
            <p:grpSpPr>
              <a:xfrm>
                <a:off x="5540755" y="3544829"/>
                <a:ext cx="37783" cy="32357"/>
                <a:chOff x="5540755" y="3544829"/>
                <a:chExt cx="37783" cy="32357"/>
              </a:xfrm>
            </p:grpSpPr>
            <p:sp>
              <p:nvSpPr>
                <p:cNvPr id="8001" name="Google Shape;8001;p53"/>
                <p:cNvSpPr/>
                <p:nvPr/>
              </p:nvSpPr>
              <p:spPr>
                <a:xfrm>
                  <a:off x="5540755" y="354482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2" name="Google Shape;8002;p53"/>
                <p:cNvSpPr/>
                <p:nvPr/>
              </p:nvSpPr>
              <p:spPr>
                <a:xfrm>
                  <a:off x="5553693" y="3554534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96"/>
                        <a:pt x="521" y="1416"/>
                      </a:cubicBezTo>
                      <a:cubicBezTo>
                        <a:pt x="688" y="1583"/>
                        <a:pt x="894" y="1658"/>
                        <a:pt x="1096" y="1658"/>
                      </a:cubicBezTo>
                      <a:cubicBezTo>
                        <a:pt x="1524" y="1658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3" name="Google Shape;8003;p53"/>
              <p:cNvGrpSpPr/>
              <p:nvPr/>
            </p:nvGrpSpPr>
            <p:grpSpPr>
              <a:xfrm>
                <a:off x="5579293" y="3412107"/>
                <a:ext cx="37776" cy="32357"/>
                <a:chOff x="5579293" y="3412107"/>
                <a:chExt cx="37776" cy="32357"/>
              </a:xfrm>
            </p:grpSpPr>
            <p:sp>
              <p:nvSpPr>
                <p:cNvPr id="8004" name="Google Shape;8004;p53"/>
                <p:cNvSpPr/>
                <p:nvPr/>
              </p:nvSpPr>
              <p:spPr>
                <a:xfrm>
                  <a:off x="5579293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4" y="605"/>
                      </a:cubicBezTo>
                      <a:cubicBezTo>
                        <a:pt x="0" y="1900"/>
                        <a:pt x="919" y="4114"/>
                        <a:pt x="2746" y="4114"/>
                      </a:cubicBezTo>
                      <a:cubicBezTo>
                        <a:pt x="3883" y="4114"/>
                        <a:pt x="4802" y="3194"/>
                        <a:pt x="4802" y="2057"/>
                      </a:cubicBezTo>
                      <a:cubicBezTo>
                        <a:pt x="4802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5" name="Google Shape;8005;p53"/>
                <p:cNvSpPr/>
                <p:nvPr/>
              </p:nvSpPr>
              <p:spPr>
                <a:xfrm>
                  <a:off x="5594418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6" name="Google Shape;8006;p53"/>
              <p:cNvGrpSpPr/>
              <p:nvPr/>
            </p:nvGrpSpPr>
            <p:grpSpPr>
              <a:xfrm>
                <a:off x="5801346" y="3284615"/>
                <a:ext cx="37783" cy="32357"/>
                <a:chOff x="5801346" y="3284615"/>
                <a:chExt cx="37783" cy="32357"/>
              </a:xfrm>
            </p:grpSpPr>
            <p:sp>
              <p:nvSpPr>
                <p:cNvPr id="8007" name="Google Shape;8007;p53"/>
                <p:cNvSpPr/>
                <p:nvPr/>
              </p:nvSpPr>
              <p:spPr>
                <a:xfrm>
                  <a:off x="580134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8" name="Google Shape;8008;p53"/>
                <p:cNvSpPr/>
                <p:nvPr/>
              </p:nvSpPr>
              <p:spPr>
                <a:xfrm>
                  <a:off x="5816478" y="3294320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9" name="Google Shape;8009;p53"/>
              <p:cNvGrpSpPr/>
              <p:nvPr/>
            </p:nvGrpSpPr>
            <p:grpSpPr>
              <a:xfrm>
                <a:off x="5763578" y="3399067"/>
                <a:ext cx="37776" cy="32364"/>
                <a:chOff x="5763578" y="3399067"/>
                <a:chExt cx="37776" cy="32364"/>
              </a:xfrm>
            </p:grpSpPr>
            <p:sp>
              <p:nvSpPr>
                <p:cNvPr id="8010" name="Google Shape;8010;p53"/>
                <p:cNvSpPr/>
                <p:nvPr/>
              </p:nvSpPr>
              <p:spPr>
                <a:xfrm>
                  <a:off x="5763578" y="3399067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1" name="Google Shape;8011;p53"/>
                <p:cNvSpPr/>
                <p:nvPr/>
              </p:nvSpPr>
              <p:spPr>
                <a:xfrm>
                  <a:off x="5776516" y="3408780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4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2" name="Google Shape;8012;p53"/>
              <p:cNvGrpSpPr/>
              <p:nvPr/>
            </p:nvGrpSpPr>
            <p:grpSpPr>
              <a:xfrm>
                <a:off x="5395858" y="3230952"/>
                <a:ext cx="37776" cy="32364"/>
                <a:chOff x="5395858" y="3230952"/>
                <a:chExt cx="37776" cy="32364"/>
              </a:xfrm>
            </p:grpSpPr>
            <p:sp>
              <p:nvSpPr>
                <p:cNvPr id="8013" name="Google Shape;8013;p53"/>
                <p:cNvSpPr/>
                <p:nvPr/>
              </p:nvSpPr>
              <p:spPr>
                <a:xfrm>
                  <a:off x="5395858" y="3230952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4" name="Google Shape;8014;p53"/>
                <p:cNvSpPr/>
                <p:nvPr/>
              </p:nvSpPr>
              <p:spPr>
                <a:xfrm>
                  <a:off x="5408702" y="3240571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1" y="1416"/>
                      </a:cubicBezTo>
                      <a:cubicBezTo>
                        <a:pt x="690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5" name="Google Shape;8015;p53"/>
              <p:cNvGrpSpPr/>
              <p:nvPr/>
            </p:nvGrpSpPr>
            <p:grpSpPr>
              <a:xfrm>
                <a:off x="5264088" y="3188237"/>
                <a:ext cx="37776" cy="32357"/>
                <a:chOff x="5264088" y="3188237"/>
                <a:chExt cx="37776" cy="32357"/>
              </a:xfrm>
            </p:grpSpPr>
            <p:sp>
              <p:nvSpPr>
                <p:cNvPr id="8016" name="Google Shape;8016;p53"/>
                <p:cNvSpPr/>
                <p:nvPr/>
              </p:nvSpPr>
              <p:spPr>
                <a:xfrm>
                  <a:off x="5264088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7" name="Google Shape;8017;p53"/>
                <p:cNvSpPr/>
                <p:nvPr/>
              </p:nvSpPr>
              <p:spPr>
                <a:xfrm>
                  <a:off x="5279212" y="319794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76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8" name="Google Shape;8018;p53"/>
              <p:cNvGrpSpPr/>
              <p:nvPr/>
            </p:nvGrpSpPr>
            <p:grpSpPr>
              <a:xfrm>
                <a:off x="5585758" y="3237425"/>
                <a:ext cx="37878" cy="32357"/>
                <a:chOff x="5585758" y="3237425"/>
                <a:chExt cx="37878" cy="32357"/>
              </a:xfrm>
            </p:grpSpPr>
            <p:sp>
              <p:nvSpPr>
                <p:cNvPr id="8019" name="Google Shape;8019;p53"/>
                <p:cNvSpPr/>
                <p:nvPr/>
              </p:nvSpPr>
              <p:spPr>
                <a:xfrm>
                  <a:off x="5585758" y="3237425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44" y="0"/>
                      </a:moveTo>
                      <a:cubicBezTo>
                        <a:pt x="2240" y="0"/>
                        <a:pt x="1725" y="188"/>
                        <a:pt x="1307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96" y="4114"/>
                        <a:pt x="4815" y="3195"/>
                        <a:pt x="4815" y="2057"/>
                      </a:cubicBezTo>
                      <a:cubicBezTo>
                        <a:pt x="4815" y="821"/>
                        <a:pt x="3801" y="0"/>
                        <a:pt x="274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0" name="Google Shape;8020;p53"/>
                <p:cNvSpPr/>
                <p:nvPr/>
              </p:nvSpPr>
              <p:spPr>
                <a:xfrm>
                  <a:off x="5598696" y="3247130"/>
                  <a:ext cx="15235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9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2" y="1583"/>
                        <a:pt x="899" y="1658"/>
                        <a:pt x="1102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1" name="Google Shape;8021;p53"/>
              <p:cNvGrpSpPr/>
              <p:nvPr/>
            </p:nvGrpSpPr>
            <p:grpSpPr>
              <a:xfrm>
                <a:off x="4874196" y="3291088"/>
                <a:ext cx="37878" cy="32451"/>
                <a:chOff x="4874196" y="3291088"/>
                <a:chExt cx="37878" cy="32451"/>
              </a:xfrm>
            </p:grpSpPr>
            <p:sp>
              <p:nvSpPr>
                <p:cNvPr id="8022" name="Google Shape;8022;p53"/>
                <p:cNvSpPr/>
                <p:nvPr/>
              </p:nvSpPr>
              <p:spPr>
                <a:xfrm>
                  <a:off x="4874196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3" name="Google Shape;8023;p53"/>
                <p:cNvSpPr/>
                <p:nvPr/>
              </p:nvSpPr>
              <p:spPr>
                <a:xfrm>
                  <a:off x="4889328" y="330079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4" name="Google Shape;8024;p53"/>
              <p:cNvGrpSpPr/>
              <p:nvPr/>
            </p:nvGrpSpPr>
            <p:grpSpPr>
              <a:xfrm>
                <a:off x="5197770" y="3785466"/>
                <a:ext cx="37783" cy="32427"/>
                <a:chOff x="5197770" y="3785466"/>
                <a:chExt cx="37783" cy="32427"/>
              </a:xfrm>
            </p:grpSpPr>
            <p:sp>
              <p:nvSpPr>
                <p:cNvPr id="8025" name="Google Shape;8025;p53"/>
                <p:cNvSpPr/>
                <p:nvPr/>
              </p:nvSpPr>
              <p:spPr>
                <a:xfrm>
                  <a:off x="5197770" y="3785466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2" y="1"/>
                        <a:pt x="1715" y="190"/>
                        <a:pt x="1295" y="614"/>
                      </a:cubicBezTo>
                      <a:cubicBezTo>
                        <a:pt x="1" y="1909"/>
                        <a:pt x="908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6" name="Google Shape;8026;p53"/>
                <p:cNvSpPr/>
                <p:nvPr/>
              </p:nvSpPr>
              <p:spPr>
                <a:xfrm>
                  <a:off x="5212808" y="37951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4"/>
                        <a:pt x="375" y="1657"/>
                        <a:pt x="835" y="1657"/>
                      </a:cubicBezTo>
                      <a:cubicBezTo>
                        <a:pt x="1295" y="1657"/>
                        <a:pt x="1657" y="1294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7" name="Google Shape;8027;p53"/>
              <p:cNvGrpSpPr/>
              <p:nvPr/>
            </p:nvGrpSpPr>
            <p:grpSpPr>
              <a:xfrm>
                <a:off x="5177699" y="3492117"/>
                <a:ext cx="37776" cy="32357"/>
                <a:chOff x="5177699" y="3492117"/>
                <a:chExt cx="37776" cy="32357"/>
              </a:xfrm>
            </p:grpSpPr>
            <p:sp>
              <p:nvSpPr>
                <p:cNvPr id="8028" name="Google Shape;8028;p53"/>
                <p:cNvSpPr/>
                <p:nvPr/>
              </p:nvSpPr>
              <p:spPr>
                <a:xfrm>
                  <a:off x="5177699" y="349211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6" y="1"/>
                      </a:moveTo>
                      <a:cubicBezTo>
                        <a:pt x="2232" y="1"/>
                        <a:pt x="1717" y="188"/>
                        <a:pt x="1295" y="606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93" y="1"/>
                        <a:pt x="273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9" name="Google Shape;8029;p53"/>
                <p:cNvSpPr/>
                <p:nvPr/>
              </p:nvSpPr>
              <p:spPr>
                <a:xfrm>
                  <a:off x="5192823" y="350182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0" name="Google Shape;8030;p53"/>
              <p:cNvGrpSpPr/>
              <p:nvPr/>
            </p:nvGrpSpPr>
            <p:grpSpPr>
              <a:xfrm>
                <a:off x="5349431" y="3622346"/>
                <a:ext cx="37870" cy="32380"/>
                <a:chOff x="5349431" y="3622346"/>
                <a:chExt cx="37870" cy="32380"/>
              </a:xfrm>
            </p:grpSpPr>
            <p:sp>
              <p:nvSpPr>
                <p:cNvPr id="8031" name="Google Shape;8031;p53"/>
                <p:cNvSpPr/>
                <p:nvPr/>
              </p:nvSpPr>
              <p:spPr>
                <a:xfrm>
                  <a:off x="5349431" y="3622346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0" y="0"/>
                      </a:moveTo>
                      <a:cubicBezTo>
                        <a:pt x="2232" y="0"/>
                        <a:pt x="1714" y="189"/>
                        <a:pt x="1295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83" y="4116"/>
                        <a:pt x="4815" y="3197"/>
                        <a:pt x="4815" y="2060"/>
                      </a:cubicBezTo>
                      <a:cubicBezTo>
                        <a:pt x="4815" y="817"/>
                        <a:pt x="3798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2" name="Google Shape;8032;p53"/>
                <p:cNvSpPr/>
                <p:nvPr/>
              </p:nvSpPr>
              <p:spPr>
                <a:xfrm>
                  <a:off x="5362369" y="3632075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34" y="0"/>
                      </a:moveTo>
                      <a:cubicBezTo>
                        <a:pt x="1127" y="0"/>
                        <a:pt x="1120" y="0"/>
                        <a:pt x="1113" y="0"/>
                      </a:cubicBezTo>
                      <a:cubicBezTo>
                        <a:pt x="363" y="0"/>
                        <a:pt x="0" y="883"/>
                        <a:pt x="521" y="1416"/>
                      </a:cubicBezTo>
                      <a:cubicBezTo>
                        <a:pt x="691" y="1583"/>
                        <a:pt x="899" y="1657"/>
                        <a:pt x="1101" y="1657"/>
                      </a:cubicBezTo>
                      <a:cubicBezTo>
                        <a:pt x="1529" y="1657"/>
                        <a:pt x="1936" y="1324"/>
                        <a:pt x="1936" y="823"/>
                      </a:cubicBezTo>
                      <a:cubicBezTo>
                        <a:pt x="1936" y="370"/>
                        <a:pt x="1573" y="0"/>
                        <a:pt x="113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3" name="Google Shape;8033;p53"/>
              <p:cNvGrpSpPr/>
              <p:nvPr/>
            </p:nvGrpSpPr>
            <p:grpSpPr>
              <a:xfrm>
                <a:off x="5068855" y="3563980"/>
                <a:ext cx="53954" cy="46223"/>
                <a:chOff x="5068855" y="3563980"/>
                <a:chExt cx="53954" cy="46223"/>
              </a:xfrm>
            </p:grpSpPr>
            <p:sp>
              <p:nvSpPr>
                <p:cNvPr id="8034" name="Google Shape;8034;p53"/>
                <p:cNvSpPr/>
                <p:nvPr/>
              </p:nvSpPr>
              <p:spPr>
                <a:xfrm>
                  <a:off x="5068855" y="3563980"/>
                  <a:ext cx="53954" cy="462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60" h="5877" extrusionOk="0">
                      <a:moveTo>
                        <a:pt x="3909" y="0"/>
                      </a:moveTo>
                      <a:cubicBezTo>
                        <a:pt x="3187" y="0"/>
                        <a:pt x="2451" y="269"/>
                        <a:pt x="1852" y="868"/>
                      </a:cubicBezTo>
                      <a:cubicBezTo>
                        <a:pt x="1" y="2719"/>
                        <a:pt x="1307" y="5876"/>
                        <a:pt x="3920" y="5876"/>
                      </a:cubicBezTo>
                      <a:cubicBezTo>
                        <a:pt x="5541" y="5876"/>
                        <a:pt x="6848" y="4558"/>
                        <a:pt x="6860" y="2937"/>
                      </a:cubicBezTo>
                      <a:cubicBezTo>
                        <a:pt x="6860" y="1170"/>
                        <a:pt x="5416" y="0"/>
                        <a:pt x="390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5" name="Google Shape;8035;p53"/>
                <p:cNvSpPr/>
                <p:nvPr/>
              </p:nvSpPr>
              <p:spPr>
                <a:xfrm>
                  <a:off x="5086268" y="3573654"/>
                  <a:ext cx="26835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13" extrusionOk="0">
                      <a:moveTo>
                        <a:pt x="1706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12"/>
                        <a:pt x="1706" y="3412"/>
                      </a:cubicBezTo>
                      <a:cubicBezTo>
                        <a:pt x="2650" y="3412"/>
                        <a:pt x="3412" y="2650"/>
                        <a:pt x="3412" y="1707"/>
                      </a:cubicBezTo>
                      <a:cubicBezTo>
                        <a:pt x="3412" y="763"/>
                        <a:pt x="2650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6" name="Google Shape;8036;p53"/>
              <p:cNvGrpSpPr/>
              <p:nvPr/>
            </p:nvGrpSpPr>
            <p:grpSpPr>
              <a:xfrm>
                <a:off x="5037654" y="3392507"/>
                <a:ext cx="37870" cy="32451"/>
                <a:chOff x="5037654" y="3392507"/>
                <a:chExt cx="37870" cy="32451"/>
              </a:xfrm>
            </p:grpSpPr>
            <p:sp>
              <p:nvSpPr>
                <p:cNvPr id="8037" name="Google Shape;8037;p53"/>
                <p:cNvSpPr/>
                <p:nvPr/>
              </p:nvSpPr>
              <p:spPr>
                <a:xfrm>
                  <a:off x="5037654" y="3392507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1"/>
                      </a:moveTo>
                      <a:cubicBezTo>
                        <a:pt x="2238" y="1"/>
                        <a:pt x="1724" y="188"/>
                        <a:pt x="1307" y="606"/>
                      </a:cubicBezTo>
                      <a:cubicBezTo>
                        <a:pt x="0" y="1912"/>
                        <a:pt x="919" y="4126"/>
                        <a:pt x="2758" y="4126"/>
                      </a:cubicBezTo>
                      <a:cubicBezTo>
                        <a:pt x="3895" y="4114"/>
                        <a:pt x="4815" y="3194"/>
                        <a:pt x="4815" y="2069"/>
                      </a:cubicBezTo>
                      <a:cubicBezTo>
                        <a:pt x="4815" y="824"/>
                        <a:pt x="3799" y="1"/>
                        <a:pt x="274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8" name="Google Shape;8038;p53"/>
                <p:cNvSpPr/>
                <p:nvPr/>
              </p:nvSpPr>
              <p:spPr>
                <a:xfrm>
                  <a:off x="5050592" y="340221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9" name="Google Shape;8039;p53"/>
              <p:cNvGrpSpPr/>
              <p:nvPr/>
            </p:nvGrpSpPr>
            <p:grpSpPr>
              <a:xfrm>
                <a:off x="5456560" y="3368629"/>
                <a:ext cx="37870" cy="32451"/>
                <a:chOff x="5456560" y="3368629"/>
                <a:chExt cx="37870" cy="32451"/>
              </a:xfrm>
            </p:grpSpPr>
            <p:sp>
              <p:nvSpPr>
                <p:cNvPr id="8040" name="Google Shape;8040;p53"/>
                <p:cNvSpPr/>
                <p:nvPr/>
              </p:nvSpPr>
              <p:spPr>
                <a:xfrm>
                  <a:off x="5456560" y="3368629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0"/>
                      </a:moveTo>
                      <a:cubicBezTo>
                        <a:pt x="2238" y="0"/>
                        <a:pt x="1724" y="187"/>
                        <a:pt x="1307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95" y="4113"/>
                        <a:pt x="4815" y="3194"/>
                        <a:pt x="4815" y="2069"/>
                      </a:cubicBezTo>
                      <a:cubicBezTo>
                        <a:pt x="4815" y="824"/>
                        <a:pt x="3800" y="0"/>
                        <a:pt x="27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1" name="Google Shape;8041;p53"/>
                <p:cNvSpPr/>
                <p:nvPr/>
              </p:nvSpPr>
              <p:spPr>
                <a:xfrm>
                  <a:off x="5469498" y="3378334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0" y="1416"/>
                      </a:cubicBezTo>
                      <a:cubicBezTo>
                        <a:pt x="693" y="1585"/>
                        <a:pt x="903" y="1660"/>
                        <a:pt x="1108" y="1660"/>
                      </a:cubicBezTo>
                      <a:cubicBezTo>
                        <a:pt x="1533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2" name="Google Shape;8042;p53"/>
              <p:cNvGrpSpPr/>
              <p:nvPr/>
            </p:nvGrpSpPr>
            <p:grpSpPr>
              <a:xfrm>
                <a:off x="4755749" y="3501516"/>
                <a:ext cx="46246" cy="39608"/>
                <a:chOff x="4755749" y="3501516"/>
                <a:chExt cx="46246" cy="39608"/>
              </a:xfrm>
            </p:grpSpPr>
            <p:sp>
              <p:nvSpPr>
                <p:cNvPr id="8043" name="Google Shape;8043;p53"/>
                <p:cNvSpPr/>
                <p:nvPr/>
              </p:nvSpPr>
              <p:spPr>
                <a:xfrm>
                  <a:off x="4755749" y="3501516"/>
                  <a:ext cx="46246" cy="396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80" h="5036" extrusionOk="0">
                      <a:moveTo>
                        <a:pt x="3345" y="0"/>
                      </a:moveTo>
                      <a:cubicBezTo>
                        <a:pt x="2727" y="0"/>
                        <a:pt x="2097" y="229"/>
                        <a:pt x="1585" y="741"/>
                      </a:cubicBezTo>
                      <a:cubicBezTo>
                        <a:pt x="0" y="2326"/>
                        <a:pt x="1125" y="5036"/>
                        <a:pt x="3363" y="5036"/>
                      </a:cubicBezTo>
                      <a:cubicBezTo>
                        <a:pt x="4754" y="5036"/>
                        <a:pt x="5879" y="3911"/>
                        <a:pt x="5879" y="2520"/>
                      </a:cubicBezTo>
                      <a:cubicBezTo>
                        <a:pt x="5879" y="1005"/>
                        <a:pt x="4638" y="0"/>
                        <a:pt x="334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4" name="Google Shape;8044;p53"/>
                <p:cNvSpPr/>
                <p:nvPr/>
              </p:nvSpPr>
              <p:spPr>
                <a:xfrm>
                  <a:off x="4768687" y="3511245"/>
                  <a:ext cx="23697" cy="202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13" h="2571" extrusionOk="0">
                      <a:moveTo>
                        <a:pt x="1718" y="0"/>
                      </a:moveTo>
                      <a:cubicBezTo>
                        <a:pt x="569" y="0"/>
                        <a:pt x="0" y="1379"/>
                        <a:pt x="811" y="2190"/>
                      </a:cubicBezTo>
                      <a:cubicBezTo>
                        <a:pt x="1074" y="2453"/>
                        <a:pt x="1398" y="2571"/>
                        <a:pt x="1715" y="2571"/>
                      </a:cubicBezTo>
                      <a:cubicBezTo>
                        <a:pt x="2377" y="2571"/>
                        <a:pt x="3013" y="2059"/>
                        <a:pt x="3013" y="1283"/>
                      </a:cubicBezTo>
                      <a:cubicBezTo>
                        <a:pt x="3013" y="581"/>
                        <a:pt x="2432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5" name="Google Shape;8045;p53"/>
              <p:cNvGrpSpPr/>
              <p:nvPr/>
            </p:nvGrpSpPr>
            <p:grpSpPr>
              <a:xfrm>
                <a:off x="4681346" y="3485582"/>
                <a:ext cx="37783" cy="32427"/>
                <a:chOff x="4681346" y="3485582"/>
                <a:chExt cx="37783" cy="32427"/>
              </a:xfrm>
            </p:grpSpPr>
            <p:sp>
              <p:nvSpPr>
                <p:cNvPr id="8046" name="Google Shape;8046;p53"/>
                <p:cNvSpPr/>
                <p:nvPr/>
              </p:nvSpPr>
              <p:spPr>
                <a:xfrm>
                  <a:off x="4681346" y="3485582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1" y="1"/>
                        <a:pt x="1715" y="191"/>
                        <a:pt x="1295" y="614"/>
                      </a:cubicBezTo>
                      <a:cubicBezTo>
                        <a:pt x="1" y="1909"/>
                        <a:pt x="920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7" name="Google Shape;8047;p53"/>
                <p:cNvSpPr/>
                <p:nvPr/>
              </p:nvSpPr>
              <p:spPr>
                <a:xfrm>
                  <a:off x="4696479" y="34952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7"/>
                        <a:pt x="823" y="1657"/>
                      </a:cubicBezTo>
                      <a:cubicBezTo>
                        <a:pt x="1282" y="1657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8" name="Google Shape;8048;p53"/>
              <p:cNvGrpSpPr/>
              <p:nvPr/>
            </p:nvGrpSpPr>
            <p:grpSpPr>
              <a:xfrm>
                <a:off x="4767067" y="3291088"/>
                <a:ext cx="37878" cy="32451"/>
                <a:chOff x="4767067" y="3291088"/>
                <a:chExt cx="37878" cy="32451"/>
              </a:xfrm>
            </p:grpSpPr>
            <p:sp>
              <p:nvSpPr>
                <p:cNvPr id="8049" name="Google Shape;8049;p53"/>
                <p:cNvSpPr/>
                <p:nvPr/>
              </p:nvSpPr>
              <p:spPr>
                <a:xfrm>
                  <a:off x="4767067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0" name="Google Shape;8050;p53"/>
                <p:cNvSpPr/>
                <p:nvPr/>
              </p:nvSpPr>
              <p:spPr>
                <a:xfrm>
                  <a:off x="4780036" y="3300888"/>
                  <a:ext cx="15203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3" h="1654" extrusionOk="0">
                      <a:moveTo>
                        <a:pt x="1131" y="0"/>
                      </a:moveTo>
                      <a:cubicBezTo>
                        <a:pt x="1124" y="0"/>
                        <a:pt x="1117" y="0"/>
                        <a:pt x="1110" y="1"/>
                      </a:cubicBezTo>
                      <a:cubicBezTo>
                        <a:pt x="1105" y="0"/>
                        <a:pt x="1100" y="0"/>
                        <a:pt x="1095" y="0"/>
                      </a:cubicBezTo>
                      <a:cubicBezTo>
                        <a:pt x="367" y="0"/>
                        <a:pt x="0" y="887"/>
                        <a:pt x="517" y="1404"/>
                      </a:cubicBezTo>
                      <a:cubicBezTo>
                        <a:pt x="686" y="1577"/>
                        <a:pt x="895" y="1654"/>
                        <a:pt x="1100" y="1654"/>
                      </a:cubicBezTo>
                      <a:cubicBezTo>
                        <a:pt x="1525" y="1654"/>
                        <a:pt x="1932" y="1321"/>
                        <a:pt x="1932" y="823"/>
                      </a:cubicBezTo>
                      <a:cubicBezTo>
                        <a:pt x="1932" y="371"/>
                        <a:pt x="1569" y="0"/>
                        <a:pt x="113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1" name="Google Shape;8051;p53"/>
              <p:cNvGrpSpPr/>
              <p:nvPr/>
            </p:nvGrpSpPr>
            <p:grpSpPr>
              <a:xfrm>
                <a:off x="4687819" y="3405539"/>
                <a:ext cx="37776" cy="32451"/>
                <a:chOff x="4687819" y="3405539"/>
                <a:chExt cx="37776" cy="32451"/>
              </a:xfrm>
            </p:grpSpPr>
            <p:sp>
              <p:nvSpPr>
                <p:cNvPr id="8052" name="Google Shape;8052;p53"/>
                <p:cNvSpPr/>
                <p:nvPr/>
              </p:nvSpPr>
              <p:spPr>
                <a:xfrm>
                  <a:off x="4687819" y="3405539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12"/>
                        <a:pt x="920" y="4126"/>
                        <a:pt x="2758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3" name="Google Shape;8053;p53"/>
                <p:cNvSpPr/>
                <p:nvPr/>
              </p:nvSpPr>
              <p:spPr>
                <a:xfrm>
                  <a:off x="4702944" y="341524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6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6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4" name="Google Shape;8054;p53"/>
              <p:cNvGrpSpPr/>
              <p:nvPr/>
            </p:nvGrpSpPr>
            <p:grpSpPr>
              <a:xfrm>
                <a:off x="4923101" y="3444809"/>
                <a:ext cx="52813" cy="45318"/>
                <a:chOff x="4923101" y="3444809"/>
                <a:chExt cx="52813" cy="45318"/>
              </a:xfrm>
            </p:grpSpPr>
            <p:sp>
              <p:nvSpPr>
                <p:cNvPr id="8055" name="Google Shape;8055;p53"/>
                <p:cNvSpPr/>
                <p:nvPr/>
              </p:nvSpPr>
              <p:spPr>
                <a:xfrm>
                  <a:off x="4923101" y="3444809"/>
                  <a:ext cx="52813" cy="453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15" h="5762" extrusionOk="0">
                      <a:moveTo>
                        <a:pt x="3823" y="1"/>
                      </a:moveTo>
                      <a:cubicBezTo>
                        <a:pt x="3117" y="1"/>
                        <a:pt x="2398" y="263"/>
                        <a:pt x="1815" y="851"/>
                      </a:cubicBezTo>
                      <a:cubicBezTo>
                        <a:pt x="1" y="2665"/>
                        <a:pt x="1283" y="5762"/>
                        <a:pt x="3847" y="5762"/>
                      </a:cubicBezTo>
                      <a:cubicBezTo>
                        <a:pt x="5432" y="5762"/>
                        <a:pt x="6714" y="4468"/>
                        <a:pt x="6714" y="2883"/>
                      </a:cubicBezTo>
                      <a:cubicBezTo>
                        <a:pt x="6714" y="1148"/>
                        <a:pt x="5298" y="1"/>
                        <a:pt x="382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6" name="Google Shape;8056;p53"/>
                <p:cNvSpPr/>
                <p:nvPr/>
              </p:nvSpPr>
              <p:spPr>
                <a:xfrm>
                  <a:off x="4936039" y="3454538"/>
                  <a:ext cx="30265" cy="25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48" h="3295" extrusionOk="0">
                      <a:moveTo>
                        <a:pt x="2202" y="1"/>
                      </a:moveTo>
                      <a:cubicBezTo>
                        <a:pt x="727" y="1"/>
                        <a:pt x="1" y="1779"/>
                        <a:pt x="1029" y="2807"/>
                      </a:cubicBezTo>
                      <a:cubicBezTo>
                        <a:pt x="1365" y="3144"/>
                        <a:pt x="1779" y="3294"/>
                        <a:pt x="2185" y="3294"/>
                      </a:cubicBezTo>
                      <a:cubicBezTo>
                        <a:pt x="3034" y="3294"/>
                        <a:pt x="3847" y="2636"/>
                        <a:pt x="3847" y="1646"/>
                      </a:cubicBezTo>
                      <a:cubicBezTo>
                        <a:pt x="3847" y="739"/>
                        <a:pt x="3110" y="1"/>
                        <a:pt x="22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7" name="Google Shape;8057;p53"/>
              <p:cNvGrpSpPr/>
              <p:nvPr/>
            </p:nvGrpSpPr>
            <p:grpSpPr>
              <a:xfrm>
                <a:off x="4846040" y="3654750"/>
                <a:ext cx="31405" cy="26993"/>
                <a:chOff x="4846040" y="3654750"/>
                <a:chExt cx="31405" cy="26993"/>
              </a:xfrm>
            </p:grpSpPr>
            <p:sp>
              <p:nvSpPr>
                <p:cNvPr id="8058" name="Google Shape;8058;p53"/>
                <p:cNvSpPr/>
                <p:nvPr/>
              </p:nvSpPr>
              <p:spPr>
                <a:xfrm>
                  <a:off x="4846040" y="3654750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32"/>
                        <a:pt x="2274" y="3432"/>
                      </a:cubicBezTo>
                      <a:cubicBezTo>
                        <a:pt x="3218" y="3432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9" name="Google Shape;8059;p53"/>
                <p:cNvSpPr/>
                <p:nvPr/>
              </p:nvSpPr>
              <p:spPr>
                <a:xfrm>
                  <a:off x="4858883" y="3664424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35"/>
                      </a:cubicBezTo>
                      <a:cubicBezTo>
                        <a:pt x="400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0" name="Google Shape;8060;p53"/>
              <p:cNvGrpSpPr/>
              <p:nvPr/>
            </p:nvGrpSpPr>
            <p:grpSpPr>
              <a:xfrm>
                <a:off x="4925673" y="3691700"/>
                <a:ext cx="40253" cy="34472"/>
                <a:chOff x="4925673" y="3691700"/>
                <a:chExt cx="40253" cy="34472"/>
              </a:xfrm>
            </p:grpSpPr>
            <p:sp>
              <p:nvSpPr>
                <p:cNvPr id="8061" name="Google Shape;8061;p53"/>
                <p:cNvSpPr/>
                <p:nvPr/>
              </p:nvSpPr>
              <p:spPr>
                <a:xfrm>
                  <a:off x="4925673" y="3691700"/>
                  <a:ext cx="40253" cy="344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83" extrusionOk="0">
                      <a:moveTo>
                        <a:pt x="2908" y="0"/>
                      </a:moveTo>
                      <a:cubicBezTo>
                        <a:pt x="2371" y="0"/>
                        <a:pt x="1825" y="200"/>
                        <a:pt x="1379" y="645"/>
                      </a:cubicBezTo>
                      <a:cubicBezTo>
                        <a:pt x="0" y="2024"/>
                        <a:pt x="968" y="4383"/>
                        <a:pt x="2915" y="4383"/>
                      </a:cubicBezTo>
                      <a:cubicBezTo>
                        <a:pt x="4125" y="4383"/>
                        <a:pt x="5105" y="3403"/>
                        <a:pt x="5117" y="2193"/>
                      </a:cubicBezTo>
                      <a:cubicBezTo>
                        <a:pt x="5109" y="875"/>
                        <a:pt x="4031" y="0"/>
                        <a:pt x="29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2" name="Google Shape;8062;p53"/>
                <p:cNvSpPr/>
                <p:nvPr/>
              </p:nvSpPr>
              <p:spPr>
                <a:xfrm>
                  <a:off x="4938516" y="3701334"/>
                  <a:ext cx="17704" cy="151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1" h="1931" extrusionOk="0">
                      <a:moveTo>
                        <a:pt x="1295" y="1"/>
                      </a:moveTo>
                      <a:cubicBezTo>
                        <a:pt x="436" y="1"/>
                        <a:pt x="0" y="1041"/>
                        <a:pt x="605" y="1646"/>
                      </a:cubicBezTo>
                      <a:cubicBezTo>
                        <a:pt x="801" y="1842"/>
                        <a:pt x="1043" y="1930"/>
                        <a:pt x="1281" y="1930"/>
                      </a:cubicBezTo>
                      <a:cubicBezTo>
                        <a:pt x="1775" y="1930"/>
                        <a:pt x="2250" y="1549"/>
                        <a:pt x="2250" y="968"/>
                      </a:cubicBezTo>
                      <a:cubicBezTo>
                        <a:pt x="2250" y="436"/>
                        <a:pt x="1827" y="1"/>
                        <a:pt x="129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3" name="Google Shape;8063;p53"/>
              <p:cNvGrpSpPr/>
              <p:nvPr/>
            </p:nvGrpSpPr>
            <p:grpSpPr>
              <a:xfrm>
                <a:off x="4894653" y="3740848"/>
                <a:ext cx="31405" cy="26906"/>
                <a:chOff x="4894653" y="3740848"/>
                <a:chExt cx="31405" cy="26906"/>
              </a:xfrm>
            </p:grpSpPr>
            <p:sp>
              <p:nvSpPr>
                <p:cNvPr id="8064" name="Google Shape;8064;p53"/>
                <p:cNvSpPr/>
                <p:nvPr/>
              </p:nvSpPr>
              <p:spPr>
                <a:xfrm>
                  <a:off x="4894653" y="3740848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5" name="Google Shape;8065;p53"/>
                <p:cNvSpPr/>
                <p:nvPr/>
              </p:nvSpPr>
              <p:spPr>
                <a:xfrm>
                  <a:off x="4907497" y="375052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6" y="922"/>
                        <a:pt x="531" y="967"/>
                        <a:pt x="652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6" name="Google Shape;8066;p53"/>
              <p:cNvGrpSpPr/>
              <p:nvPr/>
            </p:nvGrpSpPr>
            <p:grpSpPr>
              <a:xfrm>
                <a:off x="4962300" y="3696348"/>
                <a:ext cx="38255" cy="32773"/>
                <a:chOff x="4962300" y="3696348"/>
                <a:chExt cx="38255" cy="32773"/>
              </a:xfrm>
            </p:grpSpPr>
            <p:sp>
              <p:nvSpPr>
                <p:cNvPr id="8067" name="Google Shape;8067;p53"/>
                <p:cNvSpPr/>
                <p:nvPr/>
              </p:nvSpPr>
              <p:spPr>
                <a:xfrm>
                  <a:off x="4962300" y="3696348"/>
                  <a:ext cx="38255" cy="327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64" h="4167" extrusionOk="0">
                      <a:moveTo>
                        <a:pt x="2767" y="1"/>
                      </a:moveTo>
                      <a:cubicBezTo>
                        <a:pt x="2259" y="1"/>
                        <a:pt x="1740" y="189"/>
                        <a:pt x="1319" y="611"/>
                      </a:cubicBezTo>
                      <a:cubicBezTo>
                        <a:pt x="0" y="1929"/>
                        <a:pt x="932" y="4167"/>
                        <a:pt x="2783" y="4167"/>
                      </a:cubicBezTo>
                      <a:cubicBezTo>
                        <a:pt x="3932" y="4167"/>
                        <a:pt x="4863" y="3236"/>
                        <a:pt x="4863" y="2086"/>
                      </a:cubicBezTo>
                      <a:cubicBezTo>
                        <a:pt x="4863" y="833"/>
                        <a:pt x="3836" y="1"/>
                        <a:pt x="276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8" name="Google Shape;8068;p53"/>
                <p:cNvSpPr/>
                <p:nvPr/>
              </p:nvSpPr>
              <p:spPr>
                <a:xfrm>
                  <a:off x="4975238" y="3706093"/>
                  <a:ext cx="15612" cy="133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1702" extrusionOk="0">
                      <a:moveTo>
                        <a:pt x="1138" y="1"/>
                      </a:moveTo>
                      <a:cubicBezTo>
                        <a:pt x="388" y="1"/>
                        <a:pt x="1" y="908"/>
                        <a:pt x="533" y="1452"/>
                      </a:cubicBezTo>
                      <a:cubicBezTo>
                        <a:pt x="709" y="1624"/>
                        <a:pt x="923" y="1702"/>
                        <a:pt x="1132" y="1702"/>
                      </a:cubicBezTo>
                      <a:cubicBezTo>
                        <a:pt x="1569" y="1702"/>
                        <a:pt x="1984" y="1363"/>
                        <a:pt x="1984" y="847"/>
                      </a:cubicBezTo>
                      <a:cubicBezTo>
                        <a:pt x="1984" y="376"/>
                        <a:pt x="1609" y="1"/>
                        <a:pt x="113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9" name="Google Shape;8069;p53"/>
              <p:cNvGrpSpPr/>
              <p:nvPr/>
            </p:nvGrpSpPr>
            <p:grpSpPr>
              <a:xfrm>
                <a:off x="4980185" y="3743349"/>
                <a:ext cx="31499" cy="26969"/>
                <a:chOff x="4980185" y="3743349"/>
                <a:chExt cx="31499" cy="26969"/>
              </a:xfrm>
            </p:grpSpPr>
            <p:sp>
              <p:nvSpPr>
                <p:cNvPr id="8070" name="Google Shape;8070;p53"/>
                <p:cNvSpPr/>
                <p:nvPr/>
              </p:nvSpPr>
              <p:spPr>
                <a:xfrm>
                  <a:off x="4980185" y="3743349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74" y="0"/>
                      </a:moveTo>
                      <a:cubicBezTo>
                        <a:pt x="1855" y="0"/>
                        <a:pt x="1427" y="155"/>
                        <a:pt x="1077" y="501"/>
                      </a:cubicBezTo>
                      <a:cubicBezTo>
                        <a:pt x="1" y="1578"/>
                        <a:pt x="763" y="3429"/>
                        <a:pt x="2287" y="3429"/>
                      </a:cubicBezTo>
                      <a:cubicBezTo>
                        <a:pt x="3230" y="3429"/>
                        <a:pt x="3993" y="2667"/>
                        <a:pt x="4005" y="1723"/>
                      </a:cubicBezTo>
                      <a:cubicBezTo>
                        <a:pt x="4005" y="689"/>
                        <a:pt x="3158" y="0"/>
                        <a:pt x="227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1" name="Google Shape;8071;p53"/>
                <p:cNvSpPr/>
                <p:nvPr/>
              </p:nvSpPr>
              <p:spPr>
                <a:xfrm>
                  <a:off x="4993123" y="3753094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2" name="Google Shape;8072;p53"/>
              <p:cNvGrpSpPr/>
              <p:nvPr/>
            </p:nvGrpSpPr>
            <p:grpSpPr>
              <a:xfrm>
                <a:off x="5013768" y="3734312"/>
                <a:ext cx="31499" cy="26969"/>
                <a:chOff x="5013768" y="3734312"/>
                <a:chExt cx="31499" cy="26969"/>
              </a:xfrm>
            </p:grpSpPr>
            <p:sp>
              <p:nvSpPr>
                <p:cNvPr id="8073" name="Google Shape;8073;p53"/>
                <p:cNvSpPr/>
                <p:nvPr/>
              </p:nvSpPr>
              <p:spPr>
                <a:xfrm>
                  <a:off x="5013768" y="3734312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81" y="1"/>
                      </a:moveTo>
                      <a:cubicBezTo>
                        <a:pt x="1858" y="1"/>
                        <a:pt x="1428" y="159"/>
                        <a:pt x="1077" y="513"/>
                      </a:cubicBezTo>
                      <a:cubicBezTo>
                        <a:pt x="1" y="1590"/>
                        <a:pt x="775" y="3429"/>
                        <a:pt x="2299" y="3429"/>
                      </a:cubicBezTo>
                      <a:cubicBezTo>
                        <a:pt x="3231" y="3417"/>
                        <a:pt x="3993" y="2655"/>
                        <a:pt x="4005" y="1711"/>
                      </a:cubicBezTo>
                      <a:cubicBezTo>
                        <a:pt x="3997" y="682"/>
                        <a:pt x="3157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4" name="Google Shape;8074;p53"/>
                <p:cNvSpPr/>
                <p:nvPr/>
              </p:nvSpPr>
              <p:spPr>
                <a:xfrm>
                  <a:off x="5028043" y="3743963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5" name="Google Shape;8075;p53"/>
              <p:cNvGrpSpPr/>
              <p:nvPr/>
            </p:nvGrpSpPr>
            <p:grpSpPr>
              <a:xfrm>
                <a:off x="5036703" y="3764545"/>
                <a:ext cx="31499" cy="26898"/>
                <a:chOff x="5036703" y="3764545"/>
                <a:chExt cx="31499" cy="26898"/>
              </a:xfrm>
            </p:grpSpPr>
            <p:sp>
              <p:nvSpPr>
                <p:cNvPr id="8076" name="Google Shape;8076;p53"/>
                <p:cNvSpPr/>
                <p:nvPr/>
              </p:nvSpPr>
              <p:spPr>
                <a:xfrm>
                  <a:off x="503670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19"/>
                        <a:pt x="2298" y="3419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7" name="Google Shape;8077;p53"/>
                <p:cNvSpPr/>
                <p:nvPr/>
              </p:nvSpPr>
              <p:spPr>
                <a:xfrm>
                  <a:off x="5049641" y="377421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8" name="Google Shape;8078;p53"/>
              <p:cNvGrpSpPr/>
              <p:nvPr/>
            </p:nvGrpSpPr>
            <p:grpSpPr>
              <a:xfrm>
                <a:off x="4953546" y="3768352"/>
                <a:ext cx="31405" cy="26898"/>
                <a:chOff x="4953546" y="3768352"/>
                <a:chExt cx="31405" cy="26898"/>
              </a:xfrm>
            </p:grpSpPr>
            <p:sp>
              <p:nvSpPr>
                <p:cNvPr id="8079" name="Google Shape;8079;p53"/>
                <p:cNvSpPr/>
                <p:nvPr/>
              </p:nvSpPr>
              <p:spPr>
                <a:xfrm>
                  <a:off x="4953546" y="376835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1" y="0"/>
                      </a:moveTo>
                      <a:cubicBezTo>
                        <a:pt x="1852" y="0"/>
                        <a:pt x="1425" y="156"/>
                        <a:pt x="1077" y="504"/>
                      </a:cubicBezTo>
                      <a:cubicBezTo>
                        <a:pt x="1" y="1581"/>
                        <a:pt x="751" y="3419"/>
                        <a:pt x="2287" y="3419"/>
                      </a:cubicBezTo>
                      <a:cubicBezTo>
                        <a:pt x="3218" y="3419"/>
                        <a:pt x="3992" y="2657"/>
                        <a:pt x="3992" y="1726"/>
                      </a:cubicBezTo>
                      <a:cubicBezTo>
                        <a:pt x="3992" y="686"/>
                        <a:pt x="3150" y="0"/>
                        <a:pt x="227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0" name="Google Shape;8080;p53"/>
                <p:cNvSpPr/>
                <p:nvPr/>
              </p:nvSpPr>
              <p:spPr>
                <a:xfrm>
                  <a:off x="4966390" y="3778018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33"/>
                        <a:pt x="303" y="835"/>
                      </a:cubicBezTo>
                      <a:cubicBezTo>
                        <a:pt x="404" y="933"/>
                        <a:pt x="527" y="976"/>
                        <a:pt x="647" y="976"/>
                      </a:cubicBezTo>
                      <a:cubicBezTo>
                        <a:pt x="899" y="976"/>
                        <a:pt x="1138" y="784"/>
                        <a:pt x="1138" y="497"/>
                      </a:cubicBezTo>
                      <a:cubicBezTo>
                        <a:pt x="1138" y="218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1" name="Google Shape;8081;p53"/>
              <p:cNvGrpSpPr/>
              <p:nvPr/>
            </p:nvGrpSpPr>
            <p:grpSpPr>
              <a:xfrm>
                <a:off x="4964770" y="3814016"/>
                <a:ext cx="31499" cy="26993"/>
                <a:chOff x="4964770" y="3814016"/>
                <a:chExt cx="31499" cy="26993"/>
              </a:xfrm>
            </p:grpSpPr>
            <p:sp>
              <p:nvSpPr>
                <p:cNvPr id="8082" name="Google Shape;8082;p53"/>
                <p:cNvSpPr/>
                <p:nvPr/>
              </p:nvSpPr>
              <p:spPr>
                <a:xfrm>
                  <a:off x="4964770" y="3814016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3" name="Google Shape;8083;p53"/>
                <p:cNvSpPr/>
                <p:nvPr/>
              </p:nvSpPr>
              <p:spPr>
                <a:xfrm>
                  <a:off x="4977715" y="3823690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35"/>
                      </a:cubicBezTo>
                      <a:cubicBezTo>
                        <a:pt x="399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4" name="Google Shape;8084;p53"/>
              <p:cNvGrpSpPr/>
              <p:nvPr/>
            </p:nvGrpSpPr>
            <p:grpSpPr>
              <a:xfrm>
                <a:off x="4923290" y="3800504"/>
                <a:ext cx="31468" cy="26898"/>
                <a:chOff x="4923290" y="3800504"/>
                <a:chExt cx="31468" cy="26898"/>
              </a:xfrm>
            </p:grpSpPr>
            <p:sp>
              <p:nvSpPr>
                <p:cNvPr id="8085" name="Google Shape;8085;p53"/>
                <p:cNvSpPr/>
                <p:nvPr/>
              </p:nvSpPr>
              <p:spPr>
                <a:xfrm>
                  <a:off x="4923290" y="3800504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6" y="1"/>
                      </a:moveTo>
                      <a:cubicBezTo>
                        <a:pt x="1855" y="1"/>
                        <a:pt x="1426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4001" y="683"/>
                        <a:pt x="3156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6" name="Google Shape;8086;p53"/>
                <p:cNvSpPr/>
                <p:nvPr/>
              </p:nvSpPr>
              <p:spPr>
                <a:xfrm>
                  <a:off x="4937470" y="381017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7" name="Google Shape;8087;p53"/>
              <p:cNvGrpSpPr/>
              <p:nvPr/>
            </p:nvGrpSpPr>
            <p:grpSpPr>
              <a:xfrm>
                <a:off x="5108534" y="3650943"/>
                <a:ext cx="31405" cy="26993"/>
                <a:chOff x="5108534" y="3650943"/>
                <a:chExt cx="31405" cy="26993"/>
              </a:xfrm>
            </p:grpSpPr>
            <p:sp>
              <p:nvSpPr>
                <p:cNvPr id="8088" name="Google Shape;8088;p53"/>
                <p:cNvSpPr/>
                <p:nvPr/>
              </p:nvSpPr>
              <p:spPr>
                <a:xfrm>
                  <a:off x="5108534" y="365094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9" name="Google Shape;8089;p53"/>
                <p:cNvSpPr/>
                <p:nvPr/>
              </p:nvSpPr>
              <p:spPr>
                <a:xfrm>
                  <a:off x="5122707" y="366061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0" name="Google Shape;8090;p53"/>
              <p:cNvGrpSpPr/>
              <p:nvPr/>
            </p:nvGrpSpPr>
            <p:grpSpPr>
              <a:xfrm>
                <a:off x="5119380" y="3760739"/>
                <a:ext cx="31499" cy="26993"/>
                <a:chOff x="5119380" y="3760739"/>
                <a:chExt cx="31499" cy="26993"/>
              </a:xfrm>
            </p:grpSpPr>
            <p:sp>
              <p:nvSpPr>
                <p:cNvPr id="8091" name="Google Shape;8091;p53"/>
                <p:cNvSpPr/>
                <p:nvPr/>
              </p:nvSpPr>
              <p:spPr>
                <a:xfrm>
                  <a:off x="5119380" y="3760739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2" name="Google Shape;8092;p53"/>
                <p:cNvSpPr/>
                <p:nvPr/>
              </p:nvSpPr>
              <p:spPr>
                <a:xfrm>
                  <a:off x="5132318" y="3770405"/>
                  <a:ext cx="8856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3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0" y="972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3" name="Google Shape;8093;p53"/>
              <p:cNvGrpSpPr/>
              <p:nvPr/>
            </p:nvGrpSpPr>
            <p:grpSpPr>
              <a:xfrm>
                <a:off x="5119380" y="3788235"/>
                <a:ext cx="31499" cy="26993"/>
                <a:chOff x="5119380" y="3788235"/>
                <a:chExt cx="31499" cy="26993"/>
              </a:xfrm>
            </p:grpSpPr>
            <p:sp>
              <p:nvSpPr>
                <p:cNvPr id="8094" name="Google Shape;8094;p53"/>
                <p:cNvSpPr/>
                <p:nvPr/>
              </p:nvSpPr>
              <p:spPr>
                <a:xfrm>
                  <a:off x="5119380" y="378823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19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5" name="Google Shape;8095;p53"/>
                <p:cNvSpPr/>
                <p:nvPr/>
              </p:nvSpPr>
              <p:spPr>
                <a:xfrm>
                  <a:off x="5132318" y="379790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6" name="Google Shape;8096;p53"/>
              <p:cNvGrpSpPr/>
              <p:nvPr/>
            </p:nvGrpSpPr>
            <p:grpSpPr>
              <a:xfrm>
                <a:off x="5158005" y="3875284"/>
                <a:ext cx="31405" cy="27001"/>
                <a:chOff x="5158005" y="3875284"/>
                <a:chExt cx="31405" cy="27001"/>
              </a:xfrm>
            </p:grpSpPr>
            <p:sp>
              <p:nvSpPr>
                <p:cNvPr id="8097" name="Google Shape;8097;p53"/>
                <p:cNvSpPr/>
                <p:nvPr/>
              </p:nvSpPr>
              <p:spPr>
                <a:xfrm>
                  <a:off x="5158005" y="3875284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8" name="Google Shape;8098;p53"/>
                <p:cNvSpPr/>
                <p:nvPr/>
              </p:nvSpPr>
              <p:spPr>
                <a:xfrm>
                  <a:off x="5170848" y="3884958"/>
                  <a:ext cx="8950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2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6" y="926"/>
                        <a:pt x="531" y="972"/>
                        <a:pt x="652" y="972"/>
                      </a:cubicBezTo>
                      <a:cubicBezTo>
                        <a:pt x="902" y="972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9" name="Google Shape;8099;p53"/>
              <p:cNvGrpSpPr/>
              <p:nvPr/>
            </p:nvGrpSpPr>
            <p:grpSpPr>
              <a:xfrm>
                <a:off x="5233163" y="3764545"/>
                <a:ext cx="31499" cy="26898"/>
                <a:chOff x="5233163" y="3764545"/>
                <a:chExt cx="31499" cy="26898"/>
              </a:xfrm>
            </p:grpSpPr>
            <p:sp>
              <p:nvSpPr>
                <p:cNvPr id="8100" name="Google Shape;8100;p53"/>
                <p:cNvSpPr/>
                <p:nvPr/>
              </p:nvSpPr>
              <p:spPr>
                <a:xfrm>
                  <a:off x="523316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2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1" name="Google Shape;8101;p53"/>
                <p:cNvSpPr/>
                <p:nvPr/>
              </p:nvSpPr>
              <p:spPr>
                <a:xfrm>
                  <a:off x="5246108" y="3774211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2" name="Google Shape;8102;p53"/>
              <p:cNvGrpSpPr/>
              <p:nvPr/>
            </p:nvGrpSpPr>
            <p:grpSpPr>
              <a:xfrm>
                <a:off x="5276168" y="3805545"/>
                <a:ext cx="31499" cy="26906"/>
                <a:chOff x="5276168" y="3805545"/>
                <a:chExt cx="31499" cy="26906"/>
              </a:xfrm>
            </p:grpSpPr>
            <p:sp>
              <p:nvSpPr>
                <p:cNvPr id="8103" name="Google Shape;8103;p53"/>
                <p:cNvSpPr/>
                <p:nvPr/>
              </p:nvSpPr>
              <p:spPr>
                <a:xfrm>
                  <a:off x="5276168" y="380554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1" y="1"/>
                      </a:moveTo>
                      <a:cubicBezTo>
                        <a:pt x="1860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4" name="Google Shape;8104;p53"/>
                <p:cNvSpPr/>
                <p:nvPr/>
              </p:nvSpPr>
              <p:spPr>
                <a:xfrm>
                  <a:off x="5289106" y="3815219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9" y="1"/>
                        <a:pt x="1" y="521"/>
                        <a:pt x="303" y="823"/>
                      </a:cubicBezTo>
                      <a:cubicBezTo>
                        <a:pt x="402" y="922"/>
                        <a:pt x="524" y="967"/>
                        <a:pt x="644" y="967"/>
                      </a:cubicBezTo>
                      <a:cubicBezTo>
                        <a:pt x="890" y="967"/>
                        <a:pt x="1126" y="778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5" name="Google Shape;8105;p53"/>
              <p:cNvGrpSpPr/>
              <p:nvPr/>
            </p:nvGrpSpPr>
            <p:grpSpPr>
              <a:xfrm>
                <a:off x="5294053" y="3851933"/>
                <a:ext cx="31405" cy="26945"/>
                <a:chOff x="5294053" y="3851933"/>
                <a:chExt cx="31405" cy="26945"/>
              </a:xfrm>
            </p:grpSpPr>
            <p:sp>
              <p:nvSpPr>
                <p:cNvPr id="8106" name="Google Shape;8106;p53"/>
                <p:cNvSpPr/>
                <p:nvPr/>
              </p:nvSpPr>
              <p:spPr>
                <a:xfrm>
                  <a:off x="5294053" y="3851933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4" y="1"/>
                        <a:pt x="1426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7" name="Google Shape;8107;p53"/>
                <p:cNvSpPr/>
                <p:nvPr/>
              </p:nvSpPr>
              <p:spPr>
                <a:xfrm>
                  <a:off x="5308234" y="386155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63"/>
                        <a:pt x="218" y="968"/>
                        <a:pt x="484" y="968"/>
                      </a:cubicBezTo>
                      <a:cubicBezTo>
                        <a:pt x="750" y="968"/>
                        <a:pt x="968" y="763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8" name="Google Shape;8108;p53"/>
              <p:cNvGrpSpPr/>
              <p:nvPr/>
            </p:nvGrpSpPr>
            <p:grpSpPr>
              <a:xfrm>
                <a:off x="5341723" y="3851902"/>
                <a:ext cx="31405" cy="26977"/>
                <a:chOff x="5341723" y="3851902"/>
                <a:chExt cx="31405" cy="26977"/>
              </a:xfrm>
            </p:grpSpPr>
            <p:sp>
              <p:nvSpPr>
                <p:cNvPr id="8109" name="Google Shape;8109;p53"/>
                <p:cNvSpPr/>
                <p:nvPr/>
              </p:nvSpPr>
              <p:spPr>
                <a:xfrm>
                  <a:off x="5341723" y="3851902"/>
                  <a:ext cx="31405" cy="269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0" extrusionOk="0">
                      <a:moveTo>
                        <a:pt x="2266" y="1"/>
                      </a:moveTo>
                      <a:cubicBezTo>
                        <a:pt x="1848" y="1"/>
                        <a:pt x="1423" y="156"/>
                        <a:pt x="1077" y="502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4"/>
                      </a:cubicBezTo>
                      <a:cubicBezTo>
                        <a:pt x="3992" y="690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0" name="Google Shape;8110;p53"/>
                <p:cNvSpPr/>
                <p:nvPr/>
              </p:nvSpPr>
              <p:spPr>
                <a:xfrm>
                  <a:off x="5354567" y="3861647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7" y="964"/>
                        <a:pt x="646" y="964"/>
                      </a:cubicBezTo>
                      <a:cubicBezTo>
                        <a:pt x="898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1" name="Google Shape;8111;p53"/>
              <p:cNvGrpSpPr/>
              <p:nvPr/>
            </p:nvGrpSpPr>
            <p:grpSpPr>
              <a:xfrm>
                <a:off x="5054871" y="3507855"/>
                <a:ext cx="31405" cy="26993"/>
                <a:chOff x="5054871" y="3507855"/>
                <a:chExt cx="31405" cy="26993"/>
              </a:xfrm>
            </p:grpSpPr>
            <p:sp>
              <p:nvSpPr>
                <p:cNvPr id="8112" name="Google Shape;8112;p53"/>
                <p:cNvSpPr/>
                <p:nvPr/>
              </p:nvSpPr>
              <p:spPr>
                <a:xfrm>
                  <a:off x="5054871" y="3507855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31"/>
                        <a:pt x="2287" y="3431"/>
                      </a:cubicBezTo>
                      <a:cubicBezTo>
                        <a:pt x="3230" y="3431"/>
                        <a:pt x="3993" y="2657"/>
                        <a:pt x="3993" y="1714"/>
                      </a:cubicBezTo>
                      <a:cubicBezTo>
                        <a:pt x="3993" y="682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3" name="Google Shape;8113;p53"/>
                <p:cNvSpPr/>
                <p:nvPr/>
              </p:nvSpPr>
              <p:spPr>
                <a:xfrm>
                  <a:off x="5067715" y="351752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15" y="823"/>
                      </a:cubicBezTo>
                      <a:cubicBezTo>
                        <a:pt x="414" y="922"/>
                        <a:pt x="536" y="967"/>
                        <a:pt x="656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4" name="Google Shape;8114;p53"/>
              <p:cNvGrpSpPr/>
              <p:nvPr/>
            </p:nvGrpSpPr>
            <p:grpSpPr>
              <a:xfrm>
                <a:off x="4876579" y="3675325"/>
                <a:ext cx="31405" cy="26969"/>
                <a:chOff x="4876579" y="3675325"/>
                <a:chExt cx="31405" cy="26969"/>
              </a:xfrm>
            </p:grpSpPr>
            <p:sp>
              <p:nvSpPr>
                <p:cNvPr id="8115" name="Google Shape;8115;p53"/>
                <p:cNvSpPr/>
                <p:nvPr/>
              </p:nvSpPr>
              <p:spPr>
                <a:xfrm>
                  <a:off x="4876579" y="3675325"/>
                  <a:ext cx="31405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9" extrusionOk="0">
                      <a:moveTo>
                        <a:pt x="2266" y="0"/>
                      </a:moveTo>
                      <a:cubicBezTo>
                        <a:pt x="1848" y="0"/>
                        <a:pt x="1423" y="155"/>
                        <a:pt x="1077" y="501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3"/>
                      </a:cubicBezTo>
                      <a:cubicBezTo>
                        <a:pt x="3992" y="689"/>
                        <a:pt x="3146" y="0"/>
                        <a:pt x="226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6" name="Google Shape;8116;p53"/>
                <p:cNvSpPr/>
                <p:nvPr/>
              </p:nvSpPr>
              <p:spPr>
                <a:xfrm>
                  <a:off x="4889517" y="3684975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2" y="0"/>
                      </a:moveTo>
                      <a:cubicBezTo>
                        <a:pt x="218" y="12"/>
                        <a:pt x="0" y="520"/>
                        <a:pt x="303" y="835"/>
                      </a:cubicBezTo>
                      <a:cubicBezTo>
                        <a:pt x="400" y="932"/>
                        <a:pt x="520" y="976"/>
                        <a:pt x="638" y="976"/>
                      </a:cubicBezTo>
                      <a:cubicBezTo>
                        <a:pt x="886" y="976"/>
                        <a:pt x="1125" y="783"/>
                        <a:pt x="1125" y="496"/>
                      </a:cubicBezTo>
                      <a:cubicBezTo>
                        <a:pt x="1125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7" name="Google Shape;8117;p53"/>
              <p:cNvGrpSpPr/>
              <p:nvPr/>
            </p:nvGrpSpPr>
            <p:grpSpPr>
              <a:xfrm>
                <a:off x="4842233" y="3688333"/>
                <a:ext cx="31405" cy="26993"/>
                <a:chOff x="4842233" y="3688333"/>
                <a:chExt cx="31405" cy="26993"/>
              </a:xfrm>
            </p:grpSpPr>
            <p:sp>
              <p:nvSpPr>
                <p:cNvPr id="8118" name="Google Shape;8118;p53"/>
                <p:cNvSpPr/>
                <p:nvPr/>
              </p:nvSpPr>
              <p:spPr>
                <a:xfrm>
                  <a:off x="4842233" y="368833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20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9" name="Google Shape;8119;p53"/>
                <p:cNvSpPr/>
                <p:nvPr/>
              </p:nvSpPr>
              <p:spPr>
                <a:xfrm>
                  <a:off x="4855076" y="369809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64" y="1"/>
                      </a:moveTo>
                      <a:cubicBezTo>
                        <a:pt x="656" y="1"/>
                        <a:pt x="649" y="1"/>
                        <a:pt x="641" y="1"/>
                      </a:cubicBezTo>
                      <a:cubicBezTo>
                        <a:pt x="218" y="1"/>
                        <a:pt x="0" y="522"/>
                        <a:pt x="303" y="824"/>
                      </a:cubicBezTo>
                      <a:cubicBezTo>
                        <a:pt x="400" y="921"/>
                        <a:pt x="520" y="965"/>
                        <a:pt x="638" y="965"/>
                      </a:cubicBezTo>
                      <a:cubicBezTo>
                        <a:pt x="886" y="965"/>
                        <a:pt x="1125" y="772"/>
                        <a:pt x="1125" y="485"/>
                      </a:cubicBezTo>
                      <a:cubicBezTo>
                        <a:pt x="1125" y="215"/>
                        <a:pt x="931" y="1"/>
                        <a:pt x="66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20" name="Google Shape;8120;p53"/>
              <p:cNvGrpSpPr/>
              <p:nvPr/>
            </p:nvGrpSpPr>
            <p:grpSpPr>
              <a:xfrm>
                <a:off x="5187876" y="3608032"/>
                <a:ext cx="31405" cy="27001"/>
                <a:chOff x="5187876" y="3608032"/>
                <a:chExt cx="31405" cy="27001"/>
              </a:xfrm>
            </p:grpSpPr>
            <p:sp>
              <p:nvSpPr>
                <p:cNvPr id="8121" name="Google Shape;8121;p53"/>
                <p:cNvSpPr/>
                <p:nvPr/>
              </p:nvSpPr>
              <p:spPr>
                <a:xfrm>
                  <a:off x="5187876" y="36080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22" name="Google Shape;8122;p53"/>
                <p:cNvSpPr/>
                <p:nvPr/>
              </p:nvSpPr>
              <p:spPr>
                <a:xfrm>
                  <a:off x="5202057" y="361770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23" name="Google Shape;8123;p53"/>
              <p:cNvSpPr/>
              <p:nvPr/>
            </p:nvSpPr>
            <p:spPr>
              <a:xfrm>
                <a:off x="5142589" y="3410030"/>
                <a:ext cx="42542" cy="36525"/>
              </a:xfrm>
              <a:custGeom>
                <a:avLst/>
                <a:gdLst/>
                <a:ahLst/>
                <a:cxnLst/>
                <a:rect l="l" t="t" r="r" b="b"/>
                <a:pathLst>
                  <a:path w="5409" h="4644" extrusionOk="0">
                    <a:moveTo>
                      <a:pt x="3085" y="1"/>
                    </a:moveTo>
                    <a:cubicBezTo>
                      <a:pt x="2516" y="1"/>
                      <a:pt x="1935" y="213"/>
                      <a:pt x="1465" y="688"/>
                    </a:cubicBezTo>
                    <a:cubicBezTo>
                      <a:pt x="1" y="2140"/>
                      <a:pt x="1029" y="4632"/>
                      <a:pt x="3098" y="4644"/>
                    </a:cubicBezTo>
                    <a:cubicBezTo>
                      <a:pt x="4380" y="4632"/>
                      <a:pt x="5408" y="3603"/>
                      <a:pt x="5408" y="2321"/>
                    </a:cubicBezTo>
                    <a:cubicBezTo>
                      <a:pt x="5408" y="923"/>
                      <a:pt x="4270" y="1"/>
                      <a:pt x="3085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24" name="Google Shape;8124;p53"/>
              <p:cNvSpPr/>
              <p:nvPr/>
            </p:nvSpPr>
            <p:spPr>
              <a:xfrm>
                <a:off x="5158382" y="3419720"/>
                <a:ext cx="17138" cy="17130"/>
              </a:xfrm>
              <a:custGeom>
                <a:avLst/>
                <a:gdLst/>
                <a:ahLst/>
                <a:cxnLst/>
                <a:rect l="l" t="t" r="r" b="b"/>
                <a:pathLst>
                  <a:path w="2179" h="2178" extrusionOk="0">
                    <a:moveTo>
                      <a:pt x="1090" y="0"/>
                    </a:moveTo>
                    <a:cubicBezTo>
                      <a:pt x="485" y="0"/>
                      <a:pt x="1" y="484"/>
                      <a:pt x="1" y="1089"/>
                    </a:cubicBezTo>
                    <a:cubicBezTo>
                      <a:pt x="1" y="1694"/>
                      <a:pt x="485" y="2178"/>
                      <a:pt x="1090" y="2178"/>
                    </a:cubicBezTo>
                    <a:cubicBezTo>
                      <a:pt x="1694" y="2178"/>
                      <a:pt x="2178" y="1694"/>
                      <a:pt x="2178" y="1089"/>
                    </a:cubicBezTo>
                    <a:cubicBezTo>
                      <a:pt x="2178" y="484"/>
                      <a:pt x="1694" y="0"/>
                      <a:pt x="1090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25" name="Google Shape;8125;p53"/>
              <p:cNvGrpSpPr/>
              <p:nvPr/>
            </p:nvGrpSpPr>
            <p:grpSpPr>
              <a:xfrm>
                <a:off x="5269224" y="3304167"/>
                <a:ext cx="40253" cy="34402"/>
                <a:chOff x="5269224" y="3304167"/>
                <a:chExt cx="40253" cy="34402"/>
              </a:xfrm>
            </p:grpSpPr>
            <p:sp>
              <p:nvSpPr>
                <p:cNvPr id="8126" name="Google Shape;8126;p53"/>
                <p:cNvSpPr/>
                <p:nvPr/>
              </p:nvSpPr>
              <p:spPr>
                <a:xfrm>
                  <a:off x="5269224" y="3304167"/>
                  <a:ext cx="40253" cy="34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74" extrusionOk="0">
                      <a:moveTo>
                        <a:pt x="2915" y="0"/>
                      </a:moveTo>
                      <a:cubicBezTo>
                        <a:pt x="2376" y="0"/>
                        <a:pt x="1827" y="201"/>
                        <a:pt x="1380" y="648"/>
                      </a:cubicBezTo>
                      <a:cubicBezTo>
                        <a:pt x="1" y="2015"/>
                        <a:pt x="980" y="4374"/>
                        <a:pt x="2928" y="4374"/>
                      </a:cubicBezTo>
                      <a:cubicBezTo>
                        <a:pt x="4126" y="4374"/>
                        <a:pt x="5105" y="3394"/>
                        <a:pt x="5118" y="2184"/>
                      </a:cubicBezTo>
                      <a:cubicBezTo>
                        <a:pt x="5109" y="869"/>
                        <a:pt x="4036" y="0"/>
                        <a:pt x="291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27" name="Google Shape;8127;p53"/>
                <p:cNvSpPr/>
                <p:nvPr/>
              </p:nvSpPr>
              <p:spPr>
                <a:xfrm>
                  <a:off x="5284639" y="3313826"/>
                  <a:ext cx="15132" cy="151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24" h="1925" extrusionOk="0">
                      <a:moveTo>
                        <a:pt x="968" y="1"/>
                      </a:moveTo>
                      <a:cubicBezTo>
                        <a:pt x="436" y="1"/>
                        <a:pt x="0" y="436"/>
                        <a:pt x="0" y="956"/>
                      </a:cubicBezTo>
                      <a:cubicBezTo>
                        <a:pt x="0" y="1489"/>
                        <a:pt x="436" y="1924"/>
                        <a:pt x="968" y="1924"/>
                      </a:cubicBezTo>
                      <a:cubicBezTo>
                        <a:pt x="1500" y="1924"/>
                        <a:pt x="1924" y="1489"/>
                        <a:pt x="1924" y="956"/>
                      </a:cubicBezTo>
                      <a:cubicBezTo>
                        <a:pt x="1924" y="436"/>
                        <a:pt x="1500" y="1"/>
                        <a:pt x="96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28" name="Google Shape;8128;p53"/>
              <p:cNvGrpSpPr/>
              <p:nvPr/>
            </p:nvGrpSpPr>
            <p:grpSpPr>
              <a:xfrm>
                <a:off x="5327354" y="3476615"/>
                <a:ext cx="49864" cy="42723"/>
                <a:chOff x="5327354" y="3476615"/>
                <a:chExt cx="49864" cy="42723"/>
              </a:xfrm>
            </p:grpSpPr>
            <p:sp>
              <p:nvSpPr>
                <p:cNvPr id="8129" name="Google Shape;8129;p53"/>
                <p:cNvSpPr/>
                <p:nvPr/>
              </p:nvSpPr>
              <p:spPr>
                <a:xfrm>
                  <a:off x="5327354" y="3476615"/>
                  <a:ext cx="49864" cy="427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40" h="5432" extrusionOk="0">
                      <a:moveTo>
                        <a:pt x="3602" y="1"/>
                      </a:moveTo>
                      <a:cubicBezTo>
                        <a:pt x="2936" y="1"/>
                        <a:pt x="2257" y="248"/>
                        <a:pt x="1706" y="799"/>
                      </a:cubicBezTo>
                      <a:cubicBezTo>
                        <a:pt x="1" y="2504"/>
                        <a:pt x="1210" y="5432"/>
                        <a:pt x="3630" y="5432"/>
                      </a:cubicBezTo>
                      <a:cubicBezTo>
                        <a:pt x="5118" y="5432"/>
                        <a:pt x="6339" y="4222"/>
                        <a:pt x="6339" y="2722"/>
                      </a:cubicBezTo>
                      <a:cubicBezTo>
                        <a:pt x="6339" y="1084"/>
                        <a:pt x="4998" y="1"/>
                        <a:pt x="360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0" name="Google Shape;8130;p53"/>
                <p:cNvSpPr/>
                <p:nvPr/>
              </p:nvSpPr>
              <p:spPr>
                <a:xfrm>
                  <a:off x="5340197" y="3486321"/>
                  <a:ext cx="27315" cy="234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73" h="2976" extrusionOk="0">
                      <a:moveTo>
                        <a:pt x="1985" y="0"/>
                      </a:moveTo>
                      <a:cubicBezTo>
                        <a:pt x="666" y="0"/>
                        <a:pt x="1" y="1597"/>
                        <a:pt x="944" y="2540"/>
                      </a:cubicBezTo>
                      <a:cubicBezTo>
                        <a:pt x="1245" y="2841"/>
                        <a:pt x="1614" y="2975"/>
                        <a:pt x="1977" y="2975"/>
                      </a:cubicBezTo>
                      <a:cubicBezTo>
                        <a:pt x="2739" y="2975"/>
                        <a:pt x="3473" y="2381"/>
                        <a:pt x="3473" y="1488"/>
                      </a:cubicBezTo>
                      <a:cubicBezTo>
                        <a:pt x="3473" y="665"/>
                        <a:pt x="2807" y="0"/>
                        <a:pt x="19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31" name="Google Shape;8131;p53"/>
              <p:cNvSpPr/>
              <p:nvPr/>
            </p:nvSpPr>
            <p:spPr>
              <a:xfrm>
                <a:off x="5290255" y="3703080"/>
                <a:ext cx="31397" cy="26898"/>
              </a:xfrm>
              <a:custGeom>
                <a:avLst/>
                <a:gdLst/>
                <a:ahLst/>
                <a:cxnLst/>
                <a:rect l="l" t="t" r="r" b="b"/>
                <a:pathLst>
                  <a:path w="3992" h="3420" extrusionOk="0">
                    <a:moveTo>
                      <a:pt x="2272" y="1"/>
                    </a:moveTo>
                    <a:cubicBezTo>
                      <a:pt x="1853" y="1"/>
                      <a:pt x="1425" y="156"/>
                      <a:pt x="1077" y="505"/>
                    </a:cubicBezTo>
                    <a:cubicBezTo>
                      <a:pt x="0" y="1581"/>
                      <a:pt x="762" y="3420"/>
                      <a:pt x="2286" y="3420"/>
                    </a:cubicBezTo>
                    <a:cubicBezTo>
                      <a:pt x="3230" y="3420"/>
                      <a:pt x="3992" y="2658"/>
                      <a:pt x="3992" y="1714"/>
                    </a:cubicBezTo>
                    <a:cubicBezTo>
                      <a:pt x="3992" y="683"/>
                      <a:pt x="3150" y="1"/>
                      <a:pt x="2272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32" name="Google Shape;8132;p53"/>
              <p:cNvSpPr/>
              <p:nvPr/>
            </p:nvSpPr>
            <p:spPr>
              <a:xfrm>
                <a:off x="5304427" y="3712754"/>
                <a:ext cx="7621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9" h="969" extrusionOk="0">
                    <a:moveTo>
                      <a:pt x="484" y="0"/>
                    </a:moveTo>
                    <a:cubicBezTo>
                      <a:pt x="218" y="0"/>
                      <a:pt x="0" y="218"/>
                      <a:pt x="0" y="484"/>
                    </a:cubicBezTo>
                    <a:cubicBezTo>
                      <a:pt x="0" y="750"/>
                      <a:pt x="218" y="968"/>
                      <a:pt x="484" y="968"/>
                    </a:cubicBezTo>
                    <a:cubicBezTo>
                      <a:pt x="750" y="968"/>
                      <a:pt x="968" y="750"/>
                      <a:pt x="968" y="484"/>
                    </a:cubicBezTo>
                    <a:cubicBezTo>
                      <a:pt x="968" y="218"/>
                      <a:pt x="750" y="0"/>
                      <a:pt x="484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33" name="Google Shape;8133;p53"/>
              <p:cNvGrpSpPr/>
              <p:nvPr/>
            </p:nvGrpSpPr>
            <p:grpSpPr>
              <a:xfrm>
                <a:off x="5341723" y="3775957"/>
                <a:ext cx="31405" cy="26898"/>
                <a:chOff x="5341723" y="3775957"/>
                <a:chExt cx="31405" cy="26898"/>
              </a:xfrm>
            </p:grpSpPr>
            <p:sp>
              <p:nvSpPr>
                <p:cNvPr id="8134" name="Google Shape;8134;p53"/>
                <p:cNvSpPr/>
                <p:nvPr/>
              </p:nvSpPr>
              <p:spPr>
                <a:xfrm>
                  <a:off x="5341723" y="377595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5" name="Google Shape;8135;p53"/>
                <p:cNvSpPr/>
                <p:nvPr/>
              </p:nvSpPr>
              <p:spPr>
                <a:xfrm>
                  <a:off x="5354567" y="378563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2" y="922"/>
                        <a:pt x="525" y="966"/>
                        <a:pt x="646" y="966"/>
                      </a:cubicBezTo>
                      <a:cubicBezTo>
                        <a:pt x="896" y="966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36" name="Google Shape;8136;p53"/>
              <p:cNvGrpSpPr/>
              <p:nvPr/>
            </p:nvGrpSpPr>
            <p:grpSpPr>
              <a:xfrm>
                <a:off x="5439053" y="3699274"/>
                <a:ext cx="31405" cy="26898"/>
                <a:chOff x="5439053" y="3699274"/>
                <a:chExt cx="31405" cy="26898"/>
              </a:xfrm>
            </p:grpSpPr>
            <p:sp>
              <p:nvSpPr>
                <p:cNvPr id="8137" name="Google Shape;8137;p53"/>
                <p:cNvSpPr/>
                <p:nvPr/>
              </p:nvSpPr>
              <p:spPr>
                <a:xfrm>
                  <a:off x="5439053" y="36992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8" name="Google Shape;8138;p53"/>
                <p:cNvSpPr/>
                <p:nvPr/>
              </p:nvSpPr>
              <p:spPr>
                <a:xfrm>
                  <a:off x="5453225" y="3708948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39" name="Google Shape;8139;p53"/>
              <p:cNvGrpSpPr/>
              <p:nvPr/>
            </p:nvGrpSpPr>
            <p:grpSpPr>
              <a:xfrm>
                <a:off x="5412414" y="3622307"/>
                <a:ext cx="31499" cy="26993"/>
                <a:chOff x="5412414" y="3622307"/>
                <a:chExt cx="31499" cy="26993"/>
              </a:xfrm>
            </p:grpSpPr>
            <p:sp>
              <p:nvSpPr>
                <p:cNvPr id="8140" name="Google Shape;8140;p53"/>
                <p:cNvSpPr/>
                <p:nvPr/>
              </p:nvSpPr>
              <p:spPr>
                <a:xfrm>
                  <a:off x="5412414" y="3622307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1" name="Google Shape;8141;p53"/>
                <p:cNvSpPr/>
                <p:nvPr/>
              </p:nvSpPr>
              <p:spPr>
                <a:xfrm>
                  <a:off x="5426681" y="3632075"/>
                  <a:ext cx="7527" cy="7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6" extrusionOk="0">
                      <a:moveTo>
                        <a:pt x="485" y="0"/>
                      </a:moveTo>
                      <a:cubicBezTo>
                        <a:pt x="206" y="0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85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2" name="Google Shape;8142;p53"/>
              <p:cNvGrpSpPr/>
              <p:nvPr/>
            </p:nvGrpSpPr>
            <p:grpSpPr>
              <a:xfrm>
                <a:off x="5476254" y="3473949"/>
                <a:ext cx="26835" cy="26930"/>
                <a:chOff x="5476254" y="3473949"/>
                <a:chExt cx="26835" cy="26930"/>
              </a:xfrm>
            </p:grpSpPr>
            <p:sp>
              <p:nvSpPr>
                <p:cNvPr id="8143" name="Google Shape;8143;p53"/>
                <p:cNvSpPr/>
                <p:nvPr/>
              </p:nvSpPr>
              <p:spPr>
                <a:xfrm>
                  <a:off x="5476254" y="3473949"/>
                  <a:ext cx="2683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24" extrusionOk="0">
                      <a:moveTo>
                        <a:pt x="1706" y="1"/>
                      </a:moveTo>
                      <a:cubicBezTo>
                        <a:pt x="762" y="1"/>
                        <a:pt x="0" y="775"/>
                        <a:pt x="0" y="1718"/>
                      </a:cubicBezTo>
                      <a:cubicBezTo>
                        <a:pt x="0" y="2662"/>
                        <a:pt x="762" y="3424"/>
                        <a:pt x="1706" y="3424"/>
                      </a:cubicBezTo>
                      <a:cubicBezTo>
                        <a:pt x="2649" y="3424"/>
                        <a:pt x="3411" y="2662"/>
                        <a:pt x="3411" y="1718"/>
                      </a:cubicBezTo>
                      <a:cubicBezTo>
                        <a:pt x="3411" y="775"/>
                        <a:pt x="2649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4" name="Google Shape;8144;p53"/>
                <p:cNvSpPr/>
                <p:nvPr/>
              </p:nvSpPr>
              <p:spPr>
                <a:xfrm>
                  <a:off x="5485857" y="3483655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5" name="Google Shape;8145;p53"/>
              <p:cNvGrpSpPr/>
              <p:nvPr/>
            </p:nvGrpSpPr>
            <p:grpSpPr>
              <a:xfrm>
                <a:off x="5564547" y="3481594"/>
                <a:ext cx="31397" cy="26898"/>
                <a:chOff x="5564547" y="3481594"/>
                <a:chExt cx="31397" cy="26898"/>
              </a:xfrm>
            </p:grpSpPr>
            <p:sp>
              <p:nvSpPr>
                <p:cNvPr id="8146" name="Google Shape;8146;p53"/>
                <p:cNvSpPr/>
                <p:nvPr/>
              </p:nvSpPr>
              <p:spPr>
                <a:xfrm>
                  <a:off x="5564547" y="3481594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7" name="Google Shape;8147;p53"/>
                <p:cNvSpPr/>
                <p:nvPr/>
              </p:nvSpPr>
              <p:spPr>
                <a:xfrm>
                  <a:off x="5578719" y="349126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8" name="Google Shape;8148;p53"/>
              <p:cNvGrpSpPr/>
              <p:nvPr/>
            </p:nvGrpSpPr>
            <p:grpSpPr>
              <a:xfrm>
                <a:off x="5534101" y="3470174"/>
                <a:ext cx="31397" cy="26906"/>
                <a:chOff x="5534101" y="3470174"/>
                <a:chExt cx="31397" cy="26906"/>
              </a:xfrm>
            </p:grpSpPr>
            <p:sp>
              <p:nvSpPr>
                <p:cNvPr id="8149" name="Google Shape;8149;p53"/>
                <p:cNvSpPr/>
                <p:nvPr/>
              </p:nvSpPr>
              <p:spPr>
                <a:xfrm>
                  <a:off x="5534101" y="3470174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0" name="Google Shape;8150;p53"/>
                <p:cNvSpPr/>
                <p:nvPr/>
              </p:nvSpPr>
              <p:spPr>
                <a:xfrm>
                  <a:off x="5546945" y="3479848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6" y="964"/>
                        <a:pt x="646" y="964"/>
                      </a:cubicBezTo>
                      <a:cubicBezTo>
                        <a:pt x="898" y="964"/>
                        <a:pt x="1137" y="771"/>
                        <a:pt x="1137" y="484"/>
                      </a:cubicBezTo>
                      <a:cubicBezTo>
                        <a:pt x="1137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1" name="Google Shape;8151;p53"/>
              <p:cNvGrpSpPr/>
              <p:nvPr/>
            </p:nvGrpSpPr>
            <p:grpSpPr>
              <a:xfrm>
                <a:off x="5610879" y="3314486"/>
                <a:ext cx="31499" cy="26938"/>
                <a:chOff x="5610879" y="3314486"/>
                <a:chExt cx="31499" cy="26938"/>
              </a:xfrm>
            </p:grpSpPr>
            <p:sp>
              <p:nvSpPr>
                <p:cNvPr id="8152" name="Google Shape;8152;p53"/>
                <p:cNvSpPr/>
                <p:nvPr/>
              </p:nvSpPr>
              <p:spPr>
                <a:xfrm>
                  <a:off x="5610879" y="3314486"/>
                  <a:ext cx="31499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5" extrusionOk="0">
                      <a:moveTo>
                        <a:pt x="2285" y="0"/>
                      </a:moveTo>
                      <a:cubicBezTo>
                        <a:pt x="1865" y="0"/>
                        <a:pt x="1437" y="157"/>
                        <a:pt x="1089" y="509"/>
                      </a:cubicBezTo>
                      <a:cubicBezTo>
                        <a:pt x="0" y="1586"/>
                        <a:pt x="774" y="3425"/>
                        <a:pt x="2299" y="3425"/>
                      </a:cubicBezTo>
                      <a:cubicBezTo>
                        <a:pt x="3242" y="3425"/>
                        <a:pt x="4004" y="2663"/>
                        <a:pt x="4004" y="1719"/>
                      </a:cubicBezTo>
                      <a:cubicBezTo>
                        <a:pt x="4004" y="688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3" name="Google Shape;8153;p53"/>
                <p:cNvSpPr/>
                <p:nvPr/>
              </p:nvSpPr>
              <p:spPr>
                <a:xfrm>
                  <a:off x="5623817" y="3324192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75" y="1"/>
                      </a:moveTo>
                      <a:cubicBezTo>
                        <a:pt x="668" y="1"/>
                        <a:pt x="661" y="1"/>
                        <a:pt x="654" y="1"/>
                      </a:cubicBezTo>
                      <a:cubicBezTo>
                        <a:pt x="218" y="1"/>
                        <a:pt x="0" y="509"/>
                        <a:pt x="303" y="824"/>
                      </a:cubicBezTo>
                      <a:cubicBezTo>
                        <a:pt x="404" y="921"/>
                        <a:pt x="525" y="965"/>
                        <a:pt x="644" y="965"/>
                      </a:cubicBezTo>
                      <a:cubicBezTo>
                        <a:pt x="893" y="965"/>
                        <a:pt x="1129" y="772"/>
                        <a:pt x="1137" y="485"/>
                      </a:cubicBezTo>
                      <a:cubicBezTo>
                        <a:pt x="1137" y="214"/>
                        <a:pt x="931" y="1"/>
                        <a:pt x="67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4" name="Google Shape;8154;p53"/>
              <p:cNvGrpSpPr/>
              <p:nvPr/>
            </p:nvGrpSpPr>
            <p:grpSpPr>
              <a:xfrm>
                <a:off x="4834525" y="3501382"/>
                <a:ext cx="31499" cy="26898"/>
                <a:chOff x="4834525" y="3501382"/>
                <a:chExt cx="31499" cy="26898"/>
              </a:xfrm>
            </p:grpSpPr>
            <p:sp>
              <p:nvSpPr>
                <p:cNvPr id="8155" name="Google Shape;8155;p53"/>
                <p:cNvSpPr/>
                <p:nvPr/>
              </p:nvSpPr>
              <p:spPr>
                <a:xfrm>
                  <a:off x="4834525" y="350138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6" name="Google Shape;8156;p53"/>
                <p:cNvSpPr/>
                <p:nvPr/>
              </p:nvSpPr>
              <p:spPr>
                <a:xfrm>
                  <a:off x="4847463" y="3511056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7" name="Google Shape;8157;p53"/>
              <p:cNvGrpSpPr/>
              <p:nvPr/>
            </p:nvGrpSpPr>
            <p:grpSpPr>
              <a:xfrm>
                <a:off x="4898460" y="3580158"/>
                <a:ext cx="31405" cy="26898"/>
                <a:chOff x="4898460" y="3580158"/>
                <a:chExt cx="31405" cy="26898"/>
              </a:xfrm>
            </p:grpSpPr>
            <p:sp>
              <p:nvSpPr>
                <p:cNvPr id="8158" name="Google Shape;8158;p53"/>
                <p:cNvSpPr/>
                <p:nvPr/>
              </p:nvSpPr>
              <p:spPr>
                <a:xfrm>
                  <a:off x="4898460" y="3580158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9" name="Google Shape;8159;p53"/>
                <p:cNvSpPr/>
                <p:nvPr/>
              </p:nvSpPr>
              <p:spPr>
                <a:xfrm>
                  <a:off x="4911303" y="358983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0" name="Google Shape;8160;p53"/>
              <p:cNvGrpSpPr/>
              <p:nvPr/>
            </p:nvGrpSpPr>
            <p:grpSpPr>
              <a:xfrm>
                <a:off x="4882667" y="3608032"/>
                <a:ext cx="31499" cy="27001"/>
                <a:chOff x="4882667" y="3608032"/>
                <a:chExt cx="31499" cy="27001"/>
              </a:xfrm>
            </p:grpSpPr>
            <p:sp>
              <p:nvSpPr>
                <p:cNvPr id="8161" name="Google Shape;8161;p53"/>
                <p:cNvSpPr/>
                <p:nvPr/>
              </p:nvSpPr>
              <p:spPr>
                <a:xfrm>
                  <a:off x="4882667" y="3608032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6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20"/>
                        <a:pt x="4004" y="2658"/>
                        <a:pt x="4004" y="1715"/>
                      </a:cubicBezTo>
                      <a:cubicBezTo>
                        <a:pt x="4004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2" name="Google Shape;8162;p53"/>
                <p:cNvSpPr/>
                <p:nvPr/>
              </p:nvSpPr>
              <p:spPr>
                <a:xfrm>
                  <a:off x="4895605" y="3617706"/>
                  <a:ext cx="8950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3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1" y="972"/>
                        <a:pt x="1130" y="778"/>
                        <a:pt x="1138" y="485"/>
                      </a:cubicBezTo>
                      <a:cubicBezTo>
                        <a:pt x="1138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3" name="Google Shape;8163;p53"/>
              <p:cNvGrpSpPr/>
              <p:nvPr/>
            </p:nvGrpSpPr>
            <p:grpSpPr>
              <a:xfrm>
                <a:off x="4843373" y="3631407"/>
                <a:ext cx="16273" cy="16186"/>
                <a:chOff x="4843373" y="3631407"/>
                <a:chExt cx="16273" cy="16186"/>
              </a:xfrm>
            </p:grpSpPr>
            <p:sp>
              <p:nvSpPr>
                <p:cNvPr id="8164" name="Google Shape;8164;p53"/>
                <p:cNvSpPr/>
                <p:nvPr/>
              </p:nvSpPr>
              <p:spPr>
                <a:xfrm>
                  <a:off x="4843373" y="3631407"/>
                  <a:ext cx="16273" cy="161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69" h="2058" extrusionOk="0">
                      <a:moveTo>
                        <a:pt x="1029" y="1"/>
                      </a:moveTo>
                      <a:cubicBezTo>
                        <a:pt x="460" y="1"/>
                        <a:pt x="0" y="460"/>
                        <a:pt x="0" y="1029"/>
                      </a:cubicBezTo>
                      <a:cubicBezTo>
                        <a:pt x="0" y="1597"/>
                        <a:pt x="460" y="2057"/>
                        <a:pt x="1029" y="2057"/>
                      </a:cubicBezTo>
                      <a:cubicBezTo>
                        <a:pt x="1609" y="2057"/>
                        <a:pt x="2069" y="1597"/>
                        <a:pt x="2069" y="1029"/>
                      </a:cubicBezTo>
                      <a:cubicBezTo>
                        <a:pt x="2069" y="460"/>
                        <a:pt x="1609" y="1"/>
                        <a:pt x="10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5" name="Google Shape;8165;p53"/>
                <p:cNvSpPr/>
                <p:nvPr/>
              </p:nvSpPr>
              <p:spPr>
                <a:xfrm>
                  <a:off x="4849178" y="3637211"/>
                  <a:ext cx="4672" cy="45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4" h="582" extrusionOk="0">
                      <a:moveTo>
                        <a:pt x="291" y="1"/>
                      </a:moveTo>
                      <a:cubicBezTo>
                        <a:pt x="133" y="1"/>
                        <a:pt x="0" y="134"/>
                        <a:pt x="0" y="291"/>
                      </a:cubicBezTo>
                      <a:cubicBezTo>
                        <a:pt x="0" y="460"/>
                        <a:pt x="133" y="581"/>
                        <a:pt x="291" y="581"/>
                      </a:cubicBezTo>
                      <a:cubicBezTo>
                        <a:pt x="460" y="581"/>
                        <a:pt x="593" y="460"/>
                        <a:pt x="593" y="291"/>
                      </a:cubicBezTo>
                      <a:cubicBezTo>
                        <a:pt x="593" y="134"/>
                        <a:pt x="460" y="1"/>
                        <a:pt x="29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6" name="Google Shape;8166;p53"/>
              <p:cNvGrpSpPr/>
              <p:nvPr/>
            </p:nvGrpSpPr>
            <p:grpSpPr>
              <a:xfrm>
                <a:off x="4727773" y="3591578"/>
                <a:ext cx="31499" cy="26898"/>
                <a:chOff x="4727773" y="3591578"/>
                <a:chExt cx="31499" cy="26898"/>
              </a:xfrm>
            </p:grpSpPr>
            <p:sp>
              <p:nvSpPr>
                <p:cNvPr id="8167" name="Google Shape;8167;p53"/>
                <p:cNvSpPr/>
                <p:nvPr/>
              </p:nvSpPr>
              <p:spPr>
                <a:xfrm>
                  <a:off x="4727773" y="3591578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8" name="Google Shape;8168;p53"/>
                <p:cNvSpPr/>
                <p:nvPr/>
              </p:nvSpPr>
              <p:spPr>
                <a:xfrm>
                  <a:off x="4740719" y="360124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2" y="824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69" name="Google Shape;8169;p53"/>
              <p:cNvSpPr/>
              <p:nvPr/>
            </p:nvSpPr>
            <p:spPr>
              <a:xfrm>
                <a:off x="4652041" y="3622590"/>
                <a:ext cx="31405" cy="26906"/>
              </a:xfrm>
              <a:custGeom>
                <a:avLst/>
                <a:gdLst/>
                <a:ahLst/>
                <a:cxnLst/>
                <a:rect l="l" t="t" r="r" b="b"/>
                <a:pathLst>
                  <a:path w="3993" h="3421" extrusionOk="0">
                    <a:moveTo>
                      <a:pt x="2273" y="1"/>
                    </a:moveTo>
                    <a:cubicBezTo>
                      <a:pt x="1853" y="1"/>
                      <a:pt x="1426" y="157"/>
                      <a:pt x="1077" y="505"/>
                    </a:cubicBezTo>
                    <a:cubicBezTo>
                      <a:pt x="1" y="1581"/>
                      <a:pt x="763" y="3420"/>
                      <a:pt x="2287" y="3420"/>
                    </a:cubicBezTo>
                    <a:cubicBezTo>
                      <a:pt x="3231" y="3420"/>
                      <a:pt x="3993" y="2658"/>
                      <a:pt x="3993" y="1714"/>
                    </a:cubicBezTo>
                    <a:cubicBezTo>
                      <a:pt x="3993" y="683"/>
                      <a:pt x="3151" y="1"/>
                      <a:pt x="2273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70" name="Google Shape;8170;p53"/>
              <p:cNvSpPr/>
              <p:nvPr/>
            </p:nvSpPr>
            <p:spPr>
              <a:xfrm>
                <a:off x="4666222" y="3632264"/>
                <a:ext cx="7613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8" h="969" extrusionOk="0">
                    <a:moveTo>
                      <a:pt x="484" y="1"/>
                    </a:moveTo>
                    <a:cubicBezTo>
                      <a:pt x="218" y="1"/>
                      <a:pt x="0" y="218"/>
                      <a:pt x="0" y="484"/>
                    </a:cubicBezTo>
                    <a:cubicBezTo>
                      <a:pt x="0" y="751"/>
                      <a:pt x="218" y="968"/>
                      <a:pt x="484" y="968"/>
                    </a:cubicBezTo>
                    <a:cubicBezTo>
                      <a:pt x="750" y="968"/>
                      <a:pt x="968" y="751"/>
                      <a:pt x="968" y="484"/>
                    </a:cubicBezTo>
                    <a:cubicBezTo>
                      <a:pt x="968" y="218"/>
                      <a:pt x="750" y="1"/>
                      <a:pt x="484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71" name="Google Shape;8171;p53"/>
              <p:cNvGrpSpPr/>
              <p:nvPr/>
            </p:nvGrpSpPr>
            <p:grpSpPr>
              <a:xfrm>
                <a:off x="4609421" y="3577398"/>
                <a:ext cx="31499" cy="27001"/>
                <a:chOff x="4609421" y="3577398"/>
                <a:chExt cx="31499" cy="27001"/>
              </a:xfrm>
            </p:grpSpPr>
            <p:sp>
              <p:nvSpPr>
                <p:cNvPr id="8172" name="Google Shape;8172;p53"/>
                <p:cNvSpPr/>
                <p:nvPr/>
              </p:nvSpPr>
              <p:spPr>
                <a:xfrm>
                  <a:off x="4609421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4005" y="1714"/>
                      </a:cubicBezTo>
                      <a:cubicBezTo>
                        <a:pt x="3996" y="683"/>
                        <a:pt x="3152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3" name="Google Shape;8173;p53"/>
                <p:cNvSpPr/>
                <p:nvPr/>
              </p:nvSpPr>
              <p:spPr>
                <a:xfrm>
                  <a:off x="4623594" y="358707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74" name="Google Shape;8174;p53"/>
              <p:cNvGrpSpPr/>
              <p:nvPr/>
            </p:nvGrpSpPr>
            <p:grpSpPr>
              <a:xfrm>
                <a:off x="4649289" y="3577398"/>
                <a:ext cx="31499" cy="27001"/>
                <a:chOff x="4649289" y="3577398"/>
                <a:chExt cx="31499" cy="27001"/>
              </a:xfrm>
            </p:grpSpPr>
            <p:sp>
              <p:nvSpPr>
                <p:cNvPr id="8175" name="Google Shape;8175;p53"/>
                <p:cNvSpPr/>
                <p:nvPr/>
              </p:nvSpPr>
              <p:spPr>
                <a:xfrm>
                  <a:off x="4649289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6" name="Google Shape;8176;p53"/>
                <p:cNvSpPr/>
                <p:nvPr/>
              </p:nvSpPr>
              <p:spPr>
                <a:xfrm>
                  <a:off x="4662227" y="3587072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35"/>
                      </a:cubicBezTo>
                      <a:cubicBezTo>
                        <a:pt x="400" y="932"/>
                        <a:pt x="519" y="976"/>
                        <a:pt x="636" y="976"/>
                      </a:cubicBezTo>
                      <a:cubicBezTo>
                        <a:pt x="885" y="976"/>
                        <a:pt x="1125" y="780"/>
                        <a:pt x="1125" y="484"/>
                      </a:cubicBezTo>
                      <a:cubicBezTo>
                        <a:pt x="1125" y="218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77" name="Google Shape;8177;p53"/>
              <p:cNvGrpSpPr/>
              <p:nvPr/>
            </p:nvGrpSpPr>
            <p:grpSpPr>
              <a:xfrm>
                <a:off x="4605614" y="3639523"/>
                <a:ext cx="31499" cy="26906"/>
                <a:chOff x="4605614" y="3639523"/>
                <a:chExt cx="31499" cy="26906"/>
              </a:xfrm>
            </p:grpSpPr>
            <p:sp>
              <p:nvSpPr>
                <p:cNvPr id="8178" name="Google Shape;8178;p53"/>
                <p:cNvSpPr/>
                <p:nvPr/>
              </p:nvSpPr>
              <p:spPr>
                <a:xfrm>
                  <a:off x="4605614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6" y="1"/>
                      </a:moveTo>
                      <a:cubicBezTo>
                        <a:pt x="1855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4005" y="1715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9" name="Google Shape;8179;p53"/>
                <p:cNvSpPr/>
                <p:nvPr/>
              </p:nvSpPr>
              <p:spPr>
                <a:xfrm>
                  <a:off x="4619795" y="3649197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0" name="Google Shape;8180;p53"/>
              <p:cNvGrpSpPr/>
              <p:nvPr/>
            </p:nvGrpSpPr>
            <p:grpSpPr>
              <a:xfrm>
                <a:off x="4785149" y="3618846"/>
                <a:ext cx="26930" cy="26843"/>
                <a:chOff x="4785149" y="3618846"/>
                <a:chExt cx="26930" cy="26843"/>
              </a:xfrm>
            </p:grpSpPr>
            <p:sp>
              <p:nvSpPr>
                <p:cNvPr id="8181" name="Google Shape;8181;p53"/>
                <p:cNvSpPr/>
                <p:nvPr/>
              </p:nvSpPr>
              <p:spPr>
                <a:xfrm>
                  <a:off x="4785149" y="3618846"/>
                  <a:ext cx="26930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13" extrusionOk="0">
                      <a:moveTo>
                        <a:pt x="1718" y="1"/>
                      </a:moveTo>
                      <a:cubicBezTo>
                        <a:pt x="774" y="1"/>
                        <a:pt x="0" y="763"/>
                        <a:pt x="0" y="1707"/>
                      </a:cubicBezTo>
                      <a:cubicBezTo>
                        <a:pt x="0" y="2650"/>
                        <a:pt x="774" y="3412"/>
                        <a:pt x="1718" y="3412"/>
                      </a:cubicBezTo>
                      <a:cubicBezTo>
                        <a:pt x="2662" y="3412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2" name="Google Shape;8182;p53"/>
                <p:cNvSpPr/>
                <p:nvPr/>
              </p:nvSpPr>
              <p:spPr>
                <a:xfrm>
                  <a:off x="4793611" y="3628457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2" y="1"/>
                      </a:moveTo>
                      <a:cubicBezTo>
                        <a:pt x="206" y="1"/>
                        <a:pt x="1" y="521"/>
                        <a:pt x="303" y="823"/>
                      </a:cubicBezTo>
                      <a:cubicBezTo>
                        <a:pt x="401" y="921"/>
                        <a:pt x="521" y="964"/>
                        <a:pt x="639" y="964"/>
                      </a:cubicBezTo>
                      <a:cubicBezTo>
                        <a:pt x="887" y="964"/>
                        <a:pt x="1126" y="772"/>
                        <a:pt x="1126" y="485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3" name="Google Shape;8183;p53"/>
              <p:cNvGrpSpPr/>
              <p:nvPr/>
            </p:nvGrpSpPr>
            <p:grpSpPr>
              <a:xfrm>
                <a:off x="4810167" y="3601567"/>
                <a:ext cx="31405" cy="26898"/>
                <a:chOff x="4810167" y="3601567"/>
                <a:chExt cx="31405" cy="26898"/>
              </a:xfrm>
            </p:grpSpPr>
            <p:sp>
              <p:nvSpPr>
                <p:cNvPr id="8184" name="Google Shape;8184;p53"/>
                <p:cNvSpPr/>
                <p:nvPr/>
              </p:nvSpPr>
              <p:spPr>
                <a:xfrm>
                  <a:off x="4810167" y="360156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5" name="Google Shape;8185;p53"/>
                <p:cNvSpPr/>
                <p:nvPr/>
              </p:nvSpPr>
              <p:spPr>
                <a:xfrm>
                  <a:off x="4824348" y="3611241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6" name="Google Shape;8186;p53"/>
              <p:cNvGrpSpPr/>
              <p:nvPr/>
            </p:nvGrpSpPr>
            <p:grpSpPr>
              <a:xfrm>
                <a:off x="4831002" y="3373230"/>
                <a:ext cx="31405" cy="26898"/>
                <a:chOff x="4831002" y="3373230"/>
                <a:chExt cx="31405" cy="26898"/>
              </a:xfrm>
            </p:grpSpPr>
            <p:sp>
              <p:nvSpPr>
                <p:cNvPr id="8187" name="Google Shape;8187;p53"/>
                <p:cNvSpPr/>
                <p:nvPr/>
              </p:nvSpPr>
              <p:spPr>
                <a:xfrm>
                  <a:off x="4831002" y="3373230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8" name="Google Shape;8188;p53"/>
                <p:cNvSpPr/>
                <p:nvPr/>
              </p:nvSpPr>
              <p:spPr>
                <a:xfrm>
                  <a:off x="4845182" y="3382896"/>
                  <a:ext cx="7519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6" h="969" extrusionOk="0">
                      <a:moveTo>
                        <a:pt x="472" y="1"/>
                      </a:moveTo>
                      <a:cubicBezTo>
                        <a:pt x="206" y="1"/>
                        <a:pt x="0" y="219"/>
                        <a:pt x="0" y="485"/>
                      </a:cubicBezTo>
                      <a:cubicBezTo>
                        <a:pt x="0" y="751"/>
                        <a:pt x="206" y="969"/>
                        <a:pt x="472" y="969"/>
                      </a:cubicBezTo>
                      <a:cubicBezTo>
                        <a:pt x="750" y="969"/>
                        <a:pt x="956" y="751"/>
                        <a:pt x="956" y="485"/>
                      </a:cubicBezTo>
                      <a:cubicBezTo>
                        <a:pt x="956" y="219"/>
                        <a:pt x="750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9" name="Google Shape;8189;p53"/>
              <p:cNvGrpSpPr/>
              <p:nvPr/>
            </p:nvGrpSpPr>
            <p:grpSpPr>
              <a:xfrm>
                <a:off x="4719311" y="3355054"/>
                <a:ext cx="31499" cy="27001"/>
                <a:chOff x="4719311" y="3355054"/>
                <a:chExt cx="31499" cy="27001"/>
              </a:xfrm>
            </p:grpSpPr>
            <p:sp>
              <p:nvSpPr>
                <p:cNvPr id="8190" name="Google Shape;8190;p53"/>
                <p:cNvSpPr/>
                <p:nvPr/>
              </p:nvSpPr>
              <p:spPr>
                <a:xfrm>
                  <a:off x="4719311" y="335505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7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1" name="Google Shape;8191;p53"/>
                <p:cNvSpPr/>
                <p:nvPr/>
              </p:nvSpPr>
              <p:spPr>
                <a:xfrm>
                  <a:off x="4733578" y="3364822"/>
                  <a:ext cx="7527" cy="75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7" extrusionOk="0">
                      <a:moveTo>
                        <a:pt x="473" y="1"/>
                      </a:moveTo>
                      <a:cubicBezTo>
                        <a:pt x="206" y="1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73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1"/>
                        <a:pt x="47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2" name="Google Shape;8192;p53"/>
              <p:cNvGrpSpPr/>
              <p:nvPr/>
            </p:nvGrpSpPr>
            <p:grpSpPr>
              <a:xfrm>
                <a:off x="4798755" y="3450260"/>
                <a:ext cx="26930" cy="26930"/>
                <a:chOff x="4798755" y="3450260"/>
                <a:chExt cx="26930" cy="26930"/>
              </a:xfrm>
            </p:grpSpPr>
            <p:sp>
              <p:nvSpPr>
                <p:cNvPr id="8193" name="Google Shape;8193;p53"/>
                <p:cNvSpPr/>
                <p:nvPr/>
              </p:nvSpPr>
              <p:spPr>
                <a:xfrm>
                  <a:off x="4798755" y="3450260"/>
                  <a:ext cx="26930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24" extrusionOk="0">
                      <a:moveTo>
                        <a:pt x="1718" y="0"/>
                      </a:moveTo>
                      <a:cubicBezTo>
                        <a:pt x="774" y="0"/>
                        <a:pt x="0" y="763"/>
                        <a:pt x="0" y="1706"/>
                      </a:cubicBezTo>
                      <a:cubicBezTo>
                        <a:pt x="0" y="2650"/>
                        <a:pt x="774" y="3424"/>
                        <a:pt x="1718" y="3424"/>
                      </a:cubicBezTo>
                      <a:cubicBezTo>
                        <a:pt x="2661" y="3424"/>
                        <a:pt x="3423" y="2650"/>
                        <a:pt x="3423" y="1706"/>
                      </a:cubicBezTo>
                      <a:cubicBezTo>
                        <a:pt x="3423" y="763"/>
                        <a:pt x="2661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4" name="Google Shape;8194;p53"/>
                <p:cNvSpPr/>
                <p:nvPr/>
              </p:nvSpPr>
              <p:spPr>
                <a:xfrm>
                  <a:off x="4807218" y="345987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5" name="Google Shape;8195;p53"/>
              <p:cNvGrpSpPr/>
              <p:nvPr/>
            </p:nvGrpSpPr>
            <p:grpSpPr>
              <a:xfrm>
                <a:off x="4645576" y="3467555"/>
                <a:ext cx="31405" cy="26953"/>
                <a:chOff x="4645576" y="3467555"/>
                <a:chExt cx="31405" cy="26953"/>
              </a:xfrm>
            </p:grpSpPr>
            <p:sp>
              <p:nvSpPr>
                <p:cNvPr id="8196" name="Google Shape;8196;p53"/>
                <p:cNvSpPr/>
                <p:nvPr/>
              </p:nvSpPr>
              <p:spPr>
                <a:xfrm>
                  <a:off x="4645576" y="3467555"/>
                  <a:ext cx="31405" cy="269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7" extrusionOk="0">
                      <a:moveTo>
                        <a:pt x="2272" y="0"/>
                      </a:moveTo>
                      <a:cubicBezTo>
                        <a:pt x="1853" y="0"/>
                        <a:pt x="1425" y="155"/>
                        <a:pt x="1077" y="499"/>
                      </a:cubicBezTo>
                      <a:cubicBezTo>
                        <a:pt x="0" y="1576"/>
                        <a:pt x="750" y="3414"/>
                        <a:pt x="2274" y="3426"/>
                      </a:cubicBezTo>
                      <a:cubicBezTo>
                        <a:pt x="3218" y="3426"/>
                        <a:pt x="3992" y="2652"/>
                        <a:pt x="3992" y="1709"/>
                      </a:cubicBezTo>
                      <a:cubicBezTo>
                        <a:pt x="3992" y="677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7" name="Google Shape;8197;p53"/>
                <p:cNvSpPr/>
                <p:nvPr/>
              </p:nvSpPr>
              <p:spPr>
                <a:xfrm>
                  <a:off x="4659749" y="3477182"/>
                  <a:ext cx="7527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69" extrusionOk="0">
                      <a:moveTo>
                        <a:pt x="472" y="1"/>
                      </a:moveTo>
                      <a:cubicBezTo>
                        <a:pt x="206" y="1"/>
                        <a:pt x="1" y="219"/>
                        <a:pt x="1" y="485"/>
                      </a:cubicBezTo>
                      <a:cubicBezTo>
                        <a:pt x="1" y="751"/>
                        <a:pt x="206" y="969"/>
                        <a:pt x="472" y="969"/>
                      </a:cubicBezTo>
                      <a:cubicBezTo>
                        <a:pt x="751" y="969"/>
                        <a:pt x="956" y="751"/>
                        <a:pt x="956" y="485"/>
                      </a:cubicBezTo>
                      <a:cubicBezTo>
                        <a:pt x="956" y="219"/>
                        <a:pt x="751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8" name="Google Shape;8198;p53"/>
              <p:cNvGrpSpPr/>
              <p:nvPr/>
            </p:nvGrpSpPr>
            <p:grpSpPr>
              <a:xfrm>
                <a:off x="4687631" y="3583965"/>
                <a:ext cx="31499" cy="26898"/>
                <a:chOff x="4687631" y="3583965"/>
                <a:chExt cx="31499" cy="26898"/>
              </a:xfrm>
            </p:grpSpPr>
            <p:sp>
              <p:nvSpPr>
                <p:cNvPr id="8199" name="Google Shape;8199;p53"/>
                <p:cNvSpPr/>
                <p:nvPr/>
              </p:nvSpPr>
              <p:spPr>
                <a:xfrm>
                  <a:off x="4687631" y="358396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0" name="Google Shape;8200;p53"/>
                <p:cNvSpPr/>
                <p:nvPr/>
              </p:nvSpPr>
              <p:spPr>
                <a:xfrm>
                  <a:off x="4700568" y="3593639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4" y="920"/>
                        <a:pt x="525" y="964"/>
                        <a:pt x="644" y="964"/>
                      </a:cubicBezTo>
                      <a:cubicBezTo>
                        <a:pt x="893" y="964"/>
                        <a:pt x="1129" y="771"/>
                        <a:pt x="1137" y="484"/>
                      </a:cubicBezTo>
                      <a:cubicBezTo>
                        <a:pt x="1137" y="218"/>
                        <a:pt x="920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1" name="Google Shape;8201;p53"/>
              <p:cNvGrpSpPr/>
              <p:nvPr/>
            </p:nvGrpSpPr>
            <p:grpSpPr>
              <a:xfrm>
                <a:off x="4719311" y="3471314"/>
                <a:ext cx="31499" cy="27001"/>
                <a:chOff x="4719311" y="3471314"/>
                <a:chExt cx="31499" cy="27001"/>
              </a:xfrm>
            </p:grpSpPr>
            <p:sp>
              <p:nvSpPr>
                <p:cNvPr id="8202" name="Google Shape;8202;p53"/>
                <p:cNvSpPr/>
                <p:nvPr/>
              </p:nvSpPr>
              <p:spPr>
                <a:xfrm>
                  <a:off x="4719311" y="347131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5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3" name="Google Shape;8203;p53"/>
                <p:cNvSpPr/>
                <p:nvPr/>
              </p:nvSpPr>
              <p:spPr>
                <a:xfrm>
                  <a:off x="4732249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4" name="Google Shape;8204;p53"/>
              <p:cNvGrpSpPr/>
              <p:nvPr/>
            </p:nvGrpSpPr>
            <p:grpSpPr>
              <a:xfrm>
                <a:off x="4719311" y="3434404"/>
                <a:ext cx="31499" cy="26898"/>
                <a:chOff x="4719311" y="3434404"/>
                <a:chExt cx="31499" cy="26898"/>
              </a:xfrm>
            </p:grpSpPr>
            <p:sp>
              <p:nvSpPr>
                <p:cNvPr id="8205" name="Google Shape;8205;p53"/>
                <p:cNvSpPr/>
                <p:nvPr/>
              </p:nvSpPr>
              <p:spPr>
                <a:xfrm>
                  <a:off x="4719311" y="343440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6" name="Google Shape;8206;p53"/>
                <p:cNvSpPr/>
                <p:nvPr/>
              </p:nvSpPr>
              <p:spPr>
                <a:xfrm>
                  <a:off x="4732249" y="3444078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6" y="964"/>
                        <a:pt x="1125" y="771"/>
                        <a:pt x="1125" y="484"/>
                      </a:cubicBezTo>
                      <a:cubicBezTo>
                        <a:pt x="1125" y="218"/>
                        <a:pt x="920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7" name="Google Shape;8207;p53"/>
              <p:cNvGrpSpPr/>
              <p:nvPr/>
            </p:nvGrpSpPr>
            <p:grpSpPr>
              <a:xfrm>
                <a:off x="4768876" y="3401772"/>
                <a:ext cx="31499" cy="26898"/>
                <a:chOff x="4768876" y="3401772"/>
                <a:chExt cx="31499" cy="26898"/>
              </a:xfrm>
            </p:grpSpPr>
            <p:sp>
              <p:nvSpPr>
                <p:cNvPr id="8208" name="Google Shape;8208;p53"/>
                <p:cNvSpPr/>
                <p:nvPr/>
              </p:nvSpPr>
              <p:spPr>
                <a:xfrm>
                  <a:off x="4768876" y="340177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5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3"/>
                        <a:pt x="3157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9" name="Google Shape;8209;p53"/>
                <p:cNvSpPr/>
                <p:nvPr/>
              </p:nvSpPr>
              <p:spPr>
                <a:xfrm>
                  <a:off x="4783057" y="341143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0" name="Google Shape;8210;p53"/>
              <p:cNvGrpSpPr/>
              <p:nvPr/>
            </p:nvGrpSpPr>
            <p:grpSpPr>
              <a:xfrm>
                <a:off x="4762214" y="3471377"/>
                <a:ext cx="26938" cy="26938"/>
                <a:chOff x="4762214" y="3471377"/>
                <a:chExt cx="26938" cy="26938"/>
              </a:xfrm>
            </p:grpSpPr>
            <p:sp>
              <p:nvSpPr>
                <p:cNvPr id="8211" name="Google Shape;8211;p53"/>
                <p:cNvSpPr/>
                <p:nvPr/>
              </p:nvSpPr>
              <p:spPr>
                <a:xfrm>
                  <a:off x="4762214" y="3471377"/>
                  <a:ext cx="26938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5" h="3425" extrusionOk="0">
                      <a:moveTo>
                        <a:pt x="1707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24"/>
                        <a:pt x="1707" y="3424"/>
                      </a:cubicBezTo>
                      <a:cubicBezTo>
                        <a:pt x="2662" y="3424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2" name="Google Shape;8212;p53"/>
                <p:cNvSpPr/>
                <p:nvPr/>
              </p:nvSpPr>
              <p:spPr>
                <a:xfrm>
                  <a:off x="4770591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3" name="Google Shape;8213;p53"/>
              <p:cNvGrpSpPr/>
              <p:nvPr/>
            </p:nvGrpSpPr>
            <p:grpSpPr>
              <a:xfrm>
                <a:off x="4790473" y="3344782"/>
                <a:ext cx="31405" cy="26898"/>
                <a:chOff x="4790473" y="3344782"/>
                <a:chExt cx="31405" cy="26898"/>
              </a:xfrm>
            </p:grpSpPr>
            <p:sp>
              <p:nvSpPr>
                <p:cNvPr id="8214" name="Google Shape;8214;p53"/>
                <p:cNvSpPr/>
                <p:nvPr/>
              </p:nvSpPr>
              <p:spPr>
                <a:xfrm>
                  <a:off x="4790473" y="334478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5" name="Google Shape;8215;p53"/>
                <p:cNvSpPr/>
                <p:nvPr/>
              </p:nvSpPr>
              <p:spPr>
                <a:xfrm>
                  <a:off x="4804654" y="3354456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6" name="Google Shape;8216;p53"/>
              <p:cNvGrpSpPr/>
              <p:nvPr/>
            </p:nvGrpSpPr>
            <p:grpSpPr>
              <a:xfrm>
                <a:off x="4823774" y="3950733"/>
                <a:ext cx="37398" cy="32034"/>
                <a:chOff x="4823774" y="3950733"/>
                <a:chExt cx="37398" cy="32034"/>
              </a:xfrm>
            </p:grpSpPr>
            <p:sp>
              <p:nvSpPr>
                <p:cNvPr id="8217" name="Google Shape;8217;p53"/>
                <p:cNvSpPr/>
                <p:nvPr/>
              </p:nvSpPr>
              <p:spPr>
                <a:xfrm>
                  <a:off x="4823774" y="3950733"/>
                  <a:ext cx="37398" cy="320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55" h="4073" extrusionOk="0">
                      <a:moveTo>
                        <a:pt x="2707" y="1"/>
                      </a:moveTo>
                      <a:cubicBezTo>
                        <a:pt x="2207" y="1"/>
                        <a:pt x="1698" y="186"/>
                        <a:pt x="1283" y="601"/>
                      </a:cubicBezTo>
                      <a:cubicBezTo>
                        <a:pt x="1" y="1883"/>
                        <a:pt x="908" y="4073"/>
                        <a:pt x="2722" y="4073"/>
                      </a:cubicBezTo>
                      <a:cubicBezTo>
                        <a:pt x="3835" y="4073"/>
                        <a:pt x="4755" y="3166"/>
                        <a:pt x="4755" y="2041"/>
                      </a:cubicBezTo>
                      <a:cubicBezTo>
                        <a:pt x="4755" y="813"/>
                        <a:pt x="3752" y="1"/>
                        <a:pt x="2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8" name="Google Shape;8218;p53"/>
                <p:cNvSpPr/>
                <p:nvPr/>
              </p:nvSpPr>
              <p:spPr>
                <a:xfrm>
                  <a:off x="4836617" y="3960407"/>
                  <a:ext cx="14849" cy="12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88" h="1617" extrusionOk="0">
                      <a:moveTo>
                        <a:pt x="1089" y="0"/>
                      </a:moveTo>
                      <a:cubicBezTo>
                        <a:pt x="363" y="0"/>
                        <a:pt x="1" y="871"/>
                        <a:pt x="509" y="1379"/>
                      </a:cubicBezTo>
                      <a:cubicBezTo>
                        <a:pt x="673" y="1543"/>
                        <a:pt x="874" y="1616"/>
                        <a:pt x="1073" y="1616"/>
                      </a:cubicBezTo>
                      <a:cubicBezTo>
                        <a:pt x="1488" y="1616"/>
                        <a:pt x="1888" y="1294"/>
                        <a:pt x="1888" y="811"/>
                      </a:cubicBezTo>
                      <a:cubicBezTo>
                        <a:pt x="1888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9" name="Google Shape;8219;p53"/>
              <p:cNvGrpSpPr/>
              <p:nvPr/>
            </p:nvGrpSpPr>
            <p:grpSpPr>
              <a:xfrm>
                <a:off x="4823396" y="4110566"/>
                <a:ext cx="31405" cy="26906"/>
                <a:chOff x="4823396" y="4110566"/>
                <a:chExt cx="31405" cy="26906"/>
              </a:xfrm>
            </p:grpSpPr>
            <p:sp>
              <p:nvSpPr>
                <p:cNvPr id="8220" name="Google Shape;8220;p53"/>
                <p:cNvSpPr/>
                <p:nvPr/>
              </p:nvSpPr>
              <p:spPr>
                <a:xfrm>
                  <a:off x="4823396" y="4110566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1" name="Google Shape;8221;p53"/>
                <p:cNvSpPr/>
                <p:nvPr/>
              </p:nvSpPr>
              <p:spPr>
                <a:xfrm>
                  <a:off x="4836240" y="412014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3" y="1"/>
                      </a:moveTo>
                      <a:cubicBezTo>
                        <a:pt x="218" y="1"/>
                        <a:pt x="0" y="533"/>
                        <a:pt x="303" y="835"/>
                      </a:cubicBezTo>
                      <a:cubicBezTo>
                        <a:pt x="404" y="933"/>
                        <a:pt x="527" y="976"/>
                        <a:pt x="646" y="976"/>
                      </a:cubicBezTo>
                      <a:cubicBezTo>
                        <a:pt x="898" y="976"/>
                        <a:pt x="1137" y="784"/>
                        <a:pt x="1137" y="497"/>
                      </a:cubicBezTo>
                      <a:cubicBezTo>
                        <a:pt x="1137" y="218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2" name="Google Shape;8222;p53"/>
              <p:cNvGrpSpPr/>
              <p:nvPr/>
            </p:nvGrpSpPr>
            <p:grpSpPr>
              <a:xfrm>
                <a:off x="4838332" y="3821150"/>
                <a:ext cx="31499" cy="26898"/>
                <a:chOff x="4838332" y="3821150"/>
                <a:chExt cx="31499" cy="26898"/>
              </a:xfrm>
            </p:grpSpPr>
            <p:sp>
              <p:nvSpPr>
                <p:cNvPr id="8223" name="Google Shape;8223;p53"/>
                <p:cNvSpPr/>
                <p:nvPr/>
              </p:nvSpPr>
              <p:spPr>
                <a:xfrm>
                  <a:off x="4838332" y="3821150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1"/>
                      </a:moveTo>
                      <a:cubicBezTo>
                        <a:pt x="1865" y="1"/>
                        <a:pt x="1437" y="156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4" name="Google Shape;8224;p53"/>
                <p:cNvSpPr/>
                <p:nvPr/>
              </p:nvSpPr>
              <p:spPr>
                <a:xfrm>
                  <a:off x="4851270" y="3830824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4" y="920"/>
                        <a:pt x="526" y="964"/>
                        <a:pt x="644" y="964"/>
                      </a:cubicBezTo>
                      <a:cubicBezTo>
                        <a:pt x="893" y="964"/>
                        <a:pt x="1129" y="771"/>
                        <a:pt x="1138" y="484"/>
                      </a:cubicBezTo>
                      <a:cubicBezTo>
                        <a:pt x="1125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5" name="Google Shape;8225;p53"/>
              <p:cNvGrpSpPr/>
              <p:nvPr/>
            </p:nvGrpSpPr>
            <p:grpSpPr>
              <a:xfrm>
                <a:off x="4661275" y="3815007"/>
                <a:ext cx="36824" cy="31523"/>
                <a:chOff x="4661275" y="3815007"/>
                <a:chExt cx="36824" cy="31523"/>
              </a:xfrm>
            </p:grpSpPr>
            <p:sp>
              <p:nvSpPr>
                <p:cNvPr id="8226" name="Google Shape;8226;p53"/>
                <p:cNvSpPr/>
                <p:nvPr/>
              </p:nvSpPr>
              <p:spPr>
                <a:xfrm>
                  <a:off x="4661275" y="3815007"/>
                  <a:ext cx="36824" cy="315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2" h="4008" extrusionOk="0">
                      <a:moveTo>
                        <a:pt x="2663" y="0"/>
                      </a:moveTo>
                      <a:cubicBezTo>
                        <a:pt x="2169" y="0"/>
                        <a:pt x="1666" y="184"/>
                        <a:pt x="1258" y="596"/>
                      </a:cubicBezTo>
                      <a:cubicBezTo>
                        <a:pt x="0" y="1854"/>
                        <a:pt x="895" y="4007"/>
                        <a:pt x="2674" y="4007"/>
                      </a:cubicBezTo>
                      <a:cubicBezTo>
                        <a:pt x="3774" y="4007"/>
                        <a:pt x="4682" y="3112"/>
                        <a:pt x="4682" y="2011"/>
                      </a:cubicBezTo>
                      <a:cubicBezTo>
                        <a:pt x="4682" y="801"/>
                        <a:pt x="3692" y="0"/>
                        <a:pt x="266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7" name="Google Shape;8227;p53"/>
                <p:cNvSpPr/>
                <p:nvPr/>
              </p:nvSpPr>
              <p:spPr>
                <a:xfrm>
                  <a:off x="4676211" y="3824736"/>
                  <a:ext cx="12183" cy="121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49" h="1549" extrusionOk="0">
                      <a:moveTo>
                        <a:pt x="775" y="0"/>
                      </a:moveTo>
                      <a:cubicBezTo>
                        <a:pt x="351" y="0"/>
                        <a:pt x="0" y="339"/>
                        <a:pt x="0" y="774"/>
                      </a:cubicBezTo>
                      <a:cubicBezTo>
                        <a:pt x="0" y="1198"/>
                        <a:pt x="351" y="1549"/>
                        <a:pt x="775" y="1549"/>
                      </a:cubicBezTo>
                      <a:cubicBezTo>
                        <a:pt x="1210" y="1549"/>
                        <a:pt x="1549" y="1198"/>
                        <a:pt x="1549" y="774"/>
                      </a:cubicBezTo>
                      <a:cubicBezTo>
                        <a:pt x="1549" y="339"/>
                        <a:pt x="1210" y="0"/>
                        <a:pt x="77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8" name="Google Shape;8228;p53"/>
              <p:cNvGrpSpPr/>
              <p:nvPr/>
            </p:nvGrpSpPr>
            <p:grpSpPr>
              <a:xfrm>
                <a:off x="4558998" y="3851037"/>
                <a:ext cx="33591" cy="28699"/>
                <a:chOff x="4558998" y="3851037"/>
                <a:chExt cx="33591" cy="28699"/>
              </a:xfrm>
            </p:grpSpPr>
            <p:sp>
              <p:nvSpPr>
                <p:cNvPr id="8229" name="Google Shape;8229;p53"/>
                <p:cNvSpPr/>
                <p:nvPr/>
              </p:nvSpPr>
              <p:spPr>
                <a:xfrm>
                  <a:off x="4558998" y="3851037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30" y="0"/>
                      </a:moveTo>
                      <a:cubicBezTo>
                        <a:pt x="1980" y="0"/>
                        <a:pt x="1522" y="167"/>
                        <a:pt x="1149" y="539"/>
                      </a:cubicBezTo>
                      <a:cubicBezTo>
                        <a:pt x="0" y="1688"/>
                        <a:pt x="823" y="3648"/>
                        <a:pt x="2444" y="3648"/>
                      </a:cubicBezTo>
                      <a:cubicBezTo>
                        <a:pt x="3448" y="3648"/>
                        <a:pt x="4270" y="2838"/>
                        <a:pt x="4270" y="1822"/>
                      </a:cubicBezTo>
                      <a:cubicBezTo>
                        <a:pt x="4270" y="726"/>
                        <a:pt x="3369" y="0"/>
                        <a:pt x="24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0" name="Google Shape;8230;p53"/>
                <p:cNvSpPr/>
                <p:nvPr/>
              </p:nvSpPr>
              <p:spPr>
                <a:xfrm>
                  <a:off x="4573557" y="386069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5" y="932"/>
                        <a:pt x="1185" y="594"/>
                      </a:cubicBezTo>
                      <a:cubicBezTo>
                        <a:pt x="1185" y="267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1" name="Google Shape;8231;p53"/>
              <p:cNvGrpSpPr/>
              <p:nvPr/>
            </p:nvGrpSpPr>
            <p:grpSpPr>
              <a:xfrm>
                <a:off x="4696762" y="3638587"/>
                <a:ext cx="33591" cy="28794"/>
                <a:chOff x="4696762" y="3638587"/>
                <a:chExt cx="33591" cy="28794"/>
              </a:xfrm>
            </p:grpSpPr>
            <p:sp>
              <p:nvSpPr>
                <p:cNvPr id="8232" name="Google Shape;8232;p53"/>
                <p:cNvSpPr/>
                <p:nvPr/>
              </p:nvSpPr>
              <p:spPr>
                <a:xfrm>
                  <a:off x="4696762" y="3638587"/>
                  <a:ext cx="33591" cy="287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61" extrusionOk="0">
                      <a:moveTo>
                        <a:pt x="2426" y="1"/>
                      </a:moveTo>
                      <a:cubicBezTo>
                        <a:pt x="1978" y="1"/>
                        <a:pt x="1521" y="167"/>
                        <a:pt x="1150" y="539"/>
                      </a:cubicBezTo>
                      <a:cubicBezTo>
                        <a:pt x="0" y="1688"/>
                        <a:pt x="823" y="3660"/>
                        <a:pt x="2444" y="3660"/>
                      </a:cubicBezTo>
                      <a:cubicBezTo>
                        <a:pt x="3448" y="3648"/>
                        <a:pt x="4258" y="2838"/>
                        <a:pt x="4270" y="1834"/>
                      </a:cubicBezTo>
                      <a:cubicBezTo>
                        <a:pt x="4262" y="729"/>
                        <a:pt x="3363" y="1"/>
                        <a:pt x="24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3" name="Google Shape;8233;p53"/>
                <p:cNvSpPr/>
                <p:nvPr/>
              </p:nvSpPr>
              <p:spPr>
                <a:xfrm>
                  <a:off x="4711320" y="364824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79"/>
                        <a:pt x="0" y="606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6" y="932"/>
                        <a:pt x="1186" y="606"/>
                      </a:cubicBezTo>
                      <a:cubicBezTo>
                        <a:pt x="1186" y="279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4" name="Google Shape;8234;p53"/>
              <p:cNvGrpSpPr/>
              <p:nvPr/>
            </p:nvGrpSpPr>
            <p:grpSpPr>
              <a:xfrm>
                <a:off x="4929479" y="3939140"/>
                <a:ext cx="33497" cy="28692"/>
                <a:chOff x="4929479" y="3939140"/>
                <a:chExt cx="33497" cy="28692"/>
              </a:xfrm>
            </p:grpSpPr>
            <p:sp>
              <p:nvSpPr>
                <p:cNvPr id="8235" name="Google Shape;8235;p53"/>
                <p:cNvSpPr/>
                <p:nvPr/>
              </p:nvSpPr>
              <p:spPr>
                <a:xfrm>
                  <a:off x="4929479" y="3939140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8" y="0"/>
                        <a:pt x="1521" y="167"/>
                        <a:pt x="1149" y="539"/>
                      </a:cubicBezTo>
                      <a:cubicBezTo>
                        <a:pt x="0" y="1688"/>
                        <a:pt x="811" y="3648"/>
                        <a:pt x="2431" y="3648"/>
                      </a:cubicBezTo>
                      <a:cubicBezTo>
                        <a:pt x="3448" y="3648"/>
                        <a:pt x="4258" y="2837"/>
                        <a:pt x="4258" y="1833"/>
                      </a:cubicBezTo>
                      <a:cubicBezTo>
                        <a:pt x="4258" y="729"/>
                        <a:pt x="3361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6" name="Google Shape;8236;p53"/>
                <p:cNvSpPr/>
                <p:nvPr/>
              </p:nvSpPr>
              <p:spPr>
                <a:xfrm>
                  <a:off x="4943935" y="3948893"/>
                  <a:ext cx="9430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9" h="1186" extrusionOk="0">
                      <a:moveTo>
                        <a:pt x="593" y="0"/>
                      </a:moveTo>
                      <a:cubicBezTo>
                        <a:pt x="267" y="0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0"/>
                        <a:pt x="59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7" name="Google Shape;8237;p53"/>
              <p:cNvGrpSpPr/>
              <p:nvPr/>
            </p:nvGrpSpPr>
            <p:grpSpPr>
              <a:xfrm>
                <a:off x="4907119" y="3986039"/>
                <a:ext cx="33497" cy="28699"/>
                <a:chOff x="4907119" y="3986039"/>
                <a:chExt cx="33497" cy="28699"/>
              </a:xfrm>
            </p:grpSpPr>
            <p:sp>
              <p:nvSpPr>
                <p:cNvPr id="8238" name="Google Shape;8238;p53"/>
                <p:cNvSpPr/>
                <p:nvPr/>
              </p:nvSpPr>
              <p:spPr>
                <a:xfrm>
                  <a:off x="4907119" y="3986039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7"/>
                        <a:pt x="1149" y="540"/>
                      </a:cubicBezTo>
                      <a:cubicBezTo>
                        <a:pt x="0" y="1689"/>
                        <a:pt x="811" y="3648"/>
                        <a:pt x="2444" y="3648"/>
                      </a:cubicBezTo>
                      <a:cubicBezTo>
                        <a:pt x="3448" y="3648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9" name="Google Shape;8239;p53"/>
                <p:cNvSpPr/>
                <p:nvPr/>
              </p:nvSpPr>
              <p:spPr>
                <a:xfrm>
                  <a:off x="4921583" y="3995705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605" y="0"/>
                      </a:moveTo>
                      <a:cubicBezTo>
                        <a:pt x="266" y="0"/>
                        <a:pt x="0" y="266"/>
                        <a:pt x="0" y="593"/>
                      </a:cubicBezTo>
                      <a:cubicBezTo>
                        <a:pt x="0" y="919"/>
                        <a:pt x="266" y="1186"/>
                        <a:pt x="605" y="1186"/>
                      </a:cubicBezTo>
                      <a:cubicBezTo>
                        <a:pt x="931" y="1186"/>
                        <a:pt x="1198" y="919"/>
                        <a:pt x="1198" y="593"/>
                      </a:cubicBezTo>
                      <a:cubicBezTo>
                        <a:pt x="1198" y="266"/>
                        <a:pt x="931" y="0"/>
                        <a:pt x="60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40" name="Google Shape;8240;p53"/>
              <p:cNvGrpSpPr/>
              <p:nvPr/>
            </p:nvGrpSpPr>
            <p:grpSpPr>
              <a:xfrm>
                <a:off x="4911783" y="4048102"/>
                <a:ext cx="33591" cy="28762"/>
                <a:chOff x="4911783" y="4048102"/>
                <a:chExt cx="33591" cy="28762"/>
              </a:xfrm>
            </p:grpSpPr>
            <p:sp>
              <p:nvSpPr>
                <p:cNvPr id="8241" name="Google Shape;8241;p53"/>
                <p:cNvSpPr/>
                <p:nvPr/>
              </p:nvSpPr>
              <p:spPr>
                <a:xfrm>
                  <a:off x="4911783" y="4048102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2" y="0"/>
                      </a:moveTo>
                      <a:cubicBezTo>
                        <a:pt x="1974" y="0"/>
                        <a:pt x="1519" y="166"/>
                        <a:pt x="1149" y="536"/>
                      </a:cubicBezTo>
                      <a:cubicBezTo>
                        <a:pt x="0" y="1685"/>
                        <a:pt x="823" y="3657"/>
                        <a:pt x="2456" y="3657"/>
                      </a:cubicBezTo>
                      <a:cubicBezTo>
                        <a:pt x="3448" y="3645"/>
                        <a:pt x="4258" y="2834"/>
                        <a:pt x="4270" y="1842"/>
                      </a:cubicBezTo>
                      <a:cubicBezTo>
                        <a:pt x="4270" y="735"/>
                        <a:pt x="3364" y="0"/>
                        <a:pt x="242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42" name="Google Shape;8242;p53"/>
                <p:cNvSpPr/>
                <p:nvPr/>
              </p:nvSpPr>
              <p:spPr>
                <a:xfrm>
                  <a:off x="4926333" y="4057831"/>
                  <a:ext cx="9336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6" extrusionOk="0">
                      <a:moveTo>
                        <a:pt x="594" y="0"/>
                      </a:moveTo>
                      <a:cubicBezTo>
                        <a:pt x="267" y="0"/>
                        <a:pt x="1" y="266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6"/>
                        <a:pt x="920" y="0"/>
                        <a:pt x="59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243" name="Google Shape;8243;p53"/>
              <p:cNvSpPr/>
              <p:nvPr/>
            </p:nvSpPr>
            <p:spPr>
              <a:xfrm>
                <a:off x="4713506" y="3934476"/>
                <a:ext cx="33497" cy="28692"/>
              </a:xfrm>
              <a:custGeom>
                <a:avLst/>
                <a:gdLst/>
                <a:ahLst/>
                <a:cxnLst/>
                <a:rect l="l" t="t" r="r" b="b"/>
                <a:pathLst>
                  <a:path w="4259" h="3648" extrusionOk="0">
                    <a:moveTo>
                      <a:pt x="2422" y="0"/>
                    </a:moveTo>
                    <a:cubicBezTo>
                      <a:pt x="1974" y="0"/>
                      <a:pt x="1518" y="167"/>
                      <a:pt x="1150" y="539"/>
                    </a:cubicBezTo>
                    <a:cubicBezTo>
                      <a:pt x="0" y="1688"/>
                      <a:pt x="811" y="3648"/>
                      <a:pt x="2432" y="3648"/>
                    </a:cubicBezTo>
                    <a:cubicBezTo>
                      <a:pt x="3436" y="3648"/>
                      <a:pt x="4258" y="2838"/>
                      <a:pt x="4258" y="1821"/>
                    </a:cubicBezTo>
                    <a:cubicBezTo>
                      <a:pt x="4258" y="726"/>
                      <a:pt x="3357" y="0"/>
                      <a:pt x="2422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44" name="Google Shape;8244;p53"/>
              <p:cNvSpPr/>
              <p:nvPr/>
            </p:nvSpPr>
            <p:spPr>
              <a:xfrm>
                <a:off x="4727970" y="3944135"/>
                <a:ext cx="9328" cy="9430"/>
              </a:xfrm>
              <a:custGeom>
                <a:avLst/>
                <a:gdLst/>
                <a:ahLst/>
                <a:cxnLst/>
                <a:rect l="l" t="t" r="r" b="b"/>
                <a:pathLst>
                  <a:path w="1186" h="1199" extrusionOk="0">
                    <a:moveTo>
                      <a:pt x="593" y="1"/>
                    </a:moveTo>
                    <a:cubicBezTo>
                      <a:pt x="266" y="1"/>
                      <a:pt x="0" y="267"/>
                      <a:pt x="0" y="593"/>
                    </a:cubicBezTo>
                    <a:cubicBezTo>
                      <a:pt x="0" y="932"/>
                      <a:pt x="266" y="1198"/>
                      <a:pt x="593" y="1198"/>
                    </a:cubicBezTo>
                    <a:cubicBezTo>
                      <a:pt x="919" y="1198"/>
                      <a:pt x="1186" y="932"/>
                      <a:pt x="1186" y="593"/>
                    </a:cubicBezTo>
                    <a:cubicBezTo>
                      <a:pt x="1186" y="267"/>
                      <a:pt x="919" y="1"/>
                      <a:pt x="593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245" name="Google Shape;8245;p53"/>
              <p:cNvGrpSpPr/>
              <p:nvPr/>
            </p:nvGrpSpPr>
            <p:grpSpPr>
              <a:xfrm>
                <a:off x="4762623" y="3837847"/>
                <a:ext cx="42416" cy="36273"/>
                <a:chOff x="4762623" y="3837847"/>
                <a:chExt cx="42416" cy="36273"/>
              </a:xfrm>
            </p:grpSpPr>
            <p:sp>
              <p:nvSpPr>
                <p:cNvPr id="8246" name="Google Shape;8246;p53"/>
                <p:cNvSpPr/>
                <p:nvPr/>
              </p:nvSpPr>
              <p:spPr>
                <a:xfrm>
                  <a:off x="4762623" y="3837847"/>
                  <a:ext cx="42416" cy="36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93" h="4612" extrusionOk="0">
                      <a:moveTo>
                        <a:pt x="3064" y="1"/>
                      </a:moveTo>
                      <a:cubicBezTo>
                        <a:pt x="2496" y="1"/>
                        <a:pt x="1918" y="211"/>
                        <a:pt x="1449" y="680"/>
                      </a:cubicBezTo>
                      <a:cubicBezTo>
                        <a:pt x="1" y="2128"/>
                        <a:pt x="1033" y="4611"/>
                        <a:pt x="3067" y="4611"/>
                      </a:cubicBezTo>
                      <a:cubicBezTo>
                        <a:pt x="3072" y="4611"/>
                        <a:pt x="3077" y="4611"/>
                        <a:pt x="3082" y="4611"/>
                      </a:cubicBezTo>
                      <a:cubicBezTo>
                        <a:pt x="4352" y="4611"/>
                        <a:pt x="5380" y="3583"/>
                        <a:pt x="5392" y="2313"/>
                      </a:cubicBezTo>
                      <a:cubicBezTo>
                        <a:pt x="5392" y="921"/>
                        <a:pt x="4251" y="1"/>
                        <a:pt x="306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47" name="Google Shape;8247;p53"/>
                <p:cNvSpPr/>
                <p:nvPr/>
              </p:nvSpPr>
              <p:spPr>
                <a:xfrm>
                  <a:off x="4775538" y="3847568"/>
                  <a:ext cx="19796" cy="169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17" h="2156" extrusionOk="0">
                      <a:moveTo>
                        <a:pt x="1440" y="0"/>
                      </a:moveTo>
                      <a:cubicBezTo>
                        <a:pt x="484" y="0"/>
                        <a:pt x="0" y="1162"/>
                        <a:pt x="678" y="1839"/>
                      </a:cubicBezTo>
                      <a:cubicBezTo>
                        <a:pt x="896" y="2058"/>
                        <a:pt x="1165" y="2155"/>
                        <a:pt x="1429" y="2155"/>
                      </a:cubicBezTo>
                      <a:cubicBezTo>
                        <a:pt x="1984" y="2155"/>
                        <a:pt x="2517" y="1724"/>
                        <a:pt x="2517" y="1077"/>
                      </a:cubicBezTo>
                      <a:cubicBezTo>
                        <a:pt x="2517" y="484"/>
                        <a:pt x="2045" y="0"/>
                        <a:pt x="144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48" name="Google Shape;8248;p53"/>
              <p:cNvGrpSpPr/>
              <p:nvPr/>
            </p:nvGrpSpPr>
            <p:grpSpPr>
              <a:xfrm>
                <a:off x="4746044" y="4104966"/>
                <a:ext cx="33497" cy="28699"/>
                <a:chOff x="4746044" y="4104966"/>
                <a:chExt cx="33497" cy="28699"/>
              </a:xfrm>
            </p:grpSpPr>
            <p:sp>
              <p:nvSpPr>
                <p:cNvPr id="8249" name="Google Shape;8249;p53"/>
                <p:cNvSpPr/>
                <p:nvPr/>
              </p:nvSpPr>
              <p:spPr>
                <a:xfrm>
                  <a:off x="4746044" y="4104966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8" y="1"/>
                      </a:moveTo>
                      <a:cubicBezTo>
                        <a:pt x="1979" y="1"/>
                        <a:pt x="1522" y="167"/>
                        <a:pt x="1150" y="540"/>
                      </a:cubicBezTo>
                      <a:cubicBezTo>
                        <a:pt x="0" y="1677"/>
                        <a:pt x="811" y="3648"/>
                        <a:pt x="2432" y="3648"/>
                      </a:cubicBezTo>
                      <a:cubicBezTo>
                        <a:pt x="3436" y="3648"/>
                        <a:pt x="4259" y="2826"/>
                        <a:pt x="4259" y="1822"/>
                      </a:cubicBezTo>
                      <a:cubicBezTo>
                        <a:pt x="4259" y="726"/>
                        <a:pt x="3363" y="1"/>
                        <a:pt x="242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0" name="Google Shape;8250;p53"/>
                <p:cNvSpPr/>
                <p:nvPr/>
              </p:nvSpPr>
              <p:spPr>
                <a:xfrm>
                  <a:off x="4758887" y="4114632"/>
                  <a:ext cx="11042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2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5" y="1191"/>
                        <a:pt x="792" y="1191"/>
                      </a:cubicBezTo>
                      <a:cubicBezTo>
                        <a:pt x="1099" y="1191"/>
                        <a:pt x="1396" y="953"/>
                        <a:pt x="1404" y="593"/>
                      </a:cubicBezTo>
                      <a:cubicBezTo>
                        <a:pt x="1404" y="266"/>
                        <a:pt x="1126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51" name="Google Shape;8251;p53"/>
              <p:cNvGrpSpPr/>
              <p:nvPr/>
            </p:nvGrpSpPr>
            <p:grpSpPr>
              <a:xfrm>
                <a:off x="4859646" y="4162554"/>
                <a:ext cx="33591" cy="28762"/>
                <a:chOff x="4859646" y="4162554"/>
                <a:chExt cx="33591" cy="28762"/>
              </a:xfrm>
            </p:grpSpPr>
            <p:sp>
              <p:nvSpPr>
                <p:cNvPr id="8252" name="Google Shape;8252;p53"/>
                <p:cNvSpPr/>
                <p:nvPr/>
              </p:nvSpPr>
              <p:spPr>
                <a:xfrm>
                  <a:off x="4859646" y="4162554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3" y="0"/>
                      </a:moveTo>
                      <a:cubicBezTo>
                        <a:pt x="1975" y="0"/>
                        <a:pt x="1520" y="166"/>
                        <a:pt x="1149" y="536"/>
                      </a:cubicBezTo>
                      <a:cubicBezTo>
                        <a:pt x="0" y="1685"/>
                        <a:pt x="823" y="3657"/>
                        <a:pt x="2444" y="3657"/>
                      </a:cubicBezTo>
                      <a:cubicBezTo>
                        <a:pt x="3448" y="3657"/>
                        <a:pt x="4258" y="2834"/>
                        <a:pt x="4270" y="1830"/>
                      </a:cubicBezTo>
                      <a:cubicBezTo>
                        <a:pt x="4270" y="732"/>
                        <a:pt x="3365" y="0"/>
                        <a:pt x="24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3" name="Google Shape;8253;p53"/>
                <p:cNvSpPr/>
                <p:nvPr/>
              </p:nvSpPr>
              <p:spPr>
                <a:xfrm>
                  <a:off x="4874196" y="4172283"/>
                  <a:ext cx="9336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7" extrusionOk="0">
                      <a:moveTo>
                        <a:pt x="594" y="1"/>
                      </a:moveTo>
                      <a:cubicBezTo>
                        <a:pt x="267" y="1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7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254" name="Google Shape;8254;p53"/>
            <p:cNvGrpSpPr/>
            <p:nvPr/>
          </p:nvGrpSpPr>
          <p:grpSpPr>
            <a:xfrm>
              <a:off x="3597785" y="3274438"/>
              <a:ext cx="855610" cy="1122100"/>
              <a:chOff x="3597785" y="3274438"/>
              <a:chExt cx="855610" cy="1122100"/>
            </a:xfrm>
          </p:grpSpPr>
          <p:grpSp>
            <p:nvGrpSpPr>
              <p:cNvPr id="8255" name="Google Shape;8255;p53"/>
              <p:cNvGrpSpPr/>
              <p:nvPr/>
            </p:nvGrpSpPr>
            <p:grpSpPr>
              <a:xfrm>
                <a:off x="3617857" y="3284717"/>
                <a:ext cx="826785" cy="1099165"/>
                <a:chOff x="3617857" y="3284717"/>
                <a:chExt cx="826785" cy="1099165"/>
              </a:xfrm>
            </p:grpSpPr>
            <p:sp>
              <p:nvSpPr>
                <p:cNvPr id="8256" name="Google Shape;8256;p53"/>
                <p:cNvSpPr/>
                <p:nvPr/>
              </p:nvSpPr>
              <p:spPr>
                <a:xfrm>
                  <a:off x="4155028" y="3869354"/>
                  <a:ext cx="289613" cy="514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823" h="65420" fill="none" extrusionOk="0">
                      <a:moveTo>
                        <a:pt x="5928" y="64827"/>
                      </a:moveTo>
                      <a:lnTo>
                        <a:pt x="6158" y="49755"/>
                      </a:lnTo>
                      <a:lnTo>
                        <a:pt x="8202" y="42327"/>
                      </a:lnTo>
                      <a:lnTo>
                        <a:pt x="8795" y="36351"/>
                      </a:lnTo>
                      <a:lnTo>
                        <a:pt x="8795" y="28912"/>
                      </a:lnTo>
                      <a:lnTo>
                        <a:pt x="3049" y="23347"/>
                      </a:lnTo>
                      <a:lnTo>
                        <a:pt x="0" y="12291"/>
                      </a:lnTo>
                      <a:lnTo>
                        <a:pt x="11601" y="1"/>
                      </a:lnTo>
                      <a:lnTo>
                        <a:pt x="19319" y="4259"/>
                      </a:lnTo>
                      <a:lnTo>
                        <a:pt x="27266" y="11747"/>
                      </a:lnTo>
                      <a:lnTo>
                        <a:pt x="36823" y="15472"/>
                      </a:lnTo>
                      <a:lnTo>
                        <a:pt x="34827" y="25803"/>
                      </a:lnTo>
                      <a:lnTo>
                        <a:pt x="26722" y="36944"/>
                      </a:lnTo>
                      <a:lnTo>
                        <a:pt x="19924" y="49198"/>
                      </a:lnTo>
                      <a:lnTo>
                        <a:pt x="11008" y="60690"/>
                      </a:lnTo>
                      <a:lnTo>
                        <a:pt x="5335" y="6542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7" name="Google Shape;8257;p53"/>
                <p:cNvSpPr/>
                <p:nvPr/>
              </p:nvSpPr>
              <p:spPr>
                <a:xfrm>
                  <a:off x="3617857" y="3284717"/>
                  <a:ext cx="662957" cy="685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292" h="87218" fill="none" extrusionOk="0">
                      <a:moveTo>
                        <a:pt x="79900" y="75157"/>
                      </a:moveTo>
                      <a:lnTo>
                        <a:pt x="77916" y="83262"/>
                      </a:lnTo>
                      <a:lnTo>
                        <a:pt x="68299" y="87218"/>
                      </a:lnTo>
                      <a:lnTo>
                        <a:pt x="61610" y="72314"/>
                      </a:lnTo>
                      <a:lnTo>
                        <a:pt x="48376" y="64524"/>
                      </a:lnTo>
                      <a:lnTo>
                        <a:pt x="37489" y="50685"/>
                      </a:lnTo>
                      <a:lnTo>
                        <a:pt x="32771" y="39181"/>
                      </a:lnTo>
                      <a:lnTo>
                        <a:pt x="28525" y="27000"/>
                      </a:lnTo>
                      <a:lnTo>
                        <a:pt x="19779" y="19379"/>
                      </a:lnTo>
                      <a:lnTo>
                        <a:pt x="1" y="14057"/>
                      </a:lnTo>
                      <a:lnTo>
                        <a:pt x="5227" y="0"/>
                      </a:lnTo>
                      <a:lnTo>
                        <a:pt x="40380" y="3605"/>
                      </a:lnTo>
                      <a:lnTo>
                        <a:pt x="53662" y="9254"/>
                      </a:lnTo>
                      <a:lnTo>
                        <a:pt x="56711" y="17734"/>
                      </a:lnTo>
                      <a:lnTo>
                        <a:pt x="69727" y="26177"/>
                      </a:lnTo>
                      <a:lnTo>
                        <a:pt x="84291" y="20649"/>
                      </a:lnTo>
                      <a:lnTo>
                        <a:pt x="79465" y="38165"/>
                      </a:lnTo>
                      <a:lnTo>
                        <a:pt x="72207" y="46960"/>
                      </a:lnTo>
                      <a:lnTo>
                        <a:pt x="64791" y="54677"/>
                      </a:lnTo>
                      <a:lnTo>
                        <a:pt x="54497" y="63206"/>
                      </a:lnTo>
                      <a:lnTo>
                        <a:pt x="62094" y="63556"/>
                      </a:lnTo>
                      <a:lnTo>
                        <a:pt x="66098" y="74335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8" name="Google Shape;8258;p53"/>
                <p:cNvSpPr/>
                <p:nvPr/>
              </p:nvSpPr>
              <p:spPr>
                <a:xfrm>
                  <a:off x="4230666" y="3943372"/>
                  <a:ext cx="15612" cy="779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9909" fill="none" extrusionOk="0">
                      <a:moveTo>
                        <a:pt x="1984" y="9908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9" name="Google Shape;8259;p53"/>
                <p:cNvSpPr/>
                <p:nvPr/>
              </p:nvSpPr>
              <p:spPr>
                <a:xfrm>
                  <a:off x="4230666" y="3902843"/>
                  <a:ext cx="138817" cy="1169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50" h="14868" fill="none" extrusionOk="0">
                      <a:moveTo>
                        <a:pt x="11952" y="14868"/>
                      </a:moveTo>
                      <a:lnTo>
                        <a:pt x="0" y="4670"/>
                      </a:lnTo>
                      <a:lnTo>
                        <a:pt x="9702" y="1"/>
                      </a:lnTo>
                      <a:lnTo>
                        <a:pt x="17649" y="7489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0" name="Google Shape;8260;p53"/>
                <p:cNvSpPr/>
                <p:nvPr/>
              </p:nvSpPr>
              <p:spPr>
                <a:xfrm>
                  <a:off x="4234473" y="3939573"/>
                  <a:ext cx="143953" cy="221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303" h="2819" fill="none" extrusionOk="0">
                      <a:moveTo>
                        <a:pt x="0" y="0"/>
                      </a:moveTo>
                      <a:lnTo>
                        <a:pt x="18303" y="2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1" name="Google Shape;8261;p53"/>
                <p:cNvSpPr/>
                <p:nvPr/>
              </p:nvSpPr>
              <p:spPr>
                <a:xfrm>
                  <a:off x="4300405" y="4023579"/>
                  <a:ext cx="24264" cy="1126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85" h="14323" fill="none" extrusionOk="0">
                      <a:moveTo>
                        <a:pt x="0" y="14323"/>
                      </a:moveTo>
                      <a:lnTo>
                        <a:pt x="308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2" name="Google Shape;8262;p53"/>
                <p:cNvSpPr/>
                <p:nvPr/>
              </p:nvSpPr>
              <p:spPr>
                <a:xfrm>
                  <a:off x="4324661" y="4019772"/>
                  <a:ext cx="40544" cy="1401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55" h="17820" fill="none" extrusionOk="0">
                      <a:moveTo>
                        <a:pt x="1" y="1"/>
                      </a:moveTo>
                      <a:lnTo>
                        <a:pt x="5154" y="17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3" name="Google Shape;8263;p53"/>
                <p:cNvSpPr/>
                <p:nvPr/>
              </p:nvSpPr>
              <p:spPr>
                <a:xfrm>
                  <a:off x="4324661" y="4019772"/>
                  <a:ext cx="104282" cy="525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59" h="6678" fill="none" extrusionOk="0">
                      <a:moveTo>
                        <a:pt x="1" y="1"/>
                      </a:moveTo>
                      <a:lnTo>
                        <a:pt x="13259" y="667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4" name="Google Shape;8264;p53"/>
                <p:cNvSpPr/>
                <p:nvPr/>
              </p:nvSpPr>
              <p:spPr>
                <a:xfrm>
                  <a:off x="4328467" y="3989901"/>
                  <a:ext cx="113421" cy="298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421" h="3799" fill="none" extrusionOk="0">
                      <a:moveTo>
                        <a:pt x="14420" y="0"/>
                      </a:moveTo>
                      <a:lnTo>
                        <a:pt x="1" y="379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5" name="Google Shape;8265;p53"/>
                <p:cNvSpPr/>
                <p:nvPr/>
              </p:nvSpPr>
              <p:spPr>
                <a:xfrm>
                  <a:off x="4224193" y="4019772"/>
                  <a:ext cx="23886" cy="769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7" h="9787" fill="none" extrusionOk="0">
                      <a:moveTo>
                        <a:pt x="1" y="9787"/>
                      </a:moveTo>
                      <a:lnTo>
                        <a:pt x="303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6" name="Google Shape;8266;p53"/>
                <p:cNvSpPr/>
                <p:nvPr/>
              </p:nvSpPr>
              <p:spPr>
                <a:xfrm>
                  <a:off x="4248071" y="4019772"/>
                  <a:ext cx="52342" cy="1164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55" h="14807" fill="none" extrusionOk="0">
                      <a:moveTo>
                        <a:pt x="1" y="1"/>
                      </a:moveTo>
                      <a:lnTo>
                        <a:pt x="6654" y="1480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7" name="Google Shape;8267;p53"/>
                <p:cNvSpPr/>
                <p:nvPr/>
              </p:nvSpPr>
              <p:spPr>
                <a:xfrm>
                  <a:off x="4300405" y="4138982"/>
                  <a:ext cx="6567" cy="1190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35" h="15134" fill="none" extrusionOk="0">
                      <a:moveTo>
                        <a:pt x="0" y="1"/>
                      </a:moveTo>
                      <a:lnTo>
                        <a:pt x="835" y="151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8" name="Google Shape;8268;p53"/>
                <p:cNvSpPr/>
                <p:nvPr/>
              </p:nvSpPr>
              <p:spPr>
                <a:xfrm>
                  <a:off x="4219726" y="4200164"/>
                  <a:ext cx="85343" cy="605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851" h="7694" fill="none" extrusionOk="0">
                      <a:moveTo>
                        <a:pt x="0" y="0"/>
                      </a:moveTo>
                      <a:lnTo>
                        <a:pt x="10851" y="76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9" name="Google Shape;8269;p53"/>
                <p:cNvSpPr/>
                <p:nvPr/>
              </p:nvSpPr>
              <p:spPr>
                <a:xfrm>
                  <a:off x="4223430" y="4137275"/>
                  <a:ext cx="81930" cy="151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17" h="1924" fill="none" extrusionOk="0">
                      <a:moveTo>
                        <a:pt x="1" y="1923"/>
                      </a:moveTo>
                      <a:lnTo>
                        <a:pt x="10416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0" name="Google Shape;8270;p53"/>
                <p:cNvSpPr/>
                <p:nvPr/>
              </p:nvSpPr>
              <p:spPr>
                <a:xfrm>
                  <a:off x="4303638" y="4138982"/>
                  <a:ext cx="59947" cy="23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2" h="3038" fill="none" extrusionOk="0">
                      <a:moveTo>
                        <a:pt x="7621" y="3037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1" name="Google Shape;8271;p53"/>
                <p:cNvSpPr/>
                <p:nvPr/>
              </p:nvSpPr>
              <p:spPr>
                <a:xfrm>
                  <a:off x="4201644" y="4267237"/>
                  <a:ext cx="39970" cy="771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2" h="9811" fill="none" extrusionOk="0">
                      <a:moveTo>
                        <a:pt x="1" y="0"/>
                      </a:moveTo>
                      <a:lnTo>
                        <a:pt x="5081" y="981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2" name="Google Shape;8272;p53"/>
                <p:cNvSpPr/>
                <p:nvPr/>
              </p:nvSpPr>
              <p:spPr>
                <a:xfrm>
                  <a:off x="4203831" y="4258003"/>
                  <a:ext cx="103142" cy="92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14" h="1175" fill="none" extrusionOk="0">
                      <a:moveTo>
                        <a:pt x="1" y="1174"/>
                      </a:moveTo>
                      <a:lnTo>
                        <a:pt x="1311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3" name="Google Shape;8273;p53"/>
                <p:cNvSpPr/>
                <p:nvPr/>
              </p:nvSpPr>
              <p:spPr>
                <a:xfrm>
                  <a:off x="4179001" y="3943372"/>
                  <a:ext cx="51673" cy="1049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70" h="13344" fill="none" extrusionOk="0">
                      <a:moveTo>
                        <a:pt x="1" y="13344"/>
                      </a:moveTo>
                      <a:lnTo>
                        <a:pt x="656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4" name="Google Shape;8274;p53"/>
                <p:cNvSpPr/>
                <p:nvPr/>
              </p:nvSpPr>
              <p:spPr>
                <a:xfrm>
                  <a:off x="4248071" y="4019772"/>
                  <a:ext cx="76597" cy="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739" h="1" fill="none" extrusionOk="0">
                      <a:moveTo>
                        <a:pt x="1" y="1"/>
                      </a:moveTo>
                      <a:lnTo>
                        <a:pt x="973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5" name="Google Shape;8275;p53"/>
                <p:cNvSpPr/>
                <p:nvPr/>
              </p:nvSpPr>
              <p:spPr>
                <a:xfrm>
                  <a:off x="4219529" y="4138982"/>
                  <a:ext cx="84116" cy="632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695" h="8046" fill="none" extrusionOk="0">
                      <a:moveTo>
                        <a:pt x="1" y="8045"/>
                      </a:moveTo>
                      <a:lnTo>
                        <a:pt x="1069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6" name="Google Shape;8276;p53"/>
                <p:cNvSpPr/>
                <p:nvPr/>
              </p:nvSpPr>
              <p:spPr>
                <a:xfrm>
                  <a:off x="3654964" y="3289853"/>
                  <a:ext cx="46820" cy="638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53" h="8118" fill="none" extrusionOk="0">
                      <a:moveTo>
                        <a:pt x="1" y="0"/>
                      </a:moveTo>
                      <a:lnTo>
                        <a:pt x="5952" y="811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7" name="Google Shape;8277;p53"/>
                <p:cNvSpPr/>
                <p:nvPr/>
              </p:nvSpPr>
              <p:spPr>
                <a:xfrm>
                  <a:off x="3619760" y="3353693"/>
                  <a:ext cx="85736" cy="367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01" h="4670" fill="none" extrusionOk="0">
                      <a:moveTo>
                        <a:pt x="1" y="4670"/>
                      </a:moveTo>
                      <a:lnTo>
                        <a:pt x="1090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8" name="Google Shape;8278;p53"/>
                <p:cNvSpPr/>
                <p:nvPr/>
              </p:nvSpPr>
              <p:spPr>
                <a:xfrm>
                  <a:off x="3703011" y="3354739"/>
                  <a:ext cx="70415" cy="793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53" h="10089" fill="none" extrusionOk="0">
                      <a:moveTo>
                        <a:pt x="1" y="0"/>
                      </a:moveTo>
                      <a:lnTo>
                        <a:pt x="8952" y="1008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9" name="Google Shape;8279;p53"/>
                <p:cNvSpPr/>
                <p:nvPr/>
              </p:nvSpPr>
              <p:spPr>
                <a:xfrm>
                  <a:off x="3779884" y="3366443"/>
                  <a:ext cx="34449" cy="676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80" h="8601" fill="none" extrusionOk="0">
                      <a:moveTo>
                        <a:pt x="1" y="8601"/>
                      </a:moveTo>
                      <a:lnTo>
                        <a:pt x="438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0" name="Google Shape;8280;p53"/>
                <p:cNvSpPr/>
                <p:nvPr/>
              </p:nvSpPr>
              <p:spPr>
                <a:xfrm>
                  <a:off x="3701776" y="3353693"/>
                  <a:ext cx="116363" cy="127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795" h="1622" fill="none" extrusionOk="0">
                      <a:moveTo>
                        <a:pt x="14795" y="1621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1" name="Google Shape;8281;p53"/>
                <p:cNvSpPr/>
                <p:nvPr/>
              </p:nvSpPr>
              <p:spPr>
                <a:xfrm>
                  <a:off x="3701776" y="3313063"/>
                  <a:ext cx="227204" cy="406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888" h="5167" fill="none" extrusionOk="0">
                      <a:moveTo>
                        <a:pt x="28887" y="1"/>
                      </a:moveTo>
                      <a:lnTo>
                        <a:pt x="0" y="51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2" name="Google Shape;8282;p53"/>
                <p:cNvSpPr/>
                <p:nvPr/>
              </p:nvSpPr>
              <p:spPr>
                <a:xfrm>
                  <a:off x="3888633" y="3313063"/>
                  <a:ext cx="40347" cy="1144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30" h="14554" fill="none" extrusionOk="0">
                      <a:moveTo>
                        <a:pt x="5129" y="1"/>
                      </a:moveTo>
                      <a:lnTo>
                        <a:pt x="0" y="14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3" name="Google Shape;8283;p53"/>
                <p:cNvSpPr/>
                <p:nvPr/>
              </p:nvSpPr>
              <p:spPr>
                <a:xfrm>
                  <a:off x="3814325" y="3366443"/>
                  <a:ext cx="74316" cy="610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449" h="7767" fill="none" extrusionOk="0">
                      <a:moveTo>
                        <a:pt x="1" y="0"/>
                      </a:moveTo>
                      <a:lnTo>
                        <a:pt x="9448" y="77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4" name="Google Shape;8284;p53"/>
                <p:cNvSpPr/>
                <p:nvPr/>
              </p:nvSpPr>
              <p:spPr>
                <a:xfrm>
                  <a:off x="3838399" y="3427522"/>
                  <a:ext cx="50242" cy="677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88" h="8614" fill="none" extrusionOk="0">
                      <a:moveTo>
                        <a:pt x="0" y="8613"/>
                      </a:moveTo>
                      <a:lnTo>
                        <a:pt x="638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5" name="Google Shape;8285;p53"/>
                <p:cNvSpPr/>
                <p:nvPr/>
              </p:nvSpPr>
              <p:spPr>
                <a:xfrm>
                  <a:off x="3814325" y="3313063"/>
                  <a:ext cx="114656" cy="533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78" h="6788" fill="none" extrusionOk="0">
                      <a:moveTo>
                        <a:pt x="1" y="6787"/>
                      </a:moveTo>
                      <a:lnTo>
                        <a:pt x="1457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6" name="Google Shape;8286;p53"/>
                <p:cNvSpPr/>
                <p:nvPr/>
              </p:nvSpPr>
              <p:spPr>
                <a:xfrm>
                  <a:off x="3888633" y="3427522"/>
                  <a:ext cx="55377" cy="762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41" h="9690" fill="none" extrusionOk="0">
                      <a:moveTo>
                        <a:pt x="0" y="0"/>
                      </a:moveTo>
                      <a:lnTo>
                        <a:pt x="7041" y="9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7" name="Google Shape;8287;p53"/>
                <p:cNvSpPr/>
                <p:nvPr/>
              </p:nvSpPr>
              <p:spPr>
                <a:xfrm>
                  <a:off x="3944003" y="3406208"/>
                  <a:ext cx="40631" cy="975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6" h="12400" fill="none" extrusionOk="0">
                      <a:moveTo>
                        <a:pt x="1" y="12400"/>
                      </a:moveTo>
                      <a:lnTo>
                        <a:pt x="516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8" name="Google Shape;8288;p53"/>
                <p:cNvSpPr/>
                <p:nvPr/>
              </p:nvSpPr>
              <p:spPr>
                <a:xfrm>
                  <a:off x="3984625" y="3357500"/>
                  <a:ext cx="55291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30" h="6194" fill="none" extrusionOk="0">
                      <a:moveTo>
                        <a:pt x="1" y="6194"/>
                      </a:moveTo>
                      <a:lnTo>
                        <a:pt x="7029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9" name="Google Shape;8289;p53"/>
                <p:cNvSpPr/>
                <p:nvPr/>
              </p:nvSpPr>
              <p:spPr>
                <a:xfrm>
                  <a:off x="3888633" y="3406208"/>
                  <a:ext cx="96000" cy="213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06" h="2711" fill="none" extrusionOk="0">
                      <a:moveTo>
                        <a:pt x="0" y="2710"/>
                      </a:moveTo>
                      <a:lnTo>
                        <a:pt x="1220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0" name="Google Shape;8290;p53"/>
                <p:cNvSpPr/>
                <p:nvPr/>
              </p:nvSpPr>
              <p:spPr>
                <a:xfrm>
                  <a:off x="3984625" y="3406208"/>
                  <a:ext cx="42251" cy="1363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72" h="17336" fill="none" extrusionOk="0">
                      <a:moveTo>
                        <a:pt x="1" y="1"/>
                      </a:moveTo>
                      <a:lnTo>
                        <a:pt x="5372" y="17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1" name="Google Shape;8291;p53"/>
                <p:cNvSpPr/>
                <p:nvPr/>
              </p:nvSpPr>
              <p:spPr>
                <a:xfrm>
                  <a:off x="4026868" y="3427522"/>
                  <a:ext cx="35597" cy="1150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26" h="14626" fill="none" extrusionOk="0">
                      <a:moveTo>
                        <a:pt x="1" y="14625"/>
                      </a:moveTo>
                      <a:lnTo>
                        <a:pt x="452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2" name="Google Shape;8292;p53"/>
                <p:cNvSpPr/>
                <p:nvPr/>
              </p:nvSpPr>
              <p:spPr>
                <a:xfrm>
                  <a:off x="3876261" y="3542548"/>
                  <a:ext cx="150615" cy="520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150" h="6618" fill="none" extrusionOk="0">
                      <a:moveTo>
                        <a:pt x="1" y="6617"/>
                      </a:moveTo>
                      <a:lnTo>
                        <a:pt x="1915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3" name="Google Shape;8293;p53"/>
                <p:cNvSpPr/>
                <p:nvPr/>
              </p:nvSpPr>
              <p:spPr>
                <a:xfrm>
                  <a:off x="4006702" y="3542548"/>
                  <a:ext cx="20174" cy="990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65" h="12593" fill="none" extrusionOk="0">
                      <a:moveTo>
                        <a:pt x="2565" y="0"/>
                      </a:moveTo>
                      <a:lnTo>
                        <a:pt x="0" y="1259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4" name="Google Shape;8294;p53"/>
                <p:cNvSpPr/>
                <p:nvPr/>
              </p:nvSpPr>
              <p:spPr>
                <a:xfrm>
                  <a:off x="3912700" y="3641584"/>
                  <a:ext cx="97817" cy="417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437" h="5312" fill="none" extrusionOk="0">
                      <a:moveTo>
                        <a:pt x="1" y="5311"/>
                      </a:moveTo>
                      <a:lnTo>
                        <a:pt x="1243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5" name="Google Shape;8295;p53"/>
                <p:cNvSpPr/>
                <p:nvPr/>
              </p:nvSpPr>
              <p:spPr>
                <a:xfrm>
                  <a:off x="3875601" y="3503726"/>
                  <a:ext cx="68410" cy="891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98" h="11336" fill="none" extrusionOk="0">
                      <a:moveTo>
                        <a:pt x="8698" y="1"/>
                      </a:moveTo>
                      <a:lnTo>
                        <a:pt x="0" y="11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6" name="Google Shape;8296;p53"/>
                <p:cNvSpPr/>
                <p:nvPr/>
              </p:nvSpPr>
              <p:spPr>
                <a:xfrm>
                  <a:off x="3944003" y="3503726"/>
                  <a:ext cx="89441" cy="361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72" h="4598" fill="none" extrusionOk="0">
                      <a:moveTo>
                        <a:pt x="1" y="1"/>
                      </a:moveTo>
                      <a:lnTo>
                        <a:pt x="11372" y="459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7" name="Google Shape;8297;p53"/>
                <p:cNvSpPr/>
                <p:nvPr/>
              </p:nvSpPr>
              <p:spPr>
                <a:xfrm>
                  <a:off x="4033436" y="3490599"/>
                  <a:ext cx="132824" cy="492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88" h="6267" fill="none" extrusionOk="0">
                      <a:moveTo>
                        <a:pt x="1" y="6267"/>
                      </a:moveTo>
                      <a:lnTo>
                        <a:pt x="16888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8" name="Google Shape;8298;p53"/>
                <p:cNvSpPr/>
                <p:nvPr/>
              </p:nvSpPr>
              <p:spPr>
                <a:xfrm>
                  <a:off x="4166252" y="3490599"/>
                  <a:ext cx="73459" cy="95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340" h="12146" fill="none" extrusionOk="0">
                      <a:moveTo>
                        <a:pt x="1" y="0"/>
                      </a:moveTo>
                      <a:lnTo>
                        <a:pt x="9339" y="1214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9" name="Google Shape;8299;p53"/>
                <p:cNvSpPr/>
                <p:nvPr/>
              </p:nvSpPr>
              <p:spPr>
                <a:xfrm>
                  <a:off x="4027726" y="3539882"/>
                  <a:ext cx="211985" cy="39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953" h="5082" fill="none" extrusionOk="0">
                      <a:moveTo>
                        <a:pt x="26952" y="5081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0" name="Google Shape;8300;p53"/>
                <p:cNvSpPr/>
                <p:nvPr/>
              </p:nvSpPr>
              <p:spPr>
                <a:xfrm>
                  <a:off x="4027726" y="3539882"/>
                  <a:ext cx="99720" cy="1748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79" h="22235" fill="none" extrusionOk="0">
                      <a:moveTo>
                        <a:pt x="1" y="1"/>
                      </a:moveTo>
                      <a:lnTo>
                        <a:pt x="12678" y="222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1" name="Google Shape;8301;p53"/>
                <p:cNvSpPr/>
                <p:nvPr/>
              </p:nvSpPr>
              <p:spPr>
                <a:xfrm>
                  <a:off x="4027726" y="3539882"/>
                  <a:ext cx="159754" cy="1117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312" h="14203" fill="none" extrusionOk="0">
                      <a:moveTo>
                        <a:pt x="1" y="1"/>
                      </a:moveTo>
                      <a:lnTo>
                        <a:pt x="20311" y="142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2" name="Google Shape;8302;p53"/>
                <p:cNvSpPr/>
                <p:nvPr/>
              </p:nvSpPr>
              <p:spPr>
                <a:xfrm>
                  <a:off x="4006702" y="3641584"/>
                  <a:ext cx="120743" cy="731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52" h="9304" fill="none" extrusionOk="0">
                      <a:moveTo>
                        <a:pt x="0" y="1"/>
                      </a:moveTo>
                      <a:lnTo>
                        <a:pt x="15351" y="930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3" name="Google Shape;8303;p53"/>
                <p:cNvSpPr/>
                <p:nvPr/>
              </p:nvSpPr>
              <p:spPr>
                <a:xfrm>
                  <a:off x="4006702" y="3641584"/>
                  <a:ext cx="39773" cy="1402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57" h="17832" fill="none" extrusionOk="0">
                      <a:moveTo>
                        <a:pt x="5057" y="17832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4" name="Google Shape;8304;p53"/>
                <p:cNvSpPr/>
                <p:nvPr/>
              </p:nvSpPr>
              <p:spPr>
                <a:xfrm>
                  <a:off x="3996423" y="3784585"/>
                  <a:ext cx="51862" cy="102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94" h="1307" fill="none" extrusionOk="0">
                      <a:moveTo>
                        <a:pt x="1" y="1307"/>
                      </a:moveTo>
                      <a:lnTo>
                        <a:pt x="659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5" name="Google Shape;8305;p53"/>
                <p:cNvSpPr/>
                <p:nvPr/>
              </p:nvSpPr>
              <p:spPr>
                <a:xfrm>
                  <a:off x="4048277" y="3784585"/>
                  <a:ext cx="47583" cy="688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50" h="8759" fill="none" extrusionOk="0">
                      <a:moveTo>
                        <a:pt x="1" y="0"/>
                      </a:moveTo>
                      <a:lnTo>
                        <a:pt x="6049" y="875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6" name="Google Shape;8306;p53"/>
                <p:cNvSpPr/>
                <p:nvPr/>
              </p:nvSpPr>
              <p:spPr>
                <a:xfrm>
                  <a:off x="4095947" y="3788392"/>
                  <a:ext cx="10280" cy="64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07" h="8251" fill="none" extrusionOk="0">
                      <a:moveTo>
                        <a:pt x="0" y="8250"/>
                      </a:moveTo>
                      <a:lnTo>
                        <a:pt x="130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7" name="Google Shape;8307;p53"/>
                <p:cNvSpPr/>
                <p:nvPr/>
              </p:nvSpPr>
              <p:spPr>
                <a:xfrm>
                  <a:off x="4095852" y="3853467"/>
                  <a:ext cx="45672" cy="158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07" h="2021" fill="none" extrusionOk="0">
                      <a:moveTo>
                        <a:pt x="0" y="0"/>
                      </a:moveTo>
                      <a:lnTo>
                        <a:pt x="5807" y="2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8" name="Google Shape;8308;p53"/>
                <p:cNvSpPr/>
                <p:nvPr/>
              </p:nvSpPr>
              <p:spPr>
                <a:xfrm>
                  <a:off x="4138567" y="3868308"/>
                  <a:ext cx="16469" cy="1017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2932" fill="none" extrusionOk="0">
                      <a:moveTo>
                        <a:pt x="1" y="1"/>
                      </a:moveTo>
                      <a:lnTo>
                        <a:pt x="2093" y="129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9" name="Google Shape;8309;p53"/>
                <p:cNvSpPr/>
                <p:nvPr/>
              </p:nvSpPr>
              <p:spPr>
                <a:xfrm>
                  <a:off x="3875601" y="3592876"/>
                  <a:ext cx="131110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70" h="6194" fill="none" extrusionOk="0">
                      <a:moveTo>
                        <a:pt x="0" y="0"/>
                      </a:moveTo>
                      <a:lnTo>
                        <a:pt x="16669" y="61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0" name="Google Shape;8310;p53"/>
                <p:cNvSpPr/>
                <p:nvPr/>
              </p:nvSpPr>
              <p:spPr>
                <a:xfrm>
                  <a:off x="4164828" y="3394410"/>
                  <a:ext cx="26458" cy="931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64" h="11844" fill="none" extrusionOk="0">
                      <a:moveTo>
                        <a:pt x="0" y="11843"/>
                      </a:moveTo>
                      <a:lnTo>
                        <a:pt x="336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1" name="Google Shape;8311;p53"/>
                <p:cNvSpPr/>
                <p:nvPr/>
              </p:nvSpPr>
              <p:spPr>
                <a:xfrm>
                  <a:off x="4191278" y="3394410"/>
                  <a:ext cx="86586" cy="527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6703" fill="none" extrusionOk="0">
                      <a:moveTo>
                        <a:pt x="0" y="1"/>
                      </a:moveTo>
                      <a:lnTo>
                        <a:pt x="11008" y="67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2" name="Google Shape;8312;p53"/>
              <p:cNvGrpSpPr/>
              <p:nvPr/>
            </p:nvGrpSpPr>
            <p:grpSpPr>
              <a:xfrm>
                <a:off x="4180904" y="4251758"/>
                <a:ext cx="37783" cy="32420"/>
                <a:chOff x="4180904" y="4251758"/>
                <a:chExt cx="37783" cy="32420"/>
              </a:xfrm>
            </p:grpSpPr>
            <p:sp>
              <p:nvSpPr>
                <p:cNvPr id="8313" name="Google Shape;8313;p53"/>
                <p:cNvSpPr/>
                <p:nvPr/>
              </p:nvSpPr>
              <p:spPr>
                <a:xfrm>
                  <a:off x="4180904" y="4251758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1"/>
                        <a:pt x="2759" y="4121"/>
                      </a:cubicBezTo>
                      <a:cubicBezTo>
                        <a:pt x="3884" y="4109"/>
                        <a:pt x="4803" y="3190"/>
                        <a:pt x="4803" y="2065"/>
                      </a:cubicBezTo>
                      <a:cubicBezTo>
                        <a:pt x="4803" y="823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4" name="Google Shape;8314;p53"/>
                <p:cNvSpPr/>
                <p:nvPr/>
              </p:nvSpPr>
              <p:spPr>
                <a:xfrm>
                  <a:off x="4196037" y="426143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5" name="Google Shape;8315;p53"/>
              <p:cNvGrpSpPr/>
              <p:nvPr/>
            </p:nvGrpSpPr>
            <p:grpSpPr>
              <a:xfrm>
                <a:off x="4201644" y="4081324"/>
                <a:ext cx="37783" cy="32364"/>
                <a:chOff x="4201644" y="4081324"/>
                <a:chExt cx="37783" cy="32364"/>
              </a:xfrm>
            </p:grpSpPr>
            <p:sp>
              <p:nvSpPr>
                <p:cNvPr id="8316" name="Google Shape;8316;p53"/>
                <p:cNvSpPr/>
                <p:nvPr/>
              </p:nvSpPr>
              <p:spPr>
                <a:xfrm>
                  <a:off x="4201644" y="4081324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7" name="Google Shape;8317;p53"/>
                <p:cNvSpPr/>
                <p:nvPr/>
              </p:nvSpPr>
              <p:spPr>
                <a:xfrm>
                  <a:off x="4214582" y="4091037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83"/>
                        <a:pt x="521" y="1415"/>
                      </a:cubicBezTo>
                      <a:cubicBezTo>
                        <a:pt x="688" y="1582"/>
                        <a:pt x="894" y="1657"/>
                        <a:pt x="1096" y="1657"/>
                      </a:cubicBezTo>
                      <a:cubicBezTo>
                        <a:pt x="1524" y="1657"/>
                        <a:pt x="1936" y="1323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8" name="Google Shape;8318;p53"/>
              <p:cNvGrpSpPr/>
              <p:nvPr/>
            </p:nvGrpSpPr>
            <p:grpSpPr>
              <a:xfrm>
                <a:off x="4284416" y="3887428"/>
                <a:ext cx="37783" cy="32451"/>
                <a:chOff x="4284416" y="3887428"/>
                <a:chExt cx="37783" cy="32451"/>
              </a:xfrm>
            </p:grpSpPr>
            <p:sp>
              <p:nvSpPr>
                <p:cNvPr id="8319" name="Google Shape;8319;p53"/>
                <p:cNvSpPr/>
                <p:nvPr/>
              </p:nvSpPr>
              <p:spPr>
                <a:xfrm>
                  <a:off x="4284416" y="3887428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20" y="4126"/>
                        <a:pt x="2747" y="4126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0" name="Google Shape;8320;p53"/>
                <p:cNvSpPr/>
                <p:nvPr/>
              </p:nvSpPr>
              <p:spPr>
                <a:xfrm>
                  <a:off x="4299548" y="3897039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1" name="Google Shape;8321;p53"/>
              <p:cNvGrpSpPr/>
              <p:nvPr/>
            </p:nvGrpSpPr>
            <p:grpSpPr>
              <a:xfrm>
                <a:off x="4223721" y="3860404"/>
                <a:ext cx="37870" cy="32364"/>
                <a:chOff x="4223721" y="3860404"/>
                <a:chExt cx="37870" cy="32364"/>
              </a:xfrm>
            </p:grpSpPr>
            <p:sp>
              <p:nvSpPr>
                <p:cNvPr id="8322" name="Google Shape;8322;p53"/>
                <p:cNvSpPr/>
                <p:nvPr/>
              </p:nvSpPr>
              <p:spPr>
                <a:xfrm>
                  <a:off x="4223721" y="3860404"/>
                  <a:ext cx="37870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5" extrusionOk="0">
                      <a:moveTo>
                        <a:pt x="2735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58" y="4114"/>
                      </a:cubicBezTo>
                      <a:cubicBezTo>
                        <a:pt x="3883" y="4114"/>
                        <a:pt x="4803" y="3195"/>
                        <a:pt x="4815" y="2058"/>
                      </a:cubicBezTo>
                      <a:cubicBezTo>
                        <a:pt x="4815" y="822"/>
                        <a:pt x="3795" y="1"/>
                        <a:pt x="273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3" name="Google Shape;8323;p53"/>
                <p:cNvSpPr/>
                <p:nvPr/>
              </p:nvSpPr>
              <p:spPr>
                <a:xfrm>
                  <a:off x="4238846" y="38701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4" name="Google Shape;8324;p53"/>
              <p:cNvGrpSpPr/>
              <p:nvPr/>
            </p:nvGrpSpPr>
            <p:grpSpPr>
              <a:xfrm>
                <a:off x="4104889" y="3699242"/>
                <a:ext cx="37776" cy="32357"/>
                <a:chOff x="4104889" y="3699242"/>
                <a:chExt cx="37776" cy="32357"/>
              </a:xfrm>
            </p:grpSpPr>
            <p:sp>
              <p:nvSpPr>
                <p:cNvPr id="8325" name="Google Shape;8325;p53"/>
                <p:cNvSpPr/>
                <p:nvPr/>
              </p:nvSpPr>
              <p:spPr>
                <a:xfrm>
                  <a:off x="4104889" y="3699242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8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6" name="Google Shape;8326;p53"/>
                <p:cNvSpPr/>
                <p:nvPr/>
              </p:nvSpPr>
              <p:spPr>
                <a:xfrm>
                  <a:off x="4120013" y="37089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76" y="0"/>
                        <a:pt x="1" y="375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7" name="Google Shape;8327;p53"/>
              <p:cNvGrpSpPr/>
              <p:nvPr/>
            </p:nvGrpSpPr>
            <p:grpSpPr>
              <a:xfrm>
                <a:off x="4143608" y="3475121"/>
                <a:ext cx="37878" cy="32420"/>
                <a:chOff x="4143608" y="3475121"/>
                <a:chExt cx="37878" cy="32420"/>
              </a:xfrm>
            </p:grpSpPr>
            <p:sp>
              <p:nvSpPr>
                <p:cNvPr id="8328" name="Google Shape;8328;p53"/>
                <p:cNvSpPr/>
                <p:nvPr/>
              </p:nvSpPr>
              <p:spPr>
                <a:xfrm>
                  <a:off x="4143608" y="3475121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50" y="0"/>
                      </a:moveTo>
                      <a:cubicBezTo>
                        <a:pt x="2244" y="0"/>
                        <a:pt x="1727" y="190"/>
                        <a:pt x="1307" y="614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96" y="4122"/>
                        <a:pt x="4815" y="3202"/>
                        <a:pt x="4815" y="2065"/>
                      </a:cubicBezTo>
                      <a:cubicBezTo>
                        <a:pt x="4815" y="823"/>
                        <a:pt x="3805" y="0"/>
                        <a:pt x="275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9" name="Google Shape;8329;p53"/>
                <p:cNvSpPr/>
                <p:nvPr/>
              </p:nvSpPr>
              <p:spPr>
                <a:xfrm>
                  <a:off x="4158741" y="348479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94" y="1658"/>
                        <a:pt x="1657" y="1295"/>
                        <a:pt x="1657" y="835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0" name="Google Shape;8330;p53"/>
              <p:cNvGrpSpPr/>
              <p:nvPr/>
            </p:nvGrpSpPr>
            <p:grpSpPr>
              <a:xfrm>
                <a:off x="4217248" y="3570893"/>
                <a:ext cx="37776" cy="32364"/>
                <a:chOff x="4217248" y="3570893"/>
                <a:chExt cx="37776" cy="32364"/>
              </a:xfrm>
            </p:grpSpPr>
            <p:sp>
              <p:nvSpPr>
                <p:cNvPr id="8331" name="Google Shape;8331;p53"/>
                <p:cNvSpPr/>
                <p:nvPr/>
              </p:nvSpPr>
              <p:spPr>
                <a:xfrm>
                  <a:off x="4217248" y="3570893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2" name="Google Shape;8332;p53"/>
                <p:cNvSpPr/>
                <p:nvPr/>
              </p:nvSpPr>
              <p:spPr>
                <a:xfrm>
                  <a:off x="4232373" y="3580599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4" y="1"/>
                      </a:moveTo>
                      <a:cubicBezTo>
                        <a:pt x="364" y="1"/>
                        <a:pt x="1" y="376"/>
                        <a:pt x="1" y="824"/>
                      </a:cubicBezTo>
                      <a:cubicBezTo>
                        <a:pt x="1" y="1283"/>
                        <a:pt x="364" y="1658"/>
                        <a:pt x="824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76"/>
                        <a:pt x="1283" y="1"/>
                        <a:pt x="82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3" name="Google Shape;8333;p53"/>
              <p:cNvGrpSpPr/>
              <p:nvPr/>
            </p:nvGrpSpPr>
            <p:grpSpPr>
              <a:xfrm>
                <a:off x="4255307" y="3431612"/>
                <a:ext cx="37776" cy="32451"/>
                <a:chOff x="4255307" y="3431612"/>
                <a:chExt cx="37776" cy="32451"/>
              </a:xfrm>
            </p:grpSpPr>
            <p:sp>
              <p:nvSpPr>
                <p:cNvPr id="8334" name="Google Shape;8334;p53"/>
                <p:cNvSpPr/>
                <p:nvPr/>
              </p:nvSpPr>
              <p:spPr>
                <a:xfrm>
                  <a:off x="4255307" y="3431612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5" name="Google Shape;8335;p53"/>
                <p:cNvSpPr/>
                <p:nvPr/>
              </p:nvSpPr>
              <p:spPr>
                <a:xfrm>
                  <a:off x="4270432" y="34413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8"/>
                        <a:pt x="835" y="1658"/>
                      </a:cubicBezTo>
                      <a:cubicBezTo>
                        <a:pt x="1295" y="1658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6" name="Google Shape;8336;p53"/>
              <p:cNvGrpSpPr/>
              <p:nvPr/>
            </p:nvGrpSpPr>
            <p:grpSpPr>
              <a:xfrm>
                <a:off x="3853052" y="3577398"/>
                <a:ext cx="37776" cy="32420"/>
                <a:chOff x="3853052" y="3577398"/>
                <a:chExt cx="37776" cy="32420"/>
              </a:xfrm>
            </p:grpSpPr>
            <p:sp>
              <p:nvSpPr>
                <p:cNvPr id="8337" name="Google Shape;8337;p53"/>
                <p:cNvSpPr/>
                <p:nvPr/>
              </p:nvSpPr>
              <p:spPr>
                <a:xfrm>
                  <a:off x="3853052" y="3577398"/>
                  <a:ext cx="37776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2" extrusionOk="0">
                      <a:moveTo>
                        <a:pt x="2737" y="0"/>
                      </a:moveTo>
                      <a:cubicBezTo>
                        <a:pt x="2231" y="0"/>
                        <a:pt x="1714" y="190"/>
                        <a:pt x="1294" y="614"/>
                      </a:cubicBezTo>
                      <a:cubicBezTo>
                        <a:pt x="0" y="1908"/>
                        <a:pt x="919" y="4122"/>
                        <a:pt x="2746" y="4122"/>
                      </a:cubicBezTo>
                      <a:cubicBezTo>
                        <a:pt x="3883" y="4122"/>
                        <a:pt x="4803" y="3202"/>
                        <a:pt x="4803" y="2065"/>
                      </a:cubicBezTo>
                      <a:cubicBezTo>
                        <a:pt x="4803" y="823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8" name="Google Shape;8338;p53"/>
                <p:cNvSpPr/>
                <p:nvPr/>
              </p:nvSpPr>
              <p:spPr>
                <a:xfrm>
                  <a:off x="3868176" y="35870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35"/>
                      </a:cubicBezTo>
                      <a:cubicBezTo>
                        <a:pt x="1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9" name="Google Shape;8339;p53"/>
              <p:cNvGrpSpPr/>
              <p:nvPr/>
            </p:nvGrpSpPr>
            <p:grpSpPr>
              <a:xfrm>
                <a:off x="4039908" y="3412107"/>
                <a:ext cx="37776" cy="32357"/>
                <a:chOff x="4039908" y="3412107"/>
                <a:chExt cx="37776" cy="32357"/>
              </a:xfrm>
            </p:grpSpPr>
            <p:sp>
              <p:nvSpPr>
                <p:cNvPr id="8340" name="Google Shape;8340;p53"/>
                <p:cNvSpPr/>
                <p:nvPr/>
              </p:nvSpPr>
              <p:spPr>
                <a:xfrm>
                  <a:off x="4039908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1" name="Google Shape;8341;p53"/>
                <p:cNvSpPr/>
                <p:nvPr/>
              </p:nvSpPr>
              <p:spPr>
                <a:xfrm>
                  <a:off x="4055033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63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42" name="Google Shape;8342;p53"/>
              <p:cNvGrpSpPr/>
              <p:nvPr/>
            </p:nvGrpSpPr>
            <p:grpSpPr>
              <a:xfrm>
                <a:off x="4017360" y="3342061"/>
                <a:ext cx="37870" cy="32380"/>
                <a:chOff x="4017360" y="3342061"/>
                <a:chExt cx="37870" cy="32380"/>
              </a:xfrm>
            </p:grpSpPr>
            <p:sp>
              <p:nvSpPr>
                <p:cNvPr id="8343" name="Google Shape;8343;p53"/>
                <p:cNvSpPr/>
                <p:nvPr/>
              </p:nvSpPr>
              <p:spPr>
                <a:xfrm>
                  <a:off x="4017360" y="3342061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0"/>
                      </a:moveTo>
                      <a:cubicBezTo>
                        <a:pt x="2243" y="0"/>
                        <a:pt x="1726" y="189"/>
                        <a:pt x="1307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95" y="4116"/>
                        <a:pt x="4815" y="3197"/>
                        <a:pt x="4815" y="2060"/>
                      </a:cubicBezTo>
                      <a:cubicBezTo>
                        <a:pt x="4815" y="817"/>
                        <a:pt x="3804" y="0"/>
                        <a:pt x="274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4" name="Google Shape;8344;p53"/>
                <p:cNvSpPr/>
                <p:nvPr/>
              </p:nvSpPr>
              <p:spPr>
                <a:xfrm>
                  <a:off x="403248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345" name="Google Shape;8345;p53"/>
              <p:cNvSpPr/>
              <p:nvPr/>
            </p:nvSpPr>
            <p:spPr>
              <a:xfrm>
                <a:off x="3998712" y="3520180"/>
                <a:ext cx="47764" cy="40929"/>
              </a:xfrm>
              <a:custGeom>
                <a:avLst/>
                <a:gdLst/>
                <a:ahLst/>
                <a:cxnLst/>
                <a:rect l="l" t="t" r="r" b="b"/>
                <a:pathLst>
                  <a:path w="6073" h="5204" extrusionOk="0">
                    <a:moveTo>
                      <a:pt x="3457" y="0"/>
                    </a:moveTo>
                    <a:cubicBezTo>
                      <a:pt x="2821" y="0"/>
                      <a:pt x="2173" y="236"/>
                      <a:pt x="1645" y="764"/>
                    </a:cubicBezTo>
                    <a:cubicBezTo>
                      <a:pt x="0" y="2397"/>
                      <a:pt x="1162" y="5191"/>
                      <a:pt x="3472" y="5203"/>
                    </a:cubicBezTo>
                    <a:cubicBezTo>
                      <a:pt x="4899" y="5191"/>
                      <a:pt x="6061" y="4030"/>
                      <a:pt x="6073" y="2602"/>
                    </a:cubicBezTo>
                    <a:cubicBezTo>
                      <a:pt x="6073" y="1038"/>
                      <a:pt x="4792" y="0"/>
                      <a:pt x="3457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346" name="Google Shape;8346;p53"/>
              <p:cNvSpPr/>
              <p:nvPr/>
            </p:nvSpPr>
            <p:spPr>
              <a:xfrm>
                <a:off x="4011744" y="3529893"/>
                <a:ext cx="25026" cy="21448"/>
              </a:xfrm>
              <a:custGeom>
                <a:avLst/>
                <a:gdLst/>
                <a:ahLst/>
                <a:cxnLst/>
                <a:rect l="l" t="t" r="r" b="b"/>
                <a:pathLst>
                  <a:path w="3182" h="2727" extrusionOk="0">
                    <a:moveTo>
                      <a:pt x="1815" y="0"/>
                    </a:moveTo>
                    <a:cubicBezTo>
                      <a:pt x="605" y="0"/>
                      <a:pt x="1" y="1464"/>
                      <a:pt x="847" y="2323"/>
                    </a:cubicBezTo>
                    <a:cubicBezTo>
                      <a:pt x="1126" y="2601"/>
                      <a:pt x="1468" y="2726"/>
                      <a:pt x="1803" y="2726"/>
                    </a:cubicBezTo>
                    <a:cubicBezTo>
                      <a:pt x="2503" y="2726"/>
                      <a:pt x="3174" y="2185"/>
                      <a:pt x="3182" y="1367"/>
                    </a:cubicBezTo>
                    <a:cubicBezTo>
                      <a:pt x="3182" y="605"/>
                      <a:pt x="2565" y="0"/>
                      <a:pt x="181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347" name="Google Shape;8347;p53"/>
              <p:cNvGrpSpPr/>
              <p:nvPr/>
            </p:nvGrpSpPr>
            <p:grpSpPr>
              <a:xfrm>
                <a:off x="3750870" y="3418650"/>
                <a:ext cx="37776" cy="32380"/>
                <a:chOff x="3750870" y="3418650"/>
                <a:chExt cx="37776" cy="32380"/>
              </a:xfrm>
            </p:grpSpPr>
            <p:sp>
              <p:nvSpPr>
                <p:cNvPr id="8348" name="Google Shape;8348;p53"/>
                <p:cNvSpPr/>
                <p:nvPr/>
              </p:nvSpPr>
              <p:spPr>
                <a:xfrm>
                  <a:off x="3750870" y="3418650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8"/>
                        <a:pt x="1295" y="608"/>
                      </a:cubicBezTo>
                      <a:cubicBezTo>
                        <a:pt x="0" y="1903"/>
                        <a:pt x="920" y="4116"/>
                        <a:pt x="2746" y="4116"/>
                      </a:cubicBezTo>
                      <a:cubicBezTo>
                        <a:pt x="3883" y="4104"/>
                        <a:pt x="4803" y="3185"/>
                        <a:pt x="4803" y="2060"/>
                      </a:cubicBezTo>
                      <a:cubicBezTo>
                        <a:pt x="4803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9" name="Google Shape;8349;p53"/>
                <p:cNvSpPr/>
                <p:nvPr/>
              </p:nvSpPr>
              <p:spPr>
                <a:xfrm>
                  <a:off x="3765994" y="342828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35"/>
                      </a:cubicBezTo>
                      <a:cubicBezTo>
                        <a:pt x="1" y="1294"/>
                        <a:pt x="363" y="1657"/>
                        <a:pt x="823" y="1657"/>
                      </a:cubicBezTo>
                      <a:cubicBezTo>
                        <a:pt x="1283" y="1657"/>
                        <a:pt x="1658" y="1294"/>
                        <a:pt x="1658" y="835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0" name="Google Shape;8350;p53"/>
              <p:cNvGrpSpPr/>
              <p:nvPr/>
            </p:nvGrpSpPr>
            <p:grpSpPr>
              <a:xfrm>
                <a:off x="3632509" y="3274438"/>
                <a:ext cx="37783" cy="32357"/>
                <a:chOff x="3632509" y="3274438"/>
                <a:chExt cx="37783" cy="32357"/>
              </a:xfrm>
            </p:grpSpPr>
            <p:sp>
              <p:nvSpPr>
                <p:cNvPr id="8351" name="Google Shape;8351;p53"/>
                <p:cNvSpPr/>
                <p:nvPr/>
              </p:nvSpPr>
              <p:spPr>
                <a:xfrm>
                  <a:off x="3632509" y="327443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2" name="Google Shape;8352;p53"/>
                <p:cNvSpPr/>
                <p:nvPr/>
              </p:nvSpPr>
              <p:spPr>
                <a:xfrm>
                  <a:off x="3647547" y="328404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3" name="Google Shape;8353;p53"/>
              <p:cNvGrpSpPr/>
              <p:nvPr/>
            </p:nvGrpSpPr>
            <p:grpSpPr>
              <a:xfrm>
                <a:off x="3906424" y="3297561"/>
                <a:ext cx="37776" cy="32451"/>
                <a:chOff x="3906424" y="3297561"/>
                <a:chExt cx="37776" cy="32451"/>
              </a:xfrm>
            </p:grpSpPr>
            <p:sp>
              <p:nvSpPr>
                <p:cNvPr id="8354" name="Google Shape;8354;p53"/>
                <p:cNvSpPr/>
                <p:nvPr/>
              </p:nvSpPr>
              <p:spPr>
                <a:xfrm>
                  <a:off x="3906424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0" y="1899"/>
                        <a:pt x="920" y="4125"/>
                        <a:pt x="2746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5" name="Google Shape;8355;p53"/>
                <p:cNvSpPr/>
                <p:nvPr/>
              </p:nvSpPr>
              <p:spPr>
                <a:xfrm>
                  <a:off x="3921548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0"/>
                      </a:moveTo>
                      <a:cubicBezTo>
                        <a:pt x="364" y="0"/>
                        <a:pt x="1" y="363"/>
                        <a:pt x="1" y="823"/>
                      </a:cubicBezTo>
                      <a:cubicBezTo>
                        <a:pt x="1" y="1282"/>
                        <a:pt x="364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63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6" name="Google Shape;8356;p53"/>
              <p:cNvGrpSpPr/>
              <p:nvPr/>
            </p:nvGrpSpPr>
            <p:grpSpPr>
              <a:xfrm>
                <a:off x="3866084" y="3412107"/>
                <a:ext cx="37776" cy="32357"/>
                <a:chOff x="3866084" y="3412107"/>
                <a:chExt cx="37776" cy="32357"/>
              </a:xfrm>
            </p:grpSpPr>
            <p:sp>
              <p:nvSpPr>
                <p:cNvPr id="8357" name="Google Shape;8357;p53"/>
                <p:cNvSpPr/>
                <p:nvPr/>
              </p:nvSpPr>
              <p:spPr>
                <a:xfrm>
                  <a:off x="3866084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8" name="Google Shape;8358;p53"/>
                <p:cNvSpPr/>
                <p:nvPr/>
              </p:nvSpPr>
              <p:spPr>
                <a:xfrm>
                  <a:off x="3881208" y="342181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64" y="1"/>
                        <a:pt x="1" y="363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9" name="Google Shape;8359;p53"/>
              <p:cNvGrpSpPr/>
              <p:nvPr/>
            </p:nvGrpSpPr>
            <p:grpSpPr>
              <a:xfrm>
                <a:off x="4023919" y="3766409"/>
                <a:ext cx="37783" cy="32357"/>
                <a:chOff x="4023919" y="3766409"/>
                <a:chExt cx="37783" cy="32357"/>
              </a:xfrm>
            </p:grpSpPr>
            <p:sp>
              <p:nvSpPr>
                <p:cNvPr id="8360" name="Google Shape;8360;p53"/>
                <p:cNvSpPr/>
                <p:nvPr/>
              </p:nvSpPr>
              <p:spPr>
                <a:xfrm>
                  <a:off x="4023919" y="37664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1" name="Google Shape;8361;p53"/>
                <p:cNvSpPr/>
                <p:nvPr/>
              </p:nvSpPr>
              <p:spPr>
                <a:xfrm>
                  <a:off x="4039051" y="377611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2" name="Google Shape;8362;p53"/>
              <p:cNvGrpSpPr/>
              <p:nvPr/>
            </p:nvGrpSpPr>
            <p:grpSpPr>
              <a:xfrm>
                <a:off x="3973882" y="3779449"/>
                <a:ext cx="37776" cy="32357"/>
                <a:chOff x="3973882" y="3779449"/>
                <a:chExt cx="37776" cy="32357"/>
              </a:xfrm>
            </p:grpSpPr>
            <p:sp>
              <p:nvSpPr>
                <p:cNvPr id="8363" name="Google Shape;8363;p53"/>
                <p:cNvSpPr/>
                <p:nvPr/>
              </p:nvSpPr>
              <p:spPr>
                <a:xfrm>
                  <a:off x="3973882" y="3779449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899"/>
                        <a:pt x="919" y="4113"/>
                        <a:pt x="2746" y="4113"/>
                      </a:cubicBezTo>
                      <a:cubicBezTo>
                        <a:pt x="3883" y="4113"/>
                        <a:pt x="4802" y="3194"/>
                        <a:pt x="4802" y="2069"/>
                      </a:cubicBezTo>
                      <a:cubicBezTo>
                        <a:pt x="4802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4" name="Google Shape;8364;p53"/>
                <p:cNvSpPr/>
                <p:nvPr/>
              </p:nvSpPr>
              <p:spPr>
                <a:xfrm>
                  <a:off x="3989006" y="37891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23"/>
                      </a:cubicBezTo>
                      <a:cubicBezTo>
                        <a:pt x="0" y="1282"/>
                        <a:pt x="363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5" name="Google Shape;8365;p53"/>
              <p:cNvGrpSpPr/>
              <p:nvPr/>
            </p:nvGrpSpPr>
            <p:grpSpPr>
              <a:xfrm>
                <a:off x="4073398" y="3838028"/>
                <a:ext cx="37776" cy="32380"/>
                <a:chOff x="4073398" y="3838028"/>
                <a:chExt cx="37776" cy="32380"/>
              </a:xfrm>
            </p:grpSpPr>
            <p:sp>
              <p:nvSpPr>
                <p:cNvPr id="8366" name="Google Shape;8366;p53"/>
                <p:cNvSpPr/>
                <p:nvPr/>
              </p:nvSpPr>
              <p:spPr>
                <a:xfrm>
                  <a:off x="4073398" y="3838028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5" y="609"/>
                      </a:cubicBezTo>
                      <a:cubicBezTo>
                        <a:pt x="0" y="1891"/>
                        <a:pt x="920" y="4105"/>
                        <a:pt x="2746" y="4117"/>
                      </a:cubicBezTo>
                      <a:cubicBezTo>
                        <a:pt x="3883" y="4105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7" name="Google Shape;8367;p53"/>
                <p:cNvSpPr/>
                <p:nvPr/>
              </p:nvSpPr>
              <p:spPr>
                <a:xfrm>
                  <a:off x="4088428" y="38476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8" name="Google Shape;8368;p53"/>
              <p:cNvGrpSpPr/>
              <p:nvPr/>
            </p:nvGrpSpPr>
            <p:grpSpPr>
              <a:xfrm>
                <a:off x="4342672" y="4144496"/>
                <a:ext cx="37752" cy="32364"/>
                <a:chOff x="4342672" y="4144496"/>
                <a:chExt cx="37752" cy="32364"/>
              </a:xfrm>
            </p:grpSpPr>
            <p:sp>
              <p:nvSpPr>
                <p:cNvPr id="8369" name="Google Shape;8369;p53"/>
                <p:cNvSpPr/>
                <p:nvPr/>
              </p:nvSpPr>
              <p:spPr>
                <a:xfrm>
                  <a:off x="4342672" y="4144496"/>
                  <a:ext cx="37752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0" h="4115" extrusionOk="0">
                      <a:moveTo>
                        <a:pt x="2729" y="1"/>
                      </a:moveTo>
                      <a:cubicBezTo>
                        <a:pt x="2224" y="1"/>
                        <a:pt x="1710" y="188"/>
                        <a:pt x="1291" y="606"/>
                      </a:cubicBezTo>
                      <a:cubicBezTo>
                        <a:pt x="1" y="1897"/>
                        <a:pt x="912" y="4114"/>
                        <a:pt x="2740" y="4114"/>
                      </a:cubicBezTo>
                      <a:cubicBezTo>
                        <a:pt x="2745" y="4114"/>
                        <a:pt x="2750" y="4114"/>
                        <a:pt x="2755" y="4114"/>
                      </a:cubicBezTo>
                      <a:cubicBezTo>
                        <a:pt x="3880" y="4114"/>
                        <a:pt x="4800" y="3195"/>
                        <a:pt x="4800" y="2058"/>
                      </a:cubicBezTo>
                      <a:cubicBezTo>
                        <a:pt x="4800" y="822"/>
                        <a:pt x="3785" y="1"/>
                        <a:pt x="27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0" name="Google Shape;8370;p53"/>
                <p:cNvSpPr/>
                <p:nvPr/>
              </p:nvSpPr>
              <p:spPr>
                <a:xfrm>
                  <a:off x="4355586" y="4154209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01" y="0"/>
                      </a:moveTo>
                      <a:cubicBezTo>
                        <a:pt x="363" y="0"/>
                        <a:pt x="0" y="895"/>
                        <a:pt x="520" y="1416"/>
                      </a:cubicBezTo>
                      <a:cubicBezTo>
                        <a:pt x="688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1" name="Google Shape;8371;p53"/>
              <p:cNvGrpSpPr/>
              <p:nvPr/>
            </p:nvGrpSpPr>
            <p:grpSpPr>
              <a:xfrm>
                <a:off x="4406386" y="4056872"/>
                <a:ext cx="37783" cy="32364"/>
                <a:chOff x="4406386" y="4056872"/>
                <a:chExt cx="37783" cy="32364"/>
              </a:xfrm>
            </p:grpSpPr>
            <p:sp>
              <p:nvSpPr>
                <p:cNvPr id="8372" name="Google Shape;8372;p53"/>
                <p:cNvSpPr/>
                <p:nvPr/>
              </p:nvSpPr>
              <p:spPr>
                <a:xfrm>
                  <a:off x="4406386" y="4056872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3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3" name="Google Shape;8373;p53"/>
                <p:cNvSpPr/>
                <p:nvPr/>
              </p:nvSpPr>
              <p:spPr>
                <a:xfrm>
                  <a:off x="4419332" y="4066577"/>
                  <a:ext cx="15227" cy="130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5" extrusionOk="0">
                      <a:moveTo>
                        <a:pt x="1123" y="1"/>
                      </a:moveTo>
                      <a:cubicBezTo>
                        <a:pt x="1115" y="1"/>
                        <a:pt x="1108" y="1"/>
                        <a:pt x="1101" y="1"/>
                      </a:cubicBezTo>
                      <a:cubicBezTo>
                        <a:pt x="363" y="1"/>
                        <a:pt x="0" y="884"/>
                        <a:pt x="520" y="1404"/>
                      </a:cubicBezTo>
                      <a:cubicBezTo>
                        <a:pt x="689" y="1577"/>
                        <a:pt x="898" y="1655"/>
                        <a:pt x="1103" y="1655"/>
                      </a:cubicBezTo>
                      <a:cubicBezTo>
                        <a:pt x="1528" y="1655"/>
                        <a:pt x="1936" y="1322"/>
                        <a:pt x="1936" y="824"/>
                      </a:cubicBezTo>
                      <a:cubicBezTo>
                        <a:pt x="1936" y="371"/>
                        <a:pt x="1572" y="1"/>
                        <a:pt x="11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4" name="Google Shape;8374;p53"/>
              <p:cNvGrpSpPr/>
              <p:nvPr/>
            </p:nvGrpSpPr>
            <p:grpSpPr>
              <a:xfrm>
                <a:off x="4284416" y="4245254"/>
                <a:ext cx="37783" cy="32357"/>
                <a:chOff x="4284416" y="4245254"/>
                <a:chExt cx="37783" cy="32357"/>
              </a:xfrm>
            </p:grpSpPr>
            <p:sp>
              <p:nvSpPr>
                <p:cNvPr id="8375" name="Google Shape;8375;p53"/>
                <p:cNvSpPr/>
                <p:nvPr/>
              </p:nvSpPr>
              <p:spPr>
                <a:xfrm>
                  <a:off x="4284416" y="4245254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6" name="Google Shape;8376;p53"/>
                <p:cNvSpPr/>
                <p:nvPr/>
              </p:nvSpPr>
              <p:spPr>
                <a:xfrm>
                  <a:off x="4299548" y="425495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7" name="Google Shape;8377;p53"/>
              <p:cNvGrpSpPr/>
              <p:nvPr/>
            </p:nvGrpSpPr>
            <p:grpSpPr>
              <a:xfrm>
                <a:off x="4219057" y="4331258"/>
                <a:ext cx="37776" cy="32364"/>
                <a:chOff x="4219057" y="4331258"/>
                <a:chExt cx="37776" cy="32364"/>
              </a:xfrm>
            </p:grpSpPr>
            <p:sp>
              <p:nvSpPr>
                <p:cNvPr id="8378" name="Google Shape;8378;p53"/>
                <p:cNvSpPr/>
                <p:nvPr/>
              </p:nvSpPr>
              <p:spPr>
                <a:xfrm>
                  <a:off x="4219057" y="4331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9" name="Google Shape;8379;p53"/>
                <p:cNvSpPr/>
                <p:nvPr/>
              </p:nvSpPr>
              <p:spPr>
                <a:xfrm>
                  <a:off x="4231995" y="4340971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13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0" name="Google Shape;8380;p53"/>
              <p:cNvGrpSpPr/>
              <p:nvPr/>
            </p:nvGrpSpPr>
            <p:grpSpPr>
              <a:xfrm>
                <a:off x="4204122" y="4141688"/>
                <a:ext cx="33497" cy="28699"/>
                <a:chOff x="4204122" y="4141688"/>
                <a:chExt cx="33497" cy="28699"/>
              </a:xfrm>
            </p:grpSpPr>
            <p:sp>
              <p:nvSpPr>
                <p:cNvPr id="8381" name="Google Shape;8381;p53"/>
                <p:cNvSpPr/>
                <p:nvPr/>
              </p:nvSpPr>
              <p:spPr>
                <a:xfrm>
                  <a:off x="4204122" y="4141688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8"/>
                        <a:pt x="1149" y="540"/>
                      </a:cubicBezTo>
                      <a:cubicBezTo>
                        <a:pt x="0" y="1677"/>
                        <a:pt x="811" y="3649"/>
                        <a:pt x="2432" y="3649"/>
                      </a:cubicBezTo>
                      <a:cubicBezTo>
                        <a:pt x="3448" y="3649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2" name="Google Shape;8382;p53"/>
                <p:cNvSpPr/>
                <p:nvPr/>
              </p:nvSpPr>
              <p:spPr>
                <a:xfrm>
                  <a:off x="4216965" y="4151259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6" y="0"/>
                        <a:pt x="0" y="641"/>
                        <a:pt x="375" y="1016"/>
                      </a:cubicBezTo>
                      <a:cubicBezTo>
                        <a:pt x="498" y="1139"/>
                        <a:pt x="650" y="1195"/>
                        <a:pt x="799" y="1195"/>
                      </a:cubicBezTo>
                      <a:cubicBezTo>
                        <a:pt x="1103" y="1195"/>
                        <a:pt x="1395" y="963"/>
                        <a:pt x="1404" y="605"/>
                      </a:cubicBezTo>
                      <a:cubicBezTo>
                        <a:pt x="1404" y="278"/>
                        <a:pt x="1137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3" name="Google Shape;8383;p53"/>
              <p:cNvGrpSpPr/>
              <p:nvPr/>
            </p:nvGrpSpPr>
            <p:grpSpPr>
              <a:xfrm>
                <a:off x="4301546" y="4003869"/>
                <a:ext cx="38916" cy="33324"/>
                <a:chOff x="4301546" y="4003869"/>
                <a:chExt cx="38916" cy="33324"/>
              </a:xfrm>
            </p:grpSpPr>
            <p:sp>
              <p:nvSpPr>
                <p:cNvPr id="8384" name="Google Shape;8384;p53"/>
                <p:cNvSpPr/>
                <p:nvPr/>
              </p:nvSpPr>
              <p:spPr>
                <a:xfrm>
                  <a:off x="4301546" y="4003869"/>
                  <a:ext cx="38916" cy="333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8" h="4237" extrusionOk="0">
                      <a:moveTo>
                        <a:pt x="2818" y="1"/>
                      </a:moveTo>
                      <a:cubicBezTo>
                        <a:pt x="2295" y="1"/>
                        <a:pt x="1763" y="196"/>
                        <a:pt x="1331" y="631"/>
                      </a:cubicBezTo>
                      <a:cubicBezTo>
                        <a:pt x="0" y="1962"/>
                        <a:pt x="944" y="4236"/>
                        <a:pt x="2831" y="4236"/>
                      </a:cubicBezTo>
                      <a:cubicBezTo>
                        <a:pt x="3992" y="4236"/>
                        <a:pt x="4948" y="3293"/>
                        <a:pt x="4948" y="2119"/>
                      </a:cubicBezTo>
                      <a:cubicBezTo>
                        <a:pt x="4948" y="845"/>
                        <a:pt x="3905" y="1"/>
                        <a:pt x="28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5" name="Google Shape;8385;p53"/>
                <p:cNvSpPr/>
                <p:nvPr/>
              </p:nvSpPr>
              <p:spPr>
                <a:xfrm>
                  <a:off x="4314389" y="4013590"/>
                  <a:ext cx="16469" cy="1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780" extrusionOk="0">
                      <a:moveTo>
                        <a:pt x="1220" y="0"/>
                      </a:moveTo>
                      <a:cubicBezTo>
                        <a:pt x="1213" y="0"/>
                        <a:pt x="1205" y="0"/>
                        <a:pt x="1198" y="0"/>
                      </a:cubicBezTo>
                      <a:cubicBezTo>
                        <a:pt x="400" y="0"/>
                        <a:pt x="0" y="956"/>
                        <a:pt x="569" y="1512"/>
                      </a:cubicBezTo>
                      <a:cubicBezTo>
                        <a:pt x="750" y="1697"/>
                        <a:pt x="974" y="1780"/>
                        <a:pt x="1194" y="1780"/>
                      </a:cubicBezTo>
                      <a:cubicBezTo>
                        <a:pt x="1652" y="1780"/>
                        <a:pt x="2093" y="1422"/>
                        <a:pt x="2093" y="883"/>
                      </a:cubicBezTo>
                      <a:cubicBezTo>
                        <a:pt x="2093" y="395"/>
                        <a:pt x="1706" y="0"/>
                        <a:pt x="122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6" name="Google Shape;8386;p53"/>
              <p:cNvGrpSpPr/>
              <p:nvPr/>
            </p:nvGrpSpPr>
            <p:grpSpPr>
              <a:xfrm>
                <a:off x="4210681" y="3924669"/>
                <a:ext cx="36549" cy="31366"/>
                <a:chOff x="4210681" y="3924669"/>
                <a:chExt cx="36549" cy="31366"/>
              </a:xfrm>
            </p:grpSpPr>
            <p:sp>
              <p:nvSpPr>
                <p:cNvPr id="8387" name="Google Shape;8387;p53"/>
                <p:cNvSpPr/>
                <p:nvPr/>
              </p:nvSpPr>
              <p:spPr>
                <a:xfrm>
                  <a:off x="4210681" y="3924669"/>
                  <a:ext cx="36549" cy="313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47" h="3988" extrusionOk="0">
                      <a:moveTo>
                        <a:pt x="2642" y="0"/>
                      </a:moveTo>
                      <a:cubicBezTo>
                        <a:pt x="2152" y="0"/>
                        <a:pt x="1654" y="182"/>
                        <a:pt x="1247" y="589"/>
                      </a:cubicBezTo>
                      <a:cubicBezTo>
                        <a:pt x="1" y="1847"/>
                        <a:pt x="884" y="3988"/>
                        <a:pt x="2662" y="3988"/>
                      </a:cubicBezTo>
                      <a:cubicBezTo>
                        <a:pt x="3751" y="3976"/>
                        <a:pt x="4646" y="3093"/>
                        <a:pt x="4646" y="1992"/>
                      </a:cubicBezTo>
                      <a:cubicBezTo>
                        <a:pt x="4646" y="797"/>
                        <a:pt x="3665" y="0"/>
                        <a:pt x="26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8" name="Google Shape;8388;p53"/>
                <p:cNvSpPr/>
                <p:nvPr/>
              </p:nvSpPr>
              <p:spPr>
                <a:xfrm>
                  <a:off x="4225625" y="3934335"/>
                  <a:ext cx="11994" cy="119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25" h="1525" extrusionOk="0">
                      <a:moveTo>
                        <a:pt x="762" y="1"/>
                      </a:moveTo>
                      <a:cubicBezTo>
                        <a:pt x="339" y="1"/>
                        <a:pt x="0" y="339"/>
                        <a:pt x="0" y="763"/>
                      </a:cubicBezTo>
                      <a:cubicBezTo>
                        <a:pt x="0" y="1186"/>
                        <a:pt x="339" y="1525"/>
                        <a:pt x="762" y="1525"/>
                      </a:cubicBezTo>
                      <a:cubicBezTo>
                        <a:pt x="1173" y="1525"/>
                        <a:pt x="1524" y="1186"/>
                        <a:pt x="1524" y="763"/>
                      </a:cubicBezTo>
                      <a:cubicBezTo>
                        <a:pt x="1524" y="339"/>
                        <a:pt x="1173" y="1"/>
                        <a:pt x="76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9" name="Google Shape;8389;p53"/>
              <p:cNvGrpSpPr/>
              <p:nvPr/>
            </p:nvGrpSpPr>
            <p:grpSpPr>
              <a:xfrm>
                <a:off x="3987771" y="3628874"/>
                <a:ext cx="31499" cy="26993"/>
                <a:chOff x="3987771" y="3628874"/>
                <a:chExt cx="31499" cy="26993"/>
              </a:xfrm>
            </p:grpSpPr>
            <p:sp>
              <p:nvSpPr>
                <p:cNvPr id="8390" name="Google Shape;8390;p53"/>
                <p:cNvSpPr/>
                <p:nvPr/>
              </p:nvSpPr>
              <p:spPr>
                <a:xfrm>
                  <a:off x="3987771" y="3628874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1" name="Google Shape;8391;p53"/>
                <p:cNvSpPr/>
                <p:nvPr/>
              </p:nvSpPr>
              <p:spPr>
                <a:xfrm>
                  <a:off x="4000709" y="3638540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2" name="Google Shape;8392;p53"/>
              <p:cNvGrpSpPr/>
              <p:nvPr/>
            </p:nvGrpSpPr>
            <p:grpSpPr>
              <a:xfrm>
                <a:off x="4087382" y="3775674"/>
                <a:ext cx="31405" cy="26898"/>
                <a:chOff x="4087382" y="3775674"/>
                <a:chExt cx="31405" cy="26898"/>
              </a:xfrm>
            </p:grpSpPr>
            <p:sp>
              <p:nvSpPr>
                <p:cNvPr id="8393" name="Google Shape;8393;p53"/>
                <p:cNvSpPr/>
                <p:nvPr/>
              </p:nvSpPr>
              <p:spPr>
                <a:xfrm>
                  <a:off x="4087382" y="37756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20"/>
                        <a:pt x="2275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4" name="Google Shape;8394;p53"/>
                <p:cNvSpPr/>
                <p:nvPr/>
              </p:nvSpPr>
              <p:spPr>
                <a:xfrm>
                  <a:off x="4101460" y="378534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5" name="Google Shape;8395;p53"/>
              <p:cNvGrpSpPr/>
              <p:nvPr/>
            </p:nvGrpSpPr>
            <p:grpSpPr>
              <a:xfrm>
                <a:off x="4118873" y="3856637"/>
                <a:ext cx="31405" cy="26906"/>
                <a:chOff x="4118873" y="3856637"/>
                <a:chExt cx="31405" cy="26906"/>
              </a:xfrm>
            </p:grpSpPr>
            <p:sp>
              <p:nvSpPr>
                <p:cNvPr id="8396" name="Google Shape;8396;p53"/>
                <p:cNvSpPr/>
                <p:nvPr/>
              </p:nvSpPr>
              <p:spPr>
                <a:xfrm>
                  <a:off x="4118873" y="3856637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7" name="Google Shape;8397;p53"/>
                <p:cNvSpPr/>
                <p:nvPr/>
              </p:nvSpPr>
              <p:spPr>
                <a:xfrm>
                  <a:off x="4133046" y="3866310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8" name="Google Shape;8398;p53"/>
              <p:cNvGrpSpPr/>
              <p:nvPr/>
            </p:nvGrpSpPr>
            <p:grpSpPr>
              <a:xfrm>
                <a:off x="4168541" y="3639523"/>
                <a:ext cx="31499" cy="26906"/>
                <a:chOff x="4168541" y="3639523"/>
                <a:chExt cx="31499" cy="26906"/>
              </a:xfrm>
            </p:grpSpPr>
            <p:sp>
              <p:nvSpPr>
                <p:cNvPr id="8399" name="Google Shape;8399;p53"/>
                <p:cNvSpPr/>
                <p:nvPr/>
              </p:nvSpPr>
              <p:spPr>
                <a:xfrm>
                  <a:off x="4168541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2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5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0" name="Google Shape;8400;p53"/>
                <p:cNvSpPr/>
                <p:nvPr/>
              </p:nvSpPr>
              <p:spPr>
                <a:xfrm>
                  <a:off x="4182713" y="3649197"/>
                  <a:ext cx="7716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1" h="969" extrusionOk="0">
                      <a:moveTo>
                        <a:pt x="496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96" y="968"/>
                      </a:cubicBezTo>
                      <a:cubicBezTo>
                        <a:pt x="763" y="968"/>
                        <a:pt x="980" y="751"/>
                        <a:pt x="980" y="485"/>
                      </a:cubicBezTo>
                      <a:cubicBezTo>
                        <a:pt x="980" y="218"/>
                        <a:pt x="763" y="1"/>
                        <a:pt x="49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1" name="Google Shape;8401;p53"/>
              <p:cNvGrpSpPr/>
              <p:nvPr/>
            </p:nvGrpSpPr>
            <p:grpSpPr>
              <a:xfrm>
                <a:off x="3965789" y="3393545"/>
                <a:ext cx="31405" cy="26945"/>
                <a:chOff x="3965789" y="3393545"/>
                <a:chExt cx="31405" cy="26945"/>
              </a:xfrm>
            </p:grpSpPr>
            <p:sp>
              <p:nvSpPr>
                <p:cNvPr id="8402" name="Google Shape;8402;p53"/>
                <p:cNvSpPr/>
                <p:nvPr/>
              </p:nvSpPr>
              <p:spPr>
                <a:xfrm>
                  <a:off x="3965789" y="3393545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0"/>
                      </a:moveTo>
                      <a:cubicBezTo>
                        <a:pt x="1854" y="0"/>
                        <a:pt x="1426" y="158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3" name="Google Shape;8403;p53"/>
                <p:cNvSpPr/>
                <p:nvPr/>
              </p:nvSpPr>
              <p:spPr>
                <a:xfrm>
                  <a:off x="3978632" y="3403259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9" y="1"/>
                        <a:pt x="1" y="509"/>
                        <a:pt x="315" y="823"/>
                      </a:cubicBezTo>
                      <a:cubicBezTo>
                        <a:pt x="413" y="921"/>
                        <a:pt x="533" y="964"/>
                        <a:pt x="651" y="964"/>
                      </a:cubicBezTo>
                      <a:cubicBezTo>
                        <a:pt x="899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4" name="Google Shape;8404;p53"/>
              <p:cNvGrpSpPr/>
              <p:nvPr/>
            </p:nvGrpSpPr>
            <p:grpSpPr>
              <a:xfrm>
                <a:off x="3925166" y="3491008"/>
                <a:ext cx="31405" cy="27001"/>
                <a:chOff x="3925166" y="3491008"/>
                <a:chExt cx="31405" cy="27001"/>
              </a:xfrm>
            </p:grpSpPr>
            <p:sp>
              <p:nvSpPr>
                <p:cNvPr id="8405" name="Google Shape;8405;p53"/>
                <p:cNvSpPr/>
                <p:nvPr/>
              </p:nvSpPr>
              <p:spPr>
                <a:xfrm>
                  <a:off x="3925166" y="349100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5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6" name="Google Shape;8406;p53"/>
                <p:cNvSpPr/>
                <p:nvPr/>
              </p:nvSpPr>
              <p:spPr>
                <a:xfrm>
                  <a:off x="3939339" y="350068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5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5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7" name="Google Shape;8407;p53"/>
              <p:cNvGrpSpPr/>
              <p:nvPr/>
            </p:nvGrpSpPr>
            <p:grpSpPr>
              <a:xfrm>
                <a:off x="3682845" y="3340976"/>
                <a:ext cx="31397" cy="26898"/>
                <a:chOff x="3682845" y="3340976"/>
                <a:chExt cx="31397" cy="26898"/>
              </a:xfrm>
            </p:grpSpPr>
            <p:sp>
              <p:nvSpPr>
                <p:cNvPr id="8408" name="Google Shape;8408;p53"/>
                <p:cNvSpPr/>
                <p:nvPr/>
              </p:nvSpPr>
              <p:spPr>
                <a:xfrm>
                  <a:off x="3682845" y="3340976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9" name="Google Shape;8409;p53"/>
                <p:cNvSpPr/>
                <p:nvPr/>
              </p:nvSpPr>
              <p:spPr>
                <a:xfrm>
                  <a:off x="3695783" y="3350650"/>
                  <a:ext cx="8856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2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23"/>
                      </a:cubicBezTo>
                      <a:cubicBezTo>
                        <a:pt x="401" y="926"/>
                        <a:pt x="524" y="972"/>
                        <a:pt x="643" y="972"/>
                      </a:cubicBezTo>
                      <a:cubicBezTo>
                        <a:pt x="890" y="972"/>
                        <a:pt x="1125" y="777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0" name="Google Shape;8410;p53"/>
              <p:cNvGrpSpPr/>
              <p:nvPr/>
            </p:nvGrpSpPr>
            <p:grpSpPr>
              <a:xfrm>
                <a:off x="3795393" y="3353725"/>
                <a:ext cx="31499" cy="26993"/>
                <a:chOff x="3795393" y="3353725"/>
                <a:chExt cx="31499" cy="26993"/>
              </a:xfrm>
            </p:grpSpPr>
            <p:sp>
              <p:nvSpPr>
                <p:cNvPr id="8411" name="Google Shape;8411;p53"/>
                <p:cNvSpPr/>
                <p:nvPr/>
              </p:nvSpPr>
              <p:spPr>
                <a:xfrm>
                  <a:off x="3795393" y="335372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32"/>
                        <a:pt x="2299" y="3432"/>
                      </a:cubicBezTo>
                      <a:cubicBezTo>
                        <a:pt x="3242" y="3432"/>
                        <a:pt x="4005" y="2658"/>
                        <a:pt x="4005" y="1714"/>
                      </a:cubicBezTo>
                      <a:cubicBezTo>
                        <a:pt x="4005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2" name="Google Shape;8412;p53"/>
                <p:cNvSpPr/>
                <p:nvPr/>
              </p:nvSpPr>
              <p:spPr>
                <a:xfrm>
                  <a:off x="3809668" y="3363399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06" y="0"/>
                        <a:pt x="0" y="218"/>
                        <a:pt x="0" y="484"/>
                      </a:cubicBezTo>
                      <a:cubicBezTo>
                        <a:pt x="0" y="750"/>
                        <a:pt x="206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3" name="Google Shape;8413;p53"/>
              <p:cNvGrpSpPr/>
              <p:nvPr/>
            </p:nvGrpSpPr>
            <p:grpSpPr>
              <a:xfrm>
                <a:off x="4176909" y="4363221"/>
                <a:ext cx="38924" cy="33316"/>
                <a:chOff x="4176909" y="4363221"/>
                <a:chExt cx="38924" cy="33316"/>
              </a:xfrm>
            </p:grpSpPr>
            <p:sp>
              <p:nvSpPr>
                <p:cNvPr id="8414" name="Google Shape;8414;p53"/>
                <p:cNvSpPr/>
                <p:nvPr/>
              </p:nvSpPr>
              <p:spPr>
                <a:xfrm>
                  <a:off x="4176909" y="4363221"/>
                  <a:ext cx="38924" cy="333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9" h="4236" extrusionOk="0">
                      <a:moveTo>
                        <a:pt x="2823" y="0"/>
                      </a:moveTo>
                      <a:cubicBezTo>
                        <a:pt x="2301" y="0"/>
                        <a:pt x="1767" y="195"/>
                        <a:pt x="1331" y="631"/>
                      </a:cubicBezTo>
                      <a:cubicBezTo>
                        <a:pt x="1" y="1961"/>
                        <a:pt x="944" y="4236"/>
                        <a:pt x="2831" y="4236"/>
                      </a:cubicBezTo>
                      <a:cubicBezTo>
                        <a:pt x="4005" y="4236"/>
                        <a:pt x="4948" y="3292"/>
                        <a:pt x="4948" y="2119"/>
                      </a:cubicBezTo>
                      <a:cubicBezTo>
                        <a:pt x="4948" y="844"/>
                        <a:pt x="3911" y="0"/>
                        <a:pt x="28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5" name="Google Shape;8415;p53"/>
                <p:cNvSpPr/>
                <p:nvPr/>
              </p:nvSpPr>
              <p:spPr>
                <a:xfrm>
                  <a:off x="4192230" y="4372934"/>
                  <a:ext cx="13897" cy="139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7" h="1779" extrusionOk="0">
                      <a:moveTo>
                        <a:pt x="883" y="1"/>
                      </a:moveTo>
                      <a:cubicBezTo>
                        <a:pt x="399" y="1"/>
                        <a:pt x="0" y="400"/>
                        <a:pt x="0" y="896"/>
                      </a:cubicBezTo>
                      <a:cubicBezTo>
                        <a:pt x="0" y="1380"/>
                        <a:pt x="399" y="1779"/>
                        <a:pt x="883" y="1779"/>
                      </a:cubicBezTo>
                      <a:cubicBezTo>
                        <a:pt x="1379" y="1779"/>
                        <a:pt x="1766" y="1380"/>
                        <a:pt x="1766" y="896"/>
                      </a:cubicBezTo>
                      <a:cubicBezTo>
                        <a:pt x="1766" y="400"/>
                        <a:pt x="1379" y="1"/>
                        <a:pt x="88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6" name="Google Shape;8416;p53"/>
              <p:cNvGrpSpPr/>
              <p:nvPr/>
            </p:nvGrpSpPr>
            <p:grpSpPr>
              <a:xfrm>
                <a:off x="4226191" y="4007660"/>
                <a:ext cx="33560" cy="28770"/>
                <a:chOff x="4226191" y="4007660"/>
                <a:chExt cx="33560" cy="28770"/>
              </a:xfrm>
            </p:grpSpPr>
            <p:sp>
              <p:nvSpPr>
                <p:cNvPr id="8417" name="Google Shape;8417;p53"/>
                <p:cNvSpPr/>
                <p:nvPr/>
              </p:nvSpPr>
              <p:spPr>
                <a:xfrm>
                  <a:off x="4226191" y="4007660"/>
                  <a:ext cx="33560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67" h="3658" extrusionOk="0">
                      <a:moveTo>
                        <a:pt x="2427" y="1"/>
                      </a:moveTo>
                      <a:cubicBezTo>
                        <a:pt x="1980" y="1"/>
                        <a:pt x="1524" y="167"/>
                        <a:pt x="1150" y="537"/>
                      </a:cubicBezTo>
                      <a:cubicBezTo>
                        <a:pt x="1" y="1686"/>
                        <a:pt x="811" y="3645"/>
                        <a:pt x="2444" y="3658"/>
                      </a:cubicBezTo>
                      <a:cubicBezTo>
                        <a:pt x="3436" y="3645"/>
                        <a:pt x="4259" y="2835"/>
                        <a:pt x="4259" y="1843"/>
                      </a:cubicBezTo>
                      <a:cubicBezTo>
                        <a:pt x="4267" y="736"/>
                        <a:pt x="3369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8" name="Google Shape;8418;p53"/>
                <p:cNvSpPr/>
                <p:nvPr/>
              </p:nvSpPr>
              <p:spPr>
                <a:xfrm>
                  <a:off x="4239129" y="4017397"/>
                  <a:ext cx="10948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2" h="1193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8"/>
                        <a:pt x="647" y="1192"/>
                        <a:pt x="794" y="1192"/>
                      </a:cubicBezTo>
                      <a:cubicBezTo>
                        <a:pt x="1099" y="1192"/>
                        <a:pt x="1392" y="957"/>
                        <a:pt x="1392" y="605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9" name="Google Shape;8419;p53"/>
              <p:cNvGrpSpPr/>
              <p:nvPr/>
            </p:nvGrpSpPr>
            <p:grpSpPr>
              <a:xfrm>
                <a:off x="3597785" y="3377045"/>
                <a:ext cx="33591" cy="28699"/>
                <a:chOff x="3597785" y="3377045"/>
                <a:chExt cx="33591" cy="28699"/>
              </a:xfrm>
            </p:grpSpPr>
            <p:sp>
              <p:nvSpPr>
                <p:cNvPr id="8420" name="Google Shape;8420;p53"/>
                <p:cNvSpPr/>
                <p:nvPr/>
              </p:nvSpPr>
              <p:spPr>
                <a:xfrm>
                  <a:off x="3597785" y="3377045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28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0" y="1676"/>
                        <a:pt x="811" y="3648"/>
                        <a:pt x="2444" y="3648"/>
                      </a:cubicBezTo>
                      <a:cubicBezTo>
                        <a:pt x="3448" y="3648"/>
                        <a:pt x="4259" y="2826"/>
                        <a:pt x="4271" y="1822"/>
                      </a:cubicBezTo>
                      <a:cubicBezTo>
                        <a:pt x="4262" y="726"/>
                        <a:pt x="3364" y="0"/>
                        <a:pt x="242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1" name="Google Shape;8421;p53"/>
                <p:cNvSpPr/>
                <p:nvPr/>
              </p:nvSpPr>
              <p:spPr>
                <a:xfrm>
                  <a:off x="3612343" y="3386703"/>
                  <a:ext cx="9328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87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20" y="1186"/>
                        <a:pt x="1186" y="920"/>
                        <a:pt x="1186" y="594"/>
                      </a:cubicBezTo>
                      <a:cubicBezTo>
                        <a:pt x="1186" y="267"/>
                        <a:pt x="920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2" name="Google Shape;8422;p53"/>
              <p:cNvGrpSpPr/>
              <p:nvPr/>
            </p:nvGrpSpPr>
            <p:grpSpPr>
              <a:xfrm>
                <a:off x="3887870" y="3669796"/>
                <a:ext cx="33591" cy="28692"/>
                <a:chOff x="3887870" y="3669796"/>
                <a:chExt cx="33591" cy="28692"/>
              </a:xfrm>
            </p:grpSpPr>
            <p:sp>
              <p:nvSpPr>
                <p:cNvPr id="8423" name="Google Shape;8423;p53"/>
                <p:cNvSpPr/>
                <p:nvPr/>
              </p:nvSpPr>
              <p:spPr>
                <a:xfrm>
                  <a:off x="3887870" y="3669796"/>
                  <a:ext cx="33591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8" extrusionOk="0">
                      <a:moveTo>
                        <a:pt x="2431" y="0"/>
                      </a:moveTo>
                      <a:cubicBezTo>
                        <a:pt x="1981" y="0"/>
                        <a:pt x="1522" y="167"/>
                        <a:pt x="1150" y="539"/>
                      </a:cubicBezTo>
                      <a:cubicBezTo>
                        <a:pt x="1" y="1676"/>
                        <a:pt x="823" y="3648"/>
                        <a:pt x="2444" y="3648"/>
                      </a:cubicBezTo>
                      <a:cubicBezTo>
                        <a:pt x="3448" y="3648"/>
                        <a:pt x="4271" y="2825"/>
                        <a:pt x="4271" y="1821"/>
                      </a:cubicBezTo>
                      <a:cubicBezTo>
                        <a:pt x="4271" y="725"/>
                        <a:pt x="3370" y="0"/>
                        <a:pt x="24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4" name="Google Shape;8424;p53"/>
                <p:cNvSpPr/>
                <p:nvPr/>
              </p:nvSpPr>
              <p:spPr>
                <a:xfrm>
                  <a:off x="3902428" y="3679454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3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5" name="Google Shape;8425;p53"/>
              <p:cNvGrpSpPr/>
              <p:nvPr/>
            </p:nvGrpSpPr>
            <p:grpSpPr>
              <a:xfrm>
                <a:off x="3818320" y="3481625"/>
                <a:ext cx="33497" cy="28770"/>
                <a:chOff x="3818320" y="3481625"/>
                <a:chExt cx="33497" cy="28770"/>
              </a:xfrm>
            </p:grpSpPr>
            <p:sp>
              <p:nvSpPr>
                <p:cNvPr id="8426" name="Google Shape;8426;p53"/>
                <p:cNvSpPr/>
                <p:nvPr/>
              </p:nvSpPr>
              <p:spPr>
                <a:xfrm>
                  <a:off x="3818320" y="3481625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1"/>
                      </a:moveTo>
                      <a:cubicBezTo>
                        <a:pt x="1975" y="1"/>
                        <a:pt x="1520" y="166"/>
                        <a:pt x="1150" y="537"/>
                      </a:cubicBezTo>
                      <a:cubicBezTo>
                        <a:pt x="1" y="1686"/>
                        <a:pt x="811" y="3658"/>
                        <a:pt x="2432" y="3658"/>
                      </a:cubicBezTo>
                      <a:cubicBezTo>
                        <a:pt x="3448" y="3658"/>
                        <a:pt x="4259" y="2835"/>
                        <a:pt x="4259" y="1831"/>
                      </a:cubicBezTo>
                      <a:cubicBezTo>
                        <a:pt x="4259" y="732"/>
                        <a:pt x="3359" y="1"/>
                        <a:pt x="242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7" name="Google Shape;8427;p53"/>
                <p:cNvSpPr/>
                <p:nvPr/>
              </p:nvSpPr>
              <p:spPr>
                <a:xfrm>
                  <a:off x="3831258" y="3491362"/>
                  <a:ext cx="10956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2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6" y="1192"/>
                        <a:pt x="792" y="1192"/>
                      </a:cubicBezTo>
                      <a:cubicBezTo>
                        <a:pt x="1098" y="1192"/>
                        <a:pt x="1392" y="953"/>
                        <a:pt x="1392" y="593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8" name="Google Shape;8428;p53"/>
              <p:cNvGrpSpPr/>
              <p:nvPr/>
            </p:nvGrpSpPr>
            <p:grpSpPr>
              <a:xfrm>
                <a:off x="4278139" y="4120948"/>
                <a:ext cx="37492" cy="32129"/>
                <a:chOff x="4278139" y="4120948"/>
                <a:chExt cx="37492" cy="32129"/>
              </a:xfrm>
            </p:grpSpPr>
            <p:sp>
              <p:nvSpPr>
                <p:cNvPr id="8429" name="Google Shape;8429;p53"/>
                <p:cNvSpPr/>
                <p:nvPr/>
              </p:nvSpPr>
              <p:spPr>
                <a:xfrm>
                  <a:off x="4278139" y="4120948"/>
                  <a:ext cx="37492" cy="321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67" h="4085" extrusionOk="0">
                      <a:moveTo>
                        <a:pt x="2708" y="0"/>
                      </a:moveTo>
                      <a:cubicBezTo>
                        <a:pt x="2207" y="0"/>
                        <a:pt x="1697" y="186"/>
                        <a:pt x="1283" y="600"/>
                      </a:cubicBezTo>
                      <a:cubicBezTo>
                        <a:pt x="1" y="1895"/>
                        <a:pt x="908" y="4084"/>
                        <a:pt x="2722" y="4084"/>
                      </a:cubicBezTo>
                      <a:cubicBezTo>
                        <a:pt x="3847" y="4084"/>
                        <a:pt x="4755" y="3177"/>
                        <a:pt x="4767" y="2052"/>
                      </a:cubicBezTo>
                      <a:cubicBezTo>
                        <a:pt x="4767" y="815"/>
                        <a:pt x="3758" y="0"/>
                        <a:pt x="27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0" name="Google Shape;8430;p53"/>
                <p:cNvSpPr/>
                <p:nvPr/>
              </p:nvSpPr>
              <p:spPr>
                <a:xfrm>
                  <a:off x="4290983" y="4130614"/>
                  <a:ext cx="14943" cy="128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00" h="1629" extrusionOk="0">
                      <a:moveTo>
                        <a:pt x="1089" y="0"/>
                      </a:moveTo>
                      <a:cubicBezTo>
                        <a:pt x="363" y="0"/>
                        <a:pt x="1" y="883"/>
                        <a:pt x="509" y="1391"/>
                      </a:cubicBezTo>
                      <a:cubicBezTo>
                        <a:pt x="673" y="1555"/>
                        <a:pt x="876" y="1629"/>
                        <a:pt x="1076" y="1629"/>
                      </a:cubicBezTo>
                      <a:cubicBezTo>
                        <a:pt x="1495" y="1629"/>
                        <a:pt x="1900" y="1306"/>
                        <a:pt x="1900" y="823"/>
                      </a:cubicBezTo>
                      <a:cubicBezTo>
                        <a:pt x="1900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1" name="Google Shape;8431;p53"/>
              <p:cNvGrpSpPr/>
              <p:nvPr/>
            </p:nvGrpSpPr>
            <p:grpSpPr>
              <a:xfrm>
                <a:off x="4419898" y="3977388"/>
                <a:ext cx="33497" cy="28692"/>
                <a:chOff x="4419898" y="3977388"/>
                <a:chExt cx="33497" cy="28692"/>
              </a:xfrm>
            </p:grpSpPr>
            <p:sp>
              <p:nvSpPr>
                <p:cNvPr id="8432" name="Google Shape;8432;p53"/>
                <p:cNvSpPr/>
                <p:nvPr/>
              </p:nvSpPr>
              <p:spPr>
                <a:xfrm>
                  <a:off x="4419898" y="3977388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1" y="1688"/>
                        <a:pt x="811" y="3648"/>
                        <a:pt x="2432" y="3648"/>
                      </a:cubicBezTo>
                      <a:cubicBezTo>
                        <a:pt x="3448" y="3648"/>
                        <a:pt x="4259" y="2837"/>
                        <a:pt x="4259" y="1833"/>
                      </a:cubicBezTo>
                      <a:cubicBezTo>
                        <a:pt x="4259" y="729"/>
                        <a:pt x="3362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3" name="Google Shape;8433;p53"/>
                <p:cNvSpPr/>
                <p:nvPr/>
              </p:nvSpPr>
              <p:spPr>
                <a:xfrm>
                  <a:off x="4432742" y="3987046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9" y="1139"/>
                        <a:pt x="650" y="1195"/>
                        <a:pt x="799" y="1195"/>
                      </a:cubicBezTo>
                      <a:cubicBezTo>
                        <a:pt x="1104" y="1195"/>
                        <a:pt x="1396" y="963"/>
                        <a:pt x="1404" y="605"/>
                      </a:cubicBezTo>
                      <a:cubicBezTo>
                        <a:pt x="1404" y="266"/>
                        <a:pt x="1138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4" name="Google Shape;8434;p53"/>
              <p:cNvGrpSpPr/>
              <p:nvPr/>
            </p:nvGrpSpPr>
            <p:grpSpPr>
              <a:xfrm>
                <a:off x="4158930" y="4034684"/>
                <a:ext cx="33497" cy="28762"/>
                <a:chOff x="4158930" y="4034684"/>
                <a:chExt cx="33497" cy="28762"/>
              </a:xfrm>
            </p:grpSpPr>
            <p:sp>
              <p:nvSpPr>
                <p:cNvPr id="8435" name="Google Shape;8435;p53"/>
                <p:cNvSpPr/>
                <p:nvPr/>
              </p:nvSpPr>
              <p:spPr>
                <a:xfrm>
                  <a:off x="4158930" y="4034684"/>
                  <a:ext cx="33497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7" extrusionOk="0">
                      <a:moveTo>
                        <a:pt x="2421" y="0"/>
                      </a:moveTo>
                      <a:cubicBezTo>
                        <a:pt x="1974" y="0"/>
                        <a:pt x="1520" y="166"/>
                        <a:pt x="1149" y="536"/>
                      </a:cubicBezTo>
                      <a:cubicBezTo>
                        <a:pt x="0" y="1685"/>
                        <a:pt x="811" y="3645"/>
                        <a:pt x="2432" y="3657"/>
                      </a:cubicBezTo>
                      <a:cubicBezTo>
                        <a:pt x="3436" y="3645"/>
                        <a:pt x="4258" y="2834"/>
                        <a:pt x="4258" y="1830"/>
                      </a:cubicBezTo>
                      <a:cubicBezTo>
                        <a:pt x="4258" y="732"/>
                        <a:pt x="3358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6" name="Google Shape;8436;p53"/>
                <p:cNvSpPr/>
                <p:nvPr/>
              </p:nvSpPr>
              <p:spPr>
                <a:xfrm>
                  <a:off x="4173385" y="4044319"/>
                  <a:ext cx="9336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99" extrusionOk="0">
                      <a:moveTo>
                        <a:pt x="594" y="1"/>
                      </a:moveTo>
                      <a:cubicBezTo>
                        <a:pt x="267" y="1"/>
                        <a:pt x="1" y="279"/>
                        <a:pt x="1" y="605"/>
                      </a:cubicBezTo>
                      <a:cubicBezTo>
                        <a:pt x="1" y="932"/>
                        <a:pt x="267" y="1198"/>
                        <a:pt x="594" y="1198"/>
                      </a:cubicBezTo>
                      <a:cubicBezTo>
                        <a:pt x="920" y="1198"/>
                        <a:pt x="1186" y="932"/>
                        <a:pt x="1186" y="605"/>
                      </a:cubicBezTo>
                      <a:cubicBezTo>
                        <a:pt x="1186" y="279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7" name="Google Shape;8437;p53"/>
              <p:cNvGrpSpPr/>
              <p:nvPr/>
            </p:nvGrpSpPr>
            <p:grpSpPr>
              <a:xfrm>
                <a:off x="4134949" y="3957049"/>
                <a:ext cx="33497" cy="28770"/>
                <a:chOff x="4134949" y="3957049"/>
                <a:chExt cx="33497" cy="28770"/>
              </a:xfrm>
            </p:grpSpPr>
            <p:sp>
              <p:nvSpPr>
                <p:cNvPr id="8438" name="Google Shape;8438;p53"/>
                <p:cNvSpPr/>
                <p:nvPr/>
              </p:nvSpPr>
              <p:spPr>
                <a:xfrm>
                  <a:off x="4134949" y="3957049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0"/>
                      </a:moveTo>
                      <a:cubicBezTo>
                        <a:pt x="1975" y="0"/>
                        <a:pt x="1520" y="166"/>
                        <a:pt x="1150" y="536"/>
                      </a:cubicBezTo>
                      <a:cubicBezTo>
                        <a:pt x="1" y="1685"/>
                        <a:pt x="811" y="3657"/>
                        <a:pt x="2432" y="3657"/>
                      </a:cubicBezTo>
                      <a:cubicBezTo>
                        <a:pt x="3436" y="3657"/>
                        <a:pt x="4259" y="2834"/>
                        <a:pt x="4259" y="1830"/>
                      </a:cubicBezTo>
                      <a:cubicBezTo>
                        <a:pt x="4259" y="732"/>
                        <a:pt x="3359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9" name="Google Shape;8439;p53"/>
                <p:cNvSpPr/>
                <p:nvPr/>
              </p:nvSpPr>
              <p:spPr>
                <a:xfrm>
                  <a:off x="4147793" y="3966778"/>
                  <a:ext cx="10956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3" extrusionOk="0">
                      <a:moveTo>
                        <a:pt x="799" y="1"/>
                      </a:moveTo>
                      <a:cubicBezTo>
                        <a:pt x="267" y="1"/>
                        <a:pt x="1" y="642"/>
                        <a:pt x="376" y="1017"/>
                      </a:cubicBezTo>
                      <a:cubicBezTo>
                        <a:pt x="497" y="1138"/>
                        <a:pt x="646" y="1192"/>
                        <a:pt x="792" y="1192"/>
                      </a:cubicBezTo>
                      <a:cubicBezTo>
                        <a:pt x="1098" y="1192"/>
                        <a:pt x="1392" y="954"/>
                        <a:pt x="1392" y="593"/>
                      </a:cubicBezTo>
                      <a:cubicBezTo>
                        <a:pt x="1392" y="267"/>
                        <a:pt x="1126" y="1"/>
                        <a:pt x="799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0" name="Google Shape;8440;p53"/>
              <p:cNvGrpSpPr/>
              <p:nvPr/>
            </p:nvGrpSpPr>
            <p:grpSpPr>
              <a:xfrm>
                <a:off x="4193653" y="4184403"/>
                <a:ext cx="43580" cy="37264"/>
                <a:chOff x="4193653" y="4184403"/>
                <a:chExt cx="43580" cy="37264"/>
              </a:xfrm>
            </p:grpSpPr>
            <p:sp>
              <p:nvSpPr>
                <p:cNvPr id="8441" name="Google Shape;8441;p53"/>
                <p:cNvSpPr/>
                <p:nvPr/>
              </p:nvSpPr>
              <p:spPr>
                <a:xfrm>
                  <a:off x="4193653" y="4184403"/>
                  <a:ext cx="43580" cy="372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38" extrusionOk="0">
                      <a:moveTo>
                        <a:pt x="3156" y="1"/>
                      </a:moveTo>
                      <a:cubicBezTo>
                        <a:pt x="2575" y="1"/>
                        <a:pt x="1982" y="216"/>
                        <a:pt x="1501" y="698"/>
                      </a:cubicBezTo>
                      <a:cubicBezTo>
                        <a:pt x="1" y="2185"/>
                        <a:pt x="1065" y="4738"/>
                        <a:pt x="3170" y="4738"/>
                      </a:cubicBezTo>
                      <a:cubicBezTo>
                        <a:pt x="4476" y="4738"/>
                        <a:pt x="5529" y="3673"/>
                        <a:pt x="5541" y="2367"/>
                      </a:cubicBezTo>
                      <a:cubicBezTo>
                        <a:pt x="5541" y="943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2" name="Google Shape;8442;p53"/>
                <p:cNvSpPr/>
                <p:nvPr/>
              </p:nvSpPr>
              <p:spPr>
                <a:xfrm>
                  <a:off x="4206591" y="4194069"/>
                  <a:ext cx="20944" cy="17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63" h="2282" extrusionOk="0">
                      <a:moveTo>
                        <a:pt x="1525" y="1"/>
                      </a:moveTo>
                      <a:cubicBezTo>
                        <a:pt x="509" y="1"/>
                        <a:pt x="1" y="1223"/>
                        <a:pt x="714" y="1948"/>
                      </a:cubicBezTo>
                      <a:cubicBezTo>
                        <a:pt x="948" y="2179"/>
                        <a:pt x="1234" y="2282"/>
                        <a:pt x="1514" y="2282"/>
                      </a:cubicBezTo>
                      <a:cubicBezTo>
                        <a:pt x="2101" y="2282"/>
                        <a:pt x="2662" y="1826"/>
                        <a:pt x="2662" y="1138"/>
                      </a:cubicBezTo>
                      <a:cubicBezTo>
                        <a:pt x="2662" y="509"/>
                        <a:pt x="2154" y="1"/>
                        <a:pt x="152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3" name="Google Shape;8443;p53"/>
              <p:cNvGrpSpPr/>
              <p:nvPr/>
            </p:nvGrpSpPr>
            <p:grpSpPr>
              <a:xfrm>
                <a:off x="4343600" y="3943844"/>
                <a:ext cx="43580" cy="37312"/>
                <a:chOff x="4343600" y="3943844"/>
                <a:chExt cx="43580" cy="37312"/>
              </a:xfrm>
            </p:grpSpPr>
            <p:sp>
              <p:nvSpPr>
                <p:cNvPr id="8444" name="Google Shape;8444;p53"/>
                <p:cNvSpPr/>
                <p:nvPr/>
              </p:nvSpPr>
              <p:spPr>
                <a:xfrm>
                  <a:off x="4343600" y="3943844"/>
                  <a:ext cx="43580" cy="373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44" extrusionOk="0">
                      <a:moveTo>
                        <a:pt x="3156" y="1"/>
                      </a:moveTo>
                      <a:cubicBezTo>
                        <a:pt x="2574" y="1"/>
                        <a:pt x="1982" y="218"/>
                        <a:pt x="1500" y="703"/>
                      </a:cubicBezTo>
                      <a:cubicBezTo>
                        <a:pt x="0" y="2191"/>
                        <a:pt x="1065" y="4743"/>
                        <a:pt x="3169" y="4743"/>
                      </a:cubicBezTo>
                      <a:cubicBezTo>
                        <a:pt x="4476" y="4731"/>
                        <a:pt x="5528" y="3679"/>
                        <a:pt x="5540" y="2372"/>
                      </a:cubicBezTo>
                      <a:cubicBezTo>
                        <a:pt x="5540" y="949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5" name="Google Shape;8445;p53"/>
                <p:cNvSpPr/>
                <p:nvPr/>
              </p:nvSpPr>
              <p:spPr>
                <a:xfrm>
                  <a:off x="4359581" y="3953557"/>
                  <a:ext cx="17893" cy="17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75" h="2275" extrusionOk="0">
                      <a:moveTo>
                        <a:pt x="1137" y="0"/>
                      </a:moveTo>
                      <a:cubicBezTo>
                        <a:pt x="508" y="0"/>
                        <a:pt x="0" y="508"/>
                        <a:pt x="0" y="1137"/>
                      </a:cubicBezTo>
                      <a:cubicBezTo>
                        <a:pt x="0" y="1766"/>
                        <a:pt x="508" y="2274"/>
                        <a:pt x="1137" y="2274"/>
                      </a:cubicBezTo>
                      <a:cubicBezTo>
                        <a:pt x="1766" y="2274"/>
                        <a:pt x="2275" y="1766"/>
                        <a:pt x="2275" y="1137"/>
                      </a:cubicBezTo>
                      <a:cubicBezTo>
                        <a:pt x="2275" y="508"/>
                        <a:pt x="1766" y="0"/>
                        <a:pt x="113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6" name="Google Shape;8446;p53"/>
              <p:cNvGrpSpPr/>
              <p:nvPr/>
            </p:nvGrpSpPr>
            <p:grpSpPr>
              <a:xfrm>
                <a:off x="4172339" y="3381693"/>
                <a:ext cx="31499" cy="27001"/>
                <a:chOff x="4172339" y="3381693"/>
                <a:chExt cx="31499" cy="27001"/>
              </a:xfrm>
            </p:grpSpPr>
            <p:sp>
              <p:nvSpPr>
                <p:cNvPr id="8447" name="Google Shape;8447;p53"/>
                <p:cNvSpPr/>
                <p:nvPr/>
              </p:nvSpPr>
              <p:spPr>
                <a:xfrm>
                  <a:off x="4172339" y="33816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20"/>
                        <a:pt x="2299" y="3432"/>
                      </a:cubicBezTo>
                      <a:cubicBezTo>
                        <a:pt x="3243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8" name="Google Shape;8448;p53"/>
                <p:cNvSpPr/>
                <p:nvPr/>
              </p:nvSpPr>
              <p:spPr>
                <a:xfrm>
                  <a:off x="4185285" y="3391367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2" y="823"/>
                      </a:cubicBezTo>
                      <a:cubicBezTo>
                        <a:pt x="401" y="922"/>
                        <a:pt x="523" y="967"/>
                        <a:pt x="643" y="967"/>
                      </a:cubicBezTo>
                      <a:cubicBezTo>
                        <a:pt x="889" y="967"/>
                        <a:pt x="1125" y="778"/>
                        <a:pt x="1125" y="484"/>
                      </a:cubicBezTo>
                      <a:cubicBezTo>
                        <a:pt x="1125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4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53" name="Google Shape;8453;p54"/>
          <p:cNvGrpSpPr/>
          <p:nvPr/>
        </p:nvGrpSpPr>
        <p:grpSpPr>
          <a:xfrm>
            <a:off x="2126623" y="3607908"/>
            <a:ext cx="1102891" cy="760337"/>
            <a:chOff x="4967783" y="2151471"/>
            <a:chExt cx="3920692" cy="2702940"/>
          </a:xfrm>
        </p:grpSpPr>
        <p:grpSp>
          <p:nvGrpSpPr>
            <p:cNvPr id="8454" name="Google Shape;8454;p54"/>
            <p:cNvGrpSpPr/>
            <p:nvPr/>
          </p:nvGrpSpPr>
          <p:grpSpPr>
            <a:xfrm>
              <a:off x="5045709" y="2252109"/>
              <a:ext cx="3761071" cy="2501708"/>
              <a:chOff x="2691784" y="1805334"/>
              <a:chExt cx="3761071" cy="2501708"/>
            </a:xfrm>
          </p:grpSpPr>
          <p:sp>
            <p:nvSpPr>
              <p:cNvPr id="8455" name="Google Shape;8455;p54"/>
              <p:cNvSpPr/>
              <p:nvPr/>
            </p:nvSpPr>
            <p:spPr>
              <a:xfrm>
                <a:off x="4306153" y="4266675"/>
                <a:ext cx="932050" cy="40353"/>
              </a:xfrm>
              <a:custGeom>
                <a:avLst/>
                <a:gdLst/>
                <a:ahLst/>
                <a:cxnLst/>
                <a:rect l="l" t="t" r="r" b="b"/>
                <a:pathLst>
                  <a:path w="106520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06520" y="2705"/>
                    </a:lnTo>
                    <a:lnTo>
                      <a:pt x="106520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6" name="Google Shape;8456;p54"/>
              <p:cNvSpPr/>
              <p:nvPr/>
            </p:nvSpPr>
            <p:spPr>
              <a:xfrm>
                <a:off x="2691784" y="3762285"/>
                <a:ext cx="1916675" cy="544757"/>
              </a:xfrm>
              <a:custGeom>
                <a:avLst/>
                <a:gdLst/>
                <a:ahLst/>
                <a:cxnLst/>
                <a:rect l="l" t="t" r="r" b="b"/>
                <a:pathLst>
                  <a:path w="128485" h="36518" extrusionOk="0">
                    <a:moveTo>
                      <a:pt x="2706" y="1"/>
                    </a:moveTo>
                    <a:lnTo>
                      <a:pt x="1" y="326"/>
                    </a:lnTo>
                    <a:cubicBezTo>
                      <a:pt x="1461" y="10577"/>
                      <a:pt x="6547" y="19612"/>
                      <a:pt x="13850" y="26130"/>
                    </a:cubicBezTo>
                    <a:cubicBezTo>
                      <a:pt x="21288" y="32568"/>
                      <a:pt x="30999" y="36517"/>
                      <a:pt x="41575" y="36517"/>
                    </a:cubicBezTo>
                    <a:lnTo>
                      <a:pt x="128484" y="36517"/>
                    </a:lnTo>
                    <a:lnTo>
                      <a:pt x="128484" y="33812"/>
                    </a:lnTo>
                    <a:lnTo>
                      <a:pt x="41575" y="33812"/>
                    </a:lnTo>
                    <a:cubicBezTo>
                      <a:pt x="31675" y="33812"/>
                      <a:pt x="22641" y="30188"/>
                      <a:pt x="15662" y="24102"/>
                    </a:cubicBezTo>
                    <a:cubicBezTo>
                      <a:pt x="8792" y="18016"/>
                      <a:pt x="4058" y="9468"/>
                      <a:pt x="2706" y="1"/>
                    </a:cubicBez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7" name="Google Shape;8457;p54"/>
              <p:cNvSpPr/>
              <p:nvPr/>
            </p:nvSpPr>
            <p:spPr>
              <a:xfrm>
                <a:off x="2695021" y="3035999"/>
                <a:ext cx="754960" cy="529407"/>
              </a:xfrm>
              <a:custGeom>
                <a:avLst/>
                <a:gdLst/>
                <a:ahLst/>
                <a:cxnLst/>
                <a:rect l="l" t="t" r="r" b="b"/>
                <a:pathLst>
                  <a:path w="50609" h="35489" extrusionOk="0">
                    <a:moveTo>
                      <a:pt x="41358" y="0"/>
                    </a:moveTo>
                    <a:cubicBezTo>
                      <a:pt x="30998" y="0"/>
                      <a:pt x="21423" y="3814"/>
                      <a:pt x="14093" y="10144"/>
                    </a:cubicBezTo>
                    <a:cubicBezTo>
                      <a:pt x="6762" y="16338"/>
                      <a:pt x="1596" y="25129"/>
                      <a:pt x="0" y="35029"/>
                    </a:cubicBezTo>
                    <a:lnTo>
                      <a:pt x="2597" y="35489"/>
                    </a:lnTo>
                    <a:cubicBezTo>
                      <a:pt x="4166" y="26238"/>
                      <a:pt x="9034" y="18015"/>
                      <a:pt x="15905" y="12173"/>
                    </a:cubicBezTo>
                    <a:cubicBezTo>
                      <a:pt x="22775" y="6303"/>
                      <a:pt x="31675" y="2705"/>
                      <a:pt x="41358" y="2705"/>
                    </a:cubicBezTo>
                    <a:lnTo>
                      <a:pt x="50609" y="2705"/>
                    </a:lnTo>
                    <a:lnTo>
                      <a:pt x="50609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8" name="Google Shape;8458;p54"/>
              <p:cNvSpPr/>
              <p:nvPr/>
            </p:nvSpPr>
            <p:spPr>
              <a:xfrm>
                <a:off x="3661791" y="2531620"/>
                <a:ext cx="2791064" cy="544757"/>
              </a:xfrm>
              <a:custGeom>
                <a:avLst/>
                <a:gdLst/>
                <a:ahLst/>
                <a:cxnLst/>
                <a:rect l="l" t="t" r="r" b="b"/>
                <a:pathLst>
                  <a:path w="187100" h="36518" extrusionOk="0">
                    <a:moveTo>
                      <a:pt x="184395" y="1"/>
                    </a:moveTo>
                    <a:cubicBezTo>
                      <a:pt x="183150" y="9468"/>
                      <a:pt x="178309" y="17908"/>
                      <a:pt x="171438" y="23994"/>
                    </a:cubicBezTo>
                    <a:cubicBezTo>
                      <a:pt x="164432" y="30080"/>
                      <a:pt x="155425" y="33812"/>
                      <a:pt x="145498" y="33812"/>
                    </a:cubicBezTo>
                    <a:lnTo>
                      <a:pt x="1" y="33812"/>
                    </a:lnTo>
                    <a:lnTo>
                      <a:pt x="1" y="36517"/>
                    </a:lnTo>
                    <a:lnTo>
                      <a:pt x="145498" y="36517"/>
                    </a:lnTo>
                    <a:cubicBezTo>
                      <a:pt x="156101" y="36517"/>
                      <a:pt x="165785" y="32568"/>
                      <a:pt x="173223" y="26022"/>
                    </a:cubicBezTo>
                    <a:cubicBezTo>
                      <a:pt x="180554" y="19612"/>
                      <a:pt x="185747" y="10469"/>
                      <a:pt x="187100" y="326"/>
                    </a:cubicBezTo>
                    <a:lnTo>
                      <a:pt x="184395" y="1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9" name="Google Shape;8459;p54"/>
              <p:cNvSpPr/>
              <p:nvPr/>
            </p:nvSpPr>
            <p:spPr>
              <a:xfrm>
                <a:off x="5153124" y="1805334"/>
                <a:ext cx="1294451" cy="512461"/>
              </a:xfrm>
              <a:custGeom>
                <a:avLst/>
                <a:gdLst/>
                <a:ahLst/>
                <a:cxnLst/>
                <a:rect l="l" t="t" r="r" b="b"/>
                <a:pathLst>
                  <a:path w="86774" h="34353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45524" y="2705"/>
                    </a:lnTo>
                    <a:cubicBezTo>
                      <a:pt x="54991" y="2705"/>
                      <a:pt x="63674" y="6195"/>
                      <a:pt x="70545" y="11821"/>
                    </a:cubicBezTo>
                    <a:cubicBezTo>
                      <a:pt x="77415" y="17582"/>
                      <a:pt x="82284" y="25454"/>
                      <a:pt x="84177" y="34353"/>
                    </a:cubicBezTo>
                    <a:lnTo>
                      <a:pt x="86774" y="33920"/>
                    </a:lnTo>
                    <a:cubicBezTo>
                      <a:pt x="84854" y="24345"/>
                      <a:pt x="79579" y="15878"/>
                      <a:pt x="72249" y="9792"/>
                    </a:cubicBezTo>
                    <a:cubicBezTo>
                      <a:pt x="65027" y="3706"/>
                      <a:pt x="55668" y="0"/>
                      <a:pt x="45524" y="0"/>
                    </a:cubicBez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0" name="Google Shape;8460;p54"/>
              <p:cNvSpPr/>
              <p:nvPr/>
            </p:nvSpPr>
            <p:spPr>
              <a:xfrm>
                <a:off x="2785807" y="1805334"/>
                <a:ext cx="2143839" cy="40367"/>
              </a:xfrm>
              <a:custGeom>
                <a:avLst/>
                <a:gdLst/>
                <a:ahLst/>
                <a:cxnLst/>
                <a:rect l="l" t="t" r="r" b="b"/>
                <a:pathLst>
                  <a:path w="143713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43712" y="2705"/>
                    </a:lnTo>
                    <a:lnTo>
                      <a:pt x="143712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1" name="Google Shape;8461;p54"/>
              <p:cNvSpPr/>
              <p:nvPr/>
            </p:nvSpPr>
            <p:spPr>
              <a:xfrm>
                <a:off x="5447728" y="4266675"/>
                <a:ext cx="932050" cy="40353"/>
              </a:xfrm>
              <a:custGeom>
                <a:avLst/>
                <a:gdLst/>
                <a:ahLst/>
                <a:cxnLst/>
                <a:rect l="l" t="t" r="r" b="b"/>
                <a:pathLst>
                  <a:path w="106520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06520" y="2705"/>
                    </a:lnTo>
                    <a:lnTo>
                      <a:pt x="106520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462" name="Google Shape;8462;p54"/>
            <p:cNvGrpSpPr/>
            <p:nvPr/>
          </p:nvGrpSpPr>
          <p:grpSpPr>
            <a:xfrm>
              <a:off x="4967783" y="2151471"/>
              <a:ext cx="3920692" cy="2702940"/>
              <a:chOff x="2613858" y="1704696"/>
              <a:chExt cx="3920692" cy="2702940"/>
            </a:xfrm>
          </p:grpSpPr>
          <p:sp>
            <p:nvSpPr>
              <p:cNvPr id="8463" name="Google Shape;8463;p54"/>
              <p:cNvSpPr/>
              <p:nvPr/>
            </p:nvSpPr>
            <p:spPr>
              <a:xfrm rot="5400000">
                <a:off x="4924676" y="1720789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4" name="Google Shape;8464;p54"/>
              <p:cNvSpPr/>
              <p:nvPr/>
            </p:nvSpPr>
            <p:spPr>
              <a:xfrm rot="5400000">
                <a:off x="6309028" y="2311963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5" name="Google Shape;8465;p54"/>
              <p:cNvSpPr/>
              <p:nvPr/>
            </p:nvSpPr>
            <p:spPr>
              <a:xfrm rot="5400000">
                <a:off x="5222154" y="4182115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6" name="Google Shape;8466;p54"/>
              <p:cNvSpPr/>
              <p:nvPr/>
            </p:nvSpPr>
            <p:spPr>
              <a:xfrm rot="5400000">
                <a:off x="2597765" y="3554395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7" name="Google Shape;8467;p54"/>
              <p:cNvSpPr/>
              <p:nvPr/>
            </p:nvSpPr>
            <p:spPr>
              <a:xfrm rot="5400000">
                <a:off x="3433899" y="2945028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468" name="Google Shape;8468;p54"/>
          <p:cNvGrpSpPr/>
          <p:nvPr/>
        </p:nvGrpSpPr>
        <p:grpSpPr>
          <a:xfrm>
            <a:off x="3530532" y="1496185"/>
            <a:ext cx="1561911" cy="708580"/>
            <a:chOff x="3530532" y="1496185"/>
            <a:chExt cx="1561911" cy="708580"/>
          </a:xfrm>
        </p:grpSpPr>
        <p:grpSp>
          <p:nvGrpSpPr>
            <p:cNvPr id="8469" name="Google Shape;8469;p54"/>
            <p:cNvGrpSpPr/>
            <p:nvPr/>
          </p:nvGrpSpPr>
          <p:grpSpPr>
            <a:xfrm>
              <a:off x="3720318" y="1857562"/>
              <a:ext cx="1372125" cy="54"/>
              <a:chOff x="3720318" y="1857562"/>
              <a:chExt cx="1372125" cy="54"/>
            </a:xfrm>
          </p:grpSpPr>
          <p:cxnSp>
            <p:nvCxnSpPr>
              <p:cNvPr id="8470" name="Google Shape;8470;p54"/>
              <p:cNvCxnSpPr>
                <a:endCxn id="8471" idx="2"/>
              </p:cNvCxnSpPr>
              <p:nvPr/>
            </p:nvCxnSpPr>
            <p:spPr>
              <a:xfrm>
                <a:off x="4440243" y="1857616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2" name="Google Shape;8472;p54"/>
              <p:cNvCxnSpPr/>
              <p:nvPr/>
            </p:nvCxnSpPr>
            <p:spPr>
              <a:xfrm>
                <a:off x="4074943" y="1857562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3" name="Google Shape;8473;p54"/>
              <p:cNvCxnSpPr/>
              <p:nvPr/>
            </p:nvCxnSpPr>
            <p:spPr>
              <a:xfrm>
                <a:off x="3720318" y="1857562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4" name="Google Shape;8474;p54"/>
              <p:cNvCxnSpPr>
                <a:stCxn id="8471" idx="6"/>
              </p:cNvCxnSpPr>
              <p:nvPr/>
            </p:nvCxnSpPr>
            <p:spPr>
              <a:xfrm>
                <a:off x="4801443" y="1857616"/>
                <a:ext cx="2910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triangle" w="med" len="med"/>
              </a:ln>
            </p:spPr>
          </p:cxnSp>
        </p:grpSp>
        <p:grpSp>
          <p:nvGrpSpPr>
            <p:cNvPr id="8475" name="Google Shape;8475;p54"/>
            <p:cNvGrpSpPr/>
            <p:nvPr/>
          </p:nvGrpSpPr>
          <p:grpSpPr>
            <a:xfrm>
              <a:off x="3567462" y="1496185"/>
              <a:ext cx="286500" cy="272914"/>
              <a:chOff x="3567462" y="1496185"/>
              <a:chExt cx="286500" cy="272914"/>
            </a:xfrm>
          </p:grpSpPr>
          <p:cxnSp>
            <p:nvCxnSpPr>
              <p:cNvPr id="8476" name="Google Shape;8476;p54"/>
              <p:cNvCxnSpPr/>
              <p:nvPr/>
            </p:nvCxnSpPr>
            <p:spPr>
              <a:xfrm rot="10800000">
                <a:off x="3626625" y="1596000"/>
                <a:ext cx="0" cy="17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77" name="Google Shape;8477;p54"/>
              <p:cNvSpPr/>
              <p:nvPr/>
            </p:nvSpPr>
            <p:spPr>
              <a:xfrm>
                <a:off x="3567462" y="1496185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478" name="Google Shape;8478;p54"/>
            <p:cNvSpPr/>
            <p:nvPr/>
          </p:nvSpPr>
          <p:spPr>
            <a:xfrm>
              <a:off x="3530532" y="1771972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9" name="Google Shape;8479;p54"/>
            <p:cNvSpPr/>
            <p:nvPr/>
          </p:nvSpPr>
          <p:spPr>
            <a:xfrm>
              <a:off x="3891569" y="1779209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480" name="Google Shape;8480;p54"/>
            <p:cNvGrpSpPr/>
            <p:nvPr/>
          </p:nvGrpSpPr>
          <p:grpSpPr>
            <a:xfrm>
              <a:off x="3929014" y="1960574"/>
              <a:ext cx="286500" cy="242342"/>
              <a:chOff x="3929014" y="1960574"/>
              <a:chExt cx="286500" cy="242342"/>
            </a:xfrm>
          </p:grpSpPr>
          <p:cxnSp>
            <p:nvCxnSpPr>
              <p:cNvPr id="8481" name="Google Shape;8481;p54"/>
              <p:cNvCxnSpPr/>
              <p:nvPr/>
            </p:nvCxnSpPr>
            <p:spPr>
              <a:xfrm rot="10800000">
                <a:off x="3988400" y="1960574"/>
                <a:ext cx="0" cy="144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2" name="Google Shape;8482;p54"/>
              <p:cNvSpPr/>
              <p:nvPr/>
            </p:nvSpPr>
            <p:spPr>
              <a:xfrm>
                <a:off x="3929014" y="2103016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483" name="Google Shape;8483;p54"/>
            <p:cNvGrpSpPr/>
            <p:nvPr/>
          </p:nvGrpSpPr>
          <p:grpSpPr>
            <a:xfrm>
              <a:off x="4290828" y="1496185"/>
              <a:ext cx="286500" cy="272914"/>
              <a:chOff x="4290828" y="1496185"/>
              <a:chExt cx="286500" cy="272914"/>
            </a:xfrm>
          </p:grpSpPr>
          <p:cxnSp>
            <p:nvCxnSpPr>
              <p:cNvPr id="8484" name="Google Shape;8484;p54"/>
              <p:cNvCxnSpPr/>
              <p:nvPr/>
            </p:nvCxnSpPr>
            <p:spPr>
              <a:xfrm rot="10800000">
                <a:off x="4350000" y="1596000"/>
                <a:ext cx="0" cy="17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5" name="Google Shape;8485;p54"/>
              <p:cNvSpPr/>
              <p:nvPr/>
            </p:nvSpPr>
            <p:spPr>
              <a:xfrm>
                <a:off x="4290828" y="1496185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486" name="Google Shape;8486;p54"/>
            <p:cNvSpPr/>
            <p:nvPr/>
          </p:nvSpPr>
          <p:spPr>
            <a:xfrm>
              <a:off x="4252606" y="1771972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1" name="Google Shape;8471;p54"/>
            <p:cNvSpPr/>
            <p:nvPr/>
          </p:nvSpPr>
          <p:spPr>
            <a:xfrm>
              <a:off x="4613643" y="1763716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487" name="Google Shape;8487;p54"/>
            <p:cNvGrpSpPr/>
            <p:nvPr/>
          </p:nvGrpSpPr>
          <p:grpSpPr>
            <a:xfrm>
              <a:off x="4657726" y="1959674"/>
              <a:ext cx="286500" cy="245092"/>
              <a:chOff x="4657726" y="1959674"/>
              <a:chExt cx="286500" cy="245092"/>
            </a:xfrm>
          </p:grpSpPr>
          <p:cxnSp>
            <p:nvCxnSpPr>
              <p:cNvPr id="8488" name="Google Shape;8488;p54"/>
              <p:cNvCxnSpPr/>
              <p:nvPr/>
            </p:nvCxnSpPr>
            <p:spPr>
              <a:xfrm rot="10800000">
                <a:off x="4707475" y="1959674"/>
                <a:ext cx="0" cy="1452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9" name="Google Shape;8489;p54"/>
              <p:cNvSpPr/>
              <p:nvPr/>
            </p:nvSpPr>
            <p:spPr>
              <a:xfrm>
                <a:off x="4657726" y="2104866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490" name="Google Shape;8490;p54"/>
          <p:cNvGrpSpPr/>
          <p:nvPr/>
        </p:nvGrpSpPr>
        <p:grpSpPr>
          <a:xfrm>
            <a:off x="3512551" y="2358282"/>
            <a:ext cx="1597032" cy="378649"/>
            <a:chOff x="3512551" y="2358282"/>
            <a:chExt cx="1597032" cy="378649"/>
          </a:xfrm>
        </p:grpSpPr>
        <p:grpSp>
          <p:nvGrpSpPr>
            <p:cNvPr id="8491" name="Google Shape;8491;p54"/>
            <p:cNvGrpSpPr/>
            <p:nvPr/>
          </p:nvGrpSpPr>
          <p:grpSpPr>
            <a:xfrm>
              <a:off x="3738198" y="2553002"/>
              <a:ext cx="1145834" cy="117"/>
              <a:chOff x="3738198" y="2553002"/>
              <a:chExt cx="1145834" cy="117"/>
            </a:xfrm>
          </p:grpSpPr>
          <p:cxnSp>
            <p:nvCxnSpPr>
              <p:cNvPr id="8492" name="Google Shape;8492;p54"/>
              <p:cNvCxnSpPr/>
              <p:nvPr/>
            </p:nvCxnSpPr>
            <p:spPr>
              <a:xfrm>
                <a:off x="4195395" y="2553002"/>
                <a:ext cx="2316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93" name="Google Shape;8493;p54"/>
              <p:cNvCxnSpPr/>
              <p:nvPr/>
            </p:nvCxnSpPr>
            <p:spPr>
              <a:xfrm>
                <a:off x="4652432" y="2553002"/>
                <a:ext cx="2316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94" name="Google Shape;8494;p54"/>
              <p:cNvCxnSpPr>
                <a:stCxn id="8495" idx="6"/>
                <a:endCxn id="8496" idx="2"/>
              </p:cNvCxnSpPr>
              <p:nvPr/>
            </p:nvCxnSpPr>
            <p:spPr>
              <a:xfrm>
                <a:off x="3738198" y="2553118"/>
                <a:ext cx="231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8497" name="Google Shape;8497;p54"/>
            <p:cNvGrpSpPr/>
            <p:nvPr/>
          </p:nvGrpSpPr>
          <p:grpSpPr>
            <a:xfrm>
              <a:off x="3969644" y="2440153"/>
              <a:ext cx="225900" cy="296779"/>
              <a:chOff x="3969644" y="2440153"/>
              <a:chExt cx="225900" cy="296779"/>
            </a:xfrm>
          </p:grpSpPr>
          <p:cxnSp>
            <p:nvCxnSpPr>
              <p:cNvPr id="8498" name="Google Shape;8498;p54"/>
              <p:cNvCxnSpPr/>
              <p:nvPr/>
            </p:nvCxnSpPr>
            <p:spPr>
              <a:xfrm>
                <a:off x="4082390" y="2637031"/>
                <a:ext cx="0" cy="999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96" name="Google Shape;8496;p54"/>
              <p:cNvSpPr/>
              <p:nvPr/>
            </p:nvSpPr>
            <p:spPr>
              <a:xfrm>
                <a:off x="3969644" y="2440153"/>
                <a:ext cx="225900" cy="2259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99" name="Google Shape;8499;p54"/>
              <p:cNvSpPr/>
              <p:nvPr/>
            </p:nvSpPr>
            <p:spPr>
              <a:xfrm>
                <a:off x="3998471" y="2468982"/>
                <a:ext cx="168300" cy="1683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0" name="Google Shape;8500;p54"/>
            <p:cNvGrpSpPr/>
            <p:nvPr/>
          </p:nvGrpSpPr>
          <p:grpSpPr>
            <a:xfrm>
              <a:off x="4426818" y="2358282"/>
              <a:ext cx="225600" cy="307471"/>
              <a:chOff x="4426818" y="2358282"/>
              <a:chExt cx="225600" cy="307471"/>
            </a:xfrm>
          </p:grpSpPr>
          <p:cxnSp>
            <p:nvCxnSpPr>
              <p:cNvPr id="8501" name="Google Shape;8501;p54"/>
              <p:cNvCxnSpPr>
                <a:stCxn id="8502" idx="0"/>
              </p:cNvCxnSpPr>
              <p:nvPr/>
            </p:nvCxnSpPr>
            <p:spPr>
              <a:xfrm rot="10800000">
                <a:off x="4539644" y="2358282"/>
                <a:ext cx="0" cy="110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503" name="Google Shape;8503;p54"/>
              <p:cNvSpPr/>
              <p:nvPr/>
            </p:nvSpPr>
            <p:spPr>
              <a:xfrm>
                <a:off x="4426818" y="2440153"/>
                <a:ext cx="225600" cy="225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02" name="Google Shape;8502;p54"/>
              <p:cNvSpPr/>
              <p:nvPr/>
            </p:nvSpPr>
            <p:spPr>
              <a:xfrm>
                <a:off x="4455644" y="2468982"/>
                <a:ext cx="168000" cy="1680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4" name="Google Shape;8504;p54"/>
            <p:cNvGrpSpPr/>
            <p:nvPr/>
          </p:nvGrpSpPr>
          <p:grpSpPr>
            <a:xfrm>
              <a:off x="4883984" y="2440153"/>
              <a:ext cx="225600" cy="296479"/>
              <a:chOff x="4883984" y="2440153"/>
              <a:chExt cx="225600" cy="296479"/>
            </a:xfrm>
          </p:grpSpPr>
          <p:cxnSp>
            <p:nvCxnSpPr>
              <p:cNvPr id="8505" name="Google Shape;8505;p54"/>
              <p:cNvCxnSpPr/>
              <p:nvPr/>
            </p:nvCxnSpPr>
            <p:spPr>
              <a:xfrm>
                <a:off x="4996858" y="2637031"/>
                <a:ext cx="0" cy="996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506" name="Google Shape;8506;p54"/>
              <p:cNvSpPr/>
              <p:nvPr/>
            </p:nvSpPr>
            <p:spPr>
              <a:xfrm>
                <a:off x="4883984" y="2440153"/>
                <a:ext cx="225600" cy="225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07" name="Google Shape;8507;p54"/>
              <p:cNvSpPr/>
              <p:nvPr/>
            </p:nvSpPr>
            <p:spPr>
              <a:xfrm>
                <a:off x="4912810" y="2468982"/>
                <a:ext cx="168000" cy="1680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8" name="Google Shape;8508;p54"/>
            <p:cNvGrpSpPr/>
            <p:nvPr/>
          </p:nvGrpSpPr>
          <p:grpSpPr>
            <a:xfrm>
              <a:off x="3512551" y="2358356"/>
              <a:ext cx="225647" cy="307629"/>
              <a:chOff x="2182679" y="2005014"/>
              <a:chExt cx="792300" cy="1080158"/>
            </a:xfrm>
          </p:grpSpPr>
          <p:cxnSp>
            <p:nvCxnSpPr>
              <p:cNvPr id="8509" name="Google Shape;8509;p54"/>
              <p:cNvCxnSpPr>
                <a:stCxn id="8510" idx="0"/>
              </p:cNvCxnSpPr>
              <p:nvPr/>
            </p:nvCxnSpPr>
            <p:spPr>
              <a:xfrm rot="10800000">
                <a:off x="2578961" y="2005014"/>
                <a:ext cx="0" cy="3888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95" name="Google Shape;8495;p54"/>
              <p:cNvSpPr/>
              <p:nvPr/>
            </p:nvSpPr>
            <p:spPr>
              <a:xfrm>
                <a:off x="2182679" y="2292572"/>
                <a:ext cx="792300" cy="792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10" name="Google Shape;8510;p54"/>
              <p:cNvSpPr/>
              <p:nvPr/>
            </p:nvSpPr>
            <p:spPr>
              <a:xfrm>
                <a:off x="2283911" y="2393814"/>
                <a:ext cx="590100" cy="5901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511" name="Google Shape;8511;p54"/>
          <p:cNvGrpSpPr/>
          <p:nvPr/>
        </p:nvGrpSpPr>
        <p:grpSpPr>
          <a:xfrm>
            <a:off x="6872633" y="1182079"/>
            <a:ext cx="1559809" cy="722610"/>
            <a:chOff x="634175" y="2986275"/>
            <a:chExt cx="3147949" cy="1458344"/>
          </a:xfrm>
        </p:grpSpPr>
        <p:cxnSp>
          <p:nvCxnSpPr>
            <p:cNvPr id="8512" name="Google Shape;8512;p54"/>
            <p:cNvCxnSpPr>
              <a:stCxn id="8513" idx="4"/>
              <a:endCxn id="8514" idx="0"/>
            </p:cNvCxnSpPr>
            <p:nvPr/>
          </p:nvCxnSpPr>
          <p:spPr>
            <a:xfrm>
              <a:off x="929975" y="3577875"/>
              <a:ext cx="5913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5" name="Google Shape;8515;p54"/>
            <p:cNvCxnSpPr>
              <a:stCxn id="8514" idx="0"/>
              <a:endCxn id="8516" idx="4"/>
            </p:cNvCxnSpPr>
            <p:nvPr/>
          </p:nvCxnSpPr>
          <p:spPr>
            <a:xfrm rot="10800000" flipH="1">
              <a:off x="1521366" y="3577919"/>
              <a:ext cx="6867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7" name="Google Shape;8517;p54"/>
            <p:cNvCxnSpPr>
              <a:stCxn id="8516" idx="4"/>
              <a:endCxn id="8518" idx="0"/>
            </p:cNvCxnSpPr>
            <p:nvPr/>
          </p:nvCxnSpPr>
          <p:spPr>
            <a:xfrm>
              <a:off x="2208152" y="3577875"/>
              <a:ext cx="6867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9" name="Google Shape;8519;p54"/>
            <p:cNvCxnSpPr>
              <a:stCxn id="8518" idx="0"/>
              <a:endCxn id="8520" idx="4"/>
            </p:cNvCxnSpPr>
            <p:nvPr/>
          </p:nvCxnSpPr>
          <p:spPr>
            <a:xfrm rot="10800000" flipH="1">
              <a:off x="2894933" y="3577918"/>
              <a:ext cx="5913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520" name="Google Shape;8520;p54"/>
            <p:cNvSpPr/>
            <p:nvPr/>
          </p:nvSpPr>
          <p:spPr>
            <a:xfrm>
              <a:off x="3190524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6" name="Google Shape;8516;p54"/>
            <p:cNvSpPr/>
            <p:nvPr/>
          </p:nvSpPr>
          <p:spPr>
            <a:xfrm>
              <a:off x="1912352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3" name="Google Shape;8513;p54"/>
            <p:cNvSpPr/>
            <p:nvPr/>
          </p:nvSpPr>
          <p:spPr>
            <a:xfrm>
              <a:off x="634175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8" name="Google Shape;8518;p54"/>
            <p:cNvSpPr/>
            <p:nvPr/>
          </p:nvSpPr>
          <p:spPr>
            <a:xfrm>
              <a:off x="2599133" y="3853018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4" name="Google Shape;8514;p54"/>
            <p:cNvSpPr/>
            <p:nvPr/>
          </p:nvSpPr>
          <p:spPr>
            <a:xfrm>
              <a:off x="1225566" y="3853019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8521" name="Google Shape;8521;p54"/>
          <p:cNvGrpSpPr/>
          <p:nvPr/>
        </p:nvGrpSpPr>
        <p:grpSpPr>
          <a:xfrm>
            <a:off x="3526424" y="2891987"/>
            <a:ext cx="1570719" cy="294123"/>
            <a:chOff x="998425" y="1182125"/>
            <a:chExt cx="1065400" cy="199500"/>
          </a:xfrm>
        </p:grpSpPr>
        <p:sp>
          <p:nvSpPr>
            <p:cNvPr id="8522" name="Google Shape;8522;p54"/>
            <p:cNvSpPr/>
            <p:nvPr/>
          </p:nvSpPr>
          <p:spPr>
            <a:xfrm>
              <a:off x="998425" y="1182125"/>
              <a:ext cx="1065400" cy="199500"/>
            </a:xfrm>
            <a:custGeom>
              <a:avLst/>
              <a:gdLst/>
              <a:ahLst/>
              <a:cxnLst/>
              <a:rect l="l" t="t" r="r" b="b"/>
              <a:pathLst>
                <a:path w="42616" h="7980" extrusionOk="0">
                  <a:moveTo>
                    <a:pt x="4324" y="1"/>
                  </a:moveTo>
                  <a:cubicBezTo>
                    <a:pt x="3159" y="1"/>
                    <a:pt x="1997" y="512"/>
                    <a:pt x="1246" y="1424"/>
                  </a:cubicBezTo>
                  <a:cubicBezTo>
                    <a:pt x="180" y="2720"/>
                    <a:pt x="1" y="4577"/>
                    <a:pt x="867" y="6031"/>
                  </a:cubicBezTo>
                  <a:cubicBezTo>
                    <a:pt x="1600" y="7262"/>
                    <a:pt x="2935" y="7980"/>
                    <a:pt x="4331" y="7980"/>
                  </a:cubicBezTo>
                  <a:cubicBezTo>
                    <a:pt x="4576" y="7980"/>
                    <a:pt x="4822" y="7958"/>
                    <a:pt x="5067" y="7913"/>
                  </a:cubicBezTo>
                  <a:cubicBezTo>
                    <a:pt x="6219" y="7700"/>
                    <a:pt x="7170" y="6971"/>
                    <a:pt x="7733" y="6006"/>
                  </a:cubicBezTo>
                  <a:cubicBezTo>
                    <a:pt x="8105" y="5370"/>
                    <a:pt x="8773" y="4970"/>
                    <a:pt x="9508" y="4970"/>
                  </a:cubicBezTo>
                  <a:lnTo>
                    <a:pt x="10488" y="4970"/>
                  </a:lnTo>
                  <a:cubicBezTo>
                    <a:pt x="11237" y="4970"/>
                    <a:pt x="11919" y="5376"/>
                    <a:pt x="12300" y="6020"/>
                  </a:cubicBezTo>
                  <a:lnTo>
                    <a:pt x="12307" y="6031"/>
                  </a:lnTo>
                  <a:cubicBezTo>
                    <a:pt x="13039" y="7262"/>
                    <a:pt x="14375" y="7980"/>
                    <a:pt x="15771" y="7980"/>
                  </a:cubicBezTo>
                  <a:cubicBezTo>
                    <a:pt x="16016" y="7980"/>
                    <a:pt x="16262" y="7958"/>
                    <a:pt x="16507" y="7913"/>
                  </a:cubicBezTo>
                  <a:cubicBezTo>
                    <a:pt x="17658" y="7700"/>
                    <a:pt x="18610" y="6971"/>
                    <a:pt x="19173" y="6006"/>
                  </a:cubicBezTo>
                  <a:cubicBezTo>
                    <a:pt x="19545" y="5370"/>
                    <a:pt x="20213" y="4970"/>
                    <a:pt x="20946" y="4970"/>
                  </a:cubicBezTo>
                  <a:lnTo>
                    <a:pt x="21928" y="4970"/>
                  </a:lnTo>
                  <a:cubicBezTo>
                    <a:pt x="22677" y="4970"/>
                    <a:pt x="23359" y="5376"/>
                    <a:pt x="23740" y="6020"/>
                  </a:cubicBezTo>
                  <a:lnTo>
                    <a:pt x="23747" y="6031"/>
                  </a:lnTo>
                  <a:cubicBezTo>
                    <a:pt x="24479" y="7262"/>
                    <a:pt x="25815" y="7980"/>
                    <a:pt x="27210" y="7980"/>
                  </a:cubicBezTo>
                  <a:cubicBezTo>
                    <a:pt x="27454" y="7980"/>
                    <a:pt x="27700" y="7958"/>
                    <a:pt x="27945" y="7913"/>
                  </a:cubicBezTo>
                  <a:cubicBezTo>
                    <a:pt x="29098" y="7700"/>
                    <a:pt x="30048" y="6971"/>
                    <a:pt x="30613" y="6006"/>
                  </a:cubicBezTo>
                  <a:cubicBezTo>
                    <a:pt x="30985" y="5370"/>
                    <a:pt x="31652" y="4970"/>
                    <a:pt x="32388" y="4970"/>
                  </a:cubicBezTo>
                  <a:lnTo>
                    <a:pt x="33368" y="4970"/>
                  </a:lnTo>
                  <a:cubicBezTo>
                    <a:pt x="34117" y="4970"/>
                    <a:pt x="34799" y="5376"/>
                    <a:pt x="35180" y="6020"/>
                  </a:cubicBezTo>
                  <a:lnTo>
                    <a:pt x="35187" y="6031"/>
                  </a:lnTo>
                  <a:cubicBezTo>
                    <a:pt x="35920" y="7262"/>
                    <a:pt x="37255" y="7980"/>
                    <a:pt x="38651" y="7980"/>
                  </a:cubicBezTo>
                  <a:cubicBezTo>
                    <a:pt x="38896" y="7980"/>
                    <a:pt x="39142" y="7958"/>
                    <a:pt x="39387" y="7913"/>
                  </a:cubicBezTo>
                  <a:cubicBezTo>
                    <a:pt x="41256" y="7567"/>
                    <a:pt x="42594" y="5866"/>
                    <a:pt x="42615" y="3993"/>
                  </a:cubicBezTo>
                  <a:cubicBezTo>
                    <a:pt x="42599" y="2323"/>
                    <a:pt x="41557" y="833"/>
                    <a:pt x="39994" y="246"/>
                  </a:cubicBezTo>
                  <a:cubicBezTo>
                    <a:pt x="39559" y="81"/>
                    <a:pt x="39100" y="2"/>
                    <a:pt x="38642" y="2"/>
                  </a:cubicBezTo>
                  <a:cubicBezTo>
                    <a:pt x="37477" y="2"/>
                    <a:pt x="36315" y="513"/>
                    <a:pt x="35565" y="1426"/>
                  </a:cubicBezTo>
                  <a:cubicBezTo>
                    <a:pt x="35428" y="1592"/>
                    <a:pt x="35304" y="1770"/>
                    <a:pt x="35195" y="1957"/>
                  </a:cubicBezTo>
                  <a:cubicBezTo>
                    <a:pt x="34817" y="2606"/>
                    <a:pt x="34133" y="3018"/>
                    <a:pt x="33382" y="3018"/>
                  </a:cubicBezTo>
                  <a:lnTo>
                    <a:pt x="32420" y="3018"/>
                  </a:lnTo>
                  <a:cubicBezTo>
                    <a:pt x="31683" y="3018"/>
                    <a:pt x="30996" y="2632"/>
                    <a:pt x="30624" y="1994"/>
                  </a:cubicBezTo>
                  <a:cubicBezTo>
                    <a:pt x="30157" y="1190"/>
                    <a:pt x="29425" y="572"/>
                    <a:pt x="28556" y="244"/>
                  </a:cubicBezTo>
                  <a:cubicBezTo>
                    <a:pt x="28121" y="80"/>
                    <a:pt x="27663" y="1"/>
                    <a:pt x="27205" y="1"/>
                  </a:cubicBezTo>
                  <a:cubicBezTo>
                    <a:pt x="26039" y="1"/>
                    <a:pt x="24877" y="513"/>
                    <a:pt x="24125" y="1426"/>
                  </a:cubicBezTo>
                  <a:cubicBezTo>
                    <a:pt x="23989" y="1592"/>
                    <a:pt x="23865" y="1770"/>
                    <a:pt x="23755" y="1957"/>
                  </a:cubicBezTo>
                  <a:cubicBezTo>
                    <a:pt x="23377" y="2606"/>
                    <a:pt x="22695" y="3018"/>
                    <a:pt x="21944" y="3018"/>
                  </a:cubicBezTo>
                  <a:lnTo>
                    <a:pt x="20981" y="3018"/>
                  </a:lnTo>
                  <a:cubicBezTo>
                    <a:pt x="20243" y="3018"/>
                    <a:pt x="19556" y="2632"/>
                    <a:pt x="19185" y="1994"/>
                  </a:cubicBezTo>
                  <a:cubicBezTo>
                    <a:pt x="18717" y="1190"/>
                    <a:pt x="17987" y="572"/>
                    <a:pt x="17116" y="244"/>
                  </a:cubicBezTo>
                  <a:cubicBezTo>
                    <a:pt x="16681" y="80"/>
                    <a:pt x="16223" y="1"/>
                    <a:pt x="15766" y="1"/>
                  </a:cubicBezTo>
                  <a:cubicBezTo>
                    <a:pt x="14600" y="1"/>
                    <a:pt x="13437" y="513"/>
                    <a:pt x="12686" y="1426"/>
                  </a:cubicBezTo>
                  <a:cubicBezTo>
                    <a:pt x="12549" y="1592"/>
                    <a:pt x="12425" y="1770"/>
                    <a:pt x="12316" y="1957"/>
                  </a:cubicBezTo>
                  <a:cubicBezTo>
                    <a:pt x="11937" y="2606"/>
                    <a:pt x="11255" y="3016"/>
                    <a:pt x="10504" y="3016"/>
                  </a:cubicBezTo>
                  <a:lnTo>
                    <a:pt x="9541" y="3016"/>
                  </a:lnTo>
                  <a:cubicBezTo>
                    <a:pt x="8805" y="3016"/>
                    <a:pt x="8116" y="2632"/>
                    <a:pt x="7745" y="1994"/>
                  </a:cubicBezTo>
                  <a:cubicBezTo>
                    <a:pt x="7277" y="1190"/>
                    <a:pt x="6547" y="572"/>
                    <a:pt x="5676" y="244"/>
                  </a:cubicBezTo>
                  <a:cubicBezTo>
                    <a:pt x="5241" y="80"/>
                    <a:pt x="4782" y="1"/>
                    <a:pt x="432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3" name="Google Shape;8523;p54"/>
            <p:cNvSpPr/>
            <p:nvPr/>
          </p:nvSpPr>
          <p:spPr>
            <a:xfrm>
              <a:off x="1017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50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50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4" name="Google Shape;8524;p54"/>
            <p:cNvSpPr/>
            <p:nvPr/>
          </p:nvSpPr>
          <p:spPr>
            <a:xfrm>
              <a:off x="1303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50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50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5" name="Google Shape;8525;p54"/>
            <p:cNvSpPr/>
            <p:nvPr/>
          </p:nvSpPr>
          <p:spPr>
            <a:xfrm>
              <a:off x="1589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49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49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4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6" name="Google Shape;8526;p54"/>
            <p:cNvSpPr/>
            <p:nvPr/>
          </p:nvSpPr>
          <p:spPr>
            <a:xfrm>
              <a:off x="1875200" y="1193175"/>
              <a:ext cx="177525" cy="177500"/>
            </a:xfrm>
            <a:custGeom>
              <a:avLst/>
              <a:gdLst/>
              <a:ahLst/>
              <a:cxnLst/>
              <a:rect l="l" t="t" r="r" b="b"/>
              <a:pathLst>
                <a:path w="7101" h="7100" extrusionOk="0">
                  <a:moveTo>
                    <a:pt x="3551" y="1"/>
                  </a:moveTo>
                  <a:cubicBezTo>
                    <a:pt x="1590" y="1"/>
                    <a:pt x="0" y="1589"/>
                    <a:pt x="0" y="3551"/>
                  </a:cubicBezTo>
                  <a:cubicBezTo>
                    <a:pt x="0" y="5511"/>
                    <a:pt x="1590" y="7099"/>
                    <a:pt x="3551" y="7099"/>
                  </a:cubicBezTo>
                  <a:cubicBezTo>
                    <a:pt x="5511" y="7099"/>
                    <a:pt x="7101" y="5511"/>
                    <a:pt x="7101" y="3551"/>
                  </a:cubicBezTo>
                  <a:cubicBezTo>
                    <a:pt x="7101" y="1589"/>
                    <a:pt x="5511" y="1"/>
                    <a:pt x="35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27" name="Google Shape;8527;p54"/>
          <p:cNvGrpSpPr/>
          <p:nvPr/>
        </p:nvGrpSpPr>
        <p:grpSpPr>
          <a:xfrm>
            <a:off x="6869680" y="2009474"/>
            <a:ext cx="1565716" cy="366729"/>
            <a:chOff x="1247650" y="2075423"/>
            <a:chExt cx="6648477" cy="1557238"/>
          </a:xfrm>
        </p:grpSpPr>
        <p:sp>
          <p:nvSpPr>
            <p:cNvPr id="8528" name="Google Shape;8528;p54"/>
            <p:cNvSpPr/>
            <p:nvPr/>
          </p:nvSpPr>
          <p:spPr>
            <a:xfrm>
              <a:off x="6633862" y="2075423"/>
              <a:ext cx="953444" cy="825696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4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4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9" name="Google Shape;8529;p54"/>
            <p:cNvSpPr/>
            <p:nvPr/>
          </p:nvSpPr>
          <p:spPr>
            <a:xfrm>
              <a:off x="5359252" y="2806965"/>
              <a:ext cx="953461" cy="825696"/>
            </a:xfrm>
            <a:custGeom>
              <a:avLst/>
              <a:gdLst/>
              <a:ahLst/>
              <a:cxnLst/>
              <a:rect l="l" t="t" r="r" b="b"/>
              <a:pathLst>
                <a:path w="57768" h="50027" extrusionOk="0">
                  <a:moveTo>
                    <a:pt x="14439" y="0"/>
                  </a:moveTo>
                  <a:lnTo>
                    <a:pt x="1" y="25013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3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0" name="Google Shape;8530;p54"/>
            <p:cNvSpPr/>
            <p:nvPr/>
          </p:nvSpPr>
          <p:spPr>
            <a:xfrm>
              <a:off x="1601478" y="2075425"/>
              <a:ext cx="953316" cy="825696"/>
            </a:xfrm>
            <a:custGeom>
              <a:avLst/>
              <a:gdLst/>
              <a:ahLst/>
              <a:cxnLst/>
              <a:rect l="l" t="t" r="r" b="b"/>
              <a:pathLst>
                <a:path w="57768" h="50027" extrusionOk="0">
                  <a:moveTo>
                    <a:pt x="14439" y="0"/>
                  </a:moveTo>
                  <a:lnTo>
                    <a:pt x="1" y="25013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8" y="25013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1" name="Google Shape;8531;p54"/>
            <p:cNvSpPr/>
            <p:nvPr/>
          </p:nvSpPr>
          <p:spPr>
            <a:xfrm>
              <a:off x="2857827" y="2807112"/>
              <a:ext cx="953370" cy="825320"/>
            </a:xfrm>
            <a:custGeom>
              <a:avLst/>
              <a:gdLst/>
              <a:ahLst/>
              <a:cxnLst/>
              <a:rect l="l" t="t" r="r" b="b"/>
              <a:pathLst>
                <a:path w="57780" h="50027" extrusionOk="0">
                  <a:moveTo>
                    <a:pt x="14452" y="0"/>
                  </a:moveTo>
                  <a:lnTo>
                    <a:pt x="0" y="25013"/>
                  </a:lnTo>
                  <a:lnTo>
                    <a:pt x="14452" y="50027"/>
                  </a:lnTo>
                  <a:lnTo>
                    <a:pt x="43328" y="50027"/>
                  </a:lnTo>
                  <a:lnTo>
                    <a:pt x="57780" y="25013"/>
                  </a:lnTo>
                  <a:lnTo>
                    <a:pt x="433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2" name="Google Shape;8532;p54"/>
            <p:cNvSpPr/>
            <p:nvPr/>
          </p:nvSpPr>
          <p:spPr>
            <a:xfrm>
              <a:off x="4097386" y="2075425"/>
              <a:ext cx="953444" cy="825696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3"/>
                  </a:lnTo>
                  <a:lnTo>
                    <a:pt x="14439" y="50027"/>
                  </a:lnTo>
                  <a:lnTo>
                    <a:pt x="43328" y="50027"/>
                  </a:lnTo>
                  <a:lnTo>
                    <a:pt x="57767" y="25013"/>
                  </a:lnTo>
                  <a:lnTo>
                    <a:pt x="433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3" name="Google Shape;8533;p54"/>
            <p:cNvSpPr/>
            <p:nvPr/>
          </p:nvSpPr>
          <p:spPr>
            <a:xfrm>
              <a:off x="1247650" y="2490334"/>
              <a:ext cx="6648477" cy="729445"/>
            </a:xfrm>
            <a:custGeom>
              <a:avLst/>
              <a:gdLst/>
              <a:ahLst/>
              <a:cxnLst/>
              <a:rect l="l" t="t" r="r" b="b"/>
              <a:pathLst>
                <a:path w="285373" h="31310" fill="none" extrusionOk="0">
                  <a:moveTo>
                    <a:pt x="285373" y="3317"/>
                  </a:moveTo>
                  <a:lnTo>
                    <a:pt x="269256" y="31309"/>
                  </a:lnTo>
                  <a:lnTo>
                    <a:pt x="233095" y="31309"/>
                  </a:lnTo>
                  <a:lnTo>
                    <a:pt x="215067" y="352"/>
                  </a:lnTo>
                  <a:lnTo>
                    <a:pt x="179426" y="352"/>
                  </a:lnTo>
                  <a:lnTo>
                    <a:pt x="161606" y="31218"/>
                  </a:lnTo>
                  <a:lnTo>
                    <a:pt x="125718" y="31309"/>
                  </a:lnTo>
                  <a:lnTo>
                    <a:pt x="107651" y="0"/>
                  </a:lnTo>
                  <a:lnTo>
                    <a:pt x="71490" y="0"/>
                  </a:lnTo>
                  <a:lnTo>
                    <a:pt x="53669" y="31075"/>
                  </a:lnTo>
                  <a:lnTo>
                    <a:pt x="18042" y="31075"/>
                  </a:lnTo>
                  <a:lnTo>
                    <a:pt x="0" y="118"/>
                  </a:lnTo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miter lim="1300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34" name="Google Shape;8534;p54"/>
          <p:cNvGrpSpPr/>
          <p:nvPr/>
        </p:nvGrpSpPr>
        <p:grpSpPr>
          <a:xfrm>
            <a:off x="6853992" y="3158289"/>
            <a:ext cx="1597061" cy="663440"/>
            <a:chOff x="6796238" y="3158297"/>
            <a:chExt cx="1630319" cy="677257"/>
          </a:xfrm>
        </p:grpSpPr>
        <p:cxnSp>
          <p:nvCxnSpPr>
            <p:cNvPr id="8535" name="Google Shape;8535;p54"/>
            <p:cNvCxnSpPr/>
            <p:nvPr/>
          </p:nvCxnSpPr>
          <p:spPr>
            <a:xfrm>
              <a:off x="7012244" y="3664854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6" name="Google Shape;8536;p54"/>
            <p:cNvCxnSpPr/>
            <p:nvPr/>
          </p:nvCxnSpPr>
          <p:spPr>
            <a:xfrm>
              <a:off x="7810957" y="3664854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7" name="Google Shape;8537;p54"/>
            <p:cNvCxnSpPr/>
            <p:nvPr/>
          </p:nvCxnSpPr>
          <p:spPr>
            <a:xfrm rot="10800000">
              <a:off x="8196652" y="3170826"/>
              <a:ext cx="0" cy="1698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8" name="Google Shape;8538;p54"/>
            <p:cNvCxnSpPr/>
            <p:nvPr/>
          </p:nvCxnSpPr>
          <p:spPr>
            <a:xfrm rot="10800000">
              <a:off x="7411601" y="3158297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grpSp>
          <p:nvGrpSpPr>
            <p:cNvPr id="8539" name="Google Shape;8539;p54"/>
            <p:cNvGrpSpPr/>
            <p:nvPr/>
          </p:nvGrpSpPr>
          <p:grpSpPr>
            <a:xfrm>
              <a:off x="6796238" y="3311904"/>
              <a:ext cx="1630319" cy="377697"/>
              <a:chOff x="6796238" y="3311904"/>
              <a:chExt cx="1630319" cy="377697"/>
            </a:xfrm>
          </p:grpSpPr>
          <p:sp>
            <p:nvSpPr>
              <p:cNvPr id="8540" name="Google Shape;8540;p54"/>
              <p:cNvSpPr/>
              <p:nvPr/>
            </p:nvSpPr>
            <p:spPr>
              <a:xfrm>
                <a:off x="6796238" y="3311904"/>
                <a:ext cx="798025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4368" h="16266" extrusionOk="0">
                    <a:moveTo>
                      <a:pt x="4679" y="0"/>
                    </a:moveTo>
                    <a:lnTo>
                      <a:pt x="0" y="8133"/>
                    </a:lnTo>
                    <a:lnTo>
                      <a:pt x="4679" y="16265"/>
                    </a:lnTo>
                    <a:lnTo>
                      <a:pt x="14094" y="16265"/>
                    </a:lnTo>
                    <a:lnTo>
                      <a:pt x="17913" y="9590"/>
                    </a:lnTo>
                    <a:lnTo>
                      <a:pt x="22591" y="1458"/>
                    </a:lnTo>
                    <a:lnTo>
                      <a:pt x="30301" y="1458"/>
                    </a:lnTo>
                    <a:lnTo>
                      <a:pt x="33522" y="7098"/>
                    </a:lnTo>
                    <a:lnTo>
                      <a:pt x="34367" y="5640"/>
                    </a:lnTo>
                    <a:lnTo>
                      <a:pt x="33522" y="4183"/>
                    </a:lnTo>
                    <a:lnTo>
                      <a:pt x="31146" y="0"/>
                    </a:lnTo>
                    <a:lnTo>
                      <a:pt x="21746" y="0"/>
                    </a:lnTo>
                    <a:lnTo>
                      <a:pt x="17067" y="8133"/>
                    </a:lnTo>
                    <a:lnTo>
                      <a:pt x="13234" y="14808"/>
                    </a:lnTo>
                    <a:lnTo>
                      <a:pt x="5524" y="14808"/>
                    </a:lnTo>
                    <a:lnTo>
                      <a:pt x="1706" y="8133"/>
                    </a:lnTo>
                    <a:lnTo>
                      <a:pt x="5524" y="1458"/>
                    </a:lnTo>
                    <a:lnTo>
                      <a:pt x="13234" y="1458"/>
                    </a:lnTo>
                    <a:lnTo>
                      <a:pt x="16455" y="7098"/>
                    </a:lnTo>
                    <a:lnTo>
                      <a:pt x="17301" y="5640"/>
                    </a:lnTo>
                    <a:lnTo>
                      <a:pt x="16455" y="4183"/>
                    </a:lnTo>
                    <a:lnTo>
                      <a:pt x="14094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41" name="Google Shape;8541;p54"/>
              <p:cNvSpPr/>
              <p:nvPr/>
            </p:nvSpPr>
            <p:spPr>
              <a:xfrm>
                <a:off x="7628207" y="3311904"/>
                <a:ext cx="798350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4382" h="16266" extrusionOk="0">
                    <a:moveTo>
                      <a:pt x="20288" y="0"/>
                    </a:moveTo>
                    <a:lnTo>
                      <a:pt x="16470" y="6675"/>
                    </a:lnTo>
                    <a:lnTo>
                      <a:pt x="11791" y="14808"/>
                    </a:lnTo>
                    <a:lnTo>
                      <a:pt x="4081" y="14808"/>
                    </a:lnTo>
                    <a:lnTo>
                      <a:pt x="860" y="9167"/>
                    </a:lnTo>
                    <a:lnTo>
                      <a:pt x="0" y="10625"/>
                    </a:lnTo>
                    <a:lnTo>
                      <a:pt x="860" y="12082"/>
                    </a:lnTo>
                    <a:lnTo>
                      <a:pt x="3221" y="16265"/>
                    </a:lnTo>
                    <a:lnTo>
                      <a:pt x="12637" y="16265"/>
                    </a:lnTo>
                    <a:lnTo>
                      <a:pt x="17315" y="8133"/>
                    </a:lnTo>
                    <a:lnTo>
                      <a:pt x="21134" y="1458"/>
                    </a:lnTo>
                    <a:lnTo>
                      <a:pt x="28858" y="1458"/>
                    </a:lnTo>
                    <a:lnTo>
                      <a:pt x="32677" y="8133"/>
                    </a:lnTo>
                    <a:lnTo>
                      <a:pt x="28858" y="14808"/>
                    </a:lnTo>
                    <a:lnTo>
                      <a:pt x="21134" y="14808"/>
                    </a:lnTo>
                    <a:lnTo>
                      <a:pt x="17927" y="9167"/>
                    </a:lnTo>
                    <a:lnTo>
                      <a:pt x="17067" y="10625"/>
                    </a:lnTo>
                    <a:lnTo>
                      <a:pt x="17927" y="12082"/>
                    </a:lnTo>
                    <a:lnTo>
                      <a:pt x="20288" y="16265"/>
                    </a:lnTo>
                    <a:lnTo>
                      <a:pt x="29703" y="16265"/>
                    </a:lnTo>
                    <a:lnTo>
                      <a:pt x="34382" y="8133"/>
                    </a:lnTo>
                    <a:lnTo>
                      <a:pt x="29703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42" name="Google Shape;8542;p54"/>
              <p:cNvSpPr/>
              <p:nvPr/>
            </p:nvSpPr>
            <p:spPr>
              <a:xfrm>
                <a:off x="7229098" y="3311904"/>
                <a:ext cx="762823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2852" h="16266" extrusionOk="0">
                    <a:moveTo>
                      <a:pt x="20347" y="0"/>
                    </a:moveTo>
                    <a:lnTo>
                      <a:pt x="16455" y="6675"/>
                    </a:lnTo>
                    <a:lnTo>
                      <a:pt x="11850" y="14808"/>
                    </a:lnTo>
                    <a:lnTo>
                      <a:pt x="4125" y="14808"/>
                    </a:lnTo>
                    <a:lnTo>
                      <a:pt x="846" y="9167"/>
                    </a:lnTo>
                    <a:lnTo>
                      <a:pt x="0" y="10625"/>
                    </a:lnTo>
                    <a:lnTo>
                      <a:pt x="846" y="12082"/>
                    </a:lnTo>
                    <a:lnTo>
                      <a:pt x="3280" y="16265"/>
                    </a:lnTo>
                    <a:lnTo>
                      <a:pt x="12695" y="16265"/>
                    </a:lnTo>
                    <a:lnTo>
                      <a:pt x="17315" y="8133"/>
                    </a:lnTo>
                    <a:lnTo>
                      <a:pt x="21134" y="1458"/>
                    </a:lnTo>
                    <a:lnTo>
                      <a:pt x="28902" y="1458"/>
                    </a:lnTo>
                    <a:lnTo>
                      <a:pt x="32065" y="6981"/>
                    </a:lnTo>
                    <a:lnTo>
                      <a:pt x="32852" y="5524"/>
                    </a:lnTo>
                    <a:lnTo>
                      <a:pt x="29703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543" name="Google Shape;8543;p54"/>
          <p:cNvGrpSpPr/>
          <p:nvPr/>
        </p:nvGrpSpPr>
        <p:grpSpPr>
          <a:xfrm>
            <a:off x="5375130" y="1179681"/>
            <a:ext cx="1368606" cy="1593805"/>
            <a:chOff x="1839112" y="2209163"/>
            <a:chExt cx="1918159" cy="2233784"/>
          </a:xfrm>
        </p:grpSpPr>
        <p:sp>
          <p:nvSpPr>
            <p:cNvPr id="8544" name="Google Shape;8544;p54"/>
            <p:cNvSpPr/>
            <p:nvPr/>
          </p:nvSpPr>
          <p:spPr>
            <a:xfrm>
              <a:off x="1839112" y="2209163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5" name="Google Shape;8545;p54"/>
            <p:cNvSpPr/>
            <p:nvPr/>
          </p:nvSpPr>
          <p:spPr>
            <a:xfrm>
              <a:off x="3182171" y="2209163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6" name="Google Shape;8546;p54"/>
            <p:cNvSpPr/>
            <p:nvPr/>
          </p:nvSpPr>
          <p:spPr>
            <a:xfrm>
              <a:off x="3182171" y="3040766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47" name="Google Shape;8547;p54"/>
            <p:cNvCxnSpPr>
              <a:stCxn id="8544" idx="6"/>
              <a:endCxn id="8545" idx="2"/>
            </p:cNvCxnSpPr>
            <p:nvPr/>
          </p:nvCxnSpPr>
          <p:spPr>
            <a:xfrm>
              <a:off x="2414212" y="2496713"/>
              <a:ext cx="768000" cy="600"/>
            </a:xfrm>
            <a:prstGeom prst="bentConnector3">
              <a:avLst>
                <a:gd name="adj1" fmla="val 50017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48" name="Google Shape;8548;p54"/>
            <p:cNvCxnSpPr>
              <a:stCxn id="8545" idx="4"/>
              <a:endCxn id="8549" idx="0"/>
            </p:cNvCxnSpPr>
            <p:nvPr/>
          </p:nvCxnSpPr>
          <p:spPr>
            <a:xfrm rot="5400000">
              <a:off x="2669921" y="2240963"/>
              <a:ext cx="256500" cy="13431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50" name="Google Shape;8550;p54"/>
            <p:cNvCxnSpPr>
              <a:stCxn id="8549" idx="6"/>
              <a:endCxn id="8546" idx="2"/>
            </p:cNvCxnSpPr>
            <p:nvPr/>
          </p:nvCxnSpPr>
          <p:spPr>
            <a:xfrm>
              <a:off x="2414212" y="3328316"/>
              <a:ext cx="768000" cy="600"/>
            </a:xfrm>
            <a:prstGeom prst="bentConnector3">
              <a:avLst>
                <a:gd name="adj1" fmla="val 50017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51" name="Google Shape;8551;p54"/>
            <p:cNvCxnSpPr>
              <a:stCxn id="8546" idx="4"/>
              <a:endCxn id="8552" idx="0"/>
            </p:cNvCxnSpPr>
            <p:nvPr/>
          </p:nvCxnSpPr>
          <p:spPr>
            <a:xfrm rot="5400000">
              <a:off x="2672171" y="3070316"/>
              <a:ext cx="252000" cy="1343100"/>
            </a:xfrm>
            <a:prstGeom prst="bentConnector3">
              <a:avLst>
                <a:gd name="adj1" fmla="val 49996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549" name="Google Shape;8549;p54"/>
            <p:cNvSpPr/>
            <p:nvPr/>
          </p:nvSpPr>
          <p:spPr>
            <a:xfrm>
              <a:off x="1839112" y="3040766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2" name="Google Shape;8552;p54"/>
            <p:cNvSpPr/>
            <p:nvPr/>
          </p:nvSpPr>
          <p:spPr>
            <a:xfrm>
              <a:off x="1839112" y="3867848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3" name="Google Shape;8553;p54"/>
            <p:cNvSpPr/>
            <p:nvPr/>
          </p:nvSpPr>
          <p:spPr>
            <a:xfrm>
              <a:off x="3182171" y="3867848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54" name="Google Shape;8554;p54"/>
            <p:cNvCxnSpPr>
              <a:endCxn id="8553" idx="2"/>
            </p:cNvCxnSpPr>
            <p:nvPr/>
          </p:nvCxnSpPr>
          <p:spPr>
            <a:xfrm>
              <a:off x="2413871" y="4154498"/>
              <a:ext cx="768300" cy="9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555" name="Google Shape;8555;p54"/>
          <p:cNvGrpSpPr/>
          <p:nvPr/>
        </p:nvGrpSpPr>
        <p:grpSpPr>
          <a:xfrm>
            <a:off x="3507503" y="1185917"/>
            <a:ext cx="1637968" cy="154942"/>
            <a:chOff x="238125" y="2506075"/>
            <a:chExt cx="7115411" cy="673075"/>
          </a:xfrm>
        </p:grpSpPr>
        <p:sp>
          <p:nvSpPr>
            <p:cNvPr id="8556" name="Google Shape;8556;p54"/>
            <p:cNvSpPr/>
            <p:nvPr/>
          </p:nvSpPr>
          <p:spPr>
            <a:xfrm>
              <a:off x="238125" y="2506075"/>
              <a:ext cx="1643150" cy="673075"/>
            </a:xfrm>
            <a:custGeom>
              <a:avLst/>
              <a:gdLst/>
              <a:ahLst/>
              <a:cxnLst/>
              <a:rect l="l" t="t" r="r" b="b"/>
              <a:pathLst>
                <a:path w="65726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43" y="26923"/>
                  </a:lnTo>
                  <a:lnTo>
                    <a:pt x="65725" y="13477"/>
                  </a:lnTo>
                  <a:lnTo>
                    <a:pt x="549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7" name="Google Shape;8557;p54"/>
            <p:cNvSpPr/>
            <p:nvPr/>
          </p:nvSpPr>
          <p:spPr>
            <a:xfrm>
              <a:off x="1606190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8" name="Google Shape;8558;p54"/>
            <p:cNvSpPr/>
            <p:nvPr/>
          </p:nvSpPr>
          <p:spPr>
            <a:xfrm>
              <a:off x="2973481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9" name="Google Shape;8559;p54"/>
            <p:cNvSpPr/>
            <p:nvPr/>
          </p:nvSpPr>
          <p:spPr>
            <a:xfrm>
              <a:off x="5709611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0" name="Google Shape;8560;p54"/>
            <p:cNvSpPr/>
            <p:nvPr/>
          </p:nvSpPr>
          <p:spPr>
            <a:xfrm>
              <a:off x="4342321" y="2506075"/>
              <a:ext cx="1643150" cy="673075"/>
            </a:xfrm>
            <a:custGeom>
              <a:avLst/>
              <a:gdLst/>
              <a:ahLst/>
              <a:cxnLst/>
              <a:rect l="l" t="t" r="r" b="b"/>
              <a:pathLst>
                <a:path w="65726" h="26923" extrusionOk="0">
                  <a:moveTo>
                    <a:pt x="1" y="0"/>
                  </a:moveTo>
                  <a:lnTo>
                    <a:pt x="10751" y="13477"/>
                  </a:lnTo>
                  <a:lnTo>
                    <a:pt x="1" y="26923"/>
                  </a:lnTo>
                  <a:lnTo>
                    <a:pt x="54944" y="26923"/>
                  </a:lnTo>
                  <a:lnTo>
                    <a:pt x="65726" y="13477"/>
                  </a:lnTo>
                  <a:lnTo>
                    <a:pt x="5494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61" name="Google Shape;8561;p54"/>
          <p:cNvGrpSpPr/>
          <p:nvPr/>
        </p:nvGrpSpPr>
        <p:grpSpPr>
          <a:xfrm>
            <a:off x="746187" y="1507514"/>
            <a:ext cx="2476762" cy="91743"/>
            <a:chOff x="1464850" y="436376"/>
            <a:chExt cx="6001362" cy="222300"/>
          </a:xfrm>
        </p:grpSpPr>
        <p:sp>
          <p:nvSpPr>
            <p:cNvPr id="8562" name="Google Shape;8562;p54"/>
            <p:cNvSpPr/>
            <p:nvPr/>
          </p:nvSpPr>
          <p:spPr>
            <a:xfrm>
              <a:off x="1464850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3" name="Google Shape;8563;p54"/>
            <p:cNvSpPr/>
            <p:nvPr/>
          </p:nvSpPr>
          <p:spPr>
            <a:xfrm>
              <a:off x="4410215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4" name="Google Shape;8564;p54"/>
            <p:cNvSpPr/>
            <p:nvPr/>
          </p:nvSpPr>
          <p:spPr>
            <a:xfrm>
              <a:off x="7243912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5" name="Google Shape;8565;p54"/>
            <p:cNvSpPr/>
            <p:nvPr/>
          </p:nvSpPr>
          <p:spPr>
            <a:xfrm>
              <a:off x="2920366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6" name="Google Shape;8566;p54"/>
            <p:cNvSpPr/>
            <p:nvPr/>
          </p:nvSpPr>
          <p:spPr>
            <a:xfrm>
              <a:off x="5831847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67" name="Google Shape;8567;p54"/>
            <p:cNvCxnSpPr/>
            <p:nvPr/>
          </p:nvCxnSpPr>
          <p:spPr>
            <a:xfrm>
              <a:off x="1798637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68" name="Google Shape;8568;p54"/>
            <p:cNvCxnSpPr/>
            <p:nvPr/>
          </p:nvCxnSpPr>
          <p:spPr>
            <a:xfrm>
              <a:off x="3276248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69" name="Google Shape;8569;p54"/>
            <p:cNvCxnSpPr/>
            <p:nvPr/>
          </p:nvCxnSpPr>
          <p:spPr>
            <a:xfrm>
              <a:off x="4753898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70" name="Google Shape;8570;p54"/>
            <p:cNvCxnSpPr/>
            <p:nvPr/>
          </p:nvCxnSpPr>
          <p:spPr>
            <a:xfrm>
              <a:off x="6143961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571" name="Google Shape;8571;p54"/>
          <p:cNvGrpSpPr/>
          <p:nvPr/>
        </p:nvGrpSpPr>
        <p:grpSpPr>
          <a:xfrm>
            <a:off x="732455" y="2742980"/>
            <a:ext cx="1452710" cy="651923"/>
            <a:chOff x="803162" y="2667727"/>
            <a:chExt cx="1411906" cy="633611"/>
          </a:xfrm>
        </p:grpSpPr>
        <p:cxnSp>
          <p:nvCxnSpPr>
            <p:cNvPr id="8572" name="Google Shape;8572;p54"/>
            <p:cNvCxnSpPr>
              <a:stCxn id="8573" idx="2"/>
              <a:endCxn id="8574" idx="0"/>
            </p:cNvCxnSpPr>
            <p:nvPr/>
          </p:nvCxnSpPr>
          <p:spPr>
            <a:xfrm rot="-5400000" flipH="1">
              <a:off x="1629114" y="2672827"/>
              <a:ext cx="129300" cy="3693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5" name="Google Shape;8575;p54"/>
            <p:cNvCxnSpPr>
              <a:stCxn id="8576" idx="0"/>
              <a:endCxn id="8573" idx="2"/>
            </p:cNvCxnSpPr>
            <p:nvPr/>
          </p:nvCxnSpPr>
          <p:spPr>
            <a:xfrm rot="-5400000">
              <a:off x="1259830" y="2672682"/>
              <a:ext cx="129300" cy="3693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7" name="Google Shape;8577;p54"/>
            <p:cNvCxnSpPr>
              <a:stCxn id="8576" idx="2"/>
              <a:endCxn id="8578" idx="0"/>
            </p:cNvCxnSpPr>
            <p:nvPr/>
          </p:nvCxnSpPr>
          <p:spPr>
            <a:xfrm rot="-5400000" flipH="1">
              <a:off x="1163380" y="3023532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9" name="Google Shape;8579;p54"/>
            <p:cNvCxnSpPr>
              <a:stCxn id="8580" idx="0"/>
              <a:endCxn id="8576" idx="2"/>
            </p:cNvCxnSpPr>
            <p:nvPr/>
          </p:nvCxnSpPr>
          <p:spPr>
            <a:xfrm rot="-5400000">
              <a:off x="987062" y="3023388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81" name="Google Shape;8581;p54"/>
            <p:cNvCxnSpPr>
              <a:stCxn id="8574" idx="2"/>
              <a:endCxn id="8582" idx="0"/>
            </p:cNvCxnSpPr>
            <p:nvPr/>
          </p:nvCxnSpPr>
          <p:spPr>
            <a:xfrm rot="-5400000" flipH="1">
              <a:off x="1901948" y="3023532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83" name="Google Shape;8583;p54"/>
            <p:cNvCxnSpPr>
              <a:stCxn id="8584" idx="0"/>
              <a:endCxn id="8574" idx="2"/>
            </p:cNvCxnSpPr>
            <p:nvPr/>
          </p:nvCxnSpPr>
          <p:spPr>
            <a:xfrm rot="-5400000">
              <a:off x="1725631" y="3023388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8580" name="Google Shape;8580;p54"/>
            <p:cNvSpPr/>
            <p:nvPr/>
          </p:nvSpPr>
          <p:spPr>
            <a:xfrm>
              <a:off x="803162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8" name="Google Shape;8578;p54"/>
            <p:cNvSpPr/>
            <p:nvPr/>
          </p:nvSpPr>
          <p:spPr>
            <a:xfrm>
              <a:off x="1155799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84" name="Google Shape;8584;p54"/>
            <p:cNvSpPr/>
            <p:nvPr/>
          </p:nvSpPr>
          <p:spPr>
            <a:xfrm>
              <a:off x="1541731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82" name="Google Shape;8582;p54"/>
            <p:cNvSpPr/>
            <p:nvPr/>
          </p:nvSpPr>
          <p:spPr>
            <a:xfrm>
              <a:off x="1894368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4" name="Google Shape;8574;p54"/>
            <p:cNvSpPr/>
            <p:nvPr/>
          </p:nvSpPr>
          <p:spPr>
            <a:xfrm>
              <a:off x="1718048" y="2921982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6" name="Google Shape;8576;p54"/>
            <p:cNvSpPr/>
            <p:nvPr/>
          </p:nvSpPr>
          <p:spPr>
            <a:xfrm>
              <a:off x="979480" y="2921982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3" name="Google Shape;8573;p54"/>
            <p:cNvSpPr/>
            <p:nvPr/>
          </p:nvSpPr>
          <p:spPr>
            <a:xfrm>
              <a:off x="1348764" y="2667727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</p:grpSp>
      <p:grpSp>
        <p:nvGrpSpPr>
          <p:cNvPr id="8585" name="Google Shape;8585;p54"/>
          <p:cNvGrpSpPr/>
          <p:nvPr/>
        </p:nvGrpSpPr>
        <p:grpSpPr>
          <a:xfrm>
            <a:off x="732456" y="1178518"/>
            <a:ext cx="2518541" cy="209309"/>
            <a:chOff x="803163" y="1111966"/>
            <a:chExt cx="2447800" cy="203430"/>
          </a:xfrm>
        </p:grpSpPr>
        <p:grpSp>
          <p:nvGrpSpPr>
            <p:cNvPr id="8586" name="Google Shape;8586;p54"/>
            <p:cNvGrpSpPr/>
            <p:nvPr/>
          </p:nvGrpSpPr>
          <p:grpSpPr>
            <a:xfrm>
              <a:off x="1958180" y="1111966"/>
              <a:ext cx="588019" cy="121396"/>
              <a:chOff x="4808316" y="2800065"/>
              <a:chExt cx="1999386" cy="412910"/>
            </a:xfrm>
          </p:grpSpPr>
          <p:sp>
            <p:nvSpPr>
              <p:cNvPr id="8587" name="Google Shape;8587;p54"/>
              <p:cNvSpPr/>
              <p:nvPr/>
            </p:nvSpPr>
            <p:spPr>
              <a:xfrm>
                <a:off x="4849302" y="3079475"/>
                <a:ext cx="1958400" cy="1335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588" name="Google Shape;8588;p54"/>
              <p:cNvGrpSpPr/>
              <p:nvPr/>
            </p:nvGrpSpPr>
            <p:grpSpPr>
              <a:xfrm>
                <a:off x="4808316" y="2800065"/>
                <a:ext cx="92400" cy="411825"/>
                <a:chOff x="845575" y="2563700"/>
                <a:chExt cx="92400" cy="411825"/>
              </a:xfrm>
            </p:grpSpPr>
            <p:cxnSp>
              <p:nvCxnSpPr>
                <p:cNvPr id="8589" name="Google Shape;8589;p54"/>
                <p:cNvCxnSpPr/>
                <p:nvPr/>
              </p:nvCxnSpPr>
              <p:spPr>
                <a:xfrm>
                  <a:off x="891775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590" name="Google Shape;8590;p54"/>
                <p:cNvSpPr/>
                <p:nvPr/>
              </p:nvSpPr>
              <p:spPr>
                <a:xfrm>
                  <a:off x="845575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cxnSp>
          <p:nvCxnSpPr>
            <p:cNvPr id="8591" name="Google Shape;8591;p54"/>
            <p:cNvCxnSpPr/>
            <p:nvPr/>
          </p:nvCxnSpPr>
          <p:spPr>
            <a:xfrm>
              <a:off x="3237251" y="1127387"/>
              <a:ext cx="0" cy="10560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8592" name="Google Shape;8592;p54"/>
            <p:cNvSpPr/>
            <p:nvPr/>
          </p:nvSpPr>
          <p:spPr>
            <a:xfrm>
              <a:off x="3223663" y="1111974"/>
              <a:ext cx="27300" cy="27300"/>
            </a:xfrm>
            <a:prstGeom prst="ellipse">
              <a:avLst/>
            </a:pr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593" name="Google Shape;8593;p54"/>
            <p:cNvGrpSpPr/>
            <p:nvPr/>
          </p:nvGrpSpPr>
          <p:grpSpPr>
            <a:xfrm>
              <a:off x="803163" y="1111974"/>
              <a:ext cx="591158" cy="121545"/>
              <a:chOff x="803163" y="1111974"/>
              <a:chExt cx="591158" cy="121545"/>
            </a:xfrm>
          </p:grpSpPr>
          <p:grpSp>
            <p:nvGrpSpPr>
              <p:cNvPr id="8594" name="Google Shape;8594;p54"/>
              <p:cNvGrpSpPr/>
              <p:nvPr/>
            </p:nvGrpSpPr>
            <p:grpSpPr>
              <a:xfrm>
                <a:off x="803163" y="1111974"/>
                <a:ext cx="27175" cy="121077"/>
                <a:chOff x="845575" y="2563700"/>
                <a:chExt cx="92400" cy="411825"/>
              </a:xfrm>
            </p:grpSpPr>
            <p:cxnSp>
              <p:nvCxnSpPr>
                <p:cNvPr id="8595" name="Google Shape;8595;p54"/>
                <p:cNvCxnSpPr/>
                <p:nvPr/>
              </p:nvCxnSpPr>
              <p:spPr>
                <a:xfrm>
                  <a:off x="891775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596" name="Google Shape;8596;p54"/>
                <p:cNvSpPr/>
                <p:nvPr/>
              </p:nvSpPr>
              <p:spPr>
                <a:xfrm>
                  <a:off x="845575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597" name="Google Shape;8597;p54"/>
              <p:cNvSpPr/>
              <p:nvPr/>
            </p:nvSpPr>
            <p:spPr>
              <a:xfrm>
                <a:off x="818321" y="1194219"/>
                <a:ext cx="576000" cy="393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98" name="Google Shape;8598;p54"/>
            <p:cNvGrpSpPr/>
            <p:nvPr/>
          </p:nvGrpSpPr>
          <p:grpSpPr>
            <a:xfrm>
              <a:off x="1381910" y="1194219"/>
              <a:ext cx="588341" cy="121177"/>
              <a:chOff x="1381910" y="1194219"/>
              <a:chExt cx="588341" cy="121177"/>
            </a:xfrm>
          </p:grpSpPr>
          <p:grpSp>
            <p:nvGrpSpPr>
              <p:cNvPr id="8599" name="Google Shape;8599;p54"/>
              <p:cNvGrpSpPr/>
              <p:nvPr/>
            </p:nvGrpSpPr>
            <p:grpSpPr>
              <a:xfrm rot="10800000">
                <a:off x="1381910" y="1194319"/>
                <a:ext cx="27175" cy="121077"/>
                <a:chOff x="2070100" y="2563700"/>
                <a:chExt cx="92400" cy="411825"/>
              </a:xfrm>
            </p:grpSpPr>
            <p:cxnSp>
              <p:nvCxnSpPr>
                <p:cNvPr id="8600" name="Google Shape;8600;p54"/>
                <p:cNvCxnSpPr/>
                <p:nvPr/>
              </p:nvCxnSpPr>
              <p:spPr>
                <a:xfrm>
                  <a:off x="2116300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601" name="Google Shape;8601;p54"/>
                <p:cNvSpPr/>
                <p:nvPr/>
              </p:nvSpPr>
              <p:spPr>
                <a:xfrm>
                  <a:off x="2070100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602" name="Google Shape;8602;p54"/>
              <p:cNvSpPr/>
              <p:nvPr/>
            </p:nvSpPr>
            <p:spPr>
              <a:xfrm>
                <a:off x="1394250" y="1194219"/>
                <a:ext cx="576000" cy="39300"/>
              </a:xfrm>
              <a:prstGeom prst="rect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03" name="Google Shape;8603;p54"/>
            <p:cNvGrpSpPr/>
            <p:nvPr/>
          </p:nvGrpSpPr>
          <p:grpSpPr>
            <a:xfrm>
              <a:off x="2532079" y="1194219"/>
              <a:ext cx="704927" cy="121177"/>
              <a:chOff x="2532079" y="1194219"/>
              <a:chExt cx="704927" cy="121177"/>
            </a:xfrm>
          </p:grpSpPr>
          <p:grpSp>
            <p:nvGrpSpPr>
              <p:cNvPr id="8604" name="Google Shape;8604;p54"/>
              <p:cNvGrpSpPr/>
              <p:nvPr/>
            </p:nvGrpSpPr>
            <p:grpSpPr>
              <a:xfrm rot="10800000">
                <a:off x="2532079" y="1194319"/>
                <a:ext cx="27175" cy="121077"/>
                <a:chOff x="2070100" y="2563700"/>
                <a:chExt cx="92400" cy="411825"/>
              </a:xfrm>
            </p:grpSpPr>
            <p:cxnSp>
              <p:nvCxnSpPr>
                <p:cNvPr id="8605" name="Google Shape;8605;p54"/>
                <p:cNvCxnSpPr/>
                <p:nvPr/>
              </p:nvCxnSpPr>
              <p:spPr>
                <a:xfrm>
                  <a:off x="2116300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606" name="Google Shape;8606;p54"/>
                <p:cNvSpPr/>
                <p:nvPr/>
              </p:nvSpPr>
              <p:spPr>
                <a:xfrm>
                  <a:off x="2070100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607" name="Google Shape;8607;p54"/>
              <p:cNvSpPr/>
              <p:nvPr/>
            </p:nvSpPr>
            <p:spPr>
              <a:xfrm>
                <a:off x="2546107" y="1194219"/>
                <a:ext cx="690900" cy="39300"/>
              </a:xfrm>
              <a:prstGeom prst="rect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608" name="Google Shape;8608;p54"/>
          <p:cNvGrpSpPr/>
          <p:nvPr/>
        </p:nvGrpSpPr>
        <p:grpSpPr>
          <a:xfrm>
            <a:off x="3525467" y="3875150"/>
            <a:ext cx="1567778" cy="491677"/>
            <a:chOff x="5194708" y="3484366"/>
            <a:chExt cx="3148148" cy="987304"/>
          </a:xfrm>
        </p:grpSpPr>
        <p:grpSp>
          <p:nvGrpSpPr>
            <p:cNvPr id="8609" name="Google Shape;8609;p54"/>
            <p:cNvGrpSpPr/>
            <p:nvPr/>
          </p:nvGrpSpPr>
          <p:grpSpPr>
            <a:xfrm>
              <a:off x="7531521" y="3484366"/>
              <a:ext cx="811335" cy="987304"/>
              <a:chOff x="3379425" y="1617275"/>
              <a:chExt cx="1090650" cy="1327200"/>
            </a:xfrm>
          </p:grpSpPr>
          <p:sp>
            <p:nvSpPr>
              <p:cNvPr id="8610" name="Google Shape;8610;p54"/>
              <p:cNvSpPr/>
              <p:nvPr/>
            </p:nvSpPr>
            <p:spPr>
              <a:xfrm>
                <a:off x="3554475" y="1792400"/>
                <a:ext cx="7404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9" h="29615" extrusionOk="0">
                    <a:moveTo>
                      <a:pt x="14809" y="1"/>
                    </a:moveTo>
                    <a:cubicBezTo>
                      <a:pt x="6631" y="1"/>
                      <a:pt x="0" y="6631"/>
                      <a:pt x="0" y="14809"/>
                    </a:cubicBezTo>
                    <a:cubicBezTo>
                      <a:pt x="0" y="22988"/>
                      <a:pt x="6631" y="29615"/>
                      <a:pt x="14809" y="29615"/>
                    </a:cubicBezTo>
                    <a:cubicBezTo>
                      <a:pt x="22987" y="29615"/>
                      <a:pt x="29618" y="22988"/>
                      <a:pt x="29618" y="14809"/>
                    </a:cubicBezTo>
                    <a:cubicBezTo>
                      <a:pt x="29618" y="6631"/>
                      <a:pt x="22987" y="1"/>
                      <a:pt x="14809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1" name="Google Shape;8611;p54"/>
              <p:cNvSpPr/>
              <p:nvPr/>
            </p:nvSpPr>
            <p:spPr>
              <a:xfrm>
                <a:off x="3379425" y="1617275"/>
                <a:ext cx="10906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26" h="50958" extrusionOk="0">
                    <a:moveTo>
                      <a:pt x="21811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8" y="22289"/>
                      <a:pt x="401" y="22672"/>
                      <a:pt x="876" y="22672"/>
                    </a:cubicBezTo>
                    <a:cubicBezTo>
                      <a:pt x="1355" y="22672"/>
                      <a:pt x="1744" y="22289"/>
                      <a:pt x="1755" y="21814"/>
                    </a:cubicBezTo>
                    <a:cubicBezTo>
                      <a:pt x="1755" y="10757"/>
                      <a:pt x="10754" y="1755"/>
                      <a:pt x="21811" y="1755"/>
                    </a:cubicBezTo>
                    <a:cubicBezTo>
                      <a:pt x="32869" y="1755"/>
                      <a:pt x="41867" y="10753"/>
                      <a:pt x="41867" y="21814"/>
                    </a:cubicBezTo>
                    <a:cubicBezTo>
                      <a:pt x="41871" y="32872"/>
                      <a:pt x="32869" y="41870"/>
                      <a:pt x="21811" y="41870"/>
                    </a:cubicBezTo>
                    <a:cubicBezTo>
                      <a:pt x="21329" y="41870"/>
                      <a:pt x="20932" y="42263"/>
                      <a:pt x="20935" y="42750"/>
                    </a:cubicBezTo>
                    <a:lnTo>
                      <a:pt x="20935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2" y="43147"/>
                      <a:pt x="43626" y="33547"/>
                      <a:pt x="43626" y="21814"/>
                    </a:cubicBezTo>
                    <a:cubicBezTo>
                      <a:pt x="43626" y="9785"/>
                      <a:pt x="33841" y="0"/>
                      <a:pt x="21811" y="0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2" name="Google Shape;8612;p54"/>
              <p:cNvSpPr/>
              <p:nvPr/>
            </p:nvSpPr>
            <p:spPr>
              <a:xfrm>
                <a:off x="3775050" y="2771175"/>
                <a:ext cx="300875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5" h="6932" extrusionOk="0">
                    <a:moveTo>
                      <a:pt x="11087" y="1"/>
                    </a:moveTo>
                    <a:cubicBezTo>
                      <a:pt x="10861" y="1"/>
                      <a:pt x="10636" y="87"/>
                      <a:pt x="10465" y="260"/>
                    </a:cubicBezTo>
                    <a:lnTo>
                      <a:pt x="6866" y="3859"/>
                    </a:lnTo>
                    <a:lnTo>
                      <a:pt x="5979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6" y="102"/>
                      <a:pt x="990" y="102"/>
                    </a:cubicBezTo>
                    <a:cubicBezTo>
                      <a:pt x="731" y="102"/>
                      <a:pt x="475" y="214"/>
                      <a:pt x="298" y="427"/>
                    </a:cubicBezTo>
                    <a:cubicBezTo>
                      <a:pt x="1" y="783"/>
                      <a:pt x="23" y="1306"/>
                      <a:pt x="350" y="1636"/>
                    </a:cubicBezTo>
                    <a:lnTo>
                      <a:pt x="5389" y="6675"/>
                    </a:lnTo>
                    <a:cubicBezTo>
                      <a:pt x="5559" y="6846"/>
                      <a:pt x="5784" y="6931"/>
                      <a:pt x="6009" y="6931"/>
                    </a:cubicBezTo>
                    <a:cubicBezTo>
                      <a:pt x="6234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6" y="1250"/>
                      <a:pt x="12034" y="668"/>
                      <a:pt x="11712" y="260"/>
                    </a:cubicBezTo>
                    <a:cubicBezTo>
                      <a:pt x="11539" y="87"/>
                      <a:pt x="11313" y="1"/>
                      <a:pt x="11087" y="1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13" name="Google Shape;8613;p54"/>
            <p:cNvGrpSpPr/>
            <p:nvPr/>
          </p:nvGrpSpPr>
          <p:grpSpPr>
            <a:xfrm>
              <a:off x="6752546" y="3484366"/>
              <a:ext cx="811428" cy="987304"/>
              <a:chOff x="2332275" y="1617275"/>
              <a:chExt cx="1090775" cy="1327200"/>
            </a:xfrm>
          </p:grpSpPr>
          <p:sp>
            <p:nvSpPr>
              <p:cNvPr id="8614" name="Google Shape;8614;p54"/>
              <p:cNvSpPr/>
              <p:nvPr/>
            </p:nvSpPr>
            <p:spPr>
              <a:xfrm>
                <a:off x="2507425" y="1792400"/>
                <a:ext cx="7403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5" h="29615" extrusionOk="0">
                    <a:moveTo>
                      <a:pt x="14810" y="1"/>
                    </a:moveTo>
                    <a:cubicBezTo>
                      <a:pt x="6631" y="1"/>
                      <a:pt x="1" y="6631"/>
                      <a:pt x="1" y="14809"/>
                    </a:cubicBezTo>
                    <a:cubicBezTo>
                      <a:pt x="1" y="22988"/>
                      <a:pt x="6631" y="29615"/>
                      <a:pt x="14810" y="29615"/>
                    </a:cubicBezTo>
                    <a:cubicBezTo>
                      <a:pt x="22988" y="29615"/>
                      <a:pt x="29615" y="22988"/>
                      <a:pt x="29615" y="14809"/>
                    </a:cubicBezTo>
                    <a:cubicBezTo>
                      <a:pt x="29615" y="6631"/>
                      <a:pt x="22988" y="1"/>
                      <a:pt x="14810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5" name="Google Shape;8615;p54"/>
              <p:cNvSpPr/>
              <p:nvPr/>
            </p:nvSpPr>
            <p:spPr>
              <a:xfrm>
                <a:off x="2332275" y="1617275"/>
                <a:ext cx="1090775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31" h="50958" extrusionOk="0">
                    <a:moveTo>
                      <a:pt x="21816" y="0"/>
                    </a:moveTo>
                    <a:cubicBezTo>
                      <a:pt x="9786" y="0"/>
                      <a:pt x="1" y="9788"/>
                      <a:pt x="1" y="21814"/>
                    </a:cubicBezTo>
                    <a:cubicBezTo>
                      <a:pt x="12" y="22289"/>
                      <a:pt x="402" y="22672"/>
                      <a:pt x="880" y="22672"/>
                    </a:cubicBezTo>
                    <a:cubicBezTo>
                      <a:pt x="1355" y="22672"/>
                      <a:pt x="1745" y="22289"/>
                      <a:pt x="1756" y="21814"/>
                    </a:cubicBezTo>
                    <a:cubicBezTo>
                      <a:pt x="1756" y="10757"/>
                      <a:pt x="10754" y="1755"/>
                      <a:pt x="21812" y="1755"/>
                    </a:cubicBezTo>
                    <a:cubicBezTo>
                      <a:pt x="32869" y="1755"/>
                      <a:pt x="41871" y="10753"/>
                      <a:pt x="41871" y="21814"/>
                    </a:cubicBezTo>
                    <a:cubicBezTo>
                      <a:pt x="41871" y="32872"/>
                      <a:pt x="32873" y="41870"/>
                      <a:pt x="21816" y="41870"/>
                    </a:cubicBezTo>
                    <a:cubicBezTo>
                      <a:pt x="21329" y="41870"/>
                      <a:pt x="20936" y="42263"/>
                      <a:pt x="20936" y="42750"/>
                    </a:cubicBezTo>
                    <a:lnTo>
                      <a:pt x="20936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7" y="43147"/>
                      <a:pt x="43630" y="33547"/>
                      <a:pt x="43627" y="21814"/>
                    </a:cubicBezTo>
                    <a:cubicBezTo>
                      <a:pt x="43627" y="9785"/>
                      <a:pt x="33842" y="0"/>
                      <a:pt x="2181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6" name="Google Shape;8616;p54"/>
              <p:cNvSpPr/>
              <p:nvPr/>
            </p:nvSpPr>
            <p:spPr>
              <a:xfrm>
                <a:off x="2727925" y="2771175"/>
                <a:ext cx="3009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8" h="6932" extrusionOk="0">
                    <a:moveTo>
                      <a:pt x="11088" y="1"/>
                    </a:moveTo>
                    <a:cubicBezTo>
                      <a:pt x="10863" y="1"/>
                      <a:pt x="10637" y="87"/>
                      <a:pt x="10465" y="260"/>
                    </a:cubicBezTo>
                    <a:lnTo>
                      <a:pt x="6869" y="3859"/>
                    </a:lnTo>
                    <a:lnTo>
                      <a:pt x="5982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5" y="102"/>
                      <a:pt x="990" y="102"/>
                    </a:cubicBezTo>
                    <a:cubicBezTo>
                      <a:pt x="731" y="102"/>
                      <a:pt x="475" y="214"/>
                      <a:pt x="297" y="427"/>
                    </a:cubicBezTo>
                    <a:cubicBezTo>
                      <a:pt x="1" y="783"/>
                      <a:pt x="27" y="1306"/>
                      <a:pt x="353" y="1636"/>
                    </a:cubicBezTo>
                    <a:lnTo>
                      <a:pt x="5388" y="6675"/>
                    </a:lnTo>
                    <a:cubicBezTo>
                      <a:pt x="5561" y="6846"/>
                      <a:pt x="5785" y="6931"/>
                      <a:pt x="6010" y="6931"/>
                    </a:cubicBezTo>
                    <a:cubicBezTo>
                      <a:pt x="6234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9" y="1250"/>
                      <a:pt x="12038" y="668"/>
                      <a:pt x="11711" y="260"/>
                    </a:cubicBezTo>
                    <a:cubicBezTo>
                      <a:pt x="11539" y="87"/>
                      <a:pt x="11313" y="1"/>
                      <a:pt x="11088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17" name="Google Shape;8617;p54"/>
            <p:cNvGrpSpPr/>
            <p:nvPr/>
          </p:nvGrpSpPr>
          <p:grpSpPr>
            <a:xfrm>
              <a:off x="5973664" y="3484366"/>
              <a:ext cx="811335" cy="987304"/>
              <a:chOff x="1285250" y="1617275"/>
              <a:chExt cx="1090650" cy="1327200"/>
            </a:xfrm>
          </p:grpSpPr>
          <p:sp>
            <p:nvSpPr>
              <p:cNvPr id="8618" name="Google Shape;8618;p54"/>
              <p:cNvSpPr/>
              <p:nvPr/>
            </p:nvSpPr>
            <p:spPr>
              <a:xfrm>
                <a:off x="1460300" y="1792400"/>
                <a:ext cx="7404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9" h="29615" extrusionOk="0">
                    <a:moveTo>
                      <a:pt x="14809" y="1"/>
                    </a:moveTo>
                    <a:cubicBezTo>
                      <a:pt x="6631" y="1"/>
                      <a:pt x="0" y="6631"/>
                      <a:pt x="0" y="14809"/>
                    </a:cubicBezTo>
                    <a:cubicBezTo>
                      <a:pt x="0" y="22988"/>
                      <a:pt x="6631" y="29615"/>
                      <a:pt x="14809" y="29615"/>
                    </a:cubicBezTo>
                    <a:cubicBezTo>
                      <a:pt x="22987" y="29615"/>
                      <a:pt x="29618" y="22988"/>
                      <a:pt x="29618" y="14809"/>
                    </a:cubicBezTo>
                    <a:cubicBezTo>
                      <a:pt x="29618" y="6631"/>
                      <a:pt x="22987" y="1"/>
                      <a:pt x="14809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9" name="Google Shape;8619;p54"/>
              <p:cNvSpPr/>
              <p:nvPr/>
            </p:nvSpPr>
            <p:spPr>
              <a:xfrm>
                <a:off x="1285250" y="1617275"/>
                <a:ext cx="10906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26" h="50958" extrusionOk="0">
                    <a:moveTo>
                      <a:pt x="21811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8" y="22289"/>
                      <a:pt x="401" y="22672"/>
                      <a:pt x="876" y="22672"/>
                    </a:cubicBezTo>
                    <a:cubicBezTo>
                      <a:pt x="1355" y="22672"/>
                      <a:pt x="1744" y="22289"/>
                      <a:pt x="1755" y="21814"/>
                    </a:cubicBezTo>
                    <a:cubicBezTo>
                      <a:pt x="1755" y="10757"/>
                      <a:pt x="10754" y="1755"/>
                      <a:pt x="21811" y="1755"/>
                    </a:cubicBezTo>
                    <a:cubicBezTo>
                      <a:pt x="32869" y="1755"/>
                      <a:pt x="41867" y="10753"/>
                      <a:pt x="41867" y="21814"/>
                    </a:cubicBezTo>
                    <a:cubicBezTo>
                      <a:pt x="41871" y="32872"/>
                      <a:pt x="32869" y="41870"/>
                      <a:pt x="21811" y="41870"/>
                    </a:cubicBezTo>
                    <a:cubicBezTo>
                      <a:pt x="21329" y="41870"/>
                      <a:pt x="20932" y="42263"/>
                      <a:pt x="20936" y="42750"/>
                    </a:cubicBezTo>
                    <a:lnTo>
                      <a:pt x="20936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2" y="43147"/>
                      <a:pt x="43626" y="33547"/>
                      <a:pt x="43626" y="21814"/>
                    </a:cubicBezTo>
                    <a:cubicBezTo>
                      <a:pt x="43626" y="9785"/>
                      <a:pt x="33841" y="0"/>
                      <a:pt x="21811" y="0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0" name="Google Shape;8620;p54"/>
              <p:cNvSpPr/>
              <p:nvPr/>
            </p:nvSpPr>
            <p:spPr>
              <a:xfrm>
                <a:off x="1680900" y="2771175"/>
                <a:ext cx="3008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4" h="6932" extrusionOk="0">
                    <a:moveTo>
                      <a:pt x="11086" y="1"/>
                    </a:moveTo>
                    <a:cubicBezTo>
                      <a:pt x="10860" y="1"/>
                      <a:pt x="10635" y="87"/>
                      <a:pt x="10464" y="260"/>
                    </a:cubicBezTo>
                    <a:lnTo>
                      <a:pt x="6865" y="3859"/>
                    </a:lnTo>
                    <a:lnTo>
                      <a:pt x="5978" y="4742"/>
                    </a:lnTo>
                    <a:lnTo>
                      <a:pt x="5110" y="3874"/>
                    </a:lnTo>
                    <a:lnTo>
                      <a:pt x="1495" y="260"/>
                    </a:lnTo>
                    <a:cubicBezTo>
                      <a:pt x="1341" y="153"/>
                      <a:pt x="1165" y="102"/>
                      <a:pt x="989" y="102"/>
                    </a:cubicBezTo>
                    <a:cubicBezTo>
                      <a:pt x="730" y="102"/>
                      <a:pt x="474" y="214"/>
                      <a:pt x="297" y="427"/>
                    </a:cubicBezTo>
                    <a:cubicBezTo>
                      <a:pt x="0" y="783"/>
                      <a:pt x="22" y="1306"/>
                      <a:pt x="349" y="1636"/>
                    </a:cubicBezTo>
                    <a:lnTo>
                      <a:pt x="5388" y="6675"/>
                    </a:lnTo>
                    <a:cubicBezTo>
                      <a:pt x="5559" y="6846"/>
                      <a:pt x="5783" y="6931"/>
                      <a:pt x="6008" y="6931"/>
                    </a:cubicBezTo>
                    <a:cubicBezTo>
                      <a:pt x="6233" y="6931"/>
                      <a:pt x="6458" y="6846"/>
                      <a:pt x="6631" y="6675"/>
                    </a:cubicBezTo>
                    <a:lnTo>
                      <a:pt x="11666" y="1636"/>
                    </a:lnTo>
                    <a:cubicBezTo>
                      <a:pt x="12015" y="1250"/>
                      <a:pt x="12034" y="668"/>
                      <a:pt x="11711" y="260"/>
                    </a:cubicBezTo>
                    <a:cubicBezTo>
                      <a:pt x="11538" y="87"/>
                      <a:pt x="11312" y="1"/>
                      <a:pt x="11086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21" name="Google Shape;8621;p54"/>
            <p:cNvGrpSpPr/>
            <p:nvPr/>
          </p:nvGrpSpPr>
          <p:grpSpPr>
            <a:xfrm>
              <a:off x="5194708" y="3484366"/>
              <a:ext cx="811409" cy="987304"/>
              <a:chOff x="238125" y="1617275"/>
              <a:chExt cx="1090750" cy="1327200"/>
            </a:xfrm>
          </p:grpSpPr>
          <p:sp>
            <p:nvSpPr>
              <p:cNvPr id="8622" name="Google Shape;8622;p54"/>
              <p:cNvSpPr/>
              <p:nvPr/>
            </p:nvSpPr>
            <p:spPr>
              <a:xfrm>
                <a:off x="413250" y="1792400"/>
                <a:ext cx="7403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5" h="29615" extrusionOk="0">
                    <a:moveTo>
                      <a:pt x="14810" y="1"/>
                    </a:moveTo>
                    <a:cubicBezTo>
                      <a:pt x="6631" y="1"/>
                      <a:pt x="1" y="6631"/>
                      <a:pt x="1" y="14809"/>
                    </a:cubicBezTo>
                    <a:cubicBezTo>
                      <a:pt x="1" y="22988"/>
                      <a:pt x="6631" y="29615"/>
                      <a:pt x="14810" y="29615"/>
                    </a:cubicBezTo>
                    <a:cubicBezTo>
                      <a:pt x="22988" y="29615"/>
                      <a:pt x="29615" y="22988"/>
                      <a:pt x="29615" y="14809"/>
                    </a:cubicBezTo>
                    <a:cubicBezTo>
                      <a:pt x="29615" y="6631"/>
                      <a:pt x="22988" y="1"/>
                      <a:pt x="14810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3" name="Google Shape;8623;p54"/>
              <p:cNvSpPr/>
              <p:nvPr/>
            </p:nvSpPr>
            <p:spPr>
              <a:xfrm>
                <a:off x="238125" y="1617275"/>
                <a:ext cx="10907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30" h="50958" extrusionOk="0">
                    <a:moveTo>
                      <a:pt x="21815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11" y="22289"/>
                      <a:pt x="401" y="22672"/>
                      <a:pt x="879" y="22672"/>
                    </a:cubicBezTo>
                    <a:cubicBezTo>
                      <a:pt x="1354" y="22672"/>
                      <a:pt x="1744" y="22289"/>
                      <a:pt x="1755" y="21814"/>
                    </a:cubicBezTo>
                    <a:cubicBezTo>
                      <a:pt x="1755" y="10757"/>
                      <a:pt x="10753" y="1755"/>
                      <a:pt x="21811" y="1755"/>
                    </a:cubicBezTo>
                    <a:cubicBezTo>
                      <a:pt x="32869" y="1755"/>
                      <a:pt x="41870" y="10753"/>
                      <a:pt x="41870" y="21814"/>
                    </a:cubicBezTo>
                    <a:cubicBezTo>
                      <a:pt x="41870" y="32872"/>
                      <a:pt x="32872" y="41870"/>
                      <a:pt x="21815" y="41870"/>
                    </a:cubicBezTo>
                    <a:cubicBezTo>
                      <a:pt x="21329" y="41870"/>
                      <a:pt x="20935" y="42263"/>
                      <a:pt x="20935" y="42750"/>
                    </a:cubicBezTo>
                    <a:lnTo>
                      <a:pt x="20935" y="50957"/>
                    </a:lnTo>
                    <a:lnTo>
                      <a:pt x="22694" y="50942"/>
                    </a:lnTo>
                    <a:lnTo>
                      <a:pt x="22694" y="43610"/>
                    </a:lnTo>
                    <a:cubicBezTo>
                      <a:pt x="34316" y="43147"/>
                      <a:pt x="43629" y="33547"/>
                      <a:pt x="43626" y="21814"/>
                    </a:cubicBezTo>
                    <a:cubicBezTo>
                      <a:pt x="43626" y="9785"/>
                      <a:pt x="33841" y="0"/>
                      <a:pt x="2181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4" name="Google Shape;8624;p54"/>
              <p:cNvSpPr/>
              <p:nvPr/>
            </p:nvSpPr>
            <p:spPr>
              <a:xfrm>
                <a:off x="633750" y="2771175"/>
                <a:ext cx="3009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8" h="6932" extrusionOk="0">
                    <a:moveTo>
                      <a:pt x="11088" y="1"/>
                    </a:moveTo>
                    <a:cubicBezTo>
                      <a:pt x="10863" y="1"/>
                      <a:pt x="10637" y="87"/>
                      <a:pt x="10465" y="260"/>
                    </a:cubicBezTo>
                    <a:lnTo>
                      <a:pt x="6869" y="3859"/>
                    </a:lnTo>
                    <a:lnTo>
                      <a:pt x="5982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5" y="102"/>
                      <a:pt x="990" y="102"/>
                    </a:cubicBezTo>
                    <a:cubicBezTo>
                      <a:pt x="731" y="102"/>
                      <a:pt x="475" y="214"/>
                      <a:pt x="298" y="427"/>
                    </a:cubicBezTo>
                    <a:cubicBezTo>
                      <a:pt x="1" y="783"/>
                      <a:pt x="27" y="1306"/>
                      <a:pt x="353" y="1636"/>
                    </a:cubicBezTo>
                    <a:lnTo>
                      <a:pt x="5389" y="6675"/>
                    </a:lnTo>
                    <a:cubicBezTo>
                      <a:pt x="5561" y="6846"/>
                      <a:pt x="5786" y="6931"/>
                      <a:pt x="6010" y="6931"/>
                    </a:cubicBezTo>
                    <a:cubicBezTo>
                      <a:pt x="6235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9" y="1250"/>
                      <a:pt x="12038" y="668"/>
                      <a:pt x="11711" y="260"/>
                    </a:cubicBezTo>
                    <a:cubicBezTo>
                      <a:pt x="11539" y="87"/>
                      <a:pt x="11313" y="1"/>
                      <a:pt x="11088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625" name="Google Shape;8625;p54"/>
          <p:cNvGrpSpPr/>
          <p:nvPr/>
        </p:nvGrpSpPr>
        <p:grpSpPr>
          <a:xfrm>
            <a:off x="3486076" y="3355561"/>
            <a:ext cx="1616964" cy="346256"/>
            <a:chOff x="1808063" y="4294338"/>
            <a:chExt cx="3370782" cy="721817"/>
          </a:xfrm>
        </p:grpSpPr>
        <p:sp>
          <p:nvSpPr>
            <p:cNvPr id="8626" name="Google Shape;8626;p54"/>
            <p:cNvSpPr/>
            <p:nvPr/>
          </p:nvSpPr>
          <p:spPr>
            <a:xfrm>
              <a:off x="1906300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7" name="Google Shape;8627;p54"/>
            <p:cNvSpPr/>
            <p:nvPr/>
          </p:nvSpPr>
          <p:spPr>
            <a:xfrm>
              <a:off x="3795035" y="4655290"/>
              <a:ext cx="721912" cy="360865"/>
            </a:xfrm>
            <a:custGeom>
              <a:avLst/>
              <a:gdLst/>
              <a:ahLst/>
              <a:cxnLst/>
              <a:rect l="l" t="t" r="r" b="b"/>
              <a:pathLst>
                <a:path w="7904" h="3951" extrusionOk="0">
                  <a:moveTo>
                    <a:pt x="1" y="0"/>
                  </a:moveTo>
                  <a:cubicBezTo>
                    <a:pt x="1" y="540"/>
                    <a:pt x="113" y="1075"/>
                    <a:pt x="327" y="1571"/>
                  </a:cubicBezTo>
                  <a:cubicBezTo>
                    <a:pt x="938" y="2971"/>
                    <a:pt x="2332" y="3951"/>
                    <a:pt x="3953" y="3951"/>
                  </a:cubicBezTo>
                  <a:cubicBezTo>
                    <a:pt x="6132" y="3951"/>
                    <a:pt x="7903" y="2178"/>
                    <a:pt x="7903" y="0"/>
                  </a:cubicBezTo>
                  <a:lnTo>
                    <a:pt x="7248" y="0"/>
                  </a:lnTo>
                  <a:cubicBezTo>
                    <a:pt x="7248" y="1818"/>
                    <a:pt x="5770" y="3296"/>
                    <a:pt x="3953" y="3296"/>
                  </a:cubicBezTo>
                  <a:cubicBezTo>
                    <a:pt x="2135" y="3296"/>
                    <a:pt x="657" y="1818"/>
                    <a:pt x="6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8" name="Google Shape;8628;p54"/>
            <p:cNvSpPr/>
            <p:nvPr/>
          </p:nvSpPr>
          <p:spPr>
            <a:xfrm>
              <a:off x="3133137" y="4294338"/>
              <a:ext cx="721729" cy="360865"/>
            </a:xfrm>
            <a:custGeom>
              <a:avLst/>
              <a:gdLst/>
              <a:ahLst/>
              <a:cxnLst/>
              <a:rect l="l" t="t" r="r" b="b"/>
              <a:pathLst>
                <a:path w="7902" h="3951" extrusionOk="0">
                  <a:moveTo>
                    <a:pt x="3951" y="0"/>
                  </a:moveTo>
                  <a:cubicBezTo>
                    <a:pt x="2330" y="0"/>
                    <a:pt x="935" y="982"/>
                    <a:pt x="327" y="2380"/>
                  </a:cubicBezTo>
                  <a:cubicBezTo>
                    <a:pt x="111" y="2874"/>
                    <a:pt x="0" y="3409"/>
                    <a:pt x="0" y="3951"/>
                  </a:cubicBezTo>
                  <a:lnTo>
                    <a:pt x="653" y="3951"/>
                  </a:lnTo>
                  <a:cubicBezTo>
                    <a:pt x="653" y="2135"/>
                    <a:pt x="2133" y="657"/>
                    <a:pt x="3951" y="657"/>
                  </a:cubicBezTo>
                  <a:cubicBezTo>
                    <a:pt x="5767" y="657"/>
                    <a:pt x="7246" y="2135"/>
                    <a:pt x="7246" y="3951"/>
                  </a:cubicBezTo>
                  <a:lnTo>
                    <a:pt x="7901" y="3951"/>
                  </a:lnTo>
                  <a:cubicBezTo>
                    <a:pt x="7901" y="3411"/>
                    <a:pt x="7791" y="2876"/>
                    <a:pt x="7574" y="2381"/>
                  </a:cubicBezTo>
                  <a:cubicBezTo>
                    <a:pt x="6966" y="982"/>
                    <a:pt x="5571" y="0"/>
                    <a:pt x="39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9" name="Google Shape;8629;p54"/>
            <p:cNvSpPr/>
            <p:nvPr/>
          </p:nvSpPr>
          <p:spPr>
            <a:xfrm>
              <a:off x="1808063" y="4294338"/>
              <a:ext cx="722460" cy="362052"/>
            </a:xfrm>
            <a:custGeom>
              <a:avLst/>
              <a:gdLst/>
              <a:ahLst/>
              <a:cxnLst/>
              <a:rect l="l" t="t" r="r" b="b"/>
              <a:pathLst>
                <a:path w="7910" h="3964" extrusionOk="0">
                  <a:moveTo>
                    <a:pt x="3958" y="0"/>
                  </a:moveTo>
                  <a:cubicBezTo>
                    <a:pt x="3954" y="0"/>
                    <a:pt x="3950" y="0"/>
                    <a:pt x="3946" y="0"/>
                  </a:cubicBezTo>
                  <a:cubicBezTo>
                    <a:pt x="1768" y="6"/>
                    <a:pt x="0" y="1784"/>
                    <a:pt x="6" y="3963"/>
                  </a:cubicBezTo>
                  <a:lnTo>
                    <a:pt x="661" y="3962"/>
                  </a:lnTo>
                  <a:cubicBezTo>
                    <a:pt x="657" y="2144"/>
                    <a:pt x="2131" y="661"/>
                    <a:pt x="3947" y="655"/>
                  </a:cubicBezTo>
                  <a:cubicBezTo>
                    <a:pt x="3951" y="655"/>
                    <a:pt x="3955" y="655"/>
                    <a:pt x="3959" y="655"/>
                  </a:cubicBezTo>
                  <a:cubicBezTo>
                    <a:pt x="5771" y="655"/>
                    <a:pt x="7248" y="2127"/>
                    <a:pt x="7254" y="3939"/>
                  </a:cubicBezTo>
                  <a:lnTo>
                    <a:pt x="7256" y="3939"/>
                  </a:lnTo>
                  <a:lnTo>
                    <a:pt x="7909" y="3938"/>
                  </a:lnTo>
                  <a:cubicBezTo>
                    <a:pt x="7907" y="3398"/>
                    <a:pt x="7795" y="2863"/>
                    <a:pt x="7578" y="2368"/>
                  </a:cubicBezTo>
                  <a:cubicBezTo>
                    <a:pt x="6966" y="976"/>
                    <a:pt x="5573" y="0"/>
                    <a:pt x="395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0" name="Google Shape;8630;p54"/>
            <p:cNvSpPr/>
            <p:nvPr/>
          </p:nvSpPr>
          <p:spPr>
            <a:xfrm>
              <a:off x="2470965" y="4655290"/>
              <a:ext cx="721912" cy="360865"/>
            </a:xfrm>
            <a:custGeom>
              <a:avLst/>
              <a:gdLst/>
              <a:ahLst/>
              <a:cxnLst/>
              <a:rect l="l" t="t" r="r" b="b"/>
              <a:pathLst>
                <a:path w="7904" h="3951" extrusionOk="0">
                  <a:moveTo>
                    <a:pt x="1" y="0"/>
                  </a:moveTo>
                  <a:cubicBezTo>
                    <a:pt x="1" y="540"/>
                    <a:pt x="111" y="1075"/>
                    <a:pt x="328" y="1571"/>
                  </a:cubicBezTo>
                  <a:cubicBezTo>
                    <a:pt x="938" y="2971"/>
                    <a:pt x="2332" y="3951"/>
                    <a:pt x="3953" y="3951"/>
                  </a:cubicBezTo>
                  <a:cubicBezTo>
                    <a:pt x="5574" y="3951"/>
                    <a:pt x="6967" y="2971"/>
                    <a:pt x="7575" y="1573"/>
                  </a:cubicBezTo>
                  <a:cubicBezTo>
                    <a:pt x="7791" y="1076"/>
                    <a:pt x="7903" y="541"/>
                    <a:pt x="7903" y="0"/>
                  </a:cubicBezTo>
                  <a:lnTo>
                    <a:pt x="7249" y="0"/>
                  </a:lnTo>
                  <a:cubicBezTo>
                    <a:pt x="7249" y="1818"/>
                    <a:pt x="5770" y="3296"/>
                    <a:pt x="3953" y="3296"/>
                  </a:cubicBezTo>
                  <a:cubicBezTo>
                    <a:pt x="2135" y="3296"/>
                    <a:pt x="657" y="1818"/>
                    <a:pt x="6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1" name="Google Shape;8631;p54"/>
            <p:cNvSpPr/>
            <p:nvPr/>
          </p:nvSpPr>
          <p:spPr>
            <a:xfrm>
              <a:off x="4456385" y="4294338"/>
              <a:ext cx="722460" cy="362052"/>
            </a:xfrm>
            <a:custGeom>
              <a:avLst/>
              <a:gdLst/>
              <a:ahLst/>
              <a:cxnLst/>
              <a:rect l="l" t="t" r="r" b="b"/>
              <a:pathLst>
                <a:path w="7910" h="3964" extrusionOk="0">
                  <a:moveTo>
                    <a:pt x="3959" y="0"/>
                  </a:moveTo>
                  <a:cubicBezTo>
                    <a:pt x="3955" y="0"/>
                    <a:pt x="3951" y="0"/>
                    <a:pt x="3947" y="0"/>
                  </a:cubicBezTo>
                  <a:cubicBezTo>
                    <a:pt x="1769" y="8"/>
                    <a:pt x="1" y="1786"/>
                    <a:pt x="7" y="3963"/>
                  </a:cubicBezTo>
                  <a:lnTo>
                    <a:pt x="664" y="3962"/>
                  </a:lnTo>
                  <a:cubicBezTo>
                    <a:pt x="658" y="2144"/>
                    <a:pt x="2132" y="661"/>
                    <a:pt x="3948" y="657"/>
                  </a:cubicBezTo>
                  <a:cubicBezTo>
                    <a:pt x="3952" y="657"/>
                    <a:pt x="3956" y="657"/>
                    <a:pt x="3960" y="657"/>
                  </a:cubicBezTo>
                  <a:cubicBezTo>
                    <a:pt x="5772" y="657"/>
                    <a:pt x="7249" y="2127"/>
                    <a:pt x="7255" y="3941"/>
                  </a:cubicBezTo>
                  <a:lnTo>
                    <a:pt x="7257" y="3941"/>
                  </a:lnTo>
                  <a:lnTo>
                    <a:pt x="7910" y="3939"/>
                  </a:lnTo>
                  <a:cubicBezTo>
                    <a:pt x="7908" y="3398"/>
                    <a:pt x="7796" y="2865"/>
                    <a:pt x="7578" y="2370"/>
                  </a:cubicBezTo>
                  <a:cubicBezTo>
                    <a:pt x="6967" y="976"/>
                    <a:pt x="5574" y="0"/>
                    <a:pt x="39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2" name="Google Shape;8632;p54"/>
            <p:cNvSpPr/>
            <p:nvPr/>
          </p:nvSpPr>
          <p:spPr>
            <a:xfrm>
              <a:off x="2568813" y="43514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3" name="Google Shape;8633;p54"/>
            <p:cNvSpPr/>
            <p:nvPr/>
          </p:nvSpPr>
          <p:spPr>
            <a:xfrm>
              <a:off x="3231883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4" name="Google Shape;8634;p54"/>
            <p:cNvSpPr/>
            <p:nvPr/>
          </p:nvSpPr>
          <p:spPr>
            <a:xfrm>
              <a:off x="3894395" y="43514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5" name="Google Shape;8635;p54"/>
            <p:cNvSpPr/>
            <p:nvPr/>
          </p:nvSpPr>
          <p:spPr>
            <a:xfrm>
              <a:off x="4560958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636" name="Google Shape;8636;p54"/>
          <p:cNvGrpSpPr/>
          <p:nvPr/>
        </p:nvGrpSpPr>
        <p:grpSpPr>
          <a:xfrm>
            <a:off x="764288" y="3641590"/>
            <a:ext cx="1295882" cy="646587"/>
            <a:chOff x="834100" y="3642869"/>
            <a:chExt cx="1259483" cy="628426"/>
          </a:xfrm>
        </p:grpSpPr>
        <p:sp>
          <p:nvSpPr>
            <p:cNvPr id="8637" name="Google Shape;8637;p54"/>
            <p:cNvSpPr/>
            <p:nvPr/>
          </p:nvSpPr>
          <p:spPr>
            <a:xfrm>
              <a:off x="1557115" y="4061516"/>
              <a:ext cx="127079" cy="163426"/>
            </a:xfrm>
            <a:custGeom>
              <a:avLst/>
              <a:gdLst/>
              <a:ahLst/>
              <a:cxnLst/>
              <a:rect l="l" t="t" r="r" b="b"/>
              <a:pathLst>
                <a:path w="28816" h="37079" fill="none" extrusionOk="0">
                  <a:moveTo>
                    <a:pt x="28815" y="37078"/>
                  </a:moveTo>
                  <a:lnTo>
                    <a:pt x="17922" y="37078"/>
                  </a:lnTo>
                  <a:cubicBezTo>
                    <a:pt x="14829" y="37078"/>
                    <a:pt x="14212" y="33613"/>
                    <a:pt x="14212" y="33613"/>
                  </a:cubicBezTo>
                  <a:lnTo>
                    <a:pt x="14212" y="10631"/>
                  </a:lnTo>
                  <a:lnTo>
                    <a:pt x="0" y="10631"/>
                  </a:lnTo>
                  <a:lnTo>
                    <a:pt x="0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8" name="Google Shape;8638;p54"/>
            <p:cNvSpPr/>
            <p:nvPr/>
          </p:nvSpPr>
          <p:spPr>
            <a:xfrm>
              <a:off x="1847875" y="4224937"/>
              <a:ext cx="161119" cy="4"/>
            </a:xfrm>
            <a:custGeom>
              <a:avLst/>
              <a:gdLst/>
              <a:ahLst/>
              <a:cxnLst/>
              <a:rect l="l" t="t" r="r" b="b"/>
              <a:pathLst>
                <a:path w="36535" h="1" fill="none" extrusionOk="0">
                  <a:moveTo>
                    <a:pt x="1" y="0"/>
                  </a:moveTo>
                  <a:lnTo>
                    <a:pt x="36535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9" name="Google Shape;8639;p54"/>
            <p:cNvSpPr/>
            <p:nvPr/>
          </p:nvSpPr>
          <p:spPr>
            <a:xfrm>
              <a:off x="1684189" y="4176763"/>
              <a:ext cx="163690" cy="94532"/>
            </a:xfrm>
            <a:custGeom>
              <a:avLst/>
              <a:gdLst/>
              <a:ahLst/>
              <a:cxnLst/>
              <a:rect l="l" t="t" r="r" b="b"/>
              <a:pathLst>
                <a:path w="37118" h="21448" extrusionOk="0">
                  <a:moveTo>
                    <a:pt x="4950" y="1"/>
                  </a:moveTo>
                  <a:cubicBezTo>
                    <a:pt x="2218" y="1"/>
                    <a:pt x="0" y="2679"/>
                    <a:pt x="0" y="5984"/>
                  </a:cubicBezTo>
                  <a:lnTo>
                    <a:pt x="0" y="15461"/>
                  </a:lnTo>
                  <a:cubicBezTo>
                    <a:pt x="0" y="18766"/>
                    <a:pt x="2218" y="21447"/>
                    <a:pt x="4950" y="21447"/>
                  </a:cubicBezTo>
                  <a:lnTo>
                    <a:pt x="32168" y="21447"/>
                  </a:lnTo>
                  <a:cubicBezTo>
                    <a:pt x="34904" y="21447"/>
                    <a:pt x="37118" y="18766"/>
                    <a:pt x="37118" y="15461"/>
                  </a:cubicBezTo>
                  <a:lnTo>
                    <a:pt x="37118" y="5984"/>
                  </a:lnTo>
                  <a:cubicBezTo>
                    <a:pt x="37118" y="2679"/>
                    <a:pt x="34904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0" name="Google Shape;8640;p54"/>
            <p:cNvSpPr/>
            <p:nvPr/>
          </p:nvSpPr>
          <p:spPr>
            <a:xfrm>
              <a:off x="1246916" y="3961205"/>
              <a:ext cx="77612" cy="4"/>
            </a:xfrm>
            <a:custGeom>
              <a:avLst/>
              <a:gdLst/>
              <a:ahLst/>
              <a:cxnLst/>
              <a:rect l="l" t="t" r="r" b="b"/>
              <a:pathLst>
                <a:path w="17599" h="1" fill="none" extrusionOk="0">
                  <a:moveTo>
                    <a:pt x="17598" y="0"/>
                  </a:moveTo>
                  <a:lnTo>
                    <a:pt x="1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1" name="Google Shape;8641;p54"/>
            <p:cNvSpPr/>
            <p:nvPr/>
          </p:nvSpPr>
          <p:spPr>
            <a:xfrm>
              <a:off x="854078" y="3861292"/>
              <a:ext cx="154429" cy="4"/>
            </a:xfrm>
            <a:custGeom>
              <a:avLst/>
              <a:gdLst/>
              <a:ahLst/>
              <a:cxnLst/>
              <a:rect l="l" t="t" r="r" b="b"/>
              <a:pathLst>
                <a:path w="35018" h="1" fill="none" extrusionOk="0">
                  <a:moveTo>
                    <a:pt x="35017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2" name="Google Shape;8642;p54"/>
            <p:cNvSpPr/>
            <p:nvPr/>
          </p:nvSpPr>
          <p:spPr>
            <a:xfrm>
              <a:off x="1164630" y="3861309"/>
              <a:ext cx="79574" cy="199792"/>
            </a:xfrm>
            <a:custGeom>
              <a:avLst/>
              <a:gdLst/>
              <a:ahLst/>
              <a:cxnLst/>
              <a:rect l="l" t="t" r="r" b="b"/>
              <a:pathLst>
                <a:path w="18044" h="45330" fill="none" extrusionOk="0">
                  <a:moveTo>
                    <a:pt x="0" y="45330"/>
                  </a:moveTo>
                  <a:lnTo>
                    <a:pt x="12418" y="45330"/>
                  </a:lnTo>
                  <a:cubicBezTo>
                    <a:pt x="15150" y="45330"/>
                    <a:pt x="18043" y="42619"/>
                    <a:pt x="18043" y="35634"/>
                  </a:cubicBezTo>
                  <a:lnTo>
                    <a:pt x="18043" y="9697"/>
                  </a:lnTo>
                  <a:cubicBezTo>
                    <a:pt x="18043" y="2711"/>
                    <a:pt x="15150" y="1"/>
                    <a:pt x="12418" y="1"/>
                  </a:cubicBezTo>
                  <a:lnTo>
                    <a:pt x="1715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3" name="Google Shape;8643;p54"/>
            <p:cNvSpPr/>
            <p:nvPr/>
          </p:nvSpPr>
          <p:spPr>
            <a:xfrm>
              <a:off x="854078" y="4061097"/>
              <a:ext cx="146866" cy="4"/>
            </a:xfrm>
            <a:custGeom>
              <a:avLst/>
              <a:gdLst/>
              <a:ahLst/>
              <a:cxnLst/>
              <a:rect l="l" t="t" r="r" b="b"/>
              <a:pathLst>
                <a:path w="33303" h="1" fill="none" extrusionOk="0">
                  <a:moveTo>
                    <a:pt x="1" y="1"/>
                  </a:moveTo>
                  <a:lnTo>
                    <a:pt x="3330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4" name="Google Shape;8644;p54"/>
            <p:cNvSpPr/>
            <p:nvPr/>
          </p:nvSpPr>
          <p:spPr>
            <a:xfrm>
              <a:off x="1000939" y="4005884"/>
              <a:ext cx="163695" cy="94514"/>
            </a:xfrm>
            <a:custGeom>
              <a:avLst/>
              <a:gdLst/>
              <a:ahLst/>
              <a:cxnLst/>
              <a:rect l="l" t="t" r="r" b="b"/>
              <a:pathLst>
                <a:path w="37119" h="21444" extrusionOk="0">
                  <a:moveTo>
                    <a:pt x="4947" y="1"/>
                  </a:moveTo>
                  <a:cubicBezTo>
                    <a:pt x="2215" y="1"/>
                    <a:pt x="1" y="2678"/>
                    <a:pt x="1" y="5983"/>
                  </a:cubicBezTo>
                  <a:lnTo>
                    <a:pt x="1" y="15461"/>
                  </a:lnTo>
                  <a:cubicBezTo>
                    <a:pt x="1" y="18766"/>
                    <a:pt x="2215" y="21443"/>
                    <a:pt x="4947" y="21443"/>
                  </a:cubicBezTo>
                  <a:lnTo>
                    <a:pt x="32168" y="21443"/>
                  </a:lnTo>
                  <a:cubicBezTo>
                    <a:pt x="34901" y="21443"/>
                    <a:pt x="37118" y="18766"/>
                    <a:pt x="37118" y="15461"/>
                  </a:cubicBezTo>
                  <a:lnTo>
                    <a:pt x="37118" y="5983"/>
                  </a:lnTo>
                  <a:cubicBezTo>
                    <a:pt x="37118" y="2678"/>
                    <a:pt x="34901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5" name="Google Shape;8645;p54"/>
            <p:cNvSpPr/>
            <p:nvPr/>
          </p:nvSpPr>
          <p:spPr>
            <a:xfrm>
              <a:off x="1008502" y="3822418"/>
              <a:ext cx="163690" cy="94528"/>
            </a:xfrm>
            <a:custGeom>
              <a:avLst/>
              <a:gdLst/>
              <a:ahLst/>
              <a:cxnLst/>
              <a:rect l="l" t="t" r="r" b="b"/>
              <a:pathLst>
                <a:path w="37118" h="21447" extrusionOk="0">
                  <a:moveTo>
                    <a:pt x="4951" y="0"/>
                  </a:moveTo>
                  <a:cubicBezTo>
                    <a:pt x="2218" y="0"/>
                    <a:pt x="0" y="2678"/>
                    <a:pt x="0" y="5983"/>
                  </a:cubicBezTo>
                  <a:lnTo>
                    <a:pt x="0" y="15460"/>
                  </a:lnTo>
                  <a:cubicBezTo>
                    <a:pt x="0" y="18765"/>
                    <a:pt x="2215" y="21446"/>
                    <a:pt x="4951" y="21446"/>
                  </a:cubicBezTo>
                  <a:lnTo>
                    <a:pt x="32168" y="21446"/>
                  </a:lnTo>
                  <a:cubicBezTo>
                    <a:pt x="34900" y="21446"/>
                    <a:pt x="37118" y="18765"/>
                    <a:pt x="37118" y="15460"/>
                  </a:cubicBezTo>
                  <a:lnTo>
                    <a:pt x="37118" y="5983"/>
                  </a:lnTo>
                  <a:cubicBezTo>
                    <a:pt x="37118" y="2678"/>
                    <a:pt x="34900" y="0"/>
                    <a:pt x="321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6" name="Google Shape;8646;p54"/>
            <p:cNvSpPr/>
            <p:nvPr/>
          </p:nvSpPr>
          <p:spPr>
            <a:xfrm>
              <a:off x="1603156" y="3961205"/>
              <a:ext cx="77612" cy="4"/>
            </a:xfrm>
            <a:custGeom>
              <a:avLst/>
              <a:gdLst/>
              <a:ahLst/>
              <a:cxnLst/>
              <a:rect l="l" t="t" r="r" b="b"/>
              <a:pathLst>
                <a:path w="17599" h="1" fill="none" extrusionOk="0">
                  <a:moveTo>
                    <a:pt x="1" y="0"/>
                  </a:moveTo>
                  <a:lnTo>
                    <a:pt x="17598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7" name="Google Shape;8647;p54"/>
            <p:cNvSpPr/>
            <p:nvPr/>
          </p:nvSpPr>
          <p:spPr>
            <a:xfrm>
              <a:off x="1926576" y="3861292"/>
              <a:ext cx="144308" cy="4"/>
            </a:xfrm>
            <a:custGeom>
              <a:avLst/>
              <a:gdLst/>
              <a:ahLst/>
              <a:cxnLst/>
              <a:rect l="l" t="t" r="r" b="b"/>
              <a:pathLst>
                <a:path w="32723" h="1" fill="none" extrusionOk="0">
                  <a:moveTo>
                    <a:pt x="1" y="1"/>
                  </a:moveTo>
                  <a:lnTo>
                    <a:pt x="3272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8" name="Google Shape;8648;p54"/>
            <p:cNvSpPr/>
            <p:nvPr/>
          </p:nvSpPr>
          <p:spPr>
            <a:xfrm>
              <a:off x="1680763" y="3861309"/>
              <a:ext cx="82127" cy="199792"/>
            </a:xfrm>
            <a:custGeom>
              <a:avLst/>
              <a:gdLst/>
              <a:ahLst/>
              <a:cxnLst/>
              <a:rect l="l" t="t" r="r" b="b"/>
              <a:pathLst>
                <a:path w="18623" h="45330" fill="none" extrusionOk="0">
                  <a:moveTo>
                    <a:pt x="18623" y="45330"/>
                  </a:moveTo>
                  <a:lnTo>
                    <a:pt x="5625" y="45330"/>
                  </a:lnTo>
                  <a:cubicBezTo>
                    <a:pt x="2889" y="45330"/>
                    <a:pt x="0" y="42619"/>
                    <a:pt x="0" y="35634"/>
                  </a:cubicBezTo>
                  <a:lnTo>
                    <a:pt x="0" y="9697"/>
                  </a:lnTo>
                  <a:cubicBezTo>
                    <a:pt x="0" y="2711"/>
                    <a:pt x="2889" y="1"/>
                    <a:pt x="5625" y="1"/>
                  </a:cubicBezTo>
                  <a:lnTo>
                    <a:pt x="1862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9" name="Google Shape;8649;p54"/>
            <p:cNvSpPr/>
            <p:nvPr/>
          </p:nvSpPr>
          <p:spPr>
            <a:xfrm>
              <a:off x="1926576" y="4061097"/>
              <a:ext cx="144308" cy="4"/>
            </a:xfrm>
            <a:custGeom>
              <a:avLst/>
              <a:gdLst/>
              <a:ahLst/>
              <a:cxnLst/>
              <a:rect l="l" t="t" r="r" b="b"/>
              <a:pathLst>
                <a:path w="32723" h="1" fill="none" extrusionOk="0">
                  <a:moveTo>
                    <a:pt x="32723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0" name="Google Shape;8650;p54"/>
            <p:cNvSpPr/>
            <p:nvPr/>
          </p:nvSpPr>
          <p:spPr>
            <a:xfrm>
              <a:off x="1762436" y="3822418"/>
              <a:ext cx="163677" cy="94528"/>
            </a:xfrm>
            <a:custGeom>
              <a:avLst/>
              <a:gdLst/>
              <a:ahLst/>
              <a:cxnLst/>
              <a:rect l="l" t="t" r="r" b="b"/>
              <a:pathLst>
                <a:path w="37115" h="21447" extrusionOk="0">
                  <a:moveTo>
                    <a:pt x="4951" y="0"/>
                  </a:moveTo>
                  <a:cubicBezTo>
                    <a:pt x="2215" y="0"/>
                    <a:pt x="1" y="2678"/>
                    <a:pt x="1" y="5983"/>
                  </a:cubicBezTo>
                  <a:lnTo>
                    <a:pt x="1" y="15460"/>
                  </a:lnTo>
                  <a:cubicBezTo>
                    <a:pt x="1" y="18765"/>
                    <a:pt x="2215" y="21446"/>
                    <a:pt x="4951" y="21446"/>
                  </a:cubicBezTo>
                  <a:lnTo>
                    <a:pt x="32168" y="21446"/>
                  </a:lnTo>
                  <a:cubicBezTo>
                    <a:pt x="34901" y="21446"/>
                    <a:pt x="37115" y="18765"/>
                    <a:pt x="37115" y="15460"/>
                  </a:cubicBezTo>
                  <a:lnTo>
                    <a:pt x="37115" y="5983"/>
                  </a:lnTo>
                  <a:cubicBezTo>
                    <a:pt x="37115" y="2678"/>
                    <a:pt x="34901" y="0"/>
                    <a:pt x="321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1" name="Google Shape;8651;p54"/>
            <p:cNvSpPr/>
            <p:nvPr/>
          </p:nvSpPr>
          <p:spPr>
            <a:xfrm>
              <a:off x="1762886" y="4005884"/>
              <a:ext cx="163695" cy="94514"/>
            </a:xfrm>
            <a:custGeom>
              <a:avLst/>
              <a:gdLst/>
              <a:ahLst/>
              <a:cxnLst/>
              <a:rect l="l" t="t" r="r" b="b"/>
              <a:pathLst>
                <a:path w="37119" h="21444" extrusionOk="0">
                  <a:moveTo>
                    <a:pt x="4951" y="1"/>
                  </a:moveTo>
                  <a:cubicBezTo>
                    <a:pt x="2219" y="1"/>
                    <a:pt x="1" y="2678"/>
                    <a:pt x="1" y="5983"/>
                  </a:cubicBezTo>
                  <a:lnTo>
                    <a:pt x="1" y="15461"/>
                  </a:lnTo>
                  <a:cubicBezTo>
                    <a:pt x="1" y="18766"/>
                    <a:pt x="2219" y="21443"/>
                    <a:pt x="4951" y="21443"/>
                  </a:cubicBezTo>
                  <a:lnTo>
                    <a:pt x="32168" y="21443"/>
                  </a:lnTo>
                  <a:cubicBezTo>
                    <a:pt x="34901" y="21443"/>
                    <a:pt x="37119" y="18766"/>
                    <a:pt x="37119" y="15461"/>
                  </a:cubicBezTo>
                  <a:lnTo>
                    <a:pt x="37119" y="5983"/>
                  </a:lnTo>
                  <a:cubicBezTo>
                    <a:pt x="37119" y="2678"/>
                    <a:pt x="34901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2" name="Google Shape;8652;p54"/>
            <p:cNvSpPr/>
            <p:nvPr/>
          </p:nvSpPr>
          <p:spPr>
            <a:xfrm>
              <a:off x="1325004" y="3820086"/>
              <a:ext cx="278558" cy="278382"/>
            </a:xfrm>
            <a:custGeom>
              <a:avLst/>
              <a:gdLst/>
              <a:ahLst/>
              <a:cxnLst/>
              <a:rect l="l" t="t" r="r" b="b"/>
              <a:pathLst>
                <a:path w="63165" h="63161" fill="none" extrusionOk="0">
                  <a:moveTo>
                    <a:pt x="63165" y="31580"/>
                  </a:moveTo>
                  <a:cubicBezTo>
                    <a:pt x="63165" y="49021"/>
                    <a:pt x="49025" y="63161"/>
                    <a:pt x="31585" y="63161"/>
                  </a:cubicBezTo>
                  <a:cubicBezTo>
                    <a:pt x="14140" y="63161"/>
                    <a:pt x="1" y="49021"/>
                    <a:pt x="1" y="31580"/>
                  </a:cubicBezTo>
                  <a:cubicBezTo>
                    <a:pt x="1" y="14140"/>
                    <a:pt x="14140" y="0"/>
                    <a:pt x="31585" y="0"/>
                  </a:cubicBezTo>
                  <a:cubicBezTo>
                    <a:pt x="49025" y="0"/>
                    <a:pt x="63165" y="14140"/>
                    <a:pt x="63165" y="315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3" name="Google Shape;8653;p54"/>
            <p:cNvSpPr/>
            <p:nvPr/>
          </p:nvSpPr>
          <p:spPr>
            <a:xfrm>
              <a:off x="1235816" y="3689223"/>
              <a:ext cx="134752" cy="171223"/>
            </a:xfrm>
            <a:custGeom>
              <a:avLst/>
              <a:gdLst/>
              <a:ahLst/>
              <a:cxnLst/>
              <a:rect l="l" t="t" r="r" b="b"/>
              <a:pathLst>
                <a:path w="30556" h="38848" fill="none" extrusionOk="0">
                  <a:moveTo>
                    <a:pt x="1" y="1"/>
                  </a:moveTo>
                  <a:lnTo>
                    <a:pt x="12633" y="1"/>
                  </a:lnTo>
                  <a:cubicBezTo>
                    <a:pt x="15723" y="1"/>
                    <a:pt x="16343" y="3466"/>
                    <a:pt x="16343" y="3466"/>
                  </a:cubicBezTo>
                  <a:lnTo>
                    <a:pt x="16343" y="26448"/>
                  </a:lnTo>
                  <a:lnTo>
                    <a:pt x="30556" y="26448"/>
                  </a:lnTo>
                  <a:lnTo>
                    <a:pt x="30556" y="38848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4" name="Google Shape;8654;p54"/>
            <p:cNvSpPr/>
            <p:nvPr/>
          </p:nvSpPr>
          <p:spPr>
            <a:xfrm>
              <a:off x="910512" y="3689223"/>
              <a:ext cx="161618" cy="4"/>
            </a:xfrm>
            <a:custGeom>
              <a:avLst/>
              <a:gdLst/>
              <a:ahLst/>
              <a:cxnLst/>
              <a:rect l="l" t="t" r="r" b="b"/>
              <a:pathLst>
                <a:path w="36648" h="1" fill="none" extrusionOk="0">
                  <a:moveTo>
                    <a:pt x="36648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5" name="Google Shape;8655;p54"/>
            <p:cNvSpPr/>
            <p:nvPr/>
          </p:nvSpPr>
          <p:spPr>
            <a:xfrm>
              <a:off x="1072126" y="3642869"/>
              <a:ext cx="163695" cy="94532"/>
            </a:xfrm>
            <a:custGeom>
              <a:avLst/>
              <a:gdLst/>
              <a:ahLst/>
              <a:cxnLst/>
              <a:rect l="l" t="t" r="r" b="b"/>
              <a:pathLst>
                <a:path w="37119" h="21448" extrusionOk="0">
                  <a:moveTo>
                    <a:pt x="4951" y="1"/>
                  </a:moveTo>
                  <a:cubicBezTo>
                    <a:pt x="2219" y="1"/>
                    <a:pt x="1" y="2682"/>
                    <a:pt x="1" y="5987"/>
                  </a:cubicBezTo>
                  <a:lnTo>
                    <a:pt x="1" y="15464"/>
                  </a:lnTo>
                  <a:cubicBezTo>
                    <a:pt x="1" y="18769"/>
                    <a:pt x="2219" y="21447"/>
                    <a:pt x="4951" y="21447"/>
                  </a:cubicBezTo>
                  <a:lnTo>
                    <a:pt x="32172" y="21447"/>
                  </a:lnTo>
                  <a:cubicBezTo>
                    <a:pt x="34904" y="21447"/>
                    <a:pt x="37119" y="18769"/>
                    <a:pt x="37119" y="15464"/>
                  </a:cubicBezTo>
                  <a:lnTo>
                    <a:pt x="37119" y="5987"/>
                  </a:lnTo>
                  <a:cubicBezTo>
                    <a:pt x="37119" y="2682"/>
                    <a:pt x="34904" y="1"/>
                    <a:pt x="321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6" name="Google Shape;8656;p54"/>
            <p:cNvSpPr/>
            <p:nvPr/>
          </p:nvSpPr>
          <p:spPr>
            <a:xfrm>
              <a:off x="1235913" y="4073301"/>
              <a:ext cx="134655" cy="151640"/>
            </a:xfrm>
            <a:custGeom>
              <a:avLst/>
              <a:gdLst/>
              <a:ahLst/>
              <a:cxnLst/>
              <a:rect l="l" t="t" r="r" b="b"/>
              <a:pathLst>
                <a:path w="30534" h="34405" fill="none" extrusionOk="0">
                  <a:moveTo>
                    <a:pt x="0" y="34404"/>
                  </a:moveTo>
                  <a:lnTo>
                    <a:pt x="12611" y="34404"/>
                  </a:lnTo>
                  <a:cubicBezTo>
                    <a:pt x="15705" y="34404"/>
                    <a:pt x="16325" y="30939"/>
                    <a:pt x="16325" y="30939"/>
                  </a:cubicBezTo>
                  <a:lnTo>
                    <a:pt x="16325" y="7957"/>
                  </a:lnTo>
                  <a:lnTo>
                    <a:pt x="30534" y="7957"/>
                  </a:lnTo>
                  <a:lnTo>
                    <a:pt x="30534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7" name="Google Shape;8657;p54"/>
            <p:cNvSpPr/>
            <p:nvPr/>
          </p:nvSpPr>
          <p:spPr>
            <a:xfrm>
              <a:off x="910512" y="4224937"/>
              <a:ext cx="161618" cy="4"/>
            </a:xfrm>
            <a:custGeom>
              <a:avLst/>
              <a:gdLst/>
              <a:ahLst/>
              <a:cxnLst/>
              <a:rect l="l" t="t" r="r" b="b"/>
              <a:pathLst>
                <a:path w="36648" h="1" fill="none" extrusionOk="0">
                  <a:moveTo>
                    <a:pt x="36648" y="0"/>
                  </a:moveTo>
                  <a:lnTo>
                    <a:pt x="1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8" name="Google Shape;8658;p54"/>
            <p:cNvSpPr/>
            <p:nvPr/>
          </p:nvSpPr>
          <p:spPr>
            <a:xfrm>
              <a:off x="1072126" y="4176763"/>
              <a:ext cx="163695" cy="94532"/>
            </a:xfrm>
            <a:custGeom>
              <a:avLst/>
              <a:gdLst/>
              <a:ahLst/>
              <a:cxnLst/>
              <a:rect l="l" t="t" r="r" b="b"/>
              <a:pathLst>
                <a:path w="37119" h="21448" extrusionOk="0">
                  <a:moveTo>
                    <a:pt x="4951" y="1"/>
                  </a:moveTo>
                  <a:cubicBezTo>
                    <a:pt x="2219" y="1"/>
                    <a:pt x="1" y="2679"/>
                    <a:pt x="1" y="5984"/>
                  </a:cubicBezTo>
                  <a:lnTo>
                    <a:pt x="1" y="15461"/>
                  </a:lnTo>
                  <a:cubicBezTo>
                    <a:pt x="1" y="18766"/>
                    <a:pt x="2219" y="21447"/>
                    <a:pt x="4951" y="21447"/>
                  </a:cubicBezTo>
                  <a:lnTo>
                    <a:pt x="32172" y="21447"/>
                  </a:lnTo>
                  <a:cubicBezTo>
                    <a:pt x="34904" y="21447"/>
                    <a:pt x="37119" y="18766"/>
                    <a:pt x="37119" y="15461"/>
                  </a:cubicBezTo>
                  <a:lnTo>
                    <a:pt x="37119" y="5984"/>
                  </a:lnTo>
                  <a:cubicBezTo>
                    <a:pt x="37119" y="2679"/>
                    <a:pt x="34904" y="1"/>
                    <a:pt x="321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9" name="Google Shape;8659;p54"/>
            <p:cNvSpPr/>
            <p:nvPr/>
          </p:nvSpPr>
          <p:spPr>
            <a:xfrm>
              <a:off x="1562328" y="3689223"/>
              <a:ext cx="128816" cy="171223"/>
            </a:xfrm>
            <a:custGeom>
              <a:avLst/>
              <a:gdLst/>
              <a:ahLst/>
              <a:cxnLst/>
              <a:rect l="l" t="t" r="r" b="b"/>
              <a:pathLst>
                <a:path w="29210" h="38848" fill="none" extrusionOk="0">
                  <a:moveTo>
                    <a:pt x="29209" y="1"/>
                  </a:moveTo>
                  <a:lnTo>
                    <a:pt x="17922" y="1"/>
                  </a:lnTo>
                  <a:cubicBezTo>
                    <a:pt x="14829" y="1"/>
                    <a:pt x="14209" y="3466"/>
                    <a:pt x="14209" y="3466"/>
                  </a:cubicBezTo>
                  <a:lnTo>
                    <a:pt x="14209" y="26448"/>
                  </a:lnTo>
                  <a:lnTo>
                    <a:pt x="0" y="26448"/>
                  </a:lnTo>
                  <a:lnTo>
                    <a:pt x="0" y="38848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60" name="Google Shape;8660;p54"/>
            <p:cNvSpPr/>
            <p:nvPr/>
          </p:nvSpPr>
          <p:spPr>
            <a:xfrm>
              <a:off x="1854826" y="3689223"/>
              <a:ext cx="154169" cy="4"/>
            </a:xfrm>
            <a:custGeom>
              <a:avLst/>
              <a:gdLst/>
              <a:ahLst/>
              <a:cxnLst/>
              <a:rect l="l" t="t" r="r" b="b"/>
              <a:pathLst>
                <a:path w="34959" h="1" fill="none" extrusionOk="0">
                  <a:moveTo>
                    <a:pt x="1" y="1"/>
                  </a:moveTo>
                  <a:lnTo>
                    <a:pt x="34959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61" name="Google Shape;8661;p54"/>
            <p:cNvSpPr/>
            <p:nvPr/>
          </p:nvSpPr>
          <p:spPr>
            <a:xfrm>
              <a:off x="1691140" y="3642869"/>
              <a:ext cx="163690" cy="94532"/>
            </a:xfrm>
            <a:custGeom>
              <a:avLst/>
              <a:gdLst/>
              <a:ahLst/>
              <a:cxnLst/>
              <a:rect l="l" t="t" r="r" b="b"/>
              <a:pathLst>
                <a:path w="37118" h="21448" extrusionOk="0">
                  <a:moveTo>
                    <a:pt x="4947" y="1"/>
                  </a:moveTo>
                  <a:cubicBezTo>
                    <a:pt x="2214" y="1"/>
                    <a:pt x="0" y="2682"/>
                    <a:pt x="0" y="5987"/>
                  </a:cubicBezTo>
                  <a:lnTo>
                    <a:pt x="0" y="15464"/>
                  </a:lnTo>
                  <a:cubicBezTo>
                    <a:pt x="0" y="18769"/>
                    <a:pt x="2214" y="21447"/>
                    <a:pt x="4950" y="21447"/>
                  </a:cubicBezTo>
                  <a:lnTo>
                    <a:pt x="32168" y="21447"/>
                  </a:lnTo>
                  <a:cubicBezTo>
                    <a:pt x="34900" y="21447"/>
                    <a:pt x="37118" y="18769"/>
                    <a:pt x="37118" y="15464"/>
                  </a:cubicBezTo>
                  <a:lnTo>
                    <a:pt x="37118" y="5987"/>
                  </a:lnTo>
                  <a:cubicBezTo>
                    <a:pt x="37118" y="2682"/>
                    <a:pt x="34900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662" name="Google Shape;8662;p54"/>
            <p:cNvGrpSpPr/>
            <p:nvPr/>
          </p:nvGrpSpPr>
          <p:grpSpPr>
            <a:xfrm>
              <a:off x="1360364" y="3847835"/>
              <a:ext cx="208119" cy="224359"/>
              <a:chOff x="1360769" y="3847100"/>
              <a:chExt cx="208119" cy="224359"/>
            </a:xfrm>
          </p:grpSpPr>
          <p:sp>
            <p:nvSpPr>
              <p:cNvPr id="8663" name="Google Shape;8663;p54"/>
              <p:cNvSpPr/>
              <p:nvPr/>
            </p:nvSpPr>
            <p:spPr>
              <a:xfrm>
                <a:off x="1360769" y="3847113"/>
                <a:ext cx="99163" cy="224346"/>
              </a:xfrm>
              <a:custGeom>
                <a:avLst/>
                <a:gdLst/>
                <a:ahLst/>
                <a:cxnLst/>
                <a:rect l="l" t="t" r="r" b="b"/>
                <a:pathLst>
                  <a:path w="22486" h="50901" fill="none" extrusionOk="0">
                    <a:moveTo>
                      <a:pt x="22384" y="2729"/>
                    </a:moveTo>
                    <a:cubicBezTo>
                      <a:pt x="22333" y="2383"/>
                      <a:pt x="22249" y="2040"/>
                      <a:pt x="22128" y="1711"/>
                    </a:cubicBezTo>
                    <a:cubicBezTo>
                      <a:pt x="21742" y="675"/>
                      <a:pt x="20979" y="1"/>
                      <a:pt x="19582" y="1"/>
                    </a:cubicBezTo>
                    <a:cubicBezTo>
                      <a:pt x="17966" y="1"/>
                      <a:pt x="17204" y="913"/>
                      <a:pt x="16883" y="2229"/>
                    </a:cubicBezTo>
                    <a:cubicBezTo>
                      <a:pt x="13443" y="1682"/>
                      <a:pt x="10331" y="4356"/>
                      <a:pt x="10353" y="7840"/>
                    </a:cubicBezTo>
                    <a:cubicBezTo>
                      <a:pt x="10353" y="7997"/>
                      <a:pt x="10364" y="8150"/>
                      <a:pt x="10378" y="8300"/>
                    </a:cubicBezTo>
                    <a:cubicBezTo>
                      <a:pt x="7945" y="7307"/>
                      <a:pt x="5147" y="7957"/>
                      <a:pt x="3404" y="9923"/>
                    </a:cubicBezTo>
                    <a:cubicBezTo>
                      <a:pt x="1660" y="11889"/>
                      <a:pt x="1343" y="14742"/>
                      <a:pt x="2616" y="17040"/>
                    </a:cubicBezTo>
                    <a:cubicBezTo>
                      <a:pt x="930" y="18382"/>
                      <a:pt x="0" y="20454"/>
                      <a:pt x="120" y="22607"/>
                    </a:cubicBezTo>
                    <a:cubicBezTo>
                      <a:pt x="241" y="24755"/>
                      <a:pt x="1394" y="26714"/>
                      <a:pt x="3218" y="27860"/>
                    </a:cubicBezTo>
                    <a:cubicBezTo>
                      <a:pt x="748" y="30913"/>
                      <a:pt x="1707" y="35462"/>
                      <a:pt x="5202" y="37260"/>
                    </a:cubicBezTo>
                    <a:cubicBezTo>
                      <a:pt x="5173" y="37490"/>
                      <a:pt x="5162" y="37720"/>
                      <a:pt x="5162" y="37954"/>
                    </a:cubicBezTo>
                    <a:cubicBezTo>
                      <a:pt x="5162" y="40832"/>
                      <a:pt x="7125" y="43243"/>
                      <a:pt x="9784" y="43943"/>
                    </a:cubicBezTo>
                    <a:cubicBezTo>
                      <a:pt x="10776" y="46782"/>
                      <a:pt x="13818" y="48350"/>
                      <a:pt x="16708" y="47511"/>
                    </a:cubicBezTo>
                    <a:cubicBezTo>
                      <a:pt x="16835" y="49437"/>
                      <a:pt x="17525" y="50900"/>
                      <a:pt x="19582" y="50900"/>
                    </a:cubicBezTo>
                    <a:cubicBezTo>
                      <a:pt x="22482" y="50900"/>
                      <a:pt x="22439" y="48390"/>
                      <a:pt x="22482" y="48401"/>
                    </a:cubicBezTo>
                    <a:cubicBezTo>
                      <a:pt x="22486" y="48401"/>
                      <a:pt x="22417" y="2722"/>
                      <a:pt x="22384" y="2729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4E9E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4" name="Google Shape;8664;p54"/>
              <p:cNvSpPr/>
              <p:nvPr/>
            </p:nvSpPr>
            <p:spPr>
              <a:xfrm>
                <a:off x="1418941" y="3907967"/>
                <a:ext cx="40718" cy="51312"/>
              </a:xfrm>
              <a:custGeom>
                <a:avLst/>
                <a:gdLst/>
                <a:ahLst/>
                <a:cxnLst/>
                <a:rect l="l" t="t" r="r" b="b"/>
                <a:pathLst>
                  <a:path w="9233" h="11642" fill="none" extrusionOk="0">
                    <a:moveTo>
                      <a:pt x="9233" y="1"/>
                    </a:moveTo>
                    <a:cubicBezTo>
                      <a:pt x="9233" y="1"/>
                      <a:pt x="0" y="570"/>
                      <a:pt x="2586" y="1164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5" name="Google Shape;8665;p54"/>
              <p:cNvSpPr/>
              <p:nvPr/>
            </p:nvSpPr>
            <p:spPr>
              <a:xfrm>
                <a:off x="1432983" y="3877824"/>
                <a:ext cx="26566" cy="25035"/>
              </a:xfrm>
              <a:custGeom>
                <a:avLst/>
                <a:gdLst/>
                <a:ahLst/>
                <a:cxnLst/>
                <a:rect l="l" t="t" r="r" b="b"/>
                <a:pathLst>
                  <a:path w="6024" h="5680" fill="none" extrusionOk="0">
                    <a:moveTo>
                      <a:pt x="1" y="1795"/>
                    </a:moveTo>
                    <a:cubicBezTo>
                      <a:pt x="1" y="1795"/>
                      <a:pt x="6023" y="0"/>
                      <a:pt x="6023" y="5680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6" name="Google Shape;8666;p54"/>
              <p:cNvSpPr/>
              <p:nvPr/>
            </p:nvSpPr>
            <p:spPr>
              <a:xfrm>
                <a:off x="1406421" y="3881663"/>
                <a:ext cx="8727" cy="21196"/>
              </a:xfrm>
              <a:custGeom>
                <a:avLst/>
                <a:gdLst/>
                <a:ahLst/>
                <a:cxnLst/>
                <a:rect l="l" t="t" r="r" b="b"/>
                <a:pathLst>
                  <a:path w="1979" h="4809" fill="none" extrusionOk="0">
                    <a:moveTo>
                      <a:pt x="1" y="1"/>
                    </a:moveTo>
                    <a:cubicBezTo>
                      <a:pt x="1" y="1"/>
                      <a:pt x="1" y="2730"/>
                      <a:pt x="1978" y="4809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7" name="Google Shape;8667;p54"/>
              <p:cNvSpPr/>
              <p:nvPr/>
            </p:nvSpPr>
            <p:spPr>
              <a:xfrm>
                <a:off x="1372301" y="3910479"/>
                <a:ext cx="51967" cy="15131"/>
              </a:xfrm>
              <a:custGeom>
                <a:avLst/>
                <a:gdLst/>
                <a:ahLst/>
                <a:cxnLst/>
                <a:rect l="l" t="t" r="r" b="b"/>
                <a:pathLst>
                  <a:path w="11784" h="3433" fill="none" extrusionOk="0">
                    <a:moveTo>
                      <a:pt x="1" y="2663"/>
                    </a:moveTo>
                    <a:cubicBezTo>
                      <a:pt x="3364" y="0"/>
                      <a:pt x="6622" y="3433"/>
                      <a:pt x="6622" y="3433"/>
                    </a:cubicBezTo>
                    <a:cubicBezTo>
                      <a:pt x="6622" y="3433"/>
                      <a:pt x="7307" y="387"/>
                      <a:pt x="11783" y="1653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8" name="Google Shape;8668;p54"/>
              <p:cNvSpPr/>
              <p:nvPr/>
            </p:nvSpPr>
            <p:spPr>
              <a:xfrm>
                <a:off x="1383436" y="3963823"/>
                <a:ext cx="27351" cy="50572"/>
              </a:xfrm>
              <a:custGeom>
                <a:avLst/>
                <a:gdLst/>
                <a:ahLst/>
                <a:cxnLst/>
                <a:rect l="l" t="t" r="r" b="b"/>
                <a:pathLst>
                  <a:path w="6202" h="11474" fill="none" extrusionOk="0">
                    <a:moveTo>
                      <a:pt x="22" y="11474"/>
                    </a:moveTo>
                    <a:cubicBezTo>
                      <a:pt x="22" y="11474"/>
                      <a:pt x="0" y="5735"/>
                      <a:pt x="4440" y="6297"/>
                    </a:cubicBezTo>
                    <a:cubicBezTo>
                      <a:pt x="4440" y="6297"/>
                      <a:pt x="2134" y="3149"/>
                      <a:pt x="6202" y="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9" name="Google Shape;8669;p54"/>
              <p:cNvSpPr/>
              <p:nvPr/>
            </p:nvSpPr>
            <p:spPr>
              <a:xfrm>
                <a:off x="1398461" y="4014391"/>
                <a:ext cx="12132" cy="31518"/>
              </a:xfrm>
              <a:custGeom>
                <a:avLst/>
                <a:gdLst/>
                <a:ahLst/>
                <a:cxnLst/>
                <a:rect l="l" t="t" r="r" b="b"/>
                <a:pathLst>
                  <a:path w="2751" h="7151" fill="none" extrusionOk="0">
                    <a:moveTo>
                      <a:pt x="2751" y="1"/>
                    </a:moveTo>
                    <a:cubicBezTo>
                      <a:pt x="2751" y="1"/>
                      <a:pt x="0" y="2963"/>
                      <a:pt x="1806" y="715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0" name="Google Shape;8670;p54"/>
              <p:cNvSpPr/>
              <p:nvPr/>
            </p:nvSpPr>
            <p:spPr>
              <a:xfrm>
                <a:off x="1424264" y="4012138"/>
                <a:ext cx="35284" cy="21165"/>
              </a:xfrm>
              <a:custGeom>
                <a:avLst/>
                <a:gdLst/>
                <a:ahLst/>
                <a:cxnLst/>
                <a:rect l="l" t="t" r="r" b="b"/>
                <a:pathLst>
                  <a:path w="8001" h="4802" fill="none" extrusionOk="0">
                    <a:moveTo>
                      <a:pt x="8000" y="512"/>
                    </a:moveTo>
                    <a:cubicBezTo>
                      <a:pt x="3783" y="1"/>
                      <a:pt x="1978" y="4087"/>
                      <a:pt x="1978" y="4087"/>
                    </a:cubicBezTo>
                    <a:cubicBezTo>
                      <a:pt x="1978" y="4087"/>
                      <a:pt x="858" y="3598"/>
                      <a:pt x="0" y="4802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1" name="Google Shape;8671;p54"/>
              <p:cNvSpPr/>
              <p:nvPr/>
            </p:nvSpPr>
            <p:spPr>
              <a:xfrm>
                <a:off x="1397156" y="3942280"/>
                <a:ext cx="31183" cy="17449"/>
              </a:xfrm>
              <a:custGeom>
                <a:avLst/>
                <a:gdLst/>
                <a:ahLst/>
                <a:cxnLst/>
                <a:rect l="l" t="t" r="r" b="b"/>
                <a:pathLst>
                  <a:path w="7071" h="3959" fill="none" extrusionOk="0">
                    <a:moveTo>
                      <a:pt x="7070" y="1"/>
                    </a:moveTo>
                    <a:cubicBezTo>
                      <a:pt x="7070" y="1"/>
                      <a:pt x="2802" y="3959"/>
                      <a:pt x="1" y="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2" name="Google Shape;8672;p54"/>
              <p:cNvSpPr/>
              <p:nvPr/>
            </p:nvSpPr>
            <p:spPr>
              <a:xfrm>
                <a:off x="1428334" y="3973727"/>
                <a:ext cx="31214" cy="15378"/>
              </a:xfrm>
              <a:custGeom>
                <a:avLst/>
                <a:gdLst/>
                <a:ahLst/>
                <a:cxnLst/>
                <a:rect l="l" t="t" r="r" b="b"/>
                <a:pathLst>
                  <a:path w="7078" h="3489" fill="none" extrusionOk="0">
                    <a:moveTo>
                      <a:pt x="0" y="1125"/>
                    </a:moveTo>
                    <a:cubicBezTo>
                      <a:pt x="0" y="1125"/>
                      <a:pt x="4411" y="1"/>
                      <a:pt x="7077" y="3488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3" name="Google Shape;8673;p54"/>
              <p:cNvSpPr/>
              <p:nvPr/>
            </p:nvSpPr>
            <p:spPr>
              <a:xfrm>
                <a:off x="1468924" y="3907967"/>
                <a:ext cx="40704" cy="51312"/>
              </a:xfrm>
              <a:custGeom>
                <a:avLst/>
                <a:gdLst/>
                <a:ahLst/>
                <a:cxnLst/>
                <a:rect l="l" t="t" r="r" b="b"/>
                <a:pathLst>
                  <a:path w="9230" h="11642" fill="none" extrusionOk="0">
                    <a:moveTo>
                      <a:pt x="0" y="1"/>
                    </a:moveTo>
                    <a:cubicBezTo>
                      <a:pt x="0" y="1"/>
                      <a:pt x="9229" y="570"/>
                      <a:pt x="6647" y="1164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4" name="Google Shape;8674;p54"/>
              <p:cNvSpPr/>
              <p:nvPr/>
            </p:nvSpPr>
            <p:spPr>
              <a:xfrm>
                <a:off x="1469021" y="3877824"/>
                <a:ext cx="26561" cy="25035"/>
              </a:xfrm>
              <a:custGeom>
                <a:avLst/>
                <a:gdLst/>
                <a:ahLst/>
                <a:cxnLst/>
                <a:rect l="l" t="t" r="r" b="b"/>
                <a:pathLst>
                  <a:path w="6023" h="5680" fill="none" extrusionOk="0">
                    <a:moveTo>
                      <a:pt x="6023" y="1795"/>
                    </a:moveTo>
                    <a:cubicBezTo>
                      <a:pt x="6023" y="1795"/>
                      <a:pt x="0" y="0"/>
                      <a:pt x="0" y="5680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5" name="Google Shape;8675;p54"/>
              <p:cNvSpPr/>
              <p:nvPr/>
            </p:nvSpPr>
            <p:spPr>
              <a:xfrm>
                <a:off x="1513434" y="3881663"/>
                <a:ext cx="8710" cy="21196"/>
              </a:xfrm>
              <a:custGeom>
                <a:avLst/>
                <a:gdLst/>
                <a:ahLst/>
                <a:cxnLst/>
                <a:rect l="l" t="t" r="r" b="b"/>
                <a:pathLst>
                  <a:path w="1975" h="4809" fill="none" extrusionOk="0">
                    <a:moveTo>
                      <a:pt x="1975" y="1"/>
                    </a:moveTo>
                    <a:cubicBezTo>
                      <a:pt x="1975" y="1"/>
                      <a:pt x="1975" y="2730"/>
                      <a:pt x="1" y="4809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6" name="Google Shape;8676;p54"/>
              <p:cNvSpPr/>
              <p:nvPr/>
            </p:nvSpPr>
            <p:spPr>
              <a:xfrm>
                <a:off x="1517778" y="3963823"/>
                <a:ext cx="27355" cy="50572"/>
              </a:xfrm>
              <a:custGeom>
                <a:avLst/>
                <a:gdLst/>
                <a:ahLst/>
                <a:cxnLst/>
                <a:rect l="l" t="t" r="r" b="b"/>
                <a:pathLst>
                  <a:path w="6203" h="11474" fill="none" extrusionOk="0">
                    <a:moveTo>
                      <a:pt x="6181" y="11474"/>
                    </a:moveTo>
                    <a:cubicBezTo>
                      <a:pt x="6181" y="11474"/>
                      <a:pt x="6202" y="5735"/>
                      <a:pt x="1767" y="6297"/>
                    </a:cubicBezTo>
                    <a:cubicBezTo>
                      <a:pt x="1767" y="6297"/>
                      <a:pt x="4068" y="3149"/>
                      <a:pt x="1" y="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7" name="Google Shape;8677;p54"/>
              <p:cNvSpPr/>
              <p:nvPr/>
            </p:nvSpPr>
            <p:spPr>
              <a:xfrm>
                <a:off x="1517990" y="4014391"/>
                <a:ext cx="12119" cy="31518"/>
              </a:xfrm>
              <a:custGeom>
                <a:avLst/>
                <a:gdLst/>
                <a:ahLst/>
                <a:cxnLst/>
                <a:rect l="l" t="t" r="r" b="b"/>
                <a:pathLst>
                  <a:path w="2748" h="7151" fill="none" extrusionOk="0">
                    <a:moveTo>
                      <a:pt x="0" y="1"/>
                    </a:moveTo>
                    <a:cubicBezTo>
                      <a:pt x="0" y="1"/>
                      <a:pt x="2747" y="2963"/>
                      <a:pt x="942" y="715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8" name="Google Shape;8678;p54"/>
              <p:cNvSpPr/>
              <p:nvPr/>
            </p:nvSpPr>
            <p:spPr>
              <a:xfrm>
                <a:off x="1469021" y="4012138"/>
                <a:ext cx="35298" cy="21165"/>
              </a:xfrm>
              <a:custGeom>
                <a:avLst/>
                <a:gdLst/>
                <a:ahLst/>
                <a:cxnLst/>
                <a:rect l="l" t="t" r="r" b="b"/>
                <a:pathLst>
                  <a:path w="8004" h="4802" fill="none" extrusionOk="0">
                    <a:moveTo>
                      <a:pt x="0" y="512"/>
                    </a:moveTo>
                    <a:cubicBezTo>
                      <a:pt x="4217" y="1"/>
                      <a:pt x="6023" y="4087"/>
                      <a:pt x="6023" y="4087"/>
                    </a:cubicBezTo>
                    <a:cubicBezTo>
                      <a:pt x="6023" y="4087"/>
                      <a:pt x="7143" y="3598"/>
                      <a:pt x="8004" y="4802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9" name="Google Shape;8679;p54"/>
              <p:cNvSpPr/>
              <p:nvPr/>
            </p:nvSpPr>
            <p:spPr>
              <a:xfrm>
                <a:off x="1500244" y="3942280"/>
                <a:ext cx="31183" cy="17449"/>
              </a:xfrm>
              <a:custGeom>
                <a:avLst/>
                <a:gdLst/>
                <a:ahLst/>
                <a:cxnLst/>
                <a:rect l="l" t="t" r="r" b="b"/>
                <a:pathLst>
                  <a:path w="7071" h="3959" fill="none" extrusionOk="0">
                    <a:moveTo>
                      <a:pt x="1" y="1"/>
                    </a:moveTo>
                    <a:cubicBezTo>
                      <a:pt x="1" y="1"/>
                      <a:pt x="4265" y="3959"/>
                      <a:pt x="7070" y="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0" name="Google Shape;8680;p54"/>
              <p:cNvSpPr/>
              <p:nvPr/>
            </p:nvSpPr>
            <p:spPr>
              <a:xfrm>
                <a:off x="1469021" y="3973727"/>
                <a:ext cx="31227" cy="15378"/>
              </a:xfrm>
              <a:custGeom>
                <a:avLst/>
                <a:gdLst/>
                <a:ahLst/>
                <a:cxnLst/>
                <a:rect l="l" t="t" r="r" b="b"/>
                <a:pathLst>
                  <a:path w="7081" h="3489" fill="none" extrusionOk="0">
                    <a:moveTo>
                      <a:pt x="7081" y="1125"/>
                    </a:moveTo>
                    <a:cubicBezTo>
                      <a:pt x="7081" y="1125"/>
                      <a:pt x="2670" y="1"/>
                      <a:pt x="0" y="3488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1" name="Google Shape;8681;p54"/>
              <p:cNvSpPr/>
              <p:nvPr/>
            </p:nvSpPr>
            <p:spPr>
              <a:xfrm>
                <a:off x="1504314" y="3910479"/>
                <a:ext cx="51950" cy="15131"/>
              </a:xfrm>
              <a:custGeom>
                <a:avLst/>
                <a:gdLst/>
                <a:ahLst/>
                <a:cxnLst/>
                <a:rect l="l" t="t" r="r" b="b"/>
                <a:pathLst>
                  <a:path w="11780" h="3433" fill="none" extrusionOk="0">
                    <a:moveTo>
                      <a:pt x="11780" y="2663"/>
                    </a:moveTo>
                    <a:cubicBezTo>
                      <a:pt x="8420" y="0"/>
                      <a:pt x="5162" y="3433"/>
                      <a:pt x="5162" y="3433"/>
                    </a:cubicBezTo>
                    <a:cubicBezTo>
                      <a:pt x="5162" y="3433"/>
                      <a:pt x="4473" y="387"/>
                      <a:pt x="1" y="1653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2" name="Google Shape;8682;p54"/>
              <p:cNvSpPr/>
              <p:nvPr/>
            </p:nvSpPr>
            <p:spPr>
              <a:xfrm>
                <a:off x="1469738" y="3847100"/>
                <a:ext cx="99150" cy="224346"/>
              </a:xfrm>
              <a:custGeom>
                <a:avLst/>
                <a:gdLst/>
                <a:ahLst/>
                <a:cxnLst/>
                <a:rect l="l" t="t" r="r" b="b"/>
                <a:pathLst>
                  <a:path w="22483" h="50901" fill="none" extrusionOk="0">
                    <a:moveTo>
                      <a:pt x="99" y="2729"/>
                    </a:moveTo>
                    <a:cubicBezTo>
                      <a:pt x="150" y="2383"/>
                      <a:pt x="237" y="2040"/>
                      <a:pt x="354" y="1711"/>
                    </a:cubicBezTo>
                    <a:cubicBezTo>
                      <a:pt x="744" y="675"/>
                      <a:pt x="1503" y="1"/>
                      <a:pt x="2900" y="1"/>
                    </a:cubicBezTo>
                    <a:cubicBezTo>
                      <a:pt x="4516" y="1"/>
                      <a:pt x="5282" y="913"/>
                      <a:pt x="5600" y="2229"/>
                    </a:cubicBezTo>
                    <a:cubicBezTo>
                      <a:pt x="9040" y="1682"/>
                      <a:pt x="12151" y="4356"/>
                      <a:pt x="12130" y="7840"/>
                    </a:cubicBezTo>
                    <a:cubicBezTo>
                      <a:pt x="12130" y="7997"/>
                      <a:pt x="12119" y="8150"/>
                      <a:pt x="12108" y="8300"/>
                    </a:cubicBezTo>
                    <a:cubicBezTo>
                      <a:pt x="14541" y="7307"/>
                      <a:pt x="17335" y="7957"/>
                      <a:pt x="19082" y="9923"/>
                    </a:cubicBezTo>
                    <a:cubicBezTo>
                      <a:pt x="20826" y="11889"/>
                      <a:pt x="21140" y="14742"/>
                      <a:pt x="19867" y="17040"/>
                    </a:cubicBezTo>
                    <a:cubicBezTo>
                      <a:pt x="21552" y="18379"/>
                      <a:pt x="22482" y="20454"/>
                      <a:pt x="22362" y="22603"/>
                    </a:cubicBezTo>
                    <a:cubicBezTo>
                      <a:pt x="22242" y="24755"/>
                      <a:pt x="21089" y="26714"/>
                      <a:pt x="19265" y="27860"/>
                    </a:cubicBezTo>
                    <a:cubicBezTo>
                      <a:pt x="20440" y="29308"/>
                      <a:pt x="20896" y="31205"/>
                      <a:pt x="20512" y="33029"/>
                    </a:cubicBezTo>
                    <a:cubicBezTo>
                      <a:pt x="20126" y="34853"/>
                      <a:pt x="18940" y="36407"/>
                      <a:pt x="17284" y="37257"/>
                    </a:cubicBezTo>
                    <a:cubicBezTo>
                      <a:pt x="17310" y="37487"/>
                      <a:pt x="17321" y="37720"/>
                      <a:pt x="17324" y="37950"/>
                    </a:cubicBezTo>
                    <a:cubicBezTo>
                      <a:pt x="17321" y="40766"/>
                      <a:pt x="15420" y="43225"/>
                      <a:pt x="12699" y="43940"/>
                    </a:cubicBezTo>
                    <a:cubicBezTo>
                      <a:pt x="11710" y="46782"/>
                      <a:pt x="8664" y="48350"/>
                      <a:pt x="5778" y="47507"/>
                    </a:cubicBezTo>
                    <a:cubicBezTo>
                      <a:pt x="5647" y="49434"/>
                      <a:pt x="4958" y="50900"/>
                      <a:pt x="2900" y="50900"/>
                    </a:cubicBezTo>
                    <a:cubicBezTo>
                      <a:pt x="0" y="50900"/>
                      <a:pt x="40" y="48390"/>
                      <a:pt x="0" y="48401"/>
                    </a:cubicBezTo>
                    <a:cubicBezTo>
                      <a:pt x="0" y="48401"/>
                      <a:pt x="69" y="2722"/>
                      <a:pt x="99" y="2729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83" name="Google Shape;8683;p54"/>
            <p:cNvSpPr/>
            <p:nvPr/>
          </p:nvSpPr>
          <p:spPr>
            <a:xfrm>
              <a:off x="2008060" y="4212384"/>
              <a:ext cx="24537" cy="23585"/>
            </a:xfrm>
            <a:custGeom>
              <a:avLst/>
              <a:gdLst/>
              <a:ahLst/>
              <a:cxnLst/>
              <a:rect l="l" t="t" r="r" b="b"/>
              <a:pathLst>
                <a:path w="5564" h="5351" extrusionOk="0">
                  <a:moveTo>
                    <a:pt x="2887" y="0"/>
                  </a:moveTo>
                  <a:cubicBezTo>
                    <a:pt x="2190" y="0"/>
                    <a:pt x="1506" y="271"/>
                    <a:pt x="996" y="783"/>
                  </a:cubicBezTo>
                  <a:cubicBezTo>
                    <a:pt x="230" y="1550"/>
                    <a:pt x="0" y="2699"/>
                    <a:pt x="416" y="3698"/>
                  </a:cubicBezTo>
                  <a:cubicBezTo>
                    <a:pt x="828" y="4698"/>
                    <a:pt x="1806" y="5351"/>
                    <a:pt x="2886" y="5351"/>
                  </a:cubicBezTo>
                  <a:cubicBezTo>
                    <a:pt x="4363" y="5351"/>
                    <a:pt x="5560" y="4150"/>
                    <a:pt x="5563" y="2677"/>
                  </a:cubicBezTo>
                  <a:cubicBezTo>
                    <a:pt x="5560" y="1593"/>
                    <a:pt x="4911" y="619"/>
                    <a:pt x="3911" y="203"/>
                  </a:cubicBezTo>
                  <a:cubicBezTo>
                    <a:pt x="3580" y="67"/>
                    <a:pt x="3232" y="0"/>
                    <a:pt x="2887" y="0"/>
                  </a:cubicBezTo>
                  <a:close/>
                </a:path>
              </a:pathLst>
            </a:custGeom>
            <a:solidFill>
              <a:srgbClr val="213B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4" name="Google Shape;8684;p54"/>
            <p:cNvSpPr/>
            <p:nvPr/>
          </p:nvSpPr>
          <p:spPr>
            <a:xfrm>
              <a:off x="1545645" y="4049730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6" y="1"/>
                  </a:moveTo>
                  <a:cubicBezTo>
                    <a:pt x="1806" y="1"/>
                    <a:pt x="828" y="654"/>
                    <a:pt x="416" y="1653"/>
                  </a:cubicBezTo>
                  <a:cubicBezTo>
                    <a:pt x="0" y="2649"/>
                    <a:pt x="230" y="3802"/>
                    <a:pt x="996" y="4564"/>
                  </a:cubicBezTo>
                  <a:cubicBezTo>
                    <a:pt x="1506" y="5077"/>
                    <a:pt x="2190" y="5349"/>
                    <a:pt x="2886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0" y="4732"/>
                    <a:pt x="5560" y="3758"/>
                    <a:pt x="5560" y="2675"/>
                  </a:cubicBezTo>
                  <a:cubicBezTo>
                    <a:pt x="5560" y="1197"/>
                    <a:pt x="4363" y="1"/>
                    <a:pt x="2886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5" name="Google Shape;8685;p54"/>
            <p:cNvSpPr/>
            <p:nvPr/>
          </p:nvSpPr>
          <p:spPr>
            <a:xfrm>
              <a:off x="1231521" y="3947489"/>
              <a:ext cx="24524" cy="23576"/>
            </a:xfrm>
            <a:custGeom>
              <a:avLst/>
              <a:gdLst/>
              <a:ahLst/>
              <a:cxnLst/>
              <a:rect l="l" t="t" r="r" b="b"/>
              <a:pathLst>
                <a:path w="5561" h="5349" extrusionOk="0">
                  <a:moveTo>
                    <a:pt x="2886" y="1"/>
                  </a:moveTo>
                  <a:cubicBezTo>
                    <a:pt x="1803" y="1"/>
                    <a:pt x="829" y="650"/>
                    <a:pt x="413" y="1649"/>
                  </a:cubicBezTo>
                  <a:cubicBezTo>
                    <a:pt x="1" y="2649"/>
                    <a:pt x="227" y="3798"/>
                    <a:pt x="993" y="4564"/>
                  </a:cubicBezTo>
                  <a:cubicBezTo>
                    <a:pt x="1505" y="5076"/>
                    <a:pt x="2189" y="5349"/>
                    <a:pt x="2884" y="5349"/>
                  </a:cubicBezTo>
                  <a:cubicBezTo>
                    <a:pt x="3229" y="5349"/>
                    <a:pt x="3576" y="5282"/>
                    <a:pt x="3908" y="5144"/>
                  </a:cubicBezTo>
                  <a:cubicBezTo>
                    <a:pt x="4907" y="4732"/>
                    <a:pt x="5560" y="3758"/>
                    <a:pt x="5560" y="2674"/>
                  </a:cubicBezTo>
                  <a:cubicBezTo>
                    <a:pt x="5560" y="1197"/>
                    <a:pt x="4364" y="1"/>
                    <a:pt x="2886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6" name="Google Shape;8686;p54"/>
            <p:cNvSpPr/>
            <p:nvPr/>
          </p:nvSpPr>
          <p:spPr>
            <a:xfrm>
              <a:off x="834100" y="404674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674" y="0"/>
                  </a:moveTo>
                  <a:cubicBezTo>
                    <a:pt x="1197" y="0"/>
                    <a:pt x="0" y="1197"/>
                    <a:pt x="0" y="2674"/>
                  </a:cubicBezTo>
                  <a:cubicBezTo>
                    <a:pt x="0" y="3758"/>
                    <a:pt x="653" y="4732"/>
                    <a:pt x="1653" y="5147"/>
                  </a:cubicBezTo>
                  <a:cubicBezTo>
                    <a:pt x="1983" y="5284"/>
                    <a:pt x="2329" y="5350"/>
                    <a:pt x="2673" y="5350"/>
                  </a:cubicBezTo>
                  <a:cubicBezTo>
                    <a:pt x="3369" y="5350"/>
                    <a:pt x="4054" y="5078"/>
                    <a:pt x="4567" y="4567"/>
                  </a:cubicBezTo>
                  <a:cubicBezTo>
                    <a:pt x="5330" y="3801"/>
                    <a:pt x="5559" y="2649"/>
                    <a:pt x="5147" y="1653"/>
                  </a:cubicBezTo>
                  <a:cubicBezTo>
                    <a:pt x="4731" y="653"/>
                    <a:pt x="3757" y="0"/>
                    <a:pt x="2674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7" name="Google Shape;8687;p54"/>
            <p:cNvSpPr/>
            <p:nvPr/>
          </p:nvSpPr>
          <p:spPr>
            <a:xfrm>
              <a:off x="834100" y="384965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674" y="1"/>
                  </a:moveTo>
                  <a:cubicBezTo>
                    <a:pt x="1197" y="1"/>
                    <a:pt x="0" y="1197"/>
                    <a:pt x="0" y="2675"/>
                  </a:cubicBezTo>
                  <a:cubicBezTo>
                    <a:pt x="0" y="3758"/>
                    <a:pt x="653" y="4732"/>
                    <a:pt x="1653" y="5144"/>
                  </a:cubicBezTo>
                  <a:cubicBezTo>
                    <a:pt x="1984" y="5282"/>
                    <a:pt x="2331" y="5349"/>
                    <a:pt x="2676" y="5349"/>
                  </a:cubicBezTo>
                  <a:cubicBezTo>
                    <a:pt x="3371" y="5349"/>
                    <a:pt x="4055" y="5077"/>
                    <a:pt x="4567" y="4564"/>
                  </a:cubicBezTo>
                  <a:cubicBezTo>
                    <a:pt x="5330" y="3802"/>
                    <a:pt x="5559" y="2649"/>
                    <a:pt x="5147" y="1650"/>
                  </a:cubicBezTo>
                  <a:cubicBezTo>
                    <a:pt x="4731" y="650"/>
                    <a:pt x="3757" y="1"/>
                    <a:pt x="2674" y="1"/>
                  </a:cubicBezTo>
                  <a:close/>
                </a:path>
              </a:pathLst>
            </a:custGeom>
            <a:solidFill>
              <a:srgbClr val="E6EBE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8" name="Google Shape;8688;p54"/>
            <p:cNvSpPr/>
            <p:nvPr/>
          </p:nvSpPr>
          <p:spPr>
            <a:xfrm>
              <a:off x="1668053" y="3947489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2" y="1"/>
                  </a:moveTo>
                  <a:cubicBezTo>
                    <a:pt x="1802" y="1"/>
                    <a:pt x="828" y="650"/>
                    <a:pt x="412" y="1649"/>
                  </a:cubicBezTo>
                  <a:cubicBezTo>
                    <a:pt x="0" y="2649"/>
                    <a:pt x="226" y="3798"/>
                    <a:pt x="993" y="4564"/>
                  </a:cubicBezTo>
                  <a:cubicBezTo>
                    <a:pt x="1502" y="5076"/>
                    <a:pt x="2187" y="5349"/>
                    <a:pt x="2883" y="5349"/>
                  </a:cubicBezTo>
                  <a:cubicBezTo>
                    <a:pt x="3228" y="5349"/>
                    <a:pt x="3576" y="5282"/>
                    <a:pt x="3907" y="5144"/>
                  </a:cubicBezTo>
                  <a:cubicBezTo>
                    <a:pt x="4907" y="4732"/>
                    <a:pt x="5556" y="3758"/>
                    <a:pt x="5560" y="2674"/>
                  </a:cubicBezTo>
                  <a:cubicBezTo>
                    <a:pt x="5560" y="1197"/>
                    <a:pt x="4360" y="1"/>
                    <a:pt x="2882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9" name="Google Shape;8689;p54"/>
            <p:cNvSpPr/>
            <p:nvPr/>
          </p:nvSpPr>
          <p:spPr>
            <a:xfrm>
              <a:off x="889649" y="3678195"/>
              <a:ext cx="23589" cy="23576"/>
            </a:xfrm>
            <a:custGeom>
              <a:avLst/>
              <a:gdLst/>
              <a:ahLst/>
              <a:cxnLst/>
              <a:rect l="l" t="t" r="r" b="b"/>
              <a:pathLst>
                <a:path w="5349" h="5349" extrusionOk="0">
                  <a:moveTo>
                    <a:pt x="2674" y="0"/>
                  </a:moveTo>
                  <a:cubicBezTo>
                    <a:pt x="1197" y="0"/>
                    <a:pt x="0" y="1197"/>
                    <a:pt x="0" y="2674"/>
                  </a:cubicBezTo>
                  <a:cubicBezTo>
                    <a:pt x="0" y="4152"/>
                    <a:pt x="1197" y="5348"/>
                    <a:pt x="2674" y="5348"/>
                  </a:cubicBezTo>
                  <a:cubicBezTo>
                    <a:pt x="4152" y="5348"/>
                    <a:pt x="5348" y="4152"/>
                    <a:pt x="5348" y="2674"/>
                  </a:cubicBezTo>
                  <a:cubicBezTo>
                    <a:pt x="5348" y="1197"/>
                    <a:pt x="4152" y="0"/>
                    <a:pt x="2674" y="0"/>
                  </a:cubicBezTo>
                  <a:close/>
                </a:path>
              </a:pathLst>
            </a:cu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0" name="Google Shape;8690;p54"/>
            <p:cNvSpPr/>
            <p:nvPr/>
          </p:nvSpPr>
          <p:spPr>
            <a:xfrm>
              <a:off x="1357708" y="3848642"/>
              <a:ext cx="24542" cy="23585"/>
            </a:xfrm>
            <a:custGeom>
              <a:avLst/>
              <a:gdLst/>
              <a:ahLst/>
              <a:cxnLst/>
              <a:rect l="l" t="t" r="r" b="b"/>
              <a:pathLst>
                <a:path w="5565" h="5351" extrusionOk="0">
                  <a:moveTo>
                    <a:pt x="2890" y="0"/>
                  </a:moveTo>
                  <a:cubicBezTo>
                    <a:pt x="1807" y="0"/>
                    <a:pt x="833" y="653"/>
                    <a:pt x="417" y="1653"/>
                  </a:cubicBezTo>
                  <a:cubicBezTo>
                    <a:pt x="1" y="2652"/>
                    <a:pt x="231" y="3801"/>
                    <a:pt x="997" y="4567"/>
                  </a:cubicBezTo>
                  <a:cubicBezTo>
                    <a:pt x="1509" y="5080"/>
                    <a:pt x="2193" y="5350"/>
                    <a:pt x="2888" y="5350"/>
                  </a:cubicBezTo>
                  <a:cubicBezTo>
                    <a:pt x="3233" y="5350"/>
                    <a:pt x="3580" y="5284"/>
                    <a:pt x="3912" y="5147"/>
                  </a:cubicBezTo>
                  <a:cubicBezTo>
                    <a:pt x="4911" y="4731"/>
                    <a:pt x="5564" y="3757"/>
                    <a:pt x="5564" y="2678"/>
                  </a:cubicBezTo>
                  <a:cubicBezTo>
                    <a:pt x="5564" y="1200"/>
                    <a:pt x="4364" y="0"/>
                    <a:pt x="2890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1" name="Google Shape;8691;p54"/>
            <p:cNvSpPr/>
            <p:nvPr/>
          </p:nvSpPr>
          <p:spPr>
            <a:xfrm>
              <a:off x="1357708" y="4049730"/>
              <a:ext cx="24542" cy="23585"/>
            </a:xfrm>
            <a:custGeom>
              <a:avLst/>
              <a:gdLst/>
              <a:ahLst/>
              <a:cxnLst/>
              <a:rect l="l" t="t" r="r" b="b"/>
              <a:pathLst>
                <a:path w="5565" h="5351" extrusionOk="0">
                  <a:moveTo>
                    <a:pt x="2890" y="1"/>
                  </a:moveTo>
                  <a:cubicBezTo>
                    <a:pt x="1807" y="1"/>
                    <a:pt x="833" y="654"/>
                    <a:pt x="417" y="1653"/>
                  </a:cubicBezTo>
                  <a:cubicBezTo>
                    <a:pt x="1" y="2653"/>
                    <a:pt x="231" y="3802"/>
                    <a:pt x="997" y="4568"/>
                  </a:cubicBezTo>
                  <a:cubicBezTo>
                    <a:pt x="1510" y="5078"/>
                    <a:pt x="2195" y="5350"/>
                    <a:pt x="2891" y="5350"/>
                  </a:cubicBezTo>
                  <a:cubicBezTo>
                    <a:pt x="3235" y="5350"/>
                    <a:pt x="3581" y="5284"/>
                    <a:pt x="3912" y="5148"/>
                  </a:cubicBezTo>
                  <a:cubicBezTo>
                    <a:pt x="4911" y="4732"/>
                    <a:pt x="5564" y="3758"/>
                    <a:pt x="5564" y="2675"/>
                  </a:cubicBezTo>
                  <a:cubicBezTo>
                    <a:pt x="5564" y="1197"/>
                    <a:pt x="4364" y="1"/>
                    <a:pt x="2890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2" name="Google Shape;8692;p54"/>
            <p:cNvSpPr/>
            <p:nvPr/>
          </p:nvSpPr>
          <p:spPr>
            <a:xfrm>
              <a:off x="889649" y="4212384"/>
              <a:ext cx="24520" cy="23585"/>
            </a:xfrm>
            <a:custGeom>
              <a:avLst/>
              <a:gdLst/>
              <a:ahLst/>
              <a:cxnLst/>
              <a:rect l="l" t="t" r="r" b="b"/>
              <a:pathLst>
                <a:path w="5560" h="5351" extrusionOk="0">
                  <a:moveTo>
                    <a:pt x="2674" y="0"/>
                  </a:moveTo>
                  <a:cubicBezTo>
                    <a:pt x="2328" y="0"/>
                    <a:pt x="1980" y="67"/>
                    <a:pt x="1649" y="203"/>
                  </a:cubicBezTo>
                  <a:cubicBezTo>
                    <a:pt x="650" y="619"/>
                    <a:pt x="0" y="1593"/>
                    <a:pt x="0" y="2677"/>
                  </a:cubicBezTo>
                  <a:cubicBezTo>
                    <a:pt x="0" y="4150"/>
                    <a:pt x="1197" y="5351"/>
                    <a:pt x="2674" y="5351"/>
                  </a:cubicBezTo>
                  <a:cubicBezTo>
                    <a:pt x="3754" y="5351"/>
                    <a:pt x="4732" y="4698"/>
                    <a:pt x="5144" y="3698"/>
                  </a:cubicBezTo>
                  <a:cubicBezTo>
                    <a:pt x="5560" y="2699"/>
                    <a:pt x="5330" y="1550"/>
                    <a:pt x="4568" y="783"/>
                  </a:cubicBezTo>
                  <a:cubicBezTo>
                    <a:pt x="4055" y="271"/>
                    <a:pt x="3370" y="0"/>
                    <a:pt x="2674" y="0"/>
                  </a:cubicBezTo>
                  <a:close/>
                </a:path>
              </a:pathLst>
            </a:custGeom>
            <a:solidFill>
              <a:srgbClr val="E4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3" name="Google Shape;8693;p54"/>
            <p:cNvSpPr/>
            <p:nvPr/>
          </p:nvSpPr>
          <p:spPr>
            <a:xfrm>
              <a:off x="2008060" y="3678195"/>
              <a:ext cx="24537" cy="23576"/>
            </a:xfrm>
            <a:custGeom>
              <a:avLst/>
              <a:gdLst/>
              <a:ahLst/>
              <a:cxnLst/>
              <a:rect l="l" t="t" r="r" b="b"/>
              <a:pathLst>
                <a:path w="5564" h="5349" extrusionOk="0">
                  <a:moveTo>
                    <a:pt x="2886" y="0"/>
                  </a:moveTo>
                  <a:cubicBezTo>
                    <a:pt x="1806" y="0"/>
                    <a:pt x="828" y="650"/>
                    <a:pt x="416" y="1649"/>
                  </a:cubicBezTo>
                  <a:cubicBezTo>
                    <a:pt x="0" y="2649"/>
                    <a:pt x="230" y="3802"/>
                    <a:pt x="996" y="4564"/>
                  </a:cubicBezTo>
                  <a:cubicBezTo>
                    <a:pt x="1506" y="5076"/>
                    <a:pt x="2190" y="5349"/>
                    <a:pt x="2887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1" y="4732"/>
                    <a:pt x="5560" y="3758"/>
                    <a:pt x="5563" y="2674"/>
                  </a:cubicBezTo>
                  <a:cubicBezTo>
                    <a:pt x="5560" y="1197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4" name="Google Shape;8694;p54"/>
            <p:cNvSpPr/>
            <p:nvPr/>
          </p:nvSpPr>
          <p:spPr>
            <a:xfrm>
              <a:off x="1548251" y="384864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886" y="0"/>
                  </a:moveTo>
                  <a:cubicBezTo>
                    <a:pt x="1806" y="0"/>
                    <a:pt x="828" y="653"/>
                    <a:pt x="416" y="1653"/>
                  </a:cubicBezTo>
                  <a:cubicBezTo>
                    <a:pt x="0" y="2652"/>
                    <a:pt x="230" y="3801"/>
                    <a:pt x="996" y="4567"/>
                  </a:cubicBezTo>
                  <a:cubicBezTo>
                    <a:pt x="1507" y="5078"/>
                    <a:pt x="2192" y="5350"/>
                    <a:pt x="2890" y="5350"/>
                  </a:cubicBezTo>
                  <a:cubicBezTo>
                    <a:pt x="3234" y="5350"/>
                    <a:pt x="3581" y="5283"/>
                    <a:pt x="3911" y="5147"/>
                  </a:cubicBezTo>
                  <a:cubicBezTo>
                    <a:pt x="4910" y="4731"/>
                    <a:pt x="5560" y="3757"/>
                    <a:pt x="5560" y="2678"/>
                  </a:cubicBezTo>
                  <a:cubicBezTo>
                    <a:pt x="5560" y="1200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5" name="Google Shape;8695;p54"/>
            <p:cNvSpPr/>
            <p:nvPr/>
          </p:nvSpPr>
          <p:spPr>
            <a:xfrm>
              <a:off x="2069063" y="3847033"/>
              <a:ext cx="24520" cy="23585"/>
            </a:xfrm>
            <a:custGeom>
              <a:avLst/>
              <a:gdLst/>
              <a:ahLst/>
              <a:cxnLst/>
              <a:rect l="l" t="t" r="r" b="b"/>
              <a:pathLst>
                <a:path w="5560" h="5351" extrusionOk="0">
                  <a:moveTo>
                    <a:pt x="2886" y="0"/>
                  </a:moveTo>
                  <a:cubicBezTo>
                    <a:pt x="1806" y="0"/>
                    <a:pt x="828" y="653"/>
                    <a:pt x="416" y="1653"/>
                  </a:cubicBezTo>
                  <a:cubicBezTo>
                    <a:pt x="0" y="2652"/>
                    <a:pt x="230" y="3801"/>
                    <a:pt x="993" y="4567"/>
                  </a:cubicBezTo>
                  <a:cubicBezTo>
                    <a:pt x="1505" y="5080"/>
                    <a:pt x="2190" y="5351"/>
                    <a:pt x="2887" y="5351"/>
                  </a:cubicBezTo>
                  <a:cubicBezTo>
                    <a:pt x="3232" y="5351"/>
                    <a:pt x="3580" y="5284"/>
                    <a:pt x="3911" y="5148"/>
                  </a:cubicBezTo>
                  <a:cubicBezTo>
                    <a:pt x="4910" y="4732"/>
                    <a:pt x="5560" y="3758"/>
                    <a:pt x="5560" y="2678"/>
                  </a:cubicBezTo>
                  <a:cubicBezTo>
                    <a:pt x="5560" y="1200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6" name="Google Shape;8696;p54"/>
            <p:cNvSpPr/>
            <p:nvPr/>
          </p:nvSpPr>
          <p:spPr>
            <a:xfrm>
              <a:off x="2069063" y="4046870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6" y="0"/>
                  </a:moveTo>
                  <a:cubicBezTo>
                    <a:pt x="1806" y="0"/>
                    <a:pt x="828" y="650"/>
                    <a:pt x="416" y="1649"/>
                  </a:cubicBezTo>
                  <a:cubicBezTo>
                    <a:pt x="0" y="2649"/>
                    <a:pt x="230" y="3802"/>
                    <a:pt x="993" y="4564"/>
                  </a:cubicBezTo>
                  <a:cubicBezTo>
                    <a:pt x="1505" y="5076"/>
                    <a:pt x="2190" y="5349"/>
                    <a:pt x="2887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0" y="4732"/>
                    <a:pt x="5560" y="3758"/>
                    <a:pt x="5560" y="2674"/>
                  </a:cubicBezTo>
                  <a:cubicBezTo>
                    <a:pt x="5560" y="1197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697" name="Google Shape;8697;p54"/>
          <p:cNvGrpSpPr/>
          <p:nvPr/>
        </p:nvGrpSpPr>
        <p:grpSpPr>
          <a:xfrm rot="5400000">
            <a:off x="5977401" y="3438087"/>
            <a:ext cx="164064" cy="1414916"/>
            <a:chOff x="4428249" y="1369375"/>
            <a:chExt cx="36905" cy="429569"/>
          </a:xfrm>
        </p:grpSpPr>
        <p:sp>
          <p:nvSpPr>
            <p:cNvPr id="8698" name="Google Shape;8698;p54"/>
            <p:cNvSpPr/>
            <p:nvPr/>
          </p:nvSpPr>
          <p:spPr>
            <a:xfrm>
              <a:off x="4428249" y="1369375"/>
              <a:ext cx="2375" cy="429104"/>
            </a:xfrm>
            <a:custGeom>
              <a:avLst/>
              <a:gdLst/>
              <a:ahLst/>
              <a:cxnLst/>
              <a:rect l="l" t="t" r="r" b="b"/>
              <a:pathLst>
                <a:path w="95" h="18328" extrusionOk="0">
                  <a:moveTo>
                    <a:pt x="48" y="1"/>
                  </a:moveTo>
                  <a:cubicBezTo>
                    <a:pt x="24" y="1"/>
                    <a:pt x="1" y="15"/>
                    <a:pt x="1" y="44"/>
                  </a:cubicBezTo>
                  <a:lnTo>
                    <a:pt x="1" y="18284"/>
                  </a:lnTo>
                  <a:cubicBezTo>
                    <a:pt x="1" y="18306"/>
                    <a:pt x="22" y="18328"/>
                    <a:pt x="51" y="18328"/>
                  </a:cubicBezTo>
                  <a:cubicBezTo>
                    <a:pt x="73" y="18328"/>
                    <a:pt x="95" y="18306"/>
                    <a:pt x="95" y="18284"/>
                  </a:cubicBezTo>
                  <a:lnTo>
                    <a:pt x="95" y="44"/>
                  </a:lnTo>
                  <a:cubicBezTo>
                    <a:pt x="95" y="15"/>
                    <a:pt x="71" y="1"/>
                    <a:pt x="48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9" name="Google Shape;8699;p54"/>
            <p:cNvSpPr/>
            <p:nvPr/>
          </p:nvSpPr>
          <p:spPr>
            <a:xfrm>
              <a:off x="4428354" y="1369375"/>
              <a:ext cx="36800" cy="2200"/>
            </a:xfrm>
            <a:custGeom>
              <a:avLst/>
              <a:gdLst/>
              <a:ahLst/>
              <a:cxnLst/>
              <a:rect l="l" t="t" r="r" b="b"/>
              <a:pathLst>
                <a:path w="1472" h="88" extrusionOk="0">
                  <a:moveTo>
                    <a:pt x="65" y="1"/>
                  </a:moveTo>
                  <a:cubicBezTo>
                    <a:pt x="0" y="1"/>
                    <a:pt x="0" y="87"/>
                    <a:pt x="65" y="87"/>
                  </a:cubicBezTo>
                  <a:lnTo>
                    <a:pt x="1414" y="87"/>
                  </a:lnTo>
                  <a:cubicBezTo>
                    <a:pt x="1472" y="87"/>
                    <a:pt x="1472" y="1"/>
                    <a:pt x="141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0" name="Google Shape;8700;p54"/>
            <p:cNvSpPr/>
            <p:nvPr/>
          </p:nvSpPr>
          <p:spPr>
            <a:xfrm>
              <a:off x="4428704" y="1383625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1" name="Google Shape;8701;p54"/>
            <p:cNvSpPr/>
            <p:nvPr/>
          </p:nvSpPr>
          <p:spPr>
            <a:xfrm>
              <a:off x="4428704" y="1397875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2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72"/>
                    <a:pt x="693" y="44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2" name="Google Shape;8702;p54"/>
            <p:cNvSpPr/>
            <p:nvPr/>
          </p:nvSpPr>
          <p:spPr>
            <a:xfrm>
              <a:off x="4428704" y="1412125"/>
              <a:ext cx="36100" cy="2175"/>
            </a:xfrm>
            <a:custGeom>
              <a:avLst/>
              <a:gdLst/>
              <a:ahLst/>
              <a:cxnLst/>
              <a:rect l="l" t="t" r="r" b="b"/>
              <a:pathLst>
                <a:path w="1444" h="87" extrusionOk="0">
                  <a:moveTo>
                    <a:pt x="51" y="0"/>
                  </a:moveTo>
                  <a:cubicBezTo>
                    <a:pt x="22" y="0"/>
                    <a:pt x="1" y="22"/>
                    <a:pt x="1" y="43"/>
                  </a:cubicBezTo>
                  <a:cubicBezTo>
                    <a:pt x="1" y="72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72"/>
                    <a:pt x="1443" y="43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3" name="Google Shape;8703;p54"/>
            <p:cNvSpPr/>
            <p:nvPr/>
          </p:nvSpPr>
          <p:spPr>
            <a:xfrm>
              <a:off x="4428354" y="1426350"/>
              <a:ext cx="18050" cy="2200"/>
            </a:xfrm>
            <a:custGeom>
              <a:avLst/>
              <a:gdLst/>
              <a:ahLst/>
              <a:cxnLst/>
              <a:rect l="l" t="t" r="r" b="b"/>
              <a:pathLst>
                <a:path w="722" h="88" extrusionOk="0">
                  <a:moveTo>
                    <a:pt x="65" y="1"/>
                  </a:moveTo>
                  <a:cubicBezTo>
                    <a:pt x="0" y="1"/>
                    <a:pt x="0" y="87"/>
                    <a:pt x="65" y="87"/>
                  </a:cubicBezTo>
                  <a:lnTo>
                    <a:pt x="664" y="87"/>
                  </a:lnTo>
                  <a:cubicBezTo>
                    <a:pt x="722" y="87"/>
                    <a:pt x="722" y="1"/>
                    <a:pt x="66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4" name="Google Shape;8704;p54"/>
            <p:cNvSpPr/>
            <p:nvPr/>
          </p:nvSpPr>
          <p:spPr>
            <a:xfrm>
              <a:off x="4428704" y="144060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5" name="Google Shape;8705;p54"/>
            <p:cNvSpPr/>
            <p:nvPr/>
          </p:nvSpPr>
          <p:spPr>
            <a:xfrm>
              <a:off x="4428704" y="1454850"/>
              <a:ext cx="36100" cy="2375"/>
            </a:xfrm>
            <a:custGeom>
              <a:avLst/>
              <a:gdLst/>
              <a:ahLst/>
              <a:cxnLst/>
              <a:rect l="l" t="t" r="r" b="b"/>
              <a:pathLst>
                <a:path w="1444" h="95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3"/>
                    <a:pt x="1443" y="44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6" name="Google Shape;8706;p54"/>
            <p:cNvSpPr/>
            <p:nvPr/>
          </p:nvSpPr>
          <p:spPr>
            <a:xfrm>
              <a:off x="4428354" y="1469100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7" name="Google Shape;8707;p54"/>
            <p:cNvSpPr/>
            <p:nvPr/>
          </p:nvSpPr>
          <p:spPr>
            <a:xfrm>
              <a:off x="4428354" y="1483350"/>
              <a:ext cx="18050" cy="2350"/>
            </a:xfrm>
            <a:custGeom>
              <a:avLst/>
              <a:gdLst/>
              <a:ahLst/>
              <a:cxnLst/>
              <a:rect l="l" t="t" r="r" b="b"/>
              <a:pathLst>
                <a:path w="722" h="94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8" name="Google Shape;8708;p54"/>
            <p:cNvSpPr/>
            <p:nvPr/>
          </p:nvSpPr>
          <p:spPr>
            <a:xfrm>
              <a:off x="4428704" y="1497575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73"/>
                    <a:pt x="1443" y="44"/>
                  </a:cubicBezTo>
                  <a:cubicBezTo>
                    <a:pt x="1443" y="22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9" name="Google Shape;8709;p54"/>
            <p:cNvSpPr/>
            <p:nvPr/>
          </p:nvSpPr>
          <p:spPr>
            <a:xfrm>
              <a:off x="4428704" y="151182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0" name="Google Shape;8710;p54"/>
            <p:cNvSpPr/>
            <p:nvPr/>
          </p:nvSpPr>
          <p:spPr>
            <a:xfrm>
              <a:off x="4428354" y="1526075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1" name="Google Shape;8711;p54"/>
            <p:cNvSpPr/>
            <p:nvPr/>
          </p:nvSpPr>
          <p:spPr>
            <a:xfrm>
              <a:off x="4428704" y="1540325"/>
              <a:ext cx="36100" cy="2350"/>
            </a:xfrm>
            <a:custGeom>
              <a:avLst/>
              <a:gdLst/>
              <a:ahLst/>
              <a:cxnLst/>
              <a:rect l="l" t="t" r="r" b="b"/>
              <a:pathLst>
                <a:path w="1444" h="94" extrusionOk="0">
                  <a:moveTo>
                    <a:pt x="51" y="0"/>
                  </a:moveTo>
                  <a:cubicBezTo>
                    <a:pt x="22" y="0"/>
                    <a:pt x="1" y="22"/>
                    <a:pt x="1" y="43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2"/>
                    <a:pt x="1443" y="43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2" name="Google Shape;8712;p54"/>
            <p:cNvSpPr/>
            <p:nvPr/>
          </p:nvSpPr>
          <p:spPr>
            <a:xfrm>
              <a:off x="4428704" y="155455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3"/>
                    <a:pt x="1" y="44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650" y="95"/>
                  </a:lnTo>
                  <a:cubicBezTo>
                    <a:pt x="672" y="95"/>
                    <a:pt x="693" y="73"/>
                    <a:pt x="693" y="44"/>
                  </a:cubicBezTo>
                  <a:cubicBezTo>
                    <a:pt x="693" y="23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3" name="Google Shape;8713;p54"/>
            <p:cNvSpPr/>
            <p:nvPr/>
          </p:nvSpPr>
          <p:spPr>
            <a:xfrm>
              <a:off x="4428704" y="156880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650" y="95"/>
                  </a:lnTo>
                  <a:cubicBezTo>
                    <a:pt x="672" y="95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4" name="Google Shape;8714;p54"/>
            <p:cNvSpPr/>
            <p:nvPr/>
          </p:nvSpPr>
          <p:spPr>
            <a:xfrm>
              <a:off x="4428354" y="1583050"/>
              <a:ext cx="36800" cy="2375"/>
            </a:xfrm>
            <a:custGeom>
              <a:avLst/>
              <a:gdLst/>
              <a:ahLst/>
              <a:cxnLst/>
              <a:rect l="l" t="t" r="r" b="b"/>
              <a:pathLst>
                <a:path w="1472" h="95" extrusionOk="0">
                  <a:moveTo>
                    <a:pt x="65" y="1"/>
                  </a:moveTo>
                  <a:cubicBezTo>
                    <a:pt x="0" y="1"/>
                    <a:pt x="0" y="94"/>
                    <a:pt x="65" y="94"/>
                  </a:cubicBezTo>
                  <a:lnTo>
                    <a:pt x="1414" y="94"/>
                  </a:lnTo>
                  <a:cubicBezTo>
                    <a:pt x="1472" y="94"/>
                    <a:pt x="1472" y="1"/>
                    <a:pt x="141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5" name="Google Shape;8715;p54"/>
            <p:cNvSpPr/>
            <p:nvPr/>
          </p:nvSpPr>
          <p:spPr>
            <a:xfrm>
              <a:off x="4428704" y="159730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2"/>
                    <a:pt x="693" y="44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6" name="Google Shape;8716;p54"/>
            <p:cNvSpPr/>
            <p:nvPr/>
          </p:nvSpPr>
          <p:spPr>
            <a:xfrm>
              <a:off x="4428704" y="1611550"/>
              <a:ext cx="17350" cy="2350"/>
            </a:xfrm>
            <a:custGeom>
              <a:avLst/>
              <a:gdLst/>
              <a:ahLst/>
              <a:cxnLst/>
              <a:rect l="l" t="t" r="r" b="b"/>
              <a:pathLst>
                <a:path w="694" h="94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2"/>
                    <a:pt x="693" y="51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7" name="Google Shape;8717;p54"/>
            <p:cNvSpPr/>
            <p:nvPr/>
          </p:nvSpPr>
          <p:spPr>
            <a:xfrm>
              <a:off x="4428704" y="1625775"/>
              <a:ext cx="36100" cy="2375"/>
            </a:xfrm>
            <a:custGeom>
              <a:avLst/>
              <a:gdLst/>
              <a:ahLst/>
              <a:cxnLst/>
              <a:rect l="l" t="t" r="r" b="b"/>
              <a:pathLst>
                <a:path w="1444" h="95" extrusionOk="0">
                  <a:moveTo>
                    <a:pt x="51" y="1"/>
                  </a:moveTo>
                  <a:cubicBezTo>
                    <a:pt x="22" y="1"/>
                    <a:pt x="1" y="23"/>
                    <a:pt x="1" y="51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1400" y="95"/>
                  </a:lnTo>
                  <a:cubicBezTo>
                    <a:pt x="1422" y="95"/>
                    <a:pt x="1443" y="73"/>
                    <a:pt x="1443" y="51"/>
                  </a:cubicBezTo>
                  <a:cubicBezTo>
                    <a:pt x="1443" y="23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8" name="Google Shape;8718;p54"/>
            <p:cNvSpPr/>
            <p:nvPr/>
          </p:nvSpPr>
          <p:spPr>
            <a:xfrm>
              <a:off x="4428354" y="1640025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1"/>
                  </a:moveTo>
                  <a:cubicBezTo>
                    <a:pt x="0" y="1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1"/>
                    <a:pt x="66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9" name="Google Shape;8719;p54"/>
            <p:cNvSpPr/>
            <p:nvPr/>
          </p:nvSpPr>
          <p:spPr>
            <a:xfrm>
              <a:off x="4428704" y="165427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3"/>
                    <a:pt x="693" y="51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0" name="Google Shape;8720;p54"/>
            <p:cNvSpPr/>
            <p:nvPr/>
          </p:nvSpPr>
          <p:spPr>
            <a:xfrm>
              <a:off x="4428704" y="1668525"/>
              <a:ext cx="36100" cy="2350"/>
            </a:xfrm>
            <a:custGeom>
              <a:avLst/>
              <a:gdLst/>
              <a:ahLst/>
              <a:cxnLst/>
              <a:rect l="l" t="t" r="r" b="b"/>
              <a:pathLst>
                <a:path w="1444" h="94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2"/>
                    <a:pt x="1443" y="51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1" name="Google Shape;8721;p54"/>
            <p:cNvSpPr/>
            <p:nvPr/>
          </p:nvSpPr>
          <p:spPr>
            <a:xfrm>
              <a:off x="4428704" y="1682950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15"/>
                    <a:pt x="1" y="43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3"/>
                  </a:cubicBezTo>
                  <a:cubicBezTo>
                    <a:pt x="693" y="15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2" name="Google Shape;8722;p54"/>
            <p:cNvSpPr/>
            <p:nvPr/>
          </p:nvSpPr>
          <p:spPr>
            <a:xfrm>
              <a:off x="4428354" y="1697200"/>
              <a:ext cx="18050" cy="2175"/>
            </a:xfrm>
            <a:custGeom>
              <a:avLst/>
              <a:gdLst/>
              <a:ahLst/>
              <a:cxnLst/>
              <a:rect l="l" t="t" r="r" b="b"/>
              <a:pathLst>
                <a:path w="722" h="87" extrusionOk="0">
                  <a:moveTo>
                    <a:pt x="65" y="0"/>
                  </a:moveTo>
                  <a:cubicBezTo>
                    <a:pt x="0" y="0"/>
                    <a:pt x="0" y="87"/>
                    <a:pt x="65" y="87"/>
                  </a:cubicBezTo>
                  <a:lnTo>
                    <a:pt x="664" y="87"/>
                  </a:lnTo>
                  <a:cubicBezTo>
                    <a:pt x="722" y="87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3" name="Google Shape;8723;p54"/>
            <p:cNvSpPr/>
            <p:nvPr/>
          </p:nvSpPr>
          <p:spPr>
            <a:xfrm>
              <a:off x="4428704" y="1711425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1"/>
                  </a:moveTo>
                  <a:cubicBezTo>
                    <a:pt x="22" y="1"/>
                    <a:pt x="1" y="15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66"/>
                    <a:pt x="1443" y="44"/>
                  </a:cubicBezTo>
                  <a:cubicBezTo>
                    <a:pt x="1443" y="15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4" name="Google Shape;8724;p54"/>
            <p:cNvSpPr/>
            <p:nvPr/>
          </p:nvSpPr>
          <p:spPr>
            <a:xfrm>
              <a:off x="4428704" y="172567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87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5" name="Google Shape;8725;p54"/>
            <p:cNvSpPr/>
            <p:nvPr/>
          </p:nvSpPr>
          <p:spPr>
            <a:xfrm>
              <a:off x="4428704" y="1739925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15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4"/>
                  </a:cubicBezTo>
                  <a:cubicBezTo>
                    <a:pt x="693" y="15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6" name="Google Shape;8726;p54"/>
            <p:cNvSpPr/>
            <p:nvPr/>
          </p:nvSpPr>
          <p:spPr>
            <a:xfrm>
              <a:off x="4428354" y="1754175"/>
              <a:ext cx="36800" cy="2175"/>
            </a:xfrm>
            <a:custGeom>
              <a:avLst/>
              <a:gdLst/>
              <a:ahLst/>
              <a:cxnLst/>
              <a:rect l="l" t="t" r="r" b="b"/>
              <a:pathLst>
                <a:path w="1472" h="87" extrusionOk="0">
                  <a:moveTo>
                    <a:pt x="65" y="0"/>
                  </a:moveTo>
                  <a:cubicBezTo>
                    <a:pt x="0" y="0"/>
                    <a:pt x="0" y="87"/>
                    <a:pt x="65" y="87"/>
                  </a:cubicBezTo>
                  <a:lnTo>
                    <a:pt x="1414" y="87"/>
                  </a:lnTo>
                  <a:cubicBezTo>
                    <a:pt x="1472" y="87"/>
                    <a:pt x="1472" y="0"/>
                    <a:pt x="141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7" name="Google Shape;8727;p54"/>
            <p:cNvSpPr/>
            <p:nvPr/>
          </p:nvSpPr>
          <p:spPr>
            <a:xfrm>
              <a:off x="4428704" y="176840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15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6"/>
                    <a:pt x="693" y="44"/>
                  </a:cubicBezTo>
                  <a:cubicBezTo>
                    <a:pt x="693" y="15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8" name="Google Shape;8728;p54"/>
            <p:cNvSpPr/>
            <p:nvPr/>
          </p:nvSpPr>
          <p:spPr>
            <a:xfrm>
              <a:off x="4428704" y="178265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6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9" name="Google Shape;8729;p54"/>
            <p:cNvSpPr/>
            <p:nvPr/>
          </p:nvSpPr>
          <p:spPr>
            <a:xfrm>
              <a:off x="4428542" y="1796744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65"/>
                    <a:pt x="1443" y="44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730" name="Google Shape;8730;p54"/>
          <p:cNvGrpSpPr/>
          <p:nvPr/>
        </p:nvGrpSpPr>
        <p:grpSpPr>
          <a:xfrm rot="10800000" flipH="1">
            <a:off x="5349830" y="3026630"/>
            <a:ext cx="1419207" cy="24808"/>
            <a:chOff x="219558" y="4738465"/>
            <a:chExt cx="5852400" cy="102300"/>
          </a:xfrm>
        </p:grpSpPr>
        <p:cxnSp>
          <p:nvCxnSpPr>
            <p:cNvPr id="8731" name="Google Shape;8731;p54"/>
            <p:cNvCxnSpPr/>
            <p:nvPr/>
          </p:nvCxnSpPr>
          <p:spPr>
            <a:xfrm>
              <a:off x="219558" y="4789684"/>
              <a:ext cx="58524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sp>
          <p:nvSpPr>
            <p:cNvPr id="8732" name="Google Shape;8732;p54"/>
            <p:cNvSpPr/>
            <p:nvPr/>
          </p:nvSpPr>
          <p:spPr>
            <a:xfrm>
              <a:off x="1200298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3" name="Google Shape;8733;p54"/>
            <p:cNvSpPr/>
            <p:nvPr/>
          </p:nvSpPr>
          <p:spPr>
            <a:xfrm>
              <a:off x="2175146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4" name="Google Shape;8734;p54"/>
            <p:cNvSpPr/>
            <p:nvPr/>
          </p:nvSpPr>
          <p:spPr>
            <a:xfrm>
              <a:off x="3040751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5" name="Google Shape;8735;p54"/>
            <p:cNvSpPr/>
            <p:nvPr/>
          </p:nvSpPr>
          <p:spPr>
            <a:xfrm>
              <a:off x="4028157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6" name="Google Shape;8736;p54"/>
            <p:cNvSpPr/>
            <p:nvPr/>
          </p:nvSpPr>
          <p:spPr>
            <a:xfrm>
              <a:off x="5040827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737" name="Google Shape;8737;p54"/>
          <p:cNvGrpSpPr/>
          <p:nvPr/>
        </p:nvGrpSpPr>
        <p:grpSpPr>
          <a:xfrm>
            <a:off x="5361148" y="3399694"/>
            <a:ext cx="1396570" cy="385016"/>
            <a:chOff x="5286284" y="2966544"/>
            <a:chExt cx="1396570" cy="385016"/>
          </a:xfrm>
        </p:grpSpPr>
        <p:cxnSp>
          <p:nvCxnSpPr>
            <p:cNvPr id="8738" name="Google Shape;8738;p54"/>
            <p:cNvCxnSpPr/>
            <p:nvPr/>
          </p:nvCxnSpPr>
          <p:spPr>
            <a:xfrm>
              <a:off x="5752056" y="3094781"/>
              <a:ext cx="4701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cxnSp>
          <p:nvCxnSpPr>
            <p:cNvPr id="8739" name="Google Shape;8739;p54"/>
            <p:cNvCxnSpPr/>
            <p:nvPr/>
          </p:nvCxnSpPr>
          <p:spPr>
            <a:xfrm>
              <a:off x="5980194" y="3351560"/>
              <a:ext cx="5943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grpSp>
          <p:nvGrpSpPr>
            <p:cNvPr id="8740" name="Google Shape;8740;p54"/>
            <p:cNvGrpSpPr/>
            <p:nvPr/>
          </p:nvGrpSpPr>
          <p:grpSpPr>
            <a:xfrm>
              <a:off x="5287688" y="3173364"/>
              <a:ext cx="1395166" cy="74100"/>
              <a:chOff x="5287688" y="3173364"/>
              <a:chExt cx="1395166" cy="74100"/>
            </a:xfrm>
          </p:grpSpPr>
          <p:cxnSp>
            <p:nvCxnSpPr>
              <p:cNvPr id="8741" name="Google Shape;8741;p54"/>
              <p:cNvCxnSpPr/>
              <p:nvPr/>
            </p:nvCxnSpPr>
            <p:spPr>
              <a:xfrm>
                <a:off x="6682853" y="3173540"/>
                <a:ext cx="0" cy="738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2" name="Google Shape;8742;p54"/>
              <p:cNvCxnSpPr/>
              <p:nvPr/>
            </p:nvCxnSpPr>
            <p:spPr>
              <a:xfrm>
                <a:off x="5287688" y="3210371"/>
                <a:ext cx="13947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3" name="Google Shape;8743;p54"/>
              <p:cNvCxnSpPr/>
              <p:nvPr/>
            </p:nvCxnSpPr>
            <p:spPr>
              <a:xfrm>
                <a:off x="5518476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4" name="Google Shape;8744;p54"/>
              <p:cNvCxnSpPr/>
              <p:nvPr/>
            </p:nvCxnSpPr>
            <p:spPr>
              <a:xfrm>
                <a:off x="5287935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5" name="Google Shape;8745;p54"/>
              <p:cNvCxnSpPr/>
              <p:nvPr/>
            </p:nvCxnSpPr>
            <p:spPr>
              <a:xfrm>
                <a:off x="5751239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6" name="Google Shape;8746;p54"/>
              <p:cNvCxnSpPr/>
              <p:nvPr/>
            </p:nvCxnSpPr>
            <p:spPr>
              <a:xfrm>
                <a:off x="5982252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7" name="Google Shape;8747;p54"/>
              <p:cNvCxnSpPr/>
              <p:nvPr/>
            </p:nvCxnSpPr>
            <p:spPr>
              <a:xfrm>
                <a:off x="6216184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8" name="Google Shape;8748;p54"/>
              <p:cNvCxnSpPr/>
              <p:nvPr/>
            </p:nvCxnSpPr>
            <p:spPr>
              <a:xfrm>
                <a:off x="6449534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cxnSp>
          <p:nvCxnSpPr>
            <p:cNvPr id="8749" name="Google Shape;8749;p54"/>
            <p:cNvCxnSpPr/>
            <p:nvPr/>
          </p:nvCxnSpPr>
          <p:spPr>
            <a:xfrm>
              <a:off x="5286284" y="2966544"/>
              <a:ext cx="4686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</p:grpSp>
      <p:grpSp>
        <p:nvGrpSpPr>
          <p:cNvPr id="8750" name="Google Shape;8750;p54"/>
          <p:cNvGrpSpPr/>
          <p:nvPr/>
        </p:nvGrpSpPr>
        <p:grpSpPr>
          <a:xfrm>
            <a:off x="2047214" y="1818470"/>
            <a:ext cx="1182276" cy="662027"/>
            <a:chOff x="2029517" y="1732295"/>
            <a:chExt cx="1149068" cy="643432"/>
          </a:xfrm>
        </p:grpSpPr>
        <p:grpSp>
          <p:nvGrpSpPr>
            <p:cNvPr id="8751" name="Google Shape;8751;p54"/>
            <p:cNvGrpSpPr/>
            <p:nvPr/>
          </p:nvGrpSpPr>
          <p:grpSpPr>
            <a:xfrm>
              <a:off x="2708660" y="1746937"/>
              <a:ext cx="455427" cy="244429"/>
              <a:chOff x="2700693" y="1746937"/>
              <a:chExt cx="455427" cy="244429"/>
            </a:xfrm>
          </p:grpSpPr>
          <p:grpSp>
            <p:nvGrpSpPr>
              <p:cNvPr id="8752" name="Google Shape;8752;p54"/>
              <p:cNvGrpSpPr/>
              <p:nvPr/>
            </p:nvGrpSpPr>
            <p:grpSpPr>
              <a:xfrm>
                <a:off x="2905682" y="1782817"/>
                <a:ext cx="250438" cy="208549"/>
                <a:chOff x="2905682" y="1782817"/>
                <a:chExt cx="250438" cy="208549"/>
              </a:xfrm>
            </p:grpSpPr>
            <p:cxnSp>
              <p:nvCxnSpPr>
                <p:cNvPr id="8753" name="Google Shape;8753;p54"/>
                <p:cNvCxnSpPr/>
                <p:nvPr/>
              </p:nvCxnSpPr>
              <p:spPr>
                <a:xfrm rot="-5400000" flipH="1">
                  <a:off x="2905682" y="1782817"/>
                  <a:ext cx="175200" cy="1752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8754" name="Google Shape;8754;p54"/>
                <p:cNvSpPr/>
                <p:nvPr/>
              </p:nvSpPr>
              <p:spPr>
                <a:xfrm>
                  <a:off x="3078213" y="1919045"/>
                  <a:ext cx="77906" cy="723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576" h="10746" extrusionOk="0">
                      <a:moveTo>
                        <a:pt x="5775" y="1"/>
                      </a:moveTo>
                      <a:cubicBezTo>
                        <a:pt x="3179" y="1"/>
                        <a:pt x="889" y="1860"/>
                        <a:pt x="468" y="4506"/>
                      </a:cubicBezTo>
                      <a:cubicBezTo>
                        <a:pt x="1" y="7441"/>
                        <a:pt x="2002" y="10210"/>
                        <a:pt x="4904" y="10677"/>
                      </a:cubicBezTo>
                      <a:cubicBezTo>
                        <a:pt x="5194" y="10723"/>
                        <a:pt x="5483" y="10745"/>
                        <a:pt x="5768" y="10745"/>
                      </a:cubicBezTo>
                      <a:cubicBezTo>
                        <a:pt x="8364" y="10745"/>
                        <a:pt x="10655" y="8886"/>
                        <a:pt x="11075" y="6240"/>
                      </a:cubicBezTo>
                      <a:cubicBezTo>
                        <a:pt x="11576" y="3305"/>
                        <a:pt x="9574" y="536"/>
                        <a:pt x="6639" y="69"/>
                      </a:cubicBezTo>
                      <a:cubicBezTo>
                        <a:pt x="6349" y="23"/>
                        <a:pt x="6060" y="1"/>
                        <a:pt x="5775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755" name="Google Shape;8755;p54"/>
              <p:cNvGrpSpPr/>
              <p:nvPr/>
            </p:nvGrpSpPr>
            <p:grpSpPr>
              <a:xfrm>
                <a:off x="2700693" y="1746937"/>
                <a:ext cx="449967" cy="72374"/>
                <a:chOff x="2700693" y="1746937"/>
                <a:chExt cx="449967" cy="72374"/>
              </a:xfrm>
            </p:grpSpPr>
            <p:cxnSp>
              <p:nvCxnSpPr>
                <p:cNvPr id="8756" name="Google Shape;8756;p54"/>
                <p:cNvCxnSpPr/>
                <p:nvPr/>
              </p:nvCxnSpPr>
              <p:spPr>
                <a:xfrm>
                  <a:off x="2700693" y="1782453"/>
                  <a:ext cx="3798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8757" name="Google Shape;8757;p54"/>
                <p:cNvSpPr/>
                <p:nvPr/>
              </p:nvSpPr>
              <p:spPr>
                <a:xfrm>
                  <a:off x="3072753" y="1746937"/>
                  <a:ext cx="77906" cy="723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576" h="10754" extrusionOk="0">
                      <a:moveTo>
                        <a:pt x="5736" y="0"/>
                      </a:moveTo>
                      <a:cubicBezTo>
                        <a:pt x="3156" y="0"/>
                        <a:pt x="887" y="1881"/>
                        <a:pt x="468" y="4513"/>
                      </a:cubicBezTo>
                      <a:cubicBezTo>
                        <a:pt x="1" y="7449"/>
                        <a:pt x="2002" y="10218"/>
                        <a:pt x="4904" y="10685"/>
                      </a:cubicBezTo>
                      <a:cubicBezTo>
                        <a:pt x="5194" y="10731"/>
                        <a:pt x="5483" y="10753"/>
                        <a:pt x="5768" y="10753"/>
                      </a:cubicBezTo>
                      <a:cubicBezTo>
                        <a:pt x="8364" y="10753"/>
                        <a:pt x="10655" y="8893"/>
                        <a:pt x="11075" y="6248"/>
                      </a:cubicBezTo>
                      <a:cubicBezTo>
                        <a:pt x="11576" y="3313"/>
                        <a:pt x="9574" y="544"/>
                        <a:pt x="6639" y="77"/>
                      </a:cubicBezTo>
                      <a:cubicBezTo>
                        <a:pt x="6335" y="25"/>
                        <a:pt x="6034" y="0"/>
                        <a:pt x="5736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758" name="Google Shape;8758;p54"/>
            <p:cNvGrpSpPr/>
            <p:nvPr/>
          </p:nvGrpSpPr>
          <p:grpSpPr>
            <a:xfrm>
              <a:off x="2029517" y="1732295"/>
              <a:ext cx="1149068" cy="643432"/>
              <a:chOff x="2029517" y="1732295"/>
              <a:chExt cx="1149068" cy="643432"/>
            </a:xfrm>
          </p:grpSpPr>
          <p:grpSp>
            <p:nvGrpSpPr>
              <p:cNvPr id="8759" name="Google Shape;8759;p54"/>
              <p:cNvGrpSpPr/>
              <p:nvPr/>
            </p:nvGrpSpPr>
            <p:grpSpPr>
              <a:xfrm>
                <a:off x="2703618" y="2103152"/>
                <a:ext cx="474966" cy="260017"/>
                <a:chOff x="2703618" y="2103152"/>
                <a:chExt cx="474966" cy="260017"/>
              </a:xfrm>
            </p:grpSpPr>
            <p:grpSp>
              <p:nvGrpSpPr>
                <p:cNvPr id="8760" name="Google Shape;8760;p54"/>
                <p:cNvGrpSpPr/>
                <p:nvPr/>
              </p:nvGrpSpPr>
              <p:grpSpPr>
                <a:xfrm>
                  <a:off x="2703618" y="2290640"/>
                  <a:ext cx="450291" cy="72529"/>
                  <a:chOff x="2703618" y="2290640"/>
                  <a:chExt cx="450291" cy="72529"/>
                </a:xfrm>
              </p:grpSpPr>
              <p:cxnSp>
                <p:nvCxnSpPr>
                  <p:cNvPr id="8761" name="Google Shape;8761;p54"/>
                  <p:cNvCxnSpPr/>
                  <p:nvPr/>
                </p:nvCxnSpPr>
                <p:spPr>
                  <a:xfrm>
                    <a:off x="2703618" y="2326818"/>
                    <a:ext cx="379800" cy="6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62" name="Google Shape;8762;p54"/>
                  <p:cNvSpPr/>
                  <p:nvPr/>
                </p:nvSpPr>
                <p:spPr>
                  <a:xfrm>
                    <a:off x="3076003" y="2290640"/>
                    <a:ext cx="77906" cy="7252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576" h="10777" extrusionOk="0">
                        <a:moveTo>
                          <a:pt x="5787" y="0"/>
                        </a:moveTo>
                        <a:cubicBezTo>
                          <a:pt x="3185" y="0"/>
                          <a:pt x="889" y="1889"/>
                          <a:pt x="468" y="4538"/>
                        </a:cubicBezTo>
                        <a:cubicBezTo>
                          <a:pt x="1" y="7473"/>
                          <a:pt x="2002" y="10208"/>
                          <a:pt x="4938" y="10709"/>
                        </a:cubicBezTo>
                        <a:cubicBezTo>
                          <a:pt x="5221" y="10754"/>
                          <a:pt x="5503" y="10776"/>
                          <a:pt x="5781" y="10776"/>
                        </a:cubicBezTo>
                        <a:cubicBezTo>
                          <a:pt x="8358" y="10776"/>
                          <a:pt x="10654" y="8888"/>
                          <a:pt x="11075" y="6239"/>
                        </a:cubicBezTo>
                        <a:cubicBezTo>
                          <a:pt x="11576" y="3303"/>
                          <a:pt x="9574" y="535"/>
                          <a:pt x="6639" y="68"/>
                        </a:cubicBezTo>
                        <a:cubicBezTo>
                          <a:pt x="6352" y="22"/>
                          <a:pt x="6068" y="0"/>
                          <a:pt x="5787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763" name="Google Shape;8763;p54"/>
                <p:cNvGrpSpPr/>
                <p:nvPr/>
              </p:nvGrpSpPr>
              <p:grpSpPr>
                <a:xfrm>
                  <a:off x="2908607" y="2103152"/>
                  <a:ext cx="269977" cy="223538"/>
                  <a:chOff x="2908607" y="2103152"/>
                  <a:chExt cx="269977" cy="223538"/>
                </a:xfrm>
              </p:grpSpPr>
              <p:cxnSp>
                <p:nvCxnSpPr>
                  <p:cNvPr id="8764" name="Google Shape;8764;p54"/>
                  <p:cNvCxnSpPr/>
                  <p:nvPr/>
                </p:nvCxnSpPr>
                <p:spPr>
                  <a:xfrm rot="10800000" flipH="1">
                    <a:off x="2908607" y="2140990"/>
                    <a:ext cx="199800" cy="1857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65" name="Google Shape;8765;p54"/>
                  <p:cNvSpPr/>
                  <p:nvPr/>
                </p:nvSpPr>
                <p:spPr>
                  <a:xfrm>
                    <a:off x="3100678" y="2103152"/>
                    <a:ext cx="77906" cy="7236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576" h="10753" extrusionOk="0">
                        <a:moveTo>
                          <a:pt x="5786" y="1"/>
                        </a:moveTo>
                        <a:cubicBezTo>
                          <a:pt x="3185" y="1"/>
                          <a:pt x="889" y="1886"/>
                          <a:pt x="468" y="4505"/>
                        </a:cubicBezTo>
                        <a:cubicBezTo>
                          <a:pt x="1" y="7440"/>
                          <a:pt x="2002" y="10209"/>
                          <a:pt x="4904" y="10676"/>
                        </a:cubicBezTo>
                        <a:cubicBezTo>
                          <a:pt x="5208" y="10728"/>
                          <a:pt x="5509" y="10753"/>
                          <a:pt x="5807" y="10753"/>
                        </a:cubicBezTo>
                        <a:cubicBezTo>
                          <a:pt x="8387" y="10753"/>
                          <a:pt x="10657" y="8872"/>
                          <a:pt x="11075" y="6240"/>
                        </a:cubicBezTo>
                        <a:cubicBezTo>
                          <a:pt x="11576" y="3304"/>
                          <a:pt x="9574" y="535"/>
                          <a:pt x="6639" y="68"/>
                        </a:cubicBezTo>
                        <a:cubicBezTo>
                          <a:pt x="6352" y="23"/>
                          <a:pt x="6067" y="1"/>
                          <a:pt x="5786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766" name="Google Shape;8766;p54"/>
              <p:cNvGrpSpPr/>
              <p:nvPr/>
            </p:nvGrpSpPr>
            <p:grpSpPr>
              <a:xfrm>
                <a:off x="2029517" y="1732295"/>
                <a:ext cx="685827" cy="643432"/>
                <a:chOff x="2029517" y="1732295"/>
                <a:chExt cx="685827" cy="643432"/>
              </a:xfrm>
            </p:grpSpPr>
            <p:sp>
              <p:nvSpPr>
                <p:cNvPr id="8767" name="Google Shape;8767;p54"/>
                <p:cNvSpPr/>
                <p:nvPr/>
              </p:nvSpPr>
              <p:spPr>
                <a:xfrm>
                  <a:off x="2029517" y="1996395"/>
                  <a:ext cx="135152" cy="1353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8768" name="Google Shape;8768;p54"/>
                <p:cNvGrpSpPr/>
                <p:nvPr/>
              </p:nvGrpSpPr>
              <p:grpSpPr>
                <a:xfrm>
                  <a:off x="2158948" y="1732295"/>
                  <a:ext cx="556396" cy="333108"/>
                  <a:chOff x="2158948" y="1732295"/>
                  <a:chExt cx="556396" cy="333108"/>
                </a:xfrm>
              </p:grpSpPr>
              <p:cxnSp>
                <p:nvCxnSpPr>
                  <p:cNvPr id="8769" name="Google Shape;8769;p54"/>
                  <p:cNvCxnSpPr/>
                  <p:nvPr/>
                </p:nvCxnSpPr>
                <p:spPr>
                  <a:xfrm rot="10800000" flipH="1">
                    <a:off x="2158948" y="1783103"/>
                    <a:ext cx="459000" cy="2823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BAC8D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70" name="Google Shape;8770;p54"/>
                  <p:cNvSpPr/>
                  <p:nvPr/>
                </p:nvSpPr>
                <p:spPr>
                  <a:xfrm>
                    <a:off x="2612072" y="1732295"/>
                    <a:ext cx="103272" cy="1000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45" h="14873" extrusionOk="0">
                        <a:moveTo>
                          <a:pt x="7692" y="1"/>
                        </a:moveTo>
                        <a:cubicBezTo>
                          <a:pt x="7531" y="1"/>
                          <a:pt x="7369" y="6"/>
                          <a:pt x="7206" y="16"/>
                        </a:cubicBezTo>
                        <a:cubicBezTo>
                          <a:pt x="3136" y="283"/>
                          <a:pt x="0" y="3786"/>
                          <a:pt x="267" y="7889"/>
                        </a:cubicBezTo>
                        <a:cubicBezTo>
                          <a:pt x="493" y="11846"/>
                          <a:pt x="3790" y="14873"/>
                          <a:pt x="7706" y="14873"/>
                        </a:cubicBezTo>
                        <a:cubicBezTo>
                          <a:pt x="7850" y="14873"/>
                          <a:pt x="7994" y="14869"/>
                          <a:pt x="8140" y="14860"/>
                        </a:cubicBezTo>
                        <a:cubicBezTo>
                          <a:pt x="12243" y="14594"/>
                          <a:pt x="15345" y="11058"/>
                          <a:pt x="15111" y="6988"/>
                        </a:cubicBezTo>
                        <a:cubicBezTo>
                          <a:pt x="14855" y="3048"/>
                          <a:pt x="11585" y="1"/>
                          <a:pt x="769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771" name="Google Shape;8771;p54"/>
                <p:cNvGrpSpPr/>
                <p:nvPr/>
              </p:nvGrpSpPr>
              <p:grpSpPr>
                <a:xfrm>
                  <a:off x="2159908" y="2065057"/>
                  <a:ext cx="550884" cy="310670"/>
                  <a:chOff x="2159908" y="2065057"/>
                  <a:chExt cx="550884" cy="310670"/>
                </a:xfrm>
              </p:grpSpPr>
              <p:cxnSp>
                <p:nvCxnSpPr>
                  <p:cNvPr id="8772" name="Google Shape;8772;p54"/>
                  <p:cNvCxnSpPr/>
                  <p:nvPr/>
                </p:nvCxnSpPr>
                <p:spPr>
                  <a:xfrm>
                    <a:off x="2159908" y="2065057"/>
                    <a:ext cx="454500" cy="2622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BAC8D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73" name="Google Shape;8773;p54"/>
                  <p:cNvSpPr/>
                  <p:nvPr/>
                </p:nvSpPr>
                <p:spPr>
                  <a:xfrm>
                    <a:off x="2607514" y="2275632"/>
                    <a:ext cx="103279" cy="1000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46" h="14873" extrusionOk="0">
                        <a:moveTo>
                          <a:pt x="7697" y="0"/>
                        </a:moveTo>
                        <a:cubicBezTo>
                          <a:pt x="7535" y="0"/>
                          <a:pt x="7371" y="5"/>
                          <a:pt x="7206" y="16"/>
                        </a:cubicBezTo>
                        <a:cubicBezTo>
                          <a:pt x="3103" y="250"/>
                          <a:pt x="1" y="3785"/>
                          <a:pt x="268" y="7888"/>
                        </a:cubicBezTo>
                        <a:cubicBezTo>
                          <a:pt x="493" y="11846"/>
                          <a:pt x="3790" y="14872"/>
                          <a:pt x="7706" y="14872"/>
                        </a:cubicBezTo>
                        <a:cubicBezTo>
                          <a:pt x="7850" y="14872"/>
                          <a:pt x="7994" y="14868"/>
                          <a:pt x="8140" y="14860"/>
                        </a:cubicBezTo>
                        <a:cubicBezTo>
                          <a:pt x="12243" y="14593"/>
                          <a:pt x="15345" y="11057"/>
                          <a:pt x="15112" y="6954"/>
                        </a:cubicBezTo>
                        <a:cubicBezTo>
                          <a:pt x="14855" y="3016"/>
                          <a:pt x="11588" y="0"/>
                          <a:pt x="7697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</p:grpSp>
      <p:grpSp>
        <p:nvGrpSpPr>
          <p:cNvPr id="8774" name="Google Shape;8774;p54"/>
          <p:cNvGrpSpPr/>
          <p:nvPr/>
        </p:nvGrpSpPr>
        <p:grpSpPr>
          <a:xfrm>
            <a:off x="732462" y="1766083"/>
            <a:ext cx="962651" cy="810058"/>
            <a:chOff x="844912" y="1681380"/>
            <a:chExt cx="935611" cy="787305"/>
          </a:xfrm>
        </p:grpSpPr>
        <p:grpSp>
          <p:nvGrpSpPr>
            <p:cNvPr id="8775" name="Google Shape;8775;p54"/>
            <p:cNvGrpSpPr/>
            <p:nvPr/>
          </p:nvGrpSpPr>
          <p:grpSpPr>
            <a:xfrm>
              <a:off x="844912" y="1819635"/>
              <a:ext cx="329836" cy="510016"/>
              <a:chOff x="844912" y="1819635"/>
              <a:chExt cx="329836" cy="510016"/>
            </a:xfrm>
          </p:grpSpPr>
          <p:sp>
            <p:nvSpPr>
              <p:cNvPr id="8776" name="Google Shape;8776;p54"/>
              <p:cNvSpPr/>
              <p:nvPr/>
            </p:nvSpPr>
            <p:spPr>
              <a:xfrm>
                <a:off x="844912" y="2015566"/>
                <a:ext cx="118283" cy="118477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7" name="Google Shape;8777;p54"/>
              <p:cNvSpPr/>
              <p:nvPr/>
            </p:nvSpPr>
            <p:spPr>
              <a:xfrm>
                <a:off x="1013654" y="2074499"/>
                <a:ext cx="148151" cy="238327"/>
              </a:xfrm>
              <a:custGeom>
                <a:avLst/>
                <a:gdLst/>
                <a:ahLst/>
                <a:cxnLst/>
                <a:rect l="l" t="t" r="r" b="b"/>
                <a:pathLst>
                  <a:path w="25153" h="40463" fill="none" extrusionOk="0">
                    <a:moveTo>
                      <a:pt x="25152" y="40463"/>
                    </a:moveTo>
                    <a:cubicBezTo>
                      <a:pt x="19315" y="40463"/>
                      <a:pt x="14378" y="32724"/>
                      <a:pt x="12777" y="22150"/>
                    </a:cubicBezTo>
                    <a:lnTo>
                      <a:pt x="12810" y="22350"/>
                    </a:lnTo>
                    <a:cubicBezTo>
                      <a:pt x="10542" y="7606"/>
                      <a:pt x="6372" y="1"/>
                      <a:pt x="1" y="1"/>
                    </a:cubicBezTo>
                    <a:lnTo>
                      <a:pt x="1" y="1"/>
                    </a:lnTo>
                  </a:path>
                </a:pathLst>
              </a:custGeom>
              <a:noFill/>
              <a:ln w="9525" cap="rnd" cmpd="sng">
                <a:solidFill>
                  <a:srgbClr val="435D74"/>
                </a:solidFill>
                <a:prstDash val="solid"/>
                <a:miter lim="3335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8" name="Google Shape;8778;p54"/>
              <p:cNvSpPr/>
              <p:nvPr/>
            </p:nvSpPr>
            <p:spPr>
              <a:xfrm>
                <a:off x="1013654" y="1836607"/>
                <a:ext cx="148151" cy="238327"/>
              </a:xfrm>
              <a:custGeom>
                <a:avLst/>
                <a:gdLst/>
                <a:ahLst/>
                <a:cxnLst/>
                <a:rect l="l" t="t" r="r" b="b"/>
                <a:pathLst>
                  <a:path w="25153" h="40463" fill="none" extrusionOk="0">
                    <a:moveTo>
                      <a:pt x="25152" y="0"/>
                    </a:moveTo>
                    <a:cubicBezTo>
                      <a:pt x="19315" y="0"/>
                      <a:pt x="14378" y="7706"/>
                      <a:pt x="12777" y="18313"/>
                    </a:cubicBezTo>
                    <a:lnTo>
                      <a:pt x="12810" y="18113"/>
                    </a:lnTo>
                    <a:cubicBezTo>
                      <a:pt x="10542" y="32857"/>
                      <a:pt x="6372" y="40462"/>
                      <a:pt x="1" y="40462"/>
                    </a:cubicBezTo>
                    <a:lnTo>
                      <a:pt x="1" y="40462"/>
                    </a:lnTo>
                  </a:path>
                </a:pathLst>
              </a:custGeom>
              <a:noFill/>
              <a:ln w="9525" cap="rnd" cmpd="sng">
                <a:solidFill>
                  <a:srgbClr val="435D74"/>
                </a:solidFill>
                <a:prstDash val="solid"/>
                <a:miter lim="3335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9" name="Google Shape;8779;p54"/>
              <p:cNvSpPr/>
              <p:nvPr/>
            </p:nvSpPr>
            <p:spPr>
              <a:xfrm>
                <a:off x="1004031" y="2056625"/>
                <a:ext cx="35958" cy="35958"/>
              </a:xfrm>
              <a:custGeom>
                <a:avLst/>
                <a:gdLst/>
                <a:ahLst/>
                <a:cxnLst/>
                <a:rect l="l" t="t" r="r" b="b"/>
                <a:pathLst>
                  <a:path w="6105" h="6105" extrusionOk="0">
                    <a:moveTo>
                      <a:pt x="3069" y="0"/>
                    </a:moveTo>
                    <a:cubicBezTo>
                      <a:pt x="1368" y="0"/>
                      <a:pt x="0" y="1368"/>
                      <a:pt x="0" y="3036"/>
                    </a:cubicBezTo>
                    <a:cubicBezTo>
                      <a:pt x="0" y="4737"/>
                      <a:pt x="1368" y="6105"/>
                      <a:pt x="3069" y="6105"/>
                    </a:cubicBezTo>
                    <a:cubicBezTo>
                      <a:pt x="4737" y="6105"/>
                      <a:pt x="6105" y="4737"/>
                      <a:pt x="6105" y="3036"/>
                    </a:cubicBezTo>
                    <a:cubicBezTo>
                      <a:pt x="6105" y="1368"/>
                      <a:pt x="4737" y="0"/>
                      <a:pt x="306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0" name="Google Shape;8780;p54"/>
              <p:cNvSpPr/>
              <p:nvPr/>
            </p:nvSpPr>
            <p:spPr>
              <a:xfrm>
                <a:off x="1149398" y="2295742"/>
                <a:ext cx="25351" cy="33909"/>
              </a:xfrm>
              <a:custGeom>
                <a:avLst/>
                <a:gdLst/>
                <a:ahLst/>
                <a:cxnLst/>
                <a:rect l="l" t="t" r="r" b="b"/>
                <a:pathLst>
                  <a:path w="4304" h="5757" extrusionOk="0">
                    <a:moveTo>
                      <a:pt x="509" y="0"/>
                    </a:moveTo>
                    <a:cubicBezTo>
                      <a:pt x="247" y="0"/>
                      <a:pt x="1" y="203"/>
                      <a:pt x="1" y="493"/>
                    </a:cubicBezTo>
                    <a:lnTo>
                      <a:pt x="1" y="5263"/>
                    </a:lnTo>
                    <a:cubicBezTo>
                      <a:pt x="1" y="5554"/>
                      <a:pt x="229" y="5757"/>
                      <a:pt x="482" y="5757"/>
                    </a:cubicBezTo>
                    <a:cubicBezTo>
                      <a:pt x="577" y="5757"/>
                      <a:pt x="676" y="5728"/>
                      <a:pt x="768" y="5664"/>
                    </a:cubicBezTo>
                    <a:lnTo>
                      <a:pt x="4003" y="3395"/>
                    </a:lnTo>
                    <a:cubicBezTo>
                      <a:pt x="4304" y="3195"/>
                      <a:pt x="4304" y="2795"/>
                      <a:pt x="4037" y="2595"/>
                    </a:cubicBezTo>
                    <a:lnTo>
                      <a:pt x="801" y="93"/>
                    </a:lnTo>
                    <a:cubicBezTo>
                      <a:pt x="710" y="29"/>
                      <a:pt x="608" y="0"/>
                      <a:pt x="50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1" name="Google Shape;8781;p54"/>
              <p:cNvSpPr/>
              <p:nvPr/>
            </p:nvSpPr>
            <p:spPr>
              <a:xfrm>
                <a:off x="1149398" y="1819635"/>
                <a:ext cx="25351" cy="34032"/>
              </a:xfrm>
              <a:custGeom>
                <a:avLst/>
                <a:gdLst/>
                <a:ahLst/>
                <a:cxnLst/>
                <a:rect l="l" t="t" r="r" b="b"/>
                <a:pathLst>
                  <a:path w="4304" h="5778" extrusionOk="0">
                    <a:moveTo>
                      <a:pt x="489" y="0"/>
                    </a:moveTo>
                    <a:cubicBezTo>
                      <a:pt x="234" y="0"/>
                      <a:pt x="1" y="207"/>
                      <a:pt x="1" y="514"/>
                    </a:cubicBezTo>
                    <a:lnTo>
                      <a:pt x="1" y="5284"/>
                    </a:lnTo>
                    <a:cubicBezTo>
                      <a:pt x="1" y="5574"/>
                      <a:pt x="229" y="5777"/>
                      <a:pt x="482" y="5777"/>
                    </a:cubicBezTo>
                    <a:cubicBezTo>
                      <a:pt x="577" y="5777"/>
                      <a:pt x="676" y="5748"/>
                      <a:pt x="768" y="5684"/>
                    </a:cubicBezTo>
                    <a:lnTo>
                      <a:pt x="4003" y="3382"/>
                    </a:lnTo>
                    <a:cubicBezTo>
                      <a:pt x="4304" y="3182"/>
                      <a:pt x="4304" y="2782"/>
                      <a:pt x="4037" y="2582"/>
                    </a:cubicBezTo>
                    <a:lnTo>
                      <a:pt x="801" y="113"/>
                    </a:lnTo>
                    <a:cubicBezTo>
                      <a:pt x="704" y="35"/>
                      <a:pt x="595" y="0"/>
                      <a:pt x="48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782" name="Google Shape;8782;p54"/>
            <p:cNvGrpSpPr/>
            <p:nvPr/>
          </p:nvGrpSpPr>
          <p:grpSpPr>
            <a:xfrm>
              <a:off x="1284601" y="2158168"/>
              <a:ext cx="495923" cy="310517"/>
              <a:chOff x="1284601" y="2158168"/>
              <a:chExt cx="495923" cy="310517"/>
            </a:xfrm>
          </p:grpSpPr>
          <p:sp>
            <p:nvSpPr>
              <p:cNvPr id="8783" name="Google Shape;8783;p54"/>
              <p:cNvSpPr/>
              <p:nvPr/>
            </p:nvSpPr>
            <p:spPr>
              <a:xfrm>
                <a:off x="1284601" y="2265773"/>
                <a:ext cx="93683" cy="93836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784" name="Google Shape;8784;p54"/>
              <p:cNvGrpSpPr/>
              <p:nvPr/>
            </p:nvGrpSpPr>
            <p:grpSpPr>
              <a:xfrm>
                <a:off x="1507666" y="2158168"/>
                <a:ext cx="272858" cy="310517"/>
                <a:chOff x="1507666" y="2158168"/>
                <a:chExt cx="272858" cy="310517"/>
              </a:xfrm>
            </p:grpSpPr>
            <p:grpSp>
              <p:nvGrpSpPr>
                <p:cNvPr id="8785" name="Google Shape;8785;p54"/>
                <p:cNvGrpSpPr/>
                <p:nvPr/>
              </p:nvGrpSpPr>
              <p:grpSpPr>
                <a:xfrm>
                  <a:off x="1507666" y="2176104"/>
                  <a:ext cx="166395" cy="273149"/>
                  <a:chOff x="1507666" y="2176104"/>
                  <a:chExt cx="166395" cy="273149"/>
                </a:xfrm>
              </p:grpSpPr>
              <p:sp>
                <p:nvSpPr>
                  <p:cNvPr id="8786" name="Google Shape;8786;p54"/>
                  <p:cNvSpPr/>
                  <p:nvPr/>
                </p:nvSpPr>
                <p:spPr>
                  <a:xfrm>
                    <a:off x="1512966" y="2312791"/>
                    <a:ext cx="75451" cy="660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209" fill="none" extrusionOk="0">
                        <a:moveTo>
                          <a:pt x="1" y="0"/>
                        </a:moveTo>
                        <a:lnTo>
                          <a:pt x="1" y="0"/>
                        </a:lnTo>
                        <a:cubicBezTo>
                          <a:pt x="6372" y="0"/>
                          <a:pt x="10542" y="3803"/>
                          <a:pt x="12810" y="11208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7" name="Google Shape;8787;p54"/>
                  <p:cNvSpPr/>
                  <p:nvPr/>
                </p:nvSpPr>
                <p:spPr>
                  <a:xfrm>
                    <a:off x="1588205" y="2193153"/>
                    <a:ext cx="72901" cy="540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4" fill="none" extrusionOk="0">
                        <a:moveTo>
                          <a:pt x="1" y="9174"/>
                        </a:moveTo>
                        <a:cubicBezTo>
                          <a:pt x="1635" y="3870"/>
                          <a:pt x="6539" y="0"/>
                          <a:pt x="12376" y="0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8" name="Google Shape;8788;p54"/>
                  <p:cNvSpPr/>
                  <p:nvPr/>
                </p:nvSpPr>
                <p:spPr>
                  <a:xfrm>
                    <a:off x="1588205" y="2378202"/>
                    <a:ext cx="72901" cy="5404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5" fill="none" extrusionOk="0">
                        <a:moveTo>
                          <a:pt x="1" y="1"/>
                        </a:moveTo>
                        <a:cubicBezTo>
                          <a:pt x="1635" y="5305"/>
                          <a:pt x="6539" y="9174"/>
                          <a:pt x="12376" y="9174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9" name="Google Shape;8789;p54"/>
                  <p:cNvSpPr/>
                  <p:nvPr/>
                </p:nvSpPr>
                <p:spPr>
                  <a:xfrm>
                    <a:off x="1512966" y="2246980"/>
                    <a:ext cx="75451" cy="658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175" fill="none" extrusionOk="0">
                        <a:moveTo>
                          <a:pt x="1" y="11175"/>
                        </a:moveTo>
                        <a:cubicBezTo>
                          <a:pt x="6539" y="11175"/>
                          <a:pt x="10275" y="7105"/>
                          <a:pt x="12810" y="0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0" name="Google Shape;8790;p54"/>
                  <p:cNvSpPr/>
                  <p:nvPr/>
                </p:nvSpPr>
                <p:spPr>
                  <a:xfrm>
                    <a:off x="1507666" y="2294782"/>
                    <a:ext cx="37926" cy="358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39" h="6082" extrusionOk="0">
                        <a:moveTo>
                          <a:pt x="3241" y="0"/>
                        </a:moveTo>
                        <a:cubicBezTo>
                          <a:pt x="3118" y="0"/>
                          <a:pt x="2994" y="8"/>
                          <a:pt x="2869" y="23"/>
                        </a:cubicBezTo>
                        <a:cubicBezTo>
                          <a:pt x="1168" y="223"/>
                          <a:pt x="0" y="1724"/>
                          <a:pt x="200" y="3392"/>
                        </a:cubicBezTo>
                        <a:cubicBezTo>
                          <a:pt x="386" y="4937"/>
                          <a:pt x="1717" y="6082"/>
                          <a:pt x="3239" y="6082"/>
                        </a:cubicBezTo>
                        <a:cubicBezTo>
                          <a:pt x="3359" y="6082"/>
                          <a:pt x="3481" y="6075"/>
                          <a:pt x="3603" y="6060"/>
                        </a:cubicBezTo>
                        <a:cubicBezTo>
                          <a:pt x="5271" y="5860"/>
                          <a:pt x="6438" y="4326"/>
                          <a:pt x="6238" y="2658"/>
                        </a:cubicBezTo>
                        <a:cubicBezTo>
                          <a:pt x="6053" y="1115"/>
                          <a:pt x="4754" y="0"/>
                          <a:pt x="3241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1" name="Google Shape;8791;p54"/>
                  <p:cNvSpPr/>
                  <p:nvPr/>
                </p:nvSpPr>
                <p:spPr>
                  <a:xfrm>
                    <a:off x="1648710" y="2415180"/>
                    <a:ext cx="25351" cy="3407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85" extrusionOk="0">
                        <a:moveTo>
                          <a:pt x="509" y="0"/>
                        </a:moveTo>
                        <a:cubicBezTo>
                          <a:pt x="247" y="0"/>
                          <a:pt x="1" y="203"/>
                          <a:pt x="1" y="493"/>
                        </a:cubicBezTo>
                        <a:lnTo>
                          <a:pt x="1" y="5264"/>
                        </a:lnTo>
                        <a:cubicBezTo>
                          <a:pt x="1" y="5561"/>
                          <a:pt x="240" y="5784"/>
                          <a:pt x="499" y="5784"/>
                        </a:cubicBezTo>
                        <a:cubicBezTo>
                          <a:pt x="589" y="5784"/>
                          <a:pt x="682" y="5757"/>
                          <a:pt x="768" y="5697"/>
                        </a:cubicBezTo>
                        <a:lnTo>
                          <a:pt x="4037" y="3396"/>
                        </a:lnTo>
                        <a:cubicBezTo>
                          <a:pt x="4304" y="3195"/>
                          <a:pt x="4304" y="2795"/>
                          <a:pt x="4037" y="2595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0"/>
                          <a:pt x="50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2" name="Google Shape;8792;p54"/>
                  <p:cNvSpPr/>
                  <p:nvPr/>
                </p:nvSpPr>
                <p:spPr>
                  <a:xfrm>
                    <a:off x="1648710" y="2176104"/>
                    <a:ext cx="25351" cy="3410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90" extrusionOk="0">
                        <a:moveTo>
                          <a:pt x="509" y="1"/>
                        </a:moveTo>
                        <a:cubicBezTo>
                          <a:pt x="247" y="1"/>
                          <a:pt x="1" y="203"/>
                          <a:pt x="1" y="494"/>
                        </a:cubicBezTo>
                        <a:lnTo>
                          <a:pt x="1" y="5264"/>
                        </a:lnTo>
                        <a:cubicBezTo>
                          <a:pt x="1" y="5580"/>
                          <a:pt x="231" y="5790"/>
                          <a:pt x="485" y="5790"/>
                        </a:cubicBezTo>
                        <a:cubicBezTo>
                          <a:pt x="580" y="5790"/>
                          <a:pt x="677" y="5761"/>
                          <a:pt x="768" y="5697"/>
                        </a:cubicBezTo>
                        <a:lnTo>
                          <a:pt x="4037" y="3396"/>
                        </a:lnTo>
                        <a:cubicBezTo>
                          <a:pt x="4304" y="3196"/>
                          <a:pt x="4304" y="2795"/>
                          <a:pt x="4037" y="2595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1"/>
                          <a:pt x="509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8793" name="Google Shape;8793;p54"/>
                <p:cNvSpPr/>
                <p:nvPr/>
              </p:nvSpPr>
              <p:spPr>
                <a:xfrm>
                  <a:off x="1707626" y="2395718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794" name="Google Shape;8794;p54"/>
                <p:cNvSpPr/>
                <p:nvPr/>
              </p:nvSpPr>
              <p:spPr>
                <a:xfrm>
                  <a:off x="1707626" y="2158168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795" name="Google Shape;8795;p54"/>
            <p:cNvGrpSpPr/>
            <p:nvPr/>
          </p:nvGrpSpPr>
          <p:grpSpPr>
            <a:xfrm>
              <a:off x="1284601" y="1681380"/>
              <a:ext cx="495923" cy="310517"/>
              <a:chOff x="1284601" y="1681380"/>
              <a:chExt cx="495923" cy="310517"/>
            </a:xfrm>
          </p:grpSpPr>
          <p:sp>
            <p:nvSpPr>
              <p:cNvPr id="8796" name="Google Shape;8796;p54"/>
              <p:cNvSpPr/>
              <p:nvPr/>
            </p:nvSpPr>
            <p:spPr>
              <a:xfrm>
                <a:off x="1284601" y="1789723"/>
                <a:ext cx="93683" cy="93836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797" name="Google Shape;8797;p54"/>
              <p:cNvGrpSpPr/>
              <p:nvPr/>
            </p:nvGrpSpPr>
            <p:grpSpPr>
              <a:xfrm>
                <a:off x="1507666" y="1681380"/>
                <a:ext cx="272858" cy="310517"/>
                <a:chOff x="1507666" y="1681380"/>
                <a:chExt cx="272858" cy="310517"/>
              </a:xfrm>
            </p:grpSpPr>
            <p:grpSp>
              <p:nvGrpSpPr>
                <p:cNvPr id="8798" name="Google Shape;8798;p54"/>
                <p:cNvGrpSpPr/>
                <p:nvPr/>
              </p:nvGrpSpPr>
              <p:grpSpPr>
                <a:xfrm>
                  <a:off x="1507666" y="1700120"/>
                  <a:ext cx="166395" cy="272984"/>
                  <a:chOff x="1507666" y="1700120"/>
                  <a:chExt cx="166395" cy="272984"/>
                </a:xfrm>
              </p:grpSpPr>
              <p:sp>
                <p:nvSpPr>
                  <p:cNvPr id="8799" name="Google Shape;8799;p54"/>
                  <p:cNvSpPr/>
                  <p:nvPr/>
                </p:nvSpPr>
                <p:spPr>
                  <a:xfrm>
                    <a:off x="1512966" y="1836607"/>
                    <a:ext cx="75451" cy="660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209" fill="none" extrusionOk="0">
                        <a:moveTo>
                          <a:pt x="1" y="0"/>
                        </a:moveTo>
                        <a:lnTo>
                          <a:pt x="1" y="0"/>
                        </a:lnTo>
                        <a:cubicBezTo>
                          <a:pt x="6372" y="0"/>
                          <a:pt x="10542" y="3803"/>
                          <a:pt x="12810" y="11208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0" name="Google Shape;8800;p54"/>
                  <p:cNvSpPr/>
                  <p:nvPr/>
                </p:nvSpPr>
                <p:spPr>
                  <a:xfrm>
                    <a:off x="1588205" y="1716969"/>
                    <a:ext cx="72901" cy="542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208" fill="none" extrusionOk="0">
                        <a:moveTo>
                          <a:pt x="1" y="9207"/>
                        </a:moveTo>
                        <a:cubicBezTo>
                          <a:pt x="1635" y="3870"/>
                          <a:pt x="6539" y="1"/>
                          <a:pt x="12376" y="1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1" name="Google Shape;8801;p54"/>
                  <p:cNvSpPr/>
                  <p:nvPr/>
                </p:nvSpPr>
                <p:spPr>
                  <a:xfrm>
                    <a:off x="1588205" y="1902024"/>
                    <a:ext cx="72901" cy="540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4" fill="none" extrusionOk="0">
                        <a:moveTo>
                          <a:pt x="1" y="0"/>
                        </a:moveTo>
                        <a:cubicBezTo>
                          <a:pt x="1635" y="5304"/>
                          <a:pt x="6539" y="9173"/>
                          <a:pt x="12376" y="9173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2" name="Google Shape;8802;p54"/>
                  <p:cNvSpPr/>
                  <p:nvPr/>
                </p:nvSpPr>
                <p:spPr>
                  <a:xfrm>
                    <a:off x="1512966" y="1770990"/>
                    <a:ext cx="75451" cy="6563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143" fill="none" extrusionOk="0">
                        <a:moveTo>
                          <a:pt x="1" y="11142"/>
                        </a:moveTo>
                        <a:cubicBezTo>
                          <a:pt x="6539" y="11142"/>
                          <a:pt x="10275" y="7106"/>
                          <a:pt x="12810" y="1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3" name="Google Shape;8803;p54"/>
                  <p:cNvSpPr/>
                  <p:nvPr/>
                </p:nvSpPr>
                <p:spPr>
                  <a:xfrm>
                    <a:off x="1507666" y="1818598"/>
                    <a:ext cx="37926" cy="360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39" h="6116" extrusionOk="0">
                        <a:moveTo>
                          <a:pt x="3199" y="1"/>
                        </a:moveTo>
                        <a:cubicBezTo>
                          <a:pt x="3079" y="1"/>
                          <a:pt x="2958" y="8"/>
                          <a:pt x="2835" y="23"/>
                        </a:cubicBezTo>
                        <a:cubicBezTo>
                          <a:pt x="1168" y="256"/>
                          <a:pt x="0" y="1757"/>
                          <a:pt x="200" y="3425"/>
                        </a:cubicBezTo>
                        <a:cubicBezTo>
                          <a:pt x="386" y="4971"/>
                          <a:pt x="1717" y="6115"/>
                          <a:pt x="3239" y="6115"/>
                        </a:cubicBezTo>
                        <a:cubicBezTo>
                          <a:pt x="3359" y="6115"/>
                          <a:pt x="3481" y="6108"/>
                          <a:pt x="3603" y="6094"/>
                        </a:cubicBezTo>
                        <a:cubicBezTo>
                          <a:pt x="5271" y="5860"/>
                          <a:pt x="6438" y="4359"/>
                          <a:pt x="6238" y="2691"/>
                        </a:cubicBezTo>
                        <a:cubicBezTo>
                          <a:pt x="6052" y="1145"/>
                          <a:pt x="4721" y="1"/>
                          <a:pt x="3199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4" name="Google Shape;8804;p54"/>
                  <p:cNvSpPr/>
                  <p:nvPr/>
                </p:nvSpPr>
                <p:spPr>
                  <a:xfrm>
                    <a:off x="1648710" y="1939072"/>
                    <a:ext cx="25351" cy="3403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78" extrusionOk="0">
                        <a:moveTo>
                          <a:pt x="489" y="0"/>
                        </a:moveTo>
                        <a:cubicBezTo>
                          <a:pt x="234" y="0"/>
                          <a:pt x="1" y="207"/>
                          <a:pt x="1" y="514"/>
                        </a:cubicBezTo>
                        <a:lnTo>
                          <a:pt x="1" y="5284"/>
                        </a:lnTo>
                        <a:cubicBezTo>
                          <a:pt x="1" y="5575"/>
                          <a:pt x="229" y="5777"/>
                          <a:pt x="482" y="5777"/>
                        </a:cubicBezTo>
                        <a:cubicBezTo>
                          <a:pt x="577" y="5777"/>
                          <a:pt x="676" y="5748"/>
                          <a:pt x="768" y="5684"/>
                        </a:cubicBezTo>
                        <a:lnTo>
                          <a:pt x="4037" y="3383"/>
                        </a:lnTo>
                        <a:cubicBezTo>
                          <a:pt x="4304" y="3183"/>
                          <a:pt x="4304" y="2782"/>
                          <a:pt x="4037" y="2582"/>
                        </a:cubicBezTo>
                        <a:lnTo>
                          <a:pt x="801" y="114"/>
                        </a:lnTo>
                        <a:cubicBezTo>
                          <a:pt x="704" y="36"/>
                          <a:pt x="595" y="0"/>
                          <a:pt x="48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5" name="Google Shape;8805;p54"/>
                  <p:cNvSpPr/>
                  <p:nvPr/>
                </p:nvSpPr>
                <p:spPr>
                  <a:xfrm>
                    <a:off x="1648710" y="1700120"/>
                    <a:ext cx="25351" cy="339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57" extrusionOk="0">
                        <a:moveTo>
                          <a:pt x="509" y="0"/>
                        </a:moveTo>
                        <a:cubicBezTo>
                          <a:pt x="247" y="0"/>
                          <a:pt x="1" y="203"/>
                          <a:pt x="1" y="493"/>
                        </a:cubicBezTo>
                        <a:lnTo>
                          <a:pt x="1" y="5263"/>
                        </a:lnTo>
                        <a:cubicBezTo>
                          <a:pt x="1" y="5554"/>
                          <a:pt x="229" y="5757"/>
                          <a:pt x="482" y="5757"/>
                        </a:cubicBezTo>
                        <a:cubicBezTo>
                          <a:pt x="577" y="5757"/>
                          <a:pt x="676" y="5728"/>
                          <a:pt x="768" y="5664"/>
                        </a:cubicBezTo>
                        <a:lnTo>
                          <a:pt x="4037" y="3395"/>
                        </a:lnTo>
                        <a:cubicBezTo>
                          <a:pt x="4304" y="3195"/>
                          <a:pt x="4304" y="2795"/>
                          <a:pt x="4037" y="2561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0"/>
                          <a:pt x="50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8806" name="Google Shape;8806;p54"/>
                <p:cNvSpPr/>
                <p:nvPr/>
              </p:nvSpPr>
              <p:spPr>
                <a:xfrm>
                  <a:off x="1707626" y="1918930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807" name="Google Shape;8807;p54"/>
                <p:cNvSpPr/>
                <p:nvPr/>
              </p:nvSpPr>
              <p:spPr>
                <a:xfrm>
                  <a:off x="1707626" y="1681380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8808" name="Google Shape;8808;p54"/>
          <p:cNvGrpSpPr/>
          <p:nvPr/>
        </p:nvGrpSpPr>
        <p:grpSpPr>
          <a:xfrm>
            <a:off x="6841403" y="2533512"/>
            <a:ext cx="1622269" cy="552443"/>
            <a:chOff x="6894650" y="2574740"/>
            <a:chExt cx="1445100" cy="492111"/>
          </a:xfrm>
        </p:grpSpPr>
        <p:sp>
          <p:nvSpPr>
            <p:cNvPr id="8809" name="Google Shape;8809;p54"/>
            <p:cNvSpPr/>
            <p:nvPr/>
          </p:nvSpPr>
          <p:spPr>
            <a:xfrm>
              <a:off x="7151862" y="2854413"/>
              <a:ext cx="414806" cy="212438"/>
            </a:xfrm>
            <a:custGeom>
              <a:avLst/>
              <a:gdLst/>
              <a:ahLst/>
              <a:cxnLst/>
              <a:rect l="l" t="t" r="r" b="b"/>
              <a:pathLst>
                <a:path w="12481" h="6392" extrusionOk="0">
                  <a:moveTo>
                    <a:pt x="2" y="0"/>
                  </a:moveTo>
                  <a:lnTo>
                    <a:pt x="2" y="66"/>
                  </a:lnTo>
                  <a:cubicBezTo>
                    <a:pt x="0" y="3558"/>
                    <a:pt x="2794" y="6391"/>
                    <a:pt x="6241" y="6391"/>
                  </a:cubicBezTo>
                  <a:cubicBezTo>
                    <a:pt x="9687" y="6391"/>
                    <a:pt x="12481" y="3558"/>
                    <a:pt x="12481" y="66"/>
                  </a:cubicBezTo>
                  <a:lnTo>
                    <a:pt x="12481" y="0"/>
                  </a:lnTo>
                  <a:lnTo>
                    <a:pt x="7664" y="0"/>
                  </a:lnTo>
                  <a:cubicBezTo>
                    <a:pt x="7664" y="12"/>
                    <a:pt x="7666" y="23"/>
                    <a:pt x="7666" y="32"/>
                  </a:cubicBezTo>
                  <a:cubicBezTo>
                    <a:pt x="7666" y="838"/>
                    <a:pt x="7022" y="1490"/>
                    <a:pt x="6229" y="1490"/>
                  </a:cubicBezTo>
                  <a:cubicBezTo>
                    <a:pt x="5435" y="1490"/>
                    <a:pt x="4793" y="838"/>
                    <a:pt x="4793" y="32"/>
                  </a:cubicBezTo>
                  <a:cubicBezTo>
                    <a:pt x="4793" y="23"/>
                    <a:pt x="4795" y="12"/>
                    <a:pt x="47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0" name="Google Shape;8810;p54"/>
            <p:cNvSpPr/>
            <p:nvPr/>
          </p:nvSpPr>
          <p:spPr>
            <a:xfrm>
              <a:off x="7664213" y="2854413"/>
              <a:ext cx="414806" cy="212438"/>
            </a:xfrm>
            <a:custGeom>
              <a:avLst/>
              <a:gdLst/>
              <a:ahLst/>
              <a:cxnLst/>
              <a:rect l="l" t="t" r="r" b="b"/>
              <a:pathLst>
                <a:path w="12481" h="6392" extrusionOk="0">
                  <a:moveTo>
                    <a:pt x="2" y="0"/>
                  </a:moveTo>
                  <a:lnTo>
                    <a:pt x="2" y="66"/>
                  </a:lnTo>
                  <a:cubicBezTo>
                    <a:pt x="0" y="3558"/>
                    <a:pt x="2794" y="6391"/>
                    <a:pt x="6241" y="6391"/>
                  </a:cubicBezTo>
                  <a:cubicBezTo>
                    <a:pt x="9687" y="6391"/>
                    <a:pt x="12481" y="3558"/>
                    <a:pt x="12481" y="66"/>
                  </a:cubicBezTo>
                  <a:lnTo>
                    <a:pt x="12481" y="0"/>
                  </a:lnTo>
                  <a:lnTo>
                    <a:pt x="7664" y="0"/>
                  </a:lnTo>
                  <a:cubicBezTo>
                    <a:pt x="7664" y="12"/>
                    <a:pt x="7666" y="23"/>
                    <a:pt x="7666" y="32"/>
                  </a:cubicBezTo>
                  <a:cubicBezTo>
                    <a:pt x="7666" y="838"/>
                    <a:pt x="7022" y="1490"/>
                    <a:pt x="6229" y="1490"/>
                  </a:cubicBezTo>
                  <a:cubicBezTo>
                    <a:pt x="5437" y="1490"/>
                    <a:pt x="4793" y="838"/>
                    <a:pt x="4793" y="32"/>
                  </a:cubicBezTo>
                  <a:cubicBezTo>
                    <a:pt x="4793" y="23"/>
                    <a:pt x="4795" y="12"/>
                    <a:pt x="47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1" name="Google Shape;8811;p54"/>
            <p:cNvSpPr/>
            <p:nvPr/>
          </p:nvSpPr>
          <p:spPr>
            <a:xfrm>
              <a:off x="6895687" y="2575804"/>
              <a:ext cx="420489" cy="212471"/>
            </a:xfrm>
            <a:custGeom>
              <a:avLst/>
              <a:gdLst/>
              <a:ahLst/>
              <a:cxnLst/>
              <a:rect l="l" t="t" r="r" b="b"/>
              <a:pathLst>
                <a:path w="12652" h="6393" extrusionOk="0">
                  <a:moveTo>
                    <a:pt x="6326" y="0"/>
                  </a:moveTo>
                  <a:cubicBezTo>
                    <a:pt x="2832" y="0"/>
                    <a:pt x="1" y="2833"/>
                    <a:pt x="1" y="6326"/>
                  </a:cubicBezTo>
                  <a:lnTo>
                    <a:pt x="1" y="6393"/>
                  </a:lnTo>
                  <a:lnTo>
                    <a:pt x="4883" y="6393"/>
                  </a:lnTo>
                  <a:cubicBezTo>
                    <a:pt x="4883" y="6382"/>
                    <a:pt x="4882" y="6370"/>
                    <a:pt x="4882" y="6359"/>
                  </a:cubicBezTo>
                  <a:cubicBezTo>
                    <a:pt x="4882" y="5555"/>
                    <a:pt x="5534" y="4904"/>
                    <a:pt x="6337" y="4904"/>
                  </a:cubicBezTo>
                  <a:cubicBezTo>
                    <a:pt x="7141" y="4904"/>
                    <a:pt x="7793" y="5555"/>
                    <a:pt x="7793" y="6359"/>
                  </a:cubicBezTo>
                  <a:cubicBezTo>
                    <a:pt x="7793" y="6370"/>
                    <a:pt x="7791" y="6382"/>
                    <a:pt x="7791" y="6393"/>
                  </a:cubicBezTo>
                  <a:lnTo>
                    <a:pt x="12651" y="6393"/>
                  </a:lnTo>
                  <a:lnTo>
                    <a:pt x="12651" y="6326"/>
                  </a:lnTo>
                  <a:cubicBezTo>
                    <a:pt x="12651" y="2833"/>
                    <a:pt x="9820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2" name="Google Shape;8812;p54"/>
            <p:cNvSpPr/>
            <p:nvPr/>
          </p:nvSpPr>
          <p:spPr>
            <a:xfrm>
              <a:off x="7399530" y="2574740"/>
              <a:ext cx="420489" cy="212438"/>
            </a:xfrm>
            <a:custGeom>
              <a:avLst/>
              <a:gdLst/>
              <a:ahLst/>
              <a:cxnLst/>
              <a:rect l="l" t="t" r="r" b="b"/>
              <a:pathLst>
                <a:path w="12652" h="6392" extrusionOk="0">
                  <a:moveTo>
                    <a:pt x="6326" y="0"/>
                  </a:moveTo>
                  <a:cubicBezTo>
                    <a:pt x="2832" y="0"/>
                    <a:pt x="1" y="2832"/>
                    <a:pt x="1" y="6326"/>
                  </a:cubicBezTo>
                  <a:lnTo>
                    <a:pt x="1" y="6391"/>
                  </a:lnTo>
                  <a:lnTo>
                    <a:pt x="4883" y="6391"/>
                  </a:lnTo>
                  <a:cubicBezTo>
                    <a:pt x="4883" y="6380"/>
                    <a:pt x="4882" y="6369"/>
                    <a:pt x="4882" y="6358"/>
                  </a:cubicBezTo>
                  <a:cubicBezTo>
                    <a:pt x="4882" y="5554"/>
                    <a:pt x="5533" y="4902"/>
                    <a:pt x="6337" y="4902"/>
                  </a:cubicBezTo>
                  <a:cubicBezTo>
                    <a:pt x="7141" y="4902"/>
                    <a:pt x="7793" y="5554"/>
                    <a:pt x="7793" y="6358"/>
                  </a:cubicBezTo>
                  <a:cubicBezTo>
                    <a:pt x="7793" y="6369"/>
                    <a:pt x="7791" y="6380"/>
                    <a:pt x="7791" y="6391"/>
                  </a:cubicBezTo>
                  <a:lnTo>
                    <a:pt x="12650" y="6391"/>
                  </a:lnTo>
                  <a:lnTo>
                    <a:pt x="12650" y="6326"/>
                  </a:lnTo>
                  <a:cubicBezTo>
                    <a:pt x="12651" y="2833"/>
                    <a:pt x="9819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3" name="Google Shape;8813;p54"/>
            <p:cNvSpPr/>
            <p:nvPr/>
          </p:nvSpPr>
          <p:spPr>
            <a:xfrm>
              <a:off x="7911880" y="2574740"/>
              <a:ext cx="420489" cy="212438"/>
            </a:xfrm>
            <a:custGeom>
              <a:avLst/>
              <a:gdLst/>
              <a:ahLst/>
              <a:cxnLst/>
              <a:rect l="l" t="t" r="r" b="b"/>
              <a:pathLst>
                <a:path w="12652" h="6392" extrusionOk="0">
                  <a:moveTo>
                    <a:pt x="6326" y="0"/>
                  </a:moveTo>
                  <a:cubicBezTo>
                    <a:pt x="2832" y="0"/>
                    <a:pt x="1" y="2832"/>
                    <a:pt x="1" y="6326"/>
                  </a:cubicBezTo>
                  <a:lnTo>
                    <a:pt x="1" y="6391"/>
                  </a:lnTo>
                  <a:lnTo>
                    <a:pt x="4883" y="6391"/>
                  </a:lnTo>
                  <a:cubicBezTo>
                    <a:pt x="4883" y="6380"/>
                    <a:pt x="4882" y="6369"/>
                    <a:pt x="4882" y="6358"/>
                  </a:cubicBezTo>
                  <a:cubicBezTo>
                    <a:pt x="4882" y="5554"/>
                    <a:pt x="5533" y="4902"/>
                    <a:pt x="6337" y="4902"/>
                  </a:cubicBezTo>
                  <a:cubicBezTo>
                    <a:pt x="7141" y="4902"/>
                    <a:pt x="7793" y="5554"/>
                    <a:pt x="7793" y="6358"/>
                  </a:cubicBezTo>
                  <a:cubicBezTo>
                    <a:pt x="7793" y="6369"/>
                    <a:pt x="7791" y="6380"/>
                    <a:pt x="7791" y="6391"/>
                  </a:cubicBezTo>
                  <a:lnTo>
                    <a:pt x="12650" y="6391"/>
                  </a:lnTo>
                  <a:lnTo>
                    <a:pt x="12650" y="6326"/>
                  </a:lnTo>
                  <a:cubicBezTo>
                    <a:pt x="12651" y="2833"/>
                    <a:pt x="9819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814" name="Google Shape;8814;p54"/>
            <p:cNvCxnSpPr/>
            <p:nvPr/>
          </p:nvCxnSpPr>
          <p:spPr>
            <a:xfrm>
              <a:off x="6894650" y="2821921"/>
              <a:ext cx="1445100" cy="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815" name="Google Shape;8815;p54"/>
          <p:cNvGrpSpPr/>
          <p:nvPr/>
        </p:nvGrpSpPr>
        <p:grpSpPr>
          <a:xfrm>
            <a:off x="6860946" y="3907768"/>
            <a:ext cx="1583206" cy="475705"/>
            <a:chOff x="6953919" y="3907920"/>
            <a:chExt cx="1377300" cy="475705"/>
          </a:xfrm>
        </p:grpSpPr>
        <p:cxnSp>
          <p:nvCxnSpPr>
            <p:cNvPr id="8816" name="Google Shape;8816;p54"/>
            <p:cNvCxnSpPr/>
            <p:nvPr/>
          </p:nvCxnSpPr>
          <p:spPr>
            <a:xfrm rot="10800000">
              <a:off x="7118546" y="4100689"/>
              <a:ext cx="0" cy="185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7" name="Google Shape;8817;p54"/>
            <p:cNvCxnSpPr/>
            <p:nvPr/>
          </p:nvCxnSpPr>
          <p:spPr>
            <a:xfrm>
              <a:off x="7480500" y="4197025"/>
              <a:ext cx="0" cy="1866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8" name="Google Shape;8818;p54"/>
            <p:cNvCxnSpPr/>
            <p:nvPr/>
          </p:nvCxnSpPr>
          <p:spPr>
            <a:xfrm rot="10800000">
              <a:off x="7848574" y="3907920"/>
              <a:ext cx="0" cy="185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9" name="Google Shape;8819;p54"/>
            <p:cNvCxnSpPr/>
            <p:nvPr/>
          </p:nvCxnSpPr>
          <p:spPr>
            <a:xfrm>
              <a:off x="8218032" y="3997243"/>
              <a:ext cx="0" cy="197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20" name="Google Shape;8820;p54"/>
            <p:cNvCxnSpPr/>
            <p:nvPr/>
          </p:nvCxnSpPr>
          <p:spPr>
            <a:xfrm flipH="1">
              <a:off x="6953919" y="3961822"/>
              <a:ext cx="1377300" cy="376800"/>
            </a:xfrm>
            <a:prstGeom prst="straightConnector1">
              <a:avLst/>
            </a:prstGeom>
            <a:noFill/>
            <a:ln w="19050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821" name="Google Shape;8821;p54"/>
          <p:cNvGrpSpPr/>
          <p:nvPr/>
        </p:nvGrpSpPr>
        <p:grpSpPr>
          <a:xfrm>
            <a:off x="2364534" y="2668913"/>
            <a:ext cx="836286" cy="824529"/>
            <a:chOff x="2389399" y="2595741"/>
            <a:chExt cx="812796" cy="801369"/>
          </a:xfrm>
        </p:grpSpPr>
        <p:grpSp>
          <p:nvGrpSpPr>
            <p:cNvPr id="8822" name="Google Shape;8822;p54"/>
            <p:cNvGrpSpPr/>
            <p:nvPr/>
          </p:nvGrpSpPr>
          <p:grpSpPr>
            <a:xfrm>
              <a:off x="2492145" y="2881565"/>
              <a:ext cx="607300" cy="229751"/>
              <a:chOff x="2492145" y="2881565"/>
              <a:chExt cx="607300" cy="229751"/>
            </a:xfrm>
          </p:grpSpPr>
          <p:sp>
            <p:nvSpPr>
              <p:cNvPr id="8823" name="Google Shape;8823;p54"/>
              <p:cNvSpPr/>
              <p:nvPr/>
            </p:nvSpPr>
            <p:spPr>
              <a:xfrm>
                <a:off x="2530550" y="2913581"/>
                <a:ext cx="530589" cy="165697"/>
              </a:xfrm>
              <a:custGeom>
                <a:avLst/>
                <a:gdLst/>
                <a:ahLst/>
                <a:cxnLst/>
                <a:rect l="l" t="t" r="r" b="b"/>
                <a:pathLst>
                  <a:path w="116549" h="36397" extrusionOk="0">
                    <a:moveTo>
                      <a:pt x="18199" y="1"/>
                    </a:moveTo>
                    <a:cubicBezTo>
                      <a:pt x="8148" y="1"/>
                      <a:pt x="1" y="8148"/>
                      <a:pt x="1" y="18198"/>
                    </a:cubicBezTo>
                    <a:cubicBezTo>
                      <a:pt x="1" y="28249"/>
                      <a:pt x="8148" y="36396"/>
                      <a:pt x="18199" y="36396"/>
                    </a:cubicBezTo>
                    <a:lnTo>
                      <a:pt x="98350" y="36396"/>
                    </a:lnTo>
                    <a:cubicBezTo>
                      <a:pt x="108401" y="36396"/>
                      <a:pt x="116548" y="28249"/>
                      <a:pt x="116548" y="18198"/>
                    </a:cubicBezTo>
                    <a:cubicBezTo>
                      <a:pt x="116548" y="8148"/>
                      <a:pt x="108401" y="1"/>
                      <a:pt x="9835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24" name="Google Shape;8824;p54"/>
              <p:cNvSpPr/>
              <p:nvPr/>
            </p:nvSpPr>
            <p:spPr>
              <a:xfrm>
                <a:off x="2886492" y="2881565"/>
                <a:ext cx="212952" cy="229751"/>
              </a:xfrm>
              <a:custGeom>
                <a:avLst/>
                <a:gdLst/>
                <a:ahLst/>
                <a:cxnLst/>
                <a:rect l="l" t="t" r="r" b="b"/>
                <a:pathLst>
                  <a:path w="46777" h="50467" extrusionOk="0">
                    <a:moveTo>
                      <a:pt x="1" y="1"/>
                    </a:moveTo>
                    <a:lnTo>
                      <a:pt x="1" y="1458"/>
                    </a:lnTo>
                    <a:lnTo>
                      <a:pt x="21544" y="1458"/>
                    </a:lnTo>
                    <a:cubicBezTo>
                      <a:pt x="34653" y="1458"/>
                      <a:pt x="45320" y="12123"/>
                      <a:pt x="45320" y="25233"/>
                    </a:cubicBezTo>
                    <a:cubicBezTo>
                      <a:pt x="45320" y="38344"/>
                      <a:pt x="34653" y="49009"/>
                      <a:pt x="21544" y="49009"/>
                    </a:cubicBezTo>
                    <a:lnTo>
                      <a:pt x="1" y="49009"/>
                    </a:lnTo>
                    <a:lnTo>
                      <a:pt x="1" y="50466"/>
                    </a:lnTo>
                    <a:lnTo>
                      <a:pt x="21544" y="50466"/>
                    </a:lnTo>
                    <a:cubicBezTo>
                      <a:pt x="35457" y="50466"/>
                      <a:pt x="46776" y="39146"/>
                      <a:pt x="46776" y="25233"/>
                    </a:cubicBezTo>
                    <a:cubicBezTo>
                      <a:pt x="46776" y="11322"/>
                      <a:pt x="35457" y="1"/>
                      <a:pt x="21544" y="1"/>
                    </a:cubicBezTo>
                    <a:close/>
                  </a:path>
                </a:pathLst>
              </a:custGeom>
              <a:solidFill>
                <a:srgbClr val="96979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25" name="Google Shape;8825;p54"/>
              <p:cNvSpPr/>
              <p:nvPr/>
            </p:nvSpPr>
            <p:spPr>
              <a:xfrm>
                <a:off x="2492145" y="2881565"/>
                <a:ext cx="212934" cy="229751"/>
              </a:xfrm>
              <a:custGeom>
                <a:avLst/>
                <a:gdLst/>
                <a:ahLst/>
                <a:cxnLst/>
                <a:rect l="l" t="t" r="r" b="b"/>
                <a:pathLst>
                  <a:path w="46773" h="50467" extrusionOk="0">
                    <a:moveTo>
                      <a:pt x="25232" y="1"/>
                    </a:moveTo>
                    <a:cubicBezTo>
                      <a:pt x="11319" y="1"/>
                      <a:pt x="0" y="11322"/>
                      <a:pt x="0" y="25233"/>
                    </a:cubicBezTo>
                    <a:cubicBezTo>
                      <a:pt x="0" y="39146"/>
                      <a:pt x="11319" y="50466"/>
                      <a:pt x="25232" y="50466"/>
                    </a:cubicBezTo>
                    <a:lnTo>
                      <a:pt x="46773" y="50466"/>
                    </a:lnTo>
                    <a:lnTo>
                      <a:pt x="46773" y="49007"/>
                    </a:lnTo>
                    <a:lnTo>
                      <a:pt x="25232" y="49007"/>
                    </a:lnTo>
                    <a:cubicBezTo>
                      <a:pt x="12124" y="49007"/>
                      <a:pt x="1456" y="38344"/>
                      <a:pt x="1456" y="25233"/>
                    </a:cubicBezTo>
                    <a:cubicBezTo>
                      <a:pt x="1456" y="12123"/>
                      <a:pt x="12124" y="1457"/>
                      <a:pt x="25232" y="1457"/>
                    </a:cubicBezTo>
                    <a:lnTo>
                      <a:pt x="46773" y="1457"/>
                    </a:lnTo>
                    <a:lnTo>
                      <a:pt x="46773" y="1"/>
                    </a:lnTo>
                    <a:close/>
                  </a:path>
                </a:pathLst>
              </a:custGeom>
              <a:solidFill>
                <a:srgbClr val="96979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826" name="Google Shape;8826;p54"/>
            <p:cNvGrpSpPr/>
            <p:nvPr/>
          </p:nvGrpSpPr>
          <p:grpSpPr>
            <a:xfrm>
              <a:off x="2389399" y="2595741"/>
              <a:ext cx="812796" cy="296825"/>
              <a:chOff x="2389399" y="2595741"/>
              <a:chExt cx="812796" cy="296825"/>
            </a:xfrm>
          </p:grpSpPr>
          <p:grpSp>
            <p:nvGrpSpPr>
              <p:cNvPr id="8827" name="Google Shape;8827;p54"/>
              <p:cNvGrpSpPr/>
              <p:nvPr/>
            </p:nvGrpSpPr>
            <p:grpSpPr>
              <a:xfrm>
                <a:off x="2389399" y="2595741"/>
                <a:ext cx="363638" cy="296825"/>
                <a:chOff x="2389399" y="2595741"/>
                <a:chExt cx="363638" cy="296825"/>
              </a:xfrm>
            </p:grpSpPr>
            <p:grpSp>
              <p:nvGrpSpPr>
                <p:cNvPr id="8828" name="Google Shape;8828;p54"/>
                <p:cNvGrpSpPr/>
                <p:nvPr/>
              </p:nvGrpSpPr>
              <p:grpSpPr>
                <a:xfrm>
                  <a:off x="2493852" y="2794333"/>
                  <a:ext cx="259185" cy="98232"/>
                  <a:chOff x="2493852" y="2794333"/>
                  <a:chExt cx="259185" cy="98232"/>
                </a:xfrm>
              </p:grpSpPr>
              <p:sp>
                <p:nvSpPr>
                  <p:cNvPr id="8829" name="Google Shape;8829;p54"/>
                  <p:cNvSpPr/>
                  <p:nvPr/>
                </p:nvSpPr>
                <p:spPr>
                  <a:xfrm>
                    <a:off x="2500419" y="2800896"/>
                    <a:ext cx="246135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6" h="18698" extrusionOk="0">
                        <a:moveTo>
                          <a:pt x="243" y="1"/>
                        </a:moveTo>
                        <a:cubicBezTo>
                          <a:pt x="108" y="1"/>
                          <a:pt x="1" y="108"/>
                          <a:pt x="1" y="243"/>
                        </a:cubicBezTo>
                        <a:cubicBezTo>
                          <a:pt x="1" y="4216"/>
                          <a:pt x="3233" y="7447"/>
                          <a:pt x="7204" y="7447"/>
                        </a:cubicBezTo>
                        <a:lnTo>
                          <a:pt x="47616" y="7447"/>
                        </a:lnTo>
                        <a:cubicBezTo>
                          <a:pt x="50905" y="7447"/>
                          <a:pt x="53581" y="10122"/>
                          <a:pt x="53581" y="13412"/>
                        </a:cubicBezTo>
                        <a:lnTo>
                          <a:pt x="53581" y="18455"/>
                        </a:lnTo>
                        <a:cubicBezTo>
                          <a:pt x="53581" y="18590"/>
                          <a:pt x="53688" y="18697"/>
                          <a:pt x="53823" y="18697"/>
                        </a:cubicBezTo>
                        <a:cubicBezTo>
                          <a:pt x="53957" y="18697"/>
                          <a:pt x="54065" y="18590"/>
                          <a:pt x="54062" y="18455"/>
                        </a:cubicBezTo>
                        <a:lnTo>
                          <a:pt x="54062" y="13412"/>
                        </a:lnTo>
                        <a:cubicBezTo>
                          <a:pt x="54062" y="9854"/>
                          <a:pt x="51169" y="6961"/>
                          <a:pt x="47611" y="6961"/>
                        </a:cubicBezTo>
                        <a:lnTo>
                          <a:pt x="7203" y="6961"/>
                        </a:lnTo>
                        <a:cubicBezTo>
                          <a:pt x="3498" y="6961"/>
                          <a:pt x="485" y="3946"/>
                          <a:pt x="485" y="243"/>
                        </a:cubicBezTo>
                        <a:cubicBezTo>
                          <a:pt x="485" y="108"/>
                          <a:pt x="377" y="1"/>
                          <a:pt x="243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0" name="Google Shape;8830;p54"/>
                  <p:cNvSpPr/>
                  <p:nvPr/>
                </p:nvSpPr>
                <p:spPr>
                  <a:xfrm>
                    <a:off x="2493852" y="2794333"/>
                    <a:ext cx="15360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3" extrusionOk="0">
                        <a:moveTo>
                          <a:pt x="1687" y="0"/>
                        </a:moveTo>
                        <a:cubicBezTo>
                          <a:pt x="755" y="0"/>
                          <a:pt x="1" y="754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9" y="3370"/>
                          <a:pt x="3374" y="2617"/>
                          <a:pt x="3374" y="1687"/>
                        </a:cubicBezTo>
                        <a:cubicBezTo>
                          <a:pt x="3374" y="754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1" name="Google Shape;8831;p54"/>
                  <p:cNvSpPr/>
                  <p:nvPr/>
                </p:nvSpPr>
                <p:spPr>
                  <a:xfrm>
                    <a:off x="2737686" y="2877210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9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9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32" name="Google Shape;8832;p54"/>
                <p:cNvGrpSpPr/>
                <p:nvPr/>
              </p:nvGrpSpPr>
              <p:grpSpPr>
                <a:xfrm>
                  <a:off x="2389399" y="2595741"/>
                  <a:ext cx="224343" cy="182054"/>
                  <a:chOff x="2389399" y="2595741"/>
                  <a:chExt cx="224343" cy="182054"/>
                </a:xfrm>
              </p:grpSpPr>
              <p:sp>
                <p:nvSpPr>
                  <p:cNvPr id="8833" name="Google Shape;8833;p54"/>
                  <p:cNvSpPr/>
                  <p:nvPr/>
                </p:nvSpPr>
                <p:spPr>
                  <a:xfrm>
                    <a:off x="2389399" y="2595741"/>
                    <a:ext cx="224343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90" extrusionOk="0">
                        <a:moveTo>
                          <a:pt x="7997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7" y="39989"/>
                        </a:cubicBezTo>
                        <a:lnTo>
                          <a:pt x="41282" y="39989"/>
                        </a:lnTo>
                        <a:cubicBezTo>
                          <a:pt x="45697" y="39989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8" y="3580"/>
                          <a:pt x="45697" y="1"/>
                          <a:pt x="4128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4" name="Google Shape;8834;p54"/>
                  <p:cNvSpPr/>
                  <p:nvPr/>
                </p:nvSpPr>
                <p:spPr>
                  <a:xfrm>
                    <a:off x="2430284" y="2686181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1" y="1"/>
                        </a:moveTo>
                        <a:cubicBezTo>
                          <a:pt x="55" y="1"/>
                          <a:pt x="0" y="55"/>
                          <a:pt x="0" y="121"/>
                        </a:cubicBezTo>
                        <a:cubicBezTo>
                          <a:pt x="0" y="187"/>
                          <a:pt x="55" y="243"/>
                          <a:pt x="121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3" y="187"/>
                          <a:pt x="30823" y="121"/>
                        </a:cubicBezTo>
                        <a:cubicBezTo>
                          <a:pt x="30823" y="55"/>
                          <a:pt x="30767" y="1"/>
                          <a:pt x="30701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35" name="Google Shape;8835;p54"/>
              <p:cNvGrpSpPr/>
              <p:nvPr/>
            </p:nvGrpSpPr>
            <p:grpSpPr>
              <a:xfrm>
                <a:off x="2683630" y="2595741"/>
                <a:ext cx="224334" cy="296825"/>
                <a:chOff x="2683630" y="2595741"/>
                <a:chExt cx="224334" cy="296825"/>
              </a:xfrm>
            </p:grpSpPr>
            <p:grpSp>
              <p:nvGrpSpPr>
                <p:cNvPr id="8836" name="Google Shape;8836;p54"/>
                <p:cNvGrpSpPr/>
                <p:nvPr/>
              </p:nvGrpSpPr>
              <p:grpSpPr>
                <a:xfrm>
                  <a:off x="2788083" y="2794333"/>
                  <a:ext cx="15356" cy="98232"/>
                  <a:chOff x="2788083" y="2794333"/>
                  <a:chExt cx="15356" cy="98232"/>
                </a:xfrm>
              </p:grpSpPr>
              <p:sp>
                <p:nvSpPr>
                  <p:cNvPr id="8837" name="Google Shape;8837;p54"/>
                  <p:cNvSpPr/>
                  <p:nvPr/>
                </p:nvSpPr>
                <p:spPr>
                  <a:xfrm>
                    <a:off x="2794655" y="2800905"/>
                    <a:ext cx="2213" cy="851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86" h="18696" extrusionOk="0">
                        <a:moveTo>
                          <a:pt x="243" y="0"/>
                        </a:moveTo>
                        <a:cubicBezTo>
                          <a:pt x="108" y="0"/>
                          <a:pt x="1" y="109"/>
                          <a:pt x="1" y="243"/>
                        </a:cubicBezTo>
                        <a:lnTo>
                          <a:pt x="1" y="18453"/>
                        </a:lnTo>
                        <a:cubicBezTo>
                          <a:pt x="1" y="18588"/>
                          <a:pt x="108" y="18695"/>
                          <a:pt x="243" y="18695"/>
                        </a:cubicBezTo>
                        <a:cubicBezTo>
                          <a:pt x="377" y="18695"/>
                          <a:pt x="485" y="18588"/>
                          <a:pt x="485" y="18453"/>
                        </a:cubicBezTo>
                        <a:lnTo>
                          <a:pt x="485" y="243"/>
                        </a:lnTo>
                        <a:cubicBezTo>
                          <a:pt x="485" y="109"/>
                          <a:pt x="377" y="0"/>
                          <a:pt x="243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8" name="Google Shape;8838;p54"/>
                  <p:cNvSpPr/>
                  <p:nvPr/>
                </p:nvSpPr>
                <p:spPr>
                  <a:xfrm>
                    <a:off x="2788083" y="2794333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0"/>
                        </a:moveTo>
                        <a:cubicBezTo>
                          <a:pt x="755" y="0"/>
                          <a:pt x="1" y="754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8" y="3373"/>
                          <a:pt x="3372" y="2617"/>
                          <a:pt x="3372" y="1687"/>
                        </a:cubicBezTo>
                        <a:cubicBezTo>
                          <a:pt x="3372" y="754"/>
                          <a:pt x="2618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9" name="Google Shape;8839;p54"/>
                  <p:cNvSpPr/>
                  <p:nvPr/>
                </p:nvSpPr>
                <p:spPr>
                  <a:xfrm>
                    <a:off x="2788083" y="2877210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8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8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40" name="Google Shape;8840;p54"/>
                <p:cNvGrpSpPr/>
                <p:nvPr/>
              </p:nvGrpSpPr>
              <p:grpSpPr>
                <a:xfrm>
                  <a:off x="2683630" y="2595741"/>
                  <a:ext cx="224334" cy="182054"/>
                  <a:chOff x="2683630" y="2595741"/>
                  <a:chExt cx="224334" cy="182054"/>
                </a:xfrm>
              </p:grpSpPr>
              <p:sp>
                <p:nvSpPr>
                  <p:cNvPr id="8841" name="Google Shape;8841;p54"/>
                  <p:cNvSpPr/>
                  <p:nvPr/>
                </p:nvSpPr>
                <p:spPr>
                  <a:xfrm>
                    <a:off x="2683630" y="2595741"/>
                    <a:ext cx="224334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7" h="39990" extrusionOk="0">
                        <a:moveTo>
                          <a:pt x="7996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6" y="39989"/>
                        </a:cubicBezTo>
                        <a:lnTo>
                          <a:pt x="41280" y="39989"/>
                        </a:lnTo>
                        <a:cubicBezTo>
                          <a:pt x="45697" y="39989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7" y="3580"/>
                          <a:pt x="45697" y="1"/>
                          <a:pt x="41280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2" name="Google Shape;8842;p54"/>
                  <p:cNvSpPr/>
                  <p:nvPr/>
                </p:nvSpPr>
                <p:spPr>
                  <a:xfrm>
                    <a:off x="2724889" y="2686181"/>
                    <a:ext cx="140322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3" h="243" extrusionOk="0">
                        <a:moveTo>
                          <a:pt x="121" y="1"/>
                        </a:moveTo>
                        <a:cubicBezTo>
                          <a:pt x="55" y="1"/>
                          <a:pt x="0" y="55"/>
                          <a:pt x="0" y="121"/>
                        </a:cubicBezTo>
                        <a:cubicBezTo>
                          <a:pt x="0" y="187"/>
                          <a:pt x="55" y="243"/>
                          <a:pt x="121" y="243"/>
                        </a:cubicBezTo>
                        <a:lnTo>
                          <a:pt x="30701" y="243"/>
                        </a:lnTo>
                        <a:cubicBezTo>
                          <a:pt x="30769" y="243"/>
                          <a:pt x="30823" y="187"/>
                          <a:pt x="30823" y="121"/>
                        </a:cubicBezTo>
                        <a:cubicBezTo>
                          <a:pt x="30823" y="55"/>
                          <a:pt x="30767" y="1"/>
                          <a:pt x="30701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43" name="Google Shape;8843;p54"/>
              <p:cNvGrpSpPr/>
              <p:nvPr/>
            </p:nvGrpSpPr>
            <p:grpSpPr>
              <a:xfrm>
                <a:off x="2838475" y="2595741"/>
                <a:ext cx="363719" cy="296825"/>
                <a:chOff x="2838475" y="2595741"/>
                <a:chExt cx="363719" cy="296825"/>
              </a:xfrm>
            </p:grpSpPr>
            <p:grpSp>
              <p:nvGrpSpPr>
                <p:cNvPr id="8844" name="Google Shape;8844;p54"/>
                <p:cNvGrpSpPr/>
                <p:nvPr/>
              </p:nvGrpSpPr>
              <p:grpSpPr>
                <a:xfrm>
                  <a:off x="2838475" y="2794333"/>
                  <a:ext cx="259185" cy="98232"/>
                  <a:chOff x="2838475" y="2794333"/>
                  <a:chExt cx="259185" cy="98232"/>
                </a:xfrm>
              </p:grpSpPr>
              <p:sp>
                <p:nvSpPr>
                  <p:cNvPr id="8845" name="Google Shape;8845;p54"/>
                  <p:cNvSpPr/>
                  <p:nvPr/>
                </p:nvSpPr>
                <p:spPr>
                  <a:xfrm>
                    <a:off x="2845042" y="2800896"/>
                    <a:ext cx="246122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3" h="18698" extrusionOk="0">
                        <a:moveTo>
                          <a:pt x="53821" y="1"/>
                        </a:moveTo>
                        <a:cubicBezTo>
                          <a:pt x="53687" y="1"/>
                          <a:pt x="53579" y="108"/>
                          <a:pt x="53579" y="243"/>
                        </a:cubicBezTo>
                        <a:cubicBezTo>
                          <a:pt x="53579" y="3946"/>
                          <a:pt x="50564" y="6961"/>
                          <a:pt x="46861" y="6961"/>
                        </a:cubicBezTo>
                        <a:lnTo>
                          <a:pt x="6451" y="6961"/>
                        </a:lnTo>
                        <a:cubicBezTo>
                          <a:pt x="2895" y="6961"/>
                          <a:pt x="0" y="9857"/>
                          <a:pt x="0" y="13412"/>
                        </a:cubicBezTo>
                        <a:lnTo>
                          <a:pt x="0" y="18455"/>
                        </a:lnTo>
                        <a:cubicBezTo>
                          <a:pt x="0" y="18590"/>
                          <a:pt x="109" y="18697"/>
                          <a:pt x="242" y="18697"/>
                        </a:cubicBezTo>
                        <a:cubicBezTo>
                          <a:pt x="379" y="18697"/>
                          <a:pt x="487" y="18590"/>
                          <a:pt x="486" y="18455"/>
                        </a:cubicBezTo>
                        <a:lnTo>
                          <a:pt x="486" y="13412"/>
                        </a:lnTo>
                        <a:cubicBezTo>
                          <a:pt x="486" y="10122"/>
                          <a:pt x="3162" y="7447"/>
                          <a:pt x="6451" y="7447"/>
                        </a:cubicBezTo>
                        <a:lnTo>
                          <a:pt x="46858" y="7447"/>
                        </a:lnTo>
                        <a:cubicBezTo>
                          <a:pt x="50831" y="7447"/>
                          <a:pt x="54063" y="4215"/>
                          <a:pt x="54063" y="243"/>
                        </a:cubicBezTo>
                        <a:cubicBezTo>
                          <a:pt x="54063" y="108"/>
                          <a:pt x="53954" y="1"/>
                          <a:pt x="53821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6" name="Google Shape;8846;p54"/>
                  <p:cNvSpPr/>
                  <p:nvPr/>
                </p:nvSpPr>
                <p:spPr>
                  <a:xfrm>
                    <a:off x="3082301" y="2794333"/>
                    <a:ext cx="15360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3" extrusionOk="0">
                        <a:moveTo>
                          <a:pt x="1687" y="0"/>
                        </a:moveTo>
                        <a:cubicBezTo>
                          <a:pt x="755" y="0"/>
                          <a:pt x="0" y="754"/>
                          <a:pt x="0" y="1687"/>
                        </a:cubicBezTo>
                        <a:cubicBezTo>
                          <a:pt x="0" y="2619"/>
                          <a:pt x="755" y="3373"/>
                          <a:pt x="1687" y="3373"/>
                        </a:cubicBezTo>
                        <a:cubicBezTo>
                          <a:pt x="2619" y="3370"/>
                          <a:pt x="3373" y="2617"/>
                          <a:pt x="3373" y="1687"/>
                        </a:cubicBezTo>
                        <a:cubicBezTo>
                          <a:pt x="3373" y="754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7" name="Google Shape;8847;p54"/>
                  <p:cNvSpPr/>
                  <p:nvPr/>
                </p:nvSpPr>
                <p:spPr>
                  <a:xfrm>
                    <a:off x="2838475" y="2877210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5" y="1"/>
                        </a:moveTo>
                        <a:cubicBezTo>
                          <a:pt x="753" y="1"/>
                          <a:pt x="0" y="754"/>
                          <a:pt x="0" y="1686"/>
                        </a:cubicBezTo>
                        <a:cubicBezTo>
                          <a:pt x="0" y="2618"/>
                          <a:pt x="753" y="3372"/>
                          <a:pt x="1685" y="3372"/>
                        </a:cubicBezTo>
                        <a:cubicBezTo>
                          <a:pt x="2617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7" y="1"/>
                          <a:pt x="1685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48" name="Google Shape;8848;p54"/>
                <p:cNvGrpSpPr/>
                <p:nvPr/>
              </p:nvGrpSpPr>
              <p:grpSpPr>
                <a:xfrm>
                  <a:off x="2977852" y="2595741"/>
                  <a:ext cx="224343" cy="182054"/>
                  <a:chOff x="2977852" y="2595741"/>
                  <a:chExt cx="224343" cy="182054"/>
                </a:xfrm>
              </p:grpSpPr>
              <p:sp>
                <p:nvSpPr>
                  <p:cNvPr id="8849" name="Google Shape;8849;p54"/>
                  <p:cNvSpPr/>
                  <p:nvPr/>
                </p:nvSpPr>
                <p:spPr>
                  <a:xfrm>
                    <a:off x="2977852" y="2595741"/>
                    <a:ext cx="224343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90" extrusionOk="0">
                        <a:moveTo>
                          <a:pt x="7995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5" y="39989"/>
                        </a:cubicBezTo>
                        <a:lnTo>
                          <a:pt x="41282" y="39989"/>
                        </a:lnTo>
                        <a:cubicBezTo>
                          <a:pt x="45698" y="39989"/>
                          <a:pt x="49278" y="36409"/>
                          <a:pt x="49278" y="31993"/>
                        </a:cubicBezTo>
                        <a:lnTo>
                          <a:pt x="49278" y="7995"/>
                        </a:lnTo>
                        <a:cubicBezTo>
                          <a:pt x="49278" y="3580"/>
                          <a:pt x="45698" y="1"/>
                          <a:pt x="4128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0" name="Google Shape;8850;p54"/>
                  <p:cNvSpPr/>
                  <p:nvPr/>
                </p:nvSpPr>
                <p:spPr>
                  <a:xfrm>
                    <a:off x="3020572" y="2686181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3" y="1"/>
                        </a:moveTo>
                        <a:cubicBezTo>
                          <a:pt x="57" y="1"/>
                          <a:pt x="1" y="55"/>
                          <a:pt x="1" y="121"/>
                        </a:cubicBezTo>
                        <a:cubicBezTo>
                          <a:pt x="1" y="187"/>
                          <a:pt x="57" y="243"/>
                          <a:pt x="123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4" y="187"/>
                          <a:pt x="30824" y="121"/>
                        </a:cubicBezTo>
                        <a:cubicBezTo>
                          <a:pt x="30824" y="55"/>
                          <a:pt x="30769" y="1"/>
                          <a:pt x="30703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  <p:grpSp>
          <p:nvGrpSpPr>
            <p:cNvPr id="8851" name="Google Shape;8851;p54"/>
            <p:cNvGrpSpPr/>
            <p:nvPr/>
          </p:nvGrpSpPr>
          <p:grpSpPr>
            <a:xfrm>
              <a:off x="2389399" y="3100241"/>
              <a:ext cx="812796" cy="296869"/>
              <a:chOff x="2389399" y="3100241"/>
              <a:chExt cx="812796" cy="296869"/>
            </a:xfrm>
          </p:grpSpPr>
          <p:grpSp>
            <p:nvGrpSpPr>
              <p:cNvPr id="8852" name="Google Shape;8852;p54"/>
              <p:cNvGrpSpPr/>
              <p:nvPr/>
            </p:nvGrpSpPr>
            <p:grpSpPr>
              <a:xfrm>
                <a:off x="2683630" y="3100241"/>
                <a:ext cx="224334" cy="296869"/>
                <a:chOff x="2683630" y="3100241"/>
                <a:chExt cx="224334" cy="296869"/>
              </a:xfrm>
            </p:grpSpPr>
            <p:grpSp>
              <p:nvGrpSpPr>
                <p:cNvPr id="8853" name="Google Shape;8853;p54"/>
                <p:cNvGrpSpPr/>
                <p:nvPr/>
              </p:nvGrpSpPr>
              <p:grpSpPr>
                <a:xfrm>
                  <a:off x="2788083" y="3100241"/>
                  <a:ext cx="15356" cy="98237"/>
                  <a:chOff x="2788083" y="3100241"/>
                  <a:chExt cx="15356" cy="98237"/>
                </a:xfrm>
              </p:grpSpPr>
              <p:sp>
                <p:nvSpPr>
                  <p:cNvPr id="8854" name="Google Shape;8854;p54"/>
                  <p:cNvSpPr/>
                  <p:nvPr/>
                </p:nvSpPr>
                <p:spPr>
                  <a:xfrm>
                    <a:off x="2794655" y="3106808"/>
                    <a:ext cx="2213" cy="8511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86" h="18697" extrusionOk="0">
                        <a:moveTo>
                          <a:pt x="243" y="1"/>
                        </a:moveTo>
                        <a:cubicBezTo>
                          <a:pt x="108" y="1"/>
                          <a:pt x="1" y="109"/>
                          <a:pt x="1" y="243"/>
                        </a:cubicBezTo>
                        <a:lnTo>
                          <a:pt x="1" y="18455"/>
                        </a:lnTo>
                        <a:cubicBezTo>
                          <a:pt x="1" y="18588"/>
                          <a:pt x="108" y="18697"/>
                          <a:pt x="243" y="18697"/>
                        </a:cubicBezTo>
                        <a:cubicBezTo>
                          <a:pt x="377" y="18697"/>
                          <a:pt x="485" y="18588"/>
                          <a:pt x="485" y="18455"/>
                        </a:cubicBezTo>
                        <a:lnTo>
                          <a:pt x="485" y="243"/>
                        </a:lnTo>
                        <a:cubicBezTo>
                          <a:pt x="485" y="109"/>
                          <a:pt x="377" y="1"/>
                          <a:pt x="243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5" name="Google Shape;8855;p54"/>
                  <p:cNvSpPr/>
                  <p:nvPr/>
                </p:nvSpPr>
                <p:spPr>
                  <a:xfrm>
                    <a:off x="2788083" y="3183117"/>
                    <a:ext cx="15356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4" extrusionOk="0">
                        <a:moveTo>
                          <a:pt x="1687" y="0"/>
                        </a:moveTo>
                        <a:cubicBezTo>
                          <a:pt x="755" y="0"/>
                          <a:pt x="1" y="755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8" y="3373"/>
                          <a:pt x="3372" y="2619"/>
                          <a:pt x="3372" y="1687"/>
                        </a:cubicBezTo>
                        <a:cubicBezTo>
                          <a:pt x="3372" y="755"/>
                          <a:pt x="2618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6" name="Google Shape;8856;p54"/>
                  <p:cNvSpPr/>
                  <p:nvPr/>
                </p:nvSpPr>
                <p:spPr>
                  <a:xfrm>
                    <a:off x="2788083" y="3100241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8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8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57" name="Google Shape;8857;p54"/>
                <p:cNvGrpSpPr/>
                <p:nvPr/>
              </p:nvGrpSpPr>
              <p:grpSpPr>
                <a:xfrm>
                  <a:off x="2683630" y="3215065"/>
                  <a:ext cx="224334" cy="182045"/>
                  <a:chOff x="2683630" y="3215065"/>
                  <a:chExt cx="224334" cy="182045"/>
                </a:xfrm>
              </p:grpSpPr>
              <p:sp>
                <p:nvSpPr>
                  <p:cNvPr id="8858" name="Google Shape;8858;p54"/>
                  <p:cNvSpPr/>
                  <p:nvPr/>
                </p:nvSpPr>
                <p:spPr>
                  <a:xfrm>
                    <a:off x="2683630" y="3215065"/>
                    <a:ext cx="224334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7" h="39988" extrusionOk="0">
                        <a:moveTo>
                          <a:pt x="7996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6" y="39988"/>
                        </a:cubicBezTo>
                        <a:lnTo>
                          <a:pt x="41280" y="39988"/>
                        </a:lnTo>
                        <a:cubicBezTo>
                          <a:pt x="45697" y="39988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7" y="3579"/>
                          <a:pt x="45697" y="0"/>
                          <a:pt x="41280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9" name="Google Shape;8859;p54"/>
                  <p:cNvSpPr/>
                  <p:nvPr/>
                </p:nvSpPr>
                <p:spPr>
                  <a:xfrm>
                    <a:off x="2724889" y="3305500"/>
                    <a:ext cx="140331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5" h="243" extrusionOk="0">
                        <a:moveTo>
                          <a:pt x="121" y="0"/>
                        </a:moveTo>
                        <a:cubicBezTo>
                          <a:pt x="55" y="0"/>
                          <a:pt x="0" y="55"/>
                          <a:pt x="0" y="122"/>
                        </a:cubicBezTo>
                        <a:cubicBezTo>
                          <a:pt x="0" y="188"/>
                          <a:pt x="55" y="242"/>
                          <a:pt x="121" y="242"/>
                        </a:cubicBezTo>
                        <a:lnTo>
                          <a:pt x="30701" y="242"/>
                        </a:lnTo>
                        <a:cubicBezTo>
                          <a:pt x="30769" y="242"/>
                          <a:pt x="30824" y="190"/>
                          <a:pt x="30823" y="122"/>
                        </a:cubicBezTo>
                        <a:cubicBezTo>
                          <a:pt x="30823" y="56"/>
                          <a:pt x="30767" y="0"/>
                          <a:pt x="30701" y="0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60" name="Google Shape;8860;p54"/>
              <p:cNvGrpSpPr/>
              <p:nvPr/>
            </p:nvGrpSpPr>
            <p:grpSpPr>
              <a:xfrm>
                <a:off x="2389399" y="3100241"/>
                <a:ext cx="363638" cy="296869"/>
                <a:chOff x="2389399" y="3100241"/>
                <a:chExt cx="363638" cy="296869"/>
              </a:xfrm>
            </p:grpSpPr>
            <p:grpSp>
              <p:nvGrpSpPr>
                <p:cNvPr id="8861" name="Google Shape;8861;p54"/>
                <p:cNvGrpSpPr/>
                <p:nvPr/>
              </p:nvGrpSpPr>
              <p:grpSpPr>
                <a:xfrm>
                  <a:off x="2493852" y="3100241"/>
                  <a:ext cx="259185" cy="98237"/>
                  <a:chOff x="2493852" y="3100241"/>
                  <a:chExt cx="259185" cy="98237"/>
                </a:xfrm>
              </p:grpSpPr>
              <p:sp>
                <p:nvSpPr>
                  <p:cNvPr id="8862" name="Google Shape;8862;p54"/>
                  <p:cNvSpPr/>
                  <p:nvPr/>
                </p:nvSpPr>
                <p:spPr>
                  <a:xfrm>
                    <a:off x="2500428" y="3106803"/>
                    <a:ext cx="246126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4" h="18698" extrusionOk="0">
                        <a:moveTo>
                          <a:pt x="53821" y="0"/>
                        </a:moveTo>
                        <a:cubicBezTo>
                          <a:pt x="53686" y="0"/>
                          <a:pt x="53579" y="109"/>
                          <a:pt x="53579" y="242"/>
                        </a:cubicBezTo>
                        <a:lnTo>
                          <a:pt x="53579" y="5286"/>
                        </a:lnTo>
                        <a:cubicBezTo>
                          <a:pt x="53579" y="8576"/>
                          <a:pt x="50903" y="11250"/>
                          <a:pt x="47614" y="11250"/>
                        </a:cubicBezTo>
                        <a:lnTo>
                          <a:pt x="7205" y="11250"/>
                        </a:lnTo>
                        <a:cubicBezTo>
                          <a:pt x="3232" y="11250"/>
                          <a:pt x="0" y="14484"/>
                          <a:pt x="0" y="18456"/>
                        </a:cubicBezTo>
                        <a:cubicBezTo>
                          <a:pt x="0" y="18589"/>
                          <a:pt x="109" y="18698"/>
                          <a:pt x="242" y="18698"/>
                        </a:cubicBezTo>
                        <a:cubicBezTo>
                          <a:pt x="376" y="18698"/>
                          <a:pt x="485" y="18589"/>
                          <a:pt x="485" y="18456"/>
                        </a:cubicBezTo>
                        <a:cubicBezTo>
                          <a:pt x="485" y="14751"/>
                          <a:pt x="3499" y="11736"/>
                          <a:pt x="7202" y="11736"/>
                        </a:cubicBezTo>
                        <a:lnTo>
                          <a:pt x="47612" y="11736"/>
                        </a:lnTo>
                        <a:cubicBezTo>
                          <a:pt x="51169" y="11736"/>
                          <a:pt x="54063" y="8843"/>
                          <a:pt x="54063" y="5286"/>
                        </a:cubicBezTo>
                        <a:lnTo>
                          <a:pt x="54063" y="242"/>
                        </a:lnTo>
                        <a:cubicBezTo>
                          <a:pt x="54063" y="109"/>
                          <a:pt x="53955" y="0"/>
                          <a:pt x="53821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3" name="Google Shape;8863;p54"/>
                  <p:cNvSpPr/>
                  <p:nvPr/>
                </p:nvSpPr>
                <p:spPr>
                  <a:xfrm>
                    <a:off x="2493852" y="3183117"/>
                    <a:ext cx="15360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4" extrusionOk="0">
                        <a:moveTo>
                          <a:pt x="1687" y="0"/>
                        </a:moveTo>
                        <a:cubicBezTo>
                          <a:pt x="755" y="0"/>
                          <a:pt x="1" y="755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9" y="3373"/>
                          <a:pt x="3374" y="2619"/>
                          <a:pt x="3374" y="1687"/>
                        </a:cubicBezTo>
                        <a:cubicBezTo>
                          <a:pt x="3374" y="755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4" name="Google Shape;8864;p54"/>
                  <p:cNvSpPr/>
                  <p:nvPr/>
                </p:nvSpPr>
                <p:spPr>
                  <a:xfrm>
                    <a:off x="2737686" y="3100241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9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9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65" name="Google Shape;8865;p54"/>
                <p:cNvGrpSpPr/>
                <p:nvPr/>
              </p:nvGrpSpPr>
              <p:grpSpPr>
                <a:xfrm>
                  <a:off x="2389399" y="3215065"/>
                  <a:ext cx="224343" cy="182045"/>
                  <a:chOff x="2389399" y="3215065"/>
                  <a:chExt cx="224343" cy="182045"/>
                </a:xfrm>
              </p:grpSpPr>
              <p:sp>
                <p:nvSpPr>
                  <p:cNvPr id="8866" name="Google Shape;8866;p54"/>
                  <p:cNvSpPr/>
                  <p:nvPr/>
                </p:nvSpPr>
                <p:spPr>
                  <a:xfrm>
                    <a:off x="2389399" y="3215065"/>
                    <a:ext cx="224343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88" extrusionOk="0">
                        <a:moveTo>
                          <a:pt x="7997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7" y="39988"/>
                        </a:cubicBezTo>
                        <a:lnTo>
                          <a:pt x="41282" y="39988"/>
                        </a:lnTo>
                        <a:cubicBezTo>
                          <a:pt x="45697" y="39988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8" y="3579"/>
                          <a:pt x="45697" y="0"/>
                          <a:pt x="41282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7" name="Google Shape;8867;p54"/>
                  <p:cNvSpPr/>
                  <p:nvPr/>
                </p:nvSpPr>
                <p:spPr>
                  <a:xfrm>
                    <a:off x="2430630" y="3305500"/>
                    <a:ext cx="140331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5" h="243" extrusionOk="0">
                        <a:moveTo>
                          <a:pt x="123" y="0"/>
                        </a:moveTo>
                        <a:cubicBezTo>
                          <a:pt x="57" y="0"/>
                          <a:pt x="1" y="55"/>
                          <a:pt x="1" y="122"/>
                        </a:cubicBezTo>
                        <a:cubicBezTo>
                          <a:pt x="1" y="188"/>
                          <a:pt x="57" y="242"/>
                          <a:pt x="123" y="242"/>
                        </a:cubicBezTo>
                        <a:lnTo>
                          <a:pt x="30702" y="242"/>
                        </a:lnTo>
                        <a:cubicBezTo>
                          <a:pt x="30771" y="242"/>
                          <a:pt x="30825" y="190"/>
                          <a:pt x="30823" y="122"/>
                        </a:cubicBezTo>
                        <a:cubicBezTo>
                          <a:pt x="30823" y="56"/>
                          <a:pt x="30769" y="0"/>
                          <a:pt x="30702" y="0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68" name="Google Shape;8868;p54"/>
              <p:cNvGrpSpPr/>
              <p:nvPr/>
            </p:nvGrpSpPr>
            <p:grpSpPr>
              <a:xfrm>
                <a:off x="2838475" y="3100241"/>
                <a:ext cx="363719" cy="296869"/>
                <a:chOff x="2838475" y="3100241"/>
                <a:chExt cx="363719" cy="296869"/>
              </a:xfrm>
            </p:grpSpPr>
            <p:grpSp>
              <p:nvGrpSpPr>
                <p:cNvPr id="8869" name="Google Shape;8869;p54"/>
                <p:cNvGrpSpPr/>
                <p:nvPr/>
              </p:nvGrpSpPr>
              <p:grpSpPr>
                <a:xfrm>
                  <a:off x="2838475" y="3100241"/>
                  <a:ext cx="259185" cy="98237"/>
                  <a:chOff x="2838475" y="3100241"/>
                  <a:chExt cx="259185" cy="98237"/>
                </a:xfrm>
              </p:grpSpPr>
              <p:sp>
                <p:nvSpPr>
                  <p:cNvPr id="8870" name="Google Shape;8870;p54"/>
                  <p:cNvSpPr/>
                  <p:nvPr/>
                </p:nvSpPr>
                <p:spPr>
                  <a:xfrm>
                    <a:off x="2845042" y="3106803"/>
                    <a:ext cx="246131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5" h="18698" extrusionOk="0">
                        <a:moveTo>
                          <a:pt x="242" y="0"/>
                        </a:moveTo>
                        <a:cubicBezTo>
                          <a:pt x="109" y="0"/>
                          <a:pt x="0" y="109"/>
                          <a:pt x="0" y="242"/>
                        </a:cubicBezTo>
                        <a:lnTo>
                          <a:pt x="0" y="5286"/>
                        </a:lnTo>
                        <a:cubicBezTo>
                          <a:pt x="0" y="8843"/>
                          <a:pt x="2895" y="11736"/>
                          <a:pt x="6451" y="11736"/>
                        </a:cubicBezTo>
                        <a:lnTo>
                          <a:pt x="46862" y="11736"/>
                        </a:lnTo>
                        <a:cubicBezTo>
                          <a:pt x="50567" y="11736"/>
                          <a:pt x="53580" y="14751"/>
                          <a:pt x="53580" y="18456"/>
                        </a:cubicBezTo>
                        <a:cubicBezTo>
                          <a:pt x="53580" y="18589"/>
                          <a:pt x="53689" y="18698"/>
                          <a:pt x="53822" y="18698"/>
                        </a:cubicBezTo>
                        <a:cubicBezTo>
                          <a:pt x="53957" y="18698"/>
                          <a:pt x="54064" y="18589"/>
                          <a:pt x="54063" y="18456"/>
                        </a:cubicBezTo>
                        <a:cubicBezTo>
                          <a:pt x="54063" y="14484"/>
                          <a:pt x="50831" y="11250"/>
                          <a:pt x="46858" y="11250"/>
                        </a:cubicBezTo>
                        <a:lnTo>
                          <a:pt x="6449" y="11250"/>
                        </a:lnTo>
                        <a:cubicBezTo>
                          <a:pt x="3160" y="11250"/>
                          <a:pt x="484" y="8576"/>
                          <a:pt x="484" y="5286"/>
                        </a:cubicBezTo>
                        <a:lnTo>
                          <a:pt x="484" y="242"/>
                        </a:lnTo>
                        <a:cubicBezTo>
                          <a:pt x="484" y="109"/>
                          <a:pt x="376" y="0"/>
                          <a:pt x="242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1" name="Google Shape;8871;p54"/>
                  <p:cNvSpPr/>
                  <p:nvPr/>
                </p:nvSpPr>
                <p:spPr>
                  <a:xfrm>
                    <a:off x="3082301" y="3183117"/>
                    <a:ext cx="15360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4" extrusionOk="0">
                        <a:moveTo>
                          <a:pt x="1687" y="0"/>
                        </a:moveTo>
                        <a:cubicBezTo>
                          <a:pt x="755" y="0"/>
                          <a:pt x="0" y="755"/>
                          <a:pt x="0" y="1687"/>
                        </a:cubicBezTo>
                        <a:cubicBezTo>
                          <a:pt x="0" y="2619"/>
                          <a:pt x="755" y="3373"/>
                          <a:pt x="1687" y="3373"/>
                        </a:cubicBezTo>
                        <a:cubicBezTo>
                          <a:pt x="2619" y="3373"/>
                          <a:pt x="3373" y="2619"/>
                          <a:pt x="3373" y="1687"/>
                        </a:cubicBezTo>
                        <a:cubicBezTo>
                          <a:pt x="3373" y="755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2" name="Google Shape;8872;p54"/>
                  <p:cNvSpPr/>
                  <p:nvPr/>
                </p:nvSpPr>
                <p:spPr>
                  <a:xfrm>
                    <a:off x="2838475" y="3100241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5" y="1"/>
                        </a:moveTo>
                        <a:cubicBezTo>
                          <a:pt x="753" y="1"/>
                          <a:pt x="0" y="754"/>
                          <a:pt x="0" y="1686"/>
                        </a:cubicBezTo>
                        <a:cubicBezTo>
                          <a:pt x="0" y="2618"/>
                          <a:pt x="753" y="3372"/>
                          <a:pt x="1685" y="3372"/>
                        </a:cubicBezTo>
                        <a:cubicBezTo>
                          <a:pt x="2617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7" y="1"/>
                          <a:pt x="1685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73" name="Google Shape;8873;p54"/>
                <p:cNvGrpSpPr/>
                <p:nvPr/>
              </p:nvGrpSpPr>
              <p:grpSpPr>
                <a:xfrm>
                  <a:off x="2977852" y="3215065"/>
                  <a:ext cx="224343" cy="182045"/>
                  <a:chOff x="2977852" y="3215065"/>
                  <a:chExt cx="224343" cy="182045"/>
                </a:xfrm>
              </p:grpSpPr>
              <p:sp>
                <p:nvSpPr>
                  <p:cNvPr id="8874" name="Google Shape;8874;p54"/>
                  <p:cNvSpPr/>
                  <p:nvPr/>
                </p:nvSpPr>
                <p:spPr>
                  <a:xfrm>
                    <a:off x="2977852" y="3215065"/>
                    <a:ext cx="224343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88" extrusionOk="0">
                        <a:moveTo>
                          <a:pt x="7995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5" y="39988"/>
                        </a:cubicBezTo>
                        <a:lnTo>
                          <a:pt x="41282" y="39988"/>
                        </a:lnTo>
                        <a:cubicBezTo>
                          <a:pt x="45698" y="39988"/>
                          <a:pt x="49278" y="36409"/>
                          <a:pt x="49278" y="31993"/>
                        </a:cubicBezTo>
                        <a:lnTo>
                          <a:pt x="49278" y="7995"/>
                        </a:lnTo>
                        <a:cubicBezTo>
                          <a:pt x="49278" y="3579"/>
                          <a:pt x="45698" y="0"/>
                          <a:pt x="41282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5" name="Google Shape;8875;p54"/>
                  <p:cNvSpPr/>
                  <p:nvPr/>
                </p:nvSpPr>
                <p:spPr>
                  <a:xfrm>
                    <a:off x="3020598" y="3305519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3" y="1"/>
                        </a:moveTo>
                        <a:cubicBezTo>
                          <a:pt x="57" y="1"/>
                          <a:pt x="1" y="55"/>
                          <a:pt x="1" y="121"/>
                        </a:cubicBezTo>
                        <a:cubicBezTo>
                          <a:pt x="1" y="187"/>
                          <a:pt x="57" y="243"/>
                          <a:pt x="123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4" y="187"/>
                          <a:pt x="30824" y="121"/>
                        </a:cubicBezTo>
                        <a:cubicBezTo>
                          <a:pt x="30824" y="55"/>
                          <a:pt x="30769" y="1"/>
                          <a:pt x="30703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</p:grp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8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80" name="Google Shape;8880;p55"/>
          <p:cNvGrpSpPr/>
          <p:nvPr/>
        </p:nvGrpSpPr>
        <p:grpSpPr>
          <a:xfrm>
            <a:off x="718875" y="3363288"/>
            <a:ext cx="2390414" cy="1024800"/>
            <a:chOff x="728925" y="3296613"/>
            <a:chExt cx="2390414" cy="1024800"/>
          </a:xfrm>
        </p:grpSpPr>
        <p:grpSp>
          <p:nvGrpSpPr>
            <p:cNvPr id="8881" name="Google Shape;8881;p55"/>
            <p:cNvGrpSpPr/>
            <p:nvPr/>
          </p:nvGrpSpPr>
          <p:grpSpPr>
            <a:xfrm>
              <a:off x="728925" y="3619800"/>
              <a:ext cx="2390414" cy="500893"/>
              <a:chOff x="728925" y="3619800"/>
              <a:chExt cx="2390414" cy="500893"/>
            </a:xfrm>
          </p:grpSpPr>
          <p:sp>
            <p:nvSpPr>
              <p:cNvPr id="8882" name="Google Shape;8882;p55"/>
              <p:cNvSpPr/>
              <p:nvPr/>
            </p:nvSpPr>
            <p:spPr>
              <a:xfrm>
                <a:off x="728925" y="3619800"/>
                <a:ext cx="2390400" cy="167100"/>
              </a:xfrm>
              <a:prstGeom prst="rect">
                <a:avLst/>
              </a:prstGeom>
              <a:noFill/>
              <a:ln w="9525" cap="flat" cmpd="sng">
                <a:solidFill>
                  <a:srgbClr val="E3E7EA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3" name="Google Shape;8883;p55"/>
              <p:cNvSpPr/>
              <p:nvPr/>
            </p:nvSpPr>
            <p:spPr>
              <a:xfrm>
                <a:off x="728939" y="3953593"/>
                <a:ext cx="2390400" cy="167100"/>
              </a:xfrm>
              <a:prstGeom prst="rect">
                <a:avLst/>
              </a:prstGeom>
              <a:noFill/>
              <a:ln w="9525" cap="flat" cmpd="sng">
                <a:solidFill>
                  <a:srgbClr val="E3E7EA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</p:grpSp>
        <p:grpSp>
          <p:nvGrpSpPr>
            <p:cNvPr id="8884" name="Google Shape;8884;p55"/>
            <p:cNvGrpSpPr/>
            <p:nvPr/>
          </p:nvGrpSpPr>
          <p:grpSpPr>
            <a:xfrm>
              <a:off x="1348050" y="3296613"/>
              <a:ext cx="1706152" cy="1024800"/>
              <a:chOff x="1348050" y="3296613"/>
              <a:chExt cx="1706152" cy="1024800"/>
            </a:xfrm>
          </p:grpSpPr>
          <p:sp>
            <p:nvSpPr>
              <p:cNvPr id="8885" name="Google Shape;8885;p55"/>
              <p:cNvSpPr/>
              <p:nvPr/>
            </p:nvSpPr>
            <p:spPr>
              <a:xfrm>
                <a:off x="1348050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6" name="Google Shape;8886;p55"/>
              <p:cNvSpPr/>
              <p:nvPr/>
            </p:nvSpPr>
            <p:spPr>
              <a:xfrm>
                <a:off x="1687082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7" name="Google Shape;8887;p55"/>
              <p:cNvSpPr/>
              <p:nvPr/>
            </p:nvSpPr>
            <p:spPr>
              <a:xfrm>
                <a:off x="2040389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8" name="Google Shape;8888;p55"/>
              <p:cNvSpPr/>
              <p:nvPr/>
            </p:nvSpPr>
            <p:spPr>
              <a:xfrm>
                <a:off x="2393695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9" name="Google Shape;8889;p55"/>
              <p:cNvSpPr/>
              <p:nvPr/>
            </p:nvSpPr>
            <p:spPr>
              <a:xfrm>
                <a:off x="2747002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</p:grpSp>
        <p:grpSp>
          <p:nvGrpSpPr>
            <p:cNvPr id="8890" name="Google Shape;8890;p55"/>
            <p:cNvGrpSpPr/>
            <p:nvPr/>
          </p:nvGrpSpPr>
          <p:grpSpPr>
            <a:xfrm>
              <a:off x="1455707" y="3654858"/>
              <a:ext cx="1491150" cy="417657"/>
              <a:chOff x="1455707" y="3654858"/>
              <a:chExt cx="1491150" cy="417657"/>
            </a:xfrm>
          </p:grpSpPr>
          <p:sp>
            <p:nvSpPr>
              <p:cNvPr id="8891" name="Google Shape;8891;p55"/>
              <p:cNvSpPr/>
              <p:nvPr/>
            </p:nvSpPr>
            <p:spPr>
              <a:xfrm>
                <a:off x="1472938" y="3687620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2" name="Google Shape;8892;p55"/>
              <p:cNvSpPr/>
              <p:nvPr/>
            </p:nvSpPr>
            <p:spPr>
              <a:xfrm>
                <a:off x="1490853" y="3669628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3" name="Google Shape;8893;p55"/>
              <p:cNvSpPr/>
              <p:nvPr/>
            </p:nvSpPr>
            <p:spPr>
              <a:xfrm>
                <a:off x="1819181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4" name="Google Shape;8894;p55"/>
              <p:cNvSpPr/>
              <p:nvPr/>
            </p:nvSpPr>
            <p:spPr>
              <a:xfrm>
                <a:off x="1837096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5" name="Google Shape;8895;p55"/>
              <p:cNvSpPr/>
              <p:nvPr/>
            </p:nvSpPr>
            <p:spPr>
              <a:xfrm>
                <a:off x="1478676" y="4008202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6" name="Google Shape;8896;p55"/>
              <p:cNvSpPr/>
              <p:nvPr/>
            </p:nvSpPr>
            <p:spPr>
              <a:xfrm>
                <a:off x="1455707" y="4007971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7" name="Google Shape;8897;p55"/>
              <p:cNvSpPr/>
              <p:nvPr/>
            </p:nvSpPr>
            <p:spPr>
              <a:xfrm>
                <a:off x="1841579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8" name="Google Shape;8898;p55"/>
              <p:cNvSpPr/>
              <p:nvPr/>
            </p:nvSpPr>
            <p:spPr>
              <a:xfrm>
                <a:off x="1818610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9" name="Google Shape;8899;p55"/>
              <p:cNvSpPr/>
              <p:nvPr/>
            </p:nvSpPr>
            <p:spPr>
              <a:xfrm>
                <a:off x="2172491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0" name="Google Shape;8900;p55"/>
              <p:cNvSpPr/>
              <p:nvPr/>
            </p:nvSpPr>
            <p:spPr>
              <a:xfrm>
                <a:off x="2190406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1" name="Google Shape;8901;p55"/>
              <p:cNvSpPr/>
              <p:nvPr/>
            </p:nvSpPr>
            <p:spPr>
              <a:xfrm>
                <a:off x="2194889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2" name="Google Shape;8902;p55"/>
              <p:cNvSpPr/>
              <p:nvPr/>
            </p:nvSpPr>
            <p:spPr>
              <a:xfrm>
                <a:off x="2171920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3" name="Google Shape;8903;p55"/>
              <p:cNvSpPr/>
              <p:nvPr/>
            </p:nvSpPr>
            <p:spPr>
              <a:xfrm>
                <a:off x="2874730" y="3687620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4" name="Google Shape;8904;p55"/>
              <p:cNvSpPr/>
              <p:nvPr/>
            </p:nvSpPr>
            <p:spPr>
              <a:xfrm>
                <a:off x="2892645" y="3669628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5" name="Google Shape;8905;p55"/>
              <p:cNvSpPr/>
              <p:nvPr/>
            </p:nvSpPr>
            <p:spPr>
              <a:xfrm>
                <a:off x="2901559" y="4005512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6" name="Google Shape;8906;p55"/>
              <p:cNvSpPr/>
              <p:nvPr/>
            </p:nvSpPr>
            <p:spPr>
              <a:xfrm>
                <a:off x="2878589" y="4005281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7" name="Google Shape;8907;p55"/>
              <p:cNvSpPr/>
              <p:nvPr/>
            </p:nvSpPr>
            <p:spPr>
              <a:xfrm>
                <a:off x="2525796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8" name="Google Shape;8908;p55"/>
              <p:cNvSpPr/>
              <p:nvPr/>
            </p:nvSpPr>
            <p:spPr>
              <a:xfrm>
                <a:off x="2543711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9" name="Google Shape;8909;p55"/>
              <p:cNvSpPr/>
              <p:nvPr/>
            </p:nvSpPr>
            <p:spPr>
              <a:xfrm>
                <a:off x="2548194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0" name="Google Shape;8910;p55"/>
              <p:cNvSpPr/>
              <p:nvPr/>
            </p:nvSpPr>
            <p:spPr>
              <a:xfrm>
                <a:off x="2525225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aphicFrame>
        <p:nvGraphicFramePr>
          <p:cNvPr id="8911" name="Google Shape;8911;p55"/>
          <p:cNvGraphicFramePr/>
          <p:nvPr/>
        </p:nvGraphicFramePr>
        <p:xfrm>
          <a:off x="5954575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626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CFD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CFD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E3E9E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869FB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7994A9">
                        <a:alpha val="6470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8912" name="Google Shape;8912;p55"/>
          <p:cNvGrpSpPr/>
          <p:nvPr/>
        </p:nvGrpSpPr>
        <p:grpSpPr>
          <a:xfrm>
            <a:off x="727251" y="1188964"/>
            <a:ext cx="2396505" cy="976502"/>
            <a:chOff x="749309" y="1112739"/>
            <a:chExt cx="2371603" cy="976502"/>
          </a:xfrm>
        </p:grpSpPr>
        <p:grpSp>
          <p:nvGrpSpPr>
            <p:cNvPr id="8913" name="Google Shape;8913;p55"/>
            <p:cNvGrpSpPr/>
            <p:nvPr/>
          </p:nvGrpSpPr>
          <p:grpSpPr>
            <a:xfrm>
              <a:off x="1092126" y="1112739"/>
              <a:ext cx="2028786" cy="975464"/>
              <a:chOff x="1092126" y="1112739"/>
              <a:chExt cx="2028786" cy="975464"/>
            </a:xfrm>
          </p:grpSpPr>
          <p:sp>
            <p:nvSpPr>
              <p:cNvPr id="8914" name="Google Shape;8914;p55"/>
              <p:cNvSpPr/>
              <p:nvPr/>
            </p:nvSpPr>
            <p:spPr>
              <a:xfrm>
                <a:off x="1092126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5" name="Google Shape;8915;p55"/>
              <p:cNvSpPr/>
              <p:nvPr/>
            </p:nvSpPr>
            <p:spPr>
              <a:xfrm>
                <a:off x="1434943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6" name="Google Shape;8916;p55"/>
              <p:cNvSpPr/>
              <p:nvPr/>
            </p:nvSpPr>
            <p:spPr>
              <a:xfrm>
                <a:off x="1777760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7" name="Google Shape;8917;p55"/>
              <p:cNvSpPr/>
              <p:nvPr/>
            </p:nvSpPr>
            <p:spPr>
              <a:xfrm>
                <a:off x="2120578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8" name="Google Shape;8918;p55"/>
              <p:cNvSpPr/>
              <p:nvPr/>
            </p:nvSpPr>
            <p:spPr>
              <a:xfrm>
                <a:off x="2463395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9" name="Google Shape;8919;p55"/>
              <p:cNvSpPr/>
              <p:nvPr/>
            </p:nvSpPr>
            <p:spPr>
              <a:xfrm>
                <a:off x="2806212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0" name="Google Shape;8920;p55"/>
              <p:cNvSpPr/>
              <p:nvPr/>
            </p:nvSpPr>
            <p:spPr>
              <a:xfrm>
                <a:off x="1092126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1" name="Google Shape;8921;p55"/>
              <p:cNvSpPr/>
              <p:nvPr/>
            </p:nvSpPr>
            <p:spPr>
              <a:xfrm>
                <a:off x="1434943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2" name="Google Shape;8922;p55"/>
              <p:cNvSpPr/>
              <p:nvPr/>
            </p:nvSpPr>
            <p:spPr>
              <a:xfrm>
                <a:off x="1777760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3" name="Google Shape;8923;p55"/>
              <p:cNvSpPr/>
              <p:nvPr/>
            </p:nvSpPr>
            <p:spPr>
              <a:xfrm>
                <a:off x="2120578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4" name="Google Shape;8924;p55"/>
              <p:cNvSpPr/>
              <p:nvPr/>
            </p:nvSpPr>
            <p:spPr>
              <a:xfrm>
                <a:off x="2463395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5" name="Google Shape;8925;p55"/>
              <p:cNvSpPr/>
              <p:nvPr/>
            </p:nvSpPr>
            <p:spPr>
              <a:xfrm>
                <a:off x="2806212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6" name="Google Shape;8926;p55"/>
              <p:cNvSpPr/>
              <p:nvPr/>
            </p:nvSpPr>
            <p:spPr>
              <a:xfrm>
                <a:off x="1092126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7" name="Google Shape;8927;p55"/>
              <p:cNvSpPr/>
              <p:nvPr/>
            </p:nvSpPr>
            <p:spPr>
              <a:xfrm>
                <a:off x="1434943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8" name="Google Shape;8928;p55"/>
              <p:cNvSpPr/>
              <p:nvPr/>
            </p:nvSpPr>
            <p:spPr>
              <a:xfrm>
                <a:off x="1777760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9" name="Google Shape;8929;p55"/>
              <p:cNvSpPr/>
              <p:nvPr/>
            </p:nvSpPr>
            <p:spPr>
              <a:xfrm>
                <a:off x="2120578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0" name="Google Shape;8930;p55"/>
              <p:cNvSpPr/>
              <p:nvPr/>
            </p:nvSpPr>
            <p:spPr>
              <a:xfrm>
                <a:off x="2463395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1" name="Google Shape;8931;p55"/>
              <p:cNvSpPr/>
              <p:nvPr/>
            </p:nvSpPr>
            <p:spPr>
              <a:xfrm>
                <a:off x="2806212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2" name="Google Shape;8932;p55"/>
              <p:cNvSpPr/>
              <p:nvPr/>
            </p:nvSpPr>
            <p:spPr>
              <a:xfrm>
                <a:off x="1092126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3" name="Google Shape;8933;p55"/>
              <p:cNvSpPr/>
              <p:nvPr/>
            </p:nvSpPr>
            <p:spPr>
              <a:xfrm>
                <a:off x="1434943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4" name="Google Shape;8934;p55"/>
              <p:cNvSpPr/>
              <p:nvPr/>
            </p:nvSpPr>
            <p:spPr>
              <a:xfrm>
                <a:off x="1777760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5" name="Google Shape;8935;p55"/>
              <p:cNvSpPr/>
              <p:nvPr/>
            </p:nvSpPr>
            <p:spPr>
              <a:xfrm>
                <a:off x="2120578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6" name="Google Shape;8936;p55"/>
              <p:cNvSpPr/>
              <p:nvPr/>
            </p:nvSpPr>
            <p:spPr>
              <a:xfrm>
                <a:off x="2463395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7" name="Google Shape;8937;p55"/>
              <p:cNvSpPr/>
              <p:nvPr/>
            </p:nvSpPr>
            <p:spPr>
              <a:xfrm>
                <a:off x="2806212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38" name="Google Shape;8938;p55"/>
            <p:cNvGrpSpPr/>
            <p:nvPr/>
          </p:nvGrpSpPr>
          <p:grpSpPr>
            <a:xfrm>
              <a:off x="749309" y="1112739"/>
              <a:ext cx="314700" cy="975464"/>
              <a:chOff x="749309" y="1112739"/>
              <a:chExt cx="314700" cy="975464"/>
            </a:xfrm>
          </p:grpSpPr>
          <p:sp>
            <p:nvSpPr>
              <p:cNvPr id="8939" name="Google Shape;8939;p55"/>
              <p:cNvSpPr/>
              <p:nvPr/>
            </p:nvSpPr>
            <p:spPr>
              <a:xfrm>
                <a:off x="749309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0" name="Google Shape;8940;p55"/>
              <p:cNvSpPr/>
              <p:nvPr/>
            </p:nvSpPr>
            <p:spPr>
              <a:xfrm>
                <a:off x="749309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1" name="Google Shape;8941;p55"/>
              <p:cNvSpPr/>
              <p:nvPr/>
            </p:nvSpPr>
            <p:spPr>
              <a:xfrm>
                <a:off x="749309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2" name="Google Shape;8942;p55"/>
              <p:cNvSpPr/>
              <p:nvPr/>
            </p:nvSpPr>
            <p:spPr>
              <a:xfrm>
                <a:off x="749309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943" name="Google Shape;8943;p55"/>
            <p:cNvSpPr/>
            <p:nvPr/>
          </p:nvSpPr>
          <p:spPr>
            <a:xfrm>
              <a:off x="1434877" y="1258345"/>
              <a:ext cx="16857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4" name="Google Shape;8944;p55"/>
            <p:cNvSpPr/>
            <p:nvPr/>
          </p:nvSpPr>
          <p:spPr>
            <a:xfrm>
              <a:off x="1777683" y="2010641"/>
              <a:ext cx="10002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5" name="Google Shape;8945;p55"/>
            <p:cNvSpPr/>
            <p:nvPr/>
          </p:nvSpPr>
          <p:spPr>
            <a:xfrm>
              <a:off x="1092070" y="1759876"/>
              <a:ext cx="6576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6" name="Google Shape;8946;p55"/>
            <p:cNvSpPr/>
            <p:nvPr/>
          </p:nvSpPr>
          <p:spPr>
            <a:xfrm>
              <a:off x="2463277" y="1759876"/>
              <a:ext cx="6576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aphicFrame>
        <p:nvGraphicFramePr>
          <p:cNvPr id="8947" name="Google Shape;8947;p55"/>
          <p:cNvGraphicFramePr/>
          <p:nvPr/>
        </p:nvGraphicFramePr>
        <p:xfrm>
          <a:off x="5954600" y="118895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626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948" name="Google Shape;8948;p55"/>
          <p:cNvGraphicFramePr/>
          <p:nvPr/>
        </p:nvGraphicFramePr>
        <p:xfrm>
          <a:off x="3375463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5908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949" name="Google Shape;8949;p55"/>
          <p:cNvGrpSpPr/>
          <p:nvPr/>
        </p:nvGrpSpPr>
        <p:grpSpPr>
          <a:xfrm>
            <a:off x="3377449" y="3352160"/>
            <a:ext cx="2363377" cy="1047062"/>
            <a:chOff x="3358399" y="3285485"/>
            <a:chExt cx="2363377" cy="1047062"/>
          </a:xfrm>
        </p:grpSpPr>
        <p:grpSp>
          <p:nvGrpSpPr>
            <p:cNvPr id="8950" name="Google Shape;8950;p55"/>
            <p:cNvGrpSpPr/>
            <p:nvPr/>
          </p:nvGrpSpPr>
          <p:grpSpPr>
            <a:xfrm>
              <a:off x="3358412" y="3285485"/>
              <a:ext cx="2363244" cy="139500"/>
              <a:chOff x="3358412" y="3285485"/>
              <a:chExt cx="2363244" cy="139500"/>
            </a:xfrm>
          </p:grpSpPr>
          <p:sp>
            <p:nvSpPr>
              <p:cNvPr id="8951" name="Google Shape;8951;p55"/>
              <p:cNvSpPr/>
              <p:nvPr/>
            </p:nvSpPr>
            <p:spPr>
              <a:xfrm>
                <a:off x="3358412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2" name="Google Shape;8952;p55"/>
              <p:cNvSpPr/>
              <p:nvPr/>
            </p:nvSpPr>
            <p:spPr>
              <a:xfrm>
                <a:off x="3838898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3" name="Google Shape;8953;p55"/>
              <p:cNvSpPr/>
              <p:nvPr/>
            </p:nvSpPr>
            <p:spPr>
              <a:xfrm>
                <a:off x="4319384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4" name="Google Shape;8954;p55"/>
              <p:cNvSpPr/>
              <p:nvPr/>
            </p:nvSpPr>
            <p:spPr>
              <a:xfrm>
                <a:off x="4799870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5" name="Google Shape;8955;p55"/>
              <p:cNvSpPr/>
              <p:nvPr/>
            </p:nvSpPr>
            <p:spPr>
              <a:xfrm>
                <a:off x="5280356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56" name="Google Shape;8956;p55"/>
            <p:cNvGrpSpPr/>
            <p:nvPr/>
          </p:nvGrpSpPr>
          <p:grpSpPr>
            <a:xfrm>
              <a:off x="3358412" y="3466996"/>
              <a:ext cx="2363244" cy="139500"/>
              <a:chOff x="3358412" y="3466996"/>
              <a:chExt cx="2363244" cy="139500"/>
            </a:xfrm>
          </p:grpSpPr>
          <p:sp>
            <p:nvSpPr>
              <p:cNvPr id="8957" name="Google Shape;8957;p55"/>
              <p:cNvSpPr/>
              <p:nvPr/>
            </p:nvSpPr>
            <p:spPr>
              <a:xfrm>
                <a:off x="3358412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8" name="Google Shape;8958;p55"/>
              <p:cNvSpPr/>
              <p:nvPr/>
            </p:nvSpPr>
            <p:spPr>
              <a:xfrm>
                <a:off x="3838898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9" name="Google Shape;8959;p55"/>
              <p:cNvSpPr/>
              <p:nvPr/>
            </p:nvSpPr>
            <p:spPr>
              <a:xfrm>
                <a:off x="4319384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0" name="Google Shape;8960;p55"/>
              <p:cNvSpPr/>
              <p:nvPr/>
            </p:nvSpPr>
            <p:spPr>
              <a:xfrm>
                <a:off x="4799870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1" name="Google Shape;8961;p55"/>
              <p:cNvSpPr/>
              <p:nvPr/>
            </p:nvSpPr>
            <p:spPr>
              <a:xfrm>
                <a:off x="5280356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62" name="Google Shape;8962;p55"/>
            <p:cNvGrpSpPr/>
            <p:nvPr/>
          </p:nvGrpSpPr>
          <p:grpSpPr>
            <a:xfrm>
              <a:off x="3358412" y="3648507"/>
              <a:ext cx="2363244" cy="139500"/>
              <a:chOff x="3358412" y="3648507"/>
              <a:chExt cx="2363244" cy="139500"/>
            </a:xfrm>
          </p:grpSpPr>
          <p:sp>
            <p:nvSpPr>
              <p:cNvPr id="8963" name="Google Shape;8963;p55"/>
              <p:cNvSpPr/>
              <p:nvPr/>
            </p:nvSpPr>
            <p:spPr>
              <a:xfrm>
                <a:off x="3358412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4" name="Google Shape;8964;p55"/>
              <p:cNvSpPr/>
              <p:nvPr/>
            </p:nvSpPr>
            <p:spPr>
              <a:xfrm>
                <a:off x="3838898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5" name="Google Shape;8965;p55"/>
              <p:cNvSpPr/>
              <p:nvPr/>
            </p:nvSpPr>
            <p:spPr>
              <a:xfrm>
                <a:off x="4319384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6" name="Google Shape;8966;p55"/>
              <p:cNvSpPr/>
              <p:nvPr/>
            </p:nvSpPr>
            <p:spPr>
              <a:xfrm>
                <a:off x="4799870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7" name="Google Shape;8967;p55"/>
              <p:cNvSpPr/>
              <p:nvPr/>
            </p:nvSpPr>
            <p:spPr>
              <a:xfrm>
                <a:off x="5280356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68" name="Google Shape;8968;p55"/>
            <p:cNvGrpSpPr/>
            <p:nvPr/>
          </p:nvGrpSpPr>
          <p:grpSpPr>
            <a:xfrm>
              <a:off x="3358412" y="3830018"/>
              <a:ext cx="2363244" cy="139500"/>
              <a:chOff x="3358412" y="3830018"/>
              <a:chExt cx="2363244" cy="139500"/>
            </a:xfrm>
          </p:grpSpPr>
          <p:sp>
            <p:nvSpPr>
              <p:cNvPr id="8969" name="Google Shape;8969;p55"/>
              <p:cNvSpPr/>
              <p:nvPr/>
            </p:nvSpPr>
            <p:spPr>
              <a:xfrm>
                <a:off x="3358412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0" name="Google Shape;8970;p55"/>
              <p:cNvSpPr/>
              <p:nvPr/>
            </p:nvSpPr>
            <p:spPr>
              <a:xfrm>
                <a:off x="3838898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1" name="Google Shape;8971;p55"/>
              <p:cNvSpPr/>
              <p:nvPr/>
            </p:nvSpPr>
            <p:spPr>
              <a:xfrm>
                <a:off x="4319384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2" name="Google Shape;8972;p55"/>
              <p:cNvSpPr/>
              <p:nvPr/>
            </p:nvSpPr>
            <p:spPr>
              <a:xfrm>
                <a:off x="4799870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3" name="Google Shape;8973;p55"/>
              <p:cNvSpPr/>
              <p:nvPr/>
            </p:nvSpPr>
            <p:spPr>
              <a:xfrm>
                <a:off x="5280356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74" name="Google Shape;8974;p55"/>
            <p:cNvGrpSpPr/>
            <p:nvPr/>
          </p:nvGrpSpPr>
          <p:grpSpPr>
            <a:xfrm>
              <a:off x="3358399" y="4011514"/>
              <a:ext cx="2363377" cy="139537"/>
              <a:chOff x="3294800" y="4134603"/>
              <a:chExt cx="2638876" cy="152400"/>
            </a:xfrm>
          </p:grpSpPr>
          <p:sp>
            <p:nvSpPr>
              <p:cNvPr id="8975" name="Google Shape;8975;p55"/>
              <p:cNvSpPr/>
              <p:nvPr/>
            </p:nvSpPr>
            <p:spPr>
              <a:xfrm>
                <a:off x="3294800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6" name="Google Shape;8976;p55"/>
              <p:cNvSpPr/>
              <p:nvPr/>
            </p:nvSpPr>
            <p:spPr>
              <a:xfrm>
                <a:off x="3831294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7" name="Google Shape;8977;p55"/>
              <p:cNvSpPr/>
              <p:nvPr/>
            </p:nvSpPr>
            <p:spPr>
              <a:xfrm>
                <a:off x="4367788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8" name="Google Shape;8978;p55"/>
              <p:cNvSpPr/>
              <p:nvPr/>
            </p:nvSpPr>
            <p:spPr>
              <a:xfrm>
                <a:off x="4904282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9" name="Google Shape;8979;p55"/>
              <p:cNvSpPr/>
              <p:nvPr/>
            </p:nvSpPr>
            <p:spPr>
              <a:xfrm>
                <a:off x="5440776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80" name="Google Shape;8980;p55"/>
            <p:cNvGrpSpPr/>
            <p:nvPr/>
          </p:nvGrpSpPr>
          <p:grpSpPr>
            <a:xfrm>
              <a:off x="3358399" y="4193010"/>
              <a:ext cx="2363377" cy="139537"/>
              <a:chOff x="3294800" y="4134603"/>
              <a:chExt cx="2638876" cy="152400"/>
            </a:xfrm>
          </p:grpSpPr>
          <p:sp>
            <p:nvSpPr>
              <p:cNvPr id="8981" name="Google Shape;8981;p55"/>
              <p:cNvSpPr/>
              <p:nvPr/>
            </p:nvSpPr>
            <p:spPr>
              <a:xfrm>
                <a:off x="3294800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2" name="Google Shape;8982;p55"/>
              <p:cNvSpPr/>
              <p:nvPr/>
            </p:nvSpPr>
            <p:spPr>
              <a:xfrm>
                <a:off x="3831294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3" name="Google Shape;8983;p55"/>
              <p:cNvSpPr/>
              <p:nvPr/>
            </p:nvSpPr>
            <p:spPr>
              <a:xfrm>
                <a:off x="4367788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4" name="Google Shape;8984;p55"/>
              <p:cNvSpPr/>
              <p:nvPr/>
            </p:nvSpPr>
            <p:spPr>
              <a:xfrm>
                <a:off x="4904282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5" name="Google Shape;8985;p55"/>
              <p:cNvSpPr/>
              <p:nvPr/>
            </p:nvSpPr>
            <p:spPr>
              <a:xfrm>
                <a:off x="5440776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aphicFrame>
        <p:nvGraphicFramePr>
          <p:cNvPr id="8986" name="Google Shape;8986;p55"/>
          <p:cNvGraphicFramePr/>
          <p:nvPr/>
        </p:nvGraphicFramePr>
        <p:xfrm>
          <a:off x="728250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592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987" name="Google Shape;8987;p55"/>
          <p:cNvGrpSpPr/>
          <p:nvPr/>
        </p:nvGrpSpPr>
        <p:grpSpPr>
          <a:xfrm>
            <a:off x="4177919" y="2765014"/>
            <a:ext cx="1302095" cy="60959"/>
            <a:chOff x="3558802" y="4011427"/>
            <a:chExt cx="1866000" cy="111300"/>
          </a:xfrm>
        </p:grpSpPr>
        <p:sp>
          <p:nvSpPr>
            <p:cNvPr id="8988" name="Google Shape;8988;p55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9" name="Google Shape;8989;p55"/>
            <p:cNvSpPr/>
            <p:nvPr/>
          </p:nvSpPr>
          <p:spPr>
            <a:xfrm rot="5400000" flipH="1">
              <a:off x="4167866" y="3416648"/>
              <a:ext cx="97200" cy="13014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990" name="Google Shape;8990;p55"/>
          <p:cNvGrpSpPr/>
          <p:nvPr/>
        </p:nvGrpSpPr>
        <p:grpSpPr>
          <a:xfrm>
            <a:off x="4723407" y="3047174"/>
            <a:ext cx="914340" cy="60959"/>
            <a:chOff x="3558802" y="4011427"/>
            <a:chExt cx="1866000" cy="111300"/>
          </a:xfrm>
        </p:grpSpPr>
        <p:sp>
          <p:nvSpPr>
            <p:cNvPr id="8991" name="Google Shape;8991;p55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2" name="Google Shape;8992;p55"/>
            <p:cNvSpPr/>
            <p:nvPr/>
          </p:nvSpPr>
          <p:spPr>
            <a:xfrm rot="5400000" flipH="1">
              <a:off x="4167866" y="3416648"/>
              <a:ext cx="97200" cy="13014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993" name="Google Shape;8993;p55"/>
          <p:cNvGrpSpPr/>
          <p:nvPr/>
        </p:nvGrpSpPr>
        <p:grpSpPr>
          <a:xfrm>
            <a:off x="5891249" y="3374972"/>
            <a:ext cx="2519825" cy="1001454"/>
            <a:chOff x="1906114" y="789980"/>
            <a:chExt cx="1487676" cy="606868"/>
          </a:xfrm>
        </p:grpSpPr>
        <p:cxnSp>
          <p:nvCxnSpPr>
            <p:cNvPr id="8994" name="Google Shape;8994;p55"/>
            <p:cNvCxnSpPr/>
            <p:nvPr/>
          </p:nvCxnSpPr>
          <p:spPr>
            <a:xfrm rot="10800000">
              <a:off x="2109981" y="1180903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995" name="Google Shape;8995;p55"/>
            <p:cNvCxnSpPr/>
            <p:nvPr/>
          </p:nvCxnSpPr>
          <p:spPr>
            <a:xfrm rot="10800000">
              <a:off x="2109981" y="985080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996" name="Google Shape;8996;p55"/>
            <p:cNvCxnSpPr/>
            <p:nvPr/>
          </p:nvCxnSpPr>
          <p:spPr>
            <a:xfrm rot="10800000">
              <a:off x="2109981" y="1376729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997" name="Google Shape;8997;p55"/>
            <p:cNvSpPr txBox="1"/>
            <p:nvPr/>
          </p:nvSpPr>
          <p:spPr>
            <a:xfrm flipH="1">
              <a:off x="2109710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JANUARY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8998" name="Google Shape;8998;p55"/>
            <p:cNvSpPr txBox="1"/>
            <p:nvPr/>
          </p:nvSpPr>
          <p:spPr>
            <a:xfrm flipH="1">
              <a:off x="2434275" y="789980"/>
              <a:ext cx="2892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FEBRUARY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8999" name="Google Shape;8999;p55"/>
            <p:cNvSpPr txBox="1"/>
            <p:nvPr/>
          </p:nvSpPr>
          <p:spPr>
            <a:xfrm flipH="1">
              <a:off x="2781049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MARCH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0" name="Google Shape;9000;p55"/>
            <p:cNvSpPr txBox="1"/>
            <p:nvPr/>
          </p:nvSpPr>
          <p:spPr>
            <a:xfrm flipH="1">
              <a:off x="3112690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APRIL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1" name="Google Shape;9001;p55"/>
            <p:cNvSpPr/>
            <p:nvPr/>
          </p:nvSpPr>
          <p:spPr>
            <a:xfrm>
              <a:off x="2105681" y="964326"/>
              <a:ext cx="2892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2" name="Google Shape;9002;p55"/>
            <p:cNvSpPr/>
            <p:nvPr/>
          </p:nvSpPr>
          <p:spPr>
            <a:xfrm>
              <a:off x="2109515" y="1159286"/>
              <a:ext cx="280200" cy="4260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3" name="Google Shape;9003;p55"/>
            <p:cNvSpPr/>
            <p:nvPr/>
          </p:nvSpPr>
          <p:spPr>
            <a:xfrm>
              <a:off x="2753389" y="1353677"/>
              <a:ext cx="3255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4" name="Google Shape;9004;p55"/>
            <p:cNvSpPr/>
            <p:nvPr/>
          </p:nvSpPr>
          <p:spPr>
            <a:xfrm>
              <a:off x="2105681" y="1159287"/>
              <a:ext cx="2892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5" name="Google Shape;9005;p55"/>
            <p:cNvSpPr/>
            <p:nvPr/>
          </p:nvSpPr>
          <p:spPr>
            <a:xfrm>
              <a:off x="2412005" y="1354248"/>
              <a:ext cx="3255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6" name="Google Shape;9006;p55"/>
            <p:cNvSpPr/>
            <p:nvPr/>
          </p:nvSpPr>
          <p:spPr>
            <a:xfrm>
              <a:off x="2410087" y="964961"/>
              <a:ext cx="3255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7" name="Google Shape;9007;p55"/>
            <p:cNvSpPr txBox="1"/>
            <p:nvPr/>
          </p:nvSpPr>
          <p:spPr>
            <a:xfrm flipH="1">
              <a:off x="1906114" y="918164"/>
              <a:ext cx="203400" cy="106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PHASE 1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8" name="Google Shape;9008;p55"/>
            <p:cNvSpPr txBox="1"/>
            <p:nvPr/>
          </p:nvSpPr>
          <p:spPr>
            <a:xfrm flipH="1">
              <a:off x="1919618" y="1113390"/>
              <a:ext cx="189900" cy="91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Task 1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9" name="Google Shape;9009;p55"/>
            <p:cNvSpPr txBox="1"/>
            <p:nvPr/>
          </p:nvSpPr>
          <p:spPr>
            <a:xfrm flipH="1">
              <a:off x="1906118" y="1304527"/>
              <a:ext cx="203400" cy="91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Task 2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10" name="Google Shape;9010;p55"/>
            <p:cNvSpPr/>
            <p:nvPr/>
          </p:nvSpPr>
          <p:spPr>
            <a:xfrm>
              <a:off x="2750975" y="964961"/>
              <a:ext cx="3255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11" name="Google Shape;9011;p55"/>
          <p:cNvGrpSpPr/>
          <p:nvPr/>
        </p:nvGrpSpPr>
        <p:grpSpPr>
          <a:xfrm>
            <a:off x="3372612" y="1159008"/>
            <a:ext cx="2363393" cy="1005865"/>
            <a:chOff x="3292400" y="1193188"/>
            <a:chExt cx="2615240" cy="1131075"/>
          </a:xfrm>
        </p:grpSpPr>
        <p:sp>
          <p:nvSpPr>
            <p:cNvPr id="9012" name="Google Shape;9012;p55"/>
            <p:cNvSpPr/>
            <p:nvPr/>
          </p:nvSpPr>
          <p:spPr>
            <a:xfrm>
              <a:off x="3292400" y="1845763"/>
              <a:ext cx="370500" cy="478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rgbClr val="ABBCC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3" name="Google Shape;9013;p55"/>
            <p:cNvSpPr/>
            <p:nvPr/>
          </p:nvSpPr>
          <p:spPr>
            <a:xfrm>
              <a:off x="3292400" y="1314860"/>
              <a:ext cx="370500" cy="478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4" name="Google Shape;9014;p55"/>
            <p:cNvSpPr txBox="1"/>
            <p:nvPr/>
          </p:nvSpPr>
          <p:spPr>
            <a:xfrm flipH="1">
              <a:off x="3678794" y="1193199"/>
              <a:ext cx="3705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JANUAR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5" name="Google Shape;9015;p55"/>
            <p:cNvSpPr txBox="1"/>
            <p:nvPr/>
          </p:nvSpPr>
          <p:spPr>
            <a:xfrm flipH="1">
              <a:off x="4051671" y="1193188"/>
              <a:ext cx="4014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FEBRUAR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6" name="Google Shape;9016;p55"/>
            <p:cNvSpPr txBox="1"/>
            <p:nvPr/>
          </p:nvSpPr>
          <p:spPr>
            <a:xfrm flipH="1">
              <a:off x="4453057" y="1193188"/>
              <a:ext cx="3480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MARCH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7" name="Google Shape;9017;p55"/>
            <p:cNvSpPr txBox="1"/>
            <p:nvPr/>
          </p:nvSpPr>
          <p:spPr>
            <a:xfrm flipH="1">
              <a:off x="4831790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APRIL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8" name="Google Shape;9018;p55"/>
            <p:cNvSpPr txBox="1"/>
            <p:nvPr/>
          </p:nvSpPr>
          <p:spPr>
            <a:xfrm flipH="1">
              <a:off x="5186134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MA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9" name="Google Shape;9019;p55"/>
            <p:cNvSpPr txBox="1"/>
            <p:nvPr/>
          </p:nvSpPr>
          <p:spPr>
            <a:xfrm flipH="1">
              <a:off x="5562148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JUNE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0" name="Google Shape;9020;p55"/>
            <p:cNvSpPr txBox="1"/>
            <p:nvPr/>
          </p:nvSpPr>
          <p:spPr>
            <a:xfrm flipH="1">
              <a:off x="3349576" y="1372466"/>
              <a:ext cx="2727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PHASE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1" name="Google Shape;9021;p55"/>
            <p:cNvSpPr txBox="1"/>
            <p:nvPr/>
          </p:nvSpPr>
          <p:spPr>
            <a:xfrm flipH="1">
              <a:off x="3349579" y="1895516"/>
              <a:ext cx="2727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PHASE 2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2" name="Google Shape;9022;p55"/>
            <p:cNvSpPr txBox="1"/>
            <p:nvPr/>
          </p:nvSpPr>
          <p:spPr>
            <a:xfrm flipH="1">
              <a:off x="3355878" y="1543623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3" name="Google Shape;9023;p55"/>
            <p:cNvSpPr txBox="1"/>
            <p:nvPr/>
          </p:nvSpPr>
          <p:spPr>
            <a:xfrm flipH="1">
              <a:off x="3355878" y="1720328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2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4" name="Google Shape;9024;p55"/>
            <p:cNvSpPr txBox="1"/>
            <p:nvPr/>
          </p:nvSpPr>
          <p:spPr>
            <a:xfrm flipH="1">
              <a:off x="3355878" y="2072220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5" name="Google Shape;9025;p55"/>
            <p:cNvSpPr txBox="1"/>
            <p:nvPr/>
          </p:nvSpPr>
          <p:spPr>
            <a:xfrm flipH="1">
              <a:off x="3355889" y="2248920"/>
              <a:ext cx="256200" cy="68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2</a:t>
              </a:r>
              <a:endParaRPr sz="200">
                <a:solidFill>
                  <a:srgbClr val="FFFFFF"/>
                </a:solidFill>
              </a:endParaRPr>
            </a:p>
          </p:txBody>
        </p:sp>
        <p:grpSp>
          <p:nvGrpSpPr>
            <p:cNvPr id="9026" name="Google Shape;9026;p55"/>
            <p:cNvGrpSpPr/>
            <p:nvPr/>
          </p:nvGrpSpPr>
          <p:grpSpPr>
            <a:xfrm>
              <a:off x="3748438" y="1378608"/>
              <a:ext cx="2159202" cy="903971"/>
              <a:chOff x="1683525" y="2179850"/>
              <a:chExt cx="4519050" cy="2134525"/>
            </a:xfrm>
          </p:grpSpPr>
          <p:sp>
            <p:nvSpPr>
              <p:cNvPr id="9027" name="Google Shape;9027;p55"/>
              <p:cNvSpPr/>
              <p:nvPr/>
            </p:nvSpPr>
            <p:spPr>
              <a:xfrm>
                <a:off x="1683525" y="2179850"/>
                <a:ext cx="4519050" cy="53925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7" extrusionOk="0">
                    <a:moveTo>
                      <a:pt x="1072" y="1"/>
                    </a:moveTo>
                    <a:cubicBezTo>
                      <a:pt x="477" y="1"/>
                      <a:pt x="1" y="477"/>
                      <a:pt x="1" y="1073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73"/>
                    </a:cubicBezTo>
                    <a:cubicBezTo>
                      <a:pt x="180761" y="477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8" name="Google Shape;9028;p55"/>
              <p:cNvSpPr/>
              <p:nvPr/>
            </p:nvSpPr>
            <p:spPr>
              <a:xfrm>
                <a:off x="1683525" y="259597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84"/>
                    </a:cubicBezTo>
                    <a:cubicBezTo>
                      <a:pt x="180761" y="489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9" name="Google Shape;9029;p55"/>
              <p:cNvSpPr/>
              <p:nvPr/>
            </p:nvSpPr>
            <p:spPr>
              <a:xfrm>
                <a:off x="1683525" y="3012100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80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72"/>
                    </a:cubicBezTo>
                    <a:cubicBezTo>
                      <a:pt x="180761" y="477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0" name="Google Shape;9030;p55"/>
              <p:cNvSpPr/>
              <p:nvPr/>
            </p:nvSpPr>
            <p:spPr>
              <a:xfrm>
                <a:off x="1683525" y="342822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79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79"/>
                      <a:pt x="180761" y="1084"/>
                    </a:cubicBezTo>
                    <a:cubicBezTo>
                      <a:pt x="180761" y="489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1" name="Google Shape;9031;p55"/>
              <p:cNvSpPr/>
              <p:nvPr/>
            </p:nvSpPr>
            <p:spPr>
              <a:xfrm>
                <a:off x="1683525" y="3844350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548" y="1"/>
                    </a:moveTo>
                    <a:cubicBezTo>
                      <a:pt x="251" y="1"/>
                      <a:pt x="1" y="251"/>
                      <a:pt x="1" y="560"/>
                    </a:cubicBezTo>
                    <a:lnTo>
                      <a:pt x="1" y="1608"/>
                    </a:lnTo>
                    <a:cubicBezTo>
                      <a:pt x="1" y="1917"/>
                      <a:pt x="251" y="2156"/>
                      <a:pt x="548" y="2156"/>
                    </a:cubicBezTo>
                    <a:lnTo>
                      <a:pt x="180202" y="2156"/>
                    </a:lnTo>
                    <a:cubicBezTo>
                      <a:pt x="180511" y="2156"/>
                      <a:pt x="180761" y="1917"/>
                      <a:pt x="180761" y="1608"/>
                    </a:cubicBezTo>
                    <a:lnTo>
                      <a:pt x="180761" y="560"/>
                    </a:lnTo>
                    <a:cubicBezTo>
                      <a:pt x="180761" y="251"/>
                      <a:pt x="180511" y="1"/>
                      <a:pt x="180202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2" name="Google Shape;9032;p55"/>
              <p:cNvSpPr/>
              <p:nvPr/>
            </p:nvSpPr>
            <p:spPr>
              <a:xfrm>
                <a:off x="1683525" y="426047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0"/>
                    </a:moveTo>
                    <a:cubicBezTo>
                      <a:pt x="477" y="0"/>
                      <a:pt x="1" y="489"/>
                      <a:pt x="1" y="1084"/>
                    </a:cubicBezTo>
                    <a:cubicBezTo>
                      <a:pt x="1" y="1679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79"/>
                      <a:pt x="180761" y="1084"/>
                    </a:cubicBezTo>
                    <a:cubicBezTo>
                      <a:pt x="180761" y="489"/>
                      <a:pt x="180273" y="0"/>
                      <a:pt x="179678" y="0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3" name="Google Shape;9033;p55"/>
              <p:cNvSpPr/>
              <p:nvPr/>
            </p:nvSpPr>
            <p:spPr>
              <a:xfrm>
                <a:off x="1683525" y="2179850"/>
                <a:ext cx="921275" cy="53925"/>
              </a:xfrm>
              <a:custGeom>
                <a:avLst/>
                <a:gdLst/>
                <a:ahLst/>
                <a:cxnLst/>
                <a:rect l="l" t="t" r="r" b="b"/>
                <a:pathLst>
                  <a:path w="36851" h="2157" extrusionOk="0">
                    <a:moveTo>
                      <a:pt x="1072" y="1"/>
                    </a:moveTo>
                    <a:cubicBezTo>
                      <a:pt x="477" y="1"/>
                      <a:pt x="1" y="477"/>
                      <a:pt x="1" y="1073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35767" y="2156"/>
                    </a:lnTo>
                    <a:cubicBezTo>
                      <a:pt x="36362" y="2156"/>
                      <a:pt x="36851" y="1668"/>
                      <a:pt x="36851" y="1073"/>
                    </a:cubicBezTo>
                    <a:cubicBezTo>
                      <a:pt x="36851" y="477"/>
                      <a:pt x="36362" y="1"/>
                      <a:pt x="35767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4" name="Google Shape;9034;p55"/>
              <p:cNvSpPr/>
              <p:nvPr/>
            </p:nvSpPr>
            <p:spPr>
              <a:xfrm>
                <a:off x="2166625" y="2595975"/>
                <a:ext cx="203690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81476" h="2156" extrusionOk="0">
                    <a:moveTo>
                      <a:pt x="1084" y="1"/>
                    </a:moveTo>
                    <a:cubicBezTo>
                      <a:pt x="489" y="1"/>
                      <a:pt x="1" y="489"/>
                      <a:pt x="1" y="1084"/>
                    </a:cubicBezTo>
                    <a:cubicBezTo>
                      <a:pt x="1" y="1668"/>
                      <a:pt x="489" y="2156"/>
                      <a:pt x="1084" y="2156"/>
                    </a:cubicBezTo>
                    <a:lnTo>
                      <a:pt x="80392" y="2156"/>
                    </a:lnTo>
                    <a:cubicBezTo>
                      <a:pt x="80987" y="2156"/>
                      <a:pt x="81475" y="1668"/>
                      <a:pt x="81475" y="1084"/>
                    </a:cubicBezTo>
                    <a:cubicBezTo>
                      <a:pt x="81475" y="489"/>
                      <a:pt x="80987" y="1"/>
                      <a:pt x="80392" y="1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5" name="Google Shape;9035;p55"/>
              <p:cNvSpPr/>
              <p:nvPr/>
            </p:nvSpPr>
            <p:spPr>
              <a:xfrm>
                <a:off x="2808675" y="3012100"/>
                <a:ext cx="108200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43280" h="2156" extrusionOk="0">
                    <a:moveTo>
                      <a:pt x="1072" y="1"/>
                    </a:moveTo>
                    <a:cubicBezTo>
                      <a:pt x="477" y="1"/>
                      <a:pt x="0" y="477"/>
                      <a:pt x="0" y="1072"/>
                    </a:cubicBezTo>
                    <a:cubicBezTo>
                      <a:pt x="0" y="1668"/>
                      <a:pt x="477" y="2156"/>
                      <a:pt x="1072" y="2156"/>
                    </a:cubicBezTo>
                    <a:lnTo>
                      <a:pt x="42196" y="2156"/>
                    </a:lnTo>
                    <a:cubicBezTo>
                      <a:pt x="42791" y="2156"/>
                      <a:pt x="43280" y="1668"/>
                      <a:pt x="43280" y="1072"/>
                    </a:cubicBezTo>
                    <a:cubicBezTo>
                      <a:pt x="43280" y="477"/>
                      <a:pt x="42791" y="1"/>
                      <a:pt x="42196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6" name="Google Shape;9036;p55"/>
              <p:cNvSpPr/>
              <p:nvPr/>
            </p:nvSpPr>
            <p:spPr>
              <a:xfrm>
                <a:off x="2942925" y="3428225"/>
                <a:ext cx="2044925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81797" h="2156" extrusionOk="0">
                    <a:moveTo>
                      <a:pt x="1084" y="1"/>
                    </a:moveTo>
                    <a:cubicBezTo>
                      <a:pt x="488" y="1"/>
                      <a:pt x="0" y="489"/>
                      <a:pt x="12" y="1084"/>
                    </a:cubicBezTo>
                    <a:cubicBezTo>
                      <a:pt x="12" y="1679"/>
                      <a:pt x="488" y="2156"/>
                      <a:pt x="1084" y="2156"/>
                    </a:cubicBezTo>
                    <a:lnTo>
                      <a:pt x="80713" y="2156"/>
                    </a:lnTo>
                    <a:cubicBezTo>
                      <a:pt x="81308" y="2156"/>
                      <a:pt x="81796" y="1679"/>
                      <a:pt x="81796" y="1084"/>
                    </a:cubicBezTo>
                    <a:cubicBezTo>
                      <a:pt x="81796" y="489"/>
                      <a:pt x="81308" y="1"/>
                      <a:pt x="80713" y="1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7" name="Google Shape;9037;p55"/>
              <p:cNvSpPr/>
              <p:nvPr/>
            </p:nvSpPr>
            <p:spPr>
              <a:xfrm>
                <a:off x="3933825" y="3844350"/>
                <a:ext cx="1650825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66033" h="2156" extrusionOk="0">
                    <a:moveTo>
                      <a:pt x="548" y="1"/>
                    </a:moveTo>
                    <a:cubicBezTo>
                      <a:pt x="238" y="1"/>
                      <a:pt x="0" y="251"/>
                      <a:pt x="0" y="560"/>
                    </a:cubicBezTo>
                    <a:lnTo>
                      <a:pt x="0" y="1608"/>
                    </a:lnTo>
                    <a:cubicBezTo>
                      <a:pt x="0" y="1917"/>
                      <a:pt x="238" y="2156"/>
                      <a:pt x="548" y="2156"/>
                    </a:cubicBezTo>
                    <a:lnTo>
                      <a:pt x="65472" y="2156"/>
                    </a:lnTo>
                    <a:cubicBezTo>
                      <a:pt x="65782" y="2156"/>
                      <a:pt x="66032" y="1917"/>
                      <a:pt x="66032" y="1608"/>
                    </a:cubicBezTo>
                    <a:lnTo>
                      <a:pt x="66032" y="560"/>
                    </a:lnTo>
                    <a:cubicBezTo>
                      <a:pt x="66032" y="251"/>
                      <a:pt x="65782" y="1"/>
                      <a:pt x="6547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8" name="Google Shape;9038;p55"/>
              <p:cNvSpPr/>
              <p:nvPr/>
            </p:nvSpPr>
            <p:spPr>
              <a:xfrm>
                <a:off x="5058950" y="4260775"/>
                <a:ext cx="1143625" cy="53600"/>
              </a:xfrm>
              <a:custGeom>
                <a:avLst/>
                <a:gdLst/>
                <a:ahLst/>
                <a:cxnLst/>
                <a:rect l="l" t="t" r="r" b="b"/>
                <a:pathLst>
                  <a:path w="45745" h="2144" extrusionOk="0">
                    <a:moveTo>
                      <a:pt x="1072" y="0"/>
                    </a:moveTo>
                    <a:cubicBezTo>
                      <a:pt x="477" y="0"/>
                      <a:pt x="1" y="477"/>
                      <a:pt x="1" y="1072"/>
                    </a:cubicBezTo>
                    <a:cubicBezTo>
                      <a:pt x="1" y="1667"/>
                      <a:pt x="477" y="2144"/>
                      <a:pt x="1072" y="2144"/>
                    </a:cubicBezTo>
                    <a:lnTo>
                      <a:pt x="44661" y="2144"/>
                    </a:lnTo>
                    <a:cubicBezTo>
                      <a:pt x="45256" y="2144"/>
                      <a:pt x="45744" y="1667"/>
                      <a:pt x="45744" y="1072"/>
                    </a:cubicBezTo>
                    <a:cubicBezTo>
                      <a:pt x="45744" y="477"/>
                      <a:pt x="45256" y="0"/>
                      <a:pt x="44661" y="0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</p:grpSp>
      </p:grp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0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43" name="Google Shape;9043;p56"/>
          <p:cNvGrpSpPr/>
          <p:nvPr/>
        </p:nvGrpSpPr>
        <p:grpSpPr>
          <a:xfrm>
            <a:off x="4814684" y="1191441"/>
            <a:ext cx="745431" cy="718863"/>
            <a:chOff x="4249973" y="1201875"/>
            <a:chExt cx="1958568" cy="1888762"/>
          </a:xfrm>
        </p:grpSpPr>
        <p:sp>
          <p:nvSpPr>
            <p:cNvPr id="9044" name="Google Shape;9044;p56"/>
            <p:cNvSpPr/>
            <p:nvPr/>
          </p:nvSpPr>
          <p:spPr>
            <a:xfrm>
              <a:off x="4468527" y="1411932"/>
              <a:ext cx="1528500" cy="1452600"/>
            </a:xfrm>
            <a:prstGeom prst="pentagon">
              <a:avLst>
                <a:gd name="hf" fmla="val 105146"/>
                <a:gd name="vf" fmla="val 110557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045" name="Google Shape;9045;p56"/>
            <p:cNvGrpSpPr/>
            <p:nvPr/>
          </p:nvGrpSpPr>
          <p:grpSpPr>
            <a:xfrm>
              <a:off x="5853086" y="1789142"/>
              <a:ext cx="355454" cy="1048099"/>
              <a:chOff x="5576108" y="2016725"/>
              <a:chExt cx="565200" cy="1666560"/>
            </a:xfrm>
          </p:grpSpPr>
          <p:sp>
            <p:nvSpPr>
              <p:cNvPr id="9046" name="Google Shape;9046;p56"/>
              <p:cNvSpPr/>
              <p:nvPr/>
            </p:nvSpPr>
            <p:spPr>
              <a:xfrm>
                <a:off x="5576108" y="20167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47" name="Google Shape;9047;p56"/>
              <p:cNvSpPr/>
              <p:nvPr/>
            </p:nvSpPr>
            <p:spPr>
              <a:xfrm rot="6479001">
                <a:off x="5275897" y="3050667"/>
                <a:ext cx="1119386" cy="152834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48" name="Google Shape;9048;p56"/>
            <p:cNvGrpSpPr/>
            <p:nvPr/>
          </p:nvGrpSpPr>
          <p:grpSpPr>
            <a:xfrm>
              <a:off x="4869455" y="2691676"/>
              <a:ext cx="1013897" cy="398961"/>
              <a:chOff x="4012057" y="3451825"/>
              <a:chExt cx="1612175" cy="634379"/>
            </a:xfrm>
          </p:grpSpPr>
          <p:sp>
            <p:nvSpPr>
              <p:cNvPr id="9049" name="Google Shape;9049;p56"/>
              <p:cNvSpPr/>
              <p:nvPr/>
            </p:nvSpPr>
            <p:spPr>
              <a:xfrm>
                <a:off x="5059033" y="34518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0" name="Google Shape;9050;p56"/>
              <p:cNvSpPr/>
              <p:nvPr/>
            </p:nvSpPr>
            <p:spPr>
              <a:xfrm rot="10799079">
                <a:off x="4012507" y="3933353"/>
                <a:ext cx="1119600" cy="15270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1" name="Google Shape;9051;p56"/>
            <p:cNvGrpSpPr/>
            <p:nvPr/>
          </p:nvGrpSpPr>
          <p:grpSpPr>
            <a:xfrm>
              <a:off x="4276937" y="2155961"/>
              <a:ext cx="651965" cy="891358"/>
              <a:chOff x="3069908" y="2599997"/>
              <a:chExt cx="1036675" cy="1417328"/>
            </a:xfrm>
          </p:grpSpPr>
          <p:sp>
            <p:nvSpPr>
              <p:cNvPr id="9052" name="Google Shape;9052;p56"/>
              <p:cNvSpPr/>
              <p:nvPr/>
            </p:nvSpPr>
            <p:spPr>
              <a:xfrm>
                <a:off x="3541383" y="34518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3" name="Google Shape;9053;p56"/>
              <p:cNvSpPr/>
              <p:nvPr/>
            </p:nvSpPr>
            <p:spPr>
              <a:xfrm rot="-6478717">
                <a:off x="2755922" y="3079191"/>
                <a:ext cx="1119672" cy="15341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4" name="Google Shape;9054;p56"/>
            <p:cNvGrpSpPr/>
            <p:nvPr/>
          </p:nvGrpSpPr>
          <p:grpSpPr>
            <a:xfrm>
              <a:off x="5054918" y="1201875"/>
              <a:ext cx="999548" cy="602711"/>
              <a:chOff x="4306958" y="1082925"/>
              <a:chExt cx="1589359" cy="958358"/>
            </a:xfrm>
          </p:grpSpPr>
          <p:sp>
            <p:nvSpPr>
              <p:cNvPr id="9055" name="Google Shape;9055;p56"/>
              <p:cNvSpPr/>
              <p:nvPr/>
            </p:nvSpPr>
            <p:spPr>
              <a:xfrm>
                <a:off x="4306958" y="10829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6" name="Google Shape;9056;p56"/>
              <p:cNvSpPr/>
              <p:nvPr/>
            </p:nvSpPr>
            <p:spPr>
              <a:xfrm rot="2159678">
                <a:off x="4838902" y="1574444"/>
                <a:ext cx="1119431" cy="152476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7" name="Google Shape;9057;p56"/>
            <p:cNvGrpSpPr/>
            <p:nvPr/>
          </p:nvGrpSpPr>
          <p:grpSpPr>
            <a:xfrm>
              <a:off x="4249973" y="1303451"/>
              <a:ext cx="799317" cy="841334"/>
              <a:chOff x="3027033" y="1244439"/>
              <a:chExt cx="1270977" cy="1337786"/>
            </a:xfrm>
          </p:grpSpPr>
          <p:sp>
            <p:nvSpPr>
              <p:cNvPr id="9058" name="Google Shape;9058;p56"/>
              <p:cNvSpPr/>
              <p:nvPr/>
            </p:nvSpPr>
            <p:spPr>
              <a:xfrm>
                <a:off x="3027033" y="20167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9" name="Google Shape;9059;p56"/>
              <p:cNvSpPr/>
              <p:nvPr/>
            </p:nvSpPr>
            <p:spPr>
              <a:xfrm rot="-2159137">
                <a:off x="3240473" y="1559002"/>
                <a:ext cx="1119673" cy="15327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060" name="Google Shape;9060;p56"/>
          <p:cNvGrpSpPr/>
          <p:nvPr/>
        </p:nvGrpSpPr>
        <p:grpSpPr>
          <a:xfrm>
            <a:off x="731057" y="2069890"/>
            <a:ext cx="761767" cy="729896"/>
            <a:chOff x="2657744" y="2337745"/>
            <a:chExt cx="832987" cy="798137"/>
          </a:xfrm>
        </p:grpSpPr>
        <p:sp>
          <p:nvSpPr>
            <p:cNvPr id="9061" name="Google Shape;9061;p56"/>
            <p:cNvSpPr/>
            <p:nvPr/>
          </p:nvSpPr>
          <p:spPr>
            <a:xfrm>
              <a:off x="2812050" y="2337745"/>
              <a:ext cx="516050" cy="266400"/>
            </a:xfrm>
            <a:custGeom>
              <a:avLst/>
              <a:gdLst/>
              <a:ahLst/>
              <a:cxnLst/>
              <a:rect l="l" t="t" r="r" b="b"/>
              <a:pathLst>
                <a:path w="20642" h="10656" extrusionOk="0">
                  <a:moveTo>
                    <a:pt x="10321" y="0"/>
                  </a:moveTo>
                  <a:cubicBezTo>
                    <a:pt x="4630" y="0"/>
                    <a:pt x="1" y="4630"/>
                    <a:pt x="1" y="10321"/>
                  </a:cubicBezTo>
                  <a:cubicBezTo>
                    <a:pt x="1" y="10385"/>
                    <a:pt x="2" y="10450"/>
                    <a:pt x="4" y="10514"/>
                  </a:cubicBezTo>
                  <a:cubicBezTo>
                    <a:pt x="1580" y="9686"/>
                    <a:pt x="3307" y="9273"/>
                    <a:pt x="5033" y="9273"/>
                  </a:cubicBezTo>
                  <a:cubicBezTo>
                    <a:pt x="6858" y="9273"/>
                    <a:pt x="8681" y="9735"/>
                    <a:pt x="10321" y="10655"/>
                  </a:cubicBezTo>
                  <a:cubicBezTo>
                    <a:pt x="11962" y="9735"/>
                    <a:pt x="13786" y="9273"/>
                    <a:pt x="15610" y="9273"/>
                  </a:cubicBezTo>
                  <a:cubicBezTo>
                    <a:pt x="17337" y="9273"/>
                    <a:pt x="19065" y="9686"/>
                    <a:pt x="20640" y="10514"/>
                  </a:cubicBezTo>
                  <a:cubicBezTo>
                    <a:pt x="20640" y="10450"/>
                    <a:pt x="20642" y="10385"/>
                    <a:pt x="20642" y="10321"/>
                  </a:cubicBezTo>
                  <a:cubicBezTo>
                    <a:pt x="20642" y="4630"/>
                    <a:pt x="16012" y="0"/>
                    <a:pt x="103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2" name="Google Shape;9062;p56"/>
            <p:cNvSpPr/>
            <p:nvPr/>
          </p:nvSpPr>
          <p:spPr>
            <a:xfrm>
              <a:off x="3113181" y="2645625"/>
              <a:ext cx="377550" cy="476425"/>
            </a:xfrm>
            <a:custGeom>
              <a:avLst/>
              <a:gdLst/>
              <a:ahLst/>
              <a:cxnLst/>
              <a:rect l="l" t="t" r="r" b="b"/>
              <a:pathLst>
                <a:path w="15102" h="19057" extrusionOk="0">
                  <a:moveTo>
                    <a:pt x="10272" y="0"/>
                  </a:moveTo>
                  <a:cubicBezTo>
                    <a:pt x="9934" y="3512"/>
                    <a:pt x="7912" y="6539"/>
                    <a:pt x="5024" y="8262"/>
                  </a:cubicBezTo>
                  <a:cubicBezTo>
                    <a:pt x="5031" y="8418"/>
                    <a:pt x="5036" y="8577"/>
                    <a:pt x="5036" y="8736"/>
                  </a:cubicBezTo>
                  <a:cubicBezTo>
                    <a:pt x="5036" y="12577"/>
                    <a:pt x="3024" y="15957"/>
                    <a:pt x="1" y="17879"/>
                  </a:cubicBezTo>
                  <a:cubicBezTo>
                    <a:pt x="1471" y="18653"/>
                    <a:pt x="3109" y="19056"/>
                    <a:pt x="4771" y="19056"/>
                  </a:cubicBezTo>
                  <a:cubicBezTo>
                    <a:pt x="4774" y="19056"/>
                    <a:pt x="4778" y="19056"/>
                    <a:pt x="4781" y="19056"/>
                  </a:cubicBezTo>
                  <a:cubicBezTo>
                    <a:pt x="10472" y="19056"/>
                    <a:pt x="15102" y="14427"/>
                    <a:pt x="15102" y="8736"/>
                  </a:cubicBezTo>
                  <a:cubicBezTo>
                    <a:pt x="15102" y="5062"/>
                    <a:pt x="13170" y="1831"/>
                    <a:pt x="102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3" name="Google Shape;9063;p56"/>
            <p:cNvSpPr/>
            <p:nvPr/>
          </p:nvSpPr>
          <p:spPr>
            <a:xfrm>
              <a:off x="3082750" y="2605975"/>
              <a:ext cx="244675" cy="231900"/>
            </a:xfrm>
            <a:custGeom>
              <a:avLst/>
              <a:gdLst/>
              <a:ahLst/>
              <a:cxnLst/>
              <a:rect l="l" t="t" r="r" b="b"/>
              <a:pathLst>
                <a:path w="9787" h="9276" extrusionOk="0">
                  <a:moveTo>
                    <a:pt x="4781" y="1"/>
                  </a:moveTo>
                  <a:cubicBezTo>
                    <a:pt x="3141" y="1"/>
                    <a:pt x="1499" y="393"/>
                    <a:pt x="1" y="1178"/>
                  </a:cubicBezTo>
                  <a:cubicBezTo>
                    <a:pt x="2747" y="2923"/>
                    <a:pt x="4656" y="5871"/>
                    <a:pt x="4984" y="9276"/>
                  </a:cubicBezTo>
                  <a:cubicBezTo>
                    <a:pt x="7683" y="7574"/>
                    <a:pt x="9542" y="4656"/>
                    <a:pt x="9787" y="1300"/>
                  </a:cubicBezTo>
                  <a:cubicBezTo>
                    <a:pt x="8232" y="434"/>
                    <a:pt x="6507" y="1"/>
                    <a:pt x="478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4" name="Google Shape;9064;p56"/>
            <p:cNvSpPr/>
            <p:nvPr/>
          </p:nvSpPr>
          <p:spPr>
            <a:xfrm>
              <a:off x="2657744" y="2659457"/>
              <a:ext cx="377575" cy="476425"/>
            </a:xfrm>
            <a:custGeom>
              <a:avLst/>
              <a:gdLst/>
              <a:ahLst/>
              <a:cxnLst/>
              <a:rect l="l" t="t" r="r" b="b"/>
              <a:pathLst>
                <a:path w="15103" h="19057" extrusionOk="0">
                  <a:moveTo>
                    <a:pt x="4831" y="0"/>
                  </a:moveTo>
                  <a:cubicBezTo>
                    <a:pt x="1931" y="1831"/>
                    <a:pt x="0" y="5062"/>
                    <a:pt x="0" y="8736"/>
                  </a:cubicBezTo>
                  <a:cubicBezTo>
                    <a:pt x="0" y="14427"/>
                    <a:pt x="4631" y="19056"/>
                    <a:pt x="10321" y="19056"/>
                  </a:cubicBezTo>
                  <a:cubicBezTo>
                    <a:pt x="10324" y="19056"/>
                    <a:pt x="10327" y="19056"/>
                    <a:pt x="10331" y="19056"/>
                  </a:cubicBezTo>
                  <a:cubicBezTo>
                    <a:pt x="11993" y="19056"/>
                    <a:pt x="13630" y="18653"/>
                    <a:pt x="15102" y="17879"/>
                  </a:cubicBezTo>
                  <a:cubicBezTo>
                    <a:pt x="12077" y="15957"/>
                    <a:pt x="10068" y="12577"/>
                    <a:pt x="10068" y="8736"/>
                  </a:cubicBezTo>
                  <a:cubicBezTo>
                    <a:pt x="10068" y="8577"/>
                    <a:pt x="10071" y="8418"/>
                    <a:pt x="10079" y="8262"/>
                  </a:cubicBezTo>
                  <a:cubicBezTo>
                    <a:pt x="7192" y="6540"/>
                    <a:pt x="5169" y="3512"/>
                    <a:pt x="483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5" name="Google Shape;9065;p56"/>
            <p:cNvSpPr/>
            <p:nvPr/>
          </p:nvSpPr>
          <p:spPr>
            <a:xfrm>
              <a:off x="2812775" y="2605975"/>
              <a:ext cx="244675" cy="231900"/>
            </a:xfrm>
            <a:custGeom>
              <a:avLst/>
              <a:gdLst/>
              <a:ahLst/>
              <a:cxnLst/>
              <a:rect l="l" t="t" r="r" b="b"/>
              <a:pathLst>
                <a:path w="9787" h="9276" extrusionOk="0">
                  <a:moveTo>
                    <a:pt x="5005" y="1"/>
                  </a:moveTo>
                  <a:cubicBezTo>
                    <a:pt x="3280" y="1"/>
                    <a:pt x="1555" y="434"/>
                    <a:pt x="1" y="1300"/>
                  </a:cubicBezTo>
                  <a:cubicBezTo>
                    <a:pt x="246" y="4658"/>
                    <a:pt x="2103" y="7574"/>
                    <a:pt x="4801" y="9276"/>
                  </a:cubicBezTo>
                  <a:cubicBezTo>
                    <a:pt x="5130" y="5871"/>
                    <a:pt x="7040" y="2923"/>
                    <a:pt x="9786" y="1178"/>
                  </a:cubicBezTo>
                  <a:cubicBezTo>
                    <a:pt x="8288" y="393"/>
                    <a:pt x="6646" y="1"/>
                    <a:pt x="500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6" name="Google Shape;9066;p56"/>
            <p:cNvSpPr/>
            <p:nvPr/>
          </p:nvSpPr>
          <p:spPr>
            <a:xfrm>
              <a:off x="2944250" y="2859150"/>
              <a:ext cx="251675" cy="226375"/>
            </a:xfrm>
            <a:custGeom>
              <a:avLst/>
              <a:gdLst/>
              <a:ahLst/>
              <a:cxnLst/>
              <a:rect l="l" t="t" r="r" b="b"/>
              <a:pathLst>
                <a:path w="10067" h="9055" extrusionOk="0">
                  <a:moveTo>
                    <a:pt x="4" y="1"/>
                  </a:moveTo>
                  <a:cubicBezTo>
                    <a:pt x="2" y="65"/>
                    <a:pt x="0" y="130"/>
                    <a:pt x="0" y="195"/>
                  </a:cubicBezTo>
                  <a:cubicBezTo>
                    <a:pt x="0" y="3954"/>
                    <a:pt x="2023" y="7250"/>
                    <a:pt x="5033" y="9055"/>
                  </a:cubicBezTo>
                  <a:cubicBezTo>
                    <a:pt x="8045" y="7250"/>
                    <a:pt x="10066" y="3954"/>
                    <a:pt x="10066" y="195"/>
                  </a:cubicBezTo>
                  <a:cubicBezTo>
                    <a:pt x="10066" y="130"/>
                    <a:pt x="10066" y="65"/>
                    <a:pt x="10065" y="1"/>
                  </a:cubicBezTo>
                  <a:cubicBezTo>
                    <a:pt x="8490" y="829"/>
                    <a:pt x="6762" y="1243"/>
                    <a:pt x="5034" y="1243"/>
                  </a:cubicBezTo>
                  <a:cubicBezTo>
                    <a:pt x="3306" y="1243"/>
                    <a:pt x="1578" y="829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67" name="Google Shape;9067;p56"/>
          <p:cNvGrpSpPr/>
          <p:nvPr/>
        </p:nvGrpSpPr>
        <p:grpSpPr>
          <a:xfrm>
            <a:off x="3242022" y="2073097"/>
            <a:ext cx="685569" cy="723586"/>
            <a:chOff x="3398134" y="2057755"/>
            <a:chExt cx="704087" cy="743130"/>
          </a:xfrm>
        </p:grpSpPr>
        <p:grpSp>
          <p:nvGrpSpPr>
            <p:cNvPr id="9068" name="Google Shape;9068;p56"/>
            <p:cNvGrpSpPr/>
            <p:nvPr/>
          </p:nvGrpSpPr>
          <p:grpSpPr>
            <a:xfrm>
              <a:off x="3398134" y="2290183"/>
              <a:ext cx="315300" cy="219900"/>
              <a:chOff x="3398134" y="2290183"/>
              <a:chExt cx="315300" cy="219900"/>
            </a:xfrm>
          </p:grpSpPr>
          <p:sp>
            <p:nvSpPr>
              <p:cNvPr id="9069" name="Google Shape;9069;p56"/>
              <p:cNvSpPr/>
              <p:nvPr/>
            </p:nvSpPr>
            <p:spPr>
              <a:xfrm>
                <a:off x="3493534" y="2290183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0" name="Google Shape;9070;p56"/>
              <p:cNvCxnSpPr>
                <a:stCxn id="9069" idx="2"/>
              </p:cNvCxnSpPr>
              <p:nvPr/>
            </p:nvCxnSpPr>
            <p:spPr>
              <a:xfrm rot="10800000">
                <a:off x="3398134" y="2400133"/>
                <a:ext cx="95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1" name="Google Shape;9071;p56"/>
            <p:cNvGrpSpPr/>
            <p:nvPr/>
          </p:nvGrpSpPr>
          <p:grpSpPr>
            <a:xfrm>
              <a:off x="3547823" y="2467358"/>
              <a:ext cx="219900" cy="333527"/>
              <a:chOff x="3547823" y="2467358"/>
              <a:chExt cx="219900" cy="333527"/>
            </a:xfrm>
          </p:grpSpPr>
          <p:sp>
            <p:nvSpPr>
              <p:cNvPr id="9072" name="Google Shape;9072;p56"/>
              <p:cNvSpPr/>
              <p:nvPr/>
            </p:nvSpPr>
            <p:spPr>
              <a:xfrm>
                <a:off x="3547823" y="2467358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3" name="Google Shape;9073;p56"/>
              <p:cNvCxnSpPr/>
              <p:nvPr/>
            </p:nvCxnSpPr>
            <p:spPr>
              <a:xfrm rot="10800000">
                <a:off x="3657701" y="268718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4" name="Google Shape;9074;p56"/>
            <p:cNvGrpSpPr/>
            <p:nvPr/>
          </p:nvGrpSpPr>
          <p:grpSpPr>
            <a:xfrm>
              <a:off x="3734138" y="2467358"/>
              <a:ext cx="219900" cy="333527"/>
              <a:chOff x="3734138" y="2467358"/>
              <a:chExt cx="219900" cy="333527"/>
            </a:xfrm>
          </p:grpSpPr>
          <p:sp>
            <p:nvSpPr>
              <p:cNvPr id="9075" name="Google Shape;9075;p56"/>
              <p:cNvSpPr/>
              <p:nvPr/>
            </p:nvSpPr>
            <p:spPr>
              <a:xfrm>
                <a:off x="3734138" y="2467358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6" name="Google Shape;9076;p56"/>
              <p:cNvCxnSpPr/>
              <p:nvPr/>
            </p:nvCxnSpPr>
            <p:spPr>
              <a:xfrm rot="10800000">
                <a:off x="3844020" y="268718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7" name="Google Shape;9077;p56"/>
            <p:cNvGrpSpPr/>
            <p:nvPr/>
          </p:nvGrpSpPr>
          <p:grpSpPr>
            <a:xfrm>
              <a:off x="3787560" y="2288011"/>
              <a:ext cx="314661" cy="219900"/>
              <a:chOff x="3787560" y="2288011"/>
              <a:chExt cx="314661" cy="219900"/>
            </a:xfrm>
          </p:grpSpPr>
          <p:sp>
            <p:nvSpPr>
              <p:cNvPr id="9078" name="Google Shape;9078;p56"/>
              <p:cNvSpPr/>
              <p:nvPr/>
            </p:nvSpPr>
            <p:spPr>
              <a:xfrm>
                <a:off x="3787560" y="2288011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9" name="Google Shape;9079;p56"/>
              <p:cNvCxnSpPr/>
              <p:nvPr/>
            </p:nvCxnSpPr>
            <p:spPr>
              <a:xfrm rot="10800000">
                <a:off x="4007421" y="2400064"/>
                <a:ext cx="948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80" name="Google Shape;9080;p56"/>
            <p:cNvGrpSpPr/>
            <p:nvPr/>
          </p:nvGrpSpPr>
          <p:grpSpPr>
            <a:xfrm>
              <a:off x="3637290" y="2057755"/>
              <a:ext cx="219900" cy="335499"/>
              <a:chOff x="3637290" y="2057755"/>
              <a:chExt cx="219900" cy="335499"/>
            </a:xfrm>
          </p:grpSpPr>
          <p:sp>
            <p:nvSpPr>
              <p:cNvPr id="9081" name="Google Shape;9081;p56"/>
              <p:cNvSpPr/>
              <p:nvPr/>
            </p:nvSpPr>
            <p:spPr>
              <a:xfrm>
                <a:off x="3637290" y="2173354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82" name="Google Shape;9082;p56"/>
              <p:cNvCxnSpPr/>
              <p:nvPr/>
            </p:nvCxnSpPr>
            <p:spPr>
              <a:xfrm rot="10800000">
                <a:off x="3747169" y="205775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</p:grpSp>
      <p:grpSp>
        <p:nvGrpSpPr>
          <p:cNvPr id="9083" name="Google Shape;9083;p56"/>
          <p:cNvGrpSpPr/>
          <p:nvPr/>
        </p:nvGrpSpPr>
        <p:grpSpPr>
          <a:xfrm>
            <a:off x="4917244" y="2079792"/>
            <a:ext cx="710153" cy="710153"/>
            <a:chOff x="5007123" y="2079403"/>
            <a:chExt cx="687600" cy="687600"/>
          </a:xfrm>
        </p:grpSpPr>
        <p:sp>
          <p:nvSpPr>
            <p:cNvPr id="9084" name="Google Shape;9084;p56"/>
            <p:cNvSpPr/>
            <p:nvPr/>
          </p:nvSpPr>
          <p:spPr>
            <a:xfrm>
              <a:off x="5007123" y="2079403"/>
              <a:ext cx="687600" cy="687600"/>
            </a:xfrm>
            <a:prstGeom prst="ellipse">
              <a:avLst/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5" name="Google Shape;9085;p56"/>
            <p:cNvSpPr/>
            <p:nvPr/>
          </p:nvSpPr>
          <p:spPr>
            <a:xfrm>
              <a:off x="5069448" y="2141702"/>
              <a:ext cx="563100" cy="562800"/>
            </a:xfrm>
            <a:prstGeom prst="ellipse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6" name="Google Shape;9086;p56"/>
            <p:cNvSpPr/>
            <p:nvPr/>
          </p:nvSpPr>
          <p:spPr>
            <a:xfrm>
              <a:off x="5146403" y="2218605"/>
              <a:ext cx="409200" cy="409200"/>
            </a:xfrm>
            <a:prstGeom prst="ellipse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7" name="Google Shape;9087;p56"/>
            <p:cNvSpPr/>
            <p:nvPr/>
          </p:nvSpPr>
          <p:spPr>
            <a:xfrm>
              <a:off x="5221891" y="2294066"/>
              <a:ext cx="258300" cy="258300"/>
            </a:xfrm>
            <a:prstGeom prst="ellipse">
              <a:avLst/>
            </a:pr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88" name="Google Shape;9088;p56"/>
          <p:cNvGrpSpPr/>
          <p:nvPr/>
        </p:nvGrpSpPr>
        <p:grpSpPr>
          <a:xfrm>
            <a:off x="5726681" y="2074299"/>
            <a:ext cx="720998" cy="721183"/>
            <a:chOff x="5797446" y="2063053"/>
            <a:chExt cx="698100" cy="698280"/>
          </a:xfrm>
        </p:grpSpPr>
        <p:sp>
          <p:nvSpPr>
            <p:cNvPr id="9089" name="Google Shape;9089;p56"/>
            <p:cNvSpPr/>
            <p:nvPr/>
          </p:nvSpPr>
          <p:spPr>
            <a:xfrm>
              <a:off x="5797446" y="2063053"/>
              <a:ext cx="698100" cy="698100"/>
            </a:xfrm>
            <a:prstGeom prst="ellipse">
              <a:avLst/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0" name="Google Shape;9090;p56"/>
            <p:cNvSpPr/>
            <p:nvPr/>
          </p:nvSpPr>
          <p:spPr>
            <a:xfrm>
              <a:off x="5872067" y="2212295"/>
              <a:ext cx="549000" cy="549000"/>
            </a:xfrm>
            <a:prstGeom prst="ellipse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1" name="Google Shape;9091;p56"/>
            <p:cNvSpPr/>
            <p:nvPr/>
          </p:nvSpPr>
          <p:spPr>
            <a:xfrm>
              <a:off x="5921353" y="2310867"/>
              <a:ext cx="450300" cy="450300"/>
            </a:xfrm>
            <a:prstGeom prst="ellipse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2" name="Google Shape;9092;p56"/>
            <p:cNvSpPr/>
            <p:nvPr/>
          </p:nvSpPr>
          <p:spPr>
            <a:xfrm>
              <a:off x="5967936" y="2404033"/>
              <a:ext cx="357300" cy="357300"/>
            </a:xfrm>
            <a:prstGeom prst="ellipse">
              <a:avLst/>
            </a:pr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93" name="Google Shape;9093;p56"/>
          <p:cNvGrpSpPr/>
          <p:nvPr/>
        </p:nvGrpSpPr>
        <p:grpSpPr>
          <a:xfrm>
            <a:off x="8171828" y="3719904"/>
            <a:ext cx="280585" cy="673164"/>
            <a:chOff x="8075075" y="3754290"/>
            <a:chExt cx="255612" cy="613194"/>
          </a:xfrm>
        </p:grpSpPr>
        <p:grpSp>
          <p:nvGrpSpPr>
            <p:cNvPr id="9094" name="Google Shape;9094;p56"/>
            <p:cNvGrpSpPr/>
            <p:nvPr/>
          </p:nvGrpSpPr>
          <p:grpSpPr>
            <a:xfrm>
              <a:off x="8075075" y="3754290"/>
              <a:ext cx="255612" cy="613194"/>
              <a:chOff x="8075075" y="3754290"/>
              <a:chExt cx="255612" cy="613194"/>
            </a:xfrm>
          </p:grpSpPr>
          <p:sp>
            <p:nvSpPr>
              <p:cNvPr id="9095" name="Google Shape;9095;p56"/>
              <p:cNvSpPr/>
              <p:nvPr/>
            </p:nvSpPr>
            <p:spPr>
              <a:xfrm>
                <a:off x="8075075" y="4252967"/>
                <a:ext cx="255612" cy="114517"/>
              </a:xfrm>
              <a:custGeom>
                <a:avLst/>
                <a:gdLst/>
                <a:ahLst/>
                <a:cxnLst/>
                <a:rect l="l" t="t" r="r" b="b"/>
                <a:pathLst>
                  <a:path w="16734" h="7497" extrusionOk="0">
                    <a:moveTo>
                      <a:pt x="1" y="1"/>
                    </a:moveTo>
                    <a:lnTo>
                      <a:pt x="8369" y="7496"/>
                    </a:lnTo>
                    <a:lnTo>
                      <a:pt x="16734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096" name="Google Shape;9096;p56"/>
              <p:cNvSpPr/>
              <p:nvPr/>
            </p:nvSpPr>
            <p:spPr>
              <a:xfrm>
                <a:off x="8075075" y="3754290"/>
                <a:ext cx="255612" cy="498713"/>
              </a:xfrm>
              <a:custGeom>
                <a:avLst/>
                <a:gdLst/>
                <a:ahLst/>
                <a:cxnLst/>
                <a:rect l="l" t="t" r="r" b="b"/>
                <a:pathLst>
                  <a:path w="16734" h="32649" extrusionOk="0">
                    <a:moveTo>
                      <a:pt x="8369" y="0"/>
                    </a:moveTo>
                    <a:cubicBezTo>
                      <a:pt x="3747" y="0"/>
                      <a:pt x="1" y="3747"/>
                      <a:pt x="1" y="8366"/>
                    </a:cubicBezTo>
                    <a:lnTo>
                      <a:pt x="1" y="32649"/>
                    </a:lnTo>
                    <a:lnTo>
                      <a:pt x="16734" y="32649"/>
                    </a:lnTo>
                    <a:lnTo>
                      <a:pt x="16734" y="8366"/>
                    </a:lnTo>
                    <a:cubicBezTo>
                      <a:pt x="16734" y="3744"/>
                      <a:pt x="12987" y="0"/>
                      <a:pt x="836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097" name="Google Shape;9097;p56"/>
            <p:cNvSpPr/>
            <p:nvPr/>
          </p:nvSpPr>
          <p:spPr>
            <a:xfrm>
              <a:off x="8107762" y="3782257"/>
              <a:ext cx="190281" cy="190281"/>
            </a:xfrm>
            <a:custGeom>
              <a:avLst/>
              <a:gdLst/>
              <a:ahLst/>
              <a:cxnLst/>
              <a:rect l="l" t="t" r="r" b="b"/>
              <a:pathLst>
                <a:path w="12457" h="12457" extrusionOk="0">
                  <a:moveTo>
                    <a:pt x="6229" y="1"/>
                  </a:moveTo>
                  <a:cubicBezTo>
                    <a:pt x="2788" y="1"/>
                    <a:pt x="1" y="2788"/>
                    <a:pt x="1" y="6229"/>
                  </a:cubicBezTo>
                  <a:cubicBezTo>
                    <a:pt x="1" y="9670"/>
                    <a:pt x="2788" y="12457"/>
                    <a:pt x="6229" y="12457"/>
                  </a:cubicBezTo>
                  <a:cubicBezTo>
                    <a:pt x="9666" y="12457"/>
                    <a:pt x="12457" y="9670"/>
                    <a:pt x="12457" y="6229"/>
                  </a:cubicBezTo>
                  <a:cubicBezTo>
                    <a:pt x="12457" y="2788"/>
                    <a:pt x="9666" y="1"/>
                    <a:pt x="62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98" name="Google Shape;9098;p56"/>
          <p:cNvGrpSpPr/>
          <p:nvPr/>
        </p:nvGrpSpPr>
        <p:grpSpPr>
          <a:xfrm>
            <a:off x="5288887" y="3708700"/>
            <a:ext cx="470352" cy="683745"/>
            <a:chOff x="1697726" y="3244179"/>
            <a:chExt cx="788124" cy="1146069"/>
          </a:xfrm>
        </p:grpSpPr>
        <p:sp>
          <p:nvSpPr>
            <p:cNvPr id="9099" name="Google Shape;9099;p56"/>
            <p:cNvSpPr/>
            <p:nvPr/>
          </p:nvSpPr>
          <p:spPr>
            <a:xfrm>
              <a:off x="1697726" y="3244179"/>
              <a:ext cx="788124" cy="1146069"/>
            </a:xfrm>
            <a:custGeom>
              <a:avLst/>
              <a:gdLst/>
              <a:ahLst/>
              <a:cxnLst/>
              <a:rect l="l" t="t" r="r" b="b"/>
              <a:pathLst>
                <a:path w="30365" h="44156" extrusionOk="0">
                  <a:moveTo>
                    <a:pt x="18841" y="1"/>
                  </a:moveTo>
                  <a:lnTo>
                    <a:pt x="18841" y="3319"/>
                  </a:lnTo>
                  <a:lnTo>
                    <a:pt x="7583" y="3319"/>
                  </a:lnTo>
                  <a:cubicBezTo>
                    <a:pt x="5740" y="3319"/>
                    <a:pt x="4248" y="4814"/>
                    <a:pt x="4248" y="6658"/>
                  </a:cubicBezTo>
                  <a:lnTo>
                    <a:pt x="4248" y="29436"/>
                  </a:lnTo>
                  <a:lnTo>
                    <a:pt x="1" y="29436"/>
                  </a:lnTo>
                  <a:lnTo>
                    <a:pt x="1" y="44155"/>
                  </a:lnTo>
                  <a:lnTo>
                    <a:pt x="14720" y="44155"/>
                  </a:lnTo>
                  <a:lnTo>
                    <a:pt x="14720" y="29436"/>
                  </a:lnTo>
                  <a:lnTo>
                    <a:pt x="10922" y="29436"/>
                  </a:lnTo>
                  <a:lnTo>
                    <a:pt x="10922" y="9993"/>
                  </a:lnTo>
                  <a:lnTo>
                    <a:pt x="18841" y="9993"/>
                  </a:lnTo>
                  <a:lnTo>
                    <a:pt x="18841" y="13311"/>
                  </a:lnTo>
                  <a:lnTo>
                    <a:pt x="30365" y="6658"/>
                  </a:lnTo>
                  <a:lnTo>
                    <a:pt x="1884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0" name="Google Shape;9100;p56"/>
            <p:cNvSpPr/>
            <p:nvPr/>
          </p:nvSpPr>
          <p:spPr>
            <a:xfrm>
              <a:off x="1743302" y="4053603"/>
              <a:ext cx="291293" cy="291267"/>
            </a:xfrm>
            <a:custGeom>
              <a:avLst/>
              <a:gdLst/>
              <a:ahLst/>
              <a:cxnLst/>
              <a:rect l="l" t="t" r="r" b="b"/>
              <a:pathLst>
                <a:path w="11223" h="11222" extrusionOk="0">
                  <a:moveTo>
                    <a:pt x="1" y="0"/>
                  </a:moveTo>
                  <a:lnTo>
                    <a:pt x="1" y="11222"/>
                  </a:lnTo>
                  <a:lnTo>
                    <a:pt x="11222" y="11222"/>
                  </a:lnTo>
                  <a:lnTo>
                    <a:pt x="112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01" name="Google Shape;9101;p56"/>
          <p:cNvSpPr/>
          <p:nvPr/>
        </p:nvSpPr>
        <p:spPr>
          <a:xfrm>
            <a:off x="8146351" y="3622703"/>
            <a:ext cx="204" cy="4"/>
          </a:xfrm>
          <a:custGeom>
            <a:avLst/>
            <a:gdLst/>
            <a:ahLst/>
            <a:cxnLst/>
            <a:rect l="l" t="t" r="r" b="b"/>
            <a:pathLst>
              <a:path w="48" h="1" extrusionOk="0">
                <a:moveTo>
                  <a:pt x="48" y="0"/>
                </a:moveTo>
                <a:lnTo>
                  <a:pt x="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102" name="Google Shape;9102;p56"/>
          <p:cNvGrpSpPr/>
          <p:nvPr/>
        </p:nvGrpSpPr>
        <p:grpSpPr>
          <a:xfrm>
            <a:off x="5910037" y="3719902"/>
            <a:ext cx="293891" cy="293845"/>
            <a:chOff x="6134814" y="3754290"/>
            <a:chExt cx="293891" cy="293845"/>
          </a:xfrm>
        </p:grpSpPr>
        <p:sp>
          <p:nvSpPr>
            <p:cNvPr id="9103" name="Google Shape;9103;p56"/>
            <p:cNvSpPr/>
            <p:nvPr/>
          </p:nvSpPr>
          <p:spPr>
            <a:xfrm>
              <a:off x="6134814" y="3754290"/>
              <a:ext cx="293891" cy="293845"/>
            </a:xfrm>
            <a:custGeom>
              <a:avLst/>
              <a:gdLst/>
              <a:ahLst/>
              <a:cxnLst/>
              <a:rect l="l" t="t" r="r" b="b"/>
              <a:pathLst>
                <a:path w="19240" h="19237" extrusionOk="0">
                  <a:moveTo>
                    <a:pt x="1" y="0"/>
                  </a:moveTo>
                  <a:lnTo>
                    <a:pt x="1" y="9618"/>
                  </a:lnTo>
                  <a:cubicBezTo>
                    <a:pt x="1" y="14929"/>
                    <a:pt x="4308" y="19236"/>
                    <a:pt x="9619" y="19236"/>
                  </a:cubicBezTo>
                  <a:cubicBezTo>
                    <a:pt x="14933" y="19236"/>
                    <a:pt x="19240" y="14929"/>
                    <a:pt x="19240" y="9618"/>
                  </a:cubicBezTo>
                  <a:cubicBezTo>
                    <a:pt x="19240" y="4307"/>
                    <a:pt x="14933" y="0"/>
                    <a:pt x="96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4" name="Google Shape;9104;p56"/>
            <p:cNvSpPr/>
            <p:nvPr/>
          </p:nvSpPr>
          <p:spPr>
            <a:xfrm>
              <a:off x="6147232" y="3764860"/>
              <a:ext cx="118946" cy="107337"/>
            </a:xfrm>
            <a:custGeom>
              <a:avLst/>
              <a:gdLst/>
              <a:ahLst/>
              <a:cxnLst/>
              <a:rect l="l" t="t" r="r" b="b"/>
              <a:pathLst>
                <a:path w="7787" h="7027" extrusionOk="0">
                  <a:moveTo>
                    <a:pt x="0" y="1"/>
                  </a:moveTo>
                  <a:lnTo>
                    <a:pt x="0" y="7026"/>
                  </a:lnTo>
                  <a:lnTo>
                    <a:pt x="778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05" name="Google Shape;9105;p56"/>
          <p:cNvGrpSpPr/>
          <p:nvPr/>
        </p:nvGrpSpPr>
        <p:grpSpPr>
          <a:xfrm>
            <a:off x="5910037" y="4098574"/>
            <a:ext cx="293891" cy="293891"/>
            <a:chOff x="6134814" y="4086186"/>
            <a:chExt cx="293891" cy="293891"/>
          </a:xfrm>
        </p:grpSpPr>
        <p:sp>
          <p:nvSpPr>
            <p:cNvPr id="9106" name="Google Shape;9106;p56"/>
            <p:cNvSpPr/>
            <p:nvPr/>
          </p:nvSpPr>
          <p:spPr>
            <a:xfrm>
              <a:off x="6134814" y="4086186"/>
              <a:ext cx="293891" cy="293891"/>
            </a:xfrm>
            <a:custGeom>
              <a:avLst/>
              <a:gdLst/>
              <a:ahLst/>
              <a:cxnLst/>
              <a:rect l="l" t="t" r="r" b="b"/>
              <a:pathLst>
                <a:path w="19240" h="19240" extrusionOk="0">
                  <a:moveTo>
                    <a:pt x="1" y="1"/>
                  </a:moveTo>
                  <a:lnTo>
                    <a:pt x="1" y="9619"/>
                  </a:lnTo>
                  <a:cubicBezTo>
                    <a:pt x="1" y="14930"/>
                    <a:pt x="4308" y="19240"/>
                    <a:pt x="9619" y="19240"/>
                  </a:cubicBezTo>
                  <a:cubicBezTo>
                    <a:pt x="14933" y="19240"/>
                    <a:pt x="19240" y="14933"/>
                    <a:pt x="19240" y="9619"/>
                  </a:cubicBezTo>
                  <a:lnTo>
                    <a:pt x="1924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7" name="Google Shape;9107;p56"/>
            <p:cNvSpPr/>
            <p:nvPr/>
          </p:nvSpPr>
          <p:spPr>
            <a:xfrm>
              <a:off x="6147232" y="4096771"/>
              <a:ext cx="118946" cy="107322"/>
            </a:xfrm>
            <a:custGeom>
              <a:avLst/>
              <a:gdLst/>
              <a:ahLst/>
              <a:cxnLst/>
              <a:rect l="l" t="t" r="r" b="b"/>
              <a:pathLst>
                <a:path w="7787" h="7026" extrusionOk="0">
                  <a:moveTo>
                    <a:pt x="0" y="0"/>
                  </a:moveTo>
                  <a:lnTo>
                    <a:pt x="0" y="7026"/>
                  </a:lnTo>
                  <a:lnTo>
                    <a:pt x="778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08" name="Google Shape;9108;p56"/>
          <p:cNvSpPr/>
          <p:nvPr/>
        </p:nvSpPr>
        <p:spPr>
          <a:xfrm>
            <a:off x="6948464" y="3719100"/>
            <a:ext cx="609693" cy="673150"/>
          </a:xfrm>
          <a:custGeom>
            <a:avLst/>
            <a:gdLst/>
            <a:ahLst/>
            <a:cxnLst/>
            <a:rect l="l" t="t" r="r" b="b"/>
            <a:pathLst>
              <a:path w="4733" h="5225" extrusionOk="0">
                <a:moveTo>
                  <a:pt x="346" y="0"/>
                </a:moveTo>
                <a:cubicBezTo>
                  <a:pt x="148" y="0"/>
                  <a:pt x="1" y="148"/>
                  <a:pt x="1" y="333"/>
                </a:cubicBezTo>
                <a:lnTo>
                  <a:pt x="1" y="4423"/>
                </a:lnTo>
                <a:cubicBezTo>
                  <a:pt x="1" y="4608"/>
                  <a:pt x="148" y="4756"/>
                  <a:pt x="346" y="4756"/>
                </a:cubicBezTo>
                <a:lnTo>
                  <a:pt x="2046" y="4756"/>
                </a:lnTo>
                <a:lnTo>
                  <a:pt x="2366" y="5224"/>
                </a:lnTo>
                <a:lnTo>
                  <a:pt x="2674" y="4756"/>
                </a:lnTo>
                <a:lnTo>
                  <a:pt x="4387" y="4756"/>
                </a:lnTo>
                <a:cubicBezTo>
                  <a:pt x="4394" y="4757"/>
                  <a:pt x="4400" y="4757"/>
                  <a:pt x="4407" y="4757"/>
                </a:cubicBezTo>
                <a:cubicBezTo>
                  <a:pt x="4583" y="4757"/>
                  <a:pt x="4732" y="4602"/>
                  <a:pt x="4732" y="4423"/>
                </a:cubicBezTo>
                <a:lnTo>
                  <a:pt x="4732" y="333"/>
                </a:lnTo>
                <a:cubicBezTo>
                  <a:pt x="4732" y="148"/>
                  <a:pt x="4572" y="0"/>
                  <a:pt x="4387" y="0"/>
                </a:cubicBezTo>
                <a:close/>
              </a:path>
            </a:pathLst>
          </a:custGeom>
          <a:noFill/>
          <a:ln w="9525" cap="flat" cmpd="sng">
            <a:solidFill>
              <a:srgbClr val="A5B7C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09" name="Google Shape;9109;p56"/>
          <p:cNvSpPr/>
          <p:nvPr/>
        </p:nvSpPr>
        <p:spPr>
          <a:xfrm rot="10800000">
            <a:off x="6354727" y="3716837"/>
            <a:ext cx="442939" cy="675638"/>
          </a:xfrm>
          <a:custGeom>
            <a:avLst/>
            <a:gdLst/>
            <a:ahLst/>
            <a:cxnLst/>
            <a:rect l="l" t="t" r="r" b="b"/>
            <a:pathLst>
              <a:path w="14910" h="22743" extrusionOk="0">
                <a:moveTo>
                  <a:pt x="7449" y="0"/>
                </a:moveTo>
                <a:cubicBezTo>
                  <a:pt x="7363" y="0"/>
                  <a:pt x="7277" y="40"/>
                  <a:pt x="7219" y="121"/>
                </a:cubicBezTo>
                <a:lnTo>
                  <a:pt x="4981" y="3220"/>
                </a:lnTo>
                <a:lnTo>
                  <a:pt x="1079" y="3220"/>
                </a:lnTo>
                <a:cubicBezTo>
                  <a:pt x="482" y="3220"/>
                  <a:pt x="0" y="3702"/>
                  <a:pt x="0" y="4298"/>
                </a:cubicBezTo>
                <a:lnTo>
                  <a:pt x="0" y="21652"/>
                </a:lnTo>
                <a:cubicBezTo>
                  <a:pt x="0" y="22249"/>
                  <a:pt x="482" y="22742"/>
                  <a:pt x="1079" y="22742"/>
                </a:cubicBezTo>
                <a:lnTo>
                  <a:pt x="13830" y="22742"/>
                </a:lnTo>
                <a:cubicBezTo>
                  <a:pt x="14427" y="22742"/>
                  <a:pt x="14909" y="22249"/>
                  <a:pt x="14909" y="21652"/>
                </a:cubicBezTo>
                <a:lnTo>
                  <a:pt x="14909" y="4298"/>
                </a:lnTo>
                <a:cubicBezTo>
                  <a:pt x="14909" y="3708"/>
                  <a:pt x="14438" y="3219"/>
                  <a:pt x="13851" y="3219"/>
                </a:cubicBezTo>
                <a:cubicBezTo>
                  <a:pt x="13844" y="3219"/>
                  <a:pt x="13837" y="3219"/>
                  <a:pt x="13830" y="3220"/>
                </a:cubicBezTo>
                <a:lnTo>
                  <a:pt x="9916" y="3220"/>
                </a:lnTo>
                <a:lnTo>
                  <a:pt x="7678" y="121"/>
                </a:lnTo>
                <a:cubicBezTo>
                  <a:pt x="7621" y="40"/>
                  <a:pt x="7535" y="0"/>
                  <a:pt x="7449" y="0"/>
                </a:cubicBezTo>
                <a:close/>
              </a:path>
            </a:pathLst>
          </a:custGeom>
          <a:noFill/>
          <a:ln w="9525" cap="flat" cmpd="sng">
            <a:solidFill>
              <a:srgbClr val="5F7D9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110" name="Google Shape;9110;p56"/>
          <p:cNvGrpSpPr/>
          <p:nvPr/>
        </p:nvGrpSpPr>
        <p:grpSpPr>
          <a:xfrm>
            <a:off x="7835013" y="2927266"/>
            <a:ext cx="622883" cy="621944"/>
            <a:chOff x="1187048" y="238125"/>
            <a:chExt cx="5256397" cy="5248476"/>
          </a:xfrm>
        </p:grpSpPr>
        <p:sp>
          <p:nvSpPr>
            <p:cNvPr id="9111" name="Google Shape;9111;p56"/>
            <p:cNvSpPr/>
            <p:nvPr/>
          </p:nvSpPr>
          <p:spPr>
            <a:xfrm>
              <a:off x="1188450" y="238125"/>
              <a:ext cx="3198750" cy="2628625"/>
            </a:xfrm>
            <a:custGeom>
              <a:avLst/>
              <a:gdLst/>
              <a:ahLst/>
              <a:cxnLst/>
              <a:rect l="l" t="t" r="r" b="b"/>
              <a:pathLst>
                <a:path w="127950" h="105145" extrusionOk="0">
                  <a:moveTo>
                    <a:pt x="18697" y="0"/>
                  </a:moveTo>
                  <a:cubicBezTo>
                    <a:pt x="8371" y="0"/>
                    <a:pt x="1" y="8371"/>
                    <a:pt x="1" y="18697"/>
                  </a:cubicBezTo>
                  <a:lnTo>
                    <a:pt x="1" y="105145"/>
                  </a:lnTo>
                  <a:lnTo>
                    <a:pt x="36857" y="105145"/>
                  </a:lnTo>
                  <a:cubicBezTo>
                    <a:pt x="35719" y="102283"/>
                    <a:pt x="35385" y="99165"/>
                    <a:pt x="35897" y="96130"/>
                  </a:cubicBezTo>
                  <a:cubicBezTo>
                    <a:pt x="37137" y="88648"/>
                    <a:pt x="43398" y="82793"/>
                    <a:pt x="50957" y="82096"/>
                  </a:cubicBezTo>
                  <a:cubicBezTo>
                    <a:pt x="51501" y="82045"/>
                    <a:pt x="52041" y="82020"/>
                    <a:pt x="52575" y="82020"/>
                  </a:cubicBezTo>
                  <a:cubicBezTo>
                    <a:pt x="61906" y="82020"/>
                    <a:pt x="69475" y="89593"/>
                    <a:pt x="69475" y="98926"/>
                  </a:cubicBezTo>
                  <a:cubicBezTo>
                    <a:pt x="69475" y="101055"/>
                    <a:pt x="69070" y="103165"/>
                    <a:pt x="68283" y="105145"/>
                  </a:cubicBezTo>
                  <a:lnTo>
                    <a:pt x="105145" y="105145"/>
                  </a:lnTo>
                  <a:lnTo>
                    <a:pt x="105145" y="68419"/>
                  </a:lnTo>
                  <a:cubicBezTo>
                    <a:pt x="106958" y="69088"/>
                    <a:pt x="108908" y="69476"/>
                    <a:pt x="110955" y="69476"/>
                  </a:cubicBezTo>
                  <a:cubicBezTo>
                    <a:pt x="111990" y="69476"/>
                    <a:pt x="113050" y="69377"/>
                    <a:pt x="114130" y="69164"/>
                  </a:cubicBezTo>
                  <a:cubicBezTo>
                    <a:pt x="121952" y="67632"/>
                    <a:pt x="127801" y="60687"/>
                    <a:pt x="127866" y="52715"/>
                  </a:cubicBezTo>
                  <a:cubicBezTo>
                    <a:pt x="127950" y="43313"/>
                    <a:pt x="120348" y="35664"/>
                    <a:pt x="110964" y="35664"/>
                  </a:cubicBezTo>
                  <a:cubicBezTo>
                    <a:pt x="108979" y="35670"/>
                    <a:pt x="107005" y="36028"/>
                    <a:pt x="105145" y="36720"/>
                  </a:cubicBezTo>
                  <a:lnTo>
                    <a:pt x="10514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2" name="Google Shape;9112;p56"/>
            <p:cNvSpPr/>
            <p:nvPr/>
          </p:nvSpPr>
          <p:spPr>
            <a:xfrm>
              <a:off x="1187048" y="2289901"/>
              <a:ext cx="2628362" cy="3196700"/>
            </a:xfrm>
            <a:custGeom>
              <a:avLst/>
              <a:gdLst/>
              <a:ahLst/>
              <a:cxnLst/>
              <a:rect l="l" t="t" r="r" b="b"/>
              <a:pathLst>
                <a:path w="105145" h="127868" extrusionOk="0">
                  <a:moveTo>
                    <a:pt x="52573" y="1"/>
                  </a:moveTo>
                  <a:cubicBezTo>
                    <a:pt x="43236" y="1"/>
                    <a:pt x="35664" y="7567"/>
                    <a:pt x="35664" y="16910"/>
                  </a:cubicBezTo>
                  <a:cubicBezTo>
                    <a:pt x="35670" y="18895"/>
                    <a:pt x="36028" y="20862"/>
                    <a:pt x="36720" y="22722"/>
                  </a:cubicBezTo>
                  <a:lnTo>
                    <a:pt x="0" y="22722"/>
                  </a:lnTo>
                  <a:lnTo>
                    <a:pt x="0" y="110011"/>
                  </a:lnTo>
                  <a:cubicBezTo>
                    <a:pt x="0" y="119872"/>
                    <a:pt x="7995" y="127867"/>
                    <a:pt x="17862" y="127867"/>
                  </a:cubicBezTo>
                  <a:lnTo>
                    <a:pt x="105145" y="127867"/>
                  </a:lnTo>
                  <a:lnTo>
                    <a:pt x="105145" y="91010"/>
                  </a:lnTo>
                  <a:cubicBezTo>
                    <a:pt x="103158" y="91801"/>
                    <a:pt x="101044" y="92206"/>
                    <a:pt x="98916" y="92206"/>
                  </a:cubicBezTo>
                  <a:cubicBezTo>
                    <a:pt x="98350" y="92206"/>
                    <a:pt x="97782" y="92177"/>
                    <a:pt x="97215" y="92119"/>
                  </a:cubicBezTo>
                  <a:cubicBezTo>
                    <a:pt x="88869" y="91267"/>
                    <a:pt x="82269" y="84184"/>
                    <a:pt x="82024" y="75802"/>
                  </a:cubicBezTo>
                  <a:cubicBezTo>
                    <a:pt x="81744" y="66233"/>
                    <a:pt x="89417" y="58393"/>
                    <a:pt x="98920" y="58393"/>
                  </a:cubicBezTo>
                  <a:cubicBezTo>
                    <a:pt x="101055" y="58393"/>
                    <a:pt x="103159" y="58792"/>
                    <a:pt x="105139" y="59585"/>
                  </a:cubicBezTo>
                  <a:lnTo>
                    <a:pt x="105139" y="22728"/>
                  </a:lnTo>
                  <a:lnTo>
                    <a:pt x="68419" y="22728"/>
                  </a:lnTo>
                  <a:cubicBezTo>
                    <a:pt x="69427" y="19992"/>
                    <a:pt x="69796" y="16951"/>
                    <a:pt x="69164" y="13738"/>
                  </a:cubicBezTo>
                  <a:cubicBezTo>
                    <a:pt x="67632" y="5922"/>
                    <a:pt x="60686" y="73"/>
                    <a:pt x="52715" y="2"/>
                  </a:cubicBezTo>
                  <a:cubicBezTo>
                    <a:pt x="52668" y="1"/>
                    <a:pt x="52620" y="1"/>
                    <a:pt x="525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3" name="Google Shape;9113;p56"/>
            <p:cNvSpPr/>
            <p:nvPr/>
          </p:nvSpPr>
          <p:spPr>
            <a:xfrm>
              <a:off x="3812708" y="244502"/>
              <a:ext cx="2628650" cy="3170611"/>
            </a:xfrm>
            <a:custGeom>
              <a:avLst/>
              <a:gdLst/>
              <a:ahLst/>
              <a:cxnLst/>
              <a:rect l="l" t="t" r="r" b="b"/>
              <a:pathLst>
                <a:path w="105146" h="127873" extrusionOk="0">
                  <a:moveTo>
                    <a:pt x="1" y="1"/>
                  </a:moveTo>
                  <a:lnTo>
                    <a:pt x="1" y="36857"/>
                  </a:lnTo>
                  <a:cubicBezTo>
                    <a:pt x="1988" y="36066"/>
                    <a:pt x="4101" y="35662"/>
                    <a:pt x="6229" y="35662"/>
                  </a:cubicBezTo>
                  <a:cubicBezTo>
                    <a:pt x="6796" y="35662"/>
                    <a:pt x="7364" y="35691"/>
                    <a:pt x="7930" y="35748"/>
                  </a:cubicBezTo>
                  <a:cubicBezTo>
                    <a:pt x="16277" y="36595"/>
                    <a:pt x="22877" y="43684"/>
                    <a:pt x="23121" y="52066"/>
                  </a:cubicBezTo>
                  <a:cubicBezTo>
                    <a:pt x="23396" y="61635"/>
                    <a:pt x="15722" y="69481"/>
                    <a:pt x="6219" y="69481"/>
                  </a:cubicBezTo>
                  <a:cubicBezTo>
                    <a:pt x="4091" y="69475"/>
                    <a:pt x="1980" y="69076"/>
                    <a:pt x="1" y="68289"/>
                  </a:cubicBezTo>
                  <a:lnTo>
                    <a:pt x="1" y="105145"/>
                  </a:lnTo>
                  <a:lnTo>
                    <a:pt x="36720" y="105145"/>
                  </a:lnTo>
                  <a:cubicBezTo>
                    <a:pt x="35719" y="107882"/>
                    <a:pt x="35343" y="110916"/>
                    <a:pt x="35975" y="114130"/>
                  </a:cubicBezTo>
                  <a:cubicBezTo>
                    <a:pt x="37513" y="121952"/>
                    <a:pt x="44459" y="127801"/>
                    <a:pt x="52424" y="127872"/>
                  </a:cubicBezTo>
                  <a:cubicBezTo>
                    <a:pt x="52472" y="127873"/>
                    <a:pt x="52519" y="127873"/>
                    <a:pt x="52567" y="127873"/>
                  </a:cubicBezTo>
                  <a:cubicBezTo>
                    <a:pt x="61909" y="127873"/>
                    <a:pt x="69481" y="120301"/>
                    <a:pt x="69481" y="110964"/>
                  </a:cubicBezTo>
                  <a:cubicBezTo>
                    <a:pt x="69475" y="108979"/>
                    <a:pt x="69118" y="107005"/>
                    <a:pt x="68426" y="105145"/>
                  </a:cubicBezTo>
                  <a:lnTo>
                    <a:pt x="105145" y="105145"/>
                  </a:lnTo>
                  <a:lnTo>
                    <a:pt x="105145" y="16354"/>
                  </a:lnTo>
                  <a:cubicBezTo>
                    <a:pt x="105140" y="7328"/>
                    <a:pt x="97818" y="1"/>
                    <a:pt x="8878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4" name="Google Shape;9114;p56"/>
            <p:cNvSpPr/>
            <p:nvPr/>
          </p:nvSpPr>
          <p:spPr>
            <a:xfrm>
              <a:off x="3244845" y="2847950"/>
              <a:ext cx="3198600" cy="2628500"/>
            </a:xfrm>
            <a:custGeom>
              <a:avLst/>
              <a:gdLst/>
              <a:ahLst/>
              <a:cxnLst/>
              <a:rect l="l" t="t" r="r" b="b"/>
              <a:pathLst>
                <a:path w="127944" h="105140" extrusionOk="0">
                  <a:moveTo>
                    <a:pt x="22805" y="0"/>
                  </a:moveTo>
                  <a:lnTo>
                    <a:pt x="22805" y="36720"/>
                  </a:lnTo>
                  <a:cubicBezTo>
                    <a:pt x="20992" y="36051"/>
                    <a:pt x="19042" y="35663"/>
                    <a:pt x="16995" y="35663"/>
                  </a:cubicBezTo>
                  <a:cubicBezTo>
                    <a:pt x="15960" y="35663"/>
                    <a:pt x="14900" y="35762"/>
                    <a:pt x="13820" y="35975"/>
                  </a:cubicBezTo>
                  <a:cubicBezTo>
                    <a:pt x="5998" y="37513"/>
                    <a:pt x="150" y="44453"/>
                    <a:pt x="78" y="52424"/>
                  </a:cubicBezTo>
                  <a:cubicBezTo>
                    <a:pt x="1" y="61826"/>
                    <a:pt x="7602" y="69481"/>
                    <a:pt x="16986" y="69481"/>
                  </a:cubicBezTo>
                  <a:cubicBezTo>
                    <a:pt x="18971" y="69475"/>
                    <a:pt x="20945" y="69117"/>
                    <a:pt x="22805" y="68420"/>
                  </a:cubicBezTo>
                  <a:lnTo>
                    <a:pt x="22805" y="105139"/>
                  </a:lnTo>
                  <a:lnTo>
                    <a:pt x="108943" y="105139"/>
                  </a:lnTo>
                  <a:cubicBezTo>
                    <a:pt x="119436" y="105139"/>
                    <a:pt x="127944" y="96631"/>
                    <a:pt x="127944" y="86138"/>
                  </a:cubicBezTo>
                  <a:lnTo>
                    <a:pt x="127944" y="0"/>
                  </a:lnTo>
                  <a:lnTo>
                    <a:pt x="91087" y="0"/>
                  </a:lnTo>
                  <a:cubicBezTo>
                    <a:pt x="92088" y="2510"/>
                    <a:pt x="92470" y="5235"/>
                    <a:pt x="92196" y="7924"/>
                  </a:cubicBezTo>
                  <a:cubicBezTo>
                    <a:pt x="91343" y="16271"/>
                    <a:pt x="84260" y="22870"/>
                    <a:pt x="75878" y="23115"/>
                  </a:cubicBezTo>
                  <a:cubicBezTo>
                    <a:pt x="75708" y="23120"/>
                    <a:pt x="75539" y="23122"/>
                    <a:pt x="75370" y="23122"/>
                  </a:cubicBezTo>
                  <a:cubicBezTo>
                    <a:pt x="66033" y="23122"/>
                    <a:pt x="58469" y="15553"/>
                    <a:pt x="58469" y="6219"/>
                  </a:cubicBezTo>
                  <a:cubicBezTo>
                    <a:pt x="58469" y="4084"/>
                    <a:pt x="58869" y="1980"/>
                    <a:pt x="596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15" name="Google Shape;9115;p56"/>
          <p:cNvGrpSpPr/>
          <p:nvPr/>
        </p:nvGrpSpPr>
        <p:grpSpPr>
          <a:xfrm>
            <a:off x="2292118" y="2936875"/>
            <a:ext cx="1310987" cy="612407"/>
            <a:chOff x="238125" y="1188750"/>
            <a:chExt cx="7140450" cy="3335550"/>
          </a:xfrm>
        </p:grpSpPr>
        <p:sp>
          <p:nvSpPr>
            <p:cNvPr id="9116" name="Google Shape;9116;p56"/>
            <p:cNvSpPr/>
            <p:nvPr/>
          </p:nvSpPr>
          <p:spPr>
            <a:xfrm>
              <a:off x="238125" y="118875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1" y="0"/>
                  </a:moveTo>
                  <a:cubicBezTo>
                    <a:pt x="1801" y="6"/>
                    <a:pt x="6" y="1801"/>
                    <a:pt x="0" y="4021"/>
                  </a:cubicBezTo>
                  <a:lnTo>
                    <a:pt x="0" y="59338"/>
                  </a:lnTo>
                  <a:cubicBezTo>
                    <a:pt x="6" y="61552"/>
                    <a:pt x="1801" y="63354"/>
                    <a:pt x="4021" y="63359"/>
                  </a:cubicBezTo>
                  <a:lnTo>
                    <a:pt x="98272" y="63359"/>
                  </a:lnTo>
                  <a:cubicBezTo>
                    <a:pt x="99963" y="41512"/>
                    <a:pt x="118098" y="24204"/>
                    <a:pt x="140280" y="23813"/>
                  </a:cubicBezTo>
                  <a:lnTo>
                    <a:pt x="140280" y="4021"/>
                  </a:lnTo>
                  <a:cubicBezTo>
                    <a:pt x="140275" y="1801"/>
                    <a:pt x="138474" y="6"/>
                    <a:pt x="1362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7" name="Google Shape;9117;p56"/>
            <p:cNvSpPr/>
            <p:nvPr/>
          </p:nvSpPr>
          <p:spPr>
            <a:xfrm>
              <a:off x="238125" y="294030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1" y="1"/>
                  </a:moveTo>
                  <a:cubicBezTo>
                    <a:pt x="1801" y="6"/>
                    <a:pt x="6" y="1808"/>
                    <a:pt x="0" y="4022"/>
                  </a:cubicBezTo>
                  <a:lnTo>
                    <a:pt x="0" y="59339"/>
                  </a:lnTo>
                  <a:cubicBezTo>
                    <a:pt x="6" y="61559"/>
                    <a:pt x="1801" y="63354"/>
                    <a:pt x="4021" y="63360"/>
                  </a:cubicBezTo>
                  <a:lnTo>
                    <a:pt x="136259" y="63360"/>
                  </a:lnTo>
                  <a:cubicBezTo>
                    <a:pt x="138474" y="63354"/>
                    <a:pt x="140275" y="61559"/>
                    <a:pt x="140280" y="59339"/>
                  </a:cubicBezTo>
                  <a:lnTo>
                    <a:pt x="140280" y="39547"/>
                  </a:lnTo>
                  <a:cubicBezTo>
                    <a:pt x="118098" y="39155"/>
                    <a:pt x="99963" y="21848"/>
                    <a:pt x="982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8" name="Google Shape;9118;p56"/>
            <p:cNvSpPr/>
            <p:nvPr/>
          </p:nvSpPr>
          <p:spPr>
            <a:xfrm>
              <a:off x="3871550" y="118875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2" y="0"/>
                  </a:moveTo>
                  <a:cubicBezTo>
                    <a:pt x="1807" y="6"/>
                    <a:pt x="6" y="1801"/>
                    <a:pt x="0" y="4021"/>
                  </a:cubicBezTo>
                  <a:lnTo>
                    <a:pt x="0" y="24017"/>
                  </a:lnTo>
                  <a:cubicBezTo>
                    <a:pt x="20553" y="26066"/>
                    <a:pt x="36886" y="42675"/>
                    <a:pt x="38494" y="63359"/>
                  </a:cubicBezTo>
                  <a:lnTo>
                    <a:pt x="136260" y="63359"/>
                  </a:lnTo>
                  <a:cubicBezTo>
                    <a:pt x="138480" y="63354"/>
                    <a:pt x="140275" y="61552"/>
                    <a:pt x="140281" y="59338"/>
                  </a:cubicBezTo>
                  <a:lnTo>
                    <a:pt x="140281" y="4021"/>
                  </a:lnTo>
                  <a:cubicBezTo>
                    <a:pt x="140275" y="1801"/>
                    <a:pt x="138480" y="6"/>
                    <a:pt x="1362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9" name="Google Shape;9119;p56"/>
            <p:cNvSpPr/>
            <p:nvPr/>
          </p:nvSpPr>
          <p:spPr>
            <a:xfrm>
              <a:off x="3871550" y="294030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38494" y="1"/>
                  </a:moveTo>
                  <a:cubicBezTo>
                    <a:pt x="36886" y="20680"/>
                    <a:pt x="20553" y="37294"/>
                    <a:pt x="0" y="39343"/>
                  </a:cubicBezTo>
                  <a:lnTo>
                    <a:pt x="0" y="59339"/>
                  </a:lnTo>
                  <a:cubicBezTo>
                    <a:pt x="6" y="61559"/>
                    <a:pt x="1807" y="63354"/>
                    <a:pt x="4022" y="63360"/>
                  </a:cubicBezTo>
                  <a:lnTo>
                    <a:pt x="136260" y="63360"/>
                  </a:lnTo>
                  <a:cubicBezTo>
                    <a:pt x="138480" y="63354"/>
                    <a:pt x="140275" y="61559"/>
                    <a:pt x="140281" y="59339"/>
                  </a:cubicBezTo>
                  <a:lnTo>
                    <a:pt x="140281" y="4022"/>
                  </a:lnTo>
                  <a:cubicBezTo>
                    <a:pt x="140275" y="1808"/>
                    <a:pt x="138480" y="6"/>
                    <a:pt x="1362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0" name="Google Shape;9120;p56"/>
            <p:cNvSpPr/>
            <p:nvPr/>
          </p:nvSpPr>
          <p:spPr>
            <a:xfrm>
              <a:off x="2842425" y="1934600"/>
              <a:ext cx="1843850" cy="1843850"/>
            </a:xfrm>
            <a:custGeom>
              <a:avLst/>
              <a:gdLst/>
              <a:ahLst/>
              <a:cxnLst/>
              <a:rect l="l" t="t" r="r" b="b"/>
              <a:pathLst>
                <a:path w="73754" h="73754" extrusionOk="0">
                  <a:moveTo>
                    <a:pt x="36880" y="0"/>
                  </a:moveTo>
                  <a:cubicBezTo>
                    <a:pt x="36621" y="0"/>
                    <a:pt x="36362" y="6"/>
                    <a:pt x="36108" y="11"/>
                  </a:cubicBezTo>
                  <a:cubicBezTo>
                    <a:pt x="17253" y="397"/>
                    <a:pt x="1834" y="15011"/>
                    <a:pt x="154" y="33525"/>
                  </a:cubicBezTo>
                  <a:cubicBezTo>
                    <a:pt x="55" y="34627"/>
                    <a:pt x="0" y="35745"/>
                    <a:pt x="0" y="36874"/>
                  </a:cubicBezTo>
                  <a:cubicBezTo>
                    <a:pt x="0" y="38009"/>
                    <a:pt x="55" y="39122"/>
                    <a:pt x="154" y="40229"/>
                  </a:cubicBezTo>
                  <a:cubicBezTo>
                    <a:pt x="1834" y="58749"/>
                    <a:pt x="17253" y="73357"/>
                    <a:pt x="36108" y="73743"/>
                  </a:cubicBezTo>
                  <a:cubicBezTo>
                    <a:pt x="36362" y="73748"/>
                    <a:pt x="36621" y="73754"/>
                    <a:pt x="36880" y="73754"/>
                  </a:cubicBezTo>
                  <a:cubicBezTo>
                    <a:pt x="38312" y="73754"/>
                    <a:pt x="39744" y="73666"/>
                    <a:pt x="41165" y="73500"/>
                  </a:cubicBezTo>
                  <a:cubicBezTo>
                    <a:pt x="58391" y="71495"/>
                    <a:pt x="72030" y="57581"/>
                    <a:pt x="73600" y="40229"/>
                  </a:cubicBezTo>
                  <a:cubicBezTo>
                    <a:pt x="73699" y="39127"/>
                    <a:pt x="73754" y="38009"/>
                    <a:pt x="73754" y="36874"/>
                  </a:cubicBezTo>
                  <a:cubicBezTo>
                    <a:pt x="73754" y="35745"/>
                    <a:pt x="73699" y="34632"/>
                    <a:pt x="73600" y="33525"/>
                  </a:cubicBezTo>
                  <a:cubicBezTo>
                    <a:pt x="72024" y="16173"/>
                    <a:pt x="58391" y="2259"/>
                    <a:pt x="41165" y="254"/>
                  </a:cubicBezTo>
                  <a:cubicBezTo>
                    <a:pt x="39744" y="88"/>
                    <a:pt x="38312" y="0"/>
                    <a:pt x="368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21" name="Google Shape;9121;p56"/>
          <p:cNvGrpSpPr/>
          <p:nvPr/>
        </p:nvGrpSpPr>
        <p:grpSpPr>
          <a:xfrm>
            <a:off x="6617990" y="2927430"/>
            <a:ext cx="1110299" cy="621702"/>
            <a:chOff x="238125" y="1335475"/>
            <a:chExt cx="5418735" cy="3034175"/>
          </a:xfrm>
        </p:grpSpPr>
        <p:sp>
          <p:nvSpPr>
            <p:cNvPr id="9122" name="Google Shape;9122;p56"/>
            <p:cNvSpPr/>
            <p:nvPr/>
          </p:nvSpPr>
          <p:spPr>
            <a:xfrm>
              <a:off x="3669985" y="1335475"/>
              <a:ext cx="1986875" cy="3034175"/>
            </a:xfrm>
            <a:custGeom>
              <a:avLst/>
              <a:gdLst/>
              <a:ahLst/>
              <a:cxnLst/>
              <a:rect l="l" t="t" r="r" b="b"/>
              <a:pathLst>
                <a:path w="79475" h="121367" extrusionOk="0">
                  <a:moveTo>
                    <a:pt x="1" y="0"/>
                  </a:moveTo>
                  <a:lnTo>
                    <a:pt x="1" y="38997"/>
                  </a:lnTo>
                  <a:cubicBezTo>
                    <a:pt x="588" y="44011"/>
                    <a:pt x="2425" y="48797"/>
                    <a:pt x="5360" y="52918"/>
                  </a:cubicBezTo>
                  <a:lnTo>
                    <a:pt x="9329" y="58469"/>
                  </a:lnTo>
                  <a:cubicBezTo>
                    <a:pt x="10541" y="59694"/>
                    <a:pt x="10541" y="61672"/>
                    <a:pt x="9329" y="62897"/>
                  </a:cubicBezTo>
                  <a:lnTo>
                    <a:pt x="5360" y="68448"/>
                  </a:lnTo>
                  <a:cubicBezTo>
                    <a:pt x="2425" y="72557"/>
                    <a:pt x="588" y="77355"/>
                    <a:pt x="1" y="82370"/>
                  </a:cubicBezTo>
                  <a:lnTo>
                    <a:pt x="1" y="121366"/>
                  </a:lnTo>
                  <a:lnTo>
                    <a:pt x="68743" y="121366"/>
                  </a:lnTo>
                  <a:lnTo>
                    <a:pt x="68743" y="85815"/>
                  </a:lnTo>
                  <a:cubicBezTo>
                    <a:pt x="68743" y="79588"/>
                    <a:pt x="70682" y="73514"/>
                    <a:pt x="74293" y="68448"/>
                  </a:cubicBezTo>
                  <a:lnTo>
                    <a:pt x="78249" y="62897"/>
                  </a:lnTo>
                  <a:cubicBezTo>
                    <a:pt x="79474" y="61672"/>
                    <a:pt x="79474" y="59694"/>
                    <a:pt x="78249" y="58469"/>
                  </a:cubicBezTo>
                  <a:lnTo>
                    <a:pt x="74293" y="52918"/>
                  </a:lnTo>
                  <a:cubicBezTo>
                    <a:pt x="70669" y="47840"/>
                    <a:pt x="68730" y="41778"/>
                    <a:pt x="68730" y="35551"/>
                  </a:cubicBezTo>
                  <a:lnTo>
                    <a:pt x="6873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3" name="Google Shape;9123;p56"/>
            <p:cNvSpPr/>
            <p:nvPr/>
          </p:nvSpPr>
          <p:spPr>
            <a:xfrm>
              <a:off x="1956350" y="1335475"/>
              <a:ext cx="1984950" cy="3034175"/>
            </a:xfrm>
            <a:custGeom>
              <a:avLst/>
              <a:gdLst/>
              <a:ahLst/>
              <a:cxnLst/>
              <a:rect l="l" t="t" r="r" b="b"/>
              <a:pathLst>
                <a:path w="79398" h="121367" extrusionOk="0">
                  <a:moveTo>
                    <a:pt x="0" y="0"/>
                  </a:moveTo>
                  <a:lnTo>
                    <a:pt x="0" y="35551"/>
                  </a:lnTo>
                  <a:cubicBezTo>
                    <a:pt x="0" y="41778"/>
                    <a:pt x="1940" y="47852"/>
                    <a:pt x="5564" y="52918"/>
                  </a:cubicBezTo>
                  <a:lnTo>
                    <a:pt x="9520" y="58469"/>
                  </a:lnTo>
                  <a:cubicBezTo>
                    <a:pt x="10745" y="59694"/>
                    <a:pt x="10745" y="61672"/>
                    <a:pt x="9520" y="62897"/>
                  </a:cubicBezTo>
                  <a:lnTo>
                    <a:pt x="5564" y="68448"/>
                  </a:lnTo>
                  <a:cubicBezTo>
                    <a:pt x="1952" y="73514"/>
                    <a:pt x="0" y="79588"/>
                    <a:pt x="0" y="85815"/>
                  </a:cubicBezTo>
                  <a:lnTo>
                    <a:pt x="0" y="121366"/>
                  </a:lnTo>
                  <a:lnTo>
                    <a:pt x="68665" y="121366"/>
                  </a:lnTo>
                  <a:lnTo>
                    <a:pt x="68665" y="85815"/>
                  </a:lnTo>
                  <a:cubicBezTo>
                    <a:pt x="68665" y="79588"/>
                    <a:pt x="70605" y="73514"/>
                    <a:pt x="74216" y="68448"/>
                  </a:cubicBezTo>
                  <a:lnTo>
                    <a:pt x="78185" y="62897"/>
                  </a:lnTo>
                  <a:cubicBezTo>
                    <a:pt x="79397" y="61672"/>
                    <a:pt x="79397" y="59694"/>
                    <a:pt x="78185" y="58469"/>
                  </a:cubicBezTo>
                  <a:lnTo>
                    <a:pt x="74216" y="52918"/>
                  </a:lnTo>
                  <a:cubicBezTo>
                    <a:pt x="70605" y="47840"/>
                    <a:pt x="68665" y="41778"/>
                    <a:pt x="68665" y="35551"/>
                  </a:cubicBezTo>
                  <a:lnTo>
                    <a:pt x="6866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4" name="Google Shape;9124;p56"/>
            <p:cNvSpPr/>
            <p:nvPr/>
          </p:nvSpPr>
          <p:spPr>
            <a:xfrm>
              <a:off x="238125" y="1335475"/>
              <a:ext cx="1986850" cy="3034175"/>
            </a:xfrm>
            <a:custGeom>
              <a:avLst/>
              <a:gdLst/>
              <a:ahLst/>
              <a:cxnLst/>
              <a:rect l="l" t="t" r="r" b="b"/>
              <a:pathLst>
                <a:path w="79474" h="121367" extrusionOk="0">
                  <a:moveTo>
                    <a:pt x="0" y="0"/>
                  </a:moveTo>
                  <a:lnTo>
                    <a:pt x="0" y="121366"/>
                  </a:lnTo>
                  <a:lnTo>
                    <a:pt x="68729" y="121366"/>
                  </a:lnTo>
                  <a:lnTo>
                    <a:pt x="68729" y="85815"/>
                  </a:lnTo>
                  <a:cubicBezTo>
                    <a:pt x="68729" y="79588"/>
                    <a:pt x="70669" y="73514"/>
                    <a:pt x="74293" y="68448"/>
                  </a:cubicBezTo>
                  <a:lnTo>
                    <a:pt x="78249" y="62897"/>
                  </a:lnTo>
                  <a:cubicBezTo>
                    <a:pt x="79474" y="61672"/>
                    <a:pt x="79474" y="59694"/>
                    <a:pt x="78249" y="58469"/>
                  </a:cubicBezTo>
                  <a:lnTo>
                    <a:pt x="74293" y="52918"/>
                  </a:lnTo>
                  <a:cubicBezTo>
                    <a:pt x="70669" y="47840"/>
                    <a:pt x="68729" y="41778"/>
                    <a:pt x="68729" y="35551"/>
                  </a:cubicBezTo>
                  <a:lnTo>
                    <a:pt x="687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25" name="Google Shape;9125;p56"/>
          <p:cNvGrpSpPr/>
          <p:nvPr/>
        </p:nvGrpSpPr>
        <p:grpSpPr>
          <a:xfrm>
            <a:off x="5435649" y="2924327"/>
            <a:ext cx="1074451" cy="627181"/>
            <a:chOff x="5359127" y="2910889"/>
            <a:chExt cx="1097723" cy="640831"/>
          </a:xfrm>
        </p:grpSpPr>
        <p:grpSp>
          <p:nvGrpSpPr>
            <p:cNvPr id="9126" name="Google Shape;9126;p56"/>
            <p:cNvGrpSpPr/>
            <p:nvPr/>
          </p:nvGrpSpPr>
          <p:grpSpPr>
            <a:xfrm>
              <a:off x="5929791" y="3263088"/>
              <a:ext cx="527060" cy="287097"/>
              <a:chOff x="5929791" y="3263088"/>
              <a:chExt cx="527060" cy="287097"/>
            </a:xfrm>
          </p:grpSpPr>
          <p:sp>
            <p:nvSpPr>
              <p:cNvPr id="9127" name="Google Shape;9127;p56"/>
              <p:cNvSpPr/>
              <p:nvPr/>
            </p:nvSpPr>
            <p:spPr>
              <a:xfrm>
                <a:off x="5929791" y="3263088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21" y="0"/>
                    </a:moveTo>
                    <a:lnTo>
                      <a:pt x="0" y="2230932"/>
                    </a:lnTo>
                    <a:lnTo>
                      <a:pt x="2576042" y="2230932"/>
                    </a:lnTo>
                    <a:lnTo>
                      <a:pt x="128802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28" name="Google Shape;9128;p56"/>
              <p:cNvSpPr/>
              <p:nvPr/>
            </p:nvSpPr>
            <p:spPr>
              <a:xfrm>
                <a:off x="6247886" y="3331025"/>
                <a:ext cx="208964" cy="21916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29" name="Google Shape;9129;p56"/>
            <p:cNvGrpSpPr/>
            <p:nvPr/>
          </p:nvGrpSpPr>
          <p:grpSpPr>
            <a:xfrm>
              <a:off x="5359127" y="3263089"/>
              <a:ext cx="526428" cy="288631"/>
              <a:chOff x="5359127" y="3263089"/>
              <a:chExt cx="526428" cy="288631"/>
            </a:xfrm>
          </p:grpSpPr>
          <p:sp>
            <p:nvSpPr>
              <p:cNvPr id="9130" name="Google Shape;9130;p56"/>
              <p:cNvSpPr/>
              <p:nvPr/>
            </p:nvSpPr>
            <p:spPr>
              <a:xfrm>
                <a:off x="5557090" y="3263089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34" y="0"/>
                    </a:moveTo>
                    <a:lnTo>
                      <a:pt x="0" y="2230920"/>
                    </a:lnTo>
                    <a:lnTo>
                      <a:pt x="2576055" y="2230920"/>
                    </a:lnTo>
                    <a:lnTo>
                      <a:pt x="128803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1" name="Google Shape;9131;p56"/>
              <p:cNvSpPr/>
              <p:nvPr/>
            </p:nvSpPr>
            <p:spPr>
              <a:xfrm flipH="1">
                <a:off x="5359127" y="3332559"/>
                <a:ext cx="208964" cy="21916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32" name="Google Shape;9132;p56"/>
            <p:cNvGrpSpPr/>
            <p:nvPr/>
          </p:nvGrpSpPr>
          <p:grpSpPr>
            <a:xfrm>
              <a:off x="5551525" y="2910889"/>
              <a:ext cx="520901" cy="610283"/>
              <a:chOff x="5551525" y="2910889"/>
              <a:chExt cx="520901" cy="610283"/>
            </a:xfrm>
          </p:grpSpPr>
          <p:sp>
            <p:nvSpPr>
              <p:cNvPr id="9133" name="Google Shape;9133;p56"/>
              <p:cNvSpPr/>
              <p:nvPr/>
            </p:nvSpPr>
            <p:spPr>
              <a:xfrm>
                <a:off x="5743962" y="3236669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2576042" y="0"/>
                    </a:moveTo>
                    <a:lnTo>
                      <a:pt x="0" y="0"/>
                    </a:lnTo>
                    <a:lnTo>
                      <a:pt x="1288021" y="2230920"/>
                    </a:lnTo>
                    <a:lnTo>
                      <a:pt x="2576042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4" name="Google Shape;9134;p56"/>
              <p:cNvSpPr/>
              <p:nvPr/>
            </p:nvSpPr>
            <p:spPr>
              <a:xfrm flipH="1">
                <a:off x="5551525" y="2910889"/>
                <a:ext cx="208964" cy="32874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35" name="Google Shape;9135;p56"/>
            <p:cNvGrpSpPr/>
            <p:nvPr/>
          </p:nvGrpSpPr>
          <p:grpSpPr>
            <a:xfrm>
              <a:off x="5743962" y="2919100"/>
              <a:ext cx="623674" cy="284502"/>
              <a:chOff x="5743962" y="2919100"/>
              <a:chExt cx="623674" cy="284502"/>
            </a:xfrm>
          </p:grpSpPr>
          <p:sp>
            <p:nvSpPr>
              <p:cNvPr id="9136" name="Google Shape;9136;p56"/>
              <p:cNvSpPr/>
              <p:nvPr/>
            </p:nvSpPr>
            <p:spPr>
              <a:xfrm>
                <a:off x="5743962" y="2919100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21" y="0"/>
                    </a:moveTo>
                    <a:lnTo>
                      <a:pt x="0" y="2230920"/>
                    </a:lnTo>
                    <a:lnTo>
                      <a:pt x="2576042" y="2230920"/>
                    </a:lnTo>
                    <a:lnTo>
                      <a:pt x="128802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7" name="Google Shape;9137;p56"/>
              <p:cNvSpPr/>
              <p:nvPr/>
            </p:nvSpPr>
            <p:spPr>
              <a:xfrm>
                <a:off x="6060335" y="2920591"/>
                <a:ext cx="307300" cy="282602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</p:grpSp>
      <p:grpSp>
        <p:nvGrpSpPr>
          <p:cNvPr id="9138" name="Google Shape;9138;p56"/>
          <p:cNvGrpSpPr/>
          <p:nvPr/>
        </p:nvGrpSpPr>
        <p:grpSpPr>
          <a:xfrm>
            <a:off x="7586863" y="2075038"/>
            <a:ext cx="874976" cy="719600"/>
            <a:chOff x="7608988" y="2093194"/>
            <a:chExt cx="817276" cy="672147"/>
          </a:xfrm>
        </p:grpSpPr>
        <p:cxnSp>
          <p:nvCxnSpPr>
            <p:cNvPr id="9139" name="Google Shape;9139;p56"/>
            <p:cNvCxnSpPr/>
            <p:nvPr/>
          </p:nvCxnSpPr>
          <p:spPr>
            <a:xfrm rot="5400000" flipH="1">
              <a:off x="7620257" y="213649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0" name="Google Shape;9140;p56"/>
            <p:cNvCxnSpPr/>
            <p:nvPr/>
          </p:nvCxnSpPr>
          <p:spPr>
            <a:xfrm rot="-5400000">
              <a:off x="8285120" y="213649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1" name="Google Shape;9141;p56"/>
            <p:cNvCxnSpPr/>
            <p:nvPr/>
          </p:nvCxnSpPr>
          <p:spPr>
            <a:xfrm rot="5400000">
              <a:off x="7620257" y="264474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2" name="Google Shape;9142;p56"/>
            <p:cNvCxnSpPr/>
            <p:nvPr/>
          </p:nvCxnSpPr>
          <p:spPr>
            <a:xfrm rot="-5400000" flipH="1">
              <a:off x="8285120" y="264474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3" name="Google Shape;9143;p56"/>
            <p:cNvCxnSpPr/>
            <p:nvPr/>
          </p:nvCxnSpPr>
          <p:spPr>
            <a:xfrm rot="10800000">
              <a:off x="7608988" y="2425132"/>
              <a:ext cx="83400" cy="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4" name="Google Shape;9144;p56"/>
            <p:cNvCxnSpPr/>
            <p:nvPr/>
          </p:nvCxnSpPr>
          <p:spPr>
            <a:xfrm rot="10800000">
              <a:off x="8342865" y="2425132"/>
              <a:ext cx="83400" cy="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grpSp>
          <p:nvGrpSpPr>
            <p:cNvPr id="9145" name="Google Shape;9145;p56"/>
            <p:cNvGrpSpPr/>
            <p:nvPr/>
          </p:nvGrpSpPr>
          <p:grpSpPr>
            <a:xfrm>
              <a:off x="7721175" y="2093194"/>
              <a:ext cx="599587" cy="623846"/>
              <a:chOff x="7721175" y="2093194"/>
              <a:chExt cx="599587" cy="623846"/>
            </a:xfrm>
          </p:grpSpPr>
          <p:grpSp>
            <p:nvGrpSpPr>
              <p:cNvPr id="9146" name="Google Shape;9146;p56"/>
              <p:cNvGrpSpPr/>
              <p:nvPr/>
            </p:nvGrpSpPr>
            <p:grpSpPr>
              <a:xfrm>
                <a:off x="7721175" y="2093194"/>
                <a:ext cx="291605" cy="623846"/>
                <a:chOff x="9405575" y="2061418"/>
                <a:chExt cx="291605" cy="623846"/>
              </a:xfrm>
            </p:grpSpPr>
            <p:sp>
              <p:nvSpPr>
                <p:cNvPr id="9147" name="Google Shape;9147;p56"/>
                <p:cNvSpPr/>
                <p:nvPr/>
              </p:nvSpPr>
              <p:spPr>
                <a:xfrm>
                  <a:off x="9405575" y="2061418"/>
                  <a:ext cx="291379" cy="6238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3" h="45503" extrusionOk="0">
                      <a:moveTo>
                        <a:pt x="17225" y="1059"/>
                      </a:moveTo>
                      <a:cubicBezTo>
                        <a:pt x="20066" y="1059"/>
                        <a:pt x="20192" y="4831"/>
                        <a:pt x="20195" y="4980"/>
                      </a:cubicBezTo>
                      <a:lnTo>
                        <a:pt x="20195" y="42658"/>
                      </a:lnTo>
                      <a:cubicBezTo>
                        <a:pt x="19755" y="43076"/>
                        <a:pt x="18011" y="44441"/>
                        <a:pt x="14035" y="44441"/>
                      </a:cubicBezTo>
                      <a:cubicBezTo>
                        <a:pt x="9143" y="44441"/>
                        <a:pt x="6607" y="41481"/>
                        <a:pt x="6264" y="38549"/>
                      </a:cubicBezTo>
                      <a:cubicBezTo>
                        <a:pt x="6238" y="38342"/>
                        <a:pt x="6089" y="38168"/>
                        <a:pt x="5889" y="38106"/>
                      </a:cubicBezTo>
                      <a:cubicBezTo>
                        <a:pt x="5769" y="38071"/>
                        <a:pt x="2987" y="37194"/>
                        <a:pt x="3045" y="34127"/>
                      </a:cubicBezTo>
                      <a:cubicBezTo>
                        <a:pt x="3067" y="32998"/>
                        <a:pt x="3194" y="32212"/>
                        <a:pt x="3449" y="31665"/>
                      </a:cubicBezTo>
                      <a:cubicBezTo>
                        <a:pt x="3449" y="31665"/>
                        <a:pt x="3682" y="31319"/>
                        <a:pt x="3685" y="31277"/>
                      </a:cubicBezTo>
                      <a:cubicBezTo>
                        <a:pt x="3740" y="31205"/>
                        <a:pt x="3799" y="31141"/>
                        <a:pt x="3863" y="31082"/>
                      </a:cubicBezTo>
                      <a:cubicBezTo>
                        <a:pt x="4404" y="30567"/>
                        <a:pt x="5365" y="30335"/>
                        <a:pt x="7020" y="30335"/>
                      </a:cubicBezTo>
                      <a:cubicBezTo>
                        <a:pt x="7247" y="30335"/>
                        <a:pt x="7486" y="30339"/>
                        <a:pt x="7739" y="30348"/>
                      </a:cubicBezTo>
                      <a:cubicBezTo>
                        <a:pt x="8968" y="30388"/>
                        <a:pt x="10320" y="30407"/>
                        <a:pt x="11768" y="30407"/>
                      </a:cubicBezTo>
                      <a:cubicBezTo>
                        <a:pt x="11975" y="30407"/>
                        <a:pt x="12184" y="30407"/>
                        <a:pt x="12395" y="30406"/>
                      </a:cubicBezTo>
                      <a:lnTo>
                        <a:pt x="12408" y="30406"/>
                      </a:lnTo>
                      <a:cubicBezTo>
                        <a:pt x="12410" y="30406"/>
                        <a:pt x="12412" y="30406"/>
                        <a:pt x="12414" y="30406"/>
                      </a:cubicBezTo>
                      <a:cubicBezTo>
                        <a:pt x="14155" y="30406"/>
                        <a:pt x="15565" y="31819"/>
                        <a:pt x="15565" y="33561"/>
                      </a:cubicBezTo>
                      <a:lnTo>
                        <a:pt x="15565" y="35495"/>
                      </a:lnTo>
                      <a:cubicBezTo>
                        <a:pt x="15559" y="35793"/>
                        <a:pt x="15798" y="36039"/>
                        <a:pt x="16096" y="36039"/>
                      </a:cubicBezTo>
                      <a:cubicBezTo>
                        <a:pt x="16394" y="36039"/>
                        <a:pt x="16636" y="35793"/>
                        <a:pt x="16627" y="35495"/>
                      </a:cubicBezTo>
                      <a:lnTo>
                        <a:pt x="16627" y="33561"/>
                      </a:lnTo>
                      <a:cubicBezTo>
                        <a:pt x="16627" y="31233"/>
                        <a:pt x="14740" y="29345"/>
                        <a:pt x="12414" y="29345"/>
                      </a:cubicBezTo>
                      <a:cubicBezTo>
                        <a:pt x="12412" y="29345"/>
                        <a:pt x="12410" y="29345"/>
                        <a:pt x="12408" y="29345"/>
                      </a:cubicBezTo>
                      <a:lnTo>
                        <a:pt x="12392" y="29345"/>
                      </a:lnTo>
                      <a:cubicBezTo>
                        <a:pt x="12202" y="29346"/>
                        <a:pt x="12014" y="29346"/>
                        <a:pt x="11828" y="29346"/>
                      </a:cubicBezTo>
                      <a:cubicBezTo>
                        <a:pt x="10369" y="29346"/>
                        <a:pt x="9008" y="29324"/>
                        <a:pt x="7772" y="29287"/>
                      </a:cubicBezTo>
                      <a:cubicBezTo>
                        <a:pt x="7513" y="29278"/>
                        <a:pt x="7267" y="29274"/>
                        <a:pt x="7033" y="29274"/>
                      </a:cubicBezTo>
                      <a:cubicBezTo>
                        <a:pt x="5050" y="29274"/>
                        <a:pt x="3893" y="29586"/>
                        <a:pt x="3135" y="30309"/>
                      </a:cubicBezTo>
                      <a:cubicBezTo>
                        <a:pt x="3058" y="30380"/>
                        <a:pt x="2987" y="30458"/>
                        <a:pt x="2922" y="30536"/>
                      </a:cubicBezTo>
                      <a:cubicBezTo>
                        <a:pt x="1045" y="29510"/>
                        <a:pt x="1084" y="26828"/>
                        <a:pt x="1084" y="26799"/>
                      </a:cubicBezTo>
                      <a:lnTo>
                        <a:pt x="1084" y="26786"/>
                      </a:lnTo>
                      <a:lnTo>
                        <a:pt x="1084" y="21470"/>
                      </a:lnTo>
                      <a:cubicBezTo>
                        <a:pt x="1084" y="19979"/>
                        <a:pt x="1450" y="18885"/>
                        <a:pt x="2168" y="18212"/>
                      </a:cubicBezTo>
                      <a:cubicBezTo>
                        <a:pt x="2905" y="17528"/>
                        <a:pt x="3830" y="17480"/>
                        <a:pt x="4078" y="17480"/>
                      </a:cubicBezTo>
                      <a:cubicBezTo>
                        <a:pt x="4118" y="17480"/>
                        <a:pt x="4141" y="17481"/>
                        <a:pt x="4142" y="17481"/>
                      </a:cubicBezTo>
                      <a:cubicBezTo>
                        <a:pt x="4157" y="17483"/>
                        <a:pt x="4172" y="17483"/>
                        <a:pt x="4186" y="17483"/>
                      </a:cubicBezTo>
                      <a:cubicBezTo>
                        <a:pt x="4474" y="17483"/>
                        <a:pt x="4714" y="17249"/>
                        <a:pt x="4714" y="16954"/>
                      </a:cubicBezTo>
                      <a:lnTo>
                        <a:pt x="4714" y="12072"/>
                      </a:lnTo>
                      <a:cubicBezTo>
                        <a:pt x="4714" y="11082"/>
                        <a:pt x="4986" y="10325"/>
                        <a:pt x="5523" y="9820"/>
                      </a:cubicBezTo>
                      <a:cubicBezTo>
                        <a:pt x="6270" y="9115"/>
                        <a:pt x="7348" y="9065"/>
                        <a:pt x="7647" y="9065"/>
                      </a:cubicBezTo>
                      <a:cubicBezTo>
                        <a:pt x="7696" y="9065"/>
                        <a:pt x="7724" y="9066"/>
                        <a:pt x="7726" y="9066"/>
                      </a:cubicBezTo>
                      <a:cubicBezTo>
                        <a:pt x="7739" y="9067"/>
                        <a:pt x="7751" y="9067"/>
                        <a:pt x="7763" y="9067"/>
                      </a:cubicBezTo>
                      <a:cubicBezTo>
                        <a:pt x="8253" y="9067"/>
                        <a:pt x="8483" y="8447"/>
                        <a:pt x="8095" y="8128"/>
                      </a:cubicBezTo>
                      <a:cubicBezTo>
                        <a:pt x="7911" y="7976"/>
                        <a:pt x="7749" y="7749"/>
                        <a:pt x="7937" y="7216"/>
                      </a:cubicBezTo>
                      <a:cubicBezTo>
                        <a:pt x="8312" y="6167"/>
                        <a:pt x="9878" y="4614"/>
                        <a:pt x="11929" y="3269"/>
                      </a:cubicBezTo>
                      <a:cubicBezTo>
                        <a:pt x="13967" y="1926"/>
                        <a:pt x="16044" y="1059"/>
                        <a:pt x="17225" y="1059"/>
                      </a:cubicBezTo>
                      <a:close/>
                      <a:moveTo>
                        <a:pt x="17222" y="1"/>
                      </a:moveTo>
                      <a:cubicBezTo>
                        <a:pt x="14145" y="1"/>
                        <a:pt x="7898" y="4168"/>
                        <a:pt x="6937" y="6863"/>
                      </a:cubicBezTo>
                      <a:cubicBezTo>
                        <a:pt x="6782" y="7300"/>
                        <a:pt x="6752" y="7711"/>
                        <a:pt x="6846" y="8076"/>
                      </a:cubicBezTo>
                      <a:cubicBezTo>
                        <a:pt x="6241" y="8180"/>
                        <a:pt x="5452" y="8435"/>
                        <a:pt x="4805" y="9040"/>
                      </a:cubicBezTo>
                      <a:cubicBezTo>
                        <a:pt x="4041" y="9755"/>
                        <a:pt x="3656" y="10778"/>
                        <a:pt x="3656" y="12075"/>
                      </a:cubicBezTo>
                      <a:lnTo>
                        <a:pt x="3656" y="16446"/>
                      </a:lnTo>
                      <a:cubicBezTo>
                        <a:pt x="3093" y="16511"/>
                        <a:pt x="2220" y="16727"/>
                        <a:pt x="1460" y="17426"/>
                      </a:cubicBezTo>
                      <a:cubicBezTo>
                        <a:pt x="508" y="18303"/>
                        <a:pt x="23" y="19665"/>
                        <a:pt x="23" y="21470"/>
                      </a:cubicBezTo>
                      <a:lnTo>
                        <a:pt x="23" y="26779"/>
                      </a:lnTo>
                      <a:cubicBezTo>
                        <a:pt x="20" y="27006"/>
                        <a:pt x="0" y="30147"/>
                        <a:pt x="2388" y="31454"/>
                      </a:cubicBezTo>
                      <a:cubicBezTo>
                        <a:pt x="2136" y="32118"/>
                        <a:pt x="2006" y="32975"/>
                        <a:pt x="1984" y="34107"/>
                      </a:cubicBezTo>
                      <a:cubicBezTo>
                        <a:pt x="1922" y="37288"/>
                        <a:pt x="4352" y="38614"/>
                        <a:pt x="5254" y="38996"/>
                      </a:cubicBezTo>
                      <a:cubicBezTo>
                        <a:pt x="5533" y="40711"/>
                        <a:pt x="6429" y="42273"/>
                        <a:pt x="7797" y="43428"/>
                      </a:cubicBezTo>
                      <a:cubicBezTo>
                        <a:pt x="9405" y="44784"/>
                        <a:pt x="11560" y="45502"/>
                        <a:pt x="14035" y="45502"/>
                      </a:cubicBezTo>
                      <a:cubicBezTo>
                        <a:pt x="19270" y="45502"/>
                        <a:pt x="21065" y="43292"/>
                        <a:pt x="21140" y="43199"/>
                      </a:cubicBezTo>
                      <a:cubicBezTo>
                        <a:pt x="21214" y="43105"/>
                        <a:pt x="21253" y="42992"/>
                        <a:pt x="21253" y="42872"/>
                      </a:cubicBezTo>
                      <a:lnTo>
                        <a:pt x="21253" y="4967"/>
                      </a:lnTo>
                      <a:cubicBezTo>
                        <a:pt x="21217" y="3249"/>
                        <a:pt x="20328" y="1"/>
                        <a:pt x="17222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48" name="Google Shape;9148;p56"/>
                <p:cNvSpPr/>
                <p:nvPr/>
              </p:nvSpPr>
              <p:spPr>
                <a:xfrm>
                  <a:off x="9535402" y="2540968"/>
                  <a:ext cx="161778" cy="68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00" h="5029" extrusionOk="0">
                      <a:moveTo>
                        <a:pt x="11270" y="1"/>
                      </a:moveTo>
                      <a:cubicBezTo>
                        <a:pt x="11264" y="1"/>
                        <a:pt x="11258" y="1"/>
                        <a:pt x="11252" y="1"/>
                      </a:cubicBezTo>
                      <a:lnTo>
                        <a:pt x="4326" y="1"/>
                      </a:lnTo>
                      <a:cubicBezTo>
                        <a:pt x="1938" y="4"/>
                        <a:pt x="0" y="1939"/>
                        <a:pt x="0" y="4327"/>
                      </a:cubicBezTo>
                      <a:lnTo>
                        <a:pt x="0" y="4498"/>
                      </a:lnTo>
                      <a:cubicBezTo>
                        <a:pt x="0" y="4789"/>
                        <a:pt x="236" y="5029"/>
                        <a:pt x="527" y="5029"/>
                      </a:cubicBezTo>
                      <a:cubicBezTo>
                        <a:pt x="822" y="5029"/>
                        <a:pt x="1061" y="4789"/>
                        <a:pt x="1058" y="4498"/>
                      </a:cubicBezTo>
                      <a:lnTo>
                        <a:pt x="1058" y="4327"/>
                      </a:lnTo>
                      <a:cubicBezTo>
                        <a:pt x="1061" y="2524"/>
                        <a:pt x="2524" y="1062"/>
                        <a:pt x="4326" y="1062"/>
                      </a:cubicBezTo>
                      <a:lnTo>
                        <a:pt x="11252" y="1062"/>
                      </a:lnTo>
                      <a:cubicBezTo>
                        <a:pt x="11256" y="1062"/>
                        <a:pt x="11260" y="1062"/>
                        <a:pt x="11264" y="1062"/>
                      </a:cubicBezTo>
                      <a:cubicBezTo>
                        <a:pt x="11557" y="1062"/>
                        <a:pt x="11799" y="825"/>
                        <a:pt x="11799" y="532"/>
                      </a:cubicBezTo>
                      <a:cubicBezTo>
                        <a:pt x="11799" y="237"/>
                        <a:pt x="11560" y="1"/>
                        <a:pt x="11270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49" name="Google Shape;9149;p56"/>
                <p:cNvSpPr/>
                <p:nvPr/>
              </p:nvSpPr>
              <p:spPr>
                <a:xfrm>
                  <a:off x="9455875" y="2286606"/>
                  <a:ext cx="137251" cy="1121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11" h="8180" extrusionOk="0">
                      <a:moveTo>
                        <a:pt x="515" y="1"/>
                      </a:moveTo>
                      <a:cubicBezTo>
                        <a:pt x="230" y="7"/>
                        <a:pt x="0" y="243"/>
                        <a:pt x="0" y="531"/>
                      </a:cubicBezTo>
                      <a:cubicBezTo>
                        <a:pt x="0" y="819"/>
                        <a:pt x="230" y="1052"/>
                        <a:pt x="515" y="1062"/>
                      </a:cubicBezTo>
                      <a:lnTo>
                        <a:pt x="4979" y="1062"/>
                      </a:lnTo>
                      <a:cubicBezTo>
                        <a:pt x="7173" y="1062"/>
                        <a:pt x="8946" y="2838"/>
                        <a:pt x="8949" y="5031"/>
                      </a:cubicBezTo>
                      <a:lnTo>
                        <a:pt x="8949" y="7649"/>
                      </a:lnTo>
                      <a:cubicBezTo>
                        <a:pt x="8949" y="7943"/>
                        <a:pt x="9188" y="8179"/>
                        <a:pt x="9480" y="8179"/>
                      </a:cubicBezTo>
                      <a:cubicBezTo>
                        <a:pt x="9771" y="8179"/>
                        <a:pt x="10010" y="7943"/>
                        <a:pt x="10010" y="7652"/>
                      </a:cubicBezTo>
                      <a:lnTo>
                        <a:pt x="10010" y="5031"/>
                      </a:lnTo>
                      <a:cubicBezTo>
                        <a:pt x="10007" y="2252"/>
                        <a:pt x="7758" y="4"/>
                        <a:pt x="4979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0" name="Google Shape;9150;p56"/>
                <p:cNvSpPr/>
                <p:nvPr/>
              </p:nvSpPr>
              <p:spPr>
                <a:xfrm>
                  <a:off x="9578545" y="2355317"/>
                  <a:ext cx="116370" cy="14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8" h="1062" extrusionOk="0">
                      <a:moveTo>
                        <a:pt x="519" y="0"/>
                      </a:moveTo>
                      <a:cubicBezTo>
                        <a:pt x="231" y="10"/>
                        <a:pt x="1" y="243"/>
                        <a:pt x="1" y="531"/>
                      </a:cubicBezTo>
                      <a:cubicBezTo>
                        <a:pt x="1" y="819"/>
                        <a:pt x="231" y="1051"/>
                        <a:pt x="519" y="1061"/>
                      </a:cubicBezTo>
                      <a:lnTo>
                        <a:pt x="7973" y="1061"/>
                      </a:lnTo>
                      <a:cubicBezTo>
                        <a:pt x="8261" y="1051"/>
                        <a:pt x="8487" y="819"/>
                        <a:pt x="8487" y="531"/>
                      </a:cubicBezTo>
                      <a:cubicBezTo>
                        <a:pt x="8487" y="243"/>
                        <a:pt x="8261" y="10"/>
                        <a:pt x="7973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1" name="Google Shape;9151;p56"/>
                <p:cNvSpPr/>
                <p:nvPr/>
              </p:nvSpPr>
              <p:spPr>
                <a:xfrm>
                  <a:off x="9533620" y="2389824"/>
                  <a:ext cx="104429" cy="582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17" h="4248" extrusionOk="0">
                      <a:moveTo>
                        <a:pt x="2890" y="0"/>
                      </a:moveTo>
                      <a:cubicBezTo>
                        <a:pt x="1295" y="0"/>
                        <a:pt x="4" y="1294"/>
                        <a:pt x="1" y="2889"/>
                      </a:cubicBezTo>
                      <a:lnTo>
                        <a:pt x="1" y="3439"/>
                      </a:lnTo>
                      <a:cubicBezTo>
                        <a:pt x="10" y="3724"/>
                        <a:pt x="243" y="3954"/>
                        <a:pt x="531" y="3954"/>
                      </a:cubicBezTo>
                      <a:cubicBezTo>
                        <a:pt x="819" y="3954"/>
                        <a:pt x="1055" y="3724"/>
                        <a:pt x="1062" y="3439"/>
                      </a:cubicBezTo>
                      <a:lnTo>
                        <a:pt x="1062" y="2889"/>
                      </a:lnTo>
                      <a:cubicBezTo>
                        <a:pt x="1062" y="1880"/>
                        <a:pt x="1880" y="1061"/>
                        <a:pt x="2890" y="1058"/>
                      </a:cubicBezTo>
                      <a:lnTo>
                        <a:pt x="4669" y="1058"/>
                      </a:lnTo>
                      <a:cubicBezTo>
                        <a:pt x="5711" y="1061"/>
                        <a:pt x="6555" y="1902"/>
                        <a:pt x="6555" y="2944"/>
                      </a:cubicBezTo>
                      <a:lnTo>
                        <a:pt x="6555" y="3717"/>
                      </a:lnTo>
                      <a:cubicBezTo>
                        <a:pt x="6555" y="4012"/>
                        <a:pt x="6795" y="4248"/>
                        <a:pt x="7086" y="4248"/>
                      </a:cubicBezTo>
                      <a:cubicBezTo>
                        <a:pt x="7380" y="4248"/>
                        <a:pt x="7617" y="4012"/>
                        <a:pt x="7617" y="3717"/>
                      </a:cubicBezTo>
                      <a:lnTo>
                        <a:pt x="7617" y="2944"/>
                      </a:lnTo>
                      <a:cubicBezTo>
                        <a:pt x="7613" y="1320"/>
                        <a:pt x="6297" y="0"/>
                        <a:pt x="4669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2" name="Google Shape;9152;p56"/>
                <p:cNvSpPr/>
                <p:nvPr/>
              </p:nvSpPr>
              <p:spPr>
                <a:xfrm>
                  <a:off x="9504885" y="2171202"/>
                  <a:ext cx="97684" cy="14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25" h="1059" extrusionOk="0">
                      <a:moveTo>
                        <a:pt x="6598" y="0"/>
                      </a:moveTo>
                      <a:cubicBezTo>
                        <a:pt x="6592" y="0"/>
                        <a:pt x="6587" y="0"/>
                        <a:pt x="6581" y="0"/>
                      </a:cubicBezTo>
                      <a:lnTo>
                        <a:pt x="515" y="0"/>
                      </a:lnTo>
                      <a:cubicBezTo>
                        <a:pt x="227" y="7"/>
                        <a:pt x="0" y="243"/>
                        <a:pt x="0" y="528"/>
                      </a:cubicBezTo>
                      <a:cubicBezTo>
                        <a:pt x="0" y="816"/>
                        <a:pt x="227" y="1052"/>
                        <a:pt x="515" y="1058"/>
                      </a:cubicBezTo>
                      <a:lnTo>
                        <a:pt x="6581" y="1058"/>
                      </a:lnTo>
                      <a:cubicBezTo>
                        <a:pt x="6587" y="1058"/>
                        <a:pt x="6592" y="1059"/>
                        <a:pt x="6598" y="1059"/>
                      </a:cubicBezTo>
                      <a:cubicBezTo>
                        <a:pt x="6888" y="1059"/>
                        <a:pt x="7124" y="823"/>
                        <a:pt x="7124" y="528"/>
                      </a:cubicBezTo>
                      <a:cubicBezTo>
                        <a:pt x="7124" y="236"/>
                        <a:pt x="6888" y="0"/>
                        <a:pt x="6598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3" name="Google Shape;9153;p56"/>
                <p:cNvSpPr/>
                <p:nvPr/>
              </p:nvSpPr>
              <p:spPr>
                <a:xfrm>
                  <a:off x="9587826" y="2129731"/>
                  <a:ext cx="106993" cy="974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804" h="7109" extrusionOk="0">
                      <a:moveTo>
                        <a:pt x="4230" y="0"/>
                      </a:moveTo>
                      <a:cubicBezTo>
                        <a:pt x="4224" y="0"/>
                        <a:pt x="4218" y="0"/>
                        <a:pt x="4213" y="0"/>
                      </a:cubicBezTo>
                      <a:lnTo>
                        <a:pt x="3339" y="0"/>
                      </a:lnTo>
                      <a:cubicBezTo>
                        <a:pt x="1495" y="0"/>
                        <a:pt x="3" y="1495"/>
                        <a:pt x="0" y="3336"/>
                      </a:cubicBezTo>
                      <a:lnTo>
                        <a:pt x="0" y="3850"/>
                      </a:lnTo>
                      <a:cubicBezTo>
                        <a:pt x="3" y="5649"/>
                        <a:pt x="1459" y="7108"/>
                        <a:pt x="3258" y="7108"/>
                      </a:cubicBezTo>
                      <a:lnTo>
                        <a:pt x="7286" y="7108"/>
                      </a:lnTo>
                      <a:cubicBezTo>
                        <a:pt x="7574" y="7102"/>
                        <a:pt x="7804" y="6866"/>
                        <a:pt x="7804" y="6578"/>
                      </a:cubicBezTo>
                      <a:cubicBezTo>
                        <a:pt x="7804" y="6290"/>
                        <a:pt x="7574" y="6057"/>
                        <a:pt x="7286" y="6047"/>
                      </a:cubicBezTo>
                      <a:lnTo>
                        <a:pt x="3258" y="6047"/>
                      </a:lnTo>
                      <a:cubicBezTo>
                        <a:pt x="2045" y="6047"/>
                        <a:pt x="1061" y="5064"/>
                        <a:pt x="1061" y="3850"/>
                      </a:cubicBezTo>
                      <a:lnTo>
                        <a:pt x="1061" y="3336"/>
                      </a:lnTo>
                      <a:cubicBezTo>
                        <a:pt x="1061" y="2081"/>
                        <a:pt x="2080" y="1061"/>
                        <a:pt x="3339" y="1058"/>
                      </a:cubicBezTo>
                      <a:lnTo>
                        <a:pt x="4213" y="1058"/>
                      </a:lnTo>
                      <a:cubicBezTo>
                        <a:pt x="4218" y="1058"/>
                        <a:pt x="4224" y="1059"/>
                        <a:pt x="4230" y="1059"/>
                      </a:cubicBezTo>
                      <a:cubicBezTo>
                        <a:pt x="4520" y="1059"/>
                        <a:pt x="4756" y="823"/>
                        <a:pt x="4756" y="528"/>
                      </a:cubicBezTo>
                      <a:cubicBezTo>
                        <a:pt x="4756" y="236"/>
                        <a:pt x="4520" y="0"/>
                        <a:pt x="4230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154" name="Google Shape;9154;p56"/>
              <p:cNvGrpSpPr/>
              <p:nvPr/>
            </p:nvGrpSpPr>
            <p:grpSpPr>
              <a:xfrm flipH="1">
                <a:off x="8029157" y="2093194"/>
                <a:ext cx="291605" cy="623846"/>
                <a:chOff x="9405575" y="2061418"/>
                <a:chExt cx="291605" cy="623846"/>
              </a:xfrm>
            </p:grpSpPr>
            <p:sp>
              <p:nvSpPr>
                <p:cNvPr id="9155" name="Google Shape;9155;p56"/>
                <p:cNvSpPr/>
                <p:nvPr/>
              </p:nvSpPr>
              <p:spPr>
                <a:xfrm>
                  <a:off x="9405575" y="2061418"/>
                  <a:ext cx="291379" cy="6238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3" h="45503" extrusionOk="0">
                      <a:moveTo>
                        <a:pt x="17225" y="1059"/>
                      </a:moveTo>
                      <a:cubicBezTo>
                        <a:pt x="20066" y="1059"/>
                        <a:pt x="20192" y="4831"/>
                        <a:pt x="20195" y="4980"/>
                      </a:cubicBezTo>
                      <a:lnTo>
                        <a:pt x="20195" y="42658"/>
                      </a:lnTo>
                      <a:cubicBezTo>
                        <a:pt x="19755" y="43076"/>
                        <a:pt x="18011" y="44441"/>
                        <a:pt x="14035" y="44441"/>
                      </a:cubicBezTo>
                      <a:cubicBezTo>
                        <a:pt x="9143" y="44441"/>
                        <a:pt x="6607" y="41481"/>
                        <a:pt x="6264" y="38549"/>
                      </a:cubicBezTo>
                      <a:cubicBezTo>
                        <a:pt x="6238" y="38342"/>
                        <a:pt x="6089" y="38168"/>
                        <a:pt x="5889" y="38106"/>
                      </a:cubicBezTo>
                      <a:cubicBezTo>
                        <a:pt x="5769" y="38071"/>
                        <a:pt x="2987" y="37194"/>
                        <a:pt x="3045" y="34127"/>
                      </a:cubicBezTo>
                      <a:cubicBezTo>
                        <a:pt x="3067" y="32998"/>
                        <a:pt x="3194" y="32212"/>
                        <a:pt x="3449" y="31665"/>
                      </a:cubicBezTo>
                      <a:cubicBezTo>
                        <a:pt x="3449" y="31665"/>
                        <a:pt x="3682" y="31319"/>
                        <a:pt x="3685" y="31277"/>
                      </a:cubicBezTo>
                      <a:cubicBezTo>
                        <a:pt x="3740" y="31205"/>
                        <a:pt x="3799" y="31141"/>
                        <a:pt x="3863" y="31082"/>
                      </a:cubicBezTo>
                      <a:cubicBezTo>
                        <a:pt x="4404" y="30567"/>
                        <a:pt x="5365" y="30335"/>
                        <a:pt x="7020" y="30335"/>
                      </a:cubicBezTo>
                      <a:cubicBezTo>
                        <a:pt x="7247" y="30335"/>
                        <a:pt x="7486" y="30339"/>
                        <a:pt x="7739" y="30348"/>
                      </a:cubicBezTo>
                      <a:cubicBezTo>
                        <a:pt x="8968" y="30388"/>
                        <a:pt x="10320" y="30407"/>
                        <a:pt x="11768" y="30407"/>
                      </a:cubicBezTo>
                      <a:cubicBezTo>
                        <a:pt x="11975" y="30407"/>
                        <a:pt x="12184" y="30407"/>
                        <a:pt x="12395" y="30406"/>
                      </a:cubicBezTo>
                      <a:lnTo>
                        <a:pt x="12408" y="30406"/>
                      </a:lnTo>
                      <a:cubicBezTo>
                        <a:pt x="12410" y="30406"/>
                        <a:pt x="12412" y="30406"/>
                        <a:pt x="12414" y="30406"/>
                      </a:cubicBezTo>
                      <a:cubicBezTo>
                        <a:pt x="14155" y="30406"/>
                        <a:pt x="15565" y="31819"/>
                        <a:pt x="15565" y="33561"/>
                      </a:cubicBezTo>
                      <a:lnTo>
                        <a:pt x="15565" y="35495"/>
                      </a:lnTo>
                      <a:cubicBezTo>
                        <a:pt x="15559" y="35793"/>
                        <a:pt x="15798" y="36039"/>
                        <a:pt x="16096" y="36039"/>
                      </a:cubicBezTo>
                      <a:cubicBezTo>
                        <a:pt x="16394" y="36039"/>
                        <a:pt x="16636" y="35793"/>
                        <a:pt x="16627" y="35495"/>
                      </a:cubicBezTo>
                      <a:lnTo>
                        <a:pt x="16627" y="33561"/>
                      </a:lnTo>
                      <a:cubicBezTo>
                        <a:pt x="16627" y="31233"/>
                        <a:pt x="14740" y="29345"/>
                        <a:pt x="12414" y="29345"/>
                      </a:cubicBezTo>
                      <a:cubicBezTo>
                        <a:pt x="12412" y="29345"/>
                        <a:pt x="12410" y="29345"/>
                        <a:pt x="12408" y="29345"/>
                      </a:cubicBezTo>
                      <a:lnTo>
                        <a:pt x="12392" y="29345"/>
                      </a:lnTo>
                      <a:cubicBezTo>
                        <a:pt x="12202" y="29346"/>
                        <a:pt x="12014" y="29346"/>
                        <a:pt x="11828" y="29346"/>
                      </a:cubicBezTo>
                      <a:cubicBezTo>
                        <a:pt x="10369" y="29346"/>
                        <a:pt x="9008" y="29324"/>
                        <a:pt x="7772" y="29287"/>
                      </a:cubicBezTo>
                      <a:cubicBezTo>
                        <a:pt x="7513" y="29278"/>
                        <a:pt x="7267" y="29274"/>
                        <a:pt x="7033" y="29274"/>
                      </a:cubicBezTo>
                      <a:cubicBezTo>
                        <a:pt x="5050" y="29274"/>
                        <a:pt x="3893" y="29586"/>
                        <a:pt x="3135" y="30309"/>
                      </a:cubicBezTo>
                      <a:cubicBezTo>
                        <a:pt x="3058" y="30380"/>
                        <a:pt x="2987" y="30458"/>
                        <a:pt x="2922" y="30536"/>
                      </a:cubicBezTo>
                      <a:cubicBezTo>
                        <a:pt x="1045" y="29510"/>
                        <a:pt x="1084" y="26828"/>
                        <a:pt x="1084" y="26799"/>
                      </a:cubicBezTo>
                      <a:lnTo>
                        <a:pt x="1084" y="26786"/>
                      </a:lnTo>
                      <a:lnTo>
                        <a:pt x="1084" y="21470"/>
                      </a:lnTo>
                      <a:cubicBezTo>
                        <a:pt x="1084" y="19979"/>
                        <a:pt x="1450" y="18885"/>
                        <a:pt x="2168" y="18212"/>
                      </a:cubicBezTo>
                      <a:cubicBezTo>
                        <a:pt x="2905" y="17528"/>
                        <a:pt x="3830" y="17480"/>
                        <a:pt x="4078" y="17480"/>
                      </a:cubicBezTo>
                      <a:cubicBezTo>
                        <a:pt x="4118" y="17480"/>
                        <a:pt x="4141" y="17481"/>
                        <a:pt x="4142" y="17481"/>
                      </a:cubicBezTo>
                      <a:cubicBezTo>
                        <a:pt x="4157" y="17483"/>
                        <a:pt x="4172" y="17483"/>
                        <a:pt x="4186" y="17483"/>
                      </a:cubicBezTo>
                      <a:cubicBezTo>
                        <a:pt x="4474" y="17483"/>
                        <a:pt x="4714" y="17249"/>
                        <a:pt x="4714" y="16954"/>
                      </a:cubicBezTo>
                      <a:lnTo>
                        <a:pt x="4714" y="12072"/>
                      </a:lnTo>
                      <a:cubicBezTo>
                        <a:pt x="4714" y="11082"/>
                        <a:pt x="4986" y="10325"/>
                        <a:pt x="5523" y="9820"/>
                      </a:cubicBezTo>
                      <a:cubicBezTo>
                        <a:pt x="6270" y="9115"/>
                        <a:pt x="7348" y="9065"/>
                        <a:pt x="7647" y="9065"/>
                      </a:cubicBezTo>
                      <a:cubicBezTo>
                        <a:pt x="7696" y="9065"/>
                        <a:pt x="7724" y="9066"/>
                        <a:pt x="7726" y="9066"/>
                      </a:cubicBezTo>
                      <a:cubicBezTo>
                        <a:pt x="7739" y="9067"/>
                        <a:pt x="7751" y="9067"/>
                        <a:pt x="7763" y="9067"/>
                      </a:cubicBezTo>
                      <a:cubicBezTo>
                        <a:pt x="8253" y="9067"/>
                        <a:pt x="8483" y="8447"/>
                        <a:pt x="8095" y="8128"/>
                      </a:cubicBezTo>
                      <a:cubicBezTo>
                        <a:pt x="7911" y="7976"/>
                        <a:pt x="7749" y="7749"/>
                        <a:pt x="7937" y="7216"/>
                      </a:cubicBezTo>
                      <a:cubicBezTo>
                        <a:pt x="8312" y="6167"/>
                        <a:pt x="9878" y="4614"/>
                        <a:pt x="11929" y="3269"/>
                      </a:cubicBezTo>
                      <a:cubicBezTo>
                        <a:pt x="13967" y="1926"/>
                        <a:pt x="16044" y="1059"/>
                        <a:pt x="17225" y="1059"/>
                      </a:cubicBezTo>
                      <a:close/>
                      <a:moveTo>
                        <a:pt x="17222" y="1"/>
                      </a:moveTo>
                      <a:cubicBezTo>
                        <a:pt x="14145" y="1"/>
                        <a:pt x="7898" y="4168"/>
                        <a:pt x="6937" y="6863"/>
                      </a:cubicBezTo>
                      <a:cubicBezTo>
                        <a:pt x="6782" y="7300"/>
                        <a:pt x="6752" y="7711"/>
                        <a:pt x="6846" y="8076"/>
                      </a:cubicBezTo>
                      <a:cubicBezTo>
                        <a:pt x="6241" y="8180"/>
                        <a:pt x="5452" y="8435"/>
                        <a:pt x="4805" y="9040"/>
                      </a:cubicBezTo>
                      <a:cubicBezTo>
                        <a:pt x="4041" y="9755"/>
                        <a:pt x="3656" y="10778"/>
                        <a:pt x="3656" y="12075"/>
                      </a:cubicBezTo>
                      <a:lnTo>
                        <a:pt x="3656" y="16446"/>
                      </a:lnTo>
                      <a:cubicBezTo>
                        <a:pt x="3093" y="16511"/>
                        <a:pt x="2220" y="16727"/>
                        <a:pt x="1460" y="17426"/>
                      </a:cubicBezTo>
                      <a:cubicBezTo>
                        <a:pt x="508" y="18303"/>
                        <a:pt x="23" y="19665"/>
                        <a:pt x="23" y="21470"/>
                      </a:cubicBezTo>
                      <a:lnTo>
                        <a:pt x="23" y="26779"/>
                      </a:lnTo>
                      <a:cubicBezTo>
                        <a:pt x="20" y="27006"/>
                        <a:pt x="0" y="30147"/>
                        <a:pt x="2388" y="31454"/>
                      </a:cubicBezTo>
                      <a:cubicBezTo>
                        <a:pt x="2136" y="32118"/>
                        <a:pt x="2006" y="32975"/>
                        <a:pt x="1984" y="34107"/>
                      </a:cubicBezTo>
                      <a:cubicBezTo>
                        <a:pt x="1922" y="37288"/>
                        <a:pt x="4352" y="38614"/>
                        <a:pt x="5254" y="38996"/>
                      </a:cubicBezTo>
                      <a:cubicBezTo>
                        <a:pt x="5533" y="40711"/>
                        <a:pt x="6429" y="42273"/>
                        <a:pt x="7797" y="43428"/>
                      </a:cubicBezTo>
                      <a:cubicBezTo>
                        <a:pt x="9405" y="44784"/>
                        <a:pt x="11560" y="45502"/>
                        <a:pt x="14035" y="45502"/>
                      </a:cubicBezTo>
                      <a:cubicBezTo>
                        <a:pt x="19270" y="45502"/>
                        <a:pt x="21065" y="43292"/>
                        <a:pt x="21140" y="43199"/>
                      </a:cubicBezTo>
                      <a:cubicBezTo>
                        <a:pt x="21214" y="43105"/>
                        <a:pt x="21253" y="42992"/>
                        <a:pt x="21253" y="42872"/>
                      </a:cubicBezTo>
                      <a:lnTo>
                        <a:pt x="21253" y="4967"/>
                      </a:lnTo>
                      <a:cubicBezTo>
                        <a:pt x="21217" y="3249"/>
                        <a:pt x="20328" y="1"/>
                        <a:pt x="17222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6" name="Google Shape;9156;p56"/>
                <p:cNvSpPr/>
                <p:nvPr/>
              </p:nvSpPr>
              <p:spPr>
                <a:xfrm>
                  <a:off x="9535402" y="2540968"/>
                  <a:ext cx="161778" cy="68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00" h="5029" extrusionOk="0">
                      <a:moveTo>
                        <a:pt x="11270" y="1"/>
                      </a:moveTo>
                      <a:cubicBezTo>
                        <a:pt x="11264" y="1"/>
                        <a:pt x="11258" y="1"/>
                        <a:pt x="11252" y="1"/>
                      </a:cubicBezTo>
                      <a:lnTo>
                        <a:pt x="4326" y="1"/>
                      </a:lnTo>
                      <a:cubicBezTo>
                        <a:pt x="1938" y="4"/>
                        <a:pt x="0" y="1939"/>
                        <a:pt x="0" y="4327"/>
                      </a:cubicBezTo>
                      <a:lnTo>
                        <a:pt x="0" y="4498"/>
                      </a:lnTo>
                      <a:cubicBezTo>
                        <a:pt x="0" y="4789"/>
                        <a:pt x="236" y="5029"/>
                        <a:pt x="527" y="5029"/>
                      </a:cubicBezTo>
                      <a:cubicBezTo>
                        <a:pt x="822" y="5029"/>
                        <a:pt x="1061" y="4789"/>
                        <a:pt x="1058" y="4498"/>
                      </a:cubicBezTo>
                      <a:lnTo>
                        <a:pt x="1058" y="4327"/>
                      </a:lnTo>
                      <a:cubicBezTo>
                        <a:pt x="1061" y="2524"/>
                        <a:pt x="2524" y="1062"/>
                        <a:pt x="4326" y="1062"/>
                      </a:cubicBezTo>
                      <a:lnTo>
                        <a:pt x="11252" y="1062"/>
                      </a:lnTo>
                      <a:cubicBezTo>
                        <a:pt x="11256" y="1062"/>
                        <a:pt x="11260" y="1062"/>
                        <a:pt x="11264" y="1062"/>
                      </a:cubicBezTo>
                      <a:cubicBezTo>
                        <a:pt x="11557" y="1062"/>
                        <a:pt x="11799" y="825"/>
                        <a:pt x="11799" y="532"/>
                      </a:cubicBezTo>
                      <a:cubicBezTo>
                        <a:pt x="11799" y="237"/>
                        <a:pt x="11560" y="1"/>
                        <a:pt x="11270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7" name="Google Shape;9157;p56"/>
                <p:cNvSpPr/>
                <p:nvPr/>
              </p:nvSpPr>
              <p:spPr>
                <a:xfrm>
                  <a:off x="9455875" y="2286606"/>
                  <a:ext cx="137251" cy="1121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11" h="8180" extrusionOk="0">
                      <a:moveTo>
                        <a:pt x="515" y="1"/>
                      </a:moveTo>
                      <a:cubicBezTo>
                        <a:pt x="230" y="7"/>
                        <a:pt x="0" y="243"/>
                        <a:pt x="0" y="531"/>
                      </a:cubicBezTo>
                      <a:cubicBezTo>
                        <a:pt x="0" y="819"/>
                        <a:pt x="230" y="1052"/>
                        <a:pt x="515" y="1062"/>
                      </a:cubicBezTo>
                      <a:lnTo>
                        <a:pt x="4979" y="1062"/>
                      </a:lnTo>
                      <a:cubicBezTo>
                        <a:pt x="7173" y="1062"/>
                        <a:pt x="8946" y="2838"/>
                        <a:pt x="8949" y="5031"/>
                      </a:cubicBezTo>
                      <a:lnTo>
                        <a:pt x="8949" y="7649"/>
                      </a:lnTo>
                      <a:cubicBezTo>
                        <a:pt x="8949" y="7943"/>
                        <a:pt x="9188" y="8179"/>
                        <a:pt x="9480" y="8179"/>
                      </a:cubicBezTo>
                      <a:cubicBezTo>
                        <a:pt x="9771" y="8179"/>
                        <a:pt x="10010" y="7943"/>
                        <a:pt x="10010" y="7652"/>
                      </a:cubicBezTo>
                      <a:lnTo>
                        <a:pt x="10010" y="5031"/>
                      </a:lnTo>
                      <a:cubicBezTo>
                        <a:pt x="10007" y="2252"/>
                        <a:pt x="7758" y="4"/>
                        <a:pt x="4979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8" name="Google Shape;9158;p56"/>
                <p:cNvSpPr/>
                <p:nvPr/>
              </p:nvSpPr>
              <p:spPr>
                <a:xfrm>
                  <a:off x="9578545" y="2355317"/>
                  <a:ext cx="116370" cy="14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8" h="1062" extrusionOk="0">
                      <a:moveTo>
                        <a:pt x="519" y="0"/>
                      </a:moveTo>
                      <a:cubicBezTo>
                        <a:pt x="231" y="10"/>
                        <a:pt x="1" y="243"/>
                        <a:pt x="1" y="531"/>
                      </a:cubicBezTo>
                      <a:cubicBezTo>
                        <a:pt x="1" y="819"/>
                        <a:pt x="231" y="1051"/>
                        <a:pt x="519" y="1061"/>
                      </a:cubicBezTo>
                      <a:lnTo>
                        <a:pt x="7973" y="1061"/>
                      </a:lnTo>
                      <a:cubicBezTo>
                        <a:pt x="8261" y="1051"/>
                        <a:pt x="8487" y="819"/>
                        <a:pt x="8487" y="531"/>
                      </a:cubicBezTo>
                      <a:cubicBezTo>
                        <a:pt x="8487" y="243"/>
                        <a:pt x="8261" y="10"/>
                        <a:pt x="7973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9" name="Google Shape;9159;p56"/>
                <p:cNvSpPr/>
                <p:nvPr/>
              </p:nvSpPr>
              <p:spPr>
                <a:xfrm>
                  <a:off x="9533620" y="2389824"/>
                  <a:ext cx="104429" cy="582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17" h="4248" extrusionOk="0">
                      <a:moveTo>
                        <a:pt x="2890" y="0"/>
                      </a:moveTo>
                      <a:cubicBezTo>
                        <a:pt x="1295" y="0"/>
                        <a:pt x="4" y="1294"/>
                        <a:pt x="1" y="2889"/>
                      </a:cubicBezTo>
                      <a:lnTo>
                        <a:pt x="1" y="3439"/>
                      </a:lnTo>
                      <a:cubicBezTo>
                        <a:pt x="10" y="3724"/>
                        <a:pt x="243" y="3954"/>
                        <a:pt x="531" y="3954"/>
                      </a:cubicBezTo>
                      <a:cubicBezTo>
                        <a:pt x="819" y="3954"/>
                        <a:pt x="1055" y="3724"/>
                        <a:pt x="1062" y="3439"/>
                      </a:cubicBezTo>
                      <a:lnTo>
                        <a:pt x="1062" y="2889"/>
                      </a:lnTo>
                      <a:cubicBezTo>
                        <a:pt x="1062" y="1880"/>
                        <a:pt x="1880" y="1061"/>
                        <a:pt x="2890" y="1058"/>
                      </a:cubicBezTo>
                      <a:lnTo>
                        <a:pt x="4669" y="1058"/>
                      </a:lnTo>
                      <a:cubicBezTo>
                        <a:pt x="5711" y="1061"/>
                        <a:pt x="6555" y="1902"/>
                        <a:pt x="6555" y="2944"/>
                      </a:cubicBezTo>
                      <a:lnTo>
                        <a:pt x="6555" y="3717"/>
                      </a:lnTo>
                      <a:cubicBezTo>
                        <a:pt x="6555" y="4012"/>
                        <a:pt x="6795" y="4248"/>
                        <a:pt x="7086" y="4248"/>
                      </a:cubicBezTo>
                      <a:cubicBezTo>
                        <a:pt x="7380" y="4248"/>
                        <a:pt x="7617" y="4012"/>
                        <a:pt x="7617" y="3717"/>
                      </a:cubicBezTo>
                      <a:lnTo>
                        <a:pt x="7617" y="2944"/>
                      </a:lnTo>
                      <a:cubicBezTo>
                        <a:pt x="7613" y="1320"/>
                        <a:pt x="6297" y="0"/>
                        <a:pt x="4669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60" name="Google Shape;9160;p56"/>
                <p:cNvSpPr/>
                <p:nvPr/>
              </p:nvSpPr>
              <p:spPr>
                <a:xfrm>
                  <a:off x="9504885" y="2171202"/>
                  <a:ext cx="97684" cy="14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25" h="1059" extrusionOk="0">
                      <a:moveTo>
                        <a:pt x="6598" y="0"/>
                      </a:moveTo>
                      <a:cubicBezTo>
                        <a:pt x="6592" y="0"/>
                        <a:pt x="6587" y="0"/>
                        <a:pt x="6581" y="0"/>
                      </a:cubicBezTo>
                      <a:lnTo>
                        <a:pt x="515" y="0"/>
                      </a:lnTo>
                      <a:cubicBezTo>
                        <a:pt x="227" y="7"/>
                        <a:pt x="0" y="243"/>
                        <a:pt x="0" y="528"/>
                      </a:cubicBezTo>
                      <a:cubicBezTo>
                        <a:pt x="0" y="816"/>
                        <a:pt x="227" y="1052"/>
                        <a:pt x="515" y="1058"/>
                      </a:cubicBezTo>
                      <a:lnTo>
                        <a:pt x="6581" y="1058"/>
                      </a:lnTo>
                      <a:cubicBezTo>
                        <a:pt x="6587" y="1058"/>
                        <a:pt x="6592" y="1059"/>
                        <a:pt x="6598" y="1059"/>
                      </a:cubicBezTo>
                      <a:cubicBezTo>
                        <a:pt x="6888" y="1059"/>
                        <a:pt x="7124" y="823"/>
                        <a:pt x="7124" y="528"/>
                      </a:cubicBezTo>
                      <a:cubicBezTo>
                        <a:pt x="7124" y="236"/>
                        <a:pt x="6888" y="0"/>
                        <a:pt x="6598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61" name="Google Shape;9161;p56"/>
                <p:cNvSpPr/>
                <p:nvPr/>
              </p:nvSpPr>
              <p:spPr>
                <a:xfrm>
                  <a:off x="9587826" y="2129731"/>
                  <a:ext cx="106993" cy="974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804" h="7109" extrusionOk="0">
                      <a:moveTo>
                        <a:pt x="4230" y="0"/>
                      </a:moveTo>
                      <a:cubicBezTo>
                        <a:pt x="4224" y="0"/>
                        <a:pt x="4218" y="0"/>
                        <a:pt x="4213" y="0"/>
                      </a:cubicBezTo>
                      <a:lnTo>
                        <a:pt x="3339" y="0"/>
                      </a:lnTo>
                      <a:cubicBezTo>
                        <a:pt x="1495" y="0"/>
                        <a:pt x="3" y="1495"/>
                        <a:pt x="0" y="3336"/>
                      </a:cubicBezTo>
                      <a:lnTo>
                        <a:pt x="0" y="3850"/>
                      </a:lnTo>
                      <a:cubicBezTo>
                        <a:pt x="3" y="5649"/>
                        <a:pt x="1459" y="7108"/>
                        <a:pt x="3258" y="7108"/>
                      </a:cubicBezTo>
                      <a:lnTo>
                        <a:pt x="7286" y="7108"/>
                      </a:lnTo>
                      <a:cubicBezTo>
                        <a:pt x="7574" y="7102"/>
                        <a:pt x="7804" y="6866"/>
                        <a:pt x="7804" y="6578"/>
                      </a:cubicBezTo>
                      <a:cubicBezTo>
                        <a:pt x="7804" y="6290"/>
                        <a:pt x="7574" y="6057"/>
                        <a:pt x="7286" y="6047"/>
                      </a:cubicBezTo>
                      <a:lnTo>
                        <a:pt x="3258" y="6047"/>
                      </a:lnTo>
                      <a:cubicBezTo>
                        <a:pt x="2045" y="6047"/>
                        <a:pt x="1061" y="5064"/>
                        <a:pt x="1061" y="3850"/>
                      </a:cubicBezTo>
                      <a:lnTo>
                        <a:pt x="1061" y="3336"/>
                      </a:lnTo>
                      <a:cubicBezTo>
                        <a:pt x="1061" y="2081"/>
                        <a:pt x="2080" y="1061"/>
                        <a:pt x="3339" y="1058"/>
                      </a:cubicBezTo>
                      <a:lnTo>
                        <a:pt x="4213" y="1058"/>
                      </a:lnTo>
                      <a:cubicBezTo>
                        <a:pt x="4218" y="1058"/>
                        <a:pt x="4224" y="1059"/>
                        <a:pt x="4230" y="1059"/>
                      </a:cubicBezTo>
                      <a:cubicBezTo>
                        <a:pt x="4520" y="1059"/>
                        <a:pt x="4756" y="823"/>
                        <a:pt x="4756" y="528"/>
                      </a:cubicBezTo>
                      <a:cubicBezTo>
                        <a:pt x="4756" y="236"/>
                        <a:pt x="4520" y="0"/>
                        <a:pt x="4230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9162" name="Google Shape;9162;p56"/>
          <p:cNvGrpSpPr/>
          <p:nvPr/>
        </p:nvGrpSpPr>
        <p:grpSpPr>
          <a:xfrm>
            <a:off x="4031299" y="1191441"/>
            <a:ext cx="712557" cy="785901"/>
            <a:chOff x="4206459" y="1191441"/>
            <a:chExt cx="712557" cy="785901"/>
          </a:xfrm>
        </p:grpSpPr>
        <p:sp>
          <p:nvSpPr>
            <p:cNvPr id="9163" name="Google Shape;9163;p56"/>
            <p:cNvSpPr/>
            <p:nvPr/>
          </p:nvSpPr>
          <p:spPr>
            <a:xfrm>
              <a:off x="4548248" y="1328649"/>
              <a:ext cx="325201" cy="322547"/>
            </a:xfrm>
            <a:custGeom>
              <a:avLst/>
              <a:gdLst/>
              <a:ahLst/>
              <a:cxnLst/>
              <a:rect l="l" t="t" r="r" b="b"/>
              <a:pathLst>
                <a:path w="25486" h="25278" extrusionOk="0">
                  <a:moveTo>
                    <a:pt x="12746" y="4905"/>
                  </a:moveTo>
                  <a:cubicBezTo>
                    <a:pt x="13701" y="4905"/>
                    <a:pt x="14672" y="5083"/>
                    <a:pt x="15613" y="5460"/>
                  </a:cubicBezTo>
                  <a:cubicBezTo>
                    <a:pt x="19580" y="7047"/>
                    <a:pt x="21508" y="11545"/>
                    <a:pt x="19923" y="15511"/>
                  </a:cubicBezTo>
                  <a:cubicBezTo>
                    <a:pt x="18714" y="18534"/>
                    <a:pt x="15811" y="20374"/>
                    <a:pt x="12742" y="20374"/>
                  </a:cubicBezTo>
                  <a:cubicBezTo>
                    <a:pt x="11786" y="20374"/>
                    <a:pt x="10814" y="20196"/>
                    <a:pt x="9873" y="19819"/>
                  </a:cubicBezTo>
                  <a:cubicBezTo>
                    <a:pt x="5908" y="18234"/>
                    <a:pt x="3978" y="13734"/>
                    <a:pt x="5563" y="9769"/>
                  </a:cubicBezTo>
                  <a:cubicBezTo>
                    <a:pt x="6772" y="6745"/>
                    <a:pt x="9676" y="4905"/>
                    <a:pt x="12746" y="4905"/>
                  </a:cubicBezTo>
                  <a:close/>
                  <a:moveTo>
                    <a:pt x="15551" y="1"/>
                  </a:moveTo>
                  <a:cubicBezTo>
                    <a:pt x="15240" y="1"/>
                    <a:pt x="14946" y="187"/>
                    <a:pt x="14824" y="492"/>
                  </a:cubicBezTo>
                  <a:lnTo>
                    <a:pt x="14047" y="2435"/>
                  </a:lnTo>
                  <a:cubicBezTo>
                    <a:pt x="13612" y="2378"/>
                    <a:pt x="13174" y="2350"/>
                    <a:pt x="12736" y="2350"/>
                  </a:cubicBezTo>
                  <a:cubicBezTo>
                    <a:pt x="12218" y="2350"/>
                    <a:pt x="11700" y="2390"/>
                    <a:pt x="11187" y="2469"/>
                  </a:cubicBezTo>
                  <a:lnTo>
                    <a:pt x="10364" y="547"/>
                  </a:lnTo>
                  <a:cubicBezTo>
                    <a:pt x="10238" y="251"/>
                    <a:pt x="9949" y="73"/>
                    <a:pt x="9646" y="73"/>
                  </a:cubicBezTo>
                  <a:cubicBezTo>
                    <a:pt x="9543" y="73"/>
                    <a:pt x="9438" y="93"/>
                    <a:pt x="9338" y="137"/>
                  </a:cubicBezTo>
                  <a:lnTo>
                    <a:pt x="6036" y="1553"/>
                  </a:lnTo>
                  <a:cubicBezTo>
                    <a:pt x="5640" y="1722"/>
                    <a:pt x="5456" y="2182"/>
                    <a:pt x="5626" y="2579"/>
                  </a:cubicBezTo>
                  <a:lnTo>
                    <a:pt x="6449" y="4501"/>
                  </a:lnTo>
                  <a:cubicBezTo>
                    <a:pt x="5690" y="5085"/>
                    <a:pt x="5019" y="5775"/>
                    <a:pt x="4452" y="6549"/>
                  </a:cubicBezTo>
                  <a:lnTo>
                    <a:pt x="2510" y="5772"/>
                  </a:lnTo>
                  <a:cubicBezTo>
                    <a:pt x="2414" y="5734"/>
                    <a:pt x="2316" y="5716"/>
                    <a:pt x="2219" y="5716"/>
                  </a:cubicBezTo>
                  <a:cubicBezTo>
                    <a:pt x="1910" y="5716"/>
                    <a:pt x="1616" y="5901"/>
                    <a:pt x="1493" y="6208"/>
                  </a:cubicBezTo>
                  <a:lnTo>
                    <a:pt x="161" y="9542"/>
                  </a:lnTo>
                  <a:cubicBezTo>
                    <a:pt x="0" y="9944"/>
                    <a:pt x="194" y="10398"/>
                    <a:pt x="596" y="10558"/>
                  </a:cubicBezTo>
                  <a:lnTo>
                    <a:pt x="2537" y="11335"/>
                  </a:lnTo>
                  <a:cubicBezTo>
                    <a:pt x="2415" y="12285"/>
                    <a:pt x="2426" y="13249"/>
                    <a:pt x="2572" y="14195"/>
                  </a:cubicBezTo>
                  <a:lnTo>
                    <a:pt x="651" y="15018"/>
                  </a:lnTo>
                  <a:cubicBezTo>
                    <a:pt x="253" y="15189"/>
                    <a:pt x="71" y="15649"/>
                    <a:pt x="241" y="16046"/>
                  </a:cubicBezTo>
                  <a:lnTo>
                    <a:pt x="1655" y="19347"/>
                  </a:lnTo>
                  <a:cubicBezTo>
                    <a:pt x="1781" y="19643"/>
                    <a:pt x="2070" y="19821"/>
                    <a:pt x="2373" y="19821"/>
                  </a:cubicBezTo>
                  <a:cubicBezTo>
                    <a:pt x="2476" y="19821"/>
                    <a:pt x="2581" y="19800"/>
                    <a:pt x="2681" y="19756"/>
                  </a:cubicBezTo>
                  <a:lnTo>
                    <a:pt x="4603" y="18933"/>
                  </a:lnTo>
                  <a:cubicBezTo>
                    <a:pt x="5189" y="19692"/>
                    <a:pt x="5879" y="20365"/>
                    <a:pt x="6651" y="20930"/>
                  </a:cubicBezTo>
                  <a:lnTo>
                    <a:pt x="5874" y="22873"/>
                  </a:lnTo>
                  <a:cubicBezTo>
                    <a:pt x="5714" y="23273"/>
                    <a:pt x="5909" y="23728"/>
                    <a:pt x="6310" y="23888"/>
                  </a:cubicBezTo>
                  <a:lnTo>
                    <a:pt x="9645" y="25222"/>
                  </a:lnTo>
                  <a:cubicBezTo>
                    <a:pt x="9740" y="25260"/>
                    <a:pt x="9838" y="25278"/>
                    <a:pt x="9935" y="25278"/>
                  </a:cubicBezTo>
                  <a:cubicBezTo>
                    <a:pt x="10245" y="25278"/>
                    <a:pt x="10538" y="25092"/>
                    <a:pt x="10660" y="24786"/>
                  </a:cubicBezTo>
                  <a:lnTo>
                    <a:pt x="11437" y="22845"/>
                  </a:lnTo>
                  <a:cubicBezTo>
                    <a:pt x="11871" y="22901"/>
                    <a:pt x="12308" y="22929"/>
                    <a:pt x="12745" y="22929"/>
                  </a:cubicBezTo>
                  <a:cubicBezTo>
                    <a:pt x="13264" y="22929"/>
                    <a:pt x="13784" y="22889"/>
                    <a:pt x="14299" y="22810"/>
                  </a:cubicBezTo>
                  <a:lnTo>
                    <a:pt x="15122" y="24732"/>
                  </a:lnTo>
                  <a:cubicBezTo>
                    <a:pt x="15248" y="25028"/>
                    <a:pt x="15536" y="25206"/>
                    <a:pt x="15839" y="25206"/>
                  </a:cubicBezTo>
                  <a:cubicBezTo>
                    <a:pt x="15943" y="25206"/>
                    <a:pt x="16047" y="25185"/>
                    <a:pt x="16148" y="25142"/>
                  </a:cubicBezTo>
                  <a:lnTo>
                    <a:pt x="19449" y="23728"/>
                  </a:lnTo>
                  <a:cubicBezTo>
                    <a:pt x="19846" y="23558"/>
                    <a:pt x="20030" y="23098"/>
                    <a:pt x="19860" y="22701"/>
                  </a:cubicBezTo>
                  <a:lnTo>
                    <a:pt x="19037" y="20780"/>
                  </a:lnTo>
                  <a:cubicBezTo>
                    <a:pt x="19794" y="20194"/>
                    <a:pt x="20467" y="19503"/>
                    <a:pt x="21034" y="18732"/>
                  </a:cubicBezTo>
                  <a:lnTo>
                    <a:pt x="22975" y="19508"/>
                  </a:lnTo>
                  <a:cubicBezTo>
                    <a:pt x="23070" y="19546"/>
                    <a:pt x="23168" y="19564"/>
                    <a:pt x="23265" y="19564"/>
                  </a:cubicBezTo>
                  <a:cubicBezTo>
                    <a:pt x="23576" y="19564"/>
                    <a:pt x="23869" y="19378"/>
                    <a:pt x="23992" y="19073"/>
                  </a:cubicBezTo>
                  <a:lnTo>
                    <a:pt x="25326" y="15737"/>
                  </a:lnTo>
                  <a:cubicBezTo>
                    <a:pt x="25486" y="15337"/>
                    <a:pt x="25290" y="14882"/>
                    <a:pt x="24890" y="14722"/>
                  </a:cubicBezTo>
                  <a:lnTo>
                    <a:pt x="22948" y="13945"/>
                  </a:lnTo>
                  <a:cubicBezTo>
                    <a:pt x="23071" y="12994"/>
                    <a:pt x="23060" y="12032"/>
                    <a:pt x="22914" y="11084"/>
                  </a:cubicBezTo>
                  <a:lnTo>
                    <a:pt x="24835" y="10261"/>
                  </a:lnTo>
                  <a:cubicBezTo>
                    <a:pt x="25231" y="10091"/>
                    <a:pt x="25415" y="9631"/>
                    <a:pt x="25245" y="9234"/>
                  </a:cubicBezTo>
                  <a:lnTo>
                    <a:pt x="23830" y="5934"/>
                  </a:lnTo>
                  <a:cubicBezTo>
                    <a:pt x="23703" y="5637"/>
                    <a:pt x="23414" y="5459"/>
                    <a:pt x="23111" y="5459"/>
                  </a:cubicBezTo>
                  <a:cubicBezTo>
                    <a:pt x="23008" y="5459"/>
                    <a:pt x="22904" y="5479"/>
                    <a:pt x="22803" y="5522"/>
                  </a:cubicBezTo>
                  <a:lnTo>
                    <a:pt x="20882" y="6347"/>
                  </a:lnTo>
                  <a:cubicBezTo>
                    <a:pt x="20297" y="5588"/>
                    <a:pt x="19607" y="4915"/>
                    <a:pt x="18835" y="4348"/>
                  </a:cubicBezTo>
                  <a:lnTo>
                    <a:pt x="19610" y="2408"/>
                  </a:lnTo>
                  <a:cubicBezTo>
                    <a:pt x="19770" y="2006"/>
                    <a:pt x="19577" y="1551"/>
                    <a:pt x="19175" y="1391"/>
                  </a:cubicBezTo>
                  <a:lnTo>
                    <a:pt x="15841" y="57"/>
                  </a:lnTo>
                  <a:cubicBezTo>
                    <a:pt x="15745" y="19"/>
                    <a:pt x="15647" y="1"/>
                    <a:pt x="155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4" name="Google Shape;9164;p56"/>
            <p:cNvSpPr/>
            <p:nvPr/>
          </p:nvSpPr>
          <p:spPr>
            <a:xfrm>
              <a:off x="4557499" y="1656607"/>
              <a:ext cx="306674" cy="306648"/>
            </a:xfrm>
            <a:custGeom>
              <a:avLst/>
              <a:gdLst/>
              <a:ahLst/>
              <a:cxnLst/>
              <a:rect l="l" t="t" r="r" b="b"/>
              <a:pathLst>
                <a:path w="24034" h="24032" extrusionOk="0">
                  <a:moveTo>
                    <a:pt x="12017" y="4775"/>
                  </a:moveTo>
                  <a:cubicBezTo>
                    <a:pt x="16016" y="4775"/>
                    <a:pt x="19258" y="8018"/>
                    <a:pt x="19258" y="12017"/>
                  </a:cubicBezTo>
                  <a:cubicBezTo>
                    <a:pt x="19258" y="16015"/>
                    <a:pt x="16016" y="19256"/>
                    <a:pt x="12019" y="19256"/>
                  </a:cubicBezTo>
                  <a:lnTo>
                    <a:pt x="12017" y="19256"/>
                  </a:lnTo>
                  <a:cubicBezTo>
                    <a:pt x="8019" y="19256"/>
                    <a:pt x="4778" y="16015"/>
                    <a:pt x="4778" y="12017"/>
                  </a:cubicBezTo>
                  <a:cubicBezTo>
                    <a:pt x="4778" y="8018"/>
                    <a:pt x="8019" y="4775"/>
                    <a:pt x="12017" y="4775"/>
                  </a:cubicBezTo>
                  <a:close/>
                  <a:moveTo>
                    <a:pt x="10336" y="0"/>
                  </a:moveTo>
                  <a:cubicBezTo>
                    <a:pt x="9932" y="0"/>
                    <a:pt x="9604" y="327"/>
                    <a:pt x="9604" y="732"/>
                  </a:cubicBezTo>
                  <a:lnTo>
                    <a:pt x="9604" y="2689"/>
                  </a:lnTo>
                  <a:cubicBezTo>
                    <a:pt x="8734" y="2913"/>
                    <a:pt x="7902" y="3259"/>
                    <a:pt x="7128" y="3714"/>
                  </a:cubicBezTo>
                  <a:lnTo>
                    <a:pt x="5745" y="2330"/>
                  </a:lnTo>
                  <a:cubicBezTo>
                    <a:pt x="5602" y="2187"/>
                    <a:pt x="5415" y="2115"/>
                    <a:pt x="5228" y="2115"/>
                  </a:cubicBezTo>
                  <a:cubicBezTo>
                    <a:pt x="5040" y="2115"/>
                    <a:pt x="4853" y="2187"/>
                    <a:pt x="4710" y="2330"/>
                  </a:cubicBezTo>
                  <a:lnTo>
                    <a:pt x="2332" y="4708"/>
                  </a:lnTo>
                  <a:cubicBezTo>
                    <a:pt x="2046" y="4995"/>
                    <a:pt x="2046" y="5457"/>
                    <a:pt x="2332" y="5744"/>
                  </a:cubicBezTo>
                  <a:lnTo>
                    <a:pt x="3716" y="7128"/>
                  </a:lnTo>
                  <a:cubicBezTo>
                    <a:pt x="3260" y="7900"/>
                    <a:pt x="2915" y="8734"/>
                    <a:pt x="2691" y="9602"/>
                  </a:cubicBezTo>
                  <a:lnTo>
                    <a:pt x="734" y="9602"/>
                  </a:lnTo>
                  <a:cubicBezTo>
                    <a:pt x="329" y="9602"/>
                    <a:pt x="1" y="9930"/>
                    <a:pt x="1" y="10335"/>
                  </a:cubicBezTo>
                  <a:lnTo>
                    <a:pt x="1" y="13698"/>
                  </a:lnTo>
                  <a:cubicBezTo>
                    <a:pt x="1" y="14101"/>
                    <a:pt x="329" y="14430"/>
                    <a:pt x="734" y="14430"/>
                  </a:cubicBezTo>
                  <a:lnTo>
                    <a:pt x="2691" y="14430"/>
                  </a:lnTo>
                  <a:cubicBezTo>
                    <a:pt x="2915" y="15298"/>
                    <a:pt x="3260" y="16132"/>
                    <a:pt x="3716" y="16904"/>
                  </a:cubicBezTo>
                  <a:lnTo>
                    <a:pt x="2332" y="18289"/>
                  </a:lnTo>
                  <a:cubicBezTo>
                    <a:pt x="2046" y="18574"/>
                    <a:pt x="2046" y="19038"/>
                    <a:pt x="2332" y="19323"/>
                  </a:cubicBezTo>
                  <a:lnTo>
                    <a:pt x="4710" y="21701"/>
                  </a:lnTo>
                  <a:cubicBezTo>
                    <a:pt x="4853" y="21845"/>
                    <a:pt x="5040" y="21916"/>
                    <a:pt x="5228" y="21916"/>
                  </a:cubicBezTo>
                  <a:cubicBezTo>
                    <a:pt x="5415" y="21916"/>
                    <a:pt x="5602" y="21845"/>
                    <a:pt x="5745" y="21701"/>
                  </a:cubicBezTo>
                  <a:lnTo>
                    <a:pt x="7128" y="20318"/>
                  </a:lnTo>
                  <a:cubicBezTo>
                    <a:pt x="7902" y="20774"/>
                    <a:pt x="8736" y="21118"/>
                    <a:pt x="9604" y="21343"/>
                  </a:cubicBezTo>
                  <a:lnTo>
                    <a:pt x="9604" y="23299"/>
                  </a:lnTo>
                  <a:cubicBezTo>
                    <a:pt x="9604" y="23705"/>
                    <a:pt x="9932" y="24031"/>
                    <a:pt x="10336" y="24031"/>
                  </a:cubicBezTo>
                  <a:lnTo>
                    <a:pt x="13699" y="24031"/>
                  </a:lnTo>
                  <a:cubicBezTo>
                    <a:pt x="14104" y="24031"/>
                    <a:pt x="14432" y="23705"/>
                    <a:pt x="14432" y="23299"/>
                  </a:cubicBezTo>
                  <a:lnTo>
                    <a:pt x="14432" y="21343"/>
                  </a:lnTo>
                  <a:cubicBezTo>
                    <a:pt x="15300" y="21118"/>
                    <a:pt x="16134" y="20773"/>
                    <a:pt x="16906" y="20318"/>
                  </a:cubicBezTo>
                  <a:lnTo>
                    <a:pt x="18290" y="21701"/>
                  </a:lnTo>
                  <a:cubicBezTo>
                    <a:pt x="18433" y="21844"/>
                    <a:pt x="18620" y="21915"/>
                    <a:pt x="18808" y="21915"/>
                  </a:cubicBezTo>
                  <a:cubicBezTo>
                    <a:pt x="18995" y="21915"/>
                    <a:pt x="19182" y="21844"/>
                    <a:pt x="19326" y="21701"/>
                  </a:cubicBezTo>
                  <a:lnTo>
                    <a:pt x="21704" y="19323"/>
                  </a:lnTo>
                  <a:cubicBezTo>
                    <a:pt x="21989" y="19037"/>
                    <a:pt x="21989" y="18574"/>
                    <a:pt x="21704" y="18287"/>
                  </a:cubicBezTo>
                  <a:lnTo>
                    <a:pt x="20320" y="16904"/>
                  </a:lnTo>
                  <a:cubicBezTo>
                    <a:pt x="20775" y="16130"/>
                    <a:pt x="21121" y="15298"/>
                    <a:pt x="21345" y="14430"/>
                  </a:cubicBezTo>
                  <a:lnTo>
                    <a:pt x="23302" y="14430"/>
                  </a:lnTo>
                  <a:cubicBezTo>
                    <a:pt x="23705" y="14430"/>
                    <a:pt x="24034" y="14101"/>
                    <a:pt x="24034" y="13696"/>
                  </a:cubicBezTo>
                  <a:lnTo>
                    <a:pt x="24034" y="10334"/>
                  </a:lnTo>
                  <a:cubicBezTo>
                    <a:pt x="24034" y="9930"/>
                    <a:pt x="23705" y="9602"/>
                    <a:pt x="23302" y="9602"/>
                  </a:cubicBezTo>
                  <a:lnTo>
                    <a:pt x="21343" y="9602"/>
                  </a:lnTo>
                  <a:cubicBezTo>
                    <a:pt x="21121" y="8734"/>
                    <a:pt x="20775" y="7900"/>
                    <a:pt x="20320" y="7128"/>
                  </a:cubicBezTo>
                  <a:lnTo>
                    <a:pt x="21704" y="5744"/>
                  </a:lnTo>
                  <a:cubicBezTo>
                    <a:pt x="21989" y="5457"/>
                    <a:pt x="21989" y="4995"/>
                    <a:pt x="21704" y="4708"/>
                  </a:cubicBezTo>
                  <a:lnTo>
                    <a:pt x="19326" y="2330"/>
                  </a:lnTo>
                  <a:cubicBezTo>
                    <a:pt x="19182" y="2187"/>
                    <a:pt x="18995" y="2115"/>
                    <a:pt x="18808" y="2115"/>
                  </a:cubicBezTo>
                  <a:cubicBezTo>
                    <a:pt x="18620" y="2115"/>
                    <a:pt x="18433" y="2187"/>
                    <a:pt x="18290" y="2330"/>
                  </a:cubicBezTo>
                  <a:lnTo>
                    <a:pt x="16906" y="3714"/>
                  </a:lnTo>
                  <a:cubicBezTo>
                    <a:pt x="16133" y="3259"/>
                    <a:pt x="15300" y="2913"/>
                    <a:pt x="14430" y="2689"/>
                  </a:cubicBezTo>
                  <a:lnTo>
                    <a:pt x="14430" y="732"/>
                  </a:lnTo>
                  <a:cubicBezTo>
                    <a:pt x="14430" y="327"/>
                    <a:pt x="14104" y="0"/>
                    <a:pt x="136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5" name="Google Shape;9165;p56"/>
            <p:cNvSpPr/>
            <p:nvPr/>
          </p:nvSpPr>
          <p:spPr>
            <a:xfrm>
              <a:off x="4251067" y="1523035"/>
              <a:ext cx="327536" cy="325023"/>
            </a:xfrm>
            <a:custGeom>
              <a:avLst/>
              <a:gdLst/>
              <a:ahLst/>
              <a:cxnLst/>
              <a:rect l="l" t="t" r="r" b="b"/>
              <a:pathLst>
                <a:path w="25669" h="25472" extrusionOk="0">
                  <a:moveTo>
                    <a:pt x="12840" y="5002"/>
                  </a:moveTo>
                  <a:cubicBezTo>
                    <a:pt x="13949" y="5002"/>
                    <a:pt x="15075" y="5242"/>
                    <a:pt x="16144" y="5747"/>
                  </a:cubicBezTo>
                  <a:cubicBezTo>
                    <a:pt x="20003" y="7575"/>
                    <a:pt x="21651" y="12185"/>
                    <a:pt x="19822" y="16044"/>
                  </a:cubicBezTo>
                  <a:cubicBezTo>
                    <a:pt x="18501" y="18836"/>
                    <a:pt x="15726" y="20470"/>
                    <a:pt x="12830" y="20470"/>
                  </a:cubicBezTo>
                  <a:cubicBezTo>
                    <a:pt x="11721" y="20470"/>
                    <a:pt x="10595" y="20230"/>
                    <a:pt x="9525" y="19724"/>
                  </a:cubicBezTo>
                  <a:cubicBezTo>
                    <a:pt x="5666" y="17897"/>
                    <a:pt x="4018" y="13286"/>
                    <a:pt x="5845" y="9427"/>
                  </a:cubicBezTo>
                  <a:cubicBezTo>
                    <a:pt x="7167" y="6636"/>
                    <a:pt x="9944" y="5002"/>
                    <a:pt x="12840" y="5002"/>
                  </a:cubicBezTo>
                  <a:close/>
                  <a:moveTo>
                    <a:pt x="10471" y="1"/>
                  </a:moveTo>
                  <a:cubicBezTo>
                    <a:pt x="10383" y="1"/>
                    <a:pt x="10294" y="16"/>
                    <a:pt x="10208" y="47"/>
                  </a:cubicBezTo>
                  <a:lnTo>
                    <a:pt x="6824" y="1256"/>
                  </a:lnTo>
                  <a:cubicBezTo>
                    <a:pt x="6417" y="1401"/>
                    <a:pt x="6206" y="1848"/>
                    <a:pt x="6351" y="2255"/>
                  </a:cubicBezTo>
                  <a:lnTo>
                    <a:pt x="7054" y="4223"/>
                  </a:lnTo>
                  <a:cubicBezTo>
                    <a:pt x="6262" y="4761"/>
                    <a:pt x="5548" y="5408"/>
                    <a:pt x="4934" y="6145"/>
                  </a:cubicBezTo>
                  <a:lnTo>
                    <a:pt x="3045" y="5249"/>
                  </a:lnTo>
                  <a:cubicBezTo>
                    <a:pt x="2937" y="5199"/>
                    <a:pt x="2823" y="5174"/>
                    <a:pt x="2711" y="5174"/>
                  </a:cubicBezTo>
                  <a:cubicBezTo>
                    <a:pt x="2418" y="5174"/>
                    <a:pt x="2137" y="5340"/>
                    <a:pt x="2004" y="5623"/>
                  </a:cubicBezTo>
                  <a:lnTo>
                    <a:pt x="467" y="8868"/>
                  </a:lnTo>
                  <a:cubicBezTo>
                    <a:pt x="282" y="9259"/>
                    <a:pt x="449" y="9725"/>
                    <a:pt x="840" y="9909"/>
                  </a:cubicBezTo>
                  <a:lnTo>
                    <a:pt x="2729" y="10804"/>
                  </a:lnTo>
                  <a:cubicBezTo>
                    <a:pt x="2548" y="11744"/>
                    <a:pt x="2500" y="12707"/>
                    <a:pt x="2587" y="13661"/>
                  </a:cubicBezTo>
                  <a:lnTo>
                    <a:pt x="619" y="14364"/>
                  </a:lnTo>
                  <a:cubicBezTo>
                    <a:pt x="212" y="14510"/>
                    <a:pt x="1" y="14957"/>
                    <a:pt x="145" y="15363"/>
                  </a:cubicBezTo>
                  <a:lnTo>
                    <a:pt x="1354" y="18747"/>
                  </a:lnTo>
                  <a:cubicBezTo>
                    <a:pt x="1467" y="19067"/>
                    <a:pt x="1768" y="19265"/>
                    <a:pt x="2089" y="19265"/>
                  </a:cubicBezTo>
                  <a:cubicBezTo>
                    <a:pt x="2177" y="19265"/>
                    <a:pt x="2266" y="19251"/>
                    <a:pt x="2353" y="19219"/>
                  </a:cubicBezTo>
                  <a:lnTo>
                    <a:pt x="4321" y="18516"/>
                  </a:lnTo>
                  <a:cubicBezTo>
                    <a:pt x="4859" y="19309"/>
                    <a:pt x="5506" y="20023"/>
                    <a:pt x="6243" y="20637"/>
                  </a:cubicBezTo>
                  <a:lnTo>
                    <a:pt x="5347" y="22526"/>
                  </a:lnTo>
                  <a:cubicBezTo>
                    <a:pt x="5163" y="22917"/>
                    <a:pt x="5330" y="23383"/>
                    <a:pt x="5721" y="23567"/>
                  </a:cubicBezTo>
                  <a:lnTo>
                    <a:pt x="8966" y="25104"/>
                  </a:lnTo>
                  <a:cubicBezTo>
                    <a:pt x="9074" y="25155"/>
                    <a:pt x="9188" y="25179"/>
                    <a:pt x="9300" y="25179"/>
                  </a:cubicBezTo>
                  <a:cubicBezTo>
                    <a:pt x="9593" y="25179"/>
                    <a:pt x="9874" y="25014"/>
                    <a:pt x="10007" y="24731"/>
                  </a:cubicBezTo>
                  <a:lnTo>
                    <a:pt x="10902" y="22842"/>
                  </a:lnTo>
                  <a:cubicBezTo>
                    <a:pt x="11540" y="22964"/>
                    <a:pt x="12187" y="23026"/>
                    <a:pt x="12836" y="23026"/>
                  </a:cubicBezTo>
                  <a:cubicBezTo>
                    <a:pt x="13144" y="23026"/>
                    <a:pt x="13452" y="23012"/>
                    <a:pt x="13759" y="22984"/>
                  </a:cubicBezTo>
                  <a:lnTo>
                    <a:pt x="14462" y="24952"/>
                  </a:lnTo>
                  <a:cubicBezTo>
                    <a:pt x="14577" y="25272"/>
                    <a:pt x="14878" y="25471"/>
                    <a:pt x="15200" y="25471"/>
                  </a:cubicBezTo>
                  <a:cubicBezTo>
                    <a:pt x="15286" y="25471"/>
                    <a:pt x="15375" y="25457"/>
                    <a:pt x="15461" y="25426"/>
                  </a:cubicBezTo>
                  <a:lnTo>
                    <a:pt x="18845" y="24217"/>
                  </a:lnTo>
                  <a:cubicBezTo>
                    <a:pt x="19252" y="24071"/>
                    <a:pt x="19463" y="23625"/>
                    <a:pt x="19318" y="23218"/>
                  </a:cubicBezTo>
                  <a:lnTo>
                    <a:pt x="18615" y="21250"/>
                  </a:lnTo>
                  <a:cubicBezTo>
                    <a:pt x="19407" y="20712"/>
                    <a:pt x="20121" y="20065"/>
                    <a:pt x="20735" y="19328"/>
                  </a:cubicBezTo>
                  <a:lnTo>
                    <a:pt x="22624" y="20223"/>
                  </a:lnTo>
                  <a:cubicBezTo>
                    <a:pt x="22732" y="20274"/>
                    <a:pt x="22846" y="20298"/>
                    <a:pt x="22958" y="20298"/>
                  </a:cubicBezTo>
                  <a:cubicBezTo>
                    <a:pt x="23251" y="20298"/>
                    <a:pt x="23532" y="20133"/>
                    <a:pt x="23665" y="19850"/>
                  </a:cubicBezTo>
                  <a:lnTo>
                    <a:pt x="25202" y="16604"/>
                  </a:lnTo>
                  <a:cubicBezTo>
                    <a:pt x="25387" y="16214"/>
                    <a:pt x="25220" y="15748"/>
                    <a:pt x="24829" y="15564"/>
                  </a:cubicBezTo>
                  <a:lnTo>
                    <a:pt x="22940" y="14668"/>
                  </a:lnTo>
                  <a:cubicBezTo>
                    <a:pt x="23121" y="13727"/>
                    <a:pt x="23169" y="12766"/>
                    <a:pt x="23082" y="11812"/>
                  </a:cubicBezTo>
                  <a:lnTo>
                    <a:pt x="25050" y="11107"/>
                  </a:lnTo>
                  <a:cubicBezTo>
                    <a:pt x="25457" y="10963"/>
                    <a:pt x="25668" y="10515"/>
                    <a:pt x="25523" y="10108"/>
                  </a:cubicBezTo>
                  <a:lnTo>
                    <a:pt x="24315" y="6726"/>
                  </a:lnTo>
                  <a:cubicBezTo>
                    <a:pt x="24201" y="6406"/>
                    <a:pt x="23898" y="6207"/>
                    <a:pt x="23577" y="6207"/>
                  </a:cubicBezTo>
                  <a:cubicBezTo>
                    <a:pt x="23491" y="6207"/>
                    <a:pt x="23402" y="6221"/>
                    <a:pt x="23316" y="6252"/>
                  </a:cubicBezTo>
                  <a:lnTo>
                    <a:pt x="21348" y="6956"/>
                  </a:lnTo>
                  <a:cubicBezTo>
                    <a:pt x="20810" y="6162"/>
                    <a:pt x="20163" y="5450"/>
                    <a:pt x="19426" y="4836"/>
                  </a:cubicBezTo>
                  <a:lnTo>
                    <a:pt x="20320" y="2947"/>
                  </a:lnTo>
                  <a:cubicBezTo>
                    <a:pt x="20506" y="2556"/>
                    <a:pt x="20339" y="2090"/>
                    <a:pt x="19948" y="1906"/>
                  </a:cubicBezTo>
                  <a:lnTo>
                    <a:pt x="16703" y="369"/>
                  </a:lnTo>
                  <a:cubicBezTo>
                    <a:pt x="16595" y="318"/>
                    <a:pt x="16481" y="294"/>
                    <a:pt x="16369" y="294"/>
                  </a:cubicBezTo>
                  <a:cubicBezTo>
                    <a:pt x="16076" y="294"/>
                    <a:pt x="15795" y="459"/>
                    <a:pt x="15662" y="742"/>
                  </a:cubicBezTo>
                  <a:lnTo>
                    <a:pt x="14767" y="2631"/>
                  </a:lnTo>
                  <a:cubicBezTo>
                    <a:pt x="14130" y="2508"/>
                    <a:pt x="13485" y="2447"/>
                    <a:pt x="12839" y="2447"/>
                  </a:cubicBezTo>
                  <a:cubicBezTo>
                    <a:pt x="12529" y="2447"/>
                    <a:pt x="12219" y="2461"/>
                    <a:pt x="11910" y="2489"/>
                  </a:cubicBezTo>
                  <a:lnTo>
                    <a:pt x="11207" y="521"/>
                  </a:lnTo>
                  <a:cubicBezTo>
                    <a:pt x="11092" y="200"/>
                    <a:pt x="10791" y="1"/>
                    <a:pt x="104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6" name="Google Shape;9166;p56"/>
            <p:cNvSpPr/>
            <p:nvPr/>
          </p:nvSpPr>
          <p:spPr>
            <a:xfrm>
              <a:off x="4277366" y="1220917"/>
              <a:ext cx="292242" cy="292217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167" name="Google Shape;9167;p56"/>
            <p:cNvGrpSpPr/>
            <p:nvPr/>
          </p:nvGrpSpPr>
          <p:grpSpPr>
            <a:xfrm>
              <a:off x="4644280" y="1290523"/>
              <a:ext cx="143716" cy="29463"/>
              <a:chOff x="4644280" y="1290523"/>
              <a:chExt cx="143716" cy="29463"/>
            </a:xfrm>
          </p:grpSpPr>
          <p:sp>
            <p:nvSpPr>
              <p:cNvPr id="9168" name="Google Shape;9168;p56"/>
              <p:cNvSpPr/>
              <p:nvPr/>
            </p:nvSpPr>
            <p:spPr>
              <a:xfrm>
                <a:off x="4736292" y="1294223"/>
                <a:ext cx="51704" cy="25762"/>
              </a:xfrm>
              <a:custGeom>
                <a:avLst/>
                <a:gdLst/>
                <a:ahLst/>
                <a:cxnLst/>
                <a:rect l="l" t="t" r="r" b="b"/>
                <a:pathLst>
                  <a:path w="4052" h="2019" extrusionOk="0">
                    <a:moveTo>
                      <a:pt x="273" y="0"/>
                    </a:moveTo>
                    <a:cubicBezTo>
                      <a:pt x="158" y="0"/>
                      <a:pt x="53" y="81"/>
                      <a:pt x="29" y="199"/>
                    </a:cubicBezTo>
                    <a:cubicBezTo>
                      <a:pt x="0" y="339"/>
                      <a:pt x="87" y="475"/>
                      <a:pt x="225" y="507"/>
                    </a:cubicBezTo>
                    <a:cubicBezTo>
                      <a:pt x="1077" y="720"/>
                      <a:pt x="1895" y="1048"/>
                      <a:pt x="2655" y="1487"/>
                    </a:cubicBezTo>
                    <a:lnTo>
                      <a:pt x="2505" y="1740"/>
                    </a:lnTo>
                    <a:cubicBezTo>
                      <a:pt x="2459" y="1818"/>
                      <a:pt x="2511" y="1919"/>
                      <a:pt x="2603" y="1925"/>
                    </a:cubicBezTo>
                    <a:lnTo>
                      <a:pt x="3885" y="2018"/>
                    </a:lnTo>
                    <a:cubicBezTo>
                      <a:pt x="3889" y="2019"/>
                      <a:pt x="3892" y="2019"/>
                      <a:pt x="3896" y="2019"/>
                    </a:cubicBezTo>
                    <a:cubicBezTo>
                      <a:pt x="3991" y="2019"/>
                      <a:pt x="4052" y="1911"/>
                      <a:pt x="3999" y="1829"/>
                    </a:cubicBezTo>
                    <a:lnTo>
                      <a:pt x="3302" y="747"/>
                    </a:lnTo>
                    <a:cubicBezTo>
                      <a:pt x="3278" y="709"/>
                      <a:pt x="3238" y="690"/>
                      <a:pt x="3198" y="690"/>
                    </a:cubicBezTo>
                    <a:cubicBezTo>
                      <a:pt x="3157" y="690"/>
                      <a:pt x="3116" y="710"/>
                      <a:pt x="3093" y="750"/>
                    </a:cubicBezTo>
                    <a:lnTo>
                      <a:pt x="2917" y="1048"/>
                    </a:lnTo>
                    <a:cubicBezTo>
                      <a:pt x="2108" y="582"/>
                      <a:pt x="1237" y="231"/>
                      <a:pt x="330" y="7"/>
                    </a:cubicBezTo>
                    <a:cubicBezTo>
                      <a:pt x="311" y="3"/>
                      <a:pt x="292" y="0"/>
                      <a:pt x="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69" name="Google Shape;9169;p56"/>
              <p:cNvSpPr/>
              <p:nvPr/>
            </p:nvSpPr>
            <p:spPr>
              <a:xfrm>
                <a:off x="4700066" y="1290523"/>
                <a:ext cx="32206" cy="7988"/>
              </a:xfrm>
              <a:custGeom>
                <a:avLst/>
                <a:gdLst/>
                <a:ahLst/>
                <a:cxnLst/>
                <a:rect l="l" t="t" r="r" b="b"/>
                <a:pathLst>
                  <a:path w="2524" h="626" extrusionOk="0">
                    <a:moveTo>
                      <a:pt x="787" y="1"/>
                    </a:moveTo>
                    <a:cubicBezTo>
                      <a:pt x="606" y="1"/>
                      <a:pt x="423" y="7"/>
                      <a:pt x="242" y="18"/>
                    </a:cubicBezTo>
                    <a:cubicBezTo>
                      <a:pt x="104" y="31"/>
                      <a:pt x="0" y="151"/>
                      <a:pt x="10" y="291"/>
                    </a:cubicBezTo>
                    <a:cubicBezTo>
                      <a:pt x="21" y="425"/>
                      <a:pt x="131" y="526"/>
                      <a:pt x="264" y="526"/>
                    </a:cubicBezTo>
                    <a:cubicBezTo>
                      <a:pt x="269" y="526"/>
                      <a:pt x="274" y="526"/>
                      <a:pt x="279" y="526"/>
                    </a:cubicBezTo>
                    <a:cubicBezTo>
                      <a:pt x="447" y="516"/>
                      <a:pt x="617" y="510"/>
                      <a:pt x="787" y="510"/>
                    </a:cubicBezTo>
                    <a:cubicBezTo>
                      <a:pt x="1261" y="512"/>
                      <a:pt x="1735" y="548"/>
                      <a:pt x="2204" y="622"/>
                    </a:cubicBezTo>
                    <a:cubicBezTo>
                      <a:pt x="2218" y="624"/>
                      <a:pt x="2232" y="626"/>
                      <a:pt x="2246" y="626"/>
                    </a:cubicBezTo>
                    <a:cubicBezTo>
                      <a:pt x="2364" y="626"/>
                      <a:pt x="2469" y="542"/>
                      <a:pt x="2495" y="422"/>
                    </a:cubicBezTo>
                    <a:cubicBezTo>
                      <a:pt x="2524" y="281"/>
                      <a:pt x="2430" y="145"/>
                      <a:pt x="2289" y="121"/>
                    </a:cubicBezTo>
                    <a:cubicBezTo>
                      <a:pt x="1792" y="41"/>
                      <a:pt x="1289" y="1"/>
                      <a:pt x="78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0" name="Google Shape;9170;p56"/>
              <p:cNvSpPr/>
              <p:nvPr/>
            </p:nvSpPr>
            <p:spPr>
              <a:xfrm>
                <a:off x="4644280" y="1300641"/>
                <a:ext cx="20225" cy="13283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1041" extrusionOk="0">
                    <a:moveTo>
                      <a:pt x="1331" y="0"/>
                    </a:moveTo>
                    <a:cubicBezTo>
                      <a:pt x="1304" y="0"/>
                      <a:pt x="1277" y="6"/>
                      <a:pt x="1251" y="16"/>
                    </a:cubicBezTo>
                    <a:cubicBezTo>
                      <a:pt x="880" y="175"/>
                      <a:pt x="518" y="356"/>
                      <a:pt x="170" y="558"/>
                    </a:cubicBezTo>
                    <a:cubicBezTo>
                      <a:pt x="60" y="622"/>
                      <a:pt x="1" y="758"/>
                      <a:pt x="47" y="876"/>
                    </a:cubicBezTo>
                    <a:cubicBezTo>
                      <a:pt x="87" y="979"/>
                      <a:pt x="185" y="1040"/>
                      <a:pt x="287" y="1040"/>
                    </a:cubicBezTo>
                    <a:cubicBezTo>
                      <a:pt x="330" y="1040"/>
                      <a:pt x="373" y="1029"/>
                      <a:pt x="414" y="1006"/>
                    </a:cubicBezTo>
                    <a:cubicBezTo>
                      <a:pt x="729" y="822"/>
                      <a:pt x="1056" y="657"/>
                      <a:pt x="1391" y="513"/>
                    </a:cubicBezTo>
                    <a:cubicBezTo>
                      <a:pt x="1520" y="457"/>
                      <a:pt x="1584" y="311"/>
                      <a:pt x="1540" y="178"/>
                    </a:cubicBezTo>
                    <a:lnTo>
                      <a:pt x="1527" y="141"/>
                    </a:lnTo>
                    <a:cubicBezTo>
                      <a:pt x="1497" y="55"/>
                      <a:pt x="1417" y="0"/>
                      <a:pt x="1331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1" name="Google Shape;9171;p56"/>
              <p:cNvSpPr/>
              <p:nvPr/>
            </p:nvSpPr>
            <p:spPr>
              <a:xfrm>
                <a:off x="4667822" y="1291888"/>
                <a:ext cx="27779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7" h="896" extrusionOk="0">
                    <a:moveTo>
                      <a:pt x="1906" y="0"/>
                    </a:moveTo>
                    <a:cubicBezTo>
                      <a:pt x="1894" y="0"/>
                      <a:pt x="1883" y="1"/>
                      <a:pt x="1871" y="3"/>
                    </a:cubicBezTo>
                    <a:lnTo>
                      <a:pt x="1871" y="4"/>
                    </a:lnTo>
                    <a:cubicBezTo>
                      <a:pt x="1306" y="88"/>
                      <a:pt x="748" y="220"/>
                      <a:pt x="205" y="400"/>
                    </a:cubicBezTo>
                    <a:cubicBezTo>
                      <a:pt x="71" y="446"/>
                      <a:pt x="0" y="592"/>
                      <a:pt x="47" y="725"/>
                    </a:cubicBezTo>
                    <a:cubicBezTo>
                      <a:pt x="84" y="830"/>
                      <a:pt x="182" y="896"/>
                      <a:pt x="288" y="896"/>
                    </a:cubicBezTo>
                    <a:cubicBezTo>
                      <a:pt x="315" y="896"/>
                      <a:pt x="343" y="891"/>
                      <a:pt x="370" y="882"/>
                    </a:cubicBezTo>
                    <a:cubicBezTo>
                      <a:pt x="881" y="714"/>
                      <a:pt x="1406" y="587"/>
                      <a:pt x="1940" y="509"/>
                    </a:cubicBezTo>
                    <a:cubicBezTo>
                      <a:pt x="2079" y="490"/>
                      <a:pt x="2177" y="360"/>
                      <a:pt x="2157" y="220"/>
                    </a:cubicBezTo>
                    <a:cubicBezTo>
                      <a:pt x="2140" y="93"/>
                      <a:pt x="2031" y="0"/>
                      <a:pt x="190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72" name="Google Shape;9172;p56"/>
            <p:cNvGrpSpPr/>
            <p:nvPr/>
          </p:nvGrpSpPr>
          <p:grpSpPr>
            <a:xfrm>
              <a:off x="4356567" y="1191441"/>
              <a:ext cx="143690" cy="29488"/>
              <a:chOff x="4356567" y="1191441"/>
              <a:chExt cx="143690" cy="29488"/>
            </a:xfrm>
          </p:grpSpPr>
          <p:sp>
            <p:nvSpPr>
              <p:cNvPr id="9173" name="Google Shape;9173;p56"/>
              <p:cNvSpPr/>
              <p:nvPr/>
            </p:nvSpPr>
            <p:spPr>
              <a:xfrm>
                <a:off x="4448554" y="1195154"/>
                <a:ext cx="51704" cy="25775"/>
              </a:xfrm>
              <a:custGeom>
                <a:avLst/>
                <a:gdLst/>
                <a:ahLst/>
                <a:cxnLst/>
                <a:rect l="l" t="t" r="r" b="b"/>
                <a:pathLst>
                  <a:path w="4052" h="2020" extrusionOk="0">
                    <a:moveTo>
                      <a:pt x="272" y="1"/>
                    </a:moveTo>
                    <a:cubicBezTo>
                      <a:pt x="157" y="1"/>
                      <a:pt x="54" y="82"/>
                      <a:pt x="29" y="200"/>
                    </a:cubicBezTo>
                    <a:cubicBezTo>
                      <a:pt x="0" y="338"/>
                      <a:pt x="87" y="474"/>
                      <a:pt x="225" y="507"/>
                    </a:cubicBezTo>
                    <a:cubicBezTo>
                      <a:pt x="1077" y="719"/>
                      <a:pt x="1895" y="1049"/>
                      <a:pt x="2657" y="1486"/>
                    </a:cubicBezTo>
                    <a:lnTo>
                      <a:pt x="2505" y="1740"/>
                    </a:lnTo>
                    <a:cubicBezTo>
                      <a:pt x="2459" y="1819"/>
                      <a:pt x="2511" y="1918"/>
                      <a:pt x="2603" y="1926"/>
                    </a:cubicBezTo>
                    <a:lnTo>
                      <a:pt x="3887" y="2019"/>
                    </a:lnTo>
                    <a:cubicBezTo>
                      <a:pt x="3890" y="2019"/>
                      <a:pt x="3893" y="2019"/>
                      <a:pt x="3895" y="2019"/>
                    </a:cubicBezTo>
                    <a:cubicBezTo>
                      <a:pt x="3991" y="2019"/>
                      <a:pt x="4052" y="1913"/>
                      <a:pt x="3999" y="1830"/>
                    </a:cubicBezTo>
                    <a:lnTo>
                      <a:pt x="3302" y="746"/>
                    </a:lnTo>
                    <a:cubicBezTo>
                      <a:pt x="3278" y="709"/>
                      <a:pt x="3239" y="690"/>
                      <a:pt x="3200" y="690"/>
                    </a:cubicBezTo>
                    <a:cubicBezTo>
                      <a:pt x="3159" y="690"/>
                      <a:pt x="3118" y="711"/>
                      <a:pt x="3094" y="751"/>
                    </a:cubicBezTo>
                    <a:lnTo>
                      <a:pt x="2917" y="1047"/>
                    </a:lnTo>
                    <a:cubicBezTo>
                      <a:pt x="2108" y="581"/>
                      <a:pt x="1237" y="230"/>
                      <a:pt x="330" y="8"/>
                    </a:cubicBezTo>
                    <a:cubicBezTo>
                      <a:pt x="311" y="3"/>
                      <a:pt x="291" y="1"/>
                      <a:pt x="272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4" name="Google Shape;9174;p56"/>
              <p:cNvSpPr/>
              <p:nvPr/>
            </p:nvSpPr>
            <p:spPr>
              <a:xfrm>
                <a:off x="4412341" y="1191441"/>
                <a:ext cx="32206" cy="8013"/>
              </a:xfrm>
              <a:custGeom>
                <a:avLst/>
                <a:gdLst/>
                <a:ahLst/>
                <a:cxnLst/>
                <a:rect l="l" t="t" r="r" b="b"/>
                <a:pathLst>
                  <a:path w="2524" h="628" extrusionOk="0">
                    <a:moveTo>
                      <a:pt x="787" y="1"/>
                    </a:moveTo>
                    <a:cubicBezTo>
                      <a:pt x="605" y="1"/>
                      <a:pt x="424" y="7"/>
                      <a:pt x="241" y="19"/>
                    </a:cubicBezTo>
                    <a:cubicBezTo>
                      <a:pt x="103" y="31"/>
                      <a:pt x="1" y="153"/>
                      <a:pt x="11" y="291"/>
                    </a:cubicBezTo>
                    <a:cubicBezTo>
                      <a:pt x="20" y="425"/>
                      <a:pt x="132" y="528"/>
                      <a:pt x="263" y="528"/>
                    </a:cubicBezTo>
                    <a:cubicBezTo>
                      <a:pt x="268" y="528"/>
                      <a:pt x="273" y="528"/>
                      <a:pt x="278" y="528"/>
                    </a:cubicBezTo>
                    <a:cubicBezTo>
                      <a:pt x="448" y="518"/>
                      <a:pt x="617" y="512"/>
                      <a:pt x="787" y="512"/>
                    </a:cubicBezTo>
                    <a:cubicBezTo>
                      <a:pt x="1261" y="512"/>
                      <a:pt x="1734" y="550"/>
                      <a:pt x="2203" y="624"/>
                    </a:cubicBezTo>
                    <a:cubicBezTo>
                      <a:pt x="2217" y="626"/>
                      <a:pt x="2231" y="627"/>
                      <a:pt x="2245" y="627"/>
                    </a:cubicBezTo>
                    <a:cubicBezTo>
                      <a:pt x="2363" y="627"/>
                      <a:pt x="2470" y="544"/>
                      <a:pt x="2494" y="424"/>
                    </a:cubicBezTo>
                    <a:cubicBezTo>
                      <a:pt x="2523" y="283"/>
                      <a:pt x="2430" y="145"/>
                      <a:pt x="2288" y="121"/>
                    </a:cubicBezTo>
                    <a:cubicBezTo>
                      <a:pt x="1791" y="43"/>
                      <a:pt x="1288" y="3"/>
                      <a:pt x="78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5" name="Google Shape;9175;p56"/>
              <p:cNvSpPr/>
              <p:nvPr/>
            </p:nvSpPr>
            <p:spPr>
              <a:xfrm>
                <a:off x="4356567" y="1201573"/>
                <a:ext cx="20212" cy="13270"/>
              </a:xfrm>
              <a:custGeom>
                <a:avLst/>
                <a:gdLst/>
                <a:ahLst/>
                <a:cxnLst/>
                <a:rect l="l" t="t" r="r" b="b"/>
                <a:pathLst>
                  <a:path w="1584" h="1040" extrusionOk="0">
                    <a:moveTo>
                      <a:pt x="1330" y="1"/>
                    </a:moveTo>
                    <a:cubicBezTo>
                      <a:pt x="1303" y="1"/>
                      <a:pt x="1276" y="6"/>
                      <a:pt x="1249" y="17"/>
                    </a:cubicBezTo>
                    <a:cubicBezTo>
                      <a:pt x="878" y="174"/>
                      <a:pt x="518" y="355"/>
                      <a:pt x="168" y="557"/>
                    </a:cubicBezTo>
                    <a:cubicBezTo>
                      <a:pt x="58" y="621"/>
                      <a:pt x="0" y="757"/>
                      <a:pt x="47" y="876"/>
                    </a:cubicBezTo>
                    <a:cubicBezTo>
                      <a:pt x="86" y="979"/>
                      <a:pt x="183" y="1040"/>
                      <a:pt x="284" y="1040"/>
                    </a:cubicBezTo>
                    <a:cubicBezTo>
                      <a:pt x="327" y="1040"/>
                      <a:pt x="371" y="1029"/>
                      <a:pt x="412" y="1005"/>
                    </a:cubicBezTo>
                    <a:cubicBezTo>
                      <a:pt x="727" y="823"/>
                      <a:pt x="1054" y="658"/>
                      <a:pt x="1389" y="512"/>
                    </a:cubicBezTo>
                    <a:cubicBezTo>
                      <a:pt x="1518" y="458"/>
                      <a:pt x="1584" y="312"/>
                      <a:pt x="1538" y="177"/>
                    </a:cubicBezTo>
                    <a:lnTo>
                      <a:pt x="1525" y="141"/>
                    </a:lnTo>
                    <a:cubicBezTo>
                      <a:pt x="1496" y="54"/>
                      <a:pt x="1415" y="1"/>
                      <a:pt x="133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6" name="Google Shape;9176;p56"/>
              <p:cNvSpPr/>
              <p:nvPr/>
            </p:nvSpPr>
            <p:spPr>
              <a:xfrm>
                <a:off x="4380084" y="1192832"/>
                <a:ext cx="27779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7" h="896" extrusionOk="0">
                    <a:moveTo>
                      <a:pt x="1906" y="0"/>
                    </a:moveTo>
                    <a:cubicBezTo>
                      <a:pt x="1894" y="0"/>
                      <a:pt x="1883" y="1"/>
                      <a:pt x="1871" y="2"/>
                    </a:cubicBezTo>
                    <a:cubicBezTo>
                      <a:pt x="1306" y="87"/>
                      <a:pt x="748" y="220"/>
                      <a:pt x="205" y="400"/>
                    </a:cubicBezTo>
                    <a:cubicBezTo>
                      <a:pt x="71" y="444"/>
                      <a:pt x="0" y="590"/>
                      <a:pt x="47" y="725"/>
                    </a:cubicBezTo>
                    <a:cubicBezTo>
                      <a:pt x="84" y="829"/>
                      <a:pt x="183" y="895"/>
                      <a:pt x="288" y="895"/>
                    </a:cubicBezTo>
                    <a:cubicBezTo>
                      <a:pt x="316" y="895"/>
                      <a:pt x="343" y="891"/>
                      <a:pt x="370" y="882"/>
                    </a:cubicBezTo>
                    <a:cubicBezTo>
                      <a:pt x="883" y="712"/>
                      <a:pt x="1408" y="587"/>
                      <a:pt x="1941" y="507"/>
                    </a:cubicBezTo>
                    <a:cubicBezTo>
                      <a:pt x="2081" y="488"/>
                      <a:pt x="2177" y="360"/>
                      <a:pt x="2157" y="220"/>
                    </a:cubicBezTo>
                    <a:cubicBezTo>
                      <a:pt x="2140" y="93"/>
                      <a:pt x="2031" y="0"/>
                      <a:pt x="190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77" name="Google Shape;9177;p56"/>
            <p:cNvGrpSpPr/>
            <p:nvPr/>
          </p:nvGrpSpPr>
          <p:grpSpPr>
            <a:xfrm>
              <a:off x="4339009" y="1863727"/>
              <a:ext cx="143703" cy="29476"/>
              <a:chOff x="4339009" y="1863727"/>
              <a:chExt cx="143703" cy="29476"/>
            </a:xfrm>
          </p:grpSpPr>
          <p:sp>
            <p:nvSpPr>
              <p:cNvPr id="9178" name="Google Shape;9178;p56"/>
              <p:cNvSpPr/>
              <p:nvPr/>
            </p:nvSpPr>
            <p:spPr>
              <a:xfrm>
                <a:off x="4339009" y="1863727"/>
                <a:ext cx="51691" cy="25762"/>
              </a:xfrm>
              <a:custGeom>
                <a:avLst/>
                <a:gdLst/>
                <a:ahLst/>
                <a:cxnLst/>
                <a:rect l="l" t="t" r="r" b="b"/>
                <a:pathLst>
                  <a:path w="4051" h="2019" extrusionOk="0">
                    <a:moveTo>
                      <a:pt x="157" y="1"/>
                    </a:moveTo>
                    <a:cubicBezTo>
                      <a:pt x="61" y="1"/>
                      <a:pt x="1" y="107"/>
                      <a:pt x="54" y="190"/>
                    </a:cubicBezTo>
                    <a:lnTo>
                      <a:pt x="750" y="1274"/>
                    </a:lnTo>
                    <a:cubicBezTo>
                      <a:pt x="774" y="1311"/>
                      <a:pt x="813" y="1330"/>
                      <a:pt x="852" y="1330"/>
                    </a:cubicBezTo>
                    <a:cubicBezTo>
                      <a:pt x="893" y="1330"/>
                      <a:pt x="935" y="1309"/>
                      <a:pt x="958" y="1269"/>
                    </a:cubicBezTo>
                    <a:lnTo>
                      <a:pt x="1136" y="973"/>
                    </a:lnTo>
                    <a:cubicBezTo>
                      <a:pt x="1945" y="1439"/>
                      <a:pt x="2816" y="1788"/>
                      <a:pt x="3722" y="2012"/>
                    </a:cubicBezTo>
                    <a:cubicBezTo>
                      <a:pt x="3741" y="2017"/>
                      <a:pt x="3761" y="2019"/>
                      <a:pt x="3779" y="2019"/>
                    </a:cubicBezTo>
                    <a:cubicBezTo>
                      <a:pt x="3895" y="2019"/>
                      <a:pt x="3999" y="1938"/>
                      <a:pt x="4023" y="1820"/>
                    </a:cubicBezTo>
                    <a:cubicBezTo>
                      <a:pt x="4051" y="1682"/>
                      <a:pt x="3964" y="1546"/>
                      <a:pt x="3828" y="1512"/>
                    </a:cubicBezTo>
                    <a:cubicBezTo>
                      <a:pt x="2976" y="1301"/>
                      <a:pt x="2158" y="971"/>
                      <a:pt x="1396" y="534"/>
                    </a:cubicBezTo>
                    <a:lnTo>
                      <a:pt x="1548" y="279"/>
                    </a:lnTo>
                    <a:cubicBezTo>
                      <a:pt x="1594" y="201"/>
                      <a:pt x="1541" y="100"/>
                      <a:pt x="1450" y="94"/>
                    </a:cubicBezTo>
                    <a:lnTo>
                      <a:pt x="166" y="1"/>
                    </a:lnTo>
                    <a:cubicBezTo>
                      <a:pt x="163" y="1"/>
                      <a:pt x="160" y="1"/>
                      <a:pt x="15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9" name="Google Shape;9179;p56"/>
              <p:cNvSpPr/>
              <p:nvPr/>
            </p:nvSpPr>
            <p:spPr>
              <a:xfrm>
                <a:off x="4394732" y="1885202"/>
                <a:ext cx="32193" cy="8001"/>
              </a:xfrm>
              <a:custGeom>
                <a:avLst/>
                <a:gdLst/>
                <a:ahLst/>
                <a:cxnLst/>
                <a:rect l="l" t="t" r="r" b="b"/>
                <a:pathLst>
                  <a:path w="2523" h="627" extrusionOk="0">
                    <a:moveTo>
                      <a:pt x="279" y="1"/>
                    </a:moveTo>
                    <a:cubicBezTo>
                      <a:pt x="160" y="1"/>
                      <a:pt x="54" y="84"/>
                      <a:pt x="29" y="204"/>
                    </a:cubicBezTo>
                    <a:cubicBezTo>
                      <a:pt x="1" y="345"/>
                      <a:pt x="93" y="483"/>
                      <a:pt x="236" y="507"/>
                    </a:cubicBezTo>
                    <a:cubicBezTo>
                      <a:pt x="732" y="585"/>
                      <a:pt x="1235" y="625"/>
                      <a:pt x="1738" y="627"/>
                    </a:cubicBezTo>
                    <a:cubicBezTo>
                      <a:pt x="1919" y="627"/>
                      <a:pt x="2102" y="621"/>
                      <a:pt x="2282" y="609"/>
                    </a:cubicBezTo>
                    <a:cubicBezTo>
                      <a:pt x="2420" y="596"/>
                      <a:pt x="2523" y="475"/>
                      <a:pt x="2513" y="337"/>
                    </a:cubicBezTo>
                    <a:cubicBezTo>
                      <a:pt x="2504" y="203"/>
                      <a:pt x="2392" y="100"/>
                      <a:pt x="2260" y="100"/>
                    </a:cubicBezTo>
                    <a:cubicBezTo>
                      <a:pt x="2255" y="100"/>
                      <a:pt x="2251" y="100"/>
                      <a:pt x="2246" y="100"/>
                    </a:cubicBezTo>
                    <a:cubicBezTo>
                      <a:pt x="2076" y="110"/>
                      <a:pt x="1908" y="116"/>
                      <a:pt x="1738" y="116"/>
                    </a:cubicBezTo>
                    <a:cubicBezTo>
                      <a:pt x="1262" y="116"/>
                      <a:pt x="790" y="78"/>
                      <a:pt x="321" y="4"/>
                    </a:cubicBezTo>
                    <a:cubicBezTo>
                      <a:pt x="307" y="2"/>
                      <a:pt x="293" y="1"/>
                      <a:pt x="279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0" name="Google Shape;9180;p56"/>
              <p:cNvSpPr/>
              <p:nvPr/>
            </p:nvSpPr>
            <p:spPr>
              <a:xfrm>
                <a:off x="4462488" y="1869814"/>
                <a:ext cx="20225" cy="13258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1039" extrusionOk="0">
                    <a:moveTo>
                      <a:pt x="1300" y="0"/>
                    </a:moveTo>
                    <a:cubicBezTo>
                      <a:pt x="1257" y="0"/>
                      <a:pt x="1213" y="11"/>
                      <a:pt x="1173" y="35"/>
                    </a:cubicBezTo>
                    <a:cubicBezTo>
                      <a:pt x="857" y="217"/>
                      <a:pt x="531" y="382"/>
                      <a:pt x="196" y="528"/>
                    </a:cubicBezTo>
                    <a:cubicBezTo>
                      <a:pt x="66" y="582"/>
                      <a:pt x="1" y="728"/>
                      <a:pt x="47" y="863"/>
                    </a:cubicBezTo>
                    <a:lnTo>
                      <a:pt x="60" y="899"/>
                    </a:lnTo>
                    <a:cubicBezTo>
                      <a:pt x="89" y="986"/>
                      <a:pt x="169" y="1039"/>
                      <a:pt x="255" y="1039"/>
                    </a:cubicBezTo>
                    <a:cubicBezTo>
                      <a:pt x="282" y="1039"/>
                      <a:pt x="309" y="1034"/>
                      <a:pt x="335" y="1023"/>
                    </a:cubicBezTo>
                    <a:cubicBezTo>
                      <a:pt x="707" y="866"/>
                      <a:pt x="1067" y="685"/>
                      <a:pt x="1416" y="483"/>
                    </a:cubicBezTo>
                    <a:cubicBezTo>
                      <a:pt x="1527" y="419"/>
                      <a:pt x="1584" y="283"/>
                      <a:pt x="1538" y="164"/>
                    </a:cubicBezTo>
                    <a:cubicBezTo>
                      <a:pt x="1499" y="61"/>
                      <a:pt x="1401" y="0"/>
                      <a:pt x="1300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1" name="Google Shape;9181;p56"/>
              <p:cNvSpPr/>
              <p:nvPr/>
            </p:nvSpPr>
            <p:spPr>
              <a:xfrm>
                <a:off x="4431392" y="1880392"/>
                <a:ext cx="27804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9" h="896" extrusionOk="0">
                    <a:moveTo>
                      <a:pt x="1890" y="1"/>
                    </a:moveTo>
                    <a:cubicBezTo>
                      <a:pt x="1863" y="1"/>
                      <a:pt x="1835" y="5"/>
                      <a:pt x="1808" y="14"/>
                    </a:cubicBezTo>
                    <a:cubicBezTo>
                      <a:pt x="1296" y="184"/>
                      <a:pt x="771" y="309"/>
                      <a:pt x="237" y="389"/>
                    </a:cubicBezTo>
                    <a:cubicBezTo>
                      <a:pt x="98" y="408"/>
                      <a:pt x="0" y="536"/>
                      <a:pt x="20" y="676"/>
                    </a:cubicBezTo>
                    <a:cubicBezTo>
                      <a:pt x="37" y="803"/>
                      <a:pt x="147" y="896"/>
                      <a:pt x="273" y="896"/>
                    </a:cubicBezTo>
                    <a:cubicBezTo>
                      <a:pt x="284" y="896"/>
                      <a:pt x="296" y="895"/>
                      <a:pt x="308" y="893"/>
                    </a:cubicBezTo>
                    <a:cubicBezTo>
                      <a:pt x="873" y="809"/>
                      <a:pt x="1430" y="676"/>
                      <a:pt x="1973" y="496"/>
                    </a:cubicBezTo>
                    <a:cubicBezTo>
                      <a:pt x="2106" y="451"/>
                      <a:pt x="2178" y="306"/>
                      <a:pt x="2132" y="171"/>
                    </a:cubicBezTo>
                    <a:cubicBezTo>
                      <a:pt x="2095" y="67"/>
                      <a:pt x="1996" y="1"/>
                      <a:pt x="189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82" name="Google Shape;9182;p56"/>
            <p:cNvGrpSpPr/>
            <p:nvPr/>
          </p:nvGrpSpPr>
          <p:grpSpPr>
            <a:xfrm>
              <a:off x="4206459" y="1607315"/>
              <a:ext cx="29539" cy="142899"/>
              <a:chOff x="4206459" y="1607315"/>
              <a:chExt cx="29539" cy="142899"/>
            </a:xfrm>
          </p:grpSpPr>
          <p:sp>
            <p:nvSpPr>
              <p:cNvPr id="9183" name="Google Shape;9183;p56"/>
              <p:cNvSpPr/>
              <p:nvPr/>
            </p:nvSpPr>
            <p:spPr>
              <a:xfrm>
                <a:off x="4209840" y="1607315"/>
                <a:ext cx="26158" cy="50989"/>
              </a:xfrm>
              <a:custGeom>
                <a:avLst/>
                <a:gdLst/>
                <a:ahLst/>
                <a:cxnLst/>
                <a:rect l="l" t="t" r="r" b="b"/>
                <a:pathLst>
                  <a:path w="2050" h="3996" extrusionOk="0">
                    <a:moveTo>
                      <a:pt x="1920" y="0"/>
                    </a:moveTo>
                    <a:cubicBezTo>
                      <a:pt x="1898" y="0"/>
                      <a:pt x="1876" y="6"/>
                      <a:pt x="1854" y="20"/>
                    </a:cubicBezTo>
                    <a:lnTo>
                      <a:pt x="772" y="717"/>
                    </a:lnTo>
                    <a:cubicBezTo>
                      <a:pt x="695" y="766"/>
                      <a:pt x="697" y="878"/>
                      <a:pt x="775" y="926"/>
                    </a:cubicBezTo>
                    <a:lnTo>
                      <a:pt x="1073" y="1102"/>
                    </a:lnTo>
                    <a:cubicBezTo>
                      <a:pt x="607" y="1911"/>
                      <a:pt x="256" y="2782"/>
                      <a:pt x="32" y="3689"/>
                    </a:cubicBezTo>
                    <a:cubicBezTo>
                      <a:pt x="0" y="3825"/>
                      <a:pt x="87" y="3962"/>
                      <a:pt x="224" y="3990"/>
                    </a:cubicBezTo>
                    <a:cubicBezTo>
                      <a:pt x="242" y="3993"/>
                      <a:pt x="260" y="3995"/>
                      <a:pt x="278" y="3995"/>
                    </a:cubicBezTo>
                    <a:cubicBezTo>
                      <a:pt x="397" y="3995"/>
                      <a:pt x="502" y="3914"/>
                      <a:pt x="532" y="3794"/>
                    </a:cubicBezTo>
                    <a:cubicBezTo>
                      <a:pt x="743" y="2942"/>
                      <a:pt x="1073" y="2124"/>
                      <a:pt x="1512" y="1363"/>
                    </a:cubicBezTo>
                    <a:lnTo>
                      <a:pt x="1765" y="1514"/>
                    </a:lnTo>
                    <a:cubicBezTo>
                      <a:pt x="1785" y="1526"/>
                      <a:pt x="1806" y="1531"/>
                      <a:pt x="1827" y="1531"/>
                    </a:cubicBezTo>
                    <a:cubicBezTo>
                      <a:pt x="1888" y="1531"/>
                      <a:pt x="1946" y="1484"/>
                      <a:pt x="1951" y="1416"/>
                    </a:cubicBezTo>
                    <a:lnTo>
                      <a:pt x="2043" y="134"/>
                    </a:lnTo>
                    <a:cubicBezTo>
                      <a:pt x="2049" y="57"/>
                      <a:pt x="1988" y="0"/>
                      <a:pt x="1920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4" name="Google Shape;9184;p56"/>
              <p:cNvSpPr/>
              <p:nvPr/>
            </p:nvSpPr>
            <p:spPr>
              <a:xfrm>
                <a:off x="4206459" y="1662910"/>
                <a:ext cx="8230" cy="31785"/>
              </a:xfrm>
              <a:custGeom>
                <a:avLst/>
                <a:gdLst/>
                <a:ahLst/>
                <a:cxnLst/>
                <a:rect l="l" t="t" r="r" b="b"/>
                <a:pathLst>
                  <a:path w="645" h="2491" extrusionOk="0">
                    <a:moveTo>
                      <a:pt x="371" y="1"/>
                    </a:moveTo>
                    <a:cubicBezTo>
                      <a:pt x="249" y="1"/>
                      <a:pt x="141" y="89"/>
                      <a:pt x="121" y="212"/>
                    </a:cubicBezTo>
                    <a:cubicBezTo>
                      <a:pt x="41" y="709"/>
                      <a:pt x="1" y="1212"/>
                      <a:pt x="1" y="1714"/>
                    </a:cubicBezTo>
                    <a:cubicBezTo>
                      <a:pt x="1" y="1895"/>
                      <a:pt x="7" y="2078"/>
                      <a:pt x="19" y="2259"/>
                    </a:cubicBezTo>
                    <a:cubicBezTo>
                      <a:pt x="31" y="2390"/>
                      <a:pt x="140" y="2490"/>
                      <a:pt x="270" y="2490"/>
                    </a:cubicBezTo>
                    <a:cubicBezTo>
                      <a:pt x="277" y="2490"/>
                      <a:pt x="284" y="2490"/>
                      <a:pt x="291" y="2489"/>
                    </a:cubicBezTo>
                    <a:cubicBezTo>
                      <a:pt x="428" y="2480"/>
                      <a:pt x="534" y="2361"/>
                      <a:pt x="526" y="2222"/>
                    </a:cubicBezTo>
                    <a:cubicBezTo>
                      <a:pt x="517" y="2054"/>
                      <a:pt x="510" y="1884"/>
                      <a:pt x="510" y="1714"/>
                    </a:cubicBezTo>
                    <a:cubicBezTo>
                      <a:pt x="512" y="1240"/>
                      <a:pt x="549" y="766"/>
                      <a:pt x="622" y="297"/>
                    </a:cubicBezTo>
                    <a:cubicBezTo>
                      <a:pt x="645" y="163"/>
                      <a:pt x="557" y="35"/>
                      <a:pt x="422" y="6"/>
                    </a:cubicBezTo>
                    <a:cubicBezTo>
                      <a:pt x="405" y="2"/>
                      <a:pt x="388" y="1"/>
                      <a:pt x="371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5" name="Google Shape;9185;p56"/>
              <p:cNvSpPr/>
              <p:nvPr/>
            </p:nvSpPr>
            <p:spPr>
              <a:xfrm>
                <a:off x="4216194" y="1730768"/>
                <a:ext cx="14227" cy="19446"/>
              </a:xfrm>
              <a:custGeom>
                <a:avLst/>
                <a:gdLst/>
                <a:ahLst/>
                <a:cxnLst/>
                <a:rect l="l" t="t" r="r" b="b"/>
                <a:pathLst>
                  <a:path w="1115" h="1524" extrusionOk="0">
                    <a:moveTo>
                      <a:pt x="296" y="1"/>
                    </a:moveTo>
                    <a:cubicBezTo>
                      <a:pt x="267" y="1"/>
                      <a:pt x="237" y="5"/>
                      <a:pt x="208" y="15"/>
                    </a:cubicBezTo>
                    <a:lnTo>
                      <a:pt x="171" y="28"/>
                    </a:lnTo>
                    <a:cubicBezTo>
                      <a:pt x="58" y="67"/>
                      <a:pt x="0" y="193"/>
                      <a:pt x="47" y="304"/>
                    </a:cubicBezTo>
                    <a:cubicBezTo>
                      <a:pt x="205" y="675"/>
                      <a:pt x="384" y="1035"/>
                      <a:pt x="588" y="1385"/>
                    </a:cubicBezTo>
                    <a:cubicBezTo>
                      <a:pt x="637" y="1469"/>
                      <a:pt x="728" y="1524"/>
                      <a:pt x="822" y="1524"/>
                    </a:cubicBezTo>
                    <a:cubicBezTo>
                      <a:pt x="850" y="1524"/>
                      <a:pt x="879" y="1519"/>
                      <a:pt x="906" y="1508"/>
                    </a:cubicBezTo>
                    <a:cubicBezTo>
                      <a:pt x="1052" y="1450"/>
                      <a:pt x="1115" y="1277"/>
                      <a:pt x="1036" y="1141"/>
                    </a:cubicBezTo>
                    <a:cubicBezTo>
                      <a:pt x="852" y="826"/>
                      <a:pt x="687" y="499"/>
                      <a:pt x="543" y="164"/>
                    </a:cubicBezTo>
                    <a:cubicBezTo>
                      <a:pt x="499" y="63"/>
                      <a:pt x="400" y="1"/>
                      <a:pt x="296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6" name="Google Shape;9186;p56"/>
              <p:cNvSpPr/>
              <p:nvPr/>
            </p:nvSpPr>
            <p:spPr>
              <a:xfrm>
                <a:off x="4207607" y="1699506"/>
                <a:ext cx="12045" cy="27153"/>
              </a:xfrm>
              <a:custGeom>
                <a:avLst/>
                <a:gdLst/>
                <a:ahLst/>
                <a:cxnLst/>
                <a:rect l="l" t="t" r="r" b="b"/>
                <a:pathLst>
                  <a:path w="944" h="2128" extrusionOk="0">
                    <a:moveTo>
                      <a:pt x="273" y="0"/>
                    </a:moveTo>
                    <a:cubicBezTo>
                      <a:pt x="261" y="0"/>
                      <a:pt x="249" y="1"/>
                      <a:pt x="238" y="3"/>
                    </a:cubicBezTo>
                    <a:cubicBezTo>
                      <a:pt x="98" y="22"/>
                      <a:pt x="1" y="150"/>
                      <a:pt x="20" y="289"/>
                    </a:cubicBezTo>
                    <a:lnTo>
                      <a:pt x="21" y="289"/>
                    </a:lnTo>
                    <a:cubicBezTo>
                      <a:pt x="105" y="854"/>
                      <a:pt x="238" y="1412"/>
                      <a:pt x="417" y="1955"/>
                    </a:cubicBezTo>
                    <a:cubicBezTo>
                      <a:pt x="454" y="2061"/>
                      <a:pt x="553" y="2127"/>
                      <a:pt x="658" y="2127"/>
                    </a:cubicBezTo>
                    <a:cubicBezTo>
                      <a:pt x="686" y="2127"/>
                      <a:pt x="714" y="2123"/>
                      <a:pt x="742" y="2113"/>
                    </a:cubicBezTo>
                    <a:cubicBezTo>
                      <a:pt x="875" y="2067"/>
                      <a:pt x="944" y="1923"/>
                      <a:pt x="899" y="1790"/>
                    </a:cubicBezTo>
                    <a:cubicBezTo>
                      <a:pt x="731" y="1279"/>
                      <a:pt x="604" y="754"/>
                      <a:pt x="526" y="220"/>
                    </a:cubicBezTo>
                    <a:cubicBezTo>
                      <a:pt x="508" y="93"/>
                      <a:pt x="398" y="0"/>
                      <a:pt x="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187" name="Google Shape;9187;p56"/>
            <p:cNvSpPr/>
            <p:nvPr/>
          </p:nvSpPr>
          <p:spPr>
            <a:xfrm>
              <a:off x="4250519" y="1416170"/>
              <a:ext cx="26783" cy="52303"/>
            </a:xfrm>
            <a:custGeom>
              <a:avLst/>
              <a:gdLst/>
              <a:ahLst/>
              <a:cxnLst/>
              <a:rect l="l" t="t" r="r" b="b"/>
              <a:pathLst>
                <a:path w="2099" h="4099" extrusionOk="0">
                  <a:moveTo>
                    <a:pt x="412" y="1"/>
                  </a:moveTo>
                  <a:cubicBezTo>
                    <a:pt x="358" y="1"/>
                    <a:pt x="305" y="37"/>
                    <a:pt x="292" y="98"/>
                  </a:cubicBezTo>
                  <a:lnTo>
                    <a:pt x="18" y="1357"/>
                  </a:lnTo>
                  <a:cubicBezTo>
                    <a:pt x="1" y="1436"/>
                    <a:pt x="62" y="1506"/>
                    <a:pt x="139" y="1506"/>
                  </a:cubicBezTo>
                  <a:cubicBezTo>
                    <a:pt x="149" y="1506"/>
                    <a:pt x="158" y="1505"/>
                    <a:pt x="169" y="1502"/>
                  </a:cubicBezTo>
                  <a:lnTo>
                    <a:pt x="503" y="1416"/>
                  </a:lnTo>
                  <a:cubicBezTo>
                    <a:pt x="745" y="2317"/>
                    <a:pt x="1113" y="3181"/>
                    <a:pt x="1597" y="3981"/>
                  </a:cubicBezTo>
                  <a:cubicBezTo>
                    <a:pt x="1644" y="4057"/>
                    <a:pt x="1725" y="4099"/>
                    <a:pt x="1809" y="4099"/>
                  </a:cubicBezTo>
                  <a:cubicBezTo>
                    <a:pt x="1856" y="4099"/>
                    <a:pt x="1903" y="4086"/>
                    <a:pt x="1946" y="4058"/>
                  </a:cubicBezTo>
                  <a:cubicBezTo>
                    <a:pt x="2063" y="3980"/>
                    <a:pt x="2098" y="3823"/>
                    <a:pt x="2024" y="3703"/>
                  </a:cubicBezTo>
                  <a:cubicBezTo>
                    <a:pt x="1571" y="2950"/>
                    <a:pt x="1225" y="2138"/>
                    <a:pt x="998" y="1291"/>
                  </a:cubicBezTo>
                  <a:lnTo>
                    <a:pt x="1283" y="1217"/>
                  </a:lnTo>
                  <a:cubicBezTo>
                    <a:pt x="1373" y="1195"/>
                    <a:pt x="1406" y="1086"/>
                    <a:pt x="1347" y="1017"/>
                  </a:cubicBezTo>
                  <a:lnTo>
                    <a:pt x="505" y="44"/>
                  </a:lnTo>
                  <a:cubicBezTo>
                    <a:pt x="479" y="14"/>
                    <a:pt x="445" y="1"/>
                    <a:pt x="412" y="1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8" name="Google Shape;9188;p56"/>
            <p:cNvSpPr/>
            <p:nvPr/>
          </p:nvSpPr>
          <p:spPr>
            <a:xfrm>
              <a:off x="4276166" y="1471370"/>
              <a:ext cx="24359" cy="25290"/>
            </a:xfrm>
            <a:custGeom>
              <a:avLst/>
              <a:gdLst/>
              <a:ahLst/>
              <a:cxnLst/>
              <a:rect l="l" t="t" r="r" b="b"/>
              <a:pathLst>
                <a:path w="1909" h="1982" extrusionOk="0">
                  <a:moveTo>
                    <a:pt x="291" y="0"/>
                  </a:moveTo>
                  <a:cubicBezTo>
                    <a:pt x="243" y="0"/>
                    <a:pt x="195" y="14"/>
                    <a:pt x="152" y="41"/>
                  </a:cubicBezTo>
                  <a:cubicBezTo>
                    <a:pt x="30" y="121"/>
                    <a:pt x="0" y="285"/>
                    <a:pt x="85" y="403"/>
                  </a:cubicBezTo>
                  <a:cubicBezTo>
                    <a:pt x="380" y="810"/>
                    <a:pt x="706" y="1193"/>
                    <a:pt x="1062" y="1548"/>
                  </a:cubicBezTo>
                  <a:cubicBezTo>
                    <a:pt x="1190" y="1678"/>
                    <a:pt x="1323" y="1801"/>
                    <a:pt x="1459" y="1921"/>
                  </a:cubicBezTo>
                  <a:cubicBezTo>
                    <a:pt x="1507" y="1962"/>
                    <a:pt x="1566" y="1981"/>
                    <a:pt x="1624" y="1981"/>
                  </a:cubicBezTo>
                  <a:cubicBezTo>
                    <a:pt x="1695" y="1981"/>
                    <a:pt x="1766" y="1952"/>
                    <a:pt x="1816" y="1894"/>
                  </a:cubicBezTo>
                  <a:cubicBezTo>
                    <a:pt x="1909" y="1788"/>
                    <a:pt x="1898" y="1628"/>
                    <a:pt x="1794" y="1535"/>
                  </a:cubicBezTo>
                  <a:cubicBezTo>
                    <a:pt x="1665" y="1423"/>
                    <a:pt x="1542" y="1308"/>
                    <a:pt x="1422" y="1188"/>
                  </a:cubicBezTo>
                  <a:cubicBezTo>
                    <a:pt x="1087" y="851"/>
                    <a:pt x="778" y="490"/>
                    <a:pt x="500" y="107"/>
                  </a:cubicBezTo>
                  <a:cubicBezTo>
                    <a:pt x="449" y="38"/>
                    <a:pt x="371" y="0"/>
                    <a:pt x="291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9" name="Google Shape;9189;p56"/>
            <p:cNvSpPr/>
            <p:nvPr/>
          </p:nvSpPr>
          <p:spPr>
            <a:xfrm>
              <a:off x="4330231" y="1513121"/>
              <a:ext cx="21462" cy="10986"/>
            </a:xfrm>
            <a:custGeom>
              <a:avLst/>
              <a:gdLst/>
              <a:ahLst/>
              <a:cxnLst/>
              <a:rect l="l" t="t" r="r" b="b"/>
              <a:pathLst>
                <a:path w="1682" h="861" extrusionOk="0">
                  <a:moveTo>
                    <a:pt x="311" y="0"/>
                  </a:moveTo>
                  <a:cubicBezTo>
                    <a:pt x="211" y="0"/>
                    <a:pt x="116" y="56"/>
                    <a:pt x="69" y="151"/>
                  </a:cubicBezTo>
                  <a:lnTo>
                    <a:pt x="53" y="185"/>
                  </a:lnTo>
                  <a:cubicBezTo>
                    <a:pt x="0" y="292"/>
                    <a:pt x="48" y="423"/>
                    <a:pt x="160" y="468"/>
                  </a:cubicBezTo>
                  <a:cubicBezTo>
                    <a:pt x="533" y="619"/>
                    <a:pt x="916" y="747"/>
                    <a:pt x="1307" y="851"/>
                  </a:cubicBezTo>
                  <a:cubicBezTo>
                    <a:pt x="1331" y="857"/>
                    <a:pt x="1355" y="861"/>
                    <a:pt x="1379" y="861"/>
                  </a:cubicBezTo>
                  <a:cubicBezTo>
                    <a:pt x="1480" y="861"/>
                    <a:pt x="1576" y="806"/>
                    <a:pt x="1618" y="713"/>
                  </a:cubicBezTo>
                  <a:cubicBezTo>
                    <a:pt x="1682" y="569"/>
                    <a:pt x="1602" y="403"/>
                    <a:pt x="1451" y="363"/>
                  </a:cubicBezTo>
                  <a:cubicBezTo>
                    <a:pt x="1097" y="268"/>
                    <a:pt x="751" y="154"/>
                    <a:pt x="412" y="20"/>
                  </a:cubicBezTo>
                  <a:cubicBezTo>
                    <a:pt x="379" y="7"/>
                    <a:pt x="345" y="0"/>
                    <a:pt x="311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0" name="Google Shape;9190;p56"/>
            <p:cNvSpPr/>
            <p:nvPr/>
          </p:nvSpPr>
          <p:spPr>
            <a:xfrm>
              <a:off x="4302005" y="1497298"/>
              <a:ext cx="25469" cy="17647"/>
            </a:xfrm>
            <a:custGeom>
              <a:avLst/>
              <a:gdLst/>
              <a:ahLst/>
              <a:cxnLst/>
              <a:rect l="l" t="t" r="r" b="b"/>
              <a:pathLst>
                <a:path w="1996" h="1383" extrusionOk="0">
                  <a:moveTo>
                    <a:pt x="289" y="1"/>
                  </a:moveTo>
                  <a:cubicBezTo>
                    <a:pt x="212" y="1"/>
                    <a:pt x="136" y="36"/>
                    <a:pt x="86" y="102"/>
                  </a:cubicBezTo>
                  <a:cubicBezTo>
                    <a:pt x="1" y="214"/>
                    <a:pt x="23" y="374"/>
                    <a:pt x="135" y="459"/>
                  </a:cubicBezTo>
                  <a:cubicBezTo>
                    <a:pt x="595" y="800"/>
                    <a:pt x="1082" y="1100"/>
                    <a:pt x="1592" y="1356"/>
                  </a:cubicBezTo>
                  <a:cubicBezTo>
                    <a:pt x="1629" y="1374"/>
                    <a:pt x="1667" y="1382"/>
                    <a:pt x="1705" y="1382"/>
                  </a:cubicBezTo>
                  <a:cubicBezTo>
                    <a:pt x="1799" y="1382"/>
                    <a:pt x="1891" y="1329"/>
                    <a:pt x="1935" y="1239"/>
                  </a:cubicBezTo>
                  <a:cubicBezTo>
                    <a:pt x="1996" y="1113"/>
                    <a:pt x="1943" y="960"/>
                    <a:pt x="1817" y="898"/>
                  </a:cubicBezTo>
                  <a:cubicBezTo>
                    <a:pt x="1336" y="656"/>
                    <a:pt x="875" y="373"/>
                    <a:pt x="443" y="52"/>
                  </a:cubicBezTo>
                  <a:cubicBezTo>
                    <a:pt x="397" y="18"/>
                    <a:pt x="343" y="1"/>
                    <a:pt x="289" y="1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191" name="Google Shape;9191;p56"/>
            <p:cNvGrpSpPr/>
            <p:nvPr/>
          </p:nvGrpSpPr>
          <p:grpSpPr>
            <a:xfrm>
              <a:off x="4889463" y="1423737"/>
              <a:ext cx="29552" cy="142899"/>
              <a:chOff x="4889463" y="1423737"/>
              <a:chExt cx="29552" cy="142899"/>
            </a:xfrm>
          </p:grpSpPr>
          <p:sp>
            <p:nvSpPr>
              <p:cNvPr id="9192" name="Google Shape;9192;p56"/>
              <p:cNvSpPr/>
              <p:nvPr/>
            </p:nvSpPr>
            <p:spPr>
              <a:xfrm>
                <a:off x="4889463" y="1515647"/>
                <a:ext cx="26158" cy="50989"/>
              </a:xfrm>
              <a:custGeom>
                <a:avLst/>
                <a:gdLst/>
                <a:ahLst/>
                <a:cxnLst/>
                <a:rect l="l" t="t" r="r" b="b"/>
                <a:pathLst>
                  <a:path w="2050" h="3996" extrusionOk="0">
                    <a:moveTo>
                      <a:pt x="1772" y="0"/>
                    </a:moveTo>
                    <a:cubicBezTo>
                      <a:pt x="1653" y="0"/>
                      <a:pt x="1547" y="82"/>
                      <a:pt x="1518" y="201"/>
                    </a:cubicBezTo>
                    <a:cubicBezTo>
                      <a:pt x="1307" y="1053"/>
                      <a:pt x="977" y="1872"/>
                      <a:pt x="540" y="2634"/>
                    </a:cubicBezTo>
                    <a:lnTo>
                      <a:pt x="285" y="2482"/>
                    </a:lnTo>
                    <a:cubicBezTo>
                      <a:pt x="265" y="2470"/>
                      <a:pt x="244" y="2465"/>
                      <a:pt x="223" y="2465"/>
                    </a:cubicBezTo>
                    <a:cubicBezTo>
                      <a:pt x="162" y="2465"/>
                      <a:pt x="104" y="2511"/>
                      <a:pt x="99" y="2579"/>
                    </a:cubicBezTo>
                    <a:lnTo>
                      <a:pt x="6" y="3864"/>
                    </a:lnTo>
                    <a:cubicBezTo>
                      <a:pt x="0" y="3939"/>
                      <a:pt x="62" y="3995"/>
                      <a:pt x="129" y="3995"/>
                    </a:cubicBezTo>
                    <a:cubicBezTo>
                      <a:pt x="152" y="3995"/>
                      <a:pt x="174" y="3989"/>
                      <a:pt x="195" y="3976"/>
                    </a:cubicBezTo>
                    <a:lnTo>
                      <a:pt x="1278" y="3279"/>
                    </a:lnTo>
                    <a:cubicBezTo>
                      <a:pt x="1355" y="3229"/>
                      <a:pt x="1353" y="3117"/>
                      <a:pt x="1275" y="3071"/>
                    </a:cubicBezTo>
                    <a:lnTo>
                      <a:pt x="978" y="2893"/>
                    </a:lnTo>
                    <a:cubicBezTo>
                      <a:pt x="1444" y="2085"/>
                      <a:pt x="1794" y="1213"/>
                      <a:pt x="2018" y="307"/>
                    </a:cubicBezTo>
                    <a:cubicBezTo>
                      <a:pt x="2050" y="171"/>
                      <a:pt x="1963" y="35"/>
                      <a:pt x="1826" y="6"/>
                    </a:cubicBezTo>
                    <a:cubicBezTo>
                      <a:pt x="1808" y="2"/>
                      <a:pt x="1790" y="0"/>
                      <a:pt x="1772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3" name="Google Shape;9193;p56"/>
              <p:cNvSpPr/>
              <p:nvPr/>
            </p:nvSpPr>
            <p:spPr>
              <a:xfrm>
                <a:off x="4910772" y="1479256"/>
                <a:ext cx="8243" cy="31785"/>
              </a:xfrm>
              <a:custGeom>
                <a:avLst/>
                <a:gdLst/>
                <a:ahLst/>
                <a:cxnLst/>
                <a:rect l="l" t="t" r="r" b="b"/>
                <a:pathLst>
                  <a:path w="646" h="2491" extrusionOk="0">
                    <a:moveTo>
                      <a:pt x="375" y="0"/>
                    </a:moveTo>
                    <a:cubicBezTo>
                      <a:pt x="368" y="0"/>
                      <a:pt x="361" y="1"/>
                      <a:pt x="354" y="1"/>
                    </a:cubicBezTo>
                    <a:cubicBezTo>
                      <a:pt x="216" y="11"/>
                      <a:pt x="111" y="129"/>
                      <a:pt x="119" y="269"/>
                    </a:cubicBezTo>
                    <a:cubicBezTo>
                      <a:pt x="128" y="438"/>
                      <a:pt x="135" y="607"/>
                      <a:pt x="135" y="776"/>
                    </a:cubicBezTo>
                    <a:cubicBezTo>
                      <a:pt x="135" y="1252"/>
                      <a:pt x="96" y="1724"/>
                      <a:pt x="23" y="2193"/>
                    </a:cubicBezTo>
                    <a:cubicBezTo>
                      <a:pt x="0" y="2328"/>
                      <a:pt x="88" y="2458"/>
                      <a:pt x="223" y="2485"/>
                    </a:cubicBezTo>
                    <a:cubicBezTo>
                      <a:pt x="240" y="2488"/>
                      <a:pt x="257" y="2490"/>
                      <a:pt x="274" y="2490"/>
                    </a:cubicBezTo>
                    <a:cubicBezTo>
                      <a:pt x="396" y="2490"/>
                      <a:pt x="504" y="2403"/>
                      <a:pt x="526" y="2278"/>
                    </a:cubicBezTo>
                    <a:cubicBezTo>
                      <a:pt x="604" y="1782"/>
                      <a:pt x="644" y="1279"/>
                      <a:pt x="646" y="776"/>
                    </a:cubicBezTo>
                    <a:cubicBezTo>
                      <a:pt x="646" y="595"/>
                      <a:pt x="638" y="413"/>
                      <a:pt x="626" y="232"/>
                    </a:cubicBezTo>
                    <a:cubicBezTo>
                      <a:pt x="616" y="101"/>
                      <a:pt x="505" y="0"/>
                      <a:pt x="375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4" name="Google Shape;9194;p56"/>
              <p:cNvSpPr/>
              <p:nvPr/>
            </p:nvSpPr>
            <p:spPr>
              <a:xfrm>
                <a:off x="4895052" y="1423737"/>
                <a:ext cx="14215" cy="19446"/>
              </a:xfrm>
              <a:custGeom>
                <a:avLst/>
                <a:gdLst/>
                <a:ahLst/>
                <a:cxnLst/>
                <a:rect l="l" t="t" r="r" b="b"/>
                <a:pathLst>
                  <a:path w="1114" h="1524" extrusionOk="0">
                    <a:moveTo>
                      <a:pt x="293" y="1"/>
                    </a:moveTo>
                    <a:cubicBezTo>
                      <a:pt x="265" y="1"/>
                      <a:pt x="236" y="5"/>
                      <a:pt x="209" y="16"/>
                    </a:cubicBezTo>
                    <a:cubicBezTo>
                      <a:pt x="62" y="74"/>
                      <a:pt x="1" y="246"/>
                      <a:pt x="79" y="383"/>
                    </a:cubicBezTo>
                    <a:cubicBezTo>
                      <a:pt x="262" y="698"/>
                      <a:pt x="427" y="1025"/>
                      <a:pt x="573" y="1359"/>
                    </a:cubicBezTo>
                    <a:cubicBezTo>
                      <a:pt x="615" y="1461"/>
                      <a:pt x="714" y="1523"/>
                      <a:pt x="819" y="1523"/>
                    </a:cubicBezTo>
                    <a:cubicBezTo>
                      <a:pt x="848" y="1523"/>
                      <a:pt x="878" y="1518"/>
                      <a:pt x="907" y="1508"/>
                    </a:cubicBezTo>
                    <a:lnTo>
                      <a:pt x="942" y="1495"/>
                    </a:lnTo>
                    <a:cubicBezTo>
                      <a:pt x="1056" y="1457"/>
                      <a:pt x="1114" y="1331"/>
                      <a:pt x="1067" y="1220"/>
                    </a:cubicBezTo>
                    <a:cubicBezTo>
                      <a:pt x="910" y="849"/>
                      <a:pt x="729" y="488"/>
                      <a:pt x="528" y="139"/>
                    </a:cubicBezTo>
                    <a:cubicBezTo>
                      <a:pt x="478" y="54"/>
                      <a:pt x="387" y="1"/>
                      <a:pt x="293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5" name="Google Shape;9195;p56"/>
              <p:cNvSpPr/>
              <p:nvPr/>
            </p:nvSpPr>
            <p:spPr>
              <a:xfrm>
                <a:off x="4905783" y="1447292"/>
                <a:ext cx="12071" cy="27153"/>
              </a:xfrm>
              <a:custGeom>
                <a:avLst/>
                <a:gdLst/>
                <a:ahLst/>
                <a:cxnLst/>
                <a:rect l="l" t="t" r="r" b="b"/>
                <a:pathLst>
                  <a:path w="946" h="2128" extrusionOk="0">
                    <a:moveTo>
                      <a:pt x="288" y="0"/>
                    </a:moveTo>
                    <a:cubicBezTo>
                      <a:pt x="260" y="0"/>
                      <a:pt x="232" y="5"/>
                      <a:pt x="204" y="15"/>
                    </a:cubicBezTo>
                    <a:cubicBezTo>
                      <a:pt x="71" y="61"/>
                      <a:pt x="1" y="205"/>
                      <a:pt x="47" y="338"/>
                    </a:cubicBezTo>
                    <a:cubicBezTo>
                      <a:pt x="215" y="850"/>
                      <a:pt x="342" y="1376"/>
                      <a:pt x="420" y="1909"/>
                    </a:cubicBezTo>
                    <a:cubicBezTo>
                      <a:pt x="438" y="2036"/>
                      <a:pt x="548" y="2128"/>
                      <a:pt x="673" y="2128"/>
                    </a:cubicBezTo>
                    <a:cubicBezTo>
                      <a:pt x="685" y="2128"/>
                      <a:pt x="696" y="2127"/>
                      <a:pt x="708" y="2125"/>
                    </a:cubicBezTo>
                    <a:cubicBezTo>
                      <a:pt x="848" y="2106"/>
                      <a:pt x="945" y="1978"/>
                      <a:pt x="926" y="1839"/>
                    </a:cubicBezTo>
                    <a:lnTo>
                      <a:pt x="925" y="1839"/>
                    </a:lnTo>
                    <a:cubicBezTo>
                      <a:pt x="841" y="1273"/>
                      <a:pt x="708" y="716"/>
                      <a:pt x="529" y="173"/>
                    </a:cubicBezTo>
                    <a:cubicBezTo>
                      <a:pt x="492" y="67"/>
                      <a:pt x="393" y="0"/>
                      <a:pt x="288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96" name="Google Shape;9196;p56"/>
            <p:cNvGrpSpPr/>
            <p:nvPr/>
          </p:nvGrpSpPr>
          <p:grpSpPr>
            <a:xfrm>
              <a:off x="4771663" y="1876896"/>
              <a:ext cx="108651" cy="100447"/>
              <a:chOff x="4771663" y="1876896"/>
              <a:chExt cx="108651" cy="100447"/>
            </a:xfrm>
          </p:grpSpPr>
          <p:sp>
            <p:nvSpPr>
              <p:cNvPr id="9197" name="Google Shape;9197;p56"/>
              <p:cNvSpPr/>
              <p:nvPr/>
            </p:nvSpPr>
            <p:spPr>
              <a:xfrm>
                <a:off x="4771663" y="1951210"/>
                <a:ext cx="53184" cy="26132"/>
              </a:xfrm>
              <a:custGeom>
                <a:avLst/>
                <a:gdLst/>
                <a:ahLst/>
                <a:cxnLst/>
                <a:rect l="l" t="t" r="r" b="b"/>
                <a:pathLst>
                  <a:path w="4168" h="2048" extrusionOk="0">
                    <a:moveTo>
                      <a:pt x="3871" y="0"/>
                    </a:moveTo>
                    <a:cubicBezTo>
                      <a:pt x="3824" y="0"/>
                      <a:pt x="3777" y="13"/>
                      <a:pt x="3735" y="39"/>
                    </a:cubicBezTo>
                    <a:cubicBezTo>
                      <a:pt x="2982" y="492"/>
                      <a:pt x="2170" y="838"/>
                      <a:pt x="1323" y="1067"/>
                    </a:cubicBezTo>
                    <a:lnTo>
                      <a:pt x="1249" y="780"/>
                    </a:lnTo>
                    <a:cubicBezTo>
                      <a:pt x="1235" y="721"/>
                      <a:pt x="1183" y="687"/>
                      <a:pt x="1130" y="687"/>
                    </a:cubicBezTo>
                    <a:cubicBezTo>
                      <a:pt x="1102" y="687"/>
                      <a:pt x="1073" y="696"/>
                      <a:pt x="1049" y="717"/>
                    </a:cubicBezTo>
                    <a:lnTo>
                      <a:pt x="76" y="1560"/>
                    </a:lnTo>
                    <a:cubicBezTo>
                      <a:pt x="0" y="1625"/>
                      <a:pt x="32" y="1750"/>
                      <a:pt x="130" y="1773"/>
                    </a:cubicBezTo>
                    <a:lnTo>
                      <a:pt x="1389" y="2045"/>
                    </a:lnTo>
                    <a:cubicBezTo>
                      <a:pt x="1398" y="2047"/>
                      <a:pt x="1407" y="2048"/>
                      <a:pt x="1416" y="2048"/>
                    </a:cubicBezTo>
                    <a:cubicBezTo>
                      <a:pt x="1493" y="2048"/>
                      <a:pt x="1555" y="1975"/>
                      <a:pt x="1534" y="1894"/>
                    </a:cubicBezTo>
                    <a:lnTo>
                      <a:pt x="1450" y="1561"/>
                    </a:lnTo>
                    <a:cubicBezTo>
                      <a:pt x="2351" y="1318"/>
                      <a:pt x="3214" y="950"/>
                      <a:pt x="4013" y="466"/>
                    </a:cubicBezTo>
                    <a:cubicBezTo>
                      <a:pt x="4132" y="392"/>
                      <a:pt x="4167" y="235"/>
                      <a:pt x="4090" y="119"/>
                    </a:cubicBezTo>
                    <a:cubicBezTo>
                      <a:pt x="4039" y="42"/>
                      <a:pt x="3956" y="0"/>
                      <a:pt x="3871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8" name="Google Shape;9198;p56"/>
              <p:cNvSpPr/>
              <p:nvPr/>
            </p:nvSpPr>
            <p:spPr>
              <a:xfrm>
                <a:off x="4826850" y="1927897"/>
                <a:ext cx="26081" cy="23529"/>
              </a:xfrm>
              <a:custGeom>
                <a:avLst/>
                <a:gdLst/>
                <a:ahLst/>
                <a:cxnLst/>
                <a:rect l="l" t="t" r="r" b="b"/>
                <a:pathLst>
                  <a:path w="2044" h="1844" extrusionOk="0">
                    <a:moveTo>
                      <a:pt x="1760" y="1"/>
                    </a:moveTo>
                    <a:cubicBezTo>
                      <a:pt x="1689" y="1"/>
                      <a:pt x="1619" y="31"/>
                      <a:pt x="1568" y="88"/>
                    </a:cubicBezTo>
                    <a:cubicBezTo>
                      <a:pt x="1456" y="215"/>
                      <a:pt x="1341" y="338"/>
                      <a:pt x="1221" y="458"/>
                    </a:cubicBezTo>
                    <a:cubicBezTo>
                      <a:pt x="885" y="793"/>
                      <a:pt x="524" y="1102"/>
                      <a:pt x="140" y="1380"/>
                    </a:cubicBezTo>
                    <a:cubicBezTo>
                      <a:pt x="29" y="1460"/>
                      <a:pt x="1" y="1612"/>
                      <a:pt x="74" y="1728"/>
                    </a:cubicBezTo>
                    <a:cubicBezTo>
                      <a:pt x="124" y="1803"/>
                      <a:pt x="205" y="1844"/>
                      <a:pt x="288" y="1844"/>
                    </a:cubicBezTo>
                    <a:cubicBezTo>
                      <a:pt x="339" y="1844"/>
                      <a:pt x="391" y="1828"/>
                      <a:pt x="436" y="1797"/>
                    </a:cubicBezTo>
                    <a:cubicBezTo>
                      <a:pt x="843" y="1500"/>
                      <a:pt x="1226" y="1174"/>
                      <a:pt x="1581" y="820"/>
                    </a:cubicBezTo>
                    <a:cubicBezTo>
                      <a:pt x="1711" y="690"/>
                      <a:pt x="1834" y="557"/>
                      <a:pt x="1954" y="421"/>
                    </a:cubicBezTo>
                    <a:cubicBezTo>
                      <a:pt x="2044" y="315"/>
                      <a:pt x="2033" y="155"/>
                      <a:pt x="1927" y="64"/>
                    </a:cubicBezTo>
                    <a:cubicBezTo>
                      <a:pt x="1879" y="22"/>
                      <a:pt x="1819" y="1"/>
                      <a:pt x="176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9" name="Google Shape;9199;p56"/>
              <p:cNvSpPr/>
              <p:nvPr/>
            </p:nvSpPr>
            <p:spPr>
              <a:xfrm>
                <a:off x="4868600" y="1876896"/>
                <a:ext cx="11714" cy="20531"/>
              </a:xfrm>
              <a:custGeom>
                <a:avLst/>
                <a:gdLst/>
                <a:ahLst/>
                <a:cxnLst/>
                <a:rect l="l" t="t" r="r" b="b"/>
                <a:pathLst>
                  <a:path w="918" h="1609" extrusionOk="0">
                    <a:moveTo>
                      <a:pt x="642" y="0"/>
                    </a:moveTo>
                    <a:cubicBezTo>
                      <a:pt x="531" y="0"/>
                      <a:pt x="426" y="74"/>
                      <a:pt x="396" y="189"/>
                    </a:cubicBezTo>
                    <a:cubicBezTo>
                      <a:pt x="301" y="543"/>
                      <a:pt x="187" y="889"/>
                      <a:pt x="53" y="1228"/>
                    </a:cubicBezTo>
                    <a:cubicBezTo>
                      <a:pt x="0" y="1360"/>
                      <a:pt x="58" y="1509"/>
                      <a:pt x="184" y="1571"/>
                    </a:cubicBezTo>
                    <a:lnTo>
                      <a:pt x="218" y="1587"/>
                    </a:lnTo>
                    <a:cubicBezTo>
                      <a:pt x="248" y="1602"/>
                      <a:pt x="280" y="1608"/>
                      <a:pt x="311" y="1608"/>
                    </a:cubicBezTo>
                    <a:cubicBezTo>
                      <a:pt x="392" y="1608"/>
                      <a:pt x="469" y="1561"/>
                      <a:pt x="501" y="1480"/>
                    </a:cubicBezTo>
                    <a:cubicBezTo>
                      <a:pt x="653" y="1107"/>
                      <a:pt x="780" y="724"/>
                      <a:pt x="886" y="333"/>
                    </a:cubicBezTo>
                    <a:cubicBezTo>
                      <a:pt x="918" y="210"/>
                      <a:pt x="862" y="74"/>
                      <a:pt x="746" y="22"/>
                    </a:cubicBezTo>
                    <a:cubicBezTo>
                      <a:pt x="712" y="7"/>
                      <a:pt x="677" y="0"/>
                      <a:pt x="642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00" name="Google Shape;9200;p56"/>
              <p:cNvSpPr/>
              <p:nvPr/>
            </p:nvSpPr>
            <p:spPr>
              <a:xfrm>
                <a:off x="4852804" y="1901038"/>
                <a:ext cx="18528" cy="24589"/>
              </a:xfrm>
              <a:custGeom>
                <a:avLst/>
                <a:gdLst/>
                <a:ahLst/>
                <a:cxnLst/>
                <a:rect l="l" t="t" r="r" b="b"/>
                <a:pathLst>
                  <a:path w="1452" h="1927" extrusionOk="0">
                    <a:moveTo>
                      <a:pt x="1159" y="1"/>
                    </a:moveTo>
                    <a:cubicBezTo>
                      <a:pt x="1064" y="1"/>
                      <a:pt x="974" y="53"/>
                      <a:pt x="931" y="143"/>
                    </a:cubicBezTo>
                    <a:cubicBezTo>
                      <a:pt x="689" y="625"/>
                      <a:pt x="405" y="1085"/>
                      <a:pt x="85" y="1519"/>
                    </a:cubicBezTo>
                    <a:cubicBezTo>
                      <a:pt x="0" y="1631"/>
                      <a:pt x="21" y="1790"/>
                      <a:pt x="135" y="1874"/>
                    </a:cubicBezTo>
                    <a:cubicBezTo>
                      <a:pt x="181" y="1909"/>
                      <a:pt x="235" y="1926"/>
                      <a:pt x="289" y="1926"/>
                    </a:cubicBezTo>
                    <a:cubicBezTo>
                      <a:pt x="366" y="1926"/>
                      <a:pt x="441" y="1892"/>
                      <a:pt x="492" y="1826"/>
                    </a:cubicBezTo>
                    <a:cubicBezTo>
                      <a:pt x="831" y="1367"/>
                      <a:pt x="1132" y="878"/>
                      <a:pt x="1389" y="368"/>
                    </a:cubicBezTo>
                    <a:cubicBezTo>
                      <a:pt x="1451" y="241"/>
                      <a:pt x="1398" y="87"/>
                      <a:pt x="1270" y="26"/>
                    </a:cubicBezTo>
                    <a:cubicBezTo>
                      <a:pt x="1234" y="9"/>
                      <a:pt x="1196" y="1"/>
                      <a:pt x="1159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01" name="Google Shape;9201;p56"/>
          <p:cNvGrpSpPr/>
          <p:nvPr/>
        </p:nvGrpSpPr>
        <p:grpSpPr>
          <a:xfrm>
            <a:off x="4026774" y="2074664"/>
            <a:ext cx="791287" cy="720350"/>
            <a:chOff x="267375" y="1071875"/>
            <a:chExt cx="470500" cy="428550"/>
          </a:xfrm>
        </p:grpSpPr>
        <p:sp>
          <p:nvSpPr>
            <p:cNvPr id="9202" name="Google Shape;9202;p56"/>
            <p:cNvSpPr/>
            <p:nvPr/>
          </p:nvSpPr>
          <p:spPr>
            <a:xfrm>
              <a:off x="288350" y="1290825"/>
              <a:ext cx="209600" cy="209600"/>
            </a:xfrm>
            <a:custGeom>
              <a:avLst/>
              <a:gdLst/>
              <a:ahLst/>
              <a:cxnLst/>
              <a:rect l="l" t="t" r="r" b="b"/>
              <a:pathLst>
                <a:path w="8384" h="8384" extrusionOk="0">
                  <a:moveTo>
                    <a:pt x="1" y="0"/>
                  </a:moveTo>
                  <a:cubicBezTo>
                    <a:pt x="23" y="1056"/>
                    <a:pt x="239" y="2096"/>
                    <a:pt x="641" y="3073"/>
                  </a:cubicBezTo>
                  <a:cubicBezTo>
                    <a:pt x="676" y="3072"/>
                    <a:pt x="710" y="3070"/>
                    <a:pt x="745" y="3070"/>
                  </a:cubicBezTo>
                  <a:cubicBezTo>
                    <a:pt x="1419" y="3070"/>
                    <a:pt x="2047" y="3416"/>
                    <a:pt x="2406" y="3988"/>
                  </a:cubicBezTo>
                  <a:cubicBezTo>
                    <a:pt x="2766" y="4558"/>
                    <a:pt x="2808" y="5272"/>
                    <a:pt x="2516" y="5880"/>
                  </a:cubicBezTo>
                  <a:cubicBezTo>
                    <a:pt x="4076" y="7440"/>
                    <a:pt x="6179" y="8337"/>
                    <a:pt x="8384" y="8383"/>
                  </a:cubicBezTo>
                  <a:lnTo>
                    <a:pt x="8384" y="3190"/>
                  </a:lnTo>
                  <a:cubicBezTo>
                    <a:pt x="6664" y="3094"/>
                    <a:pt x="5290" y="1720"/>
                    <a:pt x="51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3" name="Google Shape;9203;p56"/>
            <p:cNvSpPr/>
            <p:nvPr/>
          </p:nvSpPr>
          <p:spPr>
            <a:xfrm>
              <a:off x="267375" y="1377050"/>
              <a:ext cx="79225" cy="79200"/>
            </a:xfrm>
            <a:custGeom>
              <a:avLst/>
              <a:gdLst/>
              <a:ahLst/>
              <a:cxnLst/>
              <a:rect l="l" t="t" r="r" b="b"/>
              <a:pathLst>
                <a:path w="3169" h="3168" extrusionOk="0">
                  <a:moveTo>
                    <a:pt x="1584" y="0"/>
                  </a:moveTo>
                  <a:cubicBezTo>
                    <a:pt x="710" y="0"/>
                    <a:pt x="1" y="710"/>
                    <a:pt x="1" y="1584"/>
                  </a:cubicBezTo>
                  <a:cubicBezTo>
                    <a:pt x="1" y="2459"/>
                    <a:pt x="710" y="3168"/>
                    <a:pt x="1584" y="3168"/>
                  </a:cubicBezTo>
                  <a:cubicBezTo>
                    <a:pt x="2459" y="3168"/>
                    <a:pt x="3168" y="2459"/>
                    <a:pt x="3168" y="1584"/>
                  </a:cubicBezTo>
                  <a:cubicBezTo>
                    <a:pt x="3168" y="710"/>
                    <a:pt x="2459" y="0"/>
                    <a:pt x="15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4" name="Google Shape;9204;p56"/>
            <p:cNvSpPr/>
            <p:nvPr/>
          </p:nvSpPr>
          <p:spPr>
            <a:xfrm>
              <a:off x="507325" y="1290825"/>
              <a:ext cx="209600" cy="209600"/>
            </a:xfrm>
            <a:custGeom>
              <a:avLst/>
              <a:gdLst/>
              <a:ahLst/>
              <a:cxnLst/>
              <a:rect l="l" t="t" r="r" b="b"/>
              <a:pathLst>
                <a:path w="8384" h="8384" extrusionOk="0">
                  <a:moveTo>
                    <a:pt x="3189" y="0"/>
                  </a:moveTo>
                  <a:cubicBezTo>
                    <a:pt x="3093" y="1720"/>
                    <a:pt x="1721" y="3092"/>
                    <a:pt x="1" y="3190"/>
                  </a:cubicBezTo>
                  <a:lnTo>
                    <a:pt x="1" y="8383"/>
                  </a:lnTo>
                  <a:cubicBezTo>
                    <a:pt x="2206" y="8337"/>
                    <a:pt x="4309" y="7440"/>
                    <a:pt x="5868" y="5880"/>
                  </a:cubicBezTo>
                  <a:cubicBezTo>
                    <a:pt x="5577" y="5272"/>
                    <a:pt x="5618" y="4558"/>
                    <a:pt x="5979" y="3986"/>
                  </a:cubicBezTo>
                  <a:cubicBezTo>
                    <a:pt x="6337" y="3416"/>
                    <a:pt x="6965" y="3070"/>
                    <a:pt x="7639" y="3070"/>
                  </a:cubicBezTo>
                  <a:cubicBezTo>
                    <a:pt x="7675" y="3070"/>
                    <a:pt x="7710" y="3070"/>
                    <a:pt x="7743" y="3073"/>
                  </a:cubicBezTo>
                  <a:cubicBezTo>
                    <a:pt x="8145" y="2096"/>
                    <a:pt x="8362" y="1056"/>
                    <a:pt x="83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5" name="Google Shape;9205;p56"/>
            <p:cNvSpPr/>
            <p:nvPr/>
          </p:nvSpPr>
          <p:spPr>
            <a:xfrm>
              <a:off x="658700" y="1377050"/>
              <a:ext cx="79175" cy="79200"/>
            </a:xfrm>
            <a:custGeom>
              <a:avLst/>
              <a:gdLst/>
              <a:ahLst/>
              <a:cxnLst/>
              <a:rect l="l" t="t" r="r" b="b"/>
              <a:pathLst>
                <a:path w="3167" h="3168" extrusionOk="0">
                  <a:moveTo>
                    <a:pt x="1583" y="0"/>
                  </a:moveTo>
                  <a:cubicBezTo>
                    <a:pt x="708" y="0"/>
                    <a:pt x="1" y="710"/>
                    <a:pt x="1" y="1584"/>
                  </a:cubicBezTo>
                  <a:cubicBezTo>
                    <a:pt x="1" y="2459"/>
                    <a:pt x="708" y="3168"/>
                    <a:pt x="1583" y="3168"/>
                  </a:cubicBezTo>
                  <a:cubicBezTo>
                    <a:pt x="2457" y="3168"/>
                    <a:pt x="3166" y="2459"/>
                    <a:pt x="3166" y="1584"/>
                  </a:cubicBezTo>
                  <a:cubicBezTo>
                    <a:pt x="3166" y="710"/>
                    <a:pt x="2457" y="0"/>
                    <a:pt x="158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6" name="Google Shape;9206;p56"/>
            <p:cNvSpPr/>
            <p:nvPr/>
          </p:nvSpPr>
          <p:spPr>
            <a:xfrm>
              <a:off x="507325" y="1071875"/>
              <a:ext cx="209575" cy="209600"/>
            </a:xfrm>
            <a:custGeom>
              <a:avLst/>
              <a:gdLst/>
              <a:ahLst/>
              <a:cxnLst/>
              <a:rect l="l" t="t" r="r" b="b"/>
              <a:pathLst>
                <a:path w="8383" h="8384" extrusionOk="0">
                  <a:moveTo>
                    <a:pt x="1" y="1"/>
                  </a:moveTo>
                  <a:lnTo>
                    <a:pt x="1" y="5194"/>
                  </a:lnTo>
                  <a:cubicBezTo>
                    <a:pt x="1721" y="5290"/>
                    <a:pt x="3093" y="6662"/>
                    <a:pt x="3189" y="8384"/>
                  </a:cubicBezTo>
                  <a:lnTo>
                    <a:pt x="8382" y="8384"/>
                  </a:lnTo>
                  <a:cubicBezTo>
                    <a:pt x="8362" y="7328"/>
                    <a:pt x="8144" y="6286"/>
                    <a:pt x="7742" y="5311"/>
                  </a:cubicBezTo>
                  <a:cubicBezTo>
                    <a:pt x="7708" y="5312"/>
                    <a:pt x="7673" y="5314"/>
                    <a:pt x="7638" y="5314"/>
                  </a:cubicBezTo>
                  <a:cubicBezTo>
                    <a:pt x="6964" y="5312"/>
                    <a:pt x="6336" y="4966"/>
                    <a:pt x="5977" y="4396"/>
                  </a:cubicBezTo>
                  <a:cubicBezTo>
                    <a:pt x="5618" y="3825"/>
                    <a:pt x="5577" y="3110"/>
                    <a:pt x="5867" y="2502"/>
                  </a:cubicBezTo>
                  <a:cubicBezTo>
                    <a:pt x="4309" y="942"/>
                    <a:pt x="2206" y="4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7" name="Google Shape;9207;p56"/>
            <p:cNvSpPr/>
            <p:nvPr/>
          </p:nvSpPr>
          <p:spPr>
            <a:xfrm>
              <a:off x="658700" y="1116025"/>
              <a:ext cx="79175" cy="79175"/>
            </a:xfrm>
            <a:custGeom>
              <a:avLst/>
              <a:gdLst/>
              <a:ahLst/>
              <a:cxnLst/>
              <a:rect l="l" t="t" r="r" b="b"/>
              <a:pathLst>
                <a:path w="3167" h="3167" extrusionOk="0">
                  <a:moveTo>
                    <a:pt x="1583" y="1"/>
                  </a:moveTo>
                  <a:cubicBezTo>
                    <a:pt x="708" y="1"/>
                    <a:pt x="1" y="709"/>
                    <a:pt x="1" y="1583"/>
                  </a:cubicBezTo>
                  <a:cubicBezTo>
                    <a:pt x="1" y="2457"/>
                    <a:pt x="708" y="3167"/>
                    <a:pt x="1583" y="3167"/>
                  </a:cubicBezTo>
                  <a:cubicBezTo>
                    <a:pt x="2457" y="3167"/>
                    <a:pt x="3166" y="2457"/>
                    <a:pt x="3166" y="1583"/>
                  </a:cubicBezTo>
                  <a:cubicBezTo>
                    <a:pt x="3166" y="709"/>
                    <a:pt x="2457" y="1"/>
                    <a:pt x="15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8" name="Google Shape;9208;p56"/>
            <p:cNvSpPr/>
            <p:nvPr/>
          </p:nvSpPr>
          <p:spPr>
            <a:xfrm>
              <a:off x="288350" y="1071875"/>
              <a:ext cx="209600" cy="209550"/>
            </a:xfrm>
            <a:custGeom>
              <a:avLst/>
              <a:gdLst/>
              <a:ahLst/>
              <a:cxnLst/>
              <a:rect l="l" t="t" r="r" b="b"/>
              <a:pathLst>
                <a:path w="8384" h="8382" extrusionOk="0">
                  <a:moveTo>
                    <a:pt x="8384" y="1"/>
                  </a:moveTo>
                  <a:cubicBezTo>
                    <a:pt x="6179" y="45"/>
                    <a:pt x="4076" y="942"/>
                    <a:pt x="2516" y="2502"/>
                  </a:cubicBezTo>
                  <a:cubicBezTo>
                    <a:pt x="2808" y="3110"/>
                    <a:pt x="2766" y="3825"/>
                    <a:pt x="2406" y="4396"/>
                  </a:cubicBezTo>
                  <a:cubicBezTo>
                    <a:pt x="2047" y="4966"/>
                    <a:pt x="1419" y="5312"/>
                    <a:pt x="745" y="5312"/>
                  </a:cubicBezTo>
                  <a:cubicBezTo>
                    <a:pt x="710" y="5312"/>
                    <a:pt x="675" y="5312"/>
                    <a:pt x="641" y="5311"/>
                  </a:cubicBezTo>
                  <a:cubicBezTo>
                    <a:pt x="239" y="6286"/>
                    <a:pt x="23" y="7327"/>
                    <a:pt x="1" y="8382"/>
                  </a:cubicBezTo>
                  <a:lnTo>
                    <a:pt x="5194" y="8382"/>
                  </a:lnTo>
                  <a:cubicBezTo>
                    <a:pt x="5290" y="6662"/>
                    <a:pt x="6664" y="5290"/>
                    <a:pt x="8384" y="5194"/>
                  </a:cubicBezTo>
                  <a:lnTo>
                    <a:pt x="838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9" name="Google Shape;9209;p56"/>
            <p:cNvSpPr/>
            <p:nvPr/>
          </p:nvSpPr>
          <p:spPr>
            <a:xfrm>
              <a:off x="267375" y="1116025"/>
              <a:ext cx="79225" cy="79175"/>
            </a:xfrm>
            <a:custGeom>
              <a:avLst/>
              <a:gdLst/>
              <a:ahLst/>
              <a:cxnLst/>
              <a:rect l="l" t="t" r="r" b="b"/>
              <a:pathLst>
                <a:path w="3169" h="3167" extrusionOk="0">
                  <a:moveTo>
                    <a:pt x="1584" y="1"/>
                  </a:moveTo>
                  <a:cubicBezTo>
                    <a:pt x="710" y="1"/>
                    <a:pt x="1" y="709"/>
                    <a:pt x="1" y="1583"/>
                  </a:cubicBezTo>
                  <a:cubicBezTo>
                    <a:pt x="1" y="2457"/>
                    <a:pt x="710" y="3167"/>
                    <a:pt x="1584" y="3167"/>
                  </a:cubicBezTo>
                  <a:cubicBezTo>
                    <a:pt x="2459" y="3167"/>
                    <a:pt x="3168" y="2457"/>
                    <a:pt x="3168" y="1583"/>
                  </a:cubicBezTo>
                  <a:cubicBezTo>
                    <a:pt x="3168" y="709"/>
                    <a:pt x="2459" y="1"/>
                    <a:pt x="15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10" name="Google Shape;9210;p56"/>
          <p:cNvGrpSpPr/>
          <p:nvPr/>
        </p:nvGrpSpPr>
        <p:grpSpPr>
          <a:xfrm>
            <a:off x="727269" y="3719294"/>
            <a:ext cx="1408444" cy="673166"/>
            <a:chOff x="712664" y="3693287"/>
            <a:chExt cx="1460738" cy="698160"/>
          </a:xfrm>
        </p:grpSpPr>
        <p:grpSp>
          <p:nvGrpSpPr>
            <p:cNvPr id="9211" name="Google Shape;9211;p56"/>
            <p:cNvGrpSpPr/>
            <p:nvPr/>
          </p:nvGrpSpPr>
          <p:grpSpPr>
            <a:xfrm>
              <a:off x="1380079" y="4133090"/>
              <a:ext cx="234048" cy="258099"/>
              <a:chOff x="1380079" y="4133090"/>
              <a:chExt cx="234048" cy="258099"/>
            </a:xfrm>
          </p:grpSpPr>
          <p:sp>
            <p:nvSpPr>
              <p:cNvPr id="9212" name="Google Shape;9212;p56"/>
              <p:cNvSpPr/>
              <p:nvPr/>
            </p:nvSpPr>
            <p:spPr>
              <a:xfrm>
                <a:off x="1380079" y="4323114"/>
                <a:ext cx="136140" cy="68075"/>
              </a:xfrm>
              <a:custGeom>
                <a:avLst/>
                <a:gdLst/>
                <a:ahLst/>
                <a:cxnLst/>
                <a:rect l="l" t="t" r="r" b="b"/>
                <a:pathLst>
                  <a:path w="27160" h="13581" extrusionOk="0">
                    <a:moveTo>
                      <a:pt x="13580" y="1"/>
                    </a:moveTo>
                    <a:cubicBezTo>
                      <a:pt x="6083" y="1"/>
                      <a:pt x="0" y="6077"/>
                      <a:pt x="0" y="13580"/>
                    </a:cubicBezTo>
                    <a:lnTo>
                      <a:pt x="27159" y="13580"/>
                    </a:lnTo>
                    <a:cubicBezTo>
                      <a:pt x="27159" y="6077"/>
                      <a:pt x="21083" y="1"/>
                      <a:pt x="1358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3" name="Google Shape;9213;p56"/>
              <p:cNvSpPr/>
              <p:nvPr/>
            </p:nvSpPr>
            <p:spPr>
              <a:xfrm>
                <a:off x="1432589" y="4133090"/>
                <a:ext cx="29529" cy="191793"/>
              </a:xfrm>
              <a:custGeom>
                <a:avLst/>
                <a:gdLst/>
                <a:ahLst/>
                <a:cxnLst/>
                <a:rect l="l" t="t" r="r" b="b"/>
                <a:pathLst>
                  <a:path w="5891" h="38263" extrusionOk="0">
                    <a:moveTo>
                      <a:pt x="3276" y="0"/>
                    </a:moveTo>
                    <a:lnTo>
                      <a:pt x="0" y="38263"/>
                    </a:lnTo>
                    <a:lnTo>
                      <a:pt x="5890" y="38194"/>
                    </a:lnTo>
                    <a:lnTo>
                      <a:pt x="3276" y="0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4" name="Google Shape;9214;p56"/>
              <p:cNvSpPr/>
              <p:nvPr/>
            </p:nvSpPr>
            <p:spPr>
              <a:xfrm>
                <a:off x="1492085" y="4253278"/>
                <a:ext cx="122041" cy="92186"/>
              </a:xfrm>
              <a:custGeom>
                <a:avLst/>
                <a:gdLst/>
                <a:ahLst/>
                <a:cxnLst/>
                <a:rect l="l" t="t" r="r" b="b"/>
                <a:pathLst>
                  <a:path w="33574" h="25222" extrusionOk="0">
                    <a:moveTo>
                      <a:pt x="32291" y="1"/>
                    </a:moveTo>
                    <a:lnTo>
                      <a:pt x="1" y="23463"/>
                    </a:lnTo>
                    <a:lnTo>
                      <a:pt x="1277" y="25222"/>
                    </a:lnTo>
                    <a:lnTo>
                      <a:pt x="33574" y="1759"/>
                    </a:lnTo>
                    <a:lnTo>
                      <a:pt x="32291" y="1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15" name="Google Shape;9215;p56"/>
            <p:cNvGrpSpPr/>
            <p:nvPr/>
          </p:nvGrpSpPr>
          <p:grpSpPr>
            <a:xfrm>
              <a:off x="884610" y="3864082"/>
              <a:ext cx="1118566" cy="527275"/>
              <a:chOff x="890961" y="3865463"/>
              <a:chExt cx="1115221" cy="525698"/>
            </a:xfrm>
          </p:grpSpPr>
          <p:sp>
            <p:nvSpPr>
              <p:cNvPr id="9216" name="Google Shape;9216;p56"/>
              <p:cNvSpPr/>
              <p:nvPr/>
            </p:nvSpPr>
            <p:spPr>
              <a:xfrm>
                <a:off x="1070568" y="3865463"/>
                <a:ext cx="756474" cy="330074"/>
              </a:xfrm>
              <a:custGeom>
                <a:avLst/>
                <a:gdLst/>
                <a:ahLst/>
                <a:cxnLst/>
                <a:rect l="l" t="t" r="r" b="b"/>
                <a:pathLst>
                  <a:path w="148183" h="64657" extrusionOk="0">
                    <a:moveTo>
                      <a:pt x="74043" y="1"/>
                    </a:moveTo>
                    <a:cubicBezTo>
                      <a:pt x="45518" y="1"/>
                      <a:pt x="19504" y="10966"/>
                      <a:pt x="0" y="28932"/>
                    </a:cubicBezTo>
                    <a:lnTo>
                      <a:pt x="35732" y="64657"/>
                    </a:lnTo>
                    <a:cubicBezTo>
                      <a:pt x="45553" y="54774"/>
                      <a:pt x="59167" y="48663"/>
                      <a:pt x="74208" y="48663"/>
                    </a:cubicBezTo>
                    <a:cubicBezTo>
                      <a:pt x="89215" y="48663"/>
                      <a:pt x="102788" y="54739"/>
                      <a:pt x="112623" y="64567"/>
                    </a:cubicBezTo>
                    <a:lnTo>
                      <a:pt x="148182" y="29008"/>
                    </a:lnTo>
                    <a:cubicBezTo>
                      <a:pt x="128671" y="11008"/>
                      <a:pt x="102623" y="1"/>
                      <a:pt x="7404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7" name="Google Shape;9217;p56"/>
              <p:cNvSpPr/>
              <p:nvPr/>
            </p:nvSpPr>
            <p:spPr>
              <a:xfrm>
                <a:off x="890961" y="4013171"/>
                <a:ext cx="362006" cy="377990"/>
              </a:xfrm>
              <a:custGeom>
                <a:avLst/>
                <a:gdLst/>
                <a:ahLst/>
                <a:cxnLst/>
                <a:rect l="l" t="t" r="r" b="b"/>
                <a:pathLst>
                  <a:path w="70912" h="74043" extrusionOk="0">
                    <a:moveTo>
                      <a:pt x="35180" y="0"/>
                    </a:moveTo>
                    <a:cubicBezTo>
                      <a:pt x="14925" y="18642"/>
                      <a:pt x="1697" y="44814"/>
                      <a:pt x="0" y="74042"/>
                    </a:cubicBezTo>
                    <a:lnTo>
                      <a:pt x="55077" y="74042"/>
                    </a:lnTo>
                    <a:cubicBezTo>
                      <a:pt x="55077" y="59084"/>
                      <a:pt x="61118" y="45545"/>
                      <a:pt x="70912" y="35725"/>
                    </a:cubicBezTo>
                    <a:lnTo>
                      <a:pt x="35180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8" name="Google Shape;9218;p56"/>
              <p:cNvSpPr/>
              <p:nvPr/>
            </p:nvSpPr>
            <p:spPr>
              <a:xfrm>
                <a:off x="1645508" y="4013554"/>
                <a:ext cx="360673" cy="377607"/>
              </a:xfrm>
              <a:custGeom>
                <a:avLst/>
                <a:gdLst/>
                <a:ahLst/>
                <a:cxnLst/>
                <a:rect l="l" t="t" r="r" b="b"/>
                <a:pathLst>
                  <a:path w="70651" h="73968" extrusionOk="0">
                    <a:moveTo>
                      <a:pt x="35567" y="1"/>
                    </a:moveTo>
                    <a:lnTo>
                      <a:pt x="1" y="35560"/>
                    </a:lnTo>
                    <a:cubicBezTo>
                      <a:pt x="9836" y="45388"/>
                      <a:pt x="15912" y="58967"/>
                      <a:pt x="15912" y="73967"/>
                    </a:cubicBezTo>
                    <a:lnTo>
                      <a:pt x="70650" y="73967"/>
                    </a:lnTo>
                    <a:cubicBezTo>
                      <a:pt x="68954" y="44795"/>
                      <a:pt x="55767" y="18643"/>
                      <a:pt x="355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19" name="Google Shape;9219;p56"/>
            <p:cNvGrpSpPr/>
            <p:nvPr/>
          </p:nvGrpSpPr>
          <p:grpSpPr>
            <a:xfrm>
              <a:off x="712664" y="3693287"/>
              <a:ext cx="1460738" cy="698160"/>
              <a:chOff x="712664" y="3693025"/>
              <a:chExt cx="1460738" cy="698160"/>
            </a:xfrm>
          </p:grpSpPr>
          <p:sp>
            <p:nvSpPr>
              <p:cNvPr id="9220" name="Google Shape;9220;p56"/>
              <p:cNvSpPr/>
              <p:nvPr/>
            </p:nvSpPr>
            <p:spPr>
              <a:xfrm>
                <a:off x="1940752" y="4098034"/>
                <a:ext cx="232651" cy="293151"/>
              </a:xfrm>
              <a:custGeom>
                <a:avLst/>
                <a:gdLst/>
                <a:ahLst/>
                <a:cxnLst/>
                <a:rect l="l" t="t" r="r" b="b"/>
                <a:pathLst>
                  <a:path w="45484" h="57312" extrusionOk="0">
                    <a:moveTo>
                      <a:pt x="30704" y="0"/>
                    </a:moveTo>
                    <a:lnTo>
                      <a:pt x="0" y="13745"/>
                    </a:lnTo>
                    <a:cubicBezTo>
                      <a:pt x="6979" y="27270"/>
                      <a:pt x="11042" y="42111"/>
                      <a:pt x="11917" y="57311"/>
                    </a:cubicBezTo>
                    <a:lnTo>
                      <a:pt x="45484" y="57311"/>
                    </a:lnTo>
                    <a:cubicBezTo>
                      <a:pt x="44594" y="37118"/>
                      <a:pt x="39525" y="17683"/>
                      <a:pt x="3070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1" name="Google Shape;9221;p56"/>
              <p:cNvSpPr/>
              <p:nvPr/>
            </p:nvSpPr>
            <p:spPr>
              <a:xfrm>
                <a:off x="1736852" y="3804671"/>
                <a:ext cx="360950" cy="363671"/>
              </a:xfrm>
              <a:custGeom>
                <a:avLst/>
                <a:gdLst/>
                <a:ahLst/>
                <a:cxnLst/>
                <a:rect l="l" t="t" r="r" b="b"/>
                <a:pathLst>
                  <a:path w="70567" h="71099" extrusionOk="0">
                    <a:moveTo>
                      <a:pt x="18573" y="1"/>
                    </a:moveTo>
                    <a:lnTo>
                      <a:pt x="0" y="28008"/>
                    </a:lnTo>
                    <a:cubicBezTo>
                      <a:pt x="16938" y="38505"/>
                      <a:pt x="30711" y="53395"/>
                      <a:pt x="39863" y="71098"/>
                    </a:cubicBezTo>
                    <a:lnTo>
                      <a:pt x="70567" y="57353"/>
                    </a:lnTo>
                    <a:cubicBezTo>
                      <a:pt x="63753" y="43719"/>
                      <a:pt x="54712" y="31125"/>
                      <a:pt x="43629" y="20042"/>
                    </a:cubicBezTo>
                    <a:cubicBezTo>
                      <a:pt x="36049" y="12449"/>
                      <a:pt x="27642" y="5725"/>
                      <a:pt x="185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2" name="Google Shape;9222;p56"/>
              <p:cNvSpPr/>
              <p:nvPr/>
            </p:nvSpPr>
            <p:spPr>
              <a:xfrm>
                <a:off x="1443914" y="3693025"/>
                <a:ext cx="387937" cy="254911"/>
              </a:xfrm>
              <a:custGeom>
                <a:avLst/>
                <a:gdLst/>
                <a:ahLst/>
                <a:cxnLst/>
                <a:rect l="l" t="t" r="r" b="b"/>
                <a:pathLst>
                  <a:path w="75843" h="49836" extrusionOk="0">
                    <a:moveTo>
                      <a:pt x="0" y="0"/>
                    </a:moveTo>
                    <a:lnTo>
                      <a:pt x="0" y="33518"/>
                    </a:lnTo>
                    <a:cubicBezTo>
                      <a:pt x="20987" y="33552"/>
                      <a:pt x="40615" y="39518"/>
                      <a:pt x="57270" y="49835"/>
                    </a:cubicBezTo>
                    <a:lnTo>
                      <a:pt x="75843" y="21828"/>
                    </a:lnTo>
                    <a:cubicBezTo>
                      <a:pt x="53339" y="7641"/>
                      <a:pt x="27256" y="28"/>
                      <a:pt x="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3" name="Google Shape;9223;p56"/>
              <p:cNvSpPr/>
              <p:nvPr/>
            </p:nvSpPr>
            <p:spPr>
              <a:xfrm>
                <a:off x="1054844" y="3693025"/>
                <a:ext cx="389072" cy="254558"/>
              </a:xfrm>
              <a:custGeom>
                <a:avLst/>
                <a:gdLst/>
                <a:ahLst/>
                <a:cxnLst/>
                <a:rect l="l" t="t" r="r" b="b"/>
                <a:pathLst>
                  <a:path w="76065" h="49767" extrusionOk="0">
                    <a:moveTo>
                      <a:pt x="75892" y="0"/>
                    </a:moveTo>
                    <a:cubicBezTo>
                      <a:pt x="48629" y="0"/>
                      <a:pt x="22525" y="7579"/>
                      <a:pt x="1" y="21745"/>
                    </a:cubicBezTo>
                    <a:lnTo>
                      <a:pt x="18574" y="49766"/>
                    </a:lnTo>
                    <a:cubicBezTo>
                      <a:pt x="35250" y="39463"/>
                      <a:pt x="54898" y="33518"/>
                      <a:pt x="75892" y="33518"/>
                    </a:cubicBezTo>
                    <a:lnTo>
                      <a:pt x="76064" y="33518"/>
                    </a:lnTo>
                    <a:lnTo>
                      <a:pt x="7606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4" name="Google Shape;9224;p56"/>
              <p:cNvSpPr/>
              <p:nvPr/>
            </p:nvSpPr>
            <p:spPr>
              <a:xfrm>
                <a:off x="788438" y="3804252"/>
                <a:ext cx="361411" cy="363809"/>
              </a:xfrm>
              <a:custGeom>
                <a:avLst/>
                <a:gdLst/>
                <a:ahLst/>
                <a:cxnLst/>
                <a:rect l="l" t="t" r="r" b="b"/>
                <a:pathLst>
                  <a:path w="70657" h="71126" extrusionOk="0">
                    <a:moveTo>
                      <a:pt x="52084" y="0"/>
                    </a:moveTo>
                    <a:cubicBezTo>
                      <a:pt x="42959" y="5745"/>
                      <a:pt x="34518" y="12490"/>
                      <a:pt x="26904" y="20124"/>
                    </a:cubicBezTo>
                    <a:cubicBezTo>
                      <a:pt x="15828" y="31194"/>
                      <a:pt x="6800" y="43759"/>
                      <a:pt x="0" y="57373"/>
                    </a:cubicBezTo>
                    <a:lnTo>
                      <a:pt x="30704" y="71125"/>
                    </a:lnTo>
                    <a:cubicBezTo>
                      <a:pt x="39870" y="53401"/>
                      <a:pt x="53677" y="38504"/>
                      <a:pt x="70657" y="28021"/>
                    </a:cubicBezTo>
                    <a:lnTo>
                      <a:pt x="5208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5" name="Google Shape;9225;p56"/>
              <p:cNvSpPr/>
              <p:nvPr/>
            </p:nvSpPr>
            <p:spPr>
              <a:xfrm>
                <a:off x="712664" y="4097717"/>
                <a:ext cx="232830" cy="293432"/>
              </a:xfrm>
              <a:custGeom>
                <a:avLst/>
                <a:gdLst/>
                <a:ahLst/>
                <a:cxnLst/>
                <a:rect l="l" t="t" r="r" b="b"/>
                <a:pathLst>
                  <a:path w="45519" h="57367" extrusionOk="0">
                    <a:moveTo>
                      <a:pt x="14814" y="0"/>
                    </a:moveTo>
                    <a:cubicBezTo>
                      <a:pt x="5966" y="17697"/>
                      <a:pt x="890" y="37152"/>
                      <a:pt x="0" y="57366"/>
                    </a:cubicBezTo>
                    <a:lnTo>
                      <a:pt x="33566" y="57366"/>
                    </a:lnTo>
                    <a:cubicBezTo>
                      <a:pt x="34442" y="42152"/>
                      <a:pt x="38511" y="27283"/>
                      <a:pt x="45518" y="13745"/>
                    </a:cubicBezTo>
                    <a:lnTo>
                      <a:pt x="1481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26" name="Google Shape;9226;p56"/>
          <p:cNvGrpSpPr/>
          <p:nvPr/>
        </p:nvGrpSpPr>
        <p:grpSpPr>
          <a:xfrm>
            <a:off x="3164985" y="1191441"/>
            <a:ext cx="795485" cy="738831"/>
            <a:chOff x="3348603" y="1236445"/>
            <a:chExt cx="749256" cy="695894"/>
          </a:xfrm>
        </p:grpSpPr>
        <p:grpSp>
          <p:nvGrpSpPr>
            <p:cNvPr id="9227" name="Google Shape;9227;p56"/>
            <p:cNvGrpSpPr/>
            <p:nvPr/>
          </p:nvGrpSpPr>
          <p:grpSpPr>
            <a:xfrm>
              <a:off x="3583779" y="1236445"/>
              <a:ext cx="293795" cy="285811"/>
              <a:chOff x="3750225" y="1774000"/>
              <a:chExt cx="149575" cy="145525"/>
            </a:xfrm>
          </p:grpSpPr>
          <p:sp>
            <p:nvSpPr>
              <p:cNvPr id="9228" name="Google Shape;9228;p56"/>
              <p:cNvSpPr/>
              <p:nvPr/>
            </p:nvSpPr>
            <p:spPr>
              <a:xfrm>
                <a:off x="3750225" y="1774000"/>
                <a:ext cx="149575" cy="145525"/>
              </a:xfrm>
              <a:custGeom>
                <a:avLst/>
                <a:gdLst/>
                <a:ahLst/>
                <a:cxnLst/>
                <a:rect l="l" t="t" r="r" b="b"/>
                <a:pathLst>
                  <a:path w="5983" h="5821" extrusionOk="0">
                    <a:moveTo>
                      <a:pt x="2652" y="1"/>
                    </a:moveTo>
                    <a:cubicBezTo>
                      <a:pt x="1473" y="1"/>
                      <a:pt x="333" y="843"/>
                      <a:pt x="176" y="2200"/>
                    </a:cubicBezTo>
                    <a:cubicBezTo>
                      <a:pt x="1" y="3763"/>
                      <a:pt x="1259" y="4955"/>
                      <a:pt x="2643" y="4955"/>
                    </a:cubicBezTo>
                    <a:cubicBezTo>
                      <a:pt x="3079" y="4955"/>
                      <a:pt x="3528" y="4836"/>
                      <a:pt x="3948" y="4573"/>
                    </a:cubicBezTo>
                    <a:lnTo>
                      <a:pt x="5203" y="5821"/>
                    </a:lnTo>
                    <a:lnTo>
                      <a:pt x="5982" y="5035"/>
                    </a:lnTo>
                    <a:lnTo>
                      <a:pt x="4735" y="3787"/>
                    </a:lnTo>
                    <a:cubicBezTo>
                      <a:pt x="5340" y="2813"/>
                      <a:pt x="5196" y="1544"/>
                      <a:pt x="4388" y="729"/>
                    </a:cubicBezTo>
                    <a:cubicBezTo>
                      <a:pt x="3888" y="228"/>
                      <a:pt x="3265" y="1"/>
                      <a:pt x="2652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9" name="Google Shape;9229;p56"/>
              <p:cNvSpPr/>
              <p:nvPr/>
            </p:nvSpPr>
            <p:spPr>
              <a:xfrm>
                <a:off x="3776075" y="1794931"/>
                <a:ext cx="82600" cy="78800"/>
              </a:xfrm>
              <a:custGeom>
                <a:avLst/>
                <a:gdLst/>
                <a:ahLst/>
                <a:cxnLst/>
                <a:rect l="l" t="t" r="r" b="b"/>
                <a:pathLst>
                  <a:path w="3304" h="3152" extrusionOk="0">
                    <a:moveTo>
                      <a:pt x="1658" y="1"/>
                    </a:moveTo>
                    <a:cubicBezTo>
                      <a:pt x="853" y="1"/>
                      <a:pt x="162" y="612"/>
                      <a:pt x="87" y="1428"/>
                    </a:cubicBezTo>
                    <a:cubicBezTo>
                      <a:pt x="1" y="2294"/>
                      <a:pt x="635" y="3058"/>
                      <a:pt x="1501" y="3145"/>
                    </a:cubicBezTo>
                    <a:cubicBezTo>
                      <a:pt x="1550" y="3149"/>
                      <a:pt x="1598" y="3151"/>
                      <a:pt x="1647" y="3151"/>
                    </a:cubicBezTo>
                    <a:cubicBezTo>
                      <a:pt x="2451" y="3151"/>
                      <a:pt x="3142" y="2540"/>
                      <a:pt x="3217" y="1724"/>
                    </a:cubicBezTo>
                    <a:cubicBezTo>
                      <a:pt x="3304" y="858"/>
                      <a:pt x="2669" y="94"/>
                      <a:pt x="1804" y="7"/>
                    </a:cubicBezTo>
                    <a:cubicBezTo>
                      <a:pt x="1755" y="3"/>
                      <a:pt x="1706" y="1"/>
                      <a:pt x="165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0" name="Google Shape;9230;p56"/>
            <p:cNvGrpSpPr/>
            <p:nvPr/>
          </p:nvGrpSpPr>
          <p:grpSpPr>
            <a:xfrm>
              <a:off x="3775534" y="1462599"/>
              <a:ext cx="322325" cy="285958"/>
              <a:chOff x="3847850" y="1889150"/>
              <a:chExt cx="164100" cy="145600"/>
            </a:xfrm>
          </p:grpSpPr>
          <p:sp>
            <p:nvSpPr>
              <p:cNvPr id="9231" name="Google Shape;9231;p56"/>
              <p:cNvSpPr/>
              <p:nvPr/>
            </p:nvSpPr>
            <p:spPr>
              <a:xfrm>
                <a:off x="3847850" y="1889150"/>
                <a:ext cx="164100" cy="145600"/>
              </a:xfrm>
              <a:custGeom>
                <a:avLst/>
                <a:gdLst/>
                <a:ahLst/>
                <a:cxnLst/>
                <a:rect l="l" t="t" r="r" b="b"/>
                <a:pathLst>
                  <a:path w="6564" h="5824" extrusionOk="0">
                    <a:moveTo>
                      <a:pt x="3329" y="0"/>
                    </a:moveTo>
                    <a:cubicBezTo>
                      <a:pt x="1439" y="0"/>
                      <a:pt x="206" y="2117"/>
                      <a:pt x="1255" y="3790"/>
                    </a:cubicBezTo>
                    <a:lnTo>
                      <a:pt x="0" y="5038"/>
                    </a:lnTo>
                    <a:lnTo>
                      <a:pt x="786" y="5824"/>
                    </a:lnTo>
                    <a:lnTo>
                      <a:pt x="2034" y="4569"/>
                    </a:lnTo>
                    <a:cubicBezTo>
                      <a:pt x="2441" y="4823"/>
                      <a:pt x="2897" y="4947"/>
                      <a:pt x="3350" y="4947"/>
                    </a:cubicBezTo>
                    <a:cubicBezTo>
                      <a:pt x="3989" y="4947"/>
                      <a:pt x="4622" y="4700"/>
                      <a:pt x="5099" y="4223"/>
                    </a:cubicBezTo>
                    <a:cubicBezTo>
                      <a:pt x="6563" y="2758"/>
                      <a:pt x="5683" y="248"/>
                      <a:pt x="3628" y="18"/>
                    </a:cubicBezTo>
                    <a:cubicBezTo>
                      <a:pt x="3527" y="6"/>
                      <a:pt x="3427" y="0"/>
                      <a:pt x="332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2" name="Google Shape;9232;p56"/>
              <p:cNvSpPr/>
              <p:nvPr/>
            </p:nvSpPr>
            <p:spPr>
              <a:xfrm>
                <a:off x="3887875" y="1912456"/>
                <a:ext cx="89450" cy="78700"/>
              </a:xfrm>
              <a:custGeom>
                <a:avLst/>
                <a:gdLst/>
                <a:ahLst/>
                <a:cxnLst/>
                <a:rect l="l" t="t" r="r" b="b"/>
                <a:pathLst>
                  <a:path w="3578" h="3148" extrusionOk="0">
                    <a:moveTo>
                      <a:pt x="1788" y="0"/>
                    </a:moveTo>
                    <a:cubicBezTo>
                      <a:pt x="1172" y="0"/>
                      <a:pt x="587" y="366"/>
                      <a:pt x="332" y="968"/>
                    </a:cubicBezTo>
                    <a:cubicBezTo>
                      <a:pt x="0" y="1769"/>
                      <a:pt x="383" y="2692"/>
                      <a:pt x="1183" y="3024"/>
                    </a:cubicBezTo>
                    <a:cubicBezTo>
                      <a:pt x="1382" y="3108"/>
                      <a:pt x="1588" y="3147"/>
                      <a:pt x="1790" y="3147"/>
                    </a:cubicBezTo>
                    <a:cubicBezTo>
                      <a:pt x="2405" y="3147"/>
                      <a:pt x="2989" y="2782"/>
                      <a:pt x="3239" y="2180"/>
                    </a:cubicBezTo>
                    <a:cubicBezTo>
                      <a:pt x="3578" y="1379"/>
                      <a:pt x="3195" y="456"/>
                      <a:pt x="2395" y="124"/>
                    </a:cubicBezTo>
                    <a:cubicBezTo>
                      <a:pt x="2196" y="40"/>
                      <a:pt x="1990" y="0"/>
                      <a:pt x="178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3" name="Google Shape;9233;p56"/>
            <p:cNvGrpSpPr/>
            <p:nvPr/>
          </p:nvGrpSpPr>
          <p:grpSpPr>
            <a:xfrm>
              <a:off x="3545329" y="1646528"/>
              <a:ext cx="293746" cy="285811"/>
              <a:chOff x="3730650" y="1982800"/>
              <a:chExt cx="149550" cy="145525"/>
            </a:xfrm>
          </p:grpSpPr>
          <p:sp>
            <p:nvSpPr>
              <p:cNvPr id="9234" name="Google Shape;9234;p56"/>
              <p:cNvSpPr/>
              <p:nvPr/>
            </p:nvSpPr>
            <p:spPr>
              <a:xfrm>
                <a:off x="3730650" y="1982800"/>
                <a:ext cx="149550" cy="145525"/>
              </a:xfrm>
              <a:custGeom>
                <a:avLst/>
                <a:gdLst/>
                <a:ahLst/>
                <a:cxnLst/>
                <a:rect l="l" t="t" r="r" b="b"/>
                <a:pathLst>
                  <a:path w="5982" h="5821" extrusionOk="0">
                    <a:moveTo>
                      <a:pt x="786" y="0"/>
                    </a:moveTo>
                    <a:lnTo>
                      <a:pt x="0" y="787"/>
                    </a:lnTo>
                    <a:lnTo>
                      <a:pt x="1255" y="2034"/>
                    </a:lnTo>
                    <a:cubicBezTo>
                      <a:pt x="642" y="3008"/>
                      <a:pt x="786" y="4277"/>
                      <a:pt x="1601" y="5092"/>
                    </a:cubicBezTo>
                    <a:cubicBezTo>
                      <a:pt x="2102" y="5593"/>
                      <a:pt x="2724" y="5821"/>
                      <a:pt x="3335" y="5821"/>
                    </a:cubicBezTo>
                    <a:cubicBezTo>
                      <a:pt x="4512" y="5821"/>
                      <a:pt x="5649" y="4979"/>
                      <a:pt x="5806" y="3621"/>
                    </a:cubicBezTo>
                    <a:cubicBezTo>
                      <a:pt x="5981" y="2058"/>
                      <a:pt x="4723" y="867"/>
                      <a:pt x="3339" y="867"/>
                    </a:cubicBezTo>
                    <a:cubicBezTo>
                      <a:pt x="2903" y="867"/>
                      <a:pt x="2454" y="985"/>
                      <a:pt x="2034" y="1248"/>
                    </a:cubicBezTo>
                    <a:lnTo>
                      <a:pt x="786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5" name="Google Shape;9235;p56"/>
              <p:cNvSpPr/>
              <p:nvPr/>
            </p:nvSpPr>
            <p:spPr>
              <a:xfrm>
                <a:off x="3771925" y="2027231"/>
                <a:ext cx="86575" cy="78750"/>
              </a:xfrm>
              <a:custGeom>
                <a:avLst/>
                <a:gdLst/>
                <a:ahLst/>
                <a:cxnLst/>
                <a:rect l="l" t="t" r="r" b="b"/>
                <a:pathLst>
                  <a:path w="3463" h="3150" extrusionOk="0">
                    <a:moveTo>
                      <a:pt x="1740" y="0"/>
                    </a:moveTo>
                    <a:cubicBezTo>
                      <a:pt x="1022" y="0"/>
                      <a:pt x="376" y="485"/>
                      <a:pt x="203" y="1209"/>
                    </a:cubicBezTo>
                    <a:cubicBezTo>
                      <a:pt x="1" y="2060"/>
                      <a:pt x="527" y="2904"/>
                      <a:pt x="1371" y="3106"/>
                    </a:cubicBezTo>
                    <a:cubicBezTo>
                      <a:pt x="1493" y="3135"/>
                      <a:pt x="1615" y="3149"/>
                      <a:pt x="1735" y="3149"/>
                    </a:cubicBezTo>
                    <a:cubicBezTo>
                      <a:pt x="2447" y="3149"/>
                      <a:pt x="3095" y="2660"/>
                      <a:pt x="3268" y="1938"/>
                    </a:cubicBezTo>
                    <a:cubicBezTo>
                      <a:pt x="3463" y="1094"/>
                      <a:pt x="2943" y="243"/>
                      <a:pt x="2099" y="41"/>
                    </a:cubicBezTo>
                    <a:cubicBezTo>
                      <a:pt x="1979" y="13"/>
                      <a:pt x="1858" y="0"/>
                      <a:pt x="174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6" name="Google Shape;9236;p56"/>
            <p:cNvGrpSpPr/>
            <p:nvPr/>
          </p:nvGrpSpPr>
          <p:grpSpPr>
            <a:xfrm>
              <a:off x="3348603" y="1415046"/>
              <a:ext cx="294384" cy="284387"/>
              <a:chOff x="3630494" y="1864938"/>
              <a:chExt cx="149875" cy="144800"/>
            </a:xfrm>
          </p:grpSpPr>
          <p:sp>
            <p:nvSpPr>
              <p:cNvPr id="9237" name="Google Shape;9237;p56"/>
              <p:cNvSpPr/>
              <p:nvPr/>
            </p:nvSpPr>
            <p:spPr>
              <a:xfrm>
                <a:off x="3630494" y="1864938"/>
                <a:ext cx="149875" cy="144800"/>
              </a:xfrm>
              <a:custGeom>
                <a:avLst/>
                <a:gdLst/>
                <a:ahLst/>
                <a:cxnLst/>
                <a:rect l="l" t="t" r="r" b="b"/>
                <a:pathLst>
                  <a:path w="5995" h="5792" extrusionOk="0">
                    <a:moveTo>
                      <a:pt x="5251" y="0"/>
                    </a:moveTo>
                    <a:lnTo>
                      <a:pt x="4025" y="1226"/>
                    </a:lnTo>
                    <a:cubicBezTo>
                      <a:pt x="3619" y="974"/>
                      <a:pt x="3165" y="852"/>
                      <a:pt x="2716" y="852"/>
                    </a:cubicBezTo>
                    <a:cubicBezTo>
                      <a:pt x="1986" y="852"/>
                      <a:pt x="1267" y="1174"/>
                      <a:pt x="780" y="1782"/>
                    </a:cubicBezTo>
                    <a:cubicBezTo>
                      <a:pt x="1" y="2770"/>
                      <a:pt x="80" y="4183"/>
                      <a:pt x="967" y="5070"/>
                    </a:cubicBezTo>
                    <a:cubicBezTo>
                      <a:pt x="1449" y="5548"/>
                      <a:pt x="2082" y="5792"/>
                      <a:pt x="2716" y="5792"/>
                    </a:cubicBezTo>
                    <a:cubicBezTo>
                      <a:pt x="3259" y="5792"/>
                      <a:pt x="3804" y="5613"/>
                      <a:pt x="4256" y="5251"/>
                    </a:cubicBezTo>
                    <a:cubicBezTo>
                      <a:pt x="5237" y="4472"/>
                      <a:pt x="5475" y="3073"/>
                      <a:pt x="4811" y="2012"/>
                    </a:cubicBezTo>
                    <a:lnTo>
                      <a:pt x="5994" y="822"/>
                    </a:lnTo>
                    <a:cubicBezTo>
                      <a:pt x="5872" y="736"/>
                      <a:pt x="5756" y="642"/>
                      <a:pt x="5655" y="541"/>
                    </a:cubicBezTo>
                    <a:cubicBezTo>
                      <a:pt x="5497" y="382"/>
                      <a:pt x="5360" y="202"/>
                      <a:pt x="525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374957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8" name="Google Shape;9238;p56"/>
              <p:cNvSpPr/>
              <p:nvPr/>
            </p:nvSpPr>
            <p:spPr>
              <a:xfrm>
                <a:off x="3654119" y="1906594"/>
                <a:ext cx="86575" cy="78800"/>
              </a:xfrm>
              <a:custGeom>
                <a:avLst/>
                <a:gdLst/>
                <a:ahLst/>
                <a:cxnLst/>
                <a:rect l="l" t="t" r="r" b="b"/>
                <a:pathLst>
                  <a:path w="3463" h="3152" extrusionOk="0">
                    <a:moveTo>
                      <a:pt x="1733" y="0"/>
                    </a:moveTo>
                    <a:cubicBezTo>
                      <a:pt x="1018" y="0"/>
                      <a:pt x="375" y="490"/>
                      <a:pt x="203" y="1212"/>
                    </a:cubicBezTo>
                    <a:cubicBezTo>
                      <a:pt x="1" y="2056"/>
                      <a:pt x="520" y="2907"/>
                      <a:pt x="1371" y="3109"/>
                    </a:cubicBezTo>
                    <a:cubicBezTo>
                      <a:pt x="1493" y="3138"/>
                      <a:pt x="1615" y="3152"/>
                      <a:pt x="1735" y="3152"/>
                    </a:cubicBezTo>
                    <a:cubicBezTo>
                      <a:pt x="2447" y="3152"/>
                      <a:pt x="3094" y="2662"/>
                      <a:pt x="3261" y="1940"/>
                    </a:cubicBezTo>
                    <a:cubicBezTo>
                      <a:pt x="3463" y="1096"/>
                      <a:pt x="2943" y="245"/>
                      <a:pt x="2099" y="43"/>
                    </a:cubicBezTo>
                    <a:cubicBezTo>
                      <a:pt x="1976" y="14"/>
                      <a:pt x="1854" y="0"/>
                      <a:pt x="173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39" name="Google Shape;9239;p56"/>
          <p:cNvGrpSpPr/>
          <p:nvPr/>
        </p:nvGrpSpPr>
        <p:grpSpPr>
          <a:xfrm>
            <a:off x="2286512" y="3714337"/>
            <a:ext cx="1324924" cy="678083"/>
            <a:chOff x="2413923" y="3711366"/>
            <a:chExt cx="1374117" cy="703260"/>
          </a:xfrm>
        </p:grpSpPr>
        <p:grpSp>
          <p:nvGrpSpPr>
            <p:cNvPr id="9240" name="Google Shape;9240;p56"/>
            <p:cNvGrpSpPr/>
            <p:nvPr/>
          </p:nvGrpSpPr>
          <p:grpSpPr>
            <a:xfrm>
              <a:off x="2413923" y="3711366"/>
              <a:ext cx="1374117" cy="703260"/>
              <a:chOff x="2413923" y="3711366"/>
              <a:chExt cx="1374117" cy="703260"/>
            </a:xfrm>
          </p:grpSpPr>
          <p:sp>
            <p:nvSpPr>
              <p:cNvPr id="9241" name="Google Shape;9241;p56"/>
              <p:cNvSpPr/>
              <p:nvPr/>
            </p:nvSpPr>
            <p:spPr>
              <a:xfrm>
                <a:off x="2484774" y="3827200"/>
                <a:ext cx="1231201" cy="587426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242" name="Google Shape;9242;p56"/>
              <p:cNvGrpSpPr/>
              <p:nvPr/>
            </p:nvGrpSpPr>
            <p:grpSpPr>
              <a:xfrm>
                <a:off x="2600284" y="3808654"/>
                <a:ext cx="234506" cy="138009"/>
                <a:chOff x="2600284" y="3808654"/>
                <a:chExt cx="234506" cy="138009"/>
              </a:xfrm>
            </p:grpSpPr>
            <p:sp>
              <p:nvSpPr>
                <p:cNvPr id="9243" name="Google Shape;9243;p56"/>
                <p:cNvSpPr/>
                <p:nvPr/>
              </p:nvSpPr>
              <p:spPr>
                <a:xfrm>
                  <a:off x="2767890" y="3879764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44" name="Google Shape;9244;p56"/>
                <p:cNvCxnSpPr/>
                <p:nvPr/>
              </p:nvCxnSpPr>
              <p:spPr>
                <a:xfrm rot="10800000">
                  <a:off x="2600284" y="3808654"/>
                  <a:ext cx="201000" cy="723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45" name="Google Shape;9245;p56"/>
              <p:cNvGrpSpPr/>
              <p:nvPr/>
            </p:nvGrpSpPr>
            <p:grpSpPr>
              <a:xfrm>
                <a:off x="3359659" y="3805664"/>
                <a:ext cx="232294" cy="141000"/>
                <a:chOff x="3359659" y="3805664"/>
                <a:chExt cx="232294" cy="141000"/>
              </a:xfrm>
            </p:grpSpPr>
            <p:sp>
              <p:nvSpPr>
                <p:cNvPr id="9246" name="Google Shape;9246;p56"/>
                <p:cNvSpPr/>
                <p:nvPr/>
              </p:nvSpPr>
              <p:spPr>
                <a:xfrm>
                  <a:off x="3359659" y="3879764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47" name="Google Shape;9247;p56"/>
                <p:cNvCxnSpPr/>
                <p:nvPr/>
              </p:nvCxnSpPr>
              <p:spPr>
                <a:xfrm rot="10800000" flipH="1">
                  <a:off x="3393053" y="3805664"/>
                  <a:ext cx="198900" cy="780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48" name="Google Shape;9248;p56"/>
              <p:cNvGrpSpPr/>
              <p:nvPr/>
            </p:nvGrpSpPr>
            <p:grpSpPr>
              <a:xfrm>
                <a:off x="3067316" y="3711366"/>
                <a:ext cx="66900" cy="166809"/>
                <a:chOff x="3067316" y="3711366"/>
                <a:chExt cx="66900" cy="166809"/>
              </a:xfrm>
            </p:grpSpPr>
            <p:sp>
              <p:nvSpPr>
                <p:cNvPr id="9249" name="Google Shape;9249;p56"/>
                <p:cNvSpPr/>
                <p:nvPr/>
              </p:nvSpPr>
              <p:spPr>
                <a:xfrm>
                  <a:off x="3067316" y="381127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0" name="Google Shape;9250;p56"/>
                <p:cNvCxnSpPr/>
                <p:nvPr/>
              </p:nvCxnSpPr>
              <p:spPr>
                <a:xfrm rot="-5400000">
                  <a:off x="3050460" y="3761616"/>
                  <a:ext cx="1011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51" name="Google Shape;9251;p56"/>
              <p:cNvGrpSpPr/>
              <p:nvPr/>
            </p:nvGrpSpPr>
            <p:grpSpPr>
              <a:xfrm>
                <a:off x="2413923" y="4058666"/>
                <a:ext cx="224119" cy="66900"/>
                <a:chOff x="2413923" y="4058666"/>
                <a:chExt cx="224119" cy="66900"/>
              </a:xfrm>
            </p:grpSpPr>
            <p:sp>
              <p:nvSpPr>
                <p:cNvPr id="9252" name="Google Shape;9252;p56"/>
                <p:cNvSpPr/>
                <p:nvPr/>
              </p:nvSpPr>
              <p:spPr>
                <a:xfrm>
                  <a:off x="2571142" y="405866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3" name="Google Shape;9253;p56"/>
                <p:cNvCxnSpPr/>
                <p:nvPr/>
              </p:nvCxnSpPr>
              <p:spPr>
                <a:xfrm flipH="1">
                  <a:off x="2413923" y="4092060"/>
                  <a:ext cx="1596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54" name="Google Shape;9254;p56"/>
              <p:cNvGrpSpPr/>
              <p:nvPr/>
            </p:nvGrpSpPr>
            <p:grpSpPr>
              <a:xfrm>
                <a:off x="3564643" y="4058666"/>
                <a:ext cx="223397" cy="66900"/>
                <a:chOff x="3564643" y="4058666"/>
                <a:chExt cx="223397" cy="66900"/>
              </a:xfrm>
            </p:grpSpPr>
            <p:sp>
              <p:nvSpPr>
                <p:cNvPr id="9255" name="Google Shape;9255;p56"/>
                <p:cNvSpPr/>
                <p:nvPr/>
              </p:nvSpPr>
              <p:spPr>
                <a:xfrm>
                  <a:off x="3564643" y="405866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6" name="Google Shape;9256;p56"/>
                <p:cNvCxnSpPr/>
                <p:nvPr/>
              </p:nvCxnSpPr>
              <p:spPr>
                <a:xfrm>
                  <a:off x="3630240" y="4092060"/>
                  <a:ext cx="1578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</p:grpSp>
        <p:grpSp>
          <p:nvGrpSpPr>
            <p:cNvPr id="9257" name="Google Shape;9257;p56"/>
            <p:cNvGrpSpPr/>
            <p:nvPr/>
          </p:nvGrpSpPr>
          <p:grpSpPr>
            <a:xfrm>
              <a:off x="2633353" y="3965763"/>
              <a:ext cx="933975" cy="445687"/>
              <a:chOff x="2633353" y="3965763"/>
              <a:chExt cx="933975" cy="445687"/>
            </a:xfrm>
          </p:grpSpPr>
          <p:sp>
            <p:nvSpPr>
              <p:cNvPr id="9258" name="Google Shape;9258;p56"/>
              <p:cNvSpPr/>
              <p:nvPr/>
            </p:nvSpPr>
            <p:spPr>
              <a:xfrm>
                <a:off x="2633353" y="3965763"/>
                <a:ext cx="933975" cy="445687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59" name="Google Shape;9259;p56"/>
              <p:cNvSpPr/>
              <p:nvPr/>
            </p:nvSpPr>
            <p:spPr>
              <a:xfrm>
                <a:off x="2702006" y="4030399"/>
                <a:ext cx="798496" cy="381051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60" name="Google Shape;9260;p56"/>
          <p:cNvGrpSpPr/>
          <p:nvPr/>
        </p:nvGrpSpPr>
        <p:grpSpPr>
          <a:xfrm>
            <a:off x="6410784" y="1264884"/>
            <a:ext cx="1131087" cy="587383"/>
            <a:chOff x="238125" y="999450"/>
            <a:chExt cx="7140700" cy="3708225"/>
          </a:xfrm>
        </p:grpSpPr>
        <p:sp>
          <p:nvSpPr>
            <p:cNvPr id="9261" name="Google Shape;9261;p56"/>
            <p:cNvSpPr/>
            <p:nvPr/>
          </p:nvSpPr>
          <p:spPr>
            <a:xfrm>
              <a:off x="2171975" y="3872925"/>
              <a:ext cx="7900" cy="25"/>
            </a:xfrm>
            <a:custGeom>
              <a:avLst/>
              <a:gdLst/>
              <a:ahLst/>
              <a:cxnLst/>
              <a:rect l="l" t="t" r="r" b="b"/>
              <a:pathLst>
                <a:path w="316" h="1" extrusionOk="0">
                  <a:moveTo>
                    <a:pt x="316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2" name="Google Shape;9262;p56"/>
            <p:cNvSpPr/>
            <p:nvPr/>
          </p:nvSpPr>
          <p:spPr>
            <a:xfrm>
              <a:off x="2180300" y="999450"/>
              <a:ext cx="3256350" cy="3708225"/>
            </a:xfrm>
            <a:custGeom>
              <a:avLst/>
              <a:gdLst/>
              <a:ahLst/>
              <a:cxnLst/>
              <a:rect l="l" t="t" r="r" b="b"/>
              <a:pathLst>
                <a:path w="130254" h="148329" extrusionOk="0">
                  <a:moveTo>
                    <a:pt x="130254" y="0"/>
                  </a:moveTo>
                  <a:cubicBezTo>
                    <a:pt x="90641" y="0"/>
                    <a:pt x="69506" y="34788"/>
                    <a:pt x="50871" y="65485"/>
                  </a:cubicBezTo>
                  <a:cubicBezTo>
                    <a:pt x="32725" y="95360"/>
                    <a:pt x="19404" y="114939"/>
                    <a:pt x="0" y="114939"/>
                  </a:cubicBezTo>
                  <a:cubicBezTo>
                    <a:pt x="9213" y="114939"/>
                    <a:pt x="16695" y="122421"/>
                    <a:pt x="16695" y="131634"/>
                  </a:cubicBezTo>
                  <a:cubicBezTo>
                    <a:pt x="16695" y="140846"/>
                    <a:pt x="9213" y="148328"/>
                    <a:pt x="0" y="148328"/>
                  </a:cubicBezTo>
                  <a:cubicBezTo>
                    <a:pt x="39630" y="148328"/>
                    <a:pt x="60765" y="113541"/>
                    <a:pt x="79400" y="82844"/>
                  </a:cubicBezTo>
                  <a:cubicBezTo>
                    <a:pt x="97528" y="52951"/>
                    <a:pt x="110867" y="33372"/>
                    <a:pt x="130254" y="33372"/>
                  </a:cubicBezTo>
                  <a:cubicBezTo>
                    <a:pt x="121041" y="33075"/>
                    <a:pt x="113804" y="25383"/>
                    <a:pt x="114083" y="16170"/>
                  </a:cubicBezTo>
                  <a:cubicBezTo>
                    <a:pt x="114346" y="7360"/>
                    <a:pt x="121425" y="280"/>
                    <a:pt x="1302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3" name="Google Shape;9263;p56"/>
            <p:cNvSpPr/>
            <p:nvPr/>
          </p:nvSpPr>
          <p:spPr>
            <a:xfrm>
              <a:off x="238125" y="2853750"/>
              <a:ext cx="2358675" cy="1853475"/>
            </a:xfrm>
            <a:custGeom>
              <a:avLst/>
              <a:gdLst/>
              <a:ahLst/>
              <a:cxnLst/>
              <a:rect l="l" t="t" r="r" b="b"/>
              <a:pathLst>
                <a:path w="94347" h="74139" extrusionOk="0">
                  <a:moveTo>
                    <a:pt x="33354" y="1"/>
                  </a:moveTo>
                  <a:cubicBezTo>
                    <a:pt x="33354" y="9196"/>
                    <a:pt x="25872" y="16661"/>
                    <a:pt x="16642" y="16661"/>
                  </a:cubicBezTo>
                  <a:cubicBezTo>
                    <a:pt x="7482" y="16661"/>
                    <a:pt x="0" y="9196"/>
                    <a:pt x="0" y="1"/>
                  </a:cubicBezTo>
                  <a:lnTo>
                    <a:pt x="0" y="1"/>
                  </a:lnTo>
                  <a:cubicBezTo>
                    <a:pt x="0" y="40872"/>
                    <a:pt x="34858" y="74139"/>
                    <a:pt x="77670" y="74139"/>
                  </a:cubicBezTo>
                  <a:cubicBezTo>
                    <a:pt x="86882" y="74139"/>
                    <a:pt x="94347" y="66657"/>
                    <a:pt x="94347" y="57444"/>
                  </a:cubicBezTo>
                  <a:cubicBezTo>
                    <a:pt x="94347" y="48214"/>
                    <a:pt x="86882" y="40767"/>
                    <a:pt x="77670" y="40767"/>
                  </a:cubicBezTo>
                  <a:lnTo>
                    <a:pt x="77355" y="40767"/>
                  </a:lnTo>
                  <a:cubicBezTo>
                    <a:pt x="53073" y="40610"/>
                    <a:pt x="33354" y="22394"/>
                    <a:pt x="333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4" name="Google Shape;9264;p56"/>
            <p:cNvSpPr/>
            <p:nvPr/>
          </p:nvSpPr>
          <p:spPr>
            <a:xfrm>
              <a:off x="238125" y="999450"/>
              <a:ext cx="1942200" cy="2270400"/>
            </a:xfrm>
            <a:custGeom>
              <a:avLst/>
              <a:gdLst/>
              <a:ahLst/>
              <a:cxnLst/>
              <a:rect l="l" t="t" r="r" b="b"/>
              <a:pathLst>
                <a:path w="77688" h="90816" extrusionOk="0">
                  <a:moveTo>
                    <a:pt x="77687" y="0"/>
                  </a:moveTo>
                  <a:cubicBezTo>
                    <a:pt x="34858" y="0"/>
                    <a:pt x="0" y="33249"/>
                    <a:pt x="0" y="74138"/>
                  </a:cubicBezTo>
                  <a:cubicBezTo>
                    <a:pt x="0" y="83368"/>
                    <a:pt x="7482" y="90815"/>
                    <a:pt x="16695" y="90815"/>
                  </a:cubicBezTo>
                  <a:cubicBezTo>
                    <a:pt x="25925" y="90815"/>
                    <a:pt x="33372" y="83351"/>
                    <a:pt x="33389" y="74138"/>
                  </a:cubicBezTo>
                  <a:lnTo>
                    <a:pt x="33389" y="74120"/>
                  </a:lnTo>
                  <a:cubicBezTo>
                    <a:pt x="33389" y="51654"/>
                    <a:pt x="53222" y="33378"/>
                    <a:pt x="77639" y="33354"/>
                  </a:cubicBezTo>
                  <a:lnTo>
                    <a:pt x="77639" y="33354"/>
                  </a:lnTo>
                  <a:cubicBezTo>
                    <a:pt x="77644" y="33354"/>
                    <a:pt x="77650" y="33354"/>
                    <a:pt x="77655" y="33354"/>
                  </a:cubicBezTo>
                  <a:cubicBezTo>
                    <a:pt x="77666" y="33354"/>
                    <a:pt x="77676" y="33354"/>
                    <a:pt x="77687" y="33354"/>
                  </a:cubicBezTo>
                  <a:cubicBezTo>
                    <a:pt x="77671" y="33354"/>
                    <a:pt x="77655" y="33354"/>
                    <a:pt x="77639" y="33354"/>
                  </a:cubicBezTo>
                  <a:lnTo>
                    <a:pt x="77639" y="33354"/>
                  </a:lnTo>
                  <a:cubicBezTo>
                    <a:pt x="68431" y="33346"/>
                    <a:pt x="60992" y="25874"/>
                    <a:pt x="60992" y="16695"/>
                  </a:cubicBezTo>
                  <a:cubicBezTo>
                    <a:pt x="60992" y="7482"/>
                    <a:pt x="68457" y="0"/>
                    <a:pt x="776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5" name="Google Shape;9265;p56"/>
            <p:cNvSpPr/>
            <p:nvPr/>
          </p:nvSpPr>
          <p:spPr>
            <a:xfrm>
              <a:off x="3808250" y="28528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DB634B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6" name="Google Shape;9266;p56"/>
            <p:cNvSpPr/>
            <p:nvPr/>
          </p:nvSpPr>
          <p:spPr>
            <a:xfrm>
              <a:off x="1762475" y="999450"/>
              <a:ext cx="2386250" cy="2044875"/>
            </a:xfrm>
            <a:custGeom>
              <a:avLst/>
              <a:gdLst/>
              <a:ahLst/>
              <a:cxnLst/>
              <a:rect l="l" t="t" r="r" b="b"/>
              <a:pathLst>
                <a:path w="95450" h="81795" extrusionOk="0">
                  <a:moveTo>
                    <a:pt x="16696" y="0"/>
                  </a:moveTo>
                  <a:cubicBezTo>
                    <a:pt x="7465" y="0"/>
                    <a:pt x="1" y="7482"/>
                    <a:pt x="1" y="16695"/>
                  </a:cubicBezTo>
                  <a:cubicBezTo>
                    <a:pt x="1" y="25925"/>
                    <a:pt x="7465" y="33389"/>
                    <a:pt x="16696" y="33389"/>
                  </a:cubicBezTo>
                  <a:cubicBezTo>
                    <a:pt x="36030" y="33389"/>
                    <a:pt x="49473" y="53038"/>
                    <a:pt x="66325" y="80781"/>
                  </a:cubicBezTo>
                  <a:cubicBezTo>
                    <a:pt x="66552" y="81130"/>
                    <a:pt x="66762" y="81463"/>
                    <a:pt x="67007" y="81795"/>
                  </a:cubicBezTo>
                  <a:cubicBezTo>
                    <a:pt x="63021" y="74086"/>
                    <a:pt x="65643" y="64471"/>
                    <a:pt x="73178" y="59891"/>
                  </a:cubicBezTo>
                  <a:cubicBezTo>
                    <a:pt x="75886" y="58251"/>
                    <a:pt x="78874" y="57469"/>
                    <a:pt x="81824" y="57469"/>
                  </a:cubicBezTo>
                  <a:cubicBezTo>
                    <a:pt x="87083" y="57469"/>
                    <a:pt x="92224" y="59953"/>
                    <a:pt x="95449" y="64488"/>
                  </a:cubicBezTo>
                  <a:cubicBezTo>
                    <a:pt x="95274" y="64139"/>
                    <a:pt x="95064" y="63789"/>
                    <a:pt x="94855" y="63439"/>
                  </a:cubicBezTo>
                  <a:cubicBezTo>
                    <a:pt x="77653" y="35190"/>
                    <a:pt x="56291" y="0"/>
                    <a:pt x="166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213B5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7" name="Google Shape;9267;p56"/>
            <p:cNvSpPr/>
            <p:nvPr/>
          </p:nvSpPr>
          <p:spPr>
            <a:xfrm>
              <a:off x="3338000" y="2435975"/>
              <a:ext cx="2101275" cy="2271250"/>
            </a:xfrm>
            <a:custGeom>
              <a:avLst/>
              <a:gdLst/>
              <a:ahLst/>
              <a:cxnLst/>
              <a:rect l="l" t="t" r="r" b="b"/>
              <a:pathLst>
                <a:path w="84051" h="90850" extrusionOk="0">
                  <a:moveTo>
                    <a:pt x="84011" y="57465"/>
                  </a:moveTo>
                  <a:cubicBezTo>
                    <a:pt x="83994" y="57465"/>
                    <a:pt x="83972" y="57469"/>
                    <a:pt x="83946" y="57478"/>
                  </a:cubicBezTo>
                  <a:lnTo>
                    <a:pt x="84050" y="57478"/>
                  </a:lnTo>
                  <a:cubicBezTo>
                    <a:pt x="84042" y="57469"/>
                    <a:pt x="84029" y="57465"/>
                    <a:pt x="84011" y="57465"/>
                  </a:cubicBezTo>
                  <a:close/>
                  <a:moveTo>
                    <a:pt x="18801" y="0"/>
                  </a:moveTo>
                  <a:cubicBezTo>
                    <a:pt x="15851" y="0"/>
                    <a:pt x="12864" y="784"/>
                    <a:pt x="10157" y="2430"/>
                  </a:cubicBezTo>
                  <a:cubicBezTo>
                    <a:pt x="2622" y="7027"/>
                    <a:pt x="0" y="16625"/>
                    <a:pt x="3986" y="24334"/>
                  </a:cubicBezTo>
                  <a:cubicBezTo>
                    <a:pt x="4161" y="24683"/>
                    <a:pt x="4370" y="25033"/>
                    <a:pt x="4563" y="25348"/>
                  </a:cubicBezTo>
                  <a:cubicBezTo>
                    <a:pt x="23198" y="56062"/>
                    <a:pt x="44333" y="90850"/>
                    <a:pt x="83963" y="90850"/>
                  </a:cubicBezTo>
                  <a:cubicBezTo>
                    <a:pt x="74750" y="90850"/>
                    <a:pt x="67268" y="83368"/>
                    <a:pt x="67268" y="74155"/>
                  </a:cubicBezTo>
                  <a:cubicBezTo>
                    <a:pt x="67268" y="64925"/>
                    <a:pt x="74750" y="57478"/>
                    <a:pt x="83946" y="57478"/>
                  </a:cubicBezTo>
                  <a:cubicBezTo>
                    <a:pt x="64541" y="57478"/>
                    <a:pt x="51220" y="37899"/>
                    <a:pt x="33075" y="8024"/>
                  </a:cubicBezTo>
                  <a:cubicBezTo>
                    <a:pt x="32865" y="7674"/>
                    <a:pt x="32638" y="7342"/>
                    <a:pt x="32428" y="7027"/>
                  </a:cubicBezTo>
                  <a:cubicBezTo>
                    <a:pt x="29202" y="2491"/>
                    <a:pt x="24061" y="0"/>
                    <a:pt x="188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8" name="Google Shape;9268;p56"/>
            <p:cNvSpPr/>
            <p:nvPr/>
          </p:nvSpPr>
          <p:spPr>
            <a:xfrm>
              <a:off x="5019250" y="2852875"/>
              <a:ext cx="2359150" cy="1854350"/>
            </a:xfrm>
            <a:custGeom>
              <a:avLst/>
              <a:gdLst/>
              <a:ahLst/>
              <a:cxnLst/>
              <a:rect l="l" t="t" r="r" b="b"/>
              <a:pathLst>
                <a:path w="94366" h="74174" extrusionOk="0">
                  <a:moveTo>
                    <a:pt x="94365" y="18"/>
                  </a:moveTo>
                  <a:cubicBezTo>
                    <a:pt x="94365" y="47"/>
                    <a:pt x="94365" y="76"/>
                    <a:pt x="94365" y="105"/>
                  </a:cubicBezTo>
                  <a:lnTo>
                    <a:pt x="94365" y="105"/>
                  </a:lnTo>
                  <a:cubicBezTo>
                    <a:pt x="94365" y="76"/>
                    <a:pt x="94365" y="47"/>
                    <a:pt x="94365" y="18"/>
                  </a:cubicBezTo>
                  <a:close/>
                  <a:moveTo>
                    <a:pt x="60993" y="1"/>
                  </a:moveTo>
                  <a:cubicBezTo>
                    <a:pt x="60993" y="22447"/>
                    <a:pt x="41187" y="40715"/>
                    <a:pt x="16800" y="40785"/>
                  </a:cubicBezTo>
                  <a:lnTo>
                    <a:pt x="16696" y="40785"/>
                  </a:lnTo>
                  <a:cubicBezTo>
                    <a:pt x="7465" y="40785"/>
                    <a:pt x="1" y="48249"/>
                    <a:pt x="1" y="57479"/>
                  </a:cubicBezTo>
                  <a:cubicBezTo>
                    <a:pt x="1" y="66692"/>
                    <a:pt x="7483" y="74174"/>
                    <a:pt x="16696" y="74174"/>
                  </a:cubicBezTo>
                  <a:cubicBezTo>
                    <a:pt x="59495" y="74174"/>
                    <a:pt x="94316" y="40954"/>
                    <a:pt x="94365" y="105"/>
                  </a:cubicBezTo>
                  <a:lnTo>
                    <a:pt x="94365" y="105"/>
                  </a:lnTo>
                  <a:cubicBezTo>
                    <a:pt x="94336" y="9278"/>
                    <a:pt x="86872" y="16696"/>
                    <a:pt x="77688" y="16696"/>
                  </a:cubicBezTo>
                  <a:cubicBezTo>
                    <a:pt x="68458" y="16696"/>
                    <a:pt x="60993" y="9231"/>
                    <a:pt x="609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9" name="Google Shape;9269;p56"/>
            <p:cNvSpPr/>
            <p:nvPr/>
          </p:nvSpPr>
          <p:spPr>
            <a:xfrm>
              <a:off x="5025375" y="999450"/>
              <a:ext cx="2353450" cy="2270825"/>
            </a:xfrm>
            <a:custGeom>
              <a:avLst/>
              <a:gdLst/>
              <a:ahLst/>
              <a:cxnLst/>
              <a:rect l="l" t="t" r="r" b="b"/>
              <a:pathLst>
                <a:path w="94138" h="90833" extrusionOk="0">
                  <a:moveTo>
                    <a:pt x="16451" y="0"/>
                  </a:moveTo>
                  <a:cubicBezTo>
                    <a:pt x="7640" y="280"/>
                    <a:pt x="560" y="7360"/>
                    <a:pt x="280" y="16170"/>
                  </a:cubicBezTo>
                  <a:cubicBezTo>
                    <a:pt x="1" y="25400"/>
                    <a:pt x="7238" y="33092"/>
                    <a:pt x="16451" y="33372"/>
                  </a:cubicBezTo>
                  <a:lnTo>
                    <a:pt x="16520" y="33372"/>
                  </a:lnTo>
                  <a:cubicBezTo>
                    <a:pt x="40907" y="33389"/>
                    <a:pt x="60748" y="51675"/>
                    <a:pt x="60748" y="74138"/>
                  </a:cubicBezTo>
                  <a:cubicBezTo>
                    <a:pt x="60748" y="83368"/>
                    <a:pt x="68213" y="90833"/>
                    <a:pt x="77443" y="90833"/>
                  </a:cubicBezTo>
                  <a:cubicBezTo>
                    <a:pt x="86656" y="90833"/>
                    <a:pt x="94138" y="83368"/>
                    <a:pt x="94138" y="74138"/>
                  </a:cubicBezTo>
                  <a:cubicBezTo>
                    <a:pt x="94138" y="33249"/>
                    <a:pt x="59280" y="0"/>
                    <a:pt x="164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70" name="Google Shape;9270;p56"/>
          <p:cNvGrpSpPr/>
          <p:nvPr/>
        </p:nvGrpSpPr>
        <p:grpSpPr>
          <a:xfrm>
            <a:off x="3762234" y="3714379"/>
            <a:ext cx="1375854" cy="678131"/>
            <a:chOff x="3913765" y="3641905"/>
            <a:chExt cx="1522805" cy="750560"/>
          </a:xfrm>
        </p:grpSpPr>
        <p:grpSp>
          <p:nvGrpSpPr>
            <p:cNvPr id="9271" name="Google Shape;9271;p56"/>
            <p:cNvGrpSpPr/>
            <p:nvPr/>
          </p:nvGrpSpPr>
          <p:grpSpPr>
            <a:xfrm>
              <a:off x="3913765" y="3997002"/>
              <a:ext cx="1522805" cy="395463"/>
              <a:chOff x="3913765" y="3997002"/>
              <a:chExt cx="1522805" cy="395463"/>
            </a:xfrm>
          </p:grpSpPr>
          <p:grpSp>
            <p:nvGrpSpPr>
              <p:cNvPr id="9272" name="Google Shape;9272;p56"/>
              <p:cNvGrpSpPr/>
              <p:nvPr/>
            </p:nvGrpSpPr>
            <p:grpSpPr>
              <a:xfrm>
                <a:off x="3913765" y="4138659"/>
                <a:ext cx="507602" cy="253806"/>
                <a:chOff x="3913765" y="4138659"/>
                <a:chExt cx="507602" cy="253806"/>
              </a:xfrm>
            </p:grpSpPr>
            <p:sp>
              <p:nvSpPr>
                <p:cNvPr id="9273" name="Google Shape;9273;p56"/>
                <p:cNvSpPr/>
                <p:nvPr/>
              </p:nvSpPr>
              <p:spPr>
                <a:xfrm>
                  <a:off x="3913765" y="4138659"/>
                  <a:ext cx="507602" cy="507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2" h="9502" fill="none" extrusionOk="0">
                      <a:moveTo>
                        <a:pt x="95011" y="1"/>
                      </a:moveTo>
                      <a:lnTo>
                        <a:pt x="23755" y="1"/>
                      </a:lnTo>
                      <a:lnTo>
                        <a:pt x="1" y="9501"/>
                      </a:lnTo>
                      <a:lnTo>
                        <a:pt x="95011" y="950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74" name="Google Shape;9274;p56"/>
                <p:cNvSpPr/>
                <p:nvPr/>
              </p:nvSpPr>
              <p:spPr>
                <a:xfrm>
                  <a:off x="3913765" y="4189418"/>
                  <a:ext cx="507602" cy="2030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2" h="38006" fill="none" extrusionOk="0">
                      <a:moveTo>
                        <a:pt x="1" y="0"/>
                      </a:moveTo>
                      <a:lnTo>
                        <a:pt x="1" y="38005"/>
                      </a:lnTo>
                      <a:lnTo>
                        <a:pt x="95011" y="38005"/>
                      </a:lnTo>
                      <a:lnTo>
                        <a:pt x="95011" y="38005"/>
                      </a:lnTo>
                      <a:lnTo>
                        <a:pt x="95011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r>
                    <a:rPr lang="en"/>
                    <a:t>     </a:t>
                  </a:r>
                  <a:endParaRPr/>
                </a:p>
              </p:txBody>
            </p:sp>
          </p:grpSp>
          <p:grpSp>
            <p:nvGrpSpPr>
              <p:cNvPr id="9275" name="Google Shape;9275;p56"/>
              <p:cNvGrpSpPr/>
              <p:nvPr/>
            </p:nvGrpSpPr>
            <p:grpSpPr>
              <a:xfrm>
                <a:off x="4421361" y="3997002"/>
                <a:ext cx="507618" cy="395463"/>
                <a:chOff x="4421361" y="3997002"/>
                <a:chExt cx="507618" cy="395463"/>
              </a:xfrm>
            </p:grpSpPr>
            <p:sp>
              <p:nvSpPr>
                <p:cNvPr id="9276" name="Google Shape;9276;p56"/>
                <p:cNvSpPr/>
                <p:nvPr/>
              </p:nvSpPr>
              <p:spPr>
                <a:xfrm>
                  <a:off x="4421361" y="3997002"/>
                  <a:ext cx="507618" cy="507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5" h="9501" fill="none" extrusionOk="0">
                      <a:moveTo>
                        <a:pt x="71260" y="0"/>
                      </a:moveTo>
                      <a:lnTo>
                        <a:pt x="23755" y="0"/>
                      </a:lnTo>
                      <a:lnTo>
                        <a:pt x="0" y="9501"/>
                      </a:lnTo>
                      <a:lnTo>
                        <a:pt x="95014" y="9501"/>
                      </a:lnTo>
                      <a:close/>
                    </a:path>
                  </a:pathLst>
                </a:custGeom>
                <a:noFill/>
                <a:ln w="9525" cap="sq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77" name="Google Shape;9277;p56"/>
                <p:cNvSpPr/>
                <p:nvPr/>
              </p:nvSpPr>
              <p:spPr>
                <a:xfrm>
                  <a:off x="4421361" y="4047756"/>
                  <a:ext cx="507618" cy="3447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5" h="64522" fill="none" extrusionOk="0">
                      <a:moveTo>
                        <a:pt x="0" y="1"/>
                      </a:moveTo>
                      <a:lnTo>
                        <a:pt x="0" y="64521"/>
                      </a:lnTo>
                      <a:lnTo>
                        <a:pt x="95014" y="64521"/>
                      </a:lnTo>
                      <a:lnTo>
                        <a:pt x="95014" y="35846"/>
                      </a:lnTo>
                      <a:lnTo>
                        <a:pt x="95014" y="35846"/>
                      </a:lnTo>
                      <a:lnTo>
                        <a:pt x="95014" y="26286"/>
                      </a:lnTo>
                      <a:lnTo>
                        <a:pt x="95014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DBE2E7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278" name="Google Shape;9278;p56"/>
              <p:cNvGrpSpPr/>
              <p:nvPr/>
            </p:nvGrpSpPr>
            <p:grpSpPr>
              <a:xfrm>
                <a:off x="4928973" y="4189418"/>
                <a:ext cx="507596" cy="203047"/>
                <a:chOff x="4928973" y="4189418"/>
                <a:chExt cx="507596" cy="203047"/>
              </a:xfrm>
            </p:grpSpPr>
            <p:sp>
              <p:nvSpPr>
                <p:cNvPr id="9279" name="Google Shape;9279;p56"/>
                <p:cNvSpPr/>
                <p:nvPr/>
              </p:nvSpPr>
              <p:spPr>
                <a:xfrm>
                  <a:off x="4928973" y="4189418"/>
                  <a:ext cx="507596" cy="507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1" h="9501" fill="none" extrusionOk="0">
                      <a:moveTo>
                        <a:pt x="95011" y="9501"/>
                      </a:moveTo>
                      <a:lnTo>
                        <a:pt x="71260" y="0"/>
                      </a:lnTo>
                      <a:lnTo>
                        <a:pt x="0" y="0"/>
                      </a:lnTo>
                      <a:lnTo>
                        <a:pt x="0" y="950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80" name="Google Shape;9280;p56"/>
                <p:cNvSpPr/>
                <p:nvPr/>
              </p:nvSpPr>
              <p:spPr>
                <a:xfrm>
                  <a:off x="4928973" y="4240172"/>
                  <a:ext cx="507596" cy="1522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1" h="28506" fill="none" extrusionOk="0">
                      <a:moveTo>
                        <a:pt x="0" y="28505"/>
                      </a:moveTo>
                      <a:lnTo>
                        <a:pt x="0" y="28505"/>
                      </a:lnTo>
                      <a:lnTo>
                        <a:pt x="95011" y="28505"/>
                      </a:lnTo>
                      <a:lnTo>
                        <a:pt x="95011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9281" name="Google Shape;9281;p56"/>
            <p:cNvGrpSpPr/>
            <p:nvPr/>
          </p:nvGrpSpPr>
          <p:grpSpPr>
            <a:xfrm>
              <a:off x="4482186" y="3641905"/>
              <a:ext cx="397605" cy="349784"/>
              <a:chOff x="2906375" y="1159725"/>
              <a:chExt cx="1860575" cy="1636800"/>
            </a:xfrm>
          </p:grpSpPr>
          <p:sp>
            <p:nvSpPr>
              <p:cNvPr id="9282" name="Google Shape;9282;p56"/>
              <p:cNvSpPr/>
              <p:nvPr/>
            </p:nvSpPr>
            <p:spPr>
              <a:xfrm>
                <a:off x="2906375" y="1159725"/>
                <a:ext cx="1860575" cy="1320800"/>
              </a:xfrm>
              <a:custGeom>
                <a:avLst/>
                <a:gdLst/>
                <a:ahLst/>
                <a:cxnLst/>
                <a:rect l="l" t="t" r="r" b="b"/>
                <a:pathLst>
                  <a:path w="74423" h="52832" fill="none" extrusionOk="0">
                    <a:moveTo>
                      <a:pt x="74300" y="9469"/>
                    </a:moveTo>
                    <a:cubicBezTo>
                      <a:pt x="74046" y="6953"/>
                      <a:pt x="72972" y="4566"/>
                      <a:pt x="71233" y="2899"/>
                    </a:cubicBezTo>
                    <a:cubicBezTo>
                      <a:pt x="71029" y="2682"/>
                      <a:pt x="70807" y="2484"/>
                      <a:pt x="70569" y="2305"/>
                    </a:cubicBezTo>
                    <a:cubicBezTo>
                      <a:pt x="70326" y="2123"/>
                      <a:pt x="70133" y="1933"/>
                      <a:pt x="69847" y="1767"/>
                    </a:cubicBezTo>
                    <a:cubicBezTo>
                      <a:pt x="69576" y="1596"/>
                      <a:pt x="69301" y="1435"/>
                      <a:pt x="69030" y="1280"/>
                    </a:cubicBezTo>
                    <a:cubicBezTo>
                      <a:pt x="68792" y="1159"/>
                      <a:pt x="68599" y="1084"/>
                      <a:pt x="68385" y="985"/>
                    </a:cubicBezTo>
                    <a:cubicBezTo>
                      <a:pt x="67280" y="522"/>
                      <a:pt x="66290" y="276"/>
                      <a:pt x="65270" y="188"/>
                    </a:cubicBezTo>
                    <a:cubicBezTo>
                      <a:pt x="63260" y="1"/>
                      <a:pt x="61470" y="332"/>
                      <a:pt x="60001" y="803"/>
                    </a:cubicBezTo>
                    <a:cubicBezTo>
                      <a:pt x="58778" y="1194"/>
                      <a:pt x="57603" y="1727"/>
                      <a:pt x="56500" y="2385"/>
                    </a:cubicBezTo>
                    <a:cubicBezTo>
                      <a:pt x="56396" y="1617"/>
                      <a:pt x="56273" y="1012"/>
                      <a:pt x="56179" y="613"/>
                    </a:cubicBezTo>
                    <a:cubicBezTo>
                      <a:pt x="56104" y="298"/>
                      <a:pt x="55821" y="73"/>
                      <a:pt x="55497" y="78"/>
                    </a:cubicBezTo>
                    <a:lnTo>
                      <a:pt x="38984" y="255"/>
                    </a:lnTo>
                    <a:lnTo>
                      <a:pt x="35208" y="295"/>
                    </a:lnTo>
                    <a:lnTo>
                      <a:pt x="18696" y="472"/>
                    </a:lnTo>
                    <a:cubicBezTo>
                      <a:pt x="18370" y="474"/>
                      <a:pt x="18091" y="704"/>
                      <a:pt x="18027" y="1023"/>
                    </a:cubicBezTo>
                    <a:cubicBezTo>
                      <a:pt x="17941" y="1422"/>
                      <a:pt x="17829" y="2026"/>
                      <a:pt x="17741" y="2800"/>
                    </a:cubicBezTo>
                    <a:cubicBezTo>
                      <a:pt x="16625" y="2163"/>
                      <a:pt x="15439" y="1657"/>
                      <a:pt x="14211" y="1290"/>
                    </a:cubicBezTo>
                    <a:cubicBezTo>
                      <a:pt x="12731" y="854"/>
                      <a:pt x="10935" y="560"/>
                      <a:pt x="8931" y="790"/>
                    </a:cubicBezTo>
                    <a:cubicBezTo>
                      <a:pt x="7908" y="900"/>
                      <a:pt x="6923" y="1167"/>
                      <a:pt x="5832" y="1652"/>
                    </a:cubicBezTo>
                    <a:cubicBezTo>
                      <a:pt x="5620" y="1756"/>
                      <a:pt x="5427" y="1839"/>
                      <a:pt x="5192" y="1965"/>
                    </a:cubicBezTo>
                    <a:cubicBezTo>
                      <a:pt x="4924" y="2125"/>
                      <a:pt x="4651" y="2291"/>
                      <a:pt x="4384" y="2465"/>
                    </a:cubicBezTo>
                    <a:cubicBezTo>
                      <a:pt x="4103" y="2639"/>
                      <a:pt x="3915" y="2832"/>
                      <a:pt x="3675" y="3019"/>
                    </a:cubicBezTo>
                    <a:cubicBezTo>
                      <a:pt x="3439" y="3204"/>
                      <a:pt x="3222" y="3407"/>
                      <a:pt x="3022" y="3627"/>
                    </a:cubicBezTo>
                    <a:cubicBezTo>
                      <a:pt x="1319" y="5332"/>
                      <a:pt x="294" y="7743"/>
                      <a:pt x="99" y="10261"/>
                    </a:cubicBezTo>
                    <a:cubicBezTo>
                      <a:pt x="0" y="11524"/>
                      <a:pt x="104" y="12828"/>
                      <a:pt x="466" y="14096"/>
                    </a:cubicBezTo>
                    <a:cubicBezTo>
                      <a:pt x="653" y="14725"/>
                      <a:pt x="875" y="15354"/>
                      <a:pt x="1175" y="15953"/>
                    </a:cubicBezTo>
                    <a:lnTo>
                      <a:pt x="1282" y="16181"/>
                    </a:lnTo>
                    <a:lnTo>
                      <a:pt x="1362" y="16341"/>
                    </a:lnTo>
                    <a:lnTo>
                      <a:pt x="1416" y="16432"/>
                    </a:lnTo>
                    <a:lnTo>
                      <a:pt x="1622" y="16794"/>
                    </a:lnTo>
                    <a:cubicBezTo>
                      <a:pt x="1769" y="17040"/>
                      <a:pt x="1986" y="17377"/>
                      <a:pt x="2168" y="17639"/>
                    </a:cubicBezTo>
                    <a:cubicBezTo>
                      <a:pt x="3672" y="19764"/>
                      <a:pt x="5719" y="21389"/>
                      <a:pt x="7890" y="22556"/>
                    </a:cubicBezTo>
                    <a:cubicBezTo>
                      <a:pt x="10076" y="23744"/>
                      <a:pt x="12329" y="24512"/>
                      <a:pt x="14535" y="25184"/>
                    </a:cubicBezTo>
                    <a:cubicBezTo>
                      <a:pt x="16734" y="25847"/>
                      <a:pt x="18883" y="26377"/>
                      <a:pt x="20907" y="26937"/>
                    </a:cubicBezTo>
                    <a:cubicBezTo>
                      <a:pt x="23058" y="27539"/>
                      <a:pt x="25044" y="27884"/>
                      <a:pt x="26553" y="28569"/>
                    </a:cubicBezTo>
                    <a:cubicBezTo>
                      <a:pt x="27991" y="29155"/>
                      <a:pt x="29136" y="30359"/>
                      <a:pt x="29449" y="31218"/>
                    </a:cubicBezTo>
                    <a:cubicBezTo>
                      <a:pt x="29527" y="31433"/>
                      <a:pt x="29583" y="31620"/>
                      <a:pt x="29583" y="31813"/>
                    </a:cubicBezTo>
                    <a:cubicBezTo>
                      <a:pt x="29591" y="31992"/>
                      <a:pt x="29572" y="32171"/>
                      <a:pt x="29532" y="32345"/>
                    </a:cubicBezTo>
                    <a:cubicBezTo>
                      <a:pt x="29436" y="32680"/>
                      <a:pt x="29099" y="33060"/>
                      <a:pt x="28702" y="33263"/>
                    </a:cubicBezTo>
                    <a:cubicBezTo>
                      <a:pt x="27926" y="33729"/>
                      <a:pt x="26880" y="33477"/>
                      <a:pt x="26733" y="33049"/>
                    </a:cubicBezTo>
                    <a:cubicBezTo>
                      <a:pt x="26396" y="32372"/>
                      <a:pt x="26414" y="31582"/>
                      <a:pt x="26644" y="31256"/>
                    </a:cubicBezTo>
                    <a:cubicBezTo>
                      <a:pt x="26888" y="30884"/>
                      <a:pt x="27300" y="30937"/>
                      <a:pt x="27273" y="30911"/>
                    </a:cubicBezTo>
                    <a:lnTo>
                      <a:pt x="27067" y="30825"/>
                    </a:lnTo>
                    <a:cubicBezTo>
                      <a:pt x="26928" y="30782"/>
                      <a:pt x="26669" y="30745"/>
                      <a:pt x="26361" y="30897"/>
                    </a:cubicBezTo>
                    <a:cubicBezTo>
                      <a:pt x="26045" y="31044"/>
                      <a:pt x="25777" y="31390"/>
                      <a:pt x="25595" y="31815"/>
                    </a:cubicBezTo>
                    <a:cubicBezTo>
                      <a:pt x="25408" y="32246"/>
                      <a:pt x="25298" y="32765"/>
                      <a:pt x="25379" y="33410"/>
                    </a:cubicBezTo>
                    <a:cubicBezTo>
                      <a:pt x="25403" y="33702"/>
                      <a:pt x="25590" y="34208"/>
                      <a:pt x="25855" y="34499"/>
                    </a:cubicBezTo>
                    <a:cubicBezTo>
                      <a:pt x="26117" y="34807"/>
                      <a:pt x="26444" y="35061"/>
                      <a:pt x="26810" y="35241"/>
                    </a:cubicBezTo>
                    <a:cubicBezTo>
                      <a:pt x="27560" y="35613"/>
                      <a:pt x="28456" y="35736"/>
                      <a:pt x="29398" y="35551"/>
                    </a:cubicBezTo>
                    <a:cubicBezTo>
                      <a:pt x="30316" y="35353"/>
                      <a:pt x="31298" y="34882"/>
                      <a:pt x="32032" y="33889"/>
                    </a:cubicBezTo>
                    <a:cubicBezTo>
                      <a:pt x="32422" y="33325"/>
                      <a:pt x="32615" y="32803"/>
                      <a:pt x="32722" y="32177"/>
                    </a:cubicBezTo>
                    <a:cubicBezTo>
                      <a:pt x="32776" y="31882"/>
                      <a:pt x="32797" y="31582"/>
                      <a:pt x="32784" y="31283"/>
                    </a:cubicBezTo>
                    <a:cubicBezTo>
                      <a:pt x="34828" y="34499"/>
                      <a:pt x="34919" y="37103"/>
                      <a:pt x="34413" y="41899"/>
                    </a:cubicBezTo>
                    <a:cubicBezTo>
                      <a:pt x="33530" y="50222"/>
                      <a:pt x="29511" y="52831"/>
                      <a:pt x="29511" y="52831"/>
                    </a:cubicBezTo>
                    <a:lnTo>
                      <a:pt x="37547" y="52743"/>
                    </a:lnTo>
                    <a:lnTo>
                      <a:pt x="37764" y="52743"/>
                    </a:lnTo>
                    <a:lnTo>
                      <a:pt x="45801" y="52655"/>
                    </a:lnTo>
                    <a:cubicBezTo>
                      <a:pt x="45801" y="52655"/>
                      <a:pt x="41725" y="50137"/>
                      <a:pt x="40668" y="41835"/>
                    </a:cubicBezTo>
                    <a:cubicBezTo>
                      <a:pt x="40058" y="37050"/>
                      <a:pt x="40092" y="34443"/>
                      <a:pt x="42067" y="31186"/>
                    </a:cubicBezTo>
                    <a:cubicBezTo>
                      <a:pt x="42059" y="31486"/>
                      <a:pt x="42089" y="31786"/>
                      <a:pt x="42150" y="32080"/>
                    </a:cubicBezTo>
                    <a:cubicBezTo>
                      <a:pt x="42271" y="32704"/>
                      <a:pt x="42474" y="33220"/>
                      <a:pt x="42876" y="33777"/>
                    </a:cubicBezTo>
                    <a:cubicBezTo>
                      <a:pt x="43630" y="34754"/>
                      <a:pt x="44623" y="35203"/>
                      <a:pt x="45544" y="35380"/>
                    </a:cubicBezTo>
                    <a:cubicBezTo>
                      <a:pt x="46489" y="35546"/>
                      <a:pt x="47382" y="35404"/>
                      <a:pt x="48126" y="35013"/>
                    </a:cubicBezTo>
                    <a:cubicBezTo>
                      <a:pt x="48488" y="34826"/>
                      <a:pt x="48809" y="34566"/>
                      <a:pt x="49066" y="34251"/>
                    </a:cubicBezTo>
                    <a:cubicBezTo>
                      <a:pt x="49323" y="33954"/>
                      <a:pt x="49499" y="33445"/>
                      <a:pt x="49518" y="33153"/>
                    </a:cubicBezTo>
                    <a:cubicBezTo>
                      <a:pt x="49585" y="32508"/>
                      <a:pt x="49462" y="31992"/>
                      <a:pt x="49266" y="31564"/>
                    </a:cubicBezTo>
                    <a:cubicBezTo>
                      <a:pt x="49076" y="31143"/>
                      <a:pt x="48801" y="30801"/>
                      <a:pt x="48482" y="30662"/>
                    </a:cubicBezTo>
                    <a:cubicBezTo>
                      <a:pt x="48172" y="30517"/>
                      <a:pt x="47915" y="30560"/>
                      <a:pt x="47776" y="30606"/>
                    </a:cubicBezTo>
                    <a:lnTo>
                      <a:pt x="47570" y="30697"/>
                    </a:lnTo>
                    <a:cubicBezTo>
                      <a:pt x="47543" y="30721"/>
                      <a:pt x="47955" y="30662"/>
                      <a:pt x="48207" y="31028"/>
                    </a:cubicBezTo>
                    <a:cubicBezTo>
                      <a:pt x="48445" y="31347"/>
                      <a:pt x="48480" y="32136"/>
                      <a:pt x="48156" y="32821"/>
                    </a:cubicBezTo>
                    <a:cubicBezTo>
                      <a:pt x="48019" y="33250"/>
                      <a:pt x="46978" y="33525"/>
                      <a:pt x="46192" y="33078"/>
                    </a:cubicBezTo>
                    <a:cubicBezTo>
                      <a:pt x="45790" y="32883"/>
                      <a:pt x="45448" y="32508"/>
                      <a:pt x="45343" y="32177"/>
                    </a:cubicBezTo>
                    <a:cubicBezTo>
                      <a:pt x="45298" y="32005"/>
                      <a:pt x="45276" y="31826"/>
                      <a:pt x="45282" y="31647"/>
                    </a:cubicBezTo>
                    <a:cubicBezTo>
                      <a:pt x="45279" y="31454"/>
                      <a:pt x="45330" y="31264"/>
                      <a:pt x="45402" y="31047"/>
                    </a:cubicBezTo>
                    <a:cubicBezTo>
                      <a:pt x="45696" y="30183"/>
                      <a:pt x="46818" y="28954"/>
                      <a:pt x="48241" y="28339"/>
                    </a:cubicBezTo>
                    <a:cubicBezTo>
                      <a:pt x="49735" y="27622"/>
                      <a:pt x="51713" y="27234"/>
                      <a:pt x="53851" y="26586"/>
                    </a:cubicBezTo>
                    <a:cubicBezTo>
                      <a:pt x="55861" y="25984"/>
                      <a:pt x="57999" y="25408"/>
                      <a:pt x="60185" y="24699"/>
                    </a:cubicBezTo>
                    <a:cubicBezTo>
                      <a:pt x="62372" y="23979"/>
                      <a:pt x="64609" y="23163"/>
                      <a:pt x="66772" y="21929"/>
                    </a:cubicBezTo>
                    <a:cubicBezTo>
                      <a:pt x="68918" y="20717"/>
                      <a:pt x="70930" y="19047"/>
                      <a:pt x="72386" y="16890"/>
                    </a:cubicBezTo>
                    <a:cubicBezTo>
                      <a:pt x="72563" y="16622"/>
                      <a:pt x="72774" y="16283"/>
                      <a:pt x="72916" y="16034"/>
                    </a:cubicBezTo>
                    <a:lnTo>
                      <a:pt x="73117" y="15664"/>
                    </a:lnTo>
                    <a:lnTo>
                      <a:pt x="73165" y="15573"/>
                    </a:lnTo>
                    <a:lnTo>
                      <a:pt x="73243" y="15413"/>
                    </a:lnTo>
                    <a:lnTo>
                      <a:pt x="73347" y="15183"/>
                    </a:lnTo>
                    <a:cubicBezTo>
                      <a:pt x="73639" y="14578"/>
                      <a:pt x="73845" y="13944"/>
                      <a:pt x="74016" y="13309"/>
                    </a:cubicBezTo>
                    <a:cubicBezTo>
                      <a:pt x="74351" y="12035"/>
                      <a:pt x="74423" y="10729"/>
                      <a:pt x="74300" y="9469"/>
                    </a:cubicBezTo>
                    <a:close/>
                    <a:moveTo>
                      <a:pt x="21867" y="23527"/>
                    </a:moveTo>
                    <a:cubicBezTo>
                      <a:pt x="19791" y="22930"/>
                      <a:pt x="17668" y="22379"/>
                      <a:pt x="15594" y="21729"/>
                    </a:cubicBezTo>
                    <a:cubicBezTo>
                      <a:pt x="13531" y="21078"/>
                      <a:pt x="11470" y="20332"/>
                      <a:pt x="9675" y="19325"/>
                    </a:cubicBezTo>
                    <a:cubicBezTo>
                      <a:pt x="7876" y="18319"/>
                      <a:pt x="6273" y="17040"/>
                      <a:pt x="5176" y="15509"/>
                    </a:cubicBezTo>
                    <a:cubicBezTo>
                      <a:pt x="5042" y="15314"/>
                      <a:pt x="4948" y="15185"/>
                      <a:pt x="4807" y="14955"/>
                    </a:cubicBezTo>
                    <a:lnTo>
                      <a:pt x="4598" y="14597"/>
                    </a:lnTo>
                    <a:lnTo>
                      <a:pt x="4555" y="14522"/>
                    </a:lnTo>
                    <a:cubicBezTo>
                      <a:pt x="4574" y="14554"/>
                      <a:pt x="4536" y="14476"/>
                      <a:pt x="4536" y="14476"/>
                    </a:cubicBezTo>
                    <a:lnTo>
                      <a:pt x="4467" y="14326"/>
                    </a:lnTo>
                    <a:cubicBezTo>
                      <a:pt x="4263" y="13941"/>
                      <a:pt x="4116" y="13523"/>
                      <a:pt x="3988" y="13106"/>
                    </a:cubicBezTo>
                    <a:cubicBezTo>
                      <a:pt x="3739" y="12268"/>
                      <a:pt x="3661" y="11380"/>
                      <a:pt x="3723" y="10521"/>
                    </a:cubicBezTo>
                    <a:cubicBezTo>
                      <a:pt x="3843" y="8805"/>
                      <a:pt x="4526" y="7191"/>
                      <a:pt x="5593" y="6124"/>
                    </a:cubicBezTo>
                    <a:cubicBezTo>
                      <a:pt x="5832" y="5840"/>
                      <a:pt x="6158" y="5610"/>
                      <a:pt x="6412" y="5406"/>
                    </a:cubicBezTo>
                    <a:cubicBezTo>
                      <a:pt x="6543" y="5326"/>
                      <a:pt x="6667" y="5235"/>
                      <a:pt x="6790" y="5142"/>
                    </a:cubicBezTo>
                    <a:cubicBezTo>
                      <a:pt x="6961" y="5040"/>
                      <a:pt x="7194" y="4933"/>
                      <a:pt x="7392" y="4831"/>
                    </a:cubicBezTo>
                    <a:cubicBezTo>
                      <a:pt x="7967" y="4558"/>
                      <a:pt x="8703" y="4307"/>
                      <a:pt x="9380" y="4232"/>
                    </a:cubicBezTo>
                    <a:cubicBezTo>
                      <a:pt x="10761" y="4034"/>
                      <a:pt x="12126" y="4197"/>
                      <a:pt x="13298" y="4515"/>
                    </a:cubicBezTo>
                    <a:cubicBezTo>
                      <a:pt x="14478" y="4831"/>
                      <a:pt x="15474" y="5286"/>
                      <a:pt x="16269" y="5695"/>
                    </a:cubicBezTo>
                    <a:cubicBezTo>
                      <a:pt x="16732" y="5936"/>
                      <a:pt x="17179" y="6201"/>
                      <a:pt x="17612" y="6493"/>
                    </a:cubicBezTo>
                    <a:cubicBezTo>
                      <a:pt x="17800" y="10799"/>
                      <a:pt x="19221" y="16754"/>
                      <a:pt x="24573" y="22090"/>
                    </a:cubicBezTo>
                    <a:cubicBezTo>
                      <a:pt x="25753" y="23265"/>
                      <a:pt x="26805" y="24327"/>
                      <a:pt x="27742" y="25296"/>
                    </a:cubicBezTo>
                    <a:cubicBezTo>
                      <a:pt x="25753" y="24437"/>
                      <a:pt x="23725" y="24089"/>
                      <a:pt x="21867" y="23527"/>
                    </a:cubicBezTo>
                    <a:close/>
                    <a:moveTo>
                      <a:pt x="70470" y="12397"/>
                    </a:moveTo>
                    <a:cubicBezTo>
                      <a:pt x="70347" y="12817"/>
                      <a:pt x="70211" y="13234"/>
                      <a:pt x="70015" y="13628"/>
                    </a:cubicBezTo>
                    <a:lnTo>
                      <a:pt x="69948" y="13778"/>
                    </a:lnTo>
                    <a:cubicBezTo>
                      <a:pt x="69948" y="13778"/>
                      <a:pt x="69903" y="13874"/>
                      <a:pt x="69940" y="13807"/>
                    </a:cubicBezTo>
                    <a:lnTo>
                      <a:pt x="69889" y="13898"/>
                    </a:lnTo>
                    <a:lnTo>
                      <a:pt x="69689" y="14262"/>
                    </a:lnTo>
                    <a:cubicBezTo>
                      <a:pt x="69555" y="14498"/>
                      <a:pt x="69461" y="14626"/>
                      <a:pt x="69333" y="14827"/>
                    </a:cubicBezTo>
                    <a:cubicBezTo>
                      <a:pt x="68270" y="16379"/>
                      <a:pt x="66697" y="17688"/>
                      <a:pt x="64917" y="18737"/>
                    </a:cubicBezTo>
                    <a:cubicBezTo>
                      <a:pt x="63140" y="19786"/>
                      <a:pt x="61103" y="20572"/>
                      <a:pt x="59051" y="21268"/>
                    </a:cubicBezTo>
                    <a:cubicBezTo>
                      <a:pt x="56990" y="21961"/>
                      <a:pt x="54881" y="22556"/>
                      <a:pt x="52818" y="23198"/>
                    </a:cubicBezTo>
                    <a:cubicBezTo>
                      <a:pt x="50969" y="23800"/>
                      <a:pt x="48948" y="24193"/>
                      <a:pt x="46976" y="25095"/>
                    </a:cubicBezTo>
                    <a:cubicBezTo>
                      <a:pt x="47894" y="24105"/>
                      <a:pt x="48924" y="23021"/>
                      <a:pt x="50080" y="21817"/>
                    </a:cubicBezTo>
                    <a:cubicBezTo>
                      <a:pt x="55317" y="16368"/>
                      <a:pt x="56613" y="10387"/>
                      <a:pt x="56704" y="6078"/>
                    </a:cubicBezTo>
                    <a:cubicBezTo>
                      <a:pt x="57132" y="5776"/>
                      <a:pt x="57573" y="5500"/>
                      <a:pt x="58034" y="5251"/>
                    </a:cubicBezTo>
                    <a:cubicBezTo>
                      <a:pt x="58818" y="4826"/>
                      <a:pt x="59803" y="4349"/>
                      <a:pt x="60978" y="4009"/>
                    </a:cubicBezTo>
                    <a:cubicBezTo>
                      <a:pt x="62142" y="3664"/>
                      <a:pt x="63504" y="3474"/>
                      <a:pt x="64890" y="3640"/>
                    </a:cubicBezTo>
                    <a:cubicBezTo>
                      <a:pt x="65567" y="3702"/>
                      <a:pt x="66309" y="3937"/>
                      <a:pt x="66892" y="4197"/>
                    </a:cubicBezTo>
                    <a:cubicBezTo>
                      <a:pt x="67090" y="4296"/>
                      <a:pt x="67326" y="4398"/>
                      <a:pt x="67500" y="4497"/>
                    </a:cubicBezTo>
                    <a:cubicBezTo>
                      <a:pt x="67623" y="4585"/>
                      <a:pt x="67748" y="4673"/>
                      <a:pt x="67882" y="4753"/>
                    </a:cubicBezTo>
                    <a:cubicBezTo>
                      <a:pt x="68139" y="4949"/>
                      <a:pt x="68474" y="5174"/>
                      <a:pt x="68717" y="5452"/>
                    </a:cubicBezTo>
                    <a:cubicBezTo>
                      <a:pt x="69806" y="6496"/>
                      <a:pt x="70524" y="8096"/>
                      <a:pt x="70682" y="9809"/>
                    </a:cubicBezTo>
                    <a:cubicBezTo>
                      <a:pt x="70759" y="10663"/>
                      <a:pt x="70703" y="11551"/>
                      <a:pt x="70470" y="12397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3" name="Google Shape;9283;p56"/>
              <p:cNvSpPr/>
              <p:nvPr/>
            </p:nvSpPr>
            <p:spPr>
              <a:xfrm>
                <a:off x="3520750" y="2496900"/>
                <a:ext cx="656300" cy="214450"/>
              </a:xfrm>
              <a:custGeom>
                <a:avLst/>
                <a:gdLst/>
                <a:ahLst/>
                <a:cxnLst/>
                <a:rect l="l" t="t" r="r" b="b"/>
                <a:pathLst>
                  <a:path w="26252" h="8578" fill="none" extrusionOk="0">
                    <a:moveTo>
                      <a:pt x="26252" y="8347"/>
                    </a:moveTo>
                    <a:lnTo>
                      <a:pt x="108" y="8577"/>
                    </a:lnTo>
                    <a:lnTo>
                      <a:pt x="108" y="8577"/>
                    </a:lnTo>
                    <a:lnTo>
                      <a:pt x="1" y="281"/>
                    </a:lnTo>
                    <a:cubicBezTo>
                      <a:pt x="3" y="254"/>
                      <a:pt x="27" y="233"/>
                      <a:pt x="57" y="236"/>
                    </a:cubicBezTo>
                    <a:lnTo>
                      <a:pt x="57" y="236"/>
                    </a:lnTo>
                    <a:lnTo>
                      <a:pt x="26091" y="3"/>
                    </a:lnTo>
                    <a:cubicBezTo>
                      <a:pt x="26118" y="0"/>
                      <a:pt x="26142" y="22"/>
                      <a:pt x="26147" y="48"/>
                    </a:cubicBezTo>
                    <a:lnTo>
                      <a:pt x="26252" y="8345"/>
                    </a:lnTo>
                    <a:lnTo>
                      <a:pt x="26252" y="8345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4" name="Google Shape;9284;p56"/>
              <p:cNvSpPr/>
              <p:nvPr/>
            </p:nvSpPr>
            <p:spPr>
              <a:xfrm>
                <a:off x="3448300" y="2706900"/>
                <a:ext cx="803900" cy="89625"/>
              </a:xfrm>
              <a:custGeom>
                <a:avLst/>
                <a:gdLst/>
                <a:ahLst/>
                <a:cxnLst/>
                <a:rect l="l" t="t" r="r" b="b"/>
                <a:pathLst>
                  <a:path w="32156" h="3585" fill="none" extrusionOk="0">
                    <a:moveTo>
                      <a:pt x="32155" y="3244"/>
                    </a:moveTo>
                    <a:lnTo>
                      <a:pt x="35" y="3584"/>
                    </a:lnTo>
                    <a:lnTo>
                      <a:pt x="35" y="3584"/>
                    </a:lnTo>
                    <a:lnTo>
                      <a:pt x="3" y="399"/>
                    </a:lnTo>
                    <a:cubicBezTo>
                      <a:pt x="0" y="367"/>
                      <a:pt x="27" y="343"/>
                      <a:pt x="57" y="343"/>
                    </a:cubicBezTo>
                    <a:lnTo>
                      <a:pt x="32067" y="1"/>
                    </a:lnTo>
                    <a:cubicBezTo>
                      <a:pt x="32096" y="1"/>
                      <a:pt x="32120" y="25"/>
                      <a:pt x="32123" y="57"/>
                    </a:cubicBezTo>
                    <a:lnTo>
                      <a:pt x="32155" y="3244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5" name="Google Shape;9285;p56"/>
              <p:cNvSpPr/>
              <p:nvPr/>
            </p:nvSpPr>
            <p:spPr>
              <a:xfrm>
                <a:off x="3674575" y="1339775"/>
                <a:ext cx="324050" cy="308175"/>
              </a:xfrm>
              <a:custGeom>
                <a:avLst/>
                <a:gdLst/>
                <a:ahLst/>
                <a:cxnLst/>
                <a:rect l="l" t="t" r="r" b="b"/>
                <a:pathLst>
                  <a:path w="12962" h="12327" fill="none" extrusionOk="0">
                    <a:moveTo>
                      <a:pt x="6479" y="0"/>
                    </a:moveTo>
                    <a:lnTo>
                      <a:pt x="8484" y="4060"/>
                    </a:lnTo>
                    <a:lnTo>
                      <a:pt x="12961" y="4710"/>
                    </a:lnTo>
                    <a:lnTo>
                      <a:pt x="9720" y="7868"/>
                    </a:lnTo>
                    <a:lnTo>
                      <a:pt x="10486" y="12327"/>
                    </a:lnTo>
                    <a:lnTo>
                      <a:pt x="6479" y="10221"/>
                    </a:lnTo>
                    <a:lnTo>
                      <a:pt x="2476" y="12327"/>
                    </a:lnTo>
                    <a:lnTo>
                      <a:pt x="3241" y="7868"/>
                    </a:lnTo>
                    <a:lnTo>
                      <a:pt x="0" y="4710"/>
                    </a:lnTo>
                    <a:lnTo>
                      <a:pt x="4478" y="406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FFFFFF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86" name="Google Shape;9286;p56"/>
          <p:cNvGrpSpPr/>
          <p:nvPr/>
        </p:nvGrpSpPr>
        <p:grpSpPr>
          <a:xfrm>
            <a:off x="6546943" y="2074305"/>
            <a:ext cx="940737" cy="721067"/>
            <a:chOff x="6599718" y="2068734"/>
            <a:chExt cx="940737" cy="721067"/>
          </a:xfrm>
        </p:grpSpPr>
        <p:sp>
          <p:nvSpPr>
            <p:cNvPr id="9287" name="Google Shape;9287;p56"/>
            <p:cNvSpPr/>
            <p:nvPr/>
          </p:nvSpPr>
          <p:spPr>
            <a:xfrm>
              <a:off x="7138953" y="2569473"/>
              <a:ext cx="366935" cy="115933"/>
            </a:xfrm>
            <a:custGeom>
              <a:avLst/>
              <a:gdLst/>
              <a:ahLst/>
              <a:cxnLst/>
              <a:rect l="l" t="t" r="r" b="b"/>
              <a:pathLst>
                <a:path w="105517" h="33338" fill="none" extrusionOk="0">
                  <a:moveTo>
                    <a:pt x="8231" y="0"/>
                  </a:moveTo>
                  <a:cubicBezTo>
                    <a:pt x="6610" y="2526"/>
                    <a:pt x="5253" y="5215"/>
                    <a:pt x="4198" y="8042"/>
                  </a:cubicBezTo>
                  <a:cubicBezTo>
                    <a:pt x="3205" y="10656"/>
                    <a:pt x="2803" y="13182"/>
                    <a:pt x="2803" y="14991"/>
                  </a:cubicBezTo>
                  <a:cubicBezTo>
                    <a:pt x="2790" y="18636"/>
                    <a:pt x="2840" y="21274"/>
                    <a:pt x="1" y="23008"/>
                  </a:cubicBezTo>
                  <a:cubicBezTo>
                    <a:pt x="164" y="23549"/>
                    <a:pt x="239" y="24114"/>
                    <a:pt x="227" y="24667"/>
                  </a:cubicBezTo>
                  <a:lnTo>
                    <a:pt x="227" y="33338"/>
                  </a:lnTo>
                  <a:lnTo>
                    <a:pt x="105517" y="33338"/>
                  </a:lnTo>
                  <a:lnTo>
                    <a:pt x="10551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F66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8" name="Google Shape;9288;p56"/>
            <p:cNvSpPr/>
            <p:nvPr/>
          </p:nvSpPr>
          <p:spPr>
            <a:xfrm>
              <a:off x="6650497" y="2579172"/>
              <a:ext cx="346397" cy="118079"/>
            </a:xfrm>
            <a:custGeom>
              <a:avLst/>
              <a:gdLst/>
              <a:ahLst/>
              <a:cxnLst/>
              <a:rect l="l" t="t" r="r" b="b"/>
              <a:pathLst>
                <a:path w="99611" h="33955" fill="none" extrusionOk="0">
                  <a:moveTo>
                    <a:pt x="99372" y="21891"/>
                  </a:moveTo>
                  <a:cubicBezTo>
                    <a:pt x="99359" y="21325"/>
                    <a:pt x="99435" y="20760"/>
                    <a:pt x="99611" y="20219"/>
                  </a:cubicBezTo>
                  <a:cubicBezTo>
                    <a:pt x="96758" y="18485"/>
                    <a:pt x="96808" y="15847"/>
                    <a:pt x="96796" y="12215"/>
                  </a:cubicBezTo>
                  <a:cubicBezTo>
                    <a:pt x="96796" y="10405"/>
                    <a:pt x="96394" y="7880"/>
                    <a:pt x="95414" y="5253"/>
                  </a:cubicBezTo>
                  <a:cubicBezTo>
                    <a:pt x="94735" y="3444"/>
                    <a:pt x="93931" y="1697"/>
                    <a:pt x="93014" y="1"/>
                  </a:cubicBezTo>
                  <a:lnTo>
                    <a:pt x="0" y="1"/>
                  </a:lnTo>
                  <a:lnTo>
                    <a:pt x="0" y="33954"/>
                  </a:lnTo>
                  <a:lnTo>
                    <a:pt x="99372" y="33954"/>
                  </a:lnTo>
                  <a:close/>
                </a:path>
              </a:pathLst>
            </a:custGeom>
            <a:noFill/>
            <a:ln w="9525" cap="flat" cmpd="sng">
              <a:solidFill>
                <a:srgbClr val="DBE3E8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9" name="Google Shape;9289;p56"/>
            <p:cNvSpPr/>
            <p:nvPr/>
          </p:nvSpPr>
          <p:spPr>
            <a:xfrm>
              <a:off x="7236268" y="2370428"/>
              <a:ext cx="304187" cy="115978"/>
            </a:xfrm>
            <a:custGeom>
              <a:avLst/>
              <a:gdLst/>
              <a:ahLst/>
              <a:cxnLst/>
              <a:rect l="l" t="t" r="r" b="b"/>
              <a:pathLst>
                <a:path w="87473" h="33351" fill="none" extrusionOk="0">
                  <a:moveTo>
                    <a:pt x="15181" y="0"/>
                  </a:moveTo>
                  <a:cubicBezTo>
                    <a:pt x="12114" y="11913"/>
                    <a:pt x="6975" y="23210"/>
                    <a:pt x="1" y="33350"/>
                  </a:cubicBezTo>
                  <a:lnTo>
                    <a:pt x="87472" y="33350"/>
                  </a:lnTo>
                  <a:lnTo>
                    <a:pt x="8747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F677B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0" name="Google Shape;9290;p56"/>
            <p:cNvSpPr/>
            <p:nvPr/>
          </p:nvSpPr>
          <p:spPr>
            <a:xfrm>
              <a:off x="7252744" y="2161243"/>
              <a:ext cx="271454" cy="115982"/>
            </a:xfrm>
            <a:custGeom>
              <a:avLst/>
              <a:gdLst/>
              <a:ahLst/>
              <a:cxnLst/>
              <a:rect l="l" t="t" r="r" b="b"/>
              <a:pathLst>
                <a:path w="78060" h="33352" fill="none" extrusionOk="0">
                  <a:moveTo>
                    <a:pt x="0" y="1"/>
                  </a:moveTo>
                  <a:cubicBezTo>
                    <a:pt x="7288" y="9714"/>
                    <a:pt x="11762" y="21250"/>
                    <a:pt x="12918" y="33351"/>
                  </a:cubicBezTo>
                  <a:lnTo>
                    <a:pt x="78060" y="33351"/>
                  </a:lnTo>
                  <a:lnTo>
                    <a:pt x="780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1" name="Google Shape;9291;p56"/>
            <p:cNvSpPr/>
            <p:nvPr/>
          </p:nvSpPr>
          <p:spPr>
            <a:xfrm>
              <a:off x="6599718" y="2199610"/>
              <a:ext cx="260051" cy="115978"/>
            </a:xfrm>
            <a:custGeom>
              <a:avLst/>
              <a:gdLst/>
              <a:ahLst/>
              <a:cxnLst/>
              <a:rect l="l" t="t" r="r" b="b"/>
              <a:pathLst>
                <a:path w="74781" h="33351" fill="none" extrusionOk="0">
                  <a:moveTo>
                    <a:pt x="68246" y="28752"/>
                  </a:moveTo>
                  <a:cubicBezTo>
                    <a:pt x="68234" y="18800"/>
                    <a:pt x="70471" y="8973"/>
                    <a:pt x="74781" y="1"/>
                  </a:cubicBezTo>
                  <a:lnTo>
                    <a:pt x="1" y="1"/>
                  </a:lnTo>
                  <a:lnTo>
                    <a:pt x="1" y="33351"/>
                  </a:lnTo>
                  <a:lnTo>
                    <a:pt x="68397" y="33351"/>
                  </a:lnTo>
                  <a:cubicBezTo>
                    <a:pt x="68284" y="31818"/>
                    <a:pt x="68221" y="30285"/>
                    <a:pt x="68246" y="2875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FA1AF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2" name="Google Shape;9292;p56"/>
            <p:cNvSpPr/>
            <p:nvPr/>
          </p:nvSpPr>
          <p:spPr>
            <a:xfrm>
              <a:off x="6605967" y="2389697"/>
              <a:ext cx="307727" cy="116023"/>
            </a:xfrm>
            <a:custGeom>
              <a:avLst/>
              <a:gdLst/>
              <a:ahLst/>
              <a:cxnLst/>
              <a:rect l="l" t="t" r="r" b="b"/>
              <a:pathLst>
                <a:path w="88491" h="33364" fill="none" extrusionOk="0">
                  <a:moveTo>
                    <a:pt x="70835" y="1"/>
                  </a:moveTo>
                  <a:lnTo>
                    <a:pt x="1" y="1"/>
                  </a:lnTo>
                  <a:lnTo>
                    <a:pt x="1" y="33363"/>
                  </a:lnTo>
                  <a:lnTo>
                    <a:pt x="88490" y="33363"/>
                  </a:lnTo>
                  <a:cubicBezTo>
                    <a:pt x="80662" y="23386"/>
                    <a:pt x="74680" y="12089"/>
                    <a:pt x="708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9D4DC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293" name="Google Shape;9293;p56"/>
            <p:cNvGrpSpPr/>
            <p:nvPr/>
          </p:nvGrpSpPr>
          <p:grpSpPr>
            <a:xfrm>
              <a:off x="6836957" y="2068734"/>
              <a:ext cx="461892" cy="721067"/>
              <a:chOff x="6836957" y="2068734"/>
              <a:chExt cx="461892" cy="721067"/>
            </a:xfrm>
          </p:grpSpPr>
          <p:sp>
            <p:nvSpPr>
              <p:cNvPr id="9294" name="Google Shape;9294;p56"/>
              <p:cNvSpPr/>
              <p:nvPr/>
            </p:nvSpPr>
            <p:spPr>
              <a:xfrm>
                <a:off x="7080441" y="2287271"/>
                <a:ext cx="187336" cy="123319"/>
              </a:xfrm>
              <a:custGeom>
                <a:avLst/>
                <a:gdLst/>
                <a:ahLst/>
                <a:cxnLst/>
                <a:rect l="l" t="t" r="r" b="b"/>
                <a:pathLst>
                  <a:path w="53871" h="35462" fill="none" extrusionOk="0">
                    <a:moveTo>
                      <a:pt x="1" y="35461"/>
                    </a:moveTo>
                    <a:lnTo>
                      <a:pt x="47249" y="35461"/>
                    </a:lnTo>
                    <a:cubicBezTo>
                      <a:pt x="51018" y="26213"/>
                      <a:pt x="52665" y="18083"/>
                      <a:pt x="53368" y="12453"/>
                    </a:cubicBezTo>
                    <a:lnTo>
                      <a:pt x="53368" y="12415"/>
                    </a:lnTo>
                    <a:cubicBezTo>
                      <a:pt x="53381" y="12315"/>
                      <a:pt x="53381" y="12227"/>
                      <a:pt x="53393" y="12139"/>
                    </a:cubicBezTo>
                    <a:lnTo>
                      <a:pt x="53419" y="11950"/>
                    </a:lnTo>
                    <a:lnTo>
                      <a:pt x="53469" y="11548"/>
                    </a:lnTo>
                    <a:cubicBezTo>
                      <a:pt x="53506" y="11171"/>
                      <a:pt x="53544" y="10807"/>
                      <a:pt x="53582" y="10455"/>
                    </a:cubicBezTo>
                    <a:cubicBezTo>
                      <a:pt x="53620" y="10091"/>
                      <a:pt x="53645" y="9789"/>
                      <a:pt x="53670" y="9487"/>
                    </a:cubicBezTo>
                    <a:lnTo>
                      <a:pt x="53682" y="9362"/>
                    </a:lnTo>
                    <a:lnTo>
                      <a:pt x="53682" y="9324"/>
                    </a:lnTo>
                    <a:cubicBezTo>
                      <a:pt x="53871" y="6899"/>
                      <a:pt x="53846" y="5441"/>
                      <a:pt x="53846" y="5253"/>
                    </a:cubicBezTo>
                    <a:lnTo>
                      <a:pt x="53833" y="5077"/>
                    </a:lnTo>
                    <a:lnTo>
                      <a:pt x="53833" y="4951"/>
                    </a:lnTo>
                    <a:cubicBezTo>
                      <a:pt x="53833" y="3280"/>
                      <a:pt x="53758" y="1634"/>
                      <a:pt x="5362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F677B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5" name="Google Shape;9295;p56"/>
              <p:cNvSpPr/>
              <p:nvPr/>
            </p:nvSpPr>
            <p:spPr>
              <a:xfrm>
                <a:off x="7080441" y="2105091"/>
                <a:ext cx="182750" cy="157141"/>
              </a:xfrm>
              <a:custGeom>
                <a:avLst/>
                <a:gdLst/>
                <a:ahLst/>
                <a:cxnLst/>
                <a:rect l="l" t="t" r="r" b="b"/>
                <a:pathLst>
                  <a:path w="52552" h="45188" fill="none" extrusionOk="0">
                    <a:moveTo>
                      <a:pt x="1" y="45188"/>
                    </a:moveTo>
                    <a:lnTo>
                      <a:pt x="52551" y="45188"/>
                    </a:lnTo>
                    <a:cubicBezTo>
                      <a:pt x="47211" y="20458"/>
                      <a:pt x="25899" y="1609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B3C3CE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6" name="Google Shape;9296;p56"/>
              <p:cNvSpPr/>
              <p:nvPr/>
            </p:nvSpPr>
            <p:spPr>
              <a:xfrm>
                <a:off x="6872702" y="2287006"/>
                <a:ext cx="187378" cy="123364"/>
              </a:xfrm>
              <a:custGeom>
                <a:avLst/>
                <a:gdLst/>
                <a:ahLst/>
                <a:cxnLst/>
                <a:rect l="l" t="t" r="r" b="b"/>
                <a:pathLst>
                  <a:path w="53883" h="35475" fill="none" extrusionOk="0">
                    <a:moveTo>
                      <a:pt x="53883" y="1"/>
                    </a:moveTo>
                    <a:lnTo>
                      <a:pt x="239" y="1"/>
                    </a:lnTo>
                    <a:cubicBezTo>
                      <a:pt x="101" y="1634"/>
                      <a:pt x="13" y="3293"/>
                      <a:pt x="13" y="4964"/>
                    </a:cubicBezTo>
                    <a:lnTo>
                      <a:pt x="13" y="5266"/>
                    </a:lnTo>
                    <a:cubicBezTo>
                      <a:pt x="13" y="5454"/>
                      <a:pt x="0" y="6912"/>
                      <a:pt x="189" y="9312"/>
                    </a:cubicBezTo>
                    <a:lnTo>
                      <a:pt x="189" y="9375"/>
                    </a:lnTo>
                    <a:lnTo>
                      <a:pt x="189" y="9488"/>
                    </a:lnTo>
                    <a:lnTo>
                      <a:pt x="189" y="9488"/>
                    </a:lnTo>
                    <a:cubicBezTo>
                      <a:pt x="214" y="9802"/>
                      <a:pt x="252" y="10116"/>
                      <a:pt x="277" y="10443"/>
                    </a:cubicBezTo>
                    <a:cubicBezTo>
                      <a:pt x="314" y="10820"/>
                      <a:pt x="352" y="11185"/>
                      <a:pt x="390" y="11536"/>
                    </a:cubicBezTo>
                    <a:lnTo>
                      <a:pt x="440" y="11964"/>
                    </a:lnTo>
                    <a:lnTo>
                      <a:pt x="465" y="12140"/>
                    </a:lnTo>
                    <a:lnTo>
                      <a:pt x="503" y="12416"/>
                    </a:lnTo>
                    <a:lnTo>
                      <a:pt x="503" y="12466"/>
                    </a:lnTo>
                    <a:cubicBezTo>
                      <a:pt x="1194" y="18083"/>
                      <a:pt x="2840" y="26226"/>
                      <a:pt x="6610" y="35475"/>
                    </a:cubicBezTo>
                    <a:lnTo>
                      <a:pt x="53883" y="35475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9D4DC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7" name="Google Shape;9297;p56"/>
              <p:cNvSpPr/>
              <p:nvPr/>
            </p:nvSpPr>
            <p:spPr>
              <a:xfrm>
                <a:off x="6902504" y="2430686"/>
                <a:ext cx="152902" cy="185984"/>
              </a:xfrm>
              <a:custGeom>
                <a:avLst/>
                <a:gdLst/>
                <a:ahLst/>
                <a:cxnLst/>
                <a:rect l="l" t="t" r="r" b="b"/>
                <a:pathLst>
                  <a:path w="43969" h="53482" fill="none" extrusionOk="0">
                    <a:moveTo>
                      <a:pt x="43968" y="1"/>
                    </a:moveTo>
                    <a:lnTo>
                      <a:pt x="0" y="1"/>
                    </a:lnTo>
                    <a:cubicBezTo>
                      <a:pt x="4235" y="8319"/>
                      <a:pt x="10254" y="17191"/>
                      <a:pt x="18837" y="25723"/>
                    </a:cubicBezTo>
                    <a:cubicBezTo>
                      <a:pt x="24454" y="31315"/>
                      <a:pt x="28638" y="37724"/>
                      <a:pt x="31302" y="44823"/>
                    </a:cubicBezTo>
                    <a:cubicBezTo>
                      <a:pt x="31792" y="46130"/>
                      <a:pt x="32194" y="47462"/>
                      <a:pt x="32508" y="48819"/>
                    </a:cubicBezTo>
                    <a:cubicBezTo>
                      <a:pt x="33111" y="51534"/>
                      <a:pt x="35524" y="53469"/>
                      <a:pt x="38301" y="53481"/>
                    </a:cubicBezTo>
                    <a:lnTo>
                      <a:pt x="43968" y="5348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DBE3E8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8" name="Google Shape;9298;p56"/>
              <p:cNvSpPr/>
              <p:nvPr/>
            </p:nvSpPr>
            <p:spPr>
              <a:xfrm>
                <a:off x="6877289" y="2104831"/>
                <a:ext cx="182791" cy="157141"/>
              </a:xfrm>
              <a:custGeom>
                <a:avLst/>
                <a:gdLst/>
                <a:ahLst/>
                <a:cxnLst/>
                <a:rect l="l" t="t" r="r" b="b"/>
                <a:pathLst>
                  <a:path w="52564" h="45188" fill="none" extrusionOk="0">
                    <a:moveTo>
                      <a:pt x="52564" y="45187"/>
                    </a:moveTo>
                    <a:lnTo>
                      <a:pt x="52564" y="0"/>
                    </a:lnTo>
                    <a:cubicBezTo>
                      <a:pt x="26653" y="1621"/>
                      <a:pt x="5354" y="20470"/>
                      <a:pt x="1" y="45187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FA1AF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9" name="Google Shape;9299;p56"/>
              <p:cNvSpPr/>
              <p:nvPr/>
            </p:nvSpPr>
            <p:spPr>
              <a:xfrm>
                <a:off x="7080441" y="2430686"/>
                <a:ext cx="152860" cy="185938"/>
              </a:xfrm>
              <a:custGeom>
                <a:avLst/>
                <a:gdLst/>
                <a:ahLst/>
                <a:cxnLst/>
                <a:rect l="l" t="t" r="r" b="b"/>
                <a:pathLst>
                  <a:path w="43957" h="53469" fill="none" extrusionOk="0">
                    <a:moveTo>
                      <a:pt x="1" y="1"/>
                    </a:moveTo>
                    <a:lnTo>
                      <a:pt x="1" y="53469"/>
                    </a:lnTo>
                    <a:lnTo>
                      <a:pt x="5668" y="53469"/>
                    </a:lnTo>
                    <a:cubicBezTo>
                      <a:pt x="8445" y="53456"/>
                      <a:pt x="10845" y="51521"/>
                      <a:pt x="11448" y="48819"/>
                    </a:cubicBezTo>
                    <a:cubicBezTo>
                      <a:pt x="11762" y="47450"/>
                      <a:pt x="12165" y="46118"/>
                      <a:pt x="12655" y="44811"/>
                    </a:cubicBezTo>
                    <a:cubicBezTo>
                      <a:pt x="15319" y="37724"/>
                      <a:pt x="19503" y="31302"/>
                      <a:pt x="25120" y="25723"/>
                    </a:cubicBezTo>
                    <a:cubicBezTo>
                      <a:pt x="33703" y="17191"/>
                      <a:pt x="39722" y="8319"/>
                      <a:pt x="4395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374F66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300" name="Google Shape;9300;p56"/>
              <p:cNvGrpSpPr/>
              <p:nvPr/>
            </p:nvGrpSpPr>
            <p:grpSpPr>
              <a:xfrm>
                <a:off x="6836957" y="2068734"/>
                <a:ext cx="461892" cy="721067"/>
                <a:chOff x="6836957" y="2068734"/>
                <a:chExt cx="461892" cy="721067"/>
              </a:xfrm>
            </p:grpSpPr>
            <p:sp>
              <p:nvSpPr>
                <p:cNvPr id="9301" name="Google Shape;9301;p56"/>
                <p:cNvSpPr/>
                <p:nvPr/>
              </p:nvSpPr>
              <p:spPr>
                <a:xfrm>
                  <a:off x="6996059" y="2711098"/>
                  <a:ext cx="143729" cy="787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31" h="22632" fill="none" extrusionOk="0">
                      <a:moveTo>
                        <a:pt x="20659" y="22632"/>
                      </a:moveTo>
                      <a:lnTo>
                        <a:pt x="20659" y="22632"/>
                      </a:lnTo>
                      <a:cubicBezTo>
                        <a:pt x="19252" y="22632"/>
                        <a:pt x="1" y="15658"/>
                        <a:pt x="1" y="5253"/>
                      </a:cubicBezTo>
                      <a:lnTo>
                        <a:pt x="1" y="0"/>
                      </a:lnTo>
                      <a:lnTo>
                        <a:pt x="41318" y="0"/>
                      </a:lnTo>
                      <a:lnTo>
                        <a:pt x="41318" y="5253"/>
                      </a:lnTo>
                      <a:cubicBezTo>
                        <a:pt x="41330" y="14125"/>
                        <a:pt x="22079" y="22632"/>
                        <a:pt x="20659" y="22632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7EA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2" name="Google Shape;9302;p56"/>
                <p:cNvSpPr/>
                <p:nvPr/>
              </p:nvSpPr>
              <p:spPr>
                <a:xfrm>
                  <a:off x="6996059" y="2647693"/>
                  <a:ext cx="143683" cy="887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18" h="25522" fill="none" extrusionOk="0">
                      <a:moveTo>
                        <a:pt x="667" y="0"/>
                      </a:moveTo>
                      <a:lnTo>
                        <a:pt x="40652" y="0"/>
                      </a:lnTo>
                      <a:cubicBezTo>
                        <a:pt x="41016" y="0"/>
                        <a:pt x="41318" y="980"/>
                        <a:pt x="41318" y="2199"/>
                      </a:cubicBezTo>
                      <a:lnTo>
                        <a:pt x="41318" y="23323"/>
                      </a:lnTo>
                      <a:cubicBezTo>
                        <a:pt x="41318" y="24542"/>
                        <a:pt x="41016" y="25522"/>
                        <a:pt x="40652" y="25522"/>
                      </a:cubicBezTo>
                      <a:lnTo>
                        <a:pt x="667" y="25522"/>
                      </a:lnTo>
                      <a:cubicBezTo>
                        <a:pt x="302" y="25522"/>
                        <a:pt x="1" y="24542"/>
                        <a:pt x="1" y="23323"/>
                      </a:cubicBezTo>
                      <a:lnTo>
                        <a:pt x="1" y="2187"/>
                      </a:lnTo>
                      <a:cubicBezTo>
                        <a:pt x="1" y="980"/>
                        <a:pt x="302" y="0"/>
                        <a:pt x="66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7EA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3" name="Google Shape;9303;p56"/>
                <p:cNvSpPr/>
                <p:nvPr/>
              </p:nvSpPr>
              <p:spPr>
                <a:xfrm>
                  <a:off x="6990467" y="2723683"/>
                  <a:ext cx="154870" cy="127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58" fill="none" extrusionOk="0">
                      <a:moveTo>
                        <a:pt x="327" y="0"/>
                      </a:moveTo>
                      <a:lnTo>
                        <a:pt x="44207" y="0"/>
                      </a:lnTo>
                      <a:cubicBezTo>
                        <a:pt x="44383" y="0"/>
                        <a:pt x="44534" y="139"/>
                        <a:pt x="44534" y="327"/>
                      </a:cubicBezTo>
                      <a:lnTo>
                        <a:pt x="44534" y="3343"/>
                      </a:lnTo>
                      <a:cubicBezTo>
                        <a:pt x="44534" y="3519"/>
                        <a:pt x="44383" y="3657"/>
                        <a:pt x="44207" y="3657"/>
                      </a:cubicBezTo>
                      <a:lnTo>
                        <a:pt x="327" y="3657"/>
                      </a:lnTo>
                      <a:cubicBezTo>
                        <a:pt x="151" y="3657"/>
                        <a:pt x="0" y="3519"/>
                        <a:pt x="0" y="3343"/>
                      </a:cubicBezTo>
                      <a:lnTo>
                        <a:pt x="0" y="327"/>
                      </a:lnTo>
                      <a:cubicBezTo>
                        <a:pt x="0" y="139"/>
                        <a:pt x="151" y="0"/>
                        <a:pt x="3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4" name="Google Shape;9304;p56"/>
                <p:cNvSpPr/>
                <p:nvPr/>
              </p:nvSpPr>
              <p:spPr>
                <a:xfrm>
                  <a:off x="6990467" y="2698339"/>
                  <a:ext cx="154870" cy="12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0" fill="none" extrusionOk="0">
                      <a:moveTo>
                        <a:pt x="42700" y="3669"/>
                      </a:moveTo>
                      <a:lnTo>
                        <a:pt x="1835" y="3669"/>
                      </a:lnTo>
                      <a:cubicBezTo>
                        <a:pt x="830" y="3657"/>
                        <a:pt x="13" y="2840"/>
                        <a:pt x="0" y="1835"/>
                      </a:cubicBezTo>
                      <a:lnTo>
                        <a:pt x="0" y="1835"/>
                      </a:lnTo>
                      <a:cubicBezTo>
                        <a:pt x="13" y="817"/>
                        <a:pt x="830" y="0"/>
                        <a:pt x="1835" y="0"/>
                      </a:cubicBezTo>
                      <a:lnTo>
                        <a:pt x="42700" y="0"/>
                      </a:lnTo>
                      <a:cubicBezTo>
                        <a:pt x="43717" y="0"/>
                        <a:pt x="44534" y="817"/>
                        <a:pt x="44534" y="1835"/>
                      </a:cubicBezTo>
                      <a:lnTo>
                        <a:pt x="44534" y="1835"/>
                      </a:lnTo>
                      <a:cubicBezTo>
                        <a:pt x="44534" y="2840"/>
                        <a:pt x="43717" y="3657"/>
                        <a:pt x="42700" y="3669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5" name="Google Shape;9305;p56"/>
                <p:cNvSpPr/>
                <p:nvPr/>
              </p:nvSpPr>
              <p:spPr>
                <a:xfrm>
                  <a:off x="6990467" y="2647648"/>
                  <a:ext cx="154870" cy="12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0" fill="none" extrusionOk="0">
                      <a:moveTo>
                        <a:pt x="42700" y="3670"/>
                      </a:moveTo>
                      <a:lnTo>
                        <a:pt x="1835" y="3670"/>
                      </a:lnTo>
                      <a:cubicBezTo>
                        <a:pt x="830" y="3670"/>
                        <a:pt x="13" y="2853"/>
                        <a:pt x="0" y="1835"/>
                      </a:cubicBezTo>
                      <a:lnTo>
                        <a:pt x="0" y="1835"/>
                      </a:lnTo>
                      <a:cubicBezTo>
                        <a:pt x="13" y="830"/>
                        <a:pt x="830" y="13"/>
                        <a:pt x="1835" y="1"/>
                      </a:cubicBezTo>
                      <a:lnTo>
                        <a:pt x="42700" y="1"/>
                      </a:lnTo>
                      <a:cubicBezTo>
                        <a:pt x="43717" y="13"/>
                        <a:pt x="44534" y="830"/>
                        <a:pt x="44534" y="1835"/>
                      </a:cubicBezTo>
                      <a:lnTo>
                        <a:pt x="44534" y="1835"/>
                      </a:lnTo>
                      <a:cubicBezTo>
                        <a:pt x="44534" y="2853"/>
                        <a:pt x="43717" y="3670"/>
                        <a:pt x="42700" y="367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6" name="Google Shape;9306;p56"/>
                <p:cNvSpPr/>
                <p:nvPr/>
              </p:nvSpPr>
              <p:spPr>
                <a:xfrm>
                  <a:off x="6990467" y="2672992"/>
                  <a:ext cx="154870" cy="127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1" fill="none" extrusionOk="0">
                      <a:moveTo>
                        <a:pt x="42700" y="3670"/>
                      </a:moveTo>
                      <a:lnTo>
                        <a:pt x="1835" y="3670"/>
                      </a:lnTo>
                      <a:cubicBezTo>
                        <a:pt x="817" y="3670"/>
                        <a:pt x="0" y="2841"/>
                        <a:pt x="0" y="1836"/>
                      </a:cubicBezTo>
                      <a:lnTo>
                        <a:pt x="0" y="1836"/>
                      </a:lnTo>
                      <a:cubicBezTo>
                        <a:pt x="13" y="818"/>
                        <a:pt x="830" y="1"/>
                        <a:pt x="1835" y="1"/>
                      </a:cubicBezTo>
                      <a:lnTo>
                        <a:pt x="42700" y="1"/>
                      </a:lnTo>
                      <a:cubicBezTo>
                        <a:pt x="43717" y="1"/>
                        <a:pt x="44534" y="818"/>
                        <a:pt x="44534" y="1836"/>
                      </a:cubicBezTo>
                      <a:lnTo>
                        <a:pt x="44534" y="1836"/>
                      </a:lnTo>
                      <a:cubicBezTo>
                        <a:pt x="44534" y="2841"/>
                        <a:pt x="43717" y="3670"/>
                        <a:pt x="42700" y="367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7" name="Google Shape;9307;p56"/>
                <p:cNvSpPr/>
                <p:nvPr/>
              </p:nvSpPr>
              <p:spPr>
                <a:xfrm>
                  <a:off x="6836957" y="2068734"/>
                  <a:ext cx="461892" cy="5897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823" h="169592" fill="none" extrusionOk="0">
                      <a:moveTo>
                        <a:pt x="132307" y="74442"/>
                      </a:moveTo>
                      <a:cubicBezTo>
                        <a:pt x="132332" y="74278"/>
                        <a:pt x="132345" y="74127"/>
                        <a:pt x="132357" y="73977"/>
                      </a:cubicBezTo>
                      <a:cubicBezTo>
                        <a:pt x="132408" y="73562"/>
                        <a:pt x="132458" y="73135"/>
                        <a:pt x="132496" y="72720"/>
                      </a:cubicBezTo>
                      <a:cubicBezTo>
                        <a:pt x="132533" y="72343"/>
                        <a:pt x="132558" y="71991"/>
                        <a:pt x="132584" y="71639"/>
                      </a:cubicBezTo>
                      <a:cubicBezTo>
                        <a:pt x="132584" y="71577"/>
                        <a:pt x="132596" y="71501"/>
                        <a:pt x="132609" y="71438"/>
                      </a:cubicBezTo>
                      <a:cubicBezTo>
                        <a:pt x="132759" y="69754"/>
                        <a:pt x="132822" y="68071"/>
                        <a:pt x="132797" y="66387"/>
                      </a:cubicBezTo>
                      <a:cubicBezTo>
                        <a:pt x="132797" y="29719"/>
                        <a:pt x="103079" y="1"/>
                        <a:pt x="66411" y="1"/>
                      </a:cubicBezTo>
                      <a:cubicBezTo>
                        <a:pt x="29744" y="1"/>
                        <a:pt x="25" y="29719"/>
                        <a:pt x="25" y="66387"/>
                      </a:cubicBezTo>
                      <a:cubicBezTo>
                        <a:pt x="0" y="68071"/>
                        <a:pt x="63" y="69754"/>
                        <a:pt x="214" y="71438"/>
                      </a:cubicBezTo>
                      <a:cubicBezTo>
                        <a:pt x="214" y="71501"/>
                        <a:pt x="226" y="71577"/>
                        <a:pt x="239" y="71639"/>
                      </a:cubicBezTo>
                      <a:cubicBezTo>
                        <a:pt x="264" y="71991"/>
                        <a:pt x="289" y="72343"/>
                        <a:pt x="327" y="72720"/>
                      </a:cubicBezTo>
                      <a:cubicBezTo>
                        <a:pt x="365" y="73135"/>
                        <a:pt x="415" y="73562"/>
                        <a:pt x="465" y="73977"/>
                      </a:cubicBezTo>
                      <a:cubicBezTo>
                        <a:pt x="478" y="74127"/>
                        <a:pt x="490" y="74278"/>
                        <a:pt x="515" y="74442"/>
                      </a:cubicBezTo>
                      <a:cubicBezTo>
                        <a:pt x="528" y="74617"/>
                        <a:pt x="553" y="74806"/>
                        <a:pt x="578" y="74994"/>
                      </a:cubicBezTo>
                      <a:cubicBezTo>
                        <a:pt x="2187" y="87887"/>
                        <a:pt x="8306" y="113182"/>
                        <a:pt x="31390" y="136140"/>
                      </a:cubicBezTo>
                      <a:cubicBezTo>
                        <a:pt x="35926" y="140652"/>
                        <a:pt x="39545" y="146030"/>
                        <a:pt x="41782" y="152036"/>
                      </a:cubicBezTo>
                      <a:cubicBezTo>
                        <a:pt x="42775" y="154650"/>
                        <a:pt x="43164" y="157176"/>
                        <a:pt x="43177" y="158985"/>
                      </a:cubicBezTo>
                      <a:cubicBezTo>
                        <a:pt x="43202" y="166299"/>
                        <a:pt x="42976" y="169591"/>
                        <a:pt x="66411" y="169591"/>
                      </a:cubicBezTo>
                      <a:cubicBezTo>
                        <a:pt x="89834" y="169591"/>
                        <a:pt x="89621" y="166286"/>
                        <a:pt x="89646" y="158985"/>
                      </a:cubicBezTo>
                      <a:cubicBezTo>
                        <a:pt x="89646" y="157176"/>
                        <a:pt x="90048" y="154650"/>
                        <a:pt x="91041" y="152036"/>
                      </a:cubicBezTo>
                      <a:cubicBezTo>
                        <a:pt x="93277" y="146042"/>
                        <a:pt x="96896" y="140652"/>
                        <a:pt x="101433" y="136140"/>
                      </a:cubicBezTo>
                      <a:cubicBezTo>
                        <a:pt x="124516" y="113182"/>
                        <a:pt x="130636" y="87887"/>
                        <a:pt x="132244" y="74994"/>
                      </a:cubicBezTo>
                      <a:cubicBezTo>
                        <a:pt x="132269" y="74806"/>
                        <a:pt x="132295" y="74617"/>
                        <a:pt x="132307" y="74442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FEFEFE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9308" name="Google Shape;9308;p56"/>
          <p:cNvGrpSpPr/>
          <p:nvPr/>
        </p:nvGrpSpPr>
        <p:grpSpPr>
          <a:xfrm>
            <a:off x="2430262" y="2078652"/>
            <a:ext cx="712577" cy="712374"/>
            <a:chOff x="2559249" y="2069323"/>
            <a:chExt cx="685566" cy="685634"/>
          </a:xfrm>
        </p:grpSpPr>
        <p:sp>
          <p:nvSpPr>
            <p:cNvPr id="9309" name="Google Shape;9309;p56"/>
            <p:cNvSpPr/>
            <p:nvPr/>
          </p:nvSpPr>
          <p:spPr>
            <a:xfrm>
              <a:off x="2637836" y="2532965"/>
              <a:ext cx="376180" cy="221993"/>
            </a:xfrm>
            <a:custGeom>
              <a:avLst/>
              <a:gdLst/>
              <a:ahLst/>
              <a:cxnLst/>
              <a:rect l="l" t="t" r="r" b="b"/>
              <a:pathLst>
                <a:path w="114864" h="67784" extrusionOk="0">
                  <a:moveTo>
                    <a:pt x="106357" y="13065"/>
                  </a:moveTo>
                  <a:cubicBezTo>
                    <a:pt x="104189" y="14178"/>
                    <a:pt x="101932" y="15164"/>
                    <a:pt x="99610" y="15997"/>
                  </a:cubicBezTo>
                  <a:cubicBezTo>
                    <a:pt x="99509" y="16034"/>
                    <a:pt x="99407" y="16071"/>
                    <a:pt x="99307" y="16108"/>
                  </a:cubicBezTo>
                  <a:lnTo>
                    <a:pt x="99307" y="16108"/>
                  </a:lnTo>
                  <a:cubicBezTo>
                    <a:pt x="101716" y="15259"/>
                    <a:pt x="104072" y="14244"/>
                    <a:pt x="106357" y="13065"/>
                  </a:cubicBezTo>
                  <a:close/>
                  <a:moveTo>
                    <a:pt x="28508" y="0"/>
                  </a:moveTo>
                  <a:cubicBezTo>
                    <a:pt x="24492" y="0"/>
                    <a:pt x="20462" y="1024"/>
                    <a:pt x="16807" y="3134"/>
                  </a:cubicBezTo>
                  <a:lnTo>
                    <a:pt x="16196" y="3489"/>
                  </a:lnTo>
                  <a:cubicBezTo>
                    <a:pt x="1800" y="11798"/>
                    <a:pt x="1" y="31827"/>
                    <a:pt x="12628" y="42646"/>
                  </a:cubicBezTo>
                  <a:cubicBezTo>
                    <a:pt x="28344" y="56100"/>
                    <a:pt x="48088" y="64977"/>
                    <a:pt x="69813" y="67214"/>
                  </a:cubicBezTo>
                  <a:cubicBezTo>
                    <a:pt x="70015" y="67229"/>
                    <a:pt x="70217" y="67254"/>
                    <a:pt x="70424" y="67273"/>
                  </a:cubicBezTo>
                  <a:cubicBezTo>
                    <a:pt x="70803" y="67313"/>
                    <a:pt x="71193" y="67347"/>
                    <a:pt x="71572" y="67377"/>
                  </a:cubicBezTo>
                  <a:cubicBezTo>
                    <a:pt x="72085" y="67421"/>
                    <a:pt x="72592" y="67465"/>
                    <a:pt x="73100" y="67500"/>
                  </a:cubicBezTo>
                  <a:lnTo>
                    <a:pt x="73445" y="67525"/>
                  </a:lnTo>
                  <a:cubicBezTo>
                    <a:pt x="75888" y="67697"/>
                    <a:pt x="78340" y="67783"/>
                    <a:pt x="80797" y="67783"/>
                  </a:cubicBezTo>
                  <a:cubicBezTo>
                    <a:pt x="92212" y="67783"/>
                    <a:pt x="103723" y="65913"/>
                    <a:pt x="114864" y="62044"/>
                  </a:cubicBezTo>
                  <a:lnTo>
                    <a:pt x="114864" y="62044"/>
                  </a:lnTo>
                  <a:cubicBezTo>
                    <a:pt x="112427" y="62820"/>
                    <a:pt x="109978" y="63185"/>
                    <a:pt x="107581" y="63185"/>
                  </a:cubicBezTo>
                  <a:cubicBezTo>
                    <a:pt x="94740" y="63185"/>
                    <a:pt x="83396" y="52710"/>
                    <a:pt x="83396" y="38875"/>
                  </a:cubicBezTo>
                  <a:cubicBezTo>
                    <a:pt x="83396" y="28688"/>
                    <a:pt x="89785" y="19663"/>
                    <a:pt x="99307" y="16108"/>
                  </a:cubicBezTo>
                  <a:lnTo>
                    <a:pt x="99307" y="16108"/>
                  </a:lnTo>
                  <a:cubicBezTo>
                    <a:pt x="93355" y="18205"/>
                    <a:pt x="87080" y="19284"/>
                    <a:pt x="80750" y="19284"/>
                  </a:cubicBezTo>
                  <a:cubicBezTo>
                    <a:pt x="79680" y="19284"/>
                    <a:pt x="78608" y="19253"/>
                    <a:pt x="77536" y="19191"/>
                  </a:cubicBezTo>
                  <a:cubicBezTo>
                    <a:pt x="77230" y="19171"/>
                    <a:pt x="76920" y="19146"/>
                    <a:pt x="76609" y="19127"/>
                  </a:cubicBezTo>
                  <a:cubicBezTo>
                    <a:pt x="76077" y="19092"/>
                    <a:pt x="75554" y="19048"/>
                    <a:pt x="75022" y="18999"/>
                  </a:cubicBezTo>
                  <a:cubicBezTo>
                    <a:pt x="74948" y="18994"/>
                    <a:pt x="74869" y="18979"/>
                    <a:pt x="74795" y="18974"/>
                  </a:cubicBezTo>
                  <a:cubicBezTo>
                    <a:pt x="73346" y="18821"/>
                    <a:pt x="71912" y="18609"/>
                    <a:pt x="70483" y="18353"/>
                  </a:cubicBezTo>
                  <a:cubicBezTo>
                    <a:pt x="70414" y="18338"/>
                    <a:pt x="70340" y="18333"/>
                    <a:pt x="70276" y="18323"/>
                  </a:cubicBezTo>
                  <a:cubicBezTo>
                    <a:pt x="60651" y="16515"/>
                    <a:pt x="51671" y="12222"/>
                    <a:pt x="44234" y="5859"/>
                  </a:cubicBezTo>
                  <a:cubicBezTo>
                    <a:pt x="39736" y="2011"/>
                    <a:pt x="34136" y="0"/>
                    <a:pt x="285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0" name="Google Shape;9310;p56"/>
            <p:cNvSpPr/>
            <p:nvPr/>
          </p:nvSpPr>
          <p:spPr>
            <a:xfrm>
              <a:off x="2910955" y="2421038"/>
              <a:ext cx="327385" cy="318821"/>
            </a:xfrm>
            <a:custGeom>
              <a:avLst/>
              <a:gdLst/>
              <a:ahLst/>
              <a:cxnLst/>
              <a:rect l="l" t="t" r="r" b="b"/>
              <a:pathLst>
                <a:path w="99965" h="97350" extrusionOk="0">
                  <a:moveTo>
                    <a:pt x="53376" y="1"/>
                  </a:moveTo>
                  <a:lnTo>
                    <a:pt x="53376" y="6"/>
                  </a:lnTo>
                  <a:cubicBezTo>
                    <a:pt x="52883" y="9853"/>
                    <a:pt x="49823" y="19400"/>
                    <a:pt x="44500" y="27694"/>
                  </a:cubicBezTo>
                  <a:lnTo>
                    <a:pt x="44495" y="27689"/>
                  </a:lnTo>
                  <a:cubicBezTo>
                    <a:pt x="39162" y="35945"/>
                    <a:pt x="31740" y="42706"/>
                    <a:pt x="22962" y="47236"/>
                  </a:cubicBezTo>
                  <a:cubicBezTo>
                    <a:pt x="20794" y="48354"/>
                    <a:pt x="18537" y="49335"/>
                    <a:pt x="16215" y="50168"/>
                  </a:cubicBezTo>
                  <a:cubicBezTo>
                    <a:pt x="6526" y="53643"/>
                    <a:pt x="1" y="62751"/>
                    <a:pt x="1" y="73041"/>
                  </a:cubicBezTo>
                  <a:cubicBezTo>
                    <a:pt x="1" y="86877"/>
                    <a:pt x="11338" y="97350"/>
                    <a:pt x="24179" y="97350"/>
                  </a:cubicBezTo>
                  <a:cubicBezTo>
                    <a:pt x="26579" y="97350"/>
                    <a:pt x="29032" y="96984"/>
                    <a:pt x="31474" y="96205"/>
                  </a:cubicBezTo>
                  <a:cubicBezTo>
                    <a:pt x="31730" y="96126"/>
                    <a:pt x="31977" y="96043"/>
                    <a:pt x="32223" y="95954"/>
                  </a:cubicBezTo>
                  <a:cubicBezTo>
                    <a:pt x="49305" y="89907"/>
                    <a:pt x="64347" y="79542"/>
                    <a:pt x="76047" y="66176"/>
                  </a:cubicBezTo>
                  <a:cubicBezTo>
                    <a:pt x="76333" y="65870"/>
                    <a:pt x="76609" y="65575"/>
                    <a:pt x="76880" y="65254"/>
                  </a:cubicBezTo>
                  <a:cubicBezTo>
                    <a:pt x="88664" y="51450"/>
                    <a:pt x="96520" y="34919"/>
                    <a:pt x="99965" y="17468"/>
                  </a:cubicBezTo>
                  <a:lnTo>
                    <a:pt x="99965" y="17468"/>
                  </a:lnTo>
                  <a:cubicBezTo>
                    <a:pt x="97249" y="28811"/>
                    <a:pt x="87103" y="36062"/>
                    <a:pt x="76340" y="36062"/>
                  </a:cubicBezTo>
                  <a:cubicBezTo>
                    <a:pt x="72278" y="36062"/>
                    <a:pt x="68129" y="35030"/>
                    <a:pt x="64258" y="32795"/>
                  </a:cubicBezTo>
                  <a:cubicBezTo>
                    <a:pt x="55426" y="27694"/>
                    <a:pt x="50641" y="17596"/>
                    <a:pt x="52509" y="7571"/>
                  </a:cubicBezTo>
                  <a:cubicBezTo>
                    <a:pt x="52977" y="5067"/>
                    <a:pt x="53268" y="2534"/>
                    <a:pt x="533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1" name="Google Shape;9311;p56"/>
            <p:cNvSpPr/>
            <p:nvPr/>
          </p:nvSpPr>
          <p:spPr>
            <a:xfrm>
              <a:off x="3122726" y="2149918"/>
              <a:ext cx="10490" cy="10015"/>
            </a:xfrm>
            <a:custGeom>
              <a:avLst/>
              <a:gdLst/>
              <a:ahLst/>
              <a:cxnLst/>
              <a:rect l="l" t="t" r="r" b="b"/>
              <a:pathLst>
                <a:path w="3203" h="3058" extrusionOk="0">
                  <a:moveTo>
                    <a:pt x="21" y="0"/>
                  </a:moveTo>
                  <a:cubicBezTo>
                    <a:pt x="0" y="0"/>
                    <a:pt x="1234" y="1124"/>
                    <a:pt x="3203" y="3058"/>
                  </a:cubicBezTo>
                  <a:cubicBezTo>
                    <a:pt x="2429" y="2170"/>
                    <a:pt x="1576" y="1328"/>
                    <a:pt x="645" y="529"/>
                  </a:cubicBezTo>
                  <a:cubicBezTo>
                    <a:pt x="227" y="170"/>
                    <a:pt x="29" y="0"/>
                    <a:pt x="21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2" name="Google Shape;9312;p56"/>
            <p:cNvSpPr/>
            <p:nvPr/>
          </p:nvSpPr>
          <p:spPr>
            <a:xfrm>
              <a:off x="3022956" y="2159929"/>
              <a:ext cx="221858" cy="379216"/>
            </a:xfrm>
            <a:custGeom>
              <a:avLst/>
              <a:gdLst/>
              <a:ahLst/>
              <a:cxnLst/>
              <a:rect l="l" t="t" r="r" b="b"/>
              <a:pathLst>
                <a:path w="67743" h="115791" extrusionOk="0">
                  <a:moveTo>
                    <a:pt x="33667" y="1"/>
                  </a:moveTo>
                  <a:cubicBezTo>
                    <a:pt x="43405" y="11169"/>
                    <a:pt x="40882" y="28926"/>
                    <a:pt x="27541" y="36624"/>
                  </a:cubicBezTo>
                  <a:lnTo>
                    <a:pt x="26934" y="36974"/>
                  </a:lnTo>
                  <a:cubicBezTo>
                    <a:pt x="23278" y="39085"/>
                    <a:pt x="19248" y="40109"/>
                    <a:pt x="15233" y="40109"/>
                  </a:cubicBezTo>
                  <a:cubicBezTo>
                    <a:pt x="9809" y="40109"/>
                    <a:pt x="4413" y="38242"/>
                    <a:pt x="0" y="34668"/>
                  </a:cubicBezTo>
                  <a:lnTo>
                    <a:pt x="0" y="34668"/>
                  </a:lnTo>
                  <a:cubicBezTo>
                    <a:pt x="4658" y="38719"/>
                    <a:pt x="8625" y="43529"/>
                    <a:pt x="11725" y="48916"/>
                  </a:cubicBezTo>
                  <a:cubicBezTo>
                    <a:pt x="12179" y="49709"/>
                    <a:pt x="12617" y="50513"/>
                    <a:pt x="13026" y="51316"/>
                  </a:cubicBezTo>
                  <a:cubicBezTo>
                    <a:pt x="13090" y="51439"/>
                    <a:pt x="13150" y="51568"/>
                    <a:pt x="13219" y="51691"/>
                  </a:cubicBezTo>
                  <a:cubicBezTo>
                    <a:pt x="13460" y="52169"/>
                    <a:pt x="13692" y="52642"/>
                    <a:pt x="13913" y="53125"/>
                  </a:cubicBezTo>
                  <a:cubicBezTo>
                    <a:pt x="14047" y="53396"/>
                    <a:pt x="14175" y="53672"/>
                    <a:pt x="14298" y="53948"/>
                  </a:cubicBezTo>
                  <a:cubicBezTo>
                    <a:pt x="14569" y="54544"/>
                    <a:pt x="14835" y="55151"/>
                    <a:pt x="15081" y="55752"/>
                  </a:cubicBezTo>
                  <a:cubicBezTo>
                    <a:pt x="15165" y="55964"/>
                    <a:pt x="15244" y="56171"/>
                    <a:pt x="15328" y="56383"/>
                  </a:cubicBezTo>
                  <a:cubicBezTo>
                    <a:pt x="15525" y="56880"/>
                    <a:pt x="15712" y="57378"/>
                    <a:pt x="15900" y="57886"/>
                  </a:cubicBezTo>
                  <a:cubicBezTo>
                    <a:pt x="18438" y="64904"/>
                    <a:pt x="19547" y="72326"/>
                    <a:pt x="19187" y="79729"/>
                  </a:cubicBezTo>
                  <a:cubicBezTo>
                    <a:pt x="19064" y="82262"/>
                    <a:pt x="18778" y="84795"/>
                    <a:pt x="18310" y="87304"/>
                  </a:cubicBezTo>
                  <a:cubicBezTo>
                    <a:pt x="16442" y="97324"/>
                    <a:pt x="21227" y="107422"/>
                    <a:pt x="30054" y="112523"/>
                  </a:cubicBezTo>
                  <a:cubicBezTo>
                    <a:pt x="33927" y="114758"/>
                    <a:pt x="38077" y="115790"/>
                    <a:pt x="42139" y="115790"/>
                  </a:cubicBezTo>
                  <a:cubicBezTo>
                    <a:pt x="52903" y="115790"/>
                    <a:pt x="63049" y="108539"/>
                    <a:pt x="65761" y="97196"/>
                  </a:cubicBezTo>
                  <a:cubicBezTo>
                    <a:pt x="66717" y="92366"/>
                    <a:pt x="67328" y="87462"/>
                    <a:pt x="67594" y="82533"/>
                  </a:cubicBezTo>
                  <a:cubicBezTo>
                    <a:pt x="67644" y="81602"/>
                    <a:pt x="67678" y="80665"/>
                    <a:pt x="67703" y="79739"/>
                  </a:cubicBezTo>
                  <a:cubicBezTo>
                    <a:pt x="67728" y="78832"/>
                    <a:pt x="67742" y="77920"/>
                    <a:pt x="67742" y="77013"/>
                  </a:cubicBezTo>
                  <a:cubicBezTo>
                    <a:pt x="67737" y="58916"/>
                    <a:pt x="63144" y="41893"/>
                    <a:pt x="55061" y="27043"/>
                  </a:cubicBezTo>
                  <a:lnTo>
                    <a:pt x="55047" y="27058"/>
                  </a:lnTo>
                  <a:cubicBezTo>
                    <a:pt x="54613" y="26255"/>
                    <a:pt x="54169" y="25461"/>
                    <a:pt x="53716" y="24673"/>
                  </a:cubicBezTo>
                  <a:cubicBezTo>
                    <a:pt x="47915" y="14623"/>
                    <a:pt x="38541" y="4811"/>
                    <a:pt x="3366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3" name="Google Shape;9313;p56"/>
            <p:cNvSpPr/>
            <p:nvPr/>
          </p:nvSpPr>
          <p:spPr>
            <a:xfrm>
              <a:off x="3001649" y="2257452"/>
              <a:ext cx="4395" cy="2908"/>
            </a:xfrm>
            <a:custGeom>
              <a:avLst/>
              <a:gdLst/>
              <a:ahLst/>
              <a:cxnLst/>
              <a:rect l="l" t="t" r="r" b="b"/>
              <a:pathLst>
                <a:path w="1342" h="888" extrusionOk="0">
                  <a:moveTo>
                    <a:pt x="1" y="1"/>
                  </a:moveTo>
                  <a:cubicBezTo>
                    <a:pt x="449" y="291"/>
                    <a:pt x="898" y="587"/>
                    <a:pt x="1341" y="888"/>
                  </a:cubicBezTo>
                  <a:cubicBezTo>
                    <a:pt x="898" y="587"/>
                    <a:pt x="449" y="291"/>
                    <a:pt x="1" y="1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4" name="Google Shape;9314;p56"/>
            <p:cNvSpPr/>
            <p:nvPr/>
          </p:nvSpPr>
          <p:spPr>
            <a:xfrm>
              <a:off x="3006814" y="2260907"/>
              <a:ext cx="504" cy="373"/>
            </a:xfrm>
            <a:custGeom>
              <a:avLst/>
              <a:gdLst/>
              <a:ahLst/>
              <a:cxnLst/>
              <a:rect l="l" t="t" r="r" b="b"/>
              <a:pathLst>
                <a:path w="154" h="114" extrusionOk="0">
                  <a:moveTo>
                    <a:pt x="1" y="0"/>
                  </a:moveTo>
                  <a:lnTo>
                    <a:pt x="1" y="0"/>
                  </a:lnTo>
                  <a:cubicBezTo>
                    <a:pt x="50" y="40"/>
                    <a:pt x="104" y="74"/>
                    <a:pt x="154" y="114"/>
                  </a:cubicBezTo>
                  <a:cubicBezTo>
                    <a:pt x="104" y="74"/>
                    <a:pt x="55" y="40"/>
                    <a:pt x="1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5" name="Google Shape;9315;p56"/>
            <p:cNvSpPr/>
            <p:nvPr/>
          </p:nvSpPr>
          <p:spPr>
            <a:xfrm>
              <a:off x="3007315" y="2261277"/>
              <a:ext cx="15645" cy="12190"/>
            </a:xfrm>
            <a:custGeom>
              <a:avLst/>
              <a:gdLst/>
              <a:ahLst/>
              <a:cxnLst/>
              <a:rect l="l" t="t" r="r" b="b"/>
              <a:pathLst>
                <a:path w="4777" h="3722" extrusionOk="0">
                  <a:moveTo>
                    <a:pt x="1" y="1"/>
                  </a:moveTo>
                  <a:lnTo>
                    <a:pt x="1" y="1"/>
                  </a:lnTo>
                  <a:cubicBezTo>
                    <a:pt x="1479" y="1026"/>
                    <a:pt x="2908" y="2135"/>
                    <a:pt x="4283" y="3313"/>
                  </a:cubicBezTo>
                  <a:cubicBezTo>
                    <a:pt x="4441" y="3456"/>
                    <a:pt x="4609" y="3589"/>
                    <a:pt x="4776" y="3722"/>
                  </a:cubicBezTo>
                  <a:cubicBezTo>
                    <a:pt x="3253" y="2396"/>
                    <a:pt x="1666" y="1149"/>
                    <a:pt x="1" y="1"/>
                  </a:cubicBez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6" name="Google Shape;9316;p56"/>
            <p:cNvSpPr/>
            <p:nvPr/>
          </p:nvSpPr>
          <p:spPr>
            <a:xfrm>
              <a:off x="3006025" y="2260357"/>
              <a:ext cx="793" cy="553"/>
            </a:xfrm>
            <a:custGeom>
              <a:avLst/>
              <a:gdLst/>
              <a:ahLst/>
              <a:cxnLst/>
              <a:rect l="l" t="t" r="r" b="b"/>
              <a:pathLst>
                <a:path w="242" h="169" extrusionOk="0">
                  <a:moveTo>
                    <a:pt x="0" y="1"/>
                  </a:moveTo>
                  <a:lnTo>
                    <a:pt x="201" y="140"/>
                  </a:lnTo>
                  <a:lnTo>
                    <a:pt x="201" y="140"/>
                  </a:lnTo>
                  <a:cubicBezTo>
                    <a:pt x="137" y="95"/>
                    <a:pt x="74" y="50"/>
                    <a:pt x="0" y="1"/>
                  </a:cubicBezTo>
                  <a:close/>
                  <a:moveTo>
                    <a:pt x="201" y="140"/>
                  </a:moveTo>
                  <a:cubicBezTo>
                    <a:pt x="215" y="150"/>
                    <a:pt x="228" y="159"/>
                    <a:pt x="242" y="168"/>
                  </a:cubicBezTo>
                  <a:lnTo>
                    <a:pt x="201" y="140"/>
                  </a:ln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7" name="Google Shape;9317;p56"/>
            <p:cNvSpPr/>
            <p:nvPr/>
          </p:nvSpPr>
          <p:spPr>
            <a:xfrm>
              <a:off x="2790124" y="2069323"/>
              <a:ext cx="376068" cy="221963"/>
            </a:xfrm>
            <a:custGeom>
              <a:avLst/>
              <a:gdLst/>
              <a:ahLst/>
              <a:cxnLst/>
              <a:rect l="l" t="t" r="r" b="b"/>
              <a:pathLst>
                <a:path w="114830" h="67775" extrusionOk="0">
                  <a:moveTo>
                    <a:pt x="15387" y="51713"/>
                  </a:moveTo>
                  <a:cubicBezTo>
                    <a:pt x="13025" y="52552"/>
                    <a:pt x="10715" y="53552"/>
                    <a:pt x="8473" y="54709"/>
                  </a:cubicBezTo>
                  <a:lnTo>
                    <a:pt x="8473" y="54709"/>
                  </a:lnTo>
                  <a:cubicBezTo>
                    <a:pt x="10647" y="53591"/>
                    <a:pt x="12899" y="52605"/>
                    <a:pt x="15225" y="51772"/>
                  </a:cubicBezTo>
                  <a:cubicBezTo>
                    <a:pt x="15279" y="51753"/>
                    <a:pt x="15333" y="51733"/>
                    <a:pt x="15387" y="51713"/>
                  </a:cubicBezTo>
                  <a:close/>
                  <a:moveTo>
                    <a:pt x="34032" y="1"/>
                  </a:moveTo>
                  <a:cubicBezTo>
                    <a:pt x="22630" y="1"/>
                    <a:pt x="11132" y="1868"/>
                    <a:pt x="1" y="5720"/>
                  </a:cubicBezTo>
                  <a:cubicBezTo>
                    <a:pt x="2428" y="4951"/>
                    <a:pt x="4866" y="4589"/>
                    <a:pt x="7253" y="4589"/>
                  </a:cubicBezTo>
                  <a:cubicBezTo>
                    <a:pt x="20092" y="4589"/>
                    <a:pt x="31430" y="15063"/>
                    <a:pt x="31430" y="28899"/>
                  </a:cubicBezTo>
                  <a:cubicBezTo>
                    <a:pt x="31430" y="39137"/>
                    <a:pt x="24982" y="48196"/>
                    <a:pt x="15387" y="51713"/>
                  </a:cubicBezTo>
                  <a:lnTo>
                    <a:pt x="15387" y="51713"/>
                  </a:lnTo>
                  <a:cubicBezTo>
                    <a:pt x="21370" y="49588"/>
                    <a:pt x="27683" y="48494"/>
                    <a:pt x="34053" y="48494"/>
                  </a:cubicBezTo>
                  <a:cubicBezTo>
                    <a:pt x="35131" y="48494"/>
                    <a:pt x="36210" y="48525"/>
                    <a:pt x="37290" y="48588"/>
                  </a:cubicBezTo>
                  <a:cubicBezTo>
                    <a:pt x="37605" y="48608"/>
                    <a:pt x="37911" y="48632"/>
                    <a:pt x="38221" y="48647"/>
                  </a:cubicBezTo>
                  <a:cubicBezTo>
                    <a:pt x="38749" y="48687"/>
                    <a:pt x="39276" y="48731"/>
                    <a:pt x="39803" y="48780"/>
                  </a:cubicBezTo>
                  <a:cubicBezTo>
                    <a:pt x="39877" y="48785"/>
                    <a:pt x="39956" y="48795"/>
                    <a:pt x="40030" y="48805"/>
                  </a:cubicBezTo>
                  <a:cubicBezTo>
                    <a:pt x="41479" y="48958"/>
                    <a:pt x="42913" y="49165"/>
                    <a:pt x="44343" y="49426"/>
                  </a:cubicBezTo>
                  <a:cubicBezTo>
                    <a:pt x="44412" y="49436"/>
                    <a:pt x="44485" y="49446"/>
                    <a:pt x="44554" y="49456"/>
                  </a:cubicBezTo>
                  <a:cubicBezTo>
                    <a:pt x="51706" y="50801"/>
                    <a:pt x="58507" y="53517"/>
                    <a:pt x="64584" y="57440"/>
                  </a:cubicBezTo>
                  <a:cubicBezTo>
                    <a:pt x="65032" y="57730"/>
                    <a:pt x="65481" y="58026"/>
                    <a:pt x="65924" y="58332"/>
                  </a:cubicBezTo>
                  <a:lnTo>
                    <a:pt x="66166" y="58499"/>
                  </a:lnTo>
                  <a:cubicBezTo>
                    <a:pt x="66215" y="58539"/>
                    <a:pt x="66269" y="58573"/>
                    <a:pt x="66319" y="58613"/>
                  </a:cubicBezTo>
                  <a:cubicBezTo>
                    <a:pt x="67975" y="59771"/>
                    <a:pt x="69571" y="61008"/>
                    <a:pt x="71094" y="62334"/>
                  </a:cubicBezTo>
                  <a:cubicBezTo>
                    <a:pt x="75504" y="65908"/>
                    <a:pt x="80901" y="67775"/>
                    <a:pt x="86325" y="67775"/>
                  </a:cubicBezTo>
                  <a:cubicBezTo>
                    <a:pt x="90341" y="67775"/>
                    <a:pt x="94372" y="66751"/>
                    <a:pt x="98028" y="64640"/>
                  </a:cubicBezTo>
                  <a:lnTo>
                    <a:pt x="98640" y="64290"/>
                  </a:lnTo>
                  <a:cubicBezTo>
                    <a:pt x="113036" y="55981"/>
                    <a:pt x="114830" y="35951"/>
                    <a:pt x="102203" y="25138"/>
                  </a:cubicBezTo>
                  <a:cubicBezTo>
                    <a:pt x="98028" y="21560"/>
                    <a:pt x="93563" y="18307"/>
                    <a:pt x="88857" y="15419"/>
                  </a:cubicBezTo>
                  <a:cubicBezTo>
                    <a:pt x="75850" y="7435"/>
                    <a:pt x="60966" y="2216"/>
                    <a:pt x="45018" y="570"/>
                  </a:cubicBezTo>
                  <a:cubicBezTo>
                    <a:pt x="44811" y="555"/>
                    <a:pt x="44609" y="530"/>
                    <a:pt x="44407" y="511"/>
                  </a:cubicBezTo>
                  <a:cubicBezTo>
                    <a:pt x="44022" y="471"/>
                    <a:pt x="43643" y="437"/>
                    <a:pt x="43253" y="407"/>
                  </a:cubicBezTo>
                  <a:cubicBezTo>
                    <a:pt x="42741" y="363"/>
                    <a:pt x="42238" y="318"/>
                    <a:pt x="41726" y="284"/>
                  </a:cubicBezTo>
                  <a:lnTo>
                    <a:pt x="41381" y="259"/>
                  </a:lnTo>
                  <a:cubicBezTo>
                    <a:pt x="38938" y="87"/>
                    <a:pt x="36487" y="1"/>
                    <a:pt x="340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8" name="Google Shape;9318;p56"/>
            <p:cNvSpPr/>
            <p:nvPr/>
          </p:nvSpPr>
          <p:spPr>
            <a:xfrm>
              <a:off x="2559328" y="2381300"/>
              <a:ext cx="1294" cy="21877"/>
            </a:xfrm>
            <a:custGeom>
              <a:avLst/>
              <a:gdLst/>
              <a:ahLst/>
              <a:cxnLst/>
              <a:rect l="l" t="t" r="r" b="b"/>
              <a:pathLst>
                <a:path w="395" h="6680" extrusionOk="0">
                  <a:moveTo>
                    <a:pt x="395" y="1"/>
                  </a:moveTo>
                  <a:cubicBezTo>
                    <a:pt x="193" y="2219"/>
                    <a:pt x="65" y="4447"/>
                    <a:pt x="1" y="6679"/>
                  </a:cubicBezTo>
                  <a:lnTo>
                    <a:pt x="15" y="6679"/>
                  </a:lnTo>
                  <a:cubicBezTo>
                    <a:pt x="70" y="4447"/>
                    <a:pt x="198" y="2224"/>
                    <a:pt x="395" y="1"/>
                  </a:cubicBezTo>
                  <a:close/>
                </a:path>
              </a:pathLst>
            </a:custGeom>
            <a:solidFill>
              <a:srgbClr val="A5B7C5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9" name="Google Shape;9319;p56"/>
            <p:cNvSpPr/>
            <p:nvPr/>
          </p:nvSpPr>
          <p:spPr>
            <a:xfrm>
              <a:off x="2565429" y="2084349"/>
              <a:ext cx="327628" cy="318828"/>
            </a:xfrm>
            <a:custGeom>
              <a:avLst/>
              <a:gdLst/>
              <a:ahLst/>
              <a:cxnLst/>
              <a:rect l="l" t="t" r="r" b="b"/>
              <a:pathLst>
                <a:path w="100039" h="97352" extrusionOk="0">
                  <a:moveTo>
                    <a:pt x="75862" y="1"/>
                  </a:moveTo>
                  <a:cubicBezTo>
                    <a:pt x="73475" y="1"/>
                    <a:pt x="71037" y="363"/>
                    <a:pt x="68610" y="1132"/>
                  </a:cubicBezTo>
                  <a:cubicBezTo>
                    <a:pt x="68344" y="1221"/>
                    <a:pt x="68088" y="1304"/>
                    <a:pt x="67821" y="1398"/>
                  </a:cubicBezTo>
                  <a:cubicBezTo>
                    <a:pt x="50739" y="7450"/>
                    <a:pt x="35693" y="17810"/>
                    <a:pt x="23992" y="31181"/>
                  </a:cubicBezTo>
                  <a:cubicBezTo>
                    <a:pt x="23712" y="31482"/>
                    <a:pt x="23436" y="31782"/>
                    <a:pt x="23164" y="32098"/>
                  </a:cubicBezTo>
                  <a:cubicBezTo>
                    <a:pt x="11277" y="46021"/>
                    <a:pt x="3391" y="62709"/>
                    <a:pt x="1" y="80328"/>
                  </a:cubicBezTo>
                  <a:cubicBezTo>
                    <a:pt x="2554" y="68739"/>
                    <a:pt x="12822" y="61297"/>
                    <a:pt x="23723" y="61297"/>
                  </a:cubicBezTo>
                  <a:cubicBezTo>
                    <a:pt x="27782" y="61297"/>
                    <a:pt x="31928" y="62329"/>
                    <a:pt x="35796" y="64562"/>
                  </a:cubicBezTo>
                  <a:cubicBezTo>
                    <a:pt x="44628" y="69658"/>
                    <a:pt x="49414" y="79756"/>
                    <a:pt x="47546" y="89781"/>
                  </a:cubicBezTo>
                  <a:cubicBezTo>
                    <a:pt x="47077" y="92285"/>
                    <a:pt x="46787" y="94818"/>
                    <a:pt x="46663" y="97351"/>
                  </a:cubicBezTo>
                  <a:lnTo>
                    <a:pt x="46673" y="97351"/>
                  </a:lnTo>
                  <a:cubicBezTo>
                    <a:pt x="47166" y="87504"/>
                    <a:pt x="50227" y="77957"/>
                    <a:pt x="55550" y="69663"/>
                  </a:cubicBezTo>
                  <a:lnTo>
                    <a:pt x="55554" y="69673"/>
                  </a:lnTo>
                  <a:cubicBezTo>
                    <a:pt x="60882" y="61417"/>
                    <a:pt x="68309" y="54651"/>
                    <a:pt x="77082" y="50131"/>
                  </a:cubicBezTo>
                  <a:cubicBezTo>
                    <a:pt x="79251" y="49007"/>
                    <a:pt x="81503" y="48027"/>
                    <a:pt x="83834" y="47189"/>
                  </a:cubicBezTo>
                  <a:cubicBezTo>
                    <a:pt x="93523" y="43714"/>
                    <a:pt x="100039" y="34611"/>
                    <a:pt x="100039" y="24316"/>
                  </a:cubicBezTo>
                  <a:cubicBezTo>
                    <a:pt x="100039" y="10476"/>
                    <a:pt x="88701" y="1"/>
                    <a:pt x="7586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0" name="Google Shape;9320;p56"/>
            <p:cNvSpPr/>
            <p:nvPr/>
          </p:nvSpPr>
          <p:spPr>
            <a:xfrm>
              <a:off x="2560618" y="2347407"/>
              <a:ext cx="4814" cy="33896"/>
            </a:xfrm>
            <a:custGeom>
              <a:avLst/>
              <a:gdLst/>
              <a:ahLst/>
              <a:cxnLst/>
              <a:rect l="l" t="t" r="r" b="b"/>
              <a:pathLst>
                <a:path w="1470" h="10350" extrusionOk="0">
                  <a:moveTo>
                    <a:pt x="1470" y="0"/>
                  </a:moveTo>
                  <a:lnTo>
                    <a:pt x="1470" y="0"/>
                  </a:lnTo>
                  <a:cubicBezTo>
                    <a:pt x="1401" y="306"/>
                    <a:pt x="1337" y="611"/>
                    <a:pt x="1282" y="917"/>
                  </a:cubicBezTo>
                  <a:cubicBezTo>
                    <a:pt x="711" y="4042"/>
                    <a:pt x="287" y="7191"/>
                    <a:pt x="1" y="10350"/>
                  </a:cubicBezTo>
                  <a:cubicBezTo>
                    <a:pt x="316" y="6875"/>
                    <a:pt x="809" y="3421"/>
                    <a:pt x="1470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1" name="Google Shape;9321;p56"/>
            <p:cNvSpPr/>
            <p:nvPr/>
          </p:nvSpPr>
          <p:spPr>
            <a:xfrm>
              <a:off x="2559249" y="2285083"/>
              <a:ext cx="222808" cy="417520"/>
            </a:xfrm>
            <a:custGeom>
              <a:avLst/>
              <a:gdLst/>
              <a:ahLst/>
              <a:cxnLst/>
              <a:rect l="l" t="t" r="r" b="b"/>
              <a:pathLst>
                <a:path w="68033" h="127487" extrusionOk="0">
                  <a:moveTo>
                    <a:pt x="25602" y="1"/>
                  </a:moveTo>
                  <a:cubicBezTo>
                    <a:pt x="14703" y="1"/>
                    <a:pt x="4439" y="7441"/>
                    <a:pt x="1883" y="19035"/>
                  </a:cubicBezTo>
                  <a:cubicBezTo>
                    <a:pt x="1227" y="22455"/>
                    <a:pt x="734" y="25910"/>
                    <a:pt x="419" y="29385"/>
                  </a:cubicBezTo>
                  <a:cubicBezTo>
                    <a:pt x="222" y="31603"/>
                    <a:pt x="94" y="33835"/>
                    <a:pt x="35" y="36063"/>
                  </a:cubicBezTo>
                  <a:cubicBezTo>
                    <a:pt x="10" y="36975"/>
                    <a:pt x="0" y="37887"/>
                    <a:pt x="0" y="38798"/>
                  </a:cubicBezTo>
                  <a:cubicBezTo>
                    <a:pt x="0" y="56881"/>
                    <a:pt x="4588" y="73904"/>
                    <a:pt x="12671" y="88749"/>
                  </a:cubicBezTo>
                  <a:lnTo>
                    <a:pt x="12691" y="88739"/>
                  </a:lnTo>
                  <a:cubicBezTo>
                    <a:pt x="13125" y="89537"/>
                    <a:pt x="13568" y="90331"/>
                    <a:pt x="14022" y="91119"/>
                  </a:cubicBezTo>
                  <a:cubicBezTo>
                    <a:pt x="22883" y="106467"/>
                    <a:pt x="35042" y="118709"/>
                    <a:pt x="49088" y="127487"/>
                  </a:cubicBezTo>
                  <a:cubicBezTo>
                    <a:pt x="44716" y="124746"/>
                    <a:pt x="40552" y="121676"/>
                    <a:pt x="36624" y="118320"/>
                  </a:cubicBezTo>
                  <a:cubicBezTo>
                    <a:pt x="23997" y="107507"/>
                    <a:pt x="25796" y="87482"/>
                    <a:pt x="40192" y="79163"/>
                  </a:cubicBezTo>
                  <a:lnTo>
                    <a:pt x="40803" y="78813"/>
                  </a:lnTo>
                  <a:cubicBezTo>
                    <a:pt x="44454" y="76704"/>
                    <a:pt x="48478" y="75683"/>
                    <a:pt x="52488" y="75683"/>
                  </a:cubicBezTo>
                  <a:cubicBezTo>
                    <a:pt x="58037" y="75683"/>
                    <a:pt x="63561" y="77639"/>
                    <a:pt x="68033" y="81376"/>
                  </a:cubicBezTo>
                  <a:cubicBezTo>
                    <a:pt x="63232" y="77255"/>
                    <a:pt x="59166" y="72352"/>
                    <a:pt x="56012" y="66871"/>
                  </a:cubicBezTo>
                  <a:cubicBezTo>
                    <a:pt x="55559" y="66078"/>
                    <a:pt x="55120" y="65279"/>
                    <a:pt x="54706" y="64471"/>
                  </a:cubicBezTo>
                  <a:cubicBezTo>
                    <a:pt x="54642" y="64348"/>
                    <a:pt x="54583" y="64220"/>
                    <a:pt x="54514" y="64096"/>
                  </a:cubicBezTo>
                  <a:cubicBezTo>
                    <a:pt x="54272" y="63618"/>
                    <a:pt x="54041" y="63145"/>
                    <a:pt x="53819" y="62667"/>
                  </a:cubicBezTo>
                  <a:cubicBezTo>
                    <a:pt x="53691" y="62396"/>
                    <a:pt x="53558" y="62115"/>
                    <a:pt x="53435" y="61839"/>
                  </a:cubicBezTo>
                  <a:cubicBezTo>
                    <a:pt x="53164" y="61243"/>
                    <a:pt x="52902" y="60637"/>
                    <a:pt x="52656" y="60035"/>
                  </a:cubicBezTo>
                  <a:cubicBezTo>
                    <a:pt x="52567" y="59823"/>
                    <a:pt x="52488" y="59616"/>
                    <a:pt x="52409" y="59399"/>
                  </a:cubicBezTo>
                  <a:cubicBezTo>
                    <a:pt x="52212" y="58902"/>
                    <a:pt x="52020" y="58404"/>
                    <a:pt x="51843" y="57901"/>
                  </a:cubicBezTo>
                  <a:cubicBezTo>
                    <a:pt x="49305" y="50888"/>
                    <a:pt x="48196" y="43461"/>
                    <a:pt x="48550" y="36058"/>
                  </a:cubicBezTo>
                  <a:cubicBezTo>
                    <a:pt x="48674" y="33525"/>
                    <a:pt x="48964" y="30992"/>
                    <a:pt x="49433" y="28488"/>
                  </a:cubicBezTo>
                  <a:cubicBezTo>
                    <a:pt x="51301" y="18463"/>
                    <a:pt x="46510" y="8365"/>
                    <a:pt x="37683" y="3269"/>
                  </a:cubicBezTo>
                  <a:cubicBezTo>
                    <a:pt x="33812" y="1033"/>
                    <a:pt x="29663" y="1"/>
                    <a:pt x="256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22" name="Google Shape;9322;p56"/>
          <p:cNvGrpSpPr/>
          <p:nvPr/>
        </p:nvGrpSpPr>
        <p:grpSpPr>
          <a:xfrm>
            <a:off x="7612699" y="1191441"/>
            <a:ext cx="845645" cy="711911"/>
            <a:chOff x="951975" y="315800"/>
            <a:chExt cx="5860325" cy="4933550"/>
          </a:xfrm>
        </p:grpSpPr>
        <p:sp>
          <p:nvSpPr>
            <p:cNvPr id="9323" name="Google Shape;9323;p56"/>
            <p:cNvSpPr/>
            <p:nvPr/>
          </p:nvSpPr>
          <p:spPr>
            <a:xfrm>
              <a:off x="6501500" y="3684025"/>
              <a:ext cx="310800" cy="261200"/>
            </a:xfrm>
            <a:custGeom>
              <a:avLst/>
              <a:gdLst/>
              <a:ahLst/>
              <a:cxnLst/>
              <a:rect l="l" t="t" r="r" b="b"/>
              <a:pathLst>
                <a:path w="12432" h="10448" extrusionOk="0">
                  <a:moveTo>
                    <a:pt x="4963" y="0"/>
                  </a:moveTo>
                  <a:cubicBezTo>
                    <a:pt x="2239" y="0"/>
                    <a:pt x="0" y="2356"/>
                    <a:pt x="0" y="5120"/>
                  </a:cubicBezTo>
                  <a:cubicBezTo>
                    <a:pt x="0" y="8227"/>
                    <a:pt x="2220" y="10447"/>
                    <a:pt x="5328" y="10447"/>
                  </a:cubicBezTo>
                  <a:cubicBezTo>
                    <a:pt x="9989" y="10447"/>
                    <a:pt x="12431" y="4898"/>
                    <a:pt x="8879" y="1568"/>
                  </a:cubicBezTo>
                  <a:cubicBezTo>
                    <a:pt x="7991" y="458"/>
                    <a:pt x="6660" y="14"/>
                    <a:pt x="5328" y="14"/>
                  </a:cubicBezTo>
                  <a:cubicBezTo>
                    <a:pt x="5205" y="5"/>
                    <a:pt x="5084" y="0"/>
                    <a:pt x="49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4" name="Google Shape;9324;p56"/>
            <p:cNvSpPr/>
            <p:nvPr/>
          </p:nvSpPr>
          <p:spPr>
            <a:xfrm>
              <a:off x="6501500" y="2945200"/>
              <a:ext cx="310800" cy="261925"/>
            </a:xfrm>
            <a:custGeom>
              <a:avLst/>
              <a:gdLst/>
              <a:ahLst/>
              <a:cxnLst/>
              <a:rect l="l" t="t" r="r" b="b"/>
              <a:pathLst>
                <a:path w="12432" h="10477" extrusionOk="0">
                  <a:moveTo>
                    <a:pt x="5852" y="1"/>
                  </a:moveTo>
                  <a:cubicBezTo>
                    <a:pt x="5678" y="1"/>
                    <a:pt x="5503" y="15"/>
                    <a:pt x="5328" y="44"/>
                  </a:cubicBezTo>
                  <a:cubicBezTo>
                    <a:pt x="5205" y="34"/>
                    <a:pt x="5084" y="30"/>
                    <a:pt x="4963" y="30"/>
                  </a:cubicBezTo>
                  <a:cubicBezTo>
                    <a:pt x="2239" y="30"/>
                    <a:pt x="0" y="2386"/>
                    <a:pt x="0" y="5149"/>
                  </a:cubicBezTo>
                  <a:cubicBezTo>
                    <a:pt x="0" y="8035"/>
                    <a:pt x="2220" y="10477"/>
                    <a:pt x="5328" y="10477"/>
                  </a:cubicBezTo>
                  <a:cubicBezTo>
                    <a:pt x="9989" y="10477"/>
                    <a:pt x="12431" y="4705"/>
                    <a:pt x="8879" y="1376"/>
                  </a:cubicBezTo>
                  <a:cubicBezTo>
                    <a:pt x="8108" y="604"/>
                    <a:pt x="7002" y="1"/>
                    <a:pt x="58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5" name="Google Shape;9325;p56"/>
            <p:cNvSpPr/>
            <p:nvPr/>
          </p:nvSpPr>
          <p:spPr>
            <a:xfrm>
              <a:off x="6501500" y="2202650"/>
              <a:ext cx="310800" cy="266400"/>
            </a:xfrm>
            <a:custGeom>
              <a:avLst/>
              <a:gdLst/>
              <a:ahLst/>
              <a:cxnLst/>
              <a:rect l="l" t="t" r="r" b="b"/>
              <a:pathLst>
                <a:path w="12432" h="10656" extrusionOk="0">
                  <a:moveTo>
                    <a:pt x="5328" y="0"/>
                  </a:moveTo>
                  <a:cubicBezTo>
                    <a:pt x="2442" y="0"/>
                    <a:pt x="0" y="2442"/>
                    <a:pt x="0" y="5328"/>
                  </a:cubicBezTo>
                  <a:cubicBezTo>
                    <a:pt x="0" y="8214"/>
                    <a:pt x="2220" y="10655"/>
                    <a:pt x="5328" y="10655"/>
                  </a:cubicBezTo>
                  <a:cubicBezTo>
                    <a:pt x="9989" y="10655"/>
                    <a:pt x="12431" y="4884"/>
                    <a:pt x="8879" y="1554"/>
                  </a:cubicBezTo>
                  <a:cubicBezTo>
                    <a:pt x="7991" y="444"/>
                    <a:pt x="6660" y="0"/>
                    <a:pt x="53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6" name="Google Shape;9326;p56"/>
            <p:cNvSpPr/>
            <p:nvPr/>
          </p:nvSpPr>
          <p:spPr>
            <a:xfrm>
              <a:off x="951975" y="3495675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29746" y="1"/>
                  </a:moveTo>
                  <a:lnTo>
                    <a:pt x="0" y="14430"/>
                  </a:lnTo>
                  <a:lnTo>
                    <a:pt x="109215" y="70147"/>
                  </a:lnTo>
                  <a:lnTo>
                    <a:pt x="218429" y="14430"/>
                  </a:lnTo>
                  <a:lnTo>
                    <a:pt x="188684" y="1"/>
                  </a:lnTo>
                  <a:lnTo>
                    <a:pt x="109215" y="40623"/>
                  </a:ln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7" name="Google Shape;9327;p56"/>
            <p:cNvSpPr/>
            <p:nvPr/>
          </p:nvSpPr>
          <p:spPr>
            <a:xfrm>
              <a:off x="951975" y="2757600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188684" y="0"/>
                  </a:moveTo>
                  <a:lnTo>
                    <a:pt x="158939" y="15095"/>
                  </a:lnTo>
                  <a:lnTo>
                    <a:pt x="109215" y="40623"/>
                  </a:lnTo>
                  <a:lnTo>
                    <a:pt x="59491" y="15095"/>
                  </a:lnTo>
                  <a:lnTo>
                    <a:pt x="29746" y="0"/>
                  </a:lnTo>
                  <a:lnTo>
                    <a:pt x="0" y="14429"/>
                  </a:lnTo>
                  <a:lnTo>
                    <a:pt x="29746" y="29524"/>
                  </a:lnTo>
                  <a:lnTo>
                    <a:pt x="109215" y="70146"/>
                  </a:lnTo>
                  <a:lnTo>
                    <a:pt x="188684" y="29524"/>
                  </a:lnTo>
                  <a:lnTo>
                    <a:pt x="218429" y="14429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8" name="Google Shape;9328;p56"/>
            <p:cNvSpPr/>
            <p:nvPr/>
          </p:nvSpPr>
          <p:spPr>
            <a:xfrm>
              <a:off x="951975" y="2019500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188684" y="1"/>
                  </a:moveTo>
                  <a:lnTo>
                    <a:pt x="158939" y="15096"/>
                  </a:lnTo>
                  <a:lnTo>
                    <a:pt x="129193" y="30190"/>
                  </a:lnTo>
                  <a:lnTo>
                    <a:pt x="109215" y="40623"/>
                  </a:lnTo>
                  <a:lnTo>
                    <a:pt x="89237" y="30190"/>
                  </a:lnTo>
                  <a:lnTo>
                    <a:pt x="59491" y="15096"/>
                  </a:lnTo>
                  <a:lnTo>
                    <a:pt x="29746" y="1"/>
                  </a:lnTo>
                  <a:lnTo>
                    <a:pt x="0" y="14208"/>
                  </a:lnTo>
                  <a:lnTo>
                    <a:pt x="29746" y="29524"/>
                  </a:lnTo>
                  <a:lnTo>
                    <a:pt x="59491" y="44619"/>
                  </a:lnTo>
                  <a:lnTo>
                    <a:pt x="109215" y="70147"/>
                  </a:lnTo>
                  <a:lnTo>
                    <a:pt x="158939" y="44619"/>
                  </a:lnTo>
                  <a:lnTo>
                    <a:pt x="188684" y="29524"/>
                  </a:lnTo>
                  <a:lnTo>
                    <a:pt x="218429" y="14208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9" name="Google Shape;9329;p56"/>
            <p:cNvSpPr/>
            <p:nvPr/>
          </p:nvSpPr>
          <p:spPr>
            <a:xfrm>
              <a:off x="951975" y="315800"/>
              <a:ext cx="5460750" cy="2719300"/>
            </a:xfrm>
            <a:custGeom>
              <a:avLst/>
              <a:gdLst/>
              <a:ahLst/>
              <a:cxnLst/>
              <a:rect l="l" t="t" r="r" b="b"/>
              <a:pathLst>
                <a:path w="218430" h="108772" fill="none" extrusionOk="0">
                  <a:moveTo>
                    <a:pt x="109215" y="1"/>
                  </a:moveTo>
                  <a:lnTo>
                    <a:pt x="0" y="52832"/>
                  </a:lnTo>
                  <a:lnTo>
                    <a:pt x="109215" y="108771"/>
                  </a:lnTo>
                  <a:lnTo>
                    <a:pt x="218429" y="52832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0" name="Google Shape;9330;p56"/>
            <p:cNvSpPr/>
            <p:nvPr/>
          </p:nvSpPr>
          <p:spPr>
            <a:xfrm>
              <a:off x="6501500" y="1464200"/>
              <a:ext cx="310800" cy="261550"/>
            </a:xfrm>
            <a:custGeom>
              <a:avLst/>
              <a:gdLst/>
              <a:ahLst/>
              <a:cxnLst/>
              <a:rect l="l" t="t" r="r" b="b"/>
              <a:pathLst>
                <a:path w="12432" h="10462" extrusionOk="0">
                  <a:moveTo>
                    <a:pt x="4963" y="1"/>
                  </a:moveTo>
                  <a:cubicBezTo>
                    <a:pt x="2239" y="1"/>
                    <a:pt x="0" y="2357"/>
                    <a:pt x="0" y="5120"/>
                  </a:cubicBezTo>
                  <a:cubicBezTo>
                    <a:pt x="0" y="8097"/>
                    <a:pt x="2036" y="10462"/>
                    <a:pt x="4938" y="10462"/>
                  </a:cubicBezTo>
                  <a:cubicBezTo>
                    <a:pt x="5066" y="10462"/>
                    <a:pt x="5196" y="10457"/>
                    <a:pt x="5328" y="10448"/>
                  </a:cubicBezTo>
                  <a:cubicBezTo>
                    <a:pt x="9989" y="10448"/>
                    <a:pt x="12431" y="4898"/>
                    <a:pt x="8879" y="1569"/>
                  </a:cubicBezTo>
                  <a:cubicBezTo>
                    <a:pt x="7991" y="459"/>
                    <a:pt x="6660" y="15"/>
                    <a:pt x="5328" y="15"/>
                  </a:cubicBezTo>
                  <a:cubicBezTo>
                    <a:pt x="5205" y="5"/>
                    <a:pt x="5084" y="1"/>
                    <a:pt x="49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31" name="Google Shape;9331;p56"/>
          <p:cNvGrpSpPr/>
          <p:nvPr/>
        </p:nvGrpSpPr>
        <p:grpSpPr>
          <a:xfrm>
            <a:off x="3709828" y="2927550"/>
            <a:ext cx="1617932" cy="621724"/>
            <a:chOff x="3862800" y="3038525"/>
            <a:chExt cx="1329006" cy="510698"/>
          </a:xfrm>
        </p:grpSpPr>
        <p:sp>
          <p:nvSpPr>
            <p:cNvPr id="9332" name="Google Shape;9332;p56"/>
            <p:cNvSpPr/>
            <p:nvPr/>
          </p:nvSpPr>
          <p:spPr>
            <a:xfrm>
              <a:off x="4185913" y="3040337"/>
              <a:ext cx="71107" cy="143789"/>
            </a:xfrm>
            <a:custGeom>
              <a:avLst/>
              <a:gdLst/>
              <a:ahLst/>
              <a:cxnLst/>
              <a:rect l="l" t="t" r="r" b="b"/>
              <a:pathLst>
                <a:path w="14722" h="29770" extrusionOk="0">
                  <a:moveTo>
                    <a:pt x="0" y="1"/>
                  </a:moveTo>
                  <a:cubicBezTo>
                    <a:pt x="0" y="11614"/>
                    <a:pt x="5398" y="22573"/>
                    <a:pt x="14721" y="29770"/>
                  </a:cubicBezTo>
                  <a:cubicBezTo>
                    <a:pt x="5562" y="22573"/>
                    <a:pt x="164" y="11614"/>
                    <a:pt x="164" y="1"/>
                  </a:cubicBez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3" name="Google Shape;9333;p56"/>
            <p:cNvSpPr/>
            <p:nvPr/>
          </p:nvSpPr>
          <p:spPr>
            <a:xfrm>
              <a:off x="3967075" y="3045080"/>
              <a:ext cx="403706" cy="397383"/>
            </a:xfrm>
            <a:custGeom>
              <a:avLst/>
              <a:gdLst/>
              <a:ahLst/>
              <a:cxnLst/>
              <a:rect l="l" t="t" r="r" b="b"/>
              <a:pathLst>
                <a:path w="83583" h="82274" extrusionOk="0">
                  <a:moveTo>
                    <a:pt x="83583" y="82273"/>
                  </a:moveTo>
                  <a:cubicBezTo>
                    <a:pt x="37948" y="82273"/>
                    <a:pt x="655" y="45635"/>
                    <a:pt x="0" y="0"/>
                  </a:cubicBezTo>
                  <a:cubicBezTo>
                    <a:pt x="655" y="45635"/>
                    <a:pt x="37948" y="82273"/>
                    <a:pt x="83583" y="82273"/>
                  </a:cubicBezTo>
                  <a:close/>
                </a:path>
              </a:pathLst>
            </a:custGeom>
            <a:solidFill>
              <a:srgbClr val="445D73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334" name="Google Shape;9334;p56"/>
            <p:cNvGrpSpPr/>
            <p:nvPr/>
          </p:nvGrpSpPr>
          <p:grpSpPr>
            <a:xfrm>
              <a:off x="3967075" y="3040337"/>
              <a:ext cx="1019927" cy="402126"/>
              <a:chOff x="3967075" y="3040337"/>
              <a:chExt cx="1019927" cy="402126"/>
            </a:xfrm>
          </p:grpSpPr>
          <p:sp>
            <p:nvSpPr>
              <p:cNvPr id="9335" name="Google Shape;9335;p56"/>
              <p:cNvSpPr/>
              <p:nvPr/>
            </p:nvSpPr>
            <p:spPr>
              <a:xfrm>
                <a:off x="4369197" y="3335999"/>
                <a:ext cx="617805" cy="105869"/>
              </a:xfrm>
              <a:custGeom>
                <a:avLst/>
                <a:gdLst/>
                <a:ahLst/>
                <a:cxnLst/>
                <a:rect l="l" t="t" r="r" b="b"/>
                <a:pathLst>
                  <a:path w="127910" h="21919" fill="none" extrusionOk="0">
                    <a:moveTo>
                      <a:pt x="1" y="21918"/>
                    </a:moveTo>
                    <a:lnTo>
                      <a:pt x="127909" y="21918"/>
                    </a:lnTo>
                    <a:lnTo>
                      <a:pt x="127909" y="1"/>
                    </a:lnTo>
                    <a:lnTo>
                      <a:pt x="164" y="164"/>
                    </a:lnTo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36" name="Google Shape;9336;p56"/>
              <p:cNvSpPr/>
              <p:nvPr/>
            </p:nvSpPr>
            <p:spPr>
              <a:xfrm>
                <a:off x="3967075" y="3040337"/>
                <a:ext cx="403706" cy="402126"/>
              </a:xfrm>
              <a:custGeom>
                <a:avLst/>
                <a:gdLst/>
                <a:ahLst/>
                <a:cxnLst/>
                <a:rect l="l" t="t" r="r" b="b"/>
                <a:pathLst>
                  <a:path w="83583" h="83256" fill="none" extrusionOk="0">
                    <a:moveTo>
                      <a:pt x="83419" y="61501"/>
                    </a:moveTo>
                    <a:cubicBezTo>
                      <a:pt x="49397" y="61501"/>
                      <a:pt x="21755" y="34022"/>
                      <a:pt x="21755" y="1"/>
                    </a:cubicBezTo>
                    <a:lnTo>
                      <a:pt x="0" y="1"/>
                    </a:lnTo>
                    <a:lnTo>
                      <a:pt x="0" y="982"/>
                    </a:lnTo>
                    <a:cubicBezTo>
                      <a:pt x="818" y="46617"/>
                      <a:pt x="37948" y="83255"/>
                      <a:pt x="83583" y="83255"/>
                    </a:cubicBezTo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37" name="Google Shape;9337;p56"/>
            <p:cNvGrpSpPr/>
            <p:nvPr/>
          </p:nvGrpSpPr>
          <p:grpSpPr>
            <a:xfrm>
              <a:off x="4186700" y="3040337"/>
              <a:ext cx="390475" cy="183289"/>
              <a:chOff x="4186700" y="3040337"/>
              <a:chExt cx="390475" cy="183289"/>
            </a:xfrm>
          </p:grpSpPr>
          <p:sp>
            <p:nvSpPr>
              <p:cNvPr id="9338" name="Google Shape;9338;p56"/>
              <p:cNvSpPr/>
              <p:nvPr/>
            </p:nvSpPr>
            <p:spPr>
              <a:xfrm>
                <a:off x="4370181" y="3120129"/>
                <a:ext cx="206994" cy="103497"/>
              </a:xfrm>
              <a:custGeom>
                <a:avLst/>
                <a:gdLst/>
                <a:ahLst/>
                <a:cxnLst/>
                <a:rect l="l" t="t" r="r" b="b"/>
                <a:pathLst>
                  <a:path w="42856" h="21428" fill="none" extrusionOk="0">
                    <a:moveTo>
                      <a:pt x="1" y="21428"/>
                    </a:moveTo>
                    <a:lnTo>
                      <a:pt x="42855" y="21428"/>
                    </a:lnTo>
                    <a:lnTo>
                      <a:pt x="42855" y="1"/>
                    </a:lnTo>
                    <a:lnTo>
                      <a:pt x="1" y="1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39" name="Google Shape;9339;p56"/>
              <p:cNvSpPr/>
              <p:nvPr/>
            </p:nvSpPr>
            <p:spPr>
              <a:xfrm>
                <a:off x="4186700" y="3040337"/>
                <a:ext cx="184081" cy="183289"/>
              </a:xfrm>
              <a:custGeom>
                <a:avLst/>
                <a:gdLst/>
                <a:ahLst/>
                <a:cxnLst/>
                <a:rect l="l" t="t" r="r" b="b"/>
                <a:pathLst>
                  <a:path w="38112" h="37948" fill="none" extrusionOk="0">
                    <a:moveTo>
                      <a:pt x="38112" y="16521"/>
                    </a:moveTo>
                    <a:cubicBezTo>
                      <a:pt x="28789" y="16521"/>
                      <a:pt x="21264" y="9160"/>
                      <a:pt x="21264" y="1"/>
                    </a:cubicBezTo>
                    <a:lnTo>
                      <a:pt x="1" y="1"/>
                    </a:lnTo>
                    <a:cubicBezTo>
                      <a:pt x="1" y="11614"/>
                      <a:pt x="5399" y="22573"/>
                      <a:pt x="14558" y="29770"/>
                    </a:cubicBezTo>
                    <a:cubicBezTo>
                      <a:pt x="21264" y="35004"/>
                      <a:pt x="29606" y="37948"/>
                      <a:pt x="38112" y="37948"/>
                    </a:cubicBezTo>
                    <a:lnTo>
                      <a:pt x="38112" y="37948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40" name="Google Shape;9340;p56"/>
            <p:cNvGrpSpPr/>
            <p:nvPr/>
          </p:nvGrpSpPr>
          <p:grpSpPr>
            <a:xfrm>
              <a:off x="4073727" y="3040337"/>
              <a:ext cx="697794" cy="296263"/>
              <a:chOff x="4073727" y="3040337"/>
              <a:chExt cx="697794" cy="296263"/>
            </a:xfrm>
          </p:grpSpPr>
          <p:sp>
            <p:nvSpPr>
              <p:cNvPr id="9341" name="Google Shape;9341;p56"/>
              <p:cNvSpPr/>
              <p:nvPr/>
            </p:nvSpPr>
            <p:spPr>
              <a:xfrm>
                <a:off x="4370181" y="3223621"/>
                <a:ext cx="401339" cy="112979"/>
              </a:xfrm>
              <a:custGeom>
                <a:avLst/>
                <a:gdLst/>
                <a:ahLst/>
                <a:cxnLst/>
                <a:rect l="l" t="t" r="r" b="b"/>
                <a:pathLst>
                  <a:path w="83093" h="23391" fill="none" extrusionOk="0">
                    <a:moveTo>
                      <a:pt x="1" y="23391"/>
                    </a:moveTo>
                    <a:lnTo>
                      <a:pt x="83092" y="23391"/>
                    </a:lnTo>
                    <a:lnTo>
                      <a:pt x="83092" y="1"/>
                    </a:lnTo>
                    <a:lnTo>
                      <a:pt x="1" y="1"/>
                    </a:lnTo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42" name="Google Shape;9342;p56"/>
              <p:cNvSpPr/>
              <p:nvPr/>
            </p:nvSpPr>
            <p:spPr>
              <a:xfrm>
                <a:off x="4073727" y="3040337"/>
                <a:ext cx="297055" cy="296263"/>
              </a:xfrm>
              <a:custGeom>
                <a:avLst/>
                <a:gdLst/>
                <a:ahLst/>
                <a:cxnLst/>
                <a:rect l="l" t="t" r="r" b="b"/>
                <a:pathLst>
                  <a:path w="61502" h="61338" fill="none" extrusionOk="0">
                    <a:moveTo>
                      <a:pt x="61502" y="37948"/>
                    </a:moveTo>
                    <a:lnTo>
                      <a:pt x="61502" y="37948"/>
                    </a:lnTo>
                    <a:cubicBezTo>
                      <a:pt x="52833" y="37948"/>
                      <a:pt x="44654" y="35004"/>
                      <a:pt x="37948" y="29770"/>
                    </a:cubicBezTo>
                    <a:cubicBezTo>
                      <a:pt x="28789" y="22573"/>
                      <a:pt x="23391" y="11614"/>
                      <a:pt x="23227" y="1"/>
                    </a:cubicBezTo>
                    <a:lnTo>
                      <a:pt x="1" y="1"/>
                    </a:lnTo>
                    <a:cubicBezTo>
                      <a:pt x="1" y="33859"/>
                      <a:pt x="27480" y="61338"/>
                      <a:pt x="61502" y="61338"/>
                    </a:cubicBezTo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43" name="Google Shape;9343;p56"/>
            <p:cNvGrpSpPr/>
            <p:nvPr/>
          </p:nvGrpSpPr>
          <p:grpSpPr>
            <a:xfrm>
              <a:off x="3862800" y="3038525"/>
              <a:ext cx="1329006" cy="510698"/>
              <a:chOff x="3862800" y="3038525"/>
              <a:chExt cx="1329006" cy="510698"/>
            </a:xfrm>
          </p:grpSpPr>
          <p:sp>
            <p:nvSpPr>
              <p:cNvPr id="9344" name="Google Shape;9344;p56"/>
              <p:cNvSpPr/>
              <p:nvPr/>
            </p:nvSpPr>
            <p:spPr>
              <a:xfrm>
                <a:off x="4370175" y="3441875"/>
                <a:ext cx="821631" cy="107348"/>
              </a:xfrm>
              <a:custGeom>
                <a:avLst/>
                <a:gdLst/>
                <a:ahLst/>
                <a:cxnLst/>
                <a:rect l="l" t="t" r="r" b="b"/>
                <a:pathLst>
                  <a:path w="170110" h="21919" fill="none" extrusionOk="0">
                    <a:moveTo>
                      <a:pt x="1" y="21918"/>
                    </a:moveTo>
                    <a:lnTo>
                      <a:pt x="170110" y="21918"/>
                    </a:lnTo>
                    <a:lnTo>
                      <a:pt x="170110" y="0"/>
                    </a:lnTo>
                    <a:lnTo>
                      <a:pt x="1" y="0"/>
                    </a:lnTo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45" name="Google Shape;9345;p56"/>
              <p:cNvSpPr/>
              <p:nvPr/>
            </p:nvSpPr>
            <p:spPr>
              <a:xfrm>
                <a:off x="3862800" y="3038525"/>
                <a:ext cx="507990" cy="510620"/>
              </a:xfrm>
              <a:custGeom>
                <a:avLst/>
                <a:gdLst/>
                <a:ahLst/>
                <a:cxnLst/>
                <a:rect l="l" t="t" r="r" b="b"/>
                <a:pathLst>
                  <a:path w="105174" h="105500" fill="none" extrusionOk="0">
                    <a:moveTo>
                      <a:pt x="105174" y="83418"/>
                    </a:moveTo>
                    <a:cubicBezTo>
                      <a:pt x="59539" y="83418"/>
                      <a:pt x="22246" y="46780"/>
                      <a:pt x="21591" y="1145"/>
                    </a:cubicBezTo>
                    <a:lnTo>
                      <a:pt x="21591" y="0"/>
                    </a:lnTo>
                    <a:lnTo>
                      <a:pt x="1" y="0"/>
                    </a:lnTo>
                    <a:cubicBezTo>
                      <a:pt x="1" y="58229"/>
                      <a:pt x="46944" y="105336"/>
                      <a:pt x="105174" y="105500"/>
                    </a:cubicBezTo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346" name="Google Shape;9346;p56"/>
          <p:cNvGrpSpPr/>
          <p:nvPr/>
        </p:nvGrpSpPr>
        <p:grpSpPr>
          <a:xfrm>
            <a:off x="718150" y="1191441"/>
            <a:ext cx="883205" cy="775176"/>
            <a:chOff x="649648" y="271400"/>
            <a:chExt cx="6215377" cy="5455143"/>
          </a:xfrm>
        </p:grpSpPr>
        <p:sp>
          <p:nvSpPr>
            <p:cNvPr id="9347" name="Google Shape;9347;p56"/>
            <p:cNvSpPr/>
            <p:nvPr/>
          </p:nvSpPr>
          <p:spPr>
            <a:xfrm>
              <a:off x="2641907" y="3717593"/>
              <a:ext cx="3573900" cy="2008950"/>
            </a:xfrm>
            <a:custGeom>
              <a:avLst/>
              <a:gdLst/>
              <a:ahLst/>
              <a:cxnLst/>
              <a:rect l="l" t="t" r="r" b="b"/>
              <a:pathLst>
                <a:path w="142956" h="80358" fill="none" extrusionOk="0">
                  <a:moveTo>
                    <a:pt x="0" y="50612"/>
                  </a:moveTo>
                  <a:cubicBezTo>
                    <a:pt x="53053" y="80357"/>
                    <a:pt x="120314" y="56605"/>
                    <a:pt x="142956" y="0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8" name="Google Shape;9348;p56"/>
            <p:cNvSpPr/>
            <p:nvPr/>
          </p:nvSpPr>
          <p:spPr>
            <a:xfrm>
              <a:off x="1359875" y="2446825"/>
              <a:ext cx="338550" cy="1598275"/>
            </a:xfrm>
            <a:custGeom>
              <a:avLst/>
              <a:gdLst/>
              <a:ahLst/>
              <a:cxnLst/>
              <a:rect l="l" t="t" r="r" b="b"/>
              <a:pathLst>
                <a:path w="13542" h="63931" fill="none" extrusionOk="0">
                  <a:moveTo>
                    <a:pt x="888" y="0"/>
                  </a:moveTo>
                  <a:cubicBezTo>
                    <a:pt x="223" y="4440"/>
                    <a:pt x="1" y="9102"/>
                    <a:pt x="1" y="13763"/>
                  </a:cubicBezTo>
                  <a:cubicBezTo>
                    <a:pt x="1" y="31300"/>
                    <a:pt x="4662" y="48614"/>
                    <a:pt x="13541" y="63931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9" name="Google Shape;9349;p56"/>
            <p:cNvSpPr/>
            <p:nvPr/>
          </p:nvSpPr>
          <p:spPr>
            <a:xfrm>
              <a:off x="1709500" y="271400"/>
              <a:ext cx="5149975" cy="2519525"/>
            </a:xfrm>
            <a:custGeom>
              <a:avLst/>
              <a:gdLst/>
              <a:ahLst/>
              <a:cxnLst/>
              <a:rect l="l" t="t" r="r" b="b"/>
              <a:pathLst>
                <a:path w="205999" h="100781" fill="none" extrusionOk="0">
                  <a:moveTo>
                    <a:pt x="187352" y="100780"/>
                  </a:moveTo>
                  <a:cubicBezTo>
                    <a:pt x="187352" y="77694"/>
                    <a:pt x="179361" y="55496"/>
                    <a:pt x="165154" y="37738"/>
                  </a:cubicBezTo>
                  <a:lnTo>
                    <a:pt x="187352" y="37738"/>
                  </a:lnTo>
                  <a:cubicBezTo>
                    <a:pt x="197563" y="37738"/>
                    <a:pt x="205998" y="29302"/>
                    <a:pt x="205998" y="18869"/>
                  </a:cubicBezTo>
                  <a:cubicBezTo>
                    <a:pt x="205998" y="8436"/>
                    <a:pt x="197563" y="1"/>
                    <a:pt x="187352" y="1"/>
                  </a:cubicBezTo>
                  <a:lnTo>
                    <a:pt x="91012" y="1"/>
                  </a:lnTo>
                  <a:lnTo>
                    <a:pt x="89681" y="1"/>
                  </a:lnTo>
                  <a:lnTo>
                    <a:pt x="86573" y="1"/>
                  </a:lnTo>
                  <a:cubicBezTo>
                    <a:pt x="51056" y="1"/>
                    <a:pt x="17981" y="18869"/>
                    <a:pt x="0" y="49725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0" name="Google Shape;9350;p56"/>
            <p:cNvSpPr/>
            <p:nvPr/>
          </p:nvSpPr>
          <p:spPr>
            <a:xfrm>
              <a:off x="5965975" y="415700"/>
              <a:ext cx="754750" cy="754750"/>
            </a:xfrm>
            <a:custGeom>
              <a:avLst/>
              <a:gdLst/>
              <a:ahLst/>
              <a:cxnLst/>
              <a:rect l="l" t="t" r="r" b="b"/>
              <a:pathLst>
                <a:path w="30190" h="30190" fill="none" extrusionOk="0">
                  <a:moveTo>
                    <a:pt x="17315" y="0"/>
                  </a:moveTo>
                  <a:cubicBezTo>
                    <a:pt x="5772" y="0"/>
                    <a:pt x="0" y="13763"/>
                    <a:pt x="7992" y="21977"/>
                  </a:cubicBezTo>
                  <a:cubicBezTo>
                    <a:pt x="16205" y="30190"/>
                    <a:pt x="30190" y="24418"/>
                    <a:pt x="30190" y="12875"/>
                  </a:cubicBezTo>
                  <a:cubicBezTo>
                    <a:pt x="30190" y="5772"/>
                    <a:pt x="24418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1" name="Google Shape;9351;p56"/>
            <p:cNvSpPr/>
            <p:nvPr/>
          </p:nvSpPr>
          <p:spPr>
            <a:xfrm>
              <a:off x="699475" y="2457925"/>
              <a:ext cx="5183275" cy="2647150"/>
            </a:xfrm>
            <a:custGeom>
              <a:avLst/>
              <a:gdLst/>
              <a:ahLst/>
              <a:cxnLst/>
              <a:rect l="l" t="t" r="r" b="b"/>
              <a:pathLst>
                <a:path w="207331" h="105886" fill="none" extrusionOk="0">
                  <a:moveTo>
                    <a:pt x="39513" y="0"/>
                  </a:moveTo>
                  <a:cubicBezTo>
                    <a:pt x="38847" y="4440"/>
                    <a:pt x="38404" y="8880"/>
                    <a:pt x="38626" y="13319"/>
                  </a:cubicBezTo>
                  <a:cubicBezTo>
                    <a:pt x="38404" y="31300"/>
                    <a:pt x="43953" y="48836"/>
                    <a:pt x="54164" y="63487"/>
                  </a:cubicBezTo>
                  <a:lnTo>
                    <a:pt x="18869" y="63487"/>
                  </a:lnTo>
                  <a:cubicBezTo>
                    <a:pt x="8436" y="63487"/>
                    <a:pt x="1" y="71922"/>
                    <a:pt x="1" y="82355"/>
                  </a:cubicBezTo>
                  <a:cubicBezTo>
                    <a:pt x="1" y="92566"/>
                    <a:pt x="8436" y="101002"/>
                    <a:pt x="18869" y="101002"/>
                  </a:cubicBezTo>
                  <a:lnTo>
                    <a:pt x="116097" y="101002"/>
                  </a:lnTo>
                  <a:cubicBezTo>
                    <a:pt x="154277" y="105885"/>
                    <a:pt x="191126" y="85463"/>
                    <a:pt x="207331" y="50390"/>
                  </a:cubicBezTo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2" name="Google Shape;9352;p56"/>
            <p:cNvSpPr/>
            <p:nvPr/>
          </p:nvSpPr>
          <p:spPr>
            <a:xfrm>
              <a:off x="2075775" y="387950"/>
              <a:ext cx="4012325" cy="2402975"/>
            </a:xfrm>
            <a:custGeom>
              <a:avLst/>
              <a:gdLst/>
              <a:ahLst/>
              <a:cxnLst/>
              <a:rect l="l" t="t" r="r" b="b"/>
              <a:pathLst>
                <a:path w="160493" h="96119" fill="none" extrusionOk="0">
                  <a:moveTo>
                    <a:pt x="160492" y="96118"/>
                  </a:moveTo>
                  <a:cubicBezTo>
                    <a:pt x="160492" y="57494"/>
                    <a:pt x="135630" y="23530"/>
                    <a:pt x="99003" y="11765"/>
                  </a:cubicBezTo>
                  <a:cubicBezTo>
                    <a:pt x="62377" y="0"/>
                    <a:pt x="22420" y="13097"/>
                    <a:pt x="0" y="44397"/>
                  </a:cubicBezTo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3" name="Google Shape;9353;p56"/>
            <p:cNvSpPr/>
            <p:nvPr/>
          </p:nvSpPr>
          <p:spPr>
            <a:xfrm>
              <a:off x="649648" y="670971"/>
              <a:ext cx="5183118" cy="4298214"/>
            </a:xfrm>
            <a:custGeom>
              <a:avLst/>
              <a:gdLst/>
              <a:ahLst/>
              <a:cxnLst/>
              <a:rect l="l" t="t" r="r" b="b"/>
              <a:pathLst>
                <a:path w="205333" h="170260" fill="none" extrusionOk="0">
                  <a:moveTo>
                    <a:pt x="205333" y="84575"/>
                  </a:moveTo>
                  <a:cubicBezTo>
                    <a:pt x="205333" y="51944"/>
                    <a:pt x="185133" y="22865"/>
                    <a:pt x="154721" y="11322"/>
                  </a:cubicBezTo>
                  <a:cubicBezTo>
                    <a:pt x="124088" y="1"/>
                    <a:pt x="89681" y="8880"/>
                    <a:pt x="68371" y="33520"/>
                  </a:cubicBezTo>
                  <a:lnTo>
                    <a:pt x="18869" y="33520"/>
                  </a:lnTo>
                  <a:cubicBezTo>
                    <a:pt x="8436" y="33520"/>
                    <a:pt x="1" y="41955"/>
                    <a:pt x="1" y="52388"/>
                  </a:cubicBezTo>
                  <a:cubicBezTo>
                    <a:pt x="1" y="62599"/>
                    <a:pt x="8436" y="71034"/>
                    <a:pt x="18869" y="71034"/>
                  </a:cubicBezTo>
                  <a:lnTo>
                    <a:pt x="50612" y="71034"/>
                  </a:lnTo>
                  <a:cubicBezTo>
                    <a:pt x="44175" y="108549"/>
                    <a:pt x="65929" y="145176"/>
                    <a:pt x="101668" y="157607"/>
                  </a:cubicBezTo>
                  <a:cubicBezTo>
                    <a:pt x="137629" y="170260"/>
                    <a:pt x="177363" y="155165"/>
                    <a:pt x="195788" y="121868"/>
                  </a:cubicBezTo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4" name="Google Shape;9354;p56"/>
            <p:cNvSpPr/>
            <p:nvPr/>
          </p:nvSpPr>
          <p:spPr>
            <a:xfrm>
              <a:off x="1731700" y="1059450"/>
              <a:ext cx="5133325" cy="3762600"/>
            </a:xfrm>
            <a:custGeom>
              <a:avLst/>
              <a:gdLst/>
              <a:ahLst/>
              <a:cxnLst/>
              <a:rect l="l" t="t" r="r" b="b"/>
              <a:pathLst>
                <a:path w="205333" h="150504" fill="none" extrusionOk="0">
                  <a:moveTo>
                    <a:pt x="85685" y="0"/>
                  </a:moveTo>
                  <a:cubicBezTo>
                    <a:pt x="33297" y="222"/>
                    <a:pt x="0" y="56383"/>
                    <a:pt x="25306" y="102333"/>
                  </a:cubicBezTo>
                  <a:cubicBezTo>
                    <a:pt x="50390" y="148283"/>
                    <a:pt x="115652" y="150503"/>
                    <a:pt x="144066" y="106551"/>
                  </a:cubicBezTo>
                  <a:lnTo>
                    <a:pt x="186464" y="106551"/>
                  </a:lnTo>
                  <a:cubicBezTo>
                    <a:pt x="196897" y="106551"/>
                    <a:pt x="205332" y="98116"/>
                    <a:pt x="205332" y="87683"/>
                  </a:cubicBezTo>
                  <a:cubicBezTo>
                    <a:pt x="205332" y="77250"/>
                    <a:pt x="196897" y="68814"/>
                    <a:pt x="186464" y="68814"/>
                  </a:cubicBezTo>
                  <a:lnTo>
                    <a:pt x="154943" y="68814"/>
                  </a:lnTo>
                  <a:cubicBezTo>
                    <a:pt x="154721" y="30856"/>
                    <a:pt x="123865" y="0"/>
                    <a:pt x="856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5" name="Google Shape;9355;p56"/>
            <p:cNvSpPr/>
            <p:nvPr/>
          </p:nvSpPr>
          <p:spPr>
            <a:xfrm>
              <a:off x="5965975" y="2912975"/>
              <a:ext cx="754750" cy="754775"/>
            </a:xfrm>
            <a:custGeom>
              <a:avLst/>
              <a:gdLst/>
              <a:ahLst/>
              <a:cxnLst/>
              <a:rect l="l" t="t" r="r" b="b"/>
              <a:pathLst>
                <a:path w="30190" h="30191" fill="none" extrusionOk="0">
                  <a:moveTo>
                    <a:pt x="17315" y="1"/>
                  </a:moveTo>
                  <a:cubicBezTo>
                    <a:pt x="5772" y="1"/>
                    <a:pt x="0" y="13764"/>
                    <a:pt x="7992" y="21977"/>
                  </a:cubicBezTo>
                  <a:cubicBezTo>
                    <a:pt x="16205" y="30190"/>
                    <a:pt x="30190" y="24419"/>
                    <a:pt x="30190" y="12876"/>
                  </a:cubicBezTo>
                  <a:cubicBezTo>
                    <a:pt x="30190" y="5772"/>
                    <a:pt x="24418" y="1"/>
                    <a:pt x="173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6" name="Google Shape;9356;p56"/>
            <p:cNvSpPr/>
            <p:nvPr/>
          </p:nvSpPr>
          <p:spPr>
            <a:xfrm>
              <a:off x="2453125" y="1464550"/>
              <a:ext cx="2874675" cy="2785900"/>
            </a:xfrm>
            <a:custGeom>
              <a:avLst/>
              <a:gdLst/>
              <a:ahLst/>
              <a:cxnLst/>
              <a:rect l="l" t="t" r="r" b="b"/>
              <a:pathLst>
                <a:path w="114987" h="111436" fill="none" extrusionOk="0">
                  <a:moveTo>
                    <a:pt x="56828" y="1"/>
                  </a:moveTo>
                  <a:cubicBezTo>
                    <a:pt x="31744" y="1"/>
                    <a:pt x="9990" y="17759"/>
                    <a:pt x="4884" y="42621"/>
                  </a:cubicBezTo>
                  <a:cubicBezTo>
                    <a:pt x="1" y="67483"/>
                    <a:pt x="13320" y="92123"/>
                    <a:pt x="36628" y="101890"/>
                  </a:cubicBezTo>
                  <a:cubicBezTo>
                    <a:pt x="59936" y="111435"/>
                    <a:pt x="87017" y="103444"/>
                    <a:pt x="101002" y="82356"/>
                  </a:cubicBezTo>
                  <a:cubicBezTo>
                    <a:pt x="114987" y="61268"/>
                    <a:pt x="112323" y="33298"/>
                    <a:pt x="94343" y="15539"/>
                  </a:cubicBezTo>
                  <a:cubicBezTo>
                    <a:pt x="84353" y="5550"/>
                    <a:pt x="71035" y="1"/>
                    <a:pt x="568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7" name="Google Shape;9357;p56"/>
            <p:cNvSpPr/>
            <p:nvPr/>
          </p:nvSpPr>
          <p:spPr>
            <a:xfrm>
              <a:off x="732775" y="4183825"/>
              <a:ext cx="754775" cy="760300"/>
            </a:xfrm>
            <a:custGeom>
              <a:avLst/>
              <a:gdLst/>
              <a:ahLst/>
              <a:cxnLst/>
              <a:rect l="l" t="t" r="r" b="b"/>
              <a:pathLst>
                <a:path w="30191" h="30412" fill="none" extrusionOk="0">
                  <a:moveTo>
                    <a:pt x="17315" y="0"/>
                  </a:moveTo>
                  <a:cubicBezTo>
                    <a:pt x="5772" y="0"/>
                    <a:pt x="1" y="13985"/>
                    <a:pt x="7992" y="22199"/>
                  </a:cubicBezTo>
                  <a:cubicBezTo>
                    <a:pt x="16205" y="30412"/>
                    <a:pt x="30190" y="24640"/>
                    <a:pt x="30190" y="13097"/>
                  </a:cubicBezTo>
                  <a:cubicBezTo>
                    <a:pt x="30190" y="5772"/>
                    <a:pt x="24419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8" name="Google Shape;9358;p56"/>
            <p:cNvSpPr/>
            <p:nvPr/>
          </p:nvSpPr>
          <p:spPr>
            <a:xfrm>
              <a:off x="732775" y="1669900"/>
              <a:ext cx="754775" cy="754750"/>
            </a:xfrm>
            <a:custGeom>
              <a:avLst/>
              <a:gdLst/>
              <a:ahLst/>
              <a:cxnLst/>
              <a:rect l="l" t="t" r="r" b="b"/>
              <a:pathLst>
                <a:path w="30191" h="30190" fill="none" extrusionOk="0">
                  <a:moveTo>
                    <a:pt x="17315" y="0"/>
                  </a:moveTo>
                  <a:cubicBezTo>
                    <a:pt x="5772" y="0"/>
                    <a:pt x="1" y="13985"/>
                    <a:pt x="8214" y="22198"/>
                  </a:cubicBezTo>
                  <a:cubicBezTo>
                    <a:pt x="16205" y="30189"/>
                    <a:pt x="30190" y="24418"/>
                    <a:pt x="30190" y="12875"/>
                  </a:cubicBezTo>
                  <a:cubicBezTo>
                    <a:pt x="30190" y="5772"/>
                    <a:pt x="24419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59" name="Google Shape;9359;p56"/>
          <p:cNvGrpSpPr/>
          <p:nvPr/>
        </p:nvGrpSpPr>
        <p:grpSpPr>
          <a:xfrm>
            <a:off x="2326452" y="1191441"/>
            <a:ext cx="767704" cy="815489"/>
            <a:chOff x="2499700" y="1135950"/>
            <a:chExt cx="732402" cy="777990"/>
          </a:xfrm>
        </p:grpSpPr>
        <p:grpSp>
          <p:nvGrpSpPr>
            <p:cNvPr id="9360" name="Google Shape;9360;p56"/>
            <p:cNvGrpSpPr/>
            <p:nvPr/>
          </p:nvGrpSpPr>
          <p:grpSpPr>
            <a:xfrm>
              <a:off x="2499700" y="1135950"/>
              <a:ext cx="732402" cy="694705"/>
              <a:chOff x="2499700" y="1135950"/>
              <a:chExt cx="732402" cy="694705"/>
            </a:xfrm>
          </p:grpSpPr>
          <p:sp>
            <p:nvSpPr>
              <p:cNvPr id="9361" name="Google Shape;9361;p56"/>
              <p:cNvSpPr/>
              <p:nvPr/>
            </p:nvSpPr>
            <p:spPr>
              <a:xfrm>
                <a:off x="2721907" y="1135950"/>
                <a:ext cx="288719" cy="199571"/>
              </a:xfrm>
              <a:custGeom>
                <a:avLst/>
                <a:gdLst/>
                <a:ahLst/>
                <a:cxnLst/>
                <a:rect l="l" t="t" r="r" b="b"/>
                <a:pathLst>
                  <a:path w="81559" h="56376" extrusionOk="0">
                    <a:moveTo>
                      <a:pt x="40780" y="1"/>
                    </a:moveTo>
                    <a:cubicBezTo>
                      <a:pt x="38862" y="1"/>
                      <a:pt x="36944" y="556"/>
                      <a:pt x="35329" y="1666"/>
                    </a:cubicBezTo>
                    <a:cubicBezTo>
                      <a:pt x="24427" y="9338"/>
                      <a:pt x="1211" y="28718"/>
                      <a:pt x="0" y="51329"/>
                    </a:cubicBezTo>
                    <a:lnTo>
                      <a:pt x="1211" y="51732"/>
                    </a:lnTo>
                    <a:cubicBezTo>
                      <a:pt x="4845" y="52944"/>
                      <a:pt x="8479" y="54357"/>
                      <a:pt x="12113" y="56174"/>
                    </a:cubicBezTo>
                    <a:lnTo>
                      <a:pt x="12113" y="53145"/>
                    </a:lnTo>
                    <a:cubicBezTo>
                      <a:pt x="12113" y="36591"/>
                      <a:pt x="29071" y="22662"/>
                      <a:pt x="36944" y="17009"/>
                    </a:cubicBezTo>
                    <a:cubicBezTo>
                      <a:pt x="38155" y="16202"/>
                      <a:pt x="39467" y="15798"/>
                      <a:pt x="40780" y="15798"/>
                    </a:cubicBezTo>
                    <a:cubicBezTo>
                      <a:pt x="42092" y="15798"/>
                      <a:pt x="43404" y="16202"/>
                      <a:pt x="44615" y="17009"/>
                    </a:cubicBezTo>
                    <a:cubicBezTo>
                      <a:pt x="52489" y="22662"/>
                      <a:pt x="69446" y="36591"/>
                      <a:pt x="69446" y="53145"/>
                    </a:cubicBezTo>
                    <a:lnTo>
                      <a:pt x="69446" y="56376"/>
                    </a:lnTo>
                    <a:cubicBezTo>
                      <a:pt x="72878" y="54559"/>
                      <a:pt x="76512" y="53145"/>
                      <a:pt x="80146" y="51934"/>
                    </a:cubicBezTo>
                    <a:lnTo>
                      <a:pt x="81559" y="51530"/>
                    </a:lnTo>
                    <a:cubicBezTo>
                      <a:pt x="80751" y="28920"/>
                      <a:pt x="57132" y="9540"/>
                      <a:pt x="46230" y="1666"/>
                    </a:cubicBezTo>
                    <a:cubicBezTo>
                      <a:pt x="44615" y="556"/>
                      <a:pt x="42697" y="1"/>
                      <a:pt x="4078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2" name="Google Shape;9362;p56"/>
              <p:cNvSpPr/>
              <p:nvPr/>
            </p:nvSpPr>
            <p:spPr>
              <a:xfrm>
                <a:off x="2499700" y="1313180"/>
                <a:ext cx="225119" cy="278853"/>
              </a:xfrm>
              <a:custGeom>
                <a:avLst/>
                <a:gdLst/>
                <a:ahLst/>
                <a:cxnLst/>
                <a:rect l="l" t="t" r="r" b="b"/>
                <a:pathLst>
                  <a:path w="63593" h="78772" extrusionOk="0">
                    <a:moveTo>
                      <a:pt x="53819" y="1"/>
                    </a:moveTo>
                    <a:cubicBezTo>
                      <a:pt x="53376" y="1"/>
                      <a:pt x="52933" y="13"/>
                      <a:pt x="52489" y="39"/>
                    </a:cubicBezTo>
                    <a:cubicBezTo>
                      <a:pt x="33311" y="39"/>
                      <a:pt x="13527" y="12758"/>
                      <a:pt x="4442" y="19420"/>
                    </a:cubicBezTo>
                    <a:cubicBezTo>
                      <a:pt x="1212" y="21842"/>
                      <a:pt x="1" y="26082"/>
                      <a:pt x="1212" y="29917"/>
                    </a:cubicBezTo>
                    <a:cubicBezTo>
                      <a:pt x="5048" y="42434"/>
                      <a:pt x="16353" y="70697"/>
                      <a:pt x="37550" y="78772"/>
                    </a:cubicBezTo>
                    <a:cubicBezTo>
                      <a:pt x="37752" y="78368"/>
                      <a:pt x="37954" y="77964"/>
                      <a:pt x="38156" y="77561"/>
                    </a:cubicBezTo>
                    <a:cubicBezTo>
                      <a:pt x="40377" y="74533"/>
                      <a:pt x="43001" y="71504"/>
                      <a:pt x="45827" y="68678"/>
                    </a:cubicBezTo>
                    <a:cubicBezTo>
                      <a:pt x="44818" y="68476"/>
                      <a:pt x="43809" y="68072"/>
                      <a:pt x="42799" y="67871"/>
                    </a:cubicBezTo>
                    <a:cubicBezTo>
                      <a:pt x="27255" y="62824"/>
                      <a:pt x="19179" y="42232"/>
                      <a:pt x="16151" y="32946"/>
                    </a:cubicBezTo>
                    <a:cubicBezTo>
                      <a:pt x="15344" y="30321"/>
                      <a:pt x="16353" y="27293"/>
                      <a:pt x="18574" y="25678"/>
                    </a:cubicBezTo>
                    <a:cubicBezTo>
                      <a:pt x="25034" y="20833"/>
                      <a:pt x="38963" y="11748"/>
                      <a:pt x="52489" y="11748"/>
                    </a:cubicBezTo>
                    <a:cubicBezTo>
                      <a:pt x="55316" y="11748"/>
                      <a:pt x="57940" y="12152"/>
                      <a:pt x="60564" y="12960"/>
                    </a:cubicBezTo>
                    <a:cubicBezTo>
                      <a:pt x="61574" y="13363"/>
                      <a:pt x="62583" y="13767"/>
                      <a:pt x="63593" y="14171"/>
                    </a:cubicBezTo>
                    <a:cubicBezTo>
                      <a:pt x="62987" y="10335"/>
                      <a:pt x="62785" y="6701"/>
                      <a:pt x="62785" y="2866"/>
                    </a:cubicBezTo>
                    <a:lnTo>
                      <a:pt x="62785" y="1452"/>
                    </a:lnTo>
                    <a:cubicBezTo>
                      <a:pt x="59796" y="573"/>
                      <a:pt x="56808" y="1"/>
                      <a:pt x="53819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3" name="Google Shape;9363;p56"/>
              <p:cNvSpPr/>
              <p:nvPr/>
            </p:nvSpPr>
            <p:spPr>
              <a:xfrm>
                <a:off x="2721907" y="1317604"/>
                <a:ext cx="53599" cy="72899"/>
              </a:xfrm>
              <a:custGeom>
                <a:avLst/>
                <a:gdLst/>
                <a:ahLst/>
                <a:cxnLst/>
                <a:rect l="l" t="t" r="r" b="b"/>
                <a:pathLst>
                  <a:path w="15141" h="20593" extrusionOk="0">
                    <a:moveTo>
                      <a:pt x="0" y="1"/>
                    </a:moveTo>
                    <a:lnTo>
                      <a:pt x="0" y="1414"/>
                    </a:lnTo>
                    <a:cubicBezTo>
                      <a:pt x="0" y="5249"/>
                      <a:pt x="202" y="9085"/>
                      <a:pt x="808" y="12921"/>
                    </a:cubicBezTo>
                    <a:cubicBezTo>
                      <a:pt x="5653" y="14738"/>
                      <a:pt x="9892" y="17362"/>
                      <a:pt x="13930" y="20592"/>
                    </a:cubicBezTo>
                    <a:cubicBezTo>
                      <a:pt x="14333" y="20188"/>
                      <a:pt x="14737" y="19785"/>
                      <a:pt x="15141" y="19583"/>
                    </a:cubicBezTo>
                    <a:cubicBezTo>
                      <a:pt x="13324" y="14738"/>
                      <a:pt x="12315" y="9893"/>
                      <a:pt x="12113" y="4846"/>
                    </a:cubicBezTo>
                    <a:cubicBezTo>
                      <a:pt x="8681" y="3029"/>
                      <a:pt x="5047" y="1414"/>
                      <a:pt x="1211" y="404"/>
                    </a:cubicBezTo>
                    <a:lnTo>
                      <a:pt x="0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4" name="Google Shape;9364;p56"/>
              <p:cNvSpPr/>
              <p:nvPr/>
            </p:nvSpPr>
            <p:spPr>
              <a:xfrm>
                <a:off x="2764773" y="1334751"/>
                <a:ext cx="47171" cy="52173"/>
              </a:xfrm>
              <a:custGeom>
                <a:avLst/>
                <a:gdLst/>
                <a:ahLst/>
                <a:cxnLst/>
                <a:rect l="l" t="t" r="r" b="b"/>
                <a:pathLst>
                  <a:path w="13325" h="14738" extrusionOk="0">
                    <a:moveTo>
                      <a:pt x="1" y="1"/>
                    </a:moveTo>
                    <a:cubicBezTo>
                      <a:pt x="203" y="5048"/>
                      <a:pt x="1212" y="9893"/>
                      <a:pt x="3029" y="14738"/>
                    </a:cubicBezTo>
                    <a:cubicBezTo>
                      <a:pt x="6259" y="12315"/>
                      <a:pt x="9691" y="10498"/>
                      <a:pt x="13325" y="9085"/>
                    </a:cubicBezTo>
                    <a:cubicBezTo>
                      <a:pt x="9287" y="5451"/>
                      <a:pt x="4846" y="2423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5" name="Google Shape;9365;p56"/>
              <p:cNvSpPr/>
              <p:nvPr/>
            </p:nvSpPr>
            <p:spPr>
              <a:xfrm>
                <a:off x="2554001" y="1354757"/>
                <a:ext cx="187956" cy="201536"/>
              </a:xfrm>
              <a:custGeom>
                <a:avLst/>
                <a:gdLst/>
                <a:ahLst/>
                <a:cxnLst/>
                <a:rect l="l" t="t" r="r" b="b"/>
                <a:pathLst>
                  <a:path w="53095" h="56931" extrusionOk="0">
                    <a:moveTo>
                      <a:pt x="37146" y="0"/>
                    </a:moveTo>
                    <a:cubicBezTo>
                      <a:pt x="23620" y="0"/>
                      <a:pt x="9489" y="9085"/>
                      <a:pt x="3231" y="13930"/>
                    </a:cubicBezTo>
                    <a:cubicBezTo>
                      <a:pt x="808" y="15545"/>
                      <a:pt x="1" y="18573"/>
                      <a:pt x="808" y="21198"/>
                    </a:cubicBezTo>
                    <a:cubicBezTo>
                      <a:pt x="3634" y="30282"/>
                      <a:pt x="11710" y="51076"/>
                      <a:pt x="27456" y="56123"/>
                    </a:cubicBezTo>
                    <a:cubicBezTo>
                      <a:pt x="28466" y="56324"/>
                      <a:pt x="29273" y="56728"/>
                      <a:pt x="30282" y="56930"/>
                    </a:cubicBezTo>
                    <a:cubicBezTo>
                      <a:pt x="34926" y="52287"/>
                      <a:pt x="40174" y="48249"/>
                      <a:pt x="46029" y="45221"/>
                    </a:cubicBezTo>
                    <a:cubicBezTo>
                      <a:pt x="46029" y="44414"/>
                      <a:pt x="46029" y="43404"/>
                      <a:pt x="46029" y="42395"/>
                    </a:cubicBezTo>
                    <a:cubicBezTo>
                      <a:pt x="45827" y="34118"/>
                      <a:pt x="48452" y="25841"/>
                      <a:pt x="53095" y="18977"/>
                    </a:cubicBezTo>
                    <a:cubicBezTo>
                      <a:pt x="50672" y="13728"/>
                      <a:pt x="49057" y="8075"/>
                      <a:pt x="48250" y="2423"/>
                    </a:cubicBezTo>
                    <a:cubicBezTo>
                      <a:pt x="47240" y="2019"/>
                      <a:pt x="46231" y="1615"/>
                      <a:pt x="45221" y="1413"/>
                    </a:cubicBezTo>
                    <a:cubicBezTo>
                      <a:pt x="42597" y="404"/>
                      <a:pt x="39771" y="0"/>
                      <a:pt x="37146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6" name="Google Shape;9366;p56"/>
              <p:cNvSpPr/>
              <p:nvPr/>
            </p:nvSpPr>
            <p:spPr>
              <a:xfrm>
                <a:off x="2724763" y="1363329"/>
                <a:ext cx="46455" cy="58605"/>
              </a:xfrm>
              <a:custGeom>
                <a:avLst/>
                <a:gdLst/>
                <a:ahLst/>
                <a:cxnLst/>
                <a:rect l="l" t="t" r="r" b="b"/>
                <a:pathLst>
                  <a:path w="13123" h="16555" extrusionOk="0">
                    <a:moveTo>
                      <a:pt x="1" y="1"/>
                    </a:moveTo>
                    <a:lnTo>
                      <a:pt x="1" y="1"/>
                    </a:lnTo>
                    <a:cubicBezTo>
                      <a:pt x="1010" y="5653"/>
                      <a:pt x="2625" y="11306"/>
                      <a:pt x="4846" y="16555"/>
                    </a:cubicBezTo>
                    <a:cubicBezTo>
                      <a:pt x="6461" y="14334"/>
                      <a:pt x="8076" y="12315"/>
                      <a:pt x="10095" y="10297"/>
                    </a:cubicBezTo>
                    <a:cubicBezTo>
                      <a:pt x="10902" y="9489"/>
                      <a:pt x="12113" y="8480"/>
                      <a:pt x="13123" y="7672"/>
                    </a:cubicBezTo>
                    <a:cubicBezTo>
                      <a:pt x="9085" y="4442"/>
                      <a:pt x="4846" y="1818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7" name="Google Shape;9367;p56"/>
              <p:cNvSpPr/>
              <p:nvPr/>
            </p:nvSpPr>
            <p:spPr>
              <a:xfrm>
                <a:off x="2587581" y="1591246"/>
                <a:ext cx="277288" cy="238695"/>
              </a:xfrm>
              <a:custGeom>
                <a:avLst/>
                <a:gdLst/>
                <a:ahLst/>
                <a:cxnLst/>
                <a:rect l="l" t="t" r="r" b="b"/>
                <a:pathLst>
                  <a:path w="78330" h="67428" extrusionOk="0">
                    <a:moveTo>
                      <a:pt x="12719" y="0"/>
                    </a:moveTo>
                    <a:cubicBezTo>
                      <a:pt x="1" y="18977"/>
                      <a:pt x="7672" y="48451"/>
                      <a:pt x="11912" y="61169"/>
                    </a:cubicBezTo>
                    <a:cubicBezTo>
                      <a:pt x="13123" y="64803"/>
                      <a:pt x="16555" y="67428"/>
                      <a:pt x="20593" y="67428"/>
                    </a:cubicBezTo>
                    <a:lnTo>
                      <a:pt x="22006" y="67428"/>
                    </a:lnTo>
                    <a:cubicBezTo>
                      <a:pt x="35935" y="67428"/>
                      <a:pt x="64602" y="65207"/>
                      <a:pt x="78330" y="48047"/>
                    </a:cubicBezTo>
                    <a:cubicBezTo>
                      <a:pt x="78128" y="47643"/>
                      <a:pt x="77724" y="47442"/>
                      <a:pt x="77522" y="47038"/>
                    </a:cubicBezTo>
                    <a:cubicBezTo>
                      <a:pt x="75302" y="43808"/>
                      <a:pt x="73283" y="40578"/>
                      <a:pt x="71466" y="37146"/>
                    </a:cubicBezTo>
                    <a:cubicBezTo>
                      <a:pt x="70860" y="37953"/>
                      <a:pt x="70457" y="38761"/>
                      <a:pt x="69851" y="39568"/>
                    </a:cubicBezTo>
                    <a:cubicBezTo>
                      <a:pt x="60363" y="52489"/>
                      <a:pt x="39367" y="54104"/>
                      <a:pt x="29273" y="54104"/>
                    </a:cubicBezTo>
                    <a:lnTo>
                      <a:pt x="28466" y="54104"/>
                    </a:lnTo>
                    <a:cubicBezTo>
                      <a:pt x="25640" y="54104"/>
                      <a:pt x="23015" y="52287"/>
                      <a:pt x="22208" y="49662"/>
                    </a:cubicBezTo>
                    <a:cubicBezTo>
                      <a:pt x="19179" y="40578"/>
                      <a:pt x="13527" y="18977"/>
                      <a:pt x="23217" y="5855"/>
                    </a:cubicBezTo>
                    <a:cubicBezTo>
                      <a:pt x="23823" y="4845"/>
                      <a:pt x="24428" y="4038"/>
                      <a:pt x="25236" y="3230"/>
                    </a:cubicBezTo>
                    <a:cubicBezTo>
                      <a:pt x="21400" y="2625"/>
                      <a:pt x="17766" y="1817"/>
                      <a:pt x="14132" y="606"/>
                    </a:cubicBezTo>
                    <a:cubicBezTo>
                      <a:pt x="13527" y="404"/>
                      <a:pt x="13123" y="202"/>
                      <a:pt x="1271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8" name="Google Shape;9368;p56"/>
              <p:cNvSpPr/>
              <p:nvPr/>
            </p:nvSpPr>
            <p:spPr>
              <a:xfrm>
                <a:off x="2631881" y="1556237"/>
                <a:ext cx="95768" cy="46455"/>
              </a:xfrm>
              <a:custGeom>
                <a:avLst/>
                <a:gdLst/>
                <a:ahLst/>
                <a:cxnLst/>
                <a:rect l="l" t="t" r="r" b="b"/>
                <a:pathLst>
                  <a:path w="27053" h="13123" extrusionOk="0">
                    <a:moveTo>
                      <a:pt x="8277" y="0"/>
                    </a:moveTo>
                    <a:cubicBezTo>
                      <a:pt x="5451" y="2826"/>
                      <a:pt x="3029" y="5653"/>
                      <a:pt x="808" y="8883"/>
                    </a:cubicBezTo>
                    <a:cubicBezTo>
                      <a:pt x="404" y="9286"/>
                      <a:pt x="202" y="9690"/>
                      <a:pt x="0" y="9892"/>
                    </a:cubicBezTo>
                    <a:cubicBezTo>
                      <a:pt x="606" y="10094"/>
                      <a:pt x="1010" y="10296"/>
                      <a:pt x="1414" y="10498"/>
                    </a:cubicBezTo>
                    <a:cubicBezTo>
                      <a:pt x="5047" y="11709"/>
                      <a:pt x="8883" y="12517"/>
                      <a:pt x="12719" y="13122"/>
                    </a:cubicBezTo>
                    <a:cubicBezTo>
                      <a:pt x="16554" y="8277"/>
                      <a:pt x="21601" y="4240"/>
                      <a:pt x="27052" y="1211"/>
                    </a:cubicBezTo>
                    <a:lnTo>
                      <a:pt x="27052" y="1211"/>
                    </a:lnTo>
                    <a:cubicBezTo>
                      <a:pt x="25033" y="1615"/>
                      <a:pt x="23015" y="1615"/>
                      <a:pt x="20996" y="1615"/>
                    </a:cubicBezTo>
                    <a:cubicBezTo>
                      <a:pt x="16756" y="1615"/>
                      <a:pt x="12517" y="1009"/>
                      <a:pt x="8277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9" name="Google Shape;9369;p56"/>
              <p:cNvSpPr/>
              <p:nvPr/>
            </p:nvSpPr>
            <p:spPr>
              <a:xfrm>
                <a:off x="2661889" y="1514798"/>
                <a:ext cx="66467" cy="47170"/>
              </a:xfrm>
              <a:custGeom>
                <a:avLst/>
                <a:gdLst/>
                <a:ahLst/>
                <a:cxnLst/>
                <a:rect l="l" t="t" r="r" b="b"/>
                <a:pathLst>
                  <a:path w="18776" h="13325" extrusionOk="0">
                    <a:moveTo>
                      <a:pt x="15747" y="0"/>
                    </a:moveTo>
                    <a:cubicBezTo>
                      <a:pt x="9892" y="3028"/>
                      <a:pt x="4644" y="7066"/>
                      <a:pt x="0" y="11709"/>
                    </a:cubicBezTo>
                    <a:cubicBezTo>
                      <a:pt x="4038" y="12718"/>
                      <a:pt x="8277" y="13324"/>
                      <a:pt x="12517" y="13324"/>
                    </a:cubicBezTo>
                    <a:cubicBezTo>
                      <a:pt x="14536" y="13324"/>
                      <a:pt x="16756" y="13122"/>
                      <a:pt x="18775" y="12920"/>
                    </a:cubicBezTo>
                    <a:cubicBezTo>
                      <a:pt x="16958" y="8883"/>
                      <a:pt x="16151" y="4441"/>
                      <a:pt x="15747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0" name="Google Shape;9370;p56"/>
              <p:cNvSpPr/>
              <p:nvPr/>
            </p:nvSpPr>
            <p:spPr>
              <a:xfrm>
                <a:off x="2635452" y="1602677"/>
                <a:ext cx="205108" cy="180094"/>
              </a:xfrm>
              <a:custGeom>
                <a:avLst/>
                <a:gdLst/>
                <a:ahLst/>
                <a:cxnLst/>
                <a:rect l="l" t="t" r="r" b="b"/>
                <a:pathLst>
                  <a:path w="57940" h="50874" extrusionOk="0">
                    <a:moveTo>
                      <a:pt x="11710" y="0"/>
                    </a:moveTo>
                    <a:cubicBezTo>
                      <a:pt x="10902" y="808"/>
                      <a:pt x="10297" y="1615"/>
                      <a:pt x="9691" y="2625"/>
                    </a:cubicBezTo>
                    <a:cubicBezTo>
                      <a:pt x="1" y="15949"/>
                      <a:pt x="5653" y="37348"/>
                      <a:pt x="8682" y="46432"/>
                    </a:cubicBezTo>
                    <a:cubicBezTo>
                      <a:pt x="9489" y="49057"/>
                      <a:pt x="12114" y="50874"/>
                      <a:pt x="14940" y="50874"/>
                    </a:cubicBezTo>
                    <a:lnTo>
                      <a:pt x="15747" y="50874"/>
                    </a:lnTo>
                    <a:cubicBezTo>
                      <a:pt x="25841" y="50874"/>
                      <a:pt x="46837" y="49259"/>
                      <a:pt x="56325" y="36338"/>
                    </a:cubicBezTo>
                    <a:cubicBezTo>
                      <a:pt x="56931" y="35531"/>
                      <a:pt x="57334" y="34723"/>
                      <a:pt x="57940" y="33916"/>
                    </a:cubicBezTo>
                    <a:cubicBezTo>
                      <a:pt x="54508" y="27052"/>
                      <a:pt x="52085" y="19582"/>
                      <a:pt x="51278" y="11911"/>
                    </a:cubicBezTo>
                    <a:cubicBezTo>
                      <a:pt x="45222" y="9892"/>
                      <a:pt x="39771" y="6460"/>
                      <a:pt x="35330" y="2019"/>
                    </a:cubicBezTo>
                    <a:cubicBezTo>
                      <a:pt x="34522" y="1413"/>
                      <a:pt x="33916" y="606"/>
                      <a:pt x="33311" y="0"/>
                    </a:cubicBezTo>
                    <a:cubicBezTo>
                      <a:pt x="29677" y="606"/>
                      <a:pt x="26043" y="808"/>
                      <a:pt x="22409" y="808"/>
                    </a:cubicBezTo>
                    <a:cubicBezTo>
                      <a:pt x="18776" y="808"/>
                      <a:pt x="15142" y="606"/>
                      <a:pt x="1171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1" name="Google Shape;9371;p56"/>
              <p:cNvSpPr/>
              <p:nvPr/>
            </p:nvSpPr>
            <p:spPr>
              <a:xfrm>
                <a:off x="2676892" y="1560523"/>
                <a:ext cx="76471" cy="45025"/>
              </a:xfrm>
              <a:custGeom>
                <a:avLst/>
                <a:gdLst/>
                <a:ahLst/>
                <a:cxnLst/>
                <a:rect l="l" t="t" r="r" b="b"/>
                <a:pathLst>
                  <a:path w="21602" h="12719" extrusionOk="0">
                    <a:moveTo>
                      <a:pt x="14334" y="0"/>
                    </a:moveTo>
                    <a:cubicBezTo>
                      <a:pt x="8883" y="3029"/>
                      <a:pt x="3836" y="7066"/>
                      <a:pt x="1" y="11911"/>
                    </a:cubicBezTo>
                    <a:cubicBezTo>
                      <a:pt x="3433" y="12517"/>
                      <a:pt x="7067" y="12719"/>
                      <a:pt x="10700" y="12719"/>
                    </a:cubicBezTo>
                    <a:cubicBezTo>
                      <a:pt x="14334" y="12719"/>
                      <a:pt x="17968" y="12517"/>
                      <a:pt x="21602" y="11911"/>
                    </a:cubicBezTo>
                    <a:cubicBezTo>
                      <a:pt x="18574" y="8277"/>
                      <a:pt x="16151" y="4240"/>
                      <a:pt x="1433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2" name="Google Shape;9372;p56"/>
              <p:cNvSpPr/>
              <p:nvPr/>
            </p:nvSpPr>
            <p:spPr>
              <a:xfrm>
                <a:off x="2864801" y="1592672"/>
                <a:ext cx="278003" cy="237984"/>
              </a:xfrm>
              <a:custGeom>
                <a:avLst/>
                <a:gdLst/>
                <a:ahLst/>
                <a:cxnLst/>
                <a:rect l="l" t="t" r="r" b="b"/>
                <a:pathLst>
                  <a:path w="78532" h="67227" extrusionOk="0">
                    <a:moveTo>
                      <a:pt x="66015" y="1"/>
                    </a:moveTo>
                    <a:cubicBezTo>
                      <a:pt x="65611" y="203"/>
                      <a:pt x="65208" y="405"/>
                      <a:pt x="64804" y="405"/>
                    </a:cubicBezTo>
                    <a:cubicBezTo>
                      <a:pt x="61170" y="1616"/>
                      <a:pt x="57334" y="2625"/>
                      <a:pt x="53499" y="3231"/>
                    </a:cubicBezTo>
                    <a:cubicBezTo>
                      <a:pt x="54104" y="4038"/>
                      <a:pt x="54710" y="4644"/>
                      <a:pt x="55315" y="5653"/>
                    </a:cubicBezTo>
                    <a:cubicBezTo>
                      <a:pt x="65006" y="18977"/>
                      <a:pt x="59555" y="40377"/>
                      <a:pt x="56325" y="49461"/>
                    </a:cubicBezTo>
                    <a:cubicBezTo>
                      <a:pt x="55517" y="52086"/>
                      <a:pt x="52893" y="53902"/>
                      <a:pt x="50269" y="53902"/>
                    </a:cubicBezTo>
                    <a:lnTo>
                      <a:pt x="49259" y="53902"/>
                    </a:lnTo>
                    <a:cubicBezTo>
                      <a:pt x="39165" y="53902"/>
                      <a:pt x="18170" y="52287"/>
                      <a:pt x="8883" y="39367"/>
                    </a:cubicBezTo>
                    <a:cubicBezTo>
                      <a:pt x="8076" y="38560"/>
                      <a:pt x="7470" y="37550"/>
                      <a:pt x="7067" y="36743"/>
                    </a:cubicBezTo>
                    <a:cubicBezTo>
                      <a:pt x="5250" y="40175"/>
                      <a:pt x="3231" y="43405"/>
                      <a:pt x="1010" y="46433"/>
                    </a:cubicBezTo>
                    <a:cubicBezTo>
                      <a:pt x="808" y="46837"/>
                      <a:pt x="405" y="47240"/>
                      <a:pt x="1" y="47644"/>
                    </a:cubicBezTo>
                    <a:cubicBezTo>
                      <a:pt x="13729" y="65006"/>
                      <a:pt x="42597" y="67226"/>
                      <a:pt x="56527" y="67226"/>
                    </a:cubicBezTo>
                    <a:lnTo>
                      <a:pt x="57738" y="67226"/>
                    </a:lnTo>
                    <a:cubicBezTo>
                      <a:pt x="61776" y="67226"/>
                      <a:pt x="65409" y="64602"/>
                      <a:pt x="66621" y="60968"/>
                    </a:cubicBezTo>
                    <a:cubicBezTo>
                      <a:pt x="70860" y="48250"/>
                      <a:pt x="78532" y="18977"/>
                      <a:pt x="6601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3" name="Google Shape;9373;p56"/>
              <p:cNvSpPr/>
              <p:nvPr/>
            </p:nvSpPr>
            <p:spPr>
              <a:xfrm>
                <a:off x="2840508" y="1660548"/>
                <a:ext cx="49316" cy="100770"/>
              </a:xfrm>
              <a:custGeom>
                <a:avLst/>
                <a:gdLst/>
                <a:ahLst/>
                <a:cxnLst/>
                <a:rect l="l" t="t" r="r" b="b"/>
                <a:pathLst>
                  <a:path w="13931" h="28466" extrusionOk="0">
                    <a:moveTo>
                      <a:pt x="6865" y="0"/>
                    </a:moveTo>
                    <a:cubicBezTo>
                      <a:pt x="5855" y="6259"/>
                      <a:pt x="3433" y="12113"/>
                      <a:pt x="1" y="17564"/>
                    </a:cubicBezTo>
                    <a:cubicBezTo>
                      <a:pt x="1818" y="20996"/>
                      <a:pt x="3837" y="24428"/>
                      <a:pt x="6057" y="27658"/>
                    </a:cubicBezTo>
                    <a:cubicBezTo>
                      <a:pt x="6259" y="27860"/>
                      <a:pt x="6663" y="28263"/>
                      <a:pt x="6865" y="28465"/>
                    </a:cubicBezTo>
                    <a:cubicBezTo>
                      <a:pt x="7269" y="28061"/>
                      <a:pt x="7470" y="27860"/>
                      <a:pt x="7874" y="27456"/>
                    </a:cubicBezTo>
                    <a:cubicBezTo>
                      <a:pt x="10095" y="24226"/>
                      <a:pt x="12114" y="20996"/>
                      <a:pt x="13931" y="17564"/>
                    </a:cubicBezTo>
                    <a:cubicBezTo>
                      <a:pt x="10297" y="12113"/>
                      <a:pt x="8076" y="6259"/>
                      <a:pt x="6865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4" name="Google Shape;9374;p56"/>
              <p:cNvSpPr/>
              <p:nvPr/>
            </p:nvSpPr>
            <p:spPr>
              <a:xfrm>
                <a:off x="2816930" y="1644831"/>
                <a:ext cx="47886" cy="77898"/>
              </a:xfrm>
              <a:custGeom>
                <a:avLst/>
                <a:gdLst/>
                <a:ahLst/>
                <a:cxnLst/>
                <a:rect l="l" t="t" r="r" b="b"/>
                <a:pathLst>
                  <a:path w="13527" h="22005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808" y="7671"/>
                      <a:pt x="3231" y="15141"/>
                      <a:pt x="6663" y="22005"/>
                    </a:cubicBezTo>
                    <a:cubicBezTo>
                      <a:pt x="10095" y="16554"/>
                      <a:pt x="12517" y="10700"/>
                      <a:pt x="13527" y="4441"/>
                    </a:cubicBezTo>
                    <a:cubicBezTo>
                      <a:pt x="13527" y="3836"/>
                      <a:pt x="13325" y="3028"/>
                      <a:pt x="13325" y="2221"/>
                    </a:cubicBezTo>
                    <a:cubicBezTo>
                      <a:pt x="8682" y="2221"/>
                      <a:pt x="4240" y="1413"/>
                      <a:pt x="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5" name="Google Shape;9375;p56"/>
              <p:cNvSpPr/>
              <p:nvPr/>
            </p:nvSpPr>
            <p:spPr>
              <a:xfrm>
                <a:off x="2889093" y="1602677"/>
                <a:ext cx="205823" cy="180809"/>
              </a:xfrm>
              <a:custGeom>
                <a:avLst/>
                <a:gdLst/>
                <a:ahLst/>
                <a:cxnLst/>
                <a:rect l="l" t="t" r="r" b="b"/>
                <a:pathLst>
                  <a:path w="58142" h="51076" extrusionOk="0">
                    <a:moveTo>
                      <a:pt x="24428" y="0"/>
                    </a:moveTo>
                    <a:cubicBezTo>
                      <a:pt x="23822" y="808"/>
                      <a:pt x="23419" y="1413"/>
                      <a:pt x="22813" y="2019"/>
                    </a:cubicBezTo>
                    <a:cubicBezTo>
                      <a:pt x="18170" y="6460"/>
                      <a:pt x="12719" y="9892"/>
                      <a:pt x="6865" y="11911"/>
                    </a:cubicBezTo>
                    <a:cubicBezTo>
                      <a:pt x="5855" y="19582"/>
                      <a:pt x="3634" y="27052"/>
                      <a:pt x="1" y="33916"/>
                    </a:cubicBezTo>
                    <a:cubicBezTo>
                      <a:pt x="606" y="34723"/>
                      <a:pt x="1212" y="35733"/>
                      <a:pt x="1818" y="36540"/>
                    </a:cubicBezTo>
                    <a:cubicBezTo>
                      <a:pt x="11306" y="49460"/>
                      <a:pt x="32301" y="51075"/>
                      <a:pt x="42395" y="51075"/>
                    </a:cubicBezTo>
                    <a:lnTo>
                      <a:pt x="43203" y="51075"/>
                    </a:lnTo>
                    <a:cubicBezTo>
                      <a:pt x="46029" y="51075"/>
                      <a:pt x="48451" y="49259"/>
                      <a:pt x="49461" y="46634"/>
                    </a:cubicBezTo>
                    <a:cubicBezTo>
                      <a:pt x="52489" y="37550"/>
                      <a:pt x="58142" y="15949"/>
                      <a:pt x="48451" y="2826"/>
                    </a:cubicBezTo>
                    <a:cubicBezTo>
                      <a:pt x="47846" y="1817"/>
                      <a:pt x="47240" y="1211"/>
                      <a:pt x="46433" y="404"/>
                    </a:cubicBezTo>
                    <a:cubicBezTo>
                      <a:pt x="43001" y="808"/>
                      <a:pt x="39569" y="1211"/>
                      <a:pt x="35935" y="1211"/>
                    </a:cubicBezTo>
                    <a:cubicBezTo>
                      <a:pt x="32099" y="1211"/>
                      <a:pt x="28264" y="808"/>
                      <a:pt x="2442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6" name="Google Shape;9376;p56"/>
              <p:cNvSpPr/>
              <p:nvPr/>
            </p:nvSpPr>
            <p:spPr>
              <a:xfrm>
                <a:off x="2864801" y="1644831"/>
                <a:ext cx="48601" cy="77898"/>
              </a:xfrm>
              <a:custGeom>
                <a:avLst/>
                <a:gdLst/>
                <a:ahLst/>
                <a:cxnLst/>
                <a:rect l="l" t="t" r="r" b="b"/>
                <a:pathLst>
                  <a:path w="13729" h="22005" extrusionOk="0">
                    <a:moveTo>
                      <a:pt x="13729" y="0"/>
                    </a:moveTo>
                    <a:cubicBezTo>
                      <a:pt x="9287" y="1413"/>
                      <a:pt x="4846" y="2221"/>
                      <a:pt x="405" y="2221"/>
                    </a:cubicBezTo>
                    <a:cubicBezTo>
                      <a:pt x="405" y="3028"/>
                      <a:pt x="203" y="3836"/>
                      <a:pt x="1" y="4441"/>
                    </a:cubicBezTo>
                    <a:cubicBezTo>
                      <a:pt x="1212" y="10700"/>
                      <a:pt x="3433" y="16554"/>
                      <a:pt x="7067" y="22005"/>
                    </a:cubicBezTo>
                    <a:cubicBezTo>
                      <a:pt x="10498" y="15141"/>
                      <a:pt x="12719" y="7671"/>
                      <a:pt x="1372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7" name="Google Shape;9377;p56"/>
              <p:cNvSpPr/>
              <p:nvPr/>
            </p:nvSpPr>
            <p:spPr>
              <a:xfrm>
                <a:off x="2864086" y="1653402"/>
                <a:ext cx="2149" cy="7151"/>
              </a:xfrm>
              <a:custGeom>
                <a:avLst/>
                <a:gdLst/>
                <a:ahLst/>
                <a:cxnLst/>
                <a:rect l="l" t="t" r="r" b="b"/>
                <a:pathLst>
                  <a:path w="607" h="2020" extrusionOk="0">
                    <a:moveTo>
                      <a:pt x="1" y="1"/>
                    </a:moveTo>
                    <a:cubicBezTo>
                      <a:pt x="1" y="606"/>
                      <a:pt x="203" y="1414"/>
                      <a:pt x="203" y="2019"/>
                    </a:cubicBezTo>
                    <a:cubicBezTo>
                      <a:pt x="405" y="1414"/>
                      <a:pt x="405" y="606"/>
                      <a:pt x="607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8" name="Google Shape;9378;p56"/>
              <p:cNvSpPr/>
              <p:nvPr/>
            </p:nvSpPr>
            <p:spPr>
              <a:xfrm>
                <a:off x="3006983" y="1313318"/>
                <a:ext cx="225119" cy="279430"/>
              </a:xfrm>
              <a:custGeom>
                <a:avLst/>
                <a:gdLst/>
                <a:ahLst/>
                <a:cxnLst/>
                <a:rect l="l" t="t" r="r" b="b"/>
                <a:pathLst>
                  <a:path w="63593" h="78935" extrusionOk="0">
                    <a:moveTo>
                      <a:pt x="11104" y="0"/>
                    </a:moveTo>
                    <a:cubicBezTo>
                      <a:pt x="7672" y="0"/>
                      <a:pt x="4240" y="606"/>
                      <a:pt x="1010" y="1413"/>
                    </a:cubicBezTo>
                    <a:lnTo>
                      <a:pt x="1010" y="2625"/>
                    </a:lnTo>
                    <a:cubicBezTo>
                      <a:pt x="1010" y="6662"/>
                      <a:pt x="606" y="10498"/>
                      <a:pt x="1" y="14334"/>
                    </a:cubicBezTo>
                    <a:cubicBezTo>
                      <a:pt x="1010" y="13930"/>
                      <a:pt x="1818" y="13728"/>
                      <a:pt x="2827" y="13324"/>
                    </a:cubicBezTo>
                    <a:cubicBezTo>
                      <a:pt x="5451" y="12517"/>
                      <a:pt x="8278" y="12113"/>
                      <a:pt x="11104" y="12113"/>
                    </a:cubicBezTo>
                    <a:cubicBezTo>
                      <a:pt x="24630" y="12113"/>
                      <a:pt x="38559" y="21198"/>
                      <a:pt x="45020" y="25841"/>
                    </a:cubicBezTo>
                    <a:cubicBezTo>
                      <a:pt x="47240" y="27456"/>
                      <a:pt x="48048" y="30484"/>
                      <a:pt x="47240" y="33108"/>
                    </a:cubicBezTo>
                    <a:cubicBezTo>
                      <a:pt x="44414" y="42395"/>
                      <a:pt x="36339" y="62986"/>
                      <a:pt x="20592" y="68033"/>
                    </a:cubicBezTo>
                    <a:cubicBezTo>
                      <a:pt x="19583" y="68235"/>
                      <a:pt x="18573" y="68639"/>
                      <a:pt x="17564" y="68841"/>
                    </a:cubicBezTo>
                    <a:cubicBezTo>
                      <a:pt x="20188" y="71667"/>
                      <a:pt x="22813" y="74494"/>
                      <a:pt x="25034" y="77522"/>
                    </a:cubicBezTo>
                    <a:cubicBezTo>
                      <a:pt x="25235" y="77925"/>
                      <a:pt x="25639" y="78531"/>
                      <a:pt x="25841" y="78935"/>
                    </a:cubicBezTo>
                    <a:cubicBezTo>
                      <a:pt x="47240" y="71062"/>
                      <a:pt x="58343" y="42799"/>
                      <a:pt x="62381" y="30080"/>
                    </a:cubicBezTo>
                    <a:cubicBezTo>
                      <a:pt x="63592" y="26245"/>
                      <a:pt x="62179" y="22005"/>
                      <a:pt x="58949" y="19583"/>
                    </a:cubicBezTo>
                    <a:cubicBezTo>
                      <a:pt x="49865" y="12921"/>
                      <a:pt x="30081" y="0"/>
                      <a:pt x="1110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9" name="Google Shape;9379;p56"/>
              <p:cNvSpPr/>
              <p:nvPr/>
            </p:nvSpPr>
            <p:spPr>
              <a:xfrm>
                <a:off x="2956256" y="1319034"/>
                <a:ext cx="54314" cy="72184"/>
              </a:xfrm>
              <a:custGeom>
                <a:avLst/>
                <a:gdLst/>
                <a:ahLst/>
                <a:cxnLst/>
                <a:rect l="l" t="t" r="r" b="b"/>
                <a:pathLst>
                  <a:path w="15343" h="20391" extrusionOk="0">
                    <a:moveTo>
                      <a:pt x="15343" y="0"/>
                    </a:moveTo>
                    <a:lnTo>
                      <a:pt x="13930" y="404"/>
                    </a:lnTo>
                    <a:cubicBezTo>
                      <a:pt x="10094" y="1413"/>
                      <a:pt x="6662" y="2827"/>
                      <a:pt x="3230" y="4644"/>
                    </a:cubicBezTo>
                    <a:cubicBezTo>
                      <a:pt x="2827" y="9691"/>
                      <a:pt x="1817" y="14737"/>
                      <a:pt x="0" y="19583"/>
                    </a:cubicBezTo>
                    <a:lnTo>
                      <a:pt x="1010" y="20390"/>
                    </a:lnTo>
                    <a:cubicBezTo>
                      <a:pt x="5047" y="17160"/>
                      <a:pt x="9489" y="14737"/>
                      <a:pt x="14334" y="12921"/>
                    </a:cubicBezTo>
                    <a:cubicBezTo>
                      <a:pt x="14939" y="9085"/>
                      <a:pt x="15343" y="5047"/>
                      <a:pt x="15343" y="1212"/>
                    </a:cubicBezTo>
                    <a:lnTo>
                      <a:pt x="15343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0" name="Google Shape;9380;p56"/>
              <p:cNvSpPr/>
              <p:nvPr/>
            </p:nvSpPr>
            <p:spPr>
              <a:xfrm>
                <a:off x="2919817" y="1335466"/>
                <a:ext cx="47886" cy="52888"/>
              </a:xfrm>
              <a:custGeom>
                <a:avLst/>
                <a:gdLst/>
                <a:ahLst/>
                <a:cxnLst/>
                <a:rect l="l" t="t" r="r" b="b"/>
                <a:pathLst>
                  <a:path w="13527" h="14940" extrusionOk="0">
                    <a:moveTo>
                      <a:pt x="13526" y="1"/>
                    </a:moveTo>
                    <a:cubicBezTo>
                      <a:pt x="8681" y="2423"/>
                      <a:pt x="4038" y="5451"/>
                      <a:pt x="0" y="9085"/>
                    </a:cubicBezTo>
                    <a:cubicBezTo>
                      <a:pt x="3634" y="10498"/>
                      <a:pt x="7066" y="12517"/>
                      <a:pt x="10296" y="14940"/>
                    </a:cubicBezTo>
                    <a:cubicBezTo>
                      <a:pt x="12113" y="10094"/>
                      <a:pt x="13123" y="5048"/>
                      <a:pt x="1352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1" name="Google Shape;9381;p56"/>
              <p:cNvSpPr/>
              <p:nvPr/>
            </p:nvSpPr>
            <p:spPr>
              <a:xfrm>
                <a:off x="3002697" y="1557663"/>
                <a:ext cx="95053" cy="46455"/>
              </a:xfrm>
              <a:custGeom>
                <a:avLst/>
                <a:gdLst/>
                <a:ahLst/>
                <a:cxnLst/>
                <a:rect l="l" t="t" r="r" b="b"/>
                <a:pathLst>
                  <a:path w="26851" h="13123" extrusionOk="0">
                    <a:moveTo>
                      <a:pt x="18775" y="1"/>
                    </a:moveTo>
                    <a:cubicBezTo>
                      <a:pt x="14737" y="1010"/>
                      <a:pt x="10700" y="1414"/>
                      <a:pt x="6460" y="1616"/>
                    </a:cubicBezTo>
                    <a:cubicBezTo>
                      <a:pt x="4240" y="1616"/>
                      <a:pt x="2019" y="1414"/>
                      <a:pt x="0" y="1010"/>
                    </a:cubicBezTo>
                    <a:lnTo>
                      <a:pt x="0" y="1010"/>
                    </a:lnTo>
                    <a:cubicBezTo>
                      <a:pt x="5451" y="4038"/>
                      <a:pt x="10498" y="8076"/>
                      <a:pt x="14334" y="13123"/>
                    </a:cubicBezTo>
                    <a:cubicBezTo>
                      <a:pt x="18169" y="12517"/>
                      <a:pt x="22005" y="11508"/>
                      <a:pt x="25841" y="10297"/>
                    </a:cubicBezTo>
                    <a:cubicBezTo>
                      <a:pt x="26245" y="10297"/>
                      <a:pt x="26648" y="10095"/>
                      <a:pt x="26850" y="9893"/>
                    </a:cubicBezTo>
                    <a:cubicBezTo>
                      <a:pt x="26648" y="9489"/>
                      <a:pt x="26446" y="9085"/>
                      <a:pt x="26043" y="8682"/>
                    </a:cubicBezTo>
                    <a:cubicBezTo>
                      <a:pt x="23822" y="5452"/>
                      <a:pt x="21399" y="2625"/>
                      <a:pt x="1877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2" name="Google Shape;9382;p56"/>
              <p:cNvSpPr/>
              <p:nvPr/>
            </p:nvSpPr>
            <p:spPr>
              <a:xfrm>
                <a:off x="2975545" y="1561238"/>
                <a:ext cx="78616" cy="45740"/>
              </a:xfrm>
              <a:custGeom>
                <a:avLst/>
                <a:gdLst/>
                <a:ahLst/>
                <a:cxnLst/>
                <a:rect l="l" t="t" r="r" b="b"/>
                <a:pathLst>
                  <a:path w="22208" h="12921" extrusionOk="0">
                    <a:moveTo>
                      <a:pt x="7672" y="0"/>
                    </a:moveTo>
                    <a:cubicBezTo>
                      <a:pt x="5654" y="4442"/>
                      <a:pt x="3231" y="8277"/>
                      <a:pt x="1" y="11709"/>
                    </a:cubicBezTo>
                    <a:cubicBezTo>
                      <a:pt x="3837" y="12517"/>
                      <a:pt x="7672" y="12920"/>
                      <a:pt x="11508" y="12920"/>
                    </a:cubicBezTo>
                    <a:cubicBezTo>
                      <a:pt x="15142" y="12920"/>
                      <a:pt x="18574" y="12517"/>
                      <a:pt x="22208" y="12113"/>
                    </a:cubicBezTo>
                    <a:cubicBezTo>
                      <a:pt x="18170" y="7066"/>
                      <a:pt x="13123" y="3028"/>
                      <a:pt x="7672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3" name="Google Shape;9383;p56"/>
              <p:cNvSpPr/>
              <p:nvPr/>
            </p:nvSpPr>
            <p:spPr>
              <a:xfrm>
                <a:off x="2959827" y="1364044"/>
                <a:ext cx="47171" cy="60035"/>
              </a:xfrm>
              <a:custGeom>
                <a:avLst/>
                <a:gdLst/>
                <a:ahLst/>
                <a:cxnLst/>
                <a:rect l="l" t="t" r="r" b="b"/>
                <a:pathLst>
                  <a:path w="13325" h="16959" extrusionOk="0">
                    <a:moveTo>
                      <a:pt x="13325" y="1"/>
                    </a:moveTo>
                    <a:lnTo>
                      <a:pt x="13325" y="1"/>
                    </a:lnTo>
                    <a:cubicBezTo>
                      <a:pt x="8480" y="1818"/>
                      <a:pt x="4038" y="4442"/>
                      <a:pt x="1" y="7672"/>
                    </a:cubicBezTo>
                    <a:cubicBezTo>
                      <a:pt x="1010" y="8480"/>
                      <a:pt x="2019" y="9287"/>
                      <a:pt x="2827" y="10095"/>
                    </a:cubicBezTo>
                    <a:cubicBezTo>
                      <a:pt x="4846" y="12315"/>
                      <a:pt x="6663" y="14536"/>
                      <a:pt x="8278" y="16959"/>
                    </a:cubicBezTo>
                    <a:cubicBezTo>
                      <a:pt x="10700" y="11508"/>
                      <a:pt x="12315" y="5855"/>
                      <a:pt x="1332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4" name="Google Shape;9384;p56"/>
              <p:cNvSpPr/>
              <p:nvPr/>
            </p:nvSpPr>
            <p:spPr>
              <a:xfrm>
                <a:off x="3002697" y="1515509"/>
                <a:ext cx="67179" cy="47170"/>
              </a:xfrm>
              <a:custGeom>
                <a:avLst/>
                <a:gdLst/>
                <a:ahLst/>
                <a:cxnLst/>
                <a:rect l="l" t="t" r="r" b="b"/>
                <a:pathLst>
                  <a:path w="18977" h="13325" extrusionOk="0">
                    <a:moveTo>
                      <a:pt x="2827" y="1"/>
                    </a:moveTo>
                    <a:cubicBezTo>
                      <a:pt x="2625" y="4442"/>
                      <a:pt x="1615" y="8682"/>
                      <a:pt x="0" y="12921"/>
                    </a:cubicBezTo>
                    <a:cubicBezTo>
                      <a:pt x="2221" y="13123"/>
                      <a:pt x="4442" y="13325"/>
                      <a:pt x="6460" y="13325"/>
                    </a:cubicBezTo>
                    <a:cubicBezTo>
                      <a:pt x="10700" y="13325"/>
                      <a:pt x="14939" y="12719"/>
                      <a:pt x="18977" y="11710"/>
                    </a:cubicBezTo>
                    <a:cubicBezTo>
                      <a:pt x="14132" y="7067"/>
                      <a:pt x="8883" y="3029"/>
                      <a:pt x="282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5" name="Google Shape;9385;p56"/>
              <p:cNvSpPr/>
              <p:nvPr/>
            </p:nvSpPr>
            <p:spPr>
              <a:xfrm>
                <a:off x="3001982" y="1561238"/>
                <a:ext cx="719" cy="4"/>
              </a:xfrm>
              <a:custGeom>
                <a:avLst/>
                <a:gdLst/>
                <a:ahLst/>
                <a:cxnLst/>
                <a:rect l="l" t="t" r="r" b="b"/>
                <a:pathLst>
                  <a:path w="203" h="1" extrusionOk="0">
                    <a:moveTo>
                      <a:pt x="202" y="0"/>
                    </a:moveTo>
                    <a:lnTo>
                      <a:pt x="20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6" name="Google Shape;9386;p56"/>
              <p:cNvSpPr/>
              <p:nvPr/>
            </p:nvSpPr>
            <p:spPr>
              <a:xfrm>
                <a:off x="2727622" y="1560523"/>
                <a:ext cx="4" cy="4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extrusionOk="0">
                    <a:moveTo>
                      <a:pt x="0" y="0"/>
                    </a:moveTo>
                    <a:close/>
                  </a:path>
                </a:pathLst>
              </a:custGeom>
              <a:solidFill>
                <a:srgbClr val="FFFFF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7" name="Google Shape;9387;p56"/>
              <p:cNvSpPr/>
              <p:nvPr/>
            </p:nvSpPr>
            <p:spPr>
              <a:xfrm>
                <a:off x="2706186" y="1356898"/>
                <a:ext cx="321598" cy="311591"/>
              </a:xfrm>
              <a:custGeom>
                <a:avLst/>
                <a:gdLst/>
                <a:ahLst/>
                <a:cxnLst/>
                <a:rect l="l" t="t" r="r" b="b"/>
                <a:pathLst>
                  <a:path w="90847" h="88020" fill="none" extrusionOk="0">
                    <a:moveTo>
                      <a:pt x="44818" y="1"/>
                    </a:moveTo>
                    <a:cubicBezTo>
                      <a:pt x="24832" y="1"/>
                      <a:pt x="7672" y="13931"/>
                      <a:pt x="3836" y="33715"/>
                    </a:cubicBezTo>
                    <a:cubicBezTo>
                      <a:pt x="1" y="53297"/>
                      <a:pt x="10297" y="72879"/>
                      <a:pt x="28869" y="80550"/>
                    </a:cubicBezTo>
                    <a:cubicBezTo>
                      <a:pt x="47240" y="88020"/>
                      <a:pt x="68639" y="81560"/>
                      <a:pt x="79743" y="65006"/>
                    </a:cubicBezTo>
                    <a:cubicBezTo>
                      <a:pt x="90846" y="48452"/>
                      <a:pt x="88625" y="26245"/>
                      <a:pt x="74494" y="12114"/>
                    </a:cubicBezTo>
                    <a:cubicBezTo>
                      <a:pt x="66621" y="4240"/>
                      <a:pt x="55921" y="1"/>
                      <a:pt x="4481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FFFFFF"/>
                </a:solidFill>
                <a:prstDash val="solid"/>
                <a:miter lim="201878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88" name="Google Shape;9388;p56"/>
            <p:cNvGrpSpPr/>
            <p:nvPr/>
          </p:nvGrpSpPr>
          <p:grpSpPr>
            <a:xfrm>
              <a:off x="2517909" y="1188726"/>
              <a:ext cx="702702" cy="725214"/>
              <a:chOff x="2517909" y="1188726"/>
              <a:chExt cx="702702" cy="725214"/>
            </a:xfrm>
          </p:grpSpPr>
          <p:sp>
            <p:nvSpPr>
              <p:cNvPr id="9389" name="Google Shape;9389;p56"/>
              <p:cNvSpPr/>
              <p:nvPr/>
            </p:nvSpPr>
            <p:spPr>
              <a:xfrm>
                <a:off x="2621966" y="1188726"/>
                <a:ext cx="114832" cy="86149"/>
              </a:xfrm>
              <a:custGeom>
                <a:avLst/>
                <a:gdLst/>
                <a:ahLst/>
                <a:cxnLst/>
                <a:rect l="l" t="t" r="r" b="b"/>
                <a:pathLst>
                  <a:path w="10285" h="7716" extrusionOk="0">
                    <a:moveTo>
                      <a:pt x="10284" y="1"/>
                    </a:moveTo>
                    <a:lnTo>
                      <a:pt x="7413" y="282"/>
                    </a:lnTo>
                    <a:lnTo>
                      <a:pt x="7949" y="1144"/>
                    </a:lnTo>
                    <a:cubicBezTo>
                      <a:pt x="4966" y="2788"/>
                      <a:pt x="2280" y="4920"/>
                      <a:pt x="0" y="7451"/>
                    </a:cubicBezTo>
                    <a:lnTo>
                      <a:pt x="294" y="7716"/>
                    </a:lnTo>
                    <a:cubicBezTo>
                      <a:pt x="2547" y="5212"/>
                      <a:pt x="5206" y="3102"/>
                      <a:pt x="8156" y="1479"/>
                    </a:cubicBezTo>
                    <a:lnTo>
                      <a:pt x="8760" y="2450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0" name="Google Shape;9390;p56"/>
              <p:cNvSpPr/>
              <p:nvPr/>
            </p:nvSpPr>
            <p:spPr>
              <a:xfrm>
                <a:off x="2517909" y="1543306"/>
                <a:ext cx="54396" cy="134951"/>
              </a:xfrm>
              <a:custGeom>
                <a:avLst/>
                <a:gdLst/>
                <a:ahLst/>
                <a:cxnLst/>
                <a:rect l="l" t="t" r="r" b="b"/>
                <a:pathLst>
                  <a:path w="4872" h="12087" extrusionOk="0">
                    <a:moveTo>
                      <a:pt x="4871" y="11889"/>
                    </a:moveTo>
                    <a:cubicBezTo>
                      <a:pt x="3186" y="8971"/>
                      <a:pt x="2004" y="5793"/>
                      <a:pt x="1370" y="2482"/>
                    </a:cubicBezTo>
                    <a:lnTo>
                      <a:pt x="2481" y="2209"/>
                    </a:lnTo>
                    <a:lnTo>
                      <a:pt x="620" y="0"/>
                    </a:lnTo>
                    <a:lnTo>
                      <a:pt x="1" y="2820"/>
                    </a:lnTo>
                    <a:lnTo>
                      <a:pt x="987" y="2578"/>
                    </a:lnTo>
                    <a:cubicBezTo>
                      <a:pt x="1629" y="5923"/>
                      <a:pt x="2827" y="9136"/>
                      <a:pt x="4530" y="12087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1" name="Google Shape;9391;p56"/>
              <p:cNvSpPr/>
              <p:nvPr/>
            </p:nvSpPr>
            <p:spPr>
              <a:xfrm>
                <a:off x="3174265" y="1556894"/>
                <a:ext cx="46346" cy="135275"/>
              </a:xfrm>
              <a:custGeom>
                <a:avLst/>
                <a:gdLst/>
                <a:ahLst/>
                <a:cxnLst/>
                <a:rect l="l" t="t" r="r" b="b"/>
                <a:pathLst>
                  <a:path w="4151" h="12116" extrusionOk="0">
                    <a:moveTo>
                      <a:pt x="4150" y="41"/>
                    </a:moveTo>
                    <a:lnTo>
                      <a:pt x="3759" y="0"/>
                    </a:lnTo>
                    <a:cubicBezTo>
                      <a:pt x="3405" y="3350"/>
                      <a:pt x="2494" y="6618"/>
                      <a:pt x="1059" y="9668"/>
                    </a:cubicBezTo>
                    <a:lnTo>
                      <a:pt x="0" y="9237"/>
                    </a:lnTo>
                    <a:lnTo>
                      <a:pt x="208" y="12116"/>
                    </a:lnTo>
                    <a:lnTo>
                      <a:pt x="2367" y="10200"/>
                    </a:lnTo>
                    <a:lnTo>
                      <a:pt x="1426" y="9817"/>
                    </a:lnTo>
                    <a:cubicBezTo>
                      <a:pt x="2873" y="6733"/>
                      <a:pt x="3793" y="3429"/>
                      <a:pt x="4150" y="4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2" name="Google Shape;9392;p56"/>
              <p:cNvSpPr/>
              <p:nvPr/>
            </p:nvSpPr>
            <p:spPr>
              <a:xfrm>
                <a:off x="3023194" y="1197200"/>
                <a:ext cx="116417" cy="83525"/>
              </a:xfrm>
              <a:custGeom>
                <a:avLst/>
                <a:gdLst/>
                <a:ahLst/>
                <a:cxnLst/>
                <a:rect l="l" t="t" r="r" b="b"/>
                <a:pathLst>
                  <a:path w="10427" h="7481" extrusionOk="0">
                    <a:moveTo>
                      <a:pt x="10427" y="7480"/>
                    </a:moveTo>
                    <a:lnTo>
                      <a:pt x="9270" y="4835"/>
                    </a:lnTo>
                    <a:lnTo>
                      <a:pt x="8616" y="5611"/>
                    </a:lnTo>
                    <a:cubicBezTo>
                      <a:pt x="6131" y="3282"/>
                      <a:pt x="3273" y="1386"/>
                      <a:pt x="160" y="1"/>
                    </a:cubicBezTo>
                    <a:lnTo>
                      <a:pt x="0" y="361"/>
                    </a:lnTo>
                    <a:cubicBezTo>
                      <a:pt x="3078" y="1731"/>
                      <a:pt x="5904" y="3608"/>
                      <a:pt x="8362" y="5913"/>
                    </a:cubicBezTo>
                    <a:lnTo>
                      <a:pt x="7624" y="6787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3" name="Google Shape;9393;p56"/>
              <p:cNvSpPr/>
              <p:nvPr/>
            </p:nvSpPr>
            <p:spPr>
              <a:xfrm rot="8660313">
                <a:off x="2818264" y="1804296"/>
                <a:ext cx="116433" cy="83536"/>
              </a:xfrm>
              <a:custGeom>
                <a:avLst/>
                <a:gdLst/>
                <a:ahLst/>
                <a:cxnLst/>
                <a:rect l="l" t="t" r="r" b="b"/>
                <a:pathLst>
                  <a:path w="10427" h="7481" extrusionOk="0">
                    <a:moveTo>
                      <a:pt x="10427" y="7480"/>
                    </a:moveTo>
                    <a:lnTo>
                      <a:pt x="9270" y="4835"/>
                    </a:lnTo>
                    <a:lnTo>
                      <a:pt x="8616" y="5611"/>
                    </a:lnTo>
                    <a:cubicBezTo>
                      <a:pt x="6131" y="3282"/>
                      <a:pt x="3273" y="1386"/>
                      <a:pt x="160" y="1"/>
                    </a:cubicBezTo>
                    <a:lnTo>
                      <a:pt x="0" y="361"/>
                    </a:lnTo>
                    <a:cubicBezTo>
                      <a:pt x="3078" y="1731"/>
                      <a:pt x="5904" y="3608"/>
                      <a:pt x="8362" y="5913"/>
                    </a:cubicBezTo>
                    <a:lnTo>
                      <a:pt x="7624" y="6787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394" name="Google Shape;9394;p56"/>
          <p:cNvGrpSpPr/>
          <p:nvPr/>
        </p:nvGrpSpPr>
        <p:grpSpPr>
          <a:xfrm>
            <a:off x="1672184" y="1191441"/>
            <a:ext cx="583439" cy="870229"/>
            <a:chOff x="1716825" y="1121550"/>
            <a:chExt cx="622800" cy="928938"/>
          </a:xfrm>
        </p:grpSpPr>
        <p:grpSp>
          <p:nvGrpSpPr>
            <p:cNvPr id="9395" name="Google Shape;9395;p56"/>
            <p:cNvGrpSpPr/>
            <p:nvPr/>
          </p:nvGrpSpPr>
          <p:grpSpPr>
            <a:xfrm>
              <a:off x="1716825" y="1121550"/>
              <a:ext cx="622800" cy="928938"/>
              <a:chOff x="1716825" y="1121550"/>
              <a:chExt cx="622800" cy="928938"/>
            </a:xfrm>
          </p:grpSpPr>
          <p:cxnSp>
            <p:nvCxnSpPr>
              <p:cNvPr id="9396" name="Google Shape;9396;p56"/>
              <p:cNvCxnSpPr/>
              <p:nvPr/>
            </p:nvCxnSpPr>
            <p:spPr>
              <a:xfrm>
                <a:off x="1954750" y="1738188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397" name="Google Shape;9397;p56"/>
              <p:cNvSpPr/>
              <p:nvPr/>
            </p:nvSpPr>
            <p:spPr>
              <a:xfrm>
                <a:off x="1716825" y="1121550"/>
                <a:ext cx="622800" cy="622800"/>
              </a:xfrm>
              <a:prstGeom prst="ellipse">
                <a:avLst/>
              </a:pr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98" name="Google Shape;9398;p56"/>
            <p:cNvGrpSpPr/>
            <p:nvPr/>
          </p:nvGrpSpPr>
          <p:grpSpPr>
            <a:xfrm>
              <a:off x="1768050" y="1172775"/>
              <a:ext cx="520200" cy="832000"/>
              <a:chOff x="1768050" y="1172775"/>
              <a:chExt cx="520200" cy="832000"/>
            </a:xfrm>
          </p:grpSpPr>
          <p:cxnSp>
            <p:nvCxnSpPr>
              <p:cNvPr id="9399" name="Google Shape;9399;p56"/>
              <p:cNvCxnSpPr/>
              <p:nvPr/>
            </p:nvCxnSpPr>
            <p:spPr>
              <a:xfrm>
                <a:off x="2003025" y="1692475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0" name="Google Shape;9400;p56"/>
              <p:cNvSpPr/>
              <p:nvPr/>
            </p:nvSpPr>
            <p:spPr>
              <a:xfrm>
                <a:off x="1768050" y="1172775"/>
                <a:ext cx="520200" cy="520200"/>
              </a:xfrm>
              <a:prstGeom prst="ellipse">
                <a:avLst/>
              </a:pr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01" name="Google Shape;9401;p56"/>
            <p:cNvGrpSpPr/>
            <p:nvPr/>
          </p:nvGrpSpPr>
          <p:grpSpPr>
            <a:xfrm>
              <a:off x="1820100" y="1225475"/>
              <a:ext cx="416400" cy="729575"/>
              <a:chOff x="1820100" y="1225475"/>
              <a:chExt cx="416400" cy="729575"/>
            </a:xfrm>
          </p:grpSpPr>
          <p:cxnSp>
            <p:nvCxnSpPr>
              <p:cNvPr id="9402" name="Google Shape;9402;p56"/>
              <p:cNvCxnSpPr/>
              <p:nvPr/>
            </p:nvCxnSpPr>
            <p:spPr>
              <a:xfrm>
                <a:off x="2051300" y="1642750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3" name="Google Shape;9403;p56"/>
              <p:cNvSpPr/>
              <p:nvPr/>
            </p:nvSpPr>
            <p:spPr>
              <a:xfrm>
                <a:off x="1820100" y="1225475"/>
                <a:ext cx="416400" cy="416400"/>
              </a:xfrm>
              <a:prstGeom prst="ellipse">
                <a:avLst/>
              </a:pr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04" name="Google Shape;9404;p56"/>
            <p:cNvGrpSpPr/>
            <p:nvPr/>
          </p:nvGrpSpPr>
          <p:grpSpPr>
            <a:xfrm>
              <a:off x="1874250" y="1278825"/>
              <a:ext cx="308100" cy="605275"/>
              <a:chOff x="1874250" y="1278825"/>
              <a:chExt cx="308100" cy="605275"/>
            </a:xfrm>
          </p:grpSpPr>
          <p:cxnSp>
            <p:nvCxnSpPr>
              <p:cNvPr id="9405" name="Google Shape;9405;p56"/>
              <p:cNvCxnSpPr/>
              <p:nvPr/>
            </p:nvCxnSpPr>
            <p:spPr>
              <a:xfrm>
                <a:off x="2099575" y="1571800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6" name="Google Shape;9406;p56"/>
              <p:cNvSpPr/>
              <p:nvPr/>
            </p:nvSpPr>
            <p:spPr>
              <a:xfrm>
                <a:off x="1874250" y="1278825"/>
                <a:ext cx="308100" cy="308100"/>
              </a:xfrm>
              <a:prstGeom prst="ellipse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407" name="Google Shape;9407;p56"/>
            <p:cNvSpPr/>
            <p:nvPr/>
          </p:nvSpPr>
          <p:spPr>
            <a:xfrm>
              <a:off x="1920625" y="1326000"/>
              <a:ext cx="215400" cy="215400"/>
            </a:xfrm>
            <a:prstGeom prst="ellipse">
              <a:avLst/>
            </a:pr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08" name="Google Shape;9408;p56"/>
          <p:cNvGrpSpPr/>
          <p:nvPr/>
        </p:nvGrpSpPr>
        <p:grpSpPr>
          <a:xfrm>
            <a:off x="1592007" y="2077763"/>
            <a:ext cx="739072" cy="714152"/>
            <a:chOff x="4334725" y="1355875"/>
            <a:chExt cx="3106650" cy="3001900"/>
          </a:xfrm>
        </p:grpSpPr>
        <p:grpSp>
          <p:nvGrpSpPr>
            <p:cNvPr id="9409" name="Google Shape;9409;p56"/>
            <p:cNvGrpSpPr/>
            <p:nvPr/>
          </p:nvGrpSpPr>
          <p:grpSpPr>
            <a:xfrm>
              <a:off x="4516050" y="1724875"/>
              <a:ext cx="2693725" cy="2632900"/>
              <a:chOff x="4516050" y="1724875"/>
              <a:chExt cx="2693725" cy="2632900"/>
            </a:xfrm>
          </p:grpSpPr>
          <p:sp>
            <p:nvSpPr>
              <p:cNvPr id="9410" name="Google Shape;9410;p56"/>
              <p:cNvSpPr/>
              <p:nvPr/>
            </p:nvSpPr>
            <p:spPr>
              <a:xfrm>
                <a:off x="6227525" y="1737400"/>
                <a:ext cx="982250" cy="1548550"/>
              </a:xfrm>
              <a:custGeom>
                <a:avLst/>
                <a:gdLst/>
                <a:ahLst/>
                <a:cxnLst/>
                <a:rect l="l" t="t" r="r" b="b"/>
                <a:pathLst>
                  <a:path w="39290" h="61942" extrusionOk="0">
                    <a:moveTo>
                      <a:pt x="2948" y="0"/>
                    </a:moveTo>
                    <a:lnTo>
                      <a:pt x="2948" y="0"/>
                    </a:lnTo>
                    <a:cubicBezTo>
                      <a:pt x="2963" y="140"/>
                      <a:pt x="2988" y="275"/>
                      <a:pt x="2997" y="415"/>
                    </a:cubicBezTo>
                    <a:cubicBezTo>
                      <a:pt x="3257" y="4251"/>
                      <a:pt x="2198" y="8060"/>
                      <a:pt x="0" y="11214"/>
                    </a:cubicBezTo>
                    <a:cubicBezTo>
                      <a:pt x="16180" y="17156"/>
                      <a:pt x="27723" y="32699"/>
                      <a:pt x="27723" y="50939"/>
                    </a:cubicBezTo>
                    <a:cubicBezTo>
                      <a:pt x="27725" y="53819"/>
                      <a:pt x="27433" y="56688"/>
                      <a:pt x="26854" y="59506"/>
                    </a:cubicBezTo>
                    <a:cubicBezTo>
                      <a:pt x="27615" y="59401"/>
                      <a:pt x="28380" y="59330"/>
                      <a:pt x="29155" y="59330"/>
                    </a:cubicBezTo>
                    <a:cubicBezTo>
                      <a:pt x="32030" y="59330"/>
                      <a:pt x="34946" y="60066"/>
                      <a:pt x="37619" y="61594"/>
                    </a:cubicBezTo>
                    <a:cubicBezTo>
                      <a:pt x="37808" y="61702"/>
                      <a:pt x="37980" y="61827"/>
                      <a:pt x="38161" y="61942"/>
                    </a:cubicBezTo>
                    <a:cubicBezTo>
                      <a:pt x="38912" y="58322"/>
                      <a:pt x="39289" y="54635"/>
                      <a:pt x="39289" y="50939"/>
                    </a:cubicBezTo>
                    <a:cubicBezTo>
                      <a:pt x="39289" y="27328"/>
                      <a:pt x="24090" y="7277"/>
                      <a:pt x="294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1" name="Google Shape;9411;p56"/>
              <p:cNvSpPr/>
              <p:nvPr/>
            </p:nvSpPr>
            <p:spPr>
              <a:xfrm>
                <a:off x="4516050" y="1724875"/>
                <a:ext cx="1010900" cy="1581800"/>
              </a:xfrm>
              <a:custGeom>
                <a:avLst/>
                <a:gdLst/>
                <a:ahLst/>
                <a:cxnLst/>
                <a:rect l="l" t="t" r="r" b="b"/>
                <a:pathLst>
                  <a:path w="40436" h="63272" extrusionOk="0">
                    <a:moveTo>
                      <a:pt x="37823" y="1"/>
                    </a:moveTo>
                    <a:lnTo>
                      <a:pt x="37823" y="1"/>
                    </a:lnTo>
                    <a:cubicBezTo>
                      <a:pt x="15908" y="6831"/>
                      <a:pt x="0" y="27279"/>
                      <a:pt x="0" y="51443"/>
                    </a:cubicBezTo>
                    <a:cubicBezTo>
                      <a:pt x="3" y="55421"/>
                      <a:pt x="444" y="59389"/>
                      <a:pt x="1318" y="63272"/>
                    </a:cubicBezTo>
                    <a:cubicBezTo>
                      <a:pt x="1575" y="63078"/>
                      <a:pt x="1825" y="62880"/>
                      <a:pt x="2093" y="62700"/>
                    </a:cubicBezTo>
                    <a:cubicBezTo>
                      <a:pt x="5004" y="60760"/>
                      <a:pt x="8236" y="59853"/>
                      <a:pt x="11420" y="59853"/>
                    </a:cubicBezTo>
                    <a:cubicBezTo>
                      <a:pt x="11754" y="59853"/>
                      <a:pt x="12085" y="59912"/>
                      <a:pt x="12418" y="59931"/>
                    </a:cubicBezTo>
                    <a:cubicBezTo>
                      <a:pt x="11849" y="57138"/>
                      <a:pt x="11565" y="54293"/>
                      <a:pt x="11565" y="51440"/>
                    </a:cubicBezTo>
                    <a:cubicBezTo>
                      <a:pt x="11565" y="32776"/>
                      <a:pt x="23659" y="16944"/>
                      <a:pt x="40435" y="11325"/>
                    </a:cubicBezTo>
                    <a:cubicBezTo>
                      <a:pt x="38630" y="8592"/>
                      <a:pt x="37671" y="5392"/>
                      <a:pt x="37676" y="2117"/>
                    </a:cubicBezTo>
                    <a:cubicBezTo>
                      <a:pt x="37681" y="1409"/>
                      <a:pt x="37730" y="702"/>
                      <a:pt x="3782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2" name="Google Shape;9412;p56"/>
              <p:cNvSpPr/>
              <p:nvPr/>
            </p:nvSpPr>
            <p:spPr>
              <a:xfrm>
                <a:off x="4977525" y="3800325"/>
                <a:ext cx="1782050" cy="557450"/>
              </a:xfrm>
              <a:custGeom>
                <a:avLst/>
                <a:gdLst/>
                <a:ahLst/>
                <a:cxnLst/>
                <a:rect l="l" t="t" r="r" b="b"/>
                <a:pathLst>
                  <a:path w="71282" h="22298" extrusionOk="0">
                    <a:moveTo>
                      <a:pt x="63561" y="0"/>
                    </a:moveTo>
                    <a:cubicBezTo>
                      <a:pt x="56083" y="6671"/>
                      <a:pt x="46226" y="10731"/>
                      <a:pt x="35414" y="10731"/>
                    </a:cubicBezTo>
                    <a:cubicBezTo>
                      <a:pt x="25098" y="10731"/>
                      <a:pt x="15646" y="7034"/>
                      <a:pt x="8302" y="898"/>
                    </a:cubicBezTo>
                    <a:cubicBezTo>
                      <a:pt x="6892" y="3910"/>
                      <a:pt x="4587" y="6522"/>
                      <a:pt x="1428" y="8290"/>
                    </a:cubicBezTo>
                    <a:cubicBezTo>
                      <a:pt x="962" y="8562"/>
                      <a:pt x="481" y="8778"/>
                      <a:pt x="0" y="9001"/>
                    </a:cubicBezTo>
                    <a:cubicBezTo>
                      <a:pt x="9472" y="17274"/>
                      <a:pt x="21853" y="22297"/>
                      <a:pt x="35414" y="22297"/>
                    </a:cubicBezTo>
                    <a:cubicBezTo>
                      <a:pt x="49193" y="22297"/>
                      <a:pt x="61756" y="17117"/>
                      <a:pt x="71282" y="8609"/>
                    </a:cubicBezTo>
                    <a:cubicBezTo>
                      <a:pt x="67593" y="6654"/>
                      <a:pt x="64981" y="3559"/>
                      <a:pt x="6356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13" name="Google Shape;9413;p56"/>
            <p:cNvGrpSpPr/>
            <p:nvPr/>
          </p:nvGrpSpPr>
          <p:grpSpPr>
            <a:xfrm>
              <a:off x="4334725" y="1355875"/>
              <a:ext cx="3106650" cy="2709650"/>
              <a:chOff x="4334725" y="1355875"/>
              <a:chExt cx="3106650" cy="2709650"/>
            </a:xfrm>
          </p:grpSpPr>
          <p:sp>
            <p:nvSpPr>
              <p:cNvPr id="9414" name="Google Shape;9414;p56"/>
              <p:cNvSpPr/>
              <p:nvPr/>
            </p:nvSpPr>
            <p:spPr>
              <a:xfrm>
                <a:off x="5427950" y="1355875"/>
                <a:ext cx="904575" cy="1665925"/>
              </a:xfrm>
              <a:custGeom>
                <a:avLst/>
                <a:gdLst/>
                <a:ahLst/>
                <a:cxnLst/>
                <a:rect l="l" t="t" r="r" b="b"/>
                <a:pathLst>
                  <a:path w="36183" h="66637" fill="none" extrusionOk="0">
                    <a:moveTo>
                      <a:pt x="25479" y="47040"/>
                    </a:moveTo>
                    <a:cubicBezTo>
                      <a:pt x="22352" y="45966"/>
                      <a:pt x="20318" y="42954"/>
                      <a:pt x="20318" y="39712"/>
                    </a:cubicBezTo>
                    <a:lnTo>
                      <a:pt x="20318" y="39474"/>
                    </a:lnTo>
                    <a:cubicBezTo>
                      <a:pt x="20318" y="36347"/>
                      <a:pt x="22239" y="33578"/>
                      <a:pt x="25000" y="32260"/>
                    </a:cubicBezTo>
                    <a:cubicBezTo>
                      <a:pt x="27831" y="31007"/>
                      <a:pt x="30234" y="28986"/>
                      <a:pt x="31983" y="26475"/>
                    </a:cubicBezTo>
                    <a:cubicBezTo>
                      <a:pt x="34181" y="23321"/>
                      <a:pt x="35240" y="19512"/>
                      <a:pt x="34980" y="15676"/>
                    </a:cubicBezTo>
                    <a:cubicBezTo>
                      <a:pt x="34971" y="15536"/>
                      <a:pt x="34944" y="15398"/>
                      <a:pt x="34931" y="15261"/>
                    </a:cubicBezTo>
                    <a:cubicBezTo>
                      <a:pt x="34134" y="7155"/>
                      <a:pt x="27505" y="636"/>
                      <a:pt x="19357" y="47"/>
                    </a:cubicBezTo>
                    <a:cubicBezTo>
                      <a:pt x="18930" y="18"/>
                      <a:pt x="18513" y="1"/>
                      <a:pt x="18094" y="1"/>
                    </a:cubicBezTo>
                    <a:cubicBezTo>
                      <a:pt x="9517" y="1"/>
                      <a:pt x="2397" y="6439"/>
                      <a:pt x="1347" y="14761"/>
                    </a:cubicBezTo>
                    <a:cubicBezTo>
                      <a:pt x="1254" y="15462"/>
                      <a:pt x="1205" y="16169"/>
                      <a:pt x="1200" y="16875"/>
                    </a:cubicBezTo>
                    <a:cubicBezTo>
                      <a:pt x="1195" y="20149"/>
                      <a:pt x="2154" y="23352"/>
                      <a:pt x="3959" y="26085"/>
                    </a:cubicBezTo>
                    <a:cubicBezTo>
                      <a:pt x="5703" y="28734"/>
                      <a:pt x="8168" y="30872"/>
                      <a:pt x="11057" y="32260"/>
                    </a:cubicBezTo>
                    <a:cubicBezTo>
                      <a:pt x="13944" y="33580"/>
                      <a:pt x="15864" y="36464"/>
                      <a:pt x="15864" y="39714"/>
                    </a:cubicBezTo>
                    <a:cubicBezTo>
                      <a:pt x="15864" y="42954"/>
                      <a:pt x="13829" y="45963"/>
                      <a:pt x="10817" y="47040"/>
                    </a:cubicBezTo>
                    <a:cubicBezTo>
                      <a:pt x="6250" y="48725"/>
                      <a:pt x="2404" y="51975"/>
                      <a:pt x="0" y="56176"/>
                    </a:cubicBezTo>
                    <a:lnTo>
                      <a:pt x="18155" y="66637"/>
                    </a:lnTo>
                    <a:lnTo>
                      <a:pt x="36182" y="56176"/>
                    </a:lnTo>
                    <a:cubicBezTo>
                      <a:pt x="33781" y="51972"/>
                      <a:pt x="29930" y="48723"/>
                      <a:pt x="25479" y="4704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5" name="Google Shape;9415;p56"/>
              <p:cNvSpPr/>
              <p:nvPr/>
            </p:nvSpPr>
            <p:spPr>
              <a:xfrm>
                <a:off x="4334725" y="2760325"/>
                <a:ext cx="1547125" cy="1304775"/>
              </a:xfrm>
              <a:custGeom>
                <a:avLst/>
                <a:gdLst/>
                <a:ahLst/>
                <a:cxnLst/>
                <a:rect l="l" t="t" r="r" b="b"/>
                <a:pathLst>
                  <a:path w="61885" h="52191" fill="none" extrusionOk="0">
                    <a:moveTo>
                      <a:pt x="43727" y="1"/>
                    </a:moveTo>
                    <a:cubicBezTo>
                      <a:pt x="41323" y="4212"/>
                      <a:pt x="40487" y="9019"/>
                      <a:pt x="41208" y="13829"/>
                    </a:cubicBezTo>
                    <a:cubicBezTo>
                      <a:pt x="41804" y="17069"/>
                      <a:pt x="40247" y="20321"/>
                      <a:pt x="37362" y="21878"/>
                    </a:cubicBezTo>
                    <a:lnTo>
                      <a:pt x="37237" y="22004"/>
                    </a:lnTo>
                    <a:cubicBezTo>
                      <a:pt x="35989" y="22712"/>
                      <a:pt x="34579" y="23085"/>
                      <a:pt x="33144" y="23090"/>
                    </a:cubicBezTo>
                    <a:cubicBezTo>
                      <a:pt x="31510" y="23095"/>
                      <a:pt x="29914" y="22587"/>
                      <a:pt x="28582" y="21638"/>
                    </a:cubicBezTo>
                    <a:cubicBezTo>
                      <a:pt x="25950" y="19752"/>
                      <a:pt x="22852" y="18705"/>
                      <a:pt x="19671" y="18513"/>
                    </a:cubicBezTo>
                    <a:cubicBezTo>
                      <a:pt x="19338" y="18494"/>
                      <a:pt x="19007" y="18435"/>
                      <a:pt x="18673" y="18435"/>
                    </a:cubicBezTo>
                    <a:cubicBezTo>
                      <a:pt x="15489" y="18435"/>
                      <a:pt x="12257" y="19345"/>
                      <a:pt x="9348" y="21282"/>
                    </a:cubicBezTo>
                    <a:cubicBezTo>
                      <a:pt x="9078" y="21462"/>
                      <a:pt x="8828" y="21663"/>
                      <a:pt x="8573" y="21856"/>
                    </a:cubicBezTo>
                    <a:cubicBezTo>
                      <a:pt x="2203" y="26681"/>
                      <a:pt x="1" y="35395"/>
                      <a:pt x="3579" y="42679"/>
                    </a:cubicBezTo>
                    <a:cubicBezTo>
                      <a:pt x="6535" y="48755"/>
                      <a:pt x="12519" y="52191"/>
                      <a:pt x="18698" y="52191"/>
                    </a:cubicBezTo>
                    <a:cubicBezTo>
                      <a:pt x="21064" y="52191"/>
                      <a:pt x="23448" y="51656"/>
                      <a:pt x="25712" y="50604"/>
                    </a:cubicBezTo>
                    <a:cubicBezTo>
                      <a:pt x="26193" y="50381"/>
                      <a:pt x="26674" y="50165"/>
                      <a:pt x="27140" y="49893"/>
                    </a:cubicBezTo>
                    <a:cubicBezTo>
                      <a:pt x="30299" y="48122"/>
                      <a:pt x="32604" y="45510"/>
                      <a:pt x="34014" y="42498"/>
                    </a:cubicBezTo>
                    <a:cubicBezTo>
                      <a:pt x="35307" y="39741"/>
                      <a:pt x="35837" y="36690"/>
                      <a:pt x="35552" y="33659"/>
                    </a:cubicBezTo>
                    <a:cubicBezTo>
                      <a:pt x="35312" y="30534"/>
                      <a:pt x="36882" y="27409"/>
                      <a:pt x="39641" y="25852"/>
                    </a:cubicBezTo>
                    <a:cubicBezTo>
                      <a:pt x="40902" y="25114"/>
                      <a:pt x="42282" y="24748"/>
                      <a:pt x="43641" y="24748"/>
                    </a:cubicBezTo>
                    <a:cubicBezTo>
                      <a:pt x="45392" y="24748"/>
                      <a:pt x="47119" y="25356"/>
                      <a:pt x="48534" y="26573"/>
                    </a:cubicBezTo>
                    <a:cubicBezTo>
                      <a:pt x="52382" y="29572"/>
                      <a:pt x="57074" y="31255"/>
                      <a:pt x="61884" y="31255"/>
                    </a:cubicBezTo>
                    <a:lnTo>
                      <a:pt x="61884" y="10461"/>
                    </a:lnTo>
                    <a:lnTo>
                      <a:pt x="61884" y="1046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6" name="Google Shape;9416;p56"/>
              <p:cNvSpPr/>
              <p:nvPr/>
            </p:nvSpPr>
            <p:spPr>
              <a:xfrm>
                <a:off x="5881825" y="2760325"/>
                <a:ext cx="1559550" cy="1305200"/>
              </a:xfrm>
              <a:custGeom>
                <a:avLst/>
                <a:gdLst/>
                <a:ahLst/>
                <a:cxnLst/>
                <a:rect l="l" t="t" r="r" b="b"/>
                <a:pathLst>
                  <a:path w="62382" h="52208" fill="none" extrusionOk="0">
                    <a:moveTo>
                      <a:pt x="51989" y="21025"/>
                    </a:moveTo>
                    <a:cubicBezTo>
                      <a:pt x="51805" y="20912"/>
                      <a:pt x="51636" y="20785"/>
                      <a:pt x="51447" y="20677"/>
                    </a:cubicBezTo>
                    <a:cubicBezTo>
                      <a:pt x="48774" y="19149"/>
                      <a:pt x="45855" y="18413"/>
                      <a:pt x="42981" y="18413"/>
                    </a:cubicBezTo>
                    <a:cubicBezTo>
                      <a:pt x="42208" y="18413"/>
                      <a:pt x="41443" y="18484"/>
                      <a:pt x="40682" y="18589"/>
                    </a:cubicBezTo>
                    <a:cubicBezTo>
                      <a:pt x="38034" y="18957"/>
                      <a:pt x="35488" y="19938"/>
                      <a:pt x="33290" y="21523"/>
                    </a:cubicBezTo>
                    <a:cubicBezTo>
                      <a:pt x="31924" y="22519"/>
                      <a:pt x="30276" y="23056"/>
                      <a:pt x="28586" y="23056"/>
                    </a:cubicBezTo>
                    <a:cubicBezTo>
                      <a:pt x="27107" y="23053"/>
                      <a:pt x="25657" y="22646"/>
                      <a:pt x="24394" y="21876"/>
                    </a:cubicBezTo>
                    <a:cubicBezTo>
                      <a:pt x="21510" y="20319"/>
                      <a:pt x="19952" y="17066"/>
                      <a:pt x="20548" y="13829"/>
                    </a:cubicBezTo>
                    <a:cubicBezTo>
                      <a:pt x="21270" y="9019"/>
                      <a:pt x="20433" y="4212"/>
                      <a:pt x="18030" y="1"/>
                    </a:cubicBezTo>
                    <a:lnTo>
                      <a:pt x="0" y="10461"/>
                    </a:lnTo>
                    <a:lnTo>
                      <a:pt x="0" y="10461"/>
                    </a:lnTo>
                    <a:lnTo>
                      <a:pt x="0" y="31250"/>
                    </a:lnTo>
                    <a:cubicBezTo>
                      <a:pt x="4805" y="31250"/>
                      <a:pt x="9489" y="29570"/>
                      <a:pt x="13220" y="26568"/>
                    </a:cubicBezTo>
                    <a:cubicBezTo>
                      <a:pt x="15719" y="24434"/>
                      <a:pt x="19307" y="24142"/>
                      <a:pt x="22116" y="25849"/>
                    </a:cubicBezTo>
                    <a:lnTo>
                      <a:pt x="22356" y="25965"/>
                    </a:lnTo>
                    <a:cubicBezTo>
                      <a:pt x="25003" y="27532"/>
                      <a:pt x="26560" y="30534"/>
                      <a:pt x="26204" y="33659"/>
                    </a:cubicBezTo>
                    <a:cubicBezTo>
                      <a:pt x="25959" y="36371"/>
                      <a:pt x="26391" y="39091"/>
                      <a:pt x="27389" y="41600"/>
                    </a:cubicBezTo>
                    <a:cubicBezTo>
                      <a:pt x="28807" y="45159"/>
                      <a:pt x="31421" y="48254"/>
                      <a:pt x="35110" y="50209"/>
                    </a:cubicBezTo>
                    <a:cubicBezTo>
                      <a:pt x="35274" y="50295"/>
                      <a:pt x="35412" y="50403"/>
                      <a:pt x="35578" y="50484"/>
                    </a:cubicBezTo>
                    <a:cubicBezTo>
                      <a:pt x="37877" y="51619"/>
                      <a:pt x="40405" y="52208"/>
                      <a:pt x="42968" y="52208"/>
                    </a:cubicBezTo>
                    <a:cubicBezTo>
                      <a:pt x="48435" y="52208"/>
                      <a:pt x="53753" y="49542"/>
                      <a:pt x="56975" y="44840"/>
                    </a:cubicBezTo>
                    <a:cubicBezTo>
                      <a:pt x="62381" y="36727"/>
                      <a:pt x="59960" y="25994"/>
                      <a:pt x="51989" y="21025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417" name="Google Shape;9417;p56"/>
          <p:cNvGrpSpPr/>
          <p:nvPr/>
        </p:nvGrpSpPr>
        <p:grpSpPr>
          <a:xfrm>
            <a:off x="7708956" y="3708534"/>
            <a:ext cx="312074" cy="684173"/>
            <a:chOff x="7645573" y="3754300"/>
            <a:chExt cx="293855" cy="644170"/>
          </a:xfrm>
        </p:grpSpPr>
        <p:sp>
          <p:nvSpPr>
            <p:cNvPr id="9418" name="Google Shape;9418;p56"/>
            <p:cNvSpPr/>
            <p:nvPr/>
          </p:nvSpPr>
          <p:spPr>
            <a:xfrm>
              <a:off x="7645895" y="3855521"/>
              <a:ext cx="293533" cy="164134"/>
            </a:xfrm>
            <a:custGeom>
              <a:avLst/>
              <a:gdLst/>
              <a:ahLst/>
              <a:cxnLst/>
              <a:rect l="l" t="t" r="r" b="b"/>
              <a:pathLst>
                <a:path w="19132" h="10698" extrusionOk="0">
                  <a:moveTo>
                    <a:pt x="1" y="1"/>
                  </a:moveTo>
                  <a:lnTo>
                    <a:pt x="1" y="10698"/>
                  </a:lnTo>
                  <a:lnTo>
                    <a:pt x="19132" y="10698"/>
                  </a:lnTo>
                  <a:lnTo>
                    <a:pt x="191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9" name="Google Shape;9419;p56"/>
            <p:cNvSpPr/>
            <p:nvPr/>
          </p:nvSpPr>
          <p:spPr>
            <a:xfrm>
              <a:off x="7645573" y="3754300"/>
              <a:ext cx="293303" cy="644170"/>
            </a:xfrm>
            <a:custGeom>
              <a:avLst/>
              <a:gdLst/>
              <a:ahLst/>
              <a:cxnLst/>
              <a:rect l="l" t="t" r="r" b="b"/>
              <a:pathLst>
                <a:path w="19117" h="41986" extrusionOk="0">
                  <a:moveTo>
                    <a:pt x="1155" y="1"/>
                  </a:moveTo>
                  <a:cubicBezTo>
                    <a:pt x="516" y="1"/>
                    <a:pt x="1" y="516"/>
                    <a:pt x="1" y="1152"/>
                  </a:cubicBezTo>
                  <a:lnTo>
                    <a:pt x="1" y="35706"/>
                  </a:lnTo>
                  <a:cubicBezTo>
                    <a:pt x="1" y="36344"/>
                    <a:pt x="9559" y="41985"/>
                    <a:pt x="9559" y="41985"/>
                  </a:cubicBezTo>
                  <a:cubicBezTo>
                    <a:pt x="9559" y="41985"/>
                    <a:pt x="19117" y="36344"/>
                    <a:pt x="19117" y="35706"/>
                  </a:cubicBezTo>
                  <a:lnTo>
                    <a:pt x="19117" y="1152"/>
                  </a:lnTo>
                  <a:cubicBezTo>
                    <a:pt x="19117" y="516"/>
                    <a:pt x="18601" y="1"/>
                    <a:pt x="179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20" name="Google Shape;9420;p56"/>
          <p:cNvGrpSpPr/>
          <p:nvPr/>
        </p:nvGrpSpPr>
        <p:grpSpPr>
          <a:xfrm>
            <a:off x="5630944" y="1191441"/>
            <a:ext cx="709011" cy="739359"/>
            <a:chOff x="5830645" y="1256617"/>
            <a:chExt cx="530340" cy="553040"/>
          </a:xfrm>
        </p:grpSpPr>
        <p:grpSp>
          <p:nvGrpSpPr>
            <p:cNvPr id="9421" name="Google Shape;9421;p56"/>
            <p:cNvGrpSpPr/>
            <p:nvPr/>
          </p:nvGrpSpPr>
          <p:grpSpPr>
            <a:xfrm>
              <a:off x="5830645" y="1256617"/>
              <a:ext cx="259743" cy="269909"/>
              <a:chOff x="5830645" y="1256617"/>
              <a:chExt cx="259743" cy="269909"/>
            </a:xfrm>
          </p:grpSpPr>
          <p:sp>
            <p:nvSpPr>
              <p:cNvPr id="9422" name="Google Shape;9422;p56"/>
              <p:cNvSpPr/>
              <p:nvPr/>
            </p:nvSpPr>
            <p:spPr>
              <a:xfrm>
                <a:off x="5830645" y="1294145"/>
                <a:ext cx="259743" cy="232380"/>
              </a:xfrm>
              <a:custGeom>
                <a:avLst/>
                <a:gdLst/>
                <a:ahLst/>
                <a:cxnLst/>
                <a:rect l="l" t="t" r="r" b="b"/>
                <a:pathLst>
                  <a:path w="10195" h="9121" extrusionOk="0">
                    <a:moveTo>
                      <a:pt x="7470" y="1"/>
                    </a:moveTo>
                    <a:cubicBezTo>
                      <a:pt x="7469" y="1"/>
                      <a:pt x="7468" y="1"/>
                      <a:pt x="7467" y="1"/>
                    </a:cubicBezTo>
                    <a:lnTo>
                      <a:pt x="7044" y="1"/>
                    </a:lnTo>
                    <a:cubicBezTo>
                      <a:pt x="7044" y="1075"/>
                      <a:pt x="6172" y="1946"/>
                      <a:pt x="5097" y="1946"/>
                    </a:cubicBezTo>
                    <a:cubicBezTo>
                      <a:pt x="4021" y="1946"/>
                      <a:pt x="3150" y="1075"/>
                      <a:pt x="3150" y="1"/>
                    </a:cubicBezTo>
                    <a:lnTo>
                      <a:pt x="0" y="1"/>
                    </a:lnTo>
                    <a:lnTo>
                      <a:pt x="0" y="6393"/>
                    </a:lnTo>
                    <a:cubicBezTo>
                      <a:pt x="0" y="7900"/>
                      <a:pt x="1220" y="9120"/>
                      <a:pt x="2727" y="9120"/>
                    </a:cubicBezTo>
                    <a:lnTo>
                      <a:pt x="6018" y="9120"/>
                    </a:lnTo>
                    <a:cubicBezTo>
                      <a:pt x="6148" y="6883"/>
                      <a:pt x="7951" y="5095"/>
                      <a:pt x="10194" y="4987"/>
                    </a:cubicBezTo>
                    <a:lnTo>
                      <a:pt x="10194" y="2726"/>
                    </a:lnTo>
                    <a:cubicBezTo>
                      <a:pt x="10194" y="1222"/>
                      <a:pt x="8974" y="1"/>
                      <a:pt x="747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3" name="Google Shape;9423;p56"/>
              <p:cNvSpPr/>
              <p:nvPr/>
            </p:nvSpPr>
            <p:spPr>
              <a:xfrm>
                <a:off x="5922950" y="1256617"/>
                <a:ext cx="75057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6" h="2946" extrusionOk="0">
                    <a:moveTo>
                      <a:pt x="1474" y="1"/>
                    </a:moveTo>
                    <a:cubicBezTo>
                      <a:pt x="661" y="1"/>
                      <a:pt x="1" y="660"/>
                      <a:pt x="1" y="1472"/>
                    </a:cubicBezTo>
                    <a:cubicBezTo>
                      <a:pt x="1" y="2286"/>
                      <a:pt x="661" y="2945"/>
                      <a:pt x="1474" y="2945"/>
                    </a:cubicBezTo>
                    <a:cubicBezTo>
                      <a:pt x="2288" y="2945"/>
                      <a:pt x="2946" y="2286"/>
                      <a:pt x="2946" y="1472"/>
                    </a:cubicBezTo>
                    <a:cubicBezTo>
                      <a:pt x="2946" y="660"/>
                      <a:pt x="2288" y="1"/>
                      <a:pt x="147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24" name="Google Shape;9424;p56"/>
            <p:cNvGrpSpPr/>
            <p:nvPr/>
          </p:nvGrpSpPr>
          <p:grpSpPr>
            <a:xfrm>
              <a:off x="6101293" y="1256617"/>
              <a:ext cx="259692" cy="269909"/>
              <a:chOff x="6101293" y="1256617"/>
              <a:chExt cx="259692" cy="269909"/>
            </a:xfrm>
          </p:grpSpPr>
          <p:sp>
            <p:nvSpPr>
              <p:cNvPr id="9425" name="Google Shape;9425;p56"/>
              <p:cNvSpPr/>
              <p:nvPr/>
            </p:nvSpPr>
            <p:spPr>
              <a:xfrm>
                <a:off x="6101293" y="1294145"/>
                <a:ext cx="259692" cy="232380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1" extrusionOk="0">
                    <a:moveTo>
                      <a:pt x="2726" y="1"/>
                    </a:moveTo>
                    <a:cubicBezTo>
                      <a:pt x="1220" y="1"/>
                      <a:pt x="0" y="1221"/>
                      <a:pt x="0" y="2726"/>
                    </a:cubicBezTo>
                    <a:lnTo>
                      <a:pt x="0" y="4987"/>
                    </a:lnTo>
                    <a:cubicBezTo>
                      <a:pt x="2244" y="5095"/>
                      <a:pt x="4045" y="6883"/>
                      <a:pt x="4177" y="9120"/>
                    </a:cubicBezTo>
                    <a:lnTo>
                      <a:pt x="7467" y="9120"/>
                    </a:lnTo>
                    <a:cubicBezTo>
                      <a:pt x="8973" y="9120"/>
                      <a:pt x="10193" y="7900"/>
                      <a:pt x="10193" y="6393"/>
                    </a:cubicBezTo>
                    <a:lnTo>
                      <a:pt x="10193" y="1"/>
                    </a:lnTo>
                    <a:lnTo>
                      <a:pt x="7043" y="1"/>
                    </a:lnTo>
                    <a:cubicBezTo>
                      <a:pt x="7043" y="1075"/>
                      <a:pt x="6172" y="1946"/>
                      <a:pt x="5097" y="1946"/>
                    </a:cubicBezTo>
                    <a:cubicBezTo>
                      <a:pt x="4021" y="1946"/>
                      <a:pt x="3150" y="1075"/>
                      <a:pt x="315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6" name="Google Shape;9426;p56"/>
              <p:cNvSpPr/>
              <p:nvPr/>
            </p:nvSpPr>
            <p:spPr>
              <a:xfrm>
                <a:off x="6193623" y="1256617"/>
                <a:ext cx="75031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5" h="2946" extrusionOk="0">
                    <a:moveTo>
                      <a:pt x="1473" y="1"/>
                    </a:moveTo>
                    <a:cubicBezTo>
                      <a:pt x="660" y="1"/>
                      <a:pt x="0" y="660"/>
                      <a:pt x="0" y="1472"/>
                    </a:cubicBezTo>
                    <a:cubicBezTo>
                      <a:pt x="0" y="2286"/>
                      <a:pt x="660" y="2945"/>
                      <a:pt x="1473" y="2945"/>
                    </a:cubicBezTo>
                    <a:cubicBezTo>
                      <a:pt x="2285" y="2945"/>
                      <a:pt x="2945" y="2286"/>
                      <a:pt x="2945" y="1472"/>
                    </a:cubicBezTo>
                    <a:cubicBezTo>
                      <a:pt x="2945" y="660"/>
                      <a:pt x="2285" y="1"/>
                      <a:pt x="14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27" name="Google Shape;9427;p56"/>
            <p:cNvGrpSpPr/>
            <p:nvPr/>
          </p:nvGrpSpPr>
          <p:grpSpPr>
            <a:xfrm>
              <a:off x="5830645" y="1539749"/>
              <a:ext cx="259692" cy="269909"/>
              <a:chOff x="5830645" y="1539749"/>
              <a:chExt cx="259692" cy="269909"/>
            </a:xfrm>
          </p:grpSpPr>
          <p:sp>
            <p:nvSpPr>
              <p:cNvPr id="9428" name="Google Shape;9428;p56"/>
              <p:cNvSpPr/>
              <p:nvPr/>
            </p:nvSpPr>
            <p:spPr>
              <a:xfrm>
                <a:off x="5830645" y="1539749"/>
                <a:ext cx="259692" cy="232406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2" extrusionOk="0">
                    <a:moveTo>
                      <a:pt x="2727" y="1"/>
                    </a:moveTo>
                    <a:cubicBezTo>
                      <a:pt x="1220" y="1"/>
                      <a:pt x="0" y="1223"/>
                      <a:pt x="0" y="2728"/>
                    </a:cubicBezTo>
                    <a:lnTo>
                      <a:pt x="0" y="9122"/>
                    </a:lnTo>
                    <a:lnTo>
                      <a:pt x="3150" y="9122"/>
                    </a:lnTo>
                    <a:cubicBezTo>
                      <a:pt x="3150" y="8046"/>
                      <a:pt x="4021" y="7175"/>
                      <a:pt x="5097" y="7175"/>
                    </a:cubicBezTo>
                    <a:cubicBezTo>
                      <a:pt x="6172" y="7175"/>
                      <a:pt x="7044" y="8046"/>
                      <a:pt x="7044" y="9122"/>
                    </a:cubicBezTo>
                    <a:lnTo>
                      <a:pt x="7467" y="9122"/>
                    </a:lnTo>
                    <a:cubicBezTo>
                      <a:pt x="8972" y="9122"/>
                      <a:pt x="10192" y="7900"/>
                      <a:pt x="10192" y="6395"/>
                    </a:cubicBezTo>
                    <a:lnTo>
                      <a:pt x="10192" y="4135"/>
                    </a:lnTo>
                    <a:cubicBezTo>
                      <a:pt x="7951" y="4028"/>
                      <a:pt x="6148" y="2239"/>
                      <a:pt x="601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9" name="Google Shape;9429;p56"/>
              <p:cNvSpPr/>
              <p:nvPr/>
            </p:nvSpPr>
            <p:spPr>
              <a:xfrm>
                <a:off x="5922950" y="1734600"/>
                <a:ext cx="75057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6" h="2946" extrusionOk="0">
                    <a:moveTo>
                      <a:pt x="1474" y="1"/>
                    </a:moveTo>
                    <a:cubicBezTo>
                      <a:pt x="661" y="1"/>
                      <a:pt x="1" y="660"/>
                      <a:pt x="1" y="1474"/>
                    </a:cubicBezTo>
                    <a:cubicBezTo>
                      <a:pt x="1" y="2287"/>
                      <a:pt x="661" y="2946"/>
                      <a:pt x="1474" y="2946"/>
                    </a:cubicBezTo>
                    <a:cubicBezTo>
                      <a:pt x="2288" y="2946"/>
                      <a:pt x="2946" y="2287"/>
                      <a:pt x="2946" y="1474"/>
                    </a:cubicBezTo>
                    <a:cubicBezTo>
                      <a:pt x="2946" y="660"/>
                      <a:pt x="2288" y="1"/>
                      <a:pt x="147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30" name="Google Shape;9430;p56"/>
            <p:cNvGrpSpPr/>
            <p:nvPr/>
          </p:nvGrpSpPr>
          <p:grpSpPr>
            <a:xfrm>
              <a:off x="6101293" y="1539749"/>
              <a:ext cx="259692" cy="269909"/>
              <a:chOff x="6101293" y="1539749"/>
              <a:chExt cx="259692" cy="269909"/>
            </a:xfrm>
          </p:grpSpPr>
          <p:sp>
            <p:nvSpPr>
              <p:cNvPr id="9431" name="Google Shape;9431;p56"/>
              <p:cNvSpPr/>
              <p:nvPr/>
            </p:nvSpPr>
            <p:spPr>
              <a:xfrm>
                <a:off x="6101293" y="1539749"/>
                <a:ext cx="259692" cy="232406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2" extrusionOk="0">
                    <a:moveTo>
                      <a:pt x="4177" y="1"/>
                    </a:moveTo>
                    <a:cubicBezTo>
                      <a:pt x="4045" y="2239"/>
                      <a:pt x="2244" y="4027"/>
                      <a:pt x="0" y="4135"/>
                    </a:cubicBezTo>
                    <a:lnTo>
                      <a:pt x="0" y="6395"/>
                    </a:lnTo>
                    <a:cubicBezTo>
                      <a:pt x="0" y="7902"/>
                      <a:pt x="1220" y="9122"/>
                      <a:pt x="2726" y="9122"/>
                    </a:cubicBezTo>
                    <a:lnTo>
                      <a:pt x="3148" y="9122"/>
                    </a:lnTo>
                    <a:cubicBezTo>
                      <a:pt x="3148" y="8046"/>
                      <a:pt x="4020" y="7175"/>
                      <a:pt x="5096" y="7175"/>
                    </a:cubicBezTo>
                    <a:cubicBezTo>
                      <a:pt x="6170" y="7175"/>
                      <a:pt x="7043" y="8046"/>
                      <a:pt x="7043" y="9122"/>
                    </a:cubicBezTo>
                    <a:lnTo>
                      <a:pt x="10193" y="9122"/>
                    </a:lnTo>
                    <a:lnTo>
                      <a:pt x="10193" y="2728"/>
                    </a:lnTo>
                    <a:cubicBezTo>
                      <a:pt x="10193" y="1223"/>
                      <a:pt x="8973" y="2"/>
                      <a:pt x="74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32" name="Google Shape;9432;p56"/>
              <p:cNvSpPr/>
              <p:nvPr/>
            </p:nvSpPr>
            <p:spPr>
              <a:xfrm>
                <a:off x="6193623" y="1734600"/>
                <a:ext cx="75031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5" h="2946" extrusionOk="0">
                    <a:moveTo>
                      <a:pt x="1473" y="1"/>
                    </a:moveTo>
                    <a:cubicBezTo>
                      <a:pt x="660" y="1"/>
                      <a:pt x="0" y="660"/>
                      <a:pt x="0" y="1474"/>
                    </a:cubicBezTo>
                    <a:cubicBezTo>
                      <a:pt x="0" y="2287"/>
                      <a:pt x="660" y="2946"/>
                      <a:pt x="1473" y="2946"/>
                    </a:cubicBezTo>
                    <a:cubicBezTo>
                      <a:pt x="2285" y="2946"/>
                      <a:pt x="2945" y="2287"/>
                      <a:pt x="2945" y="1474"/>
                    </a:cubicBezTo>
                    <a:cubicBezTo>
                      <a:pt x="2945" y="660"/>
                      <a:pt x="2285" y="1"/>
                      <a:pt x="14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433" name="Google Shape;9433;p56"/>
            <p:cNvSpPr/>
            <p:nvPr/>
          </p:nvSpPr>
          <p:spPr>
            <a:xfrm>
              <a:off x="5999148" y="1436800"/>
              <a:ext cx="192625" cy="192690"/>
            </a:xfrm>
            <a:custGeom>
              <a:avLst/>
              <a:gdLst/>
              <a:ahLst/>
              <a:cxnLst/>
              <a:rect l="l" t="t" r="r" b="b"/>
              <a:pathLst>
                <a:path w="2945" h="2946" extrusionOk="0">
                  <a:moveTo>
                    <a:pt x="1473" y="1"/>
                  </a:moveTo>
                  <a:cubicBezTo>
                    <a:pt x="660" y="1"/>
                    <a:pt x="0" y="660"/>
                    <a:pt x="0" y="1472"/>
                  </a:cubicBezTo>
                  <a:cubicBezTo>
                    <a:pt x="0" y="2286"/>
                    <a:pt x="660" y="2945"/>
                    <a:pt x="1473" y="2945"/>
                  </a:cubicBezTo>
                  <a:cubicBezTo>
                    <a:pt x="2285" y="2945"/>
                    <a:pt x="2945" y="2286"/>
                    <a:pt x="2945" y="1472"/>
                  </a:cubicBezTo>
                  <a:cubicBezTo>
                    <a:pt x="2945" y="660"/>
                    <a:pt x="2285" y="1"/>
                    <a:pt x="14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34" name="Google Shape;9434;p56"/>
          <p:cNvGrpSpPr/>
          <p:nvPr/>
        </p:nvGrpSpPr>
        <p:grpSpPr>
          <a:xfrm>
            <a:off x="732438" y="2927557"/>
            <a:ext cx="1452955" cy="621360"/>
            <a:chOff x="732422" y="2990152"/>
            <a:chExt cx="1337773" cy="572102"/>
          </a:xfrm>
        </p:grpSpPr>
        <p:sp>
          <p:nvSpPr>
            <p:cNvPr id="9435" name="Google Shape;9435;p56"/>
            <p:cNvSpPr/>
            <p:nvPr/>
          </p:nvSpPr>
          <p:spPr>
            <a:xfrm>
              <a:off x="923705" y="3182595"/>
              <a:ext cx="380762" cy="379464"/>
            </a:xfrm>
            <a:custGeom>
              <a:avLst/>
              <a:gdLst/>
              <a:ahLst/>
              <a:cxnLst/>
              <a:rect l="l" t="t" r="r" b="b"/>
              <a:pathLst>
                <a:path w="33153" h="33040" extrusionOk="0">
                  <a:moveTo>
                    <a:pt x="16576" y="1"/>
                  </a:moveTo>
                  <a:cubicBezTo>
                    <a:pt x="16428" y="1"/>
                    <a:pt x="16280" y="57"/>
                    <a:pt x="16167" y="170"/>
                  </a:cubicBezTo>
                  <a:lnTo>
                    <a:pt x="9658" y="6680"/>
                  </a:lnTo>
                  <a:cubicBezTo>
                    <a:pt x="9434" y="6906"/>
                    <a:pt x="9434" y="7272"/>
                    <a:pt x="9658" y="7495"/>
                  </a:cubicBezTo>
                  <a:lnTo>
                    <a:pt x="9729" y="7566"/>
                  </a:lnTo>
                  <a:cubicBezTo>
                    <a:pt x="9955" y="7789"/>
                    <a:pt x="10395" y="8000"/>
                    <a:pt x="10712" y="8032"/>
                  </a:cubicBezTo>
                  <a:cubicBezTo>
                    <a:pt x="10712" y="8032"/>
                    <a:pt x="11595" y="8116"/>
                    <a:pt x="12145" y="8663"/>
                  </a:cubicBezTo>
                  <a:cubicBezTo>
                    <a:pt x="13090" y="9608"/>
                    <a:pt x="13090" y="11141"/>
                    <a:pt x="12142" y="12089"/>
                  </a:cubicBezTo>
                  <a:cubicBezTo>
                    <a:pt x="11670" y="12562"/>
                    <a:pt x="11050" y="12798"/>
                    <a:pt x="10431" y="12798"/>
                  </a:cubicBezTo>
                  <a:cubicBezTo>
                    <a:pt x="9811" y="12798"/>
                    <a:pt x="9192" y="12562"/>
                    <a:pt x="8719" y="12089"/>
                  </a:cubicBezTo>
                  <a:cubicBezTo>
                    <a:pt x="8173" y="11539"/>
                    <a:pt x="8085" y="10656"/>
                    <a:pt x="8085" y="10656"/>
                  </a:cubicBezTo>
                  <a:cubicBezTo>
                    <a:pt x="8053" y="10339"/>
                    <a:pt x="7846" y="9899"/>
                    <a:pt x="7623" y="9672"/>
                  </a:cubicBezTo>
                  <a:lnTo>
                    <a:pt x="7551" y="9604"/>
                  </a:lnTo>
                  <a:cubicBezTo>
                    <a:pt x="7438" y="9491"/>
                    <a:pt x="7290" y="9435"/>
                    <a:pt x="7143" y="9435"/>
                  </a:cubicBezTo>
                  <a:cubicBezTo>
                    <a:pt x="6995" y="9435"/>
                    <a:pt x="6848" y="9491"/>
                    <a:pt x="6736" y="9604"/>
                  </a:cubicBezTo>
                  <a:lnTo>
                    <a:pt x="223" y="16111"/>
                  </a:lnTo>
                  <a:cubicBezTo>
                    <a:pt x="0" y="16337"/>
                    <a:pt x="0" y="16703"/>
                    <a:pt x="223" y="16929"/>
                  </a:cubicBezTo>
                  <a:lnTo>
                    <a:pt x="6733" y="23439"/>
                  </a:lnTo>
                  <a:cubicBezTo>
                    <a:pt x="6846" y="23550"/>
                    <a:pt x="6994" y="23606"/>
                    <a:pt x="7142" y="23606"/>
                  </a:cubicBezTo>
                  <a:cubicBezTo>
                    <a:pt x="7290" y="23606"/>
                    <a:pt x="7438" y="23550"/>
                    <a:pt x="7551" y="23439"/>
                  </a:cubicBezTo>
                  <a:lnTo>
                    <a:pt x="7623" y="23364"/>
                  </a:lnTo>
                  <a:cubicBezTo>
                    <a:pt x="7849" y="23141"/>
                    <a:pt x="8056" y="22698"/>
                    <a:pt x="8088" y="22381"/>
                  </a:cubicBezTo>
                  <a:cubicBezTo>
                    <a:pt x="8088" y="22381"/>
                    <a:pt x="8173" y="21497"/>
                    <a:pt x="8719" y="20951"/>
                  </a:cubicBezTo>
                  <a:cubicBezTo>
                    <a:pt x="9194" y="20469"/>
                    <a:pt x="9820" y="20228"/>
                    <a:pt x="10446" y="20228"/>
                  </a:cubicBezTo>
                  <a:cubicBezTo>
                    <a:pt x="11066" y="20228"/>
                    <a:pt x="11685" y="20465"/>
                    <a:pt x="12158" y="20938"/>
                  </a:cubicBezTo>
                  <a:cubicBezTo>
                    <a:pt x="13110" y="21889"/>
                    <a:pt x="13103" y="23432"/>
                    <a:pt x="12145" y="24374"/>
                  </a:cubicBezTo>
                  <a:cubicBezTo>
                    <a:pt x="11599" y="24924"/>
                    <a:pt x="10715" y="25008"/>
                    <a:pt x="10715" y="25008"/>
                  </a:cubicBezTo>
                  <a:cubicBezTo>
                    <a:pt x="10398" y="25040"/>
                    <a:pt x="9955" y="25250"/>
                    <a:pt x="9732" y="25474"/>
                  </a:cubicBezTo>
                  <a:lnTo>
                    <a:pt x="9658" y="25545"/>
                  </a:lnTo>
                  <a:cubicBezTo>
                    <a:pt x="9434" y="25771"/>
                    <a:pt x="9434" y="26137"/>
                    <a:pt x="9658" y="26363"/>
                  </a:cubicBezTo>
                  <a:lnTo>
                    <a:pt x="16167" y="32869"/>
                  </a:lnTo>
                  <a:cubicBezTo>
                    <a:pt x="16280" y="32983"/>
                    <a:pt x="16428" y="33039"/>
                    <a:pt x="16576" y="33039"/>
                  </a:cubicBezTo>
                  <a:cubicBezTo>
                    <a:pt x="16724" y="33039"/>
                    <a:pt x="16872" y="32983"/>
                    <a:pt x="16985" y="32869"/>
                  </a:cubicBezTo>
                  <a:lnTo>
                    <a:pt x="23492" y="26363"/>
                  </a:lnTo>
                  <a:cubicBezTo>
                    <a:pt x="23605" y="26252"/>
                    <a:pt x="23753" y="26196"/>
                    <a:pt x="23901" y="26196"/>
                  </a:cubicBezTo>
                  <a:cubicBezTo>
                    <a:pt x="24049" y="26196"/>
                    <a:pt x="24197" y="26252"/>
                    <a:pt x="24310" y="26363"/>
                  </a:cubicBezTo>
                  <a:lnTo>
                    <a:pt x="24313" y="26370"/>
                  </a:lnTo>
                  <a:cubicBezTo>
                    <a:pt x="24540" y="26593"/>
                    <a:pt x="24750" y="27036"/>
                    <a:pt x="24779" y="27353"/>
                  </a:cubicBezTo>
                  <a:cubicBezTo>
                    <a:pt x="24779" y="27353"/>
                    <a:pt x="24867" y="28237"/>
                    <a:pt x="25413" y="28783"/>
                  </a:cubicBezTo>
                  <a:cubicBezTo>
                    <a:pt x="25888" y="29265"/>
                    <a:pt x="26514" y="29506"/>
                    <a:pt x="27140" y="29506"/>
                  </a:cubicBezTo>
                  <a:cubicBezTo>
                    <a:pt x="27759" y="29506"/>
                    <a:pt x="28378" y="29269"/>
                    <a:pt x="28849" y="28796"/>
                  </a:cubicBezTo>
                  <a:cubicBezTo>
                    <a:pt x="29800" y="27845"/>
                    <a:pt x="29797" y="26302"/>
                    <a:pt x="28840" y="25357"/>
                  </a:cubicBezTo>
                  <a:cubicBezTo>
                    <a:pt x="28290" y="24810"/>
                    <a:pt x="27406" y="24726"/>
                    <a:pt x="27406" y="24726"/>
                  </a:cubicBezTo>
                  <a:cubicBezTo>
                    <a:pt x="27089" y="24694"/>
                    <a:pt x="26646" y="24487"/>
                    <a:pt x="26423" y="24260"/>
                  </a:cubicBezTo>
                  <a:lnTo>
                    <a:pt x="26420" y="24257"/>
                  </a:lnTo>
                  <a:cubicBezTo>
                    <a:pt x="26193" y="24031"/>
                    <a:pt x="26193" y="23665"/>
                    <a:pt x="26420" y="23439"/>
                  </a:cubicBezTo>
                  <a:lnTo>
                    <a:pt x="32926" y="16929"/>
                  </a:lnTo>
                  <a:cubicBezTo>
                    <a:pt x="33152" y="16703"/>
                    <a:pt x="33152" y="16337"/>
                    <a:pt x="32926" y="16111"/>
                  </a:cubicBezTo>
                  <a:lnTo>
                    <a:pt x="26420" y="9604"/>
                  </a:lnTo>
                  <a:cubicBezTo>
                    <a:pt x="26193" y="9378"/>
                    <a:pt x="26193" y="9012"/>
                    <a:pt x="26420" y="8786"/>
                  </a:cubicBezTo>
                  <a:lnTo>
                    <a:pt x="26533" y="8669"/>
                  </a:lnTo>
                  <a:cubicBezTo>
                    <a:pt x="26759" y="8446"/>
                    <a:pt x="27202" y="8236"/>
                    <a:pt x="27516" y="8207"/>
                  </a:cubicBezTo>
                  <a:cubicBezTo>
                    <a:pt x="27516" y="8207"/>
                    <a:pt x="28403" y="8119"/>
                    <a:pt x="28950" y="7573"/>
                  </a:cubicBezTo>
                  <a:cubicBezTo>
                    <a:pt x="29894" y="6628"/>
                    <a:pt x="29894" y="5094"/>
                    <a:pt x="28950" y="4147"/>
                  </a:cubicBezTo>
                  <a:cubicBezTo>
                    <a:pt x="28477" y="3674"/>
                    <a:pt x="27858" y="3438"/>
                    <a:pt x="27238" y="3438"/>
                  </a:cubicBezTo>
                  <a:cubicBezTo>
                    <a:pt x="26618" y="3438"/>
                    <a:pt x="25997" y="3674"/>
                    <a:pt x="25523" y="4147"/>
                  </a:cubicBezTo>
                  <a:cubicBezTo>
                    <a:pt x="24977" y="4697"/>
                    <a:pt x="24892" y="5580"/>
                    <a:pt x="24892" y="5580"/>
                  </a:cubicBezTo>
                  <a:cubicBezTo>
                    <a:pt x="24860" y="5894"/>
                    <a:pt x="24650" y="6337"/>
                    <a:pt x="24427" y="6563"/>
                  </a:cubicBezTo>
                  <a:lnTo>
                    <a:pt x="24310" y="6680"/>
                  </a:lnTo>
                  <a:cubicBezTo>
                    <a:pt x="24197" y="6791"/>
                    <a:pt x="24049" y="6847"/>
                    <a:pt x="23901" y="6847"/>
                  </a:cubicBezTo>
                  <a:cubicBezTo>
                    <a:pt x="23753" y="6847"/>
                    <a:pt x="23605" y="6791"/>
                    <a:pt x="23492" y="6680"/>
                  </a:cubicBezTo>
                  <a:lnTo>
                    <a:pt x="16985" y="170"/>
                  </a:lnTo>
                  <a:cubicBezTo>
                    <a:pt x="16872" y="57"/>
                    <a:pt x="16724" y="1"/>
                    <a:pt x="165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6DB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6" name="Google Shape;9436;p56"/>
            <p:cNvSpPr/>
            <p:nvPr/>
          </p:nvSpPr>
          <p:spPr>
            <a:xfrm>
              <a:off x="1309210" y="3183709"/>
              <a:ext cx="378534" cy="377248"/>
            </a:xfrm>
            <a:custGeom>
              <a:avLst/>
              <a:gdLst/>
              <a:ahLst/>
              <a:cxnLst/>
              <a:rect l="l" t="t" r="r" b="b"/>
              <a:pathLst>
                <a:path w="32959" h="32847" extrusionOk="0">
                  <a:moveTo>
                    <a:pt x="16480" y="1"/>
                  </a:moveTo>
                  <a:cubicBezTo>
                    <a:pt x="16334" y="1"/>
                    <a:pt x="16186" y="57"/>
                    <a:pt x="16073" y="170"/>
                  </a:cubicBezTo>
                  <a:lnTo>
                    <a:pt x="9603" y="6641"/>
                  </a:lnTo>
                  <a:cubicBezTo>
                    <a:pt x="9491" y="6753"/>
                    <a:pt x="9345" y="6808"/>
                    <a:pt x="9198" y="6808"/>
                  </a:cubicBezTo>
                  <a:cubicBezTo>
                    <a:pt x="9051" y="6808"/>
                    <a:pt x="8904" y="6753"/>
                    <a:pt x="8791" y="6641"/>
                  </a:cubicBezTo>
                  <a:lnTo>
                    <a:pt x="8677" y="6525"/>
                  </a:lnTo>
                  <a:cubicBezTo>
                    <a:pt x="8454" y="6301"/>
                    <a:pt x="8244" y="5861"/>
                    <a:pt x="8215" y="5547"/>
                  </a:cubicBezTo>
                  <a:cubicBezTo>
                    <a:pt x="8215" y="5547"/>
                    <a:pt x="8127" y="4667"/>
                    <a:pt x="7584" y="4124"/>
                  </a:cubicBezTo>
                  <a:cubicBezTo>
                    <a:pt x="7113" y="3653"/>
                    <a:pt x="6497" y="3418"/>
                    <a:pt x="5880" y="3418"/>
                  </a:cubicBezTo>
                  <a:cubicBezTo>
                    <a:pt x="5264" y="3418"/>
                    <a:pt x="4648" y="3653"/>
                    <a:pt x="4177" y="4124"/>
                  </a:cubicBezTo>
                  <a:cubicBezTo>
                    <a:pt x="3236" y="5065"/>
                    <a:pt x="3236" y="6589"/>
                    <a:pt x="4177" y="7531"/>
                  </a:cubicBezTo>
                  <a:cubicBezTo>
                    <a:pt x="4721" y="8074"/>
                    <a:pt x="5601" y="8158"/>
                    <a:pt x="5601" y="8158"/>
                  </a:cubicBezTo>
                  <a:cubicBezTo>
                    <a:pt x="5914" y="8191"/>
                    <a:pt x="6354" y="8398"/>
                    <a:pt x="6578" y="8621"/>
                  </a:cubicBezTo>
                  <a:lnTo>
                    <a:pt x="6694" y="8737"/>
                  </a:lnTo>
                  <a:cubicBezTo>
                    <a:pt x="6917" y="8961"/>
                    <a:pt x="6917" y="9323"/>
                    <a:pt x="6694" y="9550"/>
                  </a:cubicBezTo>
                  <a:lnTo>
                    <a:pt x="223" y="16020"/>
                  </a:lnTo>
                  <a:cubicBezTo>
                    <a:pt x="0" y="16243"/>
                    <a:pt x="0" y="16606"/>
                    <a:pt x="223" y="16832"/>
                  </a:cubicBezTo>
                  <a:lnTo>
                    <a:pt x="6694" y="23300"/>
                  </a:lnTo>
                  <a:cubicBezTo>
                    <a:pt x="6807" y="23411"/>
                    <a:pt x="6954" y="23467"/>
                    <a:pt x="7102" y="23467"/>
                  </a:cubicBezTo>
                  <a:cubicBezTo>
                    <a:pt x="7249" y="23467"/>
                    <a:pt x="7396" y="23411"/>
                    <a:pt x="7509" y="23300"/>
                  </a:cubicBezTo>
                  <a:lnTo>
                    <a:pt x="7577" y="23232"/>
                  </a:lnTo>
                  <a:cubicBezTo>
                    <a:pt x="7801" y="23008"/>
                    <a:pt x="8008" y="22568"/>
                    <a:pt x="8040" y="22255"/>
                  </a:cubicBezTo>
                  <a:cubicBezTo>
                    <a:pt x="8040" y="22255"/>
                    <a:pt x="8124" y="21375"/>
                    <a:pt x="8668" y="20831"/>
                  </a:cubicBezTo>
                  <a:cubicBezTo>
                    <a:pt x="9138" y="20360"/>
                    <a:pt x="9755" y="20125"/>
                    <a:pt x="10371" y="20125"/>
                  </a:cubicBezTo>
                  <a:cubicBezTo>
                    <a:pt x="10987" y="20125"/>
                    <a:pt x="11604" y="20360"/>
                    <a:pt x="12074" y="20831"/>
                  </a:cubicBezTo>
                  <a:cubicBezTo>
                    <a:pt x="13013" y="21769"/>
                    <a:pt x="13013" y="23296"/>
                    <a:pt x="12074" y="24235"/>
                  </a:cubicBezTo>
                  <a:cubicBezTo>
                    <a:pt x="11528" y="24781"/>
                    <a:pt x="10651" y="24865"/>
                    <a:pt x="10651" y="24865"/>
                  </a:cubicBezTo>
                  <a:cubicBezTo>
                    <a:pt x="10337" y="24895"/>
                    <a:pt x="9897" y="25105"/>
                    <a:pt x="9674" y="25328"/>
                  </a:cubicBezTo>
                  <a:lnTo>
                    <a:pt x="9603" y="25396"/>
                  </a:lnTo>
                  <a:cubicBezTo>
                    <a:pt x="9379" y="25619"/>
                    <a:pt x="9379" y="25985"/>
                    <a:pt x="9603" y="26208"/>
                  </a:cubicBezTo>
                  <a:lnTo>
                    <a:pt x="16073" y="32679"/>
                  </a:lnTo>
                  <a:cubicBezTo>
                    <a:pt x="16186" y="32790"/>
                    <a:pt x="16334" y="32846"/>
                    <a:pt x="16480" y="32846"/>
                  </a:cubicBezTo>
                  <a:cubicBezTo>
                    <a:pt x="16627" y="32846"/>
                    <a:pt x="16774" y="32790"/>
                    <a:pt x="16885" y="32679"/>
                  </a:cubicBezTo>
                  <a:lnTo>
                    <a:pt x="23356" y="26208"/>
                  </a:lnTo>
                  <a:cubicBezTo>
                    <a:pt x="23582" y="25985"/>
                    <a:pt x="23582" y="25619"/>
                    <a:pt x="23356" y="25396"/>
                  </a:cubicBezTo>
                  <a:lnTo>
                    <a:pt x="23285" y="25325"/>
                  </a:lnTo>
                  <a:cubicBezTo>
                    <a:pt x="23061" y="25102"/>
                    <a:pt x="22621" y="24895"/>
                    <a:pt x="22308" y="24862"/>
                  </a:cubicBezTo>
                  <a:cubicBezTo>
                    <a:pt x="22308" y="24862"/>
                    <a:pt x="21428" y="24778"/>
                    <a:pt x="20884" y="24235"/>
                  </a:cubicBezTo>
                  <a:cubicBezTo>
                    <a:pt x="19962" y="23290"/>
                    <a:pt x="19972" y="21779"/>
                    <a:pt x="20903" y="20847"/>
                  </a:cubicBezTo>
                  <a:cubicBezTo>
                    <a:pt x="21375" y="20378"/>
                    <a:pt x="21991" y="20142"/>
                    <a:pt x="22608" y="20142"/>
                  </a:cubicBezTo>
                  <a:cubicBezTo>
                    <a:pt x="23215" y="20142"/>
                    <a:pt x="23822" y="20370"/>
                    <a:pt x="24291" y="20828"/>
                  </a:cubicBezTo>
                  <a:cubicBezTo>
                    <a:pt x="24834" y="21371"/>
                    <a:pt x="24918" y="22251"/>
                    <a:pt x="24918" y="22251"/>
                  </a:cubicBezTo>
                  <a:cubicBezTo>
                    <a:pt x="24951" y="22565"/>
                    <a:pt x="25158" y="23005"/>
                    <a:pt x="25381" y="23228"/>
                  </a:cubicBezTo>
                  <a:lnTo>
                    <a:pt x="25452" y="23300"/>
                  </a:lnTo>
                  <a:cubicBezTo>
                    <a:pt x="25565" y="23411"/>
                    <a:pt x="25713" y="23467"/>
                    <a:pt x="25859" y="23467"/>
                  </a:cubicBezTo>
                  <a:cubicBezTo>
                    <a:pt x="26006" y="23467"/>
                    <a:pt x="26153" y="23411"/>
                    <a:pt x="26264" y="23300"/>
                  </a:cubicBezTo>
                  <a:lnTo>
                    <a:pt x="32735" y="16829"/>
                  </a:lnTo>
                  <a:cubicBezTo>
                    <a:pt x="32958" y="16606"/>
                    <a:pt x="32958" y="16243"/>
                    <a:pt x="32735" y="16017"/>
                  </a:cubicBezTo>
                  <a:lnTo>
                    <a:pt x="26264" y="9546"/>
                  </a:lnTo>
                  <a:cubicBezTo>
                    <a:pt x="26041" y="9323"/>
                    <a:pt x="26041" y="8961"/>
                    <a:pt x="26264" y="8734"/>
                  </a:cubicBezTo>
                  <a:lnTo>
                    <a:pt x="26271" y="8731"/>
                  </a:lnTo>
                  <a:cubicBezTo>
                    <a:pt x="26494" y="8508"/>
                    <a:pt x="26934" y="8301"/>
                    <a:pt x="27248" y="8268"/>
                  </a:cubicBezTo>
                  <a:cubicBezTo>
                    <a:pt x="27248" y="8268"/>
                    <a:pt x="28125" y="8184"/>
                    <a:pt x="28671" y="7641"/>
                  </a:cubicBezTo>
                  <a:cubicBezTo>
                    <a:pt x="29593" y="6696"/>
                    <a:pt x="29584" y="5185"/>
                    <a:pt x="28652" y="4253"/>
                  </a:cubicBezTo>
                  <a:cubicBezTo>
                    <a:pt x="28181" y="3784"/>
                    <a:pt x="27564" y="3548"/>
                    <a:pt x="26947" y="3548"/>
                  </a:cubicBezTo>
                  <a:cubicBezTo>
                    <a:pt x="26340" y="3548"/>
                    <a:pt x="25733" y="3777"/>
                    <a:pt x="25265" y="4234"/>
                  </a:cubicBezTo>
                  <a:cubicBezTo>
                    <a:pt x="24721" y="4777"/>
                    <a:pt x="24637" y="5657"/>
                    <a:pt x="24637" y="5657"/>
                  </a:cubicBezTo>
                  <a:cubicBezTo>
                    <a:pt x="24605" y="5971"/>
                    <a:pt x="24398" y="6411"/>
                    <a:pt x="24174" y="6635"/>
                  </a:cubicBezTo>
                  <a:lnTo>
                    <a:pt x="24168" y="6641"/>
                  </a:lnTo>
                  <a:cubicBezTo>
                    <a:pt x="24056" y="6753"/>
                    <a:pt x="23910" y="6808"/>
                    <a:pt x="23763" y="6808"/>
                  </a:cubicBezTo>
                  <a:cubicBezTo>
                    <a:pt x="23616" y="6808"/>
                    <a:pt x="23469" y="6753"/>
                    <a:pt x="23356" y="6641"/>
                  </a:cubicBezTo>
                  <a:lnTo>
                    <a:pt x="16885" y="170"/>
                  </a:lnTo>
                  <a:cubicBezTo>
                    <a:pt x="16774" y="57"/>
                    <a:pt x="16627" y="1"/>
                    <a:pt x="164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7" name="Google Shape;9437;p56"/>
            <p:cNvSpPr/>
            <p:nvPr/>
          </p:nvSpPr>
          <p:spPr>
            <a:xfrm>
              <a:off x="732422" y="2990152"/>
              <a:ext cx="380716" cy="379441"/>
            </a:xfrm>
            <a:custGeom>
              <a:avLst/>
              <a:gdLst/>
              <a:ahLst/>
              <a:cxnLst/>
              <a:rect l="l" t="t" r="r" b="b"/>
              <a:pathLst>
                <a:path w="33149" h="33038" extrusionOk="0">
                  <a:moveTo>
                    <a:pt x="16573" y="0"/>
                  </a:moveTo>
                  <a:cubicBezTo>
                    <a:pt x="16426" y="0"/>
                    <a:pt x="16278" y="56"/>
                    <a:pt x="16167" y="168"/>
                  </a:cubicBezTo>
                  <a:lnTo>
                    <a:pt x="9657" y="6677"/>
                  </a:lnTo>
                  <a:cubicBezTo>
                    <a:pt x="9431" y="6903"/>
                    <a:pt x="9431" y="7269"/>
                    <a:pt x="9657" y="7492"/>
                  </a:cubicBezTo>
                  <a:lnTo>
                    <a:pt x="9725" y="7563"/>
                  </a:lnTo>
                  <a:cubicBezTo>
                    <a:pt x="9952" y="7787"/>
                    <a:pt x="10395" y="7997"/>
                    <a:pt x="10709" y="8026"/>
                  </a:cubicBezTo>
                  <a:cubicBezTo>
                    <a:pt x="10709" y="8026"/>
                    <a:pt x="11592" y="8113"/>
                    <a:pt x="12142" y="8660"/>
                  </a:cubicBezTo>
                  <a:cubicBezTo>
                    <a:pt x="13087" y="9605"/>
                    <a:pt x="13087" y="11142"/>
                    <a:pt x="12142" y="12086"/>
                  </a:cubicBezTo>
                  <a:cubicBezTo>
                    <a:pt x="11669" y="12561"/>
                    <a:pt x="11049" y="12798"/>
                    <a:pt x="10429" y="12798"/>
                  </a:cubicBezTo>
                  <a:cubicBezTo>
                    <a:pt x="9809" y="12798"/>
                    <a:pt x="9189" y="12562"/>
                    <a:pt x="8716" y="12090"/>
                  </a:cubicBezTo>
                  <a:cubicBezTo>
                    <a:pt x="8169" y="11540"/>
                    <a:pt x="8082" y="10656"/>
                    <a:pt x="8082" y="10656"/>
                  </a:cubicBezTo>
                  <a:cubicBezTo>
                    <a:pt x="8053" y="10339"/>
                    <a:pt x="7842" y="9899"/>
                    <a:pt x="7619" y="9673"/>
                  </a:cubicBezTo>
                  <a:lnTo>
                    <a:pt x="7548" y="9605"/>
                  </a:lnTo>
                  <a:cubicBezTo>
                    <a:pt x="7435" y="9492"/>
                    <a:pt x="7287" y="9435"/>
                    <a:pt x="7140" y="9435"/>
                  </a:cubicBezTo>
                  <a:cubicBezTo>
                    <a:pt x="6993" y="9435"/>
                    <a:pt x="6846" y="9492"/>
                    <a:pt x="6733" y="9605"/>
                  </a:cubicBezTo>
                  <a:lnTo>
                    <a:pt x="223" y="16111"/>
                  </a:lnTo>
                  <a:cubicBezTo>
                    <a:pt x="0" y="16338"/>
                    <a:pt x="0" y="16700"/>
                    <a:pt x="223" y="16926"/>
                  </a:cubicBezTo>
                  <a:lnTo>
                    <a:pt x="6733" y="23436"/>
                  </a:lnTo>
                  <a:cubicBezTo>
                    <a:pt x="6956" y="23662"/>
                    <a:pt x="6956" y="24028"/>
                    <a:pt x="6733" y="24254"/>
                  </a:cubicBezTo>
                  <a:lnTo>
                    <a:pt x="6616" y="24368"/>
                  </a:lnTo>
                  <a:cubicBezTo>
                    <a:pt x="6390" y="24594"/>
                    <a:pt x="5950" y="24804"/>
                    <a:pt x="5633" y="24833"/>
                  </a:cubicBezTo>
                  <a:cubicBezTo>
                    <a:pt x="5633" y="24833"/>
                    <a:pt x="4749" y="24921"/>
                    <a:pt x="4199" y="25468"/>
                  </a:cubicBezTo>
                  <a:cubicBezTo>
                    <a:pt x="3255" y="26412"/>
                    <a:pt x="3255" y="27946"/>
                    <a:pt x="4199" y="28890"/>
                  </a:cubicBezTo>
                  <a:cubicBezTo>
                    <a:pt x="4673" y="29364"/>
                    <a:pt x="5294" y="29601"/>
                    <a:pt x="5914" y="29601"/>
                  </a:cubicBezTo>
                  <a:cubicBezTo>
                    <a:pt x="6534" y="29601"/>
                    <a:pt x="7153" y="29364"/>
                    <a:pt x="7626" y="28890"/>
                  </a:cubicBezTo>
                  <a:cubicBezTo>
                    <a:pt x="8172" y="28344"/>
                    <a:pt x="8260" y="27460"/>
                    <a:pt x="8260" y="27460"/>
                  </a:cubicBezTo>
                  <a:cubicBezTo>
                    <a:pt x="8289" y="27143"/>
                    <a:pt x="8499" y="26700"/>
                    <a:pt x="8726" y="26477"/>
                  </a:cubicBezTo>
                  <a:lnTo>
                    <a:pt x="8839" y="26360"/>
                  </a:lnTo>
                  <a:cubicBezTo>
                    <a:pt x="8952" y="26249"/>
                    <a:pt x="9100" y="26193"/>
                    <a:pt x="9248" y="26193"/>
                  </a:cubicBezTo>
                  <a:cubicBezTo>
                    <a:pt x="9396" y="26193"/>
                    <a:pt x="9544" y="26249"/>
                    <a:pt x="9657" y="26360"/>
                  </a:cubicBezTo>
                  <a:lnTo>
                    <a:pt x="16167" y="32870"/>
                  </a:lnTo>
                  <a:cubicBezTo>
                    <a:pt x="16278" y="32982"/>
                    <a:pt x="16426" y="33037"/>
                    <a:pt x="16573" y="33037"/>
                  </a:cubicBezTo>
                  <a:cubicBezTo>
                    <a:pt x="16721" y="33037"/>
                    <a:pt x="16869" y="32982"/>
                    <a:pt x="16982" y="32870"/>
                  </a:cubicBezTo>
                  <a:lnTo>
                    <a:pt x="23491" y="26360"/>
                  </a:lnTo>
                  <a:cubicBezTo>
                    <a:pt x="23605" y="26247"/>
                    <a:pt x="23752" y="26191"/>
                    <a:pt x="23899" y="26191"/>
                  </a:cubicBezTo>
                  <a:cubicBezTo>
                    <a:pt x="24046" y="26191"/>
                    <a:pt x="24193" y="26247"/>
                    <a:pt x="24307" y="26360"/>
                  </a:cubicBezTo>
                  <a:lnTo>
                    <a:pt x="24313" y="26364"/>
                  </a:lnTo>
                  <a:cubicBezTo>
                    <a:pt x="24536" y="26590"/>
                    <a:pt x="24747" y="27033"/>
                    <a:pt x="24776" y="27350"/>
                  </a:cubicBezTo>
                  <a:cubicBezTo>
                    <a:pt x="24776" y="27350"/>
                    <a:pt x="24863" y="28234"/>
                    <a:pt x="25410" y="28780"/>
                  </a:cubicBezTo>
                  <a:cubicBezTo>
                    <a:pt x="25885" y="29262"/>
                    <a:pt x="26511" y="29503"/>
                    <a:pt x="27137" y="29503"/>
                  </a:cubicBezTo>
                  <a:cubicBezTo>
                    <a:pt x="27756" y="29503"/>
                    <a:pt x="28376" y="29267"/>
                    <a:pt x="28849" y="28793"/>
                  </a:cubicBezTo>
                  <a:cubicBezTo>
                    <a:pt x="29800" y="27842"/>
                    <a:pt x="29794" y="26299"/>
                    <a:pt x="28836" y="25354"/>
                  </a:cubicBezTo>
                  <a:cubicBezTo>
                    <a:pt x="28289" y="24808"/>
                    <a:pt x="27403" y="24720"/>
                    <a:pt x="27403" y="24720"/>
                  </a:cubicBezTo>
                  <a:cubicBezTo>
                    <a:pt x="27089" y="24691"/>
                    <a:pt x="26646" y="24484"/>
                    <a:pt x="26419" y="24258"/>
                  </a:cubicBezTo>
                  <a:lnTo>
                    <a:pt x="26416" y="24254"/>
                  </a:lnTo>
                  <a:cubicBezTo>
                    <a:pt x="26190" y="24028"/>
                    <a:pt x="26190" y="23662"/>
                    <a:pt x="26416" y="23436"/>
                  </a:cubicBezTo>
                  <a:lnTo>
                    <a:pt x="32925" y="16926"/>
                  </a:lnTo>
                  <a:cubicBezTo>
                    <a:pt x="33149" y="16700"/>
                    <a:pt x="33149" y="16338"/>
                    <a:pt x="32925" y="16111"/>
                  </a:cubicBezTo>
                  <a:lnTo>
                    <a:pt x="26416" y="9602"/>
                  </a:lnTo>
                  <a:cubicBezTo>
                    <a:pt x="26303" y="9490"/>
                    <a:pt x="26155" y="9434"/>
                    <a:pt x="26007" y="9434"/>
                  </a:cubicBezTo>
                  <a:cubicBezTo>
                    <a:pt x="25859" y="9434"/>
                    <a:pt x="25711" y="9490"/>
                    <a:pt x="25598" y="9602"/>
                  </a:cubicBezTo>
                  <a:lnTo>
                    <a:pt x="25526" y="9673"/>
                  </a:lnTo>
                  <a:cubicBezTo>
                    <a:pt x="25303" y="9899"/>
                    <a:pt x="25093" y="10339"/>
                    <a:pt x="25064" y="10656"/>
                  </a:cubicBezTo>
                  <a:cubicBezTo>
                    <a:pt x="25064" y="10656"/>
                    <a:pt x="24976" y="11540"/>
                    <a:pt x="24430" y="12090"/>
                  </a:cubicBezTo>
                  <a:cubicBezTo>
                    <a:pt x="23953" y="12577"/>
                    <a:pt x="23323" y="12822"/>
                    <a:pt x="22693" y="12822"/>
                  </a:cubicBezTo>
                  <a:cubicBezTo>
                    <a:pt x="22073" y="12822"/>
                    <a:pt x="21454" y="12585"/>
                    <a:pt x="20981" y="12112"/>
                  </a:cubicBezTo>
                  <a:cubicBezTo>
                    <a:pt x="20026" y="11158"/>
                    <a:pt x="20036" y="9605"/>
                    <a:pt x="21003" y="8663"/>
                  </a:cubicBezTo>
                  <a:cubicBezTo>
                    <a:pt x="21550" y="8117"/>
                    <a:pt x="22437" y="8029"/>
                    <a:pt x="22437" y="8029"/>
                  </a:cubicBezTo>
                  <a:cubicBezTo>
                    <a:pt x="22750" y="8000"/>
                    <a:pt x="23194" y="7790"/>
                    <a:pt x="23420" y="7567"/>
                  </a:cubicBezTo>
                  <a:lnTo>
                    <a:pt x="23491" y="7492"/>
                  </a:lnTo>
                  <a:cubicBezTo>
                    <a:pt x="23715" y="7269"/>
                    <a:pt x="23715" y="6903"/>
                    <a:pt x="23491" y="6677"/>
                  </a:cubicBezTo>
                  <a:lnTo>
                    <a:pt x="16982" y="168"/>
                  </a:lnTo>
                  <a:cubicBezTo>
                    <a:pt x="16869" y="56"/>
                    <a:pt x="16721" y="0"/>
                    <a:pt x="16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8" name="Google Shape;9438;p56"/>
            <p:cNvSpPr/>
            <p:nvPr/>
          </p:nvSpPr>
          <p:spPr>
            <a:xfrm>
              <a:off x="1115837" y="2990152"/>
              <a:ext cx="380728" cy="379430"/>
            </a:xfrm>
            <a:custGeom>
              <a:avLst/>
              <a:gdLst/>
              <a:ahLst/>
              <a:cxnLst/>
              <a:rect l="l" t="t" r="r" b="b"/>
              <a:pathLst>
                <a:path w="33150" h="33037" extrusionOk="0">
                  <a:moveTo>
                    <a:pt x="16576" y="0"/>
                  </a:moveTo>
                  <a:cubicBezTo>
                    <a:pt x="16429" y="0"/>
                    <a:pt x="16281" y="56"/>
                    <a:pt x="16168" y="168"/>
                  </a:cubicBezTo>
                  <a:lnTo>
                    <a:pt x="9661" y="6677"/>
                  </a:lnTo>
                  <a:cubicBezTo>
                    <a:pt x="9548" y="6789"/>
                    <a:pt x="9400" y="6844"/>
                    <a:pt x="9252" y="6844"/>
                  </a:cubicBezTo>
                  <a:cubicBezTo>
                    <a:pt x="9104" y="6844"/>
                    <a:pt x="8956" y="6789"/>
                    <a:pt x="8843" y="6677"/>
                  </a:cubicBezTo>
                  <a:lnTo>
                    <a:pt x="8836" y="6670"/>
                  </a:lnTo>
                  <a:cubicBezTo>
                    <a:pt x="8613" y="6447"/>
                    <a:pt x="8403" y="6004"/>
                    <a:pt x="8374" y="5687"/>
                  </a:cubicBezTo>
                  <a:cubicBezTo>
                    <a:pt x="8374" y="5687"/>
                    <a:pt x="8286" y="4804"/>
                    <a:pt x="7740" y="4257"/>
                  </a:cubicBezTo>
                  <a:cubicBezTo>
                    <a:pt x="7263" y="3757"/>
                    <a:pt x="6626" y="3507"/>
                    <a:pt x="5987" y="3507"/>
                  </a:cubicBezTo>
                  <a:cubicBezTo>
                    <a:pt x="5368" y="3507"/>
                    <a:pt x="4749" y="3742"/>
                    <a:pt x="4275" y="4215"/>
                  </a:cubicBezTo>
                  <a:cubicBezTo>
                    <a:pt x="3314" y="5176"/>
                    <a:pt x="3330" y="6742"/>
                    <a:pt x="4313" y="7680"/>
                  </a:cubicBezTo>
                  <a:cubicBezTo>
                    <a:pt x="4860" y="8227"/>
                    <a:pt x="5747" y="8314"/>
                    <a:pt x="5747" y="8314"/>
                  </a:cubicBezTo>
                  <a:cubicBezTo>
                    <a:pt x="6061" y="8343"/>
                    <a:pt x="6504" y="8553"/>
                    <a:pt x="6730" y="8777"/>
                  </a:cubicBezTo>
                  <a:lnTo>
                    <a:pt x="6733" y="8783"/>
                  </a:lnTo>
                  <a:cubicBezTo>
                    <a:pt x="6960" y="9010"/>
                    <a:pt x="6960" y="9372"/>
                    <a:pt x="6733" y="9598"/>
                  </a:cubicBezTo>
                  <a:lnTo>
                    <a:pt x="224" y="16111"/>
                  </a:lnTo>
                  <a:cubicBezTo>
                    <a:pt x="1" y="16338"/>
                    <a:pt x="1" y="16700"/>
                    <a:pt x="224" y="16926"/>
                  </a:cubicBezTo>
                  <a:lnTo>
                    <a:pt x="6733" y="23436"/>
                  </a:lnTo>
                  <a:cubicBezTo>
                    <a:pt x="6847" y="23547"/>
                    <a:pt x="6995" y="23603"/>
                    <a:pt x="7143" y="23603"/>
                  </a:cubicBezTo>
                  <a:cubicBezTo>
                    <a:pt x="7291" y="23603"/>
                    <a:pt x="7439" y="23547"/>
                    <a:pt x="7552" y="23436"/>
                  </a:cubicBezTo>
                  <a:lnTo>
                    <a:pt x="7623" y="23365"/>
                  </a:lnTo>
                  <a:cubicBezTo>
                    <a:pt x="7846" y="23138"/>
                    <a:pt x="8057" y="22698"/>
                    <a:pt x="8086" y="22381"/>
                  </a:cubicBezTo>
                  <a:cubicBezTo>
                    <a:pt x="8086" y="22381"/>
                    <a:pt x="8173" y="21498"/>
                    <a:pt x="8720" y="20948"/>
                  </a:cubicBezTo>
                  <a:cubicBezTo>
                    <a:pt x="9195" y="20467"/>
                    <a:pt x="9821" y="20226"/>
                    <a:pt x="10447" y="20226"/>
                  </a:cubicBezTo>
                  <a:cubicBezTo>
                    <a:pt x="11066" y="20226"/>
                    <a:pt x="11686" y="20462"/>
                    <a:pt x="12159" y="20935"/>
                  </a:cubicBezTo>
                  <a:cubicBezTo>
                    <a:pt x="13110" y="21886"/>
                    <a:pt x="13104" y="23429"/>
                    <a:pt x="12146" y="24374"/>
                  </a:cubicBezTo>
                  <a:cubicBezTo>
                    <a:pt x="11599" y="24921"/>
                    <a:pt x="10716" y="25008"/>
                    <a:pt x="10716" y="25008"/>
                  </a:cubicBezTo>
                  <a:cubicBezTo>
                    <a:pt x="10399" y="25037"/>
                    <a:pt x="9956" y="25248"/>
                    <a:pt x="9733" y="25471"/>
                  </a:cubicBezTo>
                  <a:lnTo>
                    <a:pt x="9658" y="25542"/>
                  </a:lnTo>
                  <a:cubicBezTo>
                    <a:pt x="9435" y="25768"/>
                    <a:pt x="9435" y="26134"/>
                    <a:pt x="9658" y="26360"/>
                  </a:cubicBezTo>
                  <a:lnTo>
                    <a:pt x="16168" y="32867"/>
                  </a:lnTo>
                  <a:cubicBezTo>
                    <a:pt x="16281" y="32980"/>
                    <a:pt x="16429" y="33037"/>
                    <a:pt x="16577" y="33037"/>
                  </a:cubicBezTo>
                  <a:cubicBezTo>
                    <a:pt x="16725" y="33037"/>
                    <a:pt x="16873" y="32980"/>
                    <a:pt x="16986" y="32867"/>
                  </a:cubicBezTo>
                  <a:lnTo>
                    <a:pt x="23492" y="26360"/>
                  </a:lnTo>
                  <a:cubicBezTo>
                    <a:pt x="23715" y="26134"/>
                    <a:pt x="23715" y="25768"/>
                    <a:pt x="23492" y="25542"/>
                  </a:cubicBezTo>
                  <a:lnTo>
                    <a:pt x="23421" y="25474"/>
                  </a:lnTo>
                  <a:cubicBezTo>
                    <a:pt x="23198" y="25251"/>
                    <a:pt x="22755" y="25040"/>
                    <a:pt x="22438" y="25011"/>
                  </a:cubicBezTo>
                  <a:cubicBezTo>
                    <a:pt x="22438" y="25011"/>
                    <a:pt x="21554" y="24924"/>
                    <a:pt x="21004" y="24377"/>
                  </a:cubicBezTo>
                  <a:cubicBezTo>
                    <a:pt x="20073" y="23429"/>
                    <a:pt x="20076" y="21905"/>
                    <a:pt x="21017" y="20964"/>
                  </a:cubicBezTo>
                  <a:cubicBezTo>
                    <a:pt x="21490" y="20491"/>
                    <a:pt x="22111" y="20254"/>
                    <a:pt x="22731" y="20254"/>
                  </a:cubicBezTo>
                  <a:cubicBezTo>
                    <a:pt x="23345" y="20254"/>
                    <a:pt x="23959" y="20486"/>
                    <a:pt x="24430" y="20951"/>
                  </a:cubicBezTo>
                  <a:cubicBezTo>
                    <a:pt x="24977" y="21498"/>
                    <a:pt x="25065" y="22381"/>
                    <a:pt x="25065" y="22381"/>
                  </a:cubicBezTo>
                  <a:cubicBezTo>
                    <a:pt x="25097" y="22698"/>
                    <a:pt x="25304" y="23141"/>
                    <a:pt x="25530" y="23365"/>
                  </a:cubicBezTo>
                  <a:lnTo>
                    <a:pt x="25598" y="23436"/>
                  </a:lnTo>
                  <a:cubicBezTo>
                    <a:pt x="25712" y="23547"/>
                    <a:pt x="25860" y="23603"/>
                    <a:pt x="26007" y="23603"/>
                  </a:cubicBezTo>
                  <a:cubicBezTo>
                    <a:pt x="26155" y="23603"/>
                    <a:pt x="26302" y="23547"/>
                    <a:pt x="26414" y="23436"/>
                  </a:cubicBezTo>
                  <a:lnTo>
                    <a:pt x="32923" y="16926"/>
                  </a:lnTo>
                  <a:cubicBezTo>
                    <a:pt x="33150" y="16700"/>
                    <a:pt x="33150" y="16338"/>
                    <a:pt x="32923" y="16111"/>
                  </a:cubicBezTo>
                  <a:lnTo>
                    <a:pt x="26417" y="9602"/>
                  </a:lnTo>
                  <a:cubicBezTo>
                    <a:pt x="26194" y="9375"/>
                    <a:pt x="26194" y="9010"/>
                    <a:pt x="26417" y="8783"/>
                  </a:cubicBezTo>
                  <a:lnTo>
                    <a:pt x="26533" y="8670"/>
                  </a:lnTo>
                  <a:cubicBezTo>
                    <a:pt x="26760" y="8443"/>
                    <a:pt x="27203" y="8233"/>
                    <a:pt x="27517" y="8204"/>
                  </a:cubicBezTo>
                  <a:cubicBezTo>
                    <a:pt x="27517" y="8204"/>
                    <a:pt x="28400" y="8117"/>
                    <a:pt x="28950" y="7570"/>
                  </a:cubicBezTo>
                  <a:cubicBezTo>
                    <a:pt x="29918" y="6628"/>
                    <a:pt x="29927" y="5079"/>
                    <a:pt x="28973" y="4124"/>
                  </a:cubicBezTo>
                  <a:cubicBezTo>
                    <a:pt x="28500" y="3650"/>
                    <a:pt x="27879" y="3413"/>
                    <a:pt x="27259" y="3413"/>
                  </a:cubicBezTo>
                  <a:cubicBezTo>
                    <a:pt x="26629" y="3413"/>
                    <a:pt x="25999" y="3658"/>
                    <a:pt x="25524" y="4144"/>
                  </a:cubicBezTo>
                  <a:lnTo>
                    <a:pt x="25524" y="4147"/>
                  </a:lnTo>
                  <a:cubicBezTo>
                    <a:pt x="24977" y="4694"/>
                    <a:pt x="24890" y="5577"/>
                    <a:pt x="24890" y="5577"/>
                  </a:cubicBezTo>
                  <a:cubicBezTo>
                    <a:pt x="24861" y="5894"/>
                    <a:pt x="24650" y="6337"/>
                    <a:pt x="24427" y="6560"/>
                  </a:cubicBezTo>
                  <a:lnTo>
                    <a:pt x="24311" y="6677"/>
                  </a:lnTo>
                  <a:cubicBezTo>
                    <a:pt x="24198" y="6789"/>
                    <a:pt x="24050" y="6844"/>
                    <a:pt x="23901" y="6844"/>
                  </a:cubicBezTo>
                  <a:cubicBezTo>
                    <a:pt x="23753" y="6844"/>
                    <a:pt x="23605" y="6789"/>
                    <a:pt x="23492" y="6677"/>
                  </a:cubicBezTo>
                  <a:lnTo>
                    <a:pt x="16983" y="168"/>
                  </a:lnTo>
                  <a:cubicBezTo>
                    <a:pt x="16871" y="56"/>
                    <a:pt x="16724" y="0"/>
                    <a:pt x="165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9" name="Google Shape;9439;p56"/>
            <p:cNvSpPr/>
            <p:nvPr/>
          </p:nvSpPr>
          <p:spPr>
            <a:xfrm>
              <a:off x="1691707" y="3184996"/>
              <a:ext cx="378488" cy="377259"/>
            </a:xfrm>
            <a:custGeom>
              <a:avLst/>
              <a:gdLst/>
              <a:ahLst/>
              <a:cxnLst/>
              <a:rect l="l" t="t" r="r" b="b"/>
              <a:pathLst>
                <a:path w="32955" h="32848" extrusionOk="0">
                  <a:moveTo>
                    <a:pt x="16478" y="1"/>
                  </a:moveTo>
                  <a:cubicBezTo>
                    <a:pt x="16331" y="1"/>
                    <a:pt x="16185" y="57"/>
                    <a:pt x="16073" y="168"/>
                  </a:cubicBezTo>
                  <a:lnTo>
                    <a:pt x="9603" y="6639"/>
                  </a:lnTo>
                  <a:cubicBezTo>
                    <a:pt x="9489" y="6752"/>
                    <a:pt x="9342" y="6809"/>
                    <a:pt x="9195" y="6809"/>
                  </a:cubicBezTo>
                  <a:cubicBezTo>
                    <a:pt x="9048" y="6809"/>
                    <a:pt x="8900" y="6752"/>
                    <a:pt x="8787" y="6639"/>
                  </a:cubicBezTo>
                  <a:lnTo>
                    <a:pt x="8674" y="6526"/>
                  </a:lnTo>
                  <a:cubicBezTo>
                    <a:pt x="8451" y="6303"/>
                    <a:pt x="8244" y="5863"/>
                    <a:pt x="8211" y="5545"/>
                  </a:cubicBezTo>
                  <a:cubicBezTo>
                    <a:pt x="8211" y="5545"/>
                    <a:pt x="8127" y="4669"/>
                    <a:pt x="7581" y="4125"/>
                  </a:cubicBezTo>
                  <a:cubicBezTo>
                    <a:pt x="7109" y="3646"/>
                    <a:pt x="6488" y="3407"/>
                    <a:pt x="5867" y="3407"/>
                  </a:cubicBezTo>
                  <a:cubicBezTo>
                    <a:pt x="5251" y="3407"/>
                    <a:pt x="4634" y="3642"/>
                    <a:pt x="4164" y="4112"/>
                  </a:cubicBezTo>
                  <a:cubicBezTo>
                    <a:pt x="3219" y="5057"/>
                    <a:pt x="3226" y="6590"/>
                    <a:pt x="4177" y="7529"/>
                  </a:cubicBezTo>
                  <a:cubicBezTo>
                    <a:pt x="4721" y="8075"/>
                    <a:pt x="5601" y="8160"/>
                    <a:pt x="5601" y="8160"/>
                  </a:cubicBezTo>
                  <a:cubicBezTo>
                    <a:pt x="5914" y="8189"/>
                    <a:pt x="6354" y="8399"/>
                    <a:pt x="6578" y="8622"/>
                  </a:cubicBezTo>
                  <a:lnTo>
                    <a:pt x="6694" y="8735"/>
                  </a:lnTo>
                  <a:cubicBezTo>
                    <a:pt x="6914" y="8962"/>
                    <a:pt x="6914" y="9324"/>
                    <a:pt x="6694" y="9548"/>
                  </a:cubicBezTo>
                  <a:lnTo>
                    <a:pt x="223" y="16018"/>
                  </a:lnTo>
                  <a:cubicBezTo>
                    <a:pt x="0" y="16245"/>
                    <a:pt x="0" y="16607"/>
                    <a:pt x="223" y="16830"/>
                  </a:cubicBezTo>
                  <a:lnTo>
                    <a:pt x="6694" y="23301"/>
                  </a:lnTo>
                  <a:cubicBezTo>
                    <a:pt x="6917" y="23527"/>
                    <a:pt x="6917" y="23890"/>
                    <a:pt x="6694" y="24113"/>
                  </a:cubicBezTo>
                  <a:lnTo>
                    <a:pt x="6688" y="24119"/>
                  </a:lnTo>
                  <a:cubicBezTo>
                    <a:pt x="6464" y="24343"/>
                    <a:pt x="6024" y="24550"/>
                    <a:pt x="5711" y="24579"/>
                  </a:cubicBezTo>
                  <a:cubicBezTo>
                    <a:pt x="5711" y="24579"/>
                    <a:pt x="4831" y="24666"/>
                    <a:pt x="4287" y="25210"/>
                  </a:cubicBezTo>
                  <a:cubicBezTo>
                    <a:pt x="3346" y="26151"/>
                    <a:pt x="3346" y="27675"/>
                    <a:pt x="4287" y="28616"/>
                  </a:cubicBezTo>
                  <a:cubicBezTo>
                    <a:pt x="4756" y="29085"/>
                    <a:pt x="5372" y="29320"/>
                    <a:pt x="5989" y="29320"/>
                  </a:cubicBezTo>
                  <a:cubicBezTo>
                    <a:pt x="6605" y="29320"/>
                    <a:pt x="7221" y="29085"/>
                    <a:pt x="7691" y="28616"/>
                  </a:cubicBezTo>
                  <a:cubicBezTo>
                    <a:pt x="8237" y="28070"/>
                    <a:pt x="8321" y="27193"/>
                    <a:pt x="8321" y="27193"/>
                  </a:cubicBezTo>
                  <a:cubicBezTo>
                    <a:pt x="8354" y="26876"/>
                    <a:pt x="8561" y="26436"/>
                    <a:pt x="8784" y="26213"/>
                  </a:cubicBezTo>
                  <a:lnTo>
                    <a:pt x="8787" y="26209"/>
                  </a:lnTo>
                  <a:cubicBezTo>
                    <a:pt x="8900" y="26098"/>
                    <a:pt x="9048" y="26042"/>
                    <a:pt x="9195" y="26042"/>
                  </a:cubicBezTo>
                  <a:cubicBezTo>
                    <a:pt x="9341" y="26042"/>
                    <a:pt x="9488" y="26098"/>
                    <a:pt x="9599" y="26209"/>
                  </a:cubicBezTo>
                  <a:lnTo>
                    <a:pt x="16070" y="32680"/>
                  </a:lnTo>
                  <a:cubicBezTo>
                    <a:pt x="16183" y="32792"/>
                    <a:pt x="16330" y="32847"/>
                    <a:pt x="16478" y="32847"/>
                  </a:cubicBezTo>
                  <a:cubicBezTo>
                    <a:pt x="16625" y="32847"/>
                    <a:pt x="16772" y="32792"/>
                    <a:pt x="16885" y="32680"/>
                  </a:cubicBezTo>
                  <a:lnTo>
                    <a:pt x="23356" y="26209"/>
                  </a:lnTo>
                  <a:cubicBezTo>
                    <a:pt x="23579" y="25983"/>
                    <a:pt x="23579" y="25620"/>
                    <a:pt x="23356" y="25397"/>
                  </a:cubicBezTo>
                  <a:lnTo>
                    <a:pt x="23281" y="25326"/>
                  </a:lnTo>
                  <a:cubicBezTo>
                    <a:pt x="23058" y="25103"/>
                    <a:pt x="22618" y="24893"/>
                    <a:pt x="22304" y="24863"/>
                  </a:cubicBezTo>
                  <a:cubicBezTo>
                    <a:pt x="22304" y="24863"/>
                    <a:pt x="21428" y="24779"/>
                    <a:pt x="20881" y="24233"/>
                  </a:cubicBezTo>
                  <a:cubicBezTo>
                    <a:pt x="19939" y="23294"/>
                    <a:pt x="19943" y="21767"/>
                    <a:pt x="20881" y="20829"/>
                  </a:cubicBezTo>
                  <a:cubicBezTo>
                    <a:pt x="21351" y="20358"/>
                    <a:pt x="21968" y="20123"/>
                    <a:pt x="22584" y="20123"/>
                  </a:cubicBezTo>
                  <a:cubicBezTo>
                    <a:pt x="23200" y="20123"/>
                    <a:pt x="23817" y="20358"/>
                    <a:pt x="24287" y="20829"/>
                  </a:cubicBezTo>
                  <a:cubicBezTo>
                    <a:pt x="24831" y="21373"/>
                    <a:pt x="24918" y="22253"/>
                    <a:pt x="24918" y="22253"/>
                  </a:cubicBezTo>
                  <a:cubicBezTo>
                    <a:pt x="24947" y="22566"/>
                    <a:pt x="25155" y="23006"/>
                    <a:pt x="25378" y="23230"/>
                  </a:cubicBezTo>
                  <a:lnTo>
                    <a:pt x="25449" y="23301"/>
                  </a:lnTo>
                  <a:cubicBezTo>
                    <a:pt x="25562" y="23412"/>
                    <a:pt x="25709" y="23468"/>
                    <a:pt x="25856" y="23468"/>
                  </a:cubicBezTo>
                  <a:cubicBezTo>
                    <a:pt x="26003" y="23468"/>
                    <a:pt x="26149" y="23412"/>
                    <a:pt x="26261" y="23301"/>
                  </a:cubicBezTo>
                  <a:lnTo>
                    <a:pt x="32732" y="16830"/>
                  </a:lnTo>
                  <a:cubicBezTo>
                    <a:pt x="32955" y="16607"/>
                    <a:pt x="32955" y="16245"/>
                    <a:pt x="32732" y="16018"/>
                  </a:cubicBezTo>
                  <a:lnTo>
                    <a:pt x="26261" y="9548"/>
                  </a:lnTo>
                  <a:cubicBezTo>
                    <a:pt x="26149" y="9436"/>
                    <a:pt x="26003" y="9380"/>
                    <a:pt x="25856" y="9380"/>
                  </a:cubicBezTo>
                  <a:cubicBezTo>
                    <a:pt x="25709" y="9380"/>
                    <a:pt x="25562" y="9436"/>
                    <a:pt x="25449" y="9548"/>
                  </a:cubicBezTo>
                  <a:lnTo>
                    <a:pt x="25381" y="9615"/>
                  </a:lnTo>
                  <a:cubicBezTo>
                    <a:pt x="25158" y="9839"/>
                    <a:pt x="24951" y="10279"/>
                    <a:pt x="24918" y="10596"/>
                  </a:cubicBezTo>
                  <a:cubicBezTo>
                    <a:pt x="24918" y="10596"/>
                    <a:pt x="24834" y="11473"/>
                    <a:pt x="24291" y="12019"/>
                  </a:cubicBezTo>
                  <a:cubicBezTo>
                    <a:pt x="23820" y="12488"/>
                    <a:pt x="23204" y="12723"/>
                    <a:pt x="22587" y="12723"/>
                  </a:cubicBezTo>
                  <a:cubicBezTo>
                    <a:pt x="21971" y="12723"/>
                    <a:pt x="21355" y="12488"/>
                    <a:pt x="20884" y="12019"/>
                  </a:cubicBezTo>
                  <a:cubicBezTo>
                    <a:pt x="19946" y="11078"/>
                    <a:pt x="19946" y="9554"/>
                    <a:pt x="20884" y="8613"/>
                  </a:cubicBezTo>
                  <a:cubicBezTo>
                    <a:pt x="21428" y="8069"/>
                    <a:pt x="22308" y="7985"/>
                    <a:pt x="22308" y="7985"/>
                  </a:cubicBezTo>
                  <a:cubicBezTo>
                    <a:pt x="22621" y="7953"/>
                    <a:pt x="23061" y="7745"/>
                    <a:pt x="23285" y="7522"/>
                  </a:cubicBezTo>
                  <a:lnTo>
                    <a:pt x="23356" y="7454"/>
                  </a:lnTo>
                  <a:cubicBezTo>
                    <a:pt x="23579" y="7228"/>
                    <a:pt x="23579" y="6865"/>
                    <a:pt x="23356" y="6639"/>
                  </a:cubicBezTo>
                  <a:lnTo>
                    <a:pt x="16885" y="168"/>
                  </a:lnTo>
                  <a:cubicBezTo>
                    <a:pt x="16772" y="57"/>
                    <a:pt x="16625" y="1"/>
                    <a:pt x="164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0" name="Google Shape;9440;p56"/>
            <p:cNvSpPr/>
            <p:nvPr/>
          </p:nvSpPr>
          <p:spPr>
            <a:xfrm>
              <a:off x="1499792" y="2993162"/>
              <a:ext cx="378523" cy="377213"/>
            </a:xfrm>
            <a:custGeom>
              <a:avLst/>
              <a:gdLst/>
              <a:ahLst/>
              <a:cxnLst/>
              <a:rect l="l" t="t" r="r" b="b"/>
              <a:pathLst>
                <a:path w="32958" h="32844" extrusionOk="0">
                  <a:moveTo>
                    <a:pt x="16479" y="0"/>
                  </a:moveTo>
                  <a:cubicBezTo>
                    <a:pt x="16332" y="0"/>
                    <a:pt x="16185" y="56"/>
                    <a:pt x="16073" y="168"/>
                  </a:cubicBezTo>
                  <a:lnTo>
                    <a:pt x="9602" y="6638"/>
                  </a:lnTo>
                  <a:cubicBezTo>
                    <a:pt x="9489" y="6750"/>
                    <a:pt x="9342" y="6806"/>
                    <a:pt x="9195" y="6806"/>
                  </a:cubicBezTo>
                  <a:cubicBezTo>
                    <a:pt x="9048" y="6806"/>
                    <a:pt x="8902" y="6750"/>
                    <a:pt x="8790" y="6638"/>
                  </a:cubicBezTo>
                  <a:lnTo>
                    <a:pt x="8784" y="6632"/>
                  </a:lnTo>
                  <a:cubicBezTo>
                    <a:pt x="8561" y="6408"/>
                    <a:pt x="8354" y="5968"/>
                    <a:pt x="8324" y="5655"/>
                  </a:cubicBezTo>
                  <a:cubicBezTo>
                    <a:pt x="8324" y="5655"/>
                    <a:pt x="8237" y="4775"/>
                    <a:pt x="7694" y="4231"/>
                  </a:cubicBezTo>
                  <a:cubicBezTo>
                    <a:pt x="7222" y="3753"/>
                    <a:pt x="6600" y="3514"/>
                    <a:pt x="5978" y="3514"/>
                  </a:cubicBezTo>
                  <a:cubicBezTo>
                    <a:pt x="5362" y="3514"/>
                    <a:pt x="4745" y="3748"/>
                    <a:pt x="4274" y="4218"/>
                  </a:cubicBezTo>
                  <a:cubicBezTo>
                    <a:pt x="3329" y="5163"/>
                    <a:pt x="3336" y="6696"/>
                    <a:pt x="4287" y="7635"/>
                  </a:cubicBezTo>
                  <a:cubicBezTo>
                    <a:pt x="4834" y="8181"/>
                    <a:pt x="5710" y="8269"/>
                    <a:pt x="5710" y="8269"/>
                  </a:cubicBezTo>
                  <a:cubicBezTo>
                    <a:pt x="6024" y="8298"/>
                    <a:pt x="6464" y="8505"/>
                    <a:pt x="6687" y="8728"/>
                  </a:cubicBezTo>
                  <a:lnTo>
                    <a:pt x="6694" y="8735"/>
                  </a:lnTo>
                  <a:cubicBezTo>
                    <a:pt x="6917" y="8958"/>
                    <a:pt x="6917" y="9320"/>
                    <a:pt x="6694" y="9547"/>
                  </a:cubicBezTo>
                  <a:lnTo>
                    <a:pt x="223" y="16017"/>
                  </a:lnTo>
                  <a:cubicBezTo>
                    <a:pt x="0" y="16241"/>
                    <a:pt x="0" y="16603"/>
                    <a:pt x="223" y="16829"/>
                  </a:cubicBezTo>
                  <a:lnTo>
                    <a:pt x="6694" y="23300"/>
                  </a:lnTo>
                  <a:cubicBezTo>
                    <a:pt x="6805" y="23412"/>
                    <a:pt x="6952" y="23467"/>
                    <a:pt x="7099" y="23467"/>
                  </a:cubicBezTo>
                  <a:cubicBezTo>
                    <a:pt x="7245" y="23467"/>
                    <a:pt x="7393" y="23412"/>
                    <a:pt x="7506" y="23300"/>
                  </a:cubicBezTo>
                  <a:lnTo>
                    <a:pt x="7577" y="23229"/>
                  </a:lnTo>
                  <a:cubicBezTo>
                    <a:pt x="7800" y="23006"/>
                    <a:pt x="8007" y="22566"/>
                    <a:pt x="8040" y="22248"/>
                  </a:cubicBezTo>
                  <a:cubicBezTo>
                    <a:pt x="8040" y="22248"/>
                    <a:pt x="8124" y="21372"/>
                    <a:pt x="8667" y="20825"/>
                  </a:cubicBezTo>
                  <a:cubicBezTo>
                    <a:pt x="9138" y="20347"/>
                    <a:pt x="9760" y="20108"/>
                    <a:pt x="10383" y="20108"/>
                  </a:cubicBezTo>
                  <a:cubicBezTo>
                    <a:pt x="11000" y="20108"/>
                    <a:pt x="11617" y="20343"/>
                    <a:pt x="12087" y="20815"/>
                  </a:cubicBezTo>
                  <a:cubicBezTo>
                    <a:pt x="13032" y="21760"/>
                    <a:pt x="13025" y="23293"/>
                    <a:pt x="12074" y="24232"/>
                  </a:cubicBezTo>
                  <a:cubicBezTo>
                    <a:pt x="11531" y="24775"/>
                    <a:pt x="10651" y="24863"/>
                    <a:pt x="10651" y="24863"/>
                  </a:cubicBezTo>
                  <a:cubicBezTo>
                    <a:pt x="10337" y="24892"/>
                    <a:pt x="9897" y="25099"/>
                    <a:pt x="9674" y="25322"/>
                  </a:cubicBezTo>
                  <a:lnTo>
                    <a:pt x="9602" y="25393"/>
                  </a:lnTo>
                  <a:cubicBezTo>
                    <a:pt x="9376" y="25620"/>
                    <a:pt x="9376" y="25982"/>
                    <a:pt x="9602" y="26205"/>
                  </a:cubicBezTo>
                  <a:lnTo>
                    <a:pt x="16073" y="32676"/>
                  </a:lnTo>
                  <a:cubicBezTo>
                    <a:pt x="16185" y="32787"/>
                    <a:pt x="16331" y="32843"/>
                    <a:pt x="16478" y="32843"/>
                  </a:cubicBezTo>
                  <a:cubicBezTo>
                    <a:pt x="16625" y="32843"/>
                    <a:pt x="16772" y="32787"/>
                    <a:pt x="16885" y="32676"/>
                  </a:cubicBezTo>
                  <a:lnTo>
                    <a:pt x="23356" y="26205"/>
                  </a:lnTo>
                  <a:cubicBezTo>
                    <a:pt x="23579" y="25982"/>
                    <a:pt x="23579" y="25620"/>
                    <a:pt x="23356" y="25393"/>
                  </a:cubicBezTo>
                  <a:lnTo>
                    <a:pt x="23288" y="25325"/>
                  </a:lnTo>
                  <a:cubicBezTo>
                    <a:pt x="23061" y="25102"/>
                    <a:pt x="22621" y="24895"/>
                    <a:pt x="22307" y="24866"/>
                  </a:cubicBezTo>
                  <a:cubicBezTo>
                    <a:pt x="22307" y="24866"/>
                    <a:pt x="21431" y="24778"/>
                    <a:pt x="20884" y="24235"/>
                  </a:cubicBezTo>
                  <a:cubicBezTo>
                    <a:pt x="19942" y="23293"/>
                    <a:pt x="19942" y="21770"/>
                    <a:pt x="20884" y="20828"/>
                  </a:cubicBezTo>
                  <a:cubicBezTo>
                    <a:pt x="21354" y="20359"/>
                    <a:pt x="21971" y="20125"/>
                    <a:pt x="22587" y="20125"/>
                  </a:cubicBezTo>
                  <a:cubicBezTo>
                    <a:pt x="23203" y="20125"/>
                    <a:pt x="23820" y="20359"/>
                    <a:pt x="24291" y="20828"/>
                  </a:cubicBezTo>
                  <a:cubicBezTo>
                    <a:pt x="24834" y="21372"/>
                    <a:pt x="24918" y="22252"/>
                    <a:pt x="24918" y="22252"/>
                  </a:cubicBezTo>
                  <a:cubicBezTo>
                    <a:pt x="24951" y="22566"/>
                    <a:pt x="25158" y="23006"/>
                    <a:pt x="25381" y="23229"/>
                  </a:cubicBezTo>
                  <a:lnTo>
                    <a:pt x="25452" y="23300"/>
                  </a:lnTo>
                  <a:cubicBezTo>
                    <a:pt x="25564" y="23412"/>
                    <a:pt x="25710" y="23467"/>
                    <a:pt x="25857" y="23467"/>
                  </a:cubicBezTo>
                  <a:cubicBezTo>
                    <a:pt x="26004" y="23467"/>
                    <a:pt x="26151" y="23412"/>
                    <a:pt x="26264" y="23300"/>
                  </a:cubicBezTo>
                  <a:lnTo>
                    <a:pt x="32735" y="16829"/>
                  </a:lnTo>
                  <a:cubicBezTo>
                    <a:pt x="32958" y="16603"/>
                    <a:pt x="32958" y="16241"/>
                    <a:pt x="32735" y="16017"/>
                  </a:cubicBezTo>
                  <a:lnTo>
                    <a:pt x="26264" y="9547"/>
                  </a:lnTo>
                  <a:cubicBezTo>
                    <a:pt x="26041" y="9320"/>
                    <a:pt x="26041" y="8958"/>
                    <a:pt x="26264" y="8735"/>
                  </a:cubicBezTo>
                  <a:lnTo>
                    <a:pt x="26377" y="8618"/>
                  </a:lnTo>
                  <a:cubicBezTo>
                    <a:pt x="26600" y="8395"/>
                    <a:pt x="27044" y="8188"/>
                    <a:pt x="27358" y="8156"/>
                  </a:cubicBezTo>
                  <a:cubicBezTo>
                    <a:pt x="27358" y="8156"/>
                    <a:pt x="28234" y="8071"/>
                    <a:pt x="28781" y="7528"/>
                  </a:cubicBezTo>
                  <a:cubicBezTo>
                    <a:pt x="29732" y="6590"/>
                    <a:pt x="29739" y="5056"/>
                    <a:pt x="28791" y="4108"/>
                  </a:cubicBezTo>
                  <a:cubicBezTo>
                    <a:pt x="28321" y="3638"/>
                    <a:pt x="27705" y="3404"/>
                    <a:pt x="27090" y="3404"/>
                  </a:cubicBezTo>
                  <a:cubicBezTo>
                    <a:pt x="26468" y="3404"/>
                    <a:pt x="25846" y="3643"/>
                    <a:pt x="25374" y="4121"/>
                  </a:cubicBezTo>
                  <a:cubicBezTo>
                    <a:pt x="24831" y="4665"/>
                    <a:pt x="24743" y="5545"/>
                    <a:pt x="24743" y="5545"/>
                  </a:cubicBezTo>
                  <a:cubicBezTo>
                    <a:pt x="24714" y="5858"/>
                    <a:pt x="24507" y="6298"/>
                    <a:pt x="24284" y="6522"/>
                  </a:cubicBezTo>
                  <a:lnTo>
                    <a:pt x="24168" y="6638"/>
                  </a:lnTo>
                  <a:cubicBezTo>
                    <a:pt x="24056" y="6750"/>
                    <a:pt x="23909" y="6806"/>
                    <a:pt x="23762" y="6806"/>
                  </a:cubicBezTo>
                  <a:cubicBezTo>
                    <a:pt x="23614" y="6806"/>
                    <a:pt x="23467" y="6750"/>
                    <a:pt x="23356" y="6638"/>
                  </a:cubicBezTo>
                  <a:lnTo>
                    <a:pt x="16885" y="168"/>
                  </a:lnTo>
                  <a:cubicBezTo>
                    <a:pt x="16773" y="56"/>
                    <a:pt x="16626" y="0"/>
                    <a:pt x="164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45" name="Google Shape;9445;p57"/>
          <p:cNvGrpSpPr/>
          <p:nvPr/>
        </p:nvGrpSpPr>
        <p:grpSpPr>
          <a:xfrm>
            <a:off x="729238" y="1179665"/>
            <a:ext cx="1636117" cy="1526144"/>
            <a:chOff x="729238" y="1179665"/>
            <a:chExt cx="1636117" cy="1526144"/>
          </a:xfrm>
        </p:grpSpPr>
        <p:grpSp>
          <p:nvGrpSpPr>
            <p:cNvPr id="9446" name="Google Shape;9446;p57"/>
            <p:cNvGrpSpPr/>
            <p:nvPr/>
          </p:nvGrpSpPr>
          <p:grpSpPr>
            <a:xfrm>
              <a:off x="729238" y="1179665"/>
              <a:ext cx="80700" cy="1526144"/>
              <a:chOff x="729238" y="1179665"/>
              <a:chExt cx="80700" cy="1526144"/>
            </a:xfrm>
          </p:grpSpPr>
          <p:sp>
            <p:nvSpPr>
              <p:cNvPr id="9447" name="Google Shape;9447;p57"/>
              <p:cNvSpPr/>
              <p:nvPr/>
            </p:nvSpPr>
            <p:spPr>
              <a:xfrm>
                <a:off x="72923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48" name="Google Shape;9448;p57"/>
              <p:cNvSpPr/>
              <p:nvPr/>
            </p:nvSpPr>
            <p:spPr>
              <a:xfrm>
                <a:off x="72923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49" name="Google Shape;9449;p57"/>
              <p:cNvSpPr/>
              <p:nvPr/>
            </p:nvSpPr>
            <p:spPr>
              <a:xfrm>
                <a:off x="72923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0" name="Google Shape;9450;p57"/>
              <p:cNvSpPr/>
              <p:nvPr/>
            </p:nvSpPr>
            <p:spPr>
              <a:xfrm>
                <a:off x="72923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1" name="Google Shape;9451;p57"/>
              <p:cNvSpPr/>
              <p:nvPr/>
            </p:nvSpPr>
            <p:spPr>
              <a:xfrm>
                <a:off x="729238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2" name="Google Shape;9452;p57"/>
              <p:cNvSpPr/>
              <p:nvPr/>
            </p:nvSpPr>
            <p:spPr>
              <a:xfrm>
                <a:off x="729238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3" name="Google Shape;9453;p57"/>
              <p:cNvSpPr/>
              <p:nvPr/>
            </p:nvSpPr>
            <p:spPr>
              <a:xfrm>
                <a:off x="729238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4" name="Google Shape;9454;p57"/>
              <p:cNvSpPr/>
              <p:nvPr/>
            </p:nvSpPr>
            <p:spPr>
              <a:xfrm>
                <a:off x="72923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5" name="Google Shape;9455;p57"/>
              <p:cNvSpPr/>
              <p:nvPr/>
            </p:nvSpPr>
            <p:spPr>
              <a:xfrm>
                <a:off x="72923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6" name="Google Shape;9456;p57"/>
              <p:cNvSpPr/>
              <p:nvPr/>
            </p:nvSpPr>
            <p:spPr>
              <a:xfrm>
                <a:off x="72923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57" name="Google Shape;9457;p57"/>
            <p:cNvGrpSpPr/>
            <p:nvPr/>
          </p:nvGrpSpPr>
          <p:grpSpPr>
            <a:xfrm>
              <a:off x="903098" y="1179665"/>
              <a:ext cx="80700" cy="1526144"/>
              <a:chOff x="903098" y="1179665"/>
              <a:chExt cx="80700" cy="1526144"/>
            </a:xfrm>
          </p:grpSpPr>
          <p:sp>
            <p:nvSpPr>
              <p:cNvPr id="9458" name="Google Shape;9458;p57"/>
              <p:cNvSpPr/>
              <p:nvPr/>
            </p:nvSpPr>
            <p:spPr>
              <a:xfrm>
                <a:off x="90309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9" name="Google Shape;9459;p57"/>
              <p:cNvSpPr/>
              <p:nvPr/>
            </p:nvSpPr>
            <p:spPr>
              <a:xfrm>
                <a:off x="90309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0" name="Google Shape;9460;p57"/>
              <p:cNvSpPr/>
              <p:nvPr/>
            </p:nvSpPr>
            <p:spPr>
              <a:xfrm>
                <a:off x="90309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1" name="Google Shape;9461;p57"/>
              <p:cNvSpPr/>
              <p:nvPr/>
            </p:nvSpPr>
            <p:spPr>
              <a:xfrm>
                <a:off x="90309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2" name="Google Shape;9462;p57"/>
              <p:cNvSpPr/>
              <p:nvPr/>
            </p:nvSpPr>
            <p:spPr>
              <a:xfrm>
                <a:off x="903098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3" name="Google Shape;9463;p57"/>
              <p:cNvSpPr/>
              <p:nvPr/>
            </p:nvSpPr>
            <p:spPr>
              <a:xfrm>
                <a:off x="903098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4" name="Google Shape;9464;p57"/>
              <p:cNvSpPr/>
              <p:nvPr/>
            </p:nvSpPr>
            <p:spPr>
              <a:xfrm>
                <a:off x="903098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5" name="Google Shape;9465;p57"/>
              <p:cNvSpPr/>
              <p:nvPr/>
            </p:nvSpPr>
            <p:spPr>
              <a:xfrm>
                <a:off x="90309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6" name="Google Shape;9466;p57"/>
              <p:cNvSpPr/>
              <p:nvPr/>
            </p:nvSpPr>
            <p:spPr>
              <a:xfrm>
                <a:off x="90309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7" name="Google Shape;9467;p57"/>
              <p:cNvSpPr/>
              <p:nvPr/>
            </p:nvSpPr>
            <p:spPr>
              <a:xfrm>
                <a:off x="90309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68" name="Google Shape;9468;p57"/>
            <p:cNvGrpSpPr/>
            <p:nvPr/>
          </p:nvGrpSpPr>
          <p:grpSpPr>
            <a:xfrm>
              <a:off x="1076958" y="1179665"/>
              <a:ext cx="80700" cy="1526144"/>
              <a:chOff x="1076958" y="1179665"/>
              <a:chExt cx="80700" cy="1526144"/>
            </a:xfrm>
          </p:grpSpPr>
          <p:sp>
            <p:nvSpPr>
              <p:cNvPr id="9469" name="Google Shape;9469;p57"/>
              <p:cNvSpPr/>
              <p:nvPr/>
            </p:nvSpPr>
            <p:spPr>
              <a:xfrm>
                <a:off x="107695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0" name="Google Shape;9470;p57"/>
              <p:cNvSpPr/>
              <p:nvPr/>
            </p:nvSpPr>
            <p:spPr>
              <a:xfrm>
                <a:off x="107695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1" name="Google Shape;9471;p57"/>
              <p:cNvSpPr/>
              <p:nvPr/>
            </p:nvSpPr>
            <p:spPr>
              <a:xfrm>
                <a:off x="107695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2" name="Google Shape;9472;p57"/>
              <p:cNvSpPr/>
              <p:nvPr/>
            </p:nvSpPr>
            <p:spPr>
              <a:xfrm>
                <a:off x="107695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3" name="Google Shape;9473;p57"/>
              <p:cNvSpPr/>
              <p:nvPr/>
            </p:nvSpPr>
            <p:spPr>
              <a:xfrm>
                <a:off x="1076958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4" name="Google Shape;9474;p57"/>
              <p:cNvSpPr/>
              <p:nvPr/>
            </p:nvSpPr>
            <p:spPr>
              <a:xfrm>
                <a:off x="1076958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5" name="Google Shape;9475;p57"/>
              <p:cNvSpPr/>
              <p:nvPr/>
            </p:nvSpPr>
            <p:spPr>
              <a:xfrm>
                <a:off x="1076958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6" name="Google Shape;9476;p57"/>
              <p:cNvSpPr/>
              <p:nvPr/>
            </p:nvSpPr>
            <p:spPr>
              <a:xfrm>
                <a:off x="107695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7" name="Google Shape;9477;p57"/>
              <p:cNvSpPr/>
              <p:nvPr/>
            </p:nvSpPr>
            <p:spPr>
              <a:xfrm>
                <a:off x="107695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8" name="Google Shape;9478;p57"/>
              <p:cNvSpPr/>
              <p:nvPr/>
            </p:nvSpPr>
            <p:spPr>
              <a:xfrm>
                <a:off x="107695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79" name="Google Shape;9479;p57"/>
            <p:cNvGrpSpPr/>
            <p:nvPr/>
          </p:nvGrpSpPr>
          <p:grpSpPr>
            <a:xfrm>
              <a:off x="1247707" y="1179665"/>
              <a:ext cx="80700" cy="1526144"/>
              <a:chOff x="1247707" y="1179665"/>
              <a:chExt cx="80700" cy="1526144"/>
            </a:xfrm>
          </p:grpSpPr>
          <p:sp>
            <p:nvSpPr>
              <p:cNvPr id="9480" name="Google Shape;9480;p57"/>
              <p:cNvSpPr/>
              <p:nvPr/>
            </p:nvSpPr>
            <p:spPr>
              <a:xfrm>
                <a:off x="124770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1" name="Google Shape;9481;p57"/>
              <p:cNvSpPr/>
              <p:nvPr/>
            </p:nvSpPr>
            <p:spPr>
              <a:xfrm>
                <a:off x="124770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2" name="Google Shape;9482;p57"/>
              <p:cNvSpPr/>
              <p:nvPr/>
            </p:nvSpPr>
            <p:spPr>
              <a:xfrm>
                <a:off x="124770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3" name="Google Shape;9483;p57"/>
              <p:cNvSpPr/>
              <p:nvPr/>
            </p:nvSpPr>
            <p:spPr>
              <a:xfrm>
                <a:off x="1247707" y="166175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4" name="Google Shape;9484;p57"/>
              <p:cNvSpPr/>
              <p:nvPr/>
            </p:nvSpPr>
            <p:spPr>
              <a:xfrm>
                <a:off x="1247707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5" name="Google Shape;9485;p57"/>
              <p:cNvSpPr/>
              <p:nvPr/>
            </p:nvSpPr>
            <p:spPr>
              <a:xfrm>
                <a:off x="1247707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6" name="Google Shape;9486;p57"/>
              <p:cNvSpPr/>
              <p:nvPr/>
            </p:nvSpPr>
            <p:spPr>
              <a:xfrm>
                <a:off x="1247707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7" name="Google Shape;9487;p57"/>
              <p:cNvSpPr/>
              <p:nvPr/>
            </p:nvSpPr>
            <p:spPr>
              <a:xfrm>
                <a:off x="1247707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8" name="Google Shape;9488;p57"/>
              <p:cNvSpPr/>
              <p:nvPr/>
            </p:nvSpPr>
            <p:spPr>
              <a:xfrm>
                <a:off x="124770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9" name="Google Shape;9489;p57"/>
              <p:cNvSpPr/>
              <p:nvPr/>
            </p:nvSpPr>
            <p:spPr>
              <a:xfrm>
                <a:off x="124770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90" name="Google Shape;9490;p57"/>
            <p:cNvGrpSpPr/>
            <p:nvPr/>
          </p:nvGrpSpPr>
          <p:grpSpPr>
            <a:xfrm>
              <a:off x="1421567" y="1179665"/>
              <a:ext cx="80700" cy="1526144"/>
              <a:chOff x="1421567" y="1179665"/>
              <a:chExt cx="80700" cy="1526144"/>
            </a:xfrm>
          </p:grpSpPr>
          <p:sp>
            <p:nvSpPr>
              <p:cNvPr id="9491" name="Google Shape;9491;p57"/>
              <p:cNvSpPr/>
              <p:nvPr/>
            </p:nvSpPr>
            <p:spPr>
              <a:xfrm>
                <a:off x="142156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2" name="Google Shape;9492;p57"/>
              <p:cNvSpPr/>
              <p:nvPr/>
            </p:nvSpPr>
            <p:spPr>
              <a:xfrm>
                <a:off x="142156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3" name="Google Shape;9493;p57"/>
              <p:cNvSpPr/>
              <p:nvPr/>
            </p:nvSpPr>
            <p:spPr>
              <a:xfrm>
                <a:off x="142156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4" name="Google Shape;9494;p57"/>
              <p:cNvSpPr/>
              <p:nvPr/>
            </p:nvSpPr>
            <p:spPr>
              <a:xfrm>
                <a:off x="142156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5" name="Google Shape;9495;p57"/>
              <p:cNvSpPr/>
              <p:nvPr/>
            </p:nvSpPr>
            <p:spPr>
              <a:xfrm>
                <a:off x="142156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6" name="Google Shape;9496;p57"/>
              <p:cNvSpPr/>
              <p:nvPr/>
            </p:nvSpPr>
            <p:spPr>
              <a:xfrm>
                <a:off x="142156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7" name="Google Shape;9497;p57"/>
              <p:cNvSpPr/>
              <p:nvPr/>
            </p:nvSpPr>
            <p:spPr>
              <a:xfrm>
                <a:off x="1421567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8" name="Google Shape;9498;p57"/>
              <p:cNvSpPr/>
              <p:nvPr/>
            </p:nvSpPr>
            <p:spPr>
              <a:xfrm>
                <a:off x="1421567" y="2303717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9" name="Google Shape;9499;p57"/>
              <p:cNvSpPr/>
              <p:nvPr/>
            </p:nvSpPr>
            <p:spPr>
              <a:xfrm>
                <a:off x="142156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0" name="Google Shape;9500;p57"/>
              <p:cNvSpPr/>
              <p:nvPr/>
            </p:nvSpPr>
            <p:spPr>
              <a:xfrm>
                <a:off x="142156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01" name="Google Shape;9501;p57"/>
            <p:cNvGrpSpPr/>
            <p:nvPr/>
          </p:nvGrpSpPr>
          <p:grpSpPr>
            <a:xfrm>
              <a:off x="1592327" y="1179665"/>
              <a:ext cx="80700" cy="1526144"/>
              <a:chOff x="1592327" y="1179665"/>
              <a:chExt cx="80700" cy="1526144"/>
            </a:xfrm>
          </p:grpSpPr>
          <p:sp>
            <p:nvSpPr>
              <p:cNvPr id="9502" name="Google Shape;9502;p57"/>
              <p:cNvSpPr/>
              <p:nvPr/>
            </p:nvSpPr>
            <p:spPr>
              <a:xfrm>
                <a:off x="159232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3" name="Google Shape;9503;p57"/>
              <p:cNvSpPr/>
              <p:nvPr/>
            </p:nvSpPr>
            <p:spPr>
              <a:xfrm>
                <a:off x="159232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4" name="Google Shape;9504;p57"/>
              <p:cNvSpPr/>
              <p:nvPr/>
            </p:nvSpPr>
            <p:spPr>
              <a:xfrm>
                <a:off x="159232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5" name="Google Shape;9505;p57"/>
              <p:cNvSpPr/>
              <p:nvPr/>
            </p:nvSpPr>
            <p:spPr>
              <a:xfrm>
                <a:off x="159232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6" name="Google Shape;9506;p57"/>
              <p:cNvSpPr/>
              <p:nvPr/>
            </p:nvSpPr>
            <p:spPr>
              <a:xfrm>
                <a:off x="159232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7" name="Google Shape;9507;p57"/>
              <p:cNvSpPr/>
              <p:nvPr/>
            </p:nvSpPr>
            <p:spPr>
              <a:xfrm>
                <a:off x="159232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8" name="Google Shape;9508;p57"/>
              <p:cNvSpPr/>
              <p:nvPr/>
            </p:nvSpPr>
            <p:spPr>
              <a:xfrm>
                <a:off x="1592327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9" name="Google Shape;9509;p57"/>
              <p:cNvSpPr/>
              <p:nvPr/>
            </p:nvSpPr>
            <p:spPr>
              <a:xfrm>
                <a:off x="1592327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0" name="Google Shape;9510;p57"/>
              <p:cNvSpPr/>
              <p:nvPr/>
            </p:nvSpPr>
            <p:spPr>
              <a:xfrm>
                <a:off x="159232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1" name="Google Shape;9511;p57"/>
              <p:cNvSpPr/>
              <p:nvPr/>
            </p:nvSpPr>
            <p:spPr>
              <a:xfrm>
                <a:off x="159232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12" name="Google Shape;9512;p57"/>
            <p:cNvGrpSpPr/>
            <p:nvPr/>
          </p:nvGrpSpPr>
          <p:grpSpPr>
            <a:xfrm>
              <a:off x="1766187" y="1179665"/>
              <a:ext cx="80700" cy="1526144"/>
              <a:chOff x="1766187" y="1179665"/>
              <a:chExt cx="80700" cy="1526144"/>
            </a:xfrm>
          </p:grpSpPr>
          <p:sp>
            <p:nvSpPr>
              <p:cNvPr id="9513" name="Google Shape;9513;p57"/>
              <p:cNvSpPr/>
              <p:nvPr/>
            </p:nvSpPr>
            <p:spPr>
              <a:xfrm>
                <a:off x="176618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4" name="Google Shape;9514;p57"/>
              <p:cNvSpPr/>
              <p:nvPr/>
            </p:nvSpPr>
            <p:spPr>
              <a:xfrm>
                <a:off x="176618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5" name="Google Shape;9515;p57"/>
              <p:cNvSpPr/>
              <p:nvPr/>
            </p:nvSpPr>
            <p:spPr>
              <a:xfrm>
                <a:off x="176618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6" name="Google Shape;9516;p57"/>
              <p:cNvSpPr/>
              <p:nvPr/>
            </p:nvSpPr>
            <p:spPr>
              <a:xfrm>
                <a:off x="176618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7" name="Google Shape;9517;p57"/>
              <p:cNvSpPr/>
              <p:nvPr/>
            </p:nvSpPr>
            <p:spPr>
              <a:xfrm>
                <a:off x="176618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8" name="Google Shape;9518;p57"/>
              <p:cNvSpPr/>
              <p:nvPr/>
            </p:nvSpPr>
            <p:spPr>
              <a:xfrm>
                <a:off x="176618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9" name="Google Shape;9519;p57"/>
              <p:cNvSpPr/>
              <p:nvPr/>
            </p:nvSpPr>
            <p:spPr>
              <a:xfrm>
                <a:off x="1766187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0" name="Google Shape;9520;p57"/>
              <p:cNvSpPr/>
              <p:nvPr/>
            </p:nvSpPr>
            <p:spPr>
              <a:xfrm>
                <a:off x="1766187" y="2303717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1" name="Google Shape;9521;p57"/>
              <p:cNvSpPr/>
              <p:nvPr/>
            </p:nvSpPr>
            <p:spPr>
              <a:xfrm>
                <a:off x="1766187" y="2464413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2" name="Google Shape;9522;p57"/>
              <p:cNvSpPr/>
              <p:nvPr/>
            </p:nvSpPr>
            <p:spPr>
              <a:xfrm>
                <a:off x="176618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23" name="Google Shape;9523;p57"/>
            <p:cNvGrpSpPr/>
            <p:nvPr/>
          </p:nvGrpSpPr>
          <p:grpSpPr>
            <a:xfrm>
              <a:off x="1936935" y="1179665"/>
              <a:ext cx="80700" cy="1526144"/>
              <a:chOff x="1936935" y="1179665"/>
              <a:chExt cx="80700" cy="1526144"/>
            </a:xfrm>
          </p:grpSpPr>
          <p:sp>
            <p:nvSpPr>
              <p:cNvPr id="9524" name="Google Shape;9524;p57"/>
              <p:cNvSpPr/>
              <p:nvPr/>
            </p:nvSpPr>
            <p:spPr>
              <a:xfrm>
                <a:off x="193693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5" name="Google Shape;9525;p57"/>
              <p:cNvSpPr/>
              <p:nvPr/>
            </p:nvSpPr>
            <p:spPr>
              <a:xfrm>
                <a:off x="193693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6" name="Google Shape;9526;p57"/>
              <p:cNvSpPr/>
              <p:nvPr/>
            </p:nvSpPr>
            <p:spPr>
              <a:xfrm>
                <a:off x="193693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7" name="Google Shape;9527;p57"/>
              <p:cNvSpPr/>
              <p:nvPr/>
            </p:nvSpPr>
            <p:spPr>
              <a:xfrm>
                <a:off x="193693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8" name="Google Shape;9528;p57"/>
              <p:cNvSpPr/>
              <p:nvPr/>
            </p:nvSpPr>
            <p:spPr>
              <a:xfrm>
                <a:off x="1936935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9" name="Google Shape;9529;p57"/>
              <p:cNvSpPr/>
              <p:nvPr/>
            </p:nvSpPr>
            <p:spPr>
              <a:xfrm>
                <a:off x="1936935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0" name="Google Shape;9530;p57"/>
              <p:cNvSpPr/>
              <p:nvPr/>
            </p:nvSpPr>
            <p:spPr>
              <a:xfrm>
                <a:off x="193693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1" name="Google Shape;9531;p57"/>
              <p:cNvSpPr/>
              <p:nvPr/>
            </p:nvSpPr>
            <p:spPr>
              <a:xfrm>
                <a:off x="193693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2" name="Google Shape;9532;p57"/>
              <p:cNvSpPr/>
              <p:nvPr/>
            </p:nvSpPr>
            <p:spPr>
              <a:xfrm>
                <a:off x="193693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3" name="Google Shape;9533;p57"/>
              <p:cNvSpPr/>
              <p:nvPr/>
            </p:nvSpPr>
            <p:spPr>
              <a:xfrm>
                <a:off x="193693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34" name="Google Shape;9534;p57"/>
            <p:cNvGrpSpPr/>
            <p:nvPr/>
          </p:nvGrpSpPr>
          <p:grpSpPr>
            <a:xfrm>
              <a:off x="2110795" y="1179665"/>
              <a:ext cx="80700" cy="1526144"/>
              <a:chOff x="2110795" y="1179665"/>
              <a:chExt cx="80700" cy="1526144"/>
            </a:xfrm>
          </p:grpSpPr>
          <p:sp>
            <p:nvSpPr>
              <p:cNvPr id="9535" name="Google Shape;9535;p57"/>
              <p:cNvSpPr/>
              <p:nvPr/>
            </p:nvSpPr>
            <p:spPr>
              <a:xfrm>
                <a:off x="211079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6" name="Google Shape;9536;p57"/>
              <p:cNvSpPr/>
              <p:nvPr/>
            </p:nvSpPr>
            <p:spPr>
              <a:xfrm>
                <a:off x="211079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7" name="Google Shape;9537;p57"/>
              <p:cNvSpPr/>
              <p:nvPr/>
            </p:nvSpPr>
            <p:spPr>
              <a:xfrm>
                <a:off x="211079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8" name="Google Shape;9538;p57"/>
              <p:cNvSpPr/>
              <p:nvPr/>
            </p:nvSpPr>
            <p:spPr>
              <a:xfrm>
                <a:off x="211079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9" name="Google Shape;9539;p57"/>
              <p:cNvSpPr/>
              <p:nvPr/>
            </p:nvSpPr>
            <p:spPr>
              <a:xfrm>
                <a:off x="2110795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0" name="Google Shape;9540;p57"/>
              <p:cNvSpPr/>
              <p:nvPr/>
            </p:nvSpPr>
            <p:spPr>
              <a:xfrm>
                <a:off x="2110795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1" name="Google Shape;9541;p57"/>
              <p:cNvSpPr/>
              <p:nvPr/>
            </p:nvSpPr>
            <p:spPr>
              <a:xfrm>
                <a:off x="211079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2" name="Google Shape;9542;p57"/>
              <p:cNvSpPr/>
              <p:nvPr/>
            </p:nvSpPr>
            <p:spPr>
              <a:xfrm>
                <a:off x="211079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3" name="Google Shape;9543;p57"/>
              <p:cNvSpPr/>
              <p:nvPr/>
            </p:nvSpPr>
            <p:spPr>
              <a:xfrm>
                <a:off x="211079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4" name="Google Shape;9544;p57"/>
              <p:cNvSpPr/>
              <p:nvPr/>
            </p:nvSpPr>
            <p:spPr>
              <a:xfrm>
                <a:off x="211079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45" name="Google Shape;9545;p57"/>
            <p:cNvGrpSpPr/>
            <p:nvPr/>
          </p:nvGrpSpPr>
          <p:grpSpPr>
            <a:xfrm>
              <a:off x="2284655" y="1179665"/>
              <a:ext cx="80700" cy="1526144"/>
              <a:chOff x="2284655" y="1179665"/>
              <a:chExt cx="80700" cy="1526144"/>
            </a:xfrm>
          </p:grpSpPr>
          <p:sp>
            <p:nvSpPr>
              <p:cNvPr id="9546" name="Google Shape;9546;p57"/>
              <p:cNvSpPr/>
              <p:nvPr/>
            </p:nvSpPr>
            <p:spPr>
              <a:xfrm>
                <a:off x="228465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7" name="Google Shape;9547;p57"/>
              <p:cNvSpPr/>
              <p:nvPr/>
            </p:nvSpPr>
            <p:spPr>
              <a:xfrm>
                <a:off x="228465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8" name="Google Shape;9548;p57"/>
              <p:cNvSpPr/>
              <p:nvPr/>
            </p:nvSpPr>
            <p:spPr>
              <a:xfrm>
                <a:off x="228465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9" name="Google Shape;9549;p57"/>
              <p:cNvSpPr/>
              <p:nvPr/>
            </p:nvSpPr>
            <p:spPr>
              <a:xfrm>
                <a:off x="228465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0" name="Google Shape;9550;p57"/>
              <p:cNvSpPr/>
              <p:nvPr/>
            </p:nvSpPr>
            <p:spPr>
              <a:xfrm>
                <a:off x="2284655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1" name="Google Shape;9551;p57"/>
              <p:cNvSpPr/>
              <p:nvPr/>
            </p:nvSpPr>
            <p:spPr>
              <a:xfrm>
                <a:off x="2284655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2" name="Google Shape;9552;p57"/>
              <p:cNvSpPr/>
              <p:nvPr/>
            </p:nvSpPr>
            <p:spPr>
              <a:xfrm>
                <a:off x="228465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3" name="Google Shape;9553;p57"/>
              <p:cNvSpPr/>
              <p:nvPr/>
            </p:nvSpPr>
            <p:spPr>
              <a:xfrm>
                <a:off x="228465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4" name="Google Shape;9554;p57"/>
              <p:cNvSpPr/>
              <p:nvPr/>
            </p:nvSpPr>
            <p:spPr>
              <a:xfrm>
                <a:off x="228465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5" name="Google Shape;9555;p57"/>
              <p:cNvSpPr/>
              <p:nvPr/>
            </p:nvSpPr>
            <p:spPr>
              <a:xfrm>
                <a:off x="228465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556" name="Google Shape;9556;p57"/>
          <p:cNvGrpSpPr/>
          <p:nvPr/>
        </p:nvGrpSpPr>
        <p:grpSpPr>
          <a:xfrm>
            <a:off x="2623904" y="1198803"/>
            <a:ext cx="1364248" cy="1102133"/>
            <a:chOff x="2623904" y="1198803"/>
            <a:chExt cx="1364248" cy="1102133"/>
          </a:xfrm>
        </p:grpSpPr>
        <p:grpSp>
          <p:nvGrpSpPr>
            <p:cNvPr id="9557" name="Google Shape;9557;p57"/>
            <p:cNvGrpSpPr/>
            <p:nvPr/>
          </p:nvGrpSpPr>
          <p:grpSpPr>
            <a:xfrm>
              <a:off x="2623907" y="1198803"/>
              <a:ext cx="1364245" cy="273000"/>
              <a:chOff x="2623907" y="1198803"/>
              <a:chExt cx="1364245" cy="273000"/>
            </a:xfrm>
          </p:grpSpPr>
          <p:sp>
            <p:nvSpPr>
              <p:cNvPr id="9558" name="Google Shape;9558;p57"/>
              <p:cNvSpPr/>
              <p:nvPr/>
            </p:nvSpPr>
            <p:spPr>
              <a:xfrm>
                <a:off x="3715152" y="1198803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9" name="Google Shape;9559;p57"/>
              <p:cNvSpPr/>
              <p:nvPr/>
            </p:nvSpPr>
            <p:spPr>
              <a:xfrm>
                <a:off x="2623907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0" name="Google Shape;9560;p57"/>
              <p:cNvSpPr/>
              <p:nvPr/>
            </p:nvSpPr>
            <p:spPr>
              <a:xfrm>
                <a:off x="2896718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1" name="Google Shape;9561;p57"/>
              <p:cNvSpPr/>
              <p:nvPr/>
            </p:nvSpPr>
            <p:spPr>
              <a:xfrm>
                <a:off x="3169529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2" name="Google Shape;9562;p57"/>
              <p:cNvSpPr/>
              <p:nvPr/>
            </p:nvSpPr>
            <p:spPr>
              <a:xfrm>
                <a:off x="3442341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63" name="Google Shape;9563;p57"/>
            <p:cNvGrpSpPr/>
            <p:nvPr/>
          </p:nvGrpSpPr>
          <p:grpSpPr>
            <a:xfrm>
              <a:off x="2623904" y="1476964"/>
              <a:ext cx="1364245" cy="273000"/>
              <a:chOff x="2623904" y="1476964"/>
              <a:chExt cx="1364245" cy="273000"/>
            </a:xfrm>
          </p:grpSpPr>
          <p:sp>
            <p:nvSpPr>
              <p:cNvPr id="9564" name="Google Shape;9564;p57"/>
              <p:cNvSpPr/>
              <p:nvPr/>
            </p:nvSpPr>
            <p:spPr>
              <a:xfrm>
                <a:off x="3169527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5" name="Google Shape;9565;p57"/>
              <p:cNvSpPr/>
              <p:nvPr/>
            </p:nvSpPr>
            <p:spPr>
              <a:xfrm>
                <a:off x="3442338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6" name="Google Shape;9566;p57"/>
              <p:cNvSpPr/>
              <p:nvPr/>
            </p:nvSpPr>
            <p:spPr>
              <a:xfrm>
                <a:off x="3715149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7" name="Google Shape;9567;p57"/>
              <p:cNvSpPr/>
              <p:nvPr/>
            </p:nvSpPr>
            <p:spPr>
              <a:xfrm>
                <a:off x="2623904" y="1476964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8" name="Google Shape;9568;p57"/>
              <p:cNvSpPr/>
              <p:nvPr/>
            </p:nvSpPr>
            <p:spPr>
              <a:xfrm>
                <a:off x="2896716" y="1476964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69" name="Google Shape;9569;p57"/>
            <p:cNvGrpSpPr/>
            <p:nvPr/>
          </p:nvGrpSpPr>
          <p:grpSpPr>
            <a:xfrm>
              <a:off x="2623907" y="1749775"/>
              <a:ext cx="1364245" cy="273000"/>
              <a:chOff x="2623907" y="1749775"/>
              <a:chExt cx="1364245" cy="273000"/>
            </a:xfrm>
          </p:grpSpPr>
          <p:sp>
            <p:nvSpPr>
              <p:cNvPr id="9570" name="Google Shape;9570;p57"/>
              <p:cNvSpPr/>
              <p:nvPr/>
            </p:nvSpPr>
            <p:spPr>
              <a:xfrm>
                <a:off x="3442341" y="1749775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1" name="Google Shape;9571;p57"/>
              <p:cNvSpPr/>
              <p:nvPr/>
            </p:nvSpPr>
            <p:spPr>
              <a:xfrm>
                <a:off x="3715152" y="1749775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2" name="Google Shape;9572;p57"/>
              <p:cNvSpPr/>
              <p:nvPr/>
            </p:nvSpPr>
            <p:spPr>
              <a:xfrm>
                <a:off x="2623907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3" name="Google Shape;9573;p57"/>
              <p:cNvSpPr/>
              <p:nvPr/>
            </p:nvSpPr>
            <p:spPr>
              <a:xfrm>
                <a:off x="2896718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4" name="Google Shape;9574;p57"/>
              <p:cNvSpPr/>
              <p:nvPr/>
            </p:nvSpPr>
            <p:spPr>
              <a:xfrm>
                <a:off x="3169529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75" name="Google Shape;9575;p57"/>
            <p:cNvGrpSpPr/>
            <p:nvPr/>
          </p:nvGrpSpPr>
          <p:grpSpPr>
            <a:xfrm>
              <a:off x="2623904" y="2027936"/>
              <a:ext cx="1364245" cy="273000"/>
              <a:chOff x="2623904" y="2027936"/>
              <a:chExt cx="1364245" cy="273000"/>
            </a:xfrm>
          </p:grpSpPr>
          <p:sp>
            <p:nvSpPr>
              <p:cNvPr id="9576" name="Google Shape;9576;p57"/>
              <p:cNvSpPr/>
              <p:nvPr/>
            </p:nvSpPr>
            <p:spPr>
              <a:xfrm>
                <a:off x="2623904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7" name="Google Shape;9577;p57"/>
              <p:cNvSpPr/>
              <p:nvPr/>
            </p:nvSpPr>
            <p:spPr>
              <a:xfrm>
                <a:off x="2896716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8" name="Google Shape;9578;p57"/>
              <p:cNvSpPr/>
              <p:nvPr/>
            </p:nvSpPr>
            <p:spPr>
              <a:xfrm>
                <a:off x="3169527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9" name="Google Shape;9579;p57"/>
              <p:cNvSpPr/>
              <p:nvPr/>
            </p:nvSpPr>
            <p:spPr>
              <a:xfrm>
                <a:off x="3442338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80" name="Google Shape;9580;p57"/>
              <p:cNvSpPr/>
              <p:nvPr/>
            </p:nvSpPr>
            <p:spPr>
              <a:xfrm>
                <a:off x="3715149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581" name="Google Shape;9581;p57"/>
          <p:cNvGrpSpPr/>
          <p:nvPr/>
        </p:nvGrpSpPr>
        <p:grpSpPr>
          <a:xfrm>
            <a:off x="2613365" y="2657986"/>
            <a:ext cx="1387541" cy="159124"/>
            <a:chOff x="3200660" y="2180272"/>
            <a:chExt cx="2563824" cy="378237"/>
          </a:xfrm>
        </p:grpSpPr>
        <p:sp>
          <p:nvSpPr>
            <p:cNvPr id="9582" name="Google Shape;9582;p57"/>
            <p:cNvSpPr/>
            <p:nvPr/>
          </p:nvSpPr>
          <p:spPr>
            <a:xfrm>
              <a:off x="320066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6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6" y="37890"/>
                  </a:cubicBezTo>
                  <a:lnTo>
                    <a:pt x="7922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22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3" name="Google Shape;9583;p57"/>
            <p:cNvSpPr/>
            <p:nvPr/>
          </p:nvSpPr>
          <p:spPr>
            <a:xfrm>
              <a:off x="3345104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4" name="Google Shape;9584;p57"/>
            <p:cNvSpPr/>
            <p:nvPr/>
          </p:nvSpPr>
          <p:spPr>
            <a:xfrm>
              <a:off x="3489548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1" y="1"/>
                  </a:moveTo>
                  <a:cubicBezTo>
                    <a:pt x="276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21" y="37890"/>
                  </a:cubicBezTo>
                  <a:lnTo>
                    <a:pt x="7937" y="37890"/>
                  </a:lnTo>
                  <a:cubicBezTo>
                    <a:pt x="8281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81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5" name="Google Shape;9585;p57"/>
            <p:cNvSpPr/>
            <p:nvPr/>
          </p:nvSpPr>
          <p:spPr>
            <a:xfrm>
              <a:off x="3633992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21" y="1"/>
                  </a:moveTo>
                  <a:cubicBezTo>
                    <a:pt x="277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7" y="37890"/>
                    <a:pt x="621" y="37890"/>
                  </a:cubicBezTo>
                  <a:lnTo>
                    <a:pt x="7937" y="37890"/>
                  </a:lnTo>
                  <a:cubicBezTo>
                    <a:pt x="8268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8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6" name="Google Shape;9586;p57"/>
            <p:cNvSpPr/>
            <p:nvPr/>
          </p:nvSpPr>
          <p:spPr>
            <a:xfrm>
              <a:off x="3778448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6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06" y="37876"/>
                  </a:cubicBezTo>
                  <a:lnTo>
                    <a:pt x="7936" y="37876"/>
                  </a:lnTo>
                  <a:cubicBezTo>
                    <a:pt x="8267" y="37876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7" name="Google Shape;9587;p57"/>
            <p:cNvSpPr/>
            <p:nvPr/>
          </p:nvSpPr>
          <p:spPr>
            <a:xfrm>
              <a:off x="3922892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8" name="Google Shape;9588;p57"/>
            <p:cNvSpPr/>
            <p:nvPr/>
          </p:nvSpPr>
          <p:spPr>
            <a:xfrm>
              <a:off x="4067336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9" name="Google Shape;9589;p57"/>
            <p:cNvSpPr/>
            <p:nvPr/>
          </p:nvSpPr>
          <p:spPr>
            <a:xfrm>
              <a:off x="4211780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21" y="1"/>
                  </a:moveTo>
                  <a:cubicBezTo>
                    <a:pt x="276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21" y="37890"/>
                  </a:cubicBezTo>
                  <a:lnTo>
                    <a:pt x="7937" y="37890"/>
                  </a:lnTo>
                  <a:cubicBezTo>
                    <a:pt x="8281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81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0" name="Google Shape;9590;p57"/>
            <p:cNvSpPr/>
            <p:nvPr/>
          </p:nvSpPr>
          <p:spPr>
            <a:xfrm>
              <a:off x="4356236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20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20" y="37876"/>
                  </a:cubicBezTo>
                  <a:lnTo>
                    <a:pt x="7936" y="37876"/>
                  </a:lnTo>
                  <a:cubicBezTo>
                    <a:pt x="8267" y="37876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1" name="Google Shape;9591;p57"/>
            <p:cNvSpPr/>
            <p:nvPr/>
          </p:nvSpPr>
          <p:spPr>
            <a:xfrm>
              <a:off x="450068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6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6" y="37890"/>
                  </a:cubicBezTo>
                  <a:lnTo>
                    <a:pt x="7936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77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2" name="Google Shape;9592;p57"/>
            <p:cNvSpPr/>
            <p:nvPr/>
          </p:nvSpPr>
          <p:spPr>
            <a:xfrm>
              <a:off x="4645124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7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07" y="37876"/>
                  </a:cubicBezTo>
                  <a:lnTo>
                    <a:pt x="7936" y="37876"/>
                  </a:lnTo>
                  <a:cubicBezTo>
                    <a:pt x="8267" y="37876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3" name="Google Shape;9593;p57"/>
            <p:cNvSpPr/>
            <p:nvPr/>
          </p:nvSpPr>
          <p:spPr>
            <a:xfrm>
              <a:off x="4789568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4" name="Google Shape;9594;p57"/>
            <p:cNvSpPr/>
            <p:nvPr/>
          </p:nvSpPr>
          <p:spPr>
            <a:xfrm>
              <a:off x="4934012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3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3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5" name="Google Shape;9595;p57"/>
            <p:cNvSpPr/>
            <p:nvPr/>
          </p:nvSpPr>
          <p:spPr>
            <a:xfrm>
              <a:off x="5078456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0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20" y="37890"/>
                  </a:cubicBezTo>
                  <a:lnTo>
                    <a:pt x="7936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77"/>
                    <a:pt x="8267" y="1"/>
                    <a:pt x="7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6" name="Google Shape;9596;p57"/>
            <p:cNvSpPr/>
            <p:nvPr/>
          </p:nvSpPr>
          <p:spPr>
            <a:xfrm>
              <a:off x="522290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0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20" y="37890"/>
                  </a:cubicBezTo>
                  <a:lnTo>
                    <a:pt x="7936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7" name="Google Shape;9597;p57"/>
            <p:cNvSpPr/>
            <p:nvPr/>
          </p:nvSpPr>
          <p:spPr>
            <a:xfrm>
              <a:off x="5367343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76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07" y="37890"/>
                  </a:cubicBezTo>
                  <a:lnTo>
                    <a:pt x="7937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3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8" name="Google Shape;9598;p57"/>
            <p:cNvSpPr/>
            <p:nvPr/>
          </p:nvSpPr>
          <p:spPr>
            <a:xfrm>
              <a:off x="5511787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7" y="1"/>
                  </a:moveTo>
                  <a:cubicBezTo>
                    <a:pt x="276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76"/>
                    <a:pt x="607" y="37876"/>
                  </a:cubicBezTo>
                  <a:lnTo>
                    <a:pt x="7923" y="37876"/>
                  </a:lnTo>
                  <a:cubicBezTo>
                    <a:pt x="8267" y="37876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9" name="Google Shape;9599;p57"/>
            <p:cNvSpPr/>
            <p:nvPr/>
          </p:nvSpPr>
          <p:spPr>
            <a:xfrm>
              <a:off x="5656231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07" y="1"/>
                  </a:moveTo>
                  <a:cubicBezTo>
                    <a:pt x="263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3" y="37890"/>
                    <a:pt x="607" y="37890"/>
                  </a:cubicBezTo>
                  <a:lnTo>
                    <a:pt x="7923" y="37890"/>
                  </a:lnTo>
                  <a:cubicBezTo>
                    <a:pt x="8268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8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0" name="Google Shape;9600;p57"/>
          <p:cNvGrpSpPr/>
          <p:nvPr/>
        </p:nvGrpSpPr>
        <p:grpSpPr>
          <a:xfrm>
            <a:off x="2609890" y="2935811"/>
            <a:ext cx="1390502" cy="159625"/>
            <a:chOff x="3530150" y="2790075"/>
            <a:chExt cx="1962600" cy="225300"/>
          </a:xfrm>
        </p:grpSpPr>
        <p:sp>
          <p:nvSpPr>
            <p:cNvPr id="9601" name="Google Shape;9601;p57"/>
            <p:cNvSpPr/>
            <p:nvPr/>
          </p:nvSpPr>
          <p:spPr>
            <a:xfrm>
              <a:off x="3530150" y="2790075"/>
              <a:ext cx="1962600" cy="225300"/>
            </a:xfrm>
            <a:prstGeom prst="rec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2" name="Google Shape;9602;p57"/>
            <p:cNvSpPr/>
            <p:nvPr/>
          </p:nvSpPr>
          <p:spPr>
            <a:xfrm>
              <a:off x="3535069" y="2794464"/>
              <a:ext cx="1104900" cy="216900"/>
            </a:xfrm>
            <a:prstGeom prst="rect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3" name="Google Shape;9603;p57"/>
          <p:cNvGrpSpPr/>
          <p:nvPr/>
        </p:nvGrpSpPr>
        <p:grpSpPr>
          <a:xfrm>
            <a:off x="2610543" y="3214137"/>
            <a:ext cx="1411629" cy="153761"/>
            <a:chOff x="3558802" y="4011427"/>
            <a:chExt cx="1866000" cy="111300"/>
          </a:xfrm>
        </p:grpSpPr>
        <p:sp>
          <p:nvSpPr>
            <p:cNvPr id="9604" name="Google Shape;9604;p57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5" name="Google Shape;9605;p57"/>
            <p:cNvSpPr/>
            <p:nvPr/>
          </p:nvSpPr>
          <p:spPr>
            <a:xfrm rot="5400000" flipH="1">
              <a:off x="4162472" y="3415277"/>
              <a:ext cx="104700" cy="13047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6" name="Google Shape;9606;p57"/>
          <p:cNvGrpSpPr/>
          <p:nvPr/>
        </p:nvGrpSpPr>
        <p:grpSpPr>
          <a:xfrm>
            <a:off x="2610235" y="2419536"/>
            <a:ext cx="1383503" cy="119749"/>
            <a:chOff x="3465975" y="2270276"/>
            <a:chExt cx="1986364" cy="171929"/>
          </a:xfrm>
        </p:grpSpPr>
        <p:sp>
          <p:nvSpPr>
            <p:cNvPr id="9607" name="Google Shape;9607;p57"/>
            <p:cNvSpPr/>
            <p:nvPr/>
          </p:nvSpPr>
          <p:spPr>
            <a:xfrm rot="-5400000">
              <a:off x="3725184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8" name="Google Shape;9608;p57"/>
            <p:cNvSpPr/>
            <p:nvPr/>
          </p:nvSpPr>
          <p:spPr>
            <a:xfrm rot="-5400000">
              <a:off x="3984394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9" name="Google Shape;9609;p57"/>
            <p:cNvSpPr/>
            <p:nvPr/>
          </p:nvSpPr>
          <p:spPr>
            <a:xfrm rot="-5400000">
              <a:off x="4243603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0" name="Google Shape;9610;p57"/>
            <p:cNvSpPr/>
            <p:nvPr/>
          </p:nvSpPr>
          <p:spPr>
            <a:xfrm rot="-5400000">
              <a:off x="4502812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1" name="Google Shape;9611;p57"/>
            <p:cNvSpPr/>
            <p:nvPr/>
          </p:nvSpPr>
          <p:spPr>
            <a:xfrm rot="-5400000">
              <a:off x="4762021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2" name="Google Shape;9612;p57"/>
            <p:cNvSpPr/>
            <p:nvPr/>
          </p:nvSpPr>
          <p:spPr>
            <a:xfrm rot="-5400000">
              <a:off x="3465975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3" name="Google Shape;9613;p57"/>
            <p:cNvSpPr/>
            <p:nvPr/>
          </p:nvSpPr>
          <p:spPr>
            <a:xfrm rot="-5400000">
              <a:off x="5021230" y="2270276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4" name="Google Shape;9614;p57"/>
            <p:cNvSpPr/>
            <p:nvPr/>
          </p:nvSpPr>
          <p:spPr>
            <a:xfrm rot="-5400000">
              <a:off x="5280440" y="2270276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15" name="Google Shape;9615;p57"/>
          <p:cNvGrpSpPr/>
          <p:nvPr/>
        </p:nvGrpSpPr>
        <p:grpSpPr>
          <a:xfrm>
            <a:off x="2621243" y="3783187"/>
            <a:ext cx="1369531" cy="195460"/>
            <a:chOff x="723300" y="4253549"/>
            <a:chExt cx="2276482" cy="324900"/>
          </a:xfrm>
        </p:grpSpPr>
        <p:sp>
          <p:nvSpPr>
            <p:cNvPr id="9616" name="Google Shape;9616;p57"/>
            <p:cNvSpPr/>
            <p:nvPr/>
          </p:nvSpPr>
          <p:spPr>
            <a:xfrm>
              <a:off x="723300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7" name="Google Shape;9617;p57"/>
            <p:cNvSpPr/>
            <p:nvPr/>
          </p:nvSpPr>
          <p:spPr>
            <a:xfrm>
              <a:off x="1206995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8" name="Google Shape;9618;p57"/>
            <p:cNvSpPr/>
            <p:nvPr/>
          </p:nvSpPr>
          <p:spPr>
            <a:xfrm>
              <a:off x="1690691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9" name="Google Shape;9619;p57"/>
            <p:cNvSpPr/>
            <p:nvPr/>
          </p:nvSpPr>
          <p:spPr>
            <a:xfrm>
              <a:off x="2174386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0" name="Google Shape;9620;p57"/>
            <p:cNvSpPr/>
            <p:nvPr/>
          </p:nvSpPr>
          <p:spPr>
            <a:xfrm>
              <a:off x="2658082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21" name="Google Shape;9621;p57"/>
          <p:cNvGrpSpPr/>
          <p:nvPr/>
        </p:nvGrpSpPr>
        <p:grpSpPr>
          <a:xfrm>
            <a:off x="2610803" y="3484367"/>
            <a:ext cx="1389066" cy="180119"/>
            <a:chOff x="705948" y="3788465"/>
            <a:chExt cx="2308953" cy="299400"/>
          </a:xfrm>
        </p:grpSpPr>
        <p:sp>
          <p:nvSpPr>
            <p:cNvPr id="9622" name="Google Shape;9622;p57"/>
            <p:cNvSpPr/>
            <p:nvPr/>
          </p:nvSpPr>
          <p:spPr>
            <a:xfrm>
              <a:off x="705948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3" name="Google Shape;9623;p57"/>
            <p:cNvSpPr/>
            <p:nvPr/>
          </p:nvSpPr>
          <p:spPr>
            <a:xfrm>
              <a:off x="1209923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4" name="Google Shape;9624;p57"/>
            <p:cNvSpPr/>
            <p:nvPr/>
          </p:nvSpPr>
          <p:spPr>
            <a:xfrm>
              <a:off x="1713905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5" name="Google Shape;9625;p57"/>
            <p:cNvSpPr/>
            <p:nvPr/>
          </p:nvSpPr>
          <p:spPr>
            <a:xfrm>
              <a:off x="2189639" y="3788465"/>
              <a:ext cx="335400" cy="299400"/>
            </a:xfrm>
            <a:prstGeom prst="hear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6" name="Google Shape;9626;p57"/>
            <p:cNvSpPr/>
            <p:nvPr/>
          </p:nvSpPr>
          <p:spPr>
            <a:xfrm>
              <a:off x="2679500" y="3788465"/>
              <a:ext cx="335400" cy="299400"/>
            </a:xfrm>
            <a:prstGeom prst="hear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27" name="Google Shape;9627;p57"/>
          <p:cNvGrpSpPr/>
          <p:nvPr/>
        </p:nvGrpSpPr>
        <p:grpSpPr>
          <a:xfrm>
            <a:off x="2658741" y="4097347"/>
            <a:ext cx="1304609" cy="294074"/>
            <a:chOff x="2658741" y="4097347"/>
            <a:chExt cx="1304609" cy="294074"/>
          </a:xfrm>
        </p:grpSpPr>
        <p:grpSp>
          <p:nvGrpSpPr>
            <p:cNvPr id="9628" name="Google Shape;9628;p57"/>
            <p:cNvGrpSpPr/>
            <p:nvPr/>
          </p:nvGrpSpPr>
          <p:grpSpPr>
            <a:xfrm>
              <a:off x="2658741" y="4097347"/>
              <a:ext cx="118572" cy="294074"/>
              <a:chOff x="3343310" y="4475555"/>
              <a:chExt cx="127717" cy="316753"/>
            </a:xfrm>
          </p:grpSpPr>
          <p:sp>
            <p:nvSpPr>
              <p:cNvPr id="9629" name="Google Shape;9629;p57"/>
              <p:cNvSpPr/>
              <p:nvPr/>
            </p:nvSpPr>
            <p:spPr>
              <a:xfrm>
                <a:off x="3343310" y="4535967"/>
                <a:ext cx="127717" cy="256341"/>
              </a:xfrm>
              <a:custGeom>
                <a:avLst/>
                <a:gdLst/>
                <a:ahLst/>
                <a:cxnLst/>
                <a:rect l="l" t="t" r="r" b="b"/>
                <a:pathLst>
                  <a:path w="77995" h="156544" extrusionOk="0">
                    <a:moveTo>
                      <a:pt x="18496" y="1"/>
                    </a:moveTo>
                    <a:cubicBezTo>
                      <a:pt x="8514" y="1"/>
                      <a:pt x="359" y="8123"/>
                      <a:pt x="327" y="18105"/>
                    </a:cubicBezTo>
                    <a:lnTo>
                      <a:pt x="33" y="74537"/>
                    </a:lnTo>
                    <a:cubicBezTo>
                      <a:pt x="0" y="78778"/>
                      <a:pt x="3425" y="82235"/>
                      <a:pt x="7666" y="82268"/>
                    </a:cubicBezTo>
                    <a:lnTo>
                      <a:pt x="7731" y="82268"/>
                    </a:lnTo>
                    <a:cubicBezTo>
                      <a:pt x="11939" y="82268"/>
                      <a:pt x="15364" y="78843"/>
                      <a:pt x="15397" y="74635"/>
                    </a:cubicBezTo>
                    <a:lnTo>
                      <a:pt x="15691" y="18170"/>
                    </a:lnTo>
                    <a:cubicBezTo>
                      <a:pt x="15691" y="17341"/>
                      <a:pt x="16344" y="16668"/>
                      <a:pt x="17166" y="16668"/>
                    </a:cubicBezTo>
                    <a:cubicBezTo>
                      <a:pt x="17185" y="16668"/>
                      <a:pt x="17204" y="16669"/>
                      <a:pt x="17224" y="16669"/>
                    </a:cubicBezTo>
                    <a:cubicBezTo>
                      <a:pt x="18039" y="16669"/>
                      <a:pt x="18724" y="17355"/>
                      <a:pt x="18724" y="18170"/>
                    </a:cubicBezTo>
                    <a:lnTo>
                      <a:pt x="18724" y="147345"/>
                    </a:lnTo>
                    <a:cubicBezTo>
                      <a:pt x="18724" y="152433"/>
                      <a:pt x="22867" y="156543"/>
                      <a:pt x="27956" y="156543"/>
                    </a:cubicBezTo>
                    <a:cubicBezTo>
                      <a:pt x="33044" y="156543"/>
                      <a:pt x="37187" y="152433"/>
                      <a:pt x="37187" y="147345"/>
                    </a:cubicBezTo>
                    <a:lnTo>
                      <a:pt x="37187" y="73656"/>
                    </a:lnTo>
                    <a:lnTo>
                      <a:pt x="41167" y="73656"/>
                    </a:lnTo>
                    <a:lnTo>
                      <a:pt x="41167" y="147345"/>
                    </a:lnTo>
                    <a:cubicBezTo>
                      <a:pt x="41167" y="152433"/>
                      <a:pt x="45277" y="156543"/>
                      <a:pt x="50365" y="156543"/>
                    </a:cubicBezTo>
                    <a:cubicBezTo>
                      <a:pt x="55454" y="156543"/>
                      <a:pt x="59597" y="152433"/>
                      <a:pt x="59597" y="147345"/>
                    </a:cubicBezTo>
                    <a:cubicBezTo>
                      <a:pt x="59597" y="25477"/>
                      <a:pt x="59434" y="95153"/>
                      <a:pt x="59434" y="18300"/>
                    </a:cubicBezTo>
                    <a:cubicBezTo>
                      <a:pt x="59434" y="17420"/>
                      <a:pt x="60119" y="16702"/>
                      <a:pt x="60967" y="16669"/>
                    </a:cubicBezTo>
                    <a:cubicBezTo>
                      <a:pt x="60988" y="16669"/>
                      <a:pt x="61009" y="16668"/>
                      <a:pt x="61030" y="16668"/>
                    </a:cubicBezTo>
                    <a:cubicBezTo>
                      <a:pt x="61882" y="16668"/>
                      <a:pt x="62567" y="17310"/>
                      <a:pt x="62631" y="18170"/>
                    </a:cubicBezTo>
                    <a:lnTo>
                      <a:pt x="62598" y="74570"/>
                    </a:lnTo>
                    <a:cubicBezTo>
                      <a:pt x="62598" y="78810"/>
                      <a:pt x="66023" y="82268"/>
                      <a:pt x="70264" y="82268"/>
                    </a:cubicBezTo>
                    <a:cubicBezTo>
                      <a:pt x="74504" y="82268"/>
                      <a:pt x="77962" y="78843"/>
                      <a:pt x="77962" y="74602"/>
                    </a:cubicBezTo>
                    <a:lnTo>
                      <a:pt x="77994" y="18137"/>
                    </a:lnTo>
                    <a:cubicBezTo>
                      <a:pt x="77994" y="18137"/>
                      <a:pt x="77994" y="18105"/>
                      <a:pt x="77994" y="18105"/>
                    </a:cubicBezTo>
                    <a:cubicBezTo>
                      <a:pt x="77962" y="8123"/>
                      <a:pt x="69807" y="1"/>
                      <a:pt x="59825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0" name="Google Shape;9630;p57"/>
              <p:cNvSpPr/>
              <p:nvPr/>
            </p:nvSpPr>
            <p:spPr>
              <a:xfrm>
                <a:off x="3381341" y="4475555"/>
                <a:ext cx="52189" cy="52135"/>
              </a:xfrm>
              <a:custGeom>
                <a:avLst/>
                <a:gdLst/>
                <a:ahLst/>
                <a:cxnLst/>
                <a:rect l="l" t="t" r="r" b="b"/>
                <a:pathLst>
                  <a:path w="31871" h="31838" extrusionOk="0">
                    <a:moveTo>
                      <a:pt x="15952" y="1"/>
                    </a:moveTo>
                    <a:cubicBezTo>
                      <a:pt x="7144" y="1"/>
                      <a:pt x="1" y="7112"/>
                      <a:pt x="1" y="15919"/>
                    </a:cubicBezTo>
                    <a:cubicBezTo>
                      <a:pt x="1" y="24694"/>
                      <a:pt x="7144" y="31838"/>
                      <a:pt x="15952" y="31838"/>
                    </a:cubicBezTo>
                    <a:cubicBezTo>
                      <a:pt x="24727" y="31838"/>
                      <a:pt x="31870" y="24694"/>
                      <a:pt x="31870" y="15919"/>
                    </a:cubicBezTo>
                    <a:cubicBezTo>
                      <a:pt x="31870" y="7112"/>
                      <a:pt x="24727" y="1"/>
                      <a:pt x="1595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1" name="Google Shape;9631;p57"/>
            <p:cNvGrpSpPr/>
            <p:nvPr/>
          </p:nvGrpSpPr>
          <p:grpSpPr>
            <a:xfrm>
              <a:off x="3815519" y="4098388"/>
              <a:ext cx="147831" cy="291991"/>
              <a:chOff x="3527539" y="4476677"/>
              <a:chExt cx="159232" cy="314510"/>
            </a:xfrm>
          </p:grpSpPr>
          <p:sp>
            <p:nvSpPr>
              <p:cNvPr id="9632" name="Google Shape;9632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3" name="Google Shape;9633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4" name="Google Shape;9634;p57"/>
            <p:cNvGrpSpPr/>
            <p:nvPr/>
          </p:nvGrpSpPr>
          <p:grpSpPr>
            <a:xfrm>
              <a:off x="3511696" y="4098388"/>
              <a:ext cx="147831" cy="291991"/>
              <a:chOff x="3527539" y="4476677"/>
              <a:chExt cx="159232" cy="314510"/>
            </a:xfrm>
          </p:grpSpPr>
          <p:sp>
            <p:nvSpPr>
              <p:cNvPr id="9635" name="Google Shape;9635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6" name="Google Shape;9636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7" name="Google Shape;9637;p57"/>
            <p:cNvGrpSpPr/>
            <p:nvPr/>
          </p:nvGrpSpPr>
          <p:grpSpPr>
            <a:xfrm>
              <a:off x="3207874" y="4098388"/>
              <a:ext cx="147831" cy="291991"/>
              <a:chOff x="3527539" y="4476677"/>
              <a:chExt cx="159232" cy="314510"/>
            </a:xfrm>
          </p:grpSpPr>
          <p:sp>
            <p:nvSpPr>
              <p:cNvPr id="9638" name="Google Shape;9638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9" name="Google Shape;9639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40" name="Google Shape;9640;p57"/>
            <p:cNvGrpSpPr/>
            <p:nvPr/>
          </p:nvGrpSpPr>
          <p:grpSpPr>
            <a:xfrm>
              <a:off x="2933305" y="4097347"/>
              <a:ext cx="118572" cy="294074"/>
              <a:chOff x="3343310" y="4475555"/>
              <a:chExt cx="127717" cy="316753"/>
            </a:xfrm>
          </p:grpSpPr>
          <p:sp>
            <p:nvSpPr>
              <p:cNvPr id="9641" name="Google Shape;9641;p57"/>
              <p:cNvSpPr/>
              <p:nvPr/>
            </p:nvSpPr>
            <p:spPr>
              <a:xfrm>
                <a:off x="3343310" y="4535967"/>
                <a:ext cx="127717" cy="256341"/>
              </a:xfrm>
              <a:custGeom>
                <a:avLst/>
                <a:gdLst/>
                <a:ahLst/>
                <a:cxnLst/>
                <a:rect l="l" t="t" r="r" b="b"/>
                <a:pathLst>
                  <a:path w="77995" h="156544" extrusionOk="0">
                    <a:moveTo>
                      <a:pt x="18496" y="1"/>
                    </a:moveTo>
                    <a:cubicBezTo>
                      <a:pt x="8514" y="1"/>
                      <a:pt x="359" y="8123"/>
                      <a:pt x="327" y="18105"/>
                    </a:cubicBezTo>
                    <a:lnTo>
                      <a:pt x="33" y="74537"/>
                    </a:lnTo>
                    <a:cubicBezTo>
                      <a:pt x="0" y="78778"/>
                      <a:pt x="3425" y="82235"/>
                      <a:pt x="7666" y="82268"/>
                    </a:cubicBezTo>
                    <a:lnTo>
                      <a:pt x="7731" y="82268"/>
                    </a:lnTo>
                    <a:cubicBezTo>
                      <a:pt x="11939" y="82268"/>
                      <a:pt x="15364" y="78843"/>
                      <a:pt x="15397" y="74635"/>
                    </a:cubicBezTo>
                    <a:lnTo>
                      <a:pt x="15691" y="18170"/>
                    </a:lnTo>
                    <a:cubicBezTo>
                      <a:pt x="15691" y="17341"/>
                      <a:pt x="16344" y="16668"/>
                      <a:pt x="17166" y="16668"/>
                    </a:cubicBezTo>
                    <a:cubicBezTo>
                      <a:pt x="17185" y="16668"/>
                      <a:pt x="17204" y="16669"/>
                      <a:pt x="17224" y="16669"/>
                    </a:cubicBezTo>
                    <a:cubicBezTo>
                      <a:pt x="18039" y="16669"/>
                      <a:pt x="18724" y="17355"/>
                      <a:pt x="18724" y="18170"/>
                    </a:cubicBezTo>
                    <a:lnTo>
                      <a:pt x="18724" y="147345"/>
                    </a:lnTo>
                    <a:cubicBezTo>
                      <a:pt x="18724" y="152433"/>
                      <a:pt x="22867" y="156543"/>
                      <a:pt x="27956" y="156543"/>
                    </a:cubicBezTo>
                    <a:cubicBezTo>
                      <a:pt x="33044" y="156543"/>
                      <a:pt x="37187" y="152433"/>
                      <a:pt x="37187" y="147345"/>
                    </a:cubicBezTo>
                    <a:lnTo>
                      <a:pt x="37187" y="73656"/>
                    </a:lnTo>
                    <a:lnTo>
                      <a:pt x="41167" y="73656"/>
                    </a:lnTo>
                    <a:lnTo>
                      <a:pt x="41167" y="147345"/>
                    </a:lnTo>
                    <a:cubicBezTo>
                      <a:pt x="41167" y="152433"/>
                      <a:pt x="45277" y="156543"/>
                      <a:pt x="50365" y="156543"/>
                    </a:cubicBezTo>
                    <a:cubicBezTo>
                      <a:pt x="55454" y="156543"/>
                      <a:pt x="59597" y="152433"/>
                      <a:pt x="59597" y="147345"/>
                    </a:cubicBezTo>
                    <a:cubicBezTo>
                      <a:pt x="59597" y="25477"/>
                      <a:pt x="59434" y="95153"/>
                      <a:pt x="59434" y="18300"/>
                    </a:cubicBezTo>
                    <a:cubicBezTo>
                      <a:pt x="59434" y="17420"/>
                      <a:pt x="60119" y="16702"/>
                      <a:pt x="60967" y="16669"/>
                    </a:cubicBezTo>
                    <a:cubicBezTo>
                      <a:pt x="60988" y="16669"/>
                      <a:pt x="61009" y="16668"/>
                      <a:pt x="61030" y="16668"/>
                    </a:cubicBezTo>
                    <a:cubicBezTo>
                      <a:pt x="61882" y="16668"/>
                      <a:pt x="62567" y="17310"/>
                      <a:pt x="62631" y="18170"/>
                    </a:cubicBezTo>
                    <a:lnTo>
                      <a:pt x="62598" y="74570"/>
                    </a:lnTo>
                    <a:cubicBezTo>
                      <a:pt x="62598" y="78810"/>
                      <a:pt x="66023" y="82268"/>
                      <a:pt x="70264" y="82268"/>
                    </a:cubicBezTo>
                    <a:cubicBezTo>
                      <a:pt x="74504" y="82268"/>
                      <a:pt x="77962" y="78843"/>
                      <a:pt x="77962" y="74602"/>
                    </a:cubicBezTo>
                    <a:lnTo>
                      <a:pt x="77994" y="18137"/>
                    </a:lnTo>
                    <a:cubicBezTo>
                      <a:pt x="77994" y="18137"/>
                      <a:pt x="77994" y="18105"/>
                      <a:pt x="77994" y="18105"/>
                    </a:cubicBezTo>
                    <a:cubicBezTo>
                      <a:pt x="77962" y="8123"/>
                      <a:pt x="69807" y="1"/>
                      <a:pt x="59825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42" name="Google Shape;9642;p57"/>
              <p:cNvSpPr/>
              <p:nvPr/>
            </p:nvSpPr>
            <p:spPr>
              <a:xfrm>
                <a:off x="3381341" y="4475555"/>
                <a:ext cx="52189" cy="52135"/>
              </a:xfrm>
              <a:custGeom>
                <a:avLst/>
                <a:gdLst/>
                <a:ahLst/>
                <a:cxnLst/>
                <a:rect l="l" t="t" r="r" b="b"/>
                <a:pathLst>
                  <a:path w="31871" h="31838" extrusionOk="0">
                    <a:moveTo>
                      <a:pt x="15952" y="1"/>
                    </a:moveTo>
                    <a:cubicBezTo>
                      <a:pt x="7144" y="1"/>
                      <a:pt x="1" y="7112"/>
                      <a:pt x="1" y="15919"/>
                    </a:cubicBezTo>
                    <a:cubicBezTo>
                      <a:pt x="1" y="24694"/>
                      <a:pt x="7144" y="31838"/>
                      <a:pt x="15952" y="31838"/>
                    </a:cubicBezTo>
                    <a:cubicBezTo>
                      <a:pt x="24727" y="31838"/>
                      <a:pt x="31870" y="24694"/>
                      <a:pt x="31870" y="15919"/>
                    </a:cubicBezTo>
                    <a:cubicBezTo>
                      <a:pt x="31870" y="7112"/>
                      <a:pt x="24727" y="1"/>
                      <a:pt x="1595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643" name="Google Shape;9643;p57"/>
          <p:cNvGrpSpPr/>
          <p:nvPr/>
        </p:nvGrpSpPr>
        <p:grpSpPr>
          <a:xfrm>
            <a:off x="4277571" y="2080469"/>
            <a:ext cx="1433821" cy="191501"/>
            <a:chOff x="4273350" y="2080469"/>
            <a:chExt cx="1433821" cy="191501"/>
          </a:xfrm>
        </p:grpSpPr>
        <p:grpSp>
          <p:nvGrpSpPr>
            <p:cNvPr id="9644" name="Google Shape;9644;p57"/>
            <p:cNvGrpSpPr/>
            <p:nvPr/>
          </p:nvGrpSpPr>
          <p:grpSpPr>
            <a:xfrm>
              <a:off x="4273350" y="2080469"/>
              <a:ext cx="1433821" cy="0"/>
              <a:chOff x="5224975" y="2962250"/>
              <a:chExt cx="1544400" cy="0"/>
            </a:xfrm>
          </p:grpSpPr>
          <p:cxnSp>
            <p:nvCxnSpPr>
              <p:cNvPr id="9645" name="Google Shape;9645;p57"/>
              <p:cNvCxnSpPr/>
              <p:nvPr/>
            </p:nvCxnSpPr>
            <p:spPr>
              <a:xfrm>
                <a:off x="5224975" y="2962250"/>
                <a:ext cx="1544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46" name="Google Shape;9646;p57"/>
              <p:cNvCxnSpPr/>
              <p:nvPr/>
            </p:nvCxnSpPr>
            <p:spPr>
              <a:xfrm>
                <a:off x="5225150" y="2962250"/>
                <a:ext cx="453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med" len="med"/>
                <a:tailEnd type="oval" w="med" len="med"/>
              </a:ln>
            </p:spPr>
          </p:cxnSp>
        </p:grpSp>
        <p:grpSp>
          <p:nvGrpSpPr>
            <p:cNvPr id="9647" name="Google Shape;9647;p57"/>
            <p:cNvGrpSpPr/>
            <p:nvPr/>
          </p:nvGrpSpPr>
          <p:grpSpPr>
            <a:xfrm>
              <a:off x="4273350" y="2271969"/>
              <a:ext cx="1433821" cy="0"/>
              <a:chOff x="5224975" y="2962250"/>
              <a:chExt cx="1544400" cy="0"/>
            </a:xfrm>
          </p:grpSpPr>
          <p:cxnSp>
            <p:nvCxnSpPr>
              <p:cNvPr id="9648" name="Google Shape;9648;p57"/>
              <p:cNvCxnSpPr/>
              <p:nvPr/>
            </p:nvCxnSpPr>
            <p:spPr>
              <a:xfrm>
                <a:off x="5224975" y="2962250"/>
                <a:ext cx="1544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49" name="Google Shape;9649;p57"/>
              <p:cNvCxnSpPr/>
              <p:nvPr/>
            </p:nvCxnSpPr>
            <p:spPr>
              <a:xfrm>
                <a:off x="5225150" y="2962250"/>
                <a:ext cx="9987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med" len="med"/>
                <a:tailEnd type="oval" w="med" len="med"/>
              </a:ln>
            </p:spPr>
          </p:cxnSp>
        </p:grpSp>
      </p:grpSp>
      <p:grpSp>
        <p:nvGrpSpPr>
          <p:cNvPr id="9650" name="Google Shape;9650;p57"/>
          <p:cNvGrpSpPr/>
          <p:nvPr/>
        </p:nvGrpSpPr>
        <p:grpSpPr>
          <a:xfrm>
            <a:off x="4279126" y="1183036"/>
            <a:ext cx="1430711" cy="743389"/>
            <a:chOff x="5159450" y="1919950"/>
            <a:chExt cx="1541050" cy="862500"/>
          </a:xfrm>
        </p:grpSpPr>
        <p:sp>
          <p:nvSpPr>
            <p:cNvPr id="9651" name="Google Shape;9651;p57"/>
            <p:cNvSpPr/>
            <p:nvPr/>
          </p:nvSpPr>
          <p:spPr>
            <a:xfrm>
              <a:off x="5216414" y="2060033"/>
              <a:ext cx="1436820" cy="600250"/>
            </a:xfrm>
            <a:custGeom>
              <a:avLst/>
              <a:gdLst/>
              <a:ahLst/>
              <a:cxnLst/>
              <a:rect l="l" t="t" r="r" b="b"/>
              <a:pathLst>
                <a:path w="165771" h="69253" extrusionOk="0">
                  <a:moveTo>
                    <a:pt x="0" y="62158"/>
                  </a:moveTo>
                  <a:cubicBezTo>
                    <a:pt x="3093" y="59686"/>
                    <a:pt x="11731" y="46368"/>
                    <a:pt x="18559" y="47324"/>
                  </a:cubicBezTo>
                  <a:cubicBezTo>
                    <a:pt x="25388" y="48280"/>
                    <a:pt x="34933" y="75569"/>
                    <a:pt x="40971" y="67894"/>
                  </a:cubicBezTo>
                  <a:cubicBezTo>
                    <a:pt x="47009" y="60219"/>
                    <a:pt x="49466" y="8743"/>
                    <a:pt x="54788" y="1272"/>
                  </a:cubicBezTo>
                  <a:cubicBezTo>
                    <a:pt x="60110" y="-6199"/>
                    <a:pt x="66121" y="21612"/>
                    <a:pt x="72901" y="23070"/>
                  </a:cubicBezTo>
                  <a:cubicBezTo>
                    <a:pt x="79681" y="24528"/>
                    <a:pt x="89301" y="7131"/>
                    <a:pt x="95467" y="10022"/>
                  </a:cubicBezTo>
                  <a:cubicBezTo>
                    <a:pt x="101633" y="12913"/>
                    <a:pt x="104182" y="34714"/>
                    <a:pt x="109898" y="40416"/>
                  </a:cubicBezTo>
                  <a:cubicBezTo>
                    <a:pt x="115614" y="46118"/>
                    <a:pt x="123315" y="40320"/>
                    <a:pt x="129762" y="44234"/>
                  </a:cubicBezTo>
                  <a:cubicBezTo>
                    <a:pt x="136209" y="48148"/>
                    <a:pt x="142580" y="65416"/>
                    <a:pt x="148581" y="63902"/>
                  </a:cubicBezTo>
                  <a:cubicBezTo>
                    <a:pt x="154583" y="62388"/>
                    <a:pt x="162906" y="39942"/>
                    <a:pt x="165771" y="35150"/>
                  </a:cubicBezTo>
                </a:path>
              </a:pathLst>
            </a:custGeom>
            <a:noFill/>
            <a:ln w="19050" cap="flat" cmpd="sng">
              <a:solidFill>
                <a:srgbClr val="5F7D95"/>
              </a:solidFill>
              <a:prstDash val="solid"/>
              <a:round/>
              <a:headEnd type="oval" w="med" len="med"/>
              <a:tailEnd type="oval" w="med" len="med"/>
            </a:ln>
          </p:spPr>
        </p:sp>
        <p:grpSp>
          <p:nvGrpSpPr>
            <p:cNvPr id="9652" name="Google Shape;9652;p57"/>
            <p:cNvGrpSpPr/>
            <p:nvPr/>
          </p:nvGrpSpPr>
          <p:grpSpPr>
            <a:xfrm>
              <a:off x="5159450" y="1919950"/>
              <a:ext cx="1541050" cy="862500"/>
              <a:chOff x="5159450" y="1919950"/>
              <a:chExt cx="1541050" cy="862500"/>
            </a:xfrm>
          </p:grpSpPr>
          <p:cxnSp>
            <p:nvCxnSpPr>
              <p:cNvPr id="9653" name="Google Shape;9653;p57"/>
              <p:cNvCxnSpPr/>
              <p:nvPr/>
            </p:nvCxnSpPr>
            <p:spPr>
              <a:xfrm>
                <a:off x="5159450" y="1919950"/>
                <a:ext cx="0" cy="8625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54" name="Google Shape;9654;p57"/>
              <p:cNvCxnSpPr/>
              <p:nvPr/>
            </p:nvCxnSpPr>
            <p:spPr>
              <a:xfrm>
                <a:off x="5161200" y="2778975"/>
                <a:ext cx="1539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</p:grpSp>
      <p:grpSp>
        <p:nvGrpSpPr>
          <p:cNvPr id="9655" name="Google Shape;9655;p57"/>
          <p:cNvGrpSpPr/>
          <p:nvPr/>
        </p:nvGrpSpPr>
        <p:grpSpPr>
          <a:xfrm>
            <a:off x="4269239" y="2406364"/>
            <a:ext cx="1450484" cy="1052087"/>
            <a:chOff x="5230575" y="1554475"/>
            <a:chExt cx="2137150" cy="1550150"/>
          </a:xfrm>
        </p:grpSpPr>
        <p:sp>
          <p:nvSpPr>
            <p:cNvPr id="9656" name="Google Shape;9656;p57"/>
            <p:cNvSpPr/>
            <p:nvPr/>
          </p:nvSpPr>
          <p:spPr>
            <a:xfrm>
              <a:off x="6296450" y="2863325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1" y="6286"/>
                  </a:lnTo>
                  <a:lnTo>
                    <a:pt x="428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7" name="Google Shape;9657;p57"/>
            <p:cNvSpPr/>
            <p:nvPr/>
          </p:nvSpPr>
          <p:spPr>
            <a:xfrm>
              <a:off x="5230575" y="2863325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4" y="6286"/>
                  </a:lnTo>
                  <a:lnTo>
                    <a:pt x="4285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8" name="Google Shape;9658;p57"/>
            <p:cNvSpPr/>
            <p:nvPr/>
          </p:nvSpPr>
          <p:spPr>
            <a:xfrm>
              <a:off x="6296450" y="2611125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42851" y="6285"/>
                  </a:lnTo>
                  <a:lnTo>
                    <a:pt x="4285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9" name="Google Shape;9659;p57"/>
            <p:cNvSpPr/>
            <p:nvPr/>
          </p:nvSpPr>
          <p:spPr>
            <a:xfrm>
              <a:off x="5230575" y="2611125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42854" y="6285"/>
                  </a:lnTo>
                  <a:lnTo>
                    <a:pt x="4285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0" name="Google Shape;9660;p57"/>
            <p:cNvSpPr/>
            <p:nvPr/>
          </p:nvSpPr>
          <p:spPr>
            <a:xfrm>
              <a:off x="6296450" y="2358900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1" y="6286"/>
                  </a:lnTo>
                  <a:lnTo>
                    <a:pt x="428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1" name="Google Shape;9661;p57"/>
            <p:cNvSpPr/>
            <p:nvPr/>
          </p:nvSpPr>
          <p:spPr>
            <a:xfrm>
              <a:off x="5230575" y="2358900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4" y="6286"/>
                  </a:lnTo>
                  <a:lnTo>
                    <a:pt x="4285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2" name="Google Shape;9662;p57"/>
            <p:cNvSpPr/>
            <p:nvPr/>
          </p:nvSpPr>
          <p:spPr>
            <a:xfrm>
              <a:off x="6296450" y="2106700"/>
              <a:ext cx="989900" cy="157150"/>
            </a:xfrm>
            <a:custGeom>
              <a:avLst/>
              <a:gdLst/>
              <a:ahLst/>
              <a:cxnLst/>
              <a:rect l="l" t="t" r="r" b="b"/>
              <a:pathLst>
                <a:path w="39596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39596" y="6285"/>
                  </a:lnTo>
                  <a:lnTo>
                    <a:pt x="3959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3" name="Google Shape;9663;p57"/>
            <p:cNvSpPr/>
            <p:nvPr/>
          </p:nvSpPr>
          <p:spPr>
            <a:xfrm>
              <a:off x="5474700" y="2106700"/>
              <a:ext cx="827225" cy="157150"/>
            </a:xfrm>
            <a:custGeom>
              <a:avLst/>
              <a:gdLst/>
              <a:ahLst/>
              <a:cxnLst/>
              <a:rect l="l" t="t" r="r" b="b"/>
              <a:pathLst>
                <a:path w="33089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33089" y="6285"/>
                  </a:lnTo>
                  <a:lnTo>
                    <a:pt x="3308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4" name="Google Shape;9664;p57"/>
            <p:cNvSpPr/>
            <p:nvPr/>
          </p:nvSpPr>
          <p:spPr>
            <a:xfrm>
              <a:off x="6296450" y="1854475"/>
              <a:ext cx="827225" cy="157175"/>
            </a:xfrm>
            <a:custGeom>
              <a:avLst/>
              <a:gdLst/>
              <a:ahLst/>
              <a:cxnLst/>
              <a:rect l="l" t="t" r="r" b="b"/>
              <a:pathLst>
                <a:path w="33089" h="6287" extrusionOk="0">
                  <a:moveTo>
                    <a:pt x="0" y="1"/>
                  </a:moveTo>
                  <a:lnTo>
                    <a:pt x="0" y="6286"/>
                  </a:lnTo>
                  <a:lnTo>
                    <a:pt x="33089" y="6286"/>
                  </a:lnTo>
                  <a:lnTo>
                    <a:pt x="3308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5" name="Google Shape;9665;p57"/>
            <p:cNvSpPr/>
            <p:nvPr/>
          </p:nvSpPr>
          <p:spPr>
            <a:xfrm>
              <a:off x="5637425" y="1854475"/>
              <a:ext cx="664500" cy="157175"/>
            </a:xfrm>
            <a:custGeom>
              <a:avLst/>
              <a:gdLst/>
              <a:ahLst/>
              <a:cxnLst/>
              <a:rect l="l" t="t" r="r" b="b"/>
              <a:pathLst>
                <a:path w="26580" h="6287" extrusionOk="0">
                  <a:moveTo>
                    <a:pt x="1" y="1"/>
                  </a:moveTo>
                  <a:lnTo>
                    <a:pt x="1" y="6286"/>
                  </a:lnTo>
                  <a:lnTo>
                    <a:pt x="26580" y="6286"/>
                  </a:lnTo>
                  <a:lnTo>
                    <a:pt x="2658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6" name="Google Shape;9666;p57"/>
            <p:cNvSpPr/>
            <p:nvPr/>
          </p:nvSpPr>
          <p:spPr>
            <a:xfrm>
              <a:off x="6296450" y="1602275"/>
              <a:ext cx="501750" cy="157075"/>
            </a:xfrm>
            <a:custGeom>
              <a:avLst/>
              <a:gdLst/>
              <a:ahLst/>
              <a:cxnLst/>
              <a:rect l="l" t="t" r="r" b="b"/>
              <a:pathLst>
                <a:path w="20070" h="6283" extrusionOk="0">
                  <a:moveTo>
                    <a:pt x="0" y="1"/>
                  </a:moveTo>
                  <a:lnTo>
                    <a:pt x="0" y="6283"/>
                  </a:lnTo>
                  <a:lnTo>
                    <a:pt x="20069" y="6283"/>
                  </a:lnTo>
                  <a:lnTo>
                    <a:pt x="2006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7" name="Google Shape;9667;p57"/>
            <p:cNvSpPr/>
            <p:nvPr/>
          </p:nvSpPr>
          <p:spPr>
            <a:xfrm>
              <a:off x="5800100" y="1602275"/>
              <a:ext cx="501825" cy="157075"/>
            </a:xfrm>
            <a:custGeom>
              <a:avLst/>
              <a:gdLst/>
              <a:ahLst/>
              <a:cxnLst/>
              <a:rect l="l" t="t" r="r" b="b"/>
              <a:pathLst>
                <a:path w="20073" h="6283" extrusionOk="0">
                  <a:moveTo>
                    <a:pt x="1" y="1"/>
                  </a:moveTo>
                  <a:lnTo>
                    <a:pt x="1" y="6283"/>
                  </a:lnTo>
                  <a:lnTo>
                    <a:pt x="20073" y="6283"/>
                  </a:lnTo>
                  <a:lnTo>
                    <a:pt x="2007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8" name="Google Shape;9668;p57"/>
            <p:cNvSpPr/>
            <p:nvPr/>
          </p:nvSpPr>
          <p:spPr>
            <a:xfrm>
              <a:off x="6301225" y="1554475"/>
              <a:ext cx="25" cy="1550150"/>
            </a:xfrm>
            <a:custGeom>
              <a:avLst/>
              <a:gdLst/>
              <a:ahLst/>
              <a:cxnLst/>
              <a:rect l="l" t="t" r="r" b="b"/>
              <a:pathLst>
                <a:path w="1" h="62006" fill="none" extrusionOk="0">
                  <a:moveTo>
                    <a:pt x="1" y="0"/>
                  </a:moveTo>
                  <a:lnTo>
                    <a:pt x="1" y="62006"/>
                  </a:lnTo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miter lim="299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69" name="Google Shape;9669;p57"/>
          <p:cNvGrpSpPr/>
          <p:nvPr/>
        </p:nvGrpSpPr>
        <p:grpSpPr>
          <a:xfrm rot="10800000">
            <a:off x="4285790" y="3498553"/>
            <a:ext cx="1417383" cy="887946"/>
            <a:chOff x="5645403" y="2920021"/>
            <a:chExt cx="2650800" cy="2180614"/>
          </a:xfrm>
        </p:grpSpPr>
        <p:sp>
          <p:nvSpPr>
            <p:cNvPr id="9670" name="Google Shape;9670;p57"/>
            <p:cNvSpPr/>
            <p:nvPr/>
          </p:nvSpPr>
          <p:spPr>
            <a:xfrm>
              <a:off x="5772903" y="2920021"/>
              <a:ext cx="2523300" cy="469200"/>
            </a:xfrm>
            <a:prstGeom prst="rect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1" name="Google Shape;9671;p57"/>
            <p:cNvCxnSpPr>
              <a:stCxn id="9670" idx="1"/>
            </p:cNvCxnSpPr>
            <p:nvPr/>
          </p:nvCxnSpPr>
          <p:spPr>
            <a:xfrm rot="10800000">
              <a:off x="5645403" y="3154021"/>
              <a:ext cx="127500" cy="6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2" name="Google Shape;9672;p57"/>
            <p:cNvSpPr/>
            <p:nvPr/>
          </p:nvSpPr>
          <p:spPr>
            <a:xfrm>
              <a:off x="6010040" y="3500932"/>
              <a:ext cx="2049000" cy="469200"/>
            </a:xfrm>
            <a:prstGeom prst="rect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3" name="Google Shape;9673;p57"/>
            <p:cNvCxnSpPr>
              <a:endCxn id="9672" idx="3"/>
            </p:cNvCxnSpPr>
            <p:nvPr/>
          </p:nvCxnSpPr>
          <p:spPr>
            <a:xfrm rot="10800000">
              <a:off x="8059040" y="3735533"/>
              <a:ext cx="1353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4" name="Google Shape;9674;p57"/>
            <p:cNvSpPr/>
            <p:nvPr/>
          </p:nvSpPr>
          <p:spPr>
            <a:xfrm>
              <a:off x="6299123" y="4066183"/>
              <a:ext cx="1470600" cy="469200"/>
            </a:xfrm>
            <a:prstGeom prst="rect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5" name="Google Shape;9675;p57"/>
            <p:cNvCxnSpPr>
              <a:stCxn id="9674" idx="1"/>
            </p:cNvCxnSpPr>
            <p:nvPr/>
          </p:nvCxnSpPr>
          <p:spPr>
            <a:xfrm rot="10800000">
              <a:off x="6175222" y="4300183"/>
              <a:ext cx="123900" cy="60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6" name="Google Shape;9676;p57"/>
            <p:cNvSpPr/>
            <p:nvPr/>
          </p:nvSpPr>
          <p:spPr>
            <a:xfrm>
              <a:off x="6629161" y="4631435"/>
              <a:ext cx="810600" cy="469200"/>
            </a:xfrm>
            <a:prstGeom prst="rect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7" name="Google Shape;9677;p57"/>
            <p:cNvCxnSpPr>
              <a:endCxn id="9676" idx="3"/>
            </p:cNvCxnSpPr>
            <p:nvPr/>
          </p:nvCxnSpPr>
          <p:spPr>
            <a:xfrm flipH="1">
              <a:off x="7439761" y="4864535"/>
              <a:ext cx="104400" cy="1500"/>
            </a:xfrm>
            <a:prstGeom prst="straightConnector1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9678" name="Google Shape;9678;p57"/>
          <p:cNvGrpSpPr/>
          <p:nvPr/>
        </p:nvGrpSpPr>
        <p:grpSpPr>
          <a:xfrm>
            <a:off x="7386150" y="2401908"/>
            <a:ext cx="1071743" cy="1021579"/>
            <a:chOff x="7189833" y="2022667"/>
            <a:chExt cx="1251159" cy="1192597"/>
          </a:xfrm>
        </p:grpSpPr>
        <p:sp>
          <p:nvSpPr>
            <p:cNvPr id="9679" name="Google Shape;9679;p57"/>
            <p:cNvSpPr/>
            <p:nvPr/>
          </p:nvSpPr>
          <p:spPr>
            <a:xfrm>
              <a:off x="7474366" y="2461318"/>
              <a:ext cx="682343" cy="220186"/>
            </a:xfrm>
            <a:custGeom>
              <a:avLst/>
              <a:gdLst/>
              <a:ahLst/>
              <a:cxnLst/>
              <a:rect l="l" t="t" r="r" b="b"/>
              <a:pathLst>
                <a:path w="125546" h="40494" extrusionOk="0">
                  <a:moveTo>
                    <a:pt x="22196" y="1"/>
                  </a:moveTo>
                  <a:lnTo>
                    <a:pt x="8133" y="25661"/>
                  </a:lnTo>
                  <a:lnTo>
                    <a:pt x="1" y="40494"/>
                  </a:lnTo>
                  <a:lnTo>
                    <a:pt x="125545" y="40494"/>
                  </a:lnTo>
                  <a:lnTo>
                    <a:pt x="117413" y="25661"/>
                  </a:lnTo>
                  <a:lnTo>
                    <a:pt x="1033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0" name="Google Shape;9680;p57"/>
            <p:cNvSpPr/>
            <p:nvPr/>
          </p:nvSpPr>
          <p:spPr>
            <a:xfrm>
              <a:off x="7602697" y="2022667"/>
              <a:ext cx="426517" cy="402424"/>
            </a:xfrm>
            <a:custGeom>
              <a:avLst/>
              <a:gdLst/>
              <a:ahLst/>
              <a:cxnLst/>
              <a:rect l="l" t="t" r="r" b="b"/>
              <a:pathLst>
                <a:path w="78476" h="74009" extrusionOk="0">
                  <a:moveTo>
                    <a:pt x="39246" y="0"/>
                  </a:moveTo>
                  <a:lnTo>
                    <a:pt x="1" y="74009"/>
                  </a:lnTo>
                  <a:lnTo>
                    <a:pt x="78476" y="74009"/>
                  </a:lnTo>
                  <a:lnTo>
                    <a:pt x="392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1" name="Google Shape;9681;p57"/>
            <p:cNvSpPr/>
            <p:nvPr/>
          </p:nvSpPr>
          <p:spPr>
            <a:xfrm>
              <a:off x="7189833" y="2972969"/>
              <a:ext cx="1251159" cy="242295"/>
            </a:xfrm>
            <a:custGeom>
              <a:avLst/>
              <a:gdLst/>
              <a:ahLst/>
              <a:cxnLst/>
              <a:rect l="l" t="t" r="r" b="b"/>
              <a:pathLst>
                <a:path w="230204" h="44560" extrusionOk="0">
                  <a:moveTo>
                    <a:pt x="25737" y="1"/>
                  </a:moveTo>
                  <a:lnTo>
                    <a:pt x="0" y="44560"/>
                  </a:lnTo>
                  <a:lnTo>
                    <a:pt x="230204" y="44560"/>
                  </a:lnTo>
                  <a:lnTo>
                    <a:pt x="20446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2" name="Google Shape;9682;p57"/>
            <p:cNvSpPr/>
            <p:nvPr/>
          </p:nvSpPr>
          <p:spPr>
            <a:xfrm>
              <a:off x="7340931" y="2717730"/>
              <a:ext cx="950049" cy="219012"/>
            </a:xfrm>
            <a:custGeom>
              <a:avLst/>
              <a:gdLst/>
              <a:ahLst/>
              <a:cxnLst/>
              <a:rect l="l" t="t" r="r" b="b"/>
              <a:pathLst>
                <a:path w="174802" h="40278" extrusionOk="0">
                  <a:moveTo>
                    <a:pt x="22750" y="1"/>
                  </a:moveTo>
                  <a:lnTo>
                    <a:pt x="0" y="40278"/>
                  </a:lnTo>
                  <a:lnTo>
                    <a:pt x="174802" y="40278"/>
                  </a:lnTo>
                  <a:lnTo>
                    <a:pt x="1520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83" name="Google Shape;9683;p57"/>
          <p:cNvGrpSpPr/>
          <p:nvPr/>
        </p:nvGrpSpPr>
        <p:grpSpPr>
          <a:xfrm>
            <a:off x="727421" y="2828315"/>
            <a:ext cx="1695374" cy="1560837"/>
            <a:chOff x="727421" y="2828315"/>
            <a:chExt cx="1695374" cy="1560837"/>
          </a:xfrm>
        </p:grpSpPr>
        <p:grpSp>
          <p:nvGrpSpPr>
            <p:cNvPr id="9684" name="Google Shape;9684;p57"/>
            <p:cNvGrpSpPr/>
            <p:nvPr/>
          </p:nvGrpSpPr>
          <p:grpSpPr>
            <a:xfrm>
              <a:off x="819108" y="2882501"/>
              <a:ext cx="103104" cy="1426186"/>
              <a:chOff x="4674013" y="3100904"/>
              <a:chExt cx="122758" cy="1698043"/>
            </a:xfrm>
          </p:grpSpPr>
          <p:sp>
            <p:nvSpPr>
              <p:cNvPr id="9685" name="Google Shape;9685;p57"/>
              <p:cNvSpPr/>
              <p:nvPr/>
            </p:nvSpPr>
            <p:spPr>
              <a:xfrm>
                <a:off x="467401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6" name="Google Shape;9686;p57"/>
              <p:cNvSpPr/>
              <p:nvPr/>
            </p:nvSpPr>
            <p:spPr>
              <a:xfrm>
                <a:off x="467401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7" name="Google Shape;9687;p57"/>
              <p:cNvSpPr/>
              <p:nvPr/>
            </p:nvSpPr>
            <p:spPr>
              <a:xfrm>
                <a:off x="467401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8" name="Google Shape;9688;p57"/>
              <p:cNvSpPr/>
              <p:nvPr/>
            </p:nvSpPr>
            <p:spPr>
              <a:xfrm>
                <a:off x="467401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9" name="Google Shape;9689;p57"/>
              <p:cNvSpPr/>
              <p:nvPr/>
            </p:nvSpPr>
            <p:spPr>
              <a:xfrm>
                <a:off x="467401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0" name="Google Shape;9690;p57"/>
              <p:cNvSpPr/>
              <p:nvPr/>
            </p:nvSpPr>
            <p:spPr>
              <a:xfrm>
                <a:off x="467401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1" name="Google Shape;9691;p57"/>
              <p:cNvSpPr/>
              <p:nvPr/>
            </p:nvSpPr>
            <p:spPr>
              <a:xfrm>
                <a:off x="467401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92" name="Google Shape;9692;p57"/>
            <p:cNvGrpSpPr/>
            <p:nvPr/>
          </p:nvGrpSpPr>
          <p:grpSpPr>
            <a:xfrm>
              <a:off x="1062475" y="2882501"/>
              <a:ext cx="103104" cy="1426186"/>
              <a:chOff x="4940438" y="3100904"/>
              <a:chExt cx="122758" cy="1698043"/>
            </a:xfrm>
          </p:grpSpPr>
          <p:sp>
            <p:nvSpPr>
              <p:cNvPr id="9693" name="Google Shape;9693;p57"/>
              <p:cNvSpPr/>
              <p:nvPr/>
            </p:nvSpPr>
            <p:spPr>
              <a:xfrm>
                <a:off x="4940438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4" name="Google Shape;9694;p57"/>
              <p:cNvSpPr/>
              <p:nvPr/>
            </p:nvSpPr>
            <p:spPr>
              <a:xfrm>
                <a:off x="4940438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5" name="Google Shape;9695;p57"/>
              <p:cNvSpPr/>
              <p:nvPr/>
            </p:nvSpPr>
            <p:spPr>
              <a:xfrm>
                <a:off x="4940438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6" name="Google Shape;9696;p57"/>
              <p:cNvSpPr/>
              <p:nvPr/>
            </p:nvSpPr>
            <p:spPr>
              <a:xfrm>
                <a:off x="4940438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7" name="Google Shape;9697;p57"/>
              <p:cNvSpPr/>
              <p:nvPr/>
            </p:nvSpPr>
            <p:spPr>
              <a:xfrm>
                <a:off x="4940438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8" name="Google Shape;9698;p57"/>
              <p:cNvSpPr/>
              <p:nvPr/>
            </p:nvSpPr>
            <p:spPr>
              <a:xfrm>
                <a:off x="4940438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9" name="Google Shape;9699;p57"/>
              <p:cNvSpPr/>
              <p:nvPr/>
            </p:nvSpPr>
            <p:spPr>
              <a:xfrm>
                <a:off x="4940438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00" name="Google Shape;9700;p57"/>
            <p:cNvGrpSpPr/>
            <p:nvPr/>
          </p:nvGrpSpPr>
          <p:grpSpPr>
            <a:xfrm>
              <a:off x="1299324" y="2882501"/>
              <a:ext cx="103104" cy="1426186"/>
              <a:chOff x="5206863" y="3100904"/>
              <a:chExt cx="122758" cy="1698043"/>
            </a:xfrm>
          </p:grpSpPr>
          <p:sp>
            <p:nvSpPr>
              <p:cNvPr id="9701" name="Google Shape;9701;p57"/>
              <p:cNvSpPr/>
              <p:nvPr/>
            </p:nvSpPr>
            <p:spPr>
              <a:xfrm>
                <a:off x="520686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2" name="Google Shape;9702;p57"/>
              <p:cNvSpPr/>
              <p:nvPr/>
            </p:nvSpPr>
            <p:spPr>
              <a:xfrm>
                <a:off x="520686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3" name="Google Shape;9703;p57"/>
              <p:cNvSpPr/>
              <p:nvPr/>
            </p:nvSpPr>
            <p:spPr>
              <a:xfrm>
                <a:off x="520686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4" name="Google Shape;9704;p57"/>
              <p:cNvSpPr/>
              <p:nvPr/>
            </p:nvSpPr>
            <p:spPr>
              <a:xfrm>
                <a:off x="520686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5" name="Google Shape;9705;p57"/>
              <p:cNvSpPr/>
              <p:nvPr/>
            </p:nvSpPr>
            <p:spPr>
              <a:xfrm>
                <a:off x="520686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6" name="Google Shape;9706;p57"/>
              <p:cNvSpPr/>
              <p:nvPr/>
            </p:nvSpPr>
            <p:spPr>
              <a:xfrm>
                <a:off x="520686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7" name="Google Shape;9707;p57"/>
              <p:cNvSpPr/>
              <p:nvPr/>
            </p:nvSpPr>
            <p:spPr>
              <a:xfrm>
                <a:off x="520686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08" name="Google Shape;9708;p57"/>
            <p:cNvGrpSpPr/>
            <p:nvPr/>
          </p:nvGrpSpPr>
          <p:grpSpPr>
            <a:xfrm>
              <a:off x="1786057" y="2882501"/>
              <a:ext cx="103104" cy="1426186"/>
              <a:chOff x="6006138" y="3143629"/>
              <a:chExt cx="122758" cy="1698043"/>
            </a:xfrm>
          </p:grpSpPr>
          <p:sp>
            <p:nvSpPr>
              <p:cNvPr id="9709" name="Google Shape;9709;p57"/>
              <p:cNvSpPr/>
              <p:nvPr/>
            </p:nvSpPr>
            <p:spPr>
              <a:xfrm>
                <a:off x="6006138" y="3143629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0" name="Google Shape;9710;p57"/>
              <p:cNvSpPr/>
              <p:nvPr/>
            </p:nvSpPr>
            <p:spPr>
              <a:xfrm>
                <a:off x="6006138" y="3406178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1" name="Google Shape;9711;p57"/>
              <p:cNvSpPr/>
              <p:nvPr/>
            </p:nvSpPr>
            <p:spPr>
              <a:xfrm>
                <a:off x="6006138" y="3668717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2" name="Google Shape;9712;p57"/>
              <p:cNvSpPr/>
              <p:nvPr/>
            </p:nvSpPr>
            <p:spPr>
              <a:xfrm>
                <a:off x="6006138" y="3931286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3" name="Google Shape;9713;p57"/>
              <p:cNvSpPr/>
              <p:nvPr/>
            </p:nvSpPr>
            <p:spPr>
              <a:xfrm>
                <a:off x="6006138" y="4193825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4" name="Google Shape;9714;p57"/>
              <p:cNvSpPr/>
              <p:nvPr/>
            </p:nvSpPr>
            <p:spPr>
              <a:xfrm>
                <a:off x="6006138" y="4456375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5" name="Google Shape;9715;p57"/>
              <p:cNvSpPr/>
              <p:nvPr/>
            </p:nvSpPr>
            <p:spPr>
              <a:xfrm>
                <a:off x="6006138" y="4718934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16" name="Google Shape;9716;p57"/>
            <p:cNvGrpSpPr/>
            <p:nvPr/>
          </p:nvGrpSpPr>
          <p:grpSpPr>
            <a:xfrm>
              <a:off x="2029422" y="2882501"/>
              <a:ext cx="103104" cy="1426186"/>
              <a:chOff x="6805413" y="3100904"/>
              <a:chExt cx="122758" cy="1698043"/>
            </a:xfrm>
          </p:grpSpPr>
          <p:sp>
            <p:nvSpPr>
              <p:cNvPr id="9717" name="Google Shape;9717;p57"/>
              <p:cNvSpPr/>
              <p:nvPr/>
            </p:nvSpPr>
            <p:spPr>
              <a:xfrm>
                <a:off x="680541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8" name="Google Shape;9718;p57"/>
              <p:cNvSpPr/>
              <p:nvPr/>
            </p:nvSpPr>
            <p:spPr>
              <a:xfrm>
                <a:off x="680541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9" name="Google Shape;9719;p57"/>
              <p:cNvSpPr/>
              <p:nvPr/>
            </p:nvSpPr>
            <p:spPr>
              <a:xfrm>
                <a:off x="680541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0" name="Google Shape;9720;p57"/>
              <p:cNvSpPr/>
              <p:nvPr/>
            </p:nvSpPr>
            <p:spPr>
              <a:xfrm>
                <a:off x="680541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1" name="Google Shape;9721;p57"/>
              <p:cNvSpPr/>
              <p:nvPr/>
            </p:nvSpPr>
            <p:spPr>
              <a:xfrm>
                <a:off x="680541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2" name="Google Shape;9722;p57"/>
              <p:cNvSpPr/>
              <p:nvPr/>
            </p:nvSpPr>
            <p:spPr>
              <a:xfrm>
                <a:off x="680541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3" name="Google Shape;9723;p57"/>
              <p:cNvSpPr/>
              <p:nvPr/>
            </p:nvSpPr>
            <p:spPr>
              <a:xfrm>
                <a:off x="680541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24" name="Google Shape;9724;p57"/>
            <p:cNvGrpSpPr/>
            <p:nvPr/>
          </p:nvGrpSpPr>
          <p:grpSpPr>
            <a:xfrm>
              <a:off x="727421" y="2828315"/>
              <a:ext cx="1695374" cy="1560837"/>
              <a:chOff x="734799" y="2782450"/>
              <a:chExt cx="1571100" cy="1577400"/>
            </a:xfrm>
          </p:grpSpPr>
          <p:cxnSp>
            <p:nvCxnSpPr>
              <p:cNvPr id="9725" name="Google Shape;9725;p57"/>
              <p:cNvCxnSpPr/>
              <p:nvPr/>
            </p:nvCxnSpPr>
            <p:spPr>
              <a:xfrm>
                <a:off x="743025" y="2782450"/>
                <a:ext cx="0" cy="1577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E3E7EA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726" name="Google Shape;9726;p57"/>
              <p:cNvCxnSpPr/>
              <p:nvPr/>
            </p:nvCxnSpPr>
            <p:spPr>
              <a:xfrm rot="10800000">
                <a:off x="734799" y="4359850"/>
                <a:ext cx="15711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E3E7EA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727" name="Google Shape;9727;p57"/>
            <p:cNvGrpSpPr/>
            <p:nvPr/>
          </p:nvGrpSpPr>
          <p:grpSpPr>
            <a:xfrm>
              <a:off x="2272795" y="2882501"/>
              <a:ext cx="103104" cy="1426186"/>
              <a:chOff x="5206863" y="3100904"/>
              <a:chExt cx="122758" cy="1698043"/>
            </a:xfrm>
          </p:grpSpPr>
          <p:sp>
            <p:nvSpPr>
              <p:cNvPr id="9728" name="Google Shape;9728;p57"/>
              <p:cNvSpPr/>
              <p:nvPr/>
            </p:nvSpPr>
            <p:spPr>
              <a:xfrm>
                <a:off x="520686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9" name="Google Shape;9729;p57"/>
              <p:cNvSpPr/>
              <p:nvPr/>
            </p:nvSpPr>
            <p:spPr>
              <a:xfrm>
                <a:off x="520686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0" name="Google Shape;9730;p57"/>
              <p:cNvSpPr/>
              <p:nvPr/>
            </p:nvSpPr>
            <p:spPr>
              <a:xfrm>
                <a:off x="520686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1" name="Google Shape;9731;p57"/>
              <p:cNvSpPr/>
              <p:nvPr/>
            </p:nvSpPr>
            <p:spPr>
              <a:xfrm>
                <a:off x="520686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2" name="Google Shape;9732;p57"/>
              <p:cNvSpPr/>
              <p:nvPr/>
            </p:nvSpPr>
            <p:spPr>
              <a:xfrm>
                <a:off x="520686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3" name="Google Shape;9733;p57"/>
              <p:cNvSpPr/>
              <p:nvPr/>
            </p:nvSpPr>
            <p:spPr>
              <a:xfrm>
                <a:off x="520686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4" name="Google Shape;9734;p57"/>
              <p:cNvSpPr/>
              <p:nvPr/>
            </p:nvSpPr>
            <p:spPr>
              <a:xfrm>
                <a:off x="520686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35" name="Google Shape;9735;p57"/>
            <p:cNvGrpSpPr/>
            <p:nvPr/>
          </p:nvGrpSpPr>
          <p:grpSpPr>
            <a:xfrm>
              <a:off x="1542694" y="2882501"/>
              <a:ext cx="103104" cy="1426186"/>
              <a:chOff x="6006138" y="3143629"/>
              <a:chExt cx="122758" cy="1698043"/>
            </a:xfrm>
          </p:grpSpPr>
          <p:sp>
            <p:nvSpPr>
              <p:cNvPr id="9736" name="Google Shape;9736;p57"/>
              <p:cNvSpPr/>
              <p:nvPr/>
            </p:nvSpPr>
            <p:spPr>
              <a:xfrm>
                <a:off x="6006138" y="3143629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7" name="Google Shape;9737;p57"/>
              <p:cNvSpPr/>
              <p:nvPr/>
            </p:nvSpPr>
            <p:spPr>
              <a:xfrm>
                <a:off x="6006138" y="3406178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8" name="Google Shape;9738;p57"/>
              <p:cNvSpPr/>
              <p:nvPr/>
            </p:nvSpPr>
            <p:spPr>
              <a:xfrm>
                <a:off x="6006138" y="3668717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9" name="Google Shape;9739;p57"/>
              <p:cNvSpPr/>
              <p:nvPr/>
            </p:nvSpPr>
            <p:spPr>
              <a:xfrm>
                <a:off x="6006138" y="3931286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0" name="Google Shape;9740;p57"/>
              <p:cNvSpPr/>
              <p:nvPr/>
            </p:nvSpPr>
            <p:spPr>
              <a:xfrm>
                <a:off x="6006138" y="4193825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1" name="Google Shape;9741;p57"/>
              <p:cNvSpPr/>
              <p:nvPr/>
            </p:nvSpPr>
            <p:spPr>
              <a:xfrm>
                <a:off x="6006138" y="4456375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2" name="Google Shape;9742;p57"/>
              <p:cNvSpPr/>
              <p:nvPr/>
            </p:nvSpPr>
            <p:spPr>
              <a:xfrm>
                <a:off x="6006138" y="4718934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743" name="Google Shape;9743;p57"/>
          <p:cNvGrpSpPr/>
          <p:nvPr/>
        </p:nvGrpSpPr>
        <p:grpSpPr>
          <a:xfrm>
            <a:off x="5936000" y="2405887"/>
            <a:ext cx="1248543" cy="1025319"/>
            <a:chOff x="5183758" y="1210600"/>
            <a:chExt cx="3605380" cy="2960783"/>
          </a:xfrm>
        </p:grpSpPr>
        <p:sp>
          <p:nvSpPr>
            <p:cNvPr id="9744" name="Google Shape;9744;p57"/>
            <p:cNvSpPr/>
            <p:nvPr/>
          </p:nvSpPr>
          <p:spPr>
            <a:xfrm>
              <a:off x="5479658" y="1210600"/>
              <a:ext cx="3108190" cy="632425"/>
            </a:xfrm>
            <a:custGeom>
              <a:avLst/>
              <a:gdLst/>
              <a:ahLst/>
              <a:cxnLst/>
              <a:rect l="l" t="t" r="r" b="b"/>
              <a:pathLst>
                <a:path w="117257" h="25297" extrusionOk="0">
                  <a:moveTo>
                    <a:pt x="1" y="0"/>
                  </a:moveTo>
                  <a:lnTo>
                    <a:pt x="14647" y="25297"/>
                  </a:lnTo>
                  <a:lnTo>
                    <a:pt x="102066" y="25297"/>
                  </a:lnTo>
                  <a:lnTo>
                    <a:pt x="1172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5" name="Google Shape;9745;p57"/>
            <p:cNvSpPr/>
            <p:nvPr/>
          </p:nvSpPr>
          <p:spPr>
            <a:xfrm>
              <a:off x="5769162" y="1842998"/>
              <a:ext cx="2424880" cy="631925"/>
            </a:xfrm>
            <a:custGeom>
              <a:avLst/>
              <a:gdLst/>
              <a:ahLst/>
              <a:cxnLst/>
              <a:rect l="l" t="t" r="r" b="b"/>
              <a:pathLst>
                <a:path w="91479" h="25277" extrusionOk="0">
                  <a:moveTo>
                    <a:pt x="1" y="1"/>
                  </a:moveTo>
                  <a:lnTo>
                    <a:pt x="14647" y="25276"/>
                  </a:lnTo>
                  <a:lnTo>
                    <a:pt x="76602" y="25276"/>
                  </a:lnTo>
                  <a:lnTo>
                    <a:pt x="9147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6" name="Google Shape;9746;p57"/>
            <p:cNvSpPr/>
            <p:nvPr/>
          </p:nvSpPr>
          <p:spPr>
            <a:xfrm>
              <a:off x="6065319" y="2474896"/>
              <a:ext cx="1739369" cy="632450"/>
            </a:xfrm>
            <a:custGeom>
              <a:avLst/>
              <a:gdLst/>
              <a:ahLst/>
              <a:cxnLst/>
              <a:rect l="l" t="t" r="r" b="b"/>
              <a:pathLst>
                <a:path w="65618" h="25298" extrusionOk="0">
                  <a:moveTo>
                    <a:pt x="1" y="0"/>
                  </a:moveTo>
                  <a:lnTo>
                    <a:pt x="14417" y="25297"/>
                  </a:lnTo>
                  <a:lnTo>
                    <a:pt x="50887" y="25297"/>
                  </a:lnTo>
                  <a:lnTo>
                    <a:pt x="6561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7" name="Google Shape;9747;p57"/>
            <p:cNvSpPr/>
            <p:nvPr/>
          </p:nvSpPr>
          <p:spPr>
            <a:xfrm>
              <a:off x="6354293" y="3107319"/>
              <a:ext cx="1061572" cy="632425"/>
            </a:xfrm>
            <a:custGeom>
              <a:avLst/>
              <a:gdLst/>
              <a:ahLst/>
              <a:cxnLst/>
              <a:rect l="l" t="t" r="r" b="b"/>
              <a:pathLst>
                <a:path w="40048" h="25297" extrusionOk="0">
                  <a:moveTo>
                    <a:pt x="0" y="0"/>
                  </a:moveTo>
                  <a:lnTo>
                    <a:pt x="14668" y="25297"/>
                  </a:lnTo>
                  <a:lnTo>
                    <a:pt x="25360" y="25297"/>
                  </a:lnTo>
                  <a:lnTo>
                    <a:pt x="4004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748" name="Google Shape;9748;p57"/>
            <p:cNvCxnSpPr/>
            <p:nvPr/>
          </p:nvCxnSpPr>
          <p:spPr>
            <a:xfrm>
              <a:off x="5183758" y="2382654"/>
              <a:ext cx="922800" cy="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49" name="Google Shape;9749;p57"/>
            <p:cNvCxnSpPr/>
            <p:nvPr/>
          </p:nvCxnSpPr>
          <p:spPr>
            <a:xfrm rot="10800000">
              <a:off x="8225195" y="1765431"/>
              <a:ext cx="559200" cy="0"/>
            </a:xfrm>
            <a:prstGeom prst="straightConnector1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50" name="Google Shape;9750;p57"/>
            <p:cNvCxnSpPr/>
            <p:nvPr/>
          </p:nvCxnSpPr>
          <p:spPr>
            <a:xfrm rot="10800000">
              <a:off x="7504838" y="2943528"/>
              <a:ext cx="12843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51" name="Google Shape;9751;p57"/>
            <p:cNvCxnSpPr/>
            <p:nvPr/>
          </p:nvCxnSpPr>
          <p:spPr>
            <a:xfrm>
              <a:off x="5759284" y="3630350"/>
              <a:ext cx="9228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sp>
          <p:nvSpPr>
            <p:cNvPr id="9752" name="Google Shape;9752;p57"/>
            <p:cNvSpPr/>
            <p:nvPr/>
          </p:nvSpPr>
          <p:spPr>
            <a:xfrm>
              <a:off x="6601902" y="3746583"/>
              <a:ext cx="566400" cy="424800"/>
            </a:xfrm>
            <a:prstGeom prst="downArrow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53" name="Google Shape;9753;p57"/>
          <p:cNvGrpSpPr/>
          <p:nvPr/>
        </p:nvGrpSpPr>
        <p:grpSpPr>
          <a:xfrm>
            <a:off x="5793062" y="3544204"/>
            <a:ext cx="2664831" cy="843440"/>
            <a:chOff x="5916567" y="1099697"/>
            <a:chExt cx="2556683" cy="809211"/>
          </a:xfrm>
        </p:grpSpPr>
        <p:sp>
          <p:nvSpPr>
            <p:cNvPr id="9754" name="Google Shape;9754;p57"/>
            <p:cNvSpPr/>
            <p:nvPr/>
          </p:nvSpPr>
          <p:spPr>
            <a:xfrm>
              <a:off x="5916567" y="1105515"/>
              <a:ext cx="2329202" cy="797642"/>
            </a:xfrm>
            <a:custGeom>
              <a:avLst/>
              <a:gdLst/>
              <a:ahLst/>
              <a:cxnLst/>
              <a:rect l="l" t="t" r="r" b="b"/>
              <a:pathLst>
                <a:path w="260246" h="89122" extrusionOk="0">
                  <a:moveTo>
                    <a:pt x="260246" y="1"/>
                  </a:moveTo>
                  <a:lnTo>
                    <a:pt x="0" y="44559"/>
                  </a:lnTo>
                  <a:lnTo>
                    <a:pt x="260241" y="89121"/>
                  </a:lnTo>
                  <a:cubicBezTo>
                    <a:pt x="250030" y="85482"/>
                    <a:pt x="242259" y="66921"/>
                    <a:pt x="242259" y="44559"/>
                  </a:cubicBezTo>
                  <a:cubicBezTo>
                    <a:pt x="242259" y="22201"/>
                    <a:pt x="250039" y="3626"/>
                    <a:pt x="2602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5" name="Google Shape;9755;p57"/>
            <p:cNvSpPr/>
            <p:nvPr/>
          </p:nvSpPr>
          <p:spPr>
            <a:xfrm>
              <a:off x="6719328" y="1353967"/>
              <a:ext cx="156983" cy="301221"/>
            </a:xfrm>
            <a:custGeom>
              <a:avLst/>
              <a:gdLst/>
              <a:ahLst/>
              <a:cxnLst/>
              <a:rect l="l" t="t" r="r" b="b"/>
              <a:pathLst>
                <a:path w="17540" h="33656" extrusionOk="0">
                  <a:moveTo>
                    <a:pt x="8770" y="1"/>
                  </a:moveTo>
                  <a:cubicBezTo>
                    <a:pt x="3929" y="1"/>
                    <a:pt x="0" y="7536"/>
                    <a:pt x="0" y="16826"/>
                  </a:cubicBezTo>
                  <a:cubicBezTo>
                    <a:pt x="0" y="26120"/>
                    <a:pt x="3929" y="33655"/>
                    <a:pt x="8770" y="33655"/>
                  </a:cubicBezTo>
                  <a:cubicBezTo>
                    <a:pt x="13616" y="33655"/>
                    <a:pt x="17540" y="26120"/>
                    <a:pt x="17540" y="16826"/>
                  </a:cubicBezTo>
                  <a:cubicBezTo>
                    <a:pt x="17540" y="7536"/>
                    <a:pt x="13616" y="1"/>
                    <a:pt x="87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6" name="Google Shape;9756;p57"/>
            <p:cNvSpPr/>
            <p:nvPr/>
          </p:nvSpPr>
          <p:spPr>
            <a:xfrm>
              <a:off x="7142762" y="1276612"/>
              <a:ext cx="217467" cy="455564"/>
            </a:xfrm>
            <a:custGeom>
              <a:avLst/>
              <a:gdLst/>
              <a:ahLst/>
              <a:cxnLst/>
              <a:rect l="l" t="t" r="r" b="b"/>
              <a:pathLst>
                <a:path w="24298" h="50901" extrusionOk="0">
                  <a:moveTo>
                    <a:pt x="12147" y="1"/>
                  </a:moveTo>
                  <a:cubicBezTo>
                    <a:pt x="8924" y="1"/>
                    <a:pt x="5836" y="2681"/>
                    <a:pt x="3558" y="7450"/>
                  </a:cubicBezTo>
                  <a:cubicBezTo>
                    <a:pt x="1280" y="12224"/>
                    <a:pt x="0" y="18697"/>
                    <a:pt x="0" y="25451"/>
                  </a:cubicBezTo>
                  <a:cubicBezTo>
                    <a:pt x="0" y="32200"/>
                    <a:pt x="1280" y="38673"/>
                    <a:pt x="3558" y="43447"/>
                  </a:cubicBezTo>
                  <a:cubicBezTo>
                    <a:pt x="5836" y="48216"/>
                    <a:pt x="8924" y="50901"/>
                    <a:pt x="12147" y="50901"/>
                  </a:cubicBezTo>
                  <a:cubicBezTo>
                    <a:pt x="15370" y="50901"/>
                    <a:pt x="18457" y="48216"/>
                    <a:pt x="20735" y="43447"/>
                  </a:cubicBezTo>
                  <a:cubicBezTo>
                    <a:pt x="23014" y="38673"/>
                    <a:pt x="24298" y="32200"/>
                    <a:pt x="24298" y="25451"/>
                  </a:cubicBezTo>
                  <a:cubicBezTo>
                    <a:pt x="24298" y="18697"/>
                    <a:pt x="23014" y="12224"/>
                    <a:pt x="20735" y="7450"/>
                  </a:cubicBezTo>
                  <a:cubicBezTo>
                    <a:pt x="18457" y="2681"/>
                    <a:pt x="15370" y="1"/>
                    <a:pt x="121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7" name="Google Shape;9757;p57"/>
            <p:cNvSpPr/>
            <p:nvPr/>
          </p:nvSpPr>
          <p:spPr>
            <a:xfrm>
              <a:off x="7621211" y="1188419"/>
              <a:ext cx="293739" cy="631637"/>
            </a:xfrm>
            <a:custGeom>
              <a:avLst/>
              <a:gdLst/>
              <a:ahLst/>
              <a:cxnLst/>
              <a:rect l="l" t="t" r="r" b="b"/>
              <a:pathLst>
                <a:path w="32820" h="70574" extrusionOk="0">
                  <a:moveTo>
                    <a:pt x="16410" y="0"/>
                  </a:moveTo>
                  <a:cubicBezTo>
                    <a:pt x="12057" y="0"/>
                    <a:pt x="7884" y="3716"/>
                    <a:pt x="4806" y="10334"/>
                  </a:cubicBezTo>
                  <a:cubicBezTo>
                    <a:pt x="1728" y="16952"/>
                    <a:pt x="1" y="25925"/>
                    <a:pt x="1" y="35287"/>
                  </a:cubicBezTo>
                  <a:cubicBezTo>
                    <a:pt x="1" y="44644"/>
                    <a:pt x="1728" y="53622"/>
                    <a:pt x="4806" y="60239"/>
                  </a:cubicBezTo>
                  <a:cubicBezTo>
                    <a:pt x="7884" y="66857"/>
                    <a:pt x="12057" y="70573"/>
                    <a:pt x="16410" y="70573"/>
                  </a:cubicBezTo>
                  <a:cubicBezTo>
                    <a:pt x="20759" y="70573"/>
                    <a:pt x="24936" y="66857"/>
                    <a:pt x="28014" y="60239"/>
                  </a:cubicBezTo>
                  <a:cubicBezTo>
                    <a:pt x="31088" y="53622"/>
                    <a:pt x="32819" y="44644"/>
                    <a:pt x="32819" y="35287"/>
                  </a:cubicBezTo>
                  <a:cubicBezTo>
                    <a:pt x="32819" y="25925"/>
                    <a:pt x="31088" y="16952"/>
                    <a:pt x="28014" y="10334"/>
                  </a:cubicBezTo>
                  <a:cubicBezTo>
                    <a:pt x="24936" y="3716"/>
                    <a:pt x="20759" y="0"/>
                    <a:pt x="164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8" name="Google Shape;9758;p57"/>
            <p:cNvSpPr/>
            <p:nvPr/>
          </p:nvSpPr>
          <p:spPr>
            <a:xfrm>
              <a:off x="8279421" y="1099697"/>
              <a:ext cx="54" cy="0"/>
            </a:xfrm>
            <a:custGeom>
              <a:avLst/>
              <a:gdLst/>
              <a:ahLst/>
              <a:cxnLst/>
              <a:rect l="l" t="t" r="r" b="b"/>
              <a:pathLst>
                <a:path w="6" extrusionOk="0">
                  <a:moveTo>
                    <a:pt x="5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E3E9ED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9" name="Google Shape;9759;p57"/>
            <p:cNvSpPr/>
            <p:nvPr/>
          </p:nvSpPr>
          <p:spPr>
            <a:xfrm>
              <a:off x="8245760" y="1099697"/>
              <a:ext cx="33670" cy="5791"/>
            </a:xfrm>
            <a:custGeom>
              <a:avLst/>
              <a:gdLst/>
              <a:ahLst/>
              <a:cxnLst/>
              <a:rect l="l" t="t" r="r" b="b"/>
              <a:pathLst>
                <a:path w="3762" h="647" extrusionOk="0">
                  <a:moveTo>
                    <a:pt x="3662" y="0"/>
                  </a:moveTo>
                  <a:cubicBezTo>
                    <a:pt x="2415" y="0"/>
                    <a:pt x="1194" y="222"/>
                    <a:pt x="1" y="646"/>
                  </a:cubicBezTo>
                  <a:lnTo>
                    <a:pt x="3762" y="0"/>
                  </a:ln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0" name="Google Shape;9760;p57"/>
            <p:cNvSpPr/>
            <p:nvPr/>
          </p:nvSpPr>
          <p:spPr>
            <a:xfrm>
              <a:off x="8085689" y="1099747"/>
              <a:ext cx="387562" cy="809161"/>
            </a:xfrm>
            <a:custGeom>
              <a:avLst/>
              <a:gdLst/>
              <a:ahLst/>
              <a:cxnLst/>
              <a:rect l="l" t="t" r="r" b="b"/>
              <a:pathLst>
                <a:path w="43303" h="90409" extrusionOk="0">
                  <a:moveTo>
                    <a:pt x="21749" y="0"/>
                  </a:moveTo>
                  <a:lnTo>
                    <a:pt x="17988" y="646"/>
                  </a:lnTo>
                  <a:cubicBezTo>
                    <a:pt x="7781" y="4276"/>
                    <a:pt x="1" y="22846"/>
                    <a:pt x="1" y="45204"/>
                  </a:cubicBezTo>
                  <a:cubicBezTo>
                    <a:pt x="1" y="67562"/>
                    <a:pt x="7781" y="86132"/>
                    <a:pt x="17988" y="89766"/>
                  </a:cubicBezTo>
                  <a:lnTo>
                    <a:pt x="21753" y="90408"/>
                  </a:lnTo>
                  <a:lnTo>
                    <a:pt x="21758" y="90408"/>
                  </a:lnTo>
                  <a:cubicBezTo>
                    <a:pt x="33665" y="90291"/>
                    <a:pt x="43302" y="70094"/>
                    <a:pt x="43302" y="45204"/>
                  </a:cubicBezTo>
                  <a:cubicBezTo>
                    <a:pt x="43302" y="20315"/>
                    <a:pt x="33665" y="118"/>
                    <a:pt x="217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1" name="Google Shape;9761;p57"/>
            <p:cNvSpPr/>
            <p:nvPr/>
          </p:nvSpPr>
          <p:spPr>
            <a:xfrm>
              <a:off x="6372480" y="1417485"/>
              <a:ext cx="104679" cy="173370"/>
            </a:xfrm>
            <a:custGeom>
              <a:avLst/>
              <a:gdLst/>
              <a:ahLst/>
              <a:cxnLst/>
              <a:rect l="l" t="t" r="r" b="b"/>
              <a:pathLst>
                <a:path w="11696" h="19371" extrusionOk="0">
                  <a:moveTo>
                    <a:pt x="5850" y="1"/>
                  </a:moveTo>
                  <a:cubicBezTo>
                    <a:pt x="2618" y="1"/>
                    <a:pt x="1" y="4336"/>
                    <a:pt x="1" y="9684"/>
                  </a:cubicBezTo>
                  <a:cubicBezTo>
                    <a:pt x="1" y="15036"/>
                    <a:pt x="2618" y="19371"/>
                    <a:pt x="5850" y="19371"/>
                  </a:cubicBezTo>
                  <a:cubicBezTo>
                    <a:pt x="9078" y="19371"/>
                    <a:pt x="11695" y="15036"/>
                    <a:pt x="11695" y="9684"/>
                  </a:cubicBezTo>
                  <a:cubicBezTo>
                    <a:pt x="11695" y="4336"/>
                    <a:pt x="9078" y="1"/>
                    <a:pt x="58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62" name="Google Shape;9762;p57"/>
          <p:cNvGrpSpPr/>
          <p:nvPr/>
        </p:nvGrpSpPr>
        <p:grpSpPr>
          <a:xfrm>
            <a:off x="5900602" y="1193063"/>
            <a:ext cx="1299851" cy="1023338"/>
            <a:chOff x="5900602" y="1193063"/>
            <a:chExt cx="1299851" cy="1023338"/>
          </a:xfrm>
        </p:grpSpPr>
        <p:grpSp>
          <p:nvGrpSpPr>
            <p:cNvPr id="9763" name="Google Shape;9763;p57"/>
            <p:cNvGrpSpPr/>
            <p:nvPr/>
          </p:nvGrpSpPr>
          <p:grpSpPr>
            <a:xfrm>
              <a:off x="6743564" y="1193063"/>
              <a:ext cx="456889" cy="700379"/>
              <a:chOff x="6743564" y="1193063"/>
              <a:chExt cx="456889" cy="700379"/>
            </a:xfrm>
          </p:grpSpPr>
          <p:grpSp>
            <p:nvGrpSpPr>
              <p:cNvPr id="9764" name="Google Shape;9764;p57"/>
              <p:cNvGrpSpPr/>
              <p:nvPr/>
            </p:nvGrpSpPr>
            <p:grpSpPr>
              <a:xfrm>
                <a:off x="6743564" y="1690731"/>
                <a:ext cx="214402" cy="202710"/>
                <a:chOff x="6743564" y="1690731"/>
                <a:chExt cx="214402" cy="202710"/>
              </a:xfrm>
            </p:grpSpPr>
            <p:sp>
              <p:nvSpPr>
                <p:cNvPr id="9765" name="Google Shape;9765;p57"/>
                <p:cNvSpPr/>
                <p:nvPr/>
              </p:nvSpPr>
              <p:spPr>
                <a:xfrm rot="-5400000">
                  <a:off x="6796932" y="1637364"/>
                  <a:ext cx="107666" cy="214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379" h="24651" extrusionOk="0">
                      <a:moveTo>
                        <a:pt x="727" y="0"/>
                      </a:moveTo>
                      <a:cubicBezTo>
                        <a:pt x="483" y="0"/>
                        <a:pt x="243" y="4"/>
                        <a:pt x="1" y="7"/>
                      </a:cubicBezTo>
                      <a:lnTo>
                        <a:pt x="1" y="23223"/>
                      </a:lnTo>
                      <a:lnTo>
                        <a:pt x="727" y="24650"/>
                      </a:lnTo>
                      <a:lnTo>
                        <a:pt x="12378" y="1737"/>
                      </a:lnTo>
                      <a:cubicBezTo>
                        <a:pt x="8795" y="619"/>
                        <a:pt x="4857" y="0"/>
                        <a:pt x="7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66" name="Google Shape;9766;p57"/>
                <p:cNvSpPr/>
                <p:nvPr/>
              </p:nvSpPr>
              <p:spPr>
                <a:xfrm rot="-5400000">
                  <a:off x="6797058" y="1744962"/>
                  <a:ext cx="95046" cy="2019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28" h="23215" extrusionOk="0">
                      <a:moveTo>
                        <a:pt x="10928" y="0"/>
                      </a:moveTo>
                      <a:cubicBezTo>
                        <a:pt x="8679" y="38"/>
                        <a:pt x="6494" y="261"/>
                        <a:pt x="4395" y="647"/>
                      </a:cubicBezTo>
                      <a:lnTo>
                        <a:pt x="4395" y="648"/>
                      </a:lnTo>
                      <a:cubicBezTo>
                        <a:pt x="3153" y="875"/>
                        <a:pt x="1943" y="1159"/>
                        <a:pt x="769" y="1499"/>
                      </a:cubicBezTo>
                      <a:cubicBezTo>
                        <a:pt x="691" y="1522"/>
                        <a:pt x="612" y="1544"/>
                        <a:pt x="535" y="1567"/>
                      </a:cubicBezTo>
                      <a:cubicBezTo>
                        <a:pt x="501" y="1576"/>
                        <a:pt x="469" y="1588"/>
                        <a:pt x="436" y="1596"/>
                      </a:cubicBezTo>
                      <a:cubicBezTo>
                        <a:pt x="404" y="1606"/>
                        <a:pt x="370" y="1617"/>
                        <a:pt x="338" y="1625"/>
                      </a:cubicBezTo>
                      <a:cubicBezTo>
                        <a:pt x="303" y="1637"/>
                        <a:pt x="270" y="1646"/>
                        <a:pt x="238" y="1657"/>
                      </a:cubicBezTo>
                      <a:cubicBezTo>
                        <a:pt x="159" y="1681"/>
                        <a:pt x="79" y="1704"/>
                        <a:pt x="1" y="1730"/>
                      </a:cubicBezTo>
                      <a:lnTo>
                        <a:pt x="10928" y="23215"/>
                      </a:lnTo>
                      <a:lnTo>
                        <a:pt x="10928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67" name="Google Shape;9767;p57"/>
              <p:cNvGrpSpPr/>
              <p:nvPr/>
            </p:nvGrpSpPr>
            <p:grpSpPr>
              <a:xfrm>
                <a:off x="6915505" y="1193063"/>
                <a:ext cx="284947" cy="589637"/>
                <a:chOff x="6915505" y="1193063"/>
                <a:chExt cx="284947" cy="589637"/>
              </a:xfrm>
            </p:grpSpPr>
            <p:sp>
              <p:nvSpPr>
                <p:cNvPr id="9768" name="Google Shape;9768;p57"/>
                <p:cNvSpPr/>
                <p:nvPr/>
              </p:nvSpPr>
              <p:spPr>
                <a:xfrm>
                  <a:off x="6915505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1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69" name="Google Shape;9769;p57"/>
                <p:cNvCxnSpPr/>
                <p:nvPr/>
              </p:nvCxnSpPr>
              <p:spPr>
                <a:xfrm rot="10800000">
                  <a:off x="6938275" y="1279600"/>
                  <a:ext cx="0" cy="5031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70" name="Google Shape;9770;p57"/>
            <p:cNvGrpSpPr/>
            <p:nvPr/>
          </p:nvGrpSpPr>
          <p:grpSpPr>
            <a:xfrm>
              <a:off x="6520337" y="1193063"/>
              <a:ext cx="341815" cy="801589"/>
              <a:chOff x="6520337" y="1193063"/>
              <a:chExt cx="341815" cy="801589"/>
            </a:xfrm>
          </p:grpSpPr>
          <p:grpSp>
            <p:nvGrpSpPr>
              <p:cNvPr id="9771" name="Google Shape;9771;p57"/>
              <p:cNvGrpSpPr/>
              <p:nvPr/>
            </p:nvGrpSpPr>
            <p:grpSpPr>
              <a:xfrm>
                <a:off x="6520337" y="1589527"/>
                <a:ext cx="213950" cy="405125"/>
                <a:chOff x="6520337" y="1589527"/>
                <a:chExt cx="213950" cy="405125"/>
              </a:xfrm>
            </p:grpSpPr>
            <p:sp>
              <p:nvSpPr>
                <p:cNvPr id="9772" name="Google Shape;9772;p57"/>
                <p:cNvSpPr/>
                <p:nvPr/>
              </p:nvSpPr>
              <p:spPr>
                <a:xfrm rot="-5400000">
                  <a:off x="6522864" y="1587001"/>
                  <a:ext cx="208853" cy="213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013" h="24594" extrusionOk="0">
                      <a:moveTo>
                        <a:pt x="725" y="0"/>
                      </a:moveTo>
                      <a:cubicBezTo>
                        <a:pt x="482" y="0"/>
                        <a:pt x="241" y="3"/>
                        <a:pt x="0" y="5"/>
                      </a:cubicBezTo>
                      <a:lnTo>
                        <a:pt x="0" y="22597"/>
                      </a:lnTo>
                      <a:cubicBezTo>
                        <a:pt x="118" y="22596"/>
                        <a:pt x="222" y="22595"/>
                        <a:pt x="312" y="22595"/>
                      </a:cubicBezTo>
                      <a:cubicBezTo>
                        <a:pt x="582" y="22595"/>
                        <a:pt x="725" y="22600"/>
                        <a:pt x="725" y="22600"/>
                      </a:cubicBezTo>
                      <a:cubicBezTo>
                        <a:pt x="725" y="22600"/>
                        <a:pt x="872" y="22595"/>
                        <a:pt x="1149" y="22595"/>
                      </a:cubicBezTo>
                      <a:cubicBezTo>
                        <a:pt x="2638" y="22595"/>
                        <a:pt x="7882" y="22740"/>
                        <a:pt x="14103" y="24594"/>
                      </a:cubicBezTo>
                      <a:lnTo>
                        <a:pt x="24013" y="5327"/>
                      </a:lnTo>
                      <a:cubicBezTo>
                        <a:pt x="24013" y="5327"/>
                        <a:pt x="16917" y="0"/>
                        <a:pt x="725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73" name="Google Shape;9773;p57"/>
                <p:cNvSpPr/>
                <p:nvPr/>
              </p:nvSpPr>
              <p:spPr>
                <a:xfrm rot="-5400000">
                  <a:off x="6529204" y="1789569"/>
                  <a:ext cx="196250" cy="213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64" h="24595" extrusionOk="0">
                      <a:moveTo>
                        <a:pt x="22564" y="1"/>
                      </a:moveTo>
                      <a:cubicBezTo>
                        <a:pt x="15114" y="73"/>
                        <a:pt x="9649" y="1280"/>
                        <a:pt x="5965" y="2527"/>
                      </a:cubicBezTo>
                      <a:lnTo>
                        <a:pt x="5965" y="2528"/>
                      </a:lnTo>
                      <a:cubicBezTo>
                        <a:pt x="2949" y="3548"/>
                        <a:pt x="1124" y="4595"/>
                        <a:pt x="385" y="5067"/>
                      </a:cubicBezTo>
                      <a:cubicBezTo>
                        <a:pt x="382" y="5067"/>
                        <a:pt x="382" y="5068"/>
                        <a:pt x="380" y="5068"/>
                      </a:cubicBezTo>
                      <a:cubicBezTo>
                        <a:pt x="373" y="5074"/>
                        <a:pt x="366" y="5078"/>
                        <a:pt x="358" y="5083"/>
                      </a:cubicBezTo>
                      <a:cubicBezTo>
                        <a:pt x="344" y="5091"/>
                        <a:pt x="329" y="5100"/>
                        <a:pt x="316" y="5110"/>
                      </a:cubicBezTo>
                      <a:cubicBezTo>
                        <a:pt x="315" y="5112"/>
                        <a:pt x="313" y="5113"/>
                        <a:pt x="312" y="5113"/>
                      </a:cubicBezTo>
                      <a:cubicBezTo>
                        <a:pt x="293" y="5125"/>
                        <a:pt x="275" y="5136"/>
                        <a:pt x="258" y="5148"/>
                      </a:cubicBezTo>
                      <a:cubicBezTo>
                        <a:pt x="255" y="5150"/>
                        <a:pt x="251" y="5152"/>
                        <a:pt x="248" y="5155"/>
                      </a:cubicBezTo>
                      <a:cubicBezTo>
                        <a:pt x="240" y="5160"/>
                        <a:pt x="232" y="5166"/>
                        <a:pt x="224" y="5171"/>
                      </a:cubicBezTo>
                      <a:lnTo>
                        <a:pt x="191" y="5193"/>
                      </a:lnTo>
                      <a:cubicBezTo>
                        <a:pt x="189" y="5193"/>
                        <a:pt x="189" y="5195"/>
                        <a:pt x="188" y="5195"/>
                      </a:cubicBezTo>
                      <a:lnTo>
                        <a:pt x="171" y="5206"/>
                      </a:lnTo>
                      <a:cubicBezTo>
                        <a:pt x="162" y="5211"/>
                        <a:pt x="153" y="5217"/>
                        <a:pt x="146" y="5222"/>
                      </a:cubicBezTo>
                      <a:cubicBezTo>
                        <a:pt x="144" y="5224"/>
                        <a:pt x="144" y="5225"/>
                        <a:pt x="141" y="5225"/>
                      </a:cubicBezTo>
                      <a:cubicBezTo>
                        <a:pt x="137" y="5230"/>
                        <a:pt x="131" y="5231"/>
                        <a:pt x="127" y="5236"/>
                      </a:cubicBezTo>
                      <a:cubicBezTo>
                        <a:pt x="118" y="5243"/>
                        <a:pt x="109" y="5247"/>
                        <a:pt x="102" y="5253"/>
                      </a:cubicBezTo>
                      <a:cubicBezTo>
                        <a:pt x="95" y="5260"/>
                        <a:pt x="88" y="5265"/>
                        <a:pt x="80" y="5269"/>
                      </a:cubicBezTo>
                      <a:cubicBezTo>
                        <a:pt x="39" y="5297"/>
                        <a:pt x="15" y="5316"/>
                        <a:pt x="6" y="5323"/>
                      </a:cubicBezTo>
                      <a:lnTo>
                        <a:pt x="3" y="5324"/>
                      </a:lnTo>
                      <a:lnTo>
                        <a:pt x="0" y="5326"/>
                      </a:lnTo>
                      <a:lnTo>
                        <a:pt x="9910" y="24594"/>
                      </a:lnTo>
                      <a:cubicBezTo>
                        <a:pt x="10017" y="24561"/>
                        <a:pt x="10124" y="24530"/>
                        <a:pt x="10231" y="24499"/>
                      </a:cubicBezTo>
                      <a:cubicBezTo>
                        <a:pt x="10284" y="24482"/>
                        <a:pt x="10339" y="24466"/>
                        <a:pt x="10392" y="24451"/>
                      </a:cubicBezTo>
                      <a:cubicBezTo>
                        <a:pt x="10473" y="24428"/>
                        <a:pt x="10553" y="24403"/>
                        <a:pt x="10633" y="24381"/>
                      </a:cubicBezTo>
                      <a:cubicBezTo>
                        <a:pt x="10664" y="24373"/>
                        <a:pt x="10691" y="24364"/>
                        <a:pt x="10721" y="24357"/>
                      </a:cubicBezTo>
                      <a:cubicBezTo>
                        <a:pt x="10786" y="24339"/>
                        <a:pt x="10855" y="24320"/>
                        <a:pt x="10920" y="24303"/>
                      </a:cubicBezTo>
                      <a:cubicBezTo>
                        <a:pt x="10930" y="24298"/>
                        <a:pt x="10943" y="24297"/>
                        <a:pt x="10955" y="24293"/>
                      </a:cubicBezTo>
                      <a:cubicBezTo>
                        <a:pt x="11032" y="24274"/>
                        <a:pt x="11111" y="24252"/>
                        <a:pt x="11188" y="24231"/>
                      </a:cubicBezTo>
                      <a:cubicBezTo>
                        <a:pt x="11192" y="24230"/>
                        <a:pt x="11200" y="24227"/>
                        <a:pt x="11206" y="24226"/>
                      </a:cubicBezTo>
                      <a:cubicBezTo>
                        <a:pt x="11307" y="24198"/>
                        <a:pt x="11409" y="24172"/>
                        <a:pt x="11511" y="24146"/>
                      </a:cubicBezTo>
                      <a:cubicBezTo>
                        <a:pt x="11613" y="24118"/>
                        <a:pt x="11715" y="24093"/>
                        <a:pt x="11816" y="24067"/>
                      </a:cubicBezTo>
                      <a:cubicBezTo>
                        <a:pt x="11877" y="24052"/>
                        <a:pt x="11938" y="24036"/>
                        <a:pt x="11998" y="24022"/>
                      </a:cubicBezTo>
                      <a:cubicBezTo>
                        <a:pt x="12071" y="24004"/>
                        <a:pt x="12143" y="23987"/>
                        <a:pt x="12216" y="23969"/>
                      </a:cubicBezTo>
                      <a:cubicBezTo>
                        <a:pt x="17046" y="22790"/>
                        <a:pt x="20998" y="22614"/>
                        <a:pt x="22564" y="22595"/>
                      </a:cubicBezTo>
                      <a:lnTo>
                        <a:pt x="22564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74" name="Google Shape;9774;p57"/>
              <p:cNvGrpSpPr/>
              <p:nvPr/>
            </p:nvGrpSpPr>
            <p:grpSpPr>
              <a:xfrm>
                <a:off x="6577204" y="1193063"/>
                <a:ext cx="284947" cy="453562"/>
                <a:chOff x="6577204" y="1193063"/>
                <a:chExt cx="284947" cy="453562"/>
              </a:xfrm>
            </p:grpSpPr>
            <p:sp>
              <p:nvSpPr>
                <p:cNvPr id="9775" name="Google Shape;9775;p57"/>
                <p:cNvSpPr/>
                <p:nvPr/>
              </p:nvSpPr>
              <p:spPr>
                <a:xfrm>
                  <a:off x="6577204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1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76" name="Google Shape;9776;p57"/>
                <p:cNvCxnSpPr/>
                <p:nvPr/>
              </p:nvCxnSpPr>
              <p:spPr>
                <a:xfrm rot="10800000">
                  <a:off x="6677825" y="1279425"/>
                  <a:ext cx="0" cy="3672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77" name="Google Shape;9777;p57"/>
            <p:cNvGrpSpPr/>
            <p:nvPr/>
          </p:nvGrpSpPr>
          <p:grpSpPr>
            <a:xfrm>
              <a:off x="6238903" y="1193063"/>
              <a:ext cx="300475" cy="901782"/>
              <a:chOff x="6238903" y="1193063"/>
              <a:chExt cx="300475" cy="901782"/>
            </a:xfrm>
          </p:grpSpPr>
          <p:grpSp>
            <p:nvGrpSpPr>
              <p:cNvPr id="9778" name="Google Shape;9778;p57"/>
              <p:cNvGrpSpPr/>
              <p:nvPr/>
            </p:nvGrpSpPr>
            <p:grpSpPr>
              <a:xfrm>
                <a:off x="6290865" y="1489315"/>
                <a:ext cx="248514" cy="605530"/>
                <a:chOff x="6290865" y="1489315"/>
                <a:chExt cx="248514" cy="605530"/>
              </a:xfrm>
            </p:grpSpPr>
            <p:sp>
              <p:nvSpPr>
                <p:cNvPr id="9779" name="Google Shape;9779;p57"/>
                <p:cNvSpPr/>
                <p:nvPr/>
              </p:nvSpPr>
              <p:spPr>
                <a:xfrm rot="-5400000">
                  <a:off x="6260589" y="1519591"/>
                  <a:ext cx="309066" cy="2485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535" h="28573" extrusionOk="0">
                      <a:moveTo>
                        <a:pt x="727" y="0"/>
                      </a:moveTo>
                      <a:cubicBezTo>
                        <a:pt x="484" y="0"/>
                        <a:pt x="241" y="2"/>
                        <a:pt x="0" y="3"/>
                      </a:cubicBezTo>
                      <a:lnTo>
                        <a:pt x="0" y="22994"/>
                      </a:lnTo>
                      <a:cubicBezTo>
                        <a:pt x="259" y="22992"/>
                        <a:pt x="501" y="22989"/>
                        <a:pt x="727" y="22989"/>
                      </a:cubicBezTo>
                      <a:cubicBezTo>
                        <a:pt x="5078" y="22989"/>
                        <a:pt x="15152" y="23439"/>
                        <a:pt x="25134" y="28572"/>
                      </a:cubicBezTo>
                      <a:lnTo>
                        <a:pt x="35534" y="9632"/>
                      </a:lnTo>
                      <a:cubicBezTo>
                        <a:pt x="35534" y="9632"/>
                        <a:pt x="21952" y="0"/>
                        <a:pt x="7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80" name="Google Shape;9780;p57"/>
                <p:cNvSpPr/>
                <p:nvPr/>
              </p:nvSpPr>
              <p:spPr>
                <a:xfrm rot="-5400000">
                  <a:off x="6266916" y="1822383"/>
                  <a:ext cx="296437" cy="2484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83" h="28570" extrusionOk="0">
                      <a:moveTo>
                        <a:pt x="34083" y="0"/>
                      </a:moveTo>
                      <a:cubicBezTo>
                        <a:pt x="22684" y="120"/>
                        <a:pt x="13548" y="2997"/>
                        <a:pt x="7617" y="5579"/>
                      </a:cubicBezTo>
                      <a:cubicBezTo>
                        <a:pt x="5629" y="6444"/>
                        <a:pt x="3999" y="7274"/>
                        <a:pt x="2767" y="7955"/>
                      </a:cubicBezTo>
                      <a:cubicBezTo>
                        <a:pt x="2743" y="7970"/>
                        <a:pt x="2717" y="7985"/>
                        <a:pt x="2693" y="7996"/>
                      </a:cubicBezTo>
                      <a:cubicBezTo>
                        <a:pt x="2692" y="7996"/>
                        <a:pt x="2689" y="7999"/>
                        <a:pt x="2687" y="7999"/>
                      </a:cubicBezTo>
                      <a:cubicBezTo>
                        <a:pt x="2454" y="8127"/>
                        <a:pt x="2237" y="8251"/>
                        <a:pt x="2034" y="8368"/>
                      </a:cubicBezTo>
                      <a:lnTo>
                        <a:pt x="1958" y="8411"/>
                      </a:lnTo>
                      <a:cubicBezTo>
                        <a:pt x="1952" y="8416"/>
                        <a:pt x="1949" y="8418"/>
                        <a:pt x="1943" y="8421"/>
                      </a:cubicBezTo>
                      <a:cubicBezTo>
                        <a:pt x="1913" y="8437"/>
                        <a:pt x="1884" y="8455"/>
                        <a:pt x="1854" y="8472"/>
                      </a:cubicBezTo>
                      <a:cubicBezTo>
                        <a:pt x="1844" y="8478"/>
                        <a:pt x="1834" y="8483"/>
                        <a:pt x="1825" y="8488"/>
                      </a:cubicBezTo>
                      <a:cubicBezTo>
                        <a:pt x="1718" y="8552"/>
                        <a:pt x="1616" y="8612"/>
                        <a:pt x="1517" y="8670"/>
                      </a:cubicBezTo>
                      <a:cubicBezTo>
                        <a:pt x="1476" y="8697"/>
                        <a:pt x="1435" y="8720"/>
                        <a:pt x="1396" y="8743"/>
                      </a:cubicBezTo>
                      <a:cubicBezTo>
                        <a:pt x="1349" y="8771"/>
                        <a:pt x="1305" y="8799"/>
                        <a:pt x="1262" y="8823"/>
                      </a:cubicBezTo>
                      <a:cubicBezTo>
                        <a:pt x="1246" y="8832"/>
                        <a:pt x="1230" y="8844"/>
                        <a:pt x="1214" y="8852"/>
                      </a:cubicBezTo>
                      <a:cubicBezTo>
                        <a:pt x="1166" y="8882"/>
                        <a:pt x="1119" y="8911"/>
                        <a:pt x="1072" y="8938"/>
                      </a:cubicBezTo>
                      <a:cubicBezTo>
                        <a:pt x="1042" y="8956"/>
                        <a:pt x="1013" y="8973"/>
                        <a:pt x="985" y="8991"/>
                      </a:cubicBezTo>
                      <a:cubicBezTo>
                        <a:pt x="941" y="9018"/>
                        <a:pt x="901" y="9043"/>
                        <a:pt x="860" y="9069"/>
                      </a:cubicBezTo>
                      <a:cubicBezTo>
                        <a:pt x="845" y="9078"/>
                        <a:pt x="832" y="9087"/>
                        <a:pt x="821" y="9094"/>
                      </a:cubicBezTo>
                      <a:cubicBezTo>
                        <a:pt x="794" y="9112"/>
                        <a:pt x="771" y="9126"/>
                        <a:pt x="748" y="9141"/>
                      </a:cubicBezTo>
                      <a:cubicBezTo>
                        <a:pt x="733" y="9148"/>
                        <a:pt x="720" y="9157"/>
                        <a:pt x="706" y="9166"/>
                      </a:cubicBezTo>
                      <a:cubicBezTo>
                        <a:pt x="692" y="9174"/>
                        <a:pt x="678" y="9182"/>
                        <a:pt x="665" y="9192"/>
                      </a:cubicBezTo>
                      <a:cubicBezTo>
                        <a:pt x="643" y="9206"/>
                        <a:pt x="621" y="9218"/>
                        <a:pt x="599" y="9233"/>
                      </a:cubicBezTo>
                      <a:cubicBezTo>
                        <a:pt x="582" y="9244"/>
                        <a:pt x="567" y="9254"/>
                        <a:pt x="551" y="9265"/>
                      </a:cubicBezTo>
                      <a:cubicBezTo>
                        <a:pt x="534" y="9275"/>
                        <a:pt x="518" y="9283"/>
                        <a:pt x="502" y="9295"/>
                      </a:cubicBezTo>
                      <a:cubicBezTo>
                        <a:pt x="483" y="9305"/>
                        <a:pt x="465" y="9318"/>
                        <a:pt x="446" y="9330"/>
                      </a:cubicBezTo>
                      <a:cubicBezTo>
                        <a:pt x="305" y="9422"/>
                        <a:pt x="196" y="9493"/>
                        <a:pt x="122" y="9544"/>
                      </a:cubicBezTo>
                      <a:lnTo>
                        <a:pt x="104" y="9556"/>
                      </a:lnTo>
                      <a:cubicBezTo>
                        <a:pt x="72" y="9578"/>
                        <a:pt x="46" y="9595"/>
                        <a:pt x="30" y="9607"/>
                      </a:cubicBezTo>
                      <a:cubicBezTo>
                        <a:pt x="28" y="9608"/>
                        <a:pt x="24" y="9610"/>
                        <a:pt x="23" y="9611"/>
                      </a:cubicBezTo>
                      <a:cubicBezTo>
                        <a:pt x="17" y="9615"/>
                        <a:pt x="14" y="9618"/>
                        <a:pt x="9" y="9621"/>
                      </a:cubicBezTo>
                      <a:cubicBezTo>
                        <a:pt x="8" y="9623"/>
                        <a:pt x="7" y="9624"/>
                        <a:pt x="5" y="9624"/>
                      </a:cubicBezTo>
                      <a:lnTo>
                        <a:pt x="1" y="9629"/>
                      </a:lnTo>
                      <a:lnTo>
                        <a:pt x="10402" y="28569"/>
                      </a:lnTo>
                      <a:lnTo>
                        <a:pt x="10669" y="28432"/>
                      </a:lnTo>
                      <a:cubicBezTo>
                        <a:pt x="10734" y="28399"/>
                        <a:pt x="10803" y="28365"/>
                        <a:pt x="10868" y="28333"/>
                      </a:cubicBezTo>
                      <a:cubicBezTo>
                        <a:pt x="10913" y="28309"/>
                        <a:pt x="10960" y="28287"/>
                        <a:pt x="11007" y="28263"/>
                      </a:cubicBezTo>
                      <a:cubicBezTo>
                        <a:pt x="11052" y="28242"/>
                        <a:pt x="11095" y="28220"/>
                        <a:pt x="11141" y="28198"/>
                      </a:cubicBezTo>
                      <a:cubicBezTo>
                        <a:pt x="11264" y="28138"/>
                        <a:pt x="11387" y="28079"/>
                        <a:pt x="11510" y="28020"/>
                      </a:cubicBezTo>
                      <a:cubicBezTo>
                        <a:pt x="11570" y="27991"/>
                        <a:pt x="11633" y="27962"/>
                        <a:pt x="11694" y="27933"/>
                      </a:cubicBezTo>
                      <a:cubicBezTo>
                        <a:pt x="11754" y="27904"/>
                        <a:pt x="11816" y="27875"/>
                        <a:pt x="11877" y="27846"/>
                      </a:cubicBezTo>
                      <a:cubicBezTo>
                        <a:pt x="20843" y="23637"/>
                        <a:pt x="29650" y="23043"/>
                        <a:pt x="34083" y="22991"/>
                      </a:cubicBezTo>
                      <a:lnTo>
                        <a:pt x="34083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81" name="Google Shape;9781;p57"/>
              <p:cNvGrpSpPr/>
              <p:nvPr/>
            </p:nvGrpSpPr>
            <p:grpSpPr>
              <a:xfrm>
                <a:off x="6238903" y="1193063"/>
                <a:ext cx="284947" cy="327512"/>
                <a:chOff x="6238903" y="1193063"/>
                <a:chExt cx="284947" cy="327512"/>
              </a:xfrm>
            </p:grpSpPr>
            <p:sp>
              <p:nvSpPr>
                <p:cNvPr id="9782" name="Google Shape;9782;p57"/>
                <p:cNvSpPr/>
                <p:nvPr/>
              </p:nvSpPr>
              <p:spPr>
                <a:xfrm>
                  <a:off x="6238903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0"/>
                      </a:moveTo>
                      <a:lnTo>
                        <a:pt x="0" y="7317"/>
                      </a:lnTo>
                      <a:lnTo>
                        <a:pt x="32762" y="7317"/>
                      </a:lnTo>
                      <a:lnTo>
                        <a:pt x="3276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83" name="Google Shape;9783;p57"/>
                <p:cNvCxnSpPr/>
                <p:nvPr/>
              </p:nvCxnSpPr>
              <p:spPr>
                <a:xfrm rot="10800000">
                  <a:off x="6431250" y="1279375"/>
                  <a:ext cx="0" cy="2412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84" name="Google Shape;9784;p57"/>
            <p:cNvGrpSpPr/>
            <p:nvPr/>
          </p:nvGrpSpPr>
          <p:grpSpPr>
            <a:xfrm>
              <a:off x="5900602" y="1193063"/>
              <a:ext cx="444345" cy="1023338"/>
              <a:chOff x="5900602" y="1193063"/>
              <a:chExt cx="444345" cy="1023338"/>
            </a:xfrm>
          </p:grpSpPr>
          <p:grpSp>
            <p:nvGrpSpPr>
              <p:cNvPr id="9785" name="Google Shape;9785;p57"/>
              <p:cNvGrpSpPr/>
              <p:nvPr/>
            </p:nvGrpSpPr>
            <p:grpSpPr>
              <a:xfrm>
                <a:off x="6046501" y="1367785"/>
                <a:ext cx="298446" cy="848616"/>
                <a:chOff x="6046501" y="1367785"/>
                <a:chExt cx="298446" cy="848616"/>
              </a:xfrm>
            </p:grpSpPr>
            <p:sp>
              <p:nvSpPr>
                <p:cNvPr id="9786" name="Google Shape;9786;p57"/>
                <p:cNvSpPr/>
                <p:nvPr/>
              </p:nvSpPr>
              <p:spPr>
                <a:xfrm rot="-5400000">
                  <a:off x="5980418" y="1433868"/>
                  <a:ext cx="430613" cy="2984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510" h="34314" extrusionOk="0">
                      <a:moveTo>
                        <a:pt x="722" y="0"/>
                      </a:moveTo>
                      <a:cubicBezTo>
                        <a:pt x="481" y="0"/>
                        <a:pt x="241" y="0"/>
                        <a:pt x="1" y="3"/>
                      </a:cubicBezTo>
                      <a:lnTo>
                        <a:pt x="1" y="24234"/>
                      </a:lnTo>
                      <a:cubicBezTo>
                        <a:pt x="243" y="24230"/>
                        <a:pt x="428" y="24229"/>
                        <a:pt x="550" y="24229"/>
                      </a:cubicBezTo>
                      <a:cubicBezTo>
                        <a:pt x="648" y="24229"/>
                        <a:pt x="706" y="24230"/>
                        <a:pt x="722" y="24230"/>
                      </a:cubicBezTo>
                      <a:lnTo>
                        <a:pt x="729" y="24230"/>
                      </a:lnTo>
                      <a:cubicBezTo>
                        <a:pt x="773" y="24230"/>
                        <a:pt x="1173" y="24214"/>
                        <a:pt x="1871" y="24214"/>
                      </a:cubicBezTo>
                      <a:cubicBezTo>
                        <a:pt x="6340" y="24214"/>
                        <a:pt x="23046" y="24853"/>
                        <a:pt x="37171" y="34314"/>
                      </a:cubicBezTo>
                      <a:lnTo>
                        <a:pt x="49510" y="11872"/>
                      </a:lnTo>
                      <a:cubicBezTo>
                        <a:pt x="49510" y="11872"/>
                        <a:pt x="31299" y="3"/>
                        <a:pt x="729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87" name="Google Shape;9787;p57"/>
                <p:cNvSpPr/>
                <p:nvPr/>
              </p:nvSpPr>
              <p:spPr>
                <a:xfrm rot="-5400000">
                  <a:off x="5986745" y="1858198"/>
                  <a:ext cx="417984" cy="298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58" h="34311" extrusionOk="0">
                      <a:moveTo>
                        <a:pt x="48058" y="0"/>
                      </a:moveTo>
                      <a:cubicBezTo>
                        <a:pt x="40706" y="47"/>
                        <a:pt x="34078" y="776"/>
                        <a:pt x="28261" y="1849"/>
                      </a:cubicBezTo>
                      <a:cubicBezTo>
                        <a:pt x="20919" y="3208"/>
                        <a:pt x="14865" y="5126"/>
                        <a:pt x="10271" y="6917"/>
                      </a:cubicBezTo>
                      <a:cubicBezTo>
                        <a:pt x="5004" y="8972"/>
                        <a:pt x="1653" y="10865"/>
                        <a:pt x="474" y="11571"/>
                      </a:cubicBezTo>
                      <a:cubicBezTo>
                        <a:pt x="462" y="11578"/>
                        <a:pt x="449" y="11585"/>
                        <a:pt x="439" y="11593"/>
                      </a:cubicBezTo>
                      <a:cubicBezTo>
                        <a:pt x="427" y="11600"/>
                        <a:pt x="417" y="11606"/>
                        <a:pt x="406" y="11613"/>
                      </a:cubicBezTo>
                      <a:cubicBezTo>
                        <a:pt x="384" y="11628"/>
                        <a:pt x="365" y="11638"/>
                        <a:pt x="344" y="11651"/>
                      </a:cubicBezTo>
                      <a:cubicBezTo>
                        <a:pt x="328" y="11661"/>
                        <a:pt x="311" y="11671"/>
                        <a:pt x="296" y="11680"/>
                      </a:cubicBezTo>
                      <a:cubicBezTo>
                        <a:pt x="285" y="11689"/>
                        <a:pt x="273" y="11696"/>
                        <a:pt x="260" y="11703"/>
                      </a:cubicBezTo>
                      <a:cubicBezTo>
                        <a:pt x="251" y="11709"/>
                        <a:pt x="242" y="11715"/>
                        <a:pt x="235" y="11719"/>
                      </a:cubicBezTo>
                      <a:cubicBezTo>
                        <a:pt x="126" y="11788"/>
                        <a:pt x="53" y="11833"/>
                        <a:pt x="20" y="11855"/>
                      </a:cubicBezTo>
                      <a:cubicBezTo>
                        <a:pt x="18" y="11856"/>
                        <a:pt x="14" y="11858"/>
                        <a:pt x="12" y="11861"/>
                      </a:cubicBezTo>
                      <a:cubicBezTo>
                        <a:pt x="4" y="11865"/>
                        <a:pt x="1" y="11869"/>
                        <a:pt x="1" y="11869"/>
                      </a:cubicBezTo>
                      <a:lnTo>
                        <a:pt x="12338" y="34311"/>
                      </a:lnTo>
                      <a:cubicBezTo>
                        <a:pt x="12429" y="34252"/>
                        <a:pt x="12518" y="34194"/>
                        <a:pt x="12608" y="34136"/>
                      </a:cubicBezTo>
                      <a:cubicBezTo>
                        <a:pt x="12655" y="34107"/>
                        <a:pt x="12700" y="34076"/>
                        <a:pt x="12747" y="34047"/>
                      </a:cubicBezTo>
                      <a:cubicBezTo>
                        <a:pt x="12789" y="34021"/>
                        <a:pt x="12830" y="33996"/>
                        <a:pt x="12869" y="33970"/>
                      </a:cubicBezTo>
                      <a:cubicBezTo>
                        <a:pt x="12927" y="33932"/>
                        <a:pt x="12986" y="33896"/>
                        <a:pt x="13045" y="33858"/>
                      </a:cubicBezTo>
                      <a:cubicBezTo>
                        <a:pt x="13124" y="33808"/>
                        <a:pt x="13204" y="33759"/>
                        <a:pt x="13283" y="33709"/>
                      </a:cubicBezTo>
                      <a:cubicBezTo>
                        <a:pt x="13363" y="33661"/>
                        <a:pt x="13441" y="33612"/>
                        <a:pt x="13521" y="33562"/>
                      </a:cubicBezTo>
                      <a:cubicBezTo>
                        <a:pt x="13601" y="33513"/>
                        <a:pt x="13679" y="33465"/>
                        <a:pt x="13759" y="33417"/>
                      </a:cubicBezTo>
                      <a:cubicBezTo>
                        <a:pt x="13842" y="33367"/>
                        <a:pt x="13922" y="33319"/>
                        <a:pt x="14003" y="33270"/>
                      </a:cubicBezTo>
                      <a:cubicBezTo>
                        <a:pt x="14082" y="33222"/>
                        <a:pt x="14159" y="33175"/>
                        <a:pt x="14238" y="33130"/>
                      </a:cubicBezTo>
                      <a:cubicBezTo>
                        <a:pt x="14318" y="33082"/>
                        <a:pt x="14398" y="33037"/>
                        <a:pt x="14478" y="32990"/>
                      </a:cubicBezTo>
                      <a:cubicBezTo>
                        <a:pt x="14558" y="32943"/>
                        <a:pt x="14638" y="32897"/>
                        <a:pt x="14718" y="32852"/>
                      </a:cubicBezTo>
                      <a:cubicBezTo>
                        <a:pt x="14798" y="32804"/>
                        <a:pt x="14879" y="32758"/>
                        <a:pt x="14959" y="32713"/>
                      </a:cubicBezTo>
                      <a:cubicBezTo>
                        <a:pt x="15120" y="32622"/>
                        <a:pt x="15280" y="32531"/>
                        <a:pt x="15444" y="32441"/>
                      </a:cubicBezTo>
                      <a:cubicBezTo>
                        <a:pt x="15521" y="32397"/>
                        <a:pt x="15598" y="32357"/>
                        <a:pt x="15674" y="32314"/>
                      </a:cubicBezTo>
                      <a:cubicBezTo>
                        <a:pt x="15698" y="32301"/>
                        <a:pt x="15723" y="32287"/>
                        <a:pt x="15746" y="32274"/>
                      </a:cubicBezTo>
                      <a:cubicBezTo>
                        <a:pt x="15888" y="32196"/>
                        <a:pt x="16029" y="32119"/>
                        <a:pt x="16172" y="32045"/>
                      </a:cubicBezTo>
                      <a:cubicBezTo>
                        <a:pt x="29547" y="24910"/>
                        <a:pt x="44618" y="24279"/>
                        <a:pt x="48058" y="24228"/>
                      </a:cubicBezTo>
                      <a:lnTo>
                        <a:pt x="48058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88" name="Google Shape;9788;p57"/>
              <p:cNvGrpSpPr/>
              <p:nvPr/>
            </p:nvGrpSpPr>
            <p:grpSpPr>
              <a:xfrm>
                <a:off x="5900602" y="1193063"/>
                <a:ext cx="284947" cy="182312"/>
                <a:chOff x="5900602" y="1193063"/>
                <a:chExt cx="284947" cy="182312"/>
              </a:xfrm>
            </p:grpSpPr>
            <p:sp>
              <p:nvSpPr>
                <p:cNvPr id="9789" name="Google Shape;9789;p57"/>
                <p:cNvSpPr/>
                <p:nvPr/>
              </p:nvSpPr>
              <p:spPr>
                <a:xfrm>
                  <a:off x="5900602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0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90" name="Google Shape;9790;p57"/>
                <p:cNvCxnSpPr/>
                <p:nvPr/>
              </p:nvCxnSpPr>
              <p:spPr>
                <a:xfrm rot="10800000">
                  <a:off x="6156950" y="1279675"/>
                  <a:ext cx="0" cy="957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</p:grpSp>
      <p:grpSp>
        <p:nvGrpSpPr>
          <p:cNvPr id="9791" name="Google Shape;9791;p57"/>
          <p:cNvGrpSpPr/>
          <p:nvPr/>
        </p:nvGrpSpPr>
        <p:grpSpPr>
          <a:xfrm>
            <a:off x="7238484" y="1193208"/>
            <a:ext cx="1219413" cy="1051365"/>
            <a:chOff x="7287122" y="1165658"/>
            <a:chExt cx="1219413" cy="1051365"/>
          </a:xfrm>
        </p:grpSpPr>
        <p:grpSp>
          <p:nvGrpSpPr>
            <p:cNvPr id="9792" name="Google Shape;9792;p57"/>
            <p:cNvGrpSpPr/>
            <p:nvPr/>
          </p:nvGrpSpPr>
          <p:grpSpPr>
            <a:xfrm>
              <a:off x="7287122" y="1969723"/>
              <a:ext cx="1219413" cy="247300"/>
              <a:chOff x="7287122" y="1969723"/>
              <a:chExt cx="1219413" cy="247300"/>
            </a:xfrm>
          </p:grpSpPr>
          <p:sp>
            <p:nvSpPr>
              <p:cNvPr id="9793" name="Google Shape;9793;p57"/>
              <p:cNvSpPr/>
              <p:nvPr/>
            </p:nvSpPr>
            <p:spPr>
              <a:xfrm flipH="1">
                <a:off x="8366247" y="1969723"/>
                <a:ext cx="140288" cy="247300"/>
              </a:xfrm>
              <a:custGeom>
                <a:avLst/>
                <a:gdLst/>
                <a:ahLst/>
                <a:cxnLst/>
                <a:rect l="l" t="t" r="r" b="b"/>
                <a:pathLst>
                  <a:path w="14992" h="26428" extrusionOk="0">
                    <a:moveTo>
                      <a:pt x="31" y="0"/>
                    </a:moveTo>
                    <a:cubicBezTo>
                      <a:pt x="25" y="0"/>
                      <a:pt x="19" y="0"/>
                      <a:pt x="13" y="0"/>
                    </a:cubicBezTo>
                    <a:lnTo>
                      <a:pt x="0" y="0"/>
                    </a:lnTo>
                    <a:lnTo>
                      <a:pt x="0" y="26407"/>
                    </a:lnTo>
                    <a:lnTo>
                      <a:pt x="13" y="26427"/>
                    </a:lnTo>
                    <a:lnTo>
                      <a:pt x="14992" y="1860"/>
                    </a:lnTo>
                    <a:cubicBezTo>
                      <a:pt x="10391" y="663"/>
                      <a:pt x="5335" y="0"/>
                      <a:pt x="3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794" name="Google Shape;9794;p57"/>
              <p:cNvGrpSpPr/>
              <p:nvPr/>
            </p:nvGrpSpPr>
            <p:grpSpPr>
              <a:xfrm>
                <a:off x="7287122" y="2063892"/>
                <a:ext cx="1151753" cy="73428"/>
                <a:chOff x="7287122" y="2063892"/>
                <a:chExt cx="1151753" cy="73428"/>
              </a:xfrm>
            </p:grpSpPr>
            <p:sp>
              <p:nvSpPr>
                <p:cNvPr id="9795" name="Google Shape;9795;p57"/>
                <p:cNvSpPr/>
                <p:nvPr/>
              </p:nvSpPr>
              <p:spPr>
                <a:xfrm flipH="1">
                  <a:off x="7287122" y="2063892"/>
                  <a:ext cx="507103" cy="734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7" extrusionOk="0">
                      <a:moveTo>
                        <a:pt x="0" y="1"/>
                      </a:moveTo>
                      <a:lnTo>
                        <a:pt x="0" y="7847"/>
                      </a:lnTo>
                      <a:lnTo>
                        <a:pt x="35123" y="7847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96" name="Google Shape;9796;p57"/>
                <p:cNvCxnSpPr/>
                <p:nvPr/>
              </p:nvCxnSpPr>
              <p:spPr>
                <a:xfrm rot="10800000">
                  <a:off x="7818475" y="2100600"/>
                  <a:ext cx="6204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97" name="Google Shape;9797;p57"/>
            <p:cNvGrpSpPr/>
            <p:nvPr/>
          </p:nvGrpSpPr>
          <p:grpSpPr>
            <a:xfrm>
              <a:off x="7287122" y="1712201"/>
              <a:ext cx="1219403" cy="246767"/>
              <a:chOff x="7287122" y="1712201"/>
              <a:chExt cx="1219403" cy="246767"/>
            </a:xfrm>
          </p:grpSpPr>
          <p:sp>
            <p:nvSpPr>
              <p:cNvPr id="9798" name="Google Shape;9798;p57"/>
              <p:cNvSpPr/>
              <p:nvPr/>
            </p:nvSpPr>
            <p:spPr>
              <a:xfrm flipH="1">
                <a:off x="8226249" y="1712201"/>
                <a:ext cx="280276" cy="246767"/>
              </a:xfrm>
              <a:custGeom>
                <a:avLst/>
                <a:gdLst/>
                <a:ahLst/>
                <a:cxnLst/>
                <a:rect l="l" t="t" r="r" b="b"/>
                <a:pathLst>
                  <a:path w="29952" h="26371" extrusionOk="0">
                    <a:moveTo>
                      <a:pt x="1" y="0"/>
                    </a:moveTo>
                    <a:lnTo>
                      <a:pt x="1" y="24234"/>
                    </a:lnTo>
                    <a:lnTo>
                      <a:pt x="14" y="24234"/>
                    </a:lnTo>
                    <a:cubicBezTo>
                      <a:pt x="14" y="24234"/>
                      <a:pt x="203" y="24229"/>
                      <a:pt x="558" y="24229"/>
                    </a:cubicBezTo>
                    <a:cubicBezTo>
                      <a:pt x="2473" y="24229"/>
                      <a:pt x="9215" y="24384"/>
                      <a:pt x="17213" y="26370"/>
                    </a:cubicBezTo>
                    <a:lnTo>
                      <a:pt x="29952" y="5713"/>
                    </a:lnTo>
                    <a:cubicBezTo>
                      <a:pt x="29952" y="5713"/>
                      <a:pt x="20827" y="0"/>
                      <a:pt x="1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799" name="Google Shape;9799;p57"/>
              <p:cNvGrpSpPr/>
              <p:nvPr/>
            </p:nvGrpSpPr>
            <p:grpSpPr>
              <a:xfrm>
                <a:off x="7287122" y="1842861"/>
                <a:ext cx="1005303" cy="73419"/>
                <a:chOff x="7287122" y="1842861"/>
                <a:chExt cx="1005303" cy="73419"/>
              </a:xfrm>
            </p:grpSpPr>
            <p:sp>
              <p:nvSpPr>
                <p:cNvPr id="9800" name="Google Shape;9800;p57"/>
                <p:cNvSpPr/>
                <p:nvPr/>
              </p:nvSpPr>
              <p:spPr>
                <a:xfrm flipH="1">
                  <a:off x="7287122" y="1842861"/>
                  <a:ext cx="507103" cy="734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6" extrusionOk="0">
                      <a:moveTo>
                        <a:pt x="0" y="1"/>
                      </a:moveTo>
                      <a:lnTo>
                        <a:pt x="0" y="7845"/>
                      </a:lnTo>
                      <a:lnTo>
                        <a:pt x="35123" y="7845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01" name="Google Shape;9801;p57"/>
                <p:cNvCxnSpPr/>
                <p:nvPr/>
              </p:nvCxnSpPr>
              <p:spPr>
                <a:xfrm rot="10800000">
                  <a:off x="7818425" y="1879575"/>
                  <a:ext cx="4740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802" name="Google Shape;9802;p57"/>
            <p:cNvGrpSpPr/>
            <p:nvPr/>
          </p:nvGrpSpPr>
          <p:grpSpPr>
            <a:xfrm>
              <a:off x="7287122" y="1447520"/>
              <a:ext cx="1219403" cy="286667"/>
              <a:chOff x="7287122" y="1447520"/>
              <a:chExt cx="1219403" cy="286667"/>
            </a:xfrm>
          </p:grpSpPr>
          <p:sp>
            <p:nvSpPr>
              <p:cNvPr id="9803" name="Google Shape;9803;p57"/>
              <p:cNvSpPr/>
              <p:nvPr/>
            </p:nvSpPr>
            <p:spPr>
              <a:xfrm flipH="1">
                <a:off x="8087665" y="1447520"/>
                <a:ext cx="418860" cy="286667"/>
              </a:xfrm>
              <a:custGeom>
                <a:avLst/>
                <a:gdLst/>
                <a:ahLst/>
                <a:cxnLst/>
                <a:rect l="l" t="t" r="r" b="b"/>
                <a:pathLst>
                  <a:path w="44762" h="30635" extrusionOk="0">
                    <a:moveTo>
                      <a:pt x="1" y="1"/>
                    </a:moveTo>
                    <a:lnTo>
                      <a:pt x="1" y="24648"/>
                    </a:lnTo>
                    <a:lnTo>
                      <a:pt x="14" y="24648"/>
                    </a:lnTo>
                    <a:cubicBezTo>
                      <a:pt x="5607" y="24648"/>
                      <a:pt x="18560" y="25130"/>
                      <a:pt x="31390" y="30635"/>
                    </a:cubicBezTo>
                    <a:lnTo>
                      <a:pt x="44761" y="10327"/>
                    </a:lnTo>
                    <a:cubicBezTo>
                      <a:pt x="44761" y="10327"/>
                      <a:pt x="27304" y="1"/>
                      <a:pt x="1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804" name="Google Shape;9804;p57"/>
              <p:cNvGrpSpPr/>
              <p:nvPr/>
            </p:nvGrpSpPr>
            <p:grpSpPr>
              <a:xfrm>
                <a:off x="7287122" y="1581977"/>
                <a:ext cx="852803" cy="73428"/>
                <a:chOff x="7287122" y="1581977"/>
                <a:chExt cx="852803" cy="73428"/>
              </a:xfrm>
            </p:grpSpPr>
            <p:sp>
              <p:nvSpPr>
                <p:cNvPr id="9805" name="Google Shape;9805;p57"/>
                <p:cNvSpPr/>
                <p:nvPr/>
              </p:nvSpPr>
              <p:spPr>
                <a:xfrm flipH="1">
                  <a:off x="7287122" y="1581977"/>
                  <a:ext cx="507103" cy="734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7" extrusionOk="0">
                      <a:moveTo>
                        <a:pt x="0" y="1"/>
                      </a:moveTo>
                      <a:lnTo>
                        <a:pt x="0" y="7847"/>
                      </a:lnTo>
                      <a:lnTo>
                        <a:pt x="35123" y="7847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06" name="Google Shape;9806;p57"/>
                <p:cNvCxnSpPr/>
                <p:nvPr/>
              </p:nvCxnSpPr>
              <p:spPr>
                <a:xfrm rot="10800000">
                  <a:off x="7818325" y="1618700"/>
                  <a:ext cx="321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807" name="Google Shape;9807;p57"/>
            <p:cNvGrpSpPr/>
            <p:nvPr/>
          </p:nvGrpSpPr>
          <p:grpSpPr>
            <a:xfrm>
              <a:off x="7287122" y="1165658"/>
              <a:ext cx="1219403" cy="344253"/>
              <a:chOff x="7287122" y="1165658"/>
              <a:chExt cx="1219403" cy="344253"/>
            </a:xfrm>
          </p:grpSpPr>
          <p:sp>
            <p:nvSpPr>
              <p:cNvPr id="9808" name="Google Shape;9808;p57"/>
              <p:cNvSpPr/>
              <p:nvPr/>
            </p:nvSpPr>
            <p:spPr>
              <a:xfrm flipH="1">
                <a:off x="7919557" y="1165658"/>
                <a:ext cx="586968" cy="344253"/>
              </a:xfrm>
              <a:custGeom>
                <a:avLst/>
                <a:gdLst/>
                <a:ahLst/>
                <a:cxnLst/>
                <a:rect l="l" t="t" r="r" b="b"/>
                <a:pathLst>
                  <a:path w="62727" h="36789" extrusionOk="0">
                    <a:moveTo>
                      <a:pt x="1" y="1"/>
                    </a:moveTo>
                    <a:lnTo>
                      <a:pt x="1" y="25976"/>
                    </a:lnTo>
                    <a:lnTo>
                      <a:pt x="17" y="25976"/>
                    </a:lnTo>
                    <a:cubicBezTo>
                      <a:pt x="74" y="25976"/>
                      <a:pt x="588" y="25960"/>
                      <a:pt x="1487" y="25960"/>
                    </a:cubicBezTo>
                    <a:cubicBezTo>
                      <a:pt x="7235" y="25960"/>
                      <a:pt x="28709" y="26646"/>
                      <a:pt x="46867" y="36789"/>
                    </a:cubicBezTo>
                    <a:lnTo>
                      <a:pt x="62726" y="12728"/>
                    </a:lnTo>
                    <a:cubicBezTo>
                      <a:pt x="62726" y="12728"/>
                      <a:pt x="39312" y="2"/>
                      <a:pt x="1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809" name="Google Shape;9809;p57"/>
              <p:cNvGrpSpPr/>
              <p:nvPr/>
            </p:nvGrpSpPr>
            <p:grpSpPr>
              <a:xfrm>
                <a:off x="7287122" y="1341025"/>
                <a:ext cx="695703" cy="73419"/>
                <a:chOff x="7287122" y="1341025"/>
                <a:chExt cx="695703" cy="73419"/>
              </a:xfrm>
            </p:grpSpPr>
            <p:sp>
              <p:nvSpPr>
                <p:cNvPr id="9810" name="Google Shape;9810;p57"/>
                <p:cNvSpPr/>
                <p:nvPr/>
              </p:nvSpPr>
              <p:spPr>
                <a:xfrm flipH="1">
                  <a:off x="7287122" y="1341025"/>
                  <a:ext cx="507103" cy="734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6" extrusionOk="0">
                      <a:moveTo>
                        <a:pt x="0" y="1"/>
                      </a:moveTo>
                      <a:lnTo>
                        <a:pt x="0" y="7845"/>
                      </a:lnTo>
                      <a:lnTo>
                        <a:pt x="35123" y="7845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11" name="Google Shape;9811;p57"/>
                <p:cNvCxnSpPr/>
                <p:nvPr/>
              </p:nvCxnSpPr>
              <p:spPr>
                <a:xfrm rot="10800000">
                  <a:off x="7818425" y="1377750"/>
                  <a:ext cx="1644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</p:grp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98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6" name="Google Shape;9816;p58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...and our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sets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f editable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17" name="Google Shape;9817;p58"/>
          <p:cNvSpPr txBox="1">
            <a:spLocks noGrp="1"/>
          </p:cNvSpPr>
          <p:nvPr>
            <p:ph type="body" idx="4294967295"/>
          </p:nvPr>
        </p:nvSpPr>
        <p:spPr>
          <a:xfrm>
            <a:off x="828875" y="1610275"/>
            <a:ext cx="7525800" cy="48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resize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ese icons without losing quality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change the stroke and fill color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; just select the icon and click on the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paint bucket/pen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 Google Slides, you can also use </a:t>
            </a:r>
            <a:r>
              <a:rPr lang="en">
                <a:solidFill>
                  <a:srgbClr val="869FB2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’s extension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, allowing you to customize and add even more icons.</a:t>
            </a:r>
            <a:b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</a:br>
            <a:endParaRPr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818" name="Google Shape;9818;p58"/>
          <p:cNvGrpSpPr/>
          <p:nvPr/>
        </p:nvGrpSpPr>
        <p:grpSpPr>
          <a:xfrm>
            <a:off x="866243" y="2291587"/>
            <a:ext cx="415546" cy="355053"/>
            <a:chOff x="866243" y="2291587"/>
            <a:chExt cx="415546" cy="355053"/>
          </a:xfrm>
        </p:grpSpPr>
        <p:sp>
          <p:nvSpPr>
            <p:cNvPr id="9819" name="Google Shape;9819;p58"/>
            <p:cNvSpPr/>
            <p:nvPr/>
          </p:nvSpPr>
          <p:spPr>
            <a:xfrm>
              <a:off x="1053756" y="2523748"/>
              <a:ext cx="103998" cy="81706"/>
            </a:xfrm>
            <a:custGeom>
              <a:avLst/>
              <a:gdLst/>
              <a:ahLst/>
              <a:cxnLst/>
              <a:rect l="l" t="t" r="r" b="b"/>
              <a:pathLst>
                <a:path w="3275" h="2573" extrusionOk="0">
                  <a:moveTo>
                    <a:pt x="2358" y="393"/>
                  </a:moveTo>
                  <a:cubicBezTo>
                    <a:pt x="2418" y="393"/>
                    <a:pt x="2465" y="429"/>
                    <a:pt x="2489" y="488"/>
                  </a:cubicBezTo>
                  <a:lnTo>
                    <a:pt x="2823" y="1262"/>
                  </a:lnTo>
                  <a:cubicBezTo>
                    <a:pt x="2846" y="1322"/>
                    <a:pt x="2823" y="1405"/>
                    <a:pt x="2739" y="1441"/>
                  </a:cubicBezTo>
                  <a:lnTo>
                    <a:pt x="989" y="2179"/>
                  </a:lnTo>
                  <a:cubicBezTo>
                    <a:pt x="977" y="2179"/>
                    <a:pt x="953" y="2203"/>
                    <a:pt x="929" y="2203"/>
                  </a:cubicBezTo>
                  <a:cubicBezTo>
                    <a:pt x="870" y="2203"/>
                    <a:pt x="822" y="2167"/>
                    <a:pt x="787" y="2108"/>
                  </a:cubicBezTo>
                  <a:lnTo>
                    <a:pt x="465" y="1334"/>
                  </a:lnTo>
                  <a:cubicBezTo>
                    <a:pt x="441" y="1262"/>
                    <a:pt x="465" y="1191"/>
                    <a:pt x="537" y="1155"/>
                  </a:cubicBezTo>
                  <a:lnTo>
                    <a:pt x="2299" y="417"/>
                  </a:lnTo>
                  <a:cubicBezTo>
                    <a:pt x="2311" y="417"/>
                    <a:pt x="2322" y="393"/>
                    <a:pt x="2358" y="393"/>
                  </a:cubicBezTo>
                  <a:close/>
                  <a:moveTo>
                    <a:pt x="2358" y="0"/>
                  </a:moveTo>
                  <a:cubicBezTo>
                    <a:pt x="2287" y="0"/>
                    <a:pt x="2227" y="12"/>
                    <a:pt x="2144" y="36"/>
                  </a:cubicBezTo>
                  <a:lnTo>
                    <a:pt x="394" y="786"/>
                  </a:lnTo>
                  <a:cubicBezTo>
                    <a:pt x="120" y="905"/>
                    <a:pt x="1" y="1203"/>
                    <a:pt x="108" y="1465"/>
                  </a:cubicBezTo>
                  <a:lnTo>
                    <a:pt x="429" y="2239"/>
                  </a:lnTo>
                  <a:cubicBezTo>
                    <a:pt x="525" y="2441"/>
                    <a:pt x="703" y="2572"/>
                    <a:pt x="929" y="2572"/>
                  </a:cubicBezTo>
                  <a:cubicBezTo>
                    <a:pt x="1001" y="2572"/>
                    <a:pt x="1060" y="2560"/>
                    <a:pt x="1132" y="2524"/>
                  </a:cubicBezTo>
                  <a:lnTo>
                    <a:pt x="2894" y="1786"/>
                  </a:lnTo>
                  <a:cubicBezTo>
                    <a:pt x="3156" y="1679"/>
                    <a:pt x="3275" y="1370"/>
                    <a:pt x="3180" y="1096"/>
                  </a:cubicBezTo>
                  <a:lnTo>
                    <a:pt x="2846" y="322"/>
                  </a:lnTo>
                  <a:cubicBezTo>
                    <a:pt x="2763" y="131"/>
                    <a:pt x="2584" y="0"/>
                    <a:pt x="2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0" name="Google Shape;9820;p58"/>
            <p:cNvSpPr/>
            <p:nvPr/>
          </p:nvSpPr>
          <p:spPr>
            <a:xfrm>
              <a:off x="1076461" y="2409176"/>
              <a:ext cx="79419" cy="60525"/>
            </a:xfrm>
            <a:custGeom>
              <a:avLst/>
              <a:gdLst/>
              <a:ahLst/>
              <a:cxnLst/>
              <a:rect l="l" t="t" r="r" b="b"/>
              <a:pathLst>
                <a:path w="2501" h="1906" extrusionOk="0">
                  <a:moveTo>
                    <a:pt x="1250" y="370"/>
                  </a:moveTo>
                  <a:cubicBezTo>
                    <a:pt x="1715" y="370"/>
                    <a:pt x="2119" y="620"/>
                    <a:pt x="2119" y="941"/>
                  </a:cubicBezTo>
                  <a:cubicBezTo>
                    <a:pt x="2119" y="1251"/>
                    <a:pt x="1715" y="1501"/>
                    <a:pt x="1250" y="1501"/>
                  </a:cubicBezTo>
                  <a:cubicBezTo>
                    <a:pt x="798" y="1501"/>
                    <a:pt x="393" y="1251"/>
                    <a:pt x="393" y="941"/>
                  </a:cubicBezTo>
                  <a:cubicBezTo>
                    <a:pt x="393" y="620"/>
                    <a:pt x="786" y="370"/>
                    <a:pt x="1250" y="370"/>
                  </a:cubicBezTo>
                  <a:close/>
                  <a:moveTo>
                    <a:pt x="1250" y="1"/>
                  </a:moveTo>
                  <a:cubicBezTo>
                    <a:pt x="929" y="1"/>
                    <a:pt x="631" y="96"/>
                    <a:pt x="393" y="251"/>
                  </a:cubicBezTo>
                  <a:cubicBezTo>
                    <a:pt x="143" y="429"/>
                    <a:pt x="0" y="691"/>
                    <a:pt x="0" y="953"/>
                  </a:cubicBezTo>
                  <a:cubicBezTo>
                    <a:pt x="0" y="1227"/>
                    <a:pt x="143" y="1465"/>
                    <a:pt x="393" y="1656"/>
                  </a:cubicBezTo>
                  <a:cubicBezTo>
                    <a:pt x="631" y="1822"/>
                    <a:pt x="929" y="1906"/>
                    <a:pt x="1250" y="1906"/>
                  </a:cubicBezTo>
                  <a:cubicBezTo>
                    <a:pt x="1584" y="1906"/>
                    <a:pt x="1881" y="1810"/>
                    <a:pt x="2119" y="1656"/>
                  </a:cubicBezTo>
                  <a:cubicBezTo>
                    <a:pt x="2369" y="1477"/>
                    <a:pt x="2500" y="1227"/>
                    <a:pt x="2500" y="953"/>
                  </a:cubicBezTo>
                  <a:cubicBezTo>
                    <a:pt x="2500" y="691"/>
                    <a:pt x="2358" y="429"/>
                    <a:pt x="2119" y="251"/>
                  </a:cubicBezTo>
                  <a:cubicBezTo>
                    <a:pt x="1881" y="96"/>
                    <a:pt x="1584" y="1"/>
                    <a:pt x="12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1" name="Google Shape;9821;p58"/>
            <p:cNvSpPr/>
            <p:nvPr/>
          </p:nvSpPr>
          <p:spPr>
            <a:xfrm>
              <a:off x="985324" y="2448488"/>
              <a:ext cx="86628" cy="94185"/>
            </a:xfrm>
            <a:custGeom>
              <a:avLst/>
              <a:gdLst/>
              <a:ahLst/>
              <a:cxnLst/>
              <a:rect l="l" t="t" r="r" b="b"/>
              <a:pathLst>
                <a:path w="2728" h="2966" extrusionOk="0">
                  <a:moveTo>
                    <a:pt x="977" y="370"/>
                  </a:moveTo>
                  <a:lnTo>
                    <a:pt x="1537" y="430"/>
                  </a:lnTo>
                  <a:cubicBezTo>
                    <a:pt x="1608" y="442"/>
                    <a:pt x="1680" y="489"/>
                    <a:pt x="1715" y="561"/>
                  </a:cubicBezTo>
                  <a:lnTo>
                    <a:pt x="2287" y="1858"/>
                  </a:lnTo>
                  <a:cubicBezTo>
                    <a:pt x="2322" y="1918"/>
                    <a:pt x="2322" y="1977"/>
                    <a:pt x="2311" y="2037"/>
                  </a:cubicBezTo>
                  <a:cubicBezTo>
                    <a:pt x="2299" y="2096"/>
                    <a:pt x="2251" y="2144"/>
                    <a:pt x="2191" y="2156"/>
                  </a:cubicBezTo>
                  <a:lnTo>
                    <a:pt x="1310" y="2549"/>
                  </a:lnTo>
                  <a:cubicBezTo>
                    <a:pt x="1287" y="2561"/>
                    <a:pt x="1251" y="2561"/>
                    <a:pt x="1227" y="2561"/>
                  </a:cubicBezTo>
                  <a:cubicBezTo>
                    <a:pt x="1132" y="2561"/>
                    <a:pt x="1060" y="2513"/>
                    <a:pt x="1013" y="2430"/>
                  </a:cubicBezTo>
                  <a:lnTo>
                    <a:pt x="429" y="1132"/>
                  </a:lnTo>
                  <a:cubicBezTo>
                    <a:pt x="406" y="1061"/>
                    <a:pt x="406" y="977"/>
                    <a:pt x="465" y="906"/>
                  </a:cubicBezTo>
                  <a:lnTo>
                    <a:pt x="787" y="465"/>
                  </a:lnTo>
                  <a:cubicBezTo>
                    <a:pt x="834" y="406"/>
                    <a:pt x="906" y="370"/>
                    <a:pt x="977" y="370"/>
                  </a:cubicBezTo>
                  <a:close/>
                  <a:moveTo>
                    <a:pt x="965" y="1"/>
                  </a:moveTo>
                  <a:cubicBezTo>
                    <a:pt x="775" y="1"/>
                    <a:pt x="596" y="84"/>
                    <a:pt x="477" y="251"/>
                  </a:cubicBezTo>
                  <a:lnTo>
                    <a:pt x="156" y="703"/>
                  </a:lnTo>
                  <a:cubicBezTo>
                    <a:pt x="13" y="882"/>
                    <a:pt x="1" y="1096"/>
                    <a:pt x="84" y="1311"/>
                  </a:cubicBezTo>
                  <a:lnTo>
                    <a:pt x="667" y="2608"/>
                  </a:lnTo>
                  <a:cubicBezTo>
                    <a:pt x="775" y="2823"/>
                    <a:pt x="977" y="2966"/>
                    <a:pt x="1215" y="2966"/>
                  </a:cubicBezTo>
                  <a:cubicBezTo>
                    <a:pt x="1310" y="2966"/>
                    <a:pt x="1382" y="2942"/>
                    <a:pt x="1453" y="2906"/>
                  </a:cubicBezTo>
                  <a:lnTo>
                    <a:pt x="2334" y="2513"/>
                  </a:lnTo>
                  <a:cubicBezTo>
                    <a:pt x="2489" y="2454"/>
                    <a:pt x="2608" y="2335"/>
                    <a:pt x="2644" y="2168"/>
                  </a:cubicBezTo>
                  <a:cubicBezTo>
                    <a:pt x="2727" y="2025"/>
                    <a:pt x="2727" y="1858"/>
                    <a:pt x="2656" y="1715"/>
                  </a:cubicBezTo>
                  <a:lnTo>
                    <a:pt x="2072" y="418"/>
                  </a:lnTo>
                  <a:cubicBezTo>
                    <a:pt x="1977" y="227"/>
                    <a:pt x="1787" y="84"/>
                    <a:pt x="1572" y="61"/>
                  </a:cubicBezTo>
                  <a:cubicBezTo>
                    <a:pt x="1370" y="49"/>
                    <a:pt x="1156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2" name="Google Shape;9822;p58"/>
            <p:cNvSpPr/>
            <p:nvPr/>
          </p:nvSpPr>
          <p:spPr>
            <a:xfrm>
              <a:off x="1014062" y="2472336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107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3" name="Google Shape;9823;p58"/>
            <p:cNvSpPr/>
            <p:nvPr/>
          </p:nvSpPr>
          <p:spPr>
            <a:xfrm>
              <a:off x="866243" y="2291587"/>
              <a:ext cx="415546" cy="355053"/>
            </a:xfrm>
            <a:custGeom>
              <a:avLst/>
              <a:gdLst/>
              <a:ahLst/>
              <a:cxnLst/>
              <a:rect l="l" t="t" r="r" b="b"/>
              <a:pathLst>
                <a:path w="13086" h="11181" extrusionOk="0">
                  <a:moveTo>
                    <a:pt x="7620" y="1430"/>
                  </a:moveTo>
                  <a:lnTo>
                    <a:pt x="7620" y="1989"/>
                  </a:lnTo>
                  <a:lnTo>
                    <a:pt x="5453" y="1989"/>
                  </a:lnTo>
                  <a:lnTo>
                    <a:pt x="5453" y="1430"/>
                  </a:lnTo>
                  <a:close/>
                  <a:moveTo>
                    <a:pt x="7608" y="406"/>
                  </a:moveTo>
                  <a:cubicBezTo>
                    <a:pt x="8168" y="406"/>
                    <a:pt x="8632" y="858"/>
                    <a:pt x="8632" y="1430"/>
                  </a:cubicBezTo>
                  <a:lnTo>
                    <a:pt x="8632" y="1989"/>
                  </a:lnTo>
                  <a:lnTo>
                    <a:pt x="7989" y="1989"/>
                  </a:lnTo>
                  <a:lnTo>
                    <a:pt x="7989" y="1430"/>
                  </a:lnTo>
                  <a:cubicBezTo>
                    <a:pt x="7989" y="1215"/>
                    <a:pt x="7811" y="1037"/>
                    <a:pt x="7608" y="1037"/>
                  </a:cubicBezTo>
                  <a:lnTo>
                    <a:pt x="5453" y="1037"/>
                  </a:lnTo>
                  <a:cubicBezTo>
                    <a:pt x="5239" y="1037"/>
                    <a:pt x="5060" y="1215"/>
                    <a:pt x="5060" y="1430"/>
                  </a:cubicBezTo>
                  <a:lnTo>
                    <a:pt x="5060" y="1989"/>
                  </a:lnTo>
                  <a:lnTo>
                    <a:pt x="4417" y="1989"/>
                  </a:lnTo>
                  <a:lnTo>
                    <a:pt x="4417" y="1430"/>
                  </a:lnTo>
                  <a:cubicBezTo>
                    <a:pt x="4417" y="858"/>
                    <a:pt x="4882" y="406"/>
                    <a:pt x="5453" y="406"/>
                  </a:cubicBezTo>
                  <a:close/>
                  <a:moveTo>
                    <a:pt x="2929" y="2096"/>
                  </a:moveTo>
                  <a:cubicBezTo>
                    <a:pt x="3013" y="2096"/>
                    <a:pt x="3072" y="2156"/>
                    <a:pt x="3072" y="2227"/>
                  </a:cubicBezTo>
                  <a:lnTo>
                    <a:pt x="3072" y="3299"/>
                  </a:lnTo>
                  <a:cubicBezTo>
                    <a:pt x="3072" y="3382"/>
                    <a:pt x="3132" y="3454"/>
                    <a:pt x="3203" y="3478"/>
                  </a:cubicBezTo>
                  <a:cubicBezTo>
                    <a:pt x="3224" y="3486"/>
                    <a:pt x="3246" y="3490"/>
                    <a:pt x="3267" y="3490"/>
                  </a:cubicBezTo>
                  <a:cubicBezTo>
                    <a:pt x="3365" y="3490"/>
                    <a:pt x="3453" y="3406"/>
                    <a:pt x="3453" y="3299"/>
                  </a:cubicBezTo>
                  <a:lnTo>
                    <a:pt x="3453" y="2358"/>
                  </a:lnTo>
                  <a:lnTo>
                    <a:pt x="9632" y="2358"/>
                  </a:lnTo>
                  <a:lnTo>
                    <a:pt x="9632" y="10502"/>
                  </a:lnTo>
                  <a:lnTo>
                    <a:pt x="3453" y="10502"/>
                  </a:lnTo>
                  <a:lnTo>
                    <a:pt x="3453" y="4073"/>
                  </a:lnTo>
                  <a:cubicBezTo>
                    <a:pt x="3453" y="3978"/>
                    <a:pt x="3370" y="3882"/>
                    <a:pt x="3263" y="3882"/>
                  </a:cubicBezTo>
                  <a:cubicBezTo>
                    <a:pt x="3155" y="3882"/>
                    <a:pt x="3072" y="3978"/>
                    <a:pt x="3072" y="4073"/>
                  </a:cubicBezTo>
                  <a:lnTo>
                    <a:pt x="3072" y="10657"/>
                  </a:lnTo>
                  <a:cubicBezTo>
                    <a:pt x="3072" y="10728"/>
                    <a:pt x="3013" y="10788"/>
                    <a:pt x="2929" y="10788"/>
                  </a:cubicBezTo>
                  <a:lnTo>
                    <a:pt x="2310" y="10788"/>
                  </a:lnTo>
                  <a:cubicBezTo>
                    <a:pt x="2239" y="10788"/>
                    <a:pt x="2179" y="10728"/>
                    <a:pt x="2179" y="10657"/>
                  </a:cubicBezTo>
                  <a:lnTo>
                    <a:pt x="2179" y="2227"/>
                  </a:lnTo>
                  <a:cubicBezTo>
                    <a:pt x="2179" y="2156"/>
                    <a:pt x="2239" y="2096"/>
                    <a:pt x="2310" y="2096"/>
                  </a:cubicBezTo>
                  <a:close/>
                  <a:moveTo>
                    <a:pt x="10775" y="2096"/>
                  </a:moveTo>
                  <a:cubicBezTo>
                    <a:pt x="10847" y="2096"/>
                    <a:pt x="10906" y="2156"/>
                    <a:pt x="10906" y="2227"/>
                  </a:cubicBezTo>
                  <a:lnTo>
                    <a:pt x="10906" y="10657"/>
                  </a:lnTo>
                  <a:cubicBezTo>
                    <a:pt x="10906" y="10728"/>
                    <a:pt x="10847" y="10788"/>
                    <a:pt x="10775" y="10788"/>
                  </a:cubicBezTo>
                  <a:lnTo>
                    <a:pt x="10156" y="10788"/>
                  </a:lnTo>
                  <a:cubicBezTo>
                    <a:pt x="10073" y="10788"/>
                    <a:pt x="10013" y="10728"/>
                    <a:pt x="10013" y="10657"/>
                  </a:cubicBezTo>
                  <a:lnTo>
                    <a:pt x="10013" y="2227"/>
                  </a:lnTo>
                  <a:cubicBezTo>
                    <a:pt x="10013" y="2156"/>
                    <a:pt x="10073" y="2096"/>
                    <a:pt x="10156" y="2096"/>
                  </a:cubicBezTo>
                  <a:close/>
                  <a:moveTo>
                    <a:pt x="5465" y="1"/>
                  </a:moveTo>
                  <a:cubicBezTo>
                    <a:pt x="4691" y="1"/>
                    <a:pt x="4048" y="644"/>
                    <a:pt x="4048" y="1418"/>
                  </a:cubicBezTo>
                  <a:lnTo>
                    <a:pt x="4048" y="1977"/>
                  </a:lnTo>
                  <a:lnTo>
                    <a:pt x="3394" y="1977"/>
                  </a:lnTo>
                  <a:cubicBezTo>
                    <a:pt x="3310" y="1811"/>
                    <a:pt x="3132" y="1692"/>
                    <a:pt x="2929" y="1692"/>
                  </a:cubicBezTo>
                  <a:lnTo>
                    <a:pt x="2310" y="1692"/>
                  </a:lnTo>
                  <a:cubicBezTo>
                    <a:pt x="2096" y="1692"/>
                    <a:pt x="1941" y="1811"/>
                    <a:pt x="1846" y="1977"/>
                  </a:cubicBezTo>
                  <a:lnTo>
                    <a:pt x="1310" y="1977"/>
                  </a:lnTo>
                  <a:cubicBezTo>
                    <a:pt x="596" y="1977"/>
                    <a:pt x="0" y="2561"/>
                    <a:pt x="0" y="3287"/>
                  </a:cubicBezTo>
                  <a:lnTo>
                    <a:pt x="0" y="7990"/>
                  </a:lnTo>
                  <a:cubicBezTo>
                    <a:pt x="0" y="8097"/>
                    <a:pt x="96" y="8180"/>
                    <a:pt x="191" y="8180"/>
                  </a:cubicBezTo>
                  <a:cubicBezTo>
                    <a:pt x="298" y="8180"/>
                    <a:pt x="393" y="8097"/>
                    <a:pt x="393" y="7990"/>
                  </a:cubicBezTo>
                  <a:lnTo>
                    <a:pt x="393" y="3287"/>
                  </a:lnTo>
                  <a:cubicBezTo>
                    <a:pt x="393" y="2787"/>
                    <a:pt x="810" y="2370"/>
                    <a:pt x="1310" y="2370"/>
                  </a:cubicBezTo>
                  <a:lnTo>
                    <a:pt x="1786" y="2370"/>
                  </a:lnTo>
                  <a:lnTo>
                    <a:pt x="1786" y="10502"/>
                  </a:lnTo>
                  <a:lnTo>
                    <a:pt x="1310" y="10502"/>
                  </a:lnTo>
                  <a:cubicBezTo>
                    <a:pt x="810" y="10502"/>
                    <a:pt x="393" y="10085"/>
                    <a:pt x="393" y="9585"/>
                  </a:cubicBezTo>
                  <a:lnTo>
                    <a:pt x="393" y="8764"/>
                  </a:lnTo>
                  <a:cubicBezTo>
                    <a:pt x="393" y="8657"/>
                    <a:pt x="298" y="8573"/>
                    <a:pt x="191" y="8573"/>
                  </a:cubicBezTo>
                  <a:cubicBezTo>
                    <a:pt x="96" y="8573"/>
                    <a:pt x="0" y="8657"/>
                    <a:pt x="0" y="8764"/>
                  </a:cubicBezTo>
                  <a:lnTo>
                    <a:pt x="0" y="9585"/>
                  </a:lnTo>
                  <a:cubicBezTo>
                    <a:pt x="0" y="10300"/>
                    <a:pt x="584" y="10895"/>
                    <a:pt x="1310" y="10895"/>
                  </a:cubicBezTo>
                  <a:lnTo>
                    <a:pt x="1846" y="10895"/>
                  </a:lnTo>
                  <a:cubicBezTo>
                    <a:pt x="1941" y="11062"/>
                    <a:pt x="2120" y="11181"/>
                    <a:pt x="2310" y="11181"/>
                  </a:cubicBezTo>
                  <a:lnTo>
                    <a:pt x="2929" y="11181"/>
                  </a:lnTo>
                  <a:cubicBezTo>
                    <a:pt x="3144" y="11181"/>
                    <a:pt x="3310" y="11062"/>
                    <a:pt x="3394" y="10895"/>
                  </a:cubicBezTo>
                  <a:lnTo>
                    <a:pt x="9692" y="10895"/>
                  </a:lnTo>
                  <a:cubicBezTo>
                    <a:pt x="9775" y="11062"/>
                    <a:pt x="9954" y="11181"/>
                    <a:pt x="10156" y="11181"/>
                  </a:cubicBezTo>
                  <a:lnTo>
                    <a:pt x="10775" y="11181"/>
                  </a:lnTo>
                  <a:cubicBezTo>
                    <a:pt x="10978" y="11181"/>
                    <a:pt x="11145" y="11062"/>
                    <a:pt x="11240" y="10895"/>
                  </a:cubicBezTo>
                  <a:lnTo>
                    <a:pt x="11776" y="10895"/>
                  </a:lnTo>
                  <a:cubicBezTo>
                    <a:pt x="12490" y="10895"/>
                    <a:pt x="13085" y="10312"/>
                    <a:pt x="13085" y="9585"/>
                  </a:cubicBezTo>
                  <a:lnTo>
                    <a:pt x="13085" y="4894"/>
                  </a:lnTo>
                  <a:cubicBezTo>
                    <a:pt x="13085" y="4787"/>
                    <a:pt x="12990" y="4704"/>
                    <a:pt x="12883" y="4704"/>
                  </a:cubicBezTo>
                  <a:cubicBezTo>
                    <a:pt x="12788" y="4704"/>
                    <a:pt x="12692" y="4787"/>
                    <a:pt x="12692" y="4894"/>
                  </a:cubicBezTo>
                  <a:lnTo>
                    <a:pt x="12692" y="9585"/>
                  </a:lnTo>
                  <a:cubicBezTo>
                    <a:pt x="12692" y="10085"/>
                    <a:pt x="12276" y="10502"/>
                    <a:pt x="11776" y="10502"/>
                  </a:cubicBezTo>
                  <a:lnTo>
                    <a:pt x="11299" y="10502"/>
                  </a:lnTo>
                  <a:lnTo>
                    <a:pt x="11299" y="2370"/>
                  </a:lnTo>
                  <a:lnTo>
                    <a:pt x="11776" y="2370"/>
                  </a:lnTo>
                  <a:cubicBezTo>
                    <a:pt x="12276" y="2370"/>
                    <a:pt x="12692" y="2787"/>
                    <a:pt x="12692" y="3287"/>
                  </a:cubicBezTo>
                  <a:lnTo>
                    <a:pt x="12692" y="4120"/>
                  </a:lnTo>
                  <a:cubicBezTo>
                    <a:pt x="12692" y="4240"/>
                    <a:pt x="12788" y="4311"/>
                    <a:pt x="12895" y="4311"/>
                  </a:cubicBezTo>
                  <a:cubicBezTo>
                    <a:pt x="12990" y="4311"/>
                    <a:pt x="13085" y="4228"/>
                    <a:pt x="13085" y="4120"/>
                  </a:cubicBezTo>
                  <a:lnTo>
                    <a:pt x="13085" y="3287"/>
                  </a:lnTo>
                  <a:cubicBezTo>
                    <a:pt x="13085" y="2573"/>
                    <a:pt x="12502" y="1977"/>
                    <a:pt x="11776" y="1977"/>
                  </a:cubicBezTo>
                  <a:lnTo>
                    <a:pt x="11240" y="1977"/>
                  </a:lnTo>
                  <a:cubicBezTo>
                    <a:pt x="11145" y="1811"/>
                    <a:pt x="10966" y="1692"/>
                    <a:pt x="10775" y="1692"/>
                  </a:cubicBezTo>
                  <a:lnTo>
                    <a:pt x="10156" y="1692"/>
                  </a:lnTo>
                  <a:cubicBezTo>
                    <a:pt x="9942" y="1692"/>
                    <a:pt x="9775" y="1811"/>
                    <a:pt x="9692" y="1977"/>
                  </a:cubicBezTo>
                  <a:lnTo>
                    <a:pt x="9037" y="1977"/>
                  </a:lnTo>
                  <a:lnTo>
                    <a:pt x="9037" y="1418"/>
                  </a:lnTo>
                  <a:cubicBezTo>
                    <a:pt x="9037" y="644"/>
                    <a:pt x="8394" y="1"/>
                    <a:pt x="7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24" name="Google Shape;9824;p58"/>
          <p:cNvSpPr/>
          <p:nvPr/>
        </p:nvSpPr>
        <p:spPr>
          <a:xfrm>
            <a:off x="1411794" y="2287808"/>
            <a:ext cx="360356" cy="358831"/>
          </a:xfrm>
          <a:custGeom>
            <a:avLst/>
            <a:gdLst/>
            <a:ahLst/>
            <a:cxnLst/>
            <a:rect l="l" t="t" r="r" b="b"/>
            <a:pathLst>
              <a:path w="11348" h="11300" extrusionOk="0">
                <a:moveTo>
                  <a:pt x="7752" y="846"/>
                </a:moveTo>
                <a:cubicBezTo>
                  <a:pt x="7978" y="846"/>
                  <a:pt x="8133" y="1025"/>
                  <a:pt x="8133" y="1239"/>
                </a:cubicBezTo>
                <a:lnTo>
                  <a:pt x="8133" y="4001"/>
                </a:lnTo>
                <a:lnTo>
                  <a:pt x="4252" y="4001"/>
                </a:lnTo>
                <a:cubicBezTo>
                  <a:pt x="3763" y="4001"/>
                  <a:pt x="3359" y="4406"/>
                  <a:pt x="3359" y="4894"/>
                </a:cubicBezTo>
                <a:lnTo>
                  <a:pt x="3359" y="4990"/>
                </a:lnTo>
                <a:lnTo>
                  <a:pt x="1168" y="4990"/>
                </a:lnTo>
                <a:lnTo>
                  <a:pt x="1168" y="5001"/>
                </a:lnTo>
                <a:cubicBezTo>
                  <a:pt x="942" y="5001"/>
                  <a:pt x="787" y="4823"/>
                  <a:pt x="787" y="4609"/>
                </a:cubicBezTo>
                <a:lnTo>
                  <a:pt x="787" y="1239"/>
                </a:lnTo>
                <a:cubicBezTo>
                  <a:pt x="787" y="1013"/>
                  <a:pt x="965" y="846"/>
                  <a:pt x="1168" y="846"/>
                </a:cubicBezTo>
                <a:close/>
                <a:moveTo>
                  <a:pt x="3370" y="6621"/>
                </a:moveTo>
                <a:lnTo>
                  <a:pt x="3370" y="6978"/>
                </a:lnTo>
                <a:lnTo>
                  <a:pt x="3180" y="6978"/>
                </a:lnTo>
                <a:lnTo>
                  <a:pt x="3370" y="6621"/>
                </a:lnTo>
                <a:close/>
                <a:moveTo>
                  <a:pt x="3382" y="7335"/>
                </a:moveTo>
                <a:lnTo>
                  <a:pt x="3382" y="7490"/>
                </a:lnTo>
                <a:lnTo>
                  <a:pt x="2644" y="7490"/>
                </a:lnTo>
                <a:cubicBezTo>
                  <a:pt x="2597" y="7490"/>
                  <a:pt x="2573" y="7454"/>
                  <a:pt x="2573" y="7407"/>
                </a:cubicBezTo>
                <a:cubicBezTo>
                  <a:pt x="2573" y="7383"/>
                  <a:pt x="2585" y="7371"/>
                  <a:pt x="2597" y="7347"/>
                </a:cubicBezTo>
                <a:cubicBezTo>
                  <a:pt x="2620" y="7335"/>
                  <a:pt x="2632" y="7335"/>
                  <a:pt x="2656" y="7335"/>
                </a:cubicBezTo>
                <a:close/>
                <a:moveTo>
                  <a:pt x="8966" y="8276"/>
                </a:moveTo>
                <a:cubicBezTo>
                  <a:pt x="9062" y="8276"/>
                  <a:pt x="9133" y="8347"/>
                  <a:pt x="9133" y="8442"/>
                </a:cubicBezTo>
                <a:lnTo>
                  <a:pt x="9133" y="8573"/>
                </a:lnTo>
                <a:cubicBezTo>
                  <a:pt x="9109" y="8573"/>
                  <a:pt x="9074" y="8561"/>
                  <a:pt x="9038" y="8561"/>
                </a:cubicBezTo>
                <a:lnTo>
                  <a:pt x="7454" y="8561"/>
                </a:lnTo>
                <a:cubicBezTo>
                  <a:pt x="7419" y="8561"/>
                  <a:pt x="7395" y="8561"/>
                  <a:pt x="7359" y="8573"/>
                </a:cubicBezTo>
                <a:lnTo>
                  <a:pt x="7359" y="8442"/>
                </a:lnTo>
                <a:cubicBezTo>
                  <a:pt x="7359" y="8347"/>
                  <a:pt x="7430" y="8276"/>
                  <a:pt x="7526" y="8276"/>
                </a:cubicBezTo>
                <a:close/>
                <a:moveTo>
                  <a:pt x="9883" y="4347"/>
                </a:moveTo>
                <a:cubicBezTo>
                  <a:pt x="10193" y="4347"/>
                  <a:pt x="10443" y="4597"/>
                  <a:pt x="10443" y="4906"/>
                </a:cubicBezTo>
                <a:lnTo>
                  <a:pt x="10443" y="9276"/>
                </a:lnTo>
                <a:lnTo>
                  <a:pt x="9478" y="9276"/>
                </a:lnTo>
                <a:lnTo>
                  <a:pt x="9478" y="9109"/>
                </a:lnTo>
                <a:lnTo>
                  <a:pt x="9764" y="9109"/>
                </a:lnTo>
                <a:cubicBezTo>
                  <a:pt x="10038" y="9109"/>
                  <a:pt x="10264" y="8883"/>
                  <a:pt x="10264" y="8597"/>
                </a:cubicBezTo>
                <a:lnTo>
                  <a:pt x="10264" y="5942"/>
                </a:lnTo>
                <a:cubicBezTo>
                  <a:pt x="10264" y="5847"/>
                  <a:pt x="10193" y="5775"/>
                  <a:pt x="10097" y="5775"/>
                </a:cubicBezTo>
                <a:cubicBezTo>
                  <a:pt x="10014" y="5775"/>
                  <a:pt x="9931" y="5847"/>
                  <a:pt x="9931" y="5942"/>
                </a:cubicBezTo>
                <a:lnTo>
                  <a:pt x="9931" y="8585"/>
                </a:lnTo>
                <a:cubicBezTo>
                  <a:pt x="9931" y="8680"/>
                  <a:pt x="9859" y="8752"/>
                  <a:pt x="9764" y="8752"/>
                </a:cubicBezTo>
                <a:lnTo>
                  <a:pt x="9478" y="8752"/>
                </a:lnTo>
                <a:lnTo>
                  <a:pt x="9478" y="8419"/>
                </a:lnTo>
                <a:cubicBezTo>
                  <a:pt x="9478" y="8157"/>
                  <a:pt x="9252" y="7918"/>
                  <a:pt x="8966" y="7918"/>
                </a:cubicBezTo>
                <a:lnTo>
                  <a:pt x="7526" y="7918"/>
                </a:lnTo>
                <a:cubicBezTo>
                  <a:pt x="7264" y="7918"/>
                  <a:pt x="7026" y="8145"/>
                  <a:pt x="7026" y="8419"/>
                </a:cubicBezTo>
                <a:lnTo>
                  <a:pt x="7026" y="8752"/>
                </a:lnTo>
                <a:lnTo>
                  <a:pt x="4382" y="8752"/>
                </a:lnTo>
                <a:cubicBezTo>
                  <a:pt x="4299" y="8752"/>
                  <a:pt x="4204" y="8680"/>
                  <a:pt x="4204" y="8585"/>
                </a:cubicBezTo>
                <a:lnTo>
                  <a:pt x="4204" y="5121"/>
                </a:lnTo>
                <a:cubicBezTo>
                  <a:pt x="4204" y="5025"/>
                  <a:pt x="4287" y="4942"/>
                  <a:pt x="4382" y="4942"/>
                </a:cubicBezTo>
                <a:lnTo>
                  <a:pt x="9740" y="4942"/>
                </a:lnTo>
                <a:cubicBezTo>
                  <a:pt x="9836" y="4942"/>
                  <a:pt x="9919" y="5013"/>
                  <a:pt x="9919" y="5121"/>
                </a:cubicBezTo>
                <a:lnTo>
                  <a:pt x="9919" y="5251"/>
                </a:lnTo>
                <a:cubicBezTo>
                  <a:pt x="9919" y="5347"/>
                  <a:pt x="10002" y="5418"/>
                  <a:pt x="10086" y="5418"/>
                </a:cubicBezTo>
                <a:cubicBezTo>
                  <a:pt x="10181" y="5418"/>
                  <a:pt x="10252" y="5347"/>
                  <a:pt x="10252" y="5251"/>
                </a:cubicBezTo>
                <a:lnTo>
                  <a:pt x="10252" y="5121"/>
                </a:lnTo>
                <a:cubicBezTo>
                  <a:pt x="10252" y="4835"/>
                  <a:pt x="10026" y="4609"/>
                  <a:pt x="9740" y="4609"/>
                </a:cubicBezTo>
                <a:lnTo>
                  <a:pt x="4382" y="4609"/>
                </a:lnTo>
                <a:cubicBezTo>
                  <a:pt x="4109" y="4609"/>
                  <a:pt x="3882" y="4835"/>
                  <a:pt x="3882" y="5121"/>
                </a:cubicBezTo>
                <a:lnTo>
                  <a:pt x="3882" y="8585"/>
                </a:lnTo>
                <a:cubicBezTo>
                  <a:pt x="3882" y="8871"/>
                  <a:pt x="4109" y="9097"/>
                  <a:pt x="4382" y="9097"/>
                </a:cubicBezTo>
                <a:lnTo>
                  <a:pt x="7026" y="9097"/>
                </a:lnTo>
                <a:lnTo>
                  <a:pt x="7026" y="9252"/>
                </a:lnTo>
                <a:lnTo>
                  <a:pt x="3716" y="9252"/>
                </a:lnTo>
                <a:lnTo>
                  <a:pt x="3716" y="4906"/>
                </a:lnTo>
                <a:cubicBezTo>
                  <a:pt x="3716" y="4597"/>
                  <a:pt x="3966" y="4347"/>
                  <a:pt x="4287" y="4347"/>
                </a:cubicBezTo>
                <a:close/>
                <a:moveTo>
                  <a:pt x="7038" y="9597"/>
                </a:moveTo>
                <a:lnTo>
                  <a:pt x="7038" y="10002"/>
                </a:lnTo>
                <a:lnTo>
                  <a:pt x="3549" y="10002"/>
                </a:lnTo>
                <a:cubicBezTo>
                  <a:pt x="3539" y="10003"/>
                  <a:pt x="3529" y="10004"/>
                  <a:pt x="3520" y="10004"/>
                </a:cubicBezTo>
                <a:cubicBezTo>
                  <a:pt x="3434" y="10004"/>
                  <a:pt x="3351" y="9959"/>
                  <a:pt x="3287" y="9895"/>
                </a:cubicBezTo>
                <a:cubicBezTo>
                  <a:pt x="3216" y="9823"/>
                  <a:pt x="3168" y="9716"/>
                  <a:pt x="3168" y="9609"/>
                </a:cubicBezTo>
                <a:cubicBezTo>
                  <a:pt x="3168" y="9597"/>
                  <a:pt x="3168" y="9597"/>
                  <a:pt x="3180" y="9597"/>
                </a:cubicBezTo>
                <a:close/>
                <a:moveTo>
                  <a:pt x="10990" y="9609"/>
                </a:moveTo>
                <a:lnTo>
                  <a:pt x="10990" y="9633"/>
                </a:lnTo>
                <a:cubicBezTo>
                  <a:pt x="10979" y="9835"/>
                  <a:pt x="10812" y="10014"/>
                  <a:pt x="10598" y="10014"/>
                </a:cubicBezTo>
                <a:lnTo>
                  <a:pt x="9478" y="10014"/>
                </a:lnTo>
                <a:lnTo>
                  <a:pt x="9478" y="9609"/>
                </a:lnTo>
                <a:close/>
                <a:moveTo>
                  <a:pt x="9050" y="8883"/>
                </a:moveTo>
                <a:cubicBezTo>
                  <a:pt x="9085" y="8883"/>
                  <a:pt x="9133" y="8931"/>
                  <a:pt x="9133" y="8978"/>
                </a:cubicBezTo>
                <a:lnTo>
                  <a:pt x="9133" y="10240"/>
                </a:lnTo>
                <a:cubicBezTo>
                  <a:pt x="9133" y="10288"/>
                  <a:pt x="9085" y="10324"/>
                  <a:pt x="9050" y="10324"/>
                </a:cubicBezTo>
                <a:lnTo>
                  <a:pt x="7454" y="10324"/>
                </a:lnTo>
                <a:cubicBezTo>
                  <a:pt x="7407" y="10324"/>
                  <a:pt x="7359" y="10288"/>
                  <a:pt x="7359" y="10240"/>
                </a:cubicBezTo>
                <a:lnTo>
                  <a:pt x="7359" y="10181"/>
                </a:lnTo>
                <a:lnTo>
                  <a:pt x="7359" y="8978"/>
                </a:lnTo>
                <a:cubicBezTo>
                  <a:pt x="7359" y="8931"/>
                  <a:pt x="7407" y="8883"/>
                  <a:pt x="7454" y="8883"/>
                </a:cubicBezTo>
                <a:close/>
                <a:moveTo>
                  <a:pt x="9133" y="10645"/>
                </a:moveTo>
                <a:lnTo>
                  <a:pt x="9133" y="10776"/>
                </a:lnTo>
                <a:cubicBezTo>
                  <a:pt x="9133" y="10859"/>
                  <a:pt x="9062" y="10943"/>
                  <a:pt x="8966" y="10943"/>
                </a:cubicBezTo>
                <a:lnTo>
                  <a:pt x="7526" y="10943"/>
                </a:lnTo>
                <a:cubicBezTo>
                  <a:pt x="7442" y="10943"/>
                  <a:pt x="7359" y="10859"/>
                  <a:pt x="7359" y="10776"/>
                </a:cubicBezTo>
                <a:lnTo>
                  <a:pt x="7359" y="10645"/>
                </a:lnTo>
                <a:cubicBezTo>
                  <a:pt x="7395" y="10645"/>
                  <a:pt x="7419" y="10657"/>
                  <a:pt x="7454" y="10657"/>
                </a:cubicBezTo>
                <a:lnTo>
                  <a:pt x="9050" y="10657"/>
                </a:lnTo>
                <a:cubicBezTo>
                  <a:pt x="9074" y="10657"/>
                  <a:pt x="9109" y="10657"/>
                  <a:pt x="9133" y="10645"/>
                </a:cubicBezTo>
                <a:close/>
                <a:moveTo>
                  <a:pt x="858" y="1"/>
                </a:moveTo>
                <a:cubicBezTo>
                  <a:pt x="382" y="1"/>
                  <a:pt x="1" y="382"/>
                  <a:pt x="1" y="858"/>
                </a:cubicBezTo>
                <a:lnTo>
                  <a:pt x="1" y="5561"/>
                </a:lnTo>
                <a:cubicBezTo>
                  <a:pt x="1" y="6037"/>
                  <a:pt x="382" y="6430"/>
                  <a:pt x="858" y="6430"/>
                </a:cubicBezTo>
                <a:lnTo>
                  <a:pt x="1334" y="6430"/>
                </a:lnTo>
                <a:cubicBezTo>
                  <a:pt x="1430" y="6430"/>
                  <a:pt x="1501" y="6359"/>
                  <a:pt x="1501" y="6264"/>
                </a:cubicBezTo>
                <a:cubicBezTo>
                  <a:pt x="1501" y="6180"/>
                  <a:pt x="1430" y="6097"/>
                  <a:pt x="1334" y="6097"/>
                </a:cubicBezTo>
                <a:lnTo>
                  <a:pt x="858" y="6097"/>
                </a:lnTo>
                <a:cubicBezTo>
                  <a:pt x="572" y="6097"/>
                  <a:pt x="334" y="5859"/>
                  <a:pt x="334" y="5585"/>
                </a:cubicBezTo>
                <a:lnTo>
                  <a:pt x="334" y="882"/>
                </a:lnTo>
                <a:cubicBezTo>
                  <a:pt x="334" y="596"/>
                  <a:pt x="572" y="358"/>
                  <a:pt x="858" y="358"/>
                </a:cubicBezTo>
                <a:lnTo>
                  <a:pt x="8062" y="358"/>
                </a:lnTo>
                <a:cubicBezTo>
                  <a:pt x="8347" y="358"/>
                  <a:pt x="8585" y="596"/>
                  <a:pt x="8585" y="882"/>
                </a:cubicBezTo>
                <a:lnTo>
                  <a:pt x="8585" y="4001"/>
                </a:lnTo>
                <a:lnTo>
                  <a:pt x="8478" y="4001"/>
                </a:lnTo>
                <a:lnTo>
                  <a:pt x="8478" y="1215"/>
                </a:lnTo>
                <a:cubicBezTo>
                  <a:pt x="8478" y="822"/>
                  <a:pt x="8157" y="489"/>
                  <a:pt x="7752" y="489"/>
                </a:cubicBezTo>
                <a:lnTo>
                  <a:pt x="1168" y="489"/>
                </a:lnTo>
                <a:cubicBezTo>
                  <a:pt x="775" y="489"/>
                  <a:pt x="442" y="822"/>
                  <a:pt x="442" y="1215"/>
                </a:cubicBezTo>
                <a:lnTo>
                  <a:pt x="442" y="4597"/>
                </a:lnTo>
                <a:cubicBezTo>
                  <a:pt x="442" y="5001"/>
                  <a:pt x="775" y="5323"/>
                  <a:pt x="1168" y="5323"/>
                </a:cubicBezTo>
                <a:lnTo>
                  <a:pt x="3370" y="5323"/>
                </a:lnTo>
                <a:lnTo>
                  <a:pt x="3370" y="6085"/>
                </a:lnTo>
                <a:lnTo>
                  <a:pt x="2001" y="6085"/>
                </a:lnTo>
                <a:cubicBezTo>
                  <a:pt x="1918" y="6085"/>
                  <a:pt x="1846" y="6156"/>
                  <a:pt x="1846" y="6252"/>
                </a:cubicBezTo>
                <a:cubicBezTo>
                  <a:pt x="1846" y="6335"/>
                  <a:pt x="1918" y="6418"/>
                  <a:pt x="2001" y="6418"/>
                </a:cubicBezTo>
                <a:lnTo>
                  <a:pt x="3109" y="6418"/>
                </a:lnTo>
                <a:lnTo>
                  <a:pt x="2811" y="6978"/>
                </a:lnTo>
                <a:lnTo>
                  <a:pt x="2656" y="6978"/>
                </a:lnTo>
                <a:cubicBezTo>
                  <a:pt x="2561" y="6978"/>
                  <a:pt x="2454" y="7026"/>
                  <a:pt x="2358" y="7097"/>
                </a:cubicBezTo>
                <a:cubicBezTo>
                  <a:pt x="2287" y="7168"/>
                  <a:pt x="2239" y="7276"/>
                  <a:pt x="2239" y="7395"/>
                </a:cubicBezTo>
                <a:cubicBezTo>
                  <a:pt x="2239" y="7621"/>
                  <a:pt x="2418" y="7811"/>
                  <a:pt x="2656" y="7811"/>
                </a:cubicBezTo>
                <a:lnTo>
                  <a:pt x="3394" y="7811"/>
                </a:lnTo>
                <a:lnTo>
                  <a:pt x="3394" y="9276"/>
                </a:lnTo>
                <a:lnTo>
                  <a:pt x="3192" y="9276"/>
                </a:lnTo>
                <a:cubicBezTo>
                  <a:pt x="3001" y="9276"/>
                  <a:pt x="2835" y="9431"/>
                  <a:pt x="2835" y="9633"/>
                </a:cubicBezTo>
                <a:cubicBezTo>
                  <a:pt x="2835" y="9823"/>
                  <a:pt x="2918" y="10002"/>
                  <a:pt x="3049" y="10145"/>
                </a:cubicBezTo>
                <a:cubicBezTo>
                  <a:pt x="3180" y="10288"/>
                  <a:pt x="3370" y="10359"/>
                  <a:pt x="3573" y="10359"/>
                </a:cubicBezTo>
                <a:lnTo>
                  <a:pt x="7049" y="10359"/>
                </a:lnTo>
                <a:lnTo>
                  <a:pt x="7049" y="10788"/>
                </a:lnTo>
                <a:cubicBezTo>
                  <a:pt x="7049" y="11062"/>
                  <a:pt x="7276" y="11300"/>
                  <a:pt x="7550" y="11300"/>
                </a:cubicBezTo>
                <a:lnTo>
                  <a:pt x="9002" y="11300"/>
                </a:lnTo>
                <a:cubicBezTo>
                  <a:pt x="9264" y="11300"/>
                  <a:pt x="9502" y="11074"/>
                  <a:pt x="9502" y="10788"/>
                </a:cubicBezTo>
                <a:lnTo>
                  <a:pt x="9502" y="10359"/>
                </a:lnTo>
                <a:lnTo>
                  <a:pt x="10621" y="10359"/>
                </a:lnTo>
                <a:cubicBezTo>
                  <a:pt x="11026" y="10359"/>
                  <a:pt x="11348" y="10026"/>
                  <a:pt x="11348" y="9633"/>
                </a:cubicBezTo>
                <a:cubicBezTo>
                  <a:pt x="11324" y="9526"/>
                  <a:pt x="11276" y="9431"/>
                  <a:pt x="11217" y="9371"/>
                </a:cubicBezTo>
                <a:cubicBezTo>
                  <a:pt x="11157" y="9312"/>
                  <a:pt x="11074" y="9276"/>
                  <a:pt x="10967" y="9276"/>
                </a:cubicBezTo>
                <a:lnTo>
                  <a:pt x="10776" y="9276"/>
                </a:lnTo>
                <a:lnTo>
                  <a:pt x="10776" y="4906"/>
                </a:lnTo>
                <a:cubicBezTo>
                  <a:pt x="10776" y="4418"/>
                  <a:pt x="10371" y="4013"/>
                  <a:pt x="9883" y="4013"/>
                </a:cubicBezTo>
                <a:lnTo>
                  <a:pt x="8931" y="4013"/>
                </a:lnTo>
                <a:lnTo>
                  <a:pt x="8931" y="858"/>
                </a:lnTo>
                <a:cubicBezTo>
                  <a:pt x="8931" y="382"/>
                  <a:pt x="8538" y="1"/>
                  <a:pt x="806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25" name="Google Shape;9825;p58"/>
          <p:cNvGrpSpPr/>
          <p:nvPr/>
        </p:nvGrpSpPr>
        <p:grpSpPr>
          <a:xfrm>
            <a:off x="1958520" y="2302574"/>
            <a:ext cx="359213" cy="327807"/>
            <a:chOff x="1958520" y="2302574"/>
            <a:chExt cx="359213" cy="327807"/>
          </a:xfrm>
        </p:grpSpPr>
        <p:sp>
          <p:nvSpPr>
            <p:cNvPr id="9826" name="Google Shape;9826;p58"/>
            <p:cNvSpPr/>
            <p:nvPr/>
          </p:nvSpPr>
          <p:spPr>
            <a:xfrm>
              <a:off x="1958520" y="2302574"/>
              <a:ext cx="359213" cy="327807"/>
            </a:xfrm>
            <a:custGeom>
              <a:avLst/>
              <a:gdLst/>
              <a:ahLst/>
              <a:cxnLst/>
              <a:rect l="l" t="t" r="r" b="b"/>
              <a:pathLst>
                <a:path w="11312" h="10323" extrusionOk="0">
                  <a:moveTo>
                    <a:pt x="7168" y="8132"/>
                  </a:moveTo>
                  <a:lnTo>
                    <a:pt x="7501" y="9204"/>
                  </a:lnTo>
                  <a:lnTo>
                    <a:pt x="3799" y="9204"/>
                  </a:lnTo>
                  <a:lnTo>
                    <a:pt x="4120" y="8132"/>
                  </a:lnTo>
                  <a:close/>
                  <a:moveTo>
                    <a:pt x="8466" y="9537"/>
                  </a:moveTo>
                  <a:cubicBezTo>
                    <a:pt x="8597" y="9537"/>
                    <a:pt x="8704" y="9656"/>
                    <a:pt x="8704" y="9775"/>
                  </a:cubicBezTo>
                  <a:cubicBezTo>
                    <a:pt x="8704" y="9906"/>
                    <a:pt x="8597" y="10013"/>
                    <a:pt x="8466" y="10013"/>
                  </a:cubicBezTo>
                  <a:lnTo>
                    <a:pt x="2810" y="10013"/>
                  </a:lnTo>
                  <a:cubicBezTo>
                    <a:pt x="2679" y="10013"/>
                    <a:pt x="2572" y="9906"/>
                    <a:pt x="2572" y="9775"/>
                  </a:cubicBezTo>
                  <a:cubicBezTo>
                    <a:pt x="2572" y="9644"/>
                    <a:pt x="2679" y="9537"/>
                    <a:pt x="2810" y="9537"/>
                  </a:cubicBezTo>
                  <a:close/>
                  <a:moveTo>
                    <a:pt x="1072" y="0"/>
                  </a:moveTo>
                  <a:cubicBezTo>
                    <a:pt x="477" y="0"/>
                    <a:pt x="0" y="476"/>
                    <a:pt x="0" y="1072"/>
                  </a:cubicBezTo>
                  <a:lnTo>
                    <a:pt x="0" y="7049"/>
                  </a:lnTo>
                  <a:cubicBezTo>
                    <a:pt x="0" y="7644"/>
                    <a:pt x="477" y="8120"/>
                    <a:pt x="1072" y="8120"/>
                  </a:cubicBezTo>
                  <a:lnTo>
                    <a:pt x="3763" y="8120"/>
                  </a:lnTo>
                  <a:lnTo>
                    <a:pt x="3441" y="9192"/>
                  </a:lnTo>
                  <a:lnTo>
                    <a:pt x="2822" y="9192"/>
                  </a:lnTo>
                  <a:cubicBezTo>
                    <a:pt x="2513" y="9192"/>
                    <a:pt x="2263" y="9442"/>
                    <a:pt x="2263" y="9751"/>
                  </a:cubicBezTo>
                  <a:cubicBezTo>
                    <a:pt x="2263" y="10073"/>
                    <a:pt x="2513" y="10323"/>
                    <a:pt x="2822" y="10323"/>
                  </a:cubicBezTo>
                  <a:lnTo>
                    <a:pt x="8478" y="10323"/>
                  </a:lnTo>
                  <a:cubicBezTo>
                    <a:pt x="8799" y="10323"/>
                    <a:pt x="9049" y="10073"/>
                    <a:pt x="9049" y="9751"/>
                  </a:cubicBezTo>
                  <a:cubicBezTo>
                    <a:pt x="9049" y="9442"/>
                    <a:pt x="8799" y="9192"/>
                    <a:pt x="8478" y="9192"/>
                  </a:cubicBezTo>
                  <a:lnTo>
                    <a:pt x="7870" y="9192"/>
                  </a:lnTo>
                  <a:lnTo>
                    <a:pt x="7549" y="8120"/>
                  </a:lnTo>
                  <a:lnTo>
                    <a:pt x="10240" y="8120"/>
                  </a:lnTo>
                  <a:cubicBezTo>
                    <a:pt x="10835" y="8120"/>
                    <a:pt x="11311" y="7644"/>
                    <a:pt x="11311" y="7049"/>
                  </a:cubicBezTo>
                  <a:lnTo>
                    <a:pt x="11311" y="1072"/>
                  </a:lnTo>
                  <a:cubicBezTo>
                    <a:pt x="11299" y="488"/>
                    <a:pt x="10823" y="0"/>
                    <a:pt x="10228" y="0"/>
                  </a:cubicBezTo>
                  <a:lnTo>
                    <a:pt x="2786" y="0"/>
                  </a:lnTo>
                  <a:cubicBezTo>
                    <a:pt x="2691" y="0"/>
                    <a:pt x="2620" y="72"/>
                    <a:pt x="2620" y="155"/>
                  </a:cubicBezTo>
                  <a:cubicBezTo>
                    <a:pt x="2620" y="250"/>
                    <a:pt x="2691" y="322"/>
                    <a:pt x="2786" y="322"/>
                  </a:cubicBezTo>
                  <a:lnTo>
                    <a:pt x="10228" y="322"/>
                  </a:lnTo>
                  <a:cubicBezTo>
                    <a:pt x="10621" y="322"/>
                    <a:pt x="10966" y="655"/>
                    <a:pt x="10966" y="1072"/>
                  </a:cubicBezTo>
                  <a:lnTo>
                    <a:pt x="10966" y="7049"/>
                  </a:lnTo>
                  <a:cubicBezTo>
                    <a:pt x="10966" y="7453"/>
                    <a:pt x="10645" y="7799"/>
                    <a:pt x="10228" y="7799"/>
                  </a:cubicBezTo>
                  <a:lnTo>
                    <a:pt x="1072" y="7799"/>
                  </a:lnTo>
                  <a:cubicBezTo>
                    <a:pt x="667" y="7799"/>
                    <a:pt x="322" y="7465"/>
                    <a:pt x="322" y="7049"/>
                  </a:cubicBezTo>
                  <a:lnTo>
                    <a:pt x="322" y="1072"/>
                  </a:lnTo>
                  <a:cubicBezTo>
                    <a:pt x="322" y="667"/>
                    <a:pt x="655" y="322"/>
                    <a:pt x="1072" y="322"/>
                  </a:cubicBezTo>
                  <a:lnTo>
                    <a:pt x="2108" y="322"/>
                  </a:lnTo>
                  <a:cubicBezTo>
                    <a:pt x="2203" y="322"/>
                    <a:pt x="2275" y="250"/>
                    <a:pt x="2275" y="155"/>
                  </a:cubicBezTo>
                  <a:cubicBezTo>
                    <a:pt x="2275" y="72"/>
                    <a:pt x="2203" y="0"/>
                    <a:pt x="21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7" name="Google Shape;9827;p58"/>
            <p:cNvSpPr/>
            <p:nvPr/>
          </p:nvSpPr>
          <p:spPr>
            <a:xfrm>
              <a:off x="1986877" y="2331313"/>
              <a:ext cx="302117" cy="184909"/>
            </a:xfrm>
            <a:custGeom>
              <a:avLst/>
              <a:gdLst/>
              <a:ahLst/>
              <a:cxnLst/>
              <a:rect l="l" t="t" r="r" b="b"/>
              <a:pathLst>
                <a:path w="9514" h="5823" extrusionOk="0">
                  <a:moveTo>
                    <a:pt x="179" y="0"/>
                  </a:moveTo>
                  <a:cubicBezTo>
                    <a:pt x="72" y="0"/>
                    <a:pt x="0" y="71"/>
                    <a:pt x="0" y="179"/>
                  </a:cubicBezTo>
                  <a:lnTo>
                    <a:pt x="0" y="5656"/>
                  </a:lnTo>
                  <a:cubicBezTo>
                    <a:pt x="0" y="5739"/>
                    <a:pt x="72" y="5822"/>
                    <a:pt x="167" y="5822"/>
                  </a:cubicBezTo>
                  <a:lnTo>
                    <a:pt x="9347" y="5822"/>
                  </a:lnTo>
                  <a:cubicBezTo>
                    <a:pt x="9430" y="5822"/>
                    <a:pt x="9513" y="5739"/>
                    <a:pt x="9513" y="5656"/>
                  </a:cubicBezTo>
                  <a:lnTo>
                    <a:pt x="9513" y="5072"/>
                  </a:lnTo>
                  <a:cubicBezTo>
                    <a:pt x="9513" y="4989"/>
                    <a:pt x="9430" y="4905"/>
                    <a:pt x="9347" y="4905"/>
                  </a:cubicBezTo>
                  <a:cubicBezTo>
                    <a:pt x="9252" y="4905"/>
                    <a:pt x="9180" y="4989"/>
                    <a:pt x="9180" y="5072"/>
                  </a:cubicBezTo>
                  <a:lnTo>
                    <a:pt x="9180" y="5489"/>
                  </a:lnTo>
                  <a:lnTo>
                    <a:pt x="346" y="5489"/>
                  </a:lnTo>
                  <a:lnTo>
                    <a:pt x="346" y="345"/>
                  </a:lnTo>
                  <a:lnTo>
                    <a:pt x="9180" y="345"/>
                  </a:lnTo>
                  <a:lnTo>
                    <a:pt x="9180" y="4405"/>
                  </a:lnTo>
                  <a:cubicBezTo>
                    <a:pt x="9168" y="4489"/>
                    <a:pt x="9240" y="4572"/>
                    <a:pt x="9347" y="4572"/>
                  </a:cubicBezTo>
                  <a:cubicBezTo>
                    <a:pt x="9430" y="4572"/>
                    <a:pt x="9513" y="4489"/>
                    <a:pt x="9513" y="4405"/>
                  </a:cubicBezTo>
                  <a:lnTo>
                    <a:pt x="9513" y="179"/>
                  </a:lnTo>
                  <a:cubicBezTo>
                    <a:pt x="9513" y="71"/>
                    <a:pt x="9430" y="0"/>
                    <a:pt x="93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8" name="Google Shape;9828;p58"/>
            <p:cNvSpPr/>
            <p:nvPr/>
          </p:nvSpPr>
          <p:spPr>
            <a:xfrm>
              <a:off x="2131521" y="2526701"/>
              <a:ext cx="11908" cy="10638"/>
            </a:xfrm>
            <a:custGeom>
              <a:avLst/>
              <a:gdLst/>
              <a:ahLst/>
              <a:cxnLst/>
              <a:rect l="l" t="t" r="r" b="b"/>
              <a:pathLst>
                <a:path w="375" h="335" extrusionOk="0">
                  <a:moveTo>
                    <a:pt x="176" y="0"/>
                  </a:moveTo>
                  <a:cubicBezTo>
                    <a:pt x="167" y="0"/>
                    <a:pt x="158" y="1"/>
                    <a:pt x="148" y="3"/>
                  </a:cubicBezTo>
                  <a:cubicBezTo>
                    <a:pt x="77" y="26"/>
                    <a:pt x="17" y="86"/>
                    <a:pt x="17" y="157"/>
                  </a:cubicBezTo>
                  <a:cubicBezTo>
                    <a:pt x="1" y="258"/>
                    <a:pt x="95" y="334"/>
                    <a:pt x="186" y="334"/>
                  </a:cubicBezTo>
                  <a:cubicBezTo>
                    <a:pt x="225" y="334"/>
                    <a:pt x="263" y="320"/>
                    <a:pt x="291" y="288"/>
                  </a:cubicBezTo>
                  <a:cubicBezTo>
                    <a:pt x="375" y="229"/>
                    <a:pt x="375" y="145"/>
                    <a:pt x="327" y="86"/>
                  </a:cubicBezTo>
                  <a:cubicBezTo>
                    <a:pt x="296" y="34"/>
                    <a:pt x="238" y="0"/>
                    <a:pt x="1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29" name="Google Shape;9829;p58"/>
          <p:cNvGrpSpPr/>
          <p:nvPr/>
        </p:nvGrpSpPr>
        <p:grpSpPr>
          <a:xfrm>
            <a:off x="2579882" y="2287427"/>
            <a:ext cx="207582" cy="359594"/>
            <a:chOff x="2656082" y="2287427"/>
            <a:chExt cx="207582" cy="359594"/>
          </a:xfrm>
        </p:grpSpPr>
        <p:sp>
          <p:nvSpPr>
            <p:cNvPr id="9830" name="Google Shape;9830;p58"/>
            <p:cNvSpPr/>
            <p:nvPr/>
          </p:nvSpPr>
          <p:spPr>
            <a:xfrm>
              <a:off x="2656082" y="2287427"/>
              <a:ext cx="207582" cy="359594"/>
            </a:xfrm>
            <a:custGeom>
              <a:avLst/>
              <a:gdLst/>
              <a:ahLst/>
              <a:cxnLst/>
              <a:rect l="l" t="t" r="r" b="b"/>
              <a:pathLst>
                <a:path w="6537" h="11324" extrusionOk="0">
                  <a:moveTo>
                    <a:pt x="5704" y="334"/>
                  </a:moveTo>
                  <a:cubicBezTo>
                    <a:pt x="5965" y="334"/>
                    <a:pt x="6192" y="561"/>
                    <a:pt x="6192" y="834"/>
                  </a:cubicBezTo>
                  <a:lnTo>
                    <a:pt x="6192" y="1323"/>
                  </a:lnTo>
                  <a:lnTo>
                    <a:pt x="346" y="1323"/>
                  </a:lnTo>
                  <a:lnTo>
                    <a:pt x="346" y="834"/>
                  </a:lnTo>
                  <a:cubicBezTo>
                    <a:pt x="346" y="561"/>
                    <a:pt x="560" y="334"/>
                    <a:pt x="834" y="334"/>
                  </a:cubicBezTo>
                  <a:close/>
                  <a:moveTo>
                    <a:pt x="6192" y="1644"/>
                  </a:moveTo>
                  <a:lnTo>
                    <a:pt x="6192" y="8990"/>
                  </a:lnTo>
                  <a:lnTo>
                    <a:pt x="1501" y="8990"/>
                  </a:lnTo>
                  <a:cubicBezTo>
                    <a:pt x="1405" y="8990"/>
                    <a:pt x="1334" y="9062"/>
                    <a:pt x="1334" y="9145"/>
                  </a:cubicBezTo>
                  <a:cubicBezTo>
                    <a:pt x="1334" y="9240"/>
                    <a:pt x="1405" y="9312"/>
                    <a:pt x="1501" y="9312"/>
                  </a:cubicBezTo>
                  <a:lnTo>
                    <a:pt x="6192" y="9312"/>
                  </a:lnTo>
                  <a:lnTo>
                    <a:pt x="6192" y="10478"/>
                  </a:lnTo>
                  <a:cubicBezTo>
                    <a:pt x="6192" y="10740"/>
                    <a:pt x="5965" y="10967"/>
                    <a:pt x="5704" y="10967"/>
                  </a:cubicBezTo>
                  <a:lnTo>
                    <a:pt x="834" y="10967"/>
                  </a:lnTo>
                  <a:cubicBezTo>
                    <a:pt x="560" y="10967"/>
                    <a:pt x="346" y="10740"/>
                    <a:pt x="346" y="10478"/>
                  </a:cubicBezTo>
                  <a:lnTo>
                    <a:pt x="346" y="9312"/>
                  </a:lnTo>
                  <a:lnTo>
                    <a:pt x="834" y="9312"/>
                  </a:lnTo>
                  <a:cubicBezTo>
                    <a:pt x="917" y="9312"/>
                    <a:pt x="1001" y="9240"/>
                    <a:pt x="1001" y="9145"/>
                  </a:cubicBezTo>
                  <a:cubicBezTo>
                    <a:pt x="1001" y="9062"/>
                    <a:pt x="917" y="8990"/>
                    <a:pt x="834" y="8990"/>
                  </a:cubicBezTo>
                  <a:lnTo>
                    <a:pt x="346" y="8990"/>
                  </a:lnTo>
                  <a:lnTo>
                    <a:pt x="346" y="1644"/>
                  </a:lnTo>
                  <a:close/>
                  <a:moveTo>
                    <a:pt x="834" y="1"/>
                  </a:moveTo>
                  <a:cubicBezTo>
                    <a:pt x="370" y="1"/>
                    <a:pt x="0" y="370"/>
                    <a:pt x="0" y="834"/>
                  </a:cubicBezTo>
                  <a:lnTo>
                    <a:pt x="0" y="10490"/>
                  </a:lnTo>
                  <a:cubicBezTo>
                    <a:pt x="0" y="10955"/>
                    <a:pt x="370" y="11324"/>
                    <a:pt x="834" y="11324"/>
                  </a:cubicBezTo>
                  <a:lnTo>
                    <a:pt x="5704" y="11324"/>
                  </a:lnTo>
                  <a:cubicBezTo>
                    <a:pt x="6156" y="11324"/>
                    <a:pt x="6537" y="10955"/>
                    <a:pt x="6537" y="10490"/>
                  </a:cubicBezTo>
                  <a:lnTo>
                    <a:pt x="6537" y="834"/>
                  </a:lnTo>
                  <a:cubicBezTo>
                    <a:pt x="6513" y="370"/>
                    <a:pt x="6144" y="1"/>
                    <a:pt x="57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1" name="Google Shape;9831;p58"/>
            <p:cNvSpPr/>
            <p:nvPr/>
          </p:nvSpPr>
          <p:spPr>
            <a:xfrm>
              <a:off x="2754395" y="2308608"/>
              <a:ext cx="31787" cy="10257"/>
            </a:xfrm>
            <a:custGeom>
              <a:avLst/>
              <a:gdLst/>
              <a:ahLst/>
              <a:cxnLst/>
              <a:rect l="l" t="t" r="r" b="b"/>
              <a:pathLst>
                <a:path w="100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834" y="322"/>
                  </a:lnTo>
                  <a:cubicBezTo>
                    <a:pt x="917" y="322"/>
                    <a:pt x="1000" y="251"/>
                    <a:pt x="1000" y="167"/>
                  </a:cubicBezTo>
                  <a:cubicBezTo>
                    <a:pt x="1000" y="72"/>
                    <a:pt x="917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2" name="Google Shape;9832;p58"/>
            <p:cNvSpPr/>
            <p:nvPr/>
          </p:nvSpPr>
          <p:spPr>
            <a:xfrm>
              <a:off x="2743789" y="2594053"/>
              <a:ext cx="31406" cy="31056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1" y="322"/>
                  </a:moveTo>
                  <a:cubicBezTo>
                    <a:pt x="584" y="322"/>
                    <a:pt x="656" y="406"/>
                    <a:pt x="656" y="489"/>
                  </a:cubicBezTo>
                  <a:cubicBezTo>
                    <a:pt x="656" y="584"/>
                    <a:pt x="584" y="656"/>
                    <a:pt x="501" y="656"/>
                  </a:cubicBezTo>
                  <a:cubicBezTo>
                    <a:pt x="406" y="656"/>
                    <a:pt x="334" y="584"/>
                    <a:pt x="334" y="489"/>
                  </a:cubicBezTo>
                  <a:cubicBezTo>
                    <a:pt x="334" y="406"/>
                    <a:pt x="406" y="322"/>
                    <a:pt x="501" y="322"/>
                  </a:cubicBezTo>
                  <a:close/>
                  <a:moveTo>
                    <a:pt x="501" y="1"/>
                  </a:moveTo>
                  <a:cubicBezTo>
                    <a:pt x="227" y="1"/>
                    <a:pt x="1" y="227"/>
                    <a:pt x="1" y="489"/>
                  </a:cubicBezTo>
                  <a:cubicBezTo>
                    <a:pt x="1" y="763"/>
                    <a:pt x="227" y="977"/>
                    <a:pt x="501" y="977"/>
                  </a:cubicBezTo>
                  <a:cubicBezTo>
                    <a:pt x="763" y="977"/>
                    <a:pt x="989" y="763"/>
                    <a:pt x="989" y="489"/>
                  </a:cubicBezTo>
                  <a:cubicBezTo>
                    <a:pt x="989" y="227"/>
                    <a:pt x="775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3" name="Google Shape;9833;p58"/>
            <p:cNvSpPr/>
            <p:nvPr/>
          </p:nvSpPr>
          <p:spPr>
            <a:xfrm>
              <a:off x="2733596" y="2308608"/>
              <a:ext cx="10225" cy="10257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34" name="Google Shape;9834;p58"/>
          <p:cNvGrpSpPr/>
          <p:nvPr/>
        </p:nvGrpSpPr>
        <p:grpSpPr>
          <a:xfrm>
            <a:off x="3049653" y="2321468"/>
            <a:ext cx="362991" cy="290018"/>
            <a:chOff x="3049653" y="2321468"/>
            <a:chExt cx="362991" cy="290018"/>
          </a:xfrm>
        </p:grpSpPr>
        <p:sp>
          <p:nvSpPr>
            <p:cNvPr id="9835" name="Google Shape;9835;p58"/>
            <p:cNvSpPr/>
            <p:nvPr/>
          </p:nvSpPr>
          <p:spPr>
            <a:xfrm>
              <a:off x="3280290" y="2429690"/>
              <a:ext cx="29913" cy="73957"/>
            </a:xfrm>
            <a:custGeom>
              <a:avLst/>
              <a:gdLst/>
              <a:ahLst/>
              <a:cxnLst/>
              <a:rect l="l" t="t" r="r" b="b"/>
              <a:pathLst>
                <a:path w="942" h="2329" extrusionOk="0">
                  <a:moveTo>
                    <a:pt x="200" y="1"/>
                  </a:moveTo>
                  <a:cubicBezTo>
                    <a:pt x="158" y="1"/>
                    <a:pt x="114" y="16"/>
                    <a:pt x="72" y="45"/>
                  </a:cubicBezTo>
                  <a:cubicBezTo>
                    <a:pt x="13" y="93"/>
                    <a:pt x="13" y="200"/>
                    <a:pt x="72" y="283"/>
                  </a:cubicBezTo>
                  <a:cubicBezTo>
                    <a:pt x="572" y="772"/>
                    <a:pt x="572" y="1569"/>
                    <a:pt x="72" y="2046"/>
                  </a:cubicBezTo>
                  <a:cubicBezTo>
                    <a:pt x="1" y="2129"/>
                    <a:pt x="1" y="2224"/>
                    <a:pt x="72" y="2284"/>
                  </a:cubicBezTo>
                  <a:cubicBezTo>
                    <a:pt x="102" y="2313"/>
                    <a:pt x="144" y="2328"/>
                    <a:pt x="187" y="2328"/>
                  </a:cubicBezTo>
                  <a:cubicBezTo>
                    <a:pt x="230" y="2328"/>
                    <a:pt x="275" y="2313"/>
                    <a:pt x="310" y="2284"/>
                  </a:cubicBezTo>
                  <a:cubicBezTo>
                    <a:pt x="941" y="1665"/>
                    <a:pt x="941" y="664"/>
                    <a:pt x="310" y="45"/>
                  </a:cubicBezTo>
                  <a:cubicBezTo>
                    <a:pt x="280" y="16"/>
                    <a:pt x="242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6" name="Google Shape;9836;p58"/>
            <p:cNvSpPr/>
            <p:nvPr/>
          </p:nvSpPr>
          <p:spPr>
            <a:xfrm>
              <a:off x="3317729" y="2392250"/>
              <a:ext cx="49570" cy="148836"/>
            </a:xfrm>
            <a:custGeom>
              <a:avLst/>
              <a:gdLst/>
              <a:ahLst/>
              <a:cxnLst/>
              <a:rect l="l" t="t" r="r" b="b"/>
              <a:pathLst>
                <a:path w="1561" h="4687" extrusionOk="0">
                  <a:moveTo>
                    <a:pt x="183" y="1"/>
                  </a:moveTo>
                  <a:cubicBezTo>
                    <a:pt x="140" y="1"/>
                    <a:pt x="96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1191" y="1415"/>
                    <a:pt x="1191" y="3272"/>
                    <a:pt x="60" y="4403"/>
                  </a:cubicBezTo>
                  <a:cubicBezTo>
                    <a:pt x="0" y="4475"/>
                    <a:pt x="0" y="4582"/>
                    <a:pt x="60" y="4641"/>
                  </a:cubicBezTo>
                  <a:cubicBezTo>
                    <a:pt x="90" y="4671"/>
                    <a:pt x="131" y="4686"/>
                    <a:pt x="175" y="4686"/>
                  </a:cubicBezTo>
                  <a:cubicBezTo>
                    <a:pt x="218" y="4686"/>
                    <a:pt x="262" y="4671"/>
                    <a:pt x="298" y="4641"/>
                  </a:cubicBezTo>
                  <a:cubicBezTo>
                    <a:pt x="1560" y="3379"/>
                    <a:pt x="1560" y="1308"/>
                    <a:pt x="298" y="46"/>
                  </a:cubicBezTo>
                  <a:cubicBezTo>
                    <a:pt x="268" y="16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7" name="Google Shape;9837;p58"/>
            <p:cNvSpPr/>
            <p:nvPr/>
          </p:nvSpPr>
          <p:spPr>
            <a:xfrm>
              <a:off x="3354406" y="2355954"/>
              <a:ext cx="58239" cy="222317"/>
            </a:xfrm>
            <a:custGeom>
              <a:avLst/>
              <a:gdLst/>
              <a:ahLst/>
              <a:cxnLst/>
              <a:rect l="l" t="t" r="r" b="b"/>
              <a:pathLst>
                <a:path w="1834" h="7001" extrusionOk="0">
                  <a:moveTo>
                    <a:pt x="174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00"/>
                    <a:pt x="60" y="284"/>
                  </a:cubicBezTo>
                  <a:cubicBezTo>
                    <a:pt x="1834" y="2046"/>
                    <a:pt x="1834" y="4939"/>
                    <a:pt x="60" y="6713"/>
                  </a:cubicBezTo>
                  <a:cubicBezTo>
                    <a:pt x="0" y="6773"/>
                    <a:pt x="0" y="6868"/>
                    <a:pt x="60" y="6951"/>
                  </a:cubicBezTo>
                  <a:cubicBezTo>
                    <a:pt x="88" y="6985"/>
                    <a:pt x="128" y="7000"/>
                    <a:pt x="169" y="7000"/>
                  </a:cubicBezTo>
                  <a:cubicBezTo>
                    <a:pt x="214" y="7000"/>
                    <a:pt x="261" y="6982"/>
                    <a:pt x="298" y="6951"/>
                  </a:cubicBezTo>
                  <a:cubicBezTo>
                    <a:pt x="1227" y="6023"/>
                    <a:pt x="1727" y="4808"/>
                    <a:pt x="1727" y="3498"/>
                  </a:cubicBezTo>
                  <a:cubicBezTo>
                    <a:pt x="1727" y="2189"/>
                    <a:pt x="1227" y="962"/>
                    <a:pt x="298" y="46"/>
                  </a:cubicBezTo>
                  <a:cubicBezTo>
                    <a:pt x="262" y="16"/>
                    <a:pt x="218" y="1"/>
                    <a:pt x="1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8" name="Google Shape;9838;p58"/>
            <p:cNvSpPr/>
            <p:nvPr/>
          </p:nvSpPr>
          <p:spPr>
            <a:xfrm>
              <a:off x="3049653" y="2321468"/>
              <a:ext cx="210250" cy="290018"/>
            </a:xfrm>
            <a:custGeom>
              <a:avLst/>
              <a:gdLst/>
              <a:ahLst/>
              <a:cxnLst/>
              <a:rect l="l" t="t" r="r" b="b"/>
              <a:pathLst>
                <a:path w="6621" h="9133" extrusionOk="0">
                  <a:moveTo>
                    <a:pt x="5216" y="1072"/>
                  </a:moveTo>
                  <a:lnTo>
                    <a:pt x="5216" y="8097"/>
                  </a:lnTo>
                  <a:cubicBezTo>
                    <a:pt x="4156" y="7751"/>
                    <a:pt x="3287" y="7037"/>
                    <a:pt x="2739" y="6061"/>
                  </a:cubicBezTo>
                  <a:lnTo>
                    <a:pt x="2739" y="3084"/>
                  </a:lnTo>
                  <a:cubicBezTo>
                    <a:pt x="3275" y="2120"/>
                    <a:pt x="4156" y="1405"/>
                    <a:pt x="5216" y="1072"/>
                  </a:cubicBezTo>
                  <a:close/>
                  <a:moveTo>
                    <a:pt x="5716" y="0"/>
                  </a:moveTo>
                  <a:cubicBezTo>
                    <a:pt x="5430" y="0"/>
                    <a:pt x="5216" y="215"/>
                    <a:pt x="5216" y="501"/>
                  </a:cubicBezTo>
                  <a:lnTo>
                    <a:pt x="5216" y="691"/>
                  </a:lnTo>
                  <a:cubicBezTo>
                    <a:pt x="4049" y="1048"/>
                    <a:pt x="3096" y="1810"/>
                    <a:pt x="2489" y="2858"/>
                  </a:cubicBezTo>
                  <a:lnTo>
                    <a:pt x="1227" y="2858"/>
                  </a:lnTo>
                  <a:cubicBezTo>
                    <a:pt x="549" y="2858"/>
                    <a:pt x="13" y="3394"/>
                    <a:pt x="13" y="4061"/>
                  </a:cubicBezTo>
                  <a:lnTo>
                    <a:pt x="13" y="5037"/>
                  </a:lnTo>
                  <a:cubicBezTo>
                    <a:pt x="1" y="5692"/>
                    <a:pt x="489" y="6227"/>
                    <a:pt x="1120" y="6275"/>
                  </a:cubicBezTo>
                  <a:cubicBezTo>
                    <a:pt x="1203" y="6275"/>
                    <a:pt x="1287" y="6216"/>
                    <a:pt x="1299" y="6132"/>
                  </a:cubicBezTo>
                  <a:cubicBezTo>
                    <a:pt x="1299" y="6037"/>
                    <a:pt x="1239" y="5966"/>
                    <a:pt x="1144" y="5954"/>
                  </a:cubicBezTo>
                  <a:cubicBezTo>
                    <a:pt x="703" y="5918"/>
                    <a:pt x="346" y="5537"/>
                    <a:pt x="346" y="5073"/>
                  </a:cubicBezTo>
                  <a:lnTo>
                    <a:pt x="346" y="4084"/>
                  </a:lnTo>
                  <a:cubicBezTo>
                    <a:pt x="346" y="3608"/>
                    <a:pt x="727" y="3215"/>
                    <a:pt x="1227" y="3215"/>
                  </a:cubicBezTo>
                  <a:lnTo>
                    <a:pt x="2418" y="3215"/>
                  </a:lnTo>
                  <a:lnTo>
                    <a:pt x="2418" y="5954"/>
                  </a:lnTo>
                  <a:lnTo>
                    <a:pt x="1918" y="5954"/>
                  </a:lnTo>
                  <a:cubicBezTo>
                    <a:pt x="1834" y="5954"/>
                    <a:pt x="1763" y="6025"/>
                    <a:pt x="1763" y="6108"/>
                  </a:cubicBezTo>
                  <a:cubicBezTo>
                    <a:pt x="1763" y="6204"/>
                    <a:pt x="1834" y="6275"/>
                    <a:pt x="1918" y="6275"/>
                  </a:cubicBezTo>
                  <a:lnTo>
                    <a:pt x="2489" y="6275"/>
                  </a:lnTo>
                  <a:cubicBezTo>
                    <a:pt x="3096" y="7323"/>
                    <a:pt x="4049" y="8097"/>
                    <a:pt x="5216" y="8430"/>
                  </a:cubicBezTo>
                  <a:lnTo>
                    <a:pt x="5216" y="8633"/>
                  </a:lnTo>
                  <a:cubicBezTo>
                    <a:pt x="5216" y="8906"/>
                    <a:pt x="5430" y="9133"/>
                    <a:pt x="5716" y="9133"/>
                  </a:cubicBezTo>
                  <a:lnTo>
                    <a:pt x="6121" y="9133"/>
                  </a:lnTo>
                  <a:cubicBezTo>
                    <a:pt x="6406" y="9133"/>
                    <a:pt x="6621" y="8906"/>
                    <a:pt x="6621" y="8633"/>
                  </a:cubicBezTo>
                  <a:lnTo>
                    <a:pt x="6621" y="4953"/>
                  </a:lnTo>
                  <a:cubicBezTo>
                    <a:pt x="6621" y="4858"/>
                    <a:pt x="6549" y="4787"/>
                    <a:pt x="6466" y="4787"/>
                  </a:cubicBezTo>
                  <a:cubicBezTo>
                    <a:pt x="6371" y="4787"/>
                    <a:pt x="6299" y="4858"/>
                    <a:pt x="6299" y="4953"/>
                  </a:cubicBezTo>
                  <a:lnTo>
                    <a:pt x="6299" y="8633"/>
                  </a:lnTo>
                  <a:cubicBezTo>
                    <a:pt x="6299" y="8728"/>
                    <a:pt x="6228" y="8811"/>
                    <a:pt x="6121" y="8811"/>
                  </a:cubicBezTo>
                  <a:lnTo>
                    <a:pt x="5716" y="8811"/>
                  </a:lnTo>
                  <a:cubicBezTo>
                    <a:pt x="5609" y="8811"/>
                    <a:pt x="5537" y="8728"/>
                    <a:pt x="5537" y="8633"/>
                  </a:cubicBezTo>
                  <a:lnTo>
                    <a:pt x="5537" y="501"/>
                  </a:lnTo>
                  <a:cubicBezTo>
                    <a:pt x="5537" y="393"/>
                    <a:pt x="5609" y="322"/>
                    <a:pt x="5716" y="322"/>
                  </a:cubicBezTo>
                  <a:lnTo>
                    <a:pt x="6121" y="322"/>
                  </a:lnTo>
                  <a:cubicBezTo>
                    <a:pt x="6228" y="322"/>
                    <a:pt x="6299" y="393"/>
                    <a:pt x="6299" y="501"/>
                  </a:cubicBezTo>
                  <a:lnTo>
                    <a:pt x="6299" y="4180"/>
                  </a:lnTo>
                  <a:cubicBezTo>
                    <a:pt x="6299" y="4263"/>
                    <a:pt x="6371" y="4346"/>
                    <a:pt x="6466" y="4346"/>
                  </a:cubicBezTo>
                  <a:cubicBezTo>
                    <a:pt x="6549" y="4346"/>
                    <a:pt x="6621" y="4263"/>
                    <a:pt x="6621" y="4180"/>
                  </a:cubicBezTo>
                  <a:lnTo>
                    <a:pt x="6621" y="501"/>
                  </a:lnTo>
                  <a:cubicBezTo>
                    <a:pt x="6621" y="215"/>
                    <a:pt x="6406" y="0"/>
                    <a:pt x="6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39" name="Google Shape;9839;p58"/>
          <p:cNvGrpSpPr/>
          <p:nvPr/>
        </p:nvGrpSpPr>
        <p:grpSpPr>
          <a:xfrm>
            <a:off x="3564243" y="2289904"/>
            <a:ext cx="422342" cy="355243"/>
            <a:chOff x="3564243" y="2289904"/>
            <a:chExt cx="422342" cy="355243"/>
          </a:xfrm>
        </p:grpSpPr>
        <p:sp>
          <p:nvSpPr>
            <p:cNvPr id="9840" name="Google Shape;9840;p58"/>
            <p:cNvSpPr/>
            <p:nvPr/>
          </p:nvSpPr>
          <p:spPr>
            <a:xfrm>
              <a:off x="3564243" y="2291587"/>
              <a:ext cx="66177" cy="351655"/>
            </a:xfrm>
            <a:custGeom>
              <a:avLst/>
              <a:gdLst/>
              <a:ahLst/>
              <a:cxnLst/>
              <a:rect l="l" t="t" r="r" b="b"/>
              <a:pathLst>
                <a:path w="2084" h="11074" extrusionOk="0">
                  <a:moveTo>
                    <a:pt x="1703" y="1918"/>
                  </a:moveTo>
                  <a:lnTo>
                    <a:pt x="1703" y="2727"/>
                  </a:lnTo>
                  <a:cubicBezTo>
                    <a:pt x="1703" y="2823"/>
                    <a:pt x="1667" y="2930"/>
                    <a:pt x="1608" y="2966"/>
                  </a:cubicBezTo>
                  <a:cubicBezTo>
                    <a:pt x="1453" y="3085"/>
                    <a:pt x="1298" y="3287"/>
                    <a:pt x="1239" y="3501"/>
                  </a:cubicBezTo>
                  <a:lnTo>
                    <a:pt x="834" y="3501"/>
                  </a:lnTo>
                  <a:cubicBezTo>
                    <a:pt x="798" y="3299"/>
                    <a:pt x="667" y="3085"/>
                    <a:pt x="524" y="2989"/>
                  </a:cubicBezTo>
                  <a:cubicBezTo>
                    <a:pt x="453" y="2942"/>
                    <a:pt x="393" y="2823"/>
                    <a:pt x="393" y="2727"/>
                  </a:cubicBezTo>
                  <a:lnTo>
                    <a:pt x="393" y="1918"/>
                  </a:lnTo>
                  <a:close/>
                  <a:moveTo>
                    <a:pt x="1227" y="3882"/>
                  </a:moveTo>
                  <a:lnTo>
                    <a:pt x="1227" y="5144"/>
                  </a:lnTo>
                  <a:cubicBezTo>
                    <a:pt x="1227" y="6359"/>
                    <a:pt x="1239" y="7549"/>
                    <a:pt x="1369" y="8752"/>
                  </a:cubicBezTo>
                  <a:cubicBezTo>
                    <a:pt x="1453" y="9478"/>
                    <a:pt x="1489" y="10085"/>
                    <a:pt x="1489" y="10205"/>
                  </a:cubicBezTo>
                  <a:cubicBezTo>
                    <a:pt x="1477" y="10478"/>
                    <a:pt x="1298" y="10681"/>
                    <a:pt x="1048" y="10681"/>
                  </a:cubicBezTo>
                  <a:cubicBezTo>
                    <a:pt x="798" y="10681"/>
                    <a:pt x="619" y="10490"/>
                    <a:pt x="619" y="10228"/>
                  </a:cubicBezTo>
                  <a:cubicBezTo>
                    <a:pt x="619" y="10097"/>
                    <a:pt x="655" y="9490"/>
                    <a:pt x="738" y="8764"/>
                  </a:cubicBezTo>
                  <a:cubicBezTo>
                    <a:pt x="869" y="7561"/>
                    <a:pt x="881" y="6371"/>
                    <a:pt x="881" y="5168"/>
                  </a:cubicBezTo>
                  <a:lnTo>
                    <a:pt x="881" y="3882"/>
                  </a:lnTo>
                  <a:close/>
                  <a:moveTo>
                    <a:pt x="203" y="1"/>
                  </a:moveTo>
                  <a:cubicBezTo>
                    <a:pt x="96" y="1"/>
                    <a:pt x="0" y="84"/>
                    <a:pt x="0" y="191"/>
                  </a:cubicBezTo>
                  <a:lnTo>
                    <a:pt x="0" y="2727"/>
                  </a:lnTo>
                  <a:cubicBezTo>
                    <a:pt x="0" y="2966"/>
                    <a:pt x="143" y="3216"/>
                    <a:pt x="334" y="3335"/>
                  </a:cubicBezTo>
                  <a:cubicBezTo>
                    <a:pt x="393" y="3358"/>
                    <a:pt x="477" y="3573"/>
                    <a:pt x="477" y="3692"/>
                  </a:cubicBezTo>
                  <a:lnTo>
                    <a:pt x="477" y="5144"/>
                  </a:lnTo>
                  <a:cubicBezTo>
                    <a:pt x="477" y="6359"/>
                    <a:pt x="465" y="7526"/>
                    <a:pt x="346" y="8716"/>
                  </a:cubicBezTo>
                  <a:cubicBezTo>
                    <a:pt x="274" y="9454"/>
                    <a:pt x="226" y="10074"/>
                    <a:pt x="226" y="10228"/>
                  </a:cubicBezTo>
                  <a:cubicBezTo>
                    <a:pt x="226" y="10705"/>
                    <a:pt x="584" y="11074"/>
                    <a:pt x="1048" y="11074"/>
                  </a:cubicBezTo>
                  <a:cubicBezTo>
                    <a:pt x="1512" y="11074"/>
                    <a:pt x="1870" y="10705"/>
                    <a:pt x="1870" y="10228"/>
                  </a:cubicBezTo>
                  <a:cubicBezTo>
                    <a:pt x="1870" y="10074"/>
                    <a:pt x="1822" y="9454"/>
                    <a:pt x="1750" y="8716"/>
                  </a:cubicBezTo>
                  <a:cubicBezTo>
                    <a:pt x="1608" y="7526"/>
                    <a:pt x="1608" y="6359"/>
                    <a:pt x="1608" y="5144"/>
                  </a:cubicBezTo>
                  <a:lnTo>
                    <a:pt x="1608" y="3692"/>
                  </a:lnTo>
                  <a:cubicBezTo>
                    <a:pt x="1608" y="3561"/>
                    <a:pt x="1715" y="3358"/>
                    <a:pt x="1834" y="3275"/>
                  </a:cubicBezTo>
                  <a:cubicBezTo>
                    <a:pt x="2024" y="3144"/>
                    <a:pt x="2084" y="2906"/>
                    <a:pt x="2084" y="2704"/>
                  </a:cubicBezTo>
                  <a:lnTo>
                    <a:pt x="2084" y="251"/>
                  </a:lnTo>
                  <a:cubicBezTo>
                    <a:pt x="2084" y="168"/>
                    <a:pt x="2001" y="72"/>
                    <a:pt x="1893" y="72"/>
                  </a:cubicBezTo>
                  <a:cubicBezTo>
                    <a:pt x="1786" y="72"/>
                    <a:pt x="1703" y="168"/>
                    <a:pt x="1703" y="263"/>
                  </a:cubicBezTo>
                  <a:lnTo>
                    <a:pt x="1703" y="1537"/>
                  </a:lnTo>
                  <a:lnTo>
                    <a:pt x="1239" y="1537"/>
                  </a:lnTo>
                  <a:lnTo>
                    <a:pt x="1239" y="191"/>
                  </a:lnTo>
                  <a:cubicBezTo>
                    <a:pt x="1239" y="84"/>
                    <a:pt x="1155" y="1"/>
                    <a:pt x="1048" y="1"/>
                  </a:cubicBezTo>
                  <a:cubicBezTo>
                    <a:pt x="941" y="1"/>
                    <a:pt x="858" y="84"/>
                    <a:pt x="858" y="191"/>
                  </a:cubicBezTo>
                  <a:lnTo>
                    <a:pt x="858" y="1537"/>
                  </a:lnTo>
                  <a:lnTo>
                    <a:pt x="393" y="1537"/>
                  </a:lnTo>
                  <a:lnTo>
                    <a:pt x="393" y="191"/>
                  </a:lnTo>
                  <a:cubicBezTo>
                    <a:pt x="393" y="84"/>
                    <a:pt x="298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1" name="Google Shape;9841;p58"/>
            <p:cNvSpPr/>
            <p:nvPr/>
          </p:nvSpPr>
          <p:spPr>
            <a:xfrm>
              <a:off x="3636835" y="2373674"/>
              <a:ext cx="236702" cy="236289"/>
            </a:xfrm>
            <a:custGeom>
              <a:avLst/>
              <a:gdLst/>
              <a:ahLst/>
              <a:cxnLst/>
              <a:rect l="l" t="t" r="r" b="b"/>
              <a:pathLst>
                <a:path w="7454" h="7441" extrusionOk="0">
                  <a:moveTo>
                    <a:pt x="1175" y="0"/>
                  </a:moveTo>
                  <a:cubicBezTo>
                    <a:pt x="1121" y="0"/>
                    <a:pt x="1069" y="25"/>
                    <a:pt x="1036" y="71"/>
                  </a:cubicBezTo>
                  <a:cubicBezTo>
                    <a:pt x="369" y="881"/>
                    <a:pt x="0" y="1905"/>
                    <a:pt x="0" y="2952"/>
                  </a:cubicBezTo>
                  <a:cubicBezTo>
                    <a:pt x="0" y="5429"/>
                    <a:pt x="2024" y="7441"/>
                    <a:pt x="4489" y="7441"/>
                  </a:cubicBezTo>
                  <a:cubicBezTo>
                    <a:pt x="5537" y="7441"/>
                    <a:pt x="6561" y="7072"/>
                    <a:pt x="7358" y="6405"/>
                  </a:cubicBezTo>
                  <a:cubicBezTo>
                    <a:pt x="7454" y="6322"/>
                    <a:pt x="7454" y="6203"/>
                    <a:pt x="7394" y="6131"/>
                  </a:cubicBezTo>
                  <a:cubicBezTo>
                    <a:pt x="7352" y="6083"/>
                    <a:pt x="7286" y="6058"/>
                    <a:pt x="7224" y="6058"/>
                  </a:cubicBezTo>
                  <a:cubicBezTo>
                    <a:pt x="7180" y="6058"/>
                    <a:pt x="7138" y="6071"/>
                    <a:pt x="7108" y="6096"/>
                  </a:cubicBezTo>
                  <a:cubicBezTo>
                    <a:pt x="6382" y="6703"/>
                    <a:pt x="5441" y="7048"/>
                    <a:pt x="4489" y="7048"/>
                  </a:cubicBezTo>
                  <a:cubicBezTo>
                    <a:pt x="2227" y="7048"/>
                    <a:pt x="381" y="5203"/>
                    <a:pt x="381" y="2928"/>
                  </a:cubicBezTo>
                  <a:cubicBezTo>
                    <a:pt x="381" y="1988"/>
                    <a:pt x="727" y="1047"/>
                    <a:pt x="1334" y="309"/>
                  </a:cubicBezTo>
                  <a:cubicBezTo>
                    <a:pt x="1405" y="226"/>
                    <a:pt x="1393" y="107"/>
                    <a:pt x="1298" y="47"/>
                  </a:cubicBezTo>
                  <a:cubicBezTo>
                    <a:pt x="1261" y="16"/>
                    <a:pt x="1217" y="0"/>
                    <a:pt x="1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2" name="Google Shape;9842;p58"/>
            <p:cNvSpPr/>
            <p:nvPr/>
          </p:nvSpPr>
          <p:spPr>
            <a:xfrm>
              <a:off x="3685230" y="2324104"/>
              <a:ext cx="237083" cy="235971"/>
            </a:xfrm>
            <a:custGeom>
              <a:avLst/>
              <a:gdLst/>
              <a:ahLst/>
              <a:cxnLst/>
              <a:rect l="l" t="t" r="r" b="b"/>
              <a:pathLst>
                <a:path w="7466" h="7431" extrusionOk="0">
                  <a:moveTo>
                    <a:pt x="2953" y="1"/>
                  </a:moveTo>
                  <a:cubicBezTo>
                    <a:pt x="1905" y="1"/>
                    <a:pt x="893" y="358"/>
                    <a:pt x="96" y="1025"/>
                  </a:cubicBezTo>
                  <a:cubicBezTo>
                    <a:pt x="0" y="1108"/>
                    <a:pt x="0" y="1227"/>
                    <a:pt x="60" y="1299"/>
                  </a:cubicBezTo>
                  <a:cubicBezTo>
                    <a:pt x="99" y="1344"/>
                    <a:pt x="151" y="1364"/>
                    <a:pt x="205" y="1364"/>
                  </a:cubicBezTo>
                  <a:cubicBezTo>
                    <a:pt x="250" y="1364"/>
                    <a:pt x="295" y="1350"/>
                    <a:pt x="334" y="1322"/>
                  </a:cubicBezTo>
                  <a:cubicBezTo>
                    <a:pt x="1060" y="715"/>
                    <a:pt x="2001" y="394"/>
                    <a:pt x="2953" y="394"/>
                  </a:cubicBezTo>
                  <a:cubicBezTo>
                    <a:pt x="5215" y="394"/>
                    <a:pt x="7061" y="2227"/>
                    <a:pt x="7061" y="4501"/>
                  </a:cubicBezTo>
                  <a:cubicBezTo>
                    <a:pt x="7061" y="5454"/>
                    <a:pt x="6727" y="6371"/>
                    <a:pt x="6120" y="7121"/>
                  </a:cubicBezTo>
                  <a:cubicBezTo>
                    <a:pt x="6049" y="7204"/>
                    <a:pt x="6061" y="7323"/>
                    <a:pt x="6156" y="7383"/>
                  </a:cubicBezTo>
                  <a:cubicBezTo>
                    <a:pt x="6180" y="7418"/>
                    <a:pt x="6227" y="7430"/>
                    <a:pt x="6275" y="7430"/>
                  </a:cubicBezTo>
                  <a:cubicBezTo>
                    <a:pt x="6322" y="7430"/>
                    <a:pt x="6382" y="7395"/>
                    <a:pt x="6418" y="7359"/>
                  </a:cubicBezTo>
                  <a:cubicBezTo>
                    <a:pt x="7084" y="6549"/>
                    <a:pt x="7442" y="5537"/>
                    <a:pt x="7442" y="4501"/>
                  </a:cubicBezTo>
                  <a:cubicBezTo>
                    <a:pt x="7465" y="2013"/>
                    <a:pt x="5441" y="1"/>
                    <a:pt x="2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3" name="Google Shape;9843;p58"/>
            <p:cNvSpPr/>
            <p:nvPr/>
          </p:nvSpPr>
          <p:spPr>
            <a:xfrm>
              <a:off x="3663668" y="2351699"/>
              <a:ext cx="230668" cy="230668"/>
            </a:xfrm>
            <a:custGeom>
              <a:avLst/>
              <a:gdLst/>
              <a:ahLst/>
              <a:cxnLst/>
              <a:rect l="l" t="t" r="r" b="b"/>
              <a:pathLst>
                <a:path w="7264" h="7264" extrusionOk="0">
                  <a:moveTo>
                    <a:pt x="3632" y="382"/>
                  </a:moveTo>
                  <a:cubicBezTo>
                    <a:pt x="5418" y="382"/>
                    <a:pt x="6871" y="1846"/>
                    <a:pt x="6871" y="3632"/>
                  </a:cubicBezTo>
                  <a:cubicBezTo>
                    <a:pt x="6871" y="5418"/>
                    <a:pt x="5418" y="6871"/>
                    <a:pt x="3632" y="6871"/>
                  </a:cubicBezTo>
                  <a:cubicBezTo>
                    <a:pt x="1846" y="6871"/>
                    <a:pt x="382" y="5418"/>
                    <a:pt x="382" y="3632"/>
                  </a:cubicBezTo>
                  <a:cubicBezTo>
                    <a:pt x="382" y="1846"/>
                    <a:pt x="1846" y="382"/>
                    <a:pt x="3632" y="382"/>
                  </a:cubicBezTo>
                  <a:close/>
                  <a:moveTo>
                    <a:pt x="3632" y="1"/>
                  </a:moveTo>
                  <a:cubicBezTo>
                    <a:pt x="1632" y="1"/>
                    <a:pt x="1" y="1632"/>
                    <a:pt x="1" y="3632"/>
                  </a:cubicBezTo>
                  <a:cubicBezTo>
                    <a:pt x="1" y="5633"/>
                    <a:pt x="1632" y="7264"/>
                    <a:pt x="3632" y="7264"/>
                  </a:cubicBezTo>
                  <a:cubicBezTo>
                    <a:pt x="5644" y="7264"/>
                    <a:pt x="7263" y="5621"/>
                    <a:pt x="7263" y="3632"/>
                  </a:cubicBezTo>
                  <a:cubicBezTo>
                    <a:pt x="7263" y="1620"/>
                    <a:pt x="5620" y="1"/>
                    <a:pt x="3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4" name="Google Shape;9844;p58"/>
            <p:cNvSpPr/>
            <p:nvPr/>
          </p:nvSpPr>
          <p:spPr>
            <a:xfrm>
              <a:off x="3933998" y="2289904"/>
              <a:ext cx="52586" cy="355243"/>
            </a:xfrm>
            <a:custGeom>
              <a:avLst/>
              <a:gdLst/>
              <a:ahLst/>
              <a:cxnLst/>
              <a:rect l="l" t="t" r="r" b="b"/>
              <a:pathLst>
                <a:path w="1656" h="11187" extrusionOk="0">
                  <a:moveTo>
                    <a:pt x="1251" y="554"/>
                  </a:moveTo>
                  <a:lnTo>
                    <a:pt x="1251" y="5555"/>
                  </a:lnTo>
                  <a:lnTo>
                    <a:pt x="715" y="5578"/>
                  </a:lnTo>
                  <a:lnTo>
                    <a:pt x="703" y="5578"/>
                  </a:lnTo>
                  <a:cubicBezTo>
                    <a:pt x="693" y="5580"/>
                    <a:pt x="683" y="5580"/>
                    <a:pt x="673" y="5580"/>
                  </a:cubicBezTo>
                  <a:cubicBezTo>
                    <a:pt x="583" y="5580"/>
                    <a:pt x="481" y="5536"/>
                    <a:pt x="417" y="5483"/>
                  </a:cubicBezTo>
                  <a:cubicBezTo>
                    <a:pt x="382" y="5436"/>
                    <a:pt x="370" y="5412"/>
                    <a:pt x="370" y="5412"/>
                  </a:cubicBezTo>
                  <a:lnTo>
                    <a:pt x="370" y="2411"/>
                  </a:lnTo>
                  <a:cubicBezTo>
                    <a:pt x="370" y="1697"/>
                    <a:pt x="703" y="1006"/>
                    <a:pt x="1251" y="554"/>
                  </a:cubicBezTo>
                  <a:close/>
                  <a:moveTo>
                    <a:pt x="1263" y="5959"/>
                  </a:moveTo>
                  <a:cubicBezTo>
                    <a:pt x="1263" y="9448"/>
                    <a:pt x="1275" y="10258"/>
                    <a:pt x="1275" y="10281"/>
                  </a:cubicBezTo>
                  <a:cubicBezTo>
                    <a:pt x="1263" y="10496"/>
                    <a:pt x="1203" y="10769"/>
                    <a:pt x="941" y="10769"/>
                  </a:cubicBezTo>
                  <a:cubicBezTo>
                    <a:pt x="858" y="10769"/>
                    <a:pt x="620" y="10769"/>
                    <a:pt x="620" y="10258"/>
                  </a:cubicBezTo>
                  <a:cubicBezTo>
                    <a:pt x="620" y="10115"/>
                    <a:pt x="667" y="9710"/>
                    <a:pt x="727" y="9246"/>
                  </a:cubicBezTo>
                  <a:cubicBezTo>
                    <a:pt x="822" y="8472"/>
                    <a:pt x="941" y="7400"/>
                    <a:pt x="941" y="6686"/>
                  </a:cubicBezTo>
                  <a:lnTo>
                    <a:pt x="941" y="5959"/>
                  </a:lnTo>
                  <a:close/>
                  <a:moveTo>
                    <a:pt x="1453" y="0"/>
                  </a:moveTo>
                  <a:cubicBezTo>
                    <a:pt x="1420" y="0"/>
                    <a:pt x="1388" y="6"/>
                    <a:pt x="1358" y="18"/>
                  </a:cubicBezTo>
                  <a:cubicBezTo>
                    <a:pt x="524" y="530"/>
                    <a:pt x="1" y="1447"/>
                    <a:pt x="1" y="2435"/>
                  </a:cubicBezTo>
                  <a:lnTo>
                    <a:pt x="1" y="5424"/>
                  </a:lnTo>
                  <a:cubicBezTo>
                    <a:pt x="1" y="5555"/>
                    <a:pt x="60" y="5674"/>
                    <a:pt x="179" y="5781"/>
                  </a:cubicBezTo>
                  <a:cubicBezTo>
                    <a:pt x="286" y="5876"/>
                    <a:pt x="417" y="5936"/>
                    <a:pt x="548" y="5959"/>
                  </a:cubicBezTo>
                  <a:lnTo>
                    <a:pt x="548" y="6709"/>
                  </a:lnTo>
                  <a:cubicBezTo>
                    <a:pt x="548" y="7400"/>
                    <a:pt x="429" y="8460"/>
                    <a:pt x="346" y="9222"/>
                  </a:cubicBezTo>
                  <a:cubicBezTo>
                    <a:pt x="286" y="9710"/>
                    <a:pt x="239" y="10091"/>
                    <a:pt x="239" y="10281"/>
                  </a:cubicBezTo>
                  <a:cubicBezTo>
                    <a:pt x="239" y="11115"/>
                    <a:pt x="774" y="11186"/>
                    <a:pt x="941" y="11186"/>
                  </a:cubicBezTo>
                  <a:cubicBezTo>
                    <a:pt x="1275" y="11186"/>
                    <a:pt x="1656" y="10948"/>
                    <a:pt x="1656" y="10281"/>
                  </a:cubicBezTo>
                  <a:lnTo>
                    <a:pt x="1656" y="185"/>
                  </a:lnTo>
                  <a:cubicBezTo>
                    <a:pt x="1656" y="113"/>
                    <a:pt x="1608" y="54"/>
                    <a:pt x="1548" y="18"/>
                  </a:cubicBezTo>
                  <a:cubicBezTo>
                    <a:pt x="1519" y="6"/>
                    <a:pt x="1486" y="0"/>
                    <a:pt x="1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45" name="Google Shape;9845;p58"/>
          <p:cNvSpPr/>
          <p:nvPr/>
        </p:nvSpPr>
        <p:spPr>
          <a:xfrm>
            <a:off x="4143835" y="2288189"/>
            <a:ext cx="357688" cy="357339"/>
          </a:xfrm>
          <a:custGeom>
            <a:avLst/>
            <a:gdLst/>
            <a:ahLst/>
            <a:cxnLst/>
            <a:rect l="l" t="t" r="r" b="b"/>
            <a:pathLst>
              <a:path w="11264" h="11253" extrusionOk="0">
                <a:moveTo>
                  <a:pt x="9847" y="548"/>
                </a:moveTo>
                <a:lnTo>
                  <a:pt x="9847" y="1203"/>
                </a:lnTo>
                <a:cubicBezTo>
                  <a:pt x="9847" y="1299"/>
                  <a:pt x="9930" y="1370"/>
                  <a:pt x="10014" y="1370"/>
                </a:cubicBezTo>
                <a:lnTo>
                  <a:pt x="10669" y="1370"/>
                </a:lnTo>
                <a:lnTo>
                  <a:pt x="9252" y="2811"/>
                </a:lnTo>
                <a:lnTo>
                  <a:pt x="8656" y="2811"/>
                </a:lnTo>
                <a:lnTo>
                  <a:pt x="9609" y="1858"/>
                </a:lnTo>
                <a:cubicBezTo>
                  <a:pt x="9668" y="1799"/>
                  <a:pt x="9668" y="1703"/>
                  <a:pt x="9609" y="1620"/>
                </a:cubicBezTo>
                <a:cubicBezTo>
                  <a:pt x="9579" y="1590"/>
                  <a:pt x="9537" y="1575"/>
                  <a:pt x="9494" y="1575"/>
                </a:cubicBezTo>
                <a:cubicBezTo>
                  <a:pt x="9451" y="1575"/>
                  <a:pt x="9406" y="1590"/>
                  <a:pt x="9371" y="1620"/>
                </a:cubicBezTo>
                <a:lnTo>
                  <a:pt x="8418" y="2572"/>
                </a:lnTo>
                <a:lnTo>
                  <a:pt x="8418" y="1977"/>
                </a:lnTo>
                <a:lnTo>
                  <a:pt x="9847" y="548"/>
                </a:lnTo>
                <a:close/>
                <a:moveTo>
                  <a:pt x="4549" y="2442"/>
                </a:moveTo>
                <a:cubicBezTo>
                  <a:pt x="5668" y="2442"/>
                  <a:pt x="6680" y="2870"/>
                  <a:pt x="7430" y="3573"/>
                </a:cubicBezTo>
                <a:lnTo>
                  <a:pt x="4430" y="6561"/>
                </a:lnTo>
                <a:cubicBezTo>
                  <a:pt x="4370" y="6621"/>
                  <a:pt x="4370" y="6728"/>
                  <a:pt x="4430" y="6799"/>
                </a:cubicBezTo>
                <a:cubicBezTo>
                  <a:pt x="4465" y="6835"/>
                  <a:pt x="4513" y="6847"/>
                  <a:pt x="4549" y="6847"/>
                </a:cubicBezTo>
                <a:cubicBezTo>
                  <a:pt x="4596" y="6847"/>
                  <a:pt x="4644" y="6835"/>
                  <a:pt x="4668" y="6799"/>
                </a:cubicBezTo>
                <a:lnTo>
                  <a:pt x="5418" y="6061"/>
                </a:lnTo>
                <a:cubicBezTo>
                  <a:pt x="5549" y="6240"/>
                  <a:pt x="5620" y="6466"/>
                  <a:pt x="5620" y="6680"/>
                </a:cubicBezTo>
                <a:cubicBezTo>
                  <a:pt x="5620" y="7275"/>
                  <a:pt x="5144" y="7752"/>
                  <a:pt x="4549" y="7752"/>
                </a:cubicBezTo>
                <a:cubicBezTo>
                  <a:pt x="3953" y="7752"/>
                  <a:pt x="3477" y="7275"/>
                  <a:pt x="3477" y="6680"/>
                </a:cubicBezTo>
                <a:cubicBezTo>
                  <a:pt x="3477" y="6085"/>
                  <a:pt x="3953" y="5609"/>
                  <a:pt x="4549" y="5609"/>
                </a:cubicBezTo>
                <a:cubicBezTo>
                  <a:pt x="4608" y="5609"/>
                  <a:pt x="4680" y="5609"/>
                  <a:pt x="4739" y="5632"/>
                </a:cubicBezTo>
                <a:cubicBezTo>
                  <a:pt x="4747" y="5633"/>
                  <a:pt x="4755" y="5634"/>
                  <a:pt x="4763" y="5634"/>
                </a:cubicBezTo>
                <a:cubicBezTo>
                  <a:pt x="4848" y="5634"/>
                  <a:pt x="4920" y="5577"/>
                  <a:pt x="4942" y="5490"/>
                </a:cubicBezTo>
                <a:cubicBezTo>
                  <a:pt x="4954" y="5406"/>
                  <a:pt x="4894" y="5311"/>
                  <a:pt x="4799" y="5299"/>
                </a:cubicBezTo>
                <a:cubicBezTo>
                  <a:pt x="4715" y="5287"/>
                  <a:pt x="4620" y="5275"/>
                  <a:pt x="4549" y="5275"/>
                </a:cubicBezTo>
                <a:cubicBezTo>
                  <a:pt x="3775" y="5275"/>
                  <a:pt x="3156" y="5894"/>
                  <a:pt x="3156" y="6668"/>
                </a:cubicBezTo>
                <a:cubicBezTo>
                  <a:pt x="3156" y="7442"/>
                  <a:pt x="3775" y="8073"/>
                  <a:pt x="4549" y="8073"/>
                </a:cubicBezTo>
                <a:cubicBezTo>
                  <a:pt x="5323" y="8073"/>
                  <a:pt x="5954" y="7442"/>
                  <a:pt x="5954" y="6668"/>
                </a:cubicBezTo>
                <a:cubicBezTo>
                  <a:pt x="5954" y="6359"/>
                  <a:pt x="5847" y="6049"/>
                  <a:pt x="5656" y="5811"/>
                </a:cubicBezTo>
                <a:lnTo>
                  <a:pt x="6168" y="5287"/>
                </a:lnTo>
                <a:cubicBezTo>
                  <a:pt x="6501" y="5668"/>
                  <a:pt x="6680" y="6168"/>
                  <a:pt x="6680" y="6668"/>
                </a:cubicBezTo>
                <a:cubicBezTo>
                  <a:pt x="6680" y="7847"/>
                  <a:pt x="5727" y="8799"/>
                  <a:pt x="4549" y="8799"/>
                </a:cubicBezTo>
                <a:cubicBezTo>
                  <a:pt x="3370" y="8799"/>
                  <a:pt x="2418" y="7847"/>
                  <a:pt x="2418" y="6668"/>
                </a:cubicBezTo>
                <a:cubicBezTo>
                  <a:pt x="2418" y="5490"/>
                  <a:pt x="3370" y="4537"/>
                  <a:pt x="4549" y="4537"/>
                </a:cubicBezTo>
                <a:cubicBezTo>
                  <a:pt x="4906" y="4537"/>
                  <a:pt x="5251" y="4632"/>
                  <a:pt x="5561" y="4799"/>
                </a:cubicBezTo>
                <a:cubicBezTo>
                  <a:pt x="5583" y="4810"/>
                  <a:pt x="5608" y="4815"/>
                  <a:pt x="5635" y="4815"/>
                </a:cubicBezTo>
                <a:cubicBezTo>
                  <a:pt x="5693" y="4815"/>
                  <a:pt x="5754" y="4789"/>
                  <a:pt x="5787" y="4739"/>
                </a:cubicBezTo>
                <a:cubicBezTo>
                  <a:pt x="5835" y="4656"/>
                  <a:pt x="5799" y="4561"/>
                  <a:pt x="5727" y="4513"/>
                </a:cubicBezTo>
                <a:cubicBezTo>
                  <a:pt x="5370" y="4323"/>
                  <a:pt x="4965" y="4216"/>
                  <a:pt x="4561" y="4216"/>
                </a:cubicBezTo>
                <a:cubicBezTo>
                  <a:pt x="3215" y="4216"/>
                  <a:pt x="2108" y="5311"/>
                  <a:pt x="2108" y="6668"/>
                </a:cubicBezTo>
                <a:cubicBezTo>
                  <a:pt x="2108" y="8026"/>
                  <a:pt x="3215" y="9121"/>
                  <a:pt x="4561" y="9121"/>
                </a:cubicBezTo>
                <a:cubicBezTo>
                  <a:pt x="5918" y="9121"/>
                  <a:pt x="7025" y="8026"/>
                  <a:pt x="7025" y="6668"/>
                </a:cubicBezTo>
                <a:cubicBezTo>
                  <a:pt x="7025" y="6073"/>
                  <a:pt x="6811" y="5490"/>
                  <a:pt x="6406" y="5049"/>
                </a:cubicBezTo>
                <a:lnTo>
                  <a:pt x="6930" y="4525"/>
                </a:lnTo>
                <a:cubicBezTo>
                  <a:pt x="7466" y="5109"/>
                  <a:pt x="7752" y="5871"/>
                  <a:pt x="7752" y="6656"/>
                </a:cubicBezTo>
                <a:cubicBezTo>
                  <a:pt x="7752" y="8407"/>
                  <a:pt x="6323" y="9835"/>
                  <a:pt x="4561" y="9835"/>
                </a:cubicBezTo>
                <a:cubicBezTo>
                  <a:pt x="2810" y="9835"/>
                  <a:pt x="1382" y="8407"/>
                  <a:pt x="1382" y="6656"/>
                </a:cubicBezTo>
                <a:cubicBezTo>
                  <a:pt x="1382" y="4894"/>
                  <a:pt x="2810" y="3465"/>
                  <a:pt x="4561" y="3465"/>
                </a:cubicBezTo>
                <a:cubicBezTo>
                  <a:pt x="5180" y="3465"/>
                  <a:pt x="5775" y="3644"/>
                  <a:pt x="6275" y="3977"/>
                </a:cubicBezTo>
                <a:cubicBezTo>
                  <a:pt x="6300" y="3994"/>
                  <a:pt x="6330" y="4002"/>
                  <a:pt x="6360" y="4002"/>
                </a:cubicBezTo>
                <a:cubicBezTo>
                  <a:pt x="6415" y="4002"/>
                  <a:pt x="6471" y="3976"/>
                  <a:pt x="6501" y="3930"/>
                </a:cubicBezTo>
                <a:cubicBezTo>
                  <a:pt x="6549" y="3858"/>
                  <a:pt x="6525" y="3751"/>
                  <a:pt x="6454" y="3704"/>
                </a:cubicBezTo>
                <a:cubicBezTo>
                  <a:pt x="5894" y="3346"/>
                  <a:pt x="5239" y="3156"/>
                  <a:pt x="4561" y="3156"/>
                </a:cubicBezTo>
                <a:cubicBezTo>
                  <a:pt x="2632" y="3156"/>
                  <a:pt x="1048" y="4739"/>
                  <a:pt x="1048" y="6668"/>
                </a:cubicBezTo>
                <a:cubicBezTo>
                  <a:pt x="1048" y="8609"/>
                  <a:pt x="2632" y="10181"/>
                  <a:pt x="4561" y="10181"/>
                </a:cubicBezTo>
                <a:cubicBezTo>
                  <a:pt x="6501" y="10181"/>
                  <a:pt x="8073" y="8609"/>
                  <a:pt x="8073" y="6668"/>
                </a:cubicBezTo>
                <a:cubicBezTo>
                  <a:pt x="8073" y="5787"/>
                  <a:pt x="7752" y="4954"/>
                  <a:pt x="7156" y="4299"/>
                </a:cubicBezTo>
                <a:lnTo>
                  <a:pt x="7680" y="3787"/>
                </a:lnTo>
                <a:cubicBezTo>
                  <a:pt x="8383" y="4561"/>
                  <a:pt x="8799" y="5573"/>
                  <a:pt x="8799" y="6680"/>
                </a:cubicBezTo>
                <a:cubicBezTo>
                  <a:pt x="8799" y="9026"/>
                  <a:pt x="6894" y="10931"/>
                  <a:pt x="4549" y="10931"/>
                </a:cubicBezTo>
                <a:cubicBezTo>
                  <a:pt x="2215" y="10931"/>
                  <a:pt x="310" y="9026"/>
                  <a:pt x="310" y="6680"/>
                </a:cubicBezTo>
                <a:cubicBezTo>
                  <a:pt x="310" y="4347"/>
                  <a:pt x="2215" y="2442"/>
                  <a:pt x="4549" y="2442"/>
                </a:cubicBezTo>
                <a:close/>
                <a:moveTo>
                  <a:pt x="10023" y="1"/>
                </a:moveTo>
                <a:cubicBezTo>
                  <a:pt x="9981" y="1"/>
                  <a:pt x="9938" y="17"/>
                  <a:pt x="9907" y="48"/>
                </a:cubicBezTo>
                <a:lnTo>
                  <a:pt x="8156" y="1799"/>
                </a:lnTo>
                <a:cubicBezTo>
                  <a:pt x="8121" y="1834"/>
                  <a:pt x="8109" y="1882"/>
                  <a:pt x="8109" y="1918"/>
                </a:cubicBezTo>
                <a:lnTo>
                  <a:pt x="8109" y="2906"/>
                </a:lnTo>
                <a:lnTo>
                  <a:pt x="7680" y="3334"/>
                </a:lnTo>
                <a:cubicBezTo>
                  <a:pt x="6859" y="2572"/>
                  <a:pt x="5775" y="2120"/>
                  <a:pt x="4573" y="2120"/>
                </a:cubicBezTo>
                <a:cubicBezTo>
                  <a:pt x="2048" y="2120"/>
                  <a:pt x="1" y="4168"/>
                  <a:pt x="1" y="6680"/>
                </a:cubicBezTo>
                <a:cubicBezTo>
                  <a:pt x="1" y="9204"/>
                  <a:pt x="2048" y="11252"/>
                  <a:pt x="4573" y="11252"/>
                </a:cubicBezTo>
                <a:cubicBezTo>
                  <a:pt x="7085" y="11252"/>
                  <a:pt x="9133" y="9204"/>
                  <a:pt x="9133" y="6680"/>
                </a:cubicBezTo>
                <a:cubicBezTo>
                  <a:pt x="9133" y="5478"/>
                  <a:pt x="8680" y="4394"/>
                  <a:pt x="7918" y="3573"/>
                </a:cubicBezTo>
                <a:lnTo>
                  <a:pt x="8347" y="3144"/>
                </a:lnTo>
                <a:lnTo>
                  <a:pt x="9335" y="3144"/>
                </a:lnTo>
                <a:cubicBezTo>
                  <a:pt x="9371" y="3144"/>
                  <a:pt x="9418" y="3132"/>
                  <a:pt x="9454" y="3096"/>
                </a:cubicBezTo>
                <a:lnTo>
                  <a:pt x="11204" y="1346"/>
                </a:lnTo>
                <a:cubicBezTo>
                  <a:pt x="11252" y="1287"/>
                  <a:pt x="11264" y="1227"/>
                  <a:pt x="11240" y="1168"/>
                </a:cubicBezTo>
                <a:cubicBezTo>
                  <a:pt x="11204" y="1108"/>
                  <a:pt x="11145" y="1060"/>
                  <a:pt x="11085" y="1060"/>
                </a:cubicBezTo>
                <a:lnTo>
                  <a:pt x="10192" y="1060"/>
                </a:lnTo>
                <a:lnTo>
                  <a:pt x="10192" y="167"/>
                </a:lnTo>
                <a:cubicBezTo>
                  <a:pt x="10192" y="108"/>
                  <a:pt x="10145" y="36"/>
                  <a:pt x="10085" y="13"/>
                </a:cubicBezTo>
                <a:cubicBezTo>
                  <a:pt x="10065" y="5"/>
                  <a:pt x="10044" y="1"/>
                  <a:pt x="1002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46" name="Google Shape;9846;p58"/>
          <p:cNvGrpSpPr/>
          <p:nvPr/>
        </p:nvGrpSpPr>
        <p:grpSpPr>
          <a:xfrm>
            <a:off x="4687894" y="2289713"/>
            <a:ext cx="359594" cy="353909"/>
            <a:chOff x="4687894" y="2289713"/>
            <a:chExt cx="359594" cy="353909"/>
          </a:xfrm>
        </p:grpSpPr>
        <p:sp>
          <p:nvSpPr>
            <p:cNvPr id="9847" name="Google Shape;9847;p58"/>
            <p:cNvSpPr/>
            <p:nvPr/>
          </p:nvSpPr>
          <p:spPr>
            <a:xfrm>
              <a:off x="4955207" y="2477227"/>
              <a:ext cx="34041" cy="22356"/>
            </a:xfrm>
            <a:custGeom>
              <a:avLst/>
              <a:gdLst/>
              <a:ahLst/>
              <a:cxnLst/>
              <a:rect l="l" t="t" r="r" b="b"/>
              <a:pathLst>
                <a:path w="1072" h="704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465"/>
                    <a:pt x="238" y="703"/>
                    <a:pt x="536" y="703"/>
                  </a:cubicBezTo>
                  <a:cubicBezTo>
                    <a:pt x="834" y="703"/>
                    <a:pt x="1072" y="465"/>
                    <a:pt x="1072" y="168"/>
                  </a:cubicBezTo>
                  <a:cubicBezTo>
                    <a:pt x="1072" y="72"/>
                    <a:pt x="1000" y="1"/>
                    <a:pt x="905" y="1"/>
                  </a:cubicBezTo>
                  <a:cubicBezTo>
                    <a:pt x="822" y="1"/>
                    <a:pt x="750" y="72"/>
                    <a:pt x="750" y="168"/>
                  </a:cubicBezTo>
                  <a:cubicBezTo>
                    <a:pt x="750" y="287"/>
                    <a:pt x="655" y="370"/>
                    <a:pt x="536" y="370"/>
                  </a:cubicBezTo>
                  <a:cubicBezTo>
                    <a:pt x="417" y="370"/>
                    <a:pt x="334" y="287"/>
                    <a:pt x="334" y="168"/>
                  </a:cubicBez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8" name="Google Shape;9848;p58"/>
            <p:cNvSpPr/>
            <p:nvPr/>
          </p:nvSpPr>
          <p:spPr>
            <a:xfrm>
              <a:off x="4687894" y="2289713"/>
              <a:ext cx="359594" cy="353909"/>
            </a:xfrm>
            <a:custGeom>
              <a:avLst/>
              <a:gdLst/>
              <a:ahLst/>
              <a:cxnLst/>
              <a:rect l="l" t="t" r="r" b="b"/>
              <a:pathLst>
                <a:path w="11324" h="11145" extrusionOk="0">
                  <a:moveTo>
                    <a:pt x="9180" y="3036"/>
                  </a:moveTo>
                  <a:cubicBezTo>
                    <a:pt x="9204" y="3036"/>
                    <a:pt x="9228" y="3036"/>
                    <a:pt x="9240" y="3048"/>
                  </a:cubicBezTo>
                  <a:cubicBezTo>
                    <a:pt x="9299" y="3108"/>
                    <a:pt x="9371" y="3417"/>
                    <a:pt x="9299" y="3977"/>
                  </a:cubicBezTo>
                  <a:cubicBezTo>
                    <a:pt x="9240" y="4513"/>
                    <a:pt x="9061" y="4989"/>
                    <a:pt x="8895" y="5072"/>
                  </a:cubicBezTo>
                  <a:cubicBezTo>
                    <a:pt x="8813" y="5119"/>
                    <a:pt x="8682" y="5149"/>
                    <a:pt x="8533" y="5149"/>
                  </a:cubicBezTo>
                  <a:cubicBezTo>
                    <a:pt x="8336" y="5149"/>
                    <a:pt x="8108" y="5096"/>
                    <a:pt x="7918" y="4953"/>
                  </a:cubicBezTo>
                  <a:cubicBezTo>
                    <a:pt x="7573" y="4703"/>
                    <a:pt x="7466" y="4263"/>
                    <a:pt x="7585" y="3667"/>
                  </a:cubicBezTo>
                  <a:cubicBezTo>
                    <a:pt x="7597" y="3608"/>
                    <a:pt x="7644" y="3572"/>
                    <a:pt x="7704" y="3537"/>
                  </a:cubicBezTo>
                  <a:cubicBezTo>
                    <a:pt x="8526" y="3167"/>
                    <a:pt x="9002" y="3036"/>
                    <a:pt x="9180" y="3036"/>
                  </a:cubicBezTo>
                  <a:close/>
                  <a:moveTo>
                    <a:pt x="620" y="5608"/>
                  </a:moveTo>
                  <a:cubicBezTo>
                    <a:pt x="691" y="5620"/>
                    <a:pt x="798" y="5703"/>
                    <a:pt x="858" y="5846"/>
                  </a:cubicBezTo>
                  <a:cubicBezTo>
                    <a:pt x="870" y="5882"/>
                    <a:pt x="894" y="5942"/>
                    <a:pt x="894" y="6001"/>
                  </a:cubicBezTo>
                  <a:cubicBezTo>
                    <a:pt x="667" y="5953"/>
                    <a:pt x="501" y="5882"/>
                    <a:pt x="453" y="5799"/>
                  </a:cubicBezTo>
                  <a:cubicBezTo>
                    <a:pt x="441" y="5775"/>
                    <a:pt x="489" y="5703"/>
                    <a:pt x="501" y="5668"/>
                  </a:cubicBezTo>
                  <a:cubicBezTo>
                    <a:pt x="548" y="5608"/>
                    <a:pt x="572" y="5608"/>
                    <a:pt x="608" y="5608"/>
                  </a:cubicBezTo>
                  <a:close/>
                  <a:moveTo>
                    <a:pt x="5073" y="0"/>
                  </a:moveTo>
                  <a:cubicBezTo>
                    <a:pt x="4477" y="0"/>
                    <a:pt x="3906" y="238"/>
                    <a:pt x="3477" y="655"/>
                  </a:cubicBezTo>
                  <a:cubicBezTo>
                    <a:pt x="3049" y="1084"/>
                    <a:pt x="2822" y="1632"/>
                    <a:pt x="2822" y="2239"/>
                  </a:cubicBezTo>
                  <a:cubicBezTo>
                    <a:pt x="2822" y="2834"/>
                    <a:pt x="3061" y="3406"/>
                    <a:pt x="3477" y="3834"/>
                  </a:cubicBezTo>
                  <a:cubicBezTo>
                    <a:pt x="3596" y="3953"/>
                    <a:pt x="3727" y="4060"/>
                    <a:pt x="3882" y="4144"/>
                  </a:cubicBezTo>
                  <a:cubicBezTo>
                    <a:pt x="3775" y="4179"/>
                    <a:pt x="3668" y="4203"/>
                    <a:pt x="3584" y="4239"/>
                  </a:cubicBezTo>
                  <a:cubicBezTo>
                    <a:pt x="3489" y="4263"/>
                    <a:pt x="3453" y="4358"/>
                    <a:pt x="3477" y="4441"/>
                  </a:cubicBezTo>
                  <a:cubicBezTo>
                    <a:pt x="3505" y="4515"/>
                    <a:pt x="3561" y="4560"/>
                    <a:pt x="3629" y="4560"/>
                  </a:cubicBezTo>
                  <a:cubicBezTo>
                    <a:pt x="3649" y="4560"/>
                    <a:pt x="3670" y="4557"/>
                    <a:pt x="3692" y="4549"/>
                  </a:cubicBezTo>
                  <a:cubicBezTo>
                    <a:pt x="4138" y="4400"/>
                    <a:pt x="4608" y="4325"/>
                    <a:pt x="5079" y="4325"/>
                  </a:cubicBezTo>
                  <a:cubicBezTo>
                    <a:pt x="5549" y="4325"/>
                    <a:pt x="6019" y="4400"/>
                    <a:pt x="6466" y="4549"/>
                  </a:cubicBezTo>
                  <a:cubicBezTo>
                    <a:pt x="6490" y="4549"/>
                    <a:pt x="6501" y="4560"/>
                    <a:pt x="6525" y="4560"/>
                  </a:cubicBezTo>
                  <a:cubicBezTo>
                    <a:pt x="6609" y="4560"/>
                    <a:pt x="6668" y="4525"/>
                    <a:pt x="6680" y="4441"/>
                  </a:cubicBezTo>
                  <a:cubicBezTo>
                    <a:pt x="6704" y="4358"/>
                    <a:pt x="6668" y="4263"/>
                    <a:pt x="6573" y="4239"/>
                  </a:cubicBezTo>
                  <a:cubicBezTo>
                    <a:pt x="6466" y="4203"/>
                    <a:pt x="6370" y="4179"/>
                    <a:pt x="6275" y="4144"/>
                  </a:cubicBezTo>
                  <a:cubicBezTo>
                    <a:pt x="6406" y="4060"/>
                    <a:pt x="6549" y="3953"/>
                    <a:pt x="6680" y="3834"/>
                  </a:cubicBezTo>
                  <a:cubicBezTo>
                    <a:pt x="6787" y="3727"/>
                    <a:pt x="6882" y="3608"/>
                    <a:pt x="6966" y="3477"/>
                  </a:cubicBezTo>
                  <a:cubicBezTo>
                    <a:pt x="7002" y="3489"/>
                    <a:pt x="7049" y="3489"/>
                    <a:pt x="7097" y="3513"/>
                  </a:cubicBezTo>
                  <a:lnTo>
                    <a:pt x="7275" y="3548"/>
                  </a:lnTo>
                  <a:lnTo>
                    <a:pt x="7275" y="3572"/>
                  </a:lnTo>
                  <a:cubicBezTo>
                    <a:pt x="7204" y="3953"/>
                    <a:pt x="7204" y="4287"/>
                    <a:pt x="7287" y="4560"/>
                  </a:cubicBezTo>
                  <a:cubicBezTo>
                    <a:pt x="7359" y="4822"/>
                    <a:pt x="7513" y="5025"/>
                    <a:pt x="7716" y="5180"/>
                  </a:cubicBezTo>
                  <a:cubicBezTo>
                    <a:pt x="7954" y="5358"/>
                    <a:pt x="8252" y="5430"/>
                    <a:pt x="8526" y="5430"/>
                  </a:cubicBezTo>
                  <a:cubicBezTo>
                    <a:pt x="8728" y="5430"/>
                    <a:pt x="8907" y="5382"/>
                    <a:pt x="9049" y="5311"/>
                  </a:cubicBezTo>
                  <a:cubicBezTo>
                    <a:pt x="9192" y="5215"/>
                    <a:pt x="9323" y="5037"/>
                    <a:pt x="9430" y="4763"/>
                  </a:cubicBezTo>
                  <a:cubicBezTo>
                    <a:pt x="9478" y="4822"/>
                    <a:pt x="9526" y="4882"/>
                    <a:pt x="9561" y="4930"/>
                  </a:cubicBezTo>
                  <a:cubicBezTo>
                    <a:pt x="9740" y="5168"/>
                    <a:pt x="9859" y="5418"/>
                    <a:pt x="9954" y="5692"/>
                  </a:cubicBezTo>
                  <a:cubicBezTo>
                    <a:pt x="10002" y="5858"/>
                    <a:pt x="10133" y="5977"/>
                    <a:pt x="10300" y="6037"/>
                  </a:cubicBezTo>
                  <a:lnTo>
                    <a:pt x="10752" y="6192"/>
                  </a:lnTo>
                  <a:cubicBezTo>
                    <a:pt x="10871" y="6239"/>
                    <a:pt x="10966" y="6334"/>
                    <a:pt x="10966" y="6465"/>
                  </a:cubicBezTo>
                  <a:lnTo>
                    <a:pt x="10966" y="7239"/>
                  </a:lnTo>
                  <a:cubicBezTo>
                    <a:pt x="10966" y="7382"/>
                    <a:pt x="10895" y="7477"/>
                    <a:pt x="10752" y="7525"/>
                  </a:cubicBezTo>
                  <a:lnTo>
                    <a:pt x="10014" y="7763"/>
                  </a:lnTo>
                  <a:cubicBezTo>
                    <a:pt x="9895" y="7811"/>
                    <a:pt x="9788" y="7882"/>
                    <a:pt x="9728" y="8001"/>
                  </a:cubicBezTo>
                  <a:cubicBezTo>
                    <a:pt x="9430" y="8513"/>
                    <a:pt x="8966" y="8930"/>
                    <a:pt x="8359" y="9252"/>
                  </a:cubicBezTo>
                  <a:cubicBezTo>
                    <a:pt x="8287" y="9287"/>
                    <a:pt x="8240" y="9359"/>
                    <a:pt x="8228" y="9430"/>
                  </a:cubicBezTo>
                  <a:lnTo>
                    <a:pt x="7990" y="10692"/>
                  </a:lnTo>
                  <a:cubicBezTo>
                    <a:pt x="7990" y="10728"/>
                    <a:pt x="7954" y="10752"/>
                    <a:pt x="7918" y="10752"/>
                  </a:cubicBezTo>
                  <a:lnTo>
                    <a:pt x="7144" y="10752"/>
                  </a:lnTo>
                  <a:cubicBezTo>
                    <a:pt x="7109" y="10752"/>
                    <a:pt x="7085" y="10728"/>
                    <a:pt x="7061" y="10692"/>
                  </a:cubicBezTo>
                  <a:lnTo>
                    <a:pt x="6930" y="10002"/>
                  </a:lnTo>
                  <a:cubicBezTo>
                    <a:pt x="6897" y="9868"/>
                    <a:pt x="6800" y="9786"/>
                    <a:pt x="6661" y="9786"/>
                  </a:cubicBezTo>
                  <a:cubicBezTo>
                    <a:pt x="6652" y="9786"/>
                    <a:pt x="6642" y="9787"/>
                    <a:pt x="6632" y="9787"/>
                  </a:cubicBezTo>
                  <a:cubicBezTo>
                    <a:pt x="6299" y="9835"/>
                    <a:pt x="5954" y="9859"/>
                    <a:pt x="5608" y="9859"/>
                  </a:cubicBezTo>
                  <a:cubicBezTo>
                    <a:pt x="5358" y="9859"/>
                    <a:pt x="5097" y="9847"/>
                    <a:pt x="4846" y="9823"/>
                  </a:cubicBezTo>
                  <a:cubicBezTo>
                    <a:pt x="4833" y="9821"/>
                    <a:pt x="4819" y="9819"/>
                    <a:pt x="4806" y="9819"/>
                  </a:cubicBezTo>
                  <a:cubicBezTo>
                    <a:pt x="4692" y="9819"/>
                    <a:pt x="4593" y="9908"/>
                    <a:pt x="4561" y="10025"/>
                  </a:cubicBezTo>
                  <a:lnTo>
                    <a:pt x="4442" y="10692"/>
                  </a:lnTo>
                  <a:cubicBezTo>
                    <a:pt x="4442" y="10728"/>
                    <a:pt x="4418" y="10752"/>
                    <a:pt x="4370" y="10752"/>
                  </a:cubicBezTo>
                  <a:lnTo>
                    <a:pt x="3596" y="10752"/>
                  </a:lnTo>
                  <a:cubicBezTo>
                    <a:pt x="3573" y="10752"/>
                    <a:pt x="3537" y="10728"/>
                    <a:pt x="3525" y="10692"/>
                  </a:cubicBezTo>
                  <a:lnTo>
                    <a:pt x="3299" y="9502"/>
                  </a:lnTo>
                  <a:cubicBezTo>
                    <a:pt x="3287" y="9430"/>
                    <a:pt x="3239" y="9359"/>
                    <a:pt x="3168" y="9323"/>
                  </a:cubicBezTo>
                  <a:cubicBezTo>
                    <a:pt x="2108" y="8763"/>
                    <a:pt x="1560" y="7823"/>
                    <a:pt x="1560" y="6620"/>
                  </a:cubicBezTo>
                  <a:cubicBezTo>
                    <a:pt x="1560" y="6013"/>
                    <a:pt x="1691" y="5477"/>
                    <a:pt x="1965" y="5013"/>
                  </a:cubicBezTo>
                  <a:cubicBezTo>
                    <a:pt x="2215" y="4584"/>
                    <a:pt x="2572" y="4239"/>
                    <a:pt x="3037" y="3965"/>
                  </a:cubicBezTo>
                  <a:cubicBezTo>
                    <a:pt x="3108" y="3929"/>
                    <a:pt x="3132" y="3822"/>
                    <a:pt x="3096" y="3751"/>
                  </a:cubicBezTo>
                  <a:cubicBezTo>
                    <a:pt x="3065" y="3696"/>
                    <a:pt x="3008" y="3667"/>
                    <a:pt x="2952" y="3667"/>
                  </a:cubicBezTo>
                  <a:cubicBezTo>
                    <a:pt x="2923" y="3667"/>
                    <a:pt x="2895" y="3675"/>
                    <a:pt x="2870" y="3691"/>
                  </a:cubicBezTo>
                  <a:cubicBezTo>
                    <a:pt x="1977" y="4203"/>
                    <a:pt x="1429" y="5013"/>
                    <a:pt x="1275" y="6025"/>
                  </a:cubicBezTo>
                  <a:lnTo>
                    <a:pt x="1227" y="6025"/>
                  </a:lnTo>
                  <a:cubicBezTo>
                    <a:pt x="1227" y="5918"/>
                    <a:pt x="1215" y="5799"/>
                    <a:pt x="1167" y="5692"/>
                  </a:cubicBezTo>
                  <a:cubicBezTo>
                    <a:pt x="1084" y="5453"/>
                    <a:pt x="870" y="5299"/>
                    <a:pt x="667" y="5263"/>
                  </a:cubicBezTo>
                  <a:cubicBezTo>
                    <a:pt x="654" y="5262"/>
                    <a:pt x="640" y="5261"/>
                    <a:pt x="626" y="5261"/>
                  </a:cubicBezTo>
                  <a:cubicBezTo>
                    <a:pt x="474" y="5261"/>
                    <a:pt x="326" y="5323"/>
                    <a:pt x="239" y="5465"/>
                  </a:cubicBezTo>
                  <a:cubicBezTo>
                    <a:pt x="72" y="5668"/>
                    <a:pt x="96" y="5834"/>
                    <a:pt x="144" y="5942"/>
                  </a:cubicBezTo>
                  <a:cubicBezTo>
                    <a:pt x="239" y="6096"/>
                    <a:pt x="441" y="6239"/>
                    <a:pt x="798" y="6311"/>
                  </a:cubicBezTo>
                  <a:cubicBezTo>
                    <a:pt x="786" y="6323"/>
                    <a:pt x="786" y="6334"/>
                    <a:pt x="775" y="6358"/>
                  </a:cubicBezTo>
                  <a:cubicBezTo>
                    <a:pt x="560" y="6620"/>
                    <a:pt x="310" y="6680"/>
                    <a:pt x="155" y="6680"/>
                  </a:cubicBezTo>
                  <a:cubicBezTo>
                    <a:pt x="72" y="6680"/>
                    <a:pt x="1" y="6751"/>
                    <a:pt x="1" y="6858"/>
                  </a:cubicBezTo>
                  <a:cubicBezTo>
                    <a:pt x="1" y="6954"/>
                    <a:pt x="72" y="7025"/>
                    <a:pt x="155" y="7037"/>
                  </a:cubicBezTo>
                  <a:lnTo>
                    <a:pt x="191" y="7037"/>
                  </a:lnTo>
                  <a:cubicBezTo>
                    <a:pt x="394" y="7037"/>
                    <a:pt x="715" y="6966"/>
                    <a:pt x="1025" y="6573"/>
                  </a:cubicBezTo>
                  <a:cubicBezTo>
                    <a:pt x="1072" y="6513"/>
                    <a:pt x="1108" y="6442"/>
                    <a:pt x="1144" y="6382"/>
                  </a:cubicBezTo>
                  <a:cubicBezTo>
                    <a:pt x="1167" y="6382"/>
                    <a:pt x="1203" y="6382"/>
                    <a:pt x="1227" y="6394"/>
                  </a:cubicBezTo>
                  <a:cubicBezTo>
                    <a:pt x="1227" y="6489"/>
                    <a:pt x="1215" y="6573"/>
                    <a:pt x="1215" y="6668"/>
                  </a:cubicBezTo>
                  <a:cubicBezTo>
                    <a:pt x="1215" y="7347"/>
                    <a:pt x="1382" y="7954"/>
                    <a:pt x="1703" y="8478"/>
                  </a:cubicBezTo>
                  <a:cubicBezTo>
                    <a:pt x="2001" y="8954"/>
                    <a:pt x="2441" y="9359"/>
                    <a:pt x="2977" y="9644"/>
                  </a:cubicBezTo>
                  <a:lnTo>
                    <a:pt x="3192" y="10799"/>
                  </a:lnTo>
                  <a:cubicBezTo>
                    <a:pt x="3227" y="11002"/>
                    <a:pt x="3406" y="11133"/>
                    <a:pt x="3596" y="11133"/>
                  </a:cubicBezTo>
                  <a:lnTo>
                    <a:pt x="4370" y="11133"/>
                  </a:lnTo>
                  <a:cubicBezTo>
                    <a:pt x="4561" y="11133"/>
                    <a:pt x="4727" y="11002"/>
                    <a:pt x="4775" y="10799"/>
                  </a:cubicBezTo>
                  <a:lnTo>
                    <a:pt x="4894" y="10204"/>
                  </a:lnTo>
                  <a:cubicBezTo>
                    <a:pt x="5132" y="10240"/>
                    <a:pt x="5370" y="10252"/>
                    <a:pt x="5620" y="10252"/>
                  </a:cubicBezTo>
                  <a:cubicBezTo>
                    <a:pt x="5966" y="10252"/>
                    <a:pt x="6311" y="10228"/>
                    <a:pt x="6632" y="10180"/>
                  </a:cubicBezTo>
                  <a:lnTo>
                    <a:pt x="6751" y="10823"/>
                  </a:lnTo>
                  <a:cubicBezTo>
                    <a:pt x="6787" y="11014"/>
                    <a:pt x="6966" y="11145"/>
                    <a:pt x="7156" y="11145"/>
                  </a:cubicBezTo>
                  <a:lnTo>
                    <a:pt x="7930" y="11145"/>
                  </a:lnTo>
                  <a:cubicBezTo>
                    <a:pt x="8121" y="11145"/>
                    <a:pt x="8287" y="11014"/>
                    <a:pt x="8335" y="10823"/>
                  </a:cubicBezTo>
                  <a:lnTo>
                    <a:pt x="8573" y="9585"/>
                  </a:lnTo>
                  <a:cubicBezTo>
                    <a:pt x="9228" y="9240"/>
                    <a:pt x="9716" y="8775"/>
                    <a:pt x="10038" y="8228"/>
                  </a:cubicBezTo>
                  <a:cubicBezTo>
                    <a:pt x="10073" y="8180"/>
                    <a:pt x="10097" y="8156"/>
                    <a:pt x="10145" y="8132"/>
                  </a:cubicBezTo>
                  <a:lnTo>
                    <a:pt x="10895" y="7894"/>
                  </a:lnTo>
                  <a:cubicBezTo>
                    <a:pt x="11145" y="7811"/>
                    <a:pt x="11323" y="7573"/>
                    <a:pt x="11323" y="7299"/>
                  </a:cubicBezTo>
                  <a:lnTo>
                    <a:pt x="11323" y="6525"/>
                  </a:lnTo>
                  <a:cubicBezTo>
                    <a:pt x="11312" y="6251"/>
                    <a:pt x="11133" y="6013"/>
                    <a:pt x="10871" y="5918"/>
                  </a:cubicBezTo>
                  <a:lnTo>
                    <a:pt x="10419" y="5775"/>
                  </a:lnTo>
                  <a:cubicBezTo>
                    <a:pt x="10359" y="5763"/>
                    <a:pt x="10311" y="5715"/>
                    <a:pt x="10300" y="5644"/>
                  </a:cubicBezTo>
                  <a:cubicBezTo>
                    <a:pt x="10192" y="5322"/>
                    <a:pt x="10061" y="5049"/>
                    <a:pt x="9859" y="4775"/>
                  </a:cubicBezTo>
                  <a:cubicBezTo>
                    <a:pt x="9776" y="4656"/>
                    <a:pt x="9680" y="4537"/>
                    <a:pt x="9561" y="4429"/>
                  </a:cubicBezTo>
                  <a:cubicBezTo>
                    <a:pt x="9645" y="4132"/>
                    <a:pt x="9669" y="3798"/>
                    <a:pt x="9669" y="3501"/>
                  </a:cubicBezTo>
                  <a:cubicBezTo>
                    <a:pt x="9669" y="3084"/>
                    <a:pt x="9585" y="2822"/>
                    <a:pt x="9418" y="2739"/>
                  </a:cubicBezTo>
                  <a:cubicBezTo>
                    <a:pt x="9384" y="2722"/>
                    <a:pt x="9329" y="2693"/>
                    <a:pt x="9204" y="2693"/>
                  </a:cubicBezTo>
                  <a:cubicBezTo>
                    <a:pt x="8980" y="2693"/>
                    <a:pt x="8533" y="2787"/>
                    <a:pt x="7585" y="3215"/>
                  </a:cubicBezTo>
                  <a:cubicBezTo>
                    <a:pt x="7561" y="3227"/>
                    <a:pt x="7513" y="3239"/>
                    <a:pt x="7478" y="3275"/>
                  </a:cubicBezTo>
                  <a:cubicBezTo>
                    <a:pt x="7383" y="3239"/>
                    <a:pt x="7287" y="3227"/>
                    <a:pt x="7180" y="3191"/>
                  </a:cubicBezTo>
                  <a:cubicBezTo>
                    <a:pt x="7168" y="3191"/>
                    <a:pt x="7156" y="3191"/>
                    <a:pt x="7144" y="3179"/>
                  </a:cubicBezTo>
                  <a:cubicBezTo>
                    <a:pt x="7263" y="2929"/>
                    <a:pt x="7335" y="2644"/>
                    <a:pt x="7347" y="2346"/>
                  </a:cubicBezTo>
                  <a:cubicBezTo>
                    <a:pt x="7347" y="2263"/>
                    <a:pt x="7287" y="2179"/>
                    <a:pt x="7180" y="2167"/>
                  </a:cubicBezTo>
                  <a:cubicBezTo>
                    <a:pt x="7097" y="2167"/>
                    <a:pt x="7025" y="2227"/>
                    <a:pt x="7002" y="2334"/>
                  </a:cubicBezTo>
                  <a:cubicBezTo>
                    <a:pt x="6990" y="2810"/>
                    <a:pt x="6787" y="3251"/>
                    <a:pt x="6442" y="3596"/>
                  </a:cubicBezTo>
                  <a:cubicBezTo>
                    <a:pt x="6228" y="3810"/>
                    <a:pt x="5989" y="3953"/>
                    <a:pt x="5739" y="4048"/>
                  </a:cubicBezTo>
                  <a:cubicBezTo>
                    <a:pt x="5525" y="4019"/>
                    <a:pt x="5302" y="4004"/>
                    <a:pt x="5079" y="4004"/>
                  </a:cubicBezTo>
                  <a:cubicBezTo>
                    <a:pt x="4855" y="4004"/>
                    <a:pt x="4632" y="4019"/>
                    <a:pt x="4418" y="4048"/>
                  </a:cubicBezTo>
                  <a:cubicBezTo>
                    <a:pt x="4168" y="3953"/>
                    <a:pt x="3930" y="3810"/>
                    <a:pt x="3715" y="3596"/>
                  </a:cubicBezTo>
                  <a:cubicBezTo>
                    <a:pt x="3358" y="3239"/>
                    <a:pt x="3156" y="2751"/>
                    <a:pt x="3156" y="2239"/>
                  </a:cubicBezTo>
                  <a:cubicBezTo>
                    <a:pt x="3156" y="1739"/>
                    <a:pt x="3346" y="1251"/>
                    <a:pt x="3715" y="893"/>
                  </a:cubicBezTo>
                  <a:cubicBezTo>
                    <a:pt x="4073" y="536"/>
                    <a:pt x="4561" y="322"/>
                    <a:pt x="5073" y="322"/>
                  </a:cubicBezTo>
                  <a:cubicBezTo>
                    <a:pt x="5573" y="322"/>
                    <a:pt x="6073" y="512"/>
                    <a:pt x="6430" y="893"/>
                  </a:cubicBezTo>
                  <a:cubicBezTo>
                    <a:pt x="6573" y="1036"/>
                    <a:pt x="6692" y="1203"/>
                    <a:pt x="6787" y="1381"/>
                  </a:cubicBezTo>
                  <a:cubicBezTo>
                    <a:pt x="6813" y="1433"/>
                    <a:pt x="6870" y="1472"/>
                    <a:pt x="6930" y="1472"/>
                  </a:cubicBezTo>
                  <a:cubicBezTo>
                    <a:pt x="6954" y="1472"/>
                    <a:pt x="6978" y="1466"/>
                    <a:pt x="7002" y="1453"/>
                  </a:cubicBezTo>
                  <a:cubicBezTo>
                    <a:pt x="7085" y="1405"/>
                    <a:pt x="7121" y="1322"/>
                    <a:pt x="7085" y="1227"/>
                  </a:cubicBezTo>
                  <a:cubicBezTo>
                    <a:pt x="6978" y="1024"/>
                    <a:pt x="6823" y="834"/>
                    <a:pt x="6668" y="655"/>
                  </a:cubicBezTo>
                  <a:cubicBezTo>
                    <a:pt x="6228" y="215"/>
                    <a:pt x="5680" y="0"/>
                    <a:pt x="50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9" name="Google Shape;9849;p58"/>
            <p:cNvSpPr/>
            <p:nvPr/>
          </p:nvSpPr>
          <p:spPr>
            <a:xfrm>
              <a:off x="4829299" y="2324485"/>
              <a:ext cx="42393" cy="75291"/>
            </a:xfrm>
            <a:custGeom>
              <a:avLst/>
              <a:gdLst/>
              <a:ahLst/>
              <a:cxnLst/>
              <a:rect l="l" t="t" r="r" b="b"/>
              <a:pathLst>
                <a:path w="1335" h="2371" extrusionOk="0">
                  <a:moveTo>
                    <a:pt x="644" y="417"/>
                  </a:moveTo>
                  <a:lnTo>
                    <a:pt x="644" y="941"/>
                  </a:lnTo>
                  <a:cubicBezTo>
                    <a:pt x="501" y="882"/>
                    <a:pt x="370" y="822"/>
                    <a:pt x="370" y="656"/>
                  </a:cubicBezTo>
                  <a:cubicBezTo>
                    <a:pt x="370" y="513"/>
                    <a:pt x="489" y="441"/>
                    <a:pt x="644" y="417"/>
                  </a:cubicBezTo>
                  <a:close/>
                  <a:moveTo>
                    <a:pt x="786" y="1322"/>
                  </a:moveTo>
                  <a:cubicBezTo>
                    <a:pt x="929" y="1382"/>
                    <a:pt x="1036" y="1477"/>
                    <a:pt x="1036" y="1656"/>
                  </a:cubicBezTo>
                  <a:cubicBezTo>
                    <a:pt x="1036" y="1810"/>
                    <a:pt x="929" y="1906"/>
                    <a:pt x="786" y="1941"/>
                  </a:cubicBezTo>
                  <a:lnTo>
                    <a:pt x="786" y="1322"/>
                  </a:lnTo>
                  <a:close/>
                  <a:moveTo>
                    <a:pt x="703" y="1"/>
                  </a:moveTo>
                  <a:cubicBezTo>
                    <a:pt x="655" y="1"/>
                    <a:pt x="620" y="36"/>
                    <a:pt x="620" y="60"/>
                  </a:cubicBezTo>
                  <a:lnTo>
                    <a:pt x="620" y="156"/>
                  </a:lnTo>
                  <a:cubicBezTo>
                    <a:pt x="334" y="179"/>
                    <a:pt x="60" y="334"/>
                    <a:pt x="60" y="691"/>
                  </a:cubicBezTo>
                  <a:cubicBezTo>
                    <a:pt x="60" y="1060"/>
                    <a:pt x="346" y="1168"/>
                    <a:pt x="620" y="1251"/>
                  </a:cubicBezTo>
                  <a:lnTo>
                    <a:pt x="620" y="1941"/>
                  </a:lnTo>
                  <a:cubicBezTo>
                    <a:pt x="322" y="1906"/>
                    <a:pt x="239" y="1715"/>
                    <a:pt x="143" y="1715"/>
                  </a:cubicBezTo>
                  <a:cubicBezTo>
                    <a:pt x="60" y="1715"/>
                    <a:pt x="1" y="1810"/>
                    <a:pt x="1" y="1882"/>
                  </a:cubicBezTo>
                  <a:cubicBezTo>
                    <a:pt x="1" y="2025"/>
                    <a:pt x="239" y="2227"/>
                    <a:pt x="620" y="2227"/>
                  </a:cubicBezTo>
                  <a:lnTo>
                    <a:pt x="620" y="2311"/>
                  </a:lnTo>
                  <a:cubicBezTo>
                    <a:pt x="620" y="2346"/>
                    <a:pt x="644" y="2370"/>
                    <a:pt x="703" y="2370"/>
                  </a:cubicBezTo>
                  <a:cubicBezTo>
                    <a:pt x="751" y="2370"/>
                    <a:pt x="798" y="2346"/>
                    <a:pt x="798" y="2311"/>
                  </a:cubicBezTo>
                  <a:lnTo>
                    <a:pt x="798" y="2203"/>
                  </a:lnTo>
                  <a:cubicBezTo>
                    <a:pt x="1108" y="2168"/>
                    <a:pt x="1310" y="1965"/>
                    <a:pt x="1310" y="1608"/>
                  </a:cubicBezTo>
                  <a:cubicBezTo>
                    <a:pt x="1334" y="1227"/>
                    <a:pt x="1048" y="1096"/>
                    <a:pt x="798" y="1001"/>
                  </a:cubicBezTo>
                  <a:lnTo>
                    <a:pt x="798" y="406"/>
                  </a:lnTo>
                  <a:cubicBezTo>
                    <a:pt x="1001" y="417"/>
                    <a:pt x="1084" y="513"/>
                    <a:pt x="1144" y="513"/>
                  </a:cubicBezTo>
                  <a:cubicBezTo>
                    <a:pt x="1227" y="513"/>
                    <a:pt x="1275" y="406"/>
                    <a:pt x="1275" y="346"/>
                  </a:cubicBezTo>
                  <a:cubicBezTo>
                    <a:pt x="1275" y="203"/>
                    <a:pt x="989" y="144"/>
                    <a:pt x="798" y="144"/>
                  </a:cubicBezTo>
                  <a:lnTo>
                    <a:pt x="798" y="60"/>
                  </a:lnTo>
                  <a:cubicBezTo>
                    <a:pt x="798" y="36"/>
                    <a:pt x="751" y="1"/>
                    <a:pt x="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50" name="Google Shape;9850;p58"/>
          <p:cNvSpPr/>
          <p:nvPr/>
        </p:nvSpPr>
        <p:spPr>
          <a:xfrm>
            <a:off x="5234620" y="2287078"/>
            <a:ext cx="358832" cy="359562"/>
          </a:xfrm>
          <a:custGeom>
            <a:avLst/>
            <a:gdLst/>
            <a:ahLst/>
            <a:cxnLst/>
            <a:rect l="l" t="t" r="r" b="b"/>
            <a:pathLst>
              <a:path w="11300" h="11323" extrusionOk="0">
                <a:moveTo>
                  <a:pt x="5620" y="333"/>
                </a:moveTo>
                <a:cubicBezTo>
                  <a:pt x="5715" y="333"/>
                  <a:pt x="5787" y="405"/>
                  <a:pt x="5787" y="500"/>
                </a:cubicBezTo>
                <a:lnTo>
                  <a:pt x="5787" y="560"/>
                </a:lnTo>
                <a:lnTo>
                  <a:pt x="5453" y="560"/>
                </a:lnTo>
                <a:lnTo>
                  <a:pt x="5453" y="500"/>
                </a:lnTo>
                <a:cubicBezTo>
                  <a:pt x="5453" y="405"/>
                  <a:pt x="5536" y="333"/>
                  <a:pt x="5620" y="333"/>
                </a:cubicBezTo>
                <a:close/>
                <a:moveTo>
                  <a:pt x="5465" y="917"/>
                </a:moveTo>
                <a:lnTo>
                  <a:pt x="5465" y="5822"/>
                </a:lnTo>
                <a:cubicBezTo>
                  <a:pt x="5120" y="5560"/>
                  <a:pt x="4703" y="5405"/>
                  <a:pt x="4251" y="5405"/>
                </a:cubicBezTo>
                <a:cubicBezTo>
                  <a:pt x="3810" y="5405"/>
                  <a:pt x="3393" y="5560"/>
                  <a:pt x="3060" y="5810"/>
                </a:cubicBezTo>
                <a:cubicBezTo>
                  <a:pt x="3108" y="4536"/>
                  <a:pt x="3370" y="3322"/>
                  <a:pt x="3834" y="2417"/>
                </a:cubicBezTo>
                <a:cubicBezTo>
                  <a:pt x="4286" y="1524"/>
                  <a:pt x="4846" y="1000"/>
                  <a:pt x="5465" y="917"/>
                </a:cubicBezTo>
                <a:close/>
                <a:moveTo>
                  <a:pt x="5822" y="917"/>
                </a:moveTo>
                <a:cubicBezTo>
                  <a:pt x="6441" y="1000"/>
                  <a:pt x="7037" y="1584"/>
                  <a:pt x="7501" y="2524"/>
                </a:cubicBezTo>
                <a:cubicBezTo>
                  <a:pt x="7526" y="2582"/>
                  <a:pt x="7579" y="2617"/>
                  <a:pt x="7642" y="2617"/>
                </a:cubicBezTo>
                <a:cubicBezTo>
                  <a:pt x="7669" y="2617"/>
                  <a:pt x="7698" y="2610"/>
                  <a:pt x="7727" y="2596"/>
                </a:cubicBezTo>
                <a:cubicBezTo>
                  <a:pt x="7811" y="2548"/>
                  <a:pt x="7834" y="2465"/>
                  <a:pt x="7799" y="2369"/>
                </a:cubicBezTo>
                <a:cubicBezTo>
                  <a:pt x="7525" y="1810"/>
                  <a:pt x="7215" y="1381"/>
                  <a:pt x="6858" y="1060"/>
                </a:cubicBezTo>
                <a:lnTo>
                  <a:pt x="6810" y="1024"/>
                </a:lnTo>
                <a:lnTo>
                  <a:pt x="6810" y="1024"/>
                </a:lnTo>
                <a:cubicBezTo>
                  <a:pt x="7799" y="1238"/>
                  <a:pt x="8692" y="1715"/>
                  <a:pt x="9406" y="2453"/>
                </a:cubicBezTo>
                <a:cubicBezTo>
                  <a:pt x="10311" y="3358"/>
                  <a:pt x="10847" y="4536"/>
                  <a:pt x="10954" y="5798"/>
                </a:cubicBezTo>
                <a:cubicBezTo>
                  <a:pt x="10597" y="5560"/>
                  <a:pt x="10180" y="5405"/>
                  <a:pt x="9751" y="5405"/>
                </a:cubicBezTo>
                <a:cubicBezTo>
                  <a:pt x="9299" y="5405"/>
                  <a:pt x="8870" y="5560"/>
                  <a:pt x="8537" y="5822"/>
                </a:cubicBezTo>
                <a:cubicBezTo>
                  <a:pt x="8513" y="4834"/>
                  <a:pt x="8346" y="3893"/>
                  <a:pt x="8061" y="3060"/>
                </a:cubicBezTo>
                <a:cubicBezTo>
                  <a:pt x="8042" y="2984"/>
                  <a:pt x="7977" y="2946"/>
                  <a:pt x="7909" y="2946"/>
                </a:cubicBezTo>
                <a:cubicBezTo>
                  <a:pt x="7892" y="2946"/>
                  <a:pt x="7875" y="2948"/>
                  <a:pt x="7858" y="2953"/>
                </a:cubicBezTo>
                <a:cubicBezTo>
                  <a:pt x="7763" y="2988"/>
                  <a:pt x="7727" y="3072"/>
                  <a:pt x="7751" y="3167"/>
                </a:cubicBezTo>
                <a:cubicBezTo>
                  <a:pt x="8025" y="3953"/>
                  <a:pt x="8180" y="4858"/>
                  <a:pt x="8215" y="5810"/>
                </a:cubicBezTo>
                <a:cubicBezTo>
                  <a:pt x="7882" y="5560"/>
                  <a:pt x="7453" y="5405"/>
                  <a:pt x="7025" y="5405"/>
                </a:cubicBezTo>
                <a:cubicBezTo>
                  <a:pt x="6572" y="5405"/>
                  <a:pt x="6156" y="5560"/>
                  <a:pt x="5822" y="5822"/>
                </a:cubicBezTo>
                <a:lnTo>
                  <a:pt x="5822" y="917"/>
                </a:lnTo>
                <a:close/>
                <a:moveTo>
                  <a:pt x="5596" y="8299"/>
                </a:moveTo>
                <a:cubicBezTo>
                  <a:pt x="5679" y="8299"/>
                  <a:pt x="5751" y="8370"/>
                  <a:pt x="5751" y="8453"/>
                </a:cubicBezTo>
                <a:lnTo>
                  <a:pt x="5751" y="9894"/>
                </a:lnTo>
                <a:lnTo>
                  <a:pt x="5787" y="9894"/>
                </a:lnTo>
                <a:cubicBezTo>
                  <a:pt x="5787" y="10489"/>
                  <a:pt x="5310" y="10978"/>
                  <a:pt x="4727" y="10978"/>
                </a:cubicBezTo>
                <a:cubicBezTo>
                  <a:pt x="4286" y="10978"/>
                  <a:pt x="3882" y="10704"/>
                  <a:pt x="3715" y="10287"/>
                </a:cubicBezTo>
                <a:cubicBezTo>
                  <a:pt x="3703" y="10239"/>
                  <a:pt x="3703" y="10192"/>
                  <a:pt x="3739" y="10144"/>
                </a:cubicBezTo>
                <a:cubicBezTo>
                  <a:pt x="3762" y="10097"/>
                  <a:pt x="3822" y="10073"/>
                  <a:pt x="3870" y="10073"/>
                </a:cubicBezTo>
                <a:cubicBezTo>
                  <a:pt x="3941" y="10073"/>
                  <a:pt x="4001" y="10108"/>
                  <a:pt x="4012" y="10168"/>
                </a:cubicBezTo>
                <a:cubicBezTo>
                  <a:pt x="4120" y="10454"/>
                  <a:pt x="4393" y="10632"/>
                  <a:pt x="4691" y="10644"/>
                </a:cubicBezTo>
                <a:cubicBezTo>
                  <a:pt x="4882" y="10644"/>
                  <a:pt x="5072" y="10573"/>
                  <a:pt x="5203" y="10442"/>
                </a:cubicBezTo>
                <a:cubicBezTo>
                  <a:pt x="5358" y="10287"/>
                  <a:pt x="5429" y="10097"/>
                  <a:pt x="5429" y="9906"/>
                </a:cubicBezTo>
                <a:lnTo>
                  <a:pt x="5429" y="8453"/>
                </a:lnTo>
                <a:cubicBezTo>
                  <a:pt x="5429" y="8370"/>
                  <a:pt x="5501" y="8299"/>
                  <a:pt x="5596" y="8299"/>
                </a:cubicBezTo>
                <a:close/>
                <a:moveTo>
                  <a:pt x="5644" y="0"/>
                </a:moveTo>
                <a:cubicBezTo>
                  <a:pt x="5370" y="0"/>
                  <a:pt x="5144" y="226"/>
                  <a:pt x="5144" y="500"/>
                </a:cubicBezTo>
                <a:lnTo>
                  <a:pt x="5144" y="583"/>
                </a:lnTo>
                <a:cubicBezTo>
                  <a:pt x="4215" y="667"/>
                  <a:pt x="3322" y="976"/>
                  <a:pt x="2524" y="1500"/>
                </a:cubicBezTo>
                <a:cubicBezTo>
                  <a:pt x="1631" y="2096"/>
                  <a:pt x="917" y="2929"/>
                  <a:pt x="476" y="3905"/>
                </a:cubicBezTo>
                <a:cubicBezTo>
                  <a:pt x="429" y="4001"/>
                  <a:pt x="476" y="4084"/>
                  <a:pt x="560" y="4131"/>
                </a:cubicBezTo>
                <a:cubicBezTo>
                  <a:pt x="585" y="4144"/>
                  <a:pt x="610" y="4150"/>
                  <a:pt x="633" y="4150"/>
                </a:cubicBezTo>
                <a:cubicBezTo>
                  <a:pt x="697" y="4150"/>
                  <a:pt x="751" y="4106"/>
                  <a:pt x="786" y="4036"/>
                </a:cubicBezTo>
                <a:cubicBezTo>
                  <a:pt x="1203" y="3119"/>
                  <a:pt x="1869" y="2346"/>
                  <a:pt x="2727" y="1774"/>
                </a:cubicBezTo>
                <a:cubicBezTo>
                  <a:pt x="3262" y="1417"/>
                  <a:pt x="3858" y="1167"/>
                  <a:pt x="4477" y="1036"/>
                </a:cubicBezTo>
                <a:lnTo>
                  <a:pt x="4477" y="1036"/>
                </a:lnTo>
                <a:cubicBezTo>
                  <a:pt x="4132" y="1310"/>
                  <a:pt x="3822" y="1738"/>
                  <a:pt x="3560" y="2274"/>
                </a:cubicBezTo>
                <a:cubicBezTo>
                  <a:pt x="3072" y="3239"/>
                  <a:pt x="2774" y="4489"/>
                  <a:pt x="2739" y="5822"/>
                </a:cubicBezTo>
                <a:cubicBezTo>
                  <a:pt x="2393" y="5560"/>
                  <a:pt x="1977" y="5405"/>
                  <a:pt x="1536" y="5405"/>
                </a:cubicBezTo>
                <a:cubicBezTo>
                  <a:pt x="1095" y="5405"/>
                  <a:pt x="667" y="5560"/>
                  <a:pt x="345" y="5810"/>
                </a:cubicBezTo>
                <a:cubicBezTo>
                  <a:pt x="369" y="5405"/>
                  <a:pt x="441" y="5024"/>
                  <a:pt x="560" y="4643"/>
                </a:cubicBezTo>
                <a:cubicBezTo>
                  <a:pt x="595" y="4560"/>
                  <a:pt x="548" y="4465"/>
                  <a:pt x="464" y="4441"/>
                </a:cubicBezTo>
                <a:cubicBezTo>
                  <a:pt x="445" y="4436"/>
                  <a:pt x="427" y="4434"/>
                  <a:pt x="409" y="4434"/>
                </a:cubicBezTo>
                <a:cubicBezTo>
                  <a:pt x="338" y="4434"/>
                  <a:pt x="279" y="4472"/>
                  <a:pt x="250" y="4548"/>
                </a:cubicBezTo>
                <a:cubicBezTo>
                  <a:pt x="83" y="5084"/>
                  <a:pt x="0" y="5644"/>
                  <a:pt x="0" y="6227"/>
                </a:cubicBezTo>
                <a:cubicBezTo>
                  <a:pt x="0" y="6287"/>
                  <a:pt x="24" y="6334"/>
                  <a:pt x="72" y="6358"/>
                </a:cubicBezTo>
                <a:cubicBezTo>
                  <a:pt x="107" y="6385"/>
                  <a:pt x="150" y="6398"/>
                  <a:pt x="184" y="6398"/>
                </a:cubicBezTo>
                <a:cubicBezTo>
                  <a:pt x="195" y="6398"/>
                  <a:pt x="205" y="6397"/>
                  <a:pt x="214" y="6394"/>
                </a:cubicBezTo>
                <a:cubicBezTo>
                  <a:pt x="250" y="6370"/>
                  <a:pt x="286" y="6358"/>
                  <a:pt x="298" y="6334"/>
                </a:cubicBezTo>
                <a:cubicBezTo>
                  <a:pt x="583" y="5977"/>
                  <a:pt x="1048" y="5751"/>
                  <a:pt x="1524" y="5751"/>
                </a:cubicBezTo>
                <a:cubicBezTo>
                  <a:pt x="2024" y="5751"/>
                  <a:pt x="2477" y="5977"/>
                  <a:pt x="2762" y="6334"/>
                </a:cubicBezTo>
                <a:cubicBezTo>
                  <a:pt x="2798" y="6370"/>
                  <a:pt x="2834" y="6394"/>
                  <a:pt x="2893" y="6394"/>
                </a:cubicBezTo>
                <a:cubicBezTo>
                  <a:pt x="2941" y="6394"/>
                  <a:pt x="3000" y="6358"/>
                  <a:pt x="3036" y="6334"/>
                </a:cubicBezTo>
                <a:cubicBezTo>
                  <a:pt x="3322" y="5977"/>
                  <a:pt x="3786" y="5751"/>
                  <a:pt x="4263" y="5751"/>
                </a:cubicBezTo>
                <a:cubicBezTo>
                  <a:pt x="4727" y="5751"/>
                  <a:pt x="5179" y="5941"/>
                  <a:pt x="5477" y="6287"/>
                </a:cubicBezTo>
                <a:lnTo>
                  <a:pt x="5477" y="7965"/>
                </a:lnTo>
                <a:cubicBezTo>
                  <a:pt x="5275" y="8049"/>
                  <a:pt x="5132" y="8227"/>
                  <a:pt x="5132" y="8442"/>
                </a:cubicBezTo>
                <a:lnTo>
                  <a:pt x="5132" y="9894"/>
                </a:lnTo>
                <a:cubicBezTo>
                  <a:pt x="5132" y="10013"/>
                  <a:pt x="5084" y="10108"/>
                  <a:pt x="5013" y="10192"/>
                </a:cubicBezTo>
                <a:cubicBezTo>
                  <a:pt x="4941" y="10263"/>
                  <a:pt x="4834" y="10311"/>
                  <a:pt x="4727" y="10311"/>
                </a:cubicBezTo>
                <a:cubicBezTo>
                  <a:pt x="4560" y="10311"/>
                  <a:pt x="4417" y="10204"/>
                  <a:pt x="4358" y="10049"/>
                </a:cubicBezTo>
                <a:cubicBezTo>
                  <a:pt x="4286" y="9858"/>
                  <a:pt x="4108" y="9739"/>
                  <a:pt x="3893" y="9739"/>
                </a:cubicBezTo>
                <a:cubicBezTo>
                  <a:pt x="3739" y="9739"/>
                  <a:pt x="3572" y="9835"/>
                  <a:pt x="3477" y="9966"/>
                </a:cubicBezTo>
                <a:cubicBezTo>
                  <a:pt x="3393" y="10097"/>
                  <a:pt x="3358" y="10275"/>
                  <a:pt x="3441" y="10430"/>
                </a:cubicBezTo>
                <a:cubicBezTo>
                  <a:pt x="3643" y="10966"/>
                  <a:pt x="4179" y="11323"/>
                  <a:pt x="4751" y="11323"/>
                </a:cubicBezTo>
                <a:lnTo>
                  <a:pt x="4763" y="11323"/>
                </a:lnTo>
                <a:cubicBezTo>
                  <a:pt x="5513" y="11299"/>
                  <a:pt x="6144" y="10668"/>
                  <a:pt x="6144" y="9894"/>
                </a:cubicBezTo>
                <a:lnTo>
                  <a:pt x="6144" y="8442"/>
                </a:lnTo>
                <a:cubicBezTo>
                  <a:pt x="6144" y="8227"/>
                  <a:pt x="6013" y="8049"/>
                  <a:pt x="5798" y="7965"/>
                </a:cubicBezTo>
                <a:lnTo>
                  <a:pt x="5798" y="6287"/>
                </a:lnTo>
                <a:cubicBezTo>
                  <a:pt x="6084" y="5941"/>
                  <a:pt x="6537" y="5751"/>
                  <a:pt x="7001" y="5751"/>
                </a:cubicBezTo>
                <a:cubicBezTo>
                  <a:pt x="7501" y="5751"/>
                  <a:pt x="7953" y="5977"/>
                  <a:pt x="8239" y="6334"/>
                </a:cubicBezTo>
                <a:cubicBezTo>
                  <a:pt x="8275" y="6370"/>
                  <a:pt x="8311" y="6394"/>
                  <a:pt x="8370" y="6394"/>
                </a:cubicBezTo>
                <a:cubicBezTo>
                  <a:pt x="8418" y="6394"/>
                  <a:pt x="8477" y="6358"/>
                  <a:pt x="8513" y="6334"/>
                </a:cubicBezTo>
                <a:cubicBezTo>
                  <a:pt x="8799" y="5977"/>
                  <a:pt x="9263" y="5751"/>
                  <a:pt x="9739" y="5751"/>
                </a:cubicBezTo>
                <a:cubicBezTo>
                  <a:pt x="10239" y="5751"/>
                  <a:pt x="10704" y="5977"/>
                  <a:pt x="10978" y="6334"/>
                </a:cubicBezTo>
                <a:cubicBezTo>
                  <a:pt x="11013" y="6370"/>
                  <a:pt x="11049" y="6394"/>
                  <a:pt x="11109" y="6394"/>
                </a:cubicBezTo>
                <a:cubicBezTo>
                  <a:pt x="11132" y="6394"/>
                  <a:pt x="11144" y="6394"/>
                  <a:pt x="11180" y="6370"/>
                </a:cubicBezTo>
                <a:cubicBezTo>
                  <a:pt x="11251" y="6346"/>
                  <a:pt x="11299" y="6287"/>
                  <a:pt x="11299" y="6215"/>
                </a:cubicBezTo>
                <a:cubicBezTo>
                  <a:pt x="11275" y="4715"/>
                  <a:pt x="10704" y="3298"/>
                  <a:pt x="9620" y="2226"/>
                </a:cubicBezTo>
                <a:cubicBezTo>
                  <a:pt x="8668" y="1274"/>
                  <a:pt x="7453" y="702"/>
                  <a:pt x="6132" y="583"/>
                </a:cubicBezTo>
                <a:lnTo>
                  <a:pt x="6132" y="500"/>
                </a:lnTo>
                <a:cubicBezTo>
                  <a:pt x="6132" y="226"/>
                  <a:pt x="5906" y="0"/>
                  <a:pt x="564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51" name="Google Shape;9851;p58"/>
          <p:cNvGrpSpPr/>
          <p:nvPr/>
        </p:nvGrpSpPr>
        <p:grpSpPr>
          <a:xfrm>
            <a:off x="6372624" y="2308227"/>
            <a:ext cx="263567" cy="317614"/>
            <a:chOff x="6421399" y="2308227"/>
            <a:chExt cx="263567" cy="317614"/>
          </a:xfrm>
        </p:grpSpPr>
        <p:sp>
          <p:nvSpPr>
            <p:cNvPr id="9852" name="Google Shape;9852;p58"/>
            <p:cNvSpPr/>
            <p:nvPr/>
          </p:nvSpPr>
          <p:spPr>
            <a:xfrm>
              <a:off x="6421399" y="2308227"/>
              <a:ext cx="263567" cy="317614"/>
            </a:xfrm>
            <a:custGeom>
              <a:avLst/>
              <a:gdLst/>
              <a:ahLst/>
              <a:cxnLst/>
              <a:rect l="l" t="t" r="r" b="b"/>
              <a:pathLst>
                <a:path w="8300" h="10002" extrusionOk="0">
                  <a:moveTo>
                    <a:pt x="4192" y="298"/>
                  </a:moveTo>
                  <a:cubicBezTo>
                    <a:pt x="4501" y="298"/>
                    <a:pt x="4775" y="513"/>
                    <a:pt x="4835" y="810"/>
                  </a:cubicBezTo>
                  <a:lnTo>
                    <a:pt x="3430" y="810"/>
                  </a:lnTo>
                  <a:cubicBezTo>
                    <a:pt x="3513" y="513"/>
                    <a:pt x="3775" y="298"/>
                    <a:pt x="4085" y="298"/>
                  </a:cubicBezTo>
                  <a:close/>
                  <a:moveTo>
                    <a:pt x="5918" y="1108"/>
                  </a:moveTo>
                  <a:cubicBezTo>
                    <a:pt x="6275" y="1108"/>
                    <a:pt x="6585" y="1275"/>
                    <a:pt x="6799" y="1560"/>
                  </a:cubicBezTo>
                  <a:lnTo>
                    <a:pt x="1465" y="1560"/>
                  </a:lnTo>
                  <a:cubicBezTo>
                    <a:pt x="1680" y="1275"/>
                    <a:pt x="1989" y="1108"/>
                    <a:pt x="2346" y="1108"/>
                  </a:cubicBezTo>
                  <a:close/>
                  <a:moveTo>
                    <a:pt x="4085" y="1"/>
                  </a:moveTo>
                  <a:cubicBezTo>
                    <a:pt x="3608" y="1"/>
                    <a:pt x="3215" y="346"/>
                    <a:pt x="3156" y="810"/>
                  </a:cubicBezTo>
                  <a:lnTo>
                    <a:pt x="2346" y="810"/>
                  </a:lnTo>
                  <a:cubicBezTo>
                    <a:pt x="1822" y="810"/>
                    <a:pt x="1370" y="1096"/>
                    <a:pt x="1132" y="1560"/>
                  </a:cubicBezTo>
                  <a:lnTo>
                    <a:pt x="596" y="1560"/>
                  </a:lnTo>
                  <a:cubicBezTo>
                    <a:pt x="263" y="1560"/>
                    <a:pt x="1" y="1822"/>
                    <a:pt x="1" y="2156"/>
                  </a:cubicBezTo>
                  <a:cubicBezTo>
                    <a:pt x="1" y="2477"/>
                    <a:pt x="263" y="2751"/>
                    <a:pt x="596" y="2751"/>
                  </a:cubicBezTo>
                  <a:lnTo>
                    <a:pt x="1013" y="2751"/>
                  </a:lnTo>
                  <a:lnTo>
                    <a:pt x="1370" y="9359"/>
                  </a:lnTo>
                  <a:cubicBezTo>
                    <a:pt x="1382" y="9716"/>
                    <a:pt x="1680" y="10002"/>
                    <a:pt x="2037" y="10002"/>
                  </a:cubicBezTo>
                  <a:lnTo>
                    <a:pt x="4466" y="10002"/>
                  </a:lnTo>
                  <a:cubicBezTo>
                    <a:pt x="4537" y="10002"/>
                    <a:pt x="4609" y="9942"/>
                    <a:pt x="4609" y="9847"/>
                  </a:cubicBezTo>
                  <a:cubicBezTo>
                    <a:pt x="4609" y="9752"/>
                    <a:pt x="4549" y="9704"/>
                    <a:pt x="4466" y="9704"/>
                  </a:cubicBezTo>
                  <a:lnTo>
                    <a:pt x="2037" y="9704"/>
                  </a:lnTo>
                  <a:cubicBezTo>
                    <a:pt x="1822" y="9704"/>
                    <a:pt x="1668" y="9538"/>
                    <a:pt x="1644" y="9347"/>
                  </a:cubicBezTo>
                  <a:lnTo>
                    <a:pt x="1287" y="2751"/>
                  </a:lnTo>
                  <a:lnTo>
                    <a:pt x="2084" y="2751"/>
                  </a:lnTo>
                  <a:cubicBezTo>
                    <a:pt x="2156" y="2751"/>
                    <a:pt x="2227" y="2692"/>
                    <a:pt x="2227" y="2596"/>
                  </a:cubicBezTo>
                  <a:cubicBezTo>
                    <a:pt x="2227" y="2525"/>
                    <a:pt x="2168" y="2453"/>
                    <a:pt x="2084" y="2453"/>
                  </a:cubicBezTo>
                  <a:lnTo>
                    <a:pt x="596" y="2453"/>
                  </a:lnTo>
                  <a:cubicBezTo>
                    <a:pt x="429" y="2453"/>
                    <a:pt x="298" y="2322"/>
                    <a:pt x="298" y="2156"/>
                  </a:cubicBezTo>
                  <a:cubicBezTo>
                    <a:pt x="298" y="1989"/>
                    <a:pt x="429" y="1858"/>
                    <a:pt x="596" y="1858"/>
                  </a:cubicBezTo>
                  <a:lnTo>
                    <a:pt x="7704" y="1858"/>
                  </a:lnTo>
                  <a:cubicBezTo>
                    <a:pt x="7871" y="1858"/>
                    <a:pt x="8002" y="1989"/>
                    <a:pt x="8002" y="2156"/>
                  </a:cubicBezTo>
                  <a:cubicBezTo>
                    <a:pt x="8002" y="2322"/>
                    <a:pt x="7871" y="2453"/>
                    <a:pt x="7704" y="2453"/>
                  </a:cubicBezTo>
                  <a:lnTo>
                    <a:pt x="2763" y="2453"/>
                  </a:lnTo>
                  <a:cubicBezTo>
                    <a:pt x="2692" y="2453"/>
                    <a:pt x="2620" y="2513"/>
                    <a:pt x="2620" y="2596"/>
                  </a:cubicBezTo>
                  <a:cubicBezTo>
                    <a:pt x="2620" y="2680"/>
                    <a:pt x="2680" y="2751"/>
                    <a:pt x="2763" y="2751"/>
                  </a:cubicBezTo>
                  <a:lnTo>
                    <a:pt x="7002" y="2751"/>
                  </a:lnTo>
                  <a:lnTo>
                    <a:pt x="6633" y="9347"/>
                  </a:lnTo>
                  <a:cubicBezTo>
                    <a:pt x="6621" y="9550"/>
                    <a:pt x="6454" y="9704"/>
                    <a:pt x="6252" y="9704"/>
                  </a:cubicBezTo>
                  <a:lnTo>
                    <a:pt x="5156" y="9704"/>
                  </a:lnTo>
                  <a:cubicBezTo>
                    <a:pt x="5085" y="9704"/>
                    <a:pt x="5013" y="9752"/>
                    <a:pt x="5013" y="9847"/>
                  </a:cubicBezTo>
                  <a:cubicBezTo>
                    <a:pt x="5013" y="9942"/>
                    <a:pt x="5073" y="10002"/>
                    <a:pt x="5156" y="10002"/>
                  </a:cubicBezTo>
                  <a:lnTo>
                    <a:pt x="6252" y="10002"/>
                  </a:lnTo>
                  <a:cubicBezTo>
                    <a:pt x="6609" y="10002"/>
                    <a:pt x="6906" y="9716"/>
                    <a:pt x="6918" y="9359"/>
                  </a:cubicBezTo>
                  <a:lnTo>
                    <a:pt x="7287" y="2751"/>
                  </a:lnTo>
                  <a:lnTo>
                    <a:pt x="7704" y="2751"/>
                  </a:lnTo>
                  <a:cubicBezTo>
                    <a:pt x="8038" y="2751"/>
                    <a:pt x="8299" y="2477"/>
                    <a:pt x="8299" y="2156"/>
                  </a:cubicBezTo>
                  <a:cubicBezTo>
                    <a:pt x="8288" y="1822"/>
                    <a:pt x="8014" y="1560"/>
                    <a:pt x="7692" y="1560"/>
                  </a:cubicBezTo>
                  <a:lnTo>
                    <a:pt x="7145" y="1560"/>
                  </a:lnTo>
                  <a:cubicBezTo>
                    <a:pt x="6906" y="1108"/>
                    <a:pt x="6442" y="810"/>
                    <a:pt x="5918" y="810"/>
                  </a:cubicBezTo>
                  <a:lnTo>
                    <a:pt x="5132" y="810"/>
                  </a:lnTo>
                  <a:cubicBezTo>
                    <a:pt x="5073" y="346"/>
                    <a:pt x="4668" y="1"/>
                    <a:pt x="41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3" name="Google Shape;9853;p58"/>
            <p:cNvSpPr/>
            <p:nvPr/>
          </p:nvSpPr>
          <p:spPr>
            <a:xfrm>
              <a:off x="6539750" y="2414860"/>
              <a:ext cx="26484" cy="162236"/>
            </a:xfrm>
            <a:custGeom>
              <a:avLst/>
              <a:gdLst/>
              <a:ahLst/>
              <a:cxnLst/>
              <a:rect l="l" t="t" r="r" b="b"/>
              <a:pathLst>
                <a:path w="834" h="5109" extrusionOk="0">
                  <a:moveTo>
                    <a:pt x="405" y="286"/>
                  </a:moveTo>
                  <a:cubicBezTo>
                    <a:pt x="477" y="298"/>
                    <a:pt x="536" y="346"/>
                    <a:pt x="536" y="417"/>
                  </a:cubicBezTo>
                  <a:lnTo>
                    <a:pt x="536" y="4691"/>
                  </a:lnTo>
                  <a:cubicBezTo>
                    <a:pt x="536" y="4763"/>
                    <a:pt x="477" y="4822"/>
                    <a:pt x="405" y="4822"/>
                  </a:cubicBezTo>
                  <a:cubicBezTo>
                    <a:pt x="334" y="4822"/>
                    <a:pt x="274" y="4763"/>
                    <a:pt x="274" y="4691"/>
                  </a:cubicBezTo>
                  <a:lnTo>
                    <a:pt x="274" y="417"/>
                  </a:lnTo>
                  <a:cubicBezTo>
                    <a:pt x="274" y="346"/>
                    <a:pt x="334" y="286"/>
                    <a:pt x="405" y="286"/>
                  </a:cubicBezTo>
                  <a:close/>
                  <a:moveTo>
                    <a:pt x="417" y="0"/>
                  </a:moveTo>
                  <a:cubicBezTo>
                    <a:pt x="179" y="0"/>
                    <a:pt x="0" y="191"/>
                    <a:pt x="0" y="417"/>
                  </a:cubicBezTo>
                  <a:lnTo>
                    <a:pt x="0" y="4691"/>
                  </a:lnTo>
                  <a:cubicBezTo>
                    <a:pt x="0" y="4930"/>
                    <a:pt x="203" y="5108"/>
                    <a:pt x="417" y="5108"/>
                  </a:cubicBezTo>
                  <a:cubicBezTo>
                    <a:pt x="655" y="5108"/>
                    <a:pt x="834" y="4918"/>
                    <a:pt x="834" y="4691"/>
                  </a:cubicBezTo>
                  <a:lnTo>
                    <a:pt x="834" y="417"/>
                  </a:lnTo>
                  <a:cubicBezTo>
                    <a:pt x="834" y="191"/>
                    <a:pt x="64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4" name="Google Shape;9854;p58"/>
            <p:cNvSpPr/>
            <p:nvPr/>
          </p:nvSpPr>
          <p:spPr>
            <a:xfrm>
              <a:off x="6590018" y="2414479"/>
              <a:ext cx="30294" cy="162967"/>
            </a:xfrm>
            <a:custGeom>
              <a:avLst/>
              <a:gdLst/>
              <a:ahLst/>
              <a:cxnLst/>
              <a:rect l="l" t="t" r="r" b="b"/>
              <a:pathLst>
                <a:path w="954" h="5132" extrusionOk="0">
                  <a:moveTo>
                    <a:pt x="537" y="0"/>
                  </a:moveTo>
                  <a:cubicBezTo>
                    <a:pt x="311" y="0"/>
                    <a:pt x="120" y="179"/>
                    <a:pt x="120" y="417"/>
                  </a:cubicBezTo>
                  <a:lnTo>
                    <a:pt x="1" y="4691"/>
                  </a:lnTo>
                  <a:cubicBezTo>
                    <a:pt x="1" y="4811"/>
                    <a:pt x="49" y="4906"/>
                    <a:pt x="120" y="5001"/>
                  </a:cubicBezTo>
                  <a:cubicBezTo>
                    <a:pt x="191" y="5084"/>
                    <a:pt x="311" y="5132"/>
                    <a:pt x="418" y="5132"/>
                  </a:cubicBezTo>
                  <a:cubicBezTo>
                    <a:pt x="644" y="5132"/>
                    <a:pt x="834" y="4953"/>
                    <a:pt x="834" y="4715"/>
                  </a:cubicBezTo>
                  <a:lnTo>
                    <a:pt x="846" y="4025"/>
                  </a:lnTo>
                  <a:cubicBezTo>
                    <a:pt x="846" y="3953"/>
                    <a:pt x="787" y="3882"/>
                    <a:pt x="703" y="3882"/>
                  </a:cubicBezTo>
                  <a:cubicBezTo>
                    <a:pt x="620" y="3882"/>
                    <a:pt x="549" y="3941"/>
                    <a:pt x="549" y="4025"/>
                  </a:cubicBezTo>
                  <a:lnTo>
                    <a:pt x="537" y="4715"/>
                  </a:lnTo>
                  <a:cubicBezTo>
                    <a:pt x="537" y="4787"/>
                    <a:pt x="477" y="4834"/>
                    <a:pt x="406" y="4834"/>
                  </a:cubicBezTo>
                  <a:cubicBezTo>
                    <a:pt x="370" y="4834"/>
                    <a:pt x="322" y="4822"/>
                    <a:pt x="311" y="4787"/>
                  </a:cubicBezTo>
                  <a:cubicBezTo>
                    <a:pt x="287" y="4763"/>
                    <a:pt x="263" y="4727"/>
                    <a:pt x="287" y="4703"/>
                  </a:cubicBezTo>
                  <a:lnTo>
                    <a:pt x="406" y="429"/>
                  </a:lnTo>
                  <a:cubicBezTo>
                    <a:pt x="406" y="358"/>
                    <a:pt x="465" y="310"/>
                    <a:pt x="537" y="310"/>
                  </a:cubicBezTo>
                  <a:cubicBezTo>
                    <a:pt x="561" y="310"/>
                    <a:pt x="608" y="322"/>
                    <a:pt x="620" y="358"/>
                  </a:cubicBezTo>
                  <a:cubicBezTo>
                    <a:pt x="656" y="381"/>
                    <a:pt x="668" y="417"/>
                    <a:pt x="656" y="441"/>
                  </a:cubicBezTo>
                  <a:lnTo>
                    <a:pt x="561" y="3358"/>
                  </a:lnTo>
                  <a:cubicBezTo>
                    <a:pt x="561" y="3441"/>
                    <a:pt x="644" y="3513"/>
                    <a:pt x="715" y="3513"/>
                  </a:cubicBezTo>
                  <a:cubicBezTo>
                    <a:pt x="787" y="3513"/>
                    <a:pt x="858" y="3453"/>
                    <a:pt x="858" y="3358"/>
                  </a:cubicBezTo>
                  <a:lnTo>
                    <a:pt x="953" y="441"/>
                  </a:lnTo>
                  <a:cubicBezTo>
                    <a:pt x="953" y="322"/>
                    <a:pt x="906" y="227"/>
                    <a:pt x="834" y="131"/>
                  </a:cubicBezTo>
                  <a:cubicBezTo>
                    <a:pt x="763" y="36"/>
                    <a:pt x="644" y="0"/>
                    <a:pt x="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5" name="Google Shape;9855;p58"/>
            <p:cNvSpPr/>
            <p:nvPr/>
          </p:nvSpPr>
          <p:spPr>
            <a:xfrm>
              <a:off x="6486052" y="2414860"/>
              <a:ext cx="30294" cy="162967"/>
            </a:xfrm>
            <a:custGeom>
              <a:avLst/>
              <a:gdLst/>
              <a:ahLst/>
              <a:cxnLst/>
              <a:rect l="l" t="t" r="r" b="b"/>
              <a:pathLst>
                <a:path w="954" h="5132" extrusionOk="0">
                  <a:moveTo>
                    <a:pt x="406" y="298"/>
                  </a:moveTo>
                  <a:cubicBezTo>
                    <a:pt x="477" y="298"/>
                    <a:pt x="537" y="358"/>
                    <a:pt x="537" y="417"/>
                  </a:cubicBezTo>
                  <a:lnTo>
                    <a:pt x="656" y="4691"/>
                  </a:lnTo>
                  <a:cubicBezTo>
                    <a:pt x="668" y="4715"/>
                    <a:pt x="656" y="4763"/>
                    <a:pt x="620" y="4775"/>
                  </a:cubicBezTo>
                  <a:cubicBezTo>
                    <a:pt x="596" y="4810"/>
                    <a:pt x="560" y="4822"/>
                    <a:pt x="537" y="4822"/>
                  </a:cubicBezTo>
                  <a:cubicBezTo>
                    <a:pt x="465" y="4822"/>
                    <a:pt x="406" y="4763"/>
                    <a:pt x="406" y="4703"/>
                  </a:cubicBezTo>
                  <a:lnTo>
                    <a:pt x="287" y="429"/>
                  </a:lnTo>
                  <a:cubicBezTo>
                    <a:pt x="287" y="405"/>
                    <a:pt x="298" y="358"/>
                    <a:pt x="310" y="346"/>
                  </a:cubicBezTo>
                  <a:cubicBezTo>
                    <a:pt x="346" y="310"/>
                    <a:pt x="370" y="298"/>
                    <a:pt x="406" y="298"/>
                  </a:cubicBezTo>
                  <a:close/>
                  <a:moveTo>
                    <a:pt x="417" y="0"/>
                  </a:moveTo>
                  <a:cubicBezTo>
                    <a:pt x="298" y="0"/>
                    <a:pt x="191" y="48"/>
                    <a:pt x="120" y="131"/>
                  </a:cubicBezTo>
                  <a:cubicBezTo>
                    <a:pt x="48" y="227"/>
                    <a:pt x="1" y="334"/>
                    <a:pt x="1" y="453"/>
                  </a:cubicBezTo>
                  <a:lnTo>
                    <a:pt x="120" y="4715"/>
                  </a:lnTo>
                  <a:cubicBezTo>
                    <a:pt x="120" y="4941"/>
                    <a:pt x="310" y="5132"/>
                    <a:pt x="537" y="5132"/>
                  </a:cubicBezTo>
                  <a:cubicBezTo>
                    <a:pt x="656" y="5132"/>
                    <a:pt x="763" y="5096"/>
                    <a:pt x="834" y="5001"/>
                  </a:cubicBezTo>
                  <a:cubicBezTo>
                    <a:pt x="906" y="4918"/>
                    <a:pt x="953" y="4810"/>
                    <a:pt x="953" y="4691"/>
                  </a:cubicBezTo>
                  <a:lnTo>
                    <a:pt x="834" y="417"/>
                  </a:lnTo>
                  <a:cubicBezTo>
                    <a:pt x="834" y="179"/>
                    <a:pt x="644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56" name="Google Shape;9856;p58"/>
          <p:cNvGrpSpPr/>
          <p:nvPr/>
        </p:nvGrpSpPr>
        <p:grpSpPr>
          <a:xfrm>
            <a:off x="6870193" y="2295620"/>
            <a:ext cx="360356" cy="343462"/>
            <a:chOff x="6870193" y="2295620"/>
            <a:chExt cx="360356" cy="343462"/>
          </a:xfrm>
        </p:grpSpPr>
        <p:sp>
          <p:nvSpPr>
            <p:cNvPr id="9857" name="Google Shape;9857;p58"/>
            <p:cNvSpPr/>
            <p:nvPr/>
          </p:nvSpPr>
          <p:spPr>
            <a:xfrm>
              <a:off x="6870193" y="2295620"/>
              <a:ext cx="360356" cy="343462"/>
            </a:xfrm>
            <a:custGeom>
              <a:avLst/>
              <a:gdLst/>
              <a:ahLst/>
              <a:cxnLst/>
              <a:rect l="l" t="t" r="r" b="b"/>
              <a:pathLst>
                <a:path w="11348" h="10816" extrusionOk="0">
                  <a:moveTo>
                    <a:pt x="6027" y="0"/>
                  </a:moveTo>
                  <a:cubicBezTo>
                    <a:pt x="5700" y="0"/>
                    <a:pt x="5448" y="70"/>
                    <a:pt x="5430" y="76"/>
                  </a:cubicBezTo>
                  <a:cubicBezTo>
                    <a:pt x="5358" y="112"/>
                    <a:pt x="5299" y="172"/>
                    <a:pt x="5299" y="255"/>
                  </a:cubicBezTo>
                  <a:lnTo>
                    <a:pt x="5299" y="2731"/>
                  </a:lnTo>
                  <a:lnTo>
                    <a:pt x="3501" y="5017"/>
                  </a:lnTo>
                  <a:cubicBezTo>
                    <a:pt x="3441" y="4767"/>
                    <a:pt x="3215" y="4577"/>
                    <a:pt x="2929" y="4577"/>
                  </a:cubicBezTo>
                  <a:lnTo>
                    <a:pt x="584" y="4577"/>
                  </a:lnTo>
                  <a:cubicBezTo>
                    <a:pt x="274" y="4577"/>
                    <a:pt x="1" y="4827"/>
                    <a:pt x="1" y="5160"/>
                  </a:cubicBezTo>
                  <a:lnTo>
                    <a:pt x="1" y="5732"/>
                  </a:lnTo>
                  <a:cubicBezTo>
                    <a:pt x="1" y="5839"/>
                    <a:pt x="96" y="5910"/>
                    <a:pt x="179" y="5910"/>
                  </a:cubicBezTo>
                  <a:cubicBezTo>
                    <a:pt x="274" y="5910"/>
                    <a:pt x="358" y="5827"/>
                    <a:pt x="358" y="5732"/>
                  </a:cubicBezTo>
                  <a:lnTo>
                    <a:pt x="358" y="5160"/>
                  </a:lnTo>
                  <a:cubicBezTo>
                    <a:pt x="358" y="5041"/>
                    <a:pt x="453" y="4946"/>
                    <a:pt x="572" y="4946"/>
                  </a:cubicBezTo>
                  <a:lnTo>
                    <a:pt x="2918" y="4946"/>
                  </a:lnTo>
                  <a:cubicBezTo>
                    <a:pt x="3037" y="4946"/>
                    <a:pt x="3132" y="5041"/>
                    <a:pt x="3132" y="5160"/>
                  </a:cubicBezTo>
                  <a:lnTo>
                    <a:pt x="3132" y="10232"/>
                  </a:lnTo>
                  <a:cubicBezTo>
                    <a:pt x="3132" y="10351"/>
                    <a:pt x="3037" y="10435"/>
                    <a:pt x="2918" y="10435"/>
                  </a:cubicBezTo>
                  <a:lnTo>
                    <a:pt x="572" y="10435"/>
                  </a:lnTo>
                  <a:cubicBezTo>
                    <a:pt x="453" y="10435"/>
                    <a:pt x="358" y="10351"/>
                    <a:pt x="358" y="10232"/>
                  </a:cubicBezTo>
                  <a:lnTo>
                    <a:pt x="358" y="6506"/>
                  </a:lnTo>
                  <a:cubicBezTo>
                    <a:pt x="358" y="6410"/>
                    <a:pt x="274" y="6327"/>
                    <a:pt x="179" y="6327"/>
                  </a:cubicBezTo>
                  <a:cubicBezTo>
                    <a:pt x="72" y="6327"/>
                    <a:pt x="1" y="6422"/>
                    <a:pt x="1" y="6506"/>
                  </a:cubicBezTo>
                  <a:lnTo>
                    <a:pt x="1" y="10232"/>
                  </a:lnTo>
                  <a:cubicBezTo>
                    <a:pt x="1" y="10542"/>
                    <a:pt x="251" y="10816"/>
                    <a:pt x="584" y="10816"/>
                  </a:cubicBezTo>
                  <a:lnTo>
                    <a:pt x="2929" y="10816"/>
                  </a:lnTo>
                  <a:cubicBezTo>
                    <a:pt x="3251" y="10816"/>
                    <a:pt x="3513" y="10554"/>
                    <a:pt x="3513" y="10232"/>
                  </a:cubicBezTo>
                  <a:lnTo>
                    <a:pt x="3513" y="9744"/>
                  </a:lnTo>
                  <a:lnTo>
                    <a:pt x="4418" y="10185"/>
                  </a:lnTo>
                  <a:cubicBezTo>
                    <a:pt x="4453" y="10197"/>
                    <a:pt x="4477" y="10197"/>
                    <a:pt x="4513" y="10197"/>
                  </a:cubicBezTo>
                  <a:lnTo>
                    <a:pt x="8025" y="10197"/>
                  </a:lnTo>
                  <a:cubicBezTo>
                    <a:pt x="8132" y="10197"/>
                    <a:pt x="8204" y="10113"/>
                    <a:pt x="8204" y="10018"/>
                  </a:cubicBezTo>
                  <a:cubicBezTo>
                    <a:pt x="8204" y="9923"/>
                    <a:pt x="8109" y="9839"/>
                    <a:pt x="8025" y="9839"/>
                  </a:cubicBezTo>
                  <a:lnTo>
                    <a:pt x="4561" y="9839"/>
                  </a:lnTo>
                  <a:lnTo>
                    <a:pt x="3525" y="9327"/>
                  </a:lnTo>
                  <a:lnTo>
                    <a:pt x="3525" y="5589"/>
                  </a:lnTo>
                  <a:lnTo>
                    <a:pt x="5644" y="2910"/>
                  </a:lnTo>
                  <a:cubicBezTo>
                    <a:pt x="5668" y="2874"/>
                    <a:pt x="5692" y="2839"/>
                    <a:pt x="5692" y="2791"/>
                  </a:cubicBezTo>
                  <a:lnTo>
                    <a:pt x="5692" y="398"/>
                  </a:lnTo>
                  <a:cubicBezTo>
                    <a:pt x="5787" y="379"/>
                    <a:pt x="5924" y="358"/>
                    <a:pt x="6080" y="358"/>
                  </a:cubicBezTo>
                  <a:cubicBezTo>
                    <a:pt x="6313" y="358"/>
                    <a:pt x="6587" y="405"/>
                    <a:pt x="6823" y="576"/>
                  </a:cubicBezTo>
                  <a:cubicBezTo>
                    <a:pt x="7132" y="791"/>
                    <a:pt x="7275" y="1207"/>
                    <a:pt x="7275" y="1803"/>
                  </a:cubicBezTo>
                  <a:lnTo>
                    <a:pt x="7275" y="3755"/>
                  </a:lnTo>
                  <a:cubicBezTo>
                    <a:pt x="7275" y="3862"/>
                    <a:pt x="7370" y="3934"/>
                    <a:pt x="7454" y="3934"/>
                  </a:cubicBezTo>
                  <a:lnTo>
                    <a:pt x="10395" y="3934"/>
                  </a:lnTo>
                  <a:cubicBezTo>
                    <a:pt x="10716" y="3934"/>
                    <a:pt x="10990" y="4208"/>
                    <a:pt x="10990" y="4529"/>
                  </a:cubicBezTo>
                  <a:cubicBezTo>
                    <a:pt x="10990" y="4863"/>
                    <a:pt x="10716" y="5125"/>
                    <a:pt x="10395" y="5125"/>
                  </a:cubicBezTo>
                  <a:lnTo>
                    <a:pt x="8823" y="5125"/>
                  </a:lnTo>
                  <a:cubicBezTo>
                    <a:pt x="8728" y="5125"/>
                    <a:pt x="8644" y="5220"/>
                    <a:pt x="8644" y="5303"/>
                  </a:cubicBezTo>
                  <a:cubicBezTo>
                    <a:pt x="8644" y="5410"/>
                    <a:pt x="8740" y="5482"/>
                    <a:pt x="8823" y="5482"/>
                  </a:cubicBezTo>
                  <a:lnTo>
                    <a:pt x="10228" y="5482"/>
                  </a:lnTo>
                  <a:cubicBezTo>
                    <a:pt x="10538" y="5494"/>
                    <a:pt x="10788" y="5767"/>
                    <a:pt x="10788" y="6077"/>
                  </a:cubicBezTo>
                  <a:cubicBezTo>
                    <a:pt x="10788" y="6399"/>
                    <a:pt x="10526" y="6672"/>
                    <a:pt x="10192" y="6672"/>
                  </a:cubicBezTo>
                  <a:lnTo>
                    <a:pt x="8823" y="6672"/>
                  </a:lnTo>
                  <a:cubicBezTo>
                    <a:pt x="8728" y="6672"/>
                    <a:pt x="8644" y="6768"/>
                    <a:pt x="8644" y="6851"/>
                  </a:cubicBezTo>
                  <a:cubicBezTo>
                    <a:pt x="8644" y="6958"/>
                    <a:pt x="8740" y="7030"/>
                    <a:pt x="8823" y="7030"/>
                  </a:cubicBezTo>
                  <a:lnTo>
                    <a:pt x="10073" y="7030"/>
                  </a:lnTo>
                  <a:cubicBezTo>
                    <a:pt x="10371" y="7053"/>
                    <a:pt x="10597" y="7327"/>
                    <a:pt x="10597" y="7625"/>
                  </a:cubicBezTo>
                  <a:cubicBezTo>
                    <a:pt x="10597" y="7946"/>
                    <a:pt x="10335" y="8220"/>
                    <a:pt x="10002" y="8220"/>
                  </a:cubicBezTo>
                  <a:lnTo>
                    <a:pt x="8823" y="8220"/>
                  </a:lnTo>
                  <a:cubicBezTo>
                    <a:pt x="8728" y="8220"/>
                    <a:pt x="8644" y="8315"/>
                    <a:pt x="8644" y="8399"/>
                  </a:cubicBezTo>
                  <a:cubicBezTo>
                    <a:pt x="8644" y="8506"/>
                    <a:pt x="8740" y="8577"/>
                    <a:pt x="8823" y="8577"/>
                  </a:cubicBezTo>
                  <a:lnTo>
                    <a:pt x="9883" y="8577"/>
                  </a:lnTo>
                  <a:cubicBezTo>
                    <a:pt x="9895" y="8577"/>
                    <a:pt x="9918" y="8589"/>
                    <a:pt x="9918" y="8589"/>
                  </a:cubicBezTo>
                  <a:cubicBezTo>
                    <a:pt x="10192" y="8649"/>
                    <a:pt x="10407" y="8887"/>
                    <a:pt x="10407" y="9185"/>
                  </a:cubicBezTo>
                  <a:cubicBezTo>
                    <a:pt x="10407" y="9518"/>
                    <a:pt x="10133" y="9780"/>
                    <a:pt x="9811" y="9780"/>
                  </a:cubicBezTo>
                  <a:lnTo>
                    <a:pt x="8823" y="9780"/>
                  </a:lnTo>
                  <a:cubicBezTo>
                    <a:pt x="8728" y="9780"/>
                    <a:pt x="8644" y="9875"/>
                    <a:pt x="8644" y="9958"/>
                  </a:cubicBezTo>
                  <a:cubicBezTo>
                    <a:pt x="8644" y="10066"/>
                    <a:pt x="8740" y="10137"/>
                    <a:pt x="8823" y="10137"/>
                  </a:cubicBezTo>
                  <a:lnTo>
                    <a:pt x="9811" y="10137"/>
                  </a:lnTo>
                  <a:cubicBezTo>
                    <a:pt x="10347" y="10137"/>
                    <a:pt x="10776" y="9708"/>
                    <a:pt x="10776" y="9173"/>
                  </a:cubicBezTo>
                  <a:cubicBezTo>
                    <a:pt x="10776" y="8887"/>
                    <a:pt x="10657" y="8637"/>
                    <a:pt x="10466" y="8458"/>
                  </a:cubicBezTo>
                  <a:cubicBezTo>
                    <a:pt x="10764" y="8292"/>
                    <a:pt x="10966" y="7982"/>
                    <a:pt x="10966" y="7613"/>
                  </a:cubicBezTo>
                  <a:cubicBezTo>
                    <a:pt x="10966" y="7327"/>
                    <a:pt x="10847" y="7077"/>
                    <a:pt x="10657" y="6899"/>
                  </a:cubicBezTo>
                  <a:cubicBezTo>
                    <a:pt x="10954" y="6803"/>
                    <a:pt x="11145" y="6482"/>
                    <a:pt x="11145" y="6113"/>
                  </a:cubicBezTo>
                  <a:cubicBezTo>
                    <a:pt x="11145" y="5827"/>
                    <a:pt x="11026" y="5577"/>
                    <a:pt x="10835" y="5398"/>
                  </a:cubicBezTo>
                  <a:cubicBezTo>
                    <a:pt x="11133" y="5232"/>
                    <a:pt x="11347" y="4922"/>
                    <a:pt x="11347" y="4541"/>
                  </a:cubicBezTo>
                  <a:cubicBezTo>
                    <a:pt x="11347" y="4005"/>
                    <a:pt x="10907" y="3577"/>
                    <a:pt x="10371" y="3577"/>
                  </a:cubicBezTo>
                  <a:lnTo>
                    <a:pt x="7621" y="3577"/>
                  </a:lnTo>
                  <a:lnTo>
                    <a:pt x="7621" y="1827"/>
                  </a:lnTo>
                  <a:cubicBezTo>
                    <a:pt x="7621" y="1112"/>
                    <a:pt x="7418" y="588"/>
                    <a:pt x="7013" y="291"/>
                  </a:cubicBezTo>
                  <a:cubicBezTo>
                    <a:pt x="6703" y="61"/>
                    <a:pt x="6332" y="0"/>
                    <a:pt x="60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8" name="Google Shape;9858;p58"/>
            <p:cNvSpPr/>
            <p:nvPr/>
          </p:nvSpPr>
          <p:spPr>
            <a:xfrm>
              <a:off x="6920842" y="2577064"/>
              <a:ext cx="36709" cy="36677"/>
            </a:xfrm>
            <a:custGeom>
              <a:avLst/>
              <a:gdLst/>
              <a:ahLst/>
              <a:cxnLst/>
              <a:rect l="l" t="t" r="r" b="b"/>
              <a:pathLst>
                <a:path w="1156" h="1155" extrusionOk="0">
                  <a:moveTo>
                    <a:pt x="584" y="369"/>
                  </a:moveTo>
                  <a:cubicBezTo>
                    <a:pt x="703" y="369"/>
                    <a:pt x="787" y="464"/>
                    <a:pt x="787" y="584"/>
                  </a:cubicBezTo>
                  <a:cubicBezTo>
                    <a:pt x="787" y="703"/>
                    <a:pt x="703" y="786"/>
                    <a:pt x="584" y="786"/>
                  </a:cubicBezTo>
                  <a:cubicBezTo>
                    <a:pt x="465" y="786"/>
                    <a:pt x="370" y="703"/>
                    <a:pt x="370" y="584"/>
                  </a:cubicBezTo>
                  <a:cubicBezTo>
                    <a:pt x="370" y="464"/>
                    <a:pt x="453" y="369"/>
                    <a:pt x="584" y="369"/>
                  </a:cubicBezTo>
                  <a:close/>
                  <a:moveTo>
                    <a:pt x="584" y="0"/>
                  </a:moveTo>
                  <a:cubicBezTo>
                    <a:pt x="263" y="0"/>
                    <a:pt x="1" y="250"/>
                    <a:pt x="1" y="584"/>
                  </a:cubicBezTo>
                  <a:cubicBezTo>
                    <a:pt x="1" y="905"/>
                    <a:pt x="251" y="1155"/>
                    <a:pt x="584" y="1155"/>
                  </a:cubicBezTo>
                  <a:cubicBezTo>
                    <a:pt x="906" y="1155"/>
                    <a:pt x="1156" y="905"/>
                    <a:pt x="1156" y="584"/>
                  </a:cubicBezTo>
                  <a:cubicBezTo>
                    <a:pt x="1156" y="250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59" name="Google Shape;9859;p58"/>
          <p:cNvGrpSpPr/>
          <p:nvPr/>
        </p:nvGrpSpPr>
        <p:grpSpPr>
          <a:xfrm>
            <a:off x="7441465" y="2302860"/>
            <a:ext cx="342192" cy="327140"/>
            <a:chOff x="7441465" y="2302860"/>
            <a:chExt cx="342192" cy="327140"/>
          </a:xfrm>
        </p:grpSpPr>
        <p:sp>
          <p:nvSpPr>
            <p:cNvPr id="9860" name="Google Shape;9860;p58"/>
            <p:cNvSpPr/>
            <p:nvPr/>
          </p:nvSpPr>
          <p:spPr>
            <a:xfrm>
              <a:off x="7441465" y="2337727"/>
              <a:ext cx="299862" cy="292273"/>
            </a:xfrm>
            <a:custGeom>
              <a:avLst/>
              <a:gdLst/>
              <a:ahLst/>
              <a:cxnLst/>
              <a:rect l="l" t="t" r="r" b="b"/>
              <a:pathLst>
                <a:path w="9443" h="9204" extrusionOk="0">
                  <a:moveTo>
                    <a:pt x="8169" y="0"/>
                  </a:moveTo>
                  <a:cubicBezTo>
                    <a:pt x="7835" y="0"/>
                    <a:pt x="7514" y="131"/>
                    <a:pt x="7276" y="370"/>
                  </a:cubicBezTo>
                  <a:lnTo>
                    <a:pt x="6406" y="1251"/>
                  </a:lnTo>
                  <a:cubicBezTo>
                    <a:pt x="6347" y="1310"/>
                    <a:pt x="6347" y="1417"/>
                    <a:pt x="6406" y="1489"/>
                  </a:cubicBezTo>
                  <a:cubicBezTo>
                    <a:pt x="6436" y="1518"/>
                    <a:pt x="6475" y="1533"/>
                    <a:pt x="6517" y="1533"/>
                  </a:cubicBezTo>
                  <a:cubicBezTo>
                    <a:pt x="6558" y="1533"/>
                    <a:pt x="6603" y="1518"/>
                    <a:pt x="6645" y="1489"/>
                  </a:cubicBezTo>
                  <a:lnTo>
                    <a:pt x="7514" y="608"/>
                  </a:lnTo>
                  <a:cubicBezTo>
                    <a:pt x="7692" y="429"/>
                    <a:pt x="7930" y="346"/>
                    <a:pt x="8169" y="346"/>
                  </a:cubicBezTo>
                  <a:cubicBezTo>
                    <a:pt x="8430" y="346"/>
                    <a:pt x="8645" y="453"/>
                    <a:pt x="8823" y="608"/>
                  </a:cubicBezTo>
                  <a:cubicBezTo>
                    <a:pt x="9014" y="786"/>
                    <a:pt x="9097" y="1024"/>
                    <a:pt x="9097" y="1263"/>
                  </a:cubicBezTo>
                  <a:cubicBezTo>
                    <a:pt x="9097" y="1501"/>
                    <a:pt x="8990" y="1739"/>
                    <a:pt x="8823" y="1917"/>
                  </a:cubicBezTo>
                  <a:lnTo>
                    <a:pt x="7621" y="3132"/>
                  </a:lnTo>
                  <a:cubicBezTo>
                    <a:pt x="7502" y="2834"/>
                    <a:pt x="7323" y="2560"/>
                    <a:pt x="7109" y="2334"/>
                  </a:cubicBezTo>
                  <a:cubicBezTo>
                    <a:pt x="6639" y="1870"/>
                    <a:pt x="6022" y="1638"/>
                    <a:pt x="5408" y="1638"/>
                  </a:cubicBezTo>
                  <a:cubicBezTo>
                    <a:pt x="4793" y="1638"/>
                    <a:pt x="4180" y="1870"/>
                    <a:pt x="3716" y="2334"/>
                  </a:cubicBezTo>
                  <a:lnTo>
                    <a:pt x="941" y="5108"/>
                  </a:lnTo>
                  <a:cubicBezTo>
                    <a:pt x="1" y="6049"/>
                    <a:pt x="1" y="7561"/>
                    <a:pt x="941" y="8502"/>
                  </a:cubicBezTo>
                  <a:cubicBezTo>
                    <a:pt x="1406" y="8966"/>
                    <a:pt x="2025" y="9204"/>
                    <a:pt x="2644" y="9204"/>
                  </a:cubicBezTo>
                  <a:cubicBezTo>
                    <a:pt x="3251" y="9204"/>
                    <a:pt x="3870" y="8966"/>
                    <a:pt x="4335" y="8502"/>
                  </a:cubicBezTo>
                  <a:lnTo>
                    <a:pt x="5811" y="7025"/>
                  </a:lnTo>
                  <a:cubicBezTo>
                    <a:pt x="5871" y="6966"/>
                    <a:pt x="5871" y="6858"/>
                    <a:pt x="5811" y="6787"/>
                  </a:cubicBezTo>
                  <a:cubicBezTo>
                    <a:pt x="5783" y="6778"/>
                    <a:pt x="5750" y="6772"/>
                    <a:pt x="5716" y="6772"/>
                  </a:cubicBezTo>
                  <a:cubicBezTo>
                    <a:pt x="5662" y="6772"/>
                    <a:pt x="5605" y="6786"/>
                    <a:pt x="5561" y="6823"/>
                  </a:cubicBezTo>
                  <a:lnTo>
                    <a:pt x="4085" y="8299"/>
                  </a:lnTo>
                  <a:cubicBezTo>
                    <a:pt x="3692" y="8680"/>
                    <a:pt x="3180" y="8906"/>
                    <a:pt x="2620" y="8906"/>
                  </a:cubicBezTo>
                  <a:cubicBezTo>
                    <a:pt x="2073" y="8906"/>
                    <a:pt x="1549" y="8692"/>
                    <a:pt x="1168" y="8299"/>
                  </a:cubicBezTo>
                  <a:cubicBezTo>
                    <a:pt x="358" y="7489"/>
                    <a:pt x="358" y="6180"/>
                    <a:pt x="1168" y="5358"/>
                  </a:cubicBezTo>
                  <a:lnTo>
                    <a:pt x="3930" y="2596"/>
                  </a:lnTo>
                  <a:cubicBezTo>
                    <a:pt x="4323" y="2203"/>
                    <a:pt x="4847" y="1977"/>
                    <a:pt x="5394" y="1977"/>
                  </a:cubicBezTo>
                  <a:cubicBezTo>
                    <a:pt x="5942" y="1977"/>
                    <a:pt x="6466" y="2191"/>
                    <a:pt x="6847" y="2596"/>
                  </a:cubicBezTo>
                  <a:cubicBezTo>
                    <a:pt x="7073" y="2822"/>
                    <a:pt x="7252" y="3096"/>
                    <a:pt x="7359" y="3394"/>
                  </a:cubicBezTo>
                  <a:lnTo>
                    <a:pt x="6049" y="4703"/>
                  </a:lnTo>
                  <a:cubicBezTo>
                    <a:pt x="5871" y="4882"/>
                    <a:pt x="5633" y="4977"/>
                    <a:pt x="5394" y="4977"/>
                  </a:cubicBezTo>
                  <a:cubicBezTo>
                    <a:pt x="5156" y="4977"/>
                    <a:pt x="4918" y="4870"/>
                    <a:pt x="4740" y="4703"/>
                  </a:cubicBezTo>
                  <a:cubicBezTo>
                    <a:pt x="4644" y="4620"/>
                    <a:pt x="4573" y="4513"/>
                    <a:pt x="4525" y="4394"/>
                  </a:cubicBezTo>
                  <a:cubicBezTo>
                    <a:pt x="4507" y="4321"/>
                    <a:pt x="4440" y="4290"/>
                    <a:pt x="4378" y="4290"/>
                  </a:cubicBezTo>
                  <a:cubicBezTo>
                    <a:pt x="4359" y="4290"/>
                    <a:pt x="4340" y="4293"/>
                    <a:pt x="4323" y="4299"/>
                  </a:cubicBezTo>
                  <a:cubicBezTo>
                    <a:pt x="4239" y="4334"/>
                    <a:pt x="4204" y="4441"/>
                    <a:pt x="4228" y="4513"/>
                  </a:cubicBezTo>
                  <a:cubicBezTo>
                    <a:pt x="4287" y="4680"/>
                    <a:pt x="4394" y="4811"/>
                    <a:pt x="4513" y="4930"/>
                  </a:cubicBezTo>
                  <a:cubicBezTo>
                    <a:pt x="4751" y="5168"/>
                    <a:pt x="5061" y="5299"/>
                    <a:pt x="5406" y="5299"/>
                  </a:cubicBezTo>
                  <a:cubicBezTo>
                    <a:pt x="5752" y="5299"/>
                    <a:pt x="6061" y="5168"/>
                    <a:pt x="6299" y="4930"/>
                  </a:cubicBezTo>
                  <a:lnTo>
                    <a:pt x="9062" y="2155"/>
                  </a:lnTo>
                  <a:cubicBezTo>
                    <a:pt x="9300" y="1917"/>
                    <a:pt x="9443" y="1608"/>
                    <a:pt x="9443" y="1263"/>
                  </a:cubicBezTo>
                  <a:cubicBezTo>
                    <a:pt x="9443" y="929"/>
                    <a:pt x="9300" y="608"/>
                    <a:pt x="9062" y="370"/>
                  </a:cubicBezTo>
                  <a:cubicBezTo>
                    <a:pt x="8823" y="131"/>
                    <a:pt x="8514" y="0"/>
                    <a:pt x="8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1" name="Google Shape;9861;p58"/>
            <p:cNvSpPr/>
            <p:nvPr/>
          </p:nvSpPr>
          <p:spPr>
            <a:xfrm>
              <a:off x="7484588" y="2302860"/>
              <a:ext cx="299069" cy="293130"/>
            </a:xfrm>
            <a:custGeom>
              <a:avLst/>
              <a:gdLst/>
              <a:ahLst/>
              <a:cxnLst/>
              <a:rect l="l" t="t" r="r" b="b"/>
              <a:pathLst>
                <a:path w="9418" h="9231" extrusionOk="0">
                  <a:moveTo>
                    <a:pt x="6805" y="0"/>
                  </a:moveTo>
                  <a:cubicBezTo>
                    <a:pt x="6191" y="0"/>
                    <a:pt x="5578" y="235"/>
                    <a:pt x="5108" y="706"/>
                  </a:cubicBezTo>
                  <a:lnTo>
                    <a:pt x="3632" y="2170"/>
                  </a:lnTo>
                  <a:cubicBezTo>
                    <a:pt x="3572" y="2230"/>
                    <a:pt x="3572" y="2337"/>
                    <a:pt x="3632" y="2408"/>
                  </a:cubicBezTo>
                  <a:cubicBezTo>
                    <a:pt x="3661" y="2438"/>
                    <a:pt x="3703" y="2453"/>
                    <a:pt x="3746" y="2453"/>
                  </a:cubicBezTo>
                  <a:cubicBezTo>
                    <a:pt x="3789" y="2453"/>
                    <a:pt x="3834" y="2438"/>
                    <a:pt x="3870" y="2408"/>
                  </a:cubicBezTo>
                  <a:lnTo>
                    <a:pt x="5346" y="944"/>
                  </a:lnTo>
                  <a:cubicBezTo>
                    <a:pt x="5745" y="539"/>
                    <a:pt x="6272" y="336"/>
                    <a:pt x="6802" y="336"/>
                  </a:cubicBezTo>
                  <a:cubicBezTo>
                    <a:pt x="7331" y="336"/>
                    <a:pt x="7864" y="539"/>
                    <a:pt x="8275" y="944"/>
                  </a:cubicBezTo>
                  <a:cubicBezTo>
                    <a:pt x="9085" y="1741"/>
                    <a:pt x="9085" y="3051"/>
                    <a:pt x="8275" y="3873"/>
                  </a:cubicBezTo>
                  <a:lnTo>
                    <a:pt x="5513" y="6635"/>
                  </a:lnTo>
                  <a:cubicBezTo>
                    <a:pt x="5120" y="7028"/>
                    <a:pt x="4596" y="7254"/>
                    <a:pt x="4048" y="7254"/>
                  </a:cubicBezTo>
                  <a:cubicBezTo>
                    <a:pt x="3501" y="7254"/>
                    <a:pt x="2977" y="7040"/>
                    <a:pt x="2596" y="6635"/>
                  </a:cubicBezTo>
                  <a:cubicBezTo>
                    <a:pt x="2370" y="6421"/>
                    <a:pt x="2191" y="6135"/>
                    <a:pt x="2084" y="5837"/>
                  </a:cubicBezTo>
                  <a:lnTo>
                    <a:pt x="3393" y="4527"/>
                  </a:lnTo>
                  <a:cubicBezTo>
                    <a:pt x="3572" y="4349"/>
                    <a:pt x="3810" y="4254"/>
                    <a:pt x="4048" y="4254"/>
                  </a:cubicBezTo>
                  <a:cubicBezTo>
                    <a:pt x="4286" y="4254"/>
                    <a:pt x="4525" y="4361"/>
                    <a:pt x="4703" y="4527"/>
                  </a:cubicBezTo>
                  <a:cubicBezTo>
                    <a:pt x="4798" y="4611"/>
                    <a:pt x="4870" y="4718"/>
                    <a:pt x="4917" y="4837"/>
                  </a:cubicBezTo>
                  <a:cubicBezTo>
                    <a:pt x="4936" y="4910"/>
                    <a:pt x="5002" y="4941"/>
                    <a:pt x="5065" y="4941"/>
                  </a:cubicBezTo>
                  <a:cubicBezTo>
                    <a:pt x="5084" y="4941"/>
                    <a:pt x="5103" y="4938"/>
                    <a:pt x="5120" y="4932"/>
                  </a:cubicBezTo>
                  <a:cubicBezTo>
                    <a:pt x="5215" y="4897"/>
                    <a:pt x="5239" y="4789"/>
                    <a:pt x="5215" y="4718"/>
                  </a:cubicBezTo>
                  <a:cubicBezTo>
                    <a:pt x="5156" y="4551"/>
                    <a:pt x="5048" y="4420"/>
                    <a:pt x="4929" y="4301"/>
                  </a:cubicBezTo>
                  <a:cubicBezTo>
                    <a:pt x="4691" y="4063"/>
                    <a:pt x="4382" y="3932"/>
                    <a:pt x="4036" y="3932"/>
                  </a:cubicBezTo>
                  <a:cubicBezTo>
                    <a:pt x="3691" y="3932"/>
                    <a:pt x="3382" y="4063"/>
                    <a:pt x="3143" y="4301"/>
                  </a:cubicBezTo>
                  <a:lnTo>
                    <a:pt x="1786" y="5659"/>
                  </a:lnTo>
                  <a:cubicBezTo>
                    <a:pt x="1762" y="5670"/>
                    <a:pt x="1738" y="5682"/>
                    <a:pt x="1727" y="5718"/>
                  </a:cubicBezTo>
                  <a:lnTo>
                    <a:pt x="369" y="7075"/>
                  </a:lnTo>
                  <a:cubicBezTo>
                    <a:pt x="131" y="7314"/>
                    <a:pt x="0" y="7623"/>
                    <a:pt x="0" y="7968"/>
                  </a:cubicBezTo>
                  <a:cubicBezTo>
                    <a:pt x="0" y="8302"/>
                    <a:pt x="131" y="8623"/>
                    <a:pt x="369" y="8861"/>
                  </a:cubicBezTo>
                  <a:cubicBezTo>
                    <a:pt x="607" y="9099"/>
                    <a:pt x="929" y="9230"/>
                    <a:pt x="1262" y="9230"/>
                  </a:cubicBezTo>
                  <a:cubicBezTo>
                    <a:pt x="1608" y="9230"/>
                    <a:pt x="1917" y="9099"/>
                    <a:pt x="2155" y="8861"/>
                  </a:cubicBezTo>
                  <a:lnTo>
                    <a:pt x="3036" y="7980"/>
                  </a:lnTo>
                  <a:cubicBezTo>
                    <a:pt x="3096" y="7921"/>
                    <a:pt x="3096" y="7814"/>
                    <a:pt x="3036" y="7742"/>
                  </a:cubicBezTo>
                  <a:cubicBezTo>
                    <a:pt x="3006" y="7712"/>
                    <a:pt x="2965" y="7697"/>
                    <a:pt x="2922" y="7697"/>
                  </a:cubicBezTo>
                  <a:cubicBezTo>
                    <a:pt x="2879" y="7697"/>
                    <a:pt x="2834" y="7712"/>
                    <a:pt x="2798" y="7742"/>
                  </a:cubicBezTo>
                  <a:lnTo>
                    <a:pt x="1917" y="8623"/>
                  </a:lnTo>
                  <a:cubicBezTo>
                    <a:pt x="1738" y="8802"/>
                    <a:pt x="1500" y="8885"/>
                    <a:pt x="1262" y="8885"/>
                  </a:cubicBezTo>
                  <a:cubicBezTo>
                    <a:pt x="1012" y="8885"/>
                    <a:pt x="786" y="8778"/>
                    <a:pt x="607" y="8623"/>
                  </a:cubicBezTo>
                  <a:cubicBezTo>
                    <a:pt x="429" y="8445"/>
                    <a:pt x="345" y="8206"/>
                    <a:pt x="345" y="7968"/>
                  </a:cubicBezTo>
                  <a:cubicBezTo>
                    <a:pt x="345" y="7706"/>
                    <a:pt x="453" y="7492"/>
                    <a:pt x="607" y="7314"/>
                  </a:cubicBezTo>
                  <a:lnTo>
                    <a:pt x="1822" y="6099"/>
                  </a:lnTo>
                  <a:cubicBezTo>
                    <a:pt x="1941" y="6397"/>
                    <a:pt x="2119" y="6671"/>
                    <a:pt x="2334" y="6897"/>
                  </a:cubicBezTo>
                  <a:cubicBezTo>
                    <a:pt x="2786" y="7337"/>
                    <a:pt x="3393" y="7587"/>
                    <a:pt x="4036" y="7587"/>
                  </a:cubicBezTo>
                  <a:cubicBezTo>
                    <a:pt x="4679" y="7587"/>
                    <a:pt x="5287" y="7337"/>
                    <a:pt x="5727" y="6897"/>
                  </a:cubicBezTo>
                  <a:lnTo>
                    <a:pt x="8501" y="4123"/>
                  </a:lnTo>
                  <a:cubicBezTo>
                    <a:pt x="9418" y="3158"/>
                    <a:pt x="9418" y="1634"/>
                    <a:pt x="8501" y="706"/>
                  </a:cubicBezTo>
                  <a:cubicBezTo>
                    <a:pt x="8031" y="235"/>
                    <a:pt x="7418" y="0"/>
                    <a:pt x="68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62" name="Google Shape;9862;p58"/>
          <p:cNvGrpSpPr/>
          <p:nvPr/>
        </p:nvGrpSpPr>
        <p:grpSpPr>
          <a:xfrm>
            <a:off x="7989683" y="2350207"/>
            <a:ext cx="332761" cy="234066"/>
            <a:chOff x="7989683" y="2350207"/>
            <a:chExt cx="332761" cy="234066"/>
          </a:xfrm>
        </p:grpSpPr>
        <p:sp>
          <p:nvSpPr>
            <p:cNvPr id="9863" name="Google Shape;9863;p58"/>
            <p:cNvSpPr/>
            <p:nvPr/>
          </p:nvSpPr>
          <p:spPr>
            <a:xfrm>
              <a:off x="8258902" y="2396188"/>
              <a:ext cx="29119" cy="22101"/>
            </a:xfrm>
            <a:custGeom>
              <a:avLst/>
              <a:gdLst/>
              <a:ahLst/>
              <a:cxnLst/>
              <a:rect l="l" t="t" r="r" b="b"/>
              <a:pathLst>
                <a:path w="917" h="696" extrusionOk="0">
                  <a:moveTo>
                    <a:pt x="165" y="0"/>
                  </a:moveTo>
                  <a:cubicBezTo>
                    <a:pt x="114" y="0"/>
                    <a:pt x="64" y="22"/>
                    <a:pt x="36" y="64"/>
                  </a:cubicBezTo>
                  <a:cubicBezTo>
                    <a:pt x="0" y="148"/>
                    <a:pt x="12" y="243"/>
                    <a:pt x="84" y="291"/>
                  </a:cubicBezTo>
                  <a:cubicBezTo>
                    <a:pt x="262" y="410"/>
                    <a:pt x="441" y="529"/>
                    <a:pt x="631" y="660"/>
                  </a:cubicBezTo>
                  <a:cubicBezTo>
                    <a:pt x="667" y="684"/>
                    <a:pt x="691" y="695"/>
                    <a:pt x="726" y="695"/>
                  </a:cubicBezTo>
                  <a:cubicBezTo>
                    <a:pt x="762" y="695"/>
                    <a:pt x="834" y="660"/>
                    <a:pt x="857" y="624"/>
                  </a:cubicBezTo>
                  <a:cubicBezTo>
                    <a:pt x="917" y="565"/>
                    <a:pt x="893" y="457"/>
                    <a:pt x="810" y="398"/>
                  </a:cubicBezTo>
                  <a:cubicBezTo>
                    <a:pt x="619" y="267"/>
                    <a:pt x="441" y="148"/>
                    <a:pt x="262" y="29"/>
                  </a:cubicBezTo>
                  <a:cubicBezTo>
                    <a:pt x="234" y="10"/>
                    <a:pt x="199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4" name="Google Shape;9864;p58"/>
            <p:cNvSpPr/>
            <p:nvPr/>
          </p:nvSpPr>
          <p:spPr>
            <a:xfrm>
              <a:off x="8051320" y="2350207"/>
              <a:ext cx="194753" cy="49919"/>
            </a:xfrm>
            <a:custGeom>
              <a:avLst/>
              <a:gdLst/>
              <a:ahLst/>
              <a:cxnLst/>
              <a:rect l="l" t="t" r="r" b="b"/>
              <a:pathLst>
                <a:path w="6133" h="1572" extrusionOk="0">
                  <a:moveTo>
                    <a:pt x="3299" y="0"/>
                  </a:moveTo>
                  <a:cubicBezTo>
                    <a:pt x="2501" y="0"/>
                    <a:pt x="1441" y="417"/>
                    <a:pt x="108" y="1274"/>
                  </a:cubicBezTo>
                  <a:cubicBezTo>
                    <a:pt x="24" y="1322"/>
                    <a:pt x="1" y="1429"/>
                    <a:pt x="60" y="1501"/>
                  </a:cubicBezTo>
                  <a:cubicBezTo>
                    <a:pt x="84" y="1548"/>
                    <a:pt x="144" y="1572"/>
                    <a:pt x="191" y="1572"/>
                  </a:cubicBezTo>
                  <a:cubicBezTo>
                    <a:pt x="227" y="1572"/>
                    <a:pt x="251" y="1560"/>
                    <a:pt x="286" y="1548"/>
                  </a:cubicBezTo>
                  <a:cubicBezTo>
                    <a:pt x="1572" y="727"/>
                    <a:pt x="2560" y="322"/>
                    <a:pt x="3299" y="322"/>
                  </a:cubicBezTo>
                  <a:cubicBezTo>
                    <a:pt x="3954" y="322"/>
                    <a:pt x="4787" y="643"/>
                    <a:pt x="5859" y="1262"/>
                  </a:cubicBezTo>
                  <a:cubicBezTo>
                    <a:pt x="5885" y="1277"/>
                    <a:pt x="5912" y="1284"/>
                    <a:pt x="5939" y="1284"/>
                  </a:cubicBezTo>
                  <a:cubicBezTo>
                    <a:pt x="5997" y="1284"/>
                    <a:pt x="6052" y="1252"/>
                    <a:pt x="6085" y="1203"/>
                  </a:cubicBezTo>
                  <a:cubicBezTo>
                    <a:pt x="6132" y="1131"/>
                    <a:pt x="6097" y="1024"/>
                    <a:pt x="6025" y="977"/>
                  </a:cubicBezTo>
                  <a:cubicBezTo>
                    <a:pt x="4906" y="322"/>
                    <a:pt x="4013" y="0"/>
                    <a:pt x="3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5" name="Google Shape;9865;p58"/>
            <p:cNvSpPr/>
            <p:nvPr/>
          </p:nvSpPr>
          <p:spPr>
            <a:xfrm>
              <a:off x="7989683" y="2378183"/>
              <a:ext cx="332761" cy="206090"/>
            </a:xfrm>
            <a:custGeom>
              <a:avLst/>
              <a:gdLst/>
              <a:ahLst/>
              <a:cxnLst/>
              <a:rect l="l" t="t" r="r" b="b"/>
              <a:pathLst>
                <a:path w="10479" h="6490" extrusionOk="0">
                  <a:moveTo>
                    <a:pt x="5240" y="334"/>
                  </a:moveTo>
                  <a:cubicBezTo>
                    <a:pt x="6597" y="334"/>
                    <a:pt x="9276" y="2453"/>
                    <a:pt x="10086" y="3096"/>
                  </a:cubicBezTo>
                  <a:cubicBezTo>
                    <a:pt x="10121" y="3132"/>
                    <a:pt x="10157" y="3179"/>
                    <a:pt x="10157" y="3239"/>
                  </a:cubicBezTo>
                  <a:cubicBezTo>
                    <a:pt x="10157" y="3298"/>
                    <a:pt x="10121" y="3346"/>
                    <a:pt x="10086" y="3394"/>
                  </a:cubicBezTo>
                  <a:cubicBezTo>
                    <a:pt x="9288" y="4025"/>
                    <a:pt x="6597" y="6144"/>
                    <a:pt x="5240" y="6144"/>
                  </a:cubicBezTo>
                  <a:cubicBezTo>
                    <a:pt x="3894" y="6144"/>
                    <a:pt x="1215" y="4025"/>
                    <a:pt x="406" y="3394"/>
                  </a:cubicBezTo>
                  <a:cubicBezTo>
                    <a:pt x="358" y="3346"/>
                    <a:pt x="334" y="3298"/>
                    <a:pt x="334" y="3239"/>
                  </a:cubicBezTo>
                  <a:cubicBezTo>
                    <a:pt x="334" y="3179"/>
                    <a:pt x="358" y="3120"/>
                    <a:pt x="406" y="3096"/>
                  </a:cubicBezTo>
                  <a:cubicBezTo>
                    <a:pt x="1192" y="2453"/>
                    <a:pt x="3894" y="334"/>
                    <a:pt x="5240" y="334"/>
                  </a:cubicBezTo>
                  <a:close/>
                  <a:moveTo>
                    <a:pt x="5240" y="0"/>
                  </a:moveTo>
                  <a:cubicBezTo>
                    <a:pt x="3811" y="0"/>
                    <a:pt x="1239" y="1977"/>
                    <a:pt x="191" y="2822"/>
                  </a:cubicBezTo>
                  <a:cubicBezTo>
                    <a:pt x="84" y="2929"/>
                    <a:pt x="1" y="3072"/>
                    <a:pt x="1" y="3239"/>
                  </a:cubicBezTo>
                  <a:cubicBezTo>
                    <a:pt x="1" y="3406"/>
                    <a:pt x="84" y="3548"/>
                    <a:pt x="191" y="3656"/>
                  </a:cubicBezTo>
                  <a:cubicBezTo>
                    <a:pt x="1239" y="4501"/>
                    <a:pt x="3811" y="6489"/>
                    <a:pt x="5240" y="6489"/>
                  </a:cubicBezTo>
                  <a:cubicBezTo>
                    <a:pt x="6657" y="6489"/>
                    <a:pt x="9252" y="4501"/>
                    <a:pt x="10288" y="3656"/>
                  </a:cubicBezTo>
                  <a:cubicBezTo>
                    <a:pt x="10407" y="3548"/>
                    <a:pt x="10478" y="3406"/>
                    <a:pt x="10478" y="3239"/>
                  </a:cubicBezTo>
                  <a:cubicBezTo>
                    <a:pt x="10478" y="3072"/>
                    <a:pt x="10407" y="2929"/>
                    <a:pt x="10288" y="2822"/>
                  </a:cubicBezTo>
                  <a:cubicBezTo>
                    <a:pt x="9252" y="1977"/>
                    <a:pt x="6668" y="0"/>
                    <a:pt x="52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6" name="Google Shape;9866;p58"/>
            <p:cNvSpPr/>
            <p:nvPr/>
          </p:nvSpPr>
          <p:spPr>
            <a:xfrm>
              <a:off x="8081201" y="2405746"/>
              <a:ext cx="151598" cy="149884"/>
            </a:xfrm>
            <a:custGeom>
              <a:avLst/>
              <a:gdLst/>
              <a:ahLst/>
              <a:cxnLst/>
              <a:rect l="l" t="t" r="r" b="b"/>
              <a:pathLst>
                <a:path w="4774" h="4720" extrusionOk="0">
                  <a:moveTo>
                    <a:pt x="2351" y="1"/>
                  </a:moveTo>
                  <a:cubicBezTo>
                    <a:pt x="2329" y="1"/>
                    <a:pt x="2308" y="1"/>
                    <a:pt x="2286" y="2"/>
                  </a:cubicBezTo>
                  <a:cubicBezTo>
                    <a:pt x="1048" y="49"/>
                    <a:pt x="36" y="1049"/>
                    <a:pt x="12" y="2288"/>
                  </a:cubicBezTo>
                  <a:cubicBezTo>
                    <a:pt x="0" y="2907"/>
                    <a:pt x="203" y="3478"/>
                    <a:pt x="572" y="3907"/>
                  </a:cubicBezTo>
                  <a:cubicBezTo>
                    <a:pt x="602" y="3943"/>
                    <a:pt x="646" y="3960"/>
                    <a:pt x="691" y="3960"/>
                  </a:cubicBezTo>
                  <a:cubicBezTo>
                    <a:pt x="735" y="3960"/>
                    <a:pt x="780" y="3943"/>
                    <a:pt x="810" y="3907"/>
                  </a:cubicBezTo>
                  <a:cubicBezTo>
                    <a:pt x="869" y="3847"/>
                    <a:pt x="869" y="3740"/>
                    <a:pt x="810" y="3681"/>
                  </a:cubicBezTo>
                  <a:cubicBezTo>
                    <a:pt x="488" y="3312"/>
                    <a:pt x="310" y="2800"/>
                    <a:pt x="322" y="2264"/>
                  </a:cubicBezTo>
                  <a:cubicBezTo>
                    <a:pt x="369" y="1228"/>
                    <a:pt x="1215" y="383"/>
                    <a:pt x="2262" y="335"/>
                  </a:cubicBezTo>
                  <a:cubicBezTo>
                    <a:pt x="2297" y="333"/>
                    <a:pt x="2332" y="332"/>
                    <a:pt x="2366" y="332"/>
                  </a:cubicBezTo>
                  <a:cubicBezTo>
                    <a:pt x="3487" y="332"/>
                    <a:pt x="4416" y="1263"/>
                    <a:pt x="4382" y="2407"/>
                  </a:cubicBezTo>
                  <a:cubicBezTo>
                    <a:pt x="4370" y="3478"/>
                    <a:pt x="3489" y="4347"/>
                    <a:pt x="2417" y="4395"/>
                  </a:cubicBezTo>
                  <a:cubicBezTo>
                    <a:pt x="2394" y="4396"/>
                    <a:pt x="2371" y="4396"/>
                    <a:pt x="2348" y="4396"/>
                  </a:cubicBezTo>
                  <a:cubicBezTo>
                    <a:pt x="2003" y="4396"/>
                    <a:pt x="1671" y="4313"/>
                    <a:pt x="1381" y="4157"/>
                  </a:cubicBezTo>
                  <a:cubicBezTo>
                    <a:pt x="1355" y="4141"/>
                    <a:pt x="1323" y="4132"/>
                    <a:pt x="1290" y="4132"/>
                  </a:cubicBezTo>
                  <a:cubicBezTo>
                    <a:pt x="1248" y="4132"/>
                    <a:pt x="1206" y="4147"/>
                    <a:pt x="1179" y="4181"/>
                  </a:cubicBezTo>
                  <a:cubicBezTo>
                    <a:pt x="1108" y="4264"/>
                    <a:pt x="1119" y="4395"/>
                    <a:pt x="1227" y="4443"/>
                  </a:cubicBezTo>
                  <a:cubicBezTo>
                    <a:pt x="1540" y="4615"/>
                    <a:pt x="1902" y="4720"/>
                    <a:pt x="2287" y="4720"/>
                  </a:cubicBezTo>
                  <a:cubicBezTo>
                    <a:pt x="2326" y="4720"/>
                    <a:pt x="2366" y="4719"/>
                    <a:pt x="2405" y="4716"/>
                  </a:cubicBezTo>
                  <a:cubicBezTo>
                    <a:pt x="3655" y="4693"/>
                    <a:pt x="4679" y="3681"/>
                    <a:pt x="4715" y="2442"/>
                  </a:cubicBezTo>
                  <a:cubicBezTo>
                    <a:pt x="4774" y="1095"/>
                    <a:pt x="3690" y="1"/>
                    <a:pt x="23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7" name="Google Shape;9867;p58"/>
            <p:cNvSpPr/>
            <p:nvPr/>
          </p:nvSpPr>
          <p:spPr>
            <a:xfrm>
              <a:off x="8115973" y="2440550"/>
              <a:ext cx="80562" cy="80213"/>
            </a:xfrm>
            <a:custGeom>
              <a:avLst/>
              <a:gdLst/>
              <a:ahLst/>
              <a:cxnLst/>
              <a:rect l="l" t="t" r="r" b="b"/>
              <a:pathLst>
                <a:path w="2537" h="2526" extrusionOk="0">
                  <a:moveTo>
                    <a:pt x="1263" y="1"/>
                  </a:moveTo>
                  <a:cubicBezTo>
                    <a:pt x="572" y="1"/>
                    <a:pt x="1" y="561"/>
                    <a:pt x="1" y="1263"/>
                  </a:cubicBezTo>
                  <a:cubicBezTo>
                    <a:pt x="1" y="1965"/>
                    <a:pt x="572" y="2525"/>
                    <a:pt x="1263" y="2525"/>
                  </a:cubicBezTo>
                  <a:cubicBezTo>
                    <a:pt x="1965" y="2525"/>
                    <a:pt x="2537" y="1965"/>
                    <a:pt x="2537" y="1263"/>
                  </a:cubicBezTo>
                  <a:cubicBezTo>
                    <a:pt x="2537" y="1168"/>
                    <a:pt x="2453" y="1096"/>
                    <a:pt x="2370" y="1096"/>
                  </a:cubicBezTo>
                  <a:cubicBezTo>
                    <a:pt x="2275" y="1096"/>
                    <a:pt x="2203" y="1168"/>
                    <a:pt x="2203" y="1263"/>
                  </a:cubicBezTo>
                  <a:cubicBezTo>
                    <a:pt x="2203" y="1787"/>
                    <a:pt x="1787" y="2204"/>
                    <a:pt x="1263" y="2204"/>
                  </a:cubicBezTo>
                  <a:cubicBezTo>
                    <a:pt x="751" y="2204"/>
                    <a:pt x="334" y="1787"/>
                    <a:pt x="334" y="1263"/>
                  </a:cubicBezTo>
                  <a:cubicBezTo>
                    <a:pt x="334" y="739"/>
                    <a:pt x="751" y="322"/>
                    <a:pt x="1263" y="322"/>
                  </a:cubicBezTo>
                  <a:cubicBezTo>
                    <a:pt x="1358" y="322"/>
                    <a:pt x="1429" y="251"/>
                    <a:pt x="1429" y="156"/>
                  </a:cubicBezTo>
                  <a:cubicBezTo>
                    <a:pt x="1429" y="72"/>
                    <a:pt x="1358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8" name="Google Shape;9868;p58"/>
            <p:cNvSpPr/>
            <p:nvPr/>
          </p:nvSpPr>
          <p:spPr>
            <a:xfrm>
              <a:off x="8164749" y="2447377"/>
              <a:ext cx="24610" cy="24610"/>
            </a:xfrm>
            <a:custGeom>
              <a:avLst/>
              <a:gdLst/>
              <a:ahLst/>
              <a:cxnLst/>
              <a:rect l="l" t="t" r="r" b="b"/>
              <a:pathLst>
                <a:path w="775" h="775" extrusionOk="0">
                  <a:moveTo>
                    <a:pt x="382" y="0"/>
                  </a:moveTo>
                  <a:cubicBezTo>
                    <a:pt x="179" y="0"/>
                    <a:pt x="1" y="179"/>
                    <a:pt x="1" y="393"/>
                  </a:cubicBezTo>
                  <a:cubicBezTo>
                    <a:pt x="1" y="596"/>
                    <a:pt x="179" y="774"/>
                    <a:pt x="382" y="774"/>
                  </a:cubicBezTo>
                  <a:cubicBezTo>
                    <a:pt x="596" y="774"/>
                    <a:pt x="774" y="596"/>
                    <a:pt x="774" y="393"/>
                  </a:cubicBezTo>
                  <a:cubicBezTo>
                    <a:pt x="774" y="179"/>
                    <a:pt x="608" y="0"/>
                    <a:pt x="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69" name="Google Shape;9869;p58"/>
          <p:cNvGrpSpPr/>
          <p:nvPr/>
        </p:nvGrpSpPr>
        <p:grpSpPr>
          <a:xfrm>
            <a:off x="5823294" y="2309751"/>
            <a:ext cx="315327" cy="314978"/>
            <a:chOff x="5823294" y="2309751"/>
            <a:chExt cx="315327" cy="314978"/>
          </a:xfrm>
        </p:grpSpPr>
        <p:sp>
          <p:nvSpPr>
            <p:cNvPr id="9870" name="Google Shape;9870;p58"/>
            <p:cNvSpPr/>
            <p:nvPr/>
          </p:nvSpPr>
          <p:spPr>
            <a:xfrm>
              <a:off x="5823294" y="2309751"/>
              <a:ext cx="315327" cy="314978"/>
            </a:xfrm>
            <a:custGeom>
              <a:avLst/>
              <a:gdLst/>
              <a:ahLst/>
              <a:cxnLst/>
              <a:rect l="l" t="t" r="r" b="b"/>
              <a:pathLst>
                <a:path w="9930" h="9919" extrusionOk="0">
                  <a:moveTo>
                    <a:pt x="4953" y="0"/>
                  </a:moveTo>
                  <a:cubicBezTo>
                    <a:pt x="3632" y="0"/>
                    <a:pt x="2381" y="524"/>
                    <a:pt x="1465" y="1465"/>
                  </a:cubicBezTo>
                  <a:cubicBezTo>
                    <a:pt x="524" y="2405"/>
                    <a:pt x="0" y="3656"/>
                    <a:pt x="0" y="4965"/>
                  </a:cubicBezTo>
                  <a:cubicBezTo>
                    <a:pt x="0" y="6275"/>
                    <a:pt x="524" y="7537"/>
                    <a:pt x="1465" y="8466"/>
                  </a:cubicBezTo>
                  <a:cubicBezTo>
                    <a:pt x="2393" y="9394"/>
                    <a:pt x="3643" y="9918"/>
                    <a:pt x="4953" y="9918"/>
                  </a:cubicBezTo>
                  <a:cubicBezTo>
                    <a:pt x="6263" y="9918"/>
                    <a:pt x="7537" y="9394"/>
                    <a:pt x="8454" y="8466"/>
                  </a:cubicBezTo>
                  <a:cubicBezTo>
                    <a:pt x="9394" y="7525"/>
                    <a:pt x="9918" y="6275"/>
                    <a:pt x="9918" y="4965"/>
                  </a:cubicBezTo>
                  <a:cubicBezTo>
                    <a:pt x="9930" y="4858"/>
                    <a:pt x="9930" y="4775"/>
                    <a:pt x="9930" y="4680"/>
                  </a:cubicBezTo>
                  <a:cubicBezTo>
                    <a:pt x="9930" y="4613"/>
                    <a:pt x="9869" y="4547"/>
                    <a:pt x="9803" y="4547"/>
                  </a:cubicBezTo>
                  <a:cubicBezTo>
                    <a:pt x="9798" y="4547"/>
                    <a:pt x="9792" y="4548"/>
                    <a:pt x="9787" y="4549"/>
                  </a:cubicBezTo>
                  <a:cubicBezTo>
                    <a:pt x="9704" y="4549"/>
                    <a:pt x="9632" y="4620"/>
                    <a:pt x="9644" y="4691"/>
                  </a:cubicBezTo>
                  <a:lnTo>
                    <a:pt x="9644" y="4953"/>
                  </a:lnTo>
                  <a:cubicBezTo>
                    <a:pt x="9644" y="6204"/>
                    <a:pt x="9156" y="7358"/>
                    <a:pt x="8275" y="8251"/>
                  </a:cubicBezTo>
                  <a:cubicBezTo>
                    <a:pt x="7394" y="9144"/>
                    <a:pt x="6227" y="9621"/>
                    <a:pt x="4977" y="9621"/>
                  </a:cubicBezTo>
                  <a:cubicBezTo>
                    <a:pt x="3727" y="9621"/>
                    <a:pt x="2560" y="9132"/>
                    <a:pt x="1667" y="8251"/>
                  </a:cubicBezTo>
                  <a:cubicBezTo>
                    <a:pt x="774" y="7370"/>
                    <a:pt x="298" y="6204"/>
                    <a:pt x="298" y="4953"/>
                  </a:cubicBezTo>
                  <a:cubicBezTo>
                    <a:pt x="298" y="3703"/>
                    <a:pt x="786" y="2536"/>
                    <a:pt x="1667" y="1643"/>
                  </a:cubicBezTo>
                  <a:cubicBezTo>
                    <a:pt x="2548" y="750"/>
                    <a:pt x="3727" y="274"/>
                    <a:pt x="4977" y="274"/>
                  </a:cubicBezTo>
                  <a:cubicBezTo>
                    <a:pt x="6072" y="274"/>
                    <a:pt x="7144" y="667"/>
                    <a:pt x="7977" y="1382"/>
                  </a:cubicBezTo>
                  <a:cubicBezTo>
                    <a:pt x="8811" y="2072"/>
                    <a:pt x="9382" y="3048"/>
                    <a:pt x="9561" y="4120"/>
                  </a:cubicBezTo>
                  <a:cubicBezTo>
                    <a:pt x="9572" y="4185"/>
                    <a:pt x="9632" y="4241"/>
                    <a:pt x="9697" y="4241"/>
                  </a:cubicBezTo>
                  <a:cubicBezTo>
                    <a:pt x="9703" y="4241"/>
                    <a:pt x="9709" y="4240"/>
                    <a:pt x="9716" y="4239"/>
                  </a:cubicBezTo>
                  <a:cubicBezTo>
                    <a:pt x="9799" y="4215"/>
                    <a:pt x="9858" y="4144"/>
                    <a:pt x="9835" y="4072"/>
                  </a:cubicBezTo>
                  <a:cubicBezTo>
                    <a:pt x="9632" y="2941"/>
                    <a:pt x="9037" y="1917"/>
                    <a:pt x="8156" y="1167"/>
                  </a:cubicBezTo>
                  <a:cubicBezTo>
                    <a:pt x="7263" y="405"/>
                    <a:pt x="6132" y="0"/>
                    <a:pt x="4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1" name="Google Shape;9871;p58"/>
            <p:cNvSpPr/>
            <p:nvPr/>
          </p:nvSpPr>
          <p:spPr>
            <a:xfrm>
              <a:off x="5846348" y="2332805"/>
              <a:ext cx="268457" cy="268489"/>
            </a:xfrm>
            <a:custGeom>
              <a:avLst/>
              <a:gdLst/>
              <a:ahLst/>
              <a:cxnLst/>
              <a:rect l="l" t="t" r="r" b="b"/>
              <a:pathLst>
                <a:path w="8454" h="8455" extrusionOk="0">
                  <a:moveTo>
                    <a:pt x="4227" y="1"/>
                  </a:moveTo>
                  <a:cubicBezTo>
                    <a:pt x="3632" y="1"/>
                    <a:pt x="3060" y="120"/>
                    <a:pt x="2501" y="370"/>
                  </a:cubicBezTo>
                  <a:cubicBezTo>
                    <a:pt x="1989" y="608"/>
                    <a:pt x="1512" y="929"/>
                    <a:pt x="1120" y="1358"/>
                  </a:cubicBezTo>
                  <a:cubicBezTo>
                    <a:pt x="1060" y="1418"/>
                    <a:pt x="1072" y="1513"/>
                    <a:pt x="1131" y="1572"/>
                  </a:cubicBezTo>
                  <a:cubicBezTo>
                    <a:pt x="1158" y="1599"/>
                    <a:pt x="1192" y="1611"/>
                    <a:pt x="1227" y="1611"/>
                  </a:cubicBezTo>
                  <a:cubicBezTo>
                    <a:pt x="1270" y="1611"/>
                    <a:pt x="1313" y="1593"/>
                    <a:pt x="1346" y="1560"/>
                  </a:cubicBezTo>
                  <a:cubicBezTo>
                    <a:pt x="1715" y="1156"/>
                    <a:pt x="2155" y="846"/>
                    <a:pt x="2644" y="632"/>
                  </a:cubicBezTo>
                  <a:cubicBezTo>
                    <a:pt x="3144" y="405"/>
                    <a:pt x="3679" y="286"/>
                    <a:pt x="4251" y="286"/>
                  </a:cubicBezTo>
                  <a:cubicBezTo>
                    <a:pt x="6418" y="286"/>
                    <a:pt x="8192" y="2060"/>
                    <a:pt x="8192" y="4239"/>
                  </a:cubicBezTo>
                  <a:cubicBezTo>
                    <a:pt x="8192" y="6406"/>
                    <a:pt x="6418" y="8180"/>
                    <a:pt x="4251" y="8180"/>
                  </a:cubicBezTo>
                  <a:cubicBezTo>
                    <a:pt x="2072" y="8180"/>
                    <a:pt x="298" y="6406"/>
                    <a:pt x="298" y="4239"/>
                  </a:cubicBezTo>
                  <a:cubicBezTo>
                    <a:pt x="298" y="3465"/>
                    <a:pt x="524" y="2703"/>
                    <a:pt x="965" y="2060"/>
                  </a:cubicBezTo>
                  <a:cubicBezTo>
                    <a:pt x="1001" y="1989"/>
                    <a:pt x="989" y="1882"/>
                    <a:pt x="917" y="1846"/>
                  </a:cubicBezTo>
                  <a:cubicBezTo>
                    <a:pt x="893" y="1827"/>
                    <a:pt x="862" y="1818"/>
                    <a:pt x="830" y="1818"/>
                  </a:cubicBezTo>
                  <a:cubicBezTo>
                    <a:pt x="781" y="1818"/>
                    <a:pt x="731" y="1839"/>
                    <a:pt x="703" y="1882"/>
                  </a:cubicBezTo>
                  <a:cubicBezTo>
                    <a:pt x="250" y="2584"/>
                    <a:pt x="0" y="3394"/>
                    <a:pt x="0" y="4227"/>
                  </a:cubicBezTo>
                  <a:cubicBezTo>
                    <a:pt x="0" y="5358"/>
                    <a:pt x="453" y="6406"/>
                    <a:pt x="1239" y="7216"/>
                  </a:cubicBezTo>
                  <a:cubicBezTo>
                    <a:pt x="2048" y="8014"/>
                    <a:pt x="3096" y="8454"/>
                    <a:pt x="4227" y="8454"/>
                  </a:cubicBezTo>
                  <a:cubicBezTo>
                    <a:pt x="5358" y="8454"/>
                    <a:pt x="6418" y="8002"/>
                    <a:pt x="7227" y="7216"/>
                  </a:cubicBezTo>
                  <a:cubicBezTo>
                    <a:pt x="8025" y="6430"/>
                    <a:pt x="8454" y="5358"/>
                    <a:pt x="8454" y="4227"/>
                  </a:cubicBezTo>
                  <a:cubicBezTo>
                    <a:pt x="8454" y="3096"/>
                    <a:pt x="8013" y="2037"/>
                    <a:pt x="7227" y="1227"/>
                  </a:cubicBezTo>
                  <a:cubicBezTo>
                    <a:pt x="6418" y="429"/>
                    <a:pt x="5358" y="1"/>
                    <a:pt x="4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2" name="Google Shape;9872;p58"/>
            <p:cNvSpPr/>
            <p:nvPr/>
          </p:nvSpPr>
          <p:spPr>
            <a:xfrm>
              <a:off x="5869402" y="2462111"/>
              <a:ext cx="15909" cy="9495"/>
            </a:xfrm>
            <a:custGeom>
              <a:avLst/>
              <a:gdLst/>
              <a:ahLst/>
              <a:cxnLst/>
              <a:rect l="l" t="t" r="r" b="b"/>
              <a:pathLst>
                <a:path w="501" h="299" extrusionOk="0">
                  <a:moveTo>
                    <a:pt x="144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27"/>
                    <a:pt x="60" y="298"/>
                    <a:pt x="144" y="298"/>
                  </a:cubicBezTo>
                  <a:lnTo>
                    <a:pt x="358" y="298"/>
                  </a:lnTo>
                  <a:cubicBezTo>
                    <a:pt x="429" y="298"/>
                    <a:pt x="501" y="239"/>
                    <a:pt x="501" y="155"/>
                  </a:cubicBezTo>
                  <a:cubicBezTo>
                    <a:pt x="501" y="60"/>
                    <a:pt x="441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3" name="Google Shape;9873;p58"/>
            <p:cNvSpPr/>
            <p:nvPr/>
          </p:nvSpPr>
          <p:spPr>
            <a:xfrm>
              <a:off x="5976416" y="2354748"/>
              <a:ext cx="116858" cy="116858"/>
            </a:xfrm>
            <a:custGeom>
              <a:avLst/>
              <a:gdLst/>
              <a:ahLst/>
              <a:cxnLst/>
              <a:rect l="l" t="t" r="r" b="b"/>
              <a:pathLst>
                <a:path w="3680" h="3680" extrusionOk="0">
                  <a:moveTo>
                    <a:pt x="155" y="0"/>
                  </a:moveTo>
                  <a:cubicBezTo>
                    <a:pt x="60" y="0"/>
                    <a:pt x="0" y="60"/>
                    <a:pt x="0" y="155"/>
                  </a:cubicBezTo>
                  <a:lnTo>
                    <a:pt x="0" y="3536"/>
                  </a:lnTo>
                  <a:cubicBezTo>
                    <a:pt x="0" y="3608"/>
                    <a:pt x="60" y="3679"/>
                    <a:pt x="155" y="3679"/>
                  </a:cubicBezTo>
                  <a:lnTo>
                    <a:pt x="3536" y="3679"/>
                  </a:lnTo>
                  <a:cubicBezTo>
                    <a:pt x="3608" y="3679"/>
                    <a:pt x="3679" y="3620"/>
                    <a:pt x="3679" y="3536"/>
                  </a:cubicBezTo>
                  <a:cubicBezTo>
                    <a:pt x="3679" y="3441"/>
                    <a:pt x="3620" y="3382"/>
                    <a:pt x="3536" y="3382"/>
                  </a:cubicBezTo>
                  <a:lnTo>
                    <a:pt x="298" y="3382"/>
                  </a:lnTo>
                  <a:lnTo>
                    <a:pt x="298" y="155"/>
                  </a:lnTo>
                  <a:cubicBezTo>
                    <a:pt x="298" y="84"/>
                    <a:pt x="23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4" name="Google Shape;9874;p58"/>
            <p:cNvSpPr/>
            <p:nvPr/>
          </p:nvSpPr>
          <p:spPr>
            <a:xfrm>
              <a:off x="5976416" y="2562679"/>
              <a:ext cx="9463" cy="16290"/>
            </a:xfrm>
            <a:custGeom>
              <a:avLst/>
              <a:gdLst/>
              <a:ahLst/>
              <a:cxnLst/>
              <a:rect l="l" t="t" r="r" b="b"/>
              <a:pathLst>
                <a:path w="298" h="513" extrusionOk="0">
                  <a:moveTo>
                    <a:pt x="155" y="1"/>
                  </a:moveTo>
                  <a:cubicBezTo>
                    <a:pt x="60" y="1"/>
                    <a:pt x="0" y="60"/>
                    <a:pt x="0" y="155"/>
                  </a:cubicBezTo>
                  <a:lnTo>
                    <a:pt x="0" y="358"/>
                  </a:lnTo>
                  <a:cubicBezTo>
                    <a:pt x="0" y="441"/>
                    <a:pt x="60" y="513"/>
                    <a:pt x="155" y="513"/>
                  </a:cubicBezTo>
                  <a:cubicBezTo>
                    <a:pt x="238" y="513"/>
                    <a:pt x="298" y="453"/>
                    <a:pt x="298" y="358"/>
                  </a:cubicBezTo>
                  <a:lnTo>
                    <a:pt x="298" y="155"/>
                  </a:lnTo>
                  <a:cubicBezTo>
                    <a:pt x="298" y="84"/>
                    <a:pt x="238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5" name="Google Shape;9875;p58"/>
            <p:cNvSpPr/>
            <p:nvPr/>
          </p:nvSpPr>
          <p:spPr>
            <a:xfrm>
              <a:off x="5900395" y="2386217"/>
              <a:ext cx="15179" cy="13909"/>
            </a:xfrm>
            <a:custGeom>
              <a:avLst/>
              <a:gdLst/>
              <a:ahLst/>
              <a:cxnLst/>
              <a:rect l="l" t="t" r="r" b="b"/>
              <a:pathLst>
                <a:path w="478" h="438" extrusionOk="0">
                  <a:moveTo>
                    <a:pt x="168" y="0"/>
                  </a:moveTo>
                  <a:cubicBezTo>
                    <a:pt x="129" y="0"/>
                    <a:pt x="90" y="15"/>
                    <a:pt x="61" y="45"/>
                  </a:cubicBezTo>
                  <a:cubicBezTo>
                    <a:pt x="1" y="105"/>
                    <a:pt x="1" y="188"/>
                    <a:pt x="61" y="247"/>
                  </a:cubicBezTo>
                  <a:lnTo>
                    <a:pt x="215" y="402"/>
                  </a:lnTo>
                  <a:cubicBezTo>
                    <a:pt x="239" y="426"/>
                    <a:pt x="275" y="438"/>
                    <a:pt x="311" y="438"/>
                  </a:cubicBezTo>
                  <a:cubicBezTo>
                    <a:pt x="358" y="438"/>
                    <a:pt x="394" y="426"/>
                    <a:pt x="418" y="402"/>
                  </a:cubicBezTo>
                  <a:cubicBezTo>
                    <a:pt x="477" y="343"/>
                    <a:pt x="477" y="247"/>
                    <a:pt x="418" y="188"/>
                  </a:cubicBezTo>
                  <a:lnTo>
                    <a:pt x="275" y="45"/>
                  </a:lnTo>
                  <a:cubicBezTo>
                    <a:pt x="245" y="15"/>
                    <a:pt x="206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6" name="Google Shape;9876;p58"/>
            <p:cNvSpPr/>
            <p:nvPr/>
          </p:nvSpPr>
          <p:spPr>
            <a:xfrm>
              <a:off x="6047484" y="2533655"/>
              <a:ext cx="15147" cy="13940"/>
            </a:xfrm>
            <a:custGeom>
              <a:avLst/>
              <a:gdLst/>
              <a:ahLst/>
              <a:cxnLst/>
              <a:rect l="l" t="t" r="r" b="b"/>
              <a:pathLst>
                <a:path w="477" h="439" extrusionOk="0">
                  <a:moveTo>
                    <a:pt x="161" y="1"/>
                  </a:moveTo>
                  <a:cubicBezTo>
                    <a:pt x="126" y="1"/>
                    <a:pt x="90" y="16"/>
                    <a:pt x="60" y="46"/>
                  </a:cubicBezTo>
                  <a:cubicBezTo>
                    <a:pt x="1" y="93"/>
                    <a:pt x="1" y="188"/>
                    <a:pt x="60" y="248"/>
                  </a:cubicBezTo>
                  <a:lnTo>
                    <a:pt x="203" y="391"/>
                  </a:lnTo>
                  <a:cubicBezTo>
                    <a:pt x="239" y="427"/>
                    <a:pt x="262" y="438"/>
                    <a:pt x="310" y="438"/>
                  </a:cubicBezTo>
                  <a:cubicBezTo>
                    <a:pt x="358" y="438"/>
                    <a:pt x="382" y="427"/>
                    <a:pt x="417" y="391"/>
                  </a:cubicBezTo>
                  <a:cubicBezTo>
                    <a:pt x="477" y="343"/>
                    <a:pt x="477" y="248"/>
                    <a:pt x="417" y="188"/>
                  </a:cubicBezTo>
                  <a:lnTo>
                    <a:pt x="262" y="46"/>
                  </a:lnTo>
                  <a:cubicBezTo>
                    <a:pt x="233" y="16"/>
                    <a:pt x="197" y="1"/>
                    <a:pt x="1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7" name="Google Shape;9877;p58"/>
            <p:cNvSpPr/>
            <p:nvPr/>
          </p:nvSpPr>
          <p:spPr>
            <a:xfrm>
              <a:off x="6047484" y="2386217"/>
              <a:ext cx="15147" cy="13909"/>
            </a:xfrm>
            <a:custGeom>
              <a:avLst/>
              <a:gdLst/>
              <a:ahLst/>
              <a:cxnLst/>
              <a:rect l="l" t="t" r="r" b="b"/>
              <a:pathLst>
                <a:path w="477" h="438" extrusionOk="0">
                  <a:moveTo>
                    <a:pt x="310" y="0"/>
                  </a:moveTo>
                  <a:cubicBezTo>
                    <a:pt x="271" y="0"/>
                    <a:pt x="233" y="15"/>
                    <a:pt x="203" y="45"/>
                  </a:cubicBezTo>
                  <a:lnTo>
                    <a:pt x="60" y="188"/>
                  </a:lnTo>
                  <a:cubicBezTo>
                    <a:pt x="1" y="247"/>
                    <a:pt x="1" y="343"/>
                    <a:pt x="60" y="402"/>
                  </a:cubicBezTo>
                  <a:cubicBezTo>
                    <a:pt x="84" y="426"/>
                    <a:pt x="120" y="438"/>
                    <a:pt x="167" y="438"/>
                  </a:cubicBezTo>
                  <a:cubicBezTo>
                    <a:pt x="203" y="438"/>
                    <a:pt x="239" y="426"/>
                    <a:pt x="262" y="402"/>
                  </a:cubicBezTo>
                  <a:lnTo>
                    <a:pt x="417" y="247"/>
                  </a:lnTo>
                  <a:cubicBezTo>
                    <a:pt x="477" y="188"/>
                    <a:pt x="477" y="105"/>
                    <a:pt x="417" y="45"/>
                  </a:cubicBezTo>
                  <a:cubicBezTo>
                    <a:pt x="387" y="15"/>
                    <a:pt x="349" y="0"/>
                    <a:pt x="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8" name="Google Shape;9878;p58"/>
            <p:cNvSpPr/>
            <p:nvPr/>
          </p:nvSpPr>
          <p:spPr>
            <a:xfrm>
              <a:off x="5900395" y="2533655"/>
              <a:ext cx="15179" cy="13940"/>
            </a:xfrm>
            <a:custGeom>
              <a:avLst/>
              <a:gdLst/>
              <a:ahLst/>
              <a:cxnLst/>
              <a:rect l="l" t="t" r="r" b="b"/>
              <a:pathLst>
                <a:path w="478" h="439" extrusionOk="0">
                  <a:moveTo>
                    <a:pt x="316" y="1"/>
                  </a:moveTo>
                  <a:cubicBezTo>
                    <a:pt x="281" y="1"/>
                    <a:pt x="245" y="16"/>
                    <a:pt x="215" y="46"/>
                  </a:cubicBezTo>
                  <a:lnTo>
                    <a:pt x="61" y="188"/>
                  </a:lnTo>
                  <a:cubicBezTo>
                    <a:pt x="1" y="248"/>
                    <a:pt x="1" y="343"/>
                    <a:pt x="61" y="403"/>
                  </a:cubicBezTo>
                  <a:cubicBezTo>
                    <a:pt x="96" y="427"/>
                    <a:pt x="120" y="438"/>
                    <a:pt x="168" y="438"/>
                  </a:cubicBezTo>
                  <a:cubicBezTo>
                    <a:pt x="215" y="438"/>
                    <a:pt x="239" y="427"/>
                    <a:pt x="275" y="403"/>
                  </a:cubicBezTo>
                  <a:lnTo>
                    <a:pt x="418" y="248"/>
                  </a:lnTo>
                  <a:cubicBezTo>
                    <a:pt x="477" y="188"/>
                    <a:pt x="477" y="105"/>
                    <a:pt x="418" y="46"/>
                  </a:cubicBezTo>
                  <a:cubicBezTo>
                    <a:pt x="388" y="16"/>
                    <a:pt x="352" y="1"/>
                    <a:pt x="3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9" name="Google Shape;9879;p58"/>
            <p:cNvSpPr/>
            <p:nvPr/>
          </p:nvSpPr>
          <p:spPr>
            <a:xfrm>
              <a:off x="5877341" y="2420639"/>
              <a:ext cx="16671" cy="11654"/>
            </a:xfrm>
            <a:custGeom>
              <a:avLst/>
              <a:gdLst/>
              <a:ahLst/>
              <a:cxnLst/>
              <a:rect l="l" t="t" r="r" b="b"/>
              <a:pathLst>
                <a:path w="525" h="367" extrusionOk="0">
                  <a:moveTo>
                    <a:pt x="167" y="0"/>
                  </a:moveTo>
                  <a:cubicBezTo>
                    <a:pt x="106" y="0"/>
                    <a:pt x="52" y="29"/>
                    <a:pt x="25" y="92"/>
                  </a:cubicBezTo>
                  <a:cubicBezTo>
                    <a:pt x="1" y="164"/>
                    <a:pt x="25" y="247"/>
                    <a:pt x="108" y="283"/>
                  </a:cubicBezTo>
                  <a:lnTo>
                    <a:pt x="298" y="354"/>
                  </a:lnTo>
                  <a:cubicBezTo>
                    <a:pt x="310" y="366"/>
                    <a:pt x="346" y="366"/>
                    <a:pt x="358" y="366"/>
                  </a:cubicBezTo>
                  <a:cubicBezTo>
                    <a:pt x="417" y="366"/>
                    <a:pt x="465" y="342"/>
                    <a:pt x="489" y="283"/>
                  </a:cubicBezTo>
                  <a:cubicBezTo>
                    <a:pt x="525" y="187"/>
                    <a:pt x="489" y="116"/>
                    <a:pt x="417" y="92"/>
                  </a:cubicBezTo>
                  <a:lnTo>
                    <a:pt x="227" y="9"/>
                  </a:lnTo>
                  <a:cubicBezTo>
                    <a:pt x="207" y="3"/>
                    <a:pt x="18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0" name="Google Shape;9880;p58"/>
            <p:cNvSpPr/>
            <p:nvPr/>
          </p:nvSpPr>
          <p:spPr>
            <a:xfrm>
              <a:off x="6068665" y="2501519"/>
              <a:ext cx="16671" cy="11654"/>
            </a:xfrm>
            <a:custGeom>
              <a:avLst/>
              <a:gdLst/>
              <a:ahLst/>
              <a:cxnLst/>
              <a:rect l="l" t="t" r="r" b="b"/>
              <a:pathLst>
                <a:path w="525" h="367" extrusionOk="0">
                  <a:moveTo>
                    <a:pt x="170" y="1"/>
                  </a:moveTo>
                  <a:cubicBezTo>
                    <a:pt x="112" y="1"/>
                    <a:pt x="54" y="28"/>
                    <a:pt x="36" y="81"/>
                  </a:cubicBezTo>
                  <a:cubicBezTo>
                    <a:pt x="0" y="165"/>
                    <a:pt x="36" y="248"/>
                    <a:pt x="107" y="284"/>
                  </a:cubicBezTo>
                  <a:lnTo>
                    <a:pt x="298" y="355"/>
                  </a:lnTo>
                  <a:cubicBezTo>
                    <a:pt x="310" y="367"/>
                    <a:pt x="346" y="367"/>
                    <a:pt x="357" y="367"/>
                  </a:cubicBezTo>
                  <a:cubicBezTo>
                    <a:pt x="417" y="367"/>
                    <a:pt x="465" y="343"/>
                    <a:pt x="488" y="284"/>
                  </a:cubicBezTo>
                  <a:cubicBezTo>
                    <a:pt x="524" y="200"/>
                    <a:pt x="488" y="117"/>
                    <a:pt x="417" y="81"/>
                  </a:cubicBezTo>
                  <a:lnTo>
                    <a:pt x="226" y="10"/>
                  </a:lnTo>
                  <a:cubicBezTo>
                    <a:pt x="209" y="4"/>
                    <a:pt x="189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1" name="Google Shape;9881;p58"/>
            <p:cNvSpPr/>
            <p:nvPr/>
          </p:nvSpPr>
          <p:spPr>
            <a:xfrm>
              <a:off x="6015729" y="2363353"/>
              <a:ext cx="12893" cy="15623"/>
            </a:xfrm>
            <a:custGeom>
              <a:avLst/>
              <a:gdLst/>
              <a:ahLst/>
              <a:cxnLst/>
              <a:rect l="l" t="t" r="r" b="b"/>
              <a:pathLst>
                <a:path w="406" h="492" extrusionOk="0">
                  <a:moveTo>
                    <a:pt x="237" y="1"/>
                  </a:moveTo>
                  <a:cubicBezTo>
                    <a:pt x="181" y="1"/>
                    <a:pt x="125" y="34"/>
                    <a:pt x="108" y="86"/>
                  </a:cubicBezTo>
                  <a:lnTo>
                    <a:pt x="36" y="277"/>
                  </a:lnTo>
                  <a:cubicBezTo>
                    <a:pt x="0" y="360"/>
                    <a:pt x="36" y="444"/>
                    <a:pt x="108" y="479"/>
                  </a:cubicBezTo>
                  <a:cubicBezTo>
                    <a:pt x="119" y="479"/>
                    <a:pt x="131" y="491"/>
                    <a:pt x="167" y="491"/>
                  </a:cubicBezTo>
                  <a:cubicBezTo>
                    <a:pt x="227" y="491"/>
                    <a:pt x="274" y="467"/>
                    <a:pt x="298" y="396"/>
                  </a:cubicBezTo>
                  <a:lnTo>
                    <a:pt x="369" y="205"/>
                  </a:lnTo>
                  <a:cubicBezTo>
                    <a:pt x="405" y="134"/>
                    <a:pt x="369" y="39"/>
                    <a:pt x="298" y="15"/>
                  </a:cubicBezTo>
                  <a:cubicBezTo>
                    <a:pt x="279" y="5"/>
                    <a:pt x="258" y="1"/>
                    <a:pt x="2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2" name="Google Shape;9882;p58"/>
            <p:cNvSpPr/>
            <p:nvPr/>
          </p:nvSpPr>
          <p:spPr>
            <a:xfrm>
              <a:off x="5934055" y="2554836"/>
              <a:ext cx="13274" cy="15433"/>
            </a:xfrm>
            <a:custGeom>
              <a:avLst/>
              <a:gdLst/>
              <a:ahLst/>
              <a:cxnLst/>
              <a:rect l="l" t="t" r="r" b="b"/>
              <a:pathLst>
                <a:path w="418" h="486" extrusionOk="0">
                  <a:moveTo>
                    <a:pt x="255" y="1"/>
                  </a:moveTo>
                  <a:cubicBezTo>
                    <a:pt x="197" y="1"/>
                    <a:pt x="138" y="30"/>
                    <a:pt x="120" y="93"/>
                  </a:cubicBezTo>
                  <a:lnTo>
                    <a:pt x="48" y="283"/>
                  </a:lnTo>
                  <a:cubicBezTo>
                    <a:pt x="1" y="355"/>
                    <a:pt x="48" y="450"/>
                    <a:pt x="120" y="474"/>
                  </a:cubicBezTo>
                  <a:cubicBezTo>
                    <a:pt x="132" y="486"/>
                    <a:pt x="167" y="486"/>
                    <a:pt x="179" y="486"/>
                  </a:cubicBezTo>
                  <a:cubicBezTo>
                    <a:pt x="239" y="486"/>
                    <a:pt x="286" y="462"/>
                    <a:pt x="310" y="402"/>
                  </a:cubicBezTo>
                  <a:lnTo>
                    <a:pt x="382" y="212"/>
                  </a:lnTo>
                  <a:cubicBezTo>
                    <a:pt x="417" y="129"/>
                    <a:pt x="382" y="45"/>
                    <a:pt x="310" y="10"/>
                  </a:cubicBezTo>
                  <a:cubicBezTo>
                    <a:pt x="293" y="4"/>
                    <a:pt x="274" y="1"/>
                    <a:pt x="2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3" name="Google Shape;9883;p58"/>
            <p:cNvSpPr/>
            <p:nvPr/>
          </p:nvSpPr>
          <p:spPr>
            <a:xfrm>
              <a:off x="5935960" y="2362401"/>
              <a:ext cx="12861" cy="15814"/>
            </a:xfrm>
            <a:custGeom>
              <a:avLst/>
              <a:gdLst/>
              <a:ahLst/>
              <a:cxnLst/>
              <a:rect l="l" t="t" r="r" b="b"/>
              <a:pathLst>
                <a:path w="405" h="498" extrusionOk="0">
                  <a:moveTo>
                    <a:pt x="161" y="1"/>
                  </a:moveTo>
                  <a:cubicBezTo>
                    <a:pt x="143" y="1"/>
                    <a:pt x="125" y="3"/>
                    <a:pt x="107" y="9"/>
                  </a:cubicBezTo>
                  <a:cubicBezTo>
                    <a:pt x="24" y="45"/>
                    <a:pt x="0" y="128"/>
                    <a:pt x="24" y="212"/>
                  </a:cubicBezTo>
                  <a:lnTo>
                    <a:pt x="107" y="402"/>
                  </a:lnTo>
                  <a:cubicBezTo>
                    <a:pt x="131" y="462"/>
                    <a:pt x="191" y="497"/>
                    <a:pt x="238" y="497"/>
                  </a:cubicBezTo>
                  <a:cubicBezTo>
                    <a:pt x="250" y="497"/>
                    <a:pt x="262" y="497"/>
                    <a:pt x="298" y="474"/>
                  </a:cubicBezTo>
                  <a:cubicBezTo>
                    <a:pt x="369" y="450"/>
                    <a:pt x="405" y="355"/>
                    <a:pt x="369" y="283"/>
                  </a:cubicBezTo>
                  <a:lnTo>
                    <a:pt x="298" y="93"/>
                  </a:lnTo>
                  <a:cubicBezTo>
                    <a:pt x="271" y="29"/>
                    <a:pt x="216" y="1"/>
                    <a:pt x="1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4" name="Google Shape;9884;p58"/>
            <p:cNvSpPr/>
            <p:nvPr/>
          </p:nvSpPr>
          <p:spPr>
            <a:xfrm>
              <a:off x="6013824" y="2555820"/>
              <a:ext cx="12893" cy="15592"/>
            </a:xfrm>
            <a:custGeom>
              <a:avLst/>
              <a:gdLst/>
              <a:ahLst/>
              <a:cxnLst/>
              <a:rect l="l" t="t" r="r" b="b"/>
              <a:pathLst>
                <a:path w="406" h="491" extrusionOk="0">
                  <a:moveTo>
                    <a:pt x="167" y="0"/>
                  </a:moveTo>
                  <a:cubicBezTo>
                    <a:pt x="147" y="0"/>
                    <a:pt x="127" y="5"/>
                    <a:pt x="108" y="14"/>
                  </a:cubicBezTo>
                  <a:cubicBezTo>
                    <a:pt x="37" y="38"/>
                    <a:pt x="1" y="133"/>
                    <a:pt x="37" y="205"/>
                  </a:cubicBezTo>
                  <a:lnTo>
                    <a:pt x="108" y="395"/>
                  </a:lnTo>
                  <a:cubicBezTo>
                    <a:pt x="132" y="455"/>
                    <a:pt x="179" y="491"/>
                    <a:pt x="239" y="491"/>
                  </a:cubicBezTo>
                  <a:cubicBezTo>
                    <a:pt x="251" y="491"/>
                    <a:pt x="275" y="491"/>
                    <a:pt x="299" y="479"/>
                  </a:cubicBezTo>
                  <a:cubicBezTo>
                    <a:pt x="370" y="443"/>
                    <a:pt x="406" y="360"/>
                    <a:pt x="370" y="276"/>
                  </a:cubicBezTo>
                  <a:lnTo>
                    <a:pt x="299" y="86"/>
                  </a:lnTo>
                  <a:cubicBezTo>
                    <a:pt x="272" y="33"/>
                    <a:pt x="22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5" name="Google Shape;9885;p58"/>
            <p:cNvSpPr/>
            <p:nvPr/>
          </p:nvSpPr>
          <p:spPr>
            <a:xfrm>
              <a:off x="6069776" y="2422132"/>
              <a:ext cx="16290" cy="11654"/>
            </a:xfrm>
            <a:custGeom>
              <a:avLst/>
              <a:gdLst/>
              <a:ahLst/>
              <a:cxnLst/>
              <a:rect l="l" t="t" r="r" b="b"/>
              <a:pathLst>
                <a:path w="513" h="367" extrusionOk="0">
                  <a:moveTo>
                    <a:pt x="354" y="1"/>
                  </a:moveTo>
                  <a:cubicBezTo>
                    <a:pt x="335" y="1"/>
                    <a:pt x="316" y="3"/>
                    <a:pt x="299" y="9"/>
                  </a:cubicBezTo>
                  <a:lnTo>
                    <a:pt x="96" y="81"/>
                  </a:lnTo>
                  <a:cubicBezTo>
                    <a:pt x="25" y="117"/>
                    <a:pt x="1" y="200"/>
                    <a:pt x="25" y="283"/>
                  </a:cubicBezTo>
                  <a:cubicBezTo>
                    <a:pt x="37" y="343"/>
                    <a:pt x="96" y="367"/>
                    <a:pt x="156" y="367"/>
                  </a:cubicBezTo>
                  <a:cubicBezTo>
                    <a:pt x="180" y="367"/>
                    <a:pt x="191" y="367"/>
                    <a:pt x="215" y="355"/>
                  </a:cubicBezTo>
                  <a:lnTo>
                    <a:pt x="418" y="283"/>
                  </a:lnTo>
                  <a:cubicBezTo>
                    <a:pt x="489" y="248"/>
                    <a:pt x="513" y="164"/>
                    <a:pt x="489" y="81"/>
                  </a:cubicBezTo>
                  <a:cubicBezTo>
                    <a:pt x="462" y="27"/>
                    <a:pt x="409" y="1"/>
                    <a:pt x="3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6" name="Google Shape;9886;p58"/>
            <p:cNvSpPr/>
            <p:nvPr/>
          </p:nvSpPr>
          <p:spPr>
            <a:xfrm>
              <a:off x="5876960" y="2500027"/>
              <a:ext cx="16290" cy="11654"/>
            </a:xfrm>
            <a:custGeom>
              <a:avLst/>
              <a:gdLst/>
              <a:ahLst/>
              <a:cxnLst/>
              <a:rect l="l" t="t" r="r" b="b"/>
              <a:pathLst>
                <a:path w="513" h="367" extrusionOk="0">
                  <a:moveTo>
                    <a:pt x="352" y="0"/>
                  </a:moveTo>
                  <a:cubicBezTo>
                    <a:pt x="334" y="0"/>
                    <a:pt x="316" y="3"/>
                    <a:pt x="298" y="9"/>
                  </a:cubicBezTo>
                  <a:lnTo>
                    <a:pt x="96" y="92"/>
                  </a:lnTo>
                  <a:cubicBezTo>
                    <a:pt x="25" y="116"/>
                    <a:pt x="1" y="212"/>
                    <a:pt x="25" y="283"/>
                  </a:cubicBezTo>
                  <a:cubicBezTo>
                    <a:pt x="60" y="343"/>
                    <a:pt x="96" y="366"/>
                    <a:pt x="156" y="366"/>
                  </a:cubicBezTo>
                  <a:cubicBezTo>
                    <a:pt x="179" y="366"/>
                    <a:pt x="191" y="366"/>
                    <a:pt x="215" y="354"/>
                  </a:cubicBezTo>
                  <a:lnTo>
                    <a:pt x="418" y="283"/>
                  </a:lnTo>
                  <a:cubicBezTo>
                    <a:pt x="489" y="247"/>
                    <a:pt x="513" y="164"/>
                    <a:pt x="489" y="92"/>
                  </a:cubicBezTo>
                  <a:cubicBezTo>
                    <a:pt x="462" y="29"/>
                    <a:pt x="408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87" name="Google Shape;9887;p58"/>
          <p:cNvGrpSpPr/>
          <p:nvPr/>
        </p:nvGrpSpPr>
        <p:grpSpPr>
          <a:xfrm>
            <a:off x="2497275" y="2744159"/>
            <a:ext cx="370930" cy="370549"/>
            <a:chOff x="2497275" y="2744159"/>
            <a:chExt cx="370930" cy="370549"/>
          </a:xfrm>
        </p:grpSpPr>
        <p:sp>
          <p:nvSpPr>
            <p:cNvPr id="9888" name="Google Shape;9888;p58"/>
            <p:cNvSpPr/>
            <p:nvPr/>
          </p:nvSpPr>
          <p:spPr>
            <a:xfrm>
              <a:off x="2497275" y="2744159"/>
              <a:ext cx="284366" cy="284747"/>
            </a:xfrm>
            <a:custGeom>
              <a:avLst/>
              <a:gdLst/>
              <a:ahLst/>
              <a:cxnLst/>
              <a:rect l="l" t="t" r="r" b="b"/>
              <a:pathLst>
                <a:path w="8955" h="8967" extrusionOk="0">
                  <a:moveTo>
                    <a:pt x="4204" y="1"/>
                  </a:moveTo>
                  <a:cubicBezTo>
                    <a:pt x="3942" y="1"/>
                    <a:pt x="3704" y="203"/>
                    <a:pt x="3644" y="465"/>
                  </a:cubicBezTo>
                  <a:lnTo>
                    <a:pt x="3466" y="1334"/>
                  </a:lnTo>
                  <a:cubicBezTo>
                    <a:pt x="3287" y="1394"/>
                    <a:pt x="3108" y="1465"/>
                    <a:pt x="2942" y="1537"/>
                  </a:cubicBezTo>
                  <a:lnTo>
                    <a:pt x="2215" y="1048"/>
                  </a:lnTo>
                  <a:cubicBezTo>
                    <a:pt x="2120" y="983"/>
                    <a:pt x="2009" y="952"/>
                    <a:pt x="1899" y="952"/>
                  </a:cubicBezTo>
                  <a:cubicBezTo>
                    <a:pt x="1749" y="952"/>
                    <a:pt x="1599" y="1010"/>
                    <a:pt x="1489" y="1120"/>
                  </a:cubicBezTo>
                  <a:lnTo>
                    <a:pt x="1108" y="1489"/>
                  </a:lnTo>
                  <a:cubicBezTo>
                    <a:pt x="918" y="1691"/>
                    <a:pt x="894" y="1989"/>
                    <a:pt x="1037" y="2227"/>
                  </a:cubicBezTo>
                  <a:lnTo>
                    <a:pt x="1525" y="2953"/>
                  </a:lnTo>
                  <a:cubicBezTo>
                    <a:pt x="1441" y="3120"/>
                    <a:pt x="1370" y="3287"/>
                    <a:pt x="1322" y="3465"/>
                  </a:cubicBezTo>
                  <a:lnTo>
                    <a:pt x="453" y="3644"/>
                  </a:lnTo>
                  <a:cubicBezTo>
                    <a:pt x="191" y="3703"/>
                    <a:pt x="1" y="3930"/>
                    <a:pt x="1" y="4215"/>
                  </a:cubicBezTo>
                  <a:lnTo>
                    <a:pt x="1" y="4751"/>
                  </a:lnTo>
                  <a:cubicBezTo>
                    <a:pt x="1" y="5025"/>
                    <a:pt x="191" y="5251"/>
                    <a:pt x="453" y="5323"/>
                  </a:cubicBezTo>
                  <a:lnTo>
                    <a:pt x="1322" y="5501"/>
                  </a:lnTo>
                  <a:cubicBezTo>
                    <a:pt x="1382" y="5668"/>
                    <a:pt x="1453" y="5847"/>
                    <a:pt x="1525" y="6013"/>
                  </a:cubicBezTo>
                  <a:lnTo>
                    <a:pt x="1037" y="6740"/>
                  </a:lnTo>
                  <a:cubicBezTo>
                    <a:pt x="894" y="6966"/>
                    <a:pt x="918" y="7287"/>
                    <a:pt x="1108" y="7478"/>
                  </a:cubicBezTo>
                  <a:lnTo>
                    <a:pt x="1489" y="7847"/>
                  </a:lnTo>
                  <a:cubicBezTo>
                    <a:pt x="1599" y="7957"/>
                    <a:pt x="1745" y="8015"/>
                    <a:pt x="1894" y="8015"/>
                  </a:cubicBezTo>
                  <a:cubicBezTo>
                    <a:pt x="2003" y="8015"/>
                    <a:pt x="2115" y="7984"/>
                    <a:pt x="2215" y="7918"/>
                  </a:cubicBezTo>
                  <a:lnTo>
                    <a:pt x="2942" y="7430"/>
                  </a:lnTo>
                  <a:cubicBezTo>
                    <a:pt x="3108" y="7513"/>
                    <a:pt x="3287" y="7597"/>
                    <a:pt x="3466" y="7633"/>
                  </a:cubicBezTo>
                  <a:lnTo>
                    <a:pt x="3644" y="8502"/>
                  </a:lnTo>
                  <a:cubicBezTo>
                    <a:pt x="3704" y="8764"/>
                    <a:pt x="3930" y="8966"/>
                    <a:pt x="4204" y="8966"/>
                  </a:cubicBezTo>
                  <a:lnTo>
                    <a:pt x="4740" y="8966"/>
                  </a:lnTo>
                  <a:cubicBezTo>
                    <a:pt x="5013" y="8966"/>
                    <a:pt x="5251" y="8764"/>
                    <a:pt x="5311" y="8502"/>
                  </a:cubicBezTo>
                  <a:lnTo>
                    <a:pt x="5490" y="7633"/>
                  </a:lnTo>
                  <a:cubicBezTo>
                    <a:pt x="5621" y="7597"/>
                    <a:pt x="5775" y="7537"/>
                    <a:pt x="5906" y="7478"/>
                  </a:cubicBezTo>
                  <a:cubicBezTo>
                    <a:pt x="6002" y="7442"/>
                    <a:pt x="6037" y="7323"/>
                    <a:pt x="6002" y="7240"/>
                  </a:cubicBezTo>
                  <a:cubicBezTo>
                    <a:pt x="5966" y="7169"/>
                    <a:pt x="5898" y="7131"/>
                    <a:pt x="5831" y="7131"/>
                  </a:cubicBezTo>
                  <a:cubicBezTo>
                    <a:pt x="5808" y="7131"/>
                    <a:pt x="5785" y="7135"/>
                    <a:pt x="5763" y="7144"/>
                  </a:cubicBezTo>
                  <a:cubicBezTo>
                    <a:pt x="5609" y="7228"/>
                    <a:pt x="5466" y="7287"/>
                    <a:pt x="5299" y="7323"/>
                  </a:cubicBezTo>
                  <a:cubicBezTo>
                    <a:pt x="5240" y="7347"/>
                    <a:pt x="5180" y="7406"/>
                    <a:pt x="5168" y="7454"/>
                  </a:cubicBezTo>
                  <a:lnTo>
                    <a:pt x="4966" y="8430"/>
                  </a:lnTo>
                  <a:cubicBezTo>
                    <a:pt x="4954" y="8514"/>
                    <a:pt x="4870" y="8597"/>
                    <a:pt x="4763" y="8597"/>
                  </a:cubicBezTo>
                  <a:lnTo>
                    <a:pt x="4228" y="8597"/>
                  </a:lnTo>
                  <a:cubicBezTo>
                    <a:pt x="4120" y="8597"/>
                    <a:pt x="4049" y="8514"/>
                    <a:pt x="4013" y="8430"/>
                  </a:cubicBezTo>
                  <a:lnTo>
                    <a:pt x="3823" y="7454"/>
                  </a:lnTo>
                  <a:cubicBezTo>
                    <a:pt x="3811" y="7383"/>
                    <a:pt x="3763" y="7335"/>
                    <a:pt x="3692" y="7323"/>
                  </a:cubicBezTo>
                  <a:cubicBezTo>
                    <a:pt x="3466" y="7263"/>
                    <a:pt x="3239" y="7180"/>
                    <a:pt x="3049" y="7061"/>
                  </a:cubicBezTo>
                  <a:cubicBezTo>
                    <a:pt x="3019" y="7043"/>
                    <a:pt x="2986" y="7034"/>
                    <a:pt x="2954" y="7034"/>
                  </a:cubicBezTo>
                  <a:cubicBezTo>
                    <a:pt x="2921" y="7034"/>
                    <a:pt x="2888" y="7043"/>
                    <a:pt x="2858" y="7061"/>
                  </a:cubicBezTo>
                  <a:lnTo>
                    <a:pt x="2037" y="7609"/>
                  </a:lnTo>
                  <a:cubicBezTo>
                    <a:pt x="2006" y="7634"/>
                    <a:pt x="1966" y="7647"/>
                    <a:pt x="1926" y="7647"/>
                  </a:cubicBezTo>
                  <a:cubicBezTo>
                    <a:pt x="1874" y="7647"/>
                    <a:pt x="1821" y="7625"/>
                    <a:pt x="1787" y="7585"/>
                  </a:cubicBezTo>
                  <a:lnTo>
                    <a:pt x="1418" y="7204"/>
                  </a:lnTo>
                  <a:cubicBezTo>
                    <a:pt x="1334" y="7132"/>
                    <a:pt x="1334" y="7025"/>
                    <a:pt x="1382" y="6954"/>
                  </a:cubicBezTo>
                  <a:lnTo>
                    <a:pt x="1930" y="6132"/>
                  </a:lnTo>
                  <a:cubicBezTo>
                    <a:pt x="1977" y="6073"/>
                    <a:pt x="1977" y="6001"/>
                    <a:pt x="1930" y="5942"/>
                  </a:cubicBezTo>
                  <a:cubicBezTo>
                    <a:pt x="1811" y="5739"/>
                    <a:pt x="1727" y="5525"/>
                    <a:pt x="1668" y="5299"/>
                  </a:cubicBezTo>
                  <a:cubicBezTo>
                    <a:pt x="1656" y="5239"/>
                    <a:pt x="1596" y="5180"/>
                    <a:pt x="1537" y="5168"/>
                  </a:cubicBezTo>
                  <a:lnTo>
                    <a:pt x="560" y="4977"/>
                  </a:lnTo>
                  <a:cubicBezTo>
                    <a:pt x="477" y="4954"/>
                    <a:pt x="406" y="4870"/>
                    <a:pt x="406" y="4763"/>
                  </a:cubicBezTo>
                  <a:lnTo>
                    <a:pt x="406" y="4227"/>
                  </a:lnTo>
                  <a:cubicBezTo>
                    <a:pt x="406" y="4132"/>
                    <a:pt x="477" y="4049"/>
                    <a:pt x="560" y="4025"/>
                  </a:cubicBezTo>
                  <a:lnTo>
                    <a:pt x="1537" y="3834"/>
                  </a:lnTo>
                  <a:cubicBezTo>
                    <a:pt x="1608" y="3811"/>
                    <a:pt x="1656" y="3775"/>
                    <a:pt x="1668" y="3692"/>
                  </a:cubicBezTo>
                  <a:cubicBezTo>
                    <a:pt x="1727" y="3477"/>
                    <a:pt x="1811" y="3251"/>
                    <a:pt x="1930" y="3061"/>
                  </a:cubicBezTo>
                  <a:cubicBezTo>
                    <a:pt x="1965" y="3001"/>
                    <a:pt x="1965" y="2918"/>
                    <a:pt x="1930" y="2858"/>
                  </a:cubicBezTo>
                  <a:lnTo>
                    <a:pt x="1382" y="2049"/>
                  </a:lnTo>
                  <a:cubicBezTo>
                    <a:pt x="1322" y="1965"/>
                    <a:pt x="1334" y="1846"/>
                    <a:pt x="1418" y="1787"/>
                  </a:cubicBezTo>
                  <a:lnTo>
                    <a:pt x="1787" y="1417"/>
                  </a:lnTo>
                  <a:cubicBezTo>
                    <a:pt x="1826" y="1378"/>
                    <a:pt x="1876" y="1360"/>
                    <a:pt x="1925" y="1360"/>
                  </a:cubicBezTo>
                  <a:cubicBezTo>
                    <a:pt x="1965" y="1360"/>
                    <a:pt x="2005" y="1372"/>
                    <a:pt x="2037" y="1394"/>
                  </a:cubicBezTo>
                  <a:lnTo>
                    <a:pt x="2858" y="1941"/>
                  </a:lnTo>
                  <a:cubicBezTo>
                    <a:pt x="2888" y="1965"/>
                    <a:pt x="2921" y="1977"/>
                    <a:pt x="2954" y="1977"/>
                  </a:cubicBezTo>
                  <a:cubicBezTo>
                    <a:pt x="2986" y="1977"/>
                    <a:pt x="3019" y="1965"/>
                    <a:pt x="3049" y="1941"/>
                  </a:cubicBezTo>
                  <a:cubicBezTo>
                    <a:pt x="3263" y="1822"/>
                    <a:pt x="3466" y="1727"/>
                    <a:pt x="3692" y="1668"/>
                  </a:cubicBezTo>
                  <a:cubicBezTo>
                    <a:pt x="3751" y="1656"/>
                    <a:pt x="3811" y="1596"/>
                    <a:pt x="3823" y="1537"/>
                  </a:cubicBezTo>
                  <a:lnTo>
                    <a:pt x="4013" y="572"/>
                  </a:lnTo>
                  <a:cubicBezTo>
                    <a:pt x="4037" y="477"/>
                    <a:pt x="4120" y="405"/>
                    <a:pt x="4228" y="405"/>
                  </a:cubicBezTo>
                  <a:lnTo>
                    <a:pt x="4763" y="405"/>
                  </a:lnTo>
                  <a:cubicBezTo>
                    <a:pt x="4870" y="405"/>
                    <a:pt x="4942" y="477"/>
                    <a:pt x="4966" y="572"/>
                  </a:cubicBezTo>
                  <a:lnTo>
                    <a:pt x="5168" y="1537"/>
                  </a:lnTo>
                  <a:cubicBezTo>
                    <a:pt x="5180" y="1608"/>
                    <a:pt x="5216" y="1656"/>
                    <a:pt x="5299" y="1668"/>
                  </a:cubicBezTo>
                  <a:cubicBezTo>
                    <a:pt x="5513" y="1727"/>
                    <a:pt x="5740" y="1822"/>
                    <a:pt x="5930" y="1941"/>
                  </a:cubicBezTo>
                  <a:cubicBezTo>
                    <a:pt x="5960" y="1953"/>
                    <a:pt x="5996" y="1959"/>
                    <a:pt x="6031" y="1959"/>
                  </a:cubicBezTo>
                  <a:cubicBezTo>
                    <a:pt x="6067" y="1959"/>
                    <a:pt x="6103" y="1953"/>
                    <a:pt x="6133" y="1941"/>
                  </a:cubicBezTo>
                  <a:lnTo>
                    <a:pt x="6942" y="1394"/>
                  </a:lnTo>
                  <a:cubicBezTo>
                    <a:pt x="6978" y="1368"/>
                    <a:pt x="7021" y="1356"/>
                    <a:pt x="7063" y="1356"/>
                  </a:cubicBezTo>
                  <a:cubicBezTo>
                    <a:pt x="7117" y="1356"/>
                    <a:pt x="7170" y="1377"/>
                    <a:pt x="7204" y="1417"/>
                  </a:cubicBezTo>
                  <a:lnTo>
                    <a:pt x="7573" y="1787"/>
                  </a:lnTo>
                  <a:cubicBezTo>
                    <a:pt x="7645" y="1870"/>
                    <a:pt x="7645" y="1965"/>
                    <a:pt x="7597" y="2049"/>
                  </a:cubicBezTo>
                  <a:lnTo>
                    <a:pt x="7049" y="2858"/>
                  </a:lnTo>
                  <a:cubicBezTo>
                    <a:pt x="7002" y="2918"/>
                    <a:pt x="7002" y="2989"/>
                    <a:pt x="7049" y="3061"/>
                  </a:cubicBezTo>
                  <a:cubicBezTo>
                    <a:pt x="7168" y="3263"/>
                    <a:pt x="7264" y="3477"/>
                    <a:pt x="7323" y="3692"/>
                  </a:cubicBezTo>
                  <a:cubicBezTo>
                    <a:pt x="7335" y="3751"/>
                    <a:pt x="7395" y="3811"/>
                    <a:pt x="7454" y="3834"/>
                  </a:cubicBezTo>
                  <a:lnTo>
                    <a:pt x="8419" y="4025"/>
                  </a:lnTo>
                  <a:cubicBezTo>
                    <a:pt x="8514" y="4037"/>
                    <a:pt x="8585" y="4132"/>
                    <a:pt x="8585" y="4227"/>
                  </a:cubicBezTo>
                  <a:lnTo>
                    <a:pt x="8585" y="4763"/>
                  </a:lnTo>
                  <a:cubicBezTo>
                    <a:pt x="8585" y="4870"/>
                    <a:pt x="8514" y="4942"/>
                    <a:pt x="8419" y="4977"/>
                  </a:cubicBezTo>
                  <a:lnTo>
                    <a:pt x="7454" y="5168"/>
                  </a:lnTo>
                  <a:cubicBezTo>
                    <a:pt x="7383" y="5180"/>
                    <a:pt x="7335" y="5227"/>
                    <a:pt x="7323" y="5299"/>
                  </a:cubicBezTo>
                  <a:cubicBezTo>
                    <a:pt x="7276" y="5466"/>
                    <a:pt x="7216" y="5632"/>
                    <a:pt x="7145" y="5775"/>
                  </a:cubicBezTo>
                  <a:cubicBezTo>
                    <a:pt x="7097" y="5870"/>
                    <a:pt x="7145" y="5966"/>
                    <a:pt x="7228" y="6013"/>
                  </a:cubicBezTo>
                  <a:cubicBezTo>
                    <a:pt x="7254" y="6026"/>
                    <a:pt x="7280" y="6032"/>
                    <a:pt x="7305" y="6032"/>
                  </a:cubicBezTo>
                  <a:cubicBezTo>
                    <a:pt x="7372" y="6032"/>
                    <a:pt x="7431" y="5991"/>
                    <a:pt x="7466" y="5930"/>
                  </a:cubicBezTo>
                  <a:cubicBezTo>
                    <a:pt x="7526" y="5799"/>
                    <a:pt x="7585" y="5644"/>
                    <a:pt x="7633" y="5501"/>
                  </a:cubicBezTo>
                  <a:lnTo>
                    <a:pt x="8490" y="5323"/>
                  </a:lnTo>
                  <a:cubicBezTo>
                    <a:pt x="8764" y="5263"/>
                    <a:pt x="8954" y="5037"/>
                    <a:pt x="8954" y="4751"/>
                  </a:cubicBezTo>
                  <a:lnTo>
                    <a:pt x="8954" y="4215"/>
                  </a:lnTo>
                  <a:cubicBezTo>
                    <a:pt x="8954" y="3942"/>
                    <a:pt x="8764" y="3715"/>
                    <a:pt x="8490" y="3644"/>
                  </a:cubicBezTo>
                  <a:lnTo>
                    <a:pt x="7633" y="3465"/>
                  </a:lnTo>
                  <a:cubicBezTo>
                    <a:pt x="7573" y="3287"/>
                    <a:pt x="7502" y="3120"/>
                    <a:pt x="7418" y="2953"/>
                  </a:cubicBezTo>
                  <a:lnTo>
                    <a:pt x="7918" y="2227"/>
                  </a:lnTo>
                  <a:cubicBezTo>
                    <a:pt x="8061" y="2001"/>
                    <a:pt x="8038" y="1679"/>
                    <a:pt x="7835" y="1489"/>
                  </a:cubicBezTo>
                  <a:lnTo>
                    <a:pt x="7466" y="1120"/>
                  </a:lnTo>
                  <a:cubicBezTo>
                    <a:pt x="7356" y="1010"/>
                    <a:pt x="7211" y="952"/>
                    <a:pt x="7061" y="952"/>
                  </a:cubicBezTo>
                  <a:cubicBezTo>
                    <a:pt x="6952" y="952"/>
                    <a:pt x="6840" y="983"/>
                    <a:pt x="6740" y="1048"/>
                  </a:cubicBezTo>
                  <a:lnTo>
                    <a:pt x="6013" y="1537"/>
                  </a:lnTo>
                  <a:cubicBezTo>
                    <a:pt x="5847" y="1453"/>
                    <a:pt x="5668" y="1370"/>
                    <a:pt x="5490" y="1334"/>
                  </a:cubicBezTo>
                  <a:lnTo>
                    <a:pt x="5311" y="465"/>
                  </a:lnTo>
                  <a:cubicBezTo>
                    <a:pt x="5251" y="203"/>
                    <a:pt x="5025" y="1"/>
                    <a:pt x="47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9" name="Google Shape;9889;p58"/>
            <p:cNvSpPr/>
            <p:nvPr/>
          </p:nvSpPr>
          <p:spPr>
            <a:xfrm>
              <a:off x="2592191" y="2821673"/>
              <a:ext cx="113461" cy="98345"/>
            </a:xfrm>
            <a:custGeom>
              <a:avLst/>
              <a:gdLst/>
              <a:ahLst/>
              <a:cxnLst/>
              <a:rect l="l" t="t" r="r" b="b"/>
              <a:pathLst>
                <a:path w="3573" h="3097" extrusionOk="0">
                  <a:moveTo>
                    <a:pt x="1524" y="0"/>
                  </a:moveTo>
                  <a:cubicBezTo>
                    <a:pt x="989" y="0"/>
                    <a:pt x="465" y="215"/>
                    <a:pt x="72" y="584"/>
                  </a:cubicBezTo>
                  <a:cubicBezTo>
                    <a:pt x="0" y="655"/>
                    <a:pt x="0" y="774"/>
                    <a:pt x="72" y="834"/>
                  </a:cubicBezTo>
                  <a:cubicBezTo>
                    <a:pt x="113" y="876"/>
                    <a:pt x="164" y="896"/>
                    <a:pt x="212" y="896"/>
                  </a:cubicBezTo>
                  <a:cubicBezTo>
                    <a:pt x="259" y="896"/>
                    <a:pt x="304" y="876"/>
                    <a:pt x="334" y="834"/>
                  </a:cubicBezTo>
                  <a:cubicBezTo>
                    <a:pt x="643" y="524"/>
                    <a:pt x="1072" y="358"/>
                    <a:pt x="1500" y="358"/>
                  </a:cubicBezTo>
                  <a:cubicBezTo>
                    <a:pt x="2441" y="358"/>
                    <a:pt x="3203" y="1120"/>
                    <a:pt x="3203" y="2060"/>
                  </a:cubicBezTo>
                  <a:cubicBezTo>
                    <a:pt x="3203" y="2322"/>
                    <a:pt x="3144" y="2596"/>
                    <a:pt x="3024" y="2834"/>
                  </a:cubicBezTo>
                  <a:cubicBezTo>
                    <a:pt x="2965" y="2941"/>
                    <a:pt x="3013" y="3037"/>
                    <a:pt x="3096" y="3084"/>
                  </a:cubicBezTo>
                  <a:cubicBezTo>
                    <a:pt x="3132" y="3096"/>
                    <a:pt x="3155" y="3096"/>
                    <a:pt x="3191" y="3096"/>
                  </a:cubicBezTo>
                  <a:cubicBezTo>
                    <a:pt x="3251" y="3096"/>
                    <a:pt x="3322" y="3072"/>
                    <a:pt x="3346" y="3001"/>
                  </a:cubicBezTo>
                  <a:cubicBezTo>
                    <a:pt x="3501" y="2715"/>
                    <a:pt x="3572" y="2382"/>
                    <a:pt x="3572" y="2060"/>
                  </a:cubicBezTo>
                  <a:cubicBezTo>
                    <a:pt x="3572" y="929"/>
                    <a:pt x="2655" y="0"/>
                    <a:pt x="1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0" name="Google Shape;9890;p58"/>
            <p:cNvSpPr/>
            <p:nvPr/>
          </p:nvSpPr>
          <p:spPr>
            <a:xfrm>
              <a:off x="2574408" y="2862129"/>
              <a:ext cx="106665" cy="90756"/>
            </a:xfrm>
            <a:custGeom>
              <a:avLst/>
              <a:gdLst/>
              <a:ahLst/>
              <a:cxnLst/>
              <a:rect l="l" t="t" r="r" b="b"/>
              <a:pathLst>
                <a:path w="3359" h="2858" extrusionOk="0">
                  <a:moveTo>
                    <a:pt x="294" y="1"/>
                  </a:moveTo>
                  <a:cubicBezTo>
                    <a:pt x="218" y="1"/>
                    <a:pt x="145" y="48"/>
                    <a:pt x="108" y="131"/>
                  </a:cubicBezTo>
                  <a:cubicBezTo>
                    <a:pt x="36" y="334"/>
                    <a:pt x="1" y="572"/>
                    <a:pt x="1" y="798"/>
                  </a:cubicBezTo>
                  <a:cubicBezTo>
                    <a:pt x="1" y="1929"/>
                    <a:pt x="917" y="2858"/>
                    <a:pt x="2049" y="2858"/>
                  </a:cubicBezTo>
                  <a:cubicBezTo>
                    <a:pt x="2477" y="2858"/>
                    <a:pt x="2894" y="2715"/>
                    <a:pt x="3251" y="2465"/>
                  </a:cubicBezTo>
                  <a:cubicBezTo>
                    <a:pt x="3346" y="2405"/>
                    <a:pt x="3358" y="2286"/>
                    <a:pt x="3299" y="2215"/>
                  </a:cubicBezTo>
                  <a:cubicBezTo>
                    <a:pt x="3263" y="2158"/>
                    <a:pt x="3206" y="2131"/>
                    <a:pt x="3151" y="2131"/>
                  </a:cubicBezTo>
                  <a:cubicBezTo>
                    <a:pt x="3114" y="2131"/>
                    <a:pt x="3077" y="2143"/>
                    <a:pt x="3049" y="2167"/>
                  </a:cubicBezTo>
                  <a:cubicBezTo>
                    <a:pt x="2763" y="2382"/>
                    <a:pt x="2406" y="2501"/>
                    <a:pt x="2049" y="2501"/>
                  </a:cubicBezTo>
                  <a:cubicBezTo>
                    <a:pt x="1108" y="2501"/>
                    <a:pt x="346" y="1739"/>
                    <a:pt x="346" y="798"/>
                  </a:cubicBezTo>
                  <a:cubicBezTo>
                    <a:pt x="346" y="608"/>
                    <a:pt x="382" y="429"/>
                    <a:pt x="441" y="250"/>
                  </a:cubicBezTo>
                  <a:cubicBezTo>
                    <a:pt x="501" y="143"/>
                    <a:pt x="441" y="36"/>
                    <a:pt x="358" y="12"/>
                  </a:cubicBezTo>
                  <a:cubicBezTo>
                    <a:pt x="337" y="4"/>
                    <a:pt x="315" y="1"/>
                    <a:pt x="2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1" name="Google Shape;9891;p58"/>
            <p:cNvSpPr/>
            <p:nvPr/>
          </p:nvSpPr>
          <p:spPr>
            <a:xfrm>
              <a:off x="2676881" y="2923385"/>
              <a:ext cx="191324" cy="191324"/>
            </a:xfrm>
            <a:custGeom>
              <a:avLst/>
              <a:gdLst/>
              <a:ahLst/>
              <a:cxnLst/>
              <a:rect l="l" t="t" r="r" b="b"/>
              <a:pathLst>
                <a:path w="6025" h="6025" extrusionOk="0">
                  <a:moveTo>
                    <a:pt x="2810" y="0"/>
                  </a:moveTo>
                  <a:cubicBezTo>
                    <a:pt x="2608" y="0"/>
                    <a:pt x="2429" y="155"/>
                    <a:pt x="2382" y="357"/>
                  </a:cubicBezTo>
                  <a:lnTo>
                    <a:pt x="2274" y="893"/>
                  </a:lnTo>
                  <a:cubicBezTo>
                    <a:pt x="2191" y="929"/>
                    <a:pt x="2084" y="965"/>
                    <a:pt x="1989" y="1012"/>
                  </a:cubicBezTo>
                  <a:lnTo>
                    <a:pt x="1548" y="715"/>
                  </a:lnTo>
                  <a:cubicBezTo>
                    <a:pt x="1475" y="666"/>
                    <a:pt x="1393" y="643"/>
                    <a:pt x="1313" y="643"/>
                  </a:cubicBezTo>
                  <a:cubicBezTo>
                    <a:pt x="1198" y="643"/>
                    <a:pt x="1085" y="690"/>
                    <a:pt x="1000" y="774"/>
                  </a:cubicBezTo>
                  <a:lnTo>
                    <a:pt x="738" y="1024"/>
                  </a:lnTo>
                  <a:cubicBezTo>
                    <a:pt x="596" y="1179"/>
                    <a:pt x="572" y="1417"/>
                    <a:pt x="679" y="1584"/>
                  </a:cubicBezTo>
                  <a:lnTo>
                    <a:pt x="977" y="2024"/>
                  </a:lnTo>
                  <a:cubicBezTo>
                    <a:pt x="917" y="2143"/>
                    <a:pt x="858" y="2274"/>
                    <a:pt x="834" y="2417"/>
                  </a:cubicBezTo>
                  <a:cubicBezTo>
                    <a:pt x="798" y="2512"/>
                    <a:pt x="858" y="2608"/>
                    <a:pt x="965" y="2631"/>
                  </a:cubicBezTo>
                  <a:cubicBezTo>
                    <a:pt x="986" y="2639"/>
                    <a:pt x="1006" y="2642"/>
                    <a:pt x="1025" y="2642"/>
                  </a:cubicBezTo>
                  <a:cubicBezTo>
                    <a:pt x="1103" y="2642"/>
                    <a:pt x="1162" y="2587"/>
                    <a:pt x="1191" y="2501"/>
                  </a:cubicBezTo>
                  <a:cubicBezTo>
                    <a:pt x="1227" y="2358"/>
                    <a:pt x="1298" y="2215"/>
                    <a:pt x="1346" y="2096"/>
                  </a:cubicBezTo>
                  <a:cubicBezTo>
                    <a:pt x="1381" y="2036"/>
                    <a:pt x="1381" y="1965"/>
                    <a:pt x="1346" y="1905"/>
                  </a:cubicBezTo>
                  <a:lnTo>
                    <a:pt x="1000" y="1369"/>
                  </a:lnTo>
                  <a:cubicBezTo>
                    <a:pt x="977" y="1346"/>
                    <a:pt x="977" y="1310"/>
                    <a:pt x="1012" y="1286"/>
                  </a:cubicBezTo>
                  <a:lnTo>
                    <a:pt x="1262" y="1024"/>
                  </a:lnTo>
                  <a:cubicBezTo>
                    <a:pt x="1283" y="1010"/>
                    <a:pt x="1300" y="1004"/>
                    <a:pt x="1318" y="1004"/>
                  </a:cubicBezTo>
                  <a:cubicBezTo>
                    <a:pt x="1330" y="1004"/>
                    <a:pt x="1343" y="1007"/>
                    <a:pt x="1358" y="1012"/>
                  </a:cubicBezTo>
                  <a:lnTo>
                    <a:pt x="1893" y="1369"/>
                  </a:lnTo>
                  <a:cubicBezTo>
                    <a:pt x="1923" y="1393"/>
                    <a:pt x="1956" y="1405"/>
                    <a:pt x="1989" y="1405"/>
                  </a:cubicBezTo>
                  <a:cubicBezTo>
                    <a:pt x="2021" y="1405"/>
                    <a:pt x="2054" y="1393"/>
                    <a:pt x="2084" y="1369"/>
                  </a:cubicBezTo>
                  <a:cubicBezTo>
                    <a:pt x="2215" y="1298"/>
                    <a:pt x="2346" y="1238"/>
                    <a:pt x="2489" y="1203"/>
                  </a:cubicBezTo>
                  <a:cubicBezTo>
                    <a:pt x="2548" y="1191"/>
                    <a:pt x="2608" y="1131"/>
                    <a:pt x="2620" y="1072"/>
                  </a:cubicBezTo>
                  <a:lnTo>
                    <a:pt x="2751" y="429"/>
                  </a:lnTo>
                  <a:cubicBezTo>
                    <a:pt x="2751" y="405"/>
                    <a:pt x="2786" y="369"/>
                    <a:pt x="2822" y="369"/>
                  </a:cubicBezTo>
                  <a:lnTo>
                    <a:pt x="3167" y="369"/>
                  </a:lnTo>
                  <a:cubicBezTo>
                    <a:pt x="3203" y="369"/>
                    <a:pt x="3227" y="405"/>
                    <a:pt x="3239" y="429"/>
                  </a:cubicBezTo>
                  <a:lnTo>
                    <a:pt x="3382" y="1072"/>
                  </a:lnTo>
                  <a:cubicBezTo>
                    <a:pt x="3394" y="1143"/>
                    <a:pt x="3429" y="1191"/>
                    <a:pt x="3513" y="1203"/>
                  </a:cubicBezTo>
                  <a:cubicBezTo>
                    <a:pt x="3656" y="1250"/>
                    <a:pt x="3786" y="1310"/>
                    <a:pt x="3917" y="1369"/>
                  </a:cubicBezTo>
                  <a:cubicBezTo>
                    <a:pt x="3947" y="1387"/>
                    <a:pt x="3980" y="1396"/>
                    <a:pt x="4013" y="1396"/>
                  </a:cubicBezTo>
                  <a:cubicBezTo>
                    <a:pt x="4045" y="1396"/>
                    <a:pt x="4078" y="1387"/>
                    <a:pt x="4108" y="1369"/>
                  </a:cubicBezTo>
                  <a:lnTo>
                    <a:pt x="4644" y="1012"/>
                  </a:lnTo>
                  <a:cubicBezTo>
                    <a:pt x="4654" y="1007"/>
                    <a:pt x="4665" y="1004"/>
                    <a:pt x="4678" y="1004"/>
                  </a:cubicBezTo>
                  <a:cubicBezTo>
                    <a:pt x="4695" y="1004"/>
                    <a:pt x="4713" y="1010"/>
                    <a:pt x="4727" y="1024"/>
                  </a:cubicBezTo>
                  <a:lnTo>
                    <a:pt x="4989" y="1286"/>
                  </a:lnTo>
                  <a:cubicBezTo>
                    <a:pt x="5013" y="1310"/>
                    <a:pt x="5013" y="1346"/>
                    <a:pt x="5001" y="1369"/>
                  </a:cubicBezTo>
                  <a:lnTo>
                    <a:pt x="4644" y="1905"/>
                  </a:lnTo>
                  <a:cubicBezTo>
                    <a:pt x="4596" y="1965"/>
                    <a:pt x="4596" y="2036"/>
                    <a:pt x="4644" y="2096"/>
                  </a:cubicBezTo>
                  <a:cubicBezTo>
                    <a:pt x="4715" y="2239"/>
                    <a:pt x="4775" y="2370"/>
                    <a:pt x="4810" y="2501"/>
                  </a:cubicBezTo>
                  <a:cubicBezTo>
                    <a:pt x="4822" y="2560"/>
                    <a:pt x="4882" y="2620"/>
                    <a:pt x="4941" y="2631"/>
                  </a:cubicBezTo>
                  <a:lnTo>
                    <a:pt x="5584" y="2774"/>
                  </a:lnTo>
                  <a:cubicBezTo>
                    <a:pt x="5608" y="2774"/>
                    <a:pt x="5644" y="2798"/>
                    <a:pt x="5644" y="2846"/>
                  </a:cubicBezTo>
                  <a:lnTo>
                    <a:pt x="5644" y="3191"/>
                  </a:lnTo>
                  <a:cubicBezTo>
                    <a:pt x="5644" y="3215"/>
                    <a:pt x="5608" y="3251"/>
                    <a:pt x="5584" y="3263"/>
                  </a:cubicBezTo>
                  <a:lnTo>
                    <a:pt x="4941" y="3393"/>
                  </a:lnTo>
                  <a:cubicBezTo>
                    <a:pt x="4870" y="3405"/>
                    <a:pt x="4822" y="3453"/>
                    <a:pt x="4810" y="3524"/>
                  </a:cubicBezTo>
                  <a:cubicBezTo>
                    <a:pt x="4763" y="3679"/>
                    <a:pt x="4703" y="3810"/>
                    <a:pt x="4644" y="3929"/>
                  </a:cubicBezTo>
                  <a:cubicBezTo>
                    <a:pt x="4608" y="3989"/>
                    <a:pt x="4608" y="4060"/>
                    <a:pt x="4644" y="4120"/>
                  </a:cubicBezTo>
                  <a:lnTo>
                    <a:pt x="5001" y="4656"/>
                  </a:lnTo>
                  <a:cubicBezTo>
                    <a:pt x="5013" y="4691"/>
                    <a:pt x="5013" y="4715"/>
                    <a:pt x="4989" y="4751"/>
                  </a:cubicBezTo>
                  <a:lnTo>
                    <a:pt x="4727" y="5001"/>
                  </a:lnTo>
                  <a:cubicBezTo>
                    <a:pt x="4714" y="5020"/>
                    <a:pt x="4697" y="5029"/>
                    <a:pt x="4681" y="5029"/>
                  </a:cubicBezTo>
                  <a:cubicBezTo>
                    <a:pt x="4668" y="5029"/>
                    <a:pt x="4654" y="5023"/>
                    <a:pt x="4644" y="5013"/>
                  </a:cubicBezTo>
                  <a:lnTo>
                    <a:pt x="4108" y="4656"/>
                  </a:lnTo>
                  <a:cubicBezTo>
                    <a:pt x="4078" y="4638"/>
                    <a:pt x="4045" y="4629"/>
                    <a:pt x="4013" y="4629"/>
                  </a:cubicBezTo>
                  <a:cubicBezTo>
                    <a:pt x="3980" y="4629"/>
                    <a:pt x="3947" y="4638"/>
                    <a:pt x="3917" y="4656"/>
                  </a:cubicBezTo>
                  <a:cubicBezTo>
                    <a:pt x="3775" y="4739"/>
                    <a:pt x="3644" y="4798"/>
                    <a:pt x="3513" y="4822"/>
                  </a:cubicBezTo>
                  <a:cubicBezTo>
                    <a:pt x="3453" y="4834"/>
                    <a:pt x="3394" y="4894"/>
                    <a:pt x="3382" y="4953"/>
                  </a:cubicBezTo>
                  <a:lnTo>
                    <a:pt x="3239" y="5596"/>
                  </a:lnTo>
                  <a:cubicBezTo>
                    <a:pt x="3239" y="5632"/>
                    <a:pt x="3215" y="5656"/>
                    <a:pt x="3167" y="5656"/>
                  </a:cubicBezTo>
                  <a:lnTo>
                    <a:pt x="2822" y="5656"/>
                  </a:lnTo>
                  <a:cubicBezTo>
                    <a:pt x="2798" y="5656"/>
                    <a:pt x="2763" y="5632"/>
                    <a:pt x="2751" y="5596"/>
                  </a:cubicBezTo>
                  <a:lnTo>
                    <a:pt x="2620" y="4953"/>
                  </a:lnTo>
                  <a:cubicBezTo>
                    <a:pt x="2608" y="4882"/>
                    <a:pt x="2560" y="4834"/>
                    <a:pt x="2489" y="4822"/>
                  </a:cubicBezTo>
                  <a:cubicBezTo>
                    <a:pt x="2334" y="4775"/>
                    <a:pt x="2203" y="4715"/>
                    <a:pt x="2084" y="4656"/>
                  </a:cubicBezTo>
                  <a:cubicBezTo>
                    <a:pt x="2054" y="4644"/>
                    <a:pt x="2021" y="4638"/>
                    <a:pt x="1989" y="4638"/>
                  </a:cubicBezTo>
                  <a:cubicBezTo>
                    <a:pt x="1956" y="4638"/>
                    <a:pt x="1923" y="4644"/>
                    <a:pt x="1893" y="4656"/>
                  </a:cubicBezTo>
                  <a:lnTo>
                    <a:pt x="1358" y="5013"/>
                  </a:lnTo>
                  <a:cubicBezTo>
                    <a:pt x="1342" y="5023"/>
                    <a:pt x="1328" y="5029"/>
                    <a:pt x="1314" y="5029"/>
                  </a:cubicBezTo>
                  <a:cubicBezTo>
                    <a:pt x="1298" y="5029"/>
                    <a:pt x="1282" y="5020"/>
                    <a:pt x="1262" y="5001"/>
                  </a:cubicBezTo>
                  <a:lnTo>
                    <a:pt x="1012" y="4751"/>
                  </a:lnTo>
                  <a:cubicBezTo>
                    <a:pt x="977" y="4715"/>
                    <a:pt x="977" y="4691"/>
                    <a:pt x="1000" y="4656"/>
                  </a:cubicBezTo>
                  <a:lnTo>
                    <a:pt x="1346" y="4120"/>
                  </a:lnTo>
                  <a:cubicBezTo>
                    <a:pt x="1393" y="4060"/>
                    <a:pt x="1393" y="3989"/>
                    <a:pt x="1346" y="3929"/>
                  </a:cubicBezTo>
                  <a:cubicBezTo>
                    <a:pt x="1274" y="3798"/>
                    <a:pt x="1215" y="3667"/>
                    <a:pt x="1191" y="3524"/>
                  </a:cubicBezTo>
                  <a:cubicBezTo>
                    <a:pt x="1167" y="3465"/>
                    <a:pt x="1108" y="3405"/>
                    <a:pt x="1048" y="3393"/>
                  </a:cubicBezTo>
                  <a:lnTo>
                    <a:pt x="417" y="3263"/>
                  </a:lnTo>
                  <a:cubicBezTo>
                    <a:pt x="381" y="3263"/>
                    <a:pt x="357" y="3227"/>
                    <a:pt x="357" y="3191"/>
                  </a:cubicBezTo>
                  <a:lnTo>
                    <a:pt x="357" y="2846"/>
                  </a:lnTo>
                  <a:cubicBezTo>
                    <a:pt x="357" y="2810"/>
                    <a:pt x="381" y="2786"/>
                    <a:pt x="417" y="2774"/>
                  </a:cubicBezTo>
                  <a:lnTo>
                    <a:pt x="453" y="2751"/>
                  </a:lnTo>
                  <a:cubicBezTo>
                    <a:pt x="560" y="2739"/>
                    <a:pt x="619" y="2631"/>
                    <a:pt x="608" y="2548"/>
                  </a:cubicBezTo>
                  <a:cubicBezTo>
                    <a:pt x="597" y="2450"/>
                    <a:pt x="506" y="2392"/>
                    <a:pt x="427" y="2392"/>
                  </a:cubicBezTo>
                  <a:cubicBezTo>
                    <a:pt x="419" y="2392"/>
                    <a:pt x="412" y="2392"/>
                    <a:pt x="405" y="2393"/>
                  </a:cubicBezTo>
                  <a:lnTo>
                    <a:pt x="357" y="2417"/>
                  </a:lnTo>
                  <a:cubicBezTo>
                    <a:pt x="143" y="2453"/>
                    <a:pt x="0" y="2631"/>
                    <a:pt x="0" y="2846"/>
                  </a:cubicBezTo>
                  <a:lnTo>
                    <a:pt x="0" y="3191"/>
                  </a:lnTo>
                  <a:cubicBezTo>
                    <a:pt x="0" y="3393"/>
                    <a:pt x="143" y="3572"/>
                    <a:pt x="357" y="3620"/>
                  </a:cubicBezTo>
                  <a:lnTo>
                    <a:pt x="893" y="3727"/>
                  </a:lnTo>
                  <a:cubicBezTo>
                    <a:pt x="917" y="3810"/>
                    <a:pt x="965" y="3917"/>
                    <a:pt x="1012" y="4001"/>
                  </a:cubicBezTo>
                  <a:lnTo>
                    <a:pt x="715" y="4453"/>
                  </a:lnTo>
                  <a:cubicBezTo>
                    <a:pt x="596" y="4632"/>
                    <a:pt x="619" y="4858"/>
                    <a:pt x="774" y="5001"/>
                  </a:cubicBezTo>
                  <a:lnTo>
                    <a:pt x="1024" y="5251"/>
                  </a:lnTo>
                  <a:cubicBezTo>
                    <a:pt x="1112" y="5339"/>
                    <a:pt x="1227" y="5381"/>
                    <a:pt x="1338" y="5381"/>
                  </a:cubicBezTo>
                  <a:cubicBezTo>
                    <a:pt x="1423" y="5381"/>
                    <a:pt x="1505" y="5357"/>
                    <a:pt x="1572" y="5310"/>
                  </a:cubicBezTo>
                  <a:lnTo>
                    <a:pt x="2024" y="5013"/>
                  </a:lnTo>
                  <a:cubicBezTo>
                    <a:pt x="2108" y="5060"/>
                    <a:pt x="2203" y="5108"/>
                    <a:pt x="2310" y="5132"/>
                  </a:cubicBezTo>
                  <a:lnTo>
                    <a:pt x="2405" y="5668"/>
                  </a:lnTo>
                  <a:cubicBezTo>
                    <a:pt x="2453" y="5882"/>
                    <a:pt x="2632" y="6025"/>
                    <a:pt x="2846" y="6025"/>
                  </a:cubicBezTo>
                  <a:lnTo>
                    <a:pt x="3179" y="6025"/>
                  </a:lnTo>
                  <a:cubicBezTo>
                    <a:pt x="3394" y="6025"/>
                    <a:pt x="3572" y="5882"/>
                    <a:pt x="3620" y="5668"/>
                  </a:cubicBezTo>
                  <a:lnTo>
                    <a:pt x="3715" y="5132"/>
                  </a:lnTo>
                  <a:cubicBezTo>
                    <a:pt x="3810" y="5108"/>
                    <a:pt x="3917" y="5060"/>
                    <a:pt x="4001" y="5013"/>
                  </a:cubicBezTo>
                  <a:lnTo>
                    <a:pt x="4453" y="5310"/>
                  </a:lnTo>
                  <a:cubicBezTo>
                    <a:pt x="4529" y="5361"/>
                    <a:pt x="4611" y="5386"/>
                    <a:pt x="4692" y="5386"/>
                  </a:cubicBezTo>
                  <a:cubicBezTo>
                    <a:pt x="4803" y="5386"/>
                    <a:pt x="4912" y="5340"/>
                    <a:pt x="5001" y="5251"/>
                  </a:cubicBezTo>
                  <a:lnTo>
                    <a:pt x="5251" y="5001"/>
                  </a:lnTo>
                  <a:cubicBezTo>
                    <a:pt x="5406" y="4858"/>
                    <a:pt x="5418" y="4620"/>
                    <a:pt x="5310" y="4453"/>
                  </a:cubicBezTo>
                  <a:lnTo>
                    <a:pt x="5013" y="4001"/>
                  </a:lnTo>
                  <a:cubicBezTo>
                    <a:pt x="5060" y="3917"/>
                    <a:pt x="5108" y="3822"/>
                    <a:pt x="5132" y="3727"/>
                  </a:cubicBezTo>
                  <a:lnTo>
                    <a:pt x="5668" y="3620"/>
                  </a:lnTo>
                  <a:cubicBezTo>
                    <a:pt x="5882" y="3572"/>
                    <a:pt x="6025" y="3393"/>
                    <a:pt x="6025" y="3191"/>
                  </a:cubicBezTo>
                  <a:lnTo>
                    <a:pt x="6025" y="2846"/>
                  </a:lnTo>
                  <a:cubicBezTo>
                    <a:pt x="6001" y="2631"/>
                    <a:pt x="5846" y="2453"/>
                    <a:pt x="5644" y="2417"/>
                  </a:cubicBezTo>
                  <a:lnTo>
                    <a:pt x="5108" y="2310"/>
                  </a:lnTo>
                  <a:cubicBezTo>
                    <a:pt x="5072" y="2215"/>
                    <a:pt x="5025" y="2120"/>
                    <a:pt x="4989" y="2024"/>
                  </a:cubicBezTo>
                  <a:lnTo>
                    <a:pt x="5287" y="1584"/>
                  </a:lnTo>
                  <a:cubicBezTo>
                    <a:pt x="5406" y="1405"/>
                    <a:pt x="5370" y="1179"/>
                    <a:pt x="5227" y="1024"/>
                  </a:cubicBezTo>
                  <a:lnTo>
                    <a:pt x="4965" y="774"/>
                  </a:lnTo>
                  <a:cubicBezTo>
                    <a:pt x="4882" y="691"/>
                    <a:pt x="4766" y="648"/>
                    <a:pt x="4651" y="648"/>
                  </a:cubicBezTo>
                  <a:cubicBezTo>
                    <a:pt x="4569" y="648"/>
                    <a:pt x="4487" y="670"/>
                    <a:pt x="4418" y="715"/>
                  </a:cubicBezTo>
                  <a:lnTo>
                    <a:pt x="3977" y="1012"/>
                  </a:lnTo>
                  <a:cubicBezTo>
                    <a:pt x="3882" y="965"/>
                    <a:pt x="3786" y="929"/>
                    <a:pt x="3691" y="893"/>
                  </a:cubicBezTo>
                  <a:lnTo>
                    <a:pt x="3584" y="357"/>
                  </a:lnTo>
                  <a:cubicBezTo>
                    <a:pt x="3536" y="155"/>
                    <a:pt x="3358" y="0"/>
                    <a:pt x="3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2" name="Google Shape;9892;p58"/>
            <p:cNvSpPr/>
            <p:nvPr/>
          </p:nvSpPr>
          <p:spPr>
            <a:xfrm>
              <a:off x="2738867" y="2986895"/>
              <a:ext cx="65066" cy="65066"/>
            </a:xfrm>
            <a:custGeom>
              <a:avLst/>
              <a:gdLst/>
              <a:ahLst/>
              <a:cxnLst/>
              <a:rect l="l" t="t" r="r" b="b"/>
              <a:pathLst>
                <a:path w="2049" h="2049" extrusionOk="0">
                  <a:moveTo>
                    <a:pt x="1025" y="0"/>
                  </a:moveTo>
                  <a:cubicBezTo>
                    <a:pt x="453" y="0"/>
                    <a:pt x="1" y="453"/>
                    <a:pt x="1" y="1024"/>
                  </a:cubicBezTo>
                  <a:cubicBezTo>
                    <a:pt x="1" y="1584"/>
                    <a:pt x="453" y="2048"/>
                    <a:pt x="1025" y="2048"/>
                  </a:cubicBezTo>
                  <a:cubicBezTo>
                    <a:pt x="1251" y="2048"/>
                    <a:pt x="1465" y="1977"/>
                    <a:pt x="1644" y="1846"/>
                  </a:cubicBezTo>
                  <a:cubicBezTo>
                    <a:pt x="1727" y="1786"/>
                    <a:pt x="1739" y="1667"/>
                    <a:pt x="1680" y="1584"/>
                  </a:cubicBezTo>
                  <a:cubicBezTo>
                    <a:pt x="1646" y="1543"/>
                    <a:pt x="1593" y="1522"/>
                    <a:pt x="1540" y="1522"/>
                  </a:cubicBezTo>
                  <a:cubicBezTo>
                    <a:pt x="1500" y="1522"/>
                    <a:pt x="1461" y="1534"/>
                    <a:pt x="1430" y="1560"/>
                  </a:cubicBezTo>
                  <a:cubicBezTo>
                    <a:pt x="1311" y="1644"/>
                    <a:pt x="1168" y="1691"/>
                    <a:pt x="1025" y="1691"/>
                  </a:cubicBezTo>
                  <a:cubicBezTo>
                    <a:pt x="668" y="1691"/>
                    <a:pt x="370" y="1393"/>
                    <a:pt x="370" y="1036"/>
                  </a:cubicBezTo>
                  <a:cubicBezTo>
                    <a:pt x="382" y="655"/>
                    <a:pt x="680" y="370"/>
                    <a:pt x="1037" y="370"/>
                  </a:cubicBezTo>
                  <a:cubicBezTo>
                    <a:pt x="1394" y="370"/>
                    <a:pt x="1692" y="667"/>
                    <a:pt x="1692" y="1024"/>
                  </a:cubicBezTo>
                  <a:cubicBezTo>
                    <a:pt x="1692" y="1132"/>
                    <a:pt x="1775" y="1203"/>
                    <a:pt x="1870" y="1203"/>
                  </a:cubicBezTo>
                  <a:cubicBezTo>
                    <a:pt x="1965" y="1203"/>
                    <a:pt x="2049" y="1108"/>
                    <a:pt x="2049" y="1024"/>
                  </a:cubicBezTo>
                  <a:cubicBezTo>
                    <a:pt x="2049" y="453"/>
                    <a:pt x="1584" y="0"/>
                    <a:pt x="1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3" name="Google Shape;9893;p58"/>
            <p:cNvSpPr/>
            <p:nvPr/>
          </p:nvSpPr>
          <p:spPr>
            <a:xfrm>
              <a:off x="2604670" y="2851904"/>
              <a:ext cx="70718" cy="71131"/>
            </a:xfrm>
            <a:custGeom>
              <a:avLst/>
              <a:gdLst/>
              <a:ahLst/>
              <a:cxnLst/>
              <a:rect l="l" t="t" r="r" b="b"/>
              <a:pathLst>
                <a:path w="2227" h="2240" extrusionOk="0">
                  <a:moveTo>
                    <a:pt x="1107" y="382"/>
                  </a:moveTo>
                  <a:cubicBezTo>
                    <a:pt x="1512" y="382"/>
                    <a:pt x="1858" y="715"/>
                    <a:pt x="1858" y="1120"/>
                  </a:cubicBezTo>
                  <a:cubicBezTo>
                    <a:pt x="1858" y="1525"/>
                    <a:pt x="1512" y="1870"/>
                    <a:pt x="1107" y="1870"/>
                  </a:cubicBezTo>
                  <a:cubicBezTo>
                    <a:pt x="691" y="1870"/>
                    <a:pt x="369" y="1525"/>
                    <a:pt x="369" y="1120"/>
                  </a:cubicBezTo>
                  <a:cubicBezTo>
                    <a:pt x="369" y="703"/>
                    <a:pt x="703" y="382"/>
                    <a:pt x="1107" y="382"/>
                  </a:cubicBezTo>
                  <a:close/>
                  <a:moveTo>
                    <a:pt x="1107" y="1"/>
                  </a:moveTo>
                  <a:cubicBezTo>
                    <a:pt x="500" y="1"/>
                    <a:pt x="0" y="513"/>
                    <a:pt x="0" y="1120"/>
                  </a:cubicBezTo>
                  <a:cubicBezTo>
                    <a:pt x="0" y="1727"/>
                    <a:pt x="500" y="2239"/>
                    <a:pt x="1107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94" name="Google Shape;9894;p58"/>
          <p:cNvGrpSpPr/>
          <p:nvPr/>
        </p:nvGrpSpPr>
        <p:grpSpPr>
          <a:xfrm>
            <a:off x="860940" y="2746477"/>
            <a:ext cx="371883" cy="365691"/>
            <a:chOff x="860940" y="2746477"/>
            <a:chExt cx="371883" cy="365691"/>
          </a:xfrm>
        </p:grpSpPr>
        <p:sp>
          <p:nvSpPr>
            <p:cNvPr id="9895" name="Google Shape;9895;p58"/>
            <p:cNvSpPr/>
            <p:nvPr/>
          </p:nvSpPr>
          <p:spPr>
            <a:xfrm>
              <a:off x="908191" y="3026302"/>
              <a:ext cx="30294" cy="28961"/>
            </a:xfrm>
            <a:custGeom>
              <a:avLst/>
              <a:gdLst/>
              <a:ahLst/>
              <a:cxnLst/>
              <a:rect l="l" t="t" r="r" b="b"/>
              <a:pathLst>
                <a:path w="954" h="912" extrusionOk="0">
                  <a:moveTo>
                    <a:pt x="763" y="1"/>
                  </a:moveTo>
                  <a:cubicBezTo>
                    <a:pt x="718" y="1"/>
                    <a:pt x="674" y="16"/>
                    <a:pt x="644" y="45"/>
                  </a:cubicBezTo>
                  <a:lnTo>
                    <a:pt x="60" y="629"/>
                  </a:lnTo>
                  <a:cubicBezTo>
                    <a:pt x="1" y="688"/>
                    <a:pt x="1" y="807"/>
                    <a:pt x="60" y="867"/>
                  </a:cubicBezTo>
                  <a:cubicBezTo>
                    <a:pt x="90" y="897"/>
                    <a:pt x="135" y="911"/>
                    <a:pt x="179" y="911"/>
                  </a:cubicBezTo>
                  <a:cubicBezTo>
                    <a:pt x="224" y="911"/>
                    <a:pt x="269" y="897"/>
                    <a:pt x="299" y="867"/>
                  </a:cubicBezTo>
                  <a:lnTo>
                    <a:pt x="882" y="283"/>
                  </a:lnTo>
                  <a:cubicBezTo>
                    <a:pt x="953" y="224"/>
                    <a:pt x="953" y="105"/>
                    <a:pt x="882" y="45"/>
                  </a:cubicBezTo>
                  <a:cubicBezTo>
                    <a:pt x="852" y="16"/>
                    <a:pt x="807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6" name="Google Shape;9896;p58"/>
            <p:cNvSpPr/>
            <p:nvPr/>
          </p:nvSpPr>
          <p:spPr>
            <a:xfrm>
              <a:off x="943757" y="3061836"/>
              <a:ext cx="30263" cy="28961"/>
            </a:xfrm>
            <a:custGeom>
              <a:avLst/>
              <a:gdLst/>
              <a:ahLst/>
              <a:cxnLst/>
              <a:rect l="l" t="t" r="r" b="b"/>
              <a:pathLst>
                <a:path w="953" h="912" extrusionOk="0">
                  <a:moveTo>
                    <a:pt x="762" y="1"/>
                  </a:moveTo>
                  <a:cubicBezTo>
                    <a:pt x="717" y="1"/>
                    <a:pt x="673" y="16"/>
                    <a:pt x="643" y="46"/>
                  </a:cubicBezTo>
                  <a:lnTo>
                    <a:pt x="60" y="629"/>
                  </a:lnTo>
                  <a:cubicBezTo>
                    <a:pt x="0" y="688"/>
                    <a:pt x="0" y="807"/>
                    <a:pt x="60" y="867"/>
                  </a:cubicBezTo>
                  <a:cubicBezTo>
                    <a:pt x="89" y="897"/>
                    <a:pt x="134" y="912"/>
                    <a:pt x="179" y="912"/>
                  </a:cubicBezTo>
                  <a:cubicBezTo>
                    <a:pt x="223" y="912"/>
                    <a:pt x="268" y="897"/>
                    <a:pt x="298" y="867"/>
                  </a:cubicBezTo>
                  <a:lnTo>
                    <a:pt x="881" y="284"/>
                  </a:lnTo>
                  <a:cubicBezTo>
                    <a:pt x="953" y="224"/>
                    <a:pt x="953" y="105"/>
                    <a:pt x="881" y="46"/>
                  </a:cubicBezTo>
                  <a:cubicBezTo>
                    <a:pt x="851" y="16"/>
                    <a:pt x="807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7" name="Google Shape;9897;p58"/>
            <p:cNvSpPr/>
            <p:nvPr/>
          </p:nvSpPr>
          <p:spPr>
            <a:xfrm>
              <a:off x="926355" y="3044085"/>
              <a:ext cx="29881" cy="28579"/>
            </a:xfrm>
            <a:custGeom>
              <a:avLst/>
              <a:gdLst/>
              <a:ahLst/>
              <a:cxnLst/>
              <a:rect l="l" t="t" r="r" b="b"/>
              <a:pathLst>
                <a:path w="941" h="900" extrusionOk="0">
                  <a:moveTo>
                    <a:pt x="762" y="0"/>
                  </a:moveTo>
                  <a:cubicBezTo>
                    <a:pt x="718" y="0"/>
                    <a:pt x="673" y="15"/>
                    <a:pt x="643" y="45"/>
                  </a:cubicBezTo>
                  <a:lnTo>
                    <a:pt x="60" y="616"/>
                  </a:lnTo>
                  <a:cubicBezTo>
                    <a:pt x="0" y="676"/>
                    <a:pt x="0" y="795"/>
                    <a:pt x="60" y="855"/>
                  </a:cubicBezTo>
                  <a:cubicBezTo>
                    <a:pt x="90" y="884"/>
                    <a:pt x="134" y="899"/>
                    <a:pt x="179" y="899"/>
                  </a:cubicBezTo>
                  <a:cubicBezTo>
                    <a:pt x="224" y="899"/>
                    <a:pt x="268" y="884"/>
                    <a:pt x="298" y="855"/>
                  </a:cubicBezTo>
                  <a:lnTo>
                    <a:pt x="881" y="283"/>
                  </a:lnTo>
                  <a:cubicBezTo>
                    <a:pt x="941" y="224"/>
                    <a:pt x="941" y="116"/>
                    <a:pt x="881" y="45"/>
                  </a:cubicBezTo>
                  <a:cubicBezTo>
                    <a:pt x="852" y="15"/>
                    <a:pt x="807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8" name="Google Shape;9898;p58"/>
            <p:cNvSpPr/>
            <p:nvPr/>
          </p:nvSpPr>
          <p:spPr>
            <a:xfrm>
              <a:off x="860940" y="2746477"/>
              <a:ext cx="371883" cy="365691"/>
            </a:xfrm>
            <a:custGeom>
              <a:avLst/>
              <a:gdLst/>
              <a:ahLst/>
              <a:cxnLst/>
              <a:rect l="l" t="t" r="r" b="b"/>
              <a:pathLst>
                <a:path w="11711" h="11516" extrusionOk="0">
                  <a:moveTo>
                    <a:pt x="11312" y="344"/>
                  </a:moveTo>
                  <a:lnTo>
                    <a:pt x="10835" y="1987"/>
                  </a:lnTo>
                  <a:lnTo>
                    <a:pt x="9680" y="821"/>
                  </a:lnTo>
                  <a:lnTo>
                    <a:pt x="11312" y="344"/>
                  </a:lnTo>
                  <a:close/>
                  <a:moveTo>
                    <a:pt x="4882" y="3821"/>
                  </a:moveTo>
                  <a:lnTo>
                    <a:pt x="2822" y="5881"/>
                  </a:lnTo>
                  <a:lnTo>
                    <a:pt x="477" y="5690"/>
                  </a:lnTo>
                  <a:cubicBezTo>
                    <a:pt x="453" y="5690"/>
                    <a:pt x="429" y="5643"/>
                    <a:pt x="465" y="5631"/>
                  </a:cubicBezTo>
                  <a:cubicBezTo>
                    <a:pt x="1477" y="4619"/>
                    <a:pt x="2822" y="4000"/>
                    <a:pt x="4227" y="3881"/>
                  </a:cubicBezTo>
                  <a:lnTo>
                    <a:pt x="4882" y="3821"/>
                  </a:lnTo>
                  <a:close/>
                  <a:moveTo>
                    <a:pt x="2894" y="6297"/>
                  </a:moveTo>
                  <a:lnTo>
                    <a:pt x="3811" y="7226"/>
                  </a:lnTo>
                  <a:lnTo>
                    <a:pt x="3477" y="7571"/>
                  </a:lnTo>
                  <a:lnTo>
                    <a:pt x="2549" y="6643"/>
                  </a:lnTo>
                  <a:lnTo>
                    <a:pt x="2894" y="6297"/>
                  </a:lnTo>
                  <a:close/>
                  <a:moveTo>
                    <a:pt x="2727" y="7333"/>
                  </a:moveTo>
                  <a:lnTo>
                    <a:pt x="3203" y="7810"/>
                  </a:lnTo>
                  <a:lnTo>
                    <a:pt x="2799" y="8226"/>
                  </a:lnTo>
                  <a:cubicBezTo>
                    <a:pt x="2787" y="8238"/>
                    <a:pt x="2763" y="8262"/>
                    <a:pt x="2739" y="8298"/>
                  </a:cubicBezTo>
                  <a:lnTo>
                    <a:pt x="2310" y="7869"/>
                  </a:lnTo>
                  <a:cubicBezTo>
                    <a:pt x="2287" y="7833"/>
                    <a:pt x="2287" y="7774"/>
                    <a:pt x="2310" y="7750"/>
                  </a:cubicBezTo>
                  <a:lnTo>
                    <a:pt x="2727" y="7333"/>
                  </a:lnTo>
                  <a:close/>
                  <a:moveTo>
                    <a:pt x="9311" y="916"/>
                  </a:moveTo>
                  <a:lnTo>
                    <a:pt x="10740" y="2345"/>
                  </a:lnTo>
                  <a:lnTo>
                    <a:pt x="10299" y="3821"/>
                  </a:lnTo>
                  <a:lnTo>
                    <a:pt x="5597" y="8524"/>
                  </a:lnTo>
                  <a:lnTo>
                    <a:pt x="4680" y="7595"/>
                  </a:lnTo>
                  <a:lnTo>
                    <a:pt x="6823" y="5452"/>
                  </a:lnTo>
                  <a:cubicBezTo>
                    <a:pt x="6966" y="5309"/>
                    <a:pt x="7001" y="5035"/>
                    <a:pt x="6811" y="4833"/>
                  </a:cubicBezTo>
                  <a:cubicBezTo>
                    <a:pt x="6728" y="4750"/>
                    <a:pt x="6617" y="4708"/>
                    <a:pt x="6506" y="4708"/>
                  </a:cubicBezTo>
                  <a:cubicBezTo>
                    <a:pt x="6394" y="4708"/>
                    <a:pt x="6281" y="4750"/>
                    <a:pt x="6192" y="4833"/>
                  </a:cubicBezTo>
                  <a:lnTo>
                    <a:pt x="4049" y="6976"/>
                  </a:lnTo>
                  <a:lnTo>
                    <a:pt x="3132" y="6047"/>
                  </a:lnTo>
                  <a:lnTo>
                    <a:pt x="7835" y="1344"/>
                  </a:lnTo>
                  <a:lnTo>
                    <a:pt x="9311" y="916"/>
                  </a:lnTo>
                  <a:close/>
                  <a:moveTo>
                    <a:pt x="6495" y="5047"/>
                  </a:moveTo>
                  <a:cubicBezTo>
                    <a:pt x="6522" y="5047"/>
                    <a:pt x="6549" y="5059"/>
                    <a:pt x="6573" y="5083"/>
                  </a:cubicBezTo>
                  <a:cubicBezTo>
                    <a:pt x="6609" y="5131"/>
                    <a:pt x="6609" y="5178"/>
                    <a:pt x="6573" y="5226"/>
                  </a:cubicBezTo>
                  <a:lnTo>
                    <a:pt x="4311" y="7488"/>
                  </a:lnTo>
                  <a:lnTo>
                    <a:pt x="3203" y="8595"/>
                  </a:lnTo>
                  <a:cubicBezTo>
                    <a:pt x="3180" y="8619"/>
                    <a:pt x="3153" y="8631"/>
                    <a:pt x="3127" y="8631"/>
                  </a:cubicBezTo>
                  <a:cubicBezTo>
                    <a:pt x="3102" y="8631"/>
                    <a:pt x="3078" y="8619"/>
                    <a:pt x="3060" y="8595"/>
                  </a:cubicBezTo>
                  <a:cubicBezTo>
                    <a:pt x="3013" y="8548"/>
                    <a:pt x="3013" y="8488"/>
                    <a:pt x="3060" y="8441"/>
                  </a:cubicBezTo>
                  <a:lnTo>
                    <a:pt x="6418" y="5083"/>
                  </a:lnTo>
                  <a:cubicBezTo>
                    <a:pt x="6442" y="5059"/>
                    <a:pt x="6469" y="5047"/>
                    <a:pt x="6495" y="5047"/>
                  </a:cubicBezTo>
                  <a:close/>
                  <a:moveTo>
                    <a:pt x="4430" y="7857"/>
                  </a:moveTo>
                  <a:lnTo>
                    <a:pt x="5346" y="8786"/>
                  </a:lnTo>
                  <a:lnTo>
                    <a:pt x="5001" y="9119"/>
                  </a:lnTo>
                  <a:lnTo>
                    <a:pt x="4989" y="9119"/>
                  </a:lnTo>
                  <a:lnTo>
                    <a:pt x="4084" y="8202"/>
                  </a:lnTo>
                  <a:lnTo>
                    <a:pt x="4430" y="7857"/>
                  </a:lnTo>
                  <a:close/>
                  <a:moveTo>
                    <a:pt x="3846" y="8429"/>
                  </a:moveTo>
                  <a:lnTo>
                    <a:pt x="4323" y="8905"/>
                  </a:lnTo>
                  <a:lnTo>
                    <a:pt x="3906" y="9322"/>
                  </a:lnTo>
                  <a:cubicBezTo>
                    <a:pt x="3894" y="9334"/>
                    <a:pt x="3858" y="9357"/>
                    <a:pt x="3846" y="9357"/>
                  </a:cubicBezTo>
                  <a:cubicBezTo>
                    <a:pt x="3834" y="9357"/>
                    <a:pt x="3811" y="9357"/>
                    <a:pt x="3787" y="9322"/>
                  </a:cubicBezTo>
                  <a:lnTo>
                    <a:pt x="3358" y="8905"/>
                  </a:lnTo>
                  <a:cubicBezTo>
                    <a:pt x="3382" y="8893"/>
                    <a:pt x="3394" y="8881"/>
                    <a:pt x="3430" y="8845"/>
                  </a:cubicBezTo>
                  <a:lnTo>
                    <a:pt x="3846" y="8429"/>
                  </a:lnTo>
                  <a:close/>
                  <a:moveTo>
                    <a:pt x="11322" y="1"/>
                  </a:moveTo>
                  <a:cubicBezTo>
                    <a:pt x="11295" y="1"/>
                    <a:pt x="11267" y="4"/>
                    <a:pt x="11240" y="11"/>
                  </a:cubicBezTo>
                  <a:cubicBezTo>
                    <a:pt x="10514" y="213"/>
                    <a:pt x="8394" y="844"/>
                    <a:pt x="7704" y="1035"/>
                  </a:cubicBezTo>
                  <a:cubicBezTo>
                    <a:pt x="7668" y="1047"/>
                    <a:pt x="7656" y="1059"/>
                    <a:pt x="7621" y="1083"/>
                  </a:cubicBezTo>
                  <a:lnTo>
                    <a:pt x="5263" y="3440"/>
                  </a:lnTo>
                  <a:lnTo>
                    <a:pt x="4203" y="3535"/>
                  </a:lnTo>
                  <a:cubicBezTo>
                    <a:pt x="2703" y="3654"/>
                    <a:pt x="1286" y="4321"/>
                    <a:pt x="227" y="5381"/>
                  </a:cubicBezTo>
                  <a:cubicBezTo>
                    <a:pt x="1" y="5595"/>
                    <a:pt x="143" y="5988"/>
                    <a:pt x="465" y="6024"/>
                  </a:cubicBezTo>
                  <a:lnTo>
                    <a:pt x="2525" y="6190"/>
                  </a:lnTo>
                  <a:lnTo>
                    <a:pt x="2310" y="6405"/>
                  </a:lnTo>
                  <a:cubicBezTo>
                    <a:pt x="2179" y="6536"/>
                    <a:pt x="2179" y="6750"/>
                    <a:pt x="2310" y="6881"/>
                  </a:cubicBezTo>
                  <a:lnTo>
                    <a:pt x="2525" y="7083"/>
                  </a:lnTo>
                  <a:lnTo>
                    <a:pt x="2108" y="7500"/>
                  </a:lnTo>
                  <a:cubicBezTo>
                    <a:pt x="1941" y="7667"/>
                    <a:pt x="1941" y="7941"/>
                    <a:pt x="2108" y="8095"/>
                  </a:cubicBezTo>
                  <a:lnTo>
                    <a:pt x="3561" y="9560"/>
                  </a:lnTo>
                  <a:cubicBezTo>
                    <a:pt x="3644" y="9643"/>
                    <a:pt x="3751" y="9685"/>
                    <a:pt x="3858" y="9685"/>
                  </a:cubicBezTo>
                  <a:cubicBezTo>
                    <a:pt x="3965" y="9685"/>
                    <a:pt x="4073" y="9643"/>
                    <a:pt x="4156" y="9560"/>
                  </a:cubicBezTo>
                  <a:lnTo>
                    <a:pt x="4573" y="9143"/>
                  </a:lnTo>
                  <a:lnTo>
                    <a:pt x="4763" y="9334"/>
                  </a:lnTo>
                  <a:cubicBezTo>
                    <a:pt x="4835" y="9399"/>
                    <a:pt x="4924" y="9432"/>
                    <a:pt x="5015" y="9432"/>
                  </a:cubicBezTo>
                  <a:cubicBezTo>
                    <a:pt x="5105" y="9432"/>
                    <a:pt x="5198" y="9399"/>
                    <a:pt x="5275" y="9334"/>
                  </a:cubicBezTo>
                  <a:lnTo>
                    <a:pt x="5477" y="9131"/>
                  </a:lnTo>
                  <a:lnTo>
                    <a:pt x="5656" y="11179"/>
                  </a:lnTo>
                  <a:cubicBezTo>
                    <a:pt x="5680" y="11334"/>
                    <a:pt x="5763" y="11453"/>
                    <a:pt x="5894" y="11500"/>
                  </a:cubicBezTo>
                  <a:cubicBezTo>
                    <a:pt x="5935" y="11511"/>
                    <a:pt x="5975" y="11516"/>
                    <a:pt x="6015" y="11516"/>
                  </a:cubicBezTo>
                  <a:cubicBezTo>
                    <a:pt x="6115" y="11516"/>
                    <a:pt x="6210" y="11482"/>
                    <a:pt x="6287" y="11405"/>
                  </a:cubicBezTo>
                  <a:cubicBezTo>
                    <a:pt x="6942" y="10750"/>
                    <a:pt x="7430" y="9977"/>
                    <a:pt x="7763" y="9119"/>
                  </a:cubicBezTo>
                  <a:cubicBezTo>
                    <a:pt x="7787" y="9024"/>
                    <a:pt x="7740" y="8941"/>
                    <a:pt x="7656" y="8893"/>
                  </a:cubicBezTo>
                  <a:cubicBezTo>
                    <a:pt x="7635" y="8885"/>
                    <a:pt x="7614" y="8881"/>
                    <a:pt x="7594" y="8881"/>
                  </a:cubicBezTo>
                  <a:cubicBezTo>
                    <a:pt x="7525" y="8881"/>
                    <a:pt x="7467" y="8926"/>
                    <a:pt x="7430" y="9000"/>
                  </a:cubicBezTo>
                  <a:cubicBezTo>
                    <a:pt x="7132" y="9810"/>
                    <a:pt x="6656" y="10560"/>
                    <a:pt x="6037" y="11167"/>
                  </a:cubicBezTo>
                  <a:cubicBezTo>
                    <a:pt x="6027" y="11172"/>
                    <a:pt x="6015" y="11175"/>
                    <a:pt x="6005" y="11175"/>
                  </a:cubicBezTo>
                  <a:cubicBezTo>
                    <a:pt x="5990" y="11175"/>
                    <a:pt x="5978" y="11169"/>
                    <a:pt x="5978" y="11155"/>
                  </a:cubicBezTo>
                  <a:lnTo>
                    <a:pt x="5763" y="8822"/>
                  </a:lnTo>
                  <a:lnTo>
                    <a:pt x="7835" y="6750"/>
                  </a:lnTo>
                  <a:lnTo>
                    <a:pt x="7835" y="6750"/>
                  </a:lnTo>
                  <a:cubicBezTo>
                    <a:pt x="7763" y="7583"/>
                    <a:pt x="7740" y="7810"/>
                    <a:pt x="7656" y="8238"/>
                  </a:cubicBezTo>
                  <a:cubicBezTo>
                    <a:pt x="7644" y="8322"/>
                    <a:pt x="7680" y="8417"/>
                    <a:pt x="7787" y="8441"/>
                  </a:cubicBezTo>
                  <a:cubicBezTo>
                    <a:pt x="7803" y="8445"/>
                    <a:pt x="7819" y="8447"/>
                    <a:pt x="7834" y="8447"/>
                  </a:cubicBezTo>
                  <a:cubicBezTo>
                    <a:pt x="7909" y="8447"/>
                    <a:pt x="7972" y="8399"/>
                    <a:pt x="8002" y="8310"/>
                  </a:cubicBezTo>
                  <a:cubicBezTo>
                    <a:pt x="8121" y="7786"/>
                    <a:pt x="8121" y="7548"/>
                    <a:pt x="8216" y="6393"/>
                  </a:cubicBezTo>
                  <a:lnTo>
                    <a:pt x="10585" y="4023"/>
                  </a:lnTo>
                  <a:cubicBezTo>
                    <a:pt x="10597" y="4011"/>
                    <a:pt x="10621" y="3976"/>
                    <a:pt x="10633" y="3952"/>
                  </a:cubicBezTo>
                  <a:lnTo>
                    <a:pt x="11109" y="2345"/>
                  </a:lnTo>
                  <a:lnTo>
                    <a:pt x="11669" y="404"/>
                  </a:lnTo>
                  <a:cubicBezTo>
                    <a:pt x="11711" y="193"/>
                    <a:pt x="11529" y="1"/>
                    <a:pt x="1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9" name="Google Shape;9899;p58"/>
            <p:cNvSpPr/>
            <p:nvPr/>
          </p:nvSpPr>
          <p:spPr>
            <a:xfrm>
              <a:off x="1070396" y="2832057"/>
              <a:ext cx="90406" cy="69035"/>
            </a:xfrm>
            <a:custGeom>
              <a:avLst/>
              <a:gdLst/>
              <a:ahLst/>
              <a:cxnLst/>
              <a:rect l="l" t="t" r="r" b="b"/>
              <a:pathLst>
                <a:path w="2847" h="2174" extrusionOk="0">
                  <a:moveTo>
                    <a:pt x="1730" y="0"/>
                  </a:moveTo>
                  <a:cubicBezTo>
                    <a:pt x="1668" y="0"/>
                    <a:pt x="1610" y="44"/>
                    <a:pt x="1584" y="114"/>
                  </a:cubicBezTo>
                  <a:cubicBezTo>
                    <a:pt x="1537" y="197"/>
                    <a:pt x="1584" y="293"/>
                    <a:pt x="1668" y="328"/>
                  </a:cubicBezTo>
                  <a:cubicBezTo>
                    <a:pt x="2179" y="554"/>
                    <a:pt x="2299" y="1221"/>
                    <a:pt x="1906" y="1614"/>
                  </a:cubicBezTo>
                  <a:cubicBezTo>
                    <a:pt x="1751" y="1769"/>
                    <a:pt x="1551" y="1846"/>
                    <a:pt x="1350" y="1846"/>
                  </a:cubicBezTo>
                  <a:cubicBezTo>
                    <a:pt x="1150" y="1846"/>
                    <a:pt x="947" y="1769"/>
                    <a:pt x="786" y="1614"/>
                  </a:cubicBezTo>
                  <a:cubicBezTo>
                    <a:pt x="405" y="1221"/>
                    <a:pt x="525" y="566"/>
                    <a:pt x="1025" y="328"/>
                  </a:cubicBezTo>
                  <a:cubicBezTo>
                    <a:pt x="1120" y="293"/>
                    <a:pt x="1144" y="197"/>
                    <a:pt x="1120" y="114"/>
                  </a:cubicBezTo>
                  <a:cubicBezTo>
                    <a:pt x="1083" y="41"/>
                    <a:pt x="1019" y="10"/>
                    <a:pt x="954" y="10"/>
                  </a:cubicBezTo>
                  <a:cubicBezTo>
                    <a:pt x="934" y="10"/>
                    <a:pt x="913" y="13"/>
                    <a:pt x="894" y="19"/>
                  </a:cubicBezTo>
                  <a:cubicBezTo>
                    <a:pt x="179" y="352"/>
                    <a:pt x="1" y="1281"/>
                    <a:pt x="572" y="1852"/>
                  </a:cubicBezTo>
                  <a:cubicBezTo>
                    <a:pt x="786" y="2078"/>
                    <a:pt x="1072" y="2174"/>
                    <a:pt x="1370" y="2174"/>
                  </a:cubicBezTo>
                  <a:cubicBezTo>
                    <a:pt x="2334" y="2162"/>
                    <a:pt x="2846" y="947"/>
                    <a:pt x="2132" y="245"/>
                  </a:cubicBezTo>
                  <a:cubicBezTo>
                    <a:pt x="2037" y="150"/>
                    <a:pt x="1918" y="66"/>
                    <a:pt x="1798" y="19"/>
                  </a:cubicBezTo>
                  <a:cubicBezTo>
                    <a:pt x="1776" y="6"/>
                    <a:pt x="1753" y="0"/>
                    <a:pt x="17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0" name="Google Shape;9900;p58"/>
          <p:cNvGrpSpPr/>
          <p:nvPr/>
        </p:nvGrpSpPr>
        <p:grpSpPr>
          <a:xfrm>
            <a:off x="1493849" y="2775533"/>
            <a:ext cx="283985" cy="341080"/>
            <a:chOff x="1493849" y="2775533"/>
            <a:chExt cx="283985" cy="341080"/>
          </a:xfrm>
        </p:grpSpPr>
        <p:sp>
          <p:nvSpPr>
            <p:cNvPr id="9901" name="Google Shape;9901;p58"/>
            <p:cNvSpPr/>
            <p:nvPr/>
          </p:nvSpPr>
          <p:spPr>
            <a:xfrm>
              <a:off x="1493849" y="2775533"/>
              <a:ext cx="283985" cy="341080"/>
            </a:xfrm>
            <a:custGeom>
              <a:avLst/>
              <a:gdLst/>
              <a:ahLst/>
              <a:cxnLst/>
              <a:rect l="l" t="t" r="r" b="b"/>
              <a:pathLst>
                <a:path w="8943" h="10741" extrusionOk="0">
                  <a:moveTo>
                    <a:pt x="8430" y="1013"/>
                  </a:moveTo>
                  <a:cubicBezTo>
                    <a:pt x="8466" y="1013"/>
                    <a:pt x="8514" y="1025"/>
                    <a:pt x="8549" y="1061"/>
                  </a:cubicBezTo>
                  <a:cubicBezTo>
                    <a:pt x="8573" y="1084"/>
                    <a:pt x="8585" y="1132"/>
                    <a:pt x="8585" y="1180"/>
                  </a:cubicBezTo>
                  <a:lnTo>
                    <a:pt x="8585" y="1846"/>
                  </a:lnTo>
                  <a:cubicBezTo>
                    <a:pt x="8585" y="2454"/>
                    <a:pt x="8454" y="2906"/>
                    <a:pt x="8192" y="3204"/>
                  </a:cubicBezTo>
                  <a:cubicBezTo>
                    <a:pt x="7954" y="3466"/>
                    <a:pt x="7633" y="3585"/>
                    <a:pt x="7323" y="3716"/>
                  </a:cubicBezTo>
                  <a:cubicBezTo>
                    <a:pt x="7180" y="3775"/>
                    <a:pt x="7025" y="3835"/>
                    <a:pt x="6894" y="3918"/>
                  </a:cubicBezTo>
                  <a:cubicBezTo>
                    <a:pt x="7037" y="3466"/>
                    <a:pt x="7121" y="2989"/>
                    <a:pt x="7121" y="2501"/>
                  </a:cubicBezTo>
                  <a:lnTo>
                    <a:pt x="7121" y="1811"/>
                  </a:lnTo>
                  <a:cubicBezTo>
                    <a:pt x="7335" y="1811"/>
                    <a:pt x="7549" y="1715"/>
                    <a:pt x="7680" y="1513"/>
                  </a:cubicBezTo>
                  <a:lnTo>
                    <a:pt x="7799" y="1334"/>
                  </a:lnTo>
                  <a:cubicBezTo>
                    <a:pt x="7954" y="1132"/>
                    <a:pt x="8168" y="1013"/>
                    <a:pt x="8430" y="1013"/>
                  </a:cubicBezTo>
                  <a:close/>
                  <a:moveTo>
                    <a:pt x="453" y="1025"/>
                  </a:moveTo>
                  <a:cubicBezTo>
                    <a:pt x="703" y="1025"/>
                    <a:pt x="929" y="1144"/>
                    <a:pt x="1072" y="1358"/>
                  </a:cubicBezTo>
                  <a:lnTo>
                    <a:pt x="1191" y="1537"/>
                  </a:lnTo>
                  <a:cubicBezTo>
                    <a:pt x="1322" y="1703"/>
                    <a:pt x="1537" y="1834"/>
                    <a:pt x="1763" y="1834"/>
                  </a:cubicBezTo>
                  <a:lnTo>
                    <a:pt x="1763" y="2513"/>
                  </a:lnTo>
                  <a:cubicBezTo>
                    <a:pt x="1763" y="2989"/>
                    <a:pt x="1834" y="3466"/>
                    <a:pt x="1977" y="3930"/>
                  </a:cubicBezTo>
                  <a:cubicBezTo>
                    <a:pt x="1846" y="3835"/>
                    <a:pt x="1703" y="3775"/>
                    <a:pt x="1548" y="3716"/>
                  </a:cubicBezTo>
                  <a:cubicBezTo>
                    <a:pt x="1239" y="3597"/>
                    <a:pt x="929" y="3466"/>
                    <a:pt x="691" y="3204"/>
                  </a:cubicBezTo>
                  <a:cubicBezTo>
                    <a:pt x="417" y="2906"/>
                    <a:pt x="286" y="2454"/>
                    <a:pt x="286" y="1846"/>
                  </a:cubicBezTo>
                  <a:lnTo>
                    <a:pt x="286" y="1191"/>
                  </a:lnTo>
                  <a:cubicBezTo>
                    <a:pt x="286" y="1144"/>
                    <a:pt x="298" y="1096"/>
                    <a:pt x="334" y="1072"/>
                  </a:cubicBezTo>
                  <a:cubicBezTo>
                    <a:pt x="358" y="1037"/>
                    <a:pt x="405" y="1025"/>
                    <a:pt x="453" y="1025"/>
                  </a:cubicBezTo>
                  <a:close/>
                  <a:moveTo>
                    <a:pt x="7097" y="299"/>
                  </a:moveTo>
                  <a:lnTo>
                    <a:pt x="7097" y="668"/>
                  </a:lnTo>
                  <a:lnTo>
                    <a:pt x="5739" y="668"/>
                  </a:lnTo>
                  <a:cubicBezTo>
                    <a:pt x="5656" y="668"/>
                    <a:pt x="5585" y="739"/>
                    <a:pt x="5585" y="834"/>
                  </a:cubicBezTo>
                  <a:cubicBezTo>
                    <a:pt x="5585" y="918"/>
                    <a:pt x="5656" y="1001"/>
                    <a:pt x="5739" y="1001"/>
                  </a:cubicBezTo>
                  <a:lnTo>
                    <a:pt x="6775" y="1001"/>
                  </a:lnTo>
                  <a:lnTo>
                    <a:pt x="6775" y="2513"/>
                  </a:lnTo>
                  <a:cubicBezTo>
                    <a:pt x="6787" y="3882"/>
                    <a:pt x="6132" y="5192"/>
                    <a:pt x="5013" y="6014"/>
                  </a:cubicBezTo>
                  <a:lnTo>
                    <a:pt x="4894" y="6097"/>
                  </a:lnTo>
                  <a:cubicBezTo>
                    <a:pt x="4870" y="6097"/>
                    <a:pt x="4835" y="6085"/>
                    <a:pt x="4811" y="6085"/>
                  </a:cubicBezTo>
                  <a:lnTo>
                    <a:pt x="4037" y="6085"/>
                  </a:lnTo>
                  <a:cubicBezTo>
                    <a:pt x="4001" y="6085"/>
                    <a:pt x="3977" y="6085"/>
                    <a:pt x="3942" y="6097"/>
                  </a:cubicBezTo>
                  <a:lnTo>
                    <a:pt x="3823" y="6014"/>
                  </a:lnTo>
                  <a:cubicBezTo>
                    <a:pt x="2727" y="5192"/>
                    <a:pt x="2060" y="3882"/>
                    <a:pt x="2060" y="2513"/>
                  </a:cubicBezTo>
                  <a:lnTo>
                    <a:pt x="2060" y="1001"/>
                  </a:lnTo>
                  <a:lnTo>
                    <a:pt x="5013" y="1001"/>
                  </a:lnTo>
                  <a:cubicBezTo>
                    <a:pt x="5108" y="1001"/>
                    <a:pt x="5180" y="918"/>
                    <a:pt x="5180" y="834"/>
                  </a:cubicBezTo>
                  <a:cubicBezTo>
                    <a:pt x="5180" y="739"/>
                    <a:pt x="5108" y="668"/>
                    <a:pt x="5013" y="668"/>
                  </a:cubicBezTo>
                  <a:lnTo>
                    <a:pt x="1727" y="668"/>
                  </a:lnTo>
                  <a:lnTo>
                    <a:pt x="1727" y="299"/>
                  </a:lnTo>
                  <a:close/>
                  <a:moveTo>
                    <a:pt x="4823" y="6395"/>
                  </a:moveTo>
                  <a:cubicBezTo>
                    <a:pt x="4882" y="6395"/>
                    <a:pt x="4930" y="6442"/>
                    <a:pt x="4930" y="6502"/>
                  </a:cubicBezTo>
                  <a:lnTo>
                    <a:pt x="4930" y="6621"/>
                  </a:lnTo>
                  <a:cubicBezTo>
                    <a:pt x="4930" y="6680"/>
                    <a:pt x="4882" y="6728"/>
                    <a:pt x="4823" y="6728"/>
                  </a:cubicBezTo>
                  <a:lnTo>
                    <a:pt x="4049" y="6728"/>
                  </a:lnTo>
                  <a:cubicBezTo>
                    <a:pt x="3989" y="6728"/>
                    <a:pt x="3942" y="6680"/>
                    <a:pt x="3942" y="6621"/>
                  </a:cubicBezTo>
                  <a:lnTo>
                    <a:pt x="3942" y="6502"/>
                  </a:lnTo>
                  <a:cubicBezTo>
                    <a:pt x="3942" y="6442"/>
                    <a:pt x="3989" y="6395"/>
                    <a:pt x="4049" y="6395"/>
                  </a:cubicBezTo>
                  <a:close/>
                  <a:moveTo>
                    <a:pt x="4620" y="7037"/>
                  </a:moveTo>
                  <a:lnTo>
                    <a:pt x="4620" y="8573"/>
                  </a:lnTo>
                  <a:lnTo>
                    <a:pt x="4239" y="8573"/>
                  </a:lnTo>
                  <a:lnTo>
                    <a:pt x="4239" y="7037"/>
                  </a:lnTo>
                  <a:close/>
                  <a:moveTo>
                    <a:pt x="5418" y="8883"/>
                  </a:moveTo>
                  <a:cubicBezTo>
                    <a:pt x="5525" y="8883"/>
                    <a:pt x="5608" y="8978"/>
                    <a:pt x="5608" y="9073"/>
                  </a:cubicBezTo>
                  <a:lnTo>
                    <a:pt x="5608" y="9252"/>
                  </a:lnTo>
                  <a:lnTo>
                    <a:pt x="4215" y="9252"/>
                  </a:lnTo>
                  <a:cubicBezTo>
                    <a:pt x="4120" y="9252"/>
                    <a:pt x="4049" y="9335"/>
                    <a:pt x="4049" y="9419"/>
                  </a:cubicBezTo>
                  <a:cubicBezTo>
                    <a:pt x="4049" y="9514"/>
                    <a:pt x="4120" y="9585"/>
                    <a:pt x="4215" y="9585"/>
                  </a:cubicBezTo>
                  <a:lnTo>
                    <a:pt x="6370" y="9585"/>
                  </a:lnTo>
                  <a:cubicBezTo>
                    <a:pt x="6382" y="9585"/>
                    <a:pt x="6406" y="9597"/>
                    <a:pt x="6418" y="9609"/>
                  </a:cubicBezTo>
                  <a:lnTo>
                    <a:pt x="6561" y="10371"/>
                  </a:lnTo>
                  <a:cubicBezTo>
                    <a:pt x="6561" y="10383"/>
                    <a:pt x="6561" y="10407"/>
                    <a:pt x="6549" y="10407"/>
                  </a:cubicBezTo>
                  <a:cubicBezTo>
                    <a:pt x="6549" y="10407"/>
                    <a:pt x="6537" y="10419"/>
                    <a:pt x="6525" y="10419"/>
                  </a:cubicBezTo>
                  <a:lnTo>
                    <a:pt x="2370" y="10419"/>
                  </a:lnTo>
                  <a:cubicBezTo>
                    <a:pt x="2358" y="10419"/>
                    <a:pt x="2334" y="10407"/>
                    <a:pt x="2334" y="10407"/>
                  </a:cubicBezTo>
                  <a:cubicBezTo>
                    <a:pt x="2334" y="10407"/>
                    <a:pt x="2322" y="10383"/>
                    <a:pt x="2322" y="10371"/>
                  </a:cubicBezTo>
                  <a:lnTo>
                    <a:pt x="2477" y="9609"/>
                  </a:lnTo>
                  <a:cubicBezTo>
                    <a:pt x="2477" y="9597"/>
                    <a:pt x="2489" y="9585"/>
                    <a:pt x="2513" y="9585"/>
                  </a:cubicBezTo>
                  <a:lnTo>
                    <a:pt x="3489" y="9585"/>
                  </a:lnTo>
                  <a:cubicBezTo>
                    <a:pt x="3573" y="9585"/>
                    <a:pt x="3644" y="9514"/>
                    <a:pt x="3644" y="9419"/>
                  </a:cubicBezTo>
                  <a:cubicBezTo>
                    <a:pt x="3644" y="9335"/>
                    <a:pt x="3573" y="9252"/>
                    <a:pt x="3489" y="9252"/>
                  </a:cubicBezTo>
                  <a:lnTo>
                    <a:pt x="3263" y="9252"/>
                  </a:lnTo>
                  <a:lnTo>
                    <a:pt x="3263" y="9073"/>
                  </a:lnTo>
                  <a:cubicBezTo>
                    <a:pt x="3263" y="8978"/>
                    <a:pt x="3346" y="8883"/>
                    <a:pt x="3453" y="8883"/>
                  </a:cubicBezTo>
                  <a:close/>
                  <a:moveTo>
                    <a:pt x="1739" y="1"/>
                  </a:moveTo>
                  <a:cubicBezTo>
                    <a:pt x="1572" y="1"/>
                    <a:pt x="1441" y="132"/>
                    <a:pt x="1441" y="299"/>
                  </a:cubicBezTo>
                  <a:lnTo>
                    <a:pt x="1441" y="703"/>
                  </a:lnTo>
                  <a:cubicBezTo>
                    <a:pt x="1441" y="858"/>
                    <a:pt x="1572" y="1001"/>
                    <a:pt x="1739" y="1001"/>
                  </a:cubicBezTo>
                  <a:lnTo>
                    <a:pt x="1775" y="1001"/>
                  </a:lnTo>
                  <a:lnTo>
                    <a:pt x="1775" y="1513"/>
                  </a:lnTo>
                  <a:cubicBezTo>
                    <a:pt x="1656" y="1513"/>
                    <a:pt x="1537" y="1453"/>
                    <a:pt x="1477" y="1358"/>
                  </a:cubicBezTo>
                  <a:lnTo>
                    <a:pt x="1358" y="1180"/>
                  </a:lnTo>
                  <a:cubicBezTo>
                    <a:pt x="1156" y="882"/>
                    <a:pt x="822" y="715"/>
                    <a:pt x="477" y="715"/>
                  </a:cubicBezTo>
                  <a:cubicBezTo>
                    <a:pt x="346" y="715"/>
                    <a:pt x="227" y="763"/>
                    <a:pt x="132" y="846"/>
                  </a:cubicBezTo>
                  <a:cubicBezTo>
                    <a:pt x="48" y="941"/>
                    <a:pt x="1" y="1049"/>
                    <a:pt x="1" y="1191"/>
                  </a:cubicBezTo>
                  <a:lnTo>
                    <a:pt x="1" y="1846"/>
                  </a:lnTo>
                  <a:cubicBezTo>
                    <a:pt x="1" y="3418"/>
                    <a:pt x="798" y="3751"/>
                    <a:pt x="1465" y="4013"/>
                  </a:cubicBezTo>
                  <a:cubicBezTo>
                    <a:pt x="1810" y="4168"/>
                    <a:pt x="2144" y="4299"/>
                    <a:pt x="2299" y="4609"/>
                  </a:cubicBezTo>
                  <a:cubicBezTo>
                    <a:pt x="2334" y="4704"/>
                    <a:pt x="2322" y="4775"/>
                    <a:pt x="2263" y="4847"/>
                  </a:cubicBezTo>
                  <a:cubicBezTo>
                    <a:pt x="2212" y="4914"/>
                    <a:pt x="2120" y="4946"/>
                    <a:pt x="2041" y="4946"/>
                  </a:cubicBezTo>
                  <a:cubicBezTo>
                    <a:pt x="2008" y="4946"/>
                    <a:pt x="1978" y="4940"/>
                    <a:pt x="1953" y="4930"/>
                  </a:cubicBezTo>
                  <a:cubicBezTo>
                    <a:pt x="1834" y="4882"/>
                    <a:pt x="1822" y="4728"/>
                    <a:pt x="1834" y="4632"/>
                  </a:cubicBezTo>
                  <a:cubicBezTo>
                    <a:pt x="1834" y="4537"/>
                    <a:pt x="1775" y="4466"/>
                    <a:pt x="1679" y="4466"/>
                  </a:cubicBezTo>
                  <a:cubicBezTo>
                    <a:pt x="1596" y="4466"/>
                    <a:pt x="1513" y="4525"/>
                    <a:pt x="1513" y="4609"/>
                  </a:cubicBezTo>
                  <a:cubicBezTo>
                    <a:pt x="1513" y="4740"/>
                    <a:pt x="1537" y="5085"/>
                    <a:pt x="1834" y="5228"/>
                  </a:cubicBezTo>
                  <a:cubicBezTo>
                    <a:pt x="1906" y="5252"/>
                    <a:pt x="1965" y="5263"/>
                    <a:pt x="2037" y="5263"/>
                  </a:cubicBezTo>
                  <a:cubicBezTo>
                    <a:pt x="2203" y="5263"/>
                    <a:pt x="2382" y="5192"/>
                    <a:pt x="2489" y="5073"/>
                  </a:cubicBezTo>
                  <a:cubicBezTo>
                    <a:pt x="2501" y="5061"/>
                    <a:pt x="2513" y="5049"/>
                    <a:pt x="2513" y="5025"/>
                  </a:cubicBezTo>
                  <a:cubicBezTo>
                    <a:pt x="2811" y="5502"/>
                    <a:pt x="3215" y="5942"/>
                    <a:pt x="3680" y="6275"/>
                  </a:cubicBezTo>
                  <a:lnTo>
                    <a:pt x="3703" y="6299"/>
                  </a:lnTo>
                  <a:cubicBezTo>
                    <a:pt x="3656" y="6347"/>
                    <a:pt x="3644" y="6430"/>
                    <a:pt x="3644" y="6514"/>
                  </a:cubicBezTo>
                  <a:lnTo>
                    <a:pt x="3644" y="6633"/>
                  </a:lnTo>
                  <a:cubicBezTo>
                    <a:pt x="3644" y="6835"/>
                    <a:pt x="3775" y="6990"/>
                    <a:pt x="3965" y="7037"/>
                  </a:cubicBezTo>
                  <a:lnTo>
                    <a:pt x="3965" y="8585"/>
                  </a:lnTo>
                  <a:lnTo>
                    <a:pt x="3489" y="8585"/>
                  </a:lnTo>
                  <a:cubicBezTo>
                    <a:pt x="3203" y="8585"/>
                    <a:pt x="2977" y="8811"/>
                    <a:pt x="2977" y="9085"/>
                  </a:cubicBezTo>
                  <a:lnTo>
                    <a:pt x="2977" y="9264"/>
                  </a:lnTo>
                  <a:lnTo>
                    <a:pt x="2549" y="9264"/>
                  </a:lnTo>
                  <a:cubicBezTo>
                    <a:pt x="2382" y="9264"/>
                    <a:pt x="2239" y="9383"/>
                    <a:pt x="2203" y="9550"/>
                  </a:cubicBezTo>
                  <a:lnTo>
                    <a:pt x="2060" y="10312"/>
                  </a:lnTo>
                  <a:cubicBezTo>
                    <a:pt x="2037" y="10419"/>
                    <a:pt x="2060" y="10514"/>
                    <a:pt x="2132" y="10609"/>
                  </a:cubicBezTo>
                  <a:cubicBezTo>
                    <a:pt x="2203" y="10693"/>
                    <a:pt x="2299" y="10740"/>
                    <a:pt x="2394" y="10740"/>
                  </a:cubicBezTo>
                  <a:lnTo>
                    <a:pt x="6549" y="10740"/>
                  </a:lnTo>
                  <a:cubicBezTo>
                    <a:pt x="6656" y="10740"/>
                    <a:pt x="6763" y="10693"/>
                    <a:pt x="6823" y="10609"/>
                  </a:cubicBezTo>
                  <a:cubicBezTo>
                    <a:pt x="6894" y="10514"/>
                    <a:pt x="6906" y="10419"/>
                    <a:pt x="6894" y="10312"/>
                  </a:cubicBezTo>
                  <a:lnTo>
                    <a:pt x="6740" y="9550"/>
                  </a:lnTo>
                  <a:cubicBezTo>
                    <a:pt x="6716" y="9383"/>
                    <a:pt x="6561" y="9264"/>
                    <a:pt x="6406" y="9264"/>
                  </a:cubicBezTo>
                  <a:lnTo>
                    <a:pt x="5966" y="9264"/>
                  </a:lnTo>
                  <a:lnTo>
                    <a:pt x="5966" y="9085"/>
                  </a:lnTo>
                  <a:cubicBezTo>
                    <a:pt x="5966" y="8811"/>
                    <a:pt x="5751" y="8585"/>
                    <a:pt x="5466" y="8585"/>
                  </a:cubicBezTo>
                  <a:lnTo>
                    <a:pt x="4989" y="8585"/>
                  </a:lnTo>
                  <a:lnTo>
                    <a:pt x="4989" y="7037"/>
                  </a:lnTo>
                  <a:cubicBezTo>
                    <a:pt x="5168" y="6990"/>
                    <a:pt x="5299" y="6835"/>
                    <a:pt x="5299" y="6633"/>
                  </a:cubicBezTo>
                  <a:lnTo>
                    <a:pt x="5299" y="6502"/>
                  </a:lnTo>
                  <a:cubicBezTo>
                    <a:pt x="5299" y="6430"/>
                    <a:pt x="5275" y="6359"/>
                    <a:pt x="5239" y="6275"/>
                  </a:cubicBezTo>
                  <a:lnTo>
                    <a:pt x="5275" y="6264"/>
                  </a:lnTo>
                  <a:cubicBezTo>
                    <a:pt x="5728" y="5918"/>
                    <a:pt x="6132" y="5490"/>
                    <a:pt x="6430" y="5013"/>
                  </a:cubicBezTo>
                  <a:cubicBezTo>
                    <a:pt x="6442" y="5025"/>
                    <a:pt x="6466" y="5049"/>
                    <a:pt x="6466" y="5061"/>
                  </a:cubicBezTo>
                  <a:cubicBezTo>
                    <a:pt x="6585" y="5180"/>
                    <a:pt x="6740" y="5252"/>
                    <a:pt x="6906" y="5252"/>
                  </a:cubicBezTo>
                  <a:cubicBezTo>
                    <a:pt x="6978" y="5252"/>
                    <a:pt x="7061" y="5240"/>
                    <a:pt x="7121" y="5204"/>
                  </a:cubicBezTo>
                  <a:cubicBezTo>
                    <a:pt x="7418" y="5073"/>
                    <a:pt x="7442" y="4751"/>
                    <a:pt x="7430" y="4597"/>
                  </a:cubicBezTo>
                  <a:cubicBezTo>
                    <a:pt x="7430" y="4513"/>
                    <a:pt x="7359" y="4454"/>
                    <a:pt x="7263" y="4454"/>
                  </a:cubicBezTo>
                  <a:cubicBezTo>
                    <a:pt x="7180" y="4454"/>
                    <a:pt x="7121" y="4525"/>
                    <a:pt x="7121" y="4609"/>
                  </a:cubicBezTo>
                  <a:cubicBezTo>
                    <a:pt x="7121" y="4716"/>
                    <a:pt x="7097" y="4871"/>
                    <a:pt x="7002" y="4906"/>
                  </a:cubicBezTo>
                  <a:cubicBezTo>
                    <a:pt x="6975" y="4920"/>
                    <a:pt x="6945" y="4925"/>
                    <a:pt x="6913" y="4925"/>
                  </a:cubicBezTo>
                  <a:cubicBezTo>
                    <a:pt x="6831" y="4925"/>
                    <a:pt x="6740" y="4886"/>
                    <a:pt x="6680" y="4835"/>
                  </a:cubicBezTo>
                  <a:cubicBezTo>
                    <a:pt x="6621" y="4775"/>
                    <a:pt x="6609" y="4692"/>
                    <a:pt x="6656" y="4597"/>
                  </a:cubicBezTo>
                  <a:cubicBezTo>
                    <a:pt x="6799" y="4287"/>
                    <a:pt x="7121" y="4156"/>
                    <a:pt x="7490" y="4001"/>
                  </a:cubicBezTo>
                  <a:cubicBezTo>
                    <a:pt x="8145" y="3739"/>
                    <a:pt x="8942" y="3406"/>
                    <a:pt x="8942" y="1834"/>
                  </a:cubicBezTo>
                  <a:lnTo>
                    <a:pt x="8942" y="1180"/>
                  </a:lnTo>
                  <a:cubicBezTo>
                    <a:pt x="8907" y="1061"/>
                    <a:pt x="8847" y="941"/>
                    <a:pt x="8752" y="846"/>
                  </a:cubicBezTo>
                  <a:cubicBezTo>
                    <a:pt x="8668" y="763"/>
                    <a:pt x="8549" y="715"/>
                    <a:pt x="8406" y="715"/>
                  </a:cubicBezTo>
                  <a:cubicBezTo>
                    <a:pt x="8049" y="715"/>
                    <a:pt x="7728" y="894"/>
                    <a:pt x="7537" y="1180"/>
                  </a:cubicBezTo>
                  <a:lnTo>
                    <a:pt x="7418" y="1358"/>
                  </a:lnTo>
                  <a:cubicBezTo>
                    <a:pt x="7335" y="1453"/>
                    <a:pt x="7240" y="1513"/>
                    <a:pt x="7121" y="1513"/>
                  </a:cubicBezTo>
                  <a:lnTo>
                    <a:pt x="7121" y="1001"/>
                  </a:lnTo>
                  <a:lnTo>
                    <a:pt x="7144" y="1001"/>
                  </a:lnTo>
                  <a:cubicBezTo>
                    <a:pt x="7311" y="1001"/>
                    <a:pt x="7442" y="858"/>
                    <a:pt x="7442" y="703"/>
                  </a:cubicBezTo>
                  <a:lnTo>
                    <a:pt x="7442" y="299"/>
                  </a:lnTo>
                  <a:cubicBezTo>
                    <a:pt x="7442" y="132"/>
                    <a:pt x="7311" y="1"/>
                    <a:pt x="7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2" name="Google Shape;9902;p58"/>
            <p:cNvSpPr/>
            <p:nvPr/>
          </p:nvSpPr>
          <p:spPr>
            <a:xfrm>
              <a:off x="1590638" y="2834153"/>
              <a:ext cx="88501" cy="84754"/>
            </a:xfrm>
            <a:custGeom>
              <a:avLst/>
              <a:gdLst/>
              <a:ahLst/>
              <a:cxnLst/>
              <a:rect l="l" t="t" r="r" b="b"/>
              <a:pathLst>
                <a:path w="2787" h="2669" extrusionOk="0">
                  <a:moveTo>
                    <a:pt x="1358" y="488"/>
                  </a:moveTo>
                  <a:lnTo>
                    <a:pt x="1596" y="977"/>
                  </a:lnTo>
                  <a:cubicBezTo>
                    <a:pt x="1632" y="1036"/>
                    <a:pt x="1668" y="1072"/>
                    <a:pt x="1751" y="1084"/>
                  </a:cubicBezTo>
                  <a:lnTo>
                    <a:pt x="2299" y="1155"/>
                  </a:lnTo>
                  <a:lnTo>
                    <a:pt x="1929" y="1548"/>
                  </a:lnTo>
                  <a:cubicBezTo>
                    <a:pt x="1882" y="1596"/>
                    <a:pt x="1870" y="1655"/>
                    <a:pt x="1870" y="1715"/>
                  </a:cubicBezTo>
                  <a:lnTo>
                    <a:pt x="1953" y="2263"/>
                  </a:lnTo>
                  <a:lnTo>
                    <a:pt x="1465" y="2012"/>
                  </a:lnTo>
                  <a:cubicBezTo>
                    <a:pt x="1429" y="1989"/>
                    <a:pt x="1406" y="1989"/>
                    <a:pt x="1370" y="1989"/>
                  </a:cubicBezTo>
                  <a:cubicBezTo>
                    <a:pt x="1346" y="1989"/>
                    <a:pt x="1310" y="1989"/>
                    <a:pt x="1287" y="2012"/>
                  </a:cubicBezTo>
                  <a:lnTo>
                    <a:pt x="798" y="2263"/>
                  </a:lnTo>
                  <a:lnTo>
                    <a:pt x="882" y="1715"/>
                  </a:lnTo>
                  <a:cubicBezTo>
                    <a:pt x="894" y="1655"/>
                    <a:pt x="870" y="1596"/>
                    <a:pt x="822" y="1548"/>
                  </a:cubicBezTo>
                  <a:lnTo>
                    <a:pt x="417" y="1155"/>
                  </a:lnTo>
                  <a:lnTo>
                    <a:pt x="977" y="1084"/>
                  </a:lnTo>
                  <a:cubicBezTo>
                    <a:pt x="1036" y="1072"/>
                    <a:pt x="1096" y="1036"/>
                    <a:pt x="1120" y="977"/>
                  </a:cubicBezTo>
                  <a:lnTo>
                    <a:pt x="1358" y="488"/>
                  </a:lnTo>
                  <a:close/>
                  <a:moveTo>
                    <a:pt x="1406" y="0"/>
                  </a:moveTo>
                  <a:cubicBezTo>
                    <a:pt x="1334" y="0"/>
                    <a:pt x="1275" y="48"/>
                    <a:pt x="1239" y="107"/>
                  </a:cubicBezTo>
                  <a:lnTo>
                    <a:pt x="917" y="774"/>
                  </a:lnTo>
                  <a:lnTo>
                    <a:pt x="179" y="881"/>
                  </a:lnTo>
                  <a:cubicBezTo>
                    <a:pt x="108" y="893"/>
                    <a:pt x="48" y="941"/>
                    <a:pt x="36" y="1012"/>
                  </a:cubicBezTo>
                  <a:cubicBezTo>
                    <a:pt x="1" y="1084"/>
                    <a:pt x="36" y="1155"/>
                    <a:pt x="84" y="1203"/>
                  </a:cubicBezTo>
                  <a:lnTo>
                    <a:pt x="620" y="1727"/>
                  </a:lnTo>
                  <a:lnTo>
                    <a:pt x="501" y="2453"/>
                  </a:lnTo>
                  <a:cubicBezTo>
                    <a:pt x="477" y="2524"/>
                    <a:pt x="513" y="2608"/>
                    <a:pt x="572" y="2632"/>
                  </a:cubicBezTo>
                  <a:cubicBezTo>
                    <a:pt x="604" y="2657"/>
                    <a:pt x="639" y="2669"/>
                    <a:pt x="674" y="2669"/>
                  </a:cubicBezTo>
                  <a:cubicBezTo>
                    <a:pt x="705" y="2669"/>
                    <a:pt x="735" y="2660"/>
                    <a:pt x="763" y="2644"/>
                  </a:cubicBezTo>
                  <a:lnTo>
                    <a:pt x="1417" y="2310"/>
                  </a:lnTo>
                  <a:lnTo>
                    <a:pt x="2072" y="2644"/>
                  </a:lnTo>
                  <a:cubicBezTo>
                    <a:pt x="2108" y="2667"/>
                    <a:pt x="2132" y="2667"/>
                    <a:pt x="2168" y="2667"/>
                  </a:cubicBezTo>
                  <a:cubicBezTo>
                    <a:pt x="2203" y="2667"/>
                    <a:pt x="2239" y="2644"/>
                    <a:pt x="2263" y="2632"/>
                  </a:cubicBezTo>
                  <a:cubicBezTo>
                    <a:pt x="2322" y="2584"/>
                    <a:pt x="2358" y="2513"/>
                    <a:pt x="2346" y="2453"/>
                  </a:cubicBezTo>
                  <a:lnTo>
                    <a:pt x="2227" y="1727"/>
                  </a:lnTo>
                  <a:lnTo>
                    <a:pt x="2763" y="1203"/>
                  </a:lnTo>
                  <a:cubicBezTo>
                    <a:pt x="2775" y="1155"/>
                    <a:pt x="2787" y="1084"/>
                    <a:pt x="2775" y="1012"/>
                  </a:cubicBezTo>
                  <a:cubicBezTo>
                    <a:pt x="2739" y="941"/>
                    <a:pt x="2703" y="893"/>
                    <a:pt x="2620" y="881"/>
                  </a:cubicBezTo>
                  <a:lnTo>
                    <a:pt x="1894" y="774"/>
                  </a:lnTo>
                  <a:lnTo>
                    <a:pt x="1572" y="107"/>
                  </a:lnTo>
                  <a:cubicBezTo>
                    <a:pt x="1537" y="48"/>
                    <a:pt x="1465" y="0"/>
                    <a:pt x="1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3" name="Google Shape;9903;p58"/>
          <p:cNvGrpSpPr/>
          <p:nvPr/>
        </p:nvGrpSpPr>
        <p:grpSpPr>
          <a:xfrm>
            <a:off x="1952836" y="2774422"/>
            <a:ext cx="372835" cy="342573"/>
            <a:chOff x="1952836" y="2774422"/>
            <a:chExt cx="372835" cy="342573"/>
          </a:xfrm>
        </p:grpSpPr>
        <p:sp>
          <p:nvSpPr>
            <p:cNvPr id="9904" name="Google Shape;9904;p58"/>
            <p:cNvSpPr/>
            <p:nvPr/>
          </p:nvSpPr>
          <p:spPr>
            <a:xfrm>
              <a:off x="2076490" y="3057581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287" h="1287" extrusionOk="0">
                  <a:moveTo>
                    <a:pt x="643" y="346"/>
                  </a:moveTo>
                  <a:cubicBezTo>
                    <a:pt x="810" y="346"/>
                    <a:pt x="941" y="477"/>
                    <a:pt x="941" y="644"/>
                  </a:cubicBezTo>
                  <a:cubicBezTo>
                    <a:pt x="941" y="811"/>
                    <a:pt x="810" y="941"/>
                    <a:pt x="643" y="941"/>
                  </a:cubicBezTo>
                  <a:cubicBezTo>
                    <a:pt x="476" y="941"/>
                    <a:pt x="345" y="811"/>
                    <a:pt x="345" y="644"/>
                  </a:cubicBezTo>
                  <a:cubicBezTo>
                    <a:pt x="345" y="477"/>
                    <a:pt x="476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0" y="1287"/>
                    <a:pt x="1286" y="1001"/>
                    <a:pt x="1286" y="644"/>
                  </a:cubicBezTo>
                  <a:cubicBezTo>
                    <a:pt x="1286" y="287"/>
                    <a:pt x="1000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5" name="Google Shape;9905;p58"/>
            <p:cNvSpPr/>
            <p:nvPr/>
          </p:nvSpPr>
          <p:spPr>
            <a:xfrm>
              <a:off x="2208432" y="3057581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287" h="1287" extrusionOk="0">
                  <a:moveTo>
                    <a:pt x="643" y="346"/>
                  </a:moveTo>
                  <a:cubicBezTo>
                    <a:pt x="810" y="346"/>
                    <a:pt x="941" y="477"/>
                    <a:pt x="941" y="644"/>
                  </a:cubicBezTo>
                  <a:cubicBezTo>
                    <a:pt x="941" y="811"/>
                    <a:pt x="810" y="941"/>
                    <a:pt x="643" y="941"/>
                  </a:cubicBezTo>
                  <a:cubicBezTo>
                    <a:pt x="477" y="941"/>
                    <a:pt x="346" y="811"/>
                    <a:pt x="346" y="644"/>
                  </a:cubicBezTo>
                  <a:cubicBezTo>
                    <a:pt x="346" y="477"/>
                    <a:pt x="477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1" y="1287"/>
                    <a:pt x="1286" y="1001"/>
                    <a:pt x="1286" y="644"/>
                  </a:cubicBezTo>
                  <a:cubicBezTo>
                    <a:pt x="1286" y="287"/>
                    <a:pt x="1001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6" name="Google Shape;9906;p58"/>
            <p:cNvSpPr/>
            <p:nvPr/>
          </p:nvSpPr>
          <p:spPr>
            <a:xfrm>
              <a:off x="1952836" y="2774422"/>
              <a:ext cx="372835" cy="342573"/>
            </a:xfrm>
            <a:custGeom>
              <a:avLst/>
              <a:gdLst/>
              <a:ahLst/>
              <a:cxnLst/>
              <a:rect l="l" t="t" r="r" b="b"/>
              <a:pathLst>
                <a:path w="11741" h="10788" extrusionOk="0">
                  <a:moveTo>
                    <a:pt x="5382" y="1988"/>
                  </a:moveTo>
                  <a:lnTo>
                    <a:pt x="5382" y="3001"/>
                  </a:lnTo>
                  <a:lnTo>
                    <a:pt x="4359" y="3001"/>
                  </a:lnTo>
                  <a:lnTo>
                    <a:pt x="4359" y="1988"/>
                  </a:lnTo>
                  <a:close/>
                  <a:moveTo>
                    <a:pt x="6752" y="1988"/>
                  </a:moveTo>
                  <a:lnTo>
                    <a:pt x="6752" y="3001"/>
                  </a:lnTo>
                  <a:lnTo>
                    <a:pt x="5728" y="3001"/>
                  </a:lnTo>
                  <a:lnTo>
                    <a:pt x="5728" y="1988"/>
                  </a:lnTo>
                  <a:close/>
                  <a:moveTo>
                    <a:pt x="8121" y="1988"/>
                  </a:moveTo>
                  <a:lnTo>
                    <a:pt x="8121" y="3001"/>
                  </a:lnTo>
                  <a:lnTo>
                    <a:pt x="7097" y="3001"/>
                  </a:lnTo>
                  <a:lnTo>
                    <a:pt x="7097" y="1988"/>
                  </a:lnTo>
                  <a:close/>
                  <a:moveTo>
                    <a:pt x="9490" y="1988"/>
                  </a:moveTo>
                  <a:lnTo>
                    <a:pt x="9490" y="3001"/>
                  </a:lnTo>
                  <a:lnTo>
                    <a:pt x="8466" y="3001"/>
                  </a:lnTo>
                  <a:lnTo>
                    <a:pt x="8466" y="1988"/>
                  </a:lnTo>
                  <a:close/>
                  <a:moveTo>
                    <a:pt x="10324" y="1988"/>
                  </a:moveTo>
                  <a:lnTo>
                    <a:pt x="10085" y="3001"/>
                  </a:lnTo>
                  <a:lnTo>
                    <a:pt x="9847" y="3001"/>
                  </a:lnTo>
                  <a:lnTo>
                    <a:pt x="9847" y="1988"/>
                  </a:lnTo>
                  <a:close/>
                  <a:moveTo>
                    <a:pt x="4001" y="2000"/>
                  </a:moveTo>
                  <a:lnTo>
                    <a:pt x="4001" y="3012"/>
                  </a:lnTo>
                  <a:lnTo>
                    <a:pt x="3311" y="3012"/>
                  </a:lnTo>
                  <a:lnTo>
                    <a:pt x="2965" y="2000"/>
                  </a:lnTo>
                  <a:close/>
                  <a:moveTo>
                    <a:pt x="10014" y="3334"/>
                  </a:moveTo>
                  <a:lnTo>
                    <a:pt x="9847" y="4048"/>
                  </a:lnTo>
                  <a:lnTo>
                    <a:pt x="9847" y="3334"/>
                  </a:lnTo>
                  <a:close/>
                  <a:moveTo>
                    <a:pt x="4013" y="3334"/>
                  </a:moveTo>
                  <a:lnTo>
                    <a:pt x="4013" y="4370"/>
                  </a:lnTo>
                  <a:lnTo>
                    <a:pt x="3823" y="4370"/>
                  </a:lnTo>
                  <a:lnTo>
                    <a:pt x="3454" y="3334"/>
                  </a:lnTo>
                  <a:close/>
                  <a:moveTo>
                    <a:pt x="5371" y="3334"/>
                  </a:moveTo>
                  <a:lnTo>
                    <a:pt x="5371" y="4370"/>
                  </a:lnTo>
                  <a:lnTo>
                    <a:pt x="4347" y="4370"/>
                  </a:lnTo>
                  <a:lnTo>
                    <a:pt x="4347" y="3334"/>
                  </a:lnTo>
                  <a:close/>
                  <a:moveTo>
                    <a:pt x="6752" y="3334"/>
                  </a:moveTo>
                  <a:lnTo>
                    <a:pt x="6752" y="4370"/>
                  </a:lnTo>
                  <a:lnTo>
                    <a:pt x="5728" y="4370"/>
                  </a:lnTo>
                  <a:lnTo>
                    <a:pt x="5728" y="3334"/>
                  </a:lnTo>
                  <a:close/>
                  <a:moveTo>
                    <a:pt x="8121" y="3358"/>
                  </a:moveTo>
                  <a:lnTo>
                    <a:pt x="8121" y="4382"/>
                  </a:lnTo>
                  <a:lnTo>
                    <a:pt x="7097" y="4382"/>
                  </a:lnTo>
                  <a:lnTo>
                    <a:pt x="7097" y="3358"/>
                  </a:lnTo>
                  <a:close/>
                  <a:moveTo>
                    <a:pt x="9514" y="3358"/>
                  </a:moveTo>
                  <a:lnTo>
                    <a:pt x="9514" y="4382"/>
                  </a:lnTo>
                  <a:lnTo>
                    <a:pt x="8478" y="4382"/>
                  </a:lnTo>
                  <a:lnTo>
                    <a:pt x="8478" y="3358"/>
                  </a:lnTo>
                  <a:close/>
                  <a:moveTo>
                    <a:pt x="4001" y="4727"/>
                  </a:moveTo>
                  <a:lnTo>
                    <a:pt x="4001" y="4941"/>
                  </a:lnTo>
                  <a:lnTo>
                    <a:pt x="3930" y="4727"/>
                  </a:lnTo>
                  <a:close/>
                  <a:moveTo>
                    <a:pt x="5371" y="4715"/>
                  </a:moveTo>
                  <a:lnTo>
                    <a:pt x="5371" y="5525"/>
                  </a:lnTo>
                  <a:cubicBezTo>
                    <a:pt x="5297" y="5521"/>
                    <a:pt x="5230" y="5520"/>
                    <a:pt x="5167" y="5520"/>
                  </a:cubicBezTo>
                  <a:cubicBezTo>
                    <a:pt x="5049" y="5520"/>
                    <a:pt x="4947" y="5524"/>
                    <a:pt x="4854" y="5524"/>
                  </a:cubicBezTo>
                  <a:cubicBezTo>
                    <a:pt x="4666" y="5524"/>
                    <a:pt x="4516" y="5507"/>
                    <a:pt x="4347" y="5406"/>
                  </a:cubicBezTo>
                  <a:lnTo>
                    <a:pt x="4347" y="4715"/>
                  </a:lnTo>
                  <a:close/>
                  <a:moveTo>
                    <a:pt x="6752" y="4727"/>
                  </a:moveTo>
                  <a:lnTo>
                    <a:pt x="6752" y="5525"/>
                  </a:lnTo>
                  <a:lnTo>
                    <a:pt x="5728" y="5525"/>
                  </a:lnTo>
                  <a:lnTo>
                    <a:pt x="5728" y="4727"/>
                  </a:lnTo>
                  <a:close/>
                  <a:moveTo>
                    <a:pt x="8121" y="4727"/>
                  </a:moveTo>
                  <a:lnTo>
                    <a:pt x="8121" y="5525"/>
                  </a:lnTo>
                  <a:lnTo>
                    <a:pt x="7097" y="5525"/>
                  </a:lnTo>
                  <a:lnTo>
                    <a:pt x="7097" y="4727"/>
                  </a:lnTo>
                  <a:close/>
                  <a:moveTo>
                    <a:pt x="9490" y="4727"/>
                  </a:moveTo>
                  <a:lnTo>
                    <a:pt x="9490" y="5525"/>
                  </a:lnTo>
                  <a:lnTo>
                    <a:pt x="8466" y="5525"/>
                  </a:lnTo>
                  <a:lnTo>
                    <a:pt x="8466" y="4727"/>
                  </a:lnTo>
                  <a:close/>
                  <a:moveTo>
                    <a:pt x="4537" y="8680"/>
                  </a:moveTo>
                  <a:cubicBezTo>
                    <a:pt x="5025" y="8680"/>
                    <a:pt x="5418" y="9085"/>
                    <a:pt x="5418" y="9561"/>
                  </a:cubicBezTo>
                  <a:cubicBezTo>
                    <a:pt x="5418" y="10037"/>
                    <a:pt x="5025" y="10442"/>
                    <a:pt x="4537" y="10442"/>
                  </a:cubicBezTo>
                  <a:cubicBezTo>
                    <a:pt x="4049" y="10442"/>
                    <a:pt x="3656" y="10049"/>
                    <a:pt x="3656" y="9561"/>
                  </a:cubicBezTo>
                  <a:cubicBezTo>
                    <a:pt x="3656" y="9085"/>
                    <a:pt x="4049" y="8680"/>
                    <a:pt x="4537" y="8680"/>
                  </a:cubicBezTo>
                  <a:close/>
                  <a:moveTo>
                    <a:pt x="8692" y="8680"/>
                  </a:moveTo>
                  <a:cubicBezTo>
                    <a:pt x="9181" y="8680"/>
                    <a:pt x="9573" y="9085"/>
                    <a:pt x="9573" y="9561"/>
                  </a:cubicBezTo>
                  <a:cubicBezTo>
                    <a:pt x="9573" y="10037"/>
                    <a:pt x="9181" y="10442"/>
                    <a:pt x="8692" y="10442"/>
                  </a:cubicBezTo>
                  <a:cubicBezTo>
                    <a:pt x="8204" y="10442"/>
                    <a:pt x="7811" y="10049"/>
                    <a:pt x="7811" y="9561"/>
                  </a:cubicBezTo>
                  <a:cubicBezTo>
                    <a:pt x="7811" y="9085"/>
                    <a:pt x="8204" y="8680"/>
                    <a:pt x="8692" y="8680"/>
                  </a:cubicBezTo>
                  <a:close/>
                  <a:moveTo>
                    <a:pt x="620" y="0"/>
                  </a:moveTo>
                  <a:cubicBezTo>
                    <a:pt x="287" y="0"/>
                    <a:pt x="1" y="286"/>
                    <a:pt x="1" y="631"/>
                  </a:cubicBezTo>
                  <a:cubicBezTo>
                    <a:pt x="1" y="976"/>
                    <a:pt x="287" y="1250"/>
                    <a:pt x="620" y="1250"/>
                  </a:cubicBezTo>
                  <a:lnTo>
                    <a:pt x="1394" y="1250"/>
                  </a:lnTo>
                  <a:lnTo>
                    <a:pt x="2346" y="3965"/>
                  </a:lnTo>
                  <a:cubicBezTo>
                    <a:pt x="2374" y="4029"/>
                    <a:pt x="2444" y="4072"/>
                    <a:pt x="2513" y="4072"/>
                  </a:cubicBezTo>
                  <a:cubicBezTo>
                    <a:pt x="2533" y="4072"/>
                    <a:pt x="2553" y="4068"/>
                    <a:pt x="2573" y="4060"/>
                  </a:cubicBezTo>
                  <a:cubicBezTo>
                    <a:pt x="2668" y="4036"/>
                    <a:pt x="2704" y="3929"/>
                    <a:pt x="2680" y="3846"/>
                  </a:cubicBezTo>
                  <a:cubicBezTo>
                    <a:pt x="1739" y="1191"/>
                    <a:pt x="1692" y="1072"/>
                    <a:pt x="1692" y="1072"/>
                  </a:cubicBezTo>
                  <a:cubicBezTo>
                    <a:pt x="1656" y="965"/>
                    <a:pt x="1561" y="905"/>
                    <a:pt x="1441" y="905"/>
                  </a:cubicBezTo>
                  <a:lnTo>
                    <a:pt x="620" y="905"/>
                  </a:lnTo>
                  <a:cubicBezTo>
                    <a:pt x="465" y="905"/>
                    <a:pt x="346" y="774"/>
                    <a:pt x="346" y="631"/>
                  </a:cubicBezTo>
                  <a:cubicBezTo>
                    <a:pt x="346" y="464"/>
                    <a:pt x="477" y="345"/>
                    <a:pt x="620" y="345"/>
                  </a:cubicBezTo>
                  <a:lnTo>
                    <a:pt x="1441" y="345"/>
                  </a:lnTo>
                  <a:cubicBezTo>
                    <a:pt x="1787" y="345"/>
                    <a:pt x="2084" y="536"/>
                    <a:pt x="2215" y="845"/>
                  </a:cubicBezTo>
                  <a:cubicBezTo>
                    <a:pt x="2418" y="1429"/>
                    <a:pt x="3585" y="4703"/>
                    <a:pt x="3751" y="5191"/>
                  </a:cubicBezTo>
                  <a:cubicBezTo>
                    <a:pt x="3870" y="5548"/>
                    <a:pt x="4287" y="5882"/>
                    <a:pt x="4775" y="5882"/>
                  </a:cubicBezTo>
                  <a:lnTo>
                    <a:pt x="10978" y="5882"/>
                  </a:lnTo>
                  <a:cubicBezTo>
                    <a:pt x="11145" y="5882"/>
                    <a:pt x="11264" y="6013"/>
                    <a:pt x="11264" y="6168"/>
                  </a:cubicBezTo>
                  <a:cubicBezTo>
                    <a:pt x="11264" y="6322"/>
                    <a:pt x="11133" y="6441"/>
                    <a:pt x="10978" y="6441"/>
                  </a:cubicBezTo>
                  <a:lnTo>
                    <a:pt x="4775" y="6441"/>
                  </a:lnTo>
                  <a:cubicBezTo>
                    <a:pt x="4108" y="6441"/>
                    <a:pt x="3489" y="6049"/>
                    <a:pt x="3227" y="5417"/>
                  </a:cubicBezTo>
                  <a:lnTo>
                    <a:pt x="2882" y="4453"/>
                  </a:lnTo>
                  <a:cubicBezTo>
                    <a:pt x="2863" y="4377"/>
                    <a:pt x="2791" y="4339"/>
                    <a:pt x="2720" y="4339"/>
                  </a:cubicBezTo>
                  <a:cubicBezTo>
                    <a:pt x="2702" y="4339"/>
                    <a:pt x="2684" y="4341"/>
                    <a:pt x="2668" y="4346"/>
                  </a:cubicBezTo>
                  <a:cubicBezTo>
                    <a:pt x="2573" y="4382"/>
                    <a:pt x="2525" y="4477"/>
                    <a:pt x="2561" y="4572"/>
                  </a:cubicBezTo>
                  <a:cubicBezTo>
                    <a:pt x="2846" y="5275"/>
                    <a:pt x="2846" y="5596"/>
                    <a:pt x="3180" y="6013"/>
                  </a:cubicBezTo>
                  <a:lnTo>
                    <a:pt x="2799" y="6560"/>
                  </a:lnTo>
                  <a:cubicBezTo>
                    <a:pt x="2215" y="7394"/>
                    <a:pt x="2715" y="8549"/>
                    <a:pt x="3716" y="8680"/>
                  </a:cubicBezTo>
                  <a:cubicBezTo>
                    <a:pt x="2918" y="9418"/>
                    <a:pt x="3442" y="10787"/>
                    <a:pt x="4549" y="10787"/>
                  </a:cubicBezTo>
                  <a:cubicBezTo>
                    <a:pt x="5656" y="10787"/>
                    <a:pt x="6168" y="9454"/>
                    <a:pt x="5394" y="8692"/>
                  </a:cubicBezTo>
                  <a:lnTo>
                    <a:pt x="7871" y="8692"/>
                  </a:lnTo>
                  <a:cubicBezTo>
                    <a:pt x="7085" y="9454"/>
                    <a:pt x="7621" y="10787"/>
                    <a:pt x="8716" y="10787"/>
                  </a:cubicBezTo>
                  <a:cubicBezTo>
                    <a:pt x="9823" y="10787"/>
                    <a:pt x="10335" y="9454"/>
                    <a:pt x="9562" y="8692"/>
                  </a:cubicBezTo>
                  <a:lnTo>
                    <a:pt x="9788" y="8692"/>
                  </a:lnTo>
                  <a:cubicBezTo>
                    <a:pt x="10133" y="8692"/>
                    <a:pt x="10419" y="8406"/>
                    <a:pt x="10419" y="8073"/>
                  </a:cubicBezTo>
                  <a:cubicBezTo>
                    <a:pt x="10419" y="7727"/>
                    <a:pt x="10133" y="7442"/>
                    <a:pt x="9788" y="7442"/>
                  </a:cubicBezTo>
                  <a:lnTo>
                    <a:pt x="8228" y="7442"/>
                  </a:lnTo>
                  <a:cubicBezTo>
                    <a:pt x="8133" y="7442"/>
                    <a:pt x="8061" y="7513"/>
                    <a:pt x="8061" y="7608"/>
                  </a:cubicBezTo>
                  <a:cubicBezTo>
                    <a:pt x="8061" y="7692"/>
                    <a:pt x="8133" y="7775"/>
                    <a:pt x="8228" y="7775"/>
                  </a:cubicBezTo>
                  <a:lnTo>
                    <a:pt x="9788" y="7775"/>
                  </a:lnTo>
                  <a:cubicBezTo>
                    <a:pt x="9954" y="7775"/>
                    <a:pt x="10074" y="7906"/>
                    <a:pt x="10074" y="8049"/>
                  </a:cubicBezTo>
                  <a:cubicBezTo>
                    <a:pt x="10074" y="8215"/>
                    <a:pt x="9943" y="8335"/>
                    <a:pt x="9788" y="8335"/>
                  </a:cubicBezTo>
                  <a:lnTo>
                    <a:pt x="3930" y="8335"/>
                  </a:lnTo>
                  <a:cubicBezTo>
                    <a:pt x="3108" y="8335"/>
                    <a:pt x="2620" y="7418"/>
                    <a:pt x="3096" y="6739"/>
                  </a:cubicBezTo>
                  <a:lnTo>
                    <a:pt x="3442" y="6251"/>
                  </a:lnTo>
                  <a:cubicBezTo>
                    <a:pt x="3573" y="6382"/>
                    <a:pt x="3739" y="6489"/>
                    <a:pt x="3906" y="6560"/>
                  </a:cubicBezTo>
                  <a:lnTo>
                    <a:pt x="3573" y="7072"/>
                  </a:lnTo>
                  <a:cubicBezTo>
                    <a:pt x="3358" y="7370"/>
                    <a:pt x="3573" y="7775"/>
                    <a:pt x="3942" y="7775"/>
                  </a:cubicBezTo>
                  <a:lnTo>
                    <a:pt x="7609" y="7775"/>
                  </a:lnTo>
                  <a:cubicBezTo>
                    <a:pt x="7692" y="7775"/>
                    <a:pt x="7764" y="7692"/>
                    <a:pt x="7764" y="7608"/>
                  </a:cubicBezTo>
                  <a:cubicBezTo>
                    <a:pt x="7764" y="7513"/>
                    <a:pt x="7692" y="7442"/>
                    <a:pt x="7609" y="7442"/>
                  </a:cubicBezTo>
                  <a:lnTo>
                    <a:pt x="3942" y="7442"/>
                  </a:lnTo>
                  <a:cubicBezTo>
                    <a:pt x="3847" y="7442"/>
                    <a:pt x="3811" y="7334"/>
                    <a:pt x="3847" y="7263"/>
                  </a:cubicBezTo>
                  <a:lnTo>
                    <a:pt x="4251" y="6703"/>
                  </a:lnTo>
                  <a:cubicBezTo>
                    <a:pt x="4465" y="6762"/>
                    <a:pt x="4535" y="6775"/>
                    <a:pt x="5134" y="6775"/>
                  </a:cubicBezTo>
                  <a:cubicBezTo>
                    <a:pt x="5630" y="6775"/>
                    <a:pt x="6490" y="6766"/>
                    <a:pt x="8097" y="6766"/>
                  </a:cubicBezTo>
                  <a:cubicBezTo>
                    <a:pt x="8881" y="6766"/>
                    <a:pt x="9842" y="6768"/>
                    <a:pt x="11026" y="6775"/>
                  </a:cubicBezTo>
                  <a:cubicBezTo>
                    <a:pt x="11371" y="6775"/>
                    <a:pt x="11645" y="6489"/>
                    <a:pt x="11645" y="6144"/>
                  </a:cubicBezTo>
                  <a:cubicBezTo>
                    <a:pt x="11598" y="5810"/>
                    <a:pt x="11312" y="5525"/>
                    <a:pt x="10966" y="5525"/>
                  </a:cubicBezTo>
                  <a:lnTo>
                    <a:pt x="10788" y="5525"/>
                  </a:lnTo>
                  <a:lnTo>
                    <a:pt x="11598" y="2048"/>
                  </a:lnTo>
                  <a:cubicBezTo>
                    <a:pt x="11740" y="1393"/>
                    <a:pt x="11252" y="762"/>
                    <a:pt x="10562" y="762"/>
                  </a:cubicBezTo>
                  <a:lnTo>
                    <a:pt x="7252" y="762"/>
                  </a:lnTo>
                  <a:cubicBezTo>
                    <a:pt x="7156" y="762"/>
                    <a:pt x="7085" y="834"/>
                    <a:pt x="7085" y="929"/>
                  </a:cubicBezTo>
                  <a:cubicBezTo>
                    <a:pt x="7085" y="1012"/>
                    <a:pt x="7156" y="1096"/>
                    <a:pt x="7252" y="1096"/>
                  </a:cubicBezTo>
                  <a:lnTo>
                    <a:pt x="10562" y="1096"/>
                  </a:lnTo>
                  <a:cubicBezTo>
                    <a:pt x="11026" y="1096"/>
                    <a:pt x="11359" y="1524"/>
                    <a:pt x="11252" y="1953"/>
                  </a:cubicBezTo>
                  <a:lnTo>
                    <a:pt x="10431" y="5525"/>
                  </a:lnTo>
                  <a:lnTo>
                    <a:pt x="9847" y="5525"/>
                  </a:lnTo>
                  <a:cubicBezTo>
                    <a:pt x="9943" y="5144"/>
                    <a:pt x="10585" y="2369"/>
                    <a:pt x="10705" y="1869"/>
                  </a:cubicBezTo>
                  <a:cubicBezTo>
                    <a:pt x="10728" y="1762"/>
                    <a:pt x="10645" y="1655"/>
                    <a:pt x="10538" y="1655"/>
                  </a:cubicBezTo>
                  <a:lnTo>
                    <a:pt x="2858" y="1655"/>
                  </a:lnTo>
                  <a:lnTo>
                    <a:pt x="2668" y="1096"/>
                  </a:lnTo>
                  <a:lnTo>
                    <a:pt x="6621" y="1096"/>
                  </a:lnTo>
                  <a:cubicBezTo>
                    <a:pt x="6716" y="1096"/>
                    <a:pt x="6787" y="1012"/>
                    <a:pt x="6787" y="929"/>
                  </a:cubicBezTo>
                  <a:cubicBezTo>
                    <a:pt x="6787" y="834"/>
                    <a:pt x="6716" y="762"/>
                    <a:pt x="6621" y="762"/>
                  </a:cubicBezTo>
                  <a:lnTo>
                    <a:pt x="2549" y="762"/>
                  </a:lnTo>
                  <a:cubicBezTo>
                    <a:pt x="2394" y="334"/>
                    <a:pt x="1965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7" name="Google Shape;9907;p58"/>
          <p:cNvGrpSpPr/>
          <p:nvPr/>
        </p:nvGrpSpPr>
        <p:grpSpPr>
          <a:xfrm>
            <a:off x="3079916" y="2744477"/>
            <a:ext cx="332729" cy="372518"/>
            <a:chOff x="3079916" y="2744477"/>
            <a:chExt cx="332729" cy="372518"/>
          </a:xfrm>
        </p:grpSpPr>
        <p:sp>
          <p:nvSpPr>
            <p:cNvPr id="9908" name="Google Shape;9908;p58"/>
            <p:cNvSpPr/>
            <p:nvPr/>
          </p:nvSpPr>
          <p:spPr>
            <a:xfrm>
              <a:off x="3079916" y="2840504"/>
              <a:ext cx="313454" cy="276491"/>
            </a:xfrm>
            <a:custGeom>
              <a:avLst/>
              <a:gdLst/>
              <a:ahLst/>
              <a:cxnLst/>
              <a:rect l="l" t="t" r="r" b="b"/>
              <a:pathLst>
                <a:path w="9871" h="8707" extrusionOk="0">
                  <a:moveTo>
                    <a:pt x="2993" y="1"/>
                  </a:moveTo>
                  <a:cubicBezTo>
                    <a:pt x="2768" y="1"/>
                    <a:pt x="2560" y="25"/>
                    <a:pt x="2370" y="74"/>
                  </a:cubicBezTo>
                  <a:cubicBezTo>
                    <a:pt x="1739" y="241"/>
                    <a:pt x="1179" y="646"/>
                    <a:pt x="750" y="1205"/>
                  </a:cubicBezTo>
                  <a:cubicBezTo>
                    <a:pt x="250" y="1860"/>
                    <a:pt x="0" y="2694"/>
                    <a:pt x="0" y="3622"/>
                  </a:cubicBezTo>
                  <a:cubicBezTo>
                    <a:pt x="0" y="4575"/>
                    <a:pt x="429" y="5825"/>
                    <a:pt x="1120" y="6896"/>
                  </a:cubicBezTo>
                  <a:cubicBezTo>
                    <a:pt x="1882" y="8039"/>
                    <a:pt x="2751" y="8706"/>
                    <a:pt x="3525" y="8706"/>
                  </a:cubicBezTo>
                  <a:cubicBezTo>
                    <a:pt x="3846" y="8706"/>
                    <a:pt x="4156" y="8670"/>
                    <a:pt x="4441" y="8575"/>
                  </a:cubicBezTo>
                  <a:cubicBezTo>
                    <a:pt x="4596" y="8534"/>
                    <a:pt x="4760" y="8513"/>
                    <a:pt x="4924" y="8513"/>
                  </a:cubicBezTo>
                  <a:cubicBezTo>
                    <a:pt x="5087" y="8513"/>
                    <a:pt x="5251" y="8534"/>
                    <a:pt x="5406" y="8575"/>
                  </a:cubicBezTo>
                  <a:cubicBezTo>
                    <a:pt x="5703" y="8670"/>
                    <a:pt x="6013" y="8706"/>
                    <a:pt x="6311" y="8706"/>
                  </a:cubicBezTo>
                  <a:cubicBezTo>
                    <a:pt x="7085" y="8706"/>
                    <a:pt x="7978" y="8051"/>
                    <a:pt x="8728" y="6896"/>
                  </a:cubicBezTo>
                  <a:cubicBezTo>
                    <a:pt x="9418" y="5837"/>
                    <a:pt x="9835" y="4587"/>
                    <a:pt x="9835" y="3622"/>
                  </a:cubicBezTo>
                  <a:cubicBezTo>
                    <a:pt x="9871" y="2920"/>
                    <a:pt x="9716" y="2301"/>
                    <a:pt x="9454" y="1753"/>
                  </a:cubicBezTo>
                  <a:cubicBezTo>
                    <a:pt x="9420" y="1677"/>
                    <a:pt x="9351" y="1637"/>
                    <a:pt x="9275" y="1637"/>
                  </a:cubicBezTo>
                  <a:cubicBezTo>
                    <a:pt x="9244" y="1637"/>
                    <a:pt x="9211" y="1644"/>
                    <a:pt x="9180" y="1658"/>
                  </a:cubicBezTo>
                  <a:cubicBezTo>
                    <a:pt x="9085" y="1705"/>
                    <a:pt x="9049" y="1824"/>
                    <a:pt x="9097" y="1932"/>
                  </a:cubicBezTo>
                  <a:cubicBezTo>
                    <a:pt x="9347" y="2420"/>
                    <a:pt x="9466" y="3003"/>
                    <a:pt x="9466" y="3622"/>
                  </a:cubicBezTo>
                  <a:cubicBezTo>
                    <a:pt x="9466" y="4503"/>
                    <a:pt x="9061" y="5682"/>
                    <a:pt x="8406" y="6670"/>
                  </a:cubicBezTo>
                  <a:cubicBezTo>
                    <a:pt x="7739" y="7694"/>
                    <a:pt x="6966" y="8313"/>
                    <a:pt x="6323" y="8313"/>
                  </a:cubicBezTo>
                  <a:cubicBezTo>
                    <a:pt x="6061" y="8313"/>
                    <a:pt x="5775" y="8266"/>
                    <a:pt x="5525" y="8194"/>
                  </a:cubicBezTo>
                  <a:cubicBezTo>
                    <a:pt x="5328" y="8135"/>
                    <a:pt x="5126" y="8105"/>
                    <a:pt x="4925" y="8105"/>
                  </a:cubicBezTo>
                  <a:cubicBezTo>
                    <a:pt x="4724" y="8105"/>
                    <a:pt x="4525" y="8135"/>
                    <a:pt x="4334" y="8194"/>
                  </a:cubicBezTo>
                  <a:cubicBezTo>
                    <a:pt x="4084" y="8266"/>
                    <a:pt x="3798" y="8313"/>
                    <a:pt x="3525" y="8313"/>
                  </a:cubicBezTo>
                  <a:cubicBezTo>
                    <a:pt x="2894" y="8313"/>
                    <a:pt x="2120" y="7694"/>
                    <a:pt x="1441" y="6670"/>
                  </a:cubicBezTo>
                  <a:cubicBezTo>
                    <a:pt x="786" y="5682"/>
                    <a:pt x="393" y="4503"/>
                    <a:pt x="393" y="3622"/>
                  </a:cubicBezTo>
                  <a:cubicBezTo>
                    <a:pt x="393" y="2789"/>
                    <a:pt x="631" y="2039"/>
                    <a:pt x="1060" y="1443"/>
                  </a:cubicBezTo>
                  <a:cubicBezTo>
                    <a:pt x="1429" y="955"/>
                    <a:pt x="1941" y="598"/>
                    <a:pt x="2453" y="467"/>
                  </a:cubicBezTo>
                  <a:cubicBezTo>
                    <a:pt x="2608" y="425"/>
                    <a:pt x="2783" y="405"/>
                    <a:pt x="2975" y="405"/>
                  </a:cubicBezTo>
                  <a:cubicBezTo>
                    <a:pt x="3270" y="405"/>
                    <a:pt x="3605" y="452"/>
                    <a:pt x="3965" y="539"/>
                  </a:cubicBezTo>
                  <a:cubicBezTo>
                    <a:pt x="4025" y="550"/>
                    <a:pt x="4096" y="574"/>
                    <a:pt x="4156" y="586"/>
                  </a:cubicBezTo>
                  <a:cubicBezTo>
                    <a:pt x="4165" y="587"/>
                    <a:pt x="4174" y="588"/>
                    <a:pt x="4183" y="588"/>
                  </a:cubicBezTo>
                  <a:cubicBezTo>
                    <a:pt x="4278" y="588"/>
                    <a:pt x="4361" y="529"/>
                    <a:pt x="4394" y="431"/>
                  </a:cubicBezTo>
                  <a:cubicBezTo>
                    <a:pt x="4406" y="336"/>
                    <a:pt x="4346" y="229"/>
                    <a:pt x="4239" y="193"/>
                  </a:cubicBezTo>
                  <a:lnTo>
                    <a:pt x="4060" y="158"/>
                  </a:lnTo>
                  <a:cubicBezTo>
                    <a:pt x="3674" y="52"/>
                    <a:pt x="3316" y="1"/>
                    <a:pt x="29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9" name="Google Shape;9909;p58"/>
            <p:cNvSpPr/>
            <p:nvPr/>
          </p:nvSpPr>
          <p:spPr>
            <a:xfrm>
              <a:off x="3244375" y="2840250"/>
              <a:ext cx="124416" cy="45727"/>
            </a:xfrm>
            <a:custGeom>
              <a:avLst/>
              <a:gdLst/>
              <a:ahLst/>
              <a:cxnLst/>
              <a:rect l="l" t="t" r="r" b="b"/>
              <a:pathLst>
                <a:path w="3918" h="1440" extrusionOk="0">
                  <a:moveTo>
                    <a:pt x="1721" y="0"/>
                  </a:moveTo>
                  <a:cubicBezTo>
                    <a:pt x="1391" y="0"/>
                    <a:pt x="1027" y="53"/>
                    <a:pt x="632" y="154"/>
                  </a:cubicBezTo>
                  <a:cubicBezTo>
                    <a:pt x="477" y="189"/>
                    <a:pt x="334" y="213"/>
                    <a:pt x="191" y="237"/>
                  </a:cubicBezTo>
                  <a:cubicBezTo>
                    <a:pt x="96" y="249"/>
                    <a:pt x="1" y="356"/>
                    <a:pt x="12" y="463"/>
                  </a:cubicBezTo>
                  <a:cubicBezTo>
                    <a:pt x="35" y="563"/>
                    <a:pt x="120" y="643"/>
                    <a:pt x="218" y="643"/>
                  </a:cubicBezTo>
                  <a:cubicBezTo>
                    <a:pt x="225" y="643"/>
                    <a:pt x="232" y="643"/>
                    <a:pt x="239" y="642"/>
                  </a:cubicBezTo>
                  <a:cubicBezTo>
                    <a:pt x="405" y="630"/>
                    <a:pt x="572" y="582"/>
                    <a:pt x="727" y="547"/>
                  </a:cubicBezTo>
                  <a:cubicBezTo>
                    <a:pt x="1080" y="460"/>
                    <a:pt x="1412" y="413"/>
                    <a:pt x="1708" y="413"/>
                  </a:cubicBezTo>
                  <a:cubicBezTo>
                    <a:pt x="1901" y="413"/>
                    <a:pt x="2079" y="433"/>
                    <a:pt x="2239" y="475"/>
                  </a:cubicBezTo>
                  <a:cubicBezTo>
                    <a:pt x="2727" y="606"/>
                    <a:pt x="3203" y="928"/>
                    <a:pt x="3561" y="1368"/>
                  </a:cubicBezTo>
                  <a:cubicBezTo>
                    <a:pt x="3608" y="1416"/>
                    <a:pt x="3668" y="1439"/>
                    <a:pt x="3703" y="1439"/>
                  </a:cubicBezTo>
                  <a:cubicBezTo>
                    <a:pt x="3751" y="1439"/>
                    <a:pt x="3799" y="1428"/>
                    <a:pt x="3822" y="1404"/>
                  </a:cubicBezTo>
                  <a:cubicBezTo>
                    <a:pt x="3918" y="1309"/>
                    <a:pt x="3918" y="1189"/>
                    <a:pt x="3858" y="1106"/>
                  </a:cubicBezTo>
                  <a:cubicBezTo>
                    <a:pt x="3441" y="594"/>
                    <a:pt x="2894" y="225"/>
                    <a:pt x="2322" y="70"/>
                  </a:cubicBezTo>
                  <a:cubicBezTo>
                    <a:pt x="2138" y="23"/>
                    <a:pt x="1937" y="0"/>
                    <a:pt x="17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0" name="Google Shape;9910;p58"/>
            <p:cNvSpPr/>
            <p:nvPr/>
          </p:nvSpPr>
          <p:spPr>
            <a:xfrm>
              <a:off x="3198267" y="2744477"/>
              <a:ext cx="214378" cy="145279"/>
            </a:xfrm>
            <a:custGeom>
              <a:avLst/>
              <a:gdLst/>
              <a:ahLst/>
              <a:cxnLst/>
              <a:rect l="l" t="t" r="r" b="b"/>
              <a:pathLst>
                <a:path w="6751" h="4575" extrusionOk="0">
                  <a:moveTo>
                    <a:pt x="4113" y="1"/>
                  </a:moveTo>
                  <a:cubicBezTo>
                    <a:pt x="3977" y="1"/>
                    <a:pt x="3841" y="10"/>
                    <a:pt x="3703" y="26"/>
                  </a:cubicBezTo>
                  <a:cubicBezTo>
                    <a:pt x="3060" y="74"/>
                    <a:pt x="2500" y="407"/>
                    <a:pt x="2060" y="1026"/>
                  </a:cubicBezTo>
                  <a:cubicBezTo>
                    <a:pt x="1786" y="1407"/>
                    <a:pt x="1643" y="1777"/>
                    <a:pt x="1607" y="1884"/>
                  </a:cubicBezTo>
                  <a:lnTo>
                    <a:pt x="1083" y="2693"/>
                  </a:lnTo>
                  <a:cubicBezTo>
                    <a:pt x="929" y="2241"/>
                    <a:pt x="786" y="1955"/>
                    <a:pt x="774" y="1943"/>
                  </a:cubicBezTo>
                  <a:cubicBezTo>
                    <a:pt x="742" y="1871"/>
                    <a:pt x="666" y="1837"/>
                    <a:pt x="595" y="1837"/>
                  </a:cubicBezTo>
                  <a:cubicBezTo>
                    <a:pt x="560" y="1837"/>
                    <a:pt x="527" y="1844"/>
                    <a:pt x="500" y="1860"/>
                  </a:cubicBezTo>
                  <a:cubicBezTo>
                    <a:pt x="393" y="1896"/>
                    <a:pt x="369" y="2039"/>
                    <a:pt x="417" y="2122"/>
                  </a:cubicBezTo>
                  <a:cubicBezTo>
                    <a:pt x="417" y="2134"/>
                    <a:pt x="869" y="3015"/>
                    <a:pt x="964" y="4158"/>
                  </a:cubicBezTo>
                  <a:cubicBezTo>
                    <a:pt x="810" y="4146"/>
                    <a:pt x="667" y="4098"/>
                    <a:pt x="560" y="4063"/>
                  </a:cubicBezTo>
                  <a:cubicBezTo>
                    <a:pt x="429" y="4003"/>
                    <a:pt x="381" y="3944"/>
                    <a:pt x="381" y="3920"/>
                  </a:cubicBezTo>
                  <a:cubicBezTo>
                    <a:pt x="381" y="3824"/>
                    <a:pt x="286" y="3729"/>
                    <a:pt x="191" y="3729"/>
                  </a:cubicBezTo>
                  <a:cubicBezTo>
                    <a:pt x="83" y="3729"/>
                    <a:pt x="0" y="3824"/>
                    <a:pt x="0" y="3920"/>
                  </a:cubicBezTo>
                  <a:cubicBezTo>
                    <a:pt x="0" y="4039"/>
                    <a:pt x="60" y="4265"/>
                    <a:pt x="393" y="4432"/>
                  </a:cubicBezTo>
                  <a:cubicBezTo>
                    <a:pt x="607" y="4515"/>
                    <a:pt x="893" y="4575"/>
                    <a:pt x="1191" y="4575"/>
                  </a:cubicBezTo>
                  <a:cubicBezTo>
                    <a:pt x="1488" y="4575"/>
                    <a:pt x="1750" y="4515"/>
                    <a:pt x="1976" y="4432"/>
                  </a:cubicBezTo>
                  <a:cubicBezTo>
                    <a:pt x="2334" y="4265"/>
                    <a:pt x="2381" y="4039"/>
                    <a:pt x="2381" y="3920"/>
                  </a:cubicBezTo>
                  <a:cubicBezTo>
                    <a:pt x="2381" y="3824"/>
                    <a:pt x="2286" y="3729"/>
                    <a:pt x="2179" y="3729"/>
                  </a:cubicBezTo>
                  <a:cubicBezTo>
                    <a:pt x="2084" y="3729"/>
                    <a:pt x="1988" y="3824"/>
                    <a:pt x="1988" y="3920"/>
                  </a:cubicBezTo>
                  <a:cubicBezTo>
                    <a:pt x="1988" y="3944"/>
                    <a:pt x="1941" y="4003"/>
                    <a:pt x="1810" y="4063"/>
                  </a:cubicBezTo>
                  <a:cubicBezTo>
                    <a:pt x="1691" y="4122"/>
                    <a:pt x="1548" y="4146"/>
                    <a:pt x="1381" y="4158"/>
                  </a:cubicBezTo>
                  <a:cubicBezTo>
                    <a:pt x="1345" y="3801"/>
                    <a:pt x="1286" y="3479"/>
                    <a:pt x="1226" y="3193"/>
                  </a:cubicBezTo>
                  <a:lnTo>
                    <a:pt x="1917" y="2158"/>
                  </a:lnTo>
                  <a:cubicBezTo>
                    <a:pt x="1941" y="2158"/>
                    <a:pt x="1976" y="2169"/>
                    <a:pt x="2048" y="2181"/>
                  </a:cubicBezTo>
                  <a:cubicBezTo>
                    <a:pt x="2167" y="2229"/>
                    <a:pt x="2334" y="2312"/>
                    <a:pt x="2512" y="2420"/>
                  </a:cubicBezTo>
                  <a:cubicBezTo>
                    <a:pt x="2977" y="2693"/>
                    <a:pt x="3584" y="3027"/>
                    <a:pt x="4251" y="3027"/>
                  </a:cubicBezTo>
                  <a:cubicBezTo>
                    <a:pt x="4477" y="3027"/>
                    <a:pt x="4715" y="2991"/>
                    <a:pt x="4953" y="2896"/>
                  </a:cubicBezTo>
                  <a:cubicBezTo>
                    <a:pt x="6441" y="2312"/>
                    <a:pt x="6739" y="431"/>
                    <a:pt x="6739" y="348"/>
                  </a:cubicBezTo>
                  <a:cubicBezTo>
                    <a:pt x="6751" y="312"/>
                    <a:pt x="6727" y="229"/>
                    <a:pt x="6644" y="193"/>
                  </a:cubicBezTo>
                  <a:cubicBezTo>
                    <a:pt x="6614" y="169"/>
                    <a:pt x="6578" y="157"/>
                    <a:pt x="6541" y="157"/>
                  </a:cubicBezTo>
                  <a:cubicBezTo>
                    <a:pt x="6504" y="157"/>
                    <a:pt x="6465" y="169"/>
                    <a:pt x="6429" y="193"/>
                  </a:cubicBezTo>
                  <a:cubicBezTo>
                    <a:pt x="6298" y="275"/>
                    <a:pt x="6157" y="307"/>
                    <a:pt x="5995" y="307"/>
                  </a:cubicBezTo>
                  <a:cubicBezTo>
                    <a:pt x="5805" y="307"/>
                    <a:pt x="5586" y="263"/>
                    <a:pt x="5322" y="205"/>
                  </a:cubicBezTo>
                  <a:cubicBezTo>
                    <a:pt x="5274" y="193"/>
                    <a:pt x="5239" y="193"/>
                    <a:pt x="5191" y="169"/>
                  </a:cubicBezTo>
                  <a:cubicBezTo>
                    <a:pt x="5177" y="166"/>
                    <a:pt x="5163" y="165"/>
                    <a:pt x="5149" y="165"/>
                  </a:cubicBezTo>
                  <a:cubicBezTo>
                    <a:pt x="5057" y="165"/>
                    <a:pt x="4974" y="231"/>
                    <a:pt x="4953" y="324"/>
                  </a:cubicBezTo>
                  <a:cubicBezTo>
                    <a:pt x="4917" y="431"/>
                    <a:pt x="5001" y="526"/>
                    <a:pt x="5096" y="562"/>
                  </a:cubicBezTo>
                  <a:cubicBezTo>
                    <a:pt x="5144" y="574"/>
                    <a:pt x="5191" y="574"/>
                    <a:pt x="5239" y="586"/>
                  </a:cubicBezTo>
                  <a:cubicBezTo>
                    <a:pt x="5513" y="648"/>
                    <a:pt x="5761" y="703"/>
                    <a:pt x="6002" y="703"/>
                  </a:cubicBezTo>
                  <a:cubicBezTo>
                    <a:pt x="6085" y="703"/>
                    <a:pt x="6168" y="697"/>
                    <a:pt x="6251" y="681"/>
                  </a:cubicBezTo>
                  <a:lnTo>
                    <a:pt x="6251" y="681"/>
                  </a:lnTo>
                  <a:cubicBezTo>
                    <a:pt x="6096" y="1217"/>
                    <a:pt x="5691" y="2217"/>
                    <a:pt x="4786" y="2550"/>
                  </a:cubicBezTo>
                  <a:cubicBezTo>
                    <a:pt x="4600" y="2622"/>
                    <a:pt x="4417" y="2652"/>
                    <a:pt x="4237" y="2652"/>
                  </a:cubicBezTo>
                  <a:cubicBezTo>
                    <a:pt x="3671" y="2652"/>
                    <a:pt x="3146" y="2351"/>
                    <a:pt x="2703" y="2098"/>
                  </a:cubicBezTo>
                  <a:cubicBezTo>
                    <a:pt x="2465" y="1955"/>
                    <a:pt x="2262" y="1836"/>
                    <a:pt x="2084" y="1777"/>
                  </a:cubicBezTo>
                  <a:cubicBezTo>
                    <a:pt x="2286" y="1336"/>
                    <a:pt x="2810" y="503"/>
                    <a:pt x="3727" y="431"/>
                  </a:cubicBezTo>
                  <a:cubicBezTo>
                    <a:pt x="3850" y="420"/>
                    <a:pt x="3970" y="415"/>
                    <a:pt x="4092" y="415"/>
                  </a:cubicBezTo>
                  <a:cubicBezTo>
                    <a:pt x="4241" y="415"/>
                    <a:pt x="4391" y="423"/>
                    <a:pt x="4548" y="443"/>
                  </a:cubicBezTo>
                  <a:cubicBezTo>
                    <a:pt x="4556" y="444"/>
                    <a:pt x="4564" y="444"/>
                    <a:pt x="4571" y="444"/>
                  </a:cubicBezTo>
                  <a:cubicBezTo>
                    <a:pt x="4670" y="444"/>
                    <a:pt x="4763" y="375"/>
                    <a:pt x="4774" y="264"/>
                  </a:cubicBezTo>
                  <a:cubicBezTo>
                    <a:pt x="4786" y="157"/>
                    <a:pt x="4715" y="50"/>
                    <a:pt x="4596" y="38"/>
                  </a:cubicBezTo>
                  <a:cubicBezTo>
                    <a:pt x="4430" y="13"/>
                    <a:pt x="4271" y="1"/>
                    <a:pt x="41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1" name="Google Shape;9911;p58"/>
          <p:cNvGrpSpPr/>
          <p:nvPr/>
        </p:nvGrpSpPr>
        <p:grpSpPr>
          <a:xfrm>
            <a:off x="3620576" y="2745525"/>
            <a:ext cx="336889" cy="355592"/>
            <a:chOff x="3620576" y="2745525"/>
            <a:chExt cx="336889" cy="355592"/>
          </a:xfrm>
        </p:grpSpPr>
        <p:sp>
          <p:nvSpPr>
            <p:cNvPr id="9912" name="Google Shape;9912;p58"/>
            <p:cNvSpPr/>
            <p:nvPr/>
          </p:nvSpPr>
          <p:spPr>
            <a:xfrm>
              <a:off x="3620576" y="2745525"/>
              <a:ext cx="336889" cy="355592"/>
            </a:xfrm>
            <a:custGeom>
              <a:avLst/>
              <a:gdLst/>
              <a:ahLst/>
              <a:cxnLst/>
              <a:rect l="l" t="t" r="r" b="b"/>
              <a:pathLst>
                <a:path w="10609" h="11198" extrusionOk="0">
                  <a:moveTo>
                    <a:pt x="9856" y="0"/>
                  </a:moveTo>
                  <a:cubicBezTo>
                    <a:pt x="9825" y="0"/>
                    <a:pt x="9794" y="2"/>
                    <a:pt x="9763" y="5"/>
                  </a:cubicBezTo>
                  <a:lnTo>
                    <a:pt x="3310" y="1148"/>
                  </a:lnTo>
                  <a:cubicBezTo>
                    <a:pt x="2965" y="1208"/>
                    <a:pt x="2691" y="1505"/>
                    <a:pt x="2691" y="1863"/>
                  </a:cubicBezTo>
                  <a:lnTo>
                    <a:pt x="2691" y="7161"/>
                  </a:lnTo>
                  <a:cubicBezTo>
                    <a:pt x="2512" y="7101"/>
                    <a:pt x="2324" y="7075"/>
                    <a:pt x="2134" y="7075"/>
                  </a:cubicBezTo>
                  <a:cubicBezTo>
                    <a:pt x="2098" y="7075"/>
                    <a:pt x="2061" y="7076"/>
                    <a:pt x="2024" y="7078"/>
                  </a:cubicBezTo>
                  <a:cubicBezTo>
                    <a:pt x="1489" y="7089"/>
                    <a:pt x="1000" y="7304"/>
                    <a:pt x="608" y="7685"/>
                  </a:cubicBezTo>
                  <a:cubicBezTo>
                    <a:pt x="238" y="8078"/>
                    <a:pt x="12" y="8566"/>
                    <a:pt x="12" y="9102"/>
                  </a:cubicBezTo>
                  <a:cubicBezTo>
                    <a:pt x="0" y="9661"/>
                    <a:pt x="227" y="10185"/>
                    <a:pt x="608" y="10590"/>
                  </a:cubicBezTo>
                  <a:cubicBezTo>
                    <a:pt x="1000" y="10971"/>
                    <a:pt x="1524" y="11197"/>
                    <a:pt x="2072" y="11197"/>
                  </a:cubicBezTo>
                  <a:lnTo>
                    <a:pt x="2096" y="11197"/>
                  </a:lnTo>
                  <a:cubicBezTo>
                    <a:pt x="3215" y="11185"/>
                    <a:pt x="4120" y="10245"/>
                    <a:pt x="4120" y="9114"/>
                  </a:cubicBezTo>
                  <a:lnTo>
                    <a:pt x="4120" y="4934"/>
                  </a:lnTo>
                  <a:cubicBezTo>
                    <a:pt x="4120" y="4827"/>
                    <a:pt x="4037" y="4744"/>
                    <a:pt x="3929" y="4744"/>
                  </a:cubicBezTo>
                  <a:cubicBezTo>
                    <a:pt x="3822" y="4744"/>
                    <a:pt x="3739" y="4827"/>
                    <a:pt x="3739" y="4934"/>
                  </a:cubicBezTo>
                  <a:lnTo>
                    <a:pt x="3739" y="9114"/>
                  </a:lnTo>
                  <a:cubicBezTo>
                    <a:pt x="3739" y="10042"/>
                    <a:pt x="3013" y="10780"/>
                    <a:pt x="2096" y="10792"/>
                  </a:cubicBezTo>
                  <a:lnTo>
                    <a:pt x="2072" y="10792"/>
                  </a:lnTo>
                  <a:cubicBezTo>
                    <a:pt x="1620" y="10792"/>
                    <a:pt x="1203" y="10614"/>
                    <a:pt x="893" y="10304"/>
                  </a:cubicBezTo>
                  <a:cubicBezTo>
                    <a:pt x="572" y="9983"/>
                    <a:pt x="405" y="9566"/>
                    <a:pt x="405" y="9102"/>
                  </a:cubicBezTo>
                  <a:cubicBezTo>
                    <a:pt x="417" y="8221"/>
                    <a:pt x="1143" y="7494"/>
                    <a:pt x="2024" y="7482"/>
                  </a:cubicBezTo>
                  <a:cubicBezTo>
                    <a:pt x="2298" y="7482"/>
                    <a:pt x="2560" y="7518"/>
                    <a:pt x="2798" y="7637"/>
                  </a:cubicBezTo>
                  <a:cubicBezTo>
                    <a:pt x="2826" y="7654"/>
                    <a:pt x="2856" y="7663"/>
                    <a:pt x="2886" y="7663"/>
                  </a:cubicBezTo>
                  <a:cubicBezTo>
                    <a:pt x="2922" y="7663"/>
                    <a:pt x="2957" y="7651"/>
                    <a:pt x="2989" y="7625"/>
                  </a:cubicBezTo>
                  <a:cubicBezTo>
                    <a:pt x="3048" y="7601"/>
                    <a:pt x="3084" y="7518"/>
                    <a:pt x="3084" y="7459"/>
                  </a:cubicBezTo>
                  <a:lnTo>
                    <a:pt x="3084" y="1863"/>
                  </a:lnTo>
                  <a:cubicBezTo>
                    <a:pt x="3084" y="1708"/>
                    <a:pt x="3203" y="1565"/>
                    <a:pt x="3346" y="1541"/>
                  </a:cubicBezTo>
                  <a:lnTo>
                    <a:pt x="9811" y="398"/>
                  </a:lnTo>
                  <a:cubicBezTo>
                    <a:pt x="9834" y="393"/>
                    <a:pt x="9856" y="391"/>
                    <a:pt x="9877" y="391"/>
                  </a:cubicBezTo>
                  <a:cubicBezTo>
                    <a:pt x="9953" y="391"/>
                    <a:pt x="10017" y="423"/>
                    <a:pt x="10073" y="470"/>
                  </a:cubicBezTo>
                  <a:cubicBezTo>
                    <a:pt x="10156" y="529"/>
                    <a:pt x="10192" y="612"/>
                    <a:pt x="10192" y="720"/>
                  </a:cubicBezTo>
                  <a:lnTo>
                    <a:pt x="10192" y="2910"/>
                  </a:lnTo>
                  <a:cubicBezTo>
                    <a:pt x="10192" y="3018"/>
                    <a:pt x="10287" y="3101"/>
                    <a:pt x="10394" y="3101"/>
                  </a:cubicBezTo>
                  <a:cubicBezTo>
                    <a:pt x="10490" y="3101"/>
                    <a:pt x="10585" y="3018"/>
                    <a:pt x="10585" y="2910"/>
                  </a:cubicBezTo>
                  <a:lnTo>
                    <a:pt x="10585" y="720"/>
                  </a:lnTo>
                  <a:cubicBezTo>
                    <a:pt x="10609" y="529"/>
                    <a:pt x="10525" y="315"/>
                    <a:pt x="10359" y="172"/>
                  </a:cubicBezTo>
                  <a:cubicBezTo>
                    <a:pt x="10216" y="60"/>
                    <a:pt x="10039" y="0"/>
                    <a:pt x="98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3" name="Google Shape;9913;p58"/>
            <p:cNvSpPr/>
            <p:nvPr/>
          </p:nvSpPr>
          <p:spPr>
            <a:xfrm>
              <a:off x="3738896" y="2800747"/>
              <a:ext cx="218570" cy="258771"/>
            </a:xfrm>
            <a:custGeom>
              <a:avLst/>
              <a:gdLst/>
              <a:ahLst/>
              <a:cxnLst/>
              <a:rect l="l" t="t" r="r" b="b"/>
              <a:pathLst>
                <a:path w="6883" h="8149" extrusionOk="0">
                  <a:moveTo>
                    <a:pt x="5651" y="0"/>
                  </a:moveTo>
                  <a:cubicBezTo>
                    <a:pt x="5637" y="0"/>
                    <a:pt x="5623" y="2"/>
                    <a:pt x="5609" y="5"/>
                  </a:cubicBezTo>
                  <a:lnTo>
                    <a:pt x="156" y="981"/>
                  </a:lnTo>
                  <a:cubicBezTo>
                    <a:pt x="72" y="993"/>
                    <a:pt x="1" y="1076"/>
                    <a:pt x="1" y="1171"/>
                  </a:cubicBezTo>
                  <a:lnTo>
                    <a:pt x="1" y="2267"/>
                  </a:lnTo>
                  <a:cubicBezTo>
                    <a:pt x="1" y="2374"/>
                    <a:pt x="84" y="2469"/>
                    <a:pt x="191" y="2469"/>
                  </a:cubicBezTo>
                  <a:cubicBezTo>
                    <a:pt x="287" y="2469"/>
                    <a:pt x="382" y="2374"/>
                    <a:pt x="382" y="2267"/>
                  </a:cubicBezTo>
                  <a:lnTo>
                    <a:pt x="382" y="1338"/>
                  </a:lnTo>
                  <a:lnTo>
                    <a:pt x="5430" y="445"/>
                  </a:lnTo>
                  <a:lnTo>
                    <a:pt x="5430" y="4112"/>
                  </a:lnTo>
                  <a:cubicBezTo>
                    <a:pt x="5241" y="4052"/>
                    <a:pt x="5051" y="4026"/>
                    <a:pt x="4862" y="4026"/>
                  </a:cubicBezTo>
                  <a:cubicBezTo>
                    <a:pt x="4825" y="4026"/>
                    <a:pt x="4788" y="4027"/>
                    <a:pt x="4752" y="4029"/>
                  </a:cubicBezTo>
                  <a:cubicBezTo>
                    <a:pt x="4216" y="4041"/>
                    <a:pt x="3728" y="4243"/>
                    <a:pt x="3347" y="4636"/>
                  </a:cubicBezTo>
                  <a:cubicBezTo>
                    <a:pt x="2966" y="5029"/>
                    <a:pt x="2751" y="5517"/>
                    <a:pt x="2751" y="6053"/>
                  </a:cubicBezTo>
                  <a:cubicBezTo>
                    <a:pt x="2727" y="6613"/>
                    <a:pt x="2954" y="7136"/>
                    <a:pt x="3347" y="7541"/>
                  </a:cubicBezTo>
                  <a:cubicBezTo>
                    <a:pt x="3728" y="7922"/>
                    <a:pt x="4251" y="8148"/>
                    <a:pt x="4799" y="8148"/>
                  </a:cubicBezTo>
                  <a:lnTo>
                    <a:pt x="4835" y="8148"/>
                  </a:lnTo>
                  <a:cubicBezTo>
                    <a:pt x="5942" y="8137"/>
                    <a:pt x="6859" y="7196"/>
                    <a:pt x="6859" y="6065"/>
                  </a:cubicBezTo>
                  <a:lnTo>
                    <a:pt x="6859" y="2148"/>
                  </a:lnTo>
                  <a:cubicBezTo>
                    <a:pt x="6883" y="2017"/>
                    <a:pt x="6799" y="1933"/>
                    <a:pt x="6692" y="1933"/>
                  </a:cubicBezTo>
                  <a:cubicBezTo>
                    <a:pt x="6585" y="1933"/>
                    <a:pt x="6502" y="2017"/>
                    <a:pt x="6502" y="2124"/>
                  </a:cubicBezTo>
                  <a:lnTo>
                    <a:pt x="6502" y="6041"/>
                  </a:lnTo>
                  <a:cubicBezTo>
                    <a:pt x="6502" y="6958"/>
                    <a:pt x="5775" y="7708"/>
                    <a:pt x="4859" y="7720"/>
                  </a:cubicBezTo>
                  <a:lnTo>
                    <a:pt x="4835" y="7720"/>
                  </a:lnTo>
                  <a:cubicBezTo>
                    <a:pt x="4382" y="7720"/>
                    <a:pt x="3966" y="7541"/>
                    <a:pt x="3656" y="7232"/>
                  </a:cubicBezTo>
                  <a:cubicBezTo>
                    <a:pt x="3335" y="6898"/>
                    <a:pt x="3168" y="6482"/>
                    <a:pt x="3168" y="6017"/>
                  </a:cubicBezTo>
                  <a:cubicBezTo>
                    <a:pt x="3180" y="5148"/>
                    <a:pt x="3906" y="4410"/>
                    <a:pt x="4787" y="4398"/>
                  </a:cubicBezTo>
                  <a:cubicBezTo>
                    <a:pt x="5061" y="4398"/>
                    <a:pt x="5323" y="4446"/>
                    <a:pt x="5561" y="4565"/>
                  </a:cubicBezTo>
                  <a:cubicBezTo>
                    <a:pt x="5588" y="4575"/>
                    <a:pt x="5617" y="4581"/>
                    <a:pt x="5646" y="4581"/>
                  </a:cubicBezTo>
                  <a:cubicBezTo>
                    <a:pt x="5683" y="4581"/>
                    <a:pt x="5719" y="4572"/>
                    <a:pt x="5752" y="4553"/>
                  </a:cubicBezTo>
                  <a:cubicBezTo>
                    <a:pt x="5811" y="4517"/>
                    <a:pt x="5847" y="4446"/>
                    <a:pt x="5847" y="4386"/>
                  </a:cubicBezTo>
                  <a:lnTo>
                    <a:pt x="5847" y="207"/>
                  </a:lnTo>
                  <a:cubicBezTo>
                    <a:pt x="5847" y="147"/>
                    <a:pt x="5811" y="88"/>
                    <a:pt x="5775" y="52"/>
                  </a:cubicBezTo>
                  <a:cubicBezTo>
                    <a:pt x="5739" y="16"/>
                    <a:pt x="5696" y="0"/>
                    <a:pt x="56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4" name="Google Shape;9914;p58"/>
          <p:cNvGrpSpPr/>
          <p:nvPr/>
        </p:nvGrpSpPr>
        <p:grpSpPr>
          <a:xfrm>
            <a:off x="4126815" y="2760704"/>
            <a:ext cx="380393" cy="363118"/>
            <a:chOff x="4126815" y="2760704"/>
            <a:chExt cx="380393" cy="363118"/>
          </a:xfrm>
        </p:grpSpPr>
        <p:sp>
          <p:nvSpPr>
            <p:cNvPr id="9915" name="Google Shape;9915;p58"/>
            <p:cNvSpPr/>
            <p:nvPr/>
          </p:nvSpPr>
          <p:spPr>
            <a:xfrm>
              <a:off x="4219825" y="2822435"/>
              <a:ext cx="103267" cy="29056"/>
            </a:xfrm>
            <a:custGeom>
              <a:avLst/>
              <a:gdLst/>
              <a:ahLst/>
              <a:cxnLst/>
              <a:rect l="l" t="t" r="r" b="b"/>
              <a:pathLst>
                <a:path w="3252" h="915" extrusionOk="0">
                  <a:moveTo>
                    <a:pt x="1620" y="0"/>
                  </a:moveTo>
                  <a:cubicBezTo>
                    <a:pt x="1025" y="0"/>
                    <a:pt x="477" y="215"/>
                    <a:pt x="60" y="631"/>
                  </a:cubicBezTo>
                  <a:cubicBezTo>
                    <a:pt x="1" y="691"/>
                    <a:pt x="1" y="810"/>
                    <a:pt x="60" y="869"/>
                  </a:cubicBezTo>
                  <a:cubicBezTo>
                    <a:pt x="90" y="899"/>
                    <a:pt x="132" y="914"/>
                    <a:pt x="175" y="914"/>
                  </a:cubicBezTo>
                  <a:cubicBezTo>
                    <a:pt x="218" y="914"/>
                    <a:pt x="263" y="899"/>
                    <a:pt x="298" y="869"/>
                  </a:cubicBezTo>
                  <a:cubicBezTo>
                    <a:pt x="656" y="512"/>
                    <a:pt x="1120" y="322"/>
                    <a:pt x="1620" y="322"/>
                  </a:cubicBezTo>
                  <a:cubicBezTo>
                    <a:pt x="2132" y="322"/>
                    <a:pt x="2596" y="512"/>
                    <a:pt x="2953" y="869"/>
                  </a:cubicBezTo>
                  <a:cubicBezTo>
                    <a:pt x="2983" y="899"/>
                    <a:pt x="3028" y="914"/>
                    <a:pt x="3073" y="914"/>
                  </a:cubicBezTo>
                  <a:cubicBezTo>
                    <a:pt x="3117" y="914"/>
                    <a:pt x="3162" y="899"/>
                    <a:pt x="3192" y="869"/>
                  </a:cubicBezTo>
                  <a:cubicBezTo>
                    <a:pt x="3251" y="810"/>
                    <a:pt x="3251" y="691"/>
                    <a:pt x="3192" y="631"/>
                  </a:cubicBezTo>
                  <a:cubicBezTo>
                    <a:pt x="2775" y="215"/>
                    <a:pt x="2215" y="0"/>
                    <a:pt x="1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6" name="Google Shape;9916;p58"/>
            <p:cNvSpPr/>
            <p:nvPr/>
          </p:nvSpPr>
          <p:spPr>
            <a:xfrm>
              <a:off x="4126815" y="2760704"/>
              <a:ext cx="380393" cy="363118"/>
            </a:xfrm>
            <a:custGeom>
              <a:avLst/>
              <a:gdLst/>
              <a:ahLst/>
              <a:cxnLst/>
              <a:rect l="l" t="t" r="r" b="b"/>
              <a:pathLst>
                <a:path w="11979" h="11435" extrusionOk="0">
                  <a:moveTo>
                    <a:pt x="7621" y="6921"/>
                  </a:moveTo>
                  <a:lnTo>
                    <a:pt x="8061" y="7373"/>
                  </a:lnTo>
                  <a:lnTo>
                    <a:pt x="7787" y="7659"/>
                  </a:lnTo>
                  <a:lnTo>
                    <a:pt x="7335" y="7207"/>
                  </a:lnTo>
                  <a:cubicBezTo>
                    <a:pt x="7442" y="7123"/>
                    <a:pt x="7526" y="7016"/>
                    <a:pt x="7621" y="6921"/>
                  </a:cubicBezTo>
                  <a:close/>
                  <a:moveTo>
                    <a:pt x="4552" y="328"/>
                  </a:moveTo>
                  <a:cubicBezTo>
                    <a:pt x="5525" y="328"/>
                    <a:pt x="6496" y="700"/>
                    <a:pt x="7228" y="1444"/>
                  </a:cubicBezTo>
                  <a:cubicBezTo>
                    <a:pt x="8645" y="2861"/>
                    <a:pt x="8704" y="5076"/>
                    <a:pt x="7466" y="6564"/>
                  </a:cubicBezTo>
                  <a:cubicBezTo>
                    <a:pt x="7311" y="6766"/>
                    <a:pt x="7156" y="6909"/>
                    <a:pt x="6978" y="7064"/>
                  </a:cubicBezTo>
                  <a:cubicBezTo>
                    <a:pt x="6279" y="7651"/>
                    <a:pt x="5417" y="7944"/>
                    <a:pt x="4554" y="7944"/>
                  </a:cubicBezTo>
                  <a:cubicBezTo>
                    <a:pt x="3579" y="7944"/>
                    <a:pt x="2603" y="7571"/>
                    <a:pt x="1858" y="6826"/>
                  </a:cubicBezTo>
                  <a:cubicBezTo>
                    <a:pt x="370" y="5338"/>
                    <a:pt x="370" y="2921"/>
                    <a:pt x="1858" y="1444"/>
                  </a:cubicBezTo>
                  <a:cubicBezTo>
                    <a:pt x="2602" y="700"/>
                    <a:pt x="3579" y="328"/>
                    <a:pt x="4552" y="328"/>
                  </a:cubicBezTo>
                  <a:close/>
                  <a:moveTo>
                    <a:pt x="8518" y="7440"/>
                  </a:moveTo>
                  <a:cubicBezTo>
                    <a:pt x="8550" y="7440"/>
                    <a:pt x="8580" y="7453"/>
                    <a:pt x="8597" y="7481"/>
                  </a:cubicBezTo>
                  <a:lnTo>
                    <a:pt x="9061" y="7897"/>
                  </a:lnTo>
                  <a:lnTo>
                    <a:pt x="8276" y="8683"/>
                  </a:lnTo>
                  <a:lnTo>
                    <a:pt x="7883" y="8195"/>
                  </a:lnTo>
                  <a:cubicBezTo>
                    <a:pt x="7847" y="8135"/>
                    <a:pt x="7847" y="8052"/>
                    <a:pt x="7883" y="8016"/>
                  </a:cubicBezTo>
                  <a:lnTo>
                    <a:pt x="8418" y="7481"/>
                  </a:lnTo>
                  <a:cubicBezTo>
                    <a:pt x="8444" y="7456"/>
                    <a:pt x="8482" y="7440"/>
                    <a:pt x="8518" y="7440"/>
                  </a:cubicBezTo>
                  <a:close/>
                  <a:moveTo>
                    <a:pt x="9335" y="8100"/>
                  </a:moveTo>
                  <a:lnTo>
                    <a:pt x="11252" y="9779"/>
                  </a:lnTo>
                  <a:cubicBezTo>
                    <a:pt x="11574" y="10064"/>
                    <a:pt x="11597" y="10576"/>
                    <a:pt x="11276" y="10886"/>
                  </a:cubicBezTo>
                  <a:cubicBezTo>
                    <a:pt x="11128" y="11033"/>
                    <a:pt x="10940" y="11105"/>
                    <a:pt x="10752" y="11105"/>
                  </a:cubicBezTo>
                  <a:cubicBezTo>
                    <a:pt x="10544" y="11105"/>
                    <a:pt x="10336" y="11018"/>
                    <a:pt x="10181" y="10850"/>
                  </a:cubicBezTo>
                  <a:lnTo>
                    <a:pt x="8514" y="8921"/>
                  </a:lnTo>
                  <a:lnTo>
                    <a:pt x="9335" y="8100"/>
                  </a:lnTo>
                  <a:close/>
                  <a:moveTo>
                    <a:pt x="4543" y="1"/>
                  </a:moveTo>
                  <a:cubicBezTo>
                    <a:pt x="3483" y="1"/>
                    <a:pt x="2424" y="402"/>
                    <a:pt x="1620" y="1206"/>
                  </a:cubicBezTo>
                  <a:cubicBezTo>
                    <a:pt x="1" y="2837"/>
                    <a:pt x="1" y="5457"/>
                    <a:pt x="1620" y="7064"/>
                  </a:cubicBezTo>
                  <a:cubicBezTo>
                    <a:pt x="2431" y="7875"/>
                    <a:pt x="3489" y="8272"/>
                    <a:pt x="4543" y="8272"/>
                  </a:cubicBezTo>
                  <a:cubicBezTo>
                    <a:pt x="5440" y="8272"/>
                    <a:pt x="6334" y="7985"/>
                    <a:pt x="7073" y="7421"/>
                  </a:cubicBezTo>
                  <a:lnTo>
                    <a:pt x="7561" y="7909"/>
                  </a:lnTo>
                  <a:cubicBezTo>
                    <a:pt x="7490" y="8076"/>
                    <a:pt x="7502" y="8278"/>
                    <a:pt x="7633" y="8409"/>
                  </a:cubicBezTo>
                  <a:lnTo>
                    <a:pt x="9954" y="11064"/>
                  </a:lnTo>
                  <a:cubicBezTo>
                    <a:pt x="10171" y="11312"/>
                    <a:pt x="10471" y="11434"/>
                    <a:pt x="10771" y="11434"/>
                  </a:cubicBezTo>
                  <a:cubicBezTo>
                    <a:pt x="11049" y="11434"/>
                    <a:pt x="11326" y="11330"/>
                    <a:pt x="11538" y="11124"/>
                  </a:cubicBezTo>
                  <a:cubicBezTo>
                    <a:pt x="11978" y="10671"/>
                    <a:pt x="11955" y="9945"/>
                    <a:pt x="11478" y="9540"/>
                  </a:cubicBezTo>
                  <a:lnTo>
                    <a:pt x="8823" y="7219"/>
                  </a:lnTo>
                  <a:cubicBezTo>
                    <a:pt x="8737" y="7139"/>
                    <a:pt x="8629" y="7104"/>
                    <a:pt x="8522" y="7104"/>
                  </a:cubicBezTo>
                  <a:cubicBezTo>
                    <a:pt x="8453" y="7104"/>
                    <a:pt x="8384" y="7119"/>
                    <a:pt x="8323" y="7147"/>
                  </a:cubicBezTo>
                  <a:lnTo>
                    <a:pt x="7823" y="6659"/>
                  </a:lnTo>
                  <a:cubicBezTo>
                    <a:pt x="9073" y="5052"/>
                    <a:pt x="8978" y="2694"/>
                    <a:pt x="7466" y="1206"/>
                  </a:cubicBezTo>
                  <a:cubicBezTo>
                    <a:pt x="6662" y="402"/>
                    <a:pt x="5603" y="1"/>
                    <a:pt x="45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7" name="Google Shape;9917;p58"/>
            <p:cNvSpPr/>
            <p:nvPr/>
          </p:nvSpPr>
          <p:spPr>
            <a:xfrm>
              <a:off x="4278826" y="2791379"/>
              <a:ext cx="103998" cy="201962"/>
            </a:xfrm>
            <a:custGeom>
              <a:avLst/>
              <a:gdLst/>
              <a:ahLst/>
              <a:cxnLst/>
              <a:rect l="l" t="t" r="r" b="b"/>
              <a:pathLst>
                <a:path w="3275" h="6360" extrusionOk="0">
                  <a:moveTo>
                    <a:pt x="191" y="0"/>
                  </a:moveTo>
                  <a:cubicBezTo>
                    <a:pt x="106" y="0"/>
                    <a:pt x="35" y="59"/>
                    <a:pt x="24" y="157"/>
                  </a:cubicBezTo>
                  <a:cubicBezTo>
                    <a:pt x="0" y="264"/>
                    <a:pt x="60" y="335"/>
                    <a:pt x="167" y="347"/>
                  </a:cubicBezTo>
                  <a:cubicBezTo>
                    <a:pt x="798" y="442"/>
                    <a:pt x="1345" y="716"/>
                    <a:pt x="1786" y="1169"/>
                  </a:cubicBezTo>
                  <a:cubicBezTo>
                    <a:pt x="2905" y="2288"/>
                    <a:pt x="2905" y="4110"/>
                    <a:pt x="1786" y="5229"/>
                  </a:cubicBezTo>
                  <a:cubicBezTo>
                    <a:pt x="1345" y="5645"/>
                    <a:pt x="774" y="5931"/>
                    <a:pt x="167" y="6015"/>
                  </a:cubicBezTo>
                  <a:cubicBezTo>
                    <a:pt x="83" y="6038"/>
                    <a:pt x="24" y="6122"/>
                    <a:pt x="24" y="6217"/>
                  </a:cubicBezTo>
                  <a:cubicBezTo>
                    <a:pt x="36" y="6300"/>
                    <a:pt x="107" y="6360"/>
                    <a:pt x="179" y="6360"/>
                  </a:cubicBezTo>
                  <a:lnTo>
                    <a:pt x="214" y="6360"/>
                  </a:lnTo>
                  <a:cubicBezTo>
                    <a:pt x="917" y="6253"/>
                    <a:pt x="1536" y="5943"/>
                    <a:pt x="2024" y="5455"/>
                  </a:cubicBezTo>
                  <a:cubicBezTo>
                    <a:pt x="3274" y="4205"/>
                    <a:pt x="3274" y="2169"/>
                    <a:pt x="2024" y="919"/>
                  </a:cubicBezTo>
                  <a:cubicBezTo>
                    <a:pt x="1536" y="419"/>
                    <a:pt x="917" y="109"/>
                    <a:pt x="214" y="2"/>
                  </a:cubicBezTo>
                  <a:cubicBezTo>
                    <a:pt x="206" y="1"/>
                    <a:pt x="1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8" name="Google Shape;9918;p58"/>
            <p:cNvSpPr/>
            <p:nvPr/>
          </p:nvSpPr>
          <p:spPr>
            <a:xfrm>
              <a:off x="4159332" y="2791379"/>
              <a:ext cx="105903" cy="201962"/>
            </a:xfrm>
            <a:custGeom>
              <a:avLst/>
              <a:gdLst/>
              <a:ahLst/>
              <a:cxnLst/>
              <a:rect l="l" t="t" r="r" b="b"/>
              <a:pathLst>
                <a:path w="3335" h="6360" extrusionOk="0">
                  <a:moveTo>
                    <a:pt x="3162" y="1"/>
                  </a:moveTo>
                  <a:cubicBezTo>
                    <a:pt x="3156" y="1"/>
                    <a:pt x="3150" y="1"/>
                    <a:pt x="3144" y="2"/>
                  </a:cubicBezTo>
                  <a:cubicBezTo>
                    <a:pt x="2430" y="61"/>
                    <a:pt x="1775" y="383"/>
                    <a:pt x="1251" y="895"/>
                  </a:cubicBezTo>
                  <a:cubicBezTo>
                    <a:pt x="1" y="2145"/>
                    <a:pt x="1" y="4193"/>
                    <a:pt x="1251" y="5443"/>
                  </a:cubicBezTo>
                  <a:cubicBezTo>
                    <a:pt x="1775" y="5955"/>
                    <a:pt x="2430" y="6277"/>
                    <a:pt x="3144" y="6360"/>
                  </a:cubicBezTo>
                  <a:lnTo>
                    <a:pt x="3156" y="6360"/>
                  </a:lnTo>
                  <a:cubicBezTo>
                    <a:pt x="3251" y="6360"/>
                    <a:pt x="3311" y="6300"/>
                    <a:pt x="3323" y="6217"/>
                  </a:cubicBezTo>
                  <a:cubicBezTo>
                    <a:pt x="3334" y="6122"/>
                    <a:pt x="3263" y="6038"/>
                    <a:pt x="3168" y="6038"/>
                  </a:cubicBezTo>
                  <a:cubicBezTo>
                    <a:pt x="2537" y="5955"/>
                    <a:pt x="1941" y="5681"/>
                    <a:pt x="1477" y="5217"/>
                  </a:cubicBezTo>
                  <a:cubicBezTo>
                    <a:pt x="358" y="4098"/>
                    <a:pt x="358" y="2264"/>
                    <a:pt x="1477" y="1157"/>
                  </a:cubicBezTo>
                  <a:cubicBezTo>
                    <a:pt x="1941" y="692"/>
                    <a:pt x="2513" y="407"/>
                    <a:pt x="3168" y="335"/>
                  </a:cubicBezTo>
                  <a:cubicBezTo>
                    <a:pt x="3263" y="311"/>
                    <a:pt x="3334" y="240"/>
                    <a:pt x="3323" y="157"/>
                  </a:cubicBezTo>
                  <a:cubicBezTo>
                    <a:pt x="3312" y="68"/>
                    <a:pt x="3239" y="1"/>
                    <a:pt x="31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9" name="Google Shape;9919;p58"/>
          <p:cNvGrpSpPr/>
          <p:nvPr/>
        </p:nvGrpSpPr>
        <p:grpSpPr>
          <a:xfrm>
            <a:off x="4675986" y="2745684"/>
            <a:ext cx="381346" cy="368644"/>
            <a:chOff x="4675986" y="2745684"/>
            <a:chExt cx="381346" cy="368644"/>
          </a:xfrm>
        </p:grpSpPr>
        <p:sp>
          <p:nvSpPr>
            <p:cNvPr id="9920" name="Google Shape;9920;p58"/>
            <p:cNvSpPr/>
            <p:nvPr/>
          </p:nvSpPr>
          <p:spPr>
            <a:xfrm>
              <a:off x="4828918" y="2895345"/>
              <a:ext cx="69226" cy="69258"/>
            </a:xfrm>
            <a:custGeom>
              <a:avLst/>
              <a:gdLst/>
              <a:ahLst/>
              <a:cxnLst/>
              <a:rect l="l" t="t" r="r" b="b"/>
              <a:pathLst>
                <a:path w="2180" h="2181" extrusionOk="0">
                  <a:moveTo>
                    <a:pt x="1100" y="1"/>
                  </a:moveTo>
                  <a:cubicBezTo>
                    <a:pt x="535" y="1"/>
                    <a:pt x="1" y="443"/>
                    <a:pt x="1" y="1098"/>
                  </a:cubicBezTo>
                  <a:cubicBezTo>
                    <a:pt x="1" y="1705"/>
                    <a:pt x="501" y="2181"/>
                    <a:pt x="1096" y="2181"/>
                  </a:cubicBezTo>
                  <a:cubicBezTo>
                    <a:pt x="1703" y="2181"/>
                    <a:pt x="2180" y="1693"/>
                    <a:pt x="2180" y="1098"/>
                  </a:cubicBezTo>
                  <a:cubicBezTo>
                    <a:pt x="2180" y="1014"/>
                    <a:pt x="2180" y="955"/>
                    <a:pt x="2168" y="895"/>
                  </a:cubicBezTo>
                  <a:cubicBezTo>
                    <a:pt x="2146" y="819"/>
                    <a:pt x="2074" y="763"/>
                    <a:pt x="1989" y="763"/>
                  </a:cubicBezTo>
                  <a:cubicBezTo>
                    <a:pt x="1981" y="763"/>
                    <a:pt x="1973" y="763"/>
                    <a:pt x="1965" y="764"/>
                  </a:cubicBezTo>
                  <a:cubicBezTo>
                    <a:pt x="1882" y="776"/>
                    <a:pt x="1822" y="871"/>
                    <a:pt x="1834" y="955"/>
                  </a:cubicBezTo>
                  <a:cubicBezTo>
                    <a:pt x="1915" y="1442"/>
                    <a:pt x="1524" y="1834"/>
                    <a:pt x="1092" y="1834"/>
                  </a:cubicBezTo>
                  <a:cubicBezTo>
                    <a:pt x="954" y="1834"/>
                    <a:pt x="812" y="1794"/>
                    <a:pt x="679" y="1705"/>
                  </a:cubicBezTo>
                  <a:cubicBezTo>
                    <a:pt x="60" y="1288"/>
                    <a:pt x="358" y="336"/>
                    <a:pt x="1096" y="336"/>
                  </a:cubicBezTo>
                  <a:cubicBezTo>
                    <a:pt x="1251" y="336"/>
                    <a:pt x="1418" y="395"/>
                    <a:pt x="1548" y="502"/>
                  </a:cubicBezTo>
                  <a:cubicBezTo>
                    <a:pt x="1581" y="525"/>
                    <a:pt x="1615" y="536"/>
                    <a:pt x="1649" y="536"/>
                  </a:cubicBezTo>
                  <a:cubicBezTo>
                    <a:pt x="1701" y="536"/>
                    <a:pt x="1750" y="510"/>
                    <a:pt x="1787" y="466"/>
                  </a:cubicBezTo>
                  <a:cubicBezTo>
                    <a:pt x="1846" y="395"/>
                    <a:pt x="1834" y="288"/>
                    <a:pt x="1763" y="228"/>
                  </a:cubicBezTo>
                  <a:cubicBezTo>
                    <a:pt x="1558" y="72"/>
                    <a:pt x="1327" y="1"/>
                    <a:pt x="11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1" name="Google Shape;9921;p58"/>
            <p:cNvSpPr/>
            <p:nvPr/>
          </p:nvSpPr>
          <p:spPr>
            <a:xfrm>
              <a:off x="4675986" y="2745684"/>
              <a:ext cx="381346" cy="368644"/>
            </a:xfrm>
            <a:custGeom>
              <a:avLst/>
              <a:gdLst/>
              <a:ahLst/>
              <a:cxnLst/>
              <a:rect l="l" t="t" r="r" b="b"/>
              <a:pathLst>
                <a:path w="12009" h="11609" extrusionOk="0">
                  <a:moveTo>
                    <a:pt x="1049" y="2188"/>
                  </a:moveTo>
                  <a:cubicBezTo>
                    <a:pt x="1173" y="2188"/>
                    <a:pt x="1299" y="2229"/>
                    <a:pt x="1411" y="2322"/>
                  </a:cubicBezTo>
                  <a:cubicBezTo>
                    <a:pt x="1650" y="2512"/>
                    <a:pt x="1697" y="2846"/>
                    <a:pt x="1531" y="3096"/>
                  </a:cubicBezTo>
                  <a:cubicBezTo>
                    <a:pt x="1413" y="3272"/>
                    <a:pt x="1231" y="3354"/>
                    <a:pt x="1049" y="3354"/>
                  </a:cubicBezTo>
                  <a:cubicBezTo>
                    <a:pt x="791" y="3354"/>
                    <a:pt x="534" y="3188"/>
                    <a:pt x="471" y="2893"/>
                  </a:cubicBezTo>
                  <a:cubicBezTo>
                    <a:pt x="401" y="2493"/>
                    <a:pt x="714" y="2188"/>
                    <a:pt x="1049" y="2188"/>
                  </a:cubicBezTo>
                  <a:close/>
                  <a:moveTo>
                    <a:pt x="4317" y="3036"/>
                  </a:moveTo>
                  <a:cubicBezTo>
                    <a:pt x="4400" y="3084"/>
                    <a:pt x="5472" y="3703"/>
                    <a:pt x="5567" y="3751"/>
                  </a:cubicBezTo>
                  <a:lnTo>
                    <a:pt x="4317" y="4465"/>
                  </a:lnTo>
                  <a:lnTo>
                    <a:pt x="4317" y="3036"/>
                  </a:lnTo>
                  <a:close/>
                  <a:moveTo>
                    <a:pt x="7496" y="3036"/>
                  </a:moveTo>
                  <a:lnTo>
                    <a:pt x="7496" y="4465"/>
                  </a:lnTo>
                  <a:lnTo>
                    <a:pt x="6245" y="3751"/>
                  </a:lnTo>
                  <a:lnTo>
                    <a:pt x="7496" y="3036"/>
                  </a:lnTo>
                  <a:close/>
                  <a:moveTo>
                    <a:pt x="9246" y="2262"/>
                  </a:moveTo>
                  <a:cubicBezTo>
                    <a:pt x="10115" y="2262"/>
                    <a:pt x="10829" y="2965"/>
                    <a:pt x="10829" y="3858"/>
                  </a:cubicBezTo>
                  <a:cubicBezTo>
                    <a:pt x="10829" y="4429"/>
                    <a:pt x="10520" y="4953"/>
                    <a:pt x="10032" y="5239"/>
                  </a:cubicBezTo>
                  <a:lnTo>
                    <a:pt x="9448" y="5572"/>
                  </a:lnTo>
                  <a:cubicBezTo>
                    <a:pt x="9270" y="5477"/>
                    <a:pt x="8055" y="4775"/>
                    <a:pt x="7841" y="4656"/>
                  </a:cubicBezTo>
                  <a:lnTo>
                    <a:pt x="7841" y="2834"/>
                  </a:lnTo>
                  <a:cubicBezTo>
                    <a:pt x="8305" y="2596"/>
                    <a:pt x="8627" y="2262"/>
                    <a:pt x="9246" y="2262"/>
                  </a:cubicBezTo>
                  <a:close/>
                  <a:moveTo>
                    <a:pt x="2565" y="2283"/>
                  </a:moveTo>
                  <a:cubicBezTo>
                    <a:pt x="2837" y="2283"/>
                    <a:pt x="3111" y="2352"/>
                    <a:pt x="3364" y="2489"/>
                  </a:cubicBezTo>
                  <a:cubicBezTo>
                    <a:pt x="3745" y="2715"/>
                    <a:pt x="3602" y="2620"/>
                    <a:pt x="3971" y="2846"/>
                  </a:cubicBezTo>
                  <a:lnTo>
                    <a:pt x="3971" y="4656"/>
                  </a:lnTo>
                  <a:lnTo>
                    <a:pt x="2352" y="5584"/>
                  </a:lnTo>
                  <a:lnTo>
                    <a:pt x="1769" y="5251"/>
                  </a:lnTo>
                  <a:cubicBezTo>
                    <a:pt x="1400" y="5049"/>
                    <a:pt x="1126" y="4703"/>
                    <a:pt x="1030" y="4287"/>
                  </a:cubicBezTo>
                  <a:cubicBezTo>
                    <a:pt x="971" y="4096"/>
                    <a:pt x="947" y="3882"/>
                    <a:pt x="983" y="3691"/>
                  </a:cubicBezTo>
                  <a:lnTo>
                    <a:pt x="983" y="3691"/>
                  </a:lnTo>
                  <a:cubicBezTo>
                    <a:pt x="1005" y="3693"/>
                    <a:pt x="1027" y="3694"/>
                    <a:pt x="1049" y="3694"/>
                  </a:cubicBezTo>
                  <a:cubicBezTo>
                    <a:pt x="1694" y="3694"/>
                    <a:pt x="2153" y="3028"/>
                    <a:pt x="1900" y="2429"/>
                  </a:cubicBezTo>
                  <a:cubicBezTo>
                    <a:pt x="2111" y="2332"/>
                    <a:pt x="2337" y="2283"/>
                    <a:pt x="2565" y="2283"/>
                  </a:cubicBezTo>
                  <a:close/>
                  <a:moveTo>
                    <a:pt x="7841" y="5060"/>
                  </a:moveTo>
                  <a:cubicBezTo>
                    <a:pt x="8008" y="5156"/>
                    <a:pt x="8960" y="5703"/>
                    <a:pt x="9127" y="5787"/>
                  </a:cubicBezTo>
                  <a:lnTo>
                    <a:pt x="7841" y="6513"/>
                  </a:lnTo>
                  <a:lnTo>
                    <a:pt x="7841" y="5060"/>
                  </a:lnTo>
                  <a:close/>
                  <a:moveTo>
                    <a:pt x="3971" y="5060"/>
                  </a:moveTo>
                  <a:lnTo>
                    <a:pt x="3971" y="6525"/>
                  </a:lnTo>
                  <a:lnTo>
                    <a:pt x="2697" y="5787"/>
                  </a:lnTo>
                  <a:lnTo>
                    <a:pt x="3971" y="5060"/>
                  </a:lnTo>
                  <a:close/>
                  <a:moveTo>
                    <a:pt x="5900" y="3965"/>
                  </a:moveTo>
                  <a:lnTo>
                    <a:pt x="7496" y="4870"/>
                  </a:lnTo>
                  <a:lnTo>
                    <a:pt x="7496" y="6715"/>
                  </a:lnTo>
                  <a:lnTo>
                    <a:pt x="5900" y="7620"/>
                  </a:lnTo>
                  <a:lnTo>
                    <a:pt x="4317" y="6715"/>
                  </a:lnTo>
                  <a:lnTo>
                    <a:pt x="4317" y="4870"/>
                  </a:lnTo>
                  <a:lnTo>
                    <a:pt x="5900" y="3965"/>
                  </a:lnTo>
                  <a:close/>
                  <a:moveTo>
                    <a:pt x="4317" y="7120"/>
                  </a:moveTo>
                  <a:lnTo>
                    <a:pt x="5567" y="7835"/>
                  </a:lnTo>
                  <a:lnTo>
                    <a:pt x="4317" y="8549"/>
                  </a:lnTo>
                  <a:lnTo>
                    <a:pt x="4317" y="7120"/>
                  </a:lnTo>
                  <a:close/>
                  <a:moveTo>
                    <a:pt x="7496" y="7108"/>
                  </a:moveTo>
                  <a:lnTo>
                    <a:pt x="7496" y="8549"/>
                  </a:lnTo>
                  <a:cubicBezTo>
                    <a:pt x="7412" y="8501"/>
                    <a:pt x="6341" y="7870"/>
                    <a:pt x="6245" y="7835"/>
                  </a:cubicBezTo>
                  <a:lnTo>
                    <a:pt x="7496" y="7108"/>
                  </a:lnTo>
                  <a:close/>
                  <a:moveTo>
                    <a:pt x="9484" y="5965"/>
                  </a:moveTo>
                  <a:lnTo>
                    <a:pt x="10055" y="6299"/>
                  </a:lnTo>
                  <a:cubicBezTo>
                    <a:pt x="10436" y="6501"/>
                    <a:pt x="10698" y="6846"/>
                    <a:pt x="10806" y="7263"/>
                  </a:cubicBezTo>
                  <a:cubicBezTo>
                    <a:pt x="10853" y="7442"/>
                    <a:pt x="10865" y="7620"/>
                    <a:pt x="10865" y="7799"/>
                  </a:cubicBezTo>
                  <a:cubicBezTo>
                    <a:pt x="10859" y="7799"/>
                    <a:pt x="10853" y="7799"/>
                    <a:pt x="10847" y="7799"/>
                  </a:cubicBezTo>
                  <a:cubicBezTo>
                    <a:pt x="10143" y="7799"/>
                    <a:pt x="9677" y="8506"/>
                    <a:pt x="9972" y="9120"/>
                  </a:cubicBezTo>
                  <a:cubicBezTo>
                    <a:pt x="9748" y="9235"/>
                    <a:pt x="9502" y="9295"/>
                    <a:pt x="9253" y="9295"/>
                  </a:cubicBezTo>
                  <a:cubicBezTo>
                    <a:pt x="8987" y="9295"/>
                    <a:pt x="8718" y="9226"/>
                    <a:pt x="8472" y="9085"/>
                  </a:cubicBezTo>
                  <a:cubicBezTo>
                    <a:pt x="8079" y="8859"/>
                    <a:pt x="8234" y="8942"/>
                    <a:pt x="7853" y="8728"/>
                  </a:cubicBezTo>
                  <a:lnTo>
                    <a:pt x="7853" y="6894"/>
                  </a:lnTo>
                  <a:lnTo>
                    <a:pt x="9484" y="5965"/>
                  </a:lnTo>
                  <a:close/>
                  <a:moveTo>
                    <a:pt x="10799" y="8158"/>
                  </a:moveTo>
                  <a:cubicBezTo>
                    <a:pt x="10910" y="8158"/>
                    <a:pt x="11021" y="8189"/>
                    <a:pt x="11115" y="8251"/>
                  </a:cubicBezTo>
                  <a:cubicBezTo>
                    <a:pt x="11568" y="8549"/>
                    <a:pt x="11413" y="9216"/>
                    <a:pt x="10913" y="9299"/>
                  </a:cubicBezTo>
                  <a:cubicBezTo>
                    <a:pt x="10869" y="9308"/>
                    <a:pt x="10827" y="9312"/>
                    <a:pt x="10786" y="9312"/>
                  </a:cubicBezTo>
                  <a:cubicBezTo>
                    <a:pt x="10343" y="9312"/>
                    <a:pt x="10056" y="8809"/>
                    <a:pt x="10317" y="8406"/>
                  </a:cubicBezTo>
                  <a:cubicBezTo>
                    <a:pt x="10429" y="8243"/>
                    <a:pt x="10614" y="8158"/>
                    <a:pt x="10799" y="8158"/>
                  </a:cubicBezTo>
                  <a:close/>
                  <a:moveTo>
                    <a:pt x="5900" y="8025"/>
                  </a:moveTo>
                  <a:cubicBezTo>
                    <a:pt x="6103" y="8144"/>
                    <a:pt x="7305" y="8823"/>
                    <a:pt x="7496" y="8930"/>
                  </a:cubicBezTo>
                  <a:lnTo>
                    <a:pt x="7496" y="9644"/>
                  </a:lnTo>
                  <a:cubicBezTo>
                    <a:pt x="7496" y="10525"/>
                    <a:pt x="6781" y="11240"/>
                    <a:pt x="5900" y="11240"/>
                  </a:cubicBezTo>
                  <a:cubicBezTo>
                    <a:pt x="5031" y="11240"/>
                    <a:pt x="4317" y="10525"/>
                    <a:pt x="4317" y="9644"/>
                  </a:cubicBezTo>
                  <a:lnTo>
                    <a:pt x="4317" y="8930"/>
                  </a:lnTo>
                  <a:lnTo>
                    <a:pt x="5900" y="8025"/>
                  </a:lnTo>
                  <a:close/>
                  <a:moveTo>
                    <a:pt x="5900" y="0"/>
                  </a:moveTo>
                  <a:cubicBezTo>
                    <a:pt x="4829" y="0"/>
                    <a:pt x="3971" y="869"/>
                    <a:pt x="3971" y="1941"/>
                  </a:cubicBezTo>
                  <a:lnTo>
                    <a:pt x="3971" y="2441"/>
                  </a:lnTo>
                  <a:cubicBezTo>
                    <a:pt x="3686" y="2274"/>
                    <a:pt x="3793" y="2334"/>
                    <a:pt x="3519" y="2191"/>
                  </a:cubicBezTo>
                  <a:cubicBezTo>
                    <a:pt x="3219" y="2016"/>
                    <a:pt x="2890" y="1933"/>
                    <a:pt x="2564" y="1933"/>
                  </a:cubicBezTo>
                  <a:cubicBezTo>
                    <a:pt x="2268" y="1933"/>
                    <a:pt x="1975" y="2001"/>
                    <a:pt x="1709" y="2131"/>
                  </a:cubicBezTo>
                  <a:cubicBezTo>
                    <a:pt x="1515" y="1930"/>
                    <a:pt x="1277" y="1842"/>
                    <a:pt x="1045" y="1842"/>
                  </a:cubicBezTo>
                  <a:cubicBezTo>
                    <a:pt x="508" y="1842"/>
                    <a:pt x="1" y="2313"/>
                    <a:pt x="126" y="2953"/>
                  </a:cubicBezTo>
                  <a:cubicBezTo>
                    <a:pt x="185" y="3251"/>
                    <a:pt x="388" y="3489"/>
                    <a:pt x="638" y="3608"/>
                  </a:cubicBezTo>
                  <a:cubicBezTo>
                    <a:pt x="530" y="4358"/>
                    <a:pt x="888" y="5156"/>
                    <a:pt x="1590" y="5549"/>
                  </a:cubicBezTo>
                  <a:cubicBezTo>
                    <a:pt x="1828" y="5691"/>
                    <a:pt x="1757" y="5644"/>
                    <a:pt x="1995" y="5787"/>
                  </a:cubicBezTo>
                  <a:lnTo>
                    <a:pt x="1590" y="6025"/>
                  </a:lnTo>
                  <a:cubicBezTo>
                    <a:pt x="995" y="6370"/>
                    <a:pt x="626" y="7025"/>
                    <a:pt x="626" y="7716"/>
                  </a:cubicBezTo>
                  <a:cubicBezTo>
                    <a:pt x="626" y="8704"/>
                    <a:pt x="1400" y="9537"/>
                    <a:pt x="2388" y="9632"/>
                  </a:cubicBezTo>
                  <a:lnTo>
                    <a:pt x="2412" y="9632"/>
                  </a:lnTo>
                  <a:cubicBezTo>
                    <a:pt x="2495" y="9632"/>
                    <a:pt x="2566" y="9573"/>
                    <a:pt x="2566" y="9478"/>
                  </a:cubicBezTo>
                  <a:cubicBezTo>
                    <a:pt x="2590" y="9394"/>
                    <a:pt x="2507" y="9299"/>
                    <a:pt x="2424" y="9299"/>
                  </a:cubicBezTo>
                  <a:cubicBezTo>
                    <a:pt x="1602" y="9228"/>
                    <a:pt x="959" y="8549"/>
                    <a:pt x="959" y="7727"/>
                  </a:cubicBezTo>
                  <a:cubicBezTo>
                    <a:pt x="959" y="7144"/>
                    <a:pt x="1281" y="6620"/>
                    <a:pt x="1769" y="6346"/>
                  </a:cubicBezTo>
                  <a:lnTo>
                    <a:pt x="2352" y="6013"/>
                  </a:lnTo>
                  <a:lnTo>
                    <a:pt x="3971" y="6942"/>
                  </a:lnTo>
                  <a:lnTo>
                    <a:pt x="3971" y="8763"/>
                  </a:lnTo>
                  <a:cubicBezTo>
                    <a:pt x="3436" y="9061"/>
                    <a:pt x="3305" y="9168"/>
                    <a:pt x="3031" y="9263"/>
                  </a:cubicBezTo>
                  <a:cubicBezTo>
                    <a:pt x="2947" y="9287"/>
                    <a:pt x="2900" y="9382"/>
                    <a:pt x="2912" y="9466"/>
                  </a:cubicBezTo>
                  <a:cubicBezTo>
                    <a:pt x="2943" y="9549"/>
                    <a:pt x="3011" y="9587"/>
                    <a:pt x="3091" y="9587"/>
                  </a:cubicBezTo>
                  <a:cubicBezTo>
                    <a:pt x="3103" y="9587"/>
                    <a:pt x="3114" y="9586"/>
                    <a:pt x="3126" y="9585"/>
                  </a:cubicBezTo>
                  <a:cubicBezTo>
                    <a:pt x="3436" y="9501"/>
                    <a:pt x="3578" y="9359"/>
                    <a:pt x="3959" y="9168"/>
                  </a:cubicBezTo>
                  <a:lnTo>
                    <a:pt x="3959" y="9680"/>
                  </a:lnTo>
                  <a:cubicBezTo>
                    <a:pt x="3959" y="10752"/>
                    <a:pt x="4817" y="11609"/>
                    <a:pt x="5888" y="11609"/>
                  </a:cubicBezTo>
                  <a:cubicBezTo>
                    <a:pt x="6960" y="11609"/>
                    <a:pt x="7829" y="10752"/>
                    <a:pt x="7829" y="9680"/>
                  </a:cubicBezTo>
                  <a:lnTo>
                    <a:pt x="7829" y="9168"/>
                  </a:lnTo>
                  <a:cubicBezTo>
                    <a:pt x="8317" y="9454"/>
                    <a:pt x="8627" y="9680"/>
                    <a:pt x="9222" y="9680"/>
                  </a:cubicBezTo>
                  <a:cubicBezTo>
                    <a:pt x="9555" y="9680"/>
                    <a:pt x="9865" y="9597"/>
                    <a:pt x="10151" y="9442"/>
                  </a:cubicBezTo>
                  <a:cubicBezTo>
                    <a:pt x="10315" y="9597"/>
                    <a:pt x="10543" y="9696"/>
                    <a:pt x="10788" y="9696"/>
                  </a:cubicBezTo>
                  <a:cubicBezTo>
                    <a:pt x="10845" y="9696"/>
                    <a:pt x="10902" y="9691"/>
                    <a:pt x="10960" y="9680"/>
                  </a:cubicBezTo>
                  <a:cubicBezTo>
                    <a:pt x="11865" y="9466"/>
                    <a:pt x="12008" y="8263"/>
                    <a:pt x="11175" y="7894"/>
                  </a:cubicBezTo>
                  <a:cubicBezTo>
                    <a:pt x="11246" y="7156"/>
                    <a:pt x="10889" y="6406"/>
                    <a:pt x="10210" y="6013"/>
                  </a:cubicBezTo>
                  <a:cubicBezTo>
                    <a:pt x="9972" y="5882"/>
                    <a:pt x="10044" y="5918"/>
                    <a:pt x="9805" y="5775"/>
                  </a:cubicBezTo>
                  <a:lnTo>
                    <a:pt x="10210" y="5537"/>
                  </a:lnTo>
                  <a:cubicBezTo>
                    <a:pt x="11127" y="5001"/>
                    <a:pt x="11460" y="3810"/>
                    <a:pt x="10925" y="2882"/>
                  </a:cubicBezTo>
                  <a:cubicBezTo>
                    <a:pt x="10579" y="2286"/>
                    <a:pt x="9924" y="1917"/>
                    <a:pt x="9246" y="1917"/>
                  </a:cubicBezTo>
                  <a:cubicBezTo>
                    <a:pt x="8531" y="1917"/>
                    <a:pt x="8139" y="2286"/>
                    <a:pt x="7841" y="2429"/>
                  </a:cubicBezTo>
                  <a:cubicBezTo>
                    <a:pt x="7829" y="2012"/>
                    <a:pt x="7865" y="1810"/>
                    <a:pt x="7793" y="1489"/>
                  </a:cubicBezTo>
                  <a:cubicBezTo>
                    <a:pt x="7783" y="1408"/>
                    <a:pt x="7704" y="1352"/>
                    <a:pt x="7629" y="1352"/>
                  </a:cubicBezTo>
                  <a:cubicBezTo>
                    <a:pt x="7616" y="1352"/>
                    <a:pt x="7603" y="1354"/>
                    <a:pt x="7591" y="1358"/>
                  </a:cubicBezTo>
                  <a:cubicBezTo>
                    <a:pt x="7496" y="1369"/>
                    <a:pt x="7436" y="1477"/>
                    <a:pt x="7448" y="1560"/>
                  </a:cubicBezTo>
                  <a:cubicBezTo>
                    <a:pt x="7507" y="1834"/>
                    <a:pt x="7484" y="1989"/>
                    <a:pt x="7496" y="2620"/>
                  </a:cubicBezTo>
                  <a:lnTo>
                    <a:pt x="5900" y="3525"/>
                  </a:lnTo>
                  <a:lnTo>
                    <a:pt x="4317" y="2620"/>
                  </a:lnTo>
                  <a:lnTo>
                    <a:pt x="4317" y="1941"/>
                  </a:lnTo>
                  <a:cubicBezTo>
                    <a:pt x="4317" y="1060"/>
                    <a:pt x="5031" y="346"/>
                    <a:pt x="5900" y="346"/>
                  </a:cubicBezTo>
                  <a:cubicBezTo>
                    <a:pt x="6424" y="346"/>
                    <a:pt x="6912" y="596"/>
                    <a:pt x="7210" y="1024"/>
                  </a:cubicBezTo>
                  <a:cubicBezTo>
                    <a:pt x="7246" y="1075"/>
                    <a:pt x="7301" y="1100"/>
                    <a:pt x="7354" y="1100"/>
                  </a:cubicBezTo>
                  <a:cubicBezTo>
                    <a:pt x="7388" y="1100"/>
                    <a:pt x="7420" y="1090"/>
                    <a:pt x="7448" y="1072"/>
                  </a:cubicBezTo>
                  <a:cubicBezTo>
                    <a:pt x="7531" y="1012"/>
                    <a:pt x="7543" y="905"/>
                    <a:pt x="7496" y="834"/>
                  </a:cubicBezTo>
                  <a:cubicBezTo>
                    <a:pt x="7138" y="310"/>
                    <a:pt x="6543" y="0"/>
                    <a:pt x="59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22" name="Google Shape;9922;p58"/>
          <p:cNvGrpSpPr/>
          <p:nvPr/>
        </p:nvGrpSpPr>
        <p:grpSpPr>
          <a:xfrm>
            <a:off x="5220616" y="2791061"/>
            <a:ext cx="373185" cy="302466"/>
            <a:chOff x="5220616" y="2791061"/>
            <a:chExt cx="373185" cy="302466"/>
          </a:xfrm>
        </p:grpSpPr>
        <p:sp>
          <p:nvSpPr>
            <p:cNvPr id="9923" name="Google Shape;9923;p58"/>
            <p:cNvSpPr/>
            <p:nvPr/>
          </p:nvSpPr>
          <p:spPr>
            <a:xfrm>
              <a:off x="5220616" y="2791061"/>
              <a:ext cx="373185" cy="302466"/>
            </a:xfrm>
            <a:custGeom>
              <a:avLst/>
              <a:gdLst/>
              <a:ahLst/>
              <a:cxnLst/>
              <a:rect l="l" t="t" r="r" b="b"/>
              <a:pathLst>
                <a:path w="11752" h="9525" extrusionOk="0">
                  <a:moveTo>
                    <a:pt x="1834" y="345"/>
                  </a:moveTo>
                  <a:cubicBezTo>
                    <a:pt x="1834" y="345"/>
                    <a:pt x="1846" y="345"/>
                    <a:pt x="1846" y="357"/>
                  </a:cubicBezTo>
                  <a:lnTo>
                    <a:pt x="1846" y="1083"/>
                  </a:lnTo>
                  <a:cubicBezTo>
                    <a:pt x="1846" y="1083"/>
                    <a:pt x="1846" y="1107"/>
                    <a:pt x="1834" y="1107"/>
                  </a:cubicBezTo>
                  <a:lnTo>
                    <a:pt x="1465" y="1107"/>
                  </a:lnTo>
                  <a:cubicBezTo>
                    <a:pt x="1465" y="1107"/>
                    <a:pt x="1453" y="1107"/>
                    <a:pt x="1453" y="1083"/>
                  </a:cubicBezTo>
                  <a:lnTo>
                    <a:pt x="1453" y="357"/>
                  </a:lnTo>
                  <a:lnTo>
                    <a:pt x="1465" y="357"/>
                  </a:lnTo>
                  <a:cubicBezTo>
                    <a:pt x="1465" y="351"/>
                    <a:pt x="1468" y="348"/>
                    <a:pt x="1469" y="348"/>
                  </a:cubicBezTo>
                  <a:lnTo>
                    <a:pt x="1469" y="348"/>
                  </a:lnTo>
                  <a:cubicBezTo>
                    <a:pt x="1471" y="348"/>
                    <a:pt x="1471" y="351"/>
                    <a:pt x="1465" y="357"/>
                  </a:cubicBezTo>
                  <a:lnTo>
                    <a:pt x="1834" y="345"/>
                  </a:lnTo>
                  <a:close/>
                  <a:moveTo>
                    <a:pt x="10276" y="345"/>
                  </a:moveTo>
                  <a:cubicBezTo>
                    <a:pt x="10276" y="345"/>
                    <a:pt x="10288" y="345"/>
                    <a:pt x="10288" y="357"/>
                  </a:cubicBezTo>
                  <a:lnTo>
                    <a:pt x="10288" y="1083"/>
                  </a:lnTo>
                  <a:cubicBezTo>
                    <a:pt x="10288" y="1083"/>
                    <a:pt x="10288" y="1107"/>
                    <a:pt x="10276" y="1107"/>
                  </a:cubicBezTo>
                  <a:lnTo>
                    <a:pt x="9907" y="1107"/>
                  </a:lnTo>
                  <a:cubicBezTo>
                    <a:pt x="9907" y="1107"/>
                    <a:pt x="9895" y="1107"/>
                    <a:pt x="9895" y="1083"/>
                  </a:cubicBezTo>
                  <a:lnTo>
                    <a:pt x="9895" y="357"/>
                  </a:lnTo>
                  <a:lnTo>
                    <a:pt x="9907" y="357"/>
                  </a:lnTo>
                  <a:cubicBezTo>
                    <a:pt x="9907" y="351"/>
                    <a:pt x="9910" y="348"/>
                    <a:pt x="9911" y="348"/>
                  </a:cubicBezTo>
                  <a:lnTo>
                    <a:pt x="9911" y="348"/>
                  </a:lnTo>
                  <a:cubicBezTo>
                    <a:pt x="9912" y="348"/>
                    <a:pt x="9912" y="351"/>
                    <a:pt x="9907" y="357"/>
                  </a:cubicBezTo>
                  <a:lnTo>
                    <a:pt x="10276" y="345"/>
                  </a:lnTo>
                  <a:close/>
                  <a:moveTo>
                    <a:pt x="11038" y="1107"/>
                  </a:moveTo>
                  <a:cubicBezTo>
                    <a:pt x="11240" y="1107"/>
                    <a:pt x="11407" y="1262"/>
                    <a:pt x="11407" y="1476"/>
                  </a:cubicBezTo>
                  <a:lnTo>
                    <a:pt x="11407" y="8811"/>
                  </a:lnTo>
                  <a:cubicBezTo>
                    <a:pt x="11407" y="9001"/>
                    <a:pt x="11228" y="9180"/>
                    <a:pt x="11026" y="9180"/>
                  </a:cubicBezTo>
                  <a:lnTo>
                    <a:pt x="751" y="9180"/>
                  </a:lnTo>
                  <a:cubicBezTo>
                    <a:pt x="536" y="9180"/>
                    <a:pt x="382" y="9025"/>
                    <a:pt x="382" y="8811"/>
                  </a:cubicBezTo>
                  <a:lnTo>
                    <a:pt x="382" y="1476"/>
                  </a:lnTo>
                  <a:cubicBezTo>
                    <a:pt x="382" y="1262"/>
                    <a:pt x="536" y="1107"/>
                    <a:pt x="751" y="1107"/>
                  </a:cubicBezTo>
                  <a:lnTo>
                    <a:pt x="1120" y="1107"/>
                  </a:lnTo>
                  <a:lnTo>
                    <a:pt x="1120" y="1119"/>
                  </a:lnTo>
                  <a:cubicBezTo>
                    <a:pt x="1120" y="1310"/>
                    <a:pt x="1286" y="1476"/>
                    <a:pt x="1477" y="1476"/>
                  </a:cubicBezTo>
                  <a:lnTo>
                    <a:pt x="1858" y="1476"/>
                  </a:lnTo>
                  <a:cubicBezTo>
                    <a:pt x="2048" y="1476"/>
                    <a:pt x="2215" y="1310"/>
                    <a:pt x="2215" y="1119"/>
                  </a:cubicBezTo>
                  <a:lnTo>
                    <a:pt x="2215" y="1107"/>
                  </a:lnTo>
                  <a:lnTo>
                    <a:pt x="9573" y="1107"/>
                  </a:lnTo>
                  <a:lnTo>
                    <a:pt x="9573" y="1119"/>
                  </a:lnTo>
                  <a:cubicBezTo>
                    <a:pt x="9573" y="1310"/>
                    <a:pt x="9740" y="1476"/>
                    <a:pt x="9930" y="1476"/>
                  </a:cubicBezTo>
                  <a:lnTo>
                    <a:pt x="10311" y="1476"/>
                  </a:lnTo>
                  <a:cubicBezTo>
                    <a:pt x="10502" y="1476"/>
                    <a:pt x="10669" y="1310"/>
                    <a:pt x="10669" y="1119"/>
                  </a:cubicBezTo>
                  <a:lnTo>
                    <a:pt x="10669" y="1107"/>
                  </a:lnTo>
                  <a:close/>
                  <a:moveTo>
                    <a:pt x="1465" y="0"/>
                  </a:moveTo>
                  <a:cubicBezTo>
                    <a:pt x="1275" y="0"/>
                    <a:pt x="1108" y="167"/>
                    <a:pt x="1108" y="357"/>
                  </a:cubicBezTo>
                  <a:lnTo>
                    <a:pt x="1108" y="726"/>
                  </a:lnTo>
                  <a:lnTo>
                    <a:pt x="739" y="726"/>
                  </a:lnTo>
                  <a:cubicBezTo>
                    <a:pt x="334" y="726"/>
                    <a:pt x="1" y="1060"/>
                    <a:pt x="1" y="1464"/>
                  </a:cubicBezTo>
                  <a:lnTo>
                    <a:pt x="1" y="8799"/>
                  </a:lnTo>
                  <a:cubicBezTo>
                    <a:pt x="1" y="9204"/>
                    <a:pt x="334" y="9525"/>
                    <a:pt x="739" y="9525"/>
                  </a:cubicBezTo>
                  <a:lnTo>
                    <a:pt x="11014" y="9525"/>
                  </a:lnTo>
                  <a:cubicBezTo>
                    <a:pt x="11419" y="9525"/>
                    <a:pt x="11752" y="9204"/>
                    <a:pt x="11752" y="8799"/>
                  </a:cubicBezTo>
                  <a:lnTo>
                    <a:pt x="11752" y="1464"/>
                  </a:lnTo>
                  <a:cubicBezTo>
                    <a:pt x="11752" y="1060"/>
                    <a:pt x="11419" y="726"/>
                    <a:pt x="11026" y="726"/>
                  </a:cubicBezTo>
                  <a:lnTo>
                    <a:pt x="10645" y="726"/>
                  </a:lnTo>
                  <a:lnTo>
                    <a:pt x="10645" y="357"/>
                  </a:lnTo>
                  <a:cubicBezTo>
                    <a:pt x="10645" y="167"/>
                    <a:pt x="10490" y="0"/>
                    <a:pt x="10288" y="0"/>
                  </a:cubicBezTo>
                  <a:lnTo>
                    <a:pt x="9918" y="0"/>
                  </a:lnTo>
                  <a:cubicBezTo>
                    <a:pt x="9728" y="0"/>
                    <a:pt x="9561" y="167"/>
                    <a:pt x="9561" y="357"/>
                  </a:cubicBezTo>
                  <a:lnTo>
                    <a:pt x="9561" y="726"/>
                  </a:lnTo>
                  <a:lnTo>
                    <a:pt x="2191" y="726"/>
                  </a:lnTo>
                  <a:lnTo>
                    <a:pt x="2191" y="357"/>
                  </a:lnTo>
                  <a:cubicBezTo>
                    <a:pt x="2191" y="167"/>
                    <a:pt x="2025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4" name="Google Shape;9924;p58"/>
            <p:cNvSpPr/>
            <p:nvPr/>
          </p:nvSpPr>
          <p:spPr>
            <a:xfrm>
              <a:off x="5244432" y="2849268"/>
              <a:ext cx="326314" cy="11368"/>
            </a:xfrm>
            <a:custGeom>
              <a:avLst/>
              <a:gdLst/>
              <a:ahLst/>
              <a:cxnLst/>
              <a:rect l="l" t="t" r="r" b="b"/>
              <a:pathLst>
                <a:path w="10276" h="358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cubicBezTo>
                    <a:pt x="1" y="274"/>
                    <a:pt x="72" y="358"/>
                    <a:pt x="179" y="358"/>
                  </a:cubicBezTo>
                  <a:lnTo>
                    <a:pt x="10097" y="358"/>
                  </a:lnTo>
                  <a:cubicBezTo>
                    <a:pt x="10180" y="358"/>
                    <a:pt x="10276" y="274"/>
                    <a:pt x="10276" y="179"/>
                  </a:cubicBezTo>
                  <a:cubicBezTo>
                    <a:pt x="10276" y="72"/>
                    <a:pt x="10180" y="1"/>
                    <a:pt x="10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5" name="Google Shape;9925;p58"/>
            <p:cNvSpPr/>
            <p:nvPr/>
          </p:nvSpPr>
          <p:spPr>
            <a:xfrm>
              <a:off x="5261834" y="289613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6" y="1"/>
                    <a:pt x="0" y="72"/>
                    <a:pt x="0" y="180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75"/>
                    <a:pt x="1465" y="180"/>
                  </a:cubicBezTo>
                  <a:cubicBezTo>
                    <a:pt x="1465" y="72"/>
                    <a:pt x="1370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6" name="Google Shape;9926;p58"/>
            <p:cNvSpPr/>
            <p:nvPr/>
          </p:nvSpPr>
          <p:spPr>
            <a:xfrm>
              <a:off x="5343507" y="289613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0" y="275"/>
                    <a:pt x="83" y="358"/>
                    <a:pt x="179" y="358"/>
                  </a:cubicBezTo>
                  <a:lnTo>
                    <a:pt x="1286" y="358"/>
                  </a:lnTo>
                  <a:cubicBezTo>
                    <a:pt x="1369" y="358"/>
                    <a:pt x="1465" y="275"/>
                    <a:pt x="1465" y="180"/>
                  </a:cubicBezTo>
                  <a:cubicBezTo>
                    <a:pt x="1465" y="72"/>
                    <a:pt x="1381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7" name="Google Shape;9927;p58"/>
            <p:cNvSpPr/>
            <p:nvPr/>
          </p:nvSpPr>
          <p:spPr>
            <a:xfrm>
              <a:off x="5506823" y="2896139"/>
              <a:ext cx="46172" cy="11400"/>
            </a:xfrm>
            <a:custGeom>
              <a:avLst/>
              <a:gdLst/>
              <a:ahLst/>
              <a:cxnLst/>
              <a:rect l="l" t="t" r="r" b="b"/>
              <a:pathLst>
                <a:path w="1454" h="359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275" y="358"/>
                  </a:lnTo>
                  <a:cubicBezTo>
                    <a:pt x="1370" y="358"/>
                    <a:pt x="1453" y="275"/>
                    <a:pt x="1453" y="180"/>
                  </a:cubicBezTo>
                  <a:cubicBezTo>
                    <a:pt x="1453" y="72"/>
                    <a:pt x="1370" y="1"/>
                    <a:pt x="1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8" name="Google Shape;9928;p58"/>
            <p:cNvSpPr/>
            <p:nvPr/>
          </p:nvSpPr>
          <p:spPr>
            <a:xfrm>
              <a:off x="5261834" y="2942660"/>
              <a:ext cx="46521" cy="11368"/>
            </a:xfrm>
            <a:custGeom>
              <a:avLst/>
              <a:gdLst/>
              <a:ahLst/>
              <a:cxnLst/>
              <a:rect l="l" t="t" r="r" b="b"/>
              <a:pathLst>
                <a:path w="1465" h="358" extrusionOk="0">
                  <a:moveTo>
                    <a:pt x="179" y="0"/>
                  </a:moveTo>
                  <a:cubicBezTo>
                    <a:pt x="96" y="0"/>
                    <a:pt x="0" y="84"/>
                    <a:pt x="0" y="179"/>
                  </a:cubicBezTo>
                  <a:cubicBezTo>
                    <a:pt x="0" y="286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86"/>
                    <a:pt x="1465" y="179"/>
                  </a:cubicBezTo>
                  <a:cubicBezTo>
                    <a:pt x="1465" y="84"/>
                    <a:pt x="1370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9" name="Google Shape;9929;p58"/>
            <p:cNvSpPr/>
            <p:nvPr/>
          </p:nvSpPr>
          <p:spPr>
            <a:xfrm>
              <a:off x="5424768" y="2942660"/>
              <a:ext cx="46553" cy="11368"/>
            </a:xfrm>
            <a:custGeom>
              <a:avLst/>
              <a:gdLst/>
              <a:ahLst/>
              <a:cxnLst/>
              <a:rect l="l" t="t" r="r" b="b"/>
              <a:pathLst>
                <a:path w="1466" h="358" extrusionOk="0">
                  <a:moveTo>
                    <a:pt x="180" y="0"/>
                  </a:moveTo>
                  <a:cubicBezTo>
                    <a:pt x="96" y="0"/>
                    <a:pt x="1" y="84"/>
                    <a:pt x="1" y="179"/>
                  </a:cubicBezTo>
                  <a:cubicBezTo>
                    <a:pt x="1" y="286"/>
                    <a:pt x="84" y="358"/>
                    <a:pt x="180" y="358"/>
                  </a:cubicBezTo>
                  <a:lnTo>
                    <a:pt x="1287" y="358"/>
                  </a:lnTo>
                  <a:cubicBezTo>
                    <a:pt x="1370" y="358"/>
                    <a:pt x="1465" y="286"/>
                    <a:pt x="1465" y="179"/>
                  </a:cubicBezTo>
                  <a:cubicBezTo>
                    <a:pt x="1465" y="84"/>
                    <a:pt x="1394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0" name="Google Shape;9930;p58"/>
            <p:cNvSpPr/>
            <p:nvPr/>
          </p:nvSpPr>
          <p:spPr>
            <a:xfrm>
              <a:off x="5261834" y="298914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87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87"/>
                    <a:pt x="1465" y="179"/>
                  </a:cubicBezTo>
                  <a:cubicBezTo>
                    <a:pt x="1465" y="72"/>
                    <a:pt x="1370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1" name="Google Shape;9931;p58"/>
            <p:cNvSpPr/>
            <p:nvPr/>
          </p:nvSpPr>
          <p:spPr>
            <a:xfrm>
              <a:off x="5343507" y="298914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83" y="358"/>
                    <a:pt x="179" y="358"/>
                  </a:cubicBezTo>
                  <a:lnTo>
                    <a:pt x="1286" y="358"/>
                  </a:lnTo>
                  <a:cubicBezTo>
                    <a:pt x="1369" y="358"/>
                    <a:pt x="1465" y="287"/>
                    <a:pt x="1465" y="179"/>
                  </a:cubicBezTo>
                  <a:cubicBezTo>
                    <a:pt x="1465" y="72"/>
                    <a:pt x="1381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2" name="Google Shape;9932;p58"/>
            <p:cNvSpPr/>
            <p:nvPr/>
          </p:nvSpPr>
          <p:spPr>
            <a:xfrm>
              <a:off x="5506823" y="2989149"/>
              <a:ext cx="46172" cy="11400"/>
            </a:xfrm>
            <a:custGeom>
              <a:avLst/>
              <a:gdLst/>
              <a:ahLst/>
              <a:cxnLst/>
              <a:rect l="l" t="t" r="r" b="b"/>
              <a:pathLst>
                <a:path w="1454" h="359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1275" y="358"/>
                  </a:lnTo>
                  <a:cubicBezTo>
                    <a:pt x="1370" y="358"/>
                    <a:pt x="1453" y="287"/>
                    <a:pt x="1453" y="179"/>
                  </a:cubicBezTo>
                  <a:cubicBezTo>
                    <a:pt x="1453" y="72"/>
                    <a:pt x="1370" y="1"/>
                    <a:pt x="1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3" name="Google Shape;9933;p58"/>
            <p:cNvSpPr/>
            <p:nvPr/>
          </p:nvSpPr>
          <p:spPr>
            <a:xfrm>
              <a:off x="5343507" y="3036051"/>
              <a:ext cx="46521" cy="10987"/>
            </a:xfrm>
            <a:custGeom>
              <a:avLst/>
              <a:gdLst/>
              <a:ahLst/>
              <a:cxnLst/>
              <a:rect l="l" t="t" r="r" b="b"/>
              <a:pathLst>
                <a:path w="1465" h="346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74"/>
                    <a:pt x="83" y="346"/>
                    <a:pt x="179" y="346"/>
                  </a:cubicBezTo>
                  <a:lnTo>
                    <a:pt x="1286" y="346"/>
                  </a:lnTo>
                  <a:cubicBezTo>
                    <a:pt x="1369" y="346"/>
                    <a:pt x="1465" y="274"/>
                    <a:pt x="1465" y="179"/>
                  </a:cubicBezTo>
                  <a:cubicBezTo>
                    <a:pt x="1465" y="72"/>
                    <a:pt x="1381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4" name="Google Shape;9934;p58"/>
            <p:cNvSpPr/>
            <p:nvPr/>
          </p:nvSpPr>
          <p:spPr>
            <a:xfrm>
              <a:off x="5424768" y="3036051"/>
              <a:ext cx="46553" cy="10987"/>
            </a:xfrm>
            <a:custGeom>
              <a:avLst/>
              <a:gdLst/>
              <a:ahLst/>
              <a:cxnLst/>
              <a:rect l="l" t="t" r="r" b="b"/>
              <a:pathLst>
                <a:path w="1466" h="346" extrusionOk="0">
                  <a:moveTo>
                    <a:pt x="180" y="0"/>
                  </a:moveTo>
                  <a:cubicBezTo>
                    <a:pt x="96" y="0"/>
                    <a:pt x="1" y="72"/>
                    <a:pt x="1" y="179"/>
                  </a:cubicBezTo>
                  <a:cubicBezTo>
                    <a:pt x="1" y="274"/>
                    <a:pt x="84" y="346"/>
                    <a:pt x="180" y="346"/>
                  </a:cubicBezTo>
                  <a:lnTo>
                    <a:pt x="1287" y="346"/>
                  </a:lnTo>
                  <a:cubicBezTo>
                    <a:pt x="1370" y="346"/>
                    <a:pt x="1465" y="274"/>
                    <a:pt x="1465" y="179"/>
                  </a:cubicBezTo>
                  <a:cubicBezTo>
                    <a:pt x="1465" y="72"/>
                    <a:pt x="1394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5" name="Google Shape;9935;p58"/>
            <p:cNvSpPr/>
            <p:nvPr/>
          </p:nvSpPr>
          <p:spPr>
            <a:xfrm>
              <a:off x="5506823" y="3036051"/>
              <a:ext cx="46172" cy="10987"/>
            </a:xfrm>
            <a:custGeom>
              <a:avLst/>
              <a:gdLst/>
              <a:ahLst/>
              <a:cxnLst/>
              <a:rect l="l" t="t" r="r" b="b"/>
              <a:pathLst>
                <a:path w="1454" h="346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74"/>
                    <a:pt x="72" y="346"/>
                    <a:pt x="179" y="346"/>
                  </a:cubicBezTo>
                  <a:lnTo>
                    <a:pt x="1275" y="346"/>
                  </a:lnTo>
                  <a:cubicBezTo>
                    <a:pt x="1370" y="346"/>
                    <a:pt x="1453" y="274"/>
                    <a:pt x="1453" y="179"/>
                  </a:cubicBezTo>
                  <a:cubicBezTo>
                    <a:pt x="1453" y="72"/>
                    <a:pt x="1370" y="0"/>
                    <a:pt x="1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6" name="Google Shape;9936;p58"/>
            <p:cNvSpPr/>
            <p:nvPr/>
          </p:nvSpPr>
          <p:spPr>
            <a:xfrm>
              <a:off x="5343126" y="2930752"/>
              <a:ext cx="46902" cy="33851"/>
            </a:xfrm>
            <a:custGeom>
              <a:avLst/>
              <a:gdLst/>
              <a:ahLst/>
              <a:cxnLst/>
              <a:rect l="l" t="t" r="r" b="b"/>
              <a:pathLst>
                <a:path w="1477" h="1066" extrusionOk="0">
                  <a:moveTo>
                    <a:pt x="1293" y="0"/>
                  </a:moveTo>
                  <a:cubicBezTo>
                    <a:pt x="1250" y="0"/>
                    <a:pt x="1209" y="18"/>
                    <a:pt x="1179" y="54"/>
                  </a:cubicBezTo>
                  <a:lnTo>
                    <a:pt x="572" y="661"/>
                  </a:lnTo>
                  <a:lnTo>
                    <a:pt x="322" y="411"/>
                  </a:lnTo>
                  <a:cubicBezTo>
                    <a:pt x="280" y="375"/>
                    <a:pt x="235" y="358"/>
                    <a:pt x="194" y="358"/>
                  </a:cubicBezTo>
                  <a:cubicBezTo>
                    <a:pt x="152" y="358"/>
                    <a:pt x="113" y="375"/>
                    <a:pt x="84" y="411"/>
                  </a:cubicBezTo>
                  <a:cubicBezTo>
                    <a:pt x="0" y="483"/>
                    <a:pt x="0" y="590"/>
                    <a:pt x="84" y="649"/>
                  </a:cubicBezTo>
                  <a:lnTo>
                    <a:pt x="453" y="1018"/>
                  </a:lnTo>
                  <a:cubicBezTo>
                    <a:pt x="476" y="1054"/>
                    <a:pt x="524" y="1066"/>
                    <a:pt x="572" y="1066"/>
                  </a:cubicBezTo>
                  <a:cubicBezTo>
                    <a:pt x="619" y="1066"/>
                    <a:pt x="655" y="1054"/>
                    <a:pt x="691" y="1018"/>
                  </a:cubicBezTo>
                  <a:lnTo>
                    <a:pt x="1417" y="292"/>
                  </a:lnTo>
                  <a:cubicBezTo>
                    <a:pt x="1477" y="233"/>
                    <a:pt x="1477" y="125"/>
                    <a:pt x="1417" y="54"/>
                  </a:cubicBezTo>
                  <a:cubicBezTo>
                    <a:pt x="1381" y="18"/>
                    <a:pt x="1337" y="0"/>
                    <a:pt x="1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7" name="Google Shape;9937;p58"/>
            <p:cNvSpPr/>
            <p:nvPr/>
          </p:nvSpPr>
          <p:spPr>
            <a:xfrm>
              <a:off x="5506442" y="2930752"/>
              <a:ext cx="47283" cy="33851"/>
            </a:xfrm>
            <a:custGeom>
              <a:avLst/>
              <a:gdLst/>
              <a:ahLst/>
              <a:cxnLst/>
              <a:rect l="l" t="t" r="r" b="b"/>
              <a:pathLst>
                <a:path w="1489" h="1066" extrusionOk="0">
                  <a:moveTo>
                    <a:pt x="1282" y="0"/>
                  </a:moveTo>
                  <a:cubicBezTo>
                    <a:pt x="1239" y="0"/>
                    <a:pt x="1197" y="18"/>
                    <a:pt x="1167" y="54"/>
                  </a:cubicBezTo>
                  <a:lnTo>
                    <a:pt x="560" y="661"/>
                  </a:lnTo>
                  <a:lnTo>
                    <a:pt x="310" y="411"/>
                  </a:lnTo>
                  <a:cubicBezTo>
                    <a:pt x="275" y="375"/>
                    <a:pt x="230" y="358"/>
                    <a:pt x="187" y="358"/>
                  </a:cubicBezTo>
                  <a:cubicBezTo>
                    <a:pt x="144" y="358"/>
                    <a:pt x="102" y="375"/>
                    <a:pt x="72" y="411"/>
                  </a:cubicBezTo>
                  <a:cubicBezTo>
                    <a:pt x="1" y="483"/>
                    <a:pt x="1" y="590"/>
                    <a:pt x="72" y="649"/>
                  </a:cubicBezTo>
                  <a:lnTo>
                    <a:pt x="441" y="1018"/>
                  </a:lnTo>
                  <a:cubicBezTo>
                    <a:pt x="477" y="1054"/>
                    <a:pt x="513" y="1066"/>
                    <a:pt x="560" y="1066"/>
                  </a:cubicBezTo>
                  <a:cubicBezTo>
                    <a:pt x="608" y="1066"/>
                    <a:pt x="656" y="1054"/>
                    <a:pt x="679" y="1018"/>
                  </a:cubicBezTo>
                  <a:lnTo>
                    <a:pt x="1406" y="292"/>
                  </a:lnTo>
                  <a:cubicBezTo>
                    <a:pt x="1489" y="233"/>
                    <a:pt x="1489" y="125"/>
                    <a:pt x="1406" y="54"/>
                  </a:cubicBezTo>
                  <a:cubicBezTo>
                    <a:pt x="1370" y="18"/>
                    <a:pt x="1325" y="0"/>
                    <a:pt x="12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8" name="Google Shape;9938;p58"/>
            <p:cNvSpPr/>
            <p:nvPr/>
          </p:nvSpPr>
          <p:spPr>
            <a:xfrm>
              <a:off x="5424419" y="2977336"/>
              <a:ext cx="47283" cy="34168"/>
            </a:xfrm>
            <a:custGeom>
              <a:avLst/>
              <a:gdLst/>
              <a:ahLst/>
              <a:cxnLst/>
              <a:rect l="l" t="t" r="r" b="b"/>
              <a:pathLst>
                <a:path w="1489" h="1076" extrusionOk="0">
                  <a:moveTo>
                    <a:pt x="1293" y="1"/>
                  </a:moveTo>
                  <a:cubicBezTo>
                    <a:pt x="1250" y="1"/>
                    <a:pt x="1208" y="22"/>
                    <a:pt x="1179" y="63"/>
                  </a:cubicBezTo>
                  <a:lnTo>
                    <a:pt x="572" y="671"/>
                  </a:lnTo>
                  <a:lnTo>
                    <a:pt x="321" y="421"/>
                  </a:lnTo>
                  <a:cubicBezTo>
                    <a:pt x="280" y="379"/>
                    <a:pt x="235" y="358"/>
                    <a:pt x="193" y="358"/>
                  </a:cubicBezTo>
                  <a:cubicBezTo>
                    <a:pt x="152" y="358"/>
                    <a:pt x="113" y="379"/>
                    <a:pt x="83" y="421"/>
                  </a:cubicBezTo>
                  <a:cubicBezTo>
                    <a:pt x="0" y="492"/>
                    <a:pt x="0" y="599"/>
                    <a:pt x="83" y="659"/>
                  </a:cubicBezTo>
                  <a:lnTo>
                    <a:pt x="452" y="1028"/>
                  </a:lnTo>
                  <a:cubicBezTo>
                    <a:pt x="476" y="1052"/>
                    <a:pt x="524" y="1075"/>
                    <a:pt x="572" y="1075"/>
                  </a:cubicBezTo>
                  <a:cubicBezTo>
                    <a:pt x="619" y="1075"/>
                    <a:pt x="655" y="1052"/>
                    <a:pt x="691" y="1028"/>
                  </a:cubicBezTo>
                  <a:lnTo>
                    <a:pt x="1417" y="301"/>
                  </a:lnTo>
                  <a:cubicBezTo>
                    <a:pt x="1488" y="242"/>
                    <a:pt x="1488" y="123"/>
                    <a:pt x="1417" y="63"/>
                  </a:cubicBezTo>
                  <a:cubicBezTo>
                    <a:pt x="1381" y="22"/>
                    <a:pt x="1336" y="1"/>
                    <a:pt x="12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9" name="Google Shape;9939;p58"/>
            <p:cNvSpPr/>
            <p:nvPr/>
          </p:nvSpPr>
          <p:spPr>
            <a:xfrm>
              <a:off x="5261453" y="3024143"/>
              <a:ext cx="47283" cy="33851"/>
            </a:xfrm>
            <a:custGeom>
              <a:avLst/>
              <a:gdLst/>
              <a:ahLst/>
              <a:cxnLst/>
              <a:rect l="l" t="t" r="r" b="b"/>
              <a:pathLst>
                <a:path w="1489" h="1066" extrusionOk="0">
                  <a:moveTo>
                    <a:pt x="1289" y="0"/>
                  </a:moveTo>
                  <a:cubicBezTo>
                    <a:pt x="1248" y="0"/>
                    <a:pt x="1209" y="18"/>
                    <a:pt x="1179" y="54"/>
                  </a:cubicBezTo>
                  <a:lnTo>
                    <a:pt x="572" y="673"/>
                  </a:lnTo>
                  <a:lnTo>
                    <a:pt x="310" y="411"/>
                  </a:lnTo>
                  <a:cubicBezTo>
                    <a:pt x="274" y="375"/>
                    <a:pt x="230" y="357"/>
                    <a:pt x="186" y="357"/>
                  </a:cubicBezTo>
                  <a:cubicBezTo>
                    <a:pt x="143" y="357"/>
                    <a:pt x="102" y="375"/>
                    <a:pt x="72" y="411"/>
                  </a:cubicBezTo>
                  <a:cubicBezTo>
                    <a:pt x="0" y="494"/>
                    <a:pt x="0" y="590"/>
                    <a:pt x="72" y="649"/>
                  </a:cubicBezTo>
                  <a:lnTo>
                    <a:pt x="453" y="1030"/>
                  </a:lnTo>
                  <a:cubicBezTo>
                    <a:pt x="477" y="1054"/>
                    <a:pt x="524" y="1066"/>
                    <a:pt x="572" y="1066"/>
                  </a:cubicBezTo>
                  <a:cubicBezTo>
                    <a:pt x="608" y="1066"/>
                    <a:pt x="655" y="1054"/>
                    <a:pt x="691" y="1030"/>
                  </a:cubicBezTo>
                  <a:lnTo>
                    <a:pt x="1417" y="292"/>
                  </a:lnTo>
                  <a:cubicBezTo>
                    <a:pt x="1489" y="220"/>
                    <a:pt x="1489" y="113"/>
                    <a:pt x="1417" y="54"/>
                  </a:cubicBezTo>
                  <a:cubicBezTo>
                    <a:pt x="1376" y="18"/>
                    <a:pt x="1331" y="0"/>
                    <a:pt x="12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0" name="Google Shape;9940;p58"/>
            <p:cNvSpPr/>
            <p:nvPr/>
          </p:nvSpPr>
          <p:spPr>
            <a:xfrm>
              <a:off x="5424419" y="2884231"/>
              <a:ext cx="47283" cy="33883"/>
            </a:xfrm>
            <a:custGeom>
              <a:avLst/>
              <a:gdLst/>
              <a:ahLst/>
              <a:cxnLst/>
              <a:rect l="l" t="t" r="r" b="b"/>
              <a:pathLst>
                <a:path w="1489" h="1067" extrusionOk="0">
                  <a:moveTo>
                    <a:pt x="1293" y="1"/>
                  </a:moveTo>
                  <a:cubicBezTo>
                    <a:pt x="1250" y="1"/>
                    <a:pt x="1208" y="19"/>
                    <a:pt x="1179" y="54"/>
                  </a:cubicBezTo>
                  <a:lnTo>
                    <a:pt x="572" y="674"/>
                  </a:lnTo>
                  <a:lnTo>
                    <a:pt x="321" y="412"/>
                  </a:lnTo>
                  <a:cubicBezTo>
                    <a:pt x="280" y="376"/>
                    <a:pt x="235" y="358"/>
                    <a:pt x="193" y="358"/>
                  </a:cubicBezTo>
                  <a:cubicBezTo>
                    <a:pt x="152" y="358"/>
                    <a:pt x="113" y="376"/>
                    <a:pt x="83" y="412"/>
                  </a:cubicBezTo>
                  <a:cubicBezTo>
                    <a:pt x="0" y="495"/>
                    <a:pt x="0" y="590"/>
                    <a:pt x="83" y="650"/>
                  </a:cubicBezTo>
                  <a:lnTo>
                    <a:pt x="452" y="1031"/>
                  </a:lnTo>
                  <a:cubicBezTo>
                    <a:pt x="476" y="1055"/>
                    <a:pt x="524" y="1067"/>
                    <a:pt x="572" y="1067"/>
                  </a:cubicBezTo>
                  <a:cubicBezTo>
                    <a:pt x="619" y="1067"/>
                    <a:pt x="655" y="1055"/>
                    <a:pt x="691" y="1031"/>
                  </a:cubicBezTo>
                  <a:lnTo>
                    <a:pt x="1417" y="293"/>
                  </a:lnTo>
                  <a:cubicBezTo>
                    <a:pt x="1488" y="221"/>
                    <a:pt x="1488" y="114"/>
                    <a:pt x="1417" y="54"/>
                  </a:cubicBezTo>
                  <a:cubicBezTo>
                    <a:pt x="1381" y="19"/>
                    <a:pt x="1336" y="1"/>
                    <a:pt x="12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41" name="Google Shape;9941;p58"/>
          <p:cNvGrpSpPr/>
          <p:nvPr/>
        </p:nvGrpSpPr>
        <p:grpSpPr>
          <a:xfrm>
            <a:off x="5788661" y="2772517"/>
            <a:ext cx="284366" cy="344097"/>
            <a:chOff x="5864861" y="2772517"/>
            <a:chExt cx="284366" cy="344097"/>
          </a:xfrm>
        </p:grpSpPr>
        <p:sp>
          <p:nvSpPr>
            <p:cNvPr id="9942" name="Google Shape;9942;p58"/>
            <p:cNvSpPr/>
            <p:nvPr/>
          </p:nvSpPr>
          <p:spPr>
            <a:xfrm>
              <a:off x="6089464" y="3014490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1"/>
                  </a:moveTo>
                  <a:cubicBezTo>
                    <a:pt x="107" y="1"/>
                    <a:pt x="0" y="108"/>
                    <a:pt x="0" y="239"/>
                  </a:cubicBezTo>
                  <a:cubicBezTo>
                    <a:pt x="0" y="382"/>
                    <a:pt x="107" y="477"/>
                    <a:pt x="238" y="477"/>
                  </a:cubicBezTo>
                  <a:cubicBezTo>
                    <a:pt x="369" y="477"/>
                    <a:pt x="476" y="382"/>
                    <a:pt x="476" y="239"/>
                  </a:cubicBezTo>
                  <a:cubicBezTo>
                    <a:pt x="476" y="108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3" name="Google Shape;9943;p58"/>
            <p:cNvSpPr/>
            <p:nvPr/>
          </p:nvSpPr>
          <p:spPr>
            <a:xfrm>
              <a:off x="6051644" y="3070823"/>
              <a:ext cx="13274" cy="1327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96"/>
                    <a:pt x="0" y="215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34" y="417"/>
                    <a:pt x="417" y="334"/>
                    <a:pt x="417" y="215"/>
                  </a:cubicBezTo>
                  <a:cubicBezTo>
                    <a:pt x="417" y="96"/>
                    <a:pt x="334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4" name="Google Shape;9944;p58"/>
            <p:cNvSpPr/>
            <p:nvPr/>
          </p:nvSpPr>
          <p:spPr>
            <a:xfrm>
              <a:off x="5943518" y="3005789"/>
              <a:ext cx="13242" cy="12893"/>
            </a:xfrm>
            <a:custGeom>
              <a:avLst/>
              <a:gdLst/>
              <a:ahLst/>
              <a:cxnLst/>
              <a:rect l="l" t="t" r="r" b="b"/>
              <a:pathLst>
                <a:path w="417" h="406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06"/>
                    <a:pt x="203" y="406"/>
                  </a:cubicBezTo>
                  <a:cubicBezTo>
                    <a:pt x="322" y="406"/>
                    <a:pt x="417" y="322"/>
                    <a:pt x="417" y="203"/>
                  </a:cubicBezTo>
                  <a:cubicBezTo>
                    <a:pt x="417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5" name="Google Shape;9945;p58"/>
            <p:cNvSpPr/>
            <p:nvPr/>
          </p:nvSpPr>
          <p:spPr>
            <a:xfrm>
              <a:off x="5965429" y="3070823"/>
              <a:ext cx="13655" cy="13274"/>
            </a:xfrm>
            <a:custGeom>
              <a:avLst/>
              <a:gdLst/>
              <a:ahLst/>
              <a:cxnLst/>
              <a:rect l="l" t="t" r="r" b="b"/>
              <a:pathLst>
                <a:path w="430" h="418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29" y="334"/>
                    <a:pt x="429" y="215"/>
                  </a:cubicBezTo>
                  <a:cubicBezTo>
                    <a:pt x="429" y="96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6" name="Google Shape;9946;p58"/>
            <p:cNvSpPr/>
            <p:nvPr/>
          </p:nvSpPr>
          <p:spPr>
            <a:xfrm>
              <a:off x="6004392" y="3019412"/>
              <a:ext cx="16290" cy="15909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50" y="0"/>
                  </a:moveTo>
                  <a:cubicBezTo>
                    <a:pt x="119" y="0"/>
                    <a:pt x="0" y="119"/>
                    <a:pt x="0" y="250"/>
                  </a:cubicBezTo>
                  <a:cubicBezTo>
                    <a:pt x="0" y="381"/>
                    <a:pt x="119" y="500"/>
                    <a:pt x="250" y="500"/>
                  </a:cubicBezTo>
                  <a:cubicBezTo>
                    <a:pt x="393" y="500"/>
                    <a:pt x="512" y="381"/>
                    <a:pt x="512" y="250"/>
                  </a:cubicBezTo>
                  <a:cubicBezTo>
                    <a:pt x="512" y="119"/>
                    <a:pt x="405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7" name="Google Shape;9947;p58"/>
            <p:cNvSpPr/>
            <p:nvPr/>
          </p:nvSpPr>
          <p:spPr>
            <a:xfrm>
              <a:off x="5864861" y="2772517"/>
              <a:ext cx="284366" cy="344097"/>
            </a:xfrm>
            <a:custGeom>
              <a:avLst/>
              <a:gdLst/>
              <a:ahLst/>
              <a:cxnLst/>
              <a:rect l="l" t="t" r="r" b="b"/>
              <a:pathLst>
                <a:path w="8955" h="10836" extrusionOk="0">
                  <a:moveTo>
                    <a:pt x="2983" y="6406"/>
                  </a:moveTo>
                  <a:cubicBezTo>
                    <a:pt x="3566" y="6406"/>
                    <a:pt x="4114" y="6556"/>
                    <a:pt x="4632" y="6871"/>
                  </a:cubicBezTo>
                  <a:cubicBezTo>
                    <a:pt x="5211" y="7197"/>
                    <a:pt x="5769" y="7306"/>
                    <a:pt x="6260" y="7306"/>
                  </a:cubicBezTo>
                  <a:cubicBezTo>
                    <a:pt x="6628" y="7306"/>
                    <a:pt x="6957" y="7245"/>
                    <a:pt x="7228" y="7168"/>
                  </a:cubicBezTo>
                  <a:cubicBezTo>
                    <a:pt x="7645" y="7049"/>
                    <a:pt x="7966" y="6871"/>
                    <a:pt x="8145" y="6751"/>
                  </a:cubicBezTo>
                  <a:lnTo>
                    <a:pt x="8145" y="6751"/>
                  </a:lnTo>
                  <a:cubicBezTo>
                    <a:pt x="8514" y="7954"/>
                    <a:pt x="8204" y="9276"/>
                    <a:pt x="7299" y="10216"/>
                  </a:cubicBezTo>
                  <a:cubicBezTo>
                    <a:pt x="7109" y="10407"/>
                    <a:pt x="6835" y="10526"/>
                    <a:pt x="6561" y="10526"/>
                  </a:cubicBezTo>
                  <a:lnTo>
                    <a:pt x="2906" y="10526"/>
                  </a:lnTo>
                  <a:cubicBezTo>
                    <a:pt x="2644" y="10526"/>
                    <a:pt x="2370" y="10407"/>
                    <a:pt x="2180" y="10228"/>
                  </a:cubicBezTo>
                  <a:cubicBezTo>
                    <a:pt x="1346" y="9383"/>
                    <a:pt x="941" y="8133"/>
                    <a:pt x="1275" y="6823"/>
                  </a:cubicBezTo>
                  <a:cubicBezTo>
                    <a:pt x="1406" y="6751"/>
                    <a:pt x="1775" y="6573"/>
                    <a:pt x="2263" y="6478"/>
                  </a:cubicBezTo>
                  <a:cubicBezTo>
                    <a:pt x="2509" y="6430"/>
                    <a:pt x="2748" y="6406"/>
                    <a:pt x="2983" y="6406"/>
                  </a:cubicBezTo>
                  <a:close/>
                  <a:moveTo>
                    <a:pt x="3239" y="1"/>
                  </a:moveTo>
                  <a:cubicBezTo>
                    <a:pt x="3001" y="1"/>
                    <a:pt x="2823" y="191"/>
                    <a:pt x="2823" y="417"/>
                  </a:cubicBezTo>
                  <a:lnTo>
                    <a:pt x="2823" y="786"/>
                  </a:lnTo>
                  <a:cubicBezTo>
                    <a:pt x="2823" y="1036"/>
                    <a:pt x="3013" y="1203"/>
                    <a:pt x="3239" y="1203"/>
                  </a:cubicBezTo>
                  <a:lnTo>
                    <a:pt x="3454" y="1203"/>
                  </a:lnTo>
                  <a:lnTo>
                    <a:pt x="3454" y="2525"/>
                  </a:lnTo>
                  <a:cubicBezTo>
                    <a:pt x="3454" y="2608"/>
                    <a:pt x="3537" y="2680"/>
                    <a:pt x="3620" y="2680"/>
                  </a:cubicBezTo>
                  <a:cubicBezTo>
                    <a:pt x="3704" y="2680"/>
                    <a:pt x="3787" y="2608"/>
                    <a:pt x="3787" y="2525"/>
                  </a:cubicBezTo>
                  <a:lnTo>
                    <a:pt x="3787" y="1203"/>
                  </a:lnTo>
                  <a:lnTo>
                    <a:pt x="5692" y="1203"/>
                  </a:lnTo>
                  <a:lnTo>
                    <a:pt x="5692" y="3858"/>
                  </a:lnTo>
                  <a:cubicBezTo>
                    <a:pt x="5692" y="4096"/>
                    <a:pt x="5835" y="4311"/>
                    <a:pt x="6049" y="4394"/>
                  </a:cubicBezTo>
                  <a:cubicBezTo>
                    <a:pt x="6978" y="4763"/>
                    <a:pt x="7692" y="5513"/>
                    <a:pt x="8049" y="6418"/>
                  </a:cubicBezTo>
                  <a:cubicBezTo>
                    <a:pt x="7907" y="6525"/>
                    <a:pt x="7573" y="6716"/>
                    <a:pt x="7133" y="6847"/>
                  </a:cubicBezTo>
                  <a:cubicBezTo>
                    <a:pt x="6830" y="6934"/>
                    <a:pt x="6535" y="6978"/>
                    <a:pt x="6245" y="6978"/>
                  </a:cubicBezTo>
                  <a:cubicBezTo>
                    <a:pt x="5748" y="6978"/>
                    <a:pt x="5270" y="6848"/>
                    <a:pt x="4811" y="6585"/>
                  </a:cubicBezTo>
                  <a:cubicBezTo>
                    <a:pt x="4225" y="6246"/>
                    <a:pt x="3592" y="6086"/>
                    <a:pt x="2961" y="6086"/>
                  </a:cubicBezTo>
                  <a:cubicBezTo>
                    <a:pt x="2437" y="6086"/>
                    <a:pt x="1914" y="6196"/>
                    <a:pt x="1418" y="6406"/>
                  </a:cubicBezTo>
                  <a:cubicBezTo>
                    <a:pt x="1775" y="5501"/>
                    <a:pt x="2477" y="4763"/>
                    <a:pt x="3430" y="4394"/>
                  </a:cubicBezTo>
                  <a:cubicBezTo>
                    <a:pt x="3656" y="4311"/>
                    <a:pt x="3787" y="4096"/>
                    <a:pt x="3787" y="3858"/>
                  </a:cubicBezTo>
                  <a:lnTo>
                    <a:pt x="3787" y="3322"/>
                  </a:lnTo>
                  <a:cubicBezTo>
                    <a:pt x="3787" y="3239"/>
                    <a:pt x="3716" y="3156"/>
                    <a:pt x="3620" y="3156"/>
                  </a:cubicBezTo>
                  <a:cubicBezTo>
                    <a:pt x="3537" y="3156"/>
                    <a:pt x="3454" y="3239"/>
                    <a:pt x="3454" y="3322"/>
                  </a:cubicBezTo>
                  <a:lnTo>
                    <a:pt x="3454" y="3858"/>
                  </a:lnTo>
                  <a:cubicBezTo>
                    <a:pt x="3454" y="3965"/>
                    <a:pt x="3394" y="4049"/>
                    <a:pt x="3299" y="4096"/>
                  </a:cubicBezTo>
                  <a:cubicBezTo>
                    <a:pt x="703" y="5120"/>
                    <a:pt x="1" y="8478"/>
                    <a:pt x="1942" y="10442"/>
                  </a:cubicBezTo>
                  <a:cubicBezTo>
                    <a:pt x="2192" y="10692"/>
                    <a:pt x="2537" y="10835"/>
                    <a:pt x="2894" y="10835"/>
                  </a:cubicBezTo>
                  <a:lnTo>
                    <a:pt x="6549" y="10835"/>
                  </a:lnTo>
                  <a:cubicBezTo>
                    <a:pt x="6906" y="10835"/>
                    <a:pt x="7252" y="10692"/>
                    <a:pt x="7502" y="10442"/>
                  </a:cubicBezTo>
                  <a:cubicBezTo>
                    <a:pt x="8907" y="9026"/>
                    <a:pt x="8954" y="6930"/>
                    <a:pt x="7907" y="5466"/>
                  </a:cubicBezTo>
                  <a:cubicBezTo>
                    <a:pt x="7478" y="4858"/>
                    <a:pt x="6871" y="4370"/>
                    <a:pt x="6168" y="4096"/>
                  </a:cubicBezTo>
                  <a:cubicBezTo>
                    <a:pt x="6061" y="4049"/>
                    <a:pt x="6002" y="3965"/>
                    <a:pt x="6002" y="3858"/>
                  </a:cubicBezTo>
                  <a:lnTo>
                    <a:pt x="6002" y="1203"/>
                  </a:lnTo>
                  <a:lnTo>
                    <a:pt x="6228" y="1203"/>
                  </a:lnTo>
                  <a:cubicBezTo>
                    <a:pt x="6466" y="1203"/>
                    <a:pt x="6644" y="1013"/>
                    <a:pt x="6644" y="786"/>
                  </a:cubicBezTo>
                  <a:lnTo>
                    <a:pt x="6644" y="417"/>
                  </a:lnTo>
                  <a:cubicBezTo>
                    <a:pt x="6644" y="179"/>
                    <a:pt x="6454" y="1"/>
                    <a:pt x="6228" y="1"/>
                  </a:cubicBezTo>
                  <a:lnTo>
                    <a:pt x="5394" y="1"/>
                  </a:lnTo>
                  <a:cubicBezTo>
                    <a:pt x="5299" y="1"/>
                    <a:pt x="5228" y="72"/>
                    <a:pt x="5228" y="167"/>
                  </a:cubicBezTo>
                  <a:cubicBezTo>
                    <a:pt x="5228" y="263"/>
                    <a:pt x="5299" y="334"/>
                    <a:pt x="5394" y="334"/>
                  </a:cubicBezTo>
                  <a:lnTo>
                    <a:pt x="6228" y="334"/>
                  </a:lnTo>
                  <a:cubicBezTo>
                    <a:pt x="6287" y="334"/>
                    <a:pt x="6335" y="382"/>
                    <a:pt x="6335" y="441"/>
                  </a:cubicBezTo>
                  <a:lnTo>
                    <a:pt x="6335" y="810"/>
                  </a:lnTo>
                  <a:cubicBezTo>
                    <a:pt x="6335" y="870"/>
                    <a:pt x="6287" y="905"/>
                    <a:pt x="6228" y="905"/>
                  </a:cubicBezTo>
                  <a:lnTo>
                    <a:pt x="3239" y="905"/>
                  </a:lnTo>
                  <a:cubicBezTo>
                    <a:pt x="3168" y="905"/>
                    <a:pt x="3132" y="870"/>
                    <a:pt x="3132" y="810"/>
                  </a:cubicBezTo>
                  <a:lnTo>
                    <a:pt x="3132" y="441"/>
                  </a:lnTo>
                  <a:cubicBezTo>
                    <a:pt x="3132" y="382"/>
                    <a:pt x="3168" y="334"/>
                    <a:pt x="3239" y="334"/>
                  </a:cubicBezTo>
                  <a:lnTo>
                    <a:pt x="4609" y="334"/>
                  </a:lnTo>
                  <a:cubicBezTo>
                    <a:pt x="4692" y="334"/>
                    <a:pt x="4763" y="263"/>
                    <a:pt x="4763" y="167"/>
                  </a:cubicBezTo>
                  <a:cubicBezTo>
                    <a:pt x="4763" y="72"/>
                    <a:pt x="4692" y="1"/>
                    <a:pt x="46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48" name="Google Shape;9948;p58"/>
          <p:cNvSpPr/>
          <p:nvPr/>
        </p:nvSpPr>
        <p:spPr>
          <a:xfrm>
            <a:off x="6340868" y="2770643"/>
            <a:ext cx="343335" cy="343303"/>
          </a:xfrm>
          <a:custGeom>
            <a:avLst/>
            <a:gdLst/>
            <a:ahLst/>
            <a:cxnLst/>
            <a:rect l="l" t="t" r="r" b="b"/>
            <a:pathLst>
              <a:path w="10812" h="10811" extrusionOk="0">
                <a:moveTo>
                  <a:pt x="2769" y="2858"/>
                </a:moveTo>
                <a:cubicBezTo>
                  <a:pt x="2830" y="2858"/>
                  <a:pt x="2892" y="2866"/>
                  <a:pt x="2954" y="2881"/>
                </a:cubicBezTo>
                <a:cubicBezTo>
                  <a:pt x="3251" y="2941"/>
                  <a:pt x="3489" y="3191"/>
                  <a:pt x="3549" y="3489"/>
                </a:cubicBezTo>
                <a:cubicBezTo>
                  <a:pt x="3608" y="3774"/>
                  <a:pt x="3501" y="4036"/>
                  <a:pt x="3275" y="4227"/>
                </a:cubicBezTo>
                <a:cubicBezTo>
                  <a:pt x="3132" y="4346"/>
                  <a:pt x="3037" y="4548"/>
                  <a:pt x="3037" y="4739"/>
                </a:cubicBezTo>
                <a:lnTo>
                  <a:pt x="3037" y="5084"/>
                </a:lnTo>
                <a:cubicBezTo>
                  <a:pt x="3037" y="5346"/>
                  <a:pt x="3263" y="5572"/>
                  <a:pt x="3525" y="5572"/>
                </a:cubicBezTo>
                <a:lnTo>
                  <a:pt x="5228" y="5572"/>
                </a:lnTo>
                <a:lnTo>
                  <a:pt x="5228" y="7263"/>
                </a:lnTo>
                <a:cubicBezTo>
                  <a:pt x="5228" y="7370"/>
                  <a:pt x="5156" y="7441"/>
                  <a:pt x="5049" y="7441"/>
                </a:cubicBezTo>
                <a:lnTo>
                  <a:pt x="4704" y="7441"/>
                </a:lnTo>
                <a:cubicBezTo>
                  <a:pt x="4597" y="7441"/>
                  <a:pt x="4513" y="7406"/>
                  <a:pt x="4442" y="7322"/>
                </a:cubicBezTo>
                <a:cubicBezTo>
                  <a:pt x="4225" y="7076"/>
                  <a:pt x="3925" y="6935"/>
                  <a:pt x="3599" y="6935"/>
                </a:cubicBezTo>
                <a:cubicBezTo>
                  <a:pt x="3532" y="6935"/>
                  <a:pt x="3463" y="6941"/>
                  <a:pt x="3394" y="6953"/>
                </a:cubicBezTo>
                <a:cubicBezTo>
                  <a:pt x="2965" y="7025"/>
                  <a:pt x="2620" y="7370"/>
                  <a:pt x="2537" y="7787"/>
                </a:cubicBezTo>
                <a:cubicBezTo>
                  <a:pt x="2453" y="8120"/>
                  <a:pt x="2549" y="8454"/>
                  <a:pt x="2751" y="8715"/>
                </a:cubicBezTo>
                <a:cubicBezTo>
                  <a:pt x="2965" y="8965"/>
                  <a:pt x="3275" y="9108"/>
                  <a:pt x="3608" y="9108"/>
                </a:cubicBezTo>
                <a:cubicBezTo>
                  <a:pt x="3930" y="9108"/>
                  <a:pt x="4227" y="8965"/>
                  <a:pt x="4442" y="8715"/>
                </a:cubicBezTo>
                <a:cubicBezTo>
                  <a:pt x="4501" y="8632"/>
                  <a:pt x="4585" y="8608"/>
                  <a:pt x="4692" y="8608"/>
                </a:cubicBezTo>
                <a:lnTo>
                  <a:pt x="5037" y="8608"/>
                </a:lnTo>
                <a:cubicBezTo>
                  <a:pt x="5132" y="8608"/>
                  <a:pt x="5216" y="8680"/>
                  <a:pt x="5216" y="8787"/>
                </a:cubicBezTo>
                <a:lnTo>
                  <a:pt x="5216" y="10501"/>
                </a:lnTo>
                <a:lnTo>
                  <a:pt x="846" y="10501"/>
                </a:lnTo>
                <a:cubicBezTo>
                  <a:pt x="572" y="10501"/>
                  <a:pt x="334" y="10263"/>
                  <a:pt x="334" y="9977"/>
                </a:cubicBezTo>
                <a:lnTo>
                  <a:pt x="334" y="5572"/>
                </a:lnTo>
                <a:lnTo>
                  <a:pt x="2025" y="5572"/>
                </a:lnTo>
                <a:cubicBezTo>
                  <a:pt x="2299" y="5572"/>
                  <a:pt x="2513" y="5346"/>
                  <a:pt x="2513" y="5084"/>
                </a:cubicBezTo>
                <a:lnTo>
                  <a:pt x="2513" y="4727"/>
                </a:lnTo>
                <a:cubicBezTo>
                  <a:pt x="2513" y="4513"/>
                  <a:pt x="2430" y="4334"/>
                  <a:pt x="2299" y="4215"/>
                </a:cubicBezTo>
                <a:cubicBezTo>
                  <a:pt x="2120" y="4072"/>
                  <a:pt x="2013" y="3858"/>
                  <a:pt x="2013" y="3620"/>
                </a:cubicBezTo>
                <a:cubicBezTo>
                  <a:pt x="2013" y="3381"/>
                  <a:pt x="2120" y="3179"/>
                  <a:pt x="2299" y="3024"/>
                </a:cubicBezTo>
                <a:cubicBezTo>
                  <a:pt x="2431" y="2919"/>
                  <a:pt x="2596" y="2858"/>
                  <a:pt x="2769" y="2858"/>
                </a:cubicBezTo>
                <a:close/>
                <a:moveTo>
                  <a:pt x="10014" y="298"/>
                </a:moveTo>
                <a:cubicBezTo>
                  <a:pt x="10300" y="298"/>
                  <a:pt x="10538" y="536"/>
                  <a:pt x="10538" y="822"/>
                </a:cubicBezTo>
                <a:lnTo>
                  <a:pt x="10538" y="5239"/>
                </a:lnTo>
                <a:lnTo>
                  <a:pt x="10312" y="5239"/>
                </a:lnTo>
                <a:cubicBezTo>
                  <a:pt x="10228" y="5239"/>
                  <a:pt x="10157" y="5322"/>
                  <a:pt x="10157" y="5406"/>
                </a:cubicBezTo>
                <a:cubicBezTo>
                  <a:pt x="10157" y="5501"/>
                  <a:pt x="10228" y="5572"/>
                  <a:pt x="10312" y="5572"/>
                </a:cubicBezTo>
                <a:lnTo>
                  <a:pt x="10490" y="5572"/>
                </a:lnTo>
                <a:lnTo>
                  <a:pt x="10490" y="9977"/>
                </a:lnTo>
                <a:cubicBezTo>
                  <a:pt x="10490" y="10263"/>
                  <a:pt x="10252" y="10501"/>
                  <a:pt x="9978" y="10501"/>
                </a:cubicBezTo>
                <a:lnTo>
                  <a:pt x="5573" y="10501"/>
                </a:lnTo>
                <a:lnTo>
                  <a:pt x="5573" y="8799"/>
                </a:lnTo>
                <a:cubicBezTo>
                  <a:pt x="5573" y="8537"/>
                  <a:pt x="5347" y="8311"/>
                  <a:pt x="5073" y="8311"/>
                </a:cubicBezTo>
                <a:lnTo>
                  <a:pt x="4739" y="8311"/>
                </a:lnTo>
                <a:cubicBezTo>
                  <a:pt x="4525" y="8311"/>
                  <a:pt x="4347" y="8394"/>
                  <a:pt x="4227" y="8537"/>
                </a:cubicBezTo>
                <a:cubicBezTo>
                  <a:pt x="4085" y="8715"/>
                  <a:pt x="3870" y="8811"/>
                  <a:pt x="3632" y="8811"/>
                </a:cubicBezTo>
                <a:cubicBezTo>
                  <a:pt x="3394" y="8811"/>
                  <a:pt x="3192" y="8715"/>
                  <a:pt x="3037" y="8537"/>
                </a:cubicBezTo>
                <a:cubicBezTo>
                  <a:pt x="2894" y="8358"/>
                  <a:pt x="2834" y="8120"/>
                  <a:pt x="2894" y="7882"/>
                </a:cubicBezTo>
                <a:cubicBezTo>
                  <a:pt x="2954" y="7584"/>
                  <a:pt x="3204" y="7346"/>
                  <a:pt x="3501" y="7287"/>
                </a:cubicBezTo>
                <a:cubicBezTo>
                  <a:pt x="3557" y="7275"/>
                  <a:pt x="3612" y="7269"/>
                  <a:pt x="3665" y="7269"/>
                </a:cubicBezTo>
                <a:cubicBezTo>
                  <a:pt x="3887" y="7269"/>
                  <a:pt x="4086" y="7367"/>
                  <a:pt x="4239" y="7549"/>
                </a:cubicBezTo>
                <a:cubicBezTo>
                  <a:pt x="4358" y="7703"/>
                  <a:pt x="4561" y="7787"/>
                  <a:pt x="4751" y="7787"/>
                </a:cubicBezTo>
                <a:lnTo>
                  <a:pt x="5097" y="7787"/>
                </a:lnTo>
                <a:cubicBezTo>
                  <a:pt x="5359" y="7787"/>
                  <a:pt x="5585" y="7561"/>
                  <a:pt x="5585" y="7299"/>
                </a:cubicBezTo>
                <a:lnTo>
                  <a:pt x="5585" y="5596"/>
                </a:lnTo>
                <a:lnTo>
                  <a:pt x="7275" y="5596"/>
                </a:lnTo>
                <a:cubicBezTo>
                  <a:pt x="7383" y="5596"/>
                  <a:pt x="7454" y="5679"/>
                  <a:pt x="7454" y="5775"/>
                </a:cubicBezTo>
                <a:lnTo>
                  <a:pt x="7454" y="6120"/>
                </a:lnTo>
                <a:cubicBezTo>
                  <a:pt x="7454" y="6227"/>
                  <a:pt x="7418" y="6310"/>
                  <a:pt x="7335" y="6394"/>
                </a:cubicBezTo>
                <a:cubicBezTo>
                  <a:pt x="7037" y="6644"/>
                  <a:pt x="6894" y="7025"/>
                  <a:pt x="6966" y="7430"/>
                </a:cubicBezTo>
                <a:cubicBezTo>
                  <a:pt x="7037" y="7858"/>
                  <a:pt x="7383" y="8203"/>
                  <a:pt x="7799" y="8299"/>
                </a:cubicBezTo>
                <a:cubicBezTo>
                  <a:pt x="7871" y="8311"/>
                  <a:pt x="7954" y="8323"/>
                  <a:pt x="8037" y="8323"/>
                </a:cubicBezTo>
                <a:cubicBezTo>
                  <a:pt x="8288" y="8323"/>
                  <a:pt x="8526" y="8239"/>
                  <a:pt x="8728" y="8084"/>
                </a:cubicBezTo>
                <a:cubicBezTo>
                  <a:pt x="8978" y="7882"/>
                  <a:pt x="9121" y="7561"/>
                  <a:pt x="9121" y="7239"/>
                </a:cubicBezTo>
                <a:cubicBezTo>
                  <a:pt x="9121" y="6906"/>
                  <a:pt x="8978" y="6608"/>
                  <a:pt x="8728" y="6406"/>
                </a:cubicBezTo>
                <a:cubicBezTo>
                  <a:pt x="8645" y="6346"/>
                  <a:pt x="8621" y="6251"/>
                  <a:pt x="8621" y="6132"/>
                </a:cubicBezTo>
                <a:lnTo>
                  <a:pt x="8621" y="5798"/>
                </a:lnTo>
                <a:cubicBezTo>
                  <a:pt x="8621" y="5691"/>
                  <a:pt x="8692" y="5620"/>
                  <a:pt x="8799" y="5620"/>
                </a:cubicBezTo>
                <a:lnTo>
                  <a:pt x="9645" y="5620"/>
                </a:lnTo>
                <a:cubicBezTo>
                  <a:pt x="9740" y="5620"/>
                  <a:pt x="9812" y="5536"/>
                  <a:pt x="9812" y="5453"/>
                </a:cubicBezTo>
                <a:cubicBezTo>
                  <a:pt x="9812" y="5358"/>
                  <a:pt x="9740" y="5286"/>
                  <a:pt x="9645" y="5286"/>
                </a:cubicBezTo>
                <a:lnTo>
                  <a:pt x="8799" y="5286"/>
                </a:lnTo>
                <a:cubicBezTo>
                  <a:pt x="8526" y="5286"/>
                  <a:pt x="8311" y="5513"/>
                  <a:pt x="8311" y="5775"/>
                </a:cubicBezTo>
                <a:lnTo>
                  <a:pt x="8311" y="6120"/>
                </a:lnTo>
                <a:cubicBezTo>
                  <a:pt x="8311" y="6334"/>
                  <a:pt x="8395" y="6513"/>
                  <a:pt x="8526" y="6632"/>
                </a:cubicBezTo>
                <a:cubicBezTo>
                  <a:pt x="8704" y="6775"/>
                  <a:pt x="8811" y="6989"/>
                  <a:pt x="8811" y="7227"/>
                </a:cubicBezTo>
                <a:cubicBezTo>
                  <a:pt x="8811" y="7465"/>
                  <a:pt x="8704" y="7668"/>
                  <a:pt x="8526" y="7822"/>
                </a:cubicBezTo>
                <a:cubicBezTo>
                  <a:pt x="8394" y="7928"/>
                  <a:pt x="8229" y="7988"/>
                  <a:pt x="8056" y="7988"/>
                </a:cubicBezTo>
                <a:cubicBezTo>
                  <a:pt x="7995" y="7988"/>
                  <a:pt x="7933" y="7981"/>
                  <a:pt x="7871" y="7965"/>
                </a:cubicBezTo>
                <a:cubicBezTo>
                  <a:pt x="7573" y="7906"/>
                  <a:pt x="7335" y="7656"/>
                  <a:pt x="7275" y="7358"/>
                </a:cubicBezTo>
                <a:cubicBezTo>
                  <a:pt x="7216" y="7072"/>
                  <a:pt x="7323" y="6810"/>
                  <a:pt x="7549" y="6608"/>
                </a:cubicBezTo>
                <a:cubicBezTo>
                  <a:pt x="7692" y="6489"/>
                  <a:pt x="7787" y="6298"/>
                  <a:pt x="7787" y="6108"/>
                </a:cubicBezTo>
                <a:lnTo>
                  <a:pt x="7787" y="5763"/>
                </a:lnTo>
                <a:cubicBezTo>
                  <a:pt x="7787" y="5501"/>
                  <a:pt x="7561" y="5275"/>
                  <a:pt x="7287" y="5275"/>
                </a:cubicBezTo>
                <a:lnTo>
                  <a:pt x="5597" y="5275"/>
                </a:lnTo>
                <a:lnTo>
                  <a:pt x="5597" y="3572"/>
                </a:lnTo>
                <a:cubicBezTo>
                  <a:pt x="5597" y="3477"/>
                  <a:pt x="5668" y="3393"/>
                  <a:pt x="5775" y="3393"/>
                </a:cubicBezTo>
                <a:lnTo>
                  <a:pt x="6121" y="3393"/>
                </a:lnTo>
                <a:cubicBezTo>
                  <a:pt x="6216" y="3393"/>
                  <a:pt x="6311" y="3441"/>
                  <a:pt x="6383" y="3512"/>
                </a:cubicBezTo>
                <a:cubicBezTo>
                  <a:pt x="6592" y="3762"/>
                  <a:pt x="6901" y="3911"/>
                  <a:pt x="7234" y="3911"/>
                </a:cubicBezTo>
                <a:cubicBezTo>
                  <a:pt x="7299" y="3911"/>
                  <a:pt x="7364" y="3905"/>
                  <a:pt x="7430" y="3893"/>
                </a:cubicBezTo>
                <a:cubicBezTo>
                  <a:pt x="7859" y="3810"/>
                  <a:pt x="8204" y="3477"/>
                  <a:pt x="8288" y="3060"/>
                </a:cubicBezTo>
                <a:cubicBezTo>
                  <a:pt x="8359" y="2727"/>
                  <a:pt x="8276" y="2381"/>
                  <a:pt x="8061" y="2131"/>
                </a:cubicBezTo>
                <a:cubicBezTo>
                  <a:pt x="7859" y="1881"/>
                  <a:pt x="7549" y="1726"/>
                  <a:pt x="7216" y="1726"/>
                </a:cubicBezTo>
                <a:cubicBezTo>
                  <a:pt x="6894" y="1726"/>
                  <a:pt x="6597" y="1881"/>
                  <a:pt x="6383" y="2131"/>
                </a:cubicBezTo>
                <a:cubicBezTo>
                  <a:pt x="6323" y="2203"/>
                  <a:pt x="6240" y="2238"/>
                  <a:pt x="6132" y="2238"/>
                </a:cubicBezTo>
                <a:lnTo>
                  <a:pt x="5787" y="2238"/>
                </a:lnTo>
                <a:cubicBezTo>
                  <a:pt x="5680" y="2238"/>
                  <a:pt x="5609" y="2167"/>
                  <a:pt x="5609" y="2060"/>
                </a:cubicBezTo>
                <a:lnTo>
                  <a:pt x="5609" y="1215"/>
                </a:lnTo>
                <a:cubicBezTo>
                  <a:pt x="5609" y="1119"/>
                  <a:pt x="5537" y="1048"/>
                  <a:pt x="5442" y="1048"/>
                </a:cubicBezTo>
                <a:cubicBezTo>
                  <a:pt x="5359" y="1048"/>
                  <a:pt x="5287" y="1119"/>
                  <a:pt x="5287" y="1215"/>
                </a:cubicBezTo>
                <a:lnTo>
                  <a:pt x="5287" y="2060"/>
                </a:lnTo>
                <a:cubicBezTo>
                  <a:pt x="5287" y="2322"/>
                  <a:pt x="5501" y="2548"/>
                  <a:pt x="5775" y="2548"/>
                </a:cubicBezTo>
                <a:lnTo>
                  <a:pt x="6121" y="2548"/>
                </a:lnTo>
                <a:cubicBezTo>
                  <a:pt x="6323" y="2548"/>
                  <a:pt x="6502" y="2465"/>
                  <a:pt x="6621" y="2322"/>
                </a:cubicBezTo>
                <a:cubicBezTo>
                  <a:pt x="6775" y="2143"/>
                  <a:pt x="6978" y="2048"/>
                  <a:pt x="7216" y="2048"/>
                </a:cubicBezTo>
                <a:cubicBezTo>
                  <a:pt x="7454" y="2048"/>
                  <a:pt x="7668" y="2143"/>
                  <a:pt x="7811" y="2322"/>
                </a:cubicBezTo>
                <a:cubicBezTo>
                  <a:pt x="7966" y="2500"/>
                  <a:pt x="8026" y="2739"/>
                  <a:pt x="7966" y="2977"/>
                </a:cubicBezTo>
                <a:cubicBezTo>
                  <a:pt x="7907" y="3274"/>
                  <a:pt x="7656" y="3512"/>
                  <a:pt x="7359" y="3572"/>
                </a:cubicBezTo>
                <a:cubicBezTo>
                  <a:pt x="7303" y="3584"/>
                  <a:pt x="7248" y="3589"/>
                  <a:pt x="7193" y="3589"/>
                </a:cubicBezTo>
                <a:cubicBezTo>
                  <a:pt x="6969" y="3589"/>
                  <a:pt x="6762" y="3492"/>
                  <a:pt x="6609" y="3310"/>
                </a:cubicBezTo>
                <a:cubicBezTo>
                  <a:pt x="6490" y="3155"/>
                  <a:pt x="6299" y="3072"/>
                  <a:pt x="6097" y="3072"/>
                </a:cubicBezTo>
                <a:lnTo>
                  <a:pt x="5763" y="3072"/>
                </a:lnTo>
                <a:cubicBezTo>
                  <a:pt x="5490" y="3072"/>
                  <a:pt x="5275" y="3298"/>
                  <a:pt x="5275" y="3560"/>
                </a:cubicBezTo>
                <a:lnTo>
                  <a:pt x="5275" y="5263"/>
                </a:lnTo>
                <a:lnTo>
                  <a:pt x="3573" y="5263"/>
                </a:lnTo>
                <a:cubicBezTo>
                  <a:pt x="3465" y="5263"/>
                  <a:pt x="3394" y="5179"/>
                  <a:pt x="3394" y="5084"/>
                </a:cubicBezTo>
                <a:lnTo>
                  <a:pt x="3394" y="4727"/>
                </a:lnTo>
                <a:cubicBezTo>
                  <a:pt x="3394" y="4620"/>
                  <a:pt x="3442" y="4524"/>
                  <a:pt x="3513" y="4453"/>
                </a:cubicBezTo>
                <a:cubicBezTo>
                  <a:pt x="3811" y="4203"/>
                  <a:pt x="3954" y="3810"/>
                  <a:pt x="3882" y="3417"/>
                </a:cubicBezTo>
                <a:cubicBezTo>
                  <a:pt x="3811" y="2977"/>
                  <a:pt x="3465" y="2643"/>
                  <a:pt x="3049" y="2548"/>
                </a:cubicBezTo>
                <a:cubicBezTo>
                  <a:pt x="2973" y="2531"/>
                  <a:pt x="2896" y="2523"/>
                  <a:pt x="2820" y="2523"/>
                </a:cubicBezTo>
                <a:cubicBezTo>
                  <a:pt x="2570" y="2523"/>
                  <a:pt x="2323" y="2610"/>
                  <a:pt x="2132" y="2774"/>
                </a:cubicBezTo>
                <a:cubicBezTo>
                  <a:pt x="1870" y="2977"/>
                  <a:pt x="1727" y="3298"/>
                  <a:pt x="1727" y="3620"/>
                </a:cubicBezTo>
                <a:cubicBezTo>
                  <a:pt x="1727" y="3941"/>
                  <a:pt x="1870" y="4239"/>
                  <a:pt x="2132" y="4453"/>
                </a:cubicBezTo>
                <a:cubicBezTo>
                  <a:pt x="2203" y="4513"/>
                  <a:pt x="2227" y="4608"/>
                  <a:pt x="2227" y="4703"/>
                </a:cubicBezTo>
                <a:lnTo>
                  <a:pt x="2227" y="5048"/>
                </a:lnTo>
                <a:cubicBezTo>
                  <a:pt x="2227" y="5155"/>
                  <a:pt x="2156" y="5227"/>
                  <a:pt x="2049" y="5227"/>
                </a:cubicBezTo>
                <a:lnTo>
                  <a:pt x="358" y="5227"/>
                </a:lnTo>
                <a:lnTo>
                  <a:pt x="358" y="822"/>
                </a:lnTo>
                <a:cubicBezTo>
                  <a:pt x="358" y="536"/>
                  <a:pt x="596" y="298"/>
                  <a:pt x="882" y="298"/>
                </a:cubicBezTo>
                <a:lnTo>
                  <a:pt x="5287" y="298"/>
                </a:lnTo>
                <a:lnTo>
                  <a:pt x="5287" y="476"/>
                </a:lnTo>
                <a:cubicBezTo>
                  <a:pt x="5287" y="572"/>
                  <a:pt x="5359" y="643"/>
                  <a:pt x="5442" y="643"/>
                </a:cubicBezTo>
                <a:cubicBezTo>
                  <a:pt x="5537" y="643"/>
                  <a:pt x="5609" y="572"/>
                  <a:pt x="5609" y="476"/>
                </a:cubicBezTo>
                <a:lnTo>
                  <a:pt x="5609" y="298"/>
                </a:lnTo>
                <a:close/>
                <a:moveTo>
                  <a:pt x="834" y="0"/>
                </a:moveTo>
                <a:cubicBezTo>
                  <a:pt x="370" y="0"/>
                  <a:pt x="1" y="381"/>
                  <a:pt x="1" y="834"/>
                </a:cubicBezTo>
                <a:lnTo>
                  <a:pt x="1" y="9977"/>
                </a:lnTo>
                <a:cubicBezTo>
                  <a:pt x="1" y="10442"/>
                  <a:pt x="370" y="10811"/>
                  <a:pt x="834" y="10811"/>
                </a:cubicBezTo>
                <a:lnTo>
                  <a:pt x="9978" y="10811"/>
                </a:lnTo>
                <a:cubicBezTo>
                  <a:pt x="10431" y="10811"/>
                  <a:pt x="10812" y="10442"/>
                  <a:pt x="10812" y="9977"/>
                </a:cubicBezTo>
                <a:lnTo>
                  <a:pt x="10812" y="834"/>
                </a:lnTo>
                <a:cubicBezTo>
                  <a:pt x="10812" y="381"/>
                  <a:pt x="10431" y="0"/>
                  <a:pt x="997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49" name="Google Shape;9949;p58"/>
          <p:cNvGrpSpPr/>
          <p:nvPr/>
        </p:nvGrpSpPr>
        <p:grpSpPr>
          <a:xfrm>
            <a:off x="6974158" y="2789537"/>
            <a:ext cx="255247" cy="327458"/>
            <a:chOff x="6974158" y="2789537"/>
            <a:chExt cx="255247" cy="327458"/>
          </a:xfrm>
        </p:grpSpPr>
        <p:sp>
          <p:nvSpPr>
            <p:cNvPr id="9950" name="Google Shape;9950;p58"/>
            <p:cNvSpPr/>
            <p:nvPr/>
          </p:nvSpPr>
          <p:spPr>
            <a:xfrm>
              <a:off x="7066407" y="2897282"/>
              <a:ext cx="9876" cy="14798"/>
            </a:xfrm>
            <a:custGeom>
              <a:avLst/>
              <a:gdLst/>
              <a:ahLst/>
              <a:cxnLst/>
              <a:rect l="l" t="t" r="r" b="b"/>
              <a:pathLst>
                <a:path w="311" h="466" extrusionOk="0">
                  <a:moveTo>
                    <a:pt x="144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322"/>
                  </a:lnTo>
                  <a:cubicBezTo>
                    <a:pt x="1" y="405"/>
                    <a:pt x="72" y="465"/>
                    <a:pt x="144" y="465"/>
                  </a:cubicBezTo>
                  <a:cubicBezTo>
                    <a:pt x="227" y="465"/>
                    <a:pt x="299" y="394"/>
                    <a:pt x="299" y="322"/>
                  </a:cubicBezTo>
                  <a:lnTo>
                    <a:pt x="299" y="155"/>
                  </a:lnTo>
                  <a:cubicBezTo>
                    <a:pt x="310" y="60"/>
                    <a:pt x="239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1" name="Google Shape;9951;p58"/>
            <p:cNvSpPr/>
            <p:nvPr/>
          </p:nvSpPr>
          <p:spPr>
            <a:xfrm>
              <a:off x="7127662" y="2897282"/>
              <a:ext cx="9495" cy="14798"/>
            </a:xfrm>
            <a:custGeom>
              <a:avLst/>
              <a:gdLst/>
              <a:ahLst/>
              <a:cxnLst/>
              <a:rect l="l" t="t" r="r" b="b"/>
              <a:pathLst>
                <a:path w="299" h="466" extrusionOk="0">
                  <a:moveTo>
                    <a:pt x="155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322"/>
                  </a:lnTo>
                  <a:cubicBezTo>
                    <a:pt x="1" y="405"/>
                    <a:pt x="84" y="465"/>
                    <a:pt x="155" y="465"/>
                  </a:cubicBezTo>
                  <a:cubicBezTo>
                    <a:pt x="227" y="465"/>
                    <a:pt x="298" y="394"/>
                    <a:pt x="298" y="322"/>
                  </a:cubicBezTo>
                  <a:lnTo>
                    <a:pt x="298" y="155"/>
                  </a:lnTo>
                  <a:cubicBezTo>
                    <a:pt x="298" y="60"/>
                    <a:pt x="239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2" name="Google Shape;9952;p58"/>
            <p:cNvSpPr/>
            <p:nvPr/>
          </p:nvSpPr>
          <p:spPr>
            <a:xfrm>
              <a:off x="7081935" y="2933292"/>
              <a:ext cx="40837" cy="14703"/>
            </a:xfrm>
            <a:custGeom>
              <a:avLst/>
              <a:gdLst/>
              <a:ahLst/>
              <a:cxnLst/>
              <a:rect l="l" t="t" r="r" b="b"/>
              <a:pathLst>
                <a:path w="1286" h="463" extrusionOk="0">
                  <a:moveTo>
                    <a:pt x="162" y="1"/>
                  </a:moveTo>
                  <a:cubicBezTo>
                    <a:pt x="125" y="1"/>
                    <a:pt x="89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191" y="391"/>
                    <a:pt x="417" y="462"/>
                    <a:pt x="655" y="462"/>
                  </a:cubicBezTo>
                  <a:cubicBezTo>
                    <a:pt x="893" y="462"/>
                    <a:pt x="1119" y="391"/>
                    <a:pt x="1250" y="260"/>
                  </a:cubicBezTo>
                  <a:cubicBezTo>
                    <a:pt x="1286" y="200"/>
                    <a:pt x="1286" y="105"/>
                    <a:pt x="1226" y="45"/>
                  </a:cubicBezTo>
                  <a:cubicBezTo>
                    <a:pt x="1197" y="16"/>
                    <a:pt x="1158" y="1"/>
                    <a:pt x="1119" y="1"/>
                  </a:cubicBezTo>
                  <a:cubicBezTo>
                    <a:pt x="1081" y="1"/>
                    <a:pt x="1042" y="16"/>
                    <a:pt x="1012" y="45"/>
                  </a:cubicBezTo>
                  <a:cubicBezTo>
                    <a:pt x="953" y="105"/>
                    <a:pt x="822" y="164"/>
                    <a:pt x="643" y="164"/>
                  </a:cubicBezTo>
                  <a:cubicBezTo>
                    <a:pt x="464" y="164"/>
                    <a:pt x="310" y="105"/>
                    <a:pt x="274" y="45"/>
                  </a:cubicBezTo>
                  <a:cubicBezTo>
                    <a:pt x="238" y="16"/>
                    <a:pt x="199" y="1"/>
                    <a:pt x="1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3" name="Google Shape;9953;p58"/>
            <p:cNvSpPr/>
            <p:nvPr/>
          </p:nvSpPr>
          <p:spPr>
            <a:xfrm>
              <a:off x="6974158" y="2789537"/>
              <a:ext cx="255247" cy="327458"/>
            </a:xfrm>
            <a:custGeom>
              <a:avLst/>
              <a:gdLst/>
              <a:ahLst/>
              <a:cxnLst/>
              <a:rect l="l" t="t" r="r" b="b"/>
              <a:pathLst>
                <a:path w="8038" h="10312" extrusionOk="0">
                  <a:moveTo>
                    <a:pt x="6228" y="2167"/>
                  </a:moveTo>
                  <a:lnTo>
                    <a:pt x="6132" y="3239"/>
                  </a:lnTo>
                  <a:lnTo>
                    <a:pt x="6121" y="3239"/>
                  </a:lnTo>
                  <a:cubicBezTo>
                    <a:pt x="6025" y="3239"/>
                    <a:pt x="5942" y="3156"/>
                    <a:pt x="5942" y="3060"/>
                  </a:cubicBezTo>
                  <a:lnTo>
                    <a:pt x="5942" y="2227"/>
                  </a:lnTo>
                  <a:cubicBezTo>
                    <a:pt x="6049" y="2227"/>
                    <a:pt x="6132" y="2191"/>
                    <a:pt x="6228" y="2167"/>
                  </a:cubicBezTo>
                  <a:close/>
                  <a:moveTo>
                    <a:pt x="5787" y="322"/>
                  </a:moveTo>
                  <a:cubicBezTo>
                    <a:pt x="6240" y="322"/>
                    <a:pt x="6609" y="691"/>
                    <a:pt x="6609" y="1131"/>
                  </a:cubicBezTo>
                  <a:cubicBezTo>
                    <a:pt x="6609" y="1584"/>
                    <a:pt x="6240" y="1953"/>
                    <a:pt x="5787" y="1953"/>
                  </a:cubicBezTo>
                  <a:cubicBezTo>
                    <a:pt x="5490" y="1953"/>
                    <a:pt x="5228" y="1786"/>
                    <a:pt x="5073" y="1536"/>
                  </a:cubicBezTo>
                  <a:cubicBezTo>
                    <a:pt x="5048" y="1487"/>
                    <a:pt x="4996" y="1455"/>
                    <a:pt x="4942" y="1455"/>
                  </a:cubicBezTo>
                  <a:cubicBezTo>
                    <a:pt x="4918" y="1455"/>
                    <a:pt x="4893" y="1462"/>
                    <a:pt x="4870" y="1477"/>
                  </a:cubicBezTo>
                  <a:cubicBezTo>
                    <a:pt x="4799" y="1524"/>
                    <a:pt x="4763" y="1608"/>
                    <a:pt x="4811" y="1691"/>
                  </a:cubicBezTo>
                  <a:cubicBezTo>
                    <a:pt x="4823" y="1703"/>
                    <a:pt x="4823" y="1715"/>
                    <a:pt x="4835" y="1727"/>
                  </a:cubicBezTo>
                  <a:cubicBezTo>
                    <a:pt x="4775" y="1763"/>
                    <a:pt x="4716" y="1786"/>
                    <a:pt x="4656" y="1786"/>
                  </a:cubicBezTo>
                  <a:cubicBezTo>
                    <a:pt x="4477" y="1786"/>
                    <a:pt x="4335" y="1643"/>
                    <a:pt x="4335" y="1465"/>
                  </a:cubicBezTo>
                  <a:cubicBezTo>
                    <a:pt x="4335" y="1370"/>
                    <a:pt x="4263" y="1310"/>
                    <a:pt x="4180" y="1310"/>
                  </a:cubicBezTo>
                  <a:cubicBezTo>
                    <a:pt x="4108" y="1310"/>
                    <a:pt x="4037" y="1393"/>
                    <a:pt x="4037" y="1465"/>
                  </a:cubicBezTo>
                  <a:cubicBezTo>
                    <a:pt x="4037" y="1810"/>
                    <a:pt x="4323" y="2108"/>
                    <a:pt x="4680" y="2108"/>
                  </a:cubicBezTo>
                  <a:cubicBezTo>
                    <a:pt x="4811" y="2108"/>
                    <a:pt x="4942" y="2060"/>
                    <a:pt x="5061" y="1965"/>
                  </a:cubicBezTo>
                  <a:cubicBezTo>
                    <a:pt x="5228" y="2120"/>
                    <a:pt x="5442" y="2227"/>
                    <a:pt x="5668" y="2251"/>
                  </a:cubicBezTo>
                  <a:lnTo>
                    <a:pt x="5668" y="3072"/>
                  </a:lnTo>
                  <a:cubicBezTo>
                    <a:pt x="5668" y="3334"/>
                    <a:pt x="5882" y="3548"/>
                    <a:pt x="6144" y="3548"/>
                  </a:cubicBezTo>
                  <a:lnTo>
                    <a:pt x="6382" y="3548"/>
                  </a:lnTo>
                  <a:cubicBezTo>
                    <a:pt x="6454" y="3548"/>
                    <a:pt x="6513" y="3572"/>
                    <a:pt x="6573" y="3632"/>
                  </a:cubicBezTo>
                  <a:cubicBezTo>
                    <a:pt x="6621" y="3691"/>
                    <a:pt x="6656" y="3751"/>
                    <a:pt x="6633" y="3834"/>
                  </a:cubicBezTo>
                  <a:cubicBezTo>
                    <a:pt x="6621" y="3953"/>
                    <a:pt x="6502" y="4049"/>
                    <a:pt x="6371" y="4049"/>
                  </a:cubicBezTo>
                  <a:lnTo>
                    <a:pt x="6299" y="4049"/>
                  </a:lnTo>
                  <a:lnTo>
                    <a:pt x="6299" y="4037"/>
                  </a:lnTo>
                  <a:cubicBezTo>
                    <a:pt x="6299" y="3953"/>
                    <a:pt x="6216" y="3894"/>
                    <a:pt x="6144" y="3894"/>
                  </a:cubicBezTo>
                  <a:cubicBezTo>
                    <a:pt x="6061" y="3894"/>
                    <a:pt x="6001" y="3965"/>
                    <a:pt x="6001" y="4037"/>
                  </a:cubicBezTo>
                  <a:cubicBezTo>
                    <a:pt x="6001" y="5108"/>
                    <a:pt x="5120" y="5977"/>
                    <a:pt x="4049" y="5977"/>
                  </a:cubicBezTo>
                  <a:cubicBezTo>
                    <a:pt x="2953" y="5977"/>
                    <a:pt x="2084" y="5096"/>
                    <a:pt x="2084" y="4025"/>
                  </a:cubicBezTo>
                  <a:cubicBezTo>
                    <a:pt x="2084" y="3929"/>
                    <a:pt x="2013" y="3870"/>
                    <a:pt x="1941" y="3870"/>
                  </a:cubicBezTo>
                  <a:cubicBezTo>
                    <a:pt x="1858" y="3870"/>
                    <a:pt x="1787" y="3953"/>
                    <a:pt x="1787" y="4025"/>
                  </a:cubicBezTo>
                  <a:lnTo>
                    <a:pt x="1787" y="4037"/>
                  </a:lnTo>
                  <a:lnTo>
                    <a:pt x="1703" y="4037"/>
                  </a:lnTo>
                  <a:cubicBezTo>
                    <a:pt x="1620" y="4037"/>
                    <a:pt x="1560" y="4013"/>
                    <a:pt x="1501" y="3953"/>
                  </a:cubicBezTo>
                  <a:cubicBezTo>
                    <a:pt x="1465" y="3894"/>
                    <a:pt x="1429" y="3834"/>
                    <a:pt x="1441" y="3751"/>
                  </a:cubicBezTo>
                  <a:cubicBezTo>
                    <a:pt x="1465" y="3632"/>
                    <a:pt x="1584" y="3537"/>
                    <a:pt x="1715" y="3537"/>
                  </a:cubicBezTo>
                  <a:lnTo>
                    <a:pt x="1941" y="3537"/>
                  </a:lnTo>
                  <a:cubicBezTo>
                    <a:pt x="2203" y="3537"/>
                    <a:pt x="2418" y="3322"/>
                    <a:pt x="2418" y="3060"/>
                  </a:cubicBezTo>
                  <a:lnTo>
                    <a:pt x="2418" y="2358"/>
                  </a:lnTo>
                  <a:cubicBezTo>
                    <a:pt x="2418" y="2084"/>
                    <a:pt x="2632" y="1870"/>
                    <a:pt x="2906" y="1870"/>
                  </a:cubicBezTo>
                  <a:lnTo>
                    <a:pt x="3525" y="1870"/>
                  </a:lnTo>
                  <a:cubicBezTo>
                    <a:pt x="3620" y="1870"/>
                    <a:pt x="3680" y="1786"/>
                    <a:pt x="3680" y="1715"/>
                  </a:cubicBezTo>
                  <a:cubicBezTo>
                    <a:pt x="3680" y="1632"/>
                    <a:pt x="3608" y="1572"/>
                    <a:pt x="3525" y="1572"/>
                  </a:cubicBezTo>
                  <a:lnTo>
                    <a:pt x="2906" y="1572"/>
                  </a:lnTo>
                  <a:cubicBezTo>
                    <a:pt x="2477" y="1572"/>
                    <a:pt x="2120" y="1929"/>
                    <a:pt x="2120" y="2358"/>
                  </a:cubicBezTo>
                  <a:lnTo>
                    <a:pt x="2120" y="3060"/>
                  </a:lnTo>
                  <a:cubicBezTo>
                    <a:pt x="2120" y="3144"/>
                    <a:pt x="2037" y="3239"/>
                    <a:pt x="1941" y="3239"/>
                  </a:cubicBezTo>
                  <a:lnTo>
                    <a:pt x="1906" y="3239"/>
                  </a:lnTo>
                  <a:lnTo>
                    <a:pt x="1739" y="1572"/>
                  </a:lnTo>
                  <a:cubicBezTo>
                    <a:pt x="1715" y="1251"/>
                    <a:pt x="1822" y="929"/>
                    <a:pt x="2025" y="691"/>
                  </a:cubicBezTo>
                  <a:cubicBezTo>
                    <a:pt x="2239" y="453"/>
                    <a:pt x="2549" y="322"/>
                    <a:pt x="2870" y="322"/>
                  </a:cubicBezTo>
                  <a:close/>
                  <a:moveTo>
                    <a:pt x="5013" y="6013"/>
                  </a:moveTo>
                  <a:lnTo>
                    <a:pt x="5013" y="6537"/>
                  </a:lnTo>
                  <a:cubicBezTo>
                    <a:pt x="5013" y="6823"/>
                    <a:pt x="5204" y="7073"/>
                    <a:pt x="5478" y="7144"/>
                  </a:cubicBezTo>
                  <a:lnTo>
                    <a:pt x="5740" y="7227"/>
                  </a:lnTo>
                  <a:cubicBezTo>
                    <a:pt x="5668" y="7478"/>
                    <a:pt x="5537" y="7716"/>
                    <a:pt x="5370" y="7906"/>
                  </a:cubicBezTo>
                  <a:cubicBezTo>
                    <a:pt x="5311" y="7966"/>
                    <a:pt x="5323" y="8073"/>
                    <a:pt x="5382" y="8120"/>
                  </a:cubicBezTo>
                  <a:cubicBezTo>
                    <a:pt x="5418" y="8144"/>
                    <a:pt x="5442" y="8156"/>
                    <a:pt x="5490" y="8156"/>
                  </a:cubicBezTo>
                  <a:cubicBezTo>
                    <a:pt x="5537" y="8156"/>
                    <a:pt x="5585" y="8144"/>
                    <a:pt x="5609" y="8120"/>
                  </a:cubicBezTo>
                  <a:cubicBezTo>
                    <a:pt x="5823" y="7882"/>
                    <a:pt x="5966" y="7608"/>
                    <a:pt x="6061" y="7311"/>
                  </a:cubicBezTo>
                  <a:lnTo>
                    <a:pt x="6382" y="7418"/>
                  </a:lnTo>
                  <a:cubicBezTo>
                    <a:pt x="6204" y="7906"/>
                    <a:pt x="5930" y="8335"/>
                    <a:pt x="5525" y="8668"/>
                  </a:cubicBezTo>
                  <a:cubicBezTo>
                    <a:pt x="5085" y="9013"/>
                    <a:pt x="4573" y="9204"/>
                    <a:pt x="4001" y="9204"/>
                  </a:cubicBezTo>
                  <a:cubicBezTo>
                    <a:pt x="3442" y="9204"/>
                    <a:pt x="2918" y="9025"/>
                    <a:pt x="2489" y="8668"/>
                  </a:cubicBezTo>
                  <a:cubicBezTo>
                    <a:pt x="2096" y="8359"/>
                    <a:pt x="1810" y="7918"/>
                    <a:pt x="1668" y="7442"/>
                  </a:cubicBezTo>
                  <a:lnTo>
                    <a:pt x="2001" y="7347"/>
                  </a:lnTo>
                  <a:cubicBezTo>
                    <a:pt x="2108" y="7739"/>
                    <a:pt x="2358" y="8097"/>
                    <a:pt x="2680" y="8370"/>
                  </a:cubicBezTo>
                  <a:cubicBezTo>
                    <a:pt x="3049" y="8668"/>
                    <a:pt x="3513" y="8847"/>
                    <a:pt x="4001" y="8847"/>
                  </a:cubicBezTo>
                  <a:cubicBezTo>
                    <a:pt x="4382" y="8847"/>
                    <a:pt x="4739" y="8751"/>
                    <a:pt x="5049" y="8561"/>
                  </a:cubicBezTo>
                  <a:cubicBezTo>
                    <a:pt x="5120" y="8513"/>
                    <a:pt x="5132" y="8430"/>
                    <a:pt x="5109" y="8359"/>
                  </a:cubicBezTo>
                  <a:cubicBezTo>
                    <a:pt x="5077" y="8304"/>
                    <a:pt x="5031" y="8280"/>
                    <a:pt x="4979" y="8280"/>
                  </a:cubicBezTo>
                  <a:cubicBezTo>
                    <a:pt x="4952" y="8280"/>
                    <a:pt x="4923" y="8287"/>
                    <a:pt x="4894" y="8299"/>
                  </a:cubicBezTo>
                  <a:cubicBezTo>
                    <a:pt x="4632" y="8442"/>
                    <a:pt x="4311" y="8537"/>
                    <a:pt x="4001" y="8537"/>
                  </a:cubicBezTo>
                  <a:cubicBezTo>
                    <a:pt x="3215" y="8537"/>
                    <a:pt x="2513" y="8001"/>
                    <a:pt x="2299" y="7239"/>
                  </a:cubicBezTo>
                  <a:lnTo>
                    <a:pt x="2596" y="7144"/>
                  </a:lnTo>
                  <a:cubicBezTo>
                    <a:pt x="2858" y="7073"/>
                    <a:pt x="3049" y="6823"/>
                    <a:pt x="3049" y="6537"/>
                  </a:cubicBezTo>
                  <a:lnTo>
                    <a:pt x="3049" y="6013"/>
                  </a:lnTo>
                  <a:cubicBezTo>
                    <a:pt x="3346" y="6168"/>
                    <a:pt x="3680" y="6239"/>
                    <a:pt x="4037" y="6239"/>
                  </a:cubicBezTo>
                  <a:cubicBezTo>
                    <a:pt x="4394" y="6239"/>
                    <a:pt x="4716" y="6168"/>
                    <a:pt x="5013" y="6013"/>
                  </a:cubicBezTo>
                  <a:close/>
                  <a:moveTo>
                    <a:pt x="2870" y="0"/>
                  </a:moveTo>
                  <a:cubicBezTo>
                    <a:pt x="2477" y="0"/>
                    <a:pt x="2084" y="179"/>
                    <a:pt x="1799" y="477"/>
                  </a:cubicBezTo>
                  <a:cubicBezTo>
                    <a:pt x="1537" y="774"/>
                    <a:pt x="1406" y="1179"/>
                    <a:pt x="1429" y="1596"/>
                  </a:cubicBezTo>
                  <a:lnTo>
                    <a:pt x="1596" y="3251"/>
                  </a:lnTo>
                  <a:cubicBezTo>
                    <a:pt x="1358" y="3298"/>
                    <a:pt x="1144" y="3489"/>
                    <a:pt x="1132" y="3739"/>
                  </a:cubicBezTo>
                  <a:cubicBezTo>
                    <a:pt x="1120" y="3894"/>
                    <a:pt x="1168" y="4049"/>
                    <a:pt x="1263" y="4168"/>
                  </a:cubicBezTo>
                  <a:cubicBezTo>
                    <a:pt x="1370" y="4287"/>
                    <a:pt x="1525" y="4346"/>
                    <a:pt x="1680" y="4346"/>
                  </a:cubicBezTo>
                  <a:lnTo>
                    <a:pt x="1799" y="4346"/>
                  </a:lnTo>
                  <a:cubicBezTo>
                    <a:pt x="1894" y="4989"/>
                    <a:pt x="2251" y="5525"/>
                    <a:pt x="2739" y="5882"/>
                  </a:cubicBezTo>
                  <a:lnTo>
                    <a:pt x="2739" y="6585"/>
                  </a:lnTo>
                  <a:cubicBezTo>
                    <a:pt x="2739" y="6727"/>
                    <a:pt x="2632" y="6870"/>
                    <a:pt x="2501" y="6894"/>
                  </a:cubicBezTo>
                  <a:lnTo>
                    <a:pt x="810" y="7406"/>
                  </a:lnTo>
                  <a:cubicBezTo>
                    <a:pt x="322" y="7537"/>
                    <a:pt x="1" y="7978"/>
                    <a:pt x="1" y="8478"/>
                  </a:cubicBezTo>
                  <a:lnTo>
                    <a:pt x="1" y="10168"/>
                  </a:lnTo>
                  <a:cubicBezTo>
                    <a:pt x="1" y="10252"/>
                    <a:pt x="72" y="10311"/>
                    <a:pt x="144" y="10311"/>
                  </a:cubicBezTo>
                  <a:cubicBezTo>
                    <a:pt x="227" y="10311"/>
                    <a:pt x="298" y="10240"/>
                    <a:pt x="298" y="10168"/>
                  </a:cubicBezTo>
                  <a:lnTo>
                    <a:pt x="298" y="8466"/>
                  </a:lnTo>
                  <a:cubicBezTo>
                    <a:pt x="298" y="8109"/>
                    <a:pt x="537" y="7787"/>
                    <a:pt x="882" y="7680"/>
                  </a:cubicBezTo>
                  <a:lnTo>
                    <a:pt x="1370" y="7537"/>
                  </a:lnTo>
                  <a:cubicBezTo>
                    <a:pt x="1513" y="8073"/>
                    <a:pt x="1846" y="8549"/>
                    <a:pt x="2275" y="8906"/>
                  </a:cubicBezTo>
                  <a:cubicBezTo>
                    <a:pt x="2751" y="9287"/>
                    <a:pt x="3358" y="9502"/>
                    <a:pt x="3989" y="9502"/>
                  </a:cubicBezTo>
                  <a:cubicBezTo>
                    <a:pt x="4608" y="9502"/>
                    <a:pt x="5204" y="9287"/>
                    <a:pt x="5704" y="8906"/>
                  </a:cubicBezTo>
                  <a:cubicBezTo>
                    <a:pt x="6144" y="8549"/>
                    <a:pt x="6454" y="8073"/>
                    <a:pt x="6621" y="7537"/>
                  </a:cubicBezTo>
                  <a:lnTo>
                    <a:pt x="7144" y="7680"/>
                  </a:lnTo>
                  <a:cubicBezTo>
                    <a:pt x="7490" y="7787"/>
                    <a:pt x="7728" y="8097"/>
                    <a:pt x="7728" y="8466"/>
                  </a:cubicBezTo>
                  <a:lnTo>
                    <a:pt x="7728" y="10168"/>
                  </a:lnTo>
                  <a:cubicBezTo>
                    <a:pt x="7728" y="10252"/>
                    <a:pt x="7799" y="10311"/>
                    <a:pt x="7871" y="10311"/>
                  </a:cubicBezTo>
                  <a:cubicBezTo>
                    <a:pt x="7966" y="10311"/>
                    <a:pt x="8026" y="10240"/>
                    <a:pt x="8026" y="10168"/>
                  </a:cubicBezTo>
                  <a:lnTo>
                    <a:pt x="8026" y="8466"/>
                  </a:lnTo>
                  <a:cubicBezTo>
                    <a:pt x="8037" y="7966"/>
                    <a:pt x="7716" y="7525"/>
                    <a:pt x="7240" y="7382"/>
                  </a:cubicBezTo>
                  <a:lnTo>
                    <a:pt x="5537" y="6882"/>
                  </a:lnTo>
                  <a:cubicBezTo>
                    <a:pt x="5406" y="6835"/>
                    <a:pt x="5299" y="6704"/>
                    <a:pt x="5299" y="6573"/>
                  </a:cubicBezTo>
                  <a:lnTo>
                    <a:pt x="5299" y="5870"/>
                  </a:lnTo>
                  <a:cubicBezTo>
                    <a:pt x="5811" y="5525"/>
                    <a:pt x="6168" y="4977"/>
                    <a:pt x="6240" y="4334"/>
                  </a:cubicBezTo>
                  <a:lnTo>
                    <a:pt x="6323" y="4334"/>
                  </a:lnTo>
                  <a:cubicBezTo>
                    <a:pt x="6621" y="4334"/>
                    <a:pt x="6871" y="4108"/>
                    <a:pt x="6906" y="3846"/>
                  </a:cubicBezTo>
                  <a:cubicBezTo>
                    <a:pt x="6918" y="3691"/>
                    <a:pt x="6871" y="3525"/>
                    <a:pt x="6775" y="3417"/>
                  </a:cubicBezTo>
                  <a:cubicBezTo>
                    <a:pt x="6680" y="3322"/>
                    <a:pt x="6561" y="3251"/>
                    <a:pt x="6442" y="3239"/>
                  </a:cubicBezTo>
                  <a:lnTo>
                    <a:pt x="6549" y="1941"/>
                  </a:lnTo>
                  <a:cubicBezTo>
                    <a:pt x="6775" y="1727"/>
                    <a:pt x="6906" y="1453"/>
                    <a:pt x="6906" y="1120"/>
                  </a:cubicBezTo>
                  <a:cubicBezTo>
                    <a:pt x="6906" y="512"/>
                    <a:pt x="6394" y="0"/>
                    <a:pt x="5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4" name="Google Shape;9954;p58"/>
            <p:cNvSpPr/>
            <p:nvPr/>
          </p:nvSpPr>
          <p:spPr>
            <a:xfrm>
              <a:off x="7061135" y="2881785"/>
              <a:ext cx="20069" cy="9495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55"/>
                  </a:cubicBezTo>
                  <a:cubicBezTo>
                    <a:pt x="0" y="227"/>
                    <a:pt x="72" y="298"/>
                    <a:pt x="155" y="298"/>
                  </a:cubicBezTo>
                  <a:lnTo>
                    <a:pt x="476" y="298"/>
                  </a:lnTo>
                  <a:cubicBezTo>
                    <a:pt x="560" y="298"/>
                    <a:pt x="631" y="227"/>
                    <a:pt x="631" y="155"/>
                  </a:cubicBezTo>
                  <a:cubicBezTo>
                    <a:pt x="631" y="72"/>
                    <a:pt x="572" y="1"/>
                    <a:pt x="4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5" name="Google Shape;9955;p58"/>
            <p:cNvSpPr/>
            <p:nvPr/>
          </p:nvSpPr>
          <p:spPr>
            <a:xfrm>
              <a:off x="7122740" y="2881785"/>
              <a:ext cx="19688" cy="9495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4" y="1"/>
                  </a:moveTo>
                  <a:cubicBezTo>
                    <a:pt x="60" y="1"/>
                    <a:pt x="1" y="72"/>
                    <a:pt x="1" y="155"/>
                  </a:cubicBezTo>
                  <a:cubicBezTo>
                    <a:pt x="1" y="227"/>
                    <a:pt x="72" y="298"/>
                    <a:pt x="144" y="298"/>
                  </a:cubicBezTo>
                  <a:lnTo>
                    <a:pt x="477" y="298"/>
                  </a:lnTo>
                  <a:cubicBezTo>
                    <a:pt x="560" y="298"/>
                    <a:pt x="620" y="227"/>
                    <a:pt x="620" y="155"/>
                  </a:cubicBezTo>
                  <a:cubicBezTo>
                    <a:pt x="620" y="72"/>
                    <a:pt x="560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56" name="Google Shape;9956;p58"/>
          <p:cNvGrpSpPr/>
          <p:nvPr/>
        </p:nvGrpSpPr>
        <p:grpSpPr>
          <a:xfrm>
            <a:off x="7530697" y="2790299"/>
            <a:ext cx="244291" cy="326314"/>
            <a:chOff x="7530697" y="2790299"/>
            <a:chExt cx="244291" cy="326314"/>
          </a:xfrm>
        </p:grpSpPr>
        <p:sp>
          <p:nvSpPr>
            <p:cNvPr id="9957" name="Google Shape;9957;p58"/>
            <p:cNvSpPr/>
            <p:nvPr/>
          </p:nvSpPr>
          <p:spPr>
            <a:xfrm>
              <a:off x="7616911" y="2907507"/>
              <a:ext cx="9463" cy="14385"/>
            </a:xfrm>
            <a:custGeom>
              <a:avLst/>
              <a:gdLst/>
              <a:ahLst/>
              <a:cxnLst/>
              <a:rect l="l" t="t" r="r" b="b"/>
              <a:pathLst>
                <a:path w="298" h="453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310"/>
                  </a:lnTo>
                  <a:cubicBezTo>
                    <a:pt x="0" y="393"/>
                    <a:pt x="72" y="453"/>
                    <a:pt x="155" y="453"/>
                  </a:cubicBezTo>
                  <a:cubicBezTo>
                    <a:pt x="227" y="453"/>
                    <a:pt x="298" y="381"/>
                    <a:pt x="298" y="310"/>
                  </a:cubicBezTo>
                  <a:lnTo>
                    <a:pt x="298" y="143"/>
                  </a:lnTo>
                  <a:cubicBezTo>
                    <a:pt x="298" y="72"/>
                    <a:pt x="23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8" name="Google Shape;9958;p58"/>
            <p:cNvSpPr/>
            <p:nvPr/>
          </p:nvSpPr>
          <p:spPr>
            <a:xfrm>
              <a:off x="7678548" y="2907507"/>
              <a:ext cx="9463" cy="14385"/>
            </a:xfrm>
            <a:custGeom>
              <a:avLst/>
              <a:gdLst/>
              <a:ahLst/>
              <a:cxnLst/>
              <a:rect l="l" t="t" r="r" b="b"/>
              <a:pathLst>
                <a:path w="298" h="453" extrusionOk="0">
                  <a:moveTo>
                    <a:pt x="143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310"/>
                  </a:lnTo>
                  <a:cubicBezTo>
                    <a:pt x="0" y="393"/>
                    <a:pt x="72" y="453"/>
                    <a:pt x="143" y="453"/>
                  </a:cubicBezTo>
                  <a:cubicBezTo>
                    <a:pt x="214" y="453"/>
                    <a:pt x="298" y="381"/>
                    <a:pt x="298" y="310"/>
                  </a:cubicBezTo>
                  <a:lnTo>
                    <a:pt x="298" y="143"/>
                  </a:lnTo>
                  <a:cubicBezTo>
                    <a:pt x="298" y="72"/>
                    <a:pt x="238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9" name="Google Shape;9959;p58"/>
            <p:cNvSpPr/>
            <p:nvPr/>
          </p:nvSpPr>
          <p:spPr>
            <a:xfrm>
              <a:off x="7632408" y="2943136"/>
              <a:ext cx="40869" cy="14671"/>
            </a:xfrm>
            <a:custGeom>
              <a:avLst/>
              <a:gdLst/>
              <a:ahLst/>
              <a:cxnLst/>
              <a:rect l="l" t="t" r="r" b="b"/>
              <a:pathLst>
                <a:path w="1287" h="462" extrusionOk="0">
                  <a:moveTo>
                    <a:pt x="167" y="0"/>
                  </a:moveTo>
                  <a:cubicBezTo>
                    <a:pt x="129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203" y="390"/>
                    <a:pt x="417" y="462"/>
                    <a:pt x="655" y="462"/>
                  </a:cubicBezTo>
                  <a:cubicBezTo>
                    <a:pt x="893" y="462"/>
                    <a:pt x="1120" y="390"/>
                    <a:pt x="1251" y="259"/>
                  </a:cubicBezTo>
                  <a:cubicBezTo>
                    <a:pt x="1286" y="212"/>
                    <a:pt x="1286" y="104"/>
                    <a:pt x="1227" y="45"/>
                  </a:cubicBezTo>
                  <a:cubicBezTo>
                    <a:pt x="1197" y="15"/>
                    <a:pt x="1158" y="0"/>
                    <a:pt x="1120" y="0"/>
                  </a:cubicBezTo>
                  <a:cubicBezTo>
                    <a:pt x="1081" y="0"/>
                    <a:pt x="1042" y="15"/>
                    <a:pt x="1013" y="45"/>
                  </a:cubicBezTo>
                  <a:cubicBezTo>
                    <a:pt x="953" y="104"/>
                    <a:pt x="822" y="164"/>
                    <a:pt x="643" y="164"/>
                  </a:cubicBezTo>
                  <a:cubicBezTo>
                    <a:pt x="465" y="164"/>
                    <a:pt x="322" y="104"/>
                    <a:pt x="274" y="45"/>
                  </a:cubicBezTo>
                  <a:cubicBezTo>
                    <a:pt x="245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0" name="Google Shape;9960;p58"/>
            <p:cNvSpPr/>
            <p:nvPr/>
          </p:nvSpPr>
          <p:spPr>
            <a:xfrm>
              <a:off x="7530697" y="2790299"/>
              <a:ext cx="244291" cy="326314"/>
            </a:xfrm>
            <a:custGeom>
              <a:avLst/>
              <a:gdLst/>
              <a:ahLst/>
              <a:cxnLst/>
              <a:rect l="l" t="t" r="r" b="b"/>
              <a:pathLst>
                <a:path w="7693" h="10276" extrusionOk="0">
                  <a:moveTo>
                    <a:pt x="3846" y="298"/>
                  </a:moveTo>
                  <a:cubicBezTo>
                    <a:pt x="5275" y="298"/>
                    <a:pt x="6442" y="1453"/>
                    <a:pt x="6442" y="2882"/>
                  </a:cubicBezTo>
                  <a:lnTo>
                    <a:pt x="6442" y="4013"/>
                  </a:lnTo>
                  <a:cubicBezTo>
                    <a:pt x="6442" y="4846"/>
                    <a:pt x="6633" y="5489"/>
                    <a:pt x="6799" y="5870"/>
                  </a:cubicBezTo>
                  <a:cubicBezTo>
                    <a:pt x="6811" y="5918"/>
                    <a:pt x="6811" y="5965"/>
                    <a:pt x="6799" y="6001"/>
                  </a:cubicBezTo>
                  <a:cubicBezTo>
                    <a:pt x="6775" y="6049"/>
                    <a:pt x="6752" y="6084"/>
                    <a:pt x="6704" y="6096"/>
                  </a:cubicBezTo>
                  <a:cubicBezTo>
                    <a:pt x="6359" y="6227"/>
                    <a:pt x="5692" y="6489"/>
                    <a:pt x="4978" y="6632"/>
                  </a:cubicBezTo>
                  <a:lnTo>
                    <a:pt x="4978" y="6132"/>
                  </a:lnTo>
                  <a:cubicBezTo>
                    <a:pt x="5644" y="5739"/>
                    <a:pt x="6109" y="5013"/>
                    <a:pt x="6109" y="4179"/>
                  </a:cubicBezTo>
                  <a:lnTo>
                    <a:pt x="6109" y="3536"/>
                  </a:lnTo>
                  <a:cubicBezTo>
                    <a:pt x="6109" y="3108"/>
                    <a:pt x="5751" y="2751"/>
                    <a:pt x="5323" y="2751"/>
                  </a:cubicBezTo>
                  <a:lnTo>
                    <a:pt x="5073" y="2751"/>
                  </a:lnTo>
                  <a:lnTo>
                    <a:pt x="4311" y="1989"/>
                  </a:lnTo>
                  <a:cubicBezTo>
                    <a:pt x="4282" y="1960"/>
                    <a:pt x="4249" y="1944"/>
                    <a:pt x="4214" y="1944"/>
                  </a:cubicBezTo>
                  <a:cubicBezTo>
                    <a:pt x="4191" y="1944"/>
                    <a:pt x="4168" y="1951"/>
                    <a:pt x="4144" y="1965"/>
                  </a:cubicBezTo>
                  <a:cubicBezTo>
                    <a:pt x="4085" y="1989"/>
                    <a:pt x="4061" y="2036"/>
                    <a:pt x="4061" y="2096"/>
                  </a:cubicBezTo>
                  <a:lnTo>
                    <a:pt x="4061" y="2751"/>
                  </a:lnTo>
                  <a:lnTo>
                    <a:pt x="3239" y="2751"/>
                  </a:lnTo>
                  <a:cubicBezTo>
                    <a:pt x="3144" y="2751"/>
                    <a:pt x="3084" y="2822"/>
                    <a:pt x="3084" y="2893"/>
                  </a:cubicBezTo>
                  <a:cubicBezTo>
                    <a:pt x="3084" y="2965"/>
                    <a:pt x="3168" y="3048"/>
                    <a:pt x="3239" y="3048"/>
                  </a:cubicBezTo>
                  <a:lnTo>
                    <a:pt x="4204" y="3048"/>
                  </a:lnTo>
                  <a:cubicBezTo>
                    <a:pt x="4299" y="3048"/>
                    <a:pt x="4358" y="2965"/>
                    <a:pt x="4358" y="2893"/>
                  </a:cubicBezTo>
                  <a:lnTo>
                    <a:pt x="4358" y="2453"/>
                  </a:lnTo>
                  <a:lnTo>
                    <a:pt x="4906" y="3001"/>
                  </a:lnTo>
                  <a:cubicBezTo>
                    <a:pt x="4930" y="3024"/>
                    <a:pt x="4966" y="3048"/>
                    <a:pt x="5013" y="3048"/>
                  </a:cubicBezTo>
                  <a:lnTo>
                    <a:pt x="5335" y="3048"/>
                  </a:lnTo>
                  <a:cubicBezTo>
                    <a:pt x="5609" y="3048"/>
                    <a:pt x="5823" y="3263"/>
                    <a:pt x="5823" y="3536"/>
                  </a:cubicBezTo>
                  <a:lnTo>
                    <a:pt x="5823" y="4179"/>
                  </a:lnTo>
                  <a:cubicBezTo>
                    <a:pt x="5823" y="5251"/>
                    <a:pt x="4954" y="6132"/>
                    <a:pt x="3882" y="6132"/>
                  </a:cubicBezTo>
                  <a:cubicBezTo>
                    <a:pt x="2811" y="6132"/>
                    <a:pt x="1930" y="5251"/>
                    <a:pt x="1930" y="4179"/>
                  </a:cubicBezTo>
                  <a:lnTo>
                    <a:pt x="1930" y="3536"/>
                  </a:lnTo>
                  <a:cubicBezTo>
                    <a:pt x="1930" y="3263"/>
                    <a:pt x="2156" y="3048"/>
                    <a:pt x="2418" y="3048"/>
                  </a:cubicBezTo>
                  <a:lnTo>
                    <a:pt x="2584" y="3048"/>
                  </a:lnTo>
                  <a:cubicBezTo>
                    <a:pt x="2668" y="3048"/>
                    <a:pt x="2727" y="2965"/>
                    <a:pt x="2727" y="2893"/>
                  </a:cubicBezTo>
                  <a:cubicBezTo>
                    <a:pt x="2727" y="2822"/>
                    <a:pt x="2656" y="2751"/>
                    <a:pt x="2584" y="2751"/>
                  </a:cubicBezTo>
                  <a:lnTo>
                    <a:pt x="2418" y="2751"/>
                  </a:lnTo>
                  <a:cubicBezTo>
                    <a:pt x="1989" y="2751"/>
                    <a:pt x="1632" y="3108"/>
                    <a:pt x="1632" y="3536"/>
                  </a:cubicBezTo>
                  <a:lnTo>
                    <a:pt x="1632" y="4179"/>
                  </a:lnTo>
                  <a:cubicBezTo>
                    <a:pt x="1632" y="5013"/>
                    <a:pt x="2096" y="5739"/>
                    <a:pt x="2763" y="6132"/>
                  </a:cubicBezTo>
                  <a:lnTo>
                    <a:pt x="2763" y="6632"/>
                  </a:lnTo>
                  <a:cubicBezTo>
                    <a:pt x="2001" y="6465"/>
                    <a:pt x="1334" y="6227"/>
                    <a:pt x="989" y="6096"/>
                  </a:cubicBezTo>
                  <a:cubicBezTo>
                    <a:pt x="941" y="6084"/>
                    <a:pt x="918" y="6049"/>
                    <a:pt x="906" y="6001"/>
                  </a:cubicBezTo>
                  <a:cubicBezTo>
                    <a:pt x="882" y="5965"/>
                    <a:pt x="882" y="5918"/>
                    <a:pt x="906" y="5870"/>
                  </a:cubicBezTo>
                  <a:cubicBezTo>
                    <a:pt x="1060" y="5489"/>
                    <a:pt x="1263" y="4846"/>
                    <a:pt x="1263" y="4013"/>
                  </a:cubicBezTo>
                  <a:lnTo>
                    <a:pt x="1263" y="2882"/>
                  </a:lnTo>
                  <a:cubicBezTo>
                    <a:pt x="1263" y="1453"/>
                    <a:pt x="2418" y="298"/>
                    <a:pt x="3846" y="298"/>
                  </a:cubicBezTo>
                  <a:close/>
                  <a:moveTo>
                    <a:pt x="4632" y="6275"/>
                  </a:moveTo>
                  <a:lnTo>
                    <a:pt x="4632" y="6787"/>
                  </a:lnTo>
                  <a:cubicBezTo>
                    <a:pt x="4632" y="7025"/>
                    <a:pt x="4739" y="7239"/>
                    <a:pt x="4918" y="7394"/>
                  </a:cubicBezTo>
                  <a:cubicBezTo>
                    <a:pt x="4894" y="7442"/>
                    <a:pt x="4858" y="7477"/>
                    <a:pt x="4835" y="7513"/>
                  </a:cubicBezTo>
                  <a:cubicBezTo>
                    <a:pt x="4787" y="7573"/>
                    <a:pt x="4787" y="7680"/>
                    <a:pt x="4858" y="7715"/>
                  </a:cubicBezTo>
                  <a:cubicBezTo>
                    <a:pt x="4894" y="7739"/>
                    <a:pt x="4918" y="7751"/>
                    <a:pt x="4954" y="7751"/>
                  </a:cubicBezTo>
                  <a:cubicBezTo>
                    <a:pt x="4989" y="7751"/>
                    <a:pt x="5037" y="7739"/>
                    <a:pt x="5073" y="7692"/>
                  </a:cubicBezTo>
                  <a:cubicBezTo>
                    <a:pt x="5109" y="7632"/>
                    <a:pt x="5156" y="7584"/>
                    <a:pt x="5192" y="7525"/>
                  </a:cubicBezTo>
                  <a:lnTo>
                    <a:pt x="5525" y="7644"/>
                  </a:lnTo>
                  <a:cubicBezTo>
                    <a:pt x="4918" y="8573"/>
                    <a:pt x="4299" y="8894"/>
                    <a:pt x="3882" y="9001"/>
                  </a:cubicBezTo>
                  <a:cubicBezTo>
                    <a:pt x="3864" y="9007"/>
                    <a:pt x="3849" y="9010"/>
                    <a:pt x="3835" y="9010"/>
                  </a:cubicBezTo>
                  <a:cubicBezTo>
                    <a:pt x="3820" y="9010"/>
                    <a:pt x="3805" y="9007"/>
                    <a:pt x="3787" y="9001"/>
                  </a:cubicBezTo>
                  <a:cubicBezTo>
                    <a:pt x="3370" y="8882"/>
                    <a:pt x="2751" y="8549"/>
                    <a:pt x="2120" y="7644"/>
                  </a:cubicBezTo>
                  <a:lnTo>
                    <a:pt x="2465" y="7525"/>
                  </a:lnTo>
                  <a:cubicBezTo>
                    <a:pt x="2763" y="7942"/>
                    <a:pt x="3204" y="8442"/>
                    <a:pt x="3787" y="8644"/>
                  </a:cubicBezTo>
                  <a:cubicBezTo>
                    <a:pt x="3799" y="8644"/>
                    <a:pt x="3823" y="8656"/>
                    <a:pt x="3835" y="8656"/>
                  </a:cubicBezTo>
                  <a:cubicBezTo>
                    <a:pt x="3846" y="8656"/>
                    <a:pt x="3858" y="8656"/>
                    <a:pt x="3882" y="8644"/>
                  </a:cubicBezTo>
                  <a:cubicBezTo>
                    <a:pt x="4144" y="8549"/>
                    <a:pt x="4418" y="8382"/>
                    <a:pt x="4668" y="8132"/>
                  </a:cubicBezTo>
                  <a:cubicBezTo>
                    <a:pt x="4728" y="8073"/>
                    <a:pt x="4728" y="7989"/>
                    <a:pt x="4668" y="7930"/>
                  </a:cubicBezTo>
                  <a:cubicBezTo>
                    <a:pt x="4638" y="7900"/>
                    <a:pt x="4600" y="7885"/>
                    <a:pt x="4561" y="7885"/>
                  </a:cubicBezTo>
                  <a:cubicBezTo>
                    <a:pt x="4522" y="7885"/>
                    <a:pt x="4483" y="7900"/>
                    <a:pt x="4454" y="7930"/>
                  </a:cubicBezTo>
                  <a:cubicBezTo>
                    <a:pt x="4251" y="8120"/>
                    <a:pt x="4025" y="8275"/>
                    <a:pt x="3823" y="8346"/>
                  </a:cubicBezTo>
                  <a:cubicBezTo>
                    <a:pt x="3358" y="8168"/>
                    <a:pt x="2965" y="7751"/>
                    <a:pt x="2715" y="7394"/>
                  </a:cubicBezTo>
                  <a:cubicBezTo>
                    <a:pt x="2894" y="7239"/>
                    <a:pt x="3001" y="7025"/>
                    <a:pt x="3001" y="6787"/>
                  </a:cubicBezTo>
                  <a:lnTo>
                    <a:pt x="3001" y="6275"/>
                  </a:lnTo>
                  <a:cubicBezTo>
                    <a:pt x="3251" y="6382"/>
                    <a:pt x="3525" y="6430"/>
                    <a:pt x="3823" y="6430"/>
                  </a:cubicBezTo>
                  <a:cubicBezTo>
                    <a:pt x="4120" y="6430"/>
                    <a:pt x="4382" y="6370"/>
                    <a:pt x="4632" y="6275"/>
                  </a:cubicBezTo>
                  <a:close/>
                  <a:moveTo>
                    <a:pt x="3846" y="0"/>
                  </a:moveTo>
                  <a:cubicBezTo>
                    <a:pt x="2251" y="0"/>
                    <a:pt x="953" y="1286"/>
                    <a:pt x="953" y="2882"/>
                  </a:cubicBezTo>
                  <a:lnTo>
                    <a:pt x="953" y="4013"/>
                  </a:lnTo>
                  <a:cubicBezTo>
                    <a:pt x="953" y="4846"/>
                    <a:pt x="751" y="5453"/>
                    <a:pt x="632" y="5775"/>
                  </a:cubicBezTo>
                  <a:cubicBezTo>
                    <a:pt x="584" y="5894"/>
                    <a:pt x="584" y="6013"/>
                    <a:pt x="632" y="6132"/>
                  </a:cubicBezTo>
                  <a:cubicBezTo>
                    <a:pt x="679" y="6251"/>
                    <a:pt x="775" y="6334"/>
                    <a:pt x="894" y="6382"/>
                  </a:cubicBezTo>
                  <a:cubicBezTo>
                    <a:pt x="1251" y="6525"/>
                    <a:pt x="1965" y="6787"/>
                    <a:pt x="2715" y="6930"/>
                  </a:cubicBezTo>
                  <a:cubicBezTo>
                    <a:pt x="2668" y="7084"/>
                    <a:pt x="2549" y="7180"/>
                    <a:pt x="2418" y="7239"/>
                  </a:cubicBezTo>
                  <a:lnTo>
                    <a:pt x="751" y="7823"/>
                  </a:lnTo>
                  <a:cubicBezTo>
                    <a:pt x="298" y="7989"/>
                    <a:pt x="1" y="8406"/>
                    <a:pt x="1" y="8882"/>
                  </a:cubicBezTo>
                  <a:lnTo>
                    <a:pt x="1" y="10132"/>
                  </a:lnTo>
                  <a:cubicBezTo>
                    <a:pt x="1" y="10216"/>
                    <a:pt x="84" y="10275"/>
                    <a:pt x="156" y="10275"/>
                  </a:cubicBezTo>
                  <a:cubicBezTo>
                    <a:pt x="227" y="10275"/>
                    <a:pt x="298" y="10204"/>
                    <a:pt x="298" y="10132"/>
                  </a:cubicBezTo>
                  <a:lnTo>
                    <a:pt x="298" y="8882"/>
                  </a:lnTo>
                  <a:cubicBezTo>
                    <a:pt x="298" y="8775"/>
                    <a:pt x="322" y="8692"/>
                    <a:pt x="358" y="8597"/>
                  </a:cubicBezTo>
                  <a:lnTo>
                    <a:pt x="1120" y="9251"/>
                  </a:lnTo>
                  <a:cubicBezTo>
                    <a:pt x="1227" y="9347"/>
                    <a:pt x="1299" y="9478"/>
                    <a:pt x="1299" y="9620"/>
                  </a:cubicBezTo>
                  <a:lnTo>
                    <a:pt x="1299" y="10132"/>
                  </a:lnTo>
                  <a:cubicBezTo>
                    <a:pt x="1299" y="10216"/>
                    <a:pt x="1370" y="10275"/>
                    <a:pt x="1453" y="10275"/>
                  </a:cubicBezTo>
                  <a:cubicBezTo>
                    <a:pt x="1525" y="10275"/>
                    <a:pt x="1596" y="10204"/>
                    <a:pt x="1596" y="10132"/>
                  </a:cubicBezTo>
                  <a:lnTo>
                    <a:pt x="1596" y="9609"/>
                  </a:lnTo>
                  <a:cubicBezTo>
                    <a:pt x="1596" y="9370"/>
                    <a:pt x="1489" y="9168"/>
                    <a:pt x="1310" y="9001"/>
                  </a:cubicBezTo>
                  <a:lnTo>
                    <a:pt x="513" y="8311"/>
                  </a:lnTo>
                  <a:cubicBezTo>
                    <a:pt x="596" y="8216"/>
                    <a:pt x="715" y="8132"/>
                    <a:pt x="834" y="8085"/>
                  </a:cubicBezTo>
                  <a:lnTo>
                    <a:pt x="1846" y="7739"/>
                  </a:lnTo>
                  <a:cubicBezTo>
                    <a:pt x="2537" y="8775"/>
                    <a:pt x="3251" y="9144"/>
                    <a:pt x="3727" y="9275"/>
                  </a:cubicBezTo>
                  <a:cubicBezTo>
                    <a:pt x="3775" y="9299"/>
                    <a:pt x="3799" y="9299"/>
                    <a:pt x="3846" y="9299"/>
                  </a:cubicBezTo>
                  <a:cubicBezTo>
                    <a:pt x="3894" y="9299"/>
                    <a:pt x="3930" y="9299"/>
                    <a:pt x="3966" y="9275"/>
                  </a:cubicBezTo>
                  <a:cubicBezTo>
                    <a:pt x="4442" y="9144"/>
                    <a:pt x="5156" y="8775"/>
                    <a:pt x="5835" y="7739"/>
                  </a:cubicBezTo>
                  <a:lnTo>
                    <a:pt x="6847" y="8085"/>
                  </a:lnTo>
                  <a:cubicBezTo>
                    <a:pt x="6990" y="8132"/>
                    <a:pt x="7085" y="8216"/>
                    <a:pt x="7180" y="8311"/>
                  </a:cubicBezTo>
                  <a:lnTo>
                    <a:pt x="6371" y="9001"/>
                  </a:lnTo>
                  <a:cubicBezTo>
                    <a:pt x="6192" y="9144"/>
                    <a:pt x="6097" y="9370"/>
                    <a:pt x="6097" y="9609"/>
                  </a:cubicBezTo>
                  <a:lnTo>
                    <a:pt x="6097" y="10120"/>
                  </a:lnTo>
                  <a:cubicBezTo>
                    <a:pt x="6097" y="10204"/>
                    <a:pt x="6168" y="10263"/>
                    <a:pt x="6240" y="10263"/>
                  </a:cubicBezTo>
                  <a:cubicBezTo>
                    <a:pt x="6311" y="10263"/>
                    <a:pt x="6394" y="10192"/>
                    <a:pt x="6394" y="10120"/>
                  </a:cubicBezTo>
                  <a:lnTo>
                    <a:pt x="6394" y="9609"/>
                  </a:lnTo>
                  <a:cubicBezTo>
                    <a:pt x="6394" y="9466"/>
                    <a:pt x="6454" y="9323"/>
                    <a:pt x="6573" y="9239"/>
                  </a:cubicBezTo>
                  <a:lnTo>
                    <a:pt x="7323" y="8585"/>
                  </a:lnTo>
                  <a:cubicBezTo>
                    <a:pt x="7359" y="8668"/>
                    <a:pt x="7383" y="8775"/>
                    <a:pt x="7383" y="8870"/>
                  </a:cubicBezTo>
                  <a:lnTo>
                    <a:pt x="7383" y="10120"/>
                  </a:lnTo>
                  <a:cubicBezTo>
                    <a:pt x="7383" y="10204"/>
                    <a:pt x="7466" y="10263"/>
                    <a:pt x="7537" y="10263"/>
                  </a:cubicBezTo>
                  <a:cubicBezTo>
                    <a:pt x="7609" y="10263"/>
                    <a:pt x="7680" y="10192"/>
                    <a:pt x="7680" y="10120"/>
                  </a:cubicBezTo>
                  <a:lnTo>
                    <a:pt x="7680" y="8870"/>
                  </a:lnTo>
                  <a:cubicBezTo>
                    <a:pt x="7692" y="8406"/>
                    <a:pt x="7395" y="7977"/>
                    <a:pt x="6942" y="7823"/>
                  </a:cubicBezTo>
                  <a:lnTo>
                    <a:pt x="5275" y="7239"/>
                  </a:lnTo>
                  <a:cubicBezTo>
                    <a:pt x="5132" y="7203"/>
                    <a:pt x="5025" y="7084"/>
                    <a:pt x="4978" y="6930"/>
                  </a:cubicBezTo>
                  <a:cubicBezTo>
                    <a:pt x="5740" y="6787"/>
                    <a:pt x="6442" y="6513"/>
                    <a:pt x="6799" y="6382"/>
                  </a:cubicBezTo>
                  <a:cubicBezTo>
                    <a:pt x="6918" y="6334"/>
                    <a:pt x="7002" y="6251"/>
                    <a:pt x="7061" y="6132"/>
                  </a:cubicBezTo>
                  <a:cubicBezTo>
                    <a:pt x="7109" y="6013"/>
                    <a:pt x="7109" y="5894"/>
                    <a:pt x="7061" y="5775"/>
                  </a:cubicBezTo>
                  <a:cubicBezTo>
                    <a:pt x="6942" y="5477"/>
                    <a:pt x="6740" y="4846"/>
                    <a:pt x="6740" y="4013"/>
                  </a:cubicBezTo>
                  <a:lnTo>
                    <a:pt x="6740" y="2882"/>
                  </a:lnTo>
                  <a:cubicBezTo>
                    <a:pt x="6740" y="1286"/>
                    <a:pt x="5442" y="0"/>
                    <a:pt x="3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1" name="Google Shape;9961;p58"/>
            <p:cNvSpPr/>
            <p:nvPr/>
          </p:nvSpPr>
          <p:spPr>
            <a:xfrm>
              <a:off x="7611608" y="2891630"/>
              <a:ext cx="20069" cy="9463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55" y="0"/>
                  </a:moveTo>
                  <a:cubicBezTo>
                    <a:pt x="60" y="0"/>
                    <a:pt x="1" y="83"/>
                    <a:pt x="1" y="155"/>
                  </a:cubicBezTo>
                  <a:cubicBezTo>
                    <a:pt x="1" y="226"/>
                    <a:pt x="84" y="298"/>
                    <a:pt x="155" y="298"/>
                  </a:cubicBezTo>
                  <a:lnTo>
                    <a:pt x="477" y="298"/>
                  </a:lnTo>
                  <a:cubicBezTo>
                    <a:pt x="572" y="298"/>
                    <a:pt x="632" y="226"/>
                    <a:pt x="632" y="155"/>
                  </a:cubicBezTo>
                  <a:cubicBezTo>
                    <a:pt x="632" y="83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2" name="Google Shape;9962;p58"/>
            <p:cNvSpPr/>
            <p:nvPr/>
          </p:nvSpPr>
          <p:spPr>
            <a:xfrm>
              <a:off x="7673245" y="2891630"/>
              <a:ext cx="19688" cy="9463"/>
            </a:xfrm>
            <a:custGeom>
              <a:avLst/>
              <a:gdLst/>
              <a:ahLst/>
              <a:cxnLst/>
              <a:rect l="l" t="t" r="r" b="b"/>
              <a:pathLst>
                <a:path w="620" h="298" extrusionOk="0">
                  <a:moveTo>
                    <a:pt x="143" y="0"/>
                  </a:moveTo>
                  <a:cubicBezTo>
                    <a:pt x="60" y="0"/>
                    <a:pt x="0" y="83"/>
                    <a:pt x="0" y="155"/>
                  </a:cubicBezTo>
                  <a:cubicBezTo>
                    <a:pt x="0" y="226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60" y="298"/>
                    <a:pt x="620" y="226"/>
                    <a:pt x="620" y="155"/>
                  </a:cubicBezTo>
                  <a:cubicBezTo>
                    <a:pt x="620" y="83"/>
                    <a:pt x="548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63" name="Google Shape;9963;p58"/>
          <p:cNvGrpSpPr/>
          <p:nvPr/>
        </p:nvGrpSpPr>
        <p:grpSpPr>
          <a:xfrm>
            <a:off x="7988191" y="2832248"/>
            <a:ext cx="332348" cy="283985"/>
            <a:chOff x="7988191" y="2832248"/>
            <a:chExt cx="332348" cy="283985"/>
          </a:xfrm>
        </p:grpSpPr>
        <p:sp>
          <p:nvSpPr>
            <p:cNvPr id="9964" name="Google Shape;9964;p58"/>
            <p:cNvSpPr/>
            <p:nvPr/>
          </p:nvSpPr>
          <p:spPr>
            <a:xfrm>
              <a:off x="8046398" y="2894646"/>
              <a:ext cx="40869" cy="45759"/>
            </a:xfrm>
            <a:custGeom>
              <a:avLst/>
              <a:gdLst/>
              <a:ahLst/>
              <a:cxnLst/>
              <a:rect l="l" t="t" r="r" b="b"/>
              <a:pathLst>
                <a:path w="1287" h="1441" extrusionOk="0">
                  <a:moveTo>
                    <a:pt x="644" y="0"/>
                  </a:moveTo>
                  <a:cubicBezTo>
                    <a:pt x="287" y="0"/>
                    <a:pt x="1" y="286"/>
                    <a:pt x="1" y="643"/>
                  </a:cubicBezTo>
                  <a:lnTo>
                    <a:pt x="1" y="798"/>
                  </a:lnTo>
                  <a:cubicBezTo>
                    <a:pt x="1" y="1155"/>
                    <a:pt x="287" y="1441"/>
                    <a:pt x="644" y="1441"/>
                  </a:cubicBezTo>
                  <a:cubicBezTo>
                    <a:pt x="1001" y="1441"/>
                    <a:pt x="1287" y="1155"/>
                    <a:pt x="1287" y="798"/>
                  </a:cubicBezTo>
                  <a:lnTo>
                    <a:pt x="1287" y="643"/>
                  </a:lnTo>
                  <a:cubicBezTo>
                    <a:pt x="1287" y="548"/>
                    <a:pt x="1215" y="488"/>
                    <a:pt x="1132" y="488"/>
                  </a:cubicBezTo>
                  <a:cubicBezTo>
                    <a:pt x="1049" y="488"/>
                    <a:pt x="989" y="560"/>
                    <a:pt x="989" y="643"/>
                  </a:cubicBezTo>
                  <a:lnTo>
                    <a:pt x="989" y="798"/>
                  </a:lnTo>
                  <a:cubicBezTo>
                    <a:pt x="989" y="977"/>
                    <a:pt x="834" y="1143"/>
                    <a:pt x="644" y="1143"/>
                  </a:cubicBezTo>
                  <a:cubicBezTo>
                    <a:pt x="453" y="1143"/>
                    <a:pt x="299" y="1000"/>
                    <a:pt x="299" y="798"/>
                  </a:cubicBezTo>
                  <a:lnTo>
                    <a:pt x="299" y="643"/>
                  </a:lnTo>
                  <a:cubicBezTo>
                    <a:pt x="299" y="465"/>
                    <a:pt x="453" y="298"/>
                    <a:pt x="644" y="298"/>
                  </a:cubicBezTo>
                  <a:cubicBezTo>
                    <a:pt x="739" y="298"/>
                    <a:pt x="799" y="227"/>
                    <a:pt x="799" y="143"/>
                  </a:cubicBezTo>
                  <a:cubicBezTo>
                    <a:pt x="799" y="60"/>
                    <a:pt x="715" y="0"/>
                    <a:pt x="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5" name="Google Shape;9965;p58"/>
            <p:cNvSpPr/>
            <p:nvPr/>
          </p:nvSpPr>
          <p:spPr>
            <a:xfrm>
              <a:off x="7988191" y="2832248"/>
              <a:ext cx="332348" cy="283985"/>
            </a:xfrm>
            <a:custGeom>
              <a:avLst/>
              <a:gdLst/>
              <a:ahLst/>
              <a:cxnLst/>
              <a:rect l="l" t="t" r="r" b="b"/>
              <a:pathLst>
                <a:path w="10466" h="8943" extrusionOk="0">
                  <a:moveTo>
                    <a:pt x="929" y="2942"/>
                  </a:moveTo>
                  <a:lnTo>
                    <a:pt x="929" y="2942"/>
                  </a:lnTo>
                  <a:cubicBezTo>
                    <a:pt x="905" y="3037"/>
                    <a:pt x="881" y="3144"/>
                    <a:pt x="869" y="3227"/>
                  </a:cubicBezTo>
                  <a:cubicBezTo>
                    <a:pt x="858" y="3299"/>
                    <a:pt x="858" y="3358"/>
                    <a:pt x="858" y="3418"/>
                  </a:cubicBezTo>
                  <a:lnTo>
                    <a:pt x="488" y="3120"/>
                  </a:lnTo>
                  <a:lnTo>
                    <a:pt x="929" y="2942"/>
                  </a:lnTo>
                  <a:close/>
                  <a:moveTo>
                    <a:pt x="4156" y="310"/>
                  </a:moveTo>
                  <a:lnTo>
                    <a:pt x="3894" y="668"/>
                  </a:lnTo>
                  <a:cubicBezTo>
                    <a:pt x="3858" y="715"/>
                    <a:pt x="3846" y="763"/>
                    <a:pt x="3858" y="822"/>
                  </a:cubicBezTo>
                  <a:cubicBezTo>
                    <a:pt x="3882" y="882"/>
                    <a:pt x="3917" y="906"/>
                    <a:pt x="3965" y="918"/>
                  </a:cubicBezTo>
                  <a:cubicBezTo>
                    <a:pt x="4608" y="1072"/>
                    <a:pt x="5168" y="1489"/>
                    <a:pt x="5549" y="2084"/>
                  </a:cubicBezTo>
                  <a:cubicBezTo>
                    <a:pt x="5965" y="2751"/>
                    <a:pt x="6418" y="3287"/>
                    <a:pt x="6894" y="3656"/>
                  </a:cubicBezTo>
                  <a:cubicBezTo>
                    <a:pt x="7287" y="3977"/>
                    <a:pt x="7692" y="4168"/>
                    <a:pt x="8085" y="4275"/>
                  </a:cubicBezTo>
                  <a:cubicBezTo>
                    <a:pt x="8288" y="4321"/>
                    <a:pt x="8455" y="4339"/>
                    <a:pt x="8603" y="4339"/>
                  </a:cubicBezTo>
                  <a:cubicBezTo>
                    <a:pt x="8646" y="4339"/>
                    <a:pt x="8687" y="4337"/>
                    <a:pt x="8728" y="4335"/>
                  </a:cubicBezTo>
                  <a:lnTo>
                    <a:pt x="8728" y="4335"/>
                  </a:lnTo>
                  <a:cubicBezTo>
                    <a:pt x="8168" y="4847"/>
                    <a:pt x="7585" y="5204"/>
                    <a:pt x="7037" y="5406"/>
                  </a:cubicBezTo>
                  <a:cubicBezTo>
                    <a:pt x="6732" y="5508"/>
                    <a:pt x="6437" y="5559"/>
                    <a:pt x="6158" y="5559"/>
                  </a:cubicBezTo>
                  <a:cubicBezTo>
                    <a:pt x="5914" y="5559"/>
                    <a:pt x="5682" y="5520"/>
                    <a:pt x="5465" y="5442"/>
                  </a:cubicBezTo>
                  <a:cubicBezTo>
                    <a:pt x="5203" y="5359"/>
                    <a:pt x="4965" y="5204"/>
                    <a:pt x="4775" y="5001"/>
                  </a:cubicBezTo>
                  <a:lnTo>
                    <a:pt x="4775" y="5001"/>
                  </a:lnTo>
                  <a:cubicBezTo>
                    <a:pt x="5001" y="5120"/>
                    <a:pt x="5275" y="5204"/>
                    <a:pt x="5596" y="5228"/>
                  </a:cubicBezTo>
                  <a:cubicBezTo>
                    <a:pt x="5680" y="5228"/>
                    <a:pt x="5751" y="5240"/>
                    <a:pt x="5822" y="5240"/>
                  </a:cubicBezTo>
                  <a:cubicBezTo>
                    <a:pt x="6096" y="5240"/>
                    <a:pt x="6382" y="5204"/>
                    <a:pt x="6644" y="5132"/>
                  </a:cubicBezTo>
                  <a:cubicBezTo>
                    <a:pt x="6715" y="5120"/>
                    <a:pt x="6775" y="5025"/>
                    <a:pt x="6751" y="4954"/>
                  </a:cubicBezTo>
                  <a:cubicBezTo>
                    <a:pt x="6741" y="4893"/>
                    <a:pt x="6671" y="4841"/>
                    <a:pt x="6607" y="4841"/>
                  </a:cubicBezTo>
                  <a:cubicBezTo>
                    <a:pt x="6595" y="4841"/>
                    <a:pt x="6583" y="4843"/>
                    <a:pt x="6573" y="4847"/>
                  </a:cubicBezTo>
                  <a:cubicBezTo>
                    <a:pt x="6317" y="4912"/>
                    <a:pt x="6067" y="4943"/>
                    <a:pt x="5831" y="4943"/>
                  </a:cubicBezTo>
                  <a:cubicBezTo>
                    <a:pt x="5418" y="4943"/>
                    <a:pt x="5052" y="4846"/>
                    <a:pt x="4787" y="4656"/>
                  </a:cubicBezTo>
                  <a:cubicBezTo>
                    <a:pt x="4477" y="4430"/>
                    <a:pt x="4310" y="4097"/>
                    <a:pt x="4263" y="3632"/>
                  </a:cubicBezTo>
                  <a:cubicBezTo>
                    <a:pt x="4310" y="3156"/>
                    <a:pt x="4572" y="2751"/>
                    <a:pt x="5025" y="2501"/>
                  </a:cubicBezTo>
                  <a:cubicBezTo>
                    <a:pt x="5096" y="2453"/>
                    <a:pt x="5120" y="2370"/>
                    <a:pt x="5084" y="2287"/>
                  </a:cubicBezTo>
                  <a:cubicBezTo>
                    <a:pt x="5051" y="2237"/>
                    <a:pt x="4996" y="2211"/>
                    <a:pt x="4941" y="2211"/>
                  </a:cubicBezTo>
                  <a:cubicBezTo>
                    <a:pt x="4916" y="2211"/>
                    <a:pt x="4892" y="2216"/>
                    <a:pt x="4870" y="2227"/>
                  </a:cubicBezTo>
                  <a:cubicBezTo>
                    <a:pt x="4227" y="2584"/>
                    <a:pt x="3906" y="3227"/>
                    <a:pt x="3965" y="3942"/>
                  </a:cubicBezTo>
                  <a:cubicBezTo>
                    <a:pt x="4037" y="4751"/>
                    <a:pt x="4596" y="5442"/>
                    <a:pt x="5382" y="5728"/>
                  </a:cubicBezTo>
                  <a:cubicBezTo>
                    <a:pt x="5631" y="5816"/>
                    <a:pt x="5895" y="5861"/>
                    <a:pt x="6170" y="5861"/>
                  </a:cubicBezTo>
                  <a:cubicBezTo>
                    <a:pt x="6487" y="5861"/>
                    <a:pt x="6818" y="5801"/>
                    <a:pt x="7156" y="5680"/>
                  </a:cubicBezTo>
                  <a:cubicBezTo>
                    <a:pt x="7596" y="5537"/>
                    <a:pt x="8061" y="5263"/>
                    <a:pt x="8525" y="4906"/>
                  </a:cubicBezTo>
                  <a:lnTo>
                    <a:pt x="8549" y="4906"/>
                  </a:lnTo>
                  <a:cubicBezTo>
                    <a:pt x="8694" y="4930"/>
                    <a:pt x="8833" y="4940"/>
                    <a:pt x="8965" y="4940"/>
                  </a:cubicBezTo>
                  <a:cubicBezTo>
                    <a:pt x="9431" y="4940"/>
                    <a:pt x="9813" y="4812"/>
                    <a:pt x="10073" y="4692"/>
                  </a:cubicBezTo>
                  <a:lnTo>
                    <a:pt x="10073" y="4692"/>
                  </a:lnTo>
                  <a:cubicBezTo>
                    <a:pt x="9430" y="6454"/>
                    <a:pt x="7608" y="7668"/>
                    <a:pt x="5572" y="7668"/>
                  </a:cubicBezTo>
                  <a:cubicBezTo>
                    <a:pt x="4179" y="7668"/>
                    <a:pt x="2894" y="7145"/>
                    <a:pt x="2072" y="6216"/>
                  </a:cubicBezTo>
                  <a:cubicBezTo>
                    <a:pt x="1358" y="5430"/>
                    <a:pt x="1060" y="4406"/>
                    <a:pt x="1179" y="3275"/>
                  </a:cubicBezTo>
                  <a:cubicBezTo>
                    <a:pt x="1286" y="2584"/>
                    <a:pt x="1524" y="2013"/>
                    <a:pt x="1881" y="1537"/>
                  </a:cubicBezTo>
                  <a:cubicBezTo>
                    <a:pt x="2167" y="1156"/>
                    <a:pt x="2536" y="858"/>
                    <a:pt x="2989" y="656"/>
                  </a:cubicBezTo>
                  <a:cubicBezTo>
                    <a:pt x="3429" y="441"/>
                    <a:pt x="3882" y="358"/>
                    <a:pt x="4156" y="310"/>
                  </a:cubicBezTo>
                  <a:close/>
                  <a:moveTo>
                    <a:pt x="5644" y="7954"/>
                  </a:moveTo>
                  <a:lnTo>
                    <a:pt x="5322" y="8645"/>
                  </a:lnTo>
                  <a:lnTo>
                    <a:pt x="5013" y="8645"/>
                  </a:lnTo>
                  <a:lnTo>
                    <a:pt x="5346" y="7954"/>
                  </a:lnTo>
                  <a:close/>
                  <a:moveTo>
                    <a:pt x="4422" y="1"/>
                  </a:moveTo>
                  <a:cubicBezTo>
                    <a:pt x="4268" y="1"/>
                    <a:pt x="3580" y="20"/>
                    <a:pt x="2834" y="382"/>
                  </a:cubicBezTo>
                  <a:cubicBezTo>
                    <a:pt x="2346" y="620"/>
                    <a:pt x="1929" y="941"/>
                    <a:pt x="1608" y="1358"/>
                  </a:cubicBezTo>
                  <a:cubicBezTo>
                    <a:pt x="1334" y="1703"/>
                    <a:pt x="1119" y="2108"/>
                    <a:pt x="989" y="2584"/>
                  </a:cubicBezTo>
                  <a:lnTo>
                    <a:pt x="96" y="2965"/>
                  </a:lnTo>
                  <a:cubicBezTo>
                    <a:pt x="48" y="2977"/>
                    <a:pt x="0" y="3025"/>
                    <a:pt x="0" y="3085"/>
                  </a:cubicBezTo>
                  <a:cubicBezTo>
                    <a:pt x="0" y="3144"/>
                    <a:pt x="24" y="3180"/>
                    <a:pt x="60" y="3215"/>
                  </a:cubicBezTo>
                  <a:lnTo>
                    <a:pt x="810" y="3811"/>
                  </a:lnTo>
                  <a:cubicBezTo>
                    <a:pt x="822" y="4811"/>
                    <a:pt x="1155" y="5704"/>
                    <a:pt x="1810" y="6430"/>
                  </a:cubicBezTo>
                  <a:cubicBezTo>
                    <a:pt x="2584" y="7287"/>
                    <a:pt x="3715" y="7823"/>
                    <a:pt x="4977" y="7942"/>
                  </a:cubicBezTo>
                  <a:lnTo>
                    <a:pt x="4620" y="8645"/>
                  </a:lnTo>
                  <a:lnTo>
                    <a:pt x="3739" y="8645"/>
                  </a:lnTo>
                  <a:cubicBezTo>
                    <a:pt x="3656" y="8645"/>
                    <a:pt x="3596" y="8716"/>
                    <a:pt x="3596" y="8799"/>
                  </a:cubicBezTo>
                  <a:cubicBezTo>
                    <a:pt x="3596" y="8871"/>
                    <a:pt x="3667" y="8942"/>
                    <a:pt x="3739" y="8942"/>
                  </a:cubicBezTo>
                  <a:lnTo>
                    <a:pt x="6013" y="8942"/>
                  </a:lnTo>
                  <a:cubicBezTo>
                    <a:pt x="6108" y="8942"/>
                    <a:pt x="6168" y="8871"/>
                    <a:pt x="6168" y="8799"/>
                  </a:cubicBezTo>
                  <a:cubicBezTo>
                    <a:pt x="6168" y="8716"/>
                    <a:pt x="6096" y="8645"/>
                    <a:pt x="6013" y="8645"/>
                  </a:cubicBezTo>
                  <a:lnTo>
                    <a:pt x="5620" y="8645"/>
                  </a:lnTo>
                  <a:lnTo>
                    <a:pt x="5953" y="7954"/>
                  </a:lnTo>
                  <a:cubicBezTo>
                    <a:pt x="6942" y="7883"/>
                    <a:pt x="7882" y="7537"/>
                    <a:pt x="8656" y="6966"/>
                  </a:cubicBezTo>
                  <a:cubicBezTo>
                    <a:pt x="9525" y="6323"/>
                    <a:pt x="10156" y="5418"/>
                    <a:pt x="10406" y="4430"/>
                  </a:cubicBezTo>
                  <a:cubicBezTo>
                    <a:pt x="10466" y="4370"/>
                    <a:pt x="10442" y="4299"/>
                    <a:pt x="10383" y="4275"/>
                  </a:cubicBezTo>
                  <a:cubicBezTo>
                    <a:pt x="10355" y="4259"/>
                    <a:pt x="10327" y="4250"/>
                    <a:pt x="10300" y="4250"/>
                  </a:cubicBezTo>
                  <a:cubicBezTo>
                    <a:pt x="10268" y="4250"/>
                    <a:pt x="10236" y="4262"/>
                    <a:pt x="10204" y="4287"/>
                  </a:cubicBezTo>
                  <a:cubicBezTo>
                    <a:pt x="10204" y="4287"/>
                    <a:pt x="9700" y="4670"/>
                    <a:pt x="8935" y="4670"/>
                  </a:cubicBezTo>
                  <a:cubicBezTo>
                    <a:pt x="8902" y="4670"/>
                    <a:pt x="8868" y="4670"/>
                    <a:pt x="8835" y="4668"/>
                  </a:cubicBezTo>
                  <a:cubicBezTo>
                    <a:pt x="8990" y="4525"/>
                    <a:pt x="9156" y="4370"/>
                    <a:pt x="9323" y="4192"/>
                  </a:cubicBezTo>
                  <a:cubicBezTo>
                    <a:pt x="9371" y="4132"/>
                    <a:pt x="9382" y="4061"/>
                    <a:pt x="9335" y="4001"/>
                  </a:cubicBezTo>
                  <a:cubicBezTo>
                    <a:pt x="9302" y="3961"/>
                    <a:pt x="9259" y="3942"/>
                    <a:pt x="9211" y="3942"/>
                  </a:cubicBezTo>
                  <a:cubicBezTo>
                    <a:pt x="9190" y="3942"/>
                    <a:pt x="9167" y="3946"/>
                    <a:pt x="9144" y="3954"/>
                  </a:cubicBezTo>
                  <a:cubicBezTo>
                    <a:pt x="9144" y="3954"/>
                    <a:pt x="8950" y="4045"/>
                    <a:pt x="8613" y="4045"/>
                  </a:cubicBezTo>
                  <a:cubicBezTo>
                    <a:pt x="8479" y="4045"/>
                    <a:pt x="8321" y="4030"/>
                    <a:pt x="8144" y="3989"/>
                  </a:cubicBezTo>
                  <a:cubicBezTo>
                    <a:pt x="7108" y="3739"/>
                    <a:pt x="6287" y="2739"/>
                    <a:pt x="5775" y="1930"/>
                  </a:cubicBezTo>
                  <a:cubicBezTo>
                    <a:pt x="5406" y="1334"/>
                    <a:pt x="4870" y="906"/>
                    <a:pt x="4227" y="703"/>
                  </a:cubicBezTo>
                  <a:lnTo>
                    <a:pt x="4572" y="251"/>
                  </a:lnTo>
                  <a:cubicBezTo>
                    <a:pt x="4608" y="203"/>
                    <a:pt x="4620" y="144"/>
                    <a:pt x="4584" y="84"/>
                  </a:cubicBezTo>
                  <a:cubicBezTo>
                    <a:pt x="4560" y="48"/>
                    <a:pt x="4513" y="1"/>
                    <a:pt x="4453" y="1"/>
                  </a:cubicBezTo>
                  <a:cubicBezTo>
                    <a:pt x="4451" y="1"/>
                    <a:pt x="4440" y="1"/>
                    <a:pt x="44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6" name="Google Shape;9966;p58"/>
            <p:cNvSpPr/>
            <p:nvPr/>
          </p:nvSpPr>
          <p:spPr>
            <a:xfrm>
              <a:off x="8212381" y="2974320"/>
              <a:ext cx="18577" cy="14861"/>
            </a:xfrm>
            <a:custGeom>
              <a:avLst/>
              <a:gdLst/>
              <a:ahLst/>
              <a:cxnLst/>
              <a:rect l="l" t="t" r="r" b="b"/>
              <a:pathLst>
                <a:path w="585" h="468" extrusionOk="0">
                  <a:moveTo>
                    <a:pt x="406" y="0"/>
                  </a:moveTo>
                  <a:cubicBezTo>
                    <a:pt x="371" y="0"/>
                    <a:pt x="337" y="12"/>
                    <a:pt x="310" y="39"/>
                  </a:cubicBezTo>
                  <a:cubicBezTo>
                    <a:pt x="275" y="75"/>
                    <a:pt x="191" y="123"/>
                    <a:pt x="108" y="170"/>
                  </a:cubicBezTo>
                  <a:cubicBezTo>
                    <a:pt x="25" y="206"/>
                    <a:pt x="1" y="301"/>
                    <a:pt x="48" y="373"/>
                  </a:cubicBezTo>
                  <a:cubicBezTo>
                    <a:pt x="72" y="432"/>
                    <a:pt x="120" y="468"/>
                    <a:pt x="179" y="468"/>
                  </a:cubicBezTo>
                  <a:cubicBezTo>
                    <a:pt x="215" y="468"/>
                    <a:pt x="227" y="468"/>
                    <a:pt x="251" y="444"/>
                  </a:cubicBezTo>
                  <a:cubicBezTo>
                    <a:pt x="370" y="385"/>
                    <a:pt x="465" y="325"/>
                    <a:pt x="536" y="265"/>
                  </a:cubicBezTo>
                  <a:cubicBezTo>
                    <a:pt x="572" y="218"/>
                    <a:pt x="584" y="111"/>
                    <a:pt x="525" y="51"/>
                  </a:cubicBezTo>
                  <a:cubicBezTo>
                    <a:pt x="492" y="18"/>
                    <a:pt x="448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67" name="Google Shape;9967;p58"/>
          <p:cNvSpPr/>
          <p:nvPr/>
        </p:nvSpPr>
        <p:spPr>
          <a:xfrm>
            <a:off x="2498418" y="3245126"/>
            <a:ext cx="365627" cy="292273"/>
          </a:xfrm>
          <a:custGeom>
            <a:avLst/>
            <a:gdLst/>
            <a:ahLst/>
            <a:cxnLst/>
            <a:rect l="l" t="t" r="r" b="b"/>
            <a:pathLst>
              <a:path w="11514" h="9204" extrusionOk="0">
                <a:moveTo>
                  <a:pt x="3727" y="0"/>
                </a:moveTo>
                <a:cubicBezTo>
                  <a:pt x="3156" y="0"/>
                  <a:pt x="2668" y="346"/>
                  <a:pt x="2477" y="870"/>
                </a:cubicBezTo>
                <a:lnTo>
                  <a:pt x="2382" y="870"/>
                </a:lnTo>
                <a:cubicBezTo>
                  <a:pt x="2144" y="870"/>
                  <a:pt x="1906" y="965"/>
                  <a:pt x="1751" y="1143"/>
                </a:cubicBezTo>
                <a:cubicBezTo>
                  <a:pt x="1703" y="1143"/>
                  <a:pt x="1656" y="1131"/>
                  <a:pt x="1608" y="1131"/>
                </a:cubicBezTo>
                <a:cubicBezTo>
                  <a:pt x="1036" y="1131"/>
                  <a:pt x="560" y="1608"/>
                  <a:pt x="560" y="2191"/>
                </a:cubicBezTo>
                <a:cubicBezTo>
                  <a:pt x="560" y="2775"/>
                  <a:pt x="1036" y="3251"/>
                  <a:pt x="1608" y="3251"/>
                </a:cubicBezTo>
                <a:lnTo>
                  <a:pt x="3001" y="3251"/>
                </a:lnTo>
                <a:cubicBezTo>
                  <a:pt x="3096" y="3251"/>
                  <a:pt x="3191" y="3156"/>
                  <a:pt x="3191" y="3048"/>
                </a:cubicBezTo>
                <a:cubicBezTo>
                  <a:pt x="3191" y="2953"/>
                  <a:pt x="3096" y="2858"/>
                  <a:pt x="3001" y="2858"/>
                </a:cubicBezTo>
                <a:lnTo>
                  <a:pt x="1608" y="2858"/>
                </a:lnTo>
                <a:cubicBezTo>
                  <a:pt x="1239" y="2858"/>
                  <a:pt x="941" y="2560"/>
                  <a:pt x="941" y="2191"/>
                </a:cubicBezTo>
                <a:cubicBezTo>
                  <a:pt x="941" y="1822"/>
                  <a:pt x="1239" y="1524"/>
                  <a:pt x="1608" y="1524"/>
                </a:cubicBezTo>
                <a:cubicBezTo>
                  <a:pt x="1667" y="1524"/>
                  <a:pt x="1727" y="1524"/>
                  <a:pt x="1775" y="1536"/>
                </a:cubicBezTo>
                <a:cubicBezTo>
                  <a:pt x="1788" y="1538"/>
                  <a:pt x="1802" y="1539"/>
                  <a:pt x="1816" y="1539"/>
                </a:cubicBezTo>
                <a:cubicBezTo>
                  <a:pt x="1885" y="1539"/>
                  <a:pt x="1949" y="1514"/>
                  <a:pt x="1989" y="1465"/>
                </a:cubicBezTo>
                <a:cubicBezTo>
                  <a:pt x="2072" y="1322"/>
                  <a:pt x="2227" y="1251"/>
                  <a:pt x="2394" y="1251"/>
                </a:cubicBezTo>
                <a:cubicBezTo>
                  <a:pt x="2453" y="1251"/>
                  <a:pt x="2489" y="1262"/>
                  <a:pt x="2548" y="1286"/>
                </a:cubicBezTo>
                <a:cubicBezTo>
                  <a:pt x="2566" y="1291"/>
                  <a:pt x="2585" y="1293"/>
                  <a:pt x="2604" y="1293"/>
                </a:cubicBezTo>
                <a:cubicBezTo>
                  <a:pt x="2638" y="1293"/>
                  <a:pt x="2673" y="1285"/>
                  <a:pt x="2703" y="1262"/>
                </a:cubicBezTo>
                <a:cubicBezTo>
                  <a:pt x="2751" y="1239"/>
                  <a:pt x="2775" y="1191"/>
                  <a:pt x="2787" y="1143"/>
                </a:cubicBezTo>
                <a:cubicBezTo>
                  <a:pt x="2894" y="715"/>
                  <a:pt x="3263" y="405"/>
                  <a:pt x="3715" y="405"/>
                </a:cubicBezTo>
                <a:cubicBezTo>
                  <a:pt x="4239" y="405"/>
                  <a:pt x="4668" y="834"/>
                  <a:pt x="4668" y="1358"/>
                </a:cubicBezTo>
                <a:lnTo>
                  <a:pt x="4668" y="1382"/>
                </a:lnTo>
                <a:lnTo>
                  <a:pt x="4668" y="1405"/>
                </a:lnTo>
                <a:cubicBezTo>
                  <a:pt x="4668" y="1465"/>
                  <a:pt x="4692" y="1524"/>
                  <a:pt x="4739" y="1560"/>
                </a:cubicBezTo>
                <a:cubicBezTo>
                  <a:pt x="4771" y="1592"/>
                  <a:pt x="4813" y="1602"/>
                  <a:pt x="4856" y="1602"/>
                </a:cubicBezTo>
                <a:cubicBezTo>
                  <a:pt x="4877" y="1602"/>
                  <a:pt x="4898" y="1600"/>
                  <a:pt x="4918" y="1596"/>
                </a:cubicBezTo>
                <a:cubicBezTo>
                  <a:pt x="4977" y="1584"/>
                  <a:pt x="5049" y="1560"/>
                  <a:pt x="5108" y="1560"/>
                </a:cubicBezTo>
                <a:cubicBezTo>
                  <a:pt x="5311" y="1560"/>
                  <a:pt x="5489" y="1655"/>
                  <a:pt x="5620" y="1786"/>
                </a:cubicBezTo>
                <a:cubicBezTo>
                  <a:pt x="5620" y="1786"/>
                  <a:pt x="5608" y="1786"/>
                  <a:pt x="5608" y="1798"/>
                </a:cubicBezTo>
                <a:cubicBezTo>
                  <a:pt x="5585" y="1798"/>
                  <a:pt x="5573" y="1822"/>
                  <a:pt x="5573" y="1822"/>
                </a:cubicBezTo>
                <a:cubicBezTo>
                  <a:pt x="5561" y="1834"/>
                  <a:pt x="5525" y="1834"/>
                  <a:pt x="5513" y="1846"/>
                </a:cubicBezTo>
                <a:cubicBezTo>
                  <a:pt x="5477" y="1858"/>
                  <a:pt x="5466" y="1858"/>
                  <a:pt x="5454" y="1882"/>
                </a:cubicBezTo>
                <a:cubicBezTo>
                  <a:pt x="5442" y="1882"/>
                  <a:pt x="5442" y="1882"/>
                  <a:pt x="5430" y="1893"/>
                </a:cubicBezTo>
                <a:cubicBezTo>
                  <a:pt x="5239" y="1989"/>
                  <a:pt x="5085" y="2084"/>
                  <a:pt x="4930" y="2203"/>
                </a:cubicBezTo>
                <a:cubicBezTo>
                  <a:pt x="4727" y="2370"/>
                  <a:pt x="4549" y="2584"/>
                  <a:pt x="4394" y="2786"/>
                </a:cubicBezTo>
                <a:cubicBezTo>
                  <a:pt x="4394" y="2798"/>
                  <a:pt x="4382" y="2798"/>
                  <a:pt x="4382" y="2822"/>
                </a:cubicBezTo>
                <a:cubicBezTo>
                  <a:pt x="4370" y="2834"/>
                  <a:pt x="4346" y="2858"/>
                  <a:pt x="4346" y="2882"/>
                </a:cubicBezTo>
                <a:cubicBezTo>
                  <a:pt x="4346" y="2882"/>
                  <a:pt x="4346" y="2894"/>
                  <a:pt x="4334" y="2894"/>
                </a:cubicBezTo>
                <a:lnTo>
                  <a:pt x="3584" y="2894"/>
                </a:lnTo>
                <a:cubicBezTo>
                  <a:pt x="3477" y="2894"/>
                  <a:pt x="3382" y="2977"/>
                  <a:pt x="3382" y="3084"/>
                </a:cubicBezTo>
                <a:cubicBezTo>
                  <a:pt x="3382" y="3191"/>
                  <a:pt x="3477" y="3275"/>
                  <a:pt x="3584" y="3275"/>
                </a:cubicBezTo>
                <a:lnTo>
                  <a:pt x="4096" y="3275"/>
                </a:lnTo>
                <a:cubicBezTo>
                  <a:pt x="4072" y="3334"/>
                  <a:pt x="4061" y="3406"/>
                  <a:pt x="4025" y="3465"/>
                </a:cubicBezTo>
                <a:cubicBezTo>
                  <a:pt x="3918" y="3453"/>
                  <a:pt x="3822" y="3441"/>
                  <a:pt x="3691" y="3441"/>
                </a:cubicBezTo>
                <a:cubicBezTo>
                  <a:pt x="3203" y="3441"/>
                  <a:pt x="2727" y="3668"/>
                  <a:pt x="2418" y="4049"/>
                </a:cubicBezTo>
                <a:cubicBezTo>
                  <a:pt x="2298" y="4025"/>
                  <a:pt x="2167" y="4025"/>
                  <a:pt x="2025" y="4025"/>
                </a:cubicBezTo>
                <a:cubicBezTo>
                  <a:pt x="917" y="4025"/>
                  <a:pt x="1" y="4930"/>
                  <a:pt x="1" y="6049"/>
                </a:cubicBezTo>
                <a:cubicBezTo>
                  <a:pt x="1" y="7156"/>
                  <a:pt x="917" y="8073"/>
                  <a:pt x="2025" y="8073"/>
                </a:cubicBezTo>
                <a:lnTo>
                  <a:pt x="3858" y="8073"/>
                </a:lnTo>
                <a:cubicBezTo>
                  <a:pt x="3953" y="8704"/>
                  <a:pt x="4501" y="9204"/>
                  <a:pt x="5168" y="9204"/>
                </a:cubicBezTo>
                <a:lnTo>
                  <a:pt x="8549" y="9204"/>
                </a:lnTo>
                <a:cubicBezTo>
                  <a:pt x="8656" y="9204"/>
                  <a:pt x="8740" y="9109"/>
                  <a:pt x="8740" y="9002"/>
                </a:cubicBezTo>
                <a:cubicBezTo>
                  <a:pt x="8740" y="8906"/>
                  <a:pt x="8656" y="8811"/>
                  <a:pt x="8549" y="8811"/>
                </a:cubicBezTo>
                <a:lnTo>
                  <a:pt x="5168" y="8811"/>
                </a:lnTo>
                <a:cubicBezTo>
                  <a:pt x="4644" y="8811"/>
                  <a:pt x="4227" y="8394"/>
                  <a:pt x="4227" y="7882"/>
                </a:cubicBezTo>
                <a:lnTo>
                  <a:pt x="4227" y="7859"/>
                </a:lnTo>
                <a:lnTo>
                  <a:pt x="4227" y="7835"/>
                </a:lnTo>
                <a:lnTo>
                  <a:pt x="4227" y="7811"/>
                </a:lnTo>
                <a:lnTo>
                  <a:pt x="4227" y="7775"/>
                </a:lnTo>
                <a:cubicBezTo>
                  <a:pt x="4287" y="7311"/>
                  <a:pt x="4680" y="6942"/>
                  <a:pt x="5168" y="6942"/>
                </a:cubicBezTo>
                <a:cubicBezTo>
                  <a:pt x="5263" y="6942"/>
                  <a:pt x="5358" y="6954"/>
                  <a:pt x="5454" y="6977"/>
                </a:cubicBezTo>
                <a:cubicBezTo>
                  <a:pt x="5471" y="6984"/>
                  <a:pt x="5488" y="6987"/>
                  <a:pt x="5506" y="6987"/>
                </a:cubicBezTo>
                <a:cubicBezTo>
                  <a:pt x="5548" y="6987"/>
                  <a:pt x="5590" y="6970"/>
                  <a:pt x="5632" y="6954"/>
                </a:cubicBezTo>
                <a:cubicBezTo>
                  <a:pt x="5680" y="6906"/>
                  <a:pt x="5704" y="6846"/>
                  <a:pt x="5704" y="6787"/>
                </a:cubicBezTo>
                <a:lnTo>
                  <a:pt x="5704" y="6775"/>
                </a:lnTo>
                <a:lnTo>
                  <a:pt x="5704" y="6739"/>
                </a:lnTo>
                <a:cubicBezTo>
                  <a:pt x="5704" y="6013"/>
                  <a:pt x="6299" y="5418"/>
                  <a:pt x="7025" y="5418"/>
                </a:cubicBezTo>
                <a:cubicBezTo>
                  <a:pt x="7644" y="5418"/>
                  <a:pt x="8192" y="5846"/>
                  <a:pt x="8323" y="6442"/>
                </a:cubicBezTo>
                <a:cubicBezTo>
                  <a:pt x="8335" y="6501"/>
                  <a:pt x="8371" y="6549"/>
                  <a:pt x="8418" y="6561"/>
                </a:cubicBezTo>
                <a:cubicBezTo>
                  <a:pt x="8441" y="6583"/>
                  <a:pt x="8473" y="6592"/>
                  <a:pt x="8506" y="6592"/>
                </a:cubicBezTo>
                <a:cubicBezTo>
                  <a:pt x="8525" y="6592"/>
                  <a:pt x="8544" y="6589"/>
                  <a:pt x="8561" y="6585"/>
                </a:cubicBezTo>
                <a:cubicBezTo>
                  <a:pt x="8633" y="6549"/>
                  <a:pt x="8716" y="6549"/>
                  <a:pt x="8787" y="6549"/>
                </a:cubicBezTo>
                <a:cubicBezTo>
                  <a:pt x="9025" y="6549"/>
                  <a:pt x="9252" y="6668"/>
                  <a:pt x="9383" y="6858"/>
                </a:cubicBezTo>
                <a:cubicBezTo>
                  <a:pt x="9422" y="6907"/>
                  <a:pt x="9485" y="6948"/>
                  <a:pt x="9546" y="6948"/>
                </a:cubicBezTo>
                <a:cubicBezTo>
                  <a:pt x="9559" y="6948"/>
                  <a:pt x="9572" y="6946"/>
                  <a:pt x="9585" y="6942"/>
                </a:cubicBezTo>
                <a:cubicBezTo>
                  <a:pt x="9668" y="6918"/>
                  <a:pt x="9752" y="6906"/>
                  <a:pt x="9823" y="6906"/>
                </a:cubicBezTo>
                <a:lnTo>
                  <a:pt x="9978" y="6906"/>
                </a:lnTo>
                <a:cubicBezTo>
                  <a:pt x="10216" y="6954"/>
                  <a:pt x="10442" y="7085"/>
                  <a:pt x="10573" y="7275"/>
                </a:cubicBezTo>
                <a:cubicBezTo>
                  <a:pt x="10692" y="7442"/>
                  <a:pt x="10764" y="7632"/>
                  <a:pt x="10764" y="7847"/>
                </a:cubicBezTo>
                <a:cubicBezTo>
                  <a:pt x="10764" y="8370"/>
                  <a:pt x="10335" y="8799"/>
                  <a:pt x="9811" y="8799"/>
                </a:cubicBezTo>
                <a:lnTo>
                  <a:pt x="9156" y="8799"/>
                </a:lnTo>
                <a:cubicBezTo>
                  <a:pt x="9049" y="8799"/>
                  <a:pt x="8966" y="8882"/>
                  <a:pt x="8966" y="8990"/>
                </a:cubicBezTo>
                <a:cubicBezTo>
                  <a:pt x="8966" y="9097"/>
                  <a:pt x="9061" y="9180"/>
                  <a:pt x="9156" y="9180"/>
                </a:cubicBezTo>
                <a:lnTo>
                  <a:pt x="9811" y="9180"/>
                </a:lnTo>
                <a:cubicBezTo>
                  <a:pt x="10561" y="9180"/>
                  <a:pt x="11157" y="8585"/>
                  <a:pt x="11157" y="7847"/>
                </a:cubicBezTo>
                <a:cubicBezTo>
                  <a:pt x="11157" y="7632"/>
                  <a:pt x="11109" y="7454"/>
                  <a:pt x="11038" y="7275"/>
                </a:cubicBezTo>
                <a:cubicBezTo>
                  <a:pt x="11347" y="6882"/>
                  <a:pt x="11514" y="6454"/>
                  <a:pt x="11514" y="6001"/>
                </a:cubicBezTo>
                <a:cubicBezTo>
                  <a:pt x="11514" y="4906"/>
                  <a:pt x="10621" y="4013"/>
                  <a:pt x="9514" y="4013"/>
                </a:cubicBezTo>
                <a:cubicBezTo>
                  <a:pt x="9395" y="4013"/>
                  <a:pt x="9276" y="4025"/>
                  <a:pt x="9156" y="4037"/>
                </a:cubicBezTo>
                <a:cubicBezTo>
                  <a:pt x="9133" y="3668"/>
                  <a:pt x="9037" y="3310"/>
                  <a:pt x="8859" y="2977"/>
                </a:cubicBezTo>
                <a:cubicBezTo>
                  <a:pt x="8834" y="2919"/>
                  <a:pt x="8770" y="2879"/>
                  <a:pt x="8697" y="2879"/>
                </a:cubicBezTo>
                <a:cubicBezTo>
                  <a:pt x="8664" y="2879"/>
                  <a:pt x="8630" y="2887"/>
                  <a:pt x="8597" y="2906"/>
                </a:cubicBezTo>
                <a:cubicBezTo>
                  <a:pt x="8502" y="2953"/>
                  <a:pt x="8466" y="3072"/>
                  <a:pt x="8525" y="3179"/>
                </a:cubicBezTo>
                <a:cubicBezTo>
                  <a:pt x="8680" y="3489"/>
                  <a:pt x="8775" y="3858"/>
                  <a:pt x="8775" y="4215"/>
                </a:cubicBezTo>
                <a:lnTo>
                  <a:pt x="8775" y="4275"/>
                </a:lnTo>
                <a:lnTo>
                  <a:pt x="8775" y="4287"/>
                </a:lnTo>
                <a:cubicBezTo>
                  <a:pt x="8775" y="4346"/>
                  <a:pt x="8799" y="4406"/>
                  <a:pt x="8847" y="4453"/>
                </a:cubicBezTo>
                <a:cubicBezTo>
                  <a:pt x="8879" y="4485"/>
                  <a:pt x="8921" y="4496"/>
                  <a:pt x="8963" y="4496"/>
                </a:cubicBezTo>
                <a:cubicBezTo>
                  <a:pt x="8984" y="4496"/>
                  <a:pt x="9006" y="4493"/>
                  <a:pt x="9025" y="4489"/>
                </a:cubicBezTo>
                <a:cubicBezTo>
                  <a:pt x="9180" y="4441"/>
                  <a:pt x="9335" y="4406"/>
                  <a:pt x="9502" y="4406"/>
                </a:cubicBezTo>
                <a:cubicBezTo>
                  <a:pt x="10395" y="4406"/>
                  <a:pt x="11109" y="5144"/>
                  <a:pt x="11109" y="6013"/>
                </a:cubicBezTo>
                <a:cubicBezTo>
                  <a:pt x="11109" y="6346"/>
                  <a:pt x="11026" y="6644"/>
                  <a:pt x="10847" y="6906"/>
                </a:cubicBezTo>
                <a:lnTo>
                  <a:pt x="10823" y="6894"/>
                </a:lnTo>
                <a:lnTo>
                  <a:pt x="10800" y="6858"/>
                </a:lnTo>
                <a:lnTo>
                  <a:pt x="10788" y="6846"/>
                </a:lnTo>
                <a:lnTo>
                  <a:pt x="10752" y="6823"/>
                </a:lnTo>
                <a:cubicBezTo>
                  <a:pt x="10514" y="6608"/>
                  <a:pt x="10204" y="6489"/>
                  <a:pt x="9871" y="6489"/>
                </a:cubicBezTo>
                <a:cubicBezTo>
                  <a:pt x="9799" y="6489"/>
                  <a:pt x="9740" y="6489"/>
                  <a:pt x="9668" y="6501"/>
                </a:cubicBezTo>
                <a:cubicBezTo>
                  <a:pt x="9454" y="6263"/>
                  <a:pt x="9156" y="6132"/>
                  <a:pt x="8835" y="6132"/>
                </a:cubicBezTo>
                <a:cubicBezTo>
                  <a:pt x="8787" y="6132"/>
                  <a:pt x="8728" y="6132"/>
                  <a:pt x="8680" y="6144"/>
                </a:cubicBezTo>
                <a:cubicBezTo>
                  <a:pt x="8585" y="5846"/>
                  <a:pt x="8383" y="5584"/>
                  <a:pt x="8144" y="5370"/>
                </a:cubicBezTo>
                <a:cubicBezTo>
                  <a:pt x="7847" y="5120"/>
                  <a:pt x="7466" y="4989"/>
                  <a:pt x="7073" y="4989"/>
                </a:cubicBezTo>
                <a:cubicBezTo>
                  <a:pt x="6204" y="4989"/>
                  <a:pt x="5466" y="5656"/>
                  <a:pt x="5382" y="6525"/>
                </a:cubicBezTo>
                <a:cubicBezTo>
                  <a:pt x="5335" y="6525"/>
                  <a:pt x="5275" y="6501"/>
                  <a:pt x="5227" y="6501"/>
                </a:cubicBezTo>
                <a:lnTo>
                  <a:pt x="4977" y="6501"/>
                </a:lnTo>
                <a:cubicBezTo>
                  <a:pt x="4965" y="6501"/>
                  <a:pt x="4942" y="6501"/>
                  <a:pt x="4930" y="6525"/>
                </a:cubicBezTo>
                <a:lnTo>
                  <a:pt x="4918" y="6525"/>
                </a:lnTo>
                <a:cubicBezTo>
                  <a:pt x="4906" y="6525"/>
                  <a:pt x="4882" y="6525"/>
                  <a:pt x="4870" y="6537"/>
                </a:cubicBezTo>
                <a:lnTo>
                  <a:pt x="4858" y="6537"/>
                </a:lnTo>
                <a:cubicBezTo>
                  <a:pt x="4846" y="6537"/>
                  <a:pt x="4823" y="6549"/>
                  <a:pt x="4811" y="6549"/>
                </a:cubicBezTo>
                <a:cubicBezTo>
                  <a:pt x="4406" y="6680"/>
                  <a:pt x="4084" y="7013"/>
                  <a:pt x="3965" y="7430"/>
                </a:cubicBezTo>
                <a:cubicBezTo>
                  <a:pt x="3965" y="7442"/>
                  <a:pt x="3953" y="7454"/>
                  <a:pt x="3953" y="7489"/>
                </a:cubicBezTo>
                <a:cubicBezTo>
                  <a:pt x="3930" y="7537"/>
                  <a:pt x="3930" y="7561"/>
                  <a:pt x="3918" y="7608"/>
                </a:cubicBezTo>
                <a:lnTo>
                  <a:pt x="2084" y="7608"/>
                </a:lnTo>
                <a:cubicBezTo>
                  <a:pt x="1191" y="7608"/>
                  <a:pt x="453" y="6882"/>
                  <a:pt x="453" y="5965"/>
                </a:cubicBezTo>
                <a:cubicBezTo>
                  <a:pt x="453" y="5072"/>
                  <a:pt x="1179" y="4334"/>
                  <a:pt x="2084" y="4334"/>
                </a:cubicBezTo>
                <a:cubicBezTo>
                  <a:pt x="2227" y="4334"/>
                  <a:pt x="2370" y="4346"/>
                  <a:pt x="2501" y="4394"/>
                </a:cubicBezTo>
                <a:cubicBezTo>
                  <a:pt x="2515" y="4396"/>
                  <a:pt x="2529" y="4397"/>
                  <a:pt x="2542" y="4397"/>
                </a:cubicBezTo>
                <a:cubicBezTo>
                  <a:pt x="2611" y="4397"/>
                  <a:pt x="2675" y="4372"/>
                  <a:pt x="2715" y="4322"/>
                </a:cubicBezTo>
                <a:cubicBezTo>
                  <a:pt x="2953" y="3977"/>
                  <a:pt x="3334" y="3763"/>
                  <a:pt x="3751" y="3763"/>
                </a:cubicBezTo>
                <a:cubicBezTo>
                  <a:pt x="3894" y="3763"/>
                  <a:pt x="4025" y="3787"/>
                  <a:pt x="4156" y="3822"/>
                </a:cubicBezTo>
                <a:cubicBezTo>
                  <a:pt x="4177" y="3833"/>
                  <a:pt x="4201" y="3839"/>
                  <a:pt x="4225" y="3839"/>
                </a:cubicBezTo>
                <a:cubicBezTo>
                  <a:pt x="4255" y="3839"/>
                  <a:pt x="4284" y="3830"/>
                  <a:pt x="4311" y="3810"/>
                </a:cubicBezTo>
                <a:cubicBezTo>
                  <a:pt x="4346" y="3787"/>
                  <a:pt x="4382" y="3739"/>
                  <a:pt x="4394" y="3691"/>
                </a:cubicBezTo>
                <a:cubicBezTo>
                  <a:pt x="4442" y="3501"/>
                  <a:pt x="4513" y="3322"/>
                  <a:pt x="4608" y="3144"/>
                </a:cubicBezTo>
                <a:cubicBezTo>
                  <a:pt x="4608" y="3144"/>
                  <a:pt x="4620" y="3132"/>
                  <a:pt x="4620" y="3108"/>
                </a:cubicBezTo>
                <a:cubicBezTo>
                  <a:pt x="4906" y="2596"/>
                  <a:pt x="5394" y="2191"/>
                  <a:pt x="5977" y="2024"/>
                </a:cubicBezTo>
                <a:lnTo>
                  <a:pt x="5989" y="2024"/>
                </a:lnTo>
                <a:cubicBezTo>
                  <a:pt x="6180" y="1977"/>
                  <a:pt x="6370" y="1953"/>
                  <a:pt x="6573" y="1953"/>
                </a:cubicBezTo>
                <a:cubicBezTo>
                  <a:pt x="7192" y="1953"/>
                  <a:pt x="7775" y="2203"/>
                  <a:pt x="8204" y="2667"/>
                </a:cubicBezTo>
                <a:cubicBezTo>
                  <a:pt x="8243" y="2706"/>
                  <a:pt x="8295" y="2727"/>
                  <a:pt x="8349" y="2727"/>
                </a:cubicBezTo>
                <a:cubicBezTo>
                  <a:pt x="8394" y="2727"/>
                  <a:pt x="8440" y="2712"/>
                  <a:pt x="8478" y="2679"/>
                </a:cubicBezTo>
                <a:cubicBezTo>
                  <a:pt x="8549" y="2608"/>
                  <a:pt x="8561" y="2489"/>
                  <a:pt x="8490" y="2417"/>
                </a:cubicBezTo>
                <a:cubicBezTo>
                  <a:pt x="8002" y="1893"/>
                  <a:pt x="7299" y="1584"/>
                  <a:pt x="6573" y="1584"/>
                </a:cubicBezTo>
                <a:cubicBezTo>
                  <a:pt x="6370" y="1584"/>
                  <a:pt x="6192" y="1596"/>
                  <a:pt x="6013" y="1643"/>
                </a:cubicBezTo>
                <a:cubicBezTo>
                  <a:pt x="5823" y="1322"/>
                  <a:pt x="5501" y="1143"/>
                  <a:pt x="5120" y="1143"/>
                </a:cubicBezTo>
                <a:lnTo>
                  <a:pt x="5049" y="1143"/>
                </a:lnTo>
                <a:cubicBezTo>
                  <a:pt x="4965" y="489"/>
                  <a:pt x="4394" y="0"/>
                  <a:pt x="372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68" name="Google Shape;9968;p58"/>
          <p:cNvGrpSpPr/>
          <p:nvPr/>
        </p:nvGrpSpPr>
        <p:grpSpPr>
          <a:xfrm>
            <a:off x="3588440" y="3258368"/>
            <a:ext cx="364484" cy="262423"/>
            <a:chOff x="3588440" y="3258368"/>
            <a:chExt cx="364484" cy="262423"/>
          </a:xfrm>
        </p:grpSpPr>
        <p:sp>
          <p:nvSpPr>
            <p:cNvPr id="9969" name="Google Shape;9969;p58"/>
            <p:cNvSpPr/>
            <p:nvPr/>
          </p:nvSpPr>
          <p:spPr>
            <a:xfrm>
              <a:off x="3588440" y="3258368"/>
              <a:ext cx="364484" cy="262423"/>
            </a:xfrm>
            <a:custGeom>
              <a:avLst/>
              <a:gdLst/>
              <a:ahLst/>
              <a:cxnLst/>
              <a:rect l="l" t="t" r="r" b="b"/>
              <a:pathLst>
                <a:path w="11478" h="8264" extrusionOk="0">
                  <a:moveTo>
                    <a:pt x="1965" y="345"/>
                  </a:moveTo>
                  <a:cubicBezTo>
                    <a:pt x="2024" y="345"/>
                    <a:pt x="2072" y="393"/>
                    <a:pt x="2072" y="453"/>
                  </a:cubicBezTo>
                  <a:lnTo>
                    <a:pt x="2072" y="810"/>
                  </a:lnTo>
                  <a:lnTo>
                    <a:pt x="1346" y="810"/>
                  </a:lnTo>
                  <a:lnTo>
                    <a:pt x="1346" y="453"/>
                  </a:lnTo>
                  <a:cubicBezTo>
                    <a:pt x="1346" y="393"/>
                    <a:pt x="1381" y="345"/>
                    <a:pt x="1441" y="345"/>
                  </a:cubicBezTo>
                  <a:close/>
                  <a:moveTo>
                    <a:pt x="10311" y="1191"/>
                  </a:moveTo>
                  <a:cubicBezTo>
                    <a:pt x="10371" y="1191"/>
                    <a:pt x="10418" y="1238"/>
                    <a:pt x="10418" y="1298"/>
                  </a:cubicBezTo>
                  <a:lnTo>
                    <a:pt x="10418" y="1631"/>
                  </a:lnTo>
                  <a:lnTo>
                    <a:pt x="9037" y="1631"/>
                  </a:lnTo>
                  <a:lnTo>
                    <a:pt x="9037" y="1298"/>
                  </a:lnTo>
                  <a:cubicBezTo>
                    <a:pt x="9037" y="1238"/>
                    <a:pt x="9085" y="1191"/>
                    <a:pt x="9144" y="1191"/>
                  </a:cubicBezTo>
                  <a:close/>
                  <a:moveTo>
                    <a:pt x="1453" y="0"/>
                  </a:moveTo>
                  <a:cubicBezTo>
                    <a:pt x="1215" y="0"/>
                    <a:pt x="1012" y="203"/>
                    <a:pt x="1012" y="453"/>
                  </a:cubicBezTo>
                  <a:lnTo>
                    <a:pt x="1012" y="810"/>
                  </a:lnTo>
                  <a:lnTo>
                    <a:pt x="858" y="810"/>
                  </a:lnTo>
                  <a:cubicBezTo>
                    <a:pt x="667" y="810"/>
                    <a:pt x="477" y="881"/>
                    <a:pt x="322" y="1000"/>
                  </a:cubicBezTo>
                  <a:cubicBezTo>
                    <a:pt x="250" y="1060"/>
                    <a:pt x="238" y="1167"/>
                    <a:pt x="298" y="1238"/>
                  </a:cubicBezTo>
                  <a:cubicBezTo>
                    <a:pt x="334" y="1282"/>
                    <a:pt x="388" y="1308"/>
                    <a:pt x="441" y="1308"/>
                  </a:cubicBezTo>
                  <a:cubicBezTo>
                    <a:pt x="475" y="1308"/>
                    <a:pt x="508" y="1297"/>
                    <a:pt x="536" y="1274"/>
                  </a:cubicBezTo>
                  <a:cubicBezTo>
                    <a:pt x="663" y="1170"/>
                    <a:pt x="790" y="1154"/>
                    <a:pt x="914" y="1154"/>
                  </a:cubicBezTo>
                  <a:cubicBezTo>
                    <a:pt x="966" y="1154"/>
                    <a:pt x="1018" y="1157"/>
                    <a:pt x="1070" y="1157"/>
                  </a:cubicBezTo>
                  <a:cubicBezTo>
                    <a:pt x="1090" y="1157"/>
                    <a:pt x="1111" y="1156"/>
                    <a:pt x="1131" y="1155"/>
                  </a:cubicBezTo>
                  <a:lnTo>
                    <a:pt x="2560" y="1155"/>
                  </a:lnTo>
                  <a:cubicBezTo>
                    <a:pt x="2846" y="1155"/>
                    <a:pt x="3060" y="1369"/>
                    <a:pt x="3060" y="1655"/>
                  </a:cubicBezTo>
                  <a:lnTo>
                    <a:pt x="3060" y="2310"/>
                  </a:lnTo>
                  <a:cubicBezTo>
                    <a:pt x="3060" y="2405"/>
                    <a:pt x="3144" y="2477"/>
                    <a:pt x="3227" y="2477"/>
                  </a:cubicBezTo>
                  <a:cubicBezTo>
                    <a:pt x="3322" y="2477"/>
                    <a:pt x="3394" y="2405"/>
                    <a:pt x="3394" y="2310"/>
                  </a:cubicBezTo>
                  <a:lnTo>
                    <a:pt x="3394" y="1965"/>
                  </a:lnTo>
                  <a:lnTo>
                    <a:pt x="10656" y="1965"/>
                  </a:lnTo>
                  <a:cubicBezTo>
                    <a:pt x="10918" y="1988"/>
                    <a:pt x="11133" y="2203"/>
                    <a:pt x="11133" y="2477"/>
                  </a:cubicBezTo>
                  <a:lnTo>
                    <a:pt x="11133" y="2679"/>
                  </a:lnTo>
                  <a:lnTo>
                    <a:pt x="10835" y="2679"/>
                  </a:lnTo>
                  <a:cubicBezTo>
                    <a:pt x="10740" y="2679"/>
                    <a:pt x="10668" y="2762"/>
                    <a:pt x="10668" y="2846"/>
                  </a:cubicBezTo>
                  <a:cubicBezTo>
                    <a:pt x="10668" y="2941"/>
                    <a:pt x="10740" y="3012"/>
                    <a:pt x="10835" y="3012"/>
                  </a:cubicBezTo>
                  <a:lnTo>
                    <a:pt x="11133" y="3012"/>
                  </a:lnTo>
                  <a:lnTo>
                    <a:pt x="11133" y="7072"/>
                  </a:lnTo>
                  <a:lnTo>
                    <a:pt x="10347" y="7072"/>
                  </a:lnTo>
                  <a:cubicBezTo>
                    <a:pt x="10085" y="7072"/>
                    <a:pt x="9882" y="6870"/>
                    <a:pt x="9882" y="6608"/>
                  </a:cubicBezTo>
                  <a:lnTo>
                    <a:pt x="9882" y="3489"/>
                  </a:lnTo>
                  <a:cubicBezTo>
                    <a:pt x="9882" y="3274"/>
                    <a:pt x="10013" y="3096"/>
                    <a:pt x="10216" y="3036"/>
                  </a:cubicBezTo>
                  <a:cubicBezTo>
                    <a:pt x="10299" y="3012"/>
                    <a:pt x="10347" y="2917"/>
                    <a:pt x="10323" y="2834"/>
                  </a:cubicBezTo>
                  <a:cubicBezTo>
                    <a:pt x="10302" y="2750"/>
                    <a:pt x="10235" y="2713"/>
                    <a:pt x="10155" y="2713"/>
                  </a:cubicBezTo>
                  <a:cubicBezTo>
                    <a:pt x="10144" y="2713"/>
                    <a:pt x="10132" y="2713"/>
                    <a:pt x="10121" y="2715"/>
                  </a:cubicBezTo>
                  <a:cubicBezTo>
                    <a:pt x="9787" y="2822"/>
                    <a:pt x="9561" y="3131"/>
                    <a:pt x="9561" y="3489"/>
                  </a:cubicBezTo>
                  <a:lnTo>
                    <a:pt x="9561" y="6608"/>
                  </a:lnTo>
                  <a:cubicBezTo>
                    <a:pt x="9561" y="7061"/>
                    <a:pt x="9918" y="7418"/>
                    <a:pt x="10359" y="7418"/>
                  </a:cubicBezTo>
                  <a:lnTo>
                    <a:pt x="11145" y="7418"/>
                  </a:lnTo>
                  <a:cubicBezTo>
                    <a:pt x="11145" y="7703"/>
                    <a:pt x="10918" y="7918"/>
                    <a:pt x="10644" y="7918"/>
                  </a:cubicBezTo>
                  <a:lnTo>
                    <a:pt x="3239" y="7918"/>
                  </a:lnTo>
                  <a:cubicBezTo>
                    <a:pt x="3322" y="7823"/>
                    <a:pt x="3382" y="7715"/>
                    <a:pt x="3394" y="7584"/>
                  </a:cubicBezTo>
                  <a:cubicBezTo>
                    <a:pt x="3405" y="7489"/>
                    <a:pt x="3346" y="7406"/>
                    <a:pt x="3263" y="7370"/>
                  </a:cubicBezTo>
                  <a:cubicBezTo>
                    <a:pt x="3254" y="7369"/>
                    <a:pt x="3246" y="7369"/>
                    <a:pt x="3238" y="7369"/>
                  </a:cubicBezTo>
                  <a:cubicBezTo>
                    <a:pt x="3153" y="7369"/>
                    <a:pt x="3081" y="7425"/>
                    <a:pt x="3048" y="7501"/>
                  </a:cubicBezTo>
                  <a:cubicBezTo>
                    <a:pt x="3013" y="7739"/>
                    <a:pt x="2798" y="7906"/>
                    <a:pt x="2548" y="7906"/>
                  </a:cubicBezTo>
                  <a:lnTo>
                    <a:pt x="762" y="7906"/>
                  </a:lnTo>
                  <a:cubicBezTo>
                    <a:pt x="500" y="7882"/>
                    <a:pt x="322" y="7656"/>
                    <a:pt x="322" y="7406"/>
                  </a:cubicBezTo>
                  <a:lnTo>
                    <a:pt x="322" y="2619"/>
                  </a:lnTo>
                  <a:lnTo>
                    <a:pt x="322" y="1727"/>
                  </a:lnTo>
                  <a:cubicBezTo>
                    <a:pt x="322" y="1643"/>
                    <a:pt x="250" y="1572"/>
                    <a:pt x="167" y="1572"/>
                  </a:cubicBezTo>
                  <a:cubicBezTo>
                    <a:pt x="72" y="1572"/>
                    <a:pt x="0" y="1643"/>
                    <a:pt x="0" y="1727"/>
                  </a:cubicBezTo>
                  <a:lnTo>
                    <a:pt x="0" y="7418"/>
                  </a:lnTo>
                  <a:cubicBezTo>
                    <a:pt x="0" y="7834"/>
                    <a:pt x="310" y="8192"/>
                    <a:pt x="703" y="8251"/>
                  </a:cubicBezTo>
                  <a:cubicBezTo>
                    <a:pt x="715" y="8251"/>
                    <a:pt x="738" y="8251"/>
                    <a:pt x="762" y="8263"/>
                  </a:cubicBezTo>
                  <a:lnTo>
                    <a:pt x="10633" y="8263"/>
                  </a:lnTo>
                  <a:cubicBezTo>
                    <a:pt x="11109" y="8263"/>
                    <a:pt x="11478" y="7882"/>
                    <a:pt x="11478" y="7418"/>
                  </a:cubicBezTo>
                  <a:lnTo>
                    <a:pt x="11478" y="2477"/>
                  </a:lnTo>
                  <a:cubicBezTo>
                    <a:pt x="11478" y="2060"/>
                    <a:pt x="11168" y="1703"/>
                    <a:pt x="10764" y="1643"/>
                  </a:cubicBezTo>
                  <a:lnTo>
                    <a:pt x="10764" y="1298"/>
                  </a:lnTo>
                  <a:cubicBezTo>
                    <a:pt x="10764" y="1060"/>
                    <a:pt x="10573" y="857"/>
                    <a:pt x="10311" y="857"/>
                  </a:cubicBezTo>
                  <a:lnTo>
                    <a:pt x="9144" y="857"/>
                  </a:lnTo>
                  <a:cubicBezTo>
                    <a:pt x="8906" y="857"/>
                    <a:pt x="8692" y="1048"/>
                    <a:pt x="8692" y="1298"/>
                  </a:cubicBezTo>
                  <a:lnTo>
                    <a:pt x="8692" y="1631"/>
                  </a:lnTo>
                  <a:lnTo>
                    <a:pt x="8216" y="1631"/>
                  </a:lnTo>
                  <a:lnTo>
                    <a:pt x="7858" y="857"/>
                  </a:lnTo>
                  <a:cubicBezTo>
                    <a:pt x="7727" y="584"/>
                    <a:pt x="7454" y="405"/>
                    <a:pt x="7156" y="405"/>
                  </a:cubicBezTo>
                  <a:lnTo>
                    <a:pt x="5775" y="405"/>
                  </a:lnTo>
                  <a:cubicBezTo>
                    <a:pt x="5525" y="405"/>
                    <a:pt x="5287" y="524"/>
                    <a:pt x="5132" y="738"/>
                  </a:cubicBezTo>
                  <a:cubicBezTo>
                    <a:pt x="5072" y="810"/>
                    <a:pt x="5108" y="917"/>
                    <a:pt x="5179" y="976"/>
                  </a:cubicBezTo>
                  <a:cubicBezTo>
                    <a:pt x="5205" y="997"/>
                    <a:pt x="5234" y="1006"/>
                    <a:pt x="5264" y="1006"/>
                  </a:cubicBezTo>
                  <a:cubicBezTo>
                    <a:pt x="5320" y="1006"/>
                    <a:pt x="5379" y="975"/>
                    <a:pt x="5418" y="929"/>
                  </a:cubicBezTo>
                  <a:cubicBezTo>
                    <a:pt x="5489" y="810"/>
                    <a:pt x="5632" y="750"/>
                    <a:pt x="5775" y="750"/>
                  </a:cubicBezTo>
                  <a:lnTo>
                    <a:pt x="7156" y="750"/>
                  </a:lnTo>
                  <a:cubicBezTo>
                    <a:pt x="7323" y="750"/>
                    <a:pt x="7489" y="857"/>
                    <a:pt x="7561" y="1000"/>
                  </a:cubicBezTo>
                  <a:lnTo>
                    <a:pt x="7858" y="1631"/>
                  </a:lnTo>
                  <a:lnTo>
                    <a:pt x="5096" y="1631"/>
                  </a:lnTo>
                  <a:lnTo>
                    <a:pt x="5156" y="1512"/>
                  </a:lnTo>
                  <a:cubicBezTo>
                    <a:pt x="5191" y="1417"/>
                    <a:pt x="5156" y="1310"/>
                    <a:pt x="5060" y="1286"/>
                  </a:cubicBezTo>
                  <a:cubicBezTo>
                    <a:pt x="5034" y="1273"/>
                    <a:pt x="5008" y="1267"/>
                    <a:pt x="4984" y="1267"/>
                  </a:cubicBezTo>
                  <a:cubicBezTo>
                    <a:pt x="4918" y="1267"/>
                    <a:pt x="4860" y="1309"/>
                    <a:pt x="4834" y="1369"/>
                  </a:cubicBezTo>
                  <a:lnTo>
                    <a:pt x="4715" y="1631"/>
                  </a:lnTo>
                  <a:lnTo>
                    <a:pt x="3417" y="1631"/>
                  </a:lnTo>
                  <a:cubicBezTo>
                    <a:pt x="3405" y="1179"/>
                    <a:pt x="3036" y="810"/>
                    <a:pt x="2572" y="810"/>
                  </a:cubicBezTo>
                  <a:lnTo>
                    <a:pt x="2429" y="810"/>
                  </a:lnTo>
                  <a:lnTo>
                    <a:pt x="2429" y="453"/>
                  </a:lnTo>
                  <a:cubicBezTo>
                    <a:pt x="2429" y="214"/>
                    <a:pt x="2227" y="0"/>
                    <a:pt x="1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0" name="Google Shape;9970;p58"/>
            <p:cNvSpPr/>
            <p:nvPr/>
          </p:nvSpPr>
          <p:spPr>
            <a:xfrm>
              <a:off x="3685992" y="3347949"/>
              <a:ext cx="10606" cy="133498"/>
            </a:xfrm>
            <a:custGeom>
              <a:avLst/>
              <a:gdLst/>
              <a:ahLst/>
              <a:cxnLst/>
              <a:rect l="l" t="t" r="r" b="b"/>
              <a:pathLst>
                <a:path w="334" h="4204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4049"/>
                  </a:lnTo>
                  <a:cubicBezTo>
                    <a:pt x="0" y="4132"/>
                    <a:pt x="72" y="4204"/>
                    <a:pt x="155" y="4204"/>
                  </a:cubicBezTo>
                  <a:cubicBezTo>
                    <a:pt x="250" y="4204"/>
                    <a:pt x="322" y="4132"/>
                    <a:pt x="322" y="4049"/>
                  </a:cubicBezTo>
                  <a:lnTo>
                    <a:pt x="322" y="156"/>
                  </a:lnTo>
                  <a:cubicBezTo>
                    <a:pt x="333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1" name="Google Shape;9971;p58"/>
            <p:cNvSpPr/>
            <p:nvPr/>
          </p:nvSpPr>
          <p:spPr>
            <a:xfrm>
              <a:off x="3862549" y="3329785"/>
              <a:ext cx="40107" cy="30675"/>
            </a:xfrm>
            <a:custGeom>
              <a:avLst/>
              <a:gdLst/>
              <a:ahLst/>
              <a:cxnLst/>
              <a:rect l="l" t="t" r="r" b="b"/>
              <a:pathLst>
                <a:path w="1263" h="966" extrusionOk="0">
                  <a:moveTo>
                    <a:pt x="760" y="0"/>
                  </a:moveTo>
                  <a:cubicBezTo>
                    <a:pt x="704" y="0"/>
                    <a:pt x="646" y="27"/>
                    <a:pt x="608" y="73"/>
                  </a:cubicBezTo>
                  <a:cubicBezTo>
                    <a:pt x="548" y="144"/>
                    <a:pt x="584" y="251"/>
                    <a:pt x="655" y="311"/>
                  </a:cubicBezTo>
                  <a:cubicBezTo>
                    <a:pt x="786" y="406"/>
                    <a:pt x="715" y="621"/>
                    <a:pt x="548" y="621"/>
                  </a:cubicBezTo>
                  <a:cubicBezTo>
                    <a:pt x="441" y="621"/>
                    <a:pt x="357" y="537"/>
                    <a:pt x="381" y="418"/>
                  </a:cubicBezTo>
                  <a:cubicBezTo>
                    <a:pt x="405" y="323"/>
                    <a:pt x="346" y="240"/>
                    <a:pt x="250" y="228"/>
                  </a:cubicBezTo>
                  <a:cubicBezTo>
                    <a:pt x="243" y="227"/>
                    <a:pt x="236" y="226"/>
                    <a:pt x="229" y="226"/>
                  </a:cubicBezTo>
                  <a:cubicBezTo>
                    <a:pt x="151" y="226"/>
                    <a:pt x="71" y="282"/>
                    <a:pt x="60" y="359"/>
                  </a:cubicBezTo>
                  <a:cubicBezTo>
                    <a:pt x="0" y="692"/>
                    <a:pt x="238" y="966"/>
                    <a:pt x="560" y="966"/>
                  </a:cubicBezTo>
                  <a:cubicBezTo>
                    <a:pt x="1060" y="954"/>
                    <a:pt x="1262" y="323"/>
                    <a:pt x="846" y="25"/>
                  </a:cubicBezTo>
                  <a:cubicBezTo>
                    <a:pt x="820" y="8"/>
                    <a:pt x="791" y="0"/>
                    <a:pt x="7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2" name="Google Shape;9972;p58"/>
            <p:cNvSpPr/>
            <p:nvPr/>
          </p:nvSpPr>
          <p:spPr>
            <a:xfrm>
              <a:off x="3703743" y="3323942"/>
              <a:ext cx="183417" cy="182083"/>
            </a:xfrm>
            <a:custGeom>
              <a:avLst/>
              <a:gdLst/>
              <a:ahLst/>
              <a:cxnLst/>
              <a:rect l="l" t="t" r="r" b="b"/>
              <a:pathLst>
                <a:path w="5776" h="5734" extrusionOk="0">
                  <a:moveTo>
                    <a:pt x="2879" y="1"/>
                  </a:moveTo>
                  <a:cubicBezTo>
                    <a:pt x="2275" y="1"/>
                    <a:pt x="1659" y="191"/>
                    <a:pt x="1120" y="614"/>
                  </a:cubicBezTo>
                  <a:cubicBezTo>
                    <a:pt x="1048" y="674"/>
                    <a:pt x="1025" y="781"/>
                    <a:pt x="1084" y="852"/>
                  </a:cubicBezTo>
                  <a:cubicBezTo>
                    <a:pt x="1119" y="901"/>
                    <a:pt x="1170" y="925"/>
                    <a:pt x="1220" y="925"/>
                  </a:cubicBezTo>
                  <a:cubicBezTo>
                    <a:pt x="1257" y="925"/>
                    <a:pt x="1292" y="913"/>
                    <a:pt x="1322" y="888"/>
                  </a:cubicBezTo>
                  <a:cubicBezTo>
                    <a:pt x="1801" y="509"/>
                    <a:pt x="2346" y="339"/>
                    <a:pt x="2879" y="339"/>
                  </a:cubicBezTo>
                  <a:cubicBezTo>
                    <a:pt x="4191" y="339"/>
                    <a:pt x="5430" y="1370"/>
                    <a:pt x="5430" y="2876"/>
                  </a:cubicBezTo>
                  <a:cubicBezTo>
                    <a:pt x="5430" y="3472"/>
                    <a:pt x="5228" y="4055"/>
                    <a:pt x="4835" y="4507"/>
                  </a:cubicBezTo>
                  <a:cubicBezTo>
                    <a:pt x="4346" y="5079"/>
                    <a:pt x="3644" y="5412"/>
                    <a:pt x="2894" y="5412"/>
                  </a:cubicBezTo>
                  <a:cubicBezTo>
                    <a:pt x="1489" y="5412"/>
                    <a:pt x="346" y="4269"/>
                    <a:pt x="346" y="2864"/>
                  </a:cubicBezTo>
                  <a:cubicBezTo>
                    <a:pt x="346" y="2305"/>
                    <a:pt x="525" y="1769"/>
                    <a:pt x="870" y="1316"/>
                  </a:cubicBezTo>
                  <a:cubicBezTo>
                    <a:pt x="929" y="1245"/>
                    <a:pt x="906" y="1138"/>
                    <a:pt x="834" y="1078"/>
                  </a:cubicBezTo>
                  <a:cubicBezTo>
                    <a:pt x="804" y="1054"/>
                    <a:pt x="768" y="1041"/>
                    <a:pt x="732" y="1041"/>
                  </a:cubicBezTo>
                  <a:cubicBezTo>
                    <a:pt x="682" y="1041"/>
                    <a:pt x="631" y="1065"/>
                    <a:pt x="596" y="1114"/>
                  </a:cubicBezTo>
                  <a:cubicBezTo>
                    <a:pt x="203" y="1614"/>
                    <a:pt x="1" y="2221"/>
                    <a:pt x="1" y="2852"/>
                  </a:cubicBezTo>
                  <a:cubicBezTo>
                    <a:pt x="1" y="4448"/>
                    <a:pt x="1298" y="5734"/>
                    <a:pt x="2882" y="5734"/>
                  </a:cubicBezTo>
                  <a:cubicBezTo>
                    <a:pt x="3751" y="5734"/>
                    <a:pt x="4549" y="5365"/>
                    <a:pt x="5108" y="4698"/>
                  </a:cubicBezTo>
                  <a:cubicBezTo>
                    <a:pt x="5537" y="4174"/>
                    <a:pt x="5775" y="3519"/>
                    <a:pt x="5775" y="2852"/>
                  </a:cubicBezTo>
                  <a:cubicBezTo>
                    <a:pt x="5775" y="1158"/>
                    <a:pt x="4365" y="1"/>
                    <a:pt x="28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3" name="Google Shape;9973;p58"/>
            <p:cNvSpPr/>
            <p:nvPr/>
          </p:nvSpPr>
          <p:spPr>
            <a:xfrm>
              <a:off x="3733624" y="3358174"/>
              <a:ext cx="138039" cy="114667"/>
            </a:xfrm>
            <a:custGeom>
              <a:avLst/>
              <a:gdLst/>
              <a:ahLst/>
              <a:cxnLst/>
              <a:rect l="l" t="t" r="r" b="b"/>
              <a:pathLst>
                <a:path w="4347" h="3611" extrusionOk="0">
                  <a:moveTo>
                    <a:pt x="1965" y="0"/>
                  </a:moveTo>
                  <a:cubicBezTo>
                    <a:pt x="846" y="0"/>
                    <a:pt x="0" y="1000"/>
                    <a:pt x="179" y="2096"/>
                  </a:cubicBezTo>
                  <a:cubicBezTo>
                    <a:pt x="190" y="2183"/>
                    <a:pt x="270" y="2240"/>
                    <a:pt x="348" y="2240"/>
                  </a:cubicBezTo>
                  <a:cubicBezTo>
                    <a:pt x="355" y="2240"/>
                    <a:pt x="362" y="2240"/>
                    <a:pt x="369" y="2239"/>
                  </a:cubicBezTo>
                  <a:cubicBezTo>
                    <a:pt x="465" y="2215"/>
                    <a:pt x="524" y="2132"/>
                    <a:pt x="500" y="2036"/>
                  </a:cubicBezTo>
                  <a:cubicBezTo>
                    <a:pt x="347" y="1083"/>
                    <a:pt x="1112" y="331"/>
                    <a:pt x="1952" y="331"/>
                  </a:cubicBezTo>
                  <a:cubicBezTo>
                    <a:pt x="2288" y="331"/>
                    <a:pt x="2635" y="451"/>
                    <a:pt x="2941" y="727"/>
                  </a:cubicBezTo>
                  <a:cubicBezTo>
                    <a:pt x="3525" y="1262"/>
                    <a:pt x="3572" y="2191"/>
                    <a:pt x="3013" y="2798"/>
                  </a:cubicBezTo>
                  <a:cubicBezTo>
                    <a:pt x="2727" y="3116"/>
                    <a:pt x="2334" y="3271"/>
                    <a:pt x="1942" y="3271"/>
                  </a:cubicBezTo>
                  <a:cubicBezTo>
                    <a:pt x="1468" y="3271"/>
                    <a:pt x="995" y="3045"/>
                    <a:pt x="715" y="2608"/>
                  </a:cubicBezTo>
                  <a:cubicBezTo>
                    <a:pt x="684" y="2561"/>
                    <a:pt x="623" y="2530"/>
                    <a:pt x="564" y="2530"/>
                  </a:cubicBezTo>
                  <a:cubicBezTo>
                    <a:pt x="533" y="2530"/>
                    <a:pt x="502" y="2539"/>
                    <a:pt x="477" y="2560"/>
                  </a:cubicBezTo>
                  <a:cubicBezTo>
                    <a:pt x="393" y="2608"/>
                    <a:pt x="369" y="2727"/>
                    <a:pt x="429" y="2798"/>
                  </a:cubicBezTo>
                  <a:cubicBezTo>
                    <a:pt x="780" y="3337"/>
                    <a:pt x="1353" y="3611"/>
                    <a:pt x="1934" y="3611"/>
                  </a:cubicBezTo>
                  <a:cubicBezTo>
                    <a:pt x="2418" y="3611"/>
                    <a:pt x="2906" y="3421"/>
                    <a:pt x="3274" y="3036"/>
                  </a:cubicBezTo>
                  <a:cubicBezTo>
                    <a:pt x="4346" y="1882"/>
                    <a:pt x="3525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4" name="Google Shape;9974;p58"/>
            <p:cNvSpPr/>
            <p:nvPr/>
          </p:nvSpPr>
          <p:spPr>
            <a:xfrm>
              <a:off x="3777478" y="3386087"/>
              <a:ext cx="51062" cy="43282"/>
            </a:xfrm>
            <a:custGeom>
              <a:avLst/>
              <a:gdLst/>
              <a:ahLst/>
              <a:cxnLst/>
              <a:rect l="l" t="t" r="r" b="b"/>
              <a:pathLst>
                <a:path w="1608" h="1363" extrusionOk="0">
                  <a:moveTo>
                    <a:pt x="772" y="1"/>
                  </a:moveTo>
                  <a:cubicBezTo>
                    <a:pt x="765" y="1"/>
                    <a:pt x="758" y="1"/>
                    <a:pt x="750" y="2"/>
                  </a:cubicBezTo>
                  <a:cubicBezTo>
                    <a:pt x="215" y="110"/>
                    <a:pt x="0" y="776"/>
                    <a:pt x="393" y="1157"/>
                  </a:cubicBezTo>
                  <a:cubicBezTo>
                    <a:pt x="524" y="1294"/>
                    <a:pt x="697" y="1363"/>
                    <a:pt x="871" y="1363"/>
                  </a:cubicBezTo>
                  <a:cubicBezTo>
                    <a:pt x="1045" y="1363"/>
                    <a:pt x="1221" y="1294"/>
                    <a:pt x="1358" y="1157"/>
                  </a:cubicBezTo>
                  <a:cubicBezTo>
                    <a:pt x="1560" y="919"/>
                    <a:pt x="1608" y="610"/>
                    <a:pt x="1489" y="360"/>
                  </a:cubicBezTo>
                  <a:cubicBezTo>
                    <a:pt x="1457" y="296"/>
                    <a:pt x="1404" y="264"/>
                    <a:pt x="1348" y="264"/>
                  </a:cubicBezTo>
                  <a:cubicBezTo>
                    <a:pt x="1319" y="264"/>
                    <a:pt x="1290" y="272"/>
                    <a:pt x="1262" y="288"/>
                  </a:cubicBezTo>
                  <a:cubicBezTo>
                    <a:pt x="1179" y="324"/>
                    <a:pt x="1143" y="431"/>
                    <a:pt x="1191" y="502"/>
                  </a:cubicBezTo>
                  <a:cubicBezTo>
                    <a:pt x="1251" y="633"/>
                    <a:pt x="1239" y="788"/>
                    <a:pt x="1120" y="907"/>
                  </a:cubicBezTo>
                  <a:cubicBezTo>
                    <a:pt x="1054" y="973"/>
                    <a:pt x="965" y="1006"/>
                    <a:pt x="875" y="1006"/>
                  </a:cubicBezTo>
                  <a:cubicBezTo>
                    <a:pt x="786" y="1006"/>
                    <a:pt x="697" y="973"/>
                    <a:pt x="631" y="907"/>
                  </a:cubicBezTo>
                  <a:cubicBezTo>
                    <a:pt x="429" y="717"/>
                    <a:pt x="536" y="372"/>
                    <a:pt x="810" y="324"/>
                  </a:cubicBezTo>
                  <a:cubicBezTo>
                    <a:pt x="893" y="312"/>
                    <a:pt x="953" y="229"/>
                    <a:pt x="941" y="133"/>
                  </a:cubicBezTo>
                  <a:cubicBezTo>
                    <a:pt x="930" y="57"/>
                    <a:pt x="850" y="1"/>
                    <a:pt x="7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75" name="Google Shape;9975;p58"/>
          <p:cNvSpPr/>
          <p:nvPr/>
        </p:nvSpPr>
        <p:spPr>
          <a:xfrm>
            <a:off x="5263326" y="3229852"/>
            <a:ext cx="323298" cy="320789"/>
          </a:xfrm>
          <a:custGeom>
            <a:avLst/>
            <a:gdLst/>
            <a:ahLst/>
            <a:cxnLst/>
            <a:rect l="l" t="t" r="r" b="b"/>
            <a:pathLst>
              <a:path w="10181" h="10102" extrusionOk="0">
                <a:moveTo>
                  <a:pt x="2632" y="410"/>
                </a:moveTo>
                <a:lnTo>
                  <a:pt x="4085" y="2863"/>
                </a:lnTo>
                <a:lnTo>
                  <a:pt x="3311" y="3327"/>
                </a:lnTo>
                <a:lnTo>
                  <a:pt x="1858" y="874"/>
                </a:lnTo>
                <a:lnTo>
                  <a:pt x="2632" y="410"/>
                </a:lnTo>
                <a:close/>
                <a:moveTo>
                  <a:pt x="2715" y="0"/>
                </a:moveTo>
                <a:cubicBezTo>
                  <a:pt x="2684" y="0"/>
                  <a:pt x="2655" y="12"/>
                  <a:pt x="2620" y="29"/>
                </a:cubicBezTo>
                <a:lnTo>
                  <a:pt x="1537" y="660"/>
                </a:lnTo>
                <a:cubicBezTo>
                  <a:pt x="1442" y="708"/>
                  <a:pt x="1418" y="827"/>
                  <a:pt x="1477" y="922"/>
                </a:cubicBezTo>
                <a:lnTo>
                  <a:pt x="1573" y="1101"/>
                </a:lnTo>
                <a:lnTo>
                  <a:pt x="1132" y="1339"/>
                </a:lnTo>
                <a:cubicBezTo>
                  <a:pt x="668" y="1577"/>
                  <a:pt x="322" y="1993"/>
                  <a:pt x="168" y="2482"/>
                </a:cubicBezTo>
                <a:cubicBezTo>
                  <a:pt x="1" y="2982"/>
                  <a:pt x="49" y="3506"/>
                  <a:pt x="263" y="3982"/>
                </a:cubicBezTo>
                <a:cubicBezTo>
                  <a:pt x="489" y="4446"/>
                  <a:pt x="1180" y="5220"/>
                  <a:pt x="1692" y="5803"/>
                </a:cubicBezTo>
                <a:cubicBezTo>
                  <a:pt x="1727" y="5839"/>
                  <a:pt x="1787" y="5863"/>
                  <a:pt x="1835" y="5863"/>
                </a:cubicBezTo>
                <a:cubicBezTo>
                  <a:pt x="1870" y="5863"/>
                  <a:pt x="1918" y="5839"/>
                  <a:pt x="1954" y="5815"/>
                </a:cubicBezTo>
                <a:cubicBezTo>
                  <a:pt x="2025" y="5744"/>
                  <a:pt x="2025" y="5637"/>
                  <a:pt x="1965" y="5565"/>
                </a:cubicBezTo>
                <a:cubicBezTo>
                  <a:pt x="1251" y="4768"/>
                  <a:pt x="763" y="4149"/>
                  <a:pt x="596" y="3815"/>
                </a:cubicBezTo>
                <a:cubicBezTo>
                  <a:pt x="203" y="3029"/>
                  <a:pt x="525" y="2065"/>
                  <a:pt x="1299" y="1648"/>
                </a:cubicBezTo>
                <a:lnTo>
                  <a:pt x="1751" y="1410"/>
                </a:lnTo>
                <a:lnTo>
                  <a:pt x="2763" y="3125"/>
                </a:lnTo>
                <a:cubicBezTo>
                  <a:pt x="2668" y="3160"/>
                  <a:pt x="2573" y="3220"/>
                  <a:pt x="2501" y="3303"/>
                </a:cubicBezTo>
                <a:cubicBezTo>
                  <a:pt x="2096" y="3660"/>
                  <a:pt x="2037" y="4232"/>
                  <a:pt x="2346" y="4672"/>
                </a:cubicBezTo>
                <a:cubicBezTo>
                  <a:pt x="2513" y="4887"/>
                  <a:pt x="5299" y="7685"/>
                  <a:pt x="5525" y="7839"/>
                </a:cubicBezTo>
                <a:cubicBezTo>
                  <a:pt x="5704" y="7970"/>
                  <a:pt x="5906" y="8030"/>
                  <a:pt x="6133" y="8030"/>
                </a:cubicBezTo>
                <a:cubicBezTo>
                  <a:pt x="6418" y="8030"/>
                  <a:pt x="6692" y="7911"/>
                  <a:pt x="6907" y="7673"/>
                </a:cubicBezTo>
                <a:cubicBezTo>
                  <a:pt x="6978" y="7601"/>
                  <a:pt x="7038" y="7494"/>
                  <a:pt x="7085" y="7387"/>
                </a:cubicBezTo>
                <a:lnTo>
                  <a:pt x="8800" y="8399"/>
                </a:lnTo>
                <a:lnTo>
                  <a:pt x="8562" y="8863"/>
                </a:lnTo>
                <a:cubicBezTo>
                  <a:pt x="8267" y="9418"/>
                  <a:pt x="7695" y="9741"/>
                  <a:pt x="7107" y="9741"/>
                </a:cubicBezTo>
                <a:cubicBezTo>
                  <a:pt x="6862" y="9741"/>
                  <a:pt x="6614" y="9685"/>
                  <a:pt x="6383" y="9566"/>
                </a:cubicBezTo>
                <a:cubicBezTo>
                  <a:pt x="5764" y="9256"/>
                  <a:pt x="4097" y="7768"/>
                  <a:pt x="2513" y="6113"/>
                </a:cubicBezTo>
                <a:cubicBezTo>
                  <a:pt x="2477" y="6077"/>
                  <a:pt x="2433" y="6059"/>
                  <a:pt x="2388" y="6059"/>
                </a:cubicBezTo>
                <a:cubicBezTo>
                  <a:pt x="2344" y="6059"/>
                  <a:pt x="2299" y="6077"/>
                  <a:pt x="2263" y="6113"/>
                </a:cubicBezTo>
                <a:cubicBezTo>
                  <a:pt x="2192" y="6184"/>
                  <a:pt x="2192" y="6292"/>
                  <a:pt x="2263" y="6363"/>
                </a:cubicBezTo>
                <a:cubicBezTo>
                  <a:pt x="3656" y="7839"/>
                  <a:pt x="5466" y="9518"/>
                  <a:pt x="6240" y="9887"/>
                </a:cubicBezTo>
                <a:cubicBezTo>
                  <a:pt x="6514" y="10030"/>
                  <a:pt x="6811" y="10102"/>
                  <a:pt x="7109" y="10102"/>
                </a:cubicBezTo>
                <a:cubicBezTo>
                  <a:pt x="7323" y="10102"/>
                  <a:pt x="7526" y="10066"/>
                  <a:pt x="7740" y="9994"/>
                </a:cubicBezTo>
                <a:cubicBezTo>
                  <a:pt x="8240" y="9828"/>
                  <a:pt x="8645" y="9494"/>
                  <a:pt x="8883" y="9030"/>
                </a:cubicBezTo>
                <a:lnTo>
                  <a:pt x="9121" y="8578"/>
                </a:lnTo>
                <a:lnTo>
                  <a:pt x="9300" y="8685"/>
                </a:lnTo>
                <a:cubicBezTo>
                  <a:pt x="9335" y="8697"/>
                  <a:pt x="9359" y="8721"/>
                  <a:pt x="9395" y="8721"/>
                </a:cubicBezTo>
                <a:cubicBezTo>
                  <a:pt x="9455" y="8721"/>
                  <a:pt x="9514" y="8685"/>
                  <a:pt x="9538" y="8625"/>
                </a:cubicBezTo>
                <a:lnTo>
                  <a:pt x="10181" y="7542"/>
                </a:lnTo>
                <a:cubicBezTo>
                  <a:pt x="10169" y="7494"/>
                  <a:pt x="10169" y="7447"/>
                  <a:pt x="10169" y="7411"/>
                </a:cubicBezTo>
                <a:cubicBezTo>
                  <a:pt x="10157" y="7363"/>
                  <a:pt x="10121" y="7316"/>
                  <a:pt x="10074" y="7304"/>
                </a:cubicBezTo>
                <a:lnTo>
                  <a:pt x="8871" y="6589"/>
                </a:lnTo>
                <a:cubicBezTo>
                  <a:pt x="8845" y="6574"/>
                  <a:pt x="8816" y="6568"/>
                  <a:pt x="8788" y="6568"/>
                </a:cubicBezTo>
                <a:cubicBezTo>
                  <a:pt x="8725" y="6568"/>
                  <a:pt x="8662" y="6600"/>
                  <a:pt x="8621" y="6649"/>
                </a:cubicBezTo>
                <a:cubicBezTo>
                  <a:pt x="8573" y="6732"/>
                  <a:pt x="8609" y="6839"/>
                  <a:pt x="8681" y="6899"/>
                </a:cubicBezTo>
                <a:lnTo>
                  <a:pt x="9740" y="7530"/>
                </a:lnTo>
                <a:lnTo>
                  <a:pt x="9276" y="8304"/>
                </a:lnTo>
                <a:lnTo>
                  <a:pt x="6823" y="6851"/>
                </a:lnTo>
                <a:lnTo>
                  <a:pt x="7276" y="6077"/>
                </a:lnTo>
                <a:lnTo>
                  <a:pt x="8038" y="6530"/>
                </a:lnTo>
                <a:cubicBezTo>
                  <a:pt x="8064" y="6545"/>
                  <a:pt x="8092" y="6551"/>
                  <a:pt x="8121" y="6551"/>
                </a:cubicBezTo>
                <a:cubicBezTo>
                  <a:pt x="8184" y="6551"/>
                  <a:pt x="8247" y="6519"/>
                  <a:pt x="8288" y="6470"/>
                </a:cubicBezTo>
                <a:cubicBezTo>
                  <a:pt x="8335" y="6375"/>
                  <a:pt x="8312" y="6280"/>
                  <a:pt x="8228" y="6220"/>
                </a:cubicBezTo>
                <a:lnTo>
                  <a:pt x="7311" y="5684"/>
                </a:lnTo>
                <a:cubicBezTo>
                  <a:pt x="7281" y="5662"/>
                  <a:pt x="7251" y="5653"/>
                  <a:pt x="7221" y="5653"/>
                </a:cubicBezTo>
                <a:cubicBezTo>
                  <a:pt x="7203" y="5653"/>
                  <a:pt x="7186" y="5656"/>
                  <a:pt x="7169" y="5661"/>
                </a:cubicBezTo>
                <a:cubicBezTo>
                  <a:pt x="7133" y="5684"/>
                  <a:pt x="7085" y="5708"/>
                  <a:pt x="7073" y="5756"/>
                </a:cubicBezTo>
                <a:lnTo>
                  <a:pt x="6430" y="6839"/>
                </a:lnTo>
                <a:cubicBezTo>
                  <a:pt x="6383" y="6935"/>
                  <a:pt x="6418" y="7030"/>
                  <a:pt x="6490" y="7089"/>
                </a:cubicBezTo>
                <a:lnTo>
                  <a:pt x="6728" y="7244"/>
                </a:lnTo>
                <a:lnTo>
                  <a:pt x="6716" y="7268"/>
                </a:lnTo>
                <a:cubicBezTo>
                  <a:pt x="6680" y="7351"/>
                  <a:pt x="6633" y="7411"/>
                  <a:pt x="6597" y="7470"/>
                </a:cubicBezTo>
                <a:cubicBezTo>
                  <a:pt x="6466" y="7615"/>
                  <a:pt x="6284" y="7692"/>
                  <a:pt x="6098" y="7692"/>
                </a:cubicBezTo>
                <a:cubicBezTo>
                  <a:pt x="5962" y="7692"/>
                  <a:pt x="5825" y="7651"/>
                  <a:pt x="5704" y="7566"/>
                </a:cubicBezTo>
                <a:cubicBezTo>
                  <a:pt x="5514" y="7423"/>
                  <a:pt x="2751" y="4672"/>
                  <a:pt x="2608" y="4470"/>
                </a:cubicBezTo>
                <a:cubicBezTo>
                  <a:pt x="2394" y="4196"/>
                  <a:pt x="2442" y="3815"/>
                  <a:pt x="2716" y="3577"/>
                </a:cubicBezTo>
                <a:cubicBezTo>
                  <a:pt x="2775" y="3541"/>
                  <a:pt x="2835" y="3494"/>
                  <a:pt x="2906" y="3458"/>
                </a:cubicBezTo>
                <a:lnTo>
                  <a:pt x="2930" y="3446"/>
                </a:lnTo>
                <a:lnTo>
                  <a:pt x="3085" y="3684"/>
                </a:lnTo>
                <a:cubicBezTo>
                  <a:pt x="3108" y="3744"/>
                  <a:pt x="3168" y="3779"/>
                  <a:pt x="3228" y="3779"/>
                </a:cubicBezTo>
                <a:cubicBezTo>
                  <a:pt x="3263" y="3779"/>
                  <a:pt x="3287" y="3756"/>
                  <a:pt x="3323" y="3744"/>
                </a:cubicBezTo>
                <a:lnTo>
                  <a:pt x="4406" y="3101"/>
                </a:lnTo>
                <a:cubicBezTo>
                  <a:pt x="4454" y="3077"/>
                  <a:pt x="4478" y="3041"/>
                  <a:pt x="4490" y="3006"/>
                </a:cubicBezTo>
                <a:cubicBezTo>
                  <a:pt x="4513" y="2958"/>
                  <a:pt x="4490" y="2910"/>
                  <a:pt x="4478" y="2863"/>
                </a:cubicBezTo>
                <a:lnTo>
                  <a:pt x="2858" y="100"/>
                </a:lnTo>
                <a:cubicBezTo>
                  <a:pt x="2823" y="53"/>
                  <a:pt x="2799" y="29"/>
                  <a:pt x="2751" y="5"/>
                </a:cubicBezTo>
                <a:cubicBezTo>
                  <a:pt x="2739" y="2"/>
                  <a:pt x="2727" y="0"/>
                  <a:pt x="271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76" name="Google Shape;9976;p58"/>
          <p:cNvGrpSpPr/>
          <p:nvPr/>
        </p:nvGrpSpPr>
        <p:grpSpPr>
          <a:xfrm>
            <a:off x="5765817" y="3227724"/>
            <a:ext cx="364865" cy="324822"/>
            <a:chOff x="5765817" y="3227724"/>
            <a:chExt cx="364865" cy="324822"/>
          </a:xfrm>
        </p:grpSpPr>
        <p:sp>
          <p:nvSpPr>
            <p:cNvPr id="9977" name="Google Shape;9977;p58"/>
            <p:cNvSpPr/>
            <p:nvPr/>
          </p:nvSpPr>
          <p:spPr>
            <a:xfrm>
              <a:off x="5765817" y="3227724"/>
              <a:ext cx="364865" cy="324822"/>
            </a:xfrm>
            <a:custGeom>
              <a:avLst/>
              <a:gdLst/>
              <a:ahLst/>
              <a:cxnLst/>
              <a:rect l="l" t="t" r="r" b="b"/>
              <a:pathLst>
                <a:path w="11490" h="10229" extrusionOk="0">
                  <a:moveTo>
                    <a:pt x="8287" y="370"/>
                  </a:moveTo>
                  <a:cubicBezTo>
                    <a:pt x="9871" y="370"/>
                    <a:pt x="11157" y="1656"/>
                    <a:pt x="11157" y="3251"/>
                  </a:cubicBezTo>
                  <a:cubicBezTo>
                    <a:pt x="11133" y="4037"/>
                    <a:pt x="10847" y="4870"/>
                    <a:pt x="10299" y="5751"/>
                  </a:cubicBezTo>
                  <a:cubicBezTo>
                    <a:pt x="9847" y="6442"/>
                    <a:pt x="9216" y="7156"/>
                    <a:pt x="8418" y="7871"/>
                  </a:cubicBezTo>
                  <a:cubicBezTo>
                    <a:pt x="7263" y="8918"/>
                    <a:pt x="6084" y="9645"/>
                    <a:pt x="5763" y="9835"/>
                  </a:cubicBezTo>
                  <a:cubicBezTo>
                    <a:pt x="5430" y="9645"/>
                    <a:pt x="4251" y="8930"/>
                    <a:pt x="3096" y="7895"/>
                  </a:cubicBezTo>
                  <a:cubicBezTo>
                    <a:pt x="2310" y="7180"/>
                    <a:pt x="1667" y="6466"/>
                    <a:pt x="1215" y="5763"/>
                  </a:cubicBezTo>
                  <a:cubicBezTo>
                    <a:pt x="667" y="4894"/>
                    <a:pt x="381" y="4049"/>
                    <a:pt x="381" y="3251"/>
                  </a:cubicBezTo>
                  <a:cubicBezTo>
                    <a:pt x="381" y="1668"/>
                    <a:pt x="1667" y="370"/>
                    <a:pt x="3263" y="370"/>
                  </a:cubicBezTo>
                  <a:cubicBezTo>
                    <a:pt x="4191" y="370"/>
                    <a:pt x="5084" y="834"/>
                    <a:pt x="5620" y="1608"/>
                  </a:cubicBezTo>
                  <a:cubicBezTo>
                    <a:pt x="5656" y="1656"/>
                    <a:pt x="5715" y="1679"/>
                    <a:pt x="5775" y="1679"/>
                  </a:cubicBezTo>
                  <a:cubicBezTo>
                    <a:pt x="5834" y="1679"/>
                    <a:pt x="5894" y="1656"/>
                    <a:pt x="5918" y="1608"/>
                  </a:cubicBezTo>
                  <a:cubicBezTo>
                    <a:pt x="6454" y="834"/>
                    <a:pt x="7335" y="370"/>
                    <a:pt x="8287" y="370"/>
                  </a:cubicBezTo>
                  <a:close/>
                  <a:moveTo>
                    <a:pt x="3227" y="1"/>
                  </a:moveTo>
                  <a:cubicBezTo>
                    <a:pt x="1441" y="1"/>
                    <a:pt x="0" y="1441"/>
                    <a:pt x="0" y="3227"/>
                  </a:cubicBezTo>
                  <a:cubicBezTo>
                    <a:pt x="0" y="4108"/>
                    <a:pt x="298" y="5013"/>
                    <a:pt x="893" y="5942"/>
                  </a:cubicBezTo>
                  <a:cubicBezTo>
                    <a:pt x="1370" y="6668"/>
                    <a:pt x="2001" y="7418"/>
                    <a:pt x="2822" y="8145"/>
                  </a:cubicBezTo>
                  <a:cubicBezTo>
                    <a:pt x="4203" y="9383"/>
                    <a:pt x="5620" y="10181"/>
                    <a:pt x="5632" y="10192"/>
                  </a:cubicBezTo>
                  <a:cubicBezTo>
                    <a:pt x="5668" y="10216"/>
                    <a:pt x="5692" y="10228"/>
                    <a:pt x="5727" y="10228"/>
                  </a:cubicBezTo>
                  <a:cubicBezTo>
                    <a:pt x="5751" y="10228"/>
                    <a:pt x="5787" y="10216"/>
                    <a:pt x="5811" y="10192"/>
                  </a:cubicBezTo>
                  <a:cubicBezTo>
                    <a:pt x="5834" y="10181"/>
                    <a:pt x="7239" y="9395"/>
                    <a:pt x="8632" y="8145"/>
                  </a:cubicBezTo>
                  <a:cubicBezTo>
                    <a:pt x="9442" y="7418"/>
                    <a:pt x="10097" y="6668"/>
                    <a:pt x="10561" y="5942"/>
                  </a:cubicBezTo>
                  <a:cubicBezTo>
                    <a:pt x="11157" y="5013"/>
                    <a:pt x="11454" y="4108"/>
                    <a:pt x="11454" y="3227"/>
                  </a:cubicBezTo>
                  <a:cubicBezTo>
                    <a:pt x="11490" y="1441"/>
                    <a:pt x="10049" y="1"/>
                    <a:pt x="8263" y="1"/>
                  </a:cubicBezTo>
                  <a:cubicBezTo>
                    <a:pt x="7275" y="1"/>
                    <a:pt x="6358" y="453"/>
                    <a:pt x="5739" y="1203"/>
                  </a:cubicBezTo>
                  <a:cubicBezTo>
                    <a:pt x="5132" y="453"/>
                    <a:pt x="4203" y="1"/>
                    <a:pt x="3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8" name="Google Shape;9978;p58"/>
            <p:cNvSpPr/>
            <p:nvPr/>
          </p:nvSpPr>
          <p:spPr>
            <a:xfrm>
              <a:off x="6022144" y="3250429"/>
              <a:ext cx="85484" cy="84341"/>
            </a:xfrm>
            <a:custGeom>
              <a:avLst/>
              <a:gdLst/>
              <a:ahLst/>
              <a:cxnLst/>
              <a:rect l="l" t="t" r="r" b="b"/>
              <a:pathLst>
                <a:path w="2692" h="2656" extrusionOk="0">
                  <a:moveTo>
                    <a:pt x="191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86"/>
                    <a:pt x="84" y="357"/>
                    <a:pt x="191" y="357"/>
                  </a:cubicBezTo>
                  <a:cubicBezTo>
                    <a:pt x="1346" y="357"/>
                    <a:pt x="2311" y="1310"/>
                    <a:pt x="2334" y="2477"/>
                  </a:cubicBezTo>
                  <a:cubicBezTo>
                    <a:pt x="2334" y="2572"/>
                    <a:pt x="2406" y="2655"/>
                    <a:pt x="2513" y="2655"/>
                  </a:cubicBezTo>
                  <a:cubicBezTo>
                    <a:pt x="2608" y="2655"/>
                    <a:pt x="2692" y="2560"/>
                    <a:pt x="2692" y="2477"/>
                  </a:cubicBezTo>
                  <a:cubicBezTo>
                    <a:pt x="2668" y="1107"/>
                    <a:pt x="1561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9" name="Google Shape;9979;p58"/>
            <p:cNvSpPr/>
            <p:nvPr/>
          </p:nvSpPr>
          <p:spPr>
            <a:xfrm>
              <a:off x="5862987" y="3250429"/>
              <a:ext cx="73386" cy="43504"/>
            </a:xfrm>
            <a:custGeom>
              <a:avLst/>
              <a:gdLst/>
              <a:ahLst/>
              <a:cxnLst/>
              <a:rect l="l" t="t" r="r" b="b"/>
              <a:pathLst>
                <a:path w="2311" h="137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86"/>
                    <a:pt x="72" y="357"/>
                    <a:pt x="179" y="357"/>
                  </a:cubicBezTo>
                  <a:cubicBezTo>
                    <a:pt x="881" y="357"/>
                    <a:pt x="1548" y="703"/>
                    <a:pt x="1953" y="1298"/>
                  </a:cubicBezTo>
                  <a:cubicBezTo>
                    <a:pt x="1989" y="1334"/>
                    <a:pt x="2036" y="1369"/>
                    <a:pt x="2108" y="1369"/>
                  </a:cubicBezTo>
                  <a:cubicBezTo>
                    <a:pt x="2131" y="1369"/>
                    <a:pt x="2179" y="1357"/>
                    <a:pt x="2203" y="1334"/>
                  </a:cubicBezTo>
                  <a:cubicBezTo>
                    <a:pt x="2286" y="1286"/>
                    <a:pt x="2310" y="1179"/>
                    <a:pt x="2251" y="1084"/>
                  </a:cubicBezTo>
                  <a:cubicBezTo>
                    <a:pt x="1786" y="405"/>
                    <a:pt x="101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80" name="Google Shape;9980;p58"/>
          <p:cNvGrpSpPr/>
          <p:nvPr/>
        </p:nvGrpSpPr>
        <p:grpSpPr>
          <a:xfrm>
            <a:off x="6228583" y="3237664"/>
            <a:ext cx="446539" cy="303895"/>
            <a:chOff x="6228583" y="3237664"/>
            <a:chExt cx="446539" cy="303895"/>
          </a:xfrm>
        </p:grpSpPr>
        <p:sp>
          <p:nvSpPr>
            <p:cNvPr id="9981" name="Google Shape;9981;p58"/>
            <p:cNvSpPr/>
            <p:nvPr/>
          </p:nvSpPr>
          <p:spPr>
            <a:xfrm>
              <a:off x="6357508" y="3277453"/>
              <a:ext cx="26865" cy="25912"/>
            </a:xfrm>
            <a:custGeom>
              <a:avLst/>
              <a:gdLst/>
              <a:ahLst/>
              <a:cxnLst/>
              <a:rect l="l" t="t" r="r" b="b"/>
              <a:pathLst>
                <a:path w="846" h="816" extrusionOk="0">
                  <a:moveTo>
                    <a:pt x="632" y="0"/>
                  </a:moveTo>
                  <a:cubicBezTo>
                    <a:pt x="578" y="0"/>
                    <a:pt x="525" y="18"/>
                    <a:pt x="489" y="54"/>
                  </a:cubicBezTo>
                  <a:lnTo>
                    <a:pt x="72" y="471"/>
                  </a:lnTo>
                  <a:cubicBezTo>
                    <a:pt x="1" y="542"/>
                    <a:pt x="1" y="685"/>
                    <a:pt x="72" y="756"/>
                  </a:cubicBezTo>
                  <a:cubicBezTo>
                    <a:pt x="120" y="804"/>
                    <a:pt x="167" y="816"/>
                    <a:pt x="227" y="816"/>
                  </a:cubicBezTo>
                  <a:cubicBezTo>
                    <a:pt x="263" y="816"/>
                    <a:pt x="322" y="804"/>
                    <a:pt x="370" y="756"/>
                  </a:cubicBezTo>
                  <a:lnTo>
                    <a:pt x="786" y="340"/>
                  </a:lnTo>
                  <a:cubicBezTo>
                    <a:pt x="846" y="268"/>
                    <a:pt x="846" y="149"/>
                    <a:pt x="775" y="54"/>
                  </a:cubicBezTo>
                  <a:cubicBezTo>
                    <a:pt x="739" y="18"/>
                    <a:pt x="685" y="0"/>
                    <a:pt x="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2" name="Google Shape;9982;p58"/>
            <p:cNvSpPr/>
            <p:nvPr/>
          </p:nvSpPr>
          <p:spPr>
            <a:xfrm>
              <a:off x="6276596" y="3358746"/>
              <a:ext cx="26896" cy="25912"/>
            </a:xfrm>
            <a:custGeom>
              <a:avLst/>
              <a:gdLst/>
              <a:ahLst/>
              <a:cxnLst/>
              <a:rect l="l" t="t" r="r" b="b"/>
              <a:pathLst>
                <a:path w="847" h="816" extrusionOk="0">
                  <a:moveTo>
                    <a:pt x="632" y="0"/>
                  </a:moveTo>
                  <a:cubicBezTo>
                    <a:pt x="578" y="0"/>
                    <a:pt x="525" y="18"/>
                    <a:pt x="489" y="54"/>
                  </a:cubicBezTo>
                  <a:lnTo>
                    <a:pt x="72" y="471"/>
                  </a:lnTo>
                  <a:cubicBezTo>
                    <a:pt x="1" y="554"/>
                    <a:pt x="1" y="685"/>
                    <a:pt x="72" y="756"/>
                  </a:cubicBezTo>
                  <a:cubicBezTo>
                    <a:pt x="120" y="804"/>
                    <a:pt x="167" y="816"/>
                    <a:pt x="227" y="816"/>
                  </a:cubicBezTo>
                  <a:cubicBezTo>
                    <a:pt x="286" y="816"/>
                    <a:pt x="334" y="804"/>
                    <a:pt x="370" y="756"/>
                  </a:cubicBezTo>
                  <a:lnTo>
                    <a:pt x="787" y="340"/>
                  </a:lnTo>
                  <a:cubicBezTo>
                    <a:pt x="846" y="256"/>
                    <a:pt x="846" y="137"/>
                    <a:pt x="775" y="54"/>
                  </a:cubicBezTo>
                  <a:cubicBezTo>
                    <a:pt x="739" y="18"/>
                    <a:pt x="685" y="0"/>
                    <a:pt x="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3" name="Google Shape;9983;p58"/>
            <p:cNvSpPr/>
            <p:nvPr/>
          </p:nvSpPr>
          <p:spPr>
            <a:xfrm>
              <a:off x="6357508" y="3358365"/>
              <a:ext cx="26865" cy="25912"/>
            </a:xfrm>
            <a:custGeom>
              <a:avLst/>
              <a:gdLst/>
              <a:ahLst/>
              <a:cxnLst/>
              <a:rect l="l" t="t" r="r" b="b"/>
              <a:pathLst>
                <a:path w="846" h="816" extrusionOk="0">
                  <a:moveTo>
                    <a:pt x="215" y="0"/>
                  </a:moveTo>
                  <a:cubicBezTo>
                    <a:pt x="161" y="0"/>
                    <a:pt x="108" y="18"/>
                    <a:pt x="72" y="54"/>
                  </a:cubicBezTo>
                  <a:cubicBezTo>
                    <a:pt x="1" y="125"/>
                    <a:pt x="1" y="268"/>
                    <a:pt x="72" y="340"/>
                  </a:cubicBezTo>
                  <a:lnTo>
                    <a:pt x="489" y="756"/>
                  </a:lnTo>
                  <a:cubicBezTo>
                    <a:pt x="536" y="792"/>
                    <a:pt x="584" y="816"/>
                    <a:pt x="644" y="816"/>
                  </a:cubicBezTo>
                  <a:cubicBezTo>
                    <a:pt x="703" y="816"/>
                    <a:pt x="739" y="792"/>
                    <a:pt x="786" y="756"/>
                  </a:cubicBezTo>
                  <a:cubicBezTo>
                    <a:pt x="846" y="685"/>
                    <a:pt x="846" y="566"/>
                    <a:pt x="775" y="471"/>
                  </a:cubicBezTo>
                  <a:lnTo>
                    <a:pt x="358" y="54"/>
                  </a:lnTo>
                  <a:cubicBezTo>
                    <a:pt x="322" y="18"/>
                    <a:pt x="269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4" name="Google Shape;9984;p58"/>
            <p:cNvSpPr/>
            <p:nvPr/>
          </p:nvSpPr>
          <p:spPr>
            <a:xfrm>
              <a:off x="6276596" y="3277453"/>
              <a:ext cx="26896" cy="25912"/>
            </a:xfrm>
            <a:custGeom>
              <a:avLst/>
              <a:gdLst/>
              <a:ahLst/>
              <a:cxnLst/>
              <a:rect l="l" t="t" r="r" b="b"/>
              <a:pathLst>
                <a:path w="847" h="816" extrusionOk="0">
                  <a:moveTo>
                    <a:pt x="219" y="0"/>
                  </a:moveTo>
                  <a:cubicBezTo>
                    <a:pt x="167" y="0"/>
                    <a:pt x="114" y="18"/>
                    <a:pt x="72" y="54"/>
                  </a:cubicBezTo>
                  <a:cubicBezTo>
                    <a:pt x="1" y="137"/>
                    <a:pt x="1" y="268"/>
                    <a:pt x="72" y="340"/>
                  </a:cubicBezTo>
                  <a:lnTo>
                    <a:pt x="489" y="756"/>
                  </a:lnTo>
                  <a:cubicBezTo>
                    <a:pt x="536" y="804"/>
                    <a:pt x="584" y="816"/>
                    <a:pt x="644" y="816"/>
                  </a:cubicBezTo>
                  <a:cubicBezTo>
                    <a:pt x="679" y="816"/>
                    <a:pt x="751" y="804"/>
                    <a:pt x="787" y="756"/>
                  </a:cubicBezTo>
                  <a:cubicBezTo>
                    <a:pt x="846" y="685"/>
                    <a:pt x="846" y="554"/>
                    <a:pt x="775" y="471"/>
                  </a:cubicBezTo>
                  <a:lnTo>
                    <a:pt x="358" y="54"/>
                  </a:lnTo>
                  <a:cubicBezTo>
                    <a:pt x="322" y="18"/>
                    <a:pt x="272" y="0"/>
                    <a:pt x="2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5" name="Google Shape;9985;p58"/>
            <p:cNvSpPr/>
            <p:nvPr/>
          </p:nvSpPr>
          <p:spPr>
            <a:xfrm>
              <a:off x="6526508" y="3290314"/>
              <a:ext cx="21593" cy="19879"/>
            </a:xfrm>
            <a:custGeom>
              <a:avLst/>
              <a:gdLst/>
              <a:ahLst/>
              <a:cxnLst/>
              <a:rect l="l" t="t" r="r" b="b"/>
              <a:pathLst>
                <a:path w="680" h="626" extrusionOk="0">
                  <a:moveTo>
                    <a:pt x="446" y="0"/>
                  </a:moveTo>
                  <a:cubicBezTo>
                    <a:pt x="394" y="0"/>
                    <a:pt x="340" y="18"/>
                    <a:pt x="298" y="54"/>
                  </a:cubicBezTo>
                  <a:lnTo>
                    <a:pt x="84" y="280"/>
                  </a:lnTo>
                  <a:cubicBezTo>
                    <a:pt x="1" y="351"/>
                    <a:pt x="1" y="482"/>
                    <a:pt x="84" y="566"/>
                  </a:cubicBezTo>
                  <a:cubicBezTo>
                    <a:pt x="120" y="601"/>
                    <a:pt x="167" y="625"/>
                    <a:pt x="227" y="625"/>
                  </a:cubicBezTo>
                  <a:cubicBezTo>
                    <a:pt x="275" y="625"/>
                    <a:pt x="334" y="601"/>
                    <a:pt x="382" y="566"/>
                  </a:cubicBezTo>
                  <a:lnTo>
                    <a:pt x="596" y="340"/>
                  </a:lnTo>
                  <a:cubicBezTo>
                    <a:pt x="679" y="268"/>
                    <a:pt x="679" y="125"/>
                    <a:pt x="584" y="54"/>
                  </a:cubicBezTo>
                  <a:cubicBezTo>
                    <a:pt x="548" y="18"/>
                    <a:pt x="498" y="0"/>
                    <a:pt x="4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6" name="Google Shape;9986;p58"/>
            <p:cNvSpPr/>
            <p:nvPr/>
          </p:nvSpPr>
          <p:spPr>
            <a:xfrm>
              <a:off x="6465253" y="3352299"/>
              <a:ext cx="20831" cy="19498"/>
            </a:xfrm>
            <a:custGeom>
              <a:avLst/>
              <a:gdLst/>
              <a:ahLst/>
              <a:cxnLst/>
              <a:rect l="l" t="t" r="r" b="b"/>
              <a:pathLst>
                <a:path w="656" h="614" extrusionOk="0">
                  <a:moveTo>
                    <a:pt x="437" y="1"/>
                  </a:moveTo>
                  <a:cubicBezTo>
                    <a:pt x="385" y="1"/>
                    <a:pt x="334" y="19"/>
                    <a:pt x="299" y="54"/>
                  </a:cubicBezTo>
                  <a:lnTo>
                    <a:pt x="72" y="281"/>
                  </a:lnTo>
                  <a:cubicBezTo>
                    <a:pt x="1" y="352"/>
                    <a:pt x="1" y="483"/>
                    <a:pt x="72" y="554"/>
                  </a:cubicBezTo>
                  <a:cubicBezTo>
                    <a:pt x="120" y="602"/>
                    <a:pt x="168" y="614"/>
                    <a:pt x="227" y="614"/>
                  </a:cubicBezTo>
                  <a:cubicBezTo>
                    <a:pt x="263" y="614"/>
                    <a:pt x="322" y="602"/>
                    <a:pt x="370" y="554"/>
                  </a:cubicBezTo>
                  <a:lnTo>
                    <a:pt x="596" y="340"/>
                  </a:lnTo>
                  <a:cubicBezTo>
                    <a:pt x="656" y="257"/>
                    <a:pt x="656" y="126"/>
                    <a:pt x="584" y="54"/>
                  </a:cubicBezTo>
                  <a:cubicBezTo>
                    <a:pt x="543" y="19"/>
                    <a:pt x="489" y="1"/>
                    <a:pt x="4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7" name="Google Shape;9987;p58"/>
            <p:cNvSpPr/>
            <p:nvPr/>
          </p:nvSpPr>
          <p:spPr>
            <a:xfrm>
              <a:off x="6526508" y="3352299"/>
              <a:ext cx="21593" cy="19498"/>
            </a:xfrm>
            <a:custGeom>
              <a:avLst/>
              <a:gdLst/>
              <a:ahLst/>
              <a:cxnLst/>
              <a:rect l="l" t="t" r="r" b="b"/>
              <a:pathLst>
                <a:path w="680" h="614" extrusionOk="0">
                  <a:moveTo>
                    <a:pt x="221" y="1"/>
                  </a:moveTo>
                  <a:cubicBezTo>
                    <a:pt x="170" y="1"/>
                    <a:pt x="120" y="19"/>
                    <a:pt x="84" y="54"/>
                  </a:cubicBezTo>
                  <a:cubicBezTo>
                    <a:pt x="1" y="126"/>
                    <a:pt x="1" y="257"/>
                    <a:pt x="84" y="340"/>
                  </a:cubicBezTo>
                  <a:lnTo>
                    <a:pt x="298" y="554"/>
                  </a:lnTo>
                  <a:cubicBezTo>
                    <a:pt x="346" y="602"/>
                    <a:pt x="394" y="614"/>
                    <a:pt x="453" y="614"/>
                  </a:cubicBezTo>
                  <a:cubicBezTo>
                    <a:pt x="501" y="614"/>
                    <a:pt x="560" y="602"/>
                    <a:pt x="596" y="554"/>
                  </a:cubicBezTo>
                  <a:cubicBezTo>
                    <a:pt x="679" y="483"/>
                    <a:pt x="679" y="352"/>
                    <a:pt x="584" y="281"/>
                  </a:cubicBezTo>
                  <a:lnTo>
                    <a:pt x="358" y="54"/>
                  </a:lnTo>
                  <a:cubicBezTo>
                    <a:pt x="322" y="19"/>
                    <a:pt x="272" y="1"/>
                    <a:pt x="2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8" name="Google Shape;9988;p58"/>
            <p:cNvSpPr/>
            <p:nvPr/>
          </p:nvSpPr>
          <p:spPr>
            <a:xfrm>
              <a:off x="6465253" y="3290314"/>
              <a:ext cx="20831" cy="19879"/>
            </a:xfrm>
            <a:custGeom>
              <a:avLst/>
              <a:gdLst/>
              <a:ahLst/>
              <a:cxnLst/>
              <a:rect l="l" t="t" r="r" b="b"/>
              <a:pathLst>
                <a:path w="656" h="626" extrusionOk="0">
                  <a:moveTo>
                    <a:pt x="215" y="0"/>
                  </a:moveTo>
                  <a:cubicBezTo>
                    <a:pt x="162" y="0"/>
                    <a:pt x="108" y="18"/>
                    <a:pt x="72" y="54"/>
                  </a:cubicBezTo>
                  <a:cubicBezTo>
                    <a:pt x="1" y="125"/>
                    <a:pt x="1" y="268"/>
                    <a:pt x="72" y="340"/>
                  </a:cubicBezTo>
                  <a:lnTo>
                    <a:pt x="299" y="566"/>
                  </a:lnTo>
                  <a:cubicBezTo>
                    <a:pt x="346" y="601"/>
                    <a:pt x="382" y="625"/>
                    <a:pt x="441" y="625"/>
                  </a:cubicBezTo>
                  <a:cubicBezTo>
                    <a:pt x="489" y="625"/>
                    <a:pt x="549" y="601"/>
                    <a:pt x="596" y="566"/>
                  </a:cubicBezTo>
                  <a:cubicBezTo>
                    <a:pt x="656" y="482"/>
                    <a:pt x="656" y="351"/>
                    <a:pt x="584" y="280"/>
                  </a:cubicBezTo>
                  <a:lnTo>
                    <a:pt x="358" y="54"/>
                  </a:lnTo>
                  <a:cubicBezTo>
                    <a:pt x="322" y="18"/>
                    <a:pt x="269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9" name="Google Shape;9989;p58"/>
            <p:cNvSpPr/>
            <p:nvPr/>
          </p:nvSpPr>
          <p:spPr>
            <a:xfrm>
              <a:off x="6304573" y="3437180"/>
              <a:ext cx="119145" cy="13274"/>
            </a:xfrm>
            <a:custGeom>
              <a:avLst/>
              <a:gdLst/>
              <a:ahLst/>
              <a:cxnLst/>
              <a:rect l="l" t="t" r="r" b="b"/>
              <a:pathLst>
                <a:path w="3752" h="418" extrusionOk="0">
                  <a:moveTo>
                    <a:pt x="203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84" y="417"/>
                    <a:pt x="203" y="417"/>
                  </a:cubicBezTo>
                  <a:lnTo>
                    <a:pt x="3537" y="417"/>
                  </a:lnTo>
                  <a:cubicBezTo>
                    <a:pt x="3644" y="417"/>
                    <a:pt x="3751" y="322"/>
                    <a:pt x="3751" y="203"/>
                  </a:cubicBezTo>
                  <a:cubicBezTo>
                    <a:pt x="3751" y="84"/>
                    <a:pt x="3644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0" name="Google Shape;9990;p58"/>
            <p:cNvSpPr/>
            <p:nvPr/>
          </p:nvSpPr>
          <p:spPr>
            <a:xfrm>
              <a:off x="6304573" y="3500341"/>
              <a:ext cx="25372" cy="13242"/>
            </a:xfrm>
            <a:custGeom>
              <a:avLst/>
              <a:gdLst/>
              <a:ahLst/>
              <a:cxnLst/>
              <a:rect l="l" t="t" r="r" b="b"/>
              <a:pathLst>
                <a:path w="799" h="417" extrusionOk="0">
                  <a:moveTo>
                    <a:pt x="203" y="0"/>
                  </a:moveTo>
                  <a:cubicBezTo>
                    <a:pt x="108" y="0"/>
                    <a:pt x="1" y="95"/>
                    <a:pt x="1" y="214"/>
                  </a:cubicBezTo>
                  <a:cubicBezTo>
                    <a:pt x="1" y="333"/>
                    <a:pt x="84" y="417"/>
                    <a:pt x="203" y="417"/>
                  </a:cubicBezTo>
                  <a:lnTo>
                    <a:pt x="596" y="417"/>
                  </a:lnTo>
                  <a:cubicBezTo>
                    <a:pt x="703" y="417"/>
                    <a:pt x="798" y="333"/>
                    <a:pt x="798" y="214"/>
                  </a:cubicBezTo>
                  <a:cubicBezTo>
                    <a:pt x="798" y="95"/>
                    <a:pt x="715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1" name="Google Shape;9991;p58"/>
            <p:cNvSpPr/>
            <p:nvPr/>
          </p:nvSpPr>
          <p:spPr>
            <a:xfrm>
              <a:off x="6346934" y="3500341"/>
              <a:ext cx="76784" cy="13242"/>
            </a:xfrm>
            <a:custGeom>
              <a:avLst/>
              <a:gdLst/>
              <a:ahLst/>
              <a:cxnLst/>
              <a:rect l="l" t="t" r="r" b="b"/>
              <a:pathLst>
                <a:path w="2418" h="417" extrusionOk="0">
                  <a:moveTo>
                    <a:pt x="215" y="0"/>
                  </a:moveTo>
                  <a:cubicBezTo>
                    <a:pt x="107" y="0"/>
                    <a:pt x="0" y="95"/>
                    <a:pt x="0" y="214"/>
                  </a:cubicBezTo>
                  <a:cubicBezTo>
                    <a:pt x="0" y="333"/>
                    <a:pt x="96" y="417"/>
                    <a:pt x="215" y="417"/>
                  </a:cubicBezTo>
                  <a:lnTo>
                    <a:pt x="2203" y="417"/>
                  </a:lnTo>
                  <a:cubicBezTo>
                    <a:pt x="2310" y="417"/>
                    <a:pt x="2417" y="333"/>
                    <a:pt x="2417" y="214"/>
                  </a:cubicBezTo>
                  <a:cubicBezTo>
                    <a:pt x="2417" y="95"/>
                    <a:pt x="2310" y="0"/>
                    <a:pt x="2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2" name="Google Shape;9992;p58"/>
            <p:cNvSpPr/>
            <p:nvPr/>
          </p:nvSpPr>
          <p:spPr>
            <a:xfrm>
              <a:off x="6304573" y="3468935"/>
              <a:ext cx="119145" cy="12893"/>
            </a:xfrm>
            <a:custGeom>
              <a:avLst/>
              <a:gdLst/>
              <a:ahLst/>
              <a:cxnLst/>
              <a:rect l="l" t="t" r="r" b="b"/>
              <a:pathLst>
                <a:path w="3752" h="406" extrusionOk="0">
                  <a:moveTo>
                    <a:pt x="203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84" y="406"/>
                    <a:pt x="203" y="406"/>
                  </a:cubicBezTo>
                  <a:lnTo>
                    <a:pt x="3537" y="406"/>
                  </a:lnTo>
                  <a:cubicBezTo>
                    <a:pt x="3644" y="406"/>
                    <a:pt x="3751" y="322"/>
                    <a:pt x="3751" y="203"/>
                  </a:cubicBezTo>
                  <a:cubicBezTo>
                    <a:pt x="3751" y="84"/>
                    <a:pt x="3644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3" name="Google Shape;9993;p58"/>
            <p:cNvSpPr/>
            <p:nvPr/>
          </p:nvSpPr>
          <p:spPr>
            <a:xfrm>
              <a:off x="6228583" y="3237664"/>
              <a:ext cx="357688" cy="186338"/>
            </a:xfrm>
            <a:custGeom>
              <a:avLst/>
              <a:gdLst/>
              <a:ahLst/>
              <a:cxnLst/>
              <a:rect l="l" t="t" r="r" b="b"/>
              <a:pathLst>
                <a:path w="11264" h="5868" extrusionOk="0">
                  <a:moveTo>
                    <a:pt x="8752" y="1045"/>
                  </a:moveTo>
                  <a:cubicBezTo>
                    <a:pt x="9240" y="1045"/>
                    <a:pt x="9716" y="1224"/>
                    <a:pt x="10085" y="1593"/>
                  </a:cubicBezTo>
                  <a:cubicBezTo>
                    <a:pt x="10811" y="2331"/>
                    <a:pt x="10811" y="3545"/>
                    <a:pt x="10085" y="4272"/>
                  </a:cubicBezTo>
                  <a:cubicBezTo>
                    <a:pt x="9716" y="4641"/>
                    <a:pt x="9234" y="4825"/>
                    <a:pt x="8750" y="4825"/>
                  </a:cubicBezTo>
                  <a:cubicBezTo>
                    <a:pt x="8267" y="4825"/>
                    <a:pt x="7781" y="4641"/>
                    <a:pt x="7406" y="4272"/>
                  </a:cubicBezTo>
                  <a:cubicBezTo>
                    <a:pt x="6668" y="3522"/>
                    <a:pt x="6668" y="2331"/>
                    <a:pt x="7406" y="1593"/>
                  </a:cubicBezTo>
                  <a:cubicBezTo>
                    <a:pt x="7775" y="1224"/>
                    <a:pt x="8252" y="1045"/>
                    <a:pt x="8752" y="1045"/>
                  </a:cubicBezTo>
                  <a:close/>
                  <a:moveTo>
                    <a:pt x="3215" y="402"/>
                  </a:moveTo>
                  <a:cubicBezTo>
                    <a:pt x="3870" y="402"/>
                    <a:pt x="4501" y="652"/>
                    <a:pt x="5001" y="1140"/>
                  </a:cubicBezTo>
                  <a:cubicBezTo>
                    <a:pt x="5978" y="2140"/>
                    <a:pt x="5978" y="3736"/>
                    <a:pt x="5001" y="4712"/>
                  </a:cubicBezTo>
                  <a:cubicBezTo>
                    <a:pt x="4507" y="5206"/>
                    <a:pt x="3858" y="5453"/>
                    <a:pt x="3211" y="5453"/>
                  </a:cubicBezTo>
                  <a:cubicBezTo>
                    <a:pt x="2563" y="5453"/>
                    <a:pt x="1918" y="5206"/>
                    <a:pt x="1429" y="4712"/>
                  </a:cubicBezTo>
                  <a:cubicBezTo>
                    <a:pt x="441" y="3736"/>
                    <a:pt x="441" y="2128"/>
                    <a:pt x="1429" y="1140"/>
                  </a:cubicBezTo>
                  <a:cubicBezTo>
                    <a:pt x="1918" y="652"/>
                    <a:pt x="2560" y="402"/>
                    <a:pt x="3215" y="402"/>
                  </a:cubicBezTo>
                  <a:close/>
                  <a:moveTo>
                    <a:pt x="3209" y="0"/>
                  </a:moveTo>
                  <a:cubicBezTo>
                    <a:pt x="2462" y="0"/>
                    <a:pt x="1715" y="289"/>
                    <a:pt x="1144" y="866"/>
                  </a:cubicBezTo>
                  <a:cubicBezTo>
                    <a:pt x="1" y="2009"/>
                    <a:pt x="1" y="3855"/>
                    <a:pt x="1144" y="4998"/>
                  </a:cubicBezTo>
                  <a:cubicBezTo>
                    <a:pt x="1703" y="5569"/>
                    <a:pt x="2465" y="5867"/>
                    <a:pt x="3215" y="5867"/>
                  </a:cubicBezTo>
                  <a:cubicBezTo>
                    <a:pt x="3953" y="5867"/>
                    <a:pt x="4715" y="5581"/>
                    <a:pt x="5275" y="4998"/>
                  </a:cubicBezTo>
                  <a:cubicBezTo>
                    <a:pt x="5680" y="4593"/>
                    <a:pt x="5930" y="4117"/>
                    <a:pt x="6049" y="3617"/>
                  </a:cubicBezTo>
                  <a:lnTo>
                    <a:pt x="6561" y="3617"/>
                  </a:lnTo>
                  <a:cubicBezTo>
                    <a:pt x="6668" y="3962"/>
                    <a:pt x="6859" y="4284"/>
                    <a:pt x="7121" y="4557"/>
                  </a:cubicBezTo>
                  <a:cubicBezTo>
                    <a:pt x="7573" y="4998"/>
                    <a:pt x="8168" y="5224"/>
                    <a:pt x="8752" y="5224"/>
                  </a:cubicBezTo>
                  <a:cubicBezTo>
                    <a:pt x="9323" y="5224"/>
                    <a:pt x="9919" y="4998"/>
                    <a:pt x="10371" y="4557"/>
                  </a:cubicBezTo>
                  <a:cubicBezTo>
                    <a:pt x="11264" y="3664"/>
                    <a:pt x="11264" y="2200"/>
                    <a:pt x="10371" y="1307"/>
                  </a:cubicBezTo>
                  <a:cubicBezTo>
                    <a:pt x="9924" y="860"/>
                    <a:pt x="9335" y="637"/>
                    <a:pt x="8746" y="637"/>
                  </a:cubicBezTo>
                  <a:cubicBezTo>
                    <a:pt x="8156" y="637"/>
                    <a:pt x="7567" y="860"/>
                    <a:pt x="7121" y="1307"/>
                  </a:cubicBezTo>
                  <a:cubicBezTo>
                    <a:pt x="6609" y="1831"/>
                    <a:pt x="6394" y="2533"/>
                    <a:pt x="6466" y="3212"/>
                  </a:cubicBezTo>
                  <a:lnTo>
                    <a:pt x="6132" y="3212"/>
                  </a:lnTo>
                  <a:cubicBezTo>
                    <a:pt x="6204" y="2379"/>
                    <a:pt x="5930" y="1497"/>
                    <a:pt x="5275" y="866"/>
                  </a:cubicBezTo>
                  <a:cubicBezTo>
                    <a:pt x="4704" y="289"/>
                    <a:pt x="3956" y="0"/>
                    <a:pt x="32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4" name="Google Shape;9994;p58"/>
            <p:cNvSpPr/>
            <p:nvPr/>
          </p:nvSpPr>
          <p:spPr>
            <a:xfrm>
              <a:off x="6295141" y="3295775"/>
              <a:ext cx="70718" cy="71131"/>
            </a:xfrm>
            <a:custGeom>
              <a:avLst/>
              <a:gdLst/>
              <a:ahLst/>
              <a:cxnLst/>
              <a:rect l="l" t="t" r="r" b="b"/>
              <a:pathLst>
                <a:path w="2227" h="2240" extrusionOk="0">
                  <a:moveTo>
                    <a:pt x="1119" y="394"/>
                  </a:moveTo>
                  <a:cubicBezTo>
                    <a:pt x="1512" y="394"/>
                    <a:pt x="1834" y="703"/>
                    <a:pt x="1834" y="1108"/>
                  </a:cubicBezTo>
                  <a:cubicBezTo>
                    <a:pt x="1810" y="1501"/>
                    <a:pt x="1500" y="1822"/>
                    <a:pt x="1119" y="1822"/>
                  </a:cubicBezTo>
                  <a:cubicBezTo>
                    <a:pt x="726" y="1822"/>
                    <a:pt x="405" y="1501"/>
                    <a:pt x="405" y="1108"/>
                  </a:cubicBezTo>
                  <a:cubicBezTo>
                    <a:pt x="405" y="715"/>
                    <a:pt x="714" y="394"/>
                    <a:pt x="1119" y="394"/>
                  </a:cubicBezTo>
                  <a:close/>
                  <a:moveTo>
                    <a:pt x="1119" y="1"/>
                  </a:moveTo>
                  <a:cubicBezTo>
                    <a:pt x="500" y="1"/>
                    <a:pt x="0" y="501"/>
                    <a:pt x="0" y="1120"/>
                  </a:cubicBezTo>
                  <a:cubicBezTo>
                    <a:pt x="0" y="1727"/>
                    <a:pt x="500" y="2239"/>
                    <a:pt x="1119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489"/>
                    <a:pt x="1727" y="1"/>
                    <a:pt x="1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5" name="Google Shape;9995;p58"/>
            <p:cNvSpPr/>
            <p:nvPr/>
          </p:nvSpPr>
          <p:spPr>
            <a:xfrm>
              <a:off x="6482273" y="3306763"/>
              <a:ext cx="48045" cy="48045"/>
            </a:xfrm>
            <a:custGeom>
              <a:avLst/>
              <a:gdLst/>
              <a:ahLst/>
              <a:cxnLst/>
              <a:rect l="l" t="t" r="r" b="b"/>
              <a:pathLst>
                <a:path w="1513" h="1513" extrusionOk="0">
                  <a:moveTo>
                    <a:pt x="763" y="405"/>
                  </a:moveTo>
                  <a:cubicBezTo>
                    <a:pt x="953" y="405"/>
                    <a:pt x="1120" y="560"/>
                    <a:pt x="1120" y="762"/>
                  </a:cubicBezTo>
                  <a:cubicBezTo>
                    <a:pt x="1120" y="965"/>
                    <a:pt x="953" y="1119"/>
                    <a:pt x="763" y="1119"/>
                  </a:cubicBezTo>
                  <a:cubicBezTo>
                    <a:pt x="560" y="1119"/>
                    <a:pt x="406" y="953"/>
                    <a:pt x="406" y="762"/>
                  </a:cubicBezTo>
                  <a:cubicBezTo>
                    <a:pt x="406" y="560"/>
                    <a:pt x="560" y="405"/>
                    <a:pt x="763" y="405"/>
                  </a:cubicBezTo>
                  <a:close/>
                  <a:moveTo>
                    <a:pt x="763" y="0"/>
                  </a:moveTo>
                  <a:cubicBezTo>
                    <a:pt x="346" y="0"/>
                    <a:pt x="1" y="345"/>
                    <a:pt x="1" y="762"/>
                  </a:cubicBezTo>
                  <a:cubicBezTo>
                    <a:pt x="1" y="1179"/>
                    <a:pt x="346" y="1512"/>
                    <a:pt x="763" y="1512"/>
                  </a:cubicBezTo>
                  <a:cubicBezTo>
                    <a:pt x="1179" y="1512"/>
                    <a:pt x="1513" y="1179"/>
                    <a:pt x="1513" y="762"/>
                  </a:cubicBezTo>
                  <a:cubicBezTo>
                    <a:pt x="1513" y="345"/>
                    <a:pt x="1179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6" name="Google Shape;9996;p58"/>
            <p:cNvSpPr/>
            <p:nvPr/>
          </p:nvSpPr>
          <p:spPr>
            <a:xfrm>
              <a:off x="6456584" y="3437180"/>
              <a:ext cx="76784" cy="76403"/>
            </a:xfrm>
            <a:custGeom>
              <a:avLst/>
              <a:gdLst/>
              <a:ahLst/>
              <a:cxnLst/>
              <a:rect l="l" t="t" r="r" b="b"/>
              <a:pathLst>
                <a:path w="2418" h="2406" extrusionOk="0">
                  <a:moveTo>
                    <a:pt x="2012" y="406"/>
                  </a:moveTo>
                  <a:lnTo>
                    <a:pt x="2012" y="1989"/>
                  </a:lnTo>
                  <a:lnTo>
                    <a:pt x="417" y="1989"/>
                  </a:lnTo>
                  <a:lnTo>
                    <a:pt x="417" y="406"/>
                  </a:lnTo>
                  <a:close/>
                  <a:moveTo>
                    <a:pt x="298" y="1"/>
                  </a:moveTo>
                  <a:cubicBezTo>
                    <a:pt x="143" y="1"/>
                    <a:pt x="0" y="132"/>
                    <a:pt x="0" y="298"/>
                  </a:cubicBezTo>
                  <a:lnTo>
                    <a:pt x="0" y="2108"/>
                  </a:lnTo>
                  <a:cubicBezTo>
                    <a:pt x="0" y="2275"/>
                    <a:pt x="143" y="2406"/>
                    <a:pt x="298" y="2406"/>
                  </a:cubicBezTo>
                  <a:lnTo>
                    <a:pt x="2119" y="2406"/>
                  </a:lnTo>
                  <a:cubicBezTo>
                    <a:pt x="2286" y="2406"/>
                    <a:pt x="2417" y="2275"/>
                    <a:pt x="2417" y="2108"/>
                  </a:cubicBezTo>
                  <a:lnTo>
                    <a:pt x="2417" y="298"/>
                  </a:lnTo>
                  <a:cubicBezTo>
                    <a:pt x="2417" y="120"/>
                    <a:pt x="2286" y="1"/>
                    <a:pt x="2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7" name="Google Shape;9997;p58"/>
            <p:cNvSpPr/>
            <p:nvPr/>
          </p:nvSpPr>
          <p:spPr>
            <a:xfrm>
              <a:off x="6268658" y="3367351"/>
              <a:ext cx="406464" cy="174208"/>
            </a:xfrm>
            <a:custGeom>
              <a:avLst/>
              <a:gdLst/>
              <a:ahLst/>
              <a:cxnLst/>
              <a:rect l="l" t="t" r="r" b="b"/>
              <a:pathLst>
                <a:path w="12800" h="5486" extrusionOk="0">
                  <a:moveTo>
                    <a:pt x="10419" y="1616"/>
                  </a:moveTo>
                  <a:lnTo>
                    <a:pt x="10419" y="3009"/>
                  </a:lnTo>
                  <a:lnTo>
                    <a:pt x="9573" y="3009"/>
                  </a:lnTo>
                  <a:lnTo>
                    <a:pt x="9573" y="1616"/>
                  </a:lnTo>
                  <a:close/>
                  <a:moveTo>
                    <a:pt x="12395" y="402"/>
                  </a:moveTo>
                  <a:lnTo>
                    <a:pt x="12395" y="414"/>
                  </a:lnTo>
                  <a:lnTo>
                    <a:pt x="12395" y="4224"/>
                  </a:lnTo>
                  <a:lnTo>
                    <a:pt x="12383" y="4236"/>
                  </a:lnTo>
                  <a:lnTo>
                    <a:pt x="10835" y="3807"/>
                  </a:lnTo>
                  <a:lnTo>
                    <a:pt x="10823" y="3795"/>
                  </a:lnTo>
                  <a:lnTo>
                    <a:pt x="10823" y="3224"/>
                  </a:lnTo>
                  <a:lnTo>
                    <a:pt x="10823" y="1414"/>
                  </a:lnTo>
                  <a:lnTo>
                    <a:pt x="10823" y="842"/>
                  </a:lnTo>
                  <a:cubicBezTo>
                    <a:pt x="10823" y="842"/>
                    <a:pt x="10823" y="831"/>
                    <a:pt x="10835" y="831"/>
                  </a:cubicBezTo>
                  <a:lnTo>
                    <a:pt x="12383" y="402"/>
                  </a:lnTo>
                  <a:close/>
                  <a:moveTo>
                    <a:pt x="12362" y="0"/>
                  </a:moveTo>
                  <a:cubicBezTo>
                    <a:pt x="12330" y="0"/>
                    <a:pt x="12297" y="3"/>
                    <a:pt x="12264" y="9"/>
                  </a:cubicBezTo>
                  <a:lnTo>
                    <a:pt x="10716" y="438"/>
                  </a:lnTo>
                  <a:cubicBezTo>
                    <a:pt x="10538" y="485"/>
                    <a:pt x="10407" y="664"/>
                    <a:pt x="10407" y="842"/>
                  </a:cubicBezTo>
                  <a:lnTo>
                    <a:pt x="10407" y="1212"/>
                  </a:lnTo>
                  <a:lnTo>
                    <a:pt x="9549" y="1212"/>
                  </a:lnTo>
                  <a:lnTo>
                    <a:pt x="9549" y="914"/>
                  </a:lnTo>
                  <a:cubicBezTo>
                    <a:pt x="9549" y="819"/>
                    <a:pt x="9466" y="711"/>
                    <a:pt x="9347" y="711"/>
                  </a:cubicBezTo>
                  <a:cubicBezTo>
                    <a:pt x="9228" y="711"/>
                    <a:pt x="9133" y="795"/>
                    <a:pt x="9133" y="914"/>
                  </a:cubicBezTo>
                  <a:lnTo>
                    <a:pt x="9133" y="1414"/>
                  </a:lnTo>
                  <a:lnTo>
                    <a:pt x="9133" y="3224"/>
                  </a:lnTo>
                  <a:lnTo>
                    <a:pt x="9133" y="4986"/>
                  </a:lnTo>
                  <a:cubicBezTo>
                    <a:pt x="9133" y="5045"/>
                    <a:pt x="9085" y="5081"/>
                    <a:pt x="9026" y="5081"/>
                  </a:cubicBezTo>
                  <a:lnTo>
                    <a:pt x="513" y="5081"/>
                  </a:lnTo>
                  <a:cubicBezTo>
                    <a:pt x="453" y="5081"/>
                    <a:pt x="417" y="5045"/>
                    <a:pt x="417" y="4986"/>
                  </a:cubicBezTo>
                  <a:lnTo>
                    <a:pt x="417" y="1854"/>
                  </a:lnTo>
                  <a:cubicBezTo>
                    <a:pt x="417" y="1747"/>
                    <a:pt x="322" y="1652"/>
                    <a:pt x="203" y="1652"/>
                  </a:cubicBezTo>
                  <a:cubicBezTo>
                    <a:pt x="84" y="1652"/>
                    <a:pt x="1" y="1735"/>
                    <a:pt x="1" y="1854"/>
                  </a:cubicBezTo>
                  <a:lnTo>
                    <a:pt x="1" y="4986"/>
                  </a:lnTo>
                  <a:cubicBezTo>
                    <a:pt x="1" y="5260"/>
                    <a:pt x="215" y="5486"/>
                    <a:pt x="501" y="5486"/>
                  </a:cubicBezTo>
                  <a:lnTo>
                    <a:pt x="9014" y="5486"/>
                  </a:lnTo>
                  <a:cubicBezTo>
                    <a:pt x="9299" y="5486"/>
                    <a:pt x="9526" y="5260"/>
                    <a:pt x="9526" y="4986"/>
                  </a:cubicBezTo>
                  <a:lnTo>
                    <a:pt x="9526" y="3414"/>
                  </a:lnTo>
                  <a:lnTo>
                    <a:pt x="10371" y="3414"/>
                  </a:lnTo>
                  <a:lnTo>
                    <a:pt x="10371" y="3795"/>
                  </a:lnTo>
                  <a:cubicBezTo>
                    <a:pt x="10371" y="3986"/>
                    <a:pt x="10502" y="4152"/>
                    <a:pt x="10681" y="4188"/>
                  </a:cubicBezTo>
                  <a:lnTo>
                    <a:pt x="12228" y="4629"/>
                  </a:lnTo>
                  <a:cubicBezTo>
                    <a:pt x="12264" y="4641"/>
                    <a:pt x="12300" y="4641"/>
                    <a:pt x="12347" y="4641"/>
                  </a:cubicBezTo>
                  <a:cubicBezTo>
                    <a:pt x="12443" y="4641"/>
                    <a:pt x="12526" y="4605"/>
                    <a:pt x="12597" y="4545"/>
                  </a:cubicBezTo>
                  <a:cubicBezTo>
                    <a:pt x="12705" y="4474"/>
                    <a:pt x="12764" y="4343"/>
                    <a:pt x="12764" y="4224"/>
                  </a:cubicBezTo>
                  <a:lnTo>
                    <a:pt x="12764" y="426"/>
                  </a:lnTo>
                  <a:cubicBezTo>
                    <a:pt x="12800" y="283"/>
                    <a:pt x="12740" y="164"/>
                    <a:pt x="12633" y="80"/>
                  </a:cubicBezTo>
                  <a:cubicBezTo>
                    <a:pt x="12553" y="27"/>
                    <a:pt x="12459" y="0"/>
                    <a:pt x="123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98" name="Google Shape;9998;p58"/>
          <p:cNvGrpSpPr/>
          <p:nvPr/>
        </p:nvGrpSpPr>
        <p:grpSpPr>
          <a:xfrm>
            <a:off x="865862" y="3207306"/>
            <a:ext cx="364484" cy="364897"/>
            <a:chOff x="865862" y="3207306"/>
            <a:chExt cx="364484" cy="364897"/>
          </a:xfrm>
        </p:grpSpPr>
        <p:sp>
          <p:nvSpPr>
            <p:cNvPr id="9999" name="Google Shape;9999;p58"/>
            <p:cNvSpPr/>
            <p:nvPr/>
          </p:nvSpPr>
          <p:spPr>
            <a:xfrm>
              <a:off x="928229" y="3269323"/>
              <a:ext cx="240131" cy="240100"/>
            </a:xfrm>
            <a:custGeom>
              <a:avLst/>
              <a:gdLst/>
              <a:ahLst/>
              <a:cxnLst/>
              <a:rect l="l" t="t" r="r" b="b"/>
              <a:pathLst>
                <a:path w="7562" h="7561" extrusionOk="0">
                  <a:moveTo>
                    <a:pt x="3775" y="0"/>
                  </a:moveTo>
                  <a:cubicBezTo>
                    <a:pt x="1692" y="0"/>
                    <a:pt x="1" y="1703"/>
                    <a:pt x="1" y="3787"/>
                  </a:cubicBezTo>
                  <a:cubicBezTo>
                    <a:pt x="1" y="5870"/>
                    <a:pt x="1692" y="7561"/>
                    <a:pt x="3775" y="7561"/>
                  </a:cubicBezTo>
                  <a:cubicBezTo>
                    <a:pt x="4454" y="7561"/>
                    <a:pt x="5121" y="7382"/>
                    <a:pt x="5704" y="7037"/>
                  </a:cubicBezTo>
                  <a:cubicBezTo>
                    <a:pt x="5787" y="6977"/>
                    <a:pt x="5823" y="6858"/>
                    <a:pt x="5775" y="6775"/>
                  </a:cubicBezTo>
                  <a:cubicBezTo>
                    <a:pt x="5736" y="6720"/>
                    <a:pt x="5672" y="6691"/>
                    <a:pt x="5605" y="6691"/>
                  </a:cubicBezTo>
                  <a:cubicBezTo>
                    <a:pt x="5570" y="6691"/>
                    <a:pt x="5534" y="6699"/>
                    <a:pt x="5502" y="6716"/>
                  </a:cubicBezTo>
                  <a:cubicBezTo>
                    <a:pt x="4990" y="7025"/>
                    <a:pt x="4394" y="7192"/>
                    <a:pt x="3775" y="7192"/>
                  </a:cubicBezTo>
                  <a:cubicBezTo>
                    <a:pt x="1906" y="7192"/>
                    <a:pt x="382" y="5668"/>
                    <a:pt x="382" y="3798"/>
                  </a:cubicBezTo>
                  <a:cubicBezTo>
                    <a:pt x="382" y="1917"/>
                    <a:pt x="1906" y="405"/>
                    <a:pt x="3775" y="405"/>
                  </a:cubicBezTo>
                  <a:cubicBezTo>
                    <a:pt x="5656" y="405"/>
                    <a:pt x="7168" y="1917"/>
                    <a:pt x="7168" y="3798"/>
                  </a:cubicBezTo>
                  <a:cubicBezTo>
                    <a:pt x="7168" y="4775"/>
                    <a:pt x="6740" y="5715"/>
                    <a:pt x="6002" y="6358"/>
                  </a:cubicBezTo>
                  <a:cubicBezTo>
                    <a:pt x="5918" y="6430"/>
                    <a:pt x="5906" y="6549"/>
                    <a:pt x="5978" y="6620"/>
                  </a:cubicBezTo>
                  <a:cubicBezTo>
                    <a:pt x="6024" y="6667"/>
                    <a:pt x="6082" y="6691"/>
                    <a:pt x="6136" y="6691"/>
                  </a:cubicBezTo>
                  <a:cubicBezTo>
                    <a:pt x="6179" y="6691"/>
                    <a:pt x="6220" y="6676"/>
                    <a:pt x="6252" y="6644"/>
                  </a:cubicBezTo>
                  <a:cubicBezTo>
                    <a:pt x="7085" y="5930"/>
                    <a:pt x="7561" y="4882"/>
                    <a:pt x="7561" y="3787"/>
                  </a:cubicBezTo>
                  <a:cubicBezTo>
                    <a:pt x="7561" y="1703"/>
                    <a:pt x="5859" y="0"/>
                    <a:pt x="3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0" name="Google Shape;10000;p58"/>
            <p:cNvSpPr/>
            <p:nvPr/>
          </p:nvSpPr>
          <p:spPr>
            <a:xfrm>
              <a:off x="956205" y="3297681"/>
              <a:ext cx="184179" cy="184147"/>
            </a:xfrm>
            <a:custGeom>
              <a:avLst/>
              <a:gdLst/>
              <a:ahLst/>
              <a:cxnLst/>
              <a:rect l="l" t="t" r="r" b="b"/>
              <a:pathLst>
                <a:path w="5800" h="5799" extrusionOk="0">
                  <a:moveTo>
                    <a:pt x="2894" y="0"/>
                  </a:moveTo>
                  <a:cubicBezTo>
                    <a:pt x="1311" y="0"/>
                    <a:pt x="1" y="1298"/>
                    <a:pt x="1" y="2905"/>
                  </a:cubicBezTo>
                  <a:cubicBezTo>
                    <a:pt x="1" y="4501"/>
                    <a:pt x="1287" y="5799"/>
                    <a:pt x="2894" y="5799"/>
                  </a:cubicBezTo>
                  <a:cubicBezTo>
                    <a:pt x="4502" y="5799"/>
                    <a:pt x="5799" y="4513"/>
                    <a:pt x="5799" y="2905"/>
                  </a:cubicBezTo>
                  <a:cubicBezTo>
                    <a:pt x="5799" y="2322"/>
                    <a:pt x="5621" y="1751"/>
                    <a:pt x="5311" y="1286"/>
                  </a:cubicBezTo>
                  <a:cubicBezTo>
                    <a:pt x="5276" y="1229"/>
                    <a:pt x="5219" y="1202"/>
                    <a:pt x="5159" y="1202"/>
                  </a:cubicBezTo>
                  <a:cubicBezTo>
                    <a:pt x="5118" y="1202"/>
                    <a:pt x="5076" y="1215"/>
                    <a:pt x="5037" y="1239"/>
                  </a:cubicBezTo>
                  <a:cubicBezTo>
                    <a:pt x="4954" y="1298"/>
                    <a:pt x="4942" y="1417"/>
                    <a:pt x="5002" y="1501"/>
                  </a:cubicBezTo>
                  <a:cubicBezTo>
                    <a:pt x="5275" y="1917"/>
                    <a:pt x="5430" y="2417"/>
                    <a:pt x="5430" y="2905"/>
                  </a:cubicBezTo>
                  <a:cubicBezTo>
                    <a:pt x="5430" y="4287"/>
                    <a:pt x="4299" y="5418"/>
                    <a:pt x="2918" y="5418"/>
                  </a:cubicBezTo>
                  <a:cubicBezTo>
                    <a:pt x="1525" y="5418"/>
                    <a:pt x="394" y="4287"/>
                    <a:pt x="394" y="2905"/>
                  </a:cubicBezTo>
                  <a:cubicBezTo>
                    <a:pt x="394" y="1524"/>
                    <a:pt x="1513" y="393"/>
                    <a:pt x="2894" y="393"/>
                  </a:cubicBezTo>
                  <a:cubicBezTo>
                    <a:pt x="3525" y="393"/>
                    <a:pt x="4132" y="631"/>
                    <a:pt x="4597" y="1036"/>
                  </a:cubicBezTo>
                  <a:cubicBezTo>
                    <a:pt x="4628" y="1073"/>
                    <a:pt x="4669" y="1089"/>
                    <a:pt x="4712" y="1089"/>
                  </a:cubicBezTo>
                  <a:cubicBezTo>
                    <a:pt x="4764" y="1089"/>
                    <a:pt x="4819" y="1064"/>
                    <a:pt x="4859" y="1024"/>
                  </a:cubicBezTo>
                  <a:cubicBezTo>
                    <a:pt x="4942" y="953"/>
                    <a:pt x="4918" y="834"/>
                    <a:pt x="4847" y="762"/>
                  </a:cubicBezTo>
                  <a:cubicBezTo>
                    <a:pt x="4311" y="274"/>
                    <a:pt x="3609" y="0"/>
                    <a:pt x="2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1" name="Google Shape;10001;p58"/>
            <p:cNvSpPr/>
            <p:nvPr/>
          </p:nvSpPr>
          <p:spPr>
            <a:xfrm>
              <a:off x="1042039" y="3207306"/>
              <a:ext cx="12511" cy="47664"/>
            </a:xfrm>
            <a:custGeom>
              <a:avLst/>
              <a:gdLst/>
              <a:ahLst/>
              <a:cxnLst/>
              <a:rect l="l" t="t" r="r" b="b"/>
              <a:pathLst>
                <a:path w="394" h="1501" extrusionOk="0">
                  <a:moveTo>
                    <a:pt x="191" y="1"/>
                  </a:moveTo>
                  <a:cubicBezTo>
                    <a:pt x="96" y="1"/>
                    <a:pt x="1" y="96"/>
                    <a:pt x="1" y="203"/>
                  </a:cubicBezTo>
                  <a:lnTo>
                    <a:pt x="1" y="1310"/>
                  </a:lnTo>
                  <a:cubicBezTo>
                    <a:pt x="1" y="1430"/>
                    <a:pt x="96" y="1501"/>
                    <a:pt x="191" y="1501"/>
                  </a:cubicBezTo>
                  <a:cubicBezTo>
                    <a:pt x="298" y="1501"/>
                    <a:pt x="394" y="1418"/>
                    <a:pt x="394" y="1310"/>
                  </a:cubicBezTo>
                  <a:lnTo>
                    <a:pt x="394" y="203"/>
                  </a:lnTo>
                  <a:cubicBezTo>
                    <a:pt x="394" y="96"/>
                    <a:pt x="298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2" name="Google Shape;10002;p58"/>
            <p:cNvSpPr/>
            <p:nvPr/>
          </p:nvSpPr>
          <p:spPr>
            <a:xfrm>
              <a:off x="1042039" y="3524538"/>
              <a:ext cx="12511" cy="47664"/>
            </a:xfrm>
            <a:custGeom>
              <a:avLst/>
              <a:gdLst/>
              <a:ahLst/>
              <a:cxnLst/>
              <a:rect l="l" t="t" r="r" b="b"/>
              <a:pathLst>
                <a:path w="394" h="1501" extrusionOk="0">
                  <a:moveTo>
                    <a:pt x="191" y="0"/>
                  </a:moveTo>
                  <a:cubicBezTo>
                    <a:pt x="96" y="0"/>
                    <a:pt x="1" y="95"/>
                    <a:pt x="1" y="191"/>
                  </a:cubicBezTo>
                  <a:lnTo>
                    <a:pt x="1" y="1310"/>
                  </a:lnTo>
                  <a:cubicBezTo>
                    <a:pt x="1" y="1417"/>
                    <a:pt x="84" y="1500"/>
                    <a:pt x="191" y="1500"/>
                  </a:cubicBezTo>
                  <a:cubicBezTo>
                    <a:pt x="298" y="1500"/>
                    <a:pt x="394" y="1417"/>
                    <a:pt x="394" y="1310"/>
                  </a:cubicBezTo>
                  <a:lnTo>
                    <a:pt x="394" y="191"/>
                  </a:lnTo>
                  <a:cubicBezTo>
                    <a:pt x="394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3" name="Google Shape;10003;p58"/>
            <p:cNvSpPr/>
            <p:nvPr/>
          </p:nvSpPr>
          <p:spPr>
            <a:xfrm>
              <a:off x="953188" y="3230836"/>
              <a:ext cx="31406" cy="43441"/>
            </a:xfrm>
            <a:custGeom>
              <a:avLst/>
              <a:gdLst/>
              <a:ahLst/>
              <a:cxnLst/>
              <a:rect l="l" t="t" r="r" b="b"/>
              <a:pathLst>
                <a:path w="989" h="1368" extrusionOk="0">
                  <a:moveTo>
                    <a:pt x="217" y="0"/>
                  </a:moveTo>
                  <a:cubicBezTo>
                    <a:pt x="185" y="0"/>
                    <a:pt x="153" y="7"/>
                    <a:pt x="120" y="22"/>
                  </a:cubicBezTo>
                  <a:cubicBezTo>
                    <a:pt x="36" y="81"/>
                    <a:pt x="1" y="188"/>
                    <a:pt x="48" y="296"/>
                  </a:cubicBezTo>
                  <a:lnTo>
                    <a:pt x="608" y="1272"/>
                  </a:lnTo>
                  <a:cubicBezTo>
                    <a:pt x="644" y="1331"/>
                    <a:pt x="715" y="1367"/>
                    <a:pt x="775" y="1367"/>
                  </a:cubicBezTo>
                  <a:cubicBezTo>
                    <a:pt x="798" y="1367"/>
                    <a:pt x="834" y="1343"/>
                    <a:pt x="870" y="1331"/>
                  </a:cubicBezTo>
                  <a:cubicBezTo>
                    <a:pt x="953" y="1272"/>
                    <a:pt x="989" y="1165"/>
                    <a:pt x="941" y="1070"/>
                  </a:cubicBezTo>
                  <a:lnTo>
                    <a:pt x="394" y="93"/>
                  </a:lnTo>
                  <a:cubicBezTo>
                    <a:pt x="352" y="35"/>
                    <a:pt x="288" y="0"/>
                    <a:pt x="2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4" name="Google Shape;10004;p58"/>
            <p:cNvSpPr/>
            <p:nvPr/>
          </p:nvSpPr>
          <p:spPr>
            <a:xfrm>
              <a:off x="1111614" y="3505485"/>
              <a:ext cx="30644" cy="42520"/>
            </a:xfrm>
            <a:custGeom>
              <a:avLst/>
              <a:gdLst/>
              <a:ahLst/>
              <a:cxnLst/>
              <a:rect l="l" t="t" r="r" b="b"/>
              <a:pathLst>
                <a:path w="965" h="1339" extrusionOk="0">
                  <a:moveTo>
                    <a:pt x="210" y="1"/>
                  </a:moveTo>
                  <a:cubicBezTo>
                    <a:pt x="181" y="1"/>
                    <a:pt x="151" y="6"/>
                    <a:pt x="119" y="17"/>
                  </a:cubicBezTo>
                  <a:cubicBezTo>
                    <a:pt x="24" y="76"/>
                    <a:pt x="0" y="183"/>
                    <a:pt x="48" y="291"/>
                  </a:cubicBezTo>
                  <a:lnTo>
                    <a:pt x="596" y="1255"/>
                  </a:lnTo>
                  <a:cubicBezTo>
                    <a:pt x="620" y="1314"/>
                    <a:pt x="691" y="1338"/>
                    <a:pt x="751" y="1338"/>
                  </a:cubicBezTo>
                  <a:cubicBezTo>
                    <a:pt x="786" y="1338"/>
                    <a:pt x="810" y="1326"/>
                    <a:pt x="846" y="1314"/>
                  </a:cubicBezTo>
                  <a:cubicBezTo>
                    <a:pt x="929" y="1255"/>
                    <a:pt x="965" y="1148"/>
                    <a:pt x="917" y="1041"/>
                  </a:cubicBezTo>
                  <a:lnTo>
                    <a:pt x="381" y="100"/>
                  </a:lnTo>
                  <a:cubicBezTo>
                    <a:pt x="339" y="33"/>
                    <a:pt x="279" y="1"/>
                    <a:pt x="2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5" name="Google Shape;10005;p58"/>
            <p:cNvSpPr/>
            <p:nvPr/>
          </p:nvSpPr>
          <p:spPr>
            <a:xfrm>
              <a:off x="888916" y="3295998"/>
              <a:ext cx="44648" cy="29691"/>
            </a:xfrm>
            <a:custGeom>
              <a:avLst/>
              <a:gdLst/>
              <a:ahLst/>
              <a:cxnLst/>
              <a:rect l="l" t="t" r="r" b="b"/>
              <a:pathLst>
                <a:path w="1406" h="935" extrusionOk="0">
                  <a:moveTo>
                    <a:pt x="203" y="0"/>
                  </a:moveTo>
                  <a:cubicBezTo>
                    <a:pt x="136" y="0"/>
                    <a:pt x="64" y="37"/>
                    <a:pt x="24" y="101"/>
                  </a:cubicBezTo>
                  <a:cubicBezTo>
                    <a:pt x="1" y="184"/>
                    <a:pt x="36" y="303"/>
                    <a:pt x="120" y="351"/>
                  </a:cubicBezTo>
                  <a:lnTo>
                    <a:pt x="1084" y="899"/>
                  </a:lnTo>
                  <a:cubicBezTo>
                    <a:pt x="1120" y="923"/>
                    <a:pt x="1144" y="934"/>
                    <a:pt x="1179" y="934"/>
                  </a:cubicBezTo>
                  <a:cubicBezTo>
                    <a:pt x="1239" y="934"/>
                    <a:pt x="1310" y="899"/>
                    <a:pt x="1334" y="839"/>
                  </a:cubicBezTo>
                  <a:cubicBezTo>
                    <a:pt x="1406" y="756"/>
                    <a:pt x="1358" y="637"/>
                    <a:pt x="1263" y="577"/>
                  </a:cubicBezTo>
                  <a:lnTo>
                    <a:pt x="298" y="30"/>
                  </a:lnTo>
                  <a:cubicBezTo>
                    <a:pt x="271" y="10"/>
                    <a:pt x="237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6" name="Google Shape;10006;p58"/>
            <p:cNvSpPr/>
            <p:nvPr/>
          </p:nvSpPr>
          <p:spPr>
            <a:xfrm>
              <a:off x="1162644" y="3454106"/>
              <a:ext cx="45029" cy="30390"/>
            </a:xfrm>
            <a:custGeom>
              <a:avLst/>
              <a:gdLst/>
              <a:ahLst/>
              <a:cxnLst/>
              <a:rect l="l" t="t" r="r" b="b"/>
              <a:pathLst>
                <a:path w="1418" h="957" extrusionOk="0">
                  <a:moveTo>
                    <a:pt x="237" y="1"/>
                  </a:moveTo>
                  <a:cubicBezTo>
                    <a:pt x="171" y="1"/>
                    <a:pt x="101" y="41"/>
                    <a:pt x="60" y="99"/>
                  </a:cubicBezTo>
                  <a:cubicBezTo>
                    <a:pt x="1" y="194"/>
                    <a:pt x="48" y="313"/>
                    <a:pt x="132" y="373"/>
                  </a:cubicBezTo>
                  <a:lnTo>
                    <a:pt x="1096" y="920"/>
                  </a:lnTo>
                  <a:cubicBezTo>
                    <a:pt x="1132" y="932"/>
                    <a:pt x="1156" y="956"/>
                    <a:pt x="1191" y="956"/>
                  </a:cubicBezTo>
                  <a:cubicBezTo>
                    <a:pt x="1251" y="956"/>
                    <a:pt x="1322" y="920"/>
                    <a:pt x="1346" y="861"/>
                  </a:cubicBezTo>
                  <a:cubicBezTo>
                    <a:pt x="1418" y="766"/>
                    <a:pt x="1382" y="646"/>
                    <a:pt x="1299" y="575"/>
                  </a:cubicBezTo>
                  <a:lnTo>
                    <a:pt x="322" y="27"/>
                  </a:lnTo>
                  <a:cubicBezTo>
                    <a:pt x="296" y="9"/>
                    <a:pt x="267" y="1"/>
                    <a:pt x="2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7" name="Google Shape;10007;p58"/>
            <p:cNvSpPr/>
            <p:nvPr/>
          </p:nvSpPr>
          <p:spPr>
            <a:xfrm>
              <a:off x="865862" y="3383864"/>
              <a:ext cx="47664" cy="12130"/>
            </a:xfrm>
            <a:custGeom>
              <a:avLst/>
              <a:gdLst/>
              <a:ahLst/>
              <a:cxnLst/>
              <a:rect l="l" t="t" r="r" b="b"/>
              <a:pathLst>
                <a:path w="1501" h="382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cubicBezTo>
                    <a:pt x="0" y="287"/>
                    <a:pt x="84" y="382"/>
                    <a:pt x="191" y="382"/>
                  </a:cubicBezTo>
                  <a:lnTo>
                    <a:pt x="1310" y="382"/>
                  </a:lnTo>
                  <a:cubicBezTo>
                    <a:pt x="1429" y="382"/>
                    <a:pt x="1501" y="299"/>
                    <a:pt x="1501" y="191"/>
                  </a:cubicBezTo>
                  <a:cubicBezTo>
                    <a:pt x="1501" y="84"/>
                    <a:pt x="1417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8" name="Google Shape;10008;p58"/>
            <p:cNvSpPr/>
            <p:nvPr/>
          </p:nvSpPr>
          <p:spPr>
            <a:xfrm>
              <a:off x="1182300" y="3383864"/>
              <a:ext cx="48045" cy="12130"/>
            </a:xfrm>
            <a:custGeom>
              <a:avLst/>
              <a:gdLst/>
              <a:ahLst/>
              <a:cxnLst/>
              <a:rect l="l" t="t" r="r" b="b"/>
              <a:pathLst>
                <a:path w="1513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87"/>
                    <a:pt x="96" y="382"/>
                    <a:pt x="203" y="382"/>
                  </a:cubicBezTo>
                  <a:lnTo>
                    <a:pt x="1311" y="382"/>
                  </a:lnTo>
                  <a:cubicBezTo>
                    <a:pt x="1418" y="382"/>
                    <a:pt x="1513" y="287"/>
                    <a:pt x="1513" y="191"/>
                  </a:cubicBezTo>
                  <a:cubicBezTo>
                    <a:pt x="1513" y="84"/>
                    <a:pt x="1430" y="1"/>
                    <a:pt x="1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9" name="Google Shape;10009;p58"/>
            <p:cNvSpPr/>
            <p:nvPr/>
          </p:nvSpPr>
          <p:spPr>
            <a:xfrm>
              <a:off x="888916" y="3454011"/>
              <a:ext cx="43885" cy="30104"/>
            </a:xfrm>
            <a:custGeom>
              <a:avLst/>
              <a:gdLst/>
              <a:ahLst/>
              <a:cxnLst/>
              <a:rect l="l" t="t" r="r" b="b"/>
              <a:pathLst>
                <a:path w="1382" h="948" extrusionOk="0">
                  <a:moveTo>
                    <a:pt x="1186" y="1"/>
                  </a:moveTo>
                  <a:cubicBezTo>
                    <a:pt x="1152" y="1"/>
                    <a:pt x="1117" y="10"/>
                    <a:pt x="1084" y="30"/>
                  </a:cubicBezTo>
                  <a:lnTo>
                    <a:pt x="120" y="590"/>
                  </a:lnTo>
                  <a:cubicBezTo>
                    <a:pt x="36" y="649"/>
                    <a:pt x="1" y="745"/>
                    <a:pt x="48" y="852"/>
                  </a:cubicBezTo>
                  <a:cubicBezTo>
                    <a:pt x="72" y="911"/>
                    <a:pt x="144" y="947"/>
                    <a:pt x="215" y="947"/>
                  </a:cubicBezTo>
                  <a:cubicBezTo>
                    <a:pt x="239" y="947"/>
                    <a:pt x="274" y="923"/>
                    <a:pt x="298" y="911"/>
                  </a:cubicBezTo>
                  <a:lnTo>
                    <a:pt x="1263" y="364"/>
                  </a:lnTo>
                  <a:cubicBezTo>
                    <a:pt x="1358" y="304"/>
                    <a:pt x="1382" y="197"/>
                    <a:pt x="1334" y="90"/>
                  </a:cubicBezTo>
                  <a:cubicBezTo>
                    <a:pt x="1311" y="35"/>
                    <a:pt x="1251" y="1"/>
                    <a:pt x="1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0" name="Google Shape;10010;p58"/>
            <p:cNvSpPr/>
            <p:nvPr/>
          </p:nvSpPr>
          <p:spPr>
            <a:xfrm>
              <a:off x="1163025" y="3295648"/>
              <a:ext cx="44648" cy="30040"/>
            </a:xfrm>
            <a:custGeom>
              <a:avLst/>
              <a:gdLst/>
              <a:ahLst/>
              <a:cxnLst/>
              <a:rect l="l" t="t" r="r" b="b"/>
              <a:pathLst>
                <a:path w="1406" h="946" extrusionOk="0">
                  <a:moveTo>
                    <a:pt x="1177" y="1"/>
                  </a:moveTo>
                  <a:cubicBezTo>
                    <a:pt x="1147" y="1"/>
                    <a:pt x="1115" y="6"/>
                    <a:pt x="1084" y="17"/>
                  </a:cubicBezTo>
                  <a:lnTo>
                    <a:pt x="120" y="576"/>
                  </a:lnTo>
                  <a:cubicBezTo>
                    <a:pt x="36" y="636"/>
                    <a:pt x="1" y="731"/>
                    <a:pt x="48" y="838"/>
                  </a:cubicBezTo>
                  <a:cubicBezTo>
                    <a:pt x="96" y="910"/>
                    <a:pt x="155" y="945"/>
                    <a:pt x="227" y="945"/>
                  </a:cubicBezTo>
                  <a:cubicBezTo>
                    <a:pt x="251" y="945"/>
                    <a:pt x="286" y="934"/>
                    <a:pt x="310" y="910"/>
                  </a:cubicBezTo>
                  <a:lnTo>
                    <a:pt x="1287" y="362"/>
                  </a:lnTo>
                  <a:cubicBezTo>
                    <a:pt x="1370" y="302"/>
                    <a:pt x="1406" y="195"/>
                    <a:pt x="1358" y="100"/>
                  </a:cubicBezTo>
                  <a:cubicBezTo>
                    <a:pt x="1316" y="33"/>
                    <a:pt x="1250" y="1"/>
                    <a:pt x="1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1" name="Google Shape;10011;p58"/>
            <p:cNvSpPr/>
            <p:nvPr/>
          </p:nvSpPr>
          <p:spPr>
            <a:xfrm>
              <a:off x="953188" y="3505835"/>
              <a:ext cx="31787" cy="43282"/>
            </a:xfrm>
            <a:custGeom>
              <a:avLst/>
              <a:gdLst/>
              <a:ahLst/>
              <a:cxnLst/>
              <a:rect l="l" t="t" r="r" b="b"/>
              <a:pathLst>
                <a:path w="1001" h="1363" extrusionOk="0">
                  <a:moveTo>
                    <a:pt x="782" y="0"/>
                  </a:moveTo>
                  <a:cubicBezTo>
                    <a:pt x="714" y="0"/>
                    <a:pt x="648" y="37"/>
                    <a:pt x="608" y="101"/>
                  </a:cubicBezTo>
                  <a:lnTo>
                    <a:pt x="60" y="1065"/>
                  </a:lnTo>
                  <a:cubicBezTo>
                    <a:pt x="1" y="1161"/>
                    <a:pt x="48" y="1280"/>
                    <a:pt x="132" y="1327"/>
                  </a:cubicBezTo>
                  <a:cubicBezTo>
                    <a:pt x="167" y="1351"/>
                    <a:pt x="191" y="1363"/>
                    <a:pt x="227" y="1363"/>
                  </a:cubicBezTo>
                  <a:cubicBezTo>
                    <a:pt x="286" y="1363"/>
                    <a:pt x="358" y="1327"/>
                    <a:pt x="394" y="1280"/>
                  </a:cubicBezTo>
                  <a:lnTo>
                    <a:pt x="941" y="303"/>
                  </a:lnTo>
                  <a:cubicBezTo>
                    <a:pt x="1001" y="184"/>
                    <a:pt x="965" y="65"/>
                    <a:pt x="882" y="30"/>
                  </a:cubicBezTo>
                  <a:cubicBezTo>
                    <a:pt x="850" y="10"/>
                    <a:pt x="816" y="0"/>
                    <a:pt x="7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2" name="Google Shape;10012;p58"/>
            <p:cNvSpPr/>
            <p:nvPr/>
          </p:nvSpPr>
          <p:spPr>
            <a:xfrm>
              <a:off x="1111614" y="3231726"/>
              <a:ext cx="31025" cy="42933"/>
            </a:xfrm>
            <a:custGeom>
              <a:avLst/>
              <a:gdLst/>
              <a:ahLst/>
              <a:cxnLst/>
              <a:rect l="l" t="t" r="r" b="b"/>
              <a:pathLst>
                <a:path w="977" h="1352" extrusionOk="0">
                  <a:moveTo>
                    <a:pt x="754" y="0"/>
                  </a:moveTo>
                  <a:cubicBezTo>
                    <a:pt x="688" y="0"/>
                    <a:pt x="620" y="37"/>
                    <a:pt x="572" y="101"/>
                  </a:cubicBezTo>
                  <a:lnTo>
                    <a:pt x="24" y="1065"/>
                  </a:lnTo>
                  <a:cubicBezTo>
                    <a:pt x="0" y="1137"/>
                    <a:pt x="24" y="1256"/>
                    <a:pt x="119" y="1315"/>
                  </a:cubicBezTo>
                  <a:cubicBezTo>
                    <a:pt x="143" y="1339"/>
                    <a:pt x="179" y="1351"/>
                    <a:pt x="203" y="1351"/>
                  </a:cubicBezTo>
                  <a:cubicBezTo>
                    <a:pt x="262" y="1351"/>
                    <a:pt x="346" y="1315"/>
                    <a:pt x="370" y="1256"/>
                  </a:cubicBezTo>
                  <a:lnTo>
                    <a:pt x="917" y="291"/>
                  </a:lnTo>
                  <a:cubicBezTo>
                    <a:pt x="977" y="208"/>
                    <a:pt x="941" y="89"/>
                    <a:pt x="846" y="29"/>
                  </a:cubicBezTo>
                  <a:cubicBezTo>
                    <a:pt x="818" y="10"/>
                    <a:pt x="786" y="0"/>
                    <a:pt x="7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13" name="Google Shape;10013;p58"/>
          <p:cNvGrpSpPr/>
          <p:nvPr/>
        </p:nvGrpSpPr>
        <p:grpSpPr>
          <a:xfrm>
            <a:off x="1404617" y="3226962"/>
            <a:ext cx="370168" cy="325965"/>
            <a:chOff x="1404617" y="3226962"/>
            <a:chExt cx="370168" cy="325965"/>
          </a:xfrm>
        </p:grpSpPr>
        <p:sp>
          <p:nvSpPr>
            <p:cNvPr id="10014" name="Google Shape;10014;p58"/>
            <p:cNvSpPr/>
            <p:nvPr/>
          </p:nvSpPr>
          <p:spPr>
            <a:xfrm>
              <a:off x="1535067" y="3226962"/>
              <a:ext cx="12130" cy="37090"/>
            </a:xfrm>
            <a:custGeom>
              <a:avLst/>
              <a:gdLst/>
              <a:ahLst/>
              <a:cxnLst/>
              <a:rect l="l" t="t" r="r" b="b"/>
              <a:pathLst>
                <a:path w="382" h="1168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lnTo>
                    <a:pt x="0" y="977"/>
                  </a:lnTo>
                  <a:cubicBezTo>
                    <a:pt x="0" y="1084"/>
                    <a:pt x="84" y="1168"/>
                    <a:pt x="191" y="1168"/>
                  </a:cubicBezTo>
                  <a:cubicBezTo>
                    <a:pt x="298" y="1168"/>
                    <a:pt x="381" y="1084"/>
                    <a:pt x="381" y="977"/>
                  </a:cubicBezTo>
                  <a:lnTo>
                    <a:pt x="381" y="191"/>
                  </a:lnTo>
                  <a:cubicBezTo>
                    <a:pt x="381" y="84"/>
                    <a:pt x="298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5" name="Google Shape;10015;p58"/>
            <p:cNvSpPr/>
            <p:nvPr/>
          </p:nvSpPr>
          <p:spPr>
            <a:xfrm>
              <a:off x="1472287" y="3243221"/>
              <a:ext cx="25753" cy="34073"/>
            </a:xfrm>
            <a:custGeom>
              <a:avLst/>
              <a:gdLst/>
              <a:ahLst/>
              <a:cxnLst/>
              <a:rect l="l" t="t" r="r" b="b"/>
              <a:pathLst>
                <a:path w="811" h="1073" extrusionOk="0">
                  <a:moveTo>
                    <a:pt x="217" y="1"/>
                  </a:moveTo>
                  <a:cubicBezTo>
                    <a:pt x="185" y="1"/>
                    <a:pt x="152" y="9"/>
                    <a:pt x="120" y="25"/>
                  </a:cubicBezTo>
                  <a:cubicBezTo>
                    <a:pt x="25" y="72"/>
                    <a:pt x="1" y="179"/>
                    <a:pt x="37" y="287"/>
                  </a:cubicBezTo>
                  <a:lnTo>
                    <a:pt x="442" y="989"/>
                  </a:lnTo>
                  <a:cubicBezTo>
                    <a:pt x="477" y="1049"/>
                    <a:pt x="549" y="1072"/>
                    <a:pt x="608" y="1072"/>
                  </a:cubicBezTo>
                  <a:cubicBezTo>
                    <a:pt x="632" y="1072"/>
                    <a:pt x="668" y="1061"/>
                    <a:pt x="692" y="1049"/>
                  </a:cubicBezTo>
                  <a:cubicBezTo>
                    <a:pt x="787" y="989"/>
                    <a:pt x="811" y="882"/>
                    <a:pt x="775" y="775"/>
                  </a:cubicBezTo>
                  <a:lnTo>
                    <a:pt x="382" y="96"/>
                  </a:lnTo>
                  <a:cubicBezTo>
                    <a:pt x="342" y="33"/>
                    <a:pt x="281" y="1"/>
                    <a:pt x="2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6" name="Google Shape;10016;p58"/>
            <p:cNvSpPr/>
            <p:nvPr/>
          </p:nvSpPr>
          <p:spPr>
            <a:xfrm>
              <a:off x="1426179" y="3289266"/>
              <a:ext cx="35947" cy="24705"/>
            </a:xfrm>
            <a:custGeom>
              <a:avLst/>
              <a:gdLst/>
              <a:ahLst/>
              <a:cxnLst/>
              <a:rect l="l" t="t" r="r" b="b"/>
              <a:pathLst>
                <a:path w="1132" h="778" extrusionOk="0">
                  <a:moveTo>
                    <a:pt x="229" y="1"/>
                  </a:moveTo>
                  <a:cubicBezTo>
                    <a:pt x="159" y="1"/>
                    <a:pt x="89" y="41"/>
                    <a:pt x="48" y="99"/>
                  </a:cubicBezTo>
                  <a:cubicBezTo>
                    <a:pt x="0" y="194"/>
                    <a:pt x="36" y="301"/>
                    <a:pt x="143" y="361"/>
                  </a:cubicBezTo>
                  <a:lnTo>
                    <a:pt x="822" y="742"/>
                  </a:lnTo>
                  <a:cubicBezTo>
                    <a:pt x="858" y="754"/>
                    <a:pt x="881" y="777"/>
                    <a:pt x="917" y="777"/>
                  </a:cubicBezTo>
                  <a:cubicBezTo>
                    <a:pt x="977" y="777"/>
                    <a:pt x="1048" y="742"/>
                    <a:pt x="1072" y="682"/>
                  </a:cubicBezTo>
                  <a:cubicBezTo>
                    <a:pt x="1132" y="599"/>
                    <a:pt x="1096" y="480"/>
                    <a:pt x="1001" y="420"/>
                  </a:cubicBezTo>
                  <a:lnTo>
                    <a:pt x="322" y="27"/>
                  </a:lnTo>
                  <a:cubicBezTo>
                    <a:pt x="292" y="9"/>
                    <a:pt x="261" y="1"/>
                    <a:pt x="2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7" name="Google Shape;10017;p58"/>
            <p:cNvSpPr/>
            <p:nvPr/>
          </p:nvSpPr>
          <p:spPr>
            <a:xfrm>
              <a:off x="1410682" y="3350997"/>
              <a:ext cx="37439" cy="12511"/>
            </a:xfrm>
            <a:custGeom>
              <a:avLst/>
              <a:gdLst/>
              <a:ahLst/>
              <a:cxnLst/>
              <a:rect l="l" t="t" r="r" b="b"/>
              <a:pathLst>
                <a:path w="1179" h="394" extrusionOk="0">
                  <a:moveTo>
                    <a:pt x="191" y="0"/>
                  </a:moveTo>
                  <a:cubicBezTo>
                    <a:pt x="96" y="0"/>
                    <a:pt x="0" y="95"/>
                    <a:pt x="0" y="203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988" y="393"/>
                  </a:lnTo>
                  <a:cubicBezTo>
                    <a:pt x="1084" y="393"/>
                    <a:pt x="1179" y="298"/>
                    <a:pt x="1179" y="203"/>
                  </a:cubicBezTo>
                  <a:cubicBezTo>
                    <a:pt x="1179" y="95"/>
                    <a:pt x="1084" y="0"/>
                    <a:pt x="9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8" name="Google Shape;10018;p58"/>
            <p:cNvSpPr/>
            <p:nvPr/>
          </p:nvSpPr>
          <p:spPr>
            <a:xfrm>
              <a:off x="1426179" y="3400980"/>
              <a:ext cx="35566" cy="24896"/>
            </a:xfrm>
            <a:custGeom>
              <a:avLst/>
              <a:gdLst/>
              <a:ahLst/>
              <a:cxnLst/>
              <a:rect l="l" t="t" r="r" b="b"/>
              <a:pathLst>
                <a:path w="1120" h="784" extrusionOk="0">
                  <a:moveTo>
                    <a:pt x="904" y="0"/>
                  </a:moveTo>
                  <a:cubicBezTo>
                    <a:pt x="874" y="0"/>
                    <a:pt x="843" y="7"/>
                    <a:pt x="810" y="22"/>
                  </a:cubicBezTo>
                  <a:lnTo>
                    <a:pt x="119" y="414"/>
                  </a:lnTo>
                  <a:cubicBezTo>
                    <a:pt x="36" y="486"/>
                    <a:pt x="0" y="593"/>
                    <a:pt x="60" y="688"/>
                  </a:cubicBezTo>
                  <a:cubicBezTo>
                    <a:pt x="96" y="748"/>
                    <a:pt x="167" y="784"/>
                    <a:pt x="227" y="784"/>
                  </a:cubicBezTo>
                  <a:cubicBezTo>
                    <a:pt x="262" y="784"/>
                    <a:pt x="286" y="760"/>
                    <a:pt x="322" y="748"/>
                  </a:cubicBezTo>
                  <a:lnTo>
                    <a:pt x="1001" y="367"/>
                  </a:lnTo>
                  <a:cubicBezTo>
                    <a:pt x="1096" y="307"/>
                    <a:pt x="1120" y="200"/>
                    <a:pt x="1072" y="93"/>
                  </a:cubicBezTo>
                  <a:cubicBezTo>
                    <a:pt x="1031" y="35"/>
                    <a:pt x="972" y="0"/>
                    <a:pt x="9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9" name="Google Shape;10019;p58"/>
            <p:cNvSpPr/>
            <p:nvPr/>
          </p:nvSpPr>
          <p:spPr>
            <a:xfrm>
              <a:off x="1620138" y="3289043"/>
              <a:ext cx="35566" cy="24928"/>
            </a:xfrm>
            <a:custGeom>
              <a:avLst/>
              <a:gdLst/>
              <a:ahLst/>
              <a:cxnLst/>
              <a:rect l="l" t="t" r="r" b="b"/>
              <a:pathLst>
                <a:path w="1120" h="785" extrusionOk="0">
                  <a:moveTo>
                    <a:pt x="895" y="1"/>
                  </a:moveTo>
                  <a:cubicBezTo>
                    <a:pt x="864" y="1"/>
                    <a:pt x="831" y="8"/>
                    <a:pt x="798" y="22"/>
                  </a:cubicBezTo>
                  <a:lnTo>
                    <a:pt x="119" y="403"/>
                  </a:lnTo>
                  <a:cubicBezTo>
                    <a:pt x="24" y="463"/>
                    <a:pt x="0" y="570"/>
                    <a:pt x="48" y="677"/>
                  </a:cubicBezTo>
                  <a:cubicBezTo>
                    <a:pt x="107" y="749"/>
                    <a:pt x="167" y="784"/>
                    <a:pt x="227" y="784"/>
                  </a:cubicBezTo>
                  <a:cubicBezTo>
                    <a:pt x="250" y="784"/>
                    <a:pt x="286" y="761"/>
                    <a:pt x="310" y="749"/>
                  </a:cubicBezTo>
                  <a:lnTo>
                    <a:pt x="1000" y="368"/>
                  </a:lnTo>
                  <a:cubicBezTo>
                    <a:pt x="1084" y="308"/>
                    <a:pt x="1120" y="201"/>
                    <a:pt x="1072" y="94"/>
                  </a:cubicBezTo>
                  <a:cubicBezTo>
                    <a:pt x="1031" y="36"/>
                    <a:pt x="966" y="1"/>
                    <a:pt x="8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0" name="Google Shape;10020;p58"/>
            <p:cNvSpPr/>
            <p:nvPr/>
          </p:nvSpPr>
          <p:spPr>
            <a:xfrm>
              <a:off x="1584224" y="3243507"/>
              <a:ext cx="26103" cy="33787"/>
            </a:xfrm>
            <a:custGeom>
              <a:avLst/>
              <a:gdLst/>
              <a:ahLst/>
              <a:cxnLst/>
              <a:rect l="l" t="t" r="r" b="b"/>
              <a:pathLst>
                <a:path w="822" h="1064" extrusionOk="0">
                  <a:moveTo>
                    <a:pt x="594" y="1"/>
                  </a:moveTo>
                  <a:cubicBezTo>
                    <a:pt x="527" y="1"/>
                    <a:pt x="458" y="41"/>
                    <a:pt x="417" y="99"/>
                  </a:cubicBezTo>
                  <a:lnTo>
                    <a:pt x="24" y="790"/>
                  </a:lnTo>
                  <a:cubicBezTo>
                    <a:pt x="0" y="873"/>
                    <a:pt x="24" y="992"/>
                    <a:pt x="119" y="1040"/>
                  </a:cubicBezTo>
                  <a:cubicBezTo>
                    <a:pt x="143" y="1052"/>
                    <a:pt x="179" y="1063"/>
                    <a:pt x="203" y="1063"/>
                  </a:cubicBezTo>
                  <a:cubicBezTo>
                    <a:pt x="262" y="1063"/>
                    <a:pt x="346" y="1040"/>
                    <a:pt x="369" y="980"/>
                  </a:cubicBezTo>
                  <a:lnTo>
                    <a:pt x="762" y="290"/>
                  </a:lnTo>
                  <a:cubicBezTo>
                    <a:pt x="822" y="206"/>
                    <a:pt x="774" y="87"/>
                    <a:pt x="679" y="28"/>
                  </a:cubicBezTo>
                  <a:cubicBezTo>
                    <a:pt x="653" y="9"/>
                    <a:pt x="624" y="1"/>
                    <a:pt x="5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1" name="Google Shape;10021;p58"/>
            <p:cNvSpPr/>
            <p:nvPr/>
          </p:nvSpPr>
          <p:spPr>
            <a:xfrm>
              <a:off x="1404617" y="3271197"/>
              <a:ext cx="285859" cy="281349"/>
            </a:xfrm>
            <a:custGeom>
              <a:avLst/>
              <a:gdLst/>
              <a:ahLst/>
              <a:cxnLst/>
              <a:rect l="l" t="t" r="r" b="b"/>
              <a:pathLst>
                <a:path w="9002" h="8860" extrusionOk="0">
                  <a:moveTo>
                    <a:pt x="4525" y="1013"/>
                  </a:moveTo>
                  <a:lnTo>
                    <a:pt x="4573" y="1025"/>
                  </a:lnTo>
                  <a:lnTo>
                    <a:pt x="4704" y="1025"/>
                  </a:lnTo>
                  <a:lnTo>
                    <a:pt x="4787" y="1061"/>
                  </a:lnTo>
                  <a:lnTo>
                    <a:pt x="4811" y="1061"/>
                  </a:lnTo>
                  <a:lnTo>
                    <a:pt x="4823" y="1072"/>
                  </a:lnTo>
                  <a:cubicBezTo>
                    <a:pt x="4835" y="1072"/>
                    <a:pt x="4835" y="1084"/>
                    <a:pt x="4847" y="1084"/>
                  </a:cubicBezTo>
                  <a:cubicBezTo>
                    <a:pt x="4847" y="1084"/>
                    <a:pt x="4870" y="1084"/>
                    <a:pt x="4870" y="1096"/>
                  </a:cubicBezTo>
                  <a:lnTo>
                    <a:pt x="4942" y="1132"/>
                  </a:lnTo>
                  <a:lnTo>
                    <a:pt x="4954" y="1132"/>
                  </a:lnTo>
                  <a:lnTo>
                    <a:pt x="4989" y="1144"/>
                  </a:lnTo>
                  <a:cubicBezTo>
                    <a:pt x="4989" y="1144"/>
                    <a:pt x="5001" y="1144"/>
                    <a:pt x="5001" y="1156"/>
                  </a:cubicBezTo>
                  <a:cubicBezTo>
                    <a:pt x="5001" y="1156"/>
                    <a:pt x="5013" y="1156"/>
                    <a:pt x="5013" y="1180"/>
                  </a:cubicBezTo>
                  <a:lnTo>
                    <a:pt x="5049" y="1192"/>
                  </a:lnTo>
                  <a:cubicBezTo>
                    <a:pt x="5049" y="1192"/>
                    <a:pt x="5061" y="1192"/>
                    <a:pt x="5061" y="1203"/>
                  </a:cubicBezTo>
                  <a:cubicBezTo>
                    <a:pt x="5061" y="1203"/>
                    <a:pt x="5073" y="1203"/>
                    <a:pt x="5073" y="1215"/>
                  </a:cubicBezTo>
                  <a:lnTo>
                    <a:pt x="5085" y="1239"/>
                  </a:lnTo>
                  <a:cubicBezTo>
                    <a:pt x="5085" y="1239"/>
                    <a:pt x="5109" y="1239"/>
                    <a:pt x="5109" y="1251"/>
                  </a:cubicBezTo>
                  <a:cubicBezTo>
                    <a:pt x="5109" y="1251"/>
                    <a:pt x="5120" y="1251"/>
                    <a:pt x="5120" y="1263"/>
                  </a:cubicBezTo>
                  <a:cubicBezTo>
                    <a:pt x="5120" y="1263"/>
                    <a:pt x="5132" y="1263"/>
                    <a:pt x="5132" y="1275"/>
                  </a:cubicBezTo>
                  <a:lnTo>
                    <a:pt x="5144" y="1299"/>
                  </a:lnTo>
                  <a:cubicBezTo>
                    <a:pt x="5144" y="1299"/>
                    <a:pt x="5168" y="1299"/>
                    <a:pt x="5168" y="1311"/>
                  </a:cubicBezTo>
                  <a:lnTo>
                    <a:pt x="5263" y="1394"/>
                  </a:lnTo>
                  <a:lnTo>
                    <a:pt x="5299" y="1430"/>
                  </a:lnTo>
                  <a:cubicBezTo>
                    <a:pt x="5382" y="1501"/>
                    <a:pt x="5466" y="1596"/>
                    <a:pt x="5537" y="1680"/>
                  </a:cubicBezTo>
                  <a:cubicBezTo>
                    <a:pt x="5561" y="1715"/>
                    <a:pt x="5585" y="1739"/>
                    <a:pt x="5597" y="1787"/>
                  </a:cubicBezTo>
                  <a:lnTo>
                    <a:pt x="5597" y="1799"/>
                  </a:lnTo>
                  <a:cubicBezTo>
                    <a:pt x="5609" y="1834"/>
                    <a:pt x="5644" y="1858"/>
                    <a:pt x="5656" y="1894"/>
                  </a:cubicBezTo>
                  <a:lnTo>
                    <a:pt x="5656" y="1906"/>
                  </a:lnTo>
                  <a:cubicBezTo>
                    <a:pt x="5668" y="1930"/>
                    <a:pt x="5680" y="1965"/>
                    <a:pt x="5704" y="2013"/>
                  </a:cubicBezTo>
                  <a:lnTo>
                    <a:pt x="5704" y="2025"/>
                  </a:lnTo>
                  <a:cubicBezTo>
                    <a:pt x="5716" y="2049"/>
                    <a:pt x="5728" y="2096"/>
                    <a:pt x="5740" y="2132"/>
                  </a:cubicBezTo>
                  <a:lnTo>
                    <a:pt x="5740" y="2144"/>
                  </a:lnTo>
                  <a:cubicBezTo>
                    <a:pt x="5763" y="2168"/>
                    <a:pt x="5775" y="2215"/>
                    <a:pt x="5775" y="2251"/>
                  </a:cubicBezTo>
                  <a:lnTo>
                    <a:pt x="5775" y="2263"/>
                  </a:lnTo>
                  <a:cubicBezTo>
                    <a:pt x="5787" y="2287"/>
                    <a:pt x="5787" y="2335"/>
                    <a:pt x="5799" y="2382"/>
                  </a:cubicBezTo>
                  <a:lnTo>
                    <a:pt x="5799" y="2394"/>
                  </a:lnTo>
                  <a:cubicBezTo>
                    <a:pt x="5799" y="2442"/>
                    <a:pt x="5823" y="2466"/>
                    <a:pt x="5823" y="2513"/>
                  </a:cubicBezTo>
                  <a:lnTo>
                    <a:pt x="5823" y="2525"/>
                  </a:lnTo>
                  <a:lnTo>
                    <a:pt x="5823" y="2549"/>
                  </a:lnTo>
                  <a:cubicBezTo>
                    <a:pt x="5728" y="2620"/>
                    <a:pt x="5466" y="2739"/>
                    <a:pt x="5240" y="2894"/>
                  </a:cubicBezTo>
                  <a:cubicBezTo>
                    <a:pt x="5216" y="2894"/>
                    <a:pt x="5216" y="2906"/>
                    <a:pt x="5216" y="2906"/>
                  </a:cubicBezTo>
                  <a:cubicBezTo>
                    <a:pt x="5192" y="2918"/>
                    <a:pt x="5180" y="2930"/>
                    <a:pt x="5144" y="2966"/>
                  </a:cubicBezTo>
                  <a:cubicBezTo>
                    <a:pt x="5120" y="2977"/>
                    <a:pt x="5085" y="3013"/>
                    <a:pt x="5061" y="3037"/>
                  </a:cubicBezTo>
                  <a:cubicBezTo>
                    <a:pt x="5025" y="3049"/>
                    <a:pt x="5013" y="3085"/>
                    <a:pt x="4978" y="3097"/>
                  </a:cubicBezTo>
                  <a:cubicBezTo>
                    <a:pt x="4620" y="3406"/>
                    <a:pt x="4347" y="3823"/>
                    <a:pt x="4204" y="4299"/>
                  </a:cubicBezTo>
                  <a:cubicBezTo>
                    <a:pt x="4180" y="4299"/>
                    <a:pt x="4144" y="4287"/>
                    <a:pt x="4132" y="4287"/>
                  </a:cubicBezTo>
                  <a:cubicBezTo>
                    <a:pt x="4061" y="4275"/>
                    <a:pt x="3966" y="4275"/>
                    <a:pt x="3894" y="4275"/>
                  </a:cubicBezTo>
                  <a:lnTo>
                    <a:pt x="3632" y="4275"/>
                  </a:lnTo>
                  <a:cubicBezTo>
                    <a:pt x="3608" y="4275"/>
                    <a:pt x="3596" y="4251"/>
                    <a:pt x="3585" y="4251"/>
                  </a:cubicBezTo>
                  <a:lnTo>
                    <a:pt x="3573" y="4251"/>
                  </a:lnTo>
                  <a:cubicBezTo>
                    <a:pt x="3549" y="4240"/>
                    <a:pt x="3537" y="4240"/>
                    <a:pt x="3525" y="4228"/>
                  </a:cubicBezTo>
                  <a:cubicBezTo>
                    <a:pt x="3513" y="4216"/>
                    <a:pt x="3489" y="4216"/>
                    <a:pt x="3465" y="4192"/>
                  </a:cubicBezTo>
                  <a:lnTo>
                    <a:pt x="3454" y="4180"/>
                  </a:lnTo>
                  <a:cubicBezTo>
                    <a:pt x="3430" y="4168"/>
                    <a:pt x="3418" y="4168"/>
                    <a:pt x="3406" y="4156"/>
                  </a:cubicBezTo>
                  <a:lnTo>
                    <a:pt x="3394" y="4156"/>
                  </a:lnTo>
                  <a:cubicBezTo>
                    <a:pt x="3370" y="4132"/>
                    <a:pt x="3358" y="4120"/>
                    <a:pt x="3346" y="4120"/>
                  </a:cubicBezTo>
                  <a:lnTo>
                    <a:pt x="3335" y="4109"/>
                  </a:lnTo>
                  <a:cubicBezTo>
                    <a:pt x="3311" y="4097"/>
                    <a:pt x="3299" y="4097"/>
                    <a:pt x="3287" y="4073"/>
                  </a:cubicBezTo>
                  <a:lnTo>
                    <a:pt x="3275" y="4073"/>
                  </a:lnTo>
                  <a:lnTo>
                    <a:pt x="3227" y="4037"/>
                  </a:lnTo>
                  <a:lnTo>
                    <a:pt x="3215" y="4013"/>
                  </a:lnTo>
                  <a:cubicBezTo>
                    <a:pt x="3192" y="4001"/>
                    <a:pt x="3180" y="3990"/>
                    <a:pt x="3168" y="3990"/>
                  </a:cubicBezTo>
                  <a:lnTo>
                    <a:pt x="3156" y="3990"/>
                  </a:lnTo>
                  <a:lnTo>
                    <a:pt x="3108" y="3942"/>
                  </a:lnTo>
                  <a:lnTo>
                    <a:pt x="3096" y="3930"/>
                  </a:lnTo>
                  <a:lnTo>
                    <a:pt x="3061" y="3894"/>
                  </a:lnTo>
                  <a:lnTo>
                    <a:pt x="3049" y="3882"/>
                  </a:lnTo>
                  <a:lnTo>
                    <a:pt x="3001" y="3835"/>
                  </a:lnTo>
                  <a:lnTo>
                    <a:pt x="2989" y="3823"/>
                  </a:lnTo>
                  <a:lnTo>
                    <a:pt x="2989" y="3811"/>
                  </a:lnTo>
                  <a:cubicBezTo>
                    <a:pt x="2870" y="3680"/>
                    <a:pt x="2775" y="3525"/>
                    <a:pt x="2715" y="3358"/>
                  </a:cubicBezTo>
                  <a:cubicBezTo>
                    <a:pt x="2715" y="3347"/>
                    <a:pt x="2703" y="3335"/>
                    <a:pt x="2703" y="3323"/>
                  </a:cubicBezTo>
                  <a:lnTo>
                    <a:pt x="2703" y="3299"/>
                  </a:lnTo>
                  <a:cubicBezTo>
                    <a:pt x="2703" y="3287"/>
                    <a:pt x="2692" y="3275"/>
                    <a:pt x="2692" y="3263"/>
                  </a:cubicBezTo>
                  <a:lnTo>
                    <a:pt x="2692" y="3239"/>
                  </a:lnTo>
                  <a:cubicBezTo>
                    <a:pt x="2692" y="3228"/>
                    <a:pt x="2680" y="3204"/>
                    <a:pt x="2680" y="3180"/>
                  </a:cubicBezTo>
                  <a:cubicBezTo>
                    <a:pt x="2656" y="3108"/>
                    <a:pt x="2644" y="3049"/>
                    <a:pt x="2632" y="2977"/>
                  </a:cubicBezTo>
                  <a:lnTo>
                    <a:pt x="2632" y="2930"/>
                  </a:lnTo>
                  <a:lnTo>
                    <a:pt x="2632" y="2882"/>
                  </a:lnTo>
                  <a:cubicBezTo>
                    <a:pt x="2632" y="2823"/>
                    <a:pt x="2620" y="2763"/>
                    <a:pt x="2620" y="2704"/>
                  </a:cubicBezTo>
                  <a:lnTo>
                    <a:pt x="2620" y="2644"/>
                  </a:lnTo>
                  <a:lnTo>
                    <a:pt x="2620" y="2632"/>
                  </a:lnTo>
                  <a:lnTo>
                    <a:pt x="2620" y="2573"/>
                  </a:lnTo>
                  <a:lnTo>
                    <a:pt x="2620" y="2513"/>
                  </a:lnTo>
                  <a:lnTo>
                    <a:pt x="2620" y="2501"/>
                  </a:lnTo>
                  <a:cubicBezTo>
                    <a:pt x="2620" y="2454"/>
                    <a:pt x="2632" y="2430"/>
                    <a:pt x="2632" y="2382"/>
                  </a:cubicBezTo>
                  <a:lnTo>
                    <a:pt x="2632" y="2370"/>
                  </a:lnTo>
                  <a:cubicBezTo>
                    <a:pt x="2632" y="2335"/>
                    <a:pt x="2644" y="2287"/>
                    <a:pt x="2656" y="2263"/>
                  </a:cubicBezTo>
                  <a:lnTo>
                    <a:pt x="2656" y="2251"/>
                  </a:lnTo>
                  <a:cubicBezTo>
                    <a:pt x="2680" y="2215"/>
                    <a:pt x="2680" y="2168"/>
                    <a:pt x="2692" y="2144"/>
                  </a:cubicBezTo>
                  <a:lnTo>
                    <a:pt x="2692" y="2132"/>
                  </a:lnTo>
                  <a:cubicBezTo>
                    <a:pt x="2703" y="2096"/>
                    <a:pt x="2715" y="2049"/>
                    <a:pt x="2739" y="2025"/>
                  </a:cubicBezTo>
                  <a:lnTo>
                    <a:pt x="2739" y="2013"/>
                  </a:lnTo>
                  <a:cubicBezTo>
                    <a:pt x="2751" y="1977"/>
                    <a:pt x="2763" y="1930"/>
                    <a:pt x="2775" y="1906"/>
                  </a:cubicBezTo>
                  <a:lnTo>
                    <a:pt x="2775" y="1894"/>
                  </a:lnTo>
                  <a:cubicBezTo>
                    <a:pt x="2799" y="1858"/>
                    <a:pt x="2811" y="1834"/>
                    <a:pt x="2834" y="1799"/>
                  </a:cubicBezTo>
                  <a:lnTo>
                    <a:pt x="2858" y="1787"/>
                  </a:lnTo>
                  <a:cubicBezTo>
                    <a:pt x="2870" y="1751"/>
                    <a:pt x="2894" y="1727"/>
                    <a:pt x="2918" y="1692"/>
                  </a:cubicBezTo>
                  <a:cubicBezTo>
                    <a:pt x="2989" y="1608"/>
                    <a:pt x="3061" y="1513"/>
                    <a:pt x="3156" y="1442"/>
                  </a:cubicBezTo>
                  <a:lnTo>
                    <a:pt x="3180" y="1418"/>
                  </a:lnTo>
                  <a:lnTo>
                    <a:pt x="3299" y="1311"/>
                  </a:lnTo>
                  <a:cubicBezTo>
                    <a:pt x="3299" y="1311"/>
                    <a:pt x="3311" y="1311"/>
                    <a:pt x="3311" y="1299"/>
                  </a:cubicBezTo>
                  <a:cubicBezTo>
                    <a:pt x="3311" y="1299"/>
                    <a:pt x="3335" y="1299"/>
                    <a:pt x="3335" y="1275"/>
                  </a:cubicBezTo>
                  <a:lnTo>
                    <a:pt x="3346" y="1263"/>
                  </a:lnTo>
                  <a:cubicBezTo>
                    <a:pt x="3346" y="1263"/>
                    <a:pt x="3358" y="1263"/>
                    <a:pt x="3358" y="1251"/>
                  </a:cubicBezTo>
                  <a:cubicBezTo>
                    <a:pt x="3358" y="1251"/>
                    <a:pt x="3370" y="1251"/>
                    <a:pt x="3370" y="1239"/>
                  </a:cubicBezTo>
                  <a:cubicBezTo>
                    <a:pt x="3370" y="1239"/>
                    <a:pt x="3394" y="1239"/>
                    <a:pt x="3394" y="1215"/>
                  </a:cubicBezTo>
                  <a:cubicBezTo>
                    <a:pt x="3394" y="1215"/>
                    <a:pt x="3406" y="1215"/>
                    <a:pt x="3406" y="1203"/>
                  </a:cubicBezTo>
                  <a:lnTo>
                    <a:pt x="3430" y="1192"/>
                  </a:lnTo>
                  <a:cubicBezTo>
                    <a:pt x="3430" y="1192"/>
                    <a:pt x="3454" y="1192"/>
                    <a:pt x="3454" y="1180"/>
                  </a:cubicBezTo>
                  <a:cubicBezTo>
                    <a:pt x="3454" y="1180"/>
                    <a:pt x="3465" y="1180"/>
                    <a:pt x="3465" y="1156"/>
                  </a:cubicBezTo>
                  <a:lnTo>
                    <a:pt x="3489" y="1144"/>
                  </a:lnTo>
                  <a:cubicBezTo>
                    <a:pt x="3489" y="1144"/>
                    <a:pt x="3513" y="1144"/>
                    <a:pt x="3513" y="1132"/>
                  </a:cubicBezTo>
                  <a:lnTo>
                    <a:pt x="3585" y="1096"/>
                  </a:lnTo>
                  <a:cubicBezTo>
                    <a:pt x="3585" y="1096"/>
                    <a:pt x="3596" y="1096"/>
                    <a:pt x="3596" y="1084"/>
                  </a:cubicBezTo>
                  <a:cubicBezTo>
                    <a:pt x="3608" y="1084"/>
                    <a:pt x="3608" y="1072"/>
                    <a:pt x="3632" y="1072"/>
                  </a:cubicBezTo>
                  <a:lnTo>
                    <a:pt x="3644" y="1061"/>
                  </a:lnTo>
                  <a:lnTo>
                    <a:pt x="3656" y="1061"/>
                  </a:lnTo>
                  <a:lnTo>
                    <a:pt x="3763" y="1025"/>
                  </a:lnTo>
                  <a:lnTo>
                    <a:pt x="3882" y="1025"/>
                  </a:lnTo>
                  <a:lnTo>
                    <a:pt x="3930" y="1013"/>
                  </a:lnTo>
                  <a:close/>
                  <a:moveTo>
                    <a:pt x="4347" y="418"/>
                  </a:moveTo>
                  <a:cubicBezTo>
                    <a:pt x="4847" y="418"/>
                    <a:pt x="5335" y="584"/>
                    <a:pt x="5740" y="882"/>
                  </a:cubicBezTo>
                  <a:cubicBezTo>
                    <a:pt x="6156" y="1192"/>
                    <a:pt x="6454" y="1620"/>
                    <a:pt x="6585" y="2108"/>
                  </a:cubicBezTo>
                  <a:cubicBezTo>
                    <a:pt x="6621" y="2227"/>
                    <a:pt x="6644" y="2370"/>
                    <a:pt x="6668" y="2489"/>
                  </a:cubicBezTo>
                  <a:lnTo>
                    <a:pt x="6442" y="2489"/>
                  </a:lnTo>
                  <a:cubicBezTo>
                    <a:pt x="6442" y="2442"/>
                    <a:pt x="6430" y="2394"/>
                    <a:pt x="6430" y="2346"/>
                  </a:cubicBezTo>
                  <a:lnTo>
                    <a:pt x="6430" y="2335"/>
                  </a:lnTo>
                  <a:cubicBezTo>
                    <a:pt x="6406" y="2287"/>
                    <a:pt x="6406" y="2251"/>
                    <a:pt x="6394" y="2204"/>
                  </a:cubicBezTo>
                  <a:lnTo>
                    <a:pt x="6394" y="2192"/>
                  </a:lnTo>
                  <a:lnTo>
                    <a:pt x="6347" y="2049"/>
                  </a:lnTo>
                  <a:lnTo>
                    <a:pt x="6347" y="2037"/>
                  </a:lnTo>
                  <a:lnTo>
                    <a:pt x="6311" y="1906"/>
                  </a:lnTo>
                  <a:lnTo>
                    <a:pt x="6311" y="1894"/>
                  </a:lnTo>
                  <a:cubicBezTo>
                    <a:pt x="6287" y="1846"/>
                    <a:pt x="6263" y="1799"/>
                    <a:pt x="6252" y="1775"/>
                  </a:cubicBezTo>
                  <a:lnTo>
                    <a:pt x="6228" y="1751"/>
                  </a:lnTo>
                  <a:cubicBezTo>
                    <a:pt x="6216" y="1715"/>
                    <a:pt x="6192" y="1680"/>
                    <a:pt x="6156" y="1632"/>
                  </a:cubicBezTo>
                  <a:lnTo>
                    <a:pt x="6144" y="1620"/>
                  </a:lnTo>
                  <a:cubicBezTo>
                    <a:pt x="6109" y="1573"/>
                    <a:pt x="6085" y="1549"/>
                    <a:pt x="6073" y="1501"/>
                  </a:cubicBezTo>
                  <a:cubicBezTo>
                    <a:pt x="5978" y="1382"/>
                    <a:pt x="5894" y="1275"/>
                    <a:pt x="5787" y="1192"/>
                  </a:cubicBezTo>
                  <a:lnTo>
                    <a:pt x="5775" y="1180"/>
                  </a:lnTo>
                  <a:lnTo>
                    <a:pt x="5751" y="1156"/>
                  </a:lnTo>
                  <a:lnTo>
                    <a:pt x="5740" y="1144"/>
                  </a:lnTo>
                  <a:lnTo>
                    <a:pt x="5680" y="1084"/>
                  </a:lnTo>
                  <a:lnTo>
                    <a:pt x="5668" y="1072"/>
                  </a:lnTo>
                  <a:lnTo>
                    <a:pt x="5621" y="1037"/>
                  </a:lnTo>
                  <a:lnTo>
                    <a:pt x="5609" y="1025"/>
                  </a:lnTo>
                  <a:lnTo>
                    <a:pt x="5597" y="1013"/>
                  </a:lnTo>
                  <a:lnTo>
                    <a:pt x="5573" y="1001"/>
                  </a:lnTo>
                  <a:lnTo>
                    <a:pt x="5561" y="977"/>
                  </a:lnTo>
                  <a:lnTo>
                    <a:pt x="5549" y="965"/>
                  </a:lnTo>
                  <a:lnTo>
                    <a:pt x="5537" y="953"/>
                  </a:lnTo>
                  <a:lnTo>
                    <a:pt x="5513" y="942"/>
                  </a:lnTo>
                  <a:cubicBezTo>
                    <a:pt x="5513" y="942"/>
                    <a:pt x="5501" y="918"/>
                    <a:pt x="5490" y="918"/>
                  </a:cubicBezTo>
                  <a:lnTo>
                    <a:pt x="5442" y="894"/>
                  </a:lnTo>
                  <a:cubicBezTo>
                    <a:pt x="5430" y="894"/>
                    <a:pt x="5430" y="882"/>
                    <a:pt x="5430" y="882"/>
                  </a:cubicBezTo>
                  <a:cubicBezTo>
                    <a:pt x="5430" y="882"/>
                    <a:pt x="5418" y="858"/>
                    <a:pt x="5394" y="858"/>
                  </a:cubicBezTo>
                  <a:lnTo>
                    <a:pt x="5359" y="834"/>
                  </a:lnTo>
                  <a:cubicBezTo>
                    <a:pt x="5359" y="834"/>
                    <a:pt x="5335" y="834"/>
                    <a:pt x="5335" y="822"/>
                  </a:cubicBezTo>
                  <a:lnTo>
                    <a:pt x="5299" y="787"/>
                  </a:lnTo>
                  <a:cubicBezTo>
                    <a:pt x="5299" y="787"/>
                    <a:pt x="5275" y="787"/>
                    <a:pt x="5275" y="775"/>
                  </a:cubicBezTo>
                  <a:lnTo>
                    <a:pt x="5251" y="763"/>
                  </a:lnTo>
                  <a:cubicBezTo>
                    <a:pt x="5251" y="763"/>
                    <a:pt x="5240" y="763"/>
                    <a:pt x="5216" y="739"/>
                  </a:cubicBezTo>
                  <a:cubicBezTo>
                    <a:pt x="5204" y="739"/>
                    <a:pt x="5192" y="727"/>
                    <a:pt x="5180" y="727"/>
                  </a:cubicBezTo>
                  <a:lnTo>
                    <a:pt x="5144" y="727"/>
                  </a:lnTo>
                  <a:cubicBezTo>
                    <a:pt x="5144" y="727"/>
                    <a:pt x="5132" y="727"/>
                    <a:pt x="5120" y="715"/>
                  </a:cubicBezTo>
                  <a:lnTo>
                    <a:pt x="5037" y="715"/>
                  </a:lnTo>
                  <a:lnTo>
                    <a:pt x="5013" y="703"/>
                  </a:lnTo>
                  <a:lnTo>
                    <a:pt x="5001" y="703"/>
                  </a:lnTo>
                  <a:cubicBezTo>
                    <a:pt x="4978" y="703"/>
                    <a:pt x="4978" y="703"/>
                    <a:pt x="4966" y="680"/>
                  </a:cubicBezTo>
                  <a:lnTo>
                    <a:pt x="3989" y="680"/>
                  </a:lnTo>
                  <a:lnTo>
                    <a:pt x="3942" y="703"/>
                  </a:lnTo>
                  <a:lnTo>
                    <a:pt x="3727" y="703"/>
                  </a:lnTo>
                  <a:cubicBezTo>
                    <a:pt x="3716" y="703"/>
                    <a:pt x="3716" y="703"/>
                    <a:pt x="3704" y="715"/>
                  </a:cubicBezTo>
                  <a:lnTo>
                    <a:pt x="3585" y="715"/>
                  </a:lnTo>
                  <a:cubicBezTo>
                    <a:pt x="3573" y="715"/>
                    <a:pt x="3573" y="715"/>
                    <a:pt x="3549" y="727"/>
                  </a:cubicBezTo>
                  <a:lnTo>
                    <a:pt x="3525" y="727"/>
                  </a:lnTo>
                  <a:cubicBezTo>
                    <a:pt x="3513" y="727"/>
                    <a:pt x="3489" y="751"/>
                    <a:pt x="3477" y="751"/>
                  </a:cubicBezTo>
                  <a:cubicBezTo>
                    <a:pt x="3465" y="751"/>
                    <a:pt x="3465" y="751"/>
                    <a:pt x="3454" y="763"/>
                  </a:cubicBezTo>
                  <a:lnTo>
                    <a:pt x="3418" y="775"/>
                  </a:lnTo>
                  <a:cubicBezTo>
                    <a:pt x="3418" y="775"/>
                    <a:pt x="3406" y="775"/>
                    <a:pt x="3406" y="787"/>
                  </a:cubicBezTo>
                  <a:lnTo>
                    <a:pt x="3370" y="811"/>
                  </a:lnTo>
                  <a:lnTo>
                    <a:pt x="3358" y="822"/>
                  </a:lnTo>
                  <a:cubicBezTo>
                    <a:pt x="3358" y="822"/>
                    <a:pt x="3346" y="822"/>
                    <a:pt x="3346" y="834"/>
                  </a:cubicBezTo>
                  <a:lnTo>
                    <a:pt x="3299" y="870"/>
                  </a:lnTo>
                  <a:lnTo>
                    <a:pt x="3287" y="882"/>
                  </a:lnTo>
                  <a:cubicBezTo>
                    <a:pt x="3275" y="882"/>
                    <a:pt x="3275" y="894"/>
                    <a:pt x="3251" y="894"/>
                  </a:cubicBezTo>
                  <a:lnTo>
                    <a:pt x="3215" y="930"/>
                  </a:lnTo>
                  <a:lnTo>
                    <a:pt x="3192" y="942"/>
                  </a:lnTo>
                  <a:lnTo>
                    <a:pt x="3180" y="953"/>
                  </a:lnTo>
                  <a:cubicBezTo>
                    <a:pt x="3180" y="953"/>
                    <a:pt x="3168" y="965"/>
                    <a:pt x="3156" y="965"/>
                  </a:cubicBezTo>
                  <a:lnTo>
                    <a:pt x="3132" y="989"/>
                  </a:lnTo>
                  <a:lnTo>
                    <a:pt x="3120" y="1001"/>
                  </a:lnTo>
                  <a:lnTo>
                    <a:pt x="3108" y="1013"/>
                  </a:lnTo>
                  <a:cubicBezTo>
                    <a:pt x="3096" y="1013"/>
                    <a:pt x="3096" y="1025"/>
                    <a:pt x="3096" y="1025"/>
                  </a:cubicBezTo>
                  <a:lnTo>
                    <a:pt x="3073" y="1049"/>
                  </a:lnTo>
                  <a:lnTo>
                    <a:pt x="3037" y="1072"/>
                  </a:lnTo>
                  <a:lnTo>
                    <a:pt x="3013" y="1084"/>
                  </a:lnTo>
                  <a:lnTo>
                    <a:pt x="2954" y="1144"/>
                  </a:lnTo>
                  <a:lnTo>
                    <a:pt x="2942" y="1168"/>
                  </a:lnTo>
                  <a:lnTo>
                    <a:pt x="2930" y="1180"/>
                  </a:lnTo>
                  <a:lnTo>
                    <a:pt x="2918" y="1192"/>
                  </a:lnTo>
                  <a:cubicBezTo>
                    <a:pt x="2811" y="1287"/>
                    <a:pt x="2715" y="1382"/>
                    <a:pt x="2632" y="1501"/>
                  </a:cubicBezTo>
                  <a:cubicBezTo>
                    <a:pt x="2596" y="1549"/>
                    <a:pt x="2573" y="1584"/>
                    <a:pt x="2561" y="1620"/>
                  </a:cubicBezTo>
                  <a:lnTo>
                    <a:pt x="2537" y="1644"/>
                  </a:lnTo>
                  <a:cubicBezTo>
                    <a:pt x="2513" y="1680"/>
                    <a:pt x="2501" y="1715"/>
                    <a:pt x="2465" y="1763"/>
                  </a:cubicBezTo>
                  <a:lnTo>
                    <a:pt x="2465" y="1775"/>
                  </a:lnTo>
                  <a:cubicBezTo>
                    <a:pt x="2453" y="1823"/>
                    <a:pt x="2418" y="1846"/>
                    <a:pt x="2406" y="1894"/>
                  </a:cubicBezTo>
                  <a:lnTo>
                    <a:pt x="2406" y="1906"/>
                  </a:lnTo>
                  <a:lnTo>
                    <a:pt x="2358" y="2037"/>
                  </a:lnTo>
                  <a:lnTo>
                    <a:pt x="2358" y="2061"/>
                  </a:lnTo>
                  <a:lnTo>
                    <a:pt x="2322" y="2192"/>
                  </a:lnTo>
                  <a:lnTo>
                    <a:pt x="2322" y="2204"/>
                  </a:lnTo>
                  <a:cubicBezTo>
                    <a:pt x="2299" y="2251"/>
                    <a:pt x="2287" y="2299"/>
                    <a:pt x="2287" y="2335"/>
                  </a:cubicBezTo>
                  <a:lnTo>
                    <a:pt x="2287" y="2358"/>
                  </a:lnTo>
                  <a:cubicBezTo>
                    <a:pt x="2275" y="2394"/>
                    <a:pt x="2275" y="2442"/>
                    <a:pt x="2275" y="2489"/>
                  </a:cubicBezTo>
                  <a:lnTo>
                    <a:pt x="2275" y="2501"/>
                  </a:lnTo>
                  <a:lnTo>
                    <a:pt x="2275" y="2573"/>
                  </a:lnTo>
                  <a:lnTo>
                    <a:pt x="2275" y="2656"/>
                  </a:lnTo>
                  <a:lnTo>
                    <a:pt x="2275" y="2668"/>
                  </a:lnTo>
                  <a:lnTo>
                    <a:pt x="2275" y="2739"/>
                  </a:lnTo>
                  <a:cubicBezTo>
                    <a:pt x="2275" y="2811"/>
                    <a:pt x="2275" y="2894"/>
                    <a:pt x="2287" y="2954"/>
                  </a:cubicBezTo>
                  <a:lnTo>
                    <a:pt x="2287" y="2989"/>
                  </a:lnTo>
                  <a:cubicBezTo>
                    <a:pt x="2287" y="3013"/>
                    <a:pt x="2287" y="3037"/>
                    <a:pt x="2299" y="3049"/>
                  </a:cubicBezTo>
                  <a:cubicBezTo>
                    <a:pt x="2322" y="3144"/>
                    <a:pt x="2334" y="3228"/>
                    <a:pt x="2358" y="3311"/>
                  </a:cubicBezTo>
                  <a:cubicBezTo>
                    <a:pt x="2358" y="3335"/>
                    <a:pt x="2382" y="3347"/>
                    <a:pt x="2394" y="3382"/>
                  </a:cubicBezTo>
                  <a:lnTo>
                    <a:pt x="2394" y="3394"/>
                  </a:lnTo>
                  <a:cubicBezTo>
                    <a:pt x="2394" y="3406"/>
                    <a:pt x="2406" y="3442"/>
                    <a:pt x="2406" y="3454"/>
                  </a:cubicBezTo>
                  <a:lnTo>
                    <a:pt x="2406" y="3466"/>
                  </a:lnTo>
                  <a:cubicBezTo>
                    <a:pt x="2418" y="3489"/>
                    <a:pt x="2418" y="3513"/>
                    <a:pt x="2442" y="3525"/>
                  </a:cubicBezTo>
                  <a:lnTo>
                    <a:pt x="2442" y="3549"/>
                  </a:lnTo>
                  <a:cubicBezTo>
                    <a:pt x="2513" y="3739"/>
                    <a:pt x="2632" y="3918"/>
                    <a:pt x="2763" y="4085"/>
                  </a:cubicBezTo>
                  <a:lnTo>
                    <a:pt x="2775" y="4097"/>
                  </a:lnTo>
                  <a:lnTo>
                    <a:pt x="2799" y="4109"/>
                  </a:lnTo>
                  <a:lnTo>
                    <a:pt x="2799" y="4120"/>
                  </a:lnTo>
                  <a:lnTo>
                    <a:pt x="2811" y="4144"/>
                  </a:lnTo>
                  <a:cubicBezTo>
                    <a:pt x="2823" y="4156"/>
                    <a:pt x="2834" y="4168"/>
                    <a:pt x="2858" y="4204"/>
                  </a:cubicBezTo>
                  <a:lnTo>
                    <a:pt x="2870" y="4216"/>
                  </a:lnTo>
                  <a:lnTo>
                    <a:pt x="2918" y="4263"/>
                  </a:lnTo>
                  <a:lnTo>
                    <a:pt x="2930" y="4275"/>
                  </a:lnTo>
                  <a:cubicBezTo>
                    <a:pt x="2942" y="4287"/>
                    <a:pt x="2954" y="4299"/>
                    <a:pt x="2989" y="4323"/>
                  </a:cubicBezTo>
                  <a:lnTo>
                    <a:pt x="3001" y="4335"/>
                  </a:lnTo>
                  <a:lnTo>
                    <a:pt x="3049" y="4382"/>
                  </a:lnTo>
                  <a:lnTo>
                    <a:pt x="3061" y="4394"/>
                  </a:lnTo>
                  <a:cubicBezTo>
                    <a:pt x="3073" y="4406"/>
                    <a:pt x="3108" y="4418"/>
                    <a:pt x="3120" y="4442"/>
                  </a:cubicBezTo>
                  <a:lnTo>
                    <a:pt x="3132" y="4442"/>
                  </a:lnTo>
                  <a:cubicBezTo>
                    <a:pt x="3156" y="4454"/>
                    <a:pt x="3168" y="4466"/>
                    <a:pt x="3192" y="4478"/>
                  </a:cubicBezTo>
                  <a:lnTo>
                    <a:pt x="3215" y="4501"/>
                  </a:lnTo>
                  <a:lnTo>
                    <a:pt x="3227" y="4501"/>
                  </a:lnTo>
                  <a:cubicBezTo>
                    <a:pt x="3215" y="4501"/>
                    <a:pt x="3215" y="4513"/>
                    <a:pt x="3192" y="4513"/>
                  </a:cubicBezTo>
                  <a:cubicBezTo>
                    <a:pt x="3156" y="4537"/>
                    <a:pt x="3096" y="4573"/>
                    <a:pt x="3049" y="4597"/>
                  </a:cubicBezTo>
                  <a:cubicBezTo>
                    <a:pt x="3037" y="4597"/>
                    <a:pt x="3037" y="4621"/>
                    <a:pt x="3013" y="4621"/>
                  </a:cubicBezTo>
                  <a:cubicBezTo>
                    <a:pt x="2977" y="4585"/>
                    <a:pt x="2942" y="4561"/>
                    <a:pt x="2894" y="4525"/>
                  </a:cubicBezTo>
                  <a:lnTo>
                    <a:pt x="2858" y="4478"/>
                  </a:lnTo>
                  <a:lnTo>
                    <a:pt x="2811" y="4442"/>
                  </a:lnTo>
                  <a:lnTo>
                    <a:pt x="2799" y="4418"/>
                  </a:lnTo>
                  <a:lnTo>
                    <a:pt x="2763" y="4394"/>
                  </a:lnTo>
                  <a:lnTo>
                    <a:pt x="2751" y="4382"/>
                  </a:lnTo>
                  <a:cubicBezTo>
                    <a:pt x="2620" y="4347"/>
                    <a:pt x="2608" y="4335"/>
                    <a:pt x="2608" y="4335"/>
                  </a:cubicBezTo>
                  <a:lnTo>
                    <a:pt x="2584" y="4311"/>
                  </a:lnTo>
                  <a:lnTo>
                    <a:pt x="2561" y="4287"/>
                  </a:lnTo>
                  <a:lnTo>
                    <a:pt x="2537" y="4275"/>
                  </a:lnTo>
                  <a:lnTo>
                    <a:pt x="2513" y="4240"/>
                  </a:lnTo>
                  <a:lnTo>
                    <a:pt x="2501" y="4228"/>
                  </a:lnTo>
                  <a:cubicBezTo>
                    <a:pt x="2501" y="4216"/>
                    <a:pt x="2477" y="4216"/>
                    <a:pt x="2477" y="4192"/>
                  </a:cubicBezTo>
                  <a:lnTo>
                    <a:pt x="2465" y="4180"/>
                  </a:lnTo>
                  <a:cubicBezTo>
                    <a:pt x="2465" y="4168"/>
                    <a:pt x="2453" y="4168"/>
                    <a:pt x="2453" y="4156"/>
                  </a:cubicBezTo>
                  <a:lnTo>
                    <a:pt x="2442" y="4132"/>
                  </a:lnTo>
                  <a:cubicBezTo>
                    <a:pt x="2442" y="4120"/>
                    <a:pt x="2418" y="4120"/>
                    <a:pt x="2418" y="4109"/>
                  </a:cubicBezTo>
                  <a:lnTo>
                    <a:pt x="2406" y="4097"/>
                  </a:lnTo>
                  <a:cubicBezTo>
                    <a:pt x="2406" y="4073"/>
                    <a:pt x="2394" y="4073"/>
                    <a:pt x="2394" y="4061"/>
                  </a:cubicBezTo>
                  <a:lnTo>
                    <a:pt x="2382" y="4049"/>
                  </a:lnTo>
                  <a:cubicBezTo>
                    <a:pt x="2358" y="4037"/>
                    <a:pt x="2358" y="4013"/>
                    <a:pt x="2346" y="4001"/>
                  </a:cubicBezTo>
                  <a:lnTo>
                    <a:pt x="2346" y="3990"/>
                  </a:lnTo>
                  <a:cubicBezTo>
                    <a:pt x="2334" y="3978"/>
                    <a:pt x="2334" y="3954"/>
                    <a:pt x="2322" y="3942"/>
                  </a:cubicBezTo>
                  <a:lnTo>
                    <a:pt x="2299" y="3930"/>
                  </a:lnTo>
                  <a:cubicBezTo>
                    <a:pt x="2299" y="3918"/>
                    <a:pt x="2287" y="3894"/>
                    <a:pt x="2287" y="3894"/>
                  </a:cubicBezTo>
                  <a:lnTo>
                    <a:pt x="2275" y="3882"/>
                  </a:lnTo>
                  <a:cubicBezTo>
                    <a:pt x="2275" y="3870"/>
                    <a:pt x="2263" y="3870"/>
                    <a:pt x="2263" y="3859"/>
                  </a:cubicBezTo>
                  <a:lnTo>
                    <a:pt x="2239" y="3835"/>
                  </a:lnTo>
                  <a:cubicBezTo>
                    <a:pt x="2239" y="3823"/>
                    <a:pt x="2227" y="3823"/>
                    <a:pt x="2227" y="3811"/>
                  </a:cubicBezTo>
                  <a:lnTo>
                    <a:pt x="2215" y="3775"/>
                  </a:lnTo>
                  <a:cubicBezTo>
                    <a:pt x="2215" y="3763"/>
                    <a:pt x="2203" y="3763"/>
                    <a:pt x="2203" y="3751"/>
                  </a:cubicBezTo>
                  <a:cubicBezTo>
                    <a:pt x="2203" y="3739"/>
                    <a:pt x="2203" y="3739"/>
                    <a:pt x="2180" y="3716"/>
                  </a:cubicBezTo>
                  <a:cubicBezTo>
                    <a:pt x="2180" y="3704"/>
                    <a:pt x="2168" y="3704"/>
                    <a:pt x="2168" y="3692"/>
                  </a:cubicBezTo>
                  <a:cubicBezTo>
                    <a:pt x="2168" y="3692"/>
                    <a:pt x="2168" y="3680"/>
                    <a:pt x="2156" y="3680"/>
                  </a:cubicBezTo>
                  <a:cubicBezTo>
                    <a:pt x="2156" y="3656"/>
                    <a:pt x="2144" y="3656"/>
                    <a:pt x="2144" y="3644"/>
                  </a:cubicBezTo>
                  <a:cubicBezTo>
                    <a:pt x="2144" y="3632"/>
                    <a:pt x="2144" y="3632"/>
                    <a:pt x="2120" y="3620"/>
                  </a:cubicBezTo>
                  <a:cubicBezTo>
                    <a:pt x="2120" y="3597"/>
                    <a:pt x="2108" y="3597"/>
                    <a:pt x="2108" y="3585"/>
                  </a:cubicBezTo>
                  <a:lnTo>
                    <a:pt x="2096" y="3561"/>
                  </a:lnTo>
                  <a:cubicBezTo>
                    <a:pt x="2096" y="3537"/>
                    <a:pt x="2084" y="3537"/>
                    <a:pt x="2084" y="3525"/>
                  </a:cubicBezTo>
                  <a:lnTo>
                    <a:pt x="2061" y="3501"/>
                  </a:lnTo>
                  <a:cubicBezTo>
                    <a:pt x="2061" y="3478"/>
                    <a:pt x="2049" y="3466"/>
                    <a:pt x="2049" y="3454"/>
                  </a:cubicBezTo>
                  <a:lnTo>
                    <a:pt x="2049" y="3442"/>
                  </a:lnTo>
                  <a:cubicBezTo>
                    <a:pt x="2049" y="3418"/>
                    <a:pt x="2037" y="3394"/>
                    <a:pt x="2037" y="3382"/>
                  </a:cubicBezTo>
                  <a:lnTo>
                    <a:pt x="2037" y="3358"/>
                  </a:lnTo>
                  <a:cubicBezTo>
                    <a:pt x="2037" y="3347"/>
                    <a:pt x="2025" y="3335"/>
                    <a:pt x="2025" y="3323"/>
                  </a:cubicBezTo>
                  <a:lnTo>
                    <a:pt x="2025" y="3287"/>
                  </a:lnTo>
                  <a:cubicBezTo>
                    <a:pt x="2025" y="3275"/>
                    <a:pt x="2025" y="3263"/>
                    <a:pt x="2001" y="3239"/>
                  </a:cubicBezTo>
                  <a:lnTo>
                    <a:pt x="2001" y="3216"/>
                  </a:lnTo>
                  <a:lnTo>
                    <a:pt x="2001" y="3180"/>
                  </a:lnTo>
                  <a:lnTo>
                    <a:pt x="2001" y="3156"/>
                  </a:lnTo>
                  <a:lnTo>
                    <a:pt x="2001" y="3120"/>
                  </a:lnTo>
                  <a:lnTo>
                    <a:pt x="2001" y="3097"/>
                  </a:lnTo>
                  <a:lnTo>
                    <a:pt x="2001" y="3061"/>
                  </a:lnTo>
                  <a:lnTo>
                    <a:pt x="2001" y="3037"/>
                  </a:lnTo>
                  <a:lnTo>
                    <a:pt x="2001" y="3001"/>
                  </a:lnTo>
                  <a:lnTo>
                    <a:pt x="2001" y="2977"/>
                  </a:lnTo>
                  <a:lnTo>
                    <a:pt x="2001" y="2942"/>
                  </a:lnTo>
                  <a:lnTo>
                    <a:pt x="2001" y="2930"/>
                  </a:lnTo>
                  <a:lnTo>
                    <a:pt x="2001" y="2906"/>
                  </a:lnTo>
                  <a:lnTo>
                    <a:pt x="2001" y="2870"/>
                  </a:lnTo>
                  <a:lnTo>
                    <a:pt x="2001" y="2823"/>
                  </a:lnTo>
                  <a:lnTo>
                    <a:pt x="2001" y="2811"/>
                  </a:lnTo>
                  <a:lnTo>
                    <a:pt x="2001" y="2751"/>
                  </a:lnTo>
                  <a:cubicBezTo>
                    <a:pt x="2001" y="2525"/>
                    <a:pt x="2037" y="2323"/>
                    <a:pt x="2096" y="2108"/>
                  </a:cubicBezTo>
                  <a:cubicBezTo>
                    <a:pt x="2227" y="1620"/>
                    <a:pt x="2537" y="1192"/>
                    <a:pt x="2942" y="882"/>
                  </a:cubicBezTo>
                  <a:cubicBezTo>
                    <a:pt x="3346" y="584"/>
                    <a:pt x="3835" y="418"/>
                    <a:pt x="4347" y="418"/>
                  </a:cubicBezTo>
                  <a:close/>
                  <a:moveTo>
                    <a:pt x="4251" y="1"/>
                  </a:moveTo>
                  <a:cubicBezTo>
                    <a:pt x="3656" y="1"/>
                    <a:pt x="3096" y="191"/>
                    <a:pt x="2620" y="537"/>
                  </a:cubicBezTo>
                  <a:cubicBezTo>
                    <a:pt x="2144" y="894"/>
                    <a:pt x="1787" y="1406"/>
                    <a:pt x="1620" y="1977"/>
                  </a:cubicBezTo>
                  <a:cubicBezTo>
                    <a:pt x="1549" y="2215"/>
                    <a:pt x="1513" y="2477"/>
                    <a:pt x="1513" y="2727"/>
                  </a:cubicBezTo>
                  <a:lnTo>
                    <a:pt x="1513" y="2799"/>
                  </a:lnTo>
                  <a:lnTo>
                    <a:pt x="1513" y="2811"/>
                  </a:lnTo>
                  <a:lnTo>
                    <a:pt x="1513" y="2835"/>
                  </a:lnTo>
                  <a:lnTo>
                    <a:pt x="1513" y="2870"/>
                  </a:lnTo>
                  <a:lnTo>
                    <a:pt x="1513" y="2906"/>
                  </a:lnTo>
                  <a:lnTo>
                    <a:pt x="1513" y="2954"/>
                  </a:lnTo>
                  <a:lnTo>
                    <a:pt x="1513" y="2977"/>
                  </a:lnTo>
                  <a:lnTo>
                    <a:pt x="1513" y="3025"/>
                  </a:lnTo>
                  <a:lnTo>
                    <a:pt x="1513" y="3049"/>
                  </a:lnTo>
                  <a:lnTo>
                    <a:pt x="1513" y="3097"/>
                  </a:lnTo>
                  <a:lnTo>
                    <a:pt x="1513" y="3132"/>
                  </a:lnTo>
                  <a:lnTo>
                    <a:pt x="1513" y="3168"/>
                  </a:lnTo>
                  <a:lnTo>
                    <a:pt x="1513" y="3204"/>
                  </a:lnTo>
                  <a:lnTo>
                    <a:pt x="1513" y="3251"/>
                  </a:lnTo>
                  <a:lnTo>
                    <a:pt x="1513" y="3275"/>
                  </a:lnTo>
                  <a:cubicBezTo>
                    <a:pt x="1513" y="3287"/>
                    <a:pt x="1513" y="3311"/>
                    <a:pt x="1537" y="3323"/>
                  </a:cubicBezTo>
                  <a:lnTo>
                    <a:pt x="1537" y="3335"/>
                  </a:lnTo>
                  <a:lnTo>
                    <a:pt x="1537" y="3347"/>
                  </a:lnTo>
                  <a:cubicBezTo>
                    <a:pt x="1537" y="3370"/>
                    <a:pt x="1537" y="3382"/>
                    <a:pt x="1549" y="3394"/>
                  </a:cubicBezTo>
                  <a:lnTo>
                    <a:pt x="1549" y="3430"/>
                  </a:lnTo>
                  <a:cubicBezTo>
                    <a:pt x="1549" y="3442"/>
                    <a:pt x="1560" y="3454"/>
                    <a:pt x="1560" y="3489"/>
                  </a:cubicBezTo>
                  <a:lnTo>
                    <a:pt x="1560" y="3501"/>
                  </a:lnTo>
                  <a:cubicBezTo>
                    <a:pt x="1560" y="3525"/>
                    <a:pt x="1572" y="3549"/>
                    <a:pt x="1572" y="3573"/>
                  </a:cubicBezTo>
                  <a:lnTo>
                    <a:pt x="1572" y="3585"/>
                  </a:lnTo>
                  <a:cubicBezTo>
                    <a:pt x="1572" y="3609"/>
                    <a:pt x="1596" y="3620"/>
                    <a:pt x="1596" y="3632"/>
                  </a:cubicBezTo>
                  <a:lnTo>
                    <a:pt x="1596" y="3644"/>
                  </a:lnTo>
                  <a:lnTo>
                    <a:pt x="1596" y="3668"/>
                  </a:lnTo>
                  <a:cubicBezTo>
                    <a:pt x="1596" y="3680"/>
                    <a:pt x="1608" y="3692"/>
                    <a:pt x="1608" y="3704"/>
                  </a:cubicBezTo>
                  <a:lnTo>
                    <a:pt x="1608" y="3728"/>
                  </a:lnTo>
                  <a:lnTo>
                    <a:pt x="1608" y="3739"/>
                  </a:lnTo>
                  <a:cubicBezTo>
                    <a:pt x="1608" y="3751"/>
                    <a:pt x="1620" y="3763"/>
                    <a:pt x="1620" y="3787"/>
                  </a:cubicBezTo>
                  <a:cubicBezTo>
                    <a:pt x="1620" y="3799"/>
                    <a:pt x="1632" y="3799"/>
                    <a:pt x="1632" y="3811"/>
                  </a:cubicBezTo>
                  <a:cubicBezTo>
                    <a:pt x="1632" y="3823"/>
                    <a:pt x="1656" y="3847"/>
                    <a:pt x="1656" y="3847"/>
                  </a:cubicBezTo>
                  <a:cubicBezTo>
                    <a:pt x="1656" y="3859"/>
                    <a:pt x="1656" y="3859"/>
                    <a:pt x="1668" y="3870"/>
                  </a:cubicBezTo>
                  <a:cubicBezTo>
                    <a:pt x="1668" y="3882"/>
                    <a:pt x="1680" y="3906"/>
                    <a:pt x="1680" y="3906"/>
                  </a:cubicBezTo>
                  <a:cubicBezTo>
                    <a:pt x="1680" y="3918"/>
                    <a:pt x="1691" y="3918"/>
                    <a:pt x="1691" y="3930"/>
                  </a:cubicBezTo>
                  <a:cubicBezTo>
                    <a:pt x="1691" y="3942"/>
                    <a:pt x="1715" y="3966"/>
                    <a:pt x="1715" y="3966"/>
                  </a:cubicBezTo>
                  <a:lnTo>
                    <a:pt x="1727" y="3990"/>
                  </a:lnTo>
                  <a:cubicBezTo>
                    <a:pt x="1727" y="4001"/>
                    <a:pt x="1739" y="4025"/>
                    <a:pt x="1739" y="4025"/>
                  </a:cubicBezTo>
                  <a:cubicBezTo>
                    <a:pt x="1739" y="4025"/>
                    <a:pt x="1739" y="4037"/>
                    <a:pt x="1751" y="4037"/>
                  </a:cubicBezTo>
                  <a:cubicBezTo>
                    <a:pt x="1751" y="4049"/>
                    <a:pt x="1775" y="4061"/>
                    <a:pt x="1775" y="4061"/>
                  </a:cubicBezTo>
                  <a:cubicBezTo>
                    <a:pt x="1775" y="4061"/>
                    <a:pt x="1775" y="4085"/>
                    <a:pt x="1787" y="4085"/>
                  </a:cubicBezTo>
                  <a:cubicBezTo>
                    <a:pt x="1799" y="4097"/>
                    <a:pt x="1799" y="4109"/>
                    <a:pt x="1811" y="4120"/>
                  </a:cubicBezTo>
                  <a:lnTo>
                    <a:pt x="1834" y="4144"/>
                  </a:lnTo>
                  <a:cubicBezTo>
                    <a:pt x="1846" y="4156"/>
                    <a:pt x="1858" y="4180"/>
                    <a:pt x="1858" y="4204"/>
                  </a:cubicBezTo>
                  <a:lnTo>
                    <a:pt x="1858" y="4216"/>
                  </a:lnTo>
                  <a:cubicBezTo>
                    <a:pt x="1870" y="4228"/>
                    <a:pt x="1870" y="4240"/>
                    <a:pt x="1894" y="4263"/>
                  </a:cubicBezTo>
                  <a:lnTo>
                    <a:pt x="1906" y="4287"/>
                  </a:lnTo>
                  <a:cubicBezTo>
                    <a:pt x="1918" y="4299"/>
                    <a:pt x="1918" y="4323"/>
                    <a:pt x="1930" y="4323"/>
                  </a:cubicBezTo>
                  <a:lnTo>
                    <a:pt x="1953" y="4335"/>
                  </a:lnTo>
                  <a:cubicBezTo>
                    <a:pt x="1965" y="4347"/>
                    <a:pt x="1965" y="4359"/>
                    <a:pt x="1977" y="4359"/>
                  </a:cubicBezTo>
                  <a:cubicBezTo>
                    <a:pt x="1977" y="4382"/>
                    <a:pt x="1989" y="4382"/>
                    <a:pt x="1989" y="4394"/>
                  </a:cubicBezTo>
                  <a:lnTo>
                    <a:pt x="2025" y="4418"/>
                  </a:lnTo>
                  <a:lnTo>
                    <a:pt x="2037" y="4442"/>
                  </a:lnTo>
                  <a:lnTo>
                    <a:pt x="2072" y="4466"/>
                  </a:lnTo>
                  <a:cubicBezTo>
                    <a:pt x="2072" y="4478"/>
                    <a:pt x="2084" y="4478"/>
                    <a:pt x="2084" y="4501"/>
                  </a:cubicBezTo>
                  <a:lnTo>
                    <a:pt x="2108" y="4525"/>
                  </a:lnTo>
                  <a:cubicBezTo>
                    <a:pt x="2108" y="4537"/>
                    <a:pt x="2132" y="4537"/>
                    <a:pt x="2132" y="4537"/>
                  </a:cubicBezTo>
                  <a:lnTo>
                    <a:pt x="2156" y="4573"/>
                  </a:lnTo>
                  <a:lnTo>
                    <a:pt x="2168" y="4585"/>
                  </a:lnTo>
                  <a:lnTo>
                    <a:pt x="2203" y="4621"/>
                  </a:lnTo>
                  <a:lnTo>
                    <a:pt x="2215" y="4632"/>
                  </a:lnTo>
                  <a:lnTo>
                    <a:pt x="2251" y="4656"/>
                  </a:lnTo>
                  <a:lnTo>
                    <a:pt x="2263" y="4680"/>
                  </a:lnTo>
                  <a:lnTo>
                    <a:pt x="2311" y="4716"/>
                  </a:lnTo>
                  <a:lnTo>
                    <a:pt x="2346" y="4763"/>
                  </a:lnTo>
                  <a:cubicBezTo>
                    <a:pt x="2382" y="4775"/>
                    <a:pt x="2406" y="4811"/>
                    <a:pt x="2430" y="4823"/>
                  </a:cubicBezTo>
                  <a:lnTo>
                    <a:pt x="2406" y="4835"/>
                  </a:lnTo>
                  <a:cubicBezTo>
                    <a:pt x="2287" y="4811"/>
                    <a:pt x="2156" y="4811"/>
                    <a:pt x="2025" y="4811"/>
                  </a:cubicBezTo>
                  <a:cubicBezTo>
                    <a:pt x="906" y="4811"/>
                    <a:pt x="1" y="5716"/>
                    <a:pt x="1" y="6835"/>
                  </a:cubicBezTo>
                  <a:cubicBezTo>
                    <a:pt x="1" y="7954"/>
                    <a:pt x="906" y="8859"/>
                    <a:pt x="2025" y="8859"/>
                  </a:cubicBezTo>
                  <a:lnTo>
                    <a:pt x="8633" y="8859"/>
                  </a:lnTo>
                  <a:cubicBezTo>
                    <a:pt x="8740" y="8859"/>
                    <a:pt x="8823" y="8764"/>
                    <a:pt x="8823" y="8669"/>
                  </a:cubicBezTo>
                  <a:cubicBezTo>
                    <a:pt x="9002" y="8573"/>
                    <a:pt x="8919" y="8490"/>
                    <a:pt x="8811" y="8490"/>
                  </a:cubicBezTo>
                  <a:lnTo>
                    <a:pt x="2203" y="8490"/>
                  </a:lnTo>
                  <a:cubicBezTo>
                    <a:pt x="1299" y="8490"/>
                    <a:pt x="560" y="7752"/>
                    <a:pt x="560" y="6847"/>
                  </a:cubicBezTo>
                  <a:cubicBezTo>
                    <a:pt x="560" y="5942"/>
                    <a:pt x="1299" y="5216"/>
                    <a:pt x="2203" y="5216"/>
                  </a:cubicBezTo>
                  <a:cubicBezTo>
                    <a:pt x="2334" y="5216"/>
                    <a:pt x="2489" y="5228"/>
                    <a:pt x="2620" y="5275"/>
                  </a:cubicBezTo>
                  <a:cubicBezTo>
                    <a:pt x="2629" y="5277"/>
                    <a:pt x="2639" y="5278"/>
                    <a:pt x="2649" y="5278"/>
                  </a:cubicBezTo>
                  <a:cubicBezTo>
                    <a:pt x="2715" y="5278"/>
                    <a:pt x="2791" y="5244"/>
                    <a:pt x="2823" y="5192"/>
                  </a:cubicBezTo>
                  <a:cubicBezTo>
                    <a:pt x="2882" y="5109"/>
                    <a:pt x="2954" y="5037"/>
                    <a:pt x="3037" y="4978"/>
                  </a:cubicBezTo>
                  <a:cubicBezTo>
                    <a:pt x="3049" y="4954"/>
                    <a:pt x="3061" y="4942"/>
                    <a:pt x="3096" y="4930"/>
                  </a:cubicBezTo>
                  <a:lnTo>
                    <a:pt x="3108" y="4930"/>
                  </a:lnTo>
                  <a:cubicBezTo>
                    <a:pt x="3120" y="4918"/>
                    <a:pt x="3132" y="4894"/>
                    <a:pt x="3168" y="4882"/>
                  </a:cubicBezTo>
                  <a:cubicBezTo>
                    <a:pt x="3215" y="4859"/>
                    <a:pt x="3251" y="4823"/>
                    <a:pt x="3299" y="4811"/>
                  </a:cubicBezTo>
                  <a:cubicBezTo>
                    <a:pt x="3311" y="4799"/>
                    <a:pt x="3346" y="4799"/>
                    <a:pt x="3358" y="4775"/>
                  </a:cubicBezTo>
                  <a:cubicBezTo>
                    <a:pt x="3406" y="4763"/>
                    <a:pt x="3454" y="4740"/>
                    <a:pt x="3489" y="4716"/>
                  </a:cubicBezTo>
                  <a:cubicBezTo>
                    <a:pt x="3513" y="4716"/>
                    <a:pt x="3537" y="4704"/>
                    <a:pt x="3549" y="4704"/>
                  </a:cubicBezTo>
                  <a:lnTo>
                    <a:pt x="3573" y="4704"/>
                  </a:lnTo>
                  <a:cubicBezTo>
                    <a:pt x="3585" y="4704"/>
                    <a:pt x="3608" y="4692"/>
                    <a:pt x="3632" y="4692"/>
                  </a:cubicBezTo>
                  <a:lnTo>
                    <a:pt x="3930" y="4692"/>
                  </a:lnTo>
                  <a:cubicBezTo>
                    <a:pt x="3989" y="4692"/>
                    <a:pt x="4025" y="4704"/>
                    <a:pt x="4085" y="4704"/>
                  </a:cubicBezTo>
                  <a:cubicBezTo>
                    <a:pt x="4120" y="4704"/>
                    <a:pt x="4132" y="4716"/>
                    <a:pt x="4168" y="4716"/>
                  </a:cubicBezTo>
                  <a:lnTo>
                    <a:pt x="4180" y="4716"/>
                  </a:lnTo>
                  <a:cubicBezTo>
                    <a:pt x="4204" y="4716"/>
                    <a:pt x="4227" y="4740"/>
                    <a:pt x="4251" y="4740"/>
                  </a:cubicBezTo>
                  <a:lnTo>
                    <a:pt x="4394" y="4740"/>
                  </a:lnTo>
                  <a:cubicBezTo>
                    <a:pt x="4394" y="4740"/>
                    <a:pt x="4406" y="4740"/>
                    <a:pt x="4406" y="4716"/>
                  </a:cubicBezTo>
                  <a:lnTo>
                    <a:pt x="4454" y="4680"/>
                  </a:lnTo>
                  <a:cubicBezTo>
                    <a:pt x="4478" y="4644"/>
                    <a:pt x="4489" y="4621"/>
                    <a:pt x="4489" y="4585"/>
                  </a:cubicBezTo>
                  <a:cubicBezTo>
                    <a:pt x="4489" y="4561"/>
                    <a:pt x="4513" y="4525"/>
                    <a:pt x="4513" y="4513"/>
                  </a:cubicBezTo>
                  <a:cubicBezTo>
                    <a:pt x="4513" y="4501"/>
                    <a:pt x="4525" y="4478"/>
                    <a:pt x="4525" y="4466"/>
                  </a:cubicBezTo>
                  <a:cubicBezTo>
                    <a:pt x="4525" y="4454"/>
                    <a:pt x="4525" y="4442"/>
                    <a:pt x="4537" y="4418"/>
                  </a:cubicBezTo>
                  <a:cubicBezTo>
                    <a:pt x="4537" y="4406"/>
                    <a:pt x="4549" y="4382"/>
                    <a:pt x="4549" y="4359"/>
                  </a:cubicBezTo>
                  <a:lnTo>
                    <a:pt x="4549" y="4347"/>
                  </a:lnTo>
                  <a:cubicBezTo>
                    <a:pt x="4811" y="3609"/>
                    <a:pt x="5442" y="3049"/>
                    <a:pt x="6216" y="2894"/>
                  </a:cubicBezTo>
                  <a:lnTo>
                    <a:pt x="6240" y="2894"/>
                  </a:lnTo>
                  <a:cubicBezTo>
                    <a:pt x="6371" y="2858"/>
                    <a:pt x="6513" y="2847"/>
                    <a:pt x="6668" y="2847"/>
                  </a:cubicBezTo>
                  <a:lnTo>
                    <a:pt x="6799" y="2847"/>
                  </a:lnTo>
                  <a:cubicBezTo>
                    <a:pt x="7228" y="2870"/>
                    <a:pt x="7633" y="3013"/>
                    <a:pt x="7978" y="3263"/>
                  </a:cubicBezTo>
                  <a:cubicBezTo>
                    <a:pt x="8012" y="3287"/>
                    <a:pt x="8051" y="3300"/>
                    <a:pt x="8090" y="3300"/>
                  </a:cubicBezTo>
                  <a:cubicBezTo>
                    <a:pt x="8148" y="3300"/>
                    <a:pt x="8204" y="3272"/>
                    <a:pt x="8240" y="3216"/>
                  </a:cubicBezTo>
                  <a:cubicBezTo>
                    <a:pt x="8299" y="3132"/>
                    <a:pt x="8288" y="3013"/>
                    <a:pt x="8204" y="2954"/>
                  </a:cubicBezTo>
                  <a:cubicBezTo>
                    <a:pt x="7847" y="2680"/>
                    <a:pt x="7430" y="2513"/>
                    <a:pt x="6978" y="2477"/>
                  </a:cubicBezTo>
                  <a:cubicBezTo>
                    <a:pt x="6966" y="2311"/>
                    <a:pt x="6930" y="2132"/>
                    <a:pt x="6894" y="1977"/>
                  </a:cubicBezTo>
                  <a:cubicBezTo>
                    <a:pt x="6728" y="1418"/>
                    <a:pt x="6371" y="894"/>
                    <a:pt x="5894" y="537"/>
                  </a:cubicBezTo>
                  <a:cubicBezTo>
                    <a:pt x="5418" y="180"/>
                    <a:pt x="4847" y="1"/>
                    <a:pt x="4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2" name="Google Shape;10022;p58"/>
            <p:cNvSpPr/>
            <p:nvPr/>
          </p:nvSpPr>
          <p:spPr>
            <a:xfrm>
              <a:off x="1670026" y="3377672"/>
              <a:ext cx="104760" cy="175256"/>
            </a:xfrm>
            <a:custGeom>
              <a:avLst/>
              <a:gdLst/>
              <a:ahLst/>
              <a:cxnLst/>
              <a:rect l="l" t="t" r="r" b="b"/>
              <a:pathLst>
                <a:path w="3299" h="5519" extrusionOk="0">
                  <a:moveTo>
                    <a:pt x="210" y="0"/>
                  </a:moveTo>
                  <a:cubicBezTo>
                    <a:pt x="169" y="0"/>
                    <a:pt x="128" y="15"/>
                    <a:pt x="96" y="41"/>
                  </a:cubicBezTo>
                  <a:cubicBezTo>
                    <a:pt x="1" y="113"/>
                    <a:pt x="1" y="232"/>
                    <a:pt x="60" y="303"/>
                  </a:cubicBezTo>
                  <a:cubicBezTo>
                    <a:pt x="394" y="708"/>
                    <a:pt x="572" y="1196"/>
                    <a:pt x="572" y="1720"/>
                  </a:cubicBezTo>
                  <a:lnTo>
                    <a:pt x="572" y="1780"/>
                  </a:lnTo>
                  <a:lnTo>
                    <a:pt x="572" y="1791"/>
                  </a:lnTo>
                  <a:cubicBezTo>
                    <a:pt x="572" y="1851"/>
                    <a:pt x="596" y="1910"/>
                    <a:pt x="644" y="1958"/>
                  </a:cubicBezTo>
                  <a:cubicBezTo>
                    <a:pt x="676" y="1990"/>
                    <a:pt x="718" y="2000"/>
                    <a:pt x="760" y="2000"/>
                  </a:cubicBezTo>
                  <a:cubicBezTo>
                    <a:pt x="781" y="2000"/>
                    <a:pt x="803" y="1998"/>
                    <a:pt x="822" y="1994"/>
                  </a:cubicBezTo>
                  <a:cubicBezTo>
                    <a:pt x="977" y="1946"/>
                    <a:pt x="1132" y="1922"/>
                    <a:pt x="1299" y="1922"/>
                  </a:cubicBezTo>
                  <a:cubicBezTo>
                    <a:pt x="2192" y="1922"/>
                    <a:pt x="2906" y="2649"/>
                    <a:pt x="2906" y="3530"/>
                  </a:cubicBezTo>
                  <a:cubicBezTo>
                    <a:pt x="2906" y="4423"/>
                    <a:pt x="2180" y="5125"/>
                    <a:pt x="1299" y="5125"/>
                  </a:cubicBezTo>
                  <a:lnTo>
                    <a:pt x="1168" y="5125"/>
                  </a:lnTo>
                  <a:cubicBezTo>
                    <a:pt x="1061" y="5125"/>
                    <a:pt x="977" y="5220"/>
                    <a:pt x="977" y="5328"/>
                  </a:cubicBezTo>
                  <a:cubicBezTo>
                    <a:pt x="977" y="5423"/>
                    <a:pt x="1061" y="5518"/>
                    <a:pt x="1168" y="5518"/>
                  </a:cubicBezTo>
                  <a:lnTo>
                    <a:pt x="1299" y="5518"/>
                  </a:lnTo>
                  <a:cubicBezTo>
                    <a:pt x="2394" y="5518"/>
                    <a:pt x="3287" y="4625"/>
                    <a:pt x="3287" y="3518"/>
                  </a:cubicBezTo>
                  <a:cubicBezTo>
                    <a:pt x="3299" y="2422"/>
                    <a:pt x="2406" y="1529"/>
                    <a:pt x="1299" y="1529"/>
                  </a:cubicBezTo>
                  <a:cubicBezTo>
                    <a:pt x="1180" y="1529"/>
                    <a:pt x="1061" y="1541"/>
                    <a:pt x="942" y="1565"/>
                  </a:cubicBezTo>
                  <a:cubicBezTo>
                    <a:pt x="918" y="1029"/>
                    <a:pt x="703" y="494"/>
                    <a:pt x="358" y="77"/>
                  </a:cubicBezTo>
                  <a:cubicBezTo>
                    <a:pt x="318" y="24"/>
                    <a:pt x="263" y="0"/>
                    <a:pt x="2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23" name="Google Shape;10023;p58"/>
          <p:cNvGrpSpPr/>
          <p:nvPr/>
        </p:nvGrpSpPr>
        <p:grpSpPr>
          <a:xfrm>
            <a:off x="1954741" y="3212419"/>
            <a:ext cx="366389" cy="354481"/>
            <a:chOff x="1954741" y="3212419"/>
            <a:chExt cx="366389" cy="354481"/>
          </a:xfrm>
        </p:grpSpPr>
        <p:sp>
          <p:nvSpPr>
            <p:cNvPr id="10024" name="Google Shape;10024;p58"/>
            <p:cNvSpPr/>
            <p:nvPr/>
          </p:nvSpPr>
          <p:spPr>
            <a:xfrm>
              <a:off x="1964204" y="3212419"/>
              <a:ext cx="356926" cy="354481"/>
            </a:xfrm>
            <a:custGeom>
              <a:avLst/>
              <a:gdLst/>
              <a:ahLst/>
              <a:cxnLst/>
              <a:rect l="l" t="t" r="r" b="b"/>
              <a:pathLst>
                <a:path w="11240" h="11163" extrusionOk="0">
                  <a:moveTo>
                    <a:pt x="3618" y="1"/>
                  </a:moveTo>
                  <a:cubicBezTo>
                    <a:pt x="3546" y="1"/>
                    <a:pt x="3474" y="18"/>
                    <a:pt x="3405" y="54"/>
                  </a:cubicBezTo>
                  <a:cubicBezTo>
                    <a:pt x="2405" y="507"/>
                    <a:pt x="1560" y="1245"/>
                    <a:pt x="953" y="2161"/>
                  </a:cubicBezTo>
                  <a:cubicBezTo>
                    <a:pt x="321" y="3114"/>
                    <a:pt x="0" y="4221"/>
                    <a:pt x="0" y="5352"/>
                  </a:cubicBezTo>
                  <a:cubicBezTo>
                    <a:pt x="0" y="8567"/>
                    <a:pt x="2619" y="11163"/>
                    <a:pt x="5822" y="11163"/>
                  </a:cubicBezTo>
                  <a:cubicBezTo>
                    <a:pt x="6953" y="11163"/>
                    <a:pt x="8061" y="10841"/>
                    <a:pt x="9001" y="10222"/>
                  </a:cubicBezTo>
                  <a:cubicBezTo>
                    <a:pt x="9930" y="9603"/>
                    <a:pt x="10656" y="8758"/>
                    <a:pt x="11120" y="7757"/>
                  </a:cubicBezTo>
                  <a:cubicBezTo>
                    <a:pt x="11240" y="7567"/>
                    <a:pt x="11180" y="7317"/>
                    <a:pt x="11001" y="7186"/>
                  </a:cubicBezTo>
                  <a:cubicBezTo>
                    <a:pt x="10912" y="7109"/>
                    <a:pt x="10802" y="7070"/>
                    <a:pt x="10692" y="7070"/>
                  </a:cubicBezTo>
                  <a:cubicBezTo>
                    <a:pt x="10582" y="7070"/>
                    <a:pt x="10472" y="7109"/>
                    <a:pt x="10382" y="7186"/>
                  </a:cubicBezTo>
                  <a:cubicBezTo>
                    <a:pt x="9585" y="7793"/>
                    <a:pt x="8632" y="8115"/>
                    <a:pt x="7632" y="8115"/>
                  </a:cubicBezTo>
                  <a:cubicBezTo>
                    <a:pt x="7370" y="8115"/>
                    <a:pt x="7084" y="8091"/>
                    <a:pt x="6810" y="8043"/>
                  </a:cubicBezTo>
                  <a:cubicBezTo>
                    <a:pt x="6802" y="8042"/>
                    <a:pt x="6794" y="8042"/>
                    <a:pt x="6786" y="8042"/>
                  </a:cubicBezTo>
                  <a:cubicBezTo>
                    <a:pt x="6698" y="8042"/>
                    <a:pt x="6607" y="8101"/>
                    <a:pt x="6596" y="8210"/>
                  </a:cubicBezTo>
                  <a:cubicBezTo>
                    <a:pt x="6572" y="8317"/>
                    <a:pt x="6632" y="8412"/>
                    <a:pt x="6751" y="8436"/>
                  </a:cubicBezTo>
                  <a:cubicBezTo>
                    <a:pt x="7049" y="8484"/>
                    <a:pt x="7346" y="8508"/>
                    <a:pt x="7632" y="8508"/>
                  </a:cubicBezTo>
                  <a:cubicBezTo>
                    <a:pt x="8715" y="8508"/>
                    <a:pt x="9763" y="8150"/>
                    <a:pt x="10620" y="7495"/>
                  </a:cubicBezTo>
                  <a:cubicBezTo>
                    <a:pt x="10644" y="7478"/>
                    <a:pt x="10668" y="7469"/>
                    <a:pt x="10689" y="7469"/>
                  </a:cubicBezTo>
                  <a:cubicBezTo>
                    <a:pt x="10710" y="7469"/>
                    <a:pt x="10728" y="7478"/>
                    <a:pt x="10739" y="7495"/>
                  </a:cubicBezTo>
                  <a:cubicBezTo>
                    <a:pt x="10775" y="7519"/>
                    <a:pt x="10787" y="7567"/>
                    <a:pt x="10775" y="7615"/>
                  </a:cubicBezTo>
                  <a:cubicBezTo>
                    <a:pt x="10347" y="8543"/>
                    <a:pt x="9668" y="9341"/>
                    <a:pt x="8811" y="9901"/>
                  </a:cubicBezTo>
                  <a:cubicBezTo>
                    <a:pt x="7930" y="10484"/>
                    <a:pt x="6906" y="10782"/>
                    <a:pt x="5834" y="10782"/>
                  </a:cubicBezTo>
                  <a:cubicBezTo>
                    <a:pt x="2846" y="10782"/>
                    <a:pt x="405" y="8341"/>
                    <a:pt x="405" y="5352"/>
                  </a:cubicBezTo>
                  <a:cubicBezTo>
                    <a:pt x="405" y="4293"/>
                    <a:pt x="714" y="3269"/>
                    <a:pt x="1274" y="2376"/>
                  </a:cubicBezTo>
                  <a:cubicBezTo>
                    <a:pt x="1845" y="1507"/>
                    <a:pt x="2631" y="828"/>
                    <a:pt x="3572" y="411"/>
                  </a:cubicBezTo>
                  <a:cubicBezTo>
                    <a:pt x="3592" y="401"/>
                    <a:pt x="3609" y="396"/>
                    <a:pt x="3626" y="396"/>
                  </a:cubicBezTo>
                  <a:cubicBezTo>
                    <a:pt x="3649" y="396"/>
                    <a:pt x="3670" y="407"/>
                    <a:pt x="3691" y="435"/>
                  </a:cubicBezTo>
                  <a:cubicBezTo>
                    <a:pt x="3715" y="471"/>
                    <a:pt x="3715" y="530"/>
                    <a:pt x="3691" y="554"/>
                  </a:cubicBezTo>
                  <a:cubicBezTo>
                    <a:pt x="3036" y="1423"/>
                    <a:pt x="2679" y="2459"/>
                    <a:pt x="2679" y="3543"/>
                  </a:cubicBezTo>
                  <a:cubicBezTo>
                    <a:pt x="2679" y="4602"/>
                    <a:pt x="3000" y="5614"/>
                    <a:pt x="3631" y="6460"/>
                  </a:cubicBezTo>
                  <a:cubicBezTo>
                    <a:pt x="4239" y="7293"/>
                    <a:pt x="5084" y="7912"/>
                    <a:pt x="6060" y="8234"/>
                  </a:cubicBezTo>
                  <a:cubicBezTo>
                    <a:pt x="6081" y="8242"/>
                    <a:pt x="6103" y="8245"/>
                    <a:pt x="6124" y="8245"/>
                  </a:cubicBezTo>
                  <a:cubicBezTo>
                    <a:pt x="6200" y="8245"/>
                    <a:pt x="6273" y="8198"/>
                    <a:pt x="6310" y="8115"/>
                  </a:cubicBezTo>
                  <a:cubicBezTo>
                    <a:pt x="6334" y="8007"/>
                    <a:pt x="6287" y="7912"/>
                    <a:pt x="6191" y="7865"/>
                  </a:cubicBezTo>
                  <a:cubicBezTo>
                    <a:pt x="4322" y="7257"/>
                    <a:pt x="3060" y="5507"/>
                    <a:pt x="3060" y="3543"/>
                  </a:cubicBezTo>
                  <a:cubicBezTo>
                    <a:pt x="3060" y="2531"/>
                    <a:pt x="3393" y="1578"/>
                    <a:pt x="4001" y="792"/>
                  </a:cubicBezTo>
                  <a:cubicBezTo>
                    <a:pt x="4131" y="614"/>
                    <a:pt x="4131" y="364"/>
                    <a:pt x="4001" y="185"/>
                  </a:cubicBezTo>
                  <a:cubicBezTo>
                    <a:pt x="3898" y="67"/>
                    <a:pt x="3759" y="1"/>
                    <a:pt x="36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5" name="Google Shape;10025;p58"/>
            <p:cNvSpPr/>
            <p:nvPr/>
          </p:nvSpPr>
          <p:spPr>
            <a:xfrm>
              <a:off x="2127520" y="3279898"/>
              <a:ext cx="77546" cy="77546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239" y="846"/>
                  </a:moveTo>
                  <a:cubicBezTo>
                    <a:pt x="1334" y="989"/>
                    <a:pt x="1465" y="1108"/>
                    <a:pt x="1608" y="1215"/>
                  </a:cubicBezTo>
                  <a:cubicBezTo>
                    <a:pt x="1465" y="1310"/>
                    <a:pt x="1346" y="1441"/>
                    <a:pt x="1239" y="1584"/>
                  </a:cubicBezTo>
                  <a:cubicBezTo>
                    <a:pt x="1155" y="1441"/>
                    <a:pt x="1013" y="1322"/>
                    <a:pt x="870" y="1215"/>
                  </a:cubicBezTo>
                  <a:cubicBezTo>
                    <a:pt x="1013" y="1108"/>
                    <a:pt x="1155" y="989"/>
                    <a:pt x="1239" y="846"/>
                  </a:cubicBezTo>
                  <a:close/>
                  <a:moveTo>
                    <a:pt x="1227" y="1"/>
                  </a:moveTo>
                  <a:cubicBezTo>
                    <a:pt x="1120" y="1"/>
                    <a:pt x="1036" y="84"/>
                    <a:pt x="1036" y="191"/>
                  </a:cubicBezTo>
                  <a:cubicBezTo>
                    <a:pt x="1036" y="656"/>
                    <a:pt x="655" y="1025"/>
                    <a:pt x="203" y="1025"/>
                  </a:cubicBezTo>
                  <a:cubicBezTo>
                    <a:pt x="96" y="1025"/>
                    <a:pt x="1" y="1108"/>
                    <a:pt x="1" y="1215"/>
                  </a:cubicBezTo>
                  <a:cubicBezTo>
                    <a:pt x="1" y="1322"/>
                    <a:pt x="96" y="1406"/>
                    <a:pt x="203" y="1406"/>
                  </a:cubicBezTo>
                  <a:cubicBezTo>
                    <a:pt x="655" y="1406"/>
                    <a:pt x="1036" y="1787"/>
                    <a:pt x="1036" y="2239"/>
                  </a:cubicBezTo>
                  <a:cubicBezTo>
                    <a:pt x="1036" y="2346"/>
                    <a:pt x="1120" y="2442"/>
                    <a:pt x="1227" y="2442"/>
                  </a:cubicBezTo>
                  <a:cubicBezTo>
                    <a:pt x="1334" y="2442"/>
                    <a:pt x="1417" y="2346"/>
                    <a:pt x="1417" y="2239"/>
                  </a:cubicBezTo>
                  <a:cubicBezTo>
                    <a:pt x="1417" y="1787"/>
                    <a:pt x="1786" y="1406"/>
                    <a:pt x="2251" y="1406"/>
                  </a:cubicBezTo>
                  <a:cubicBezTo>
                    <a:pt x="2358" y="1406"/>
                    <a:pt x="2441" y="1322"/>
                    <a:pt x="2441" y="1215"/>
                  </a:cubicBezTo>
                  <a:cubicBezTo>
                    <a:pt x="2441" y="1108"/>
                    <a:pt x="2358" y="1025"/>
                    <a:pt x="2251" y="1025"/>
                  </a:cubicBezTo>
                  <a:cubicBezTo>
                    <a:pt x="1786" y="1025"/>
                    <a:pt x="1417" y="656"/>
                    <a:pt x="1417" y="191"/>
                  </a:cubicBezTo>
                  <a:cubicBezTo>
                    <a:pt x="1417" y="84"/>
                    <a:pt x="1334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6" name="Google Shape;10026;p58"/>
            <p:cNvSpPr/>
            <p:nvPr/>
          </p:nvSpPr>
          <p:spPr>
            <a:xfrm>
              <a:off x="2202747" y="3365732"/>
              <a:ext cx="38995" cy="38963"/>
            </a:xfrm>
            <a:custGeom>
              <a:avLst/>
              <a:gdLst/>
              <a:ahLst/>
              <a:cxnLst/>
              <a:rect l="l" t="t" r="r" b="b"/>
              <a:pathLst>
                <a:path w="1228" h="1227" extrusionOk="0">
                  <a:moveTo>
                    <a:pt x="608" y="405"/>
                  </a:moveTo>
                  <a:cubicBezTo>
                    <a:pt x="727" y="405"/>
                    <a:pt x="834" y="512"/>
                    <a:pt x="834" y="632"/>
                  </a:cubicBezTo>
                  <a:cubicBezTo>
                    <a:pt x="834" y="739"/>
                    <a:pt x="727" y="846"/>
                    <a:pt x="608" y="846"/>
                  </a:cubicBezTo>
                  <a:cubicBezTo>
                    <a:pt x="489" y="846"/>
                    <a:pt x="394" y="739"/>
                    <a:pt x="394" y="632"/>
                  </a:cubicBezTo>
                  <a:cubicBezTo>
                    <a:pt x="394" y="489"/>
                    <a:pt x="489" y="405"/>
                    <a:pt x="608" y="405"/>
                  </a:cubicBezTo>
                  <a:close/>
                  <a:moveTo>
                    <a:pt x="608" y="0"/>
                  </a:moveTo>
                  <a:cubicBezTo>
                    <a:pt x="275" y="0"/>
                    <a:pt x="1" y="262"/>
                    <a:pt x="1" y="608"/>
                  </a:cubicBezTo>
                  <a:cubicBezTo>
                    <a:pt x="1" y="953"/>
                    <a:pt x="275" y="1227"/>
                    <a:pt x="608" y="1227"/>
                  </a:cubicBezTo>
                  <a:cubicBezTo>
                    <a:pt x="953" y="1227"/>
                    <a:pt x="1227" y="953"/>
                    <a:pt x="1227" y="608"/>
                  </a:cubicBezTo>
                  <a:cubicBezTo>
                    <a:pt x="1227" y="274"/>
                    <a:pt x="953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7" name="Google Shape;10027;p58"/>
            <p:cNvSpPr/>
            <p:nvPr/>
          </p:nvSpPr>
          <p:spPr>
            <a:xfrm>
              <a:off x="1964553" y="3518473"/>
              <a:ext cx="38995" cy="38614"/>
            </a:xfrm>
            <a:custGeom>
              <a:avLst/>
              <a:gdLst/>
              <a:ahLst/>
              <a:cxnLst/>
              <a:rect l="l" t="t" r="r" b="b"/>
              <a:pathLst>
                <a:path w="1228" h="1216" extrusionOk="0">
                  <a:moveTo>
                    <a:pt x="608" y="382"/>
                  </a:moveTo>
                  <a:cubicBezTo>
                    <a:pt x="727" y="382"/>
                    <a:pt x="834" y="489"/>
                    <a:pt x="834" y="608"/>
                  </a:cubicBezTo>
                  <a:cubicBezTo>
                    <a:pt x="822" y="727"/>
                    <a:pt x="727" y="834"/>
                    <a:pt x="608" y="834"/>
                  </a:cubicBezTo>
                  <a:cubicBezTo>
                    <a:pt x="489" y="834"/>
                    <a:pt x="394" y="727"/>
                    <a:pt x="394" y="608"/>
                  </a:cubicBezTo>
                  <a:cubicBezTo>
                    <a:pt x="394" y="489"/>
                    <a:pt x="489" y="382"/>
                    <a:pt x="608" y="382"/>
                  </a:cubicBezTo>
                  <a:close/>
                  <a:moveTo>
                    <a:pt x="608" y="1"/>
                  </a:moveTo>
                  <a:cubicBezTo>
                    <a:pt x="275" y="1"/>
                    <a:pt x="1" y="263"/>
                    <a:pt x="1" y="608"/>
                  </a:cubicBezTo>
                  <a:cubicBezTo>
                    <a:pt x="1" y="953"/>
                    <a:pt x="275" y="1215"/>
                    <a:pt x="608" y="1215"/>
                  </a:cubicBezTo>
                  <a:cubicBezTo>
                    <a:pt x="953" y="1215"/>
                    <a:pt x="1227" y="953"/>
                    <a:pt x="1227" y="608"/>
                  </a:cubicBezTo>
                  <a:cubicBezTo>
                    <a:pt x="1227" y="263"/>
                    <a:pt x="942" y="1"/>
                    <a:pt x="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8" name="Google Shape;10028;p58"/>
            <p:cNvSpPr/>
            <p:nvPr/>
          </p:nvSpPr>
          <p:spPr>
            <a:xfrm>
              <a:off x="2158894" y="3385007"/>
              <a:ext cx="15909" cy="16290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1" y="1"/>
                  </a:moveTo>
                  <a:cubicBezTo>
                    <a:pt x="108" y="1"/>
                    <a:pt x="1" y="120"/>
                    <a:pt x="1" y="263"/>
                  </a:cubicBezTo>
                  <a:cubicBezTo>
                    <a:pt x="1" y="394"/>
                    <a:pt x="108" y="513"/>
                    <a:pt x="251" y="513"/>
                  </a:cubicBezTo>
                  <a:cubicBezTo>
                    <a:pt x="394" y="513"/>
                    <a:pt x="501" y="394"/>
                    <a:pt x="501" y="263"/>
                  </a:cubicBezTo>
                  <a:cubicBezTo>
                    <a:pt x="501" y="120"/>
                    <a:pt x="394" y="1"/>
                    <a:pt x="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9" name="Google Shape;10029;p58"/>
            <p:cNvSpPr/>
            <p:nvPr/>
          </p:nvSpPr>
          <p:spPr>
            <a:xfrm>
              <a:off x="1954741" y="3478779"/>
              <a:ext cx="15909" cy="15909"/>
            </a:xfrm>
            <a:custGeom>
              <a:avLst/>
              <a:gdLst/>
              <a:ahLst/>
              <a:cxnLst/>
              <a:rect l="l" t="t" r="r" b="b"/>
              <a:pathLst>
                <a:path w="501" h="501" extrusionOk="0">
                  <a:moveTo>
                    <a:pt x="250" y="0"/>
                  </a:moveTo>
                  <a:cubicBezTo>
                    <a:pt x="108" y="0"/>
                    <a:pt x="0" y="108"/>
                    <a:pt x="0" y="250"/>
                  </a:cubicBezTo>
                  <a:cubicBezTo>
                    <a:pt x="0" y="393"/>
                    <a:pt x="108" y="501"/>
                    <a:pt x="250" y="501"/>
                  </a:cubicBezTo>
                  <a:cubicBezTo>
                    <a:pt x="393" y="501"/>
                    <a:pt x="500" y="393"/>
                    <a:pt x="500" y="250"/>
                  </a:cubicBezTo>
                  <a:cubicBezTo>
                    <a:pt x="500" y="108"/>
                    <a:pt x="393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0" name="Google Shape;10030;p58"/>
            <p:cNvSpPr/>
            <p:nvPr/>
          </p:nvSpPr>
          <p:spPr>
            <a:xfrm>
              <a:off x="2208813" y="3264020"/>
              <a:ext cx="16290" cy="16290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50" y="1"/>
                  </a:moveTo>
                  <a:cubicBezTo>
                    <a:pt x="119" y="1"/>
                    <a:pt x="0" y="120"/>
                    <a:pt x="0" y="263"/>
                  </a:cubicBezTo>
                  <a:cubicBezTo>
                    <a:pt x="0" y="394"/>
                    <a:pt x="119" y="513"/>
                    <a:pt x="250" y="513"/>
                  </a:cubicBezTo>
                  <a:cubicBezTo>
                    <a:pt x="393" y="513"/>
                    <a:pt x="512" y="394"/>
                    <a:pt x="512" y="263"/>
                  </a:cubicBezTo>
                  <a:cubicBezTo>
                    <a:pt x="512" y="120"/>
                    <a:pt x="393" y="1"/>
                    <a:pt x="2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31" name="Google Shape;10031;p58"/>
          <p:cNvGrpSpPr/>
          <p:nvPr/>
        </p:nvGrpSpPr>
        <p:grpSpPr>
          <a:xfrm>
            <a:off x="3043239" y="3215626"/>
            <a:ext cx="366008" cy="348670"/>
            <a:chOff x="3043239" y="3215626"/>
            <a:chExt cx="366008" cy="348670"/>
          </a:xfrm>
        </p:grpSpPr>
        <p:sp>
          <p:nvSpPr>
            <p:cNvPr id="10032" name="Google Shape;10032;p58"/>
            <p:cNvSpPr/>
            <p:nvPr/>
          </p:nvSpPr>
          <p:spPr>
            <a:xfrm>
              <a:off x="3106749" y="3273198"/>
              <a:ext cx="302498" cy="291098"/>
            </a:xfrm>
            <a:custGeom>
              <a:avLst/>
              <a:gdLst/>
              <a:ahLst/>
              <a:cxnLst/>
              <a:rect l="l" t="t" r="r" b="b"/>
              <a:pathLst>
                <a:path w="9526" h="9167" extrusionOk="0">
                  <a:moveTo>
                    <a:pt x="4711" y="1"/>
                  </a:moveTo>
                  <a:cubicBezTo>
                    <a:pt x="4689" y="1"/>
                    <a:pt x="4667" y="4"/>
                    <a:pt x="4644" y="9"/>
                  </a:cubicBezTo>
                  <a:cubicBezTo>
                    <a:pt x="4561" y="45"/>
                    <a:pt x="4525" y="140"/>
                    <a:pt x="4561" y="236"/>
                  </a:cubicBezTo>
                  <a:lnTo>
                    <a:pt x="5287" y="1950"/>
                  </a:lnTo>
                  <a:cubicBezTo>
                    <a:pt x="5311" y="2010"/>
                    <a:pt x="5359" y="2033"/>
                    <a:pt x="5418" y="2057"/>
                  </a:cubicBezTo>
                  <a:lnTo>
                    <a:pt x="9026" y="2379"/>
                  </a:lnTo>
                  <a:cubicBezTo>
                    <a:pt x="9097" y="2379"/>
                    <a:pt x="9109" y="2438"/>
                    <a:pt x="9121" y="2474"/>
                  </a:cubicBezTo>
                  <a:cubicBezTo>
                    <a:pt x="9121" y="2498"/>
                    <a:pt x="9145" y="2545"/>
                    <a:pt x="9097" y="2605"/>
                  </a:cubicBezTo>
                  <a:lnTo>
                    <a:pt x="6406" y="4974"/>
                  </a:lnTo>
                  <a:cubicBezTo>
                    <a:pt x="6359" y="5010"/>
                    <a:pt x="6347" y="5070"/>
                    <a:pt x="6347" y="5129"/>
                  </a:cubicBezTo>
                  <a:lnTo>
                    <a:pt x="7133" y="8665"/>
                  </a:lnTo>
                  <a:cubicBezTo>
                    <a:pt x="7144" y="8737"/>
                    <a:pt x="7109" y="8760"/>
                    <a:pt x="7085" y="8784"/>
                  </a:cubicBezTo>
                  <a:cubicBezTo>
                    <a:pt x="7078" y="8791"/>
                    <a:pt x="7053" y="8803"/>
                    <a:pt x="7021" y="8803"/>
                  </a:cubicBezTo>
                  <a:cubicBezTo>
                    <a:pt x="7001" y="8803"/>
                    <a:pt x="6977" y="8798"/>
                    <a:pt x="6954" y="8784"/>
                  </a:cubicBezTo>
                  <a:lnTo>
                    <a:pt x="3846" y="6939"/>
                  </a:lnTo>
                  <a:cubicBezTo>
                    <a:pt x="3817" y="6921"/>
                    <a:pt x="3787" y="6912"/>
                    <a:pt x="3757" y="6912"/>
                  </a:cubicBezTo>
                  <a:cubicBezTo>
                    <a:pt x="3727" y="6912"/>
                    <a:pt x="3698" y="6921"/>
                    <a:pt x="3668" y="6939"/>
                  </a:cubicBezTo>
                  <a:lnTo>
                    <a:pt x="560" y="8784"/>
                  </a:lnTo>
                  <a:cubicBezTo>
                    <a:pt x="535" y="8794"/>
                    <a:pt x="510" y="8798"/>
                    <a:pt x="487" y="8798"/>
                  </a:cubicBezTo>
                  <a:cubicBezTo>
                    <a:pt x="457" y="8798"/>
                    <a:pt x="431" y="8791"/>
                    <a:pt x="417" y="8784"/>
                  </a:cubicBezTo>
                  <a:cubicBezTo>
                    <a:pt x="406" y="8760"/>
                    <a:pt x="358" y="8725"/>
                    <a:pt x="382" y="8665"/>
                  </a:cubicBezTo>
                  <a:lnTo>
                    <a:pt x="798" y="6832"/>
                  </a:lnTo>
                  <a:cubicBezTo>
                    <a:pt x="810" y="6736"/>
                    <a:pt x="763" y="6653"/>
                    <a:pt x="656" y="6641"/>
                  </a:cubicBezTo>
                  <a:cubicBezTo>
                    <a:pt x="641" y="6637"/>
                    <a:pt x="627" y="6635"/>
                    <a:pt x="613" y="6635"/>
                  </a:cubicBezTo>
                  <a:cubicBezTo>
                    <a:pt x="542" y="6635"/>
                    <a:pt x="475" y="6683"/>
                    <a:pt x="465" y="6772"/>
                  </a:cubicBezTo>
                  <a:lnTo>
                    <a:pt x="48" y="8606"/>
                  </a:lnTo>
                  <a:cubicBezTo>
                    <a:pt x="1" y="8784"/>
                    <a:pt x="84" y="8963"/>
                    <a:pt x="227" y="9082"/>
                  </a:cubicBezTo>
                  <a:cubicBezTo>
                    <a:pt x="314" y="9135"/>
                    <a:pt x="412" y="9166"/>
                    <a:pt x="511" y="9166"/>
                  </a:cubicBezTo>
                  <a:cubicBezTo>
                    <a:pt x="588" y="9166"/>
                    <a:pt x="666" y="9147"/>
                    <a:pt x="739" y="9106"/>
                  </a:cubicBezTo>
                  <a:lnTo>
                    <a:pt x="3751" y="7308"/>
                  </a:lnTo>
                  <a:lnTo>
                    <a:pt x="6775" y="9106"/>
                  </a:lnTo>
                  <a:cubicBezTo>
                    <a:pt x="6847" y="9153"/>
                    <a:pt x="6930" y="9165"/>
                    <a:pt x="7013" y="9165"/>
                  </a:cubicBezTo>
                  <a:cubicBezTo>
                    <a:pt x="7109" y="9165"/>
                    <a:pt x="7204" y="9141"/>
                    <a:pt x="7287" y="9082"/>
                  </a:cubicBezTo>
                  <a:cubicBezTo>
                    <a:pt x="7430" y="8975"/>
                    <a:pt x="7502" y="8796"/>
                    <a:pt x="7466" y="8606"/>
                  </a:cubicBezTo>
                  <a:lnTo>
                    <a:pt x="6692" y="5165"/>
                  </a:lnTo>
                  <a:lnTo>
                    <a:pt x="9335" y="2843"/>
                  </a:lnTo>
                  <a:cubicBezTo>
                    <a:pt x="9490" y="2700"/>
                    <a:pt x="9526" y="2533"/>
                    <a:pt x="9466" y="2355"/>
                  </a:cubicBezTo>
                  <a:cubicBezTo>
                    <a:pt x="9407" y="2164"/>
                    <a:pt x="9264" y="2057"/>
                    <a:pt x="9085" y="2033"/>
                  </a:cubicBezTo>
                  <a:lnTo>
                    <a:pt x="5573" y="1712"/>
                  </a:lnTo>
                  <a:lnTo>
                    <a:pt x="4870" y="105"/>
                  </a:lnTo>
                  <a:cubicBezTo>
                    <a:pt x="4843" y="32"/>
                    <a:pt x="4781" y="1"/>
                    <a:pt x="47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3" name="Google Shape;10033;p58"/>
            <p:cNvSpPr/>
            <p:nvPr/>
          </p:nvSpPr>
          <p:spPr>
            <a:xfrm>
              <a:off x="3043239" y="3215626"/>
              <a:ext cx="209869" cy="255628"/>
            </a:xfrm>
            <a:custGeom>
              <a:avLst/>
              <a:gdLst/>
              <a:ahLst/>
              <a:cxnLst/>
              <a:rect l="l" t="t" r="r" b="b"/>
              <a:pathLst>
                <a:path w="6609" h="8050" extrusionOk="0">
                  <a:moveTo>
                    <a:pt x="5775" y="1"/>
                  </a:moveTo>
                  <a:cubicBezTo>
                    <a:pt x="5596" y="1"/>
                    <a:pt x="5430" y="96"/>
                    <a:pt x="5358" y="275"/>
                  </a:cubicBezTo>
                  <a:lnTo>
                    <a:pt x="3953" y="3513"/>
                  </a:lnTo>
                  <a:lnTo>
                    <a:pt x="441" y="3835"/>
                  </a:lnTo>
                  <a:cubicBezTo>
                    <a:pt x="262" y="3846"/>
                    <a:pt x="96" y="3965"/>
                    <a:pt x="60" y="4144"/>
                  </a:cubicBezTo>
                  <a:cubicBezTo>
                    <a:pt x="0" y="4323"/>
                    <a:pt x="60" y="4501"/>
                    <a:pt x="191" y="4644"/>
                  </a:cubicBezTo>
                  <a:lnTo>
                    <a:pt x="2834" y="6966"/>
                  </a:lnTo>
                  <a:lnTo>
                    <a:pt x="2632" y="7859"/>
                  </a:lnTo>
                  <a:cubicBezTo>
                    <a:pt x="2608" y="7942"/>
                    <a:pt x="2656" y="8037"/>
                    <a:pt x="2763" y="8049"/>
                  </a:cubicBezTo>
                  <a:lnTo>
                    <a:pt x="2798" y="8049"/>
                  </a:lnTo>
                  <a:cubicBezTo>
                    <a:pt x="2870" y="8049"/>
                    <a:pt x="2941" y="7990"/>
                    <a:pt x="2953" y="7918"/>
                  </a:cubicBezTo>
                  <a:lnTo>
                    <a:pt x="3179" y="6918"/>
                  </a:lnTo>
                  <a:cubicBezTo>
                    <a:pt x="3191" y="6859"/>
                    <a:pt x="3179" y="6799"/>
                    <a:pt x="3120" y="6752"/>
                  </a:cubicBezTo>
                  <a:lnTo>
                    <a:pt x="417" y="4406"/>
                  </a:lnTo>
                  <a:cubicBezTo>
                    <a:pt x="358" y="4358"/>
                    <a:pt x="370" y="4299"/>
                    <a:pt x="381" y="4263"/>
                  </a:cubicBezTo>
                  <a:cubicBezTo>
                    <a:pt x="381" y="4239"/>
                    <a:pt x="417" y="4192"/>
                    <a:pt x="489" y="4180"/>
                  </a:cubicBezTo>
                  <a:lnTo>
                    <a:pt x="4084" y="3846"/>
                  </a:lnTo>
                  <a:cubicBezTo>
                    <a:pt x="4144" y="3846"/>
                    <a:pt x="4203" y="3811"/>
                    <a:pt x="4227" y="3739"/>
                  </a:cubicBezTo>
                  <a:lnTo>
                    <a:pt x="5656" y="429"/>
                  </a:lnTo>
                  <a:cubicBezTo>
                    <a:pt x="5680" y="370"/>
                    <a:pt x="5739" y="346"/>
                    <a:pt x="5751" y="346"/>
                  </a:cubicBezTo>
                  <a:cubicBezTo>
                    <a:pt x="5787" y="346"/>
                    <a:pt x="5846" y="346"/>
                    <a:pt x="5858" y="429"/>
                  </a:cubicBezTo>
                  <a:lnTo>
                    <a:pt x="6251" y="1334"/>
                  </a:lnTo>
                  <a:cubicBezTo>
                    <a:pt x="6269" y="1407"/>
                    <a:pt x="6336" y="1438"/>
                    <a:pt x="6404" y="1438"/>
                  </a:cubicBezTo>
                  <a:cubicBezTo>
                    <a:pt x="6425" y="1438"/>
                    <a:pt x="6446" y="1435"/>
                    <a:pt x="6466" y="1429"/>
                  </a:cubicBezTo>
                  <a:cubicBezTo>
                    <a:pt x="6573" y="1382"/>
                    <a:pt x="6608" y="1275"/>
                    <a:pt x="6573" y="1191"/>
                  </a:cubicBezTo>
                  <a:lnTo>
                    <a:pt x="6192" y="275"/>
                  </a:lnTo>
                  <a:cubicBezTo>
                    <a:pt x="6108" y="108"/>
                    <a:pt x="5954" y="1"/>
                    <a:pt x="5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34" name="Google Shape;10034;p58"/>
          <p:cNvGrpSpPr/>
          <p:nvPr/>
        </p:nvGrpSpPr>
        <p:grpSpPr>
          <a:xfrm>
            <a:off x="4218333" y="3184982"/>
            <a:ext cx="209107" cy="383442"/>
            <a:chOff x="4218333" y="3184982"/>
            <a:chExt cx="209107" cy="383442"/>
          </a:xfrm>
        </p:grpSpPr>
        <p:sp>
          <p:nvSpPr>
            <p:cNvPr id="10035" name="Google Shape;10035;p58"/>
            <p:cNvSpPr/>
            <p:nvPr/>
          </p:nvSpPr>
          <p:spPr>
            <a:xfrm>
              <a:off x="4218333" y="3184982"/>
              <a:ext cx="207963" cy="117652"/>
            </a:xfrm>
            <a:custGeom>
              <a:avLst/>
              <a:gdLst/>
              <a:ahLst/>
              <a:cxnLst/>
              <a:rect l="l" t="t" r="r" b="b"/>
              <a:pathLst>
                <a:path w="6549" h="3705" extrusionOk="0">
                  <a:moveTo>
                    <a:pt x="3270" y="1"/>
                  </a:moveTo>
                  <a:cubicBezTo>
                    <a:pt x="3116" y="1"/>
                    <a:pt x="3003" y="73"/>
                    <a:pt x="3024" y="216"/>
                  </a:cubicBezTo>
                  <a:cubicBezTo>
                    <a:pt x="3035" y="314"/>
                    <a:pt x="3116" y="372"/>
                    <a:pt x="3212" y="372"/>
                  </a:cubicBezTo>
                  <a:cubicBezTo>
                    <a:pt x="3221" y="372"/>
                    <a:pt x="3230" y="371"/>
                    <a:pt x="3239" y="370"/>
                  </a:cubicBezTo>
                  <a:cubicBezTo>
                    <a:pt x="3257" y="367"/>
                    <a:pt x="3275" y="365"/>
                    <a:pt x="3293" y="365"/>
                  </a:cubicBezTo>
                  <a:cubicBezTo>
                    <a:pt x="3448" y="365"/>
                    <a:pt x="3572" y="497"/>
                    <a:pt x="3572" y="668"/>
                  </a:cubicBezTo>
                  <a:lnTo>
                    <a:pt x="3572" y="763"/>
                  </a:lnTo>
                  <a:lnTo>
                    <a:pt x="2977" y="763"/>
                  </a:lnTo>
                  <a:lnTo>
                    <a:pt x="2977" y="704"/>
                  </a:lnTo>
                  <a:cubicBezTo>
                    <a:pt x="2977" y="609"/>
                    <a:pt x="2905" y="525"/>
                    <a:pt x="2798" y="525"/>
                  </a:cubicBezTo>
                  <a:cubicBezTo>
                    <a:pt x="2691" y="525"/>
                    <a:pt x="2619" y="609"/>
                    <a:pt x="2619" y="704"/>
                  </a:cubicBezTo>
                  <a:lnTo>
                    <a:pt x="2619" y="763"/>
                  </a:lnTo>
                  <a:lnTo>
                    <a:pt x="1524" y="763"/>
                  </a:lnTo>
                  <a:cubicBezTo>
                    <a:pt x="1417" y="763"/>
                    <a:pt x="1345" y="847"/>
                    <a:pt x="1345" y="942"/>
                  </a:cubicBezTo>
                  <a:cubicBezTo>
                    <a:pt x="1345" y="1049"/>
                    <a:pt x="1417" y="1120"/>
                    <a:pt x="1524" y="1120"/>
                  </a:cubicBezTo>
                  <a:lnTo>
                    <a:pt x="6072" y="1120"/>
                  </a:lnTo>
                  <a:cubicBezTo>
                    <a:pt x="6132" y="1120"/>
                    <a:pt x="6191" y="1180"/>
                    <a:pt x="6191" y="1240"/>
                  </a:cubicBezTo>
                  <a:lnTo>
                    <a:pt x="6191" y="1644"/>
                  </a:lnTo>
                  <a:cubicBezTo>
                    <a:pt x="6191" y="1704"/>
                    <a:pt x="6132" y="1763"/>
                    <a:pt x="6072" y="1763"/>
                  </a:cubicBezTo>
                  <a:lnTo>
                    <a:pt x="476" y="1763"/>
                  </a:lnTo>
                  <a:cubicBezTo>
                    <a:pt x="417" y="1763"/>
                    <a:pt x="357" y="1704"/>
                    <a:pt x="357" y="1644"/>
                  </a:cubicBezTo>
                  <a:lnTo>
                    <a:pt x="357" y="1240"/>
                  </a:lnTo>
                  <a:cubicBezTo>
                    <a:pt x="357" y="1180"/>
                    <a:pt x="417" y="1120"/>
                    <a:pt x="476" y="1120"/>
                  </a:cubicBezTo>
                  <a:lnTo>
                    <a:pt x="810" y="1120"/>
                  </a:lnTo>
                  <a:cubicBezTo>
                    <a:pt x="917" y="1120"/>
                    <a:pt x="988" y="1049"/>
                    <a:pt x="988" y="942"/>
                  </a:cubicBezTo>
                  <a:cubicBezTo>
                    <a:pt x="988" y="847"/>
                    <a:pt x="917" y="763"/>
                    <a:pt x="810" y="763"/>
                  </a:cubicBezTo>
                  <a:lnTo>
                    <a:pt x="476" y="763"/>
                  </a:lnTo>
                  <a:cubicBezTo>
                    <a:pt x="214" y="763"/>
                    <a:pt x="0" y="978"/>
                    <a:pt x="0" y="1240"/>
                  </a:cubicBezTo>
                  <a:lnTo>
                    <a:pt x="0" y="1644"/>
                  </a:lnTo>
                  <a:cubicBezTo>
                    <a:pt x="0" y="1918"/>
                    <a:pt x="214" y="2121"/>
                    <a:pt x="476" y="2121"/>
                  </a:cubicBezTo>
                  <a:lnTo>
                    <a:pt x="607" y="2121"/>
                  </a:lnTo>
                  <a:lnTo>
                    <a:pt x="607" y="3526"/>
                  </a:lnTo>
                  <a:cubicBezTo>
                    <a:pt x="607" y="3621"/>
                    <a:pt x="691" y="3704"/>
                    <a:pt x="798" y="3704"/>
                  </a:cubicBezTo>
                  <a:cubicBezTo>
                    <a:pt x="893" y="3704"/>
                    <a:pt x="976" y="3621"/>
                    <a:pt x="976" y="3526"/>
                  </a:cubicBezTo>
                  <a:lnTo>
                    <a:pt x="976" y="2121"/>
                  </a:lnTo>
                  <a:lnTo>
                    <a:pt x="5584" y="2121"/>
                  </a:lnTo>
                  <a:lnTo>
                    <a:pt x="5584" y="2573"/>
                  </a:lnTo>
                  <a:cubicBezTo>
                    <a:pt x="5584" y="2668"/>
                    <a:pt x="5656" y="2752"/>
                    <a:pt x="5763" y="2752"/>
                  </a:cubicBezTo>
                  <a:cubicBezTo>
                    <a:pt x="5870" y="2752"/>
                    <a:pt x="5941" y="2668"/>
                    <a:pt x="5941" y="2573"/>
                  </a:cubicBezTo>
                  <a:lnTo>
                    <a:pt x="5941" y="2121"/>
                  </a:lnTo>
                  <a:lnTo>
                    <a:pt x="6072" y="2121"/>
                  </a:lnTo>
                  <a:cubicBezTo>
                    <a:pt x="6346" y="2121"/>
                    <a:pt x="6549" y="1918"/>
                    <a:pt x="6549" y="1644"/>
                  </a:cubicBezTo>
                  <a:lnTo>
                    <a:pt x="6549" y="1240"/>
                  </a:lnTo>
                  <a:cubicBezTo>
                    <a:pt x="6549" y="978"/>
                    <a:pt x="6346" y="763"/>
                    <a:pt x="6072" y="763"/>
                  </a:cubicBezTo>
                  <a:lnTo>
                    <a:pt x="3929" y="763"/>
                  </a:lnTo>
                  <a:lnTo>
                    <a:pt x="3929" y="668"/>
                  </a:lnTo>
                  <a:cubicBezTo>
                    <a:pt x="3929" y="221"/>
                    <a:pt x="3539" y="1"/>
                    <a:pt x="32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6" name="Google Shape;10036;p58"/>
            <p:cNvSpPr/>
            <p:nvPr/>
          </p:nvSpPr>
          <p:spPr>
            <a:xfrm>
              <a:off x="4218333" y="3282946"/>
              <a:ext cx="209107" cy="285477"/>
            </a:xfrm>
            <a:custGeom>
              <a:avLst/>
              <a:gdLst/>
              <a:ahLst/>
              <a:cxnLst/>
              <a:rect l="l" t="t" r="r" b="b"/>
              <a:pathLst>
                <a:path w="6585" h="8990" extrusionOk="0">
                  <a:moveTo>
                    <a:pt x="3215" y="5120"/>
                  </a:moveTo>
                  <a:cubicBezTo>
                    <a:pt x="2965" y="5655"/>
                    <a:pt x="2107" y="7477"/>
                    <a:pt x="1643" y="8442"/>
                  </a:cubicBezTo>
                  <a:cubicBezTo>
                    <a:pt x="1596" y="8537"/>
                    <a:pt x="1512" y="8572"/>
                    <a:pt x="1417" y="8572"/>
                  </a:cubicBezTo>
                  <a:cubicBezTo>
                    <a:pt x="1369" y="8572"/>
                    <a:pt x="1345" y="8561"/>
                    <a:pt x="1310" y="8549"/>
                  </a:cubicBezTo>
                  <a:cubicBezTo>
                    <a:pt x="1191" y="8489"/>
                    <a:pt x="1131" y="8334"/>
                    <a:pt x="1191" y="8215"/>
                  </a:cubicBezTo>
                  <a:lnTo>
                    <a:pt x="2667" y="5120"/>
                  </a:lnTo>
                  <a:close/>
                  <a:moveTo>
                    <a:pt x="3870" y="5120"/>
                  </a:moveTo>
                  <a:lnTo>
                    <a:pt x="5346" y="8215"/>
                  </a:lnTo>
                  <a:cubicBezTo>
                    <a:pt x="5406" y="8334"/>
                    <a:pt x="5358" y="8489"/>
                    <a:pt x="5227" y="8549"/>
                  </a:cubicBezTo>
                  <a:cubicBezTo>
                    <a:pt x="5203" y="8561"/>
                    <a:pt x="5155" y="8572"/>
                    <a:pt x="5120" y="8572"/>
                  </a:cubicBezTo>
                  <a:cubicBezTo>
                    <a:pt x="5036" y="8572"/>
                    <a:pt x="4941" y="8513"/>
                    <a:pt x="4905" y="8442"/>
                  </a:cubicBezTo>
                  <a:lnTo>
                    <a:pt x="3870" y="6287"/>
                  </a:lnTo>
                  <a:cubicBezTo>
                    <a:pt x="3870" y="6287"/>
                    <a:pt x="3489" y="5465"/>
                    <a:pt x="3477" y="5417"/>
                  </a:cubicBezTo>
                  <a:cubicBezTo>
                    <a:pt x="3572" y="5203"/>
                    <a:pt x="3608" y="5144"/>
                    <a:pt x="3608" y="5120"/>
                  </a:cubicBezTo>
                  <a:close/>
                  <a:moveTo>
                    <a:pt x="3274" y="5834"/>
                  </a:moveTo>
                  <a:lnTo>
                    <a:pt x="3536" y="6358"/>
                  </a:lnTo>
                  <a:lnTo>
                    <a:pt x="3536" y="8370"/>
                  </a:lnTo>
                  <a:cubicBezTo>
                    <a:pt x="3536" y="8501"/>
                    <a:pt x="3417" y="8620"/>
                    <a:pt x="3274" y="8620"/>
                  </a:cubicBezTo>
                  <a:cubicBezTo>
                    <a:pt x="3143" y="8620"/>
                    <a:pt x="3024" y="8501"/>
                    <a:pt x="3024" y="8370"/>
                  </a:cubicBezTo>
                  <a:lnTo>
                    <a:pt x="3024" y="6358"/>
                  </a:lnTo>
                  <a:lnTo>
                    <a:pt x="3274" y="5834"/>
                  </a:lnTo>
                  <a:close/>
                  <a:moveTo>
                    <a:pt x="5763" y="0"/>
                  </a:moveTo>
                  <a:cubicBezTo>
                    <a:pt x="5656" y="0"/>
                    <a:pt x="5584" y="71"/>
                    <a:pt x="5584" y="179"/>
                  </a:cubicBezTo>
                  <a:lnTo>
                    <a:pt x="5584" y="3774"/>
                  </a:lnTo>
                  <a:lnTo>
                    <a:pt x="976" y="3774"/>
                  </a:lnTo>
                  <a:lnTo>
                    <a:pt x="976" y="1131"/>
                  </a:lnTo>
                  <a:cubicBezTo>
                    <a:pt x="976" y="1024"/>
                    <a:pt x="893" y="953"/>
                    <a:pt x="798" y="953"/>
                  </a:cubicBezTo>
                  <a:cubicBezTo>
                    <a:pt x="691" y="953"/>
                    <a:pt x="607" y="1024"/>
                    <a:pt x="607" y="1131"/>
                  </a:cubicBezTo>
                  <a:lnTo>
                    <a:pt x="607" y="3774"/>
                  </a:lnTo>
                  <a:lnTo>
                    <a:pt x="476" y="3774"/>
                  </a:lnTo>
                  <a:cubicBezTo>
                    <a:pt x="214" y="3774"/>
                    <a:pt x="0" y="3977"/>
                    <a:pt x="0" y="4251"/>
                  </a:cubicBezTo>
                  <a:lnTo>
                    <a:pt x="0" y="4643"/>
                  </a:lnTo>
                  <a:cubicBezTo>
                    <a:pt x="0" y="4917"/>
                    <a:pt x="214" y="5120"/>
                    <a:pt x="476" y="5120"/>
                  </a:cubicBezTo>
                  <a:lnTo>
                    <a:pt x="2286" y="5120"/>
                  </a:lnTo>
                  <a:lnTo>
                    <a:pt x="881" y="8072"/>
                  </a:lnTo>
                  <a:cubicBezTo>
                    <a:pt x="738" y="8370"/>
                    <a:pt x="869" y="8739"/>
                    <a:pt x="1167" y="8870"/>
                  </a:cubicBezTo>
                  <a:cubicBezTo>
                    <a:pt x="1250" y="8918"/>
                    <a:pt x="1334" y="8930"/>
                    <a:pt x="1429" y="8930"/>
                  </a:cubicBezTo>
                  <a:cubicBezTo>
                    <a:pt x="1667" y="8930"/>
                    <a:pt x="1881" y="8799"/>
                    <a:pt x="1988" y="8596"/>
                  </a:cubicBezTo>
                  <a:lnTo>
                    <a:pt x="2679" y="7120"/>
                  </a:lnTo>
                  <a:lnTo>
                    <a:pt x="2679" y="8382"/>
                  </a:lnTo>
                  <a:cubicBezTo>
                    <a:pt x="2679" y="8715"/>
                    <a:pt x="2953" y="8989"/>
                    <a:pt x="3298" y="8989"/>
                  </a:cubicBezTo>
                  <a:cubicBezTo>
                    <a:pt x="3620" y="8989"/>
                    <a:pt x="3905" y="8727"/>
                    <a:pt x="3905" y="8382"/>
                  </a:cubicBezTo>
                  <a:lnTo>
                    <a:pt x="3905" y="7120"/>
                  </a:lnTo>
                  <a:lnTo>
                    <a:pt x="4608" y="8596"/>
                  </a:lnTo>
                  <a:cubicBezTo>
                    <a:pt x="4703" y="8799"/>
                    <a:pt x="4917" y="8930"/>
                    <a:pt x="5155" y="8930"/>
                  </a:cubicBezTo>
                  <a:cubicBezTo>
                    <a:pt x="5239" y="8930"/>
                    <a:pt x="5334" y="8918"/>
                    <a:pt x="5417" y="8870"/>
                  </a:cubicBezTo>
                  <a:cubicBezTo>
                    <a:pt x="5715" y="8727"/>
                    <a:pt x="5858" y="8370"/>
                    <a:pt x="5703" y="8072"/>
                  </a:cubicBezTo>
                  <a:lnTo>
                    <a:pt x="4310" y="5120"/>
                  </a:lnTo>
                  <a:lnTo>
                    <a:pt x="5060" y="5120"/>
                  </a:lnTo>
                  <a:cubicBezTo>
                    <a:pt x="5167" y="5120"/>
                    <a:pt x="5239" y="5048"/>
                    <a:pt x="5239" y="4941"/>
                  </a:cubicBezTo>
                  <a:cubicBezTo>
                    <a:pt x="5239" y="4846"/>
                    <a:pt x="5167" y="4763"/>
                    <a:pt x="5060" y="4763"/>
                  </a:cubicBezTo>
                  <a:lnTo>
                    <a:pt x="512" y="4763"/>
                  </a:lnTo>
                  <a:cubicBezTo>
                    <a:pt x="453" y="4763"/>
                    <a:pt x="393" y="4703"/>
                    <a:pt x="393" y="4643"/>
                  </a:cubicBezTo>
                  <a:lnTo>
                    <a:pt x="393" y="4251"/>
                  </a:lnTo>
                  <a:cubicBezTo>
                    <a:pt x="393" y="4191"/>
                    <a:pt x="453" y="4131"/>
                    <a:pt x="512" y="4131"/>
                  </a:cubicBezTo>
                  <a:lnTo>
                    <a:pt x="6108" y="4131"/>
                  </a:lnTo>
                  <a:cubicBezTo>
                    <a:pt x="6168" y="4131"/>
                    <a:pt x="6227" y="4191"/>
                    <a:pt x="6227" y="4251"/>
                  </a:cubicBezTo>
                  <a:lnTo>
                    <a:pt x="6227" y="4643"/>
                  </a:lnTo>
                  <a:cubicBezTo>
                    <a:pt x="6227" y="4703"/>
                    <a:pt x="6168" y="4763"/>
                    <a:pt x="6108" y="4763"/>
                  </a:cubicBezTo>
                  <a:lnTo>
                    <a:pt x="5775" y="4763"/>
                  </a:lnTo>
                  <a:cubicBezTo>
                    <a:pt x="5679" y="4763"/>
                    <a:pt x="5596" y="4846"/>
                    <a:pt x="5596" y="4941"/>
                  </a:cubicBezTo>
                  <a:cubicBezTo>
                    <a:pt x="5596" y="5048"/>
                    <a:pt x="5679" y="5120"/>
                    <a:pt x="5775" y="5120"/>
                  </a:cubicBezTo>
                  <a:lnTo>
                    <a:pt x="6108" y="5120"/>
                  </a:lnTo>
                  <a:cubicBezTo>
                    <a:pt x="6370" y="5120"/>
                    <a:pt x="6584" y="4917"/>
                    <a:pt x="6584" y="4643"/>
                  </a:cubicBezTo>
                  <a:lnTo>
                    <a:pt x="6584" y="4251"/>
                  </a:lnTo>
                  <a:cubicBezTo>
                    <a:pt x="6549" y="3977"/>
                    <a:pt x="6346" y="3774"/>
                    <a:pt x="6072" y="3774"/>
                  </a:cubicBezTo>
                  <a:lnTo>
                    <a:pt x="5941" y="3774"/>
                  </a:lnTo>
                  <a:lnTo>
                    <a:pt x="5941" y="179"/>
                  </a:lnTo>
                  <a:cubicBezTo>
                    <a:pt x="5941" y="71"/>
                    <a:pt x="5870" y="0"/>
                    <a:pt x="5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37" name="Google Shape;10037;p58"/>
          <p:cNvSpPr/>
          <p:nvPr/>
        </p:nvSpPr>
        <p:spPr>
          <a:xfrm>
            <a:off x="4816819" y="3186157"/>
            <a:ext cx="83230" cy="379536"/>
          </a:xfrm>
          <a:custGeom>
            <a:avLst/>
            <a:gdLst/>
            <a:ahLst/>
            <a:cxnLst/>
            <a:rect l="l" t="t" r="r" b="b"/>
            <a:pathLst>
              <a:path w="2621" h="11952" extrusionOk="0">
                <a:moveTo>
                  <a:pt x="1310" y="572"/>
                </a:moveTo>
                <a:cubicBezTo>
                  <a:pt x="1537" y="976"/>
                  <a:pt x="1560" y="1060"/>
                  <a:pt x="1560" y="1060"/>
                </a:cubicBezTo>
                <a:lnTo>
                  <a:pt x="1560" y="1072"/>
                </a:lnTo>
                <a:cubicBezTo>
                  <a:pt x="1489" y="1119"/>
                  <a:pt x="1382" y="1131"/>
                  <a:pt x="1298" y="1131"/>
                </a:cubicBezTo>
                <a:cubicBezTo>
                  <a:pt x="1203" y="1131"/>
                  <a:pt x="1120" y="1095"/>
                  <a:pt x="1025" y="1072"/>
                </a:cubicBezTo>
                <a:lnTo>
                  <a:pt x="1310" y="572"/>
                </a:lnTo>
                <a:close/>
                <a:moveTo>
                  <a:pt x="1739" y="1369"/>
                </a:moveTo>
                <a:lnTo>
                  <a:pt x="2156" y="2155"/>
                </a:lnTo>
                <a:lnTo>
                  <a:pt x="465" y="2155"/>
                </a:lnTo>
                <a:lnTo>
                  <a:pt x="882" y="1369"/>
                </a:lnTo>
                <a:cubicBezTo>
                  <a:pt x="1013" y="1441"/>
                  <a:pt x="1156" y="1476"/>
                  <a:pt x="1310" y="1476"/>
                </a:cubicBezTo>
                <a:cubicBezTo>
                  <a:pt x="1453" y="1476"/>
                  <a:pt x="1608" y="1441"/>
                  <a:pt x="1739" y="1369"/>
                </a:cubicBezTo>
                <a:close/>
                <a:moveTo>
                  <a:pt x="2263" y="9763"/>
                </a:moveTo>
                <a:lnTo>
                  <a:pt x="2263" y="10454"/>
                </a:lnTo>
                <a:lnTo>
                  <a:pt x="358" y="10454"/>
                </a:lnTo>
                <a:lnTo>
                  <a:pt x="358" y="9763"/>
                </a:lnTo>
                <a:close/>
                <a:moveTo>
                  <a:pt x="1310" y="0"/>
                </a:moveTo>
                <a:cubicBezTo>
                  <a:pt x="1251" y="0"/>
                  <a:pt x="1191" y="36"/>
                  <a:pt x="1144" y="95"/>
                </a:cubicBezTo>
                <a:lnTo>
                  <a:pt x="656" y="1024"/>
                </a:lnTo>
                <a:lnTo>
                  <a:pt x="132" y="2012"/>
                </a:lnTo>
                <a:cubicBezTo>
                  <a:pt x="48" y="2179"/>
                  <a:pt x="1" y="2357"/>
                  <a:pt x="1" y="2548"/>
                </a:cubicBezTo>
                <a:lnTo>
                  <a:pt x="1" y="5727"/>
                </a:lnTo>
                <a:cubicBezTo>
                  <a:pt x="1" y="5834"/>
                  <a:pt x="72" y="5906"/>
                  <a:pt x="179" y="5906"/>
                </a:cubicBezTo>
                <a:cubicBezTo>
                  <a:pt x="286" y="5906"/>
                  <a:pt x="358" y="5834"/>
                  <a:pt x="358" y="5727"/>
                </a:cubicBezTo>
                <a:lnTo>
                  <a:pt x="358" y="2512"/>
                </a:lnTo>
                <a:lnTo>
                  <a:pt x="1132" y="2512"/>
                </a:lnTo>
                <a:lnTo>
                  <a:pt x="1132" y="9406"/>
                </a:lnTo>
                <a:lnTo>
                  <a:pt x="1132" y="9418"/>
                </a:lnTo>
                <a:lnTo>
                  <a:pt x="358" y="9418"/>
                </a:lnTo>
                <a:lnTo>
                  <a:pt x="358" y="6465"/>
                </a:lnTo>
                <a:cubicBezTo>
                  <a:pt x="358" y="6358"/>
                  <a:pt x="286" y="6287"/>
                  <a:pt x="179" y="6287"/>
                </a:cubicBezTo>
                <a:cubicBezTo>
                  <a:pt x="72" y="6287"/>
                  <a:pt x="1" y="6358"/>
                  <a:pt x="1" y="6465"/>
                </a:cubicBezTo>
                <a:lnTo>
                  <a:pt x="1" y="10644"/>
                </a:lnTo>
                <a:cubicBezTo>
                  <a:pt x="1" y="10882"/>
                  <a:pt x="60" y="11120"/>
                  <a:pt x="191" y="11311"/>
                </a:cubicBezTo>
                <a:cubicBezTo>
                  <a:pt x="227" y="11370"/>
                  <a:pt x="286" y="11406"/>
                  <a:pt x="346" y="11406"/>
                </a:cubicBezTo>
                <a:cubicBezTo>
                  <a:pt x="477" y="11406"/>
                  <a:pt x="560" y="11251"/>
                  <a:pt x="489" y="11132"/>
                </a:cubicBezTo>
                <a:cubicBezTo>
                  <a:pt x="429" y="11025"/>
                  <a:pt x="382" y="10930"/>
                  <a:pt x="370" y="10823"/>
                </a:cubicBezTo>
                <a:lnTo>
                  <a:pt x="2227" y="10823"/>
                </a:lnTo>
                <a:cubicBezTo>
                  <a:pt x="2144" y="11251"/>
                  <a:pt x="1775" y="11597"/>
                  <a:pt x="1310" y="11597"/>
                </a:cubicBezTo>
                <a:cubicBezTo>
                  <a:pt x="1179" y="11597"/>
                  <a:pt x="1037" y="11561"/>
                  <a:pt x="917" y="11525"/>
                </a:cubicBezTo>
                <a:cubicBezTo>
                  <a:pt x="895" y="11512"/>
                  <a:pt x="870" y="11506"/>
                  <a:pt x="845" y="11506"/>
                </a:cubicBezTo>
                <a:cubicBezTo>
                  <a:pt x="780" y="11506"/>
                  <a:pt x="714" y="11548"/>
                  <a:pt x="679" y="11609"/>
                </a:cubicBezTo>
                <a:cubicBezTo>
                  <a:pt x="644" y="11704"/>
                  <a:pt x="679" y="11799"/>
                  <a:pt x="775" y="11847"/>
                </a:cubicBezTo>
                <a:cubicBezTo>
                  <a:pt x="941" y="11918"/>
                  <a:pt x="1111" y="11951"/>
                  <a:pt x="1277" y="11951"/>
                </a:cubicBezTo>
                <a:cubicBezTo>
                  <a:pt x="1966" y="11951"/>
                  <a:pt x="2584" y="11383"/>
                  <a:pt x="2584" y="10644"/>
                </a:cubicBezTo>
                <a:cubicBezTo>
                  <a:pt x="2620" y="10608"/>
                  <a:pt x="2620" y="9596"/>
                  <a:pt x="2620" y="9585"/>
                </a:cubicBezTo>
                <a:lnTo>
                  <a:pt x="2620" y="8049"/>
                </a:lnTo>
                <a:cubicBezTo>
                  <a:pt x="2620" y="7953"/>
                  <a:pt x="2549" y="7870"/>
                  <a:pt x="2441" y="7870"/>
                </a:cubicBezTo>
                <a:cubicBezTo>
                  <a:pt x="2334" y="7870"/>
                  <a:pt x="2263" y="7953"/>
                  <a:pt x="2263" y="8049"/>
                </a:cubicBezTo>
                <a:lnTo>
                  <a:pt x="2263" y="9406"/>
                </a:lnTo>
                <a:lnTo>
                  <a:pt x="1489" y="9406"/>
                </a:lnTo>
                <a:lnTo>
                  <a:pt x="1489" y="9394"/>
                </a:lnTo>
                <a:lnTo>
                  <a:pt x="1489" y="2500"/>
                </a:lnTo>
                <a:lnTo>
                  <a:pt x="2263" y="2500"/>
                </a:lnTo>
                <a:lnTo>
                  <a:pt x="2263" y="2548"/>
                </a:lnTo>
                <a:lnTo>
                  <a:pt x="2263" y="7334"/>
                </a:lnTo>
                <a:cubicBezTo>
                  <a:pt x="2263" y="7441"/>
                  <a:pt x="2334" y="7513"/>
                  <a:pt x="2441" y="7513"/>
                </a:cubicBezTo>
                <a:cubicBezTo>
                  <a:pt x="2549" y="7513"/>
                  <a:pt x="2620" y="7441"/>
                  <a:pt x="2620" y="7334"/>
                </a:cubicBezTo>
                <a:lnTo>
                  <a:pt x="2620" y="2548"/>
                </a:lnTo>
                <a:cubicBezTo>
                  <a:pt x="2620" y="2369"/>
                  <a:pt x="2572" y="2191"/>
                  <a:pt x="2489" y="2012"/>
                </a:cubicBezTo>
                <a:lnTo>
                  <a:pt x="1477" y="95"/>
                </a:lnTo>
                <a:cubicBezTo>
                  <a:pt x="1441" y="36"/>
                  <a:pt x="1382" y="0"/>
                  <a:pt x="131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38" name="Google Shape;10038;p58"/>
          <p:cNvGrpSpPr/>
          <p:nvPr/>
        </p:nvGrpSpPr>
        <p:grpSpPr>
          <a:xfrm>
            <a:off x="6896644" y="3216007"/>
            <a:ext cx="322917" cy="347876"/>
            <a:chOff x="6896644" y="3216007"/>
            <a:chExt cx="322917" cy="347876"/>
          </a:xfrm>
        </p:grpSpPr>
        <p:sp>
          <p:nvSpPr>
            <p:cNvPr id="10039" name="Google Shape;10039;p58"/>
            <p:cNvSpPr/>
            <p:nvPr/>
          </p:nvSpPr>
          <p:spPr>
            <a:xfrm>
              <a:off x="6896644" y="3216007"/>
              <a:ext cx="301387" cy="347876"/>
            </a:xfrm>
            <a:custGeom>
              <a:avLst/>
              <a:gdLst/>
              <a:ahLst/>
              <a:cxnLst/>
              <a:rect l="l" t="t" r="r" b="b"/>
              <a:pathLst>
                <a:path w="9491" h="10955" extrusionOk="0">
                  <a:moveTo>
                    <a:pt x="5192" y="382"/>
                  </a:moveTo>
                  <a:lnTo>
                    <a:pt x="6490" y="1679"/>
                  </a:lnTo>
                  <a:lnTo>
                    <a:pt x="3906" y="1679"/>
                  </a:lnTo>
                  <a:lnTo>
                    <a:pt x="5192" y="382"/>
                  </a:lnTo>
                  <a:close/>
                  <a:moveTo>
                    <a:pt x="5186" y="1"/>
                  </a:moveTo>
                  <a:cubicBezTo>
                    <a:pt x="5144" y="1"/>
                    <a:pt x="5103" y="13"/>
                    <a:pt x="5073" y="36"/>
                  </a:cubicBezTo>
                  <a:lnTo>
                    <a:pt x="3442" y="1679"/>
                  </a:lnTo>
                  <a:lnTo>
                    <a:pt x="870" y="1679"/>
                  </a:lnTo>
                  <a:cubicBezTo>
                    <a:pt x="775" y="1679"/>
                    <a:pt x="703" y="1751"/>
                    <a:pt x="703" y="1846"/>
                  </a:cubicBezTo>
                  <a:lnTo>
                    <a:pt x="703" y="4501"/>
                  </a:lnTo>
                  <a:lnTo>
                    <a:pt x="168" y="4501"/>
                  </a:lnTo>
                  <a:cubicBezTo>
                    <a:pt x="72" y="4501"/>
                    <a:pt x="1" y="4585"/>
                    <a:pt x="1" y="4668"/>
                  </a:cubicBezTo>
                  <a:lnTo>
                    <a:pt x="1" y="10788"/>
                  </a:lnTo>
                  <a:cubicBezTo>
                    <a:pt x="1" y="10883"/>
                    <a:pt x="72" y="10954"/>
                    <a:pt x="168" y="10954"/>
                  </a:cubicBezTo>
                  <a:lnTo>
                    <a:pt x="1846" y="10954"/>
                  </a:lnTo>
                  <a:cubicBezTo>
                    <a:pt x="1942" y="10954"/>
                    <a:pt x="2013" y="10883"/>
                    <a:pt x="2013" y="10788"/>
                  </a:cubicBezTo>
                  <a:cubicBezTo>
                    <a:pt x="2013" y="10704"/>
                    <a:pt x="1942" y="10621"/>
                    <a:pt x="1846" y="10621"/>
                  </a:cubicBezTo>
                  <a:lnTo>
                    <a:pt x="334" y="10621"/>
                  </a:lnTo>
                  <a:lnTo>
                    <a:pt x="334" y="4989"/>
                  </a:lnTo>
                  <a:lnTo>
                    <a:pt x="1084" y="5537"/>
                  </a:lnTo>
                  <a:cubicBezTo>
                    <a:pt x="1115" y="5554"/>
                    <a:pt x="1147" y="5562"/>
                    <a:pt x="1178" y="5562"/>
                  </a:cubicBezTo>
                  <a:cubicBezTo>
                    <a:pt x="1231" y="5562"/>
                    <a:pt x="1280" y="5539"/>
                    <a:pt x="1311" y="5501"/>
                  </a:cubicBezTo>
                  <a:cubicBezTo>
                    <a:pt x="1358" y="5430"/>
                    <a:pt x="1346" y="5323"/>
                    <a:pt x="1275" y="5287"/>
                  </a:cubicBezTo>
                  <a:lnTo>
                    <a:pt x="1049" y="5096"/>
                  </a:lnTo>
                  <a:lnTo>
                    <a:pt x="1049" y="4692"/>
                  </a:lnTo>
                  <a:lnTo>
                    <a:pt x="1049" y="4668"/>
                  </a:lnTo>
                  <a:lnTo>
                    <a:pt x="1049" y="4656"/>
                  </a:lnTo>
                  <a:lnTo>
                    <a:pt x="1049" y="2013"/>
                  </a:lnTo>
                  <a:lnTo>
                    <a:pt x="9169" y="2013"/>
                  </a:lnTo>
                  <a:lnTo>
                    <a:pt x="9169" y="2620"/>
                  </a:lnTo>
                  <a:cubicBezTo>
                    <a:pt x="9169" y="2703"/>
                    <a:pt x="9240" y="2787"/>
                    <a:pt x="9335" y="2787"/>
                  </a:cubicBezTo>
                  <a:cubicBezTo>
                    <a:pt x="9419" y="2787"/>
                    <a:pt x="9490" y="2703"/>
                    <a:pt x="9490" y="2620"/>
                  </a:cubicBezTo>
                  <a:lnTo>
                    <a:pt x="9490" y="1846"/>
                  </a:lnTo>
                  <a:cubicBezTo>
                    <a:pt x="9466" y="1751"/>
                    <a:pt x="9395" y="1679"/>
                    <a:pt x="9300" y="1679"/>
                  </a:cubicBezTo>
                  <a:lnTo>
                    <a:pt x="6930" y="1679"/>
                  </a:lnTo>
                  <a:lnTo>
                    <a:pt x="5299" y="36"/>
                  </a:lnTo>
                  <a:cubicBezTo>
                    <a:pt x="5269" y="13"/>
                    <a:pt x="5228" y="1"/>
                    <a:pt x="5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0" name="Google Shape;10040;p58"/>
            <p:cNvSpPr/>
            <p:nvPr/>
          </p:nvSpPr>
          <p:spPr>
            <a:xfrm>
              <a:off x="6954883" y="3306382"/>
              <a:ext cx="42012" cy="41980"/>
            </a:xfrm>
            <a:custGeom>
              <a:avLst/>
              <a:gdLst/>
              <a:ahLst/>
              <a:cxnLst/>
              <a:rect l="l" t="t" r="r" b="b"/>
              <a:pathLst>
                <a:path w="1323" h="1322" extrusionOk="0">
                  <a:moveTo>
                    <a:pt x="1001" y="322"/>
                  </a:moveTo>
                  <a:lnTo>
                    <a:pt x="1001" y="988"/>
                  </a:lnTo>
                  <a:lnTo>
                    <a:pt x="322" y="988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1155"/>
                  </a:lnTo>
                  <a:cubicBezTo>
                    <a:pt x="1" y="1250"/>
                    <a:pt x="72" y="1322"/>
                    <a:pt x="167" y="1322"/>
                  </a:cubicBezTo>
                  <a:lnTo>
                    <a:pt x="1155" y="1322"/>
                  </a:lnTo>
                  <a:cubicBezTo>
                    <a:pt x="1251" y="1322"/>
                    <a:pt x="1322" y="1250"/>
                    <a:pt x="1322" y="1155"/>
                  </a:cubicBezTo>
                  <a:lnTo>
                    <a:pt x="1322" y="155"/>
                  </a:lnTo>
                  <a:cubicBezTo>
                    <a:pt x="1310" y="72"/>
                    <a:pt x="1239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1" name="Google Shape;10041;p58"/>
            <p:cNvSpPr/>
            <p:nvPr/>
          </p:nvSpPr>
          <p:spPr>
            <a:xfrm>
              <a:off x="7013122" y="3306382"/>
              <a:ext cx="32168" cy="10225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845" y="322"/>
                  </a:lnTo>
                  <a:cubicBezTo>
                    <a:pt x="929" y="322"/>
                    <a:pt x="1012" y="250"/>
                    <a:pt x="1012" y="155"/>
                  </a:cubicBezTo>
                  <a:cubicBezTo>
                    <a:pt x="1012" y="72"/>
                    <a:pt x="929" y="0"/>
                    <a:pt x="8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2" name="Google Shape;10042;p58"/>
            <p:cNvSpPr/>
            <p:nvPr/>
          </p:nvSpPr>
          <p:spPr>
            <a:xfrm>
              <a:off x="7013471" y="3333596"/>
              <a:ext cx="105903" cy="10606"/>
            </a:xfrm>
            <a:custGeom>
              <a:avLst/>
              <a:gdLst/>
              <a:ahLst/>
              <a:cxnLst/>
              <a:rect l="l" t="t" r="r" b="b"/>
              <a:pathLst>
                <a:path w="3335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3168" y="334"/>
                  </a:lnTo>
                  <a:cubicBezTo>
                    <a:pt x="3251" y="334"/>
                    <a:pt x="3335" y="250"/>
                    <a:pt x="3335" y="167"/>
                  </a:cubicBezTo>
                  <a:cubicBezTo>
                    <a:pt x="3335" y="60"/>
                    <a:pt x="3263" y="0"/>
                    <a:pt x="3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3" name="Google Shape;10043;p58"/>
            <p:cNvSpPr/>
            <p:nvPr/>
          </p:nvSpPr>
          <p:spPr>
            <a:xfrm>
              <a:off x="6966982" y="3375576"/>
              <a:ext cx="63923" cy="10606"/>
            </a:xfrm>
            <a:custGeom>
              <a:avLst/>
              <a:gdLst/>
              <a:ahLst/>
              <a:cxnLst/>
              <a:rect l="l" t="t" r="r" b="b"/>
              <a:pathLst>
                <a:path w="2013" h="334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62"/>
                    <a:pt x="84" y="333"/>
                    <a:pt x="167" y="333"/>
                  </a:cubicBezTo>
                  <a:lnTo>
                    <a:pt x="1846" y="333"/>
                  </a:lnTo>
                  <a:cubicBezTo>
                    <a:pt x="1941" y="333"/>
                    <a:pt x="2013" y="262"/>
                    <a:pt x="2013" y="167"/>
                  </a:cubicBezTo>
                  <a:cubicBezTo>
                    <a:pt x="2013" y="71"/>
                    <a:pt x="1941" y="0"/>
                    <a:pt x="1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4" name="Google Shape;10044;p58"/>
            <p:cNvSpPr/>
            <p:nvPr/>
          </p:nvSpPr>
          <p:spPr>
            <a:xfrm>
              <a:off x="6928781" y="3524157"/>
              <a:ext cx="52237" cy="10225"/>
            </a:xfrm>
            <a:custGeom>
              <a:avLst/>
              <a:gdLst/>
              <a:ahLst/>
              <a:cxnLst/>
              <a:rect l="l" t="t" r="r" b="b"/>
              <a:pathLst>
                <a:path w="164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1477" y="322"/>
                  </a:lnTo>
                  <a:cubicBezTo>
                    <a:pt x="1561" y="322"/>
                    <a:pt x="1644" y="250"/>
                    <a:pt x="1644" y="167"/>
                  </a:cubicBezTo>
                  <a:cubicBezTo>
                    <a:pt x="1644" y="72"/>
                    <a:pt x="1561" y="0"/>
                    <a:pt x="1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5" name="Google Shape;10045;p58"/>
            <p:cNvSpPr/>
            <p:nvPr/>
          </p:nvSpPr>
          <p:spPr>
            <a:xfrm>
              <a:off x="6945420" y="3314701"/>
              <a:ext cx="274141" cy="248800"/>
            </a:xfrm>
            <a:custGeom>
              <a:avLst/>
              <a:gdLst/>
              <a:ahLst/>
              <a:cxnLst/>
              <a:rect l="l" t="t" r="r" b="b"/>
              <a:pathLst>
                <a:path w="8633" h="7835" extrusionOk="0">
                  <a:moveTo>
                    <a:pt x="5835" y="3274"/>
                  </a:moveTo>
                  <a:lnTo>
                    <a:pt x="5323" y="3632"/>
                  </a:lnTo>
                  <a:lnTo>
                    <a:pt x="1787" y="3632"/>
                  </a:lnTo>
                  <a:lnTo>
                    <a:pt x="1275" y="3274"/>
                  </a:lnTo>
                  <a:close/>
                  <a:moveTo>
                    <a:pt x="4882" y="3965"/>
                  </a:moveTo>
                  <a:lnTo>
                    <a:pt x="4370" y="4322"/>
                  </a:lnTo>
                  <a:lnTo>
                    <a:pt x="2739" y="4322"/>
                  </a:lnTo>
                  <a:lnTo>
                    <a:pt x="2227" y="3965"/>
                  </a:lnTo>
                  <a:close/>
                  <a:moveTo>
                    <a:pt x="3930" y="4632"/>
                  </a:moveTo>
                  <a:lnTo>
                    <a:pt x="3561" y="4894"/>
                  </a:lnTo>
                  <a:lnTo>
                    <a:pt x="3180" y="4632"/>
                  </a:lnTo>
                  <a:close/>
                  <a:moveTo>
                    <a:pt x="7752" y="0"/>
                  </a:moveTo>
                  <a:cubicBezTo>
                    <a:pt x="7668" y="0"/>
                    <a:pt x="7585" y="72"/>
                    <a:pt x="7585" y="167"/>
                  </a:cubicBezTo>
                  <a:lnTo>
                    <a:pt x="7585" y="1560"/>
                  </a:lnTo>
                  <a:lnTo>
                    <a:pt x="7585" y="1977"/>
                  </a:lnTo>
                  <a:lnTo>
                    <a:pt x="6252" y="2929"/>
                  </a:lnTo>
                  <a:lnTo>
                    <a:pt x="799" y="2929"/>
                  </a:lnTo>
                  <a:lnTo>
                    <a:pt x="263" y="2548"/>
                  </a:lnTo>
                  <a:cubicBezTo>
                    <a:pt x="233" y="2528"/>
                    <a:pt x="197" y="2519"/>
                    <a:pt x="162" y="2519"/>
                  </a:cubicBezTo>
                  <a:cubicBezTo>
                    <a:pt x="114" y="2519"/>
                    <a:pt x="69" y="2537"/>
                    <a:pt x="48" y="2572"/>
                  </a:cubicBezTo>
                  <a:cubicBezTo>
                    <a:pt x="1" y="2643"/>
                    <a:pt x="13" y="2750"/>
                    <a:pt x="72" y="2798"/>
                  </a:cubicBezTo>
                  <a:lnTo>
                    <a:pt x="3442" y="5215"/>
                  </a:lnTo>
                  <a:cubicBezTo>
                    <a:pt x="3472" y="5233"/>
                    <a:pt x="3504" y="5242"/>
                    <a:pt x="3537" y="5242"/>
                  </a:cubicBezTo>
                  <a:cubicBezTo>
                    <a:pt x="3570" y="5242"/>
                    <a:pt x="3602" y="5233"/>
                    <a:pt x="3632" y="5215"/>
                  </a:cubicBezTo>
                  <a:lnTo>
                    <a:pt x="8300" y="1858"/>
                  </a:lnTo>
                  <a:lnTo>
                    <a:pt x="8300" y="7501"/>
                  </a:lnTo>
                  <a:lnTo>
                    <a:pt x="941" y="7501"/>
                  </a:lnTo>
                  <a:cubicBezTo>
                    <a:pt x="846" y="7501"/>
                    <a:pt x="775" y="7572"/>
                    <a:pt x="775" y="7668"/>
                  </a:cubicBezTo>
                  <a:cubicBezTo>
                    <a:pt x="775" y="7751"/>
                    <a:pt x="846" y="7834"/>
                    <a:pt x="941" y="7834"/>
                  </a:cubicBezTo>
                  <a:lnTo>
                    <a:pt x="8454" y="7834"/>
                  </a:lnTo>
                  <a:cubicBezTo>
                    <a:pt x="8538" y="7834"/>
                    <a:pt x="8621" y="7751"/>
                    <a:pt x="8621" y="7668"/>
                  </a:cubicBezTo>
                  <a:lnTo>
                    <a:pt x="8621" y="1548"/>
                  </a:lnTo>
                  <a:cubicBezTo>
                    <a:pt x="8625" y="1552"/>
                    <a:pt x="8628" y="1553"/>
                    <a:pt x="8629" y="1553"/>
                  </a:cubicBezTo>
                  <a:cubicBezTo>
                    <a:pt x="8633" y="1553"/>
                    <a:pt x="8633" y="1548"/>
                    <a:pt x="8633" y="1548"/>
                  </a:cubicBezTo>
                  <a:cubicBezTo>
                    <a:pt x="8621" y="1477"/>
                    <a:pt x="8561" y="1417"/>
                    <a:pt x="8466" y="1417"/>
                  </a:cubicBezTo>
                  <a:lnTo>
                    <a:pt x="7919" y="1417"/>
                  </a:lnTo>
                  <a:lnTo>
                    <a:pt x="7919" y="167"/>
                  </a:lnTo>
                  <a:cubicBezTo>
                    <a:pt x="7919" y="72"/>
                    <a:pt x="7847" y="0"/>
                    <a:pt x="77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46" name="Google Shape;10046;p58"/>
          <p:cNvGrpSpPr/>
          <p:nvPr/>
        </p:nvGrpSpPr>
        <p:grpSpPr>
          <a:xfrm>
            <a:off x="7429366" y="3223183"/>
            <a:ext cx="334634" cy="333904"/>
            <a:chOff x="7429366" y="3223183"/>
            <a:chExt cx="334634" cy="333904"/>
          </a:xfrm>
        </p:grpSpPr>
        <p:sp>
          <p:nvSpPr>
            <p:cNvPr id="10047" name="Google Shape;10047;p58"/>
            <p:cNvSpPr/>
            <p:nvPr/>
          </p:nvSpPr>
          <p:spPr>
            <a:xfrm>
              <a:off x="7429366" y="3223183"/>
              <a:ext cx="334634" cy="333904"/>
            </a:xfrm>
            <a:custGeom>
              <a:avLst/>
              <a:gdLst/>
              <a:ahLst/>
              <a:cxnLst/>
              <a:rect l="l" t="t" r="r" b="b"/>
              <a:pathLst>
                <a:path w="10538" h="10515" extrusionOk="0">
                  <a:moveTo>
                    <a:pt x="6978" y="322"/>
                  </a:moveTo>
                  <a:cubicBezTo>
                    <a:pt x="7930" y="322"/>
                    <a:pt x="8716" y="1096"/>
                    <a:pt x="8716" y="2061"/>
                  </a:cubicBezTo>
                  <a:cubicBezTo>
                    <a:pt x="8716" y="2334"/>
                    <a:pt x="8633" y="2644"/>
                    <a:pt x="8478" y="2942"/>
                  </a:cubicBezTo>
                  <a:cubicBezTo>
                    <a:pt x="8478" y="2954"/>
                    <a:pt x="8466" y="2977"/>
                    <a:pt x="8466" y="2977"/>
                  </a:cubicBezTo>
                  <a:cubicBezTo>
                    <a:pt x="8061" y="3823"/>
                    <a:pt x="7276" y="4704"/>
                    <a:pt x="6978" y="5025"/>
                  </a:cubicBezTo>
                  <a:cubicBezTo>
                    <a:pt x="6680" y="4716"/>
                    <a:pt x="5894" y="3835"/>
                    <a:pt x="5490" y="2989"/>
                  </a:cubicBezTo>
                  <a:cubicBezTo>
                    <a:pt x="5490" y="2977"/>
                    <a:pt x="5478" y="2954"/>
                    <a:pt x="5478" y="2942"/>
                  </a:cubicBezTo>
                  <a:cubicBezTo>
                    <a:pt x="5323" y="2632"/>
                    <a:pt x="5240" y="2334"/>
                    <a:pt x="5240" y="2061"/>
                  </a:cubicBezTo>
                  <a:cubicBezTo>
                    <a:pt x="5240" y="1096"/>
                    <a:pt x="6025" y="322"/>
                    <a:pt x="6978" y="322"/>
                  </a:cubicBezTo>
                  <a:close/>
                  <a:moveTo>
                    <a:pt x="5252" y="3227"/>
                  </a:moveTo>
                  <a:cubicBezTo>
                    <a:pt x="5728" y="4192"/>
                    <a:pt x="6597" y="5121"/>
                    <a:pt x="6811" y="5335"/>
                  </a:cubicBezTo>
                  <a:lnTo>
                    <a:pt x="6811" y="5811"/>
                  </a:lnTo>
                  <a:lnTo>
                    <a:pt x="3751" y="6728"/>
                  </a:lnTo>
                  <a:lnTo>
                    <a:pt x="3751" y="3668"/>
                  </a:lnTo>
                  <a:lnTo>
                    <a:pt x="5252" y="3227"/>
                  </a:lnTo>
                  <a:close/>
                  <a:moveTo>
                    <a:pt x="8704" y="3239"/>
                  </a:moveTo>
                  <a:lnTo>
                    <a:pt x="10205" y="3668"/>
                  </a:lnTo>
                  <a:lnTo>
                    <a:pt x="10205" y="6728"/>
                  </a:lnTo>
                  <a:lnTo>
                    <a:pt x="7145" y="5811"/>
                  </a:lnTo>
                  <a:lnTo>
                    <a:pt x="7145" y="5335"/>
                  </a:lnTo>
                  <a:cubicBezTo>
                    <a:pt x="7371" y="5121"/>
                    <a:pt x="8228" y="4192"/>
                    <a:pt x="8704" y="3239"/>
                  </a:cubicBezTo>
                  <a:close/>
                  <a:moveTo>
                    <a:pt x="358" y="2763"/>
                  </a:moveTo>
                  <a:lnTo>
                    <a:pt x="3418" y="3668"/>
                  </a:lnTo>
                  <a:lnTo>
                    <a:pt x="3418" y="6728"/>
                  </a:lnTo>
                  <a:lnTo>
                    <a:pt x="2263" y="6383"/>
                  </a:lnTo>
                  <a:cubicBezTo>
                    <a:pt x="2244" y="6375"/>
                    <a:pt x="2225" y="6372"/>
                    <a:pt x="2208" y="6372"/>
                  </a:cubicBezTo>
                  <a:cubicBezTo>
                    <a:pt x="2136" y="6372"/>
                    <a:pt x="2077" y="6425"/>
                    <a:pt x="2049" y="6502"/>
                  </a:cubicBezTo>
                  <a:cubicBezTo>
                    <a:pt x="2025" y="6585"/>
                    <a:pt x="2084" y="6680"/>
                    <a:pt x="2168" y="6704"/>
                  </a:cubicBezTo>
                  <a:lnTo>
                    <a:pt x="3418" y="7085"/>
                  </a:lnTo>
                  <a:lnTo>
                    <a:pt x="3418" y="10121"/>
                  </a:lnTo>
                  <a:lnTo>
                    <a:pt x="358" y="9204"/>
                  </a:lnTo>
                  <a:lnTo>
                    <a:pt x="358" y="6168"/>
                  </a:lnTo>
                  <a:lnTo>
                    <a:pt x="1513" y="6514"/>
                  </a:lnTo>
                  <a:lnTo>
                    <a:pt x="1561" y="6514"/>
                  </a:lnTo>
                  <a:cubicBezTo>
                    <a:pt x="1632" y="6514"/>
                    <a:pt x="1692" y="6466"/>
                    <a:pt x="1727" y="6394"/>
                  </a:cubicBezTo>
                  <a:cubicBezTo>
                    <a:pt x="1751" y="6311"/>
                    <a:pt x="1692" y="6216"/>
                    <a:pt x="1608" y="6192"/>
                  </a:cubicBezTo>
                  <a:lnTo>
                    <a:pt x="358" y="5811"/>
                  </a:lnTo>
                  <a:lnTo>
                    <a:pt x="358" y="2763"/>
                  </a:lnTo>
                  <a:close/>
                  <a:moveTo>
                    <a:pt x="7145" y="6156"/>
                  </a:moveTo>
                  <a:lnTo>
                    <a:pt x="10205" y="7061"/>
                  </a:lnTo>
                  <a:lnTo>
                    <a:pt x="10205" y="10121"/>
                  </a:lnTo>
                  <a:lnTo>
                    <a:pt x="7145" y="9204"/>
                  </a:lnTo>
                  <a:lnTo>
                    <a:pt x="7145" y="7990"/>
                  </a:lnTo>
                  <a:cubicBezTo>
                    <a:pt x="7145" y="7895"/>
                    <a:pt x="7073" y="7823"/>
                    <a:pt x="6978" y="7823"/>
                  </a:cubicBezTo>
                  <a:cubicBezTo>
                    <a:pt x="6895" y="7823"/>
                    <a:pt x="6811" y="7895"/>
                    <a:pt x="6811" y="7990"/>
                  </a:cubicBezTo>
                  <a:lnTo>
                    <a:pt x="6811" y="9204"/>
                  </a:lnTo>
                  <a:lnTo>
                    <a:pt x="3751" y="10121"/>
                  </a:lnTo>
                  <a:lnTo>
                    <a:pt x="3751" y="7061"/>
                  </a:lnTo>
                  <a:lnTo>
                    <a:pt x="6811" y="6156"/>
                  </a:lnTo>
                  <a:lnTo>
                    <a:pt x="6811" y="7311"/>
                  </a:lnTo>
                  <a:cubicBezTo>
                    <a:pt x="6811" y="7407"/>
                    <a:pt x="6895" y="7478"/>
                    <a:pt x="6978" y="7478"/>
                  </a:cubicBezTo>
                  <a:cubicBezTo>
                    <a:pt x="7073" y="7478"/>
                    <a:pt x="7145" y="7407"/>
                    <a:pt x="7145" y="7311"/>
                  </a:cubicBezTo>
                  <a:lnTo>
                    <a:pt x="7145" y="6156"/>
                  </a:lnTo>
                  <a:close/>
                  <a:moveTo>
                    <a:pt x="6966" y="1"/>
                  </a:moveTo>
                  <a:cubicBezTo>
                    <a:pt x="5823" y="1"/>
                    <a:pt x="4894" y="918"/>
                    <a:pt x="4894" y="2061"/>
                  </a:cubicBezTo>
                  <a:cubicBezTo>
                    <a:pt x="4894" y="2334"/>
                    <a:pt x="4966" y="2632"/>
                    <a:pt x="5085" y="2930"/>
                  </a:cubicBezTo>
                  <a:lnTo>
                    <a:pt x="3573" y="3370"/>
                  </a:lnTo>
                  <a:lnTo>
                    <a:pt x="215" y="2382"/>
                  </a:lnTo>
                  <a:cubicBezTo>
                    <a:pt x="205" y="2375"/>
                    <a:pt x="192" y="2372"/>
                    <a:pt x="179" y="2372"/>
                  </a:cubicBezTo>
                  <a:cubicBezTo>
                    <a:pt x="146" y="2372"/>
                    <a:pt x="106" y="2389"/>
                    <a:pt x="72" y="2406"/>
                  </a:cubicBezTo>
                  <a:cubicBezTo>
                    <a:pt x="25" y="2442"/>
                    <a:pt x="1" y="2477"/>
                    <a:pt x="1" y="2537"/>
                  </a:cubicBezTo>
                  <a:lnTo>
                    <a:pt x="1" y="5954"/>
                  </a:lnTo>
                  <a:lnTo>
                    <a:pt x="1" y="9335"/>
                  </a:lnTo>
                  <a:cubicBezTo>
                    <a:pt x="1" y="9419"/>
                    <a:pt x="37" y="9478"/>
                    <a:pt x="120" y="9502"/>
                  </a:cubicBezTo>
                  <a:lnTo>
                    <a:pt x="3513" y="10514"/>
                  </a:lnTo>
                  <a:lnTo>
                    <a:pt x="3573" y="10514"/>
                  </a:lnTo>
                  <a:lnTo>
                    <a:pt x="6847" y="9550"/>
                  </a:lnTo>
                  <a:cubicBezTo>
                    <a:pt x="6859" y="9562"/>
                    <a:pt x="6883" y="9562"/>
                    <a:pt x="6918" y="9562"/>
                  </a:cubicBezTo>
                  <a:cubicBezTo>
                    <a:pt x="6942" y="9562"/>
                    <a:pt x="6966" y="9562"/>
                    <a:pt x="6990" y="9550"/>
                  </a:cubicBezTo>
                  <a:lnTo>
                    <a:pt x="10264" y="10514"/>
                  </a:lnTo>
                  <a:lnTo>
                    <a:pt x="10312" y="10514"/>
                  </a:lnTo>
                  <a:cubicBezTo>
                    <a:pt x="10335" y="10514"/>
                    <a:pt x="10383" y="10502"/>
                    <a:pt x="10419" y="10490"/>
                  </a:cubicBezTo>
                  <a:cubicBezTo>
                    <a:pt x="10455" y="10454"/>
                    <a:pt x="10490" y="10407"/>
                    <a:pt x="10490" y="10347"/>
                  </a:cubicBezTo>
                  <a:lnTo>
                    <a:pt x="10538" y="6942"/>
                  </a:lnTo>
                  <a:lnTo>
                    <a:pt x="10538" y="3549"/>
                  </a:lnTo>
                  <a:cubicBezTo>
                    <a:pt x="10538" y="3477"/>
                    <a:pt x="10490" y="3418"/>
                    <a:pt x="10419" y="3394"/>
                  </a:cubicBezTo>
                  <a:lnTo>
                    <a:pt x="8835" y="2930"/>
                  </a:lnTo>
                  <a:cubicBezTo>
                    <a:pt x="8954" y="2632"/>
                    <a:pt x="9038" y="2334"/>
                    <a:pt x="9038" y="2061"/>
                  </a:cubicBezTo>
                  <a:cubicBezTo>
                    <a:pt x="9038" y="918"/>
                    <a:pt x="8109" y="1"/>
                    <a:pt x="6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8" name="Google Shape;10048;p58"/>
            <p:cNvSpPr/>
            <p:nvPr/>
          </p:nvSpPr>
          <p:spPr>
            <a:xfrm>
              <a:off x="7613514" y="3251541"/>
              <a:ext cx="74878" cy="74529"/>
            </a:xfrm>
            <a:custGeom>
              <a:avLst/>
              <a:gdLst/>
              <a:ahLst/>
              <a:cxnLst/>
              <a:rect l="l" t="t" r="r" b="b"/>
              <a:pathLst>
                <a:path w="2358" h="2347" extrusionOk="0">
                  <a:moveTo>
                    <a:pt x="1179" y="322"/>
                  </a:moveTo>
                  <a:cubicBezTo>
                    <a:pt x="1643" y="322"/>
                    <a:pt x="2012" y="691"/>
                    <a:pt x="2012" y="1156"/>
                  </a:cubicBezTo>
                  <a:cubicBezTo>
                    <a:pt x="2012" y="1620"/>
                    <a:pt x="1643" y="1989"/>
                    <a:pt x="1179" y="1989"/>
                  </a:cubicBezTo>
                  <a:cubicBezTo>
                    <a:pt x="715" y="1989"/>
                    <a:pt x="345" y="1620"/>
                    <a:pt x="345" y="1156"/>
                  </a:cubicBezTo>
                  <a:cubicBezTo>
                    <a:pt x="334" y="703"/>
                    <a:pt x="715" y="322"/>
                    <a:pt x="1179" y="322"/>
                  </a:cubicBezTo>
                  <a:close/>
                  <a:moveTo>
                    <a:pt x="1179" y="1"/>
                  </a:moveTo>
                  <a:cubicBezTo>
                    <a:pt x="524" y="1"/>
                    <a:pt x="0" y="513"/>
                    <a:pt x="0" y="1168"/>
                  </a:cubicBezTo>
                  <a:cubicBezTo>
                    <a:pt x="0" y="1811"/>
                    <a:pt x="524" y="2346"/>
                    <a:pt x="1179" y="2346"/>
                  </a:cubicBezTo>
                  <a:cubicBezTo>
                    <a:pt x="1834" y="2346"/>
                    <a:pt x="2358" y="1822"/>
                    <a:pt x="2358" y="1168"/>
                  </a:cubicBezTo>
                  <a:cubicBezTo>
                    <a:pt x="2358" y="513"/>
                    <a:pt x="183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49" name="Google Shape;10049;p58"/>
          <p:cNvSpPr/>
          <p:nvPr/>
        </p:nvSpPr>
        <p:spPr>
          <a:xfrm>
            <a:off x="8079296" y="3207306"/>
            <a:ext cx="229906" cy="364135"/>
          </a:xfrm>
          <a:custGeom>
            <a:avLst/>
            <a:gdLst/>
            <a:ahLst/>
            <a:cxnLst/>
            <a:rect l="l" t="t" r="r" b="b"/>
            <a:pathLst>
              <a:path w="7240" h="11467" extrusionOk="0">
                <a:moveTo>
                  <a:pt x="1048" y="346"/>
                </a:moveTo>
                <a:cubicBezTo>
                  <a:pt x="1156" y="346"/>
                  <a:pt x="1239" y="441"/>
                  <a:pt x="1239" y="537"/>
                </a:cubicBezTo>
                <a:cubicBezTo>
                  <a:pt x="1239" y="644"/>
                  <a:pt x="1156" y="727"/>
                  <a:pt x="1048" y="727"/>
                </a:cubicBezTo>
                <a:cubicBezTo>
                  <a:pt x="941" y="727"/>
                  <a:pt x="858" y="644"/>
                  <a:pt x="858" y="537"/>
                </a:cubicBezTo>
                <a:cubicBezTo>
                  <a:pt x="858" y="429"/>
                  <a:pt x="941" y="346"/>
                  <a:pt x="1048" y="346"/>
                </a:cubicBezTo>
                <a:close/>
                <a:moveTo>
                  <a:pt x="3549" y="1203"/>
                </a:moveTo>
                <a:lnTo>
                  <a:pt x="3906" y="1453"/>
                </a:lnTo>
                <a:lnTo>
                  <a:pt x="3549" y="1453"/>
                </a:lnTo>
                <a:lnTo>
                  <a:pt x="3549" y="1203"/>
                </a:lnTo>
                <a:close/>
                <a:moveTo>
                  <a:pt x="6883" y="1060"/>
                </a:moveTo>
                <a:lnTo>
                  <a:pt x="6883" y="1072"/>
                </a:lnTo>
                <a:lnTo>
                  <a:pt x="6097" y="2799"/>
                </a:lnTo>
                <a:cubicBezTo>
                  <a:pt x="6085" y="2846"/>
                  <a:pt x="6085" y="2894"/>
                  <a:pt x="6097" y="2942"/>
                </a:cubicBezTo>
                <a:lnTo>
                  <a:pt x="6883" y="4680"/>
                </a:lnTo>
                <a:lnTo>
                  <a:pt x="4620" y="4680"/>
                </a:lnTo>
                <a:lnTo>
                  <a:pt x="4620" y="1608"/>
                </a:lnTo>
                <a:cubicBezTo>
                  <a:pt x="4620" y="1549"/>
                  <a:pt x="4597" y="1501"/>
                  <a:pt x="4549" y="1477"/>
                </a:cubicBezTo>
                <a:lnTo>
                  <a:pt x="3942" y="1060"/>
                </a:lnTo>
                <a:close/>
                <a:moveTo>
                  <a:pt x="6883" y="4680"/>
                </a:moveTo>
                <a:cubicBezTo>
                  <a:pt x="6883" y="4686"/>
                  <a:pt x="6880" y="4689"/>
                  <a:pt x="6878" y="4689"/>
                </a:cubicBezTo>
                <a:cubicBezTo>
                  <a:pt x="6877" y="4689"/>
                  <a:pt x="6877" y="4686"/>
                  <a:pt x="6883" y="4680"/>
                </a:cubicBezTo>
                <a:close/>
                <a:moveTo>
                  <a:pt x="4299" y="1787"/>
                </a:moveTo>
                <a:lnTo>
                  <a:pt x="4299" y="5394"/>
                </a:lnTo>
                <a:lnTo>
                  <a:pt x="1941" y="5406"/>
                </a:lnTo>
                <a:lnTo>
                  <a:pt x="1941" y="2692"/>
                </a:lnTo>
                <a:cubicBezTo>
                  <a:pt x="1941" y="2608"/>
                  <a:pt x="1870" y="2537"/>
                  <a:pt x="1787" y="2537"/>
                </a:cubicBezTo>
                <a:cubicBezTo>
                  <a:pt x="1691" y="2537"/>
                  <a:pt x="1620" y="2608"/>
                  <a:pt x="1620" y="2692"/>
                </a:cubicBezTo>
                <a:lnTo>
                  <a:pt x="1620" y="5406"/>
                </a:lnTo>
                <a:lnTo>
                  <a:pt x="1227" y="5406"/>
                </a:lnTo>
                <a:lnTo>
                  <a:pt x="1227" y="1787"/>
                </a:lnTo>
                <a:lnTo>
                  <a:pt x="1620" y="1787"/>
                </a:lnTo>
                <a:lnTo>
                  <a:pt x="1620" y="1989"/>
                </a:lnTo>
                <a:cubicBezTo>
                  <a:pt x="1620" y="2072"/>
                  <a:pt x="1691" y="2144"/>
                  <a:pt x="1787" y="2144"/>
                </a:cubicBezTo>
                <a:cubicBezTo>
                  <a:pt x="1870" y="2144"/>
                  <a:pt x="1941" y="2072"/>
                  <a:pt x="1941" y="1989"/>
                </a:cubicBezTo>
                <a:lnTo>
                  <a:pt x="1941" y="1787"/>
                </a:lnTo>
                <a:close/>
                <a:moveTo>
                  <a:pt x="1584" y="10764"/>
                </a:moveTo>
                <a:cubicBezTo>
                  <a:pt x="1691" y="10764"/>
                  <a:pt x="1787" y="10859"/>
                  <a:pt x="1787" y="10954"/>
                </a:cubicBezTo>
                <a:lnTo>
                  <a:pt x="1787" y="11145"/>
                </a:lnTo>
                <a:lnTo>
                  <a:pt x="322" y="11145"/>
                </a:lnTo>
                <a:lnTo>
                  <a:pt x="322" y="10954"/>
                </a:lnTo>
                <a:cubicBezTo>
                  <a:pt x="322" y="10847"/>
                  <a:pt x="417" y="10764"/>
                  <a:pt x="513" y="10764"/>
                </a:cubicBezTo>
                <a:close/>
                <a:moveTo>
                  <a:pt x="1048" y="1"/>
                </a:moveTo>
                <a:cubicBezTo>
                  <a:pt x="775" y="1"/>
                  <a:pt x="536" y="239"/>
                  <a:pt x="536" y="525"/>
                </a:cubicBezTo>
                <a:cubicBezTo>
                  <a:pt x="536" y="763"/>
                  <a:pt x="679" y="953"/>
                  <a:pt x="894" y="1037"/>
                </a:cubicBezTo>
                <a:lnTo>
                  <a:pt x="894" y="10419"/>
                </a:lnTo>
                <a:lnTo>
                  <a:pt x="513" y="10419"/>
                </a:lnTo>
                <a:cubicBezTo>
                  <a:pt x="215" y="10419"/>
                  <a:pt x="1" y="10657"/>
                  <a:pt x="1" y="10943"/>
                </a:cubicBezTo>
                <a:lnTo>
                  <a:pt x="1" y="11300"/>
                </a:lnTo>
                <a:cubicBezTo>
                  <a:pt x="1" y="11395"/>
                  <a:pt x="72" y="11466"/>
                  <a:pt x="155" y="11466"/>
                </a:cubicBezTo>
                <a:lnTo>
                  <a:pt x="1965" y="11466"/>
                </a:lnTo>
                <a:cubicBezTo>
                  <a:pt x="2049" y="11466"/>
                  <a:pt x="2120" y="11395"/>
                  <a:pt x="2120" y="11300"/>
                </a:cubicBezTo>
                <a:lnTo>
                  <a:pt x="2120" y="10943"/>
                </a:lnTo>
                <a:cubicBezTo>
                  <a:pt x="2120" y="10645"/>
                  <a:pt x="1882" y="10419"/>
                  <a:pt x="1608" y="10419"/>
                </a:cubicBezTo>
                <a:lnTo>
                  <a:pt x="1227" y="10419"/>
                </a:lnTo>
                <a:lnTo>
                  <a:pt x="1227" y="5740"/>
                </a:lnTo>
                <a:lnTo>
                  <a:pt x="4299" y="5740"/>
                </a:lnTo>
                <a:cubicBezTo>
                  <a:pt x="4489" y="5740"/>
                  <a:pt x="4632" y="5585"/>
                  <a:pt x="4632" y="5394"/>
                </a:cubicBezTo>
                <a:lnTo>
                  <a:pt x="4632" y="5025"/>
                </a:lnTo>
                <a:lnTo>
                  <a:pt x="6883" y="5025"/>
                </a:lnTo>
                <a:cubicBezTo>
                  <a:pt x="7002" y="5025"/>
                  <a:pt x="7109" y="4966"/>
                  <a:pt x="7180" y="4859"/>
                </a:cubicBezTo>
                <a:cubicBezTo>
                  <a:pt x="7228" y="4763"/>
                  <a:pt x="7240" y="4632"/>
                  <a:pt x="7180" y="4525"/>
                </a:cubicBezTo>
                <a:lnTo>
                  <a:pt x="6442" y="2882"/>
                </a:lnTo>
                <a:lnTo>
                  <a:pt x="7180" y="1227"/>
                </a:lnTo>
                <a:cubicBezTo>
                  <a:pt x="7228" y="1120"/>
                  <a:pt x="7228" y="989"/>
                  <a:pt x="7156" y="894"/>
                </a:cubicBezTo>
                <a:cubicBezTo>
                  <a:pt x="7097" y="787"/>
                  <a:pt x="6978" y="727"/>
                  <a:pt x="6859" y="727"/>
                </a:cubicBezTo>
                <a:lnTo>
                  <a:pt x="3358" y="727"/>
                </a:lnTo>
                <a:cubicBezTo>
                  <a:pt x="3275" y="727"/>
                  <a:pt x="3192" y="810"/>
                  <a:pt x="3192" y="894"/>
                </a:cubicBezTo>
                <a:lnTo>
                  <a:pt x="3192" y="1453"/>
                </a:lnTo>
                <a:lnTo>
                  <a:pt x="1215" y="1453"/>
                </a:lnTo>
                <a:lnTo>
                  <a:pt x="1215" y="1037"/>
                </a:lnTo>
                <a:cubicBezTo>
                  <a:pt x="1429" y="953"/>
                  <a:pt x="1572" y="763"/>
                  <a:pt x="1572" y="525"/>
                </a:cubicBezTo>
                <a:cubicBezTo>
                  <a:pt x="1572" y="227"/>
                  <a:pt x="1334" y="1"/>
                  <a:pt x="1048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50" name="Google Shape;10050;p58"/>
          <p:cNvGrpSpPr/>
          <p:nvPr/>
        </p:nvGrpSpPr>
        <p:grpSpPr>
          <a:xfrm>
            <a:off x="5216456" y="3725484"/>
            <a:ext cx="356196" cy="265631"/>
            <a:chOff x="5216456" y="3725484"/>
            <a:chExt cx="356196" cy="265631"/>
          </a:xfrm>
        </p:grpSpPr>
        <p:sp>
          <p:nvSpPr>
            <p:cNvPr id="10051" name="Google Shape;10051;p58"/>
            <p:cNvSpPr/>
            <p:nvPr/>
          </p:nvSpPr>
          <p:spPr>
            <a:xfrm>
              <a:off x="5216456" y="3814335"/>
              <a:ext cx="296465" cy="176780"/>
            </a:xfrm>
            <a:custGeom>
              <a:avLst/>
              <a:gdLst/>
              <a:ahLst/>
              <a:cxnLst/>
              <a:rect l="l" t="t" r="r" b="b"/>
              <a:pathLst>
                <a:path w="9336" h="5567" extrusionOk="0">
                  <a:moveTo>
                    <a:pt x="1876" y="0"/>
                  </a:moveTo>
                  <a:cubicBezTo>
                    <a:pt x="1831" y="0"/>
                    <a:pt x="1787" y="18"/>
                    <a:pt x="1751" y="54"/>
                  </a:cubicBezTo>
                  <a:lnTo>
                    <a:pt x="84" y="1721"/>
                  </a:lnTo>
                  <a:cubicBezTo>
                    <a:pt x="1" y="1804"/>
                    <a:pt x="1" y="1899"/>
                    <a:pt x="84" y="1983"/>
                  </a:cubicBezTo>
                  <a:lnTo>
                    <a:pt x="3263" y="5162"/>
                  </a:lnTo>
                  <a:cubicBezTo>
                    <a:pt x="3513" y="5412"/>
                    <a:pt x="3858" y="5566"/>
                    <a:pt x="4215" y="5566"/>
                  </a:cubicBezTo>
                  <a:cubicBezTo>
                    <a:pt x="4573" y="5566"/>
                    <a:pt x="4918" y="5435"/>
                    <a:pt x="5168" y="5162"/>
                  </a:cubicBezTo>
                  <a:lnTo>
                    <a:pt x="9252" y="1090"/>
                  </a:lnTo>
                  <a:cubicBezTo>
                    <a:pt x="9335" y="1006"/>
                    <a:pt x="9335" y="887"/>
                    <a:pt x="9276" y="828"/>
                  </a:cubicBezTo>
                  <a:cubicBezTo>
                    <a:pt x="9240" y="792"/>
                    <a:pt x="9195" y="774"/>
                    <a:pt x="9151" y="774"/>
                  </a:cubicBezTo>
                  <a:cubicBezTo>
                    <a:pt x="9106" y="774"/>
                    <a:pt x="9061" y="792"/>
                    <a:pt x="9026" y="828"/>
                  </a:cubicBezTo>
                  <a:lnTo>
                    <a:pt x="4942" y="4912"/>
                  </a:lnTo>
                  <a:cubicBezTo>
                    <a:pt x="4751" y="5102"/>
                    <a:pt x="4501" y="5209"/>
                    <a:pt x="4227" y="5209"/>
                  </a:cubicBezTo>
                  <a:cubicBezTo>
                    <a:pt x="3965" y="5209"/>
                    <a:pt x="3715" y="5102"/>
                    <a:pt x="3513" y="4912"/>
                  </a:cubicBezTo>
                  <a:lnTo>
                    <a:pt x="453" y="1840"/>
                  </a:lnTo>
                  <a:lnTo>
                    <a:pt x="1870" y="435"/>
                  </a:lnTo>
                  <a:lnTo>
                    <a:pt x="2370" y="935"/>
                  </a:lnTo>
                  <a:cubicBezTo>
                    <a:pt x="2406" y="971"/>
                    <a:pt x="2450" y="988"/>
                    <a:pt x="2495" y="988"/>
                  </a:cubicBezTo>
                  <a:cubicBezTo>
                    <a:pt x="2540" y="988"/>
                    <a:pt x="2584" y="971"/>
                    <a:pt x="2620" y="935"/>
                  </a:cubicBezTo>
                  <a:cubicBezTo>
                    <a:pt x="2703" y="863"/>
                    <a:pt x="2703" y="756"/>
                    <a:pt x="2620" y="685"/>
                  </a:cubicBezTo>
                  <a:lnTo>
                    <a:pt x="2001" y="54"/>
                  </a:lnTo>
                  <a:cubicBezTo>
                    <a:pt x="1965" y="18"/>
                    <a:pt x="1920" y="0"/>
                    <a:pt x="18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2" name="Google Shape;10052;p58"/>
            <p:cNvSpPr/>
            <p:nvPr/>
          </p:nvSpPr>
          <p:spPr>
            <a:xfrm>
              <a:off x="5304925" y="3725484"/>
              <a:ext cx="267726" cy="170715"/>
            </a:xfrm>
            <a:custGeom>
              <a:avLst/>
              <a:gdLst/>
              <a:ahLst/>
              <a:cxnLst/>
              <a:rect l="l" t="t" r="r" b="b"/>
              <a:pathLst>
                <a:path w="8431" h="5376" extrusionOk="0">
                  <a:moveTo>
                    <a:pt x="6585" y="0"/>
                  </a:moveTo>
                  <a:cubicBezTo>
                    <a:pt x="6540" y="0"/>
                    <a:pt x="6495" y="18"/>
                    <a:pt x="6454" y="54"/>
                  </a:cubicBezTo>
                  <a:lnTo>
                    <a:pt x="1548" y="4971"/>
                  </a:lnTo>
                  <a:cubicBezTo>
                    <a:pt x="1513" y="4995"/>
                    <a:pt x="1477" y="5007"/>
                    <a:pt x="1429" y="5007"/>
                  </a:cubicBezTo>
                  <a:cubicBezTo>
                    <a:pt x="1382" y="5007"/>
                    <a:pt x="1346" y="4995"/>
                    <a:pt x="1310" y="4971"/>
                  </a:cubicBezTo>
                  <a:lnTo>
                    <a:pt x="334" y="3983"/>
                  </a:lnTo>
                  <a:cubicBezTo>
                    <a:pt x="292" y="3947"/>
                    <a:pt x="248" y="3929"/>
                    <a:pt x="203" y="3929"/>
                  </a:cubicBezTo>
                  <a:cubicBezTo>
                    <a:pt x="158" y="3929"/>
                    <a:pt x="114" y="3947"/>
                    <a:pt x="72" y="3983"/>
                  </a:cubicBezTo>
                  <a:cubicBezTo>
                    <a:pt x="1" y="4054"/>
                    <a:pt x="1" y="4161"/>
                    <a:pt x="72" y="4245"/>
                  </a:cubicBezTo>
                  <a:lnTo>
                    <a:pt x="1060" y="5221"/>
                  </a:lnTo>
                  <a:cubicBezTo>
                    <a:pt x="1156" y="5328"/>
                    <a:pt x="1275" y="5376"/>
                    <a:pt x="1417" y="5376"/>
                  </a:cubicBezTo>
                  <a:cubicBezTo>
                    <a:pt x="1548" y="5376"/>
                    <a:pt x="1679" y="5316"/>
                    <a:pt x="1775" y="5221"/>
                  </a:cubicBezTo>
                  <a:lnTo>
                    <a:pt x="6549" y="447"/>
                  </a:lnTo>
                  <a:lnTo>
                    <a:pt x="7966" y="1852"/>
                  </a:lnTo>
                  <a:lnTo>
                    <a:pt x="6704" y="3126"/>
                  </a:lnTo>
                  <a:cubicBezTo>
                    <a:pt x="6621" y="3197"/>
                    <a:pt x="6621" y="3304"/>
                    <a:pt x="6704" y="3376"/>
                  </a:cubicBezTo>
                  <a:cubicBezTo>
                    <a:pt x="6740" y="3411"/>
                    <a:pt x="6784" y="3429"/>
                    <a:pt x="6829" y="3429"/>
                  </a:cubicBezTo>
                  <a:cubicBezTo>
                    <a:pt x="6874" y="3429"/>
                    <a:pt x="6918" y="3411"/>
                    <a:pt x="6954" y="3376"/>
                  </a:cubicBezTo>
                  <a:lnTo>
                    <a:pt x="8347" y="1983"/>
                  </a:lnTo>
                  <a:cubicBezTo>
                    <a:pt x="8383" y="1947"/>
                    <a:pt x="8395" y="1899"/>
                    <a:pt x="8395" y="1864"/>
                  </a:cubicBezTo>
                  <a:cubicBezTo>
                    <a:pt x="8430" y="1816"/>
                    <a:pt x="8406" y="1768"/>
                    <a:pt x="8383" y="1721"/>
                  </a:cubicBezTo>
                  <a:lnTo>
                    <a:pt x="6716" y="54"/>
                  </a:lnTo>
                  <a:cubicBezTo>
                    <a:pt x="6674" y="18"/>
                    <a:pt x="6629" y="0"/>
                    <a:pt x="6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53" name="Google Shape;10053;p58"/>
          <p:cNvGrpSpPr/>
          <p:nvPr/>
        </p:nvGrpSpPr>
        <p:grpSpPr>
          <a:xfrm>
            <a:off x="6849393" y="3733994"/>
            <a:ext cx="355053" cy="248038"/>
            <a:chOff x="6849393" y="3733994"/>
            <a:chExt cx="355053" cy="248038"/>
          </a:xfrm>
        </p:grpSpPr>
        <p:sp>
          <p:nvSpPr>
            <p:cNvPr id="10054" name="Google Shape;10054;p58"/>
            <p:cNvSpPr/>
            <p:nvPr/>
          </p:nvSpPr>
          <p:spPr>
            <a:xfrm>
              <a:off x="6849393" y="3733994"/>
              <a:ext cx="355053" cy="248038"/>
            </a:xfrm>
            <a:custGeom>
              <a:avLst/>
              <a:gdLst/>
              <a:ahLst/>
              <a:cxnLst/>
              <a:rect l="l" t="t" r="r" b="b"/>
              <a:pathLst>
                <a:path w="11181" h="7811" extrusionOk="0">
                  <a:moveTo>
                    <a:pt x="10800" y="357"/>
                  </a:moveTo>
                  <a:cubicBezTo>
                    <a:pt x="10800" y="357"/>
                    <a:pt x="10823" y="357"/>
                    <a:pt x="10823" y="369"/>
                  </a:cubicBezTo>
                  <a:lnTo>
                    <a:pt x="10823" y="5227"/>
                  </a:lnTo>
                  <a:lnTo>
                    <a:pt x="346" y="5239"/>
                  </a:lnTo>
                  <a:cubicBezTo>
                    <a:pt x="346" y="5239"/>
                    <a:pt x="334" y="5239"/>
                    <a:pt x="334" y="5227"/>
                  </a:cubicBezTo>
                  <a:lnTo>
                    <a:pt x="334" y="369"/>
                  </a:lnTo>
                  <a:cubicBezTo>
                    <a:pt x="334" y="369"/>
                    <a:pt x="334" y="357"/>
                    <a:pt x="346" y="357"/>
                  </a:cubicBezTo>
                  <a:close/>
                  <a:moveTo>
                    <a:pt x="10835" y="5572"/>
                  </a:moveTo>
                  <a:lnTo>
                    <a:pt x="10823" y="5977"/>
                  </a:lnTo>
                  <a:lnTo>
                    <a:pt x="10252" y="5977"/>
                  </a:lnTo>
                  <a:cubicBezTo>
                    <a:pt x="10169" y="5977"/>
                    <a:pt x="10073" y="6060"/>
                    <a:pt x="10073" y="6156"/>
                  </a:cubicBezTo>
                  <a:cubicBezTo>
                    <a:pt x="10073" y="6263"/>
                    <a:pt x="10157" y="6334"/>
                    <a:pt x="10252" y="6334"/>
                  </a:cubicBezTo>
                  <a:lnTo>
                    <a:pt x="10823" y="6334"/>
                  </a:lnTo>
                  <a:lnTo>
                    <a:pt x="10823" y="6739"/>
                  </a:lnTo>
                  <a:lnTo>
                    <a:pt x="8014" y="6739"/>
                  </a:lnTo>
                  <a:cubicBezTo>
                    <a:pt x="7918" y="6739"/>
                    <a:pt x="7823" y="6811"/>
                    <a:pt x="7823" y="6918"/>
                  </a:cubicBezTo>
                  <a:cubicBezTo>
                    <a:pt x="7823" y="7013"/>
                    <a:pt x="7906" y="7096"/>
                    <a:pt x="8014" y="7096"/>
                  </a:cubicBezTo>
                  <a:lnTo>
                    <a:pt x="10823" y="7096"/>
                  </a:lnTo>
                  <a:lnTo>
                    <a:pt x="10823" y="7489"/>
                  </a:lnTo>
                  <a:cubicBezTo>
                    <a:pt x="10823" y="7489"/>
                    <a:pt x="10823" y="7501"/>
                    <a:pt x="10812" y="7501"/>
                  </a:cubicBezTo>
                  <a:lnTo>
                    <a:pt x="358" y="7501"/>
                  </a:lnTo>
                  <a:cubicBezTo>
                    <a:pt x="358" y="7501"/>
                    <a:pt x="346" y="7501"/>
                    <a:pt x="346" y="7489"/>
                  </a:cubicBezTo>
                  <a:lnTo>
                    <a:pt x="346" y="7096"/>
                  </a:lnTo>
                  <a:lnTo>
                    <a:pt x="7263" y="7096"/>
                  </a:lnTo>
                  <a:cubicBezTo>
                    <a:pt x="7359" y="7096"/>
                    <a:pt x="7442" y="7025"/>
                    <a:pt x="7442" y="6918"/>
                  </a:cubicBezTo>
                  <a:cubicBezTo>
                    <a:pt x="7442" y="6834"/>
                    <a:pt x="7371" y="6739"/>
                    <a:pt x="7263" y="6739"/>
                  </a:cubicBezTo>
                  <a:lnTo>
                    <a:pt x="346" y="6739"/>
                  </a:lnTo>
                  <a:lnTo>
                    <a:pt x="346" y="6334"/>
                  </a:lnTo>
                  <a:lnTo>
                    <a:pt x="9514" y="6334"/>
                  </a:lnTo>
                  <a:cubicBezTo>
                    <a:pt x="9597" y="6334"/>
                    <a:pt x="9692" y="6263"/>
                    <a:pt x="9692" y="6156"/>
                  </a:cubicBezTo>
                  <a:cubicBezTo>
                    <a:pt x="9692" y="6072"/>
                    <a:pt x="9621" y="5977"/>
                    <a:pt x="9514" y="5977"/>
                  </a:cubicBezTo>
                  <a:lnTo>
                    <a:pt x="346" y="5977"/>
                  </a:lnTo>
                  <a:lnTo>
                    <a:pt x="346" y="5572"/>
                  </a:lnTo>
                  <a:close/>
                  <a:moveTo>
                    <a:pt x="358" y="0"/>
                  </a:moveTo>
                  <a:cubicBezTo>
                    <a:pt x="167" y="0"/>
                    <a:pt x="1" y="167"/>
                    <a:pt x="1" y="357"/>
                  </a:cubicBezTo>
                  <a:lnTo>
                    <a:pt x="1" y="7453"/>
                  </a:lnTo>
                  <a:cubicBezTo>
                    <a:pt x="1" y="7644"/>
                    <a:pt x="167" y="7811"/>
                    <a:pt x="358" y="7811"/>
                  </a:cubicBezTo>
                  <a:lnTo>
                    <a:pt x="10823" y="7811"/>
                  </a:lnTo>
                  <a:cubicBezTo>
                    <a:pt x="11014" y="7811"/>
                    <a:pt x="11181" y="7644"/>
                    <a:pt x="11181" y="7453"/>
                  </a:cubicBezTo>
                  <a:lnTo>
                    <a:pt x="11181" y="357"/>
                  </a:lnTo>
                  <a:cubicBezTo>
                    <a:pt x="11181" y="167"/>
                    <a:pt x="11014" y="0"/>
                    <a:pt x="10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5" name="Google Shape;10055;p58"/>
            <p:cNvSpPr/>
            <p:nvPr/>
          </p:nvSpPr>
          <p:spPr>
            <a:xfrm>
              <a:off x="7080411" y="3758192"/>
              <a:ext cx="100219" cy="129687"/>
            </a:xfrm>
            <a:custGeom>
              <a:avLst/>
              <a:gdLst/>
              <a:ahLst/>
              <a:cxnLst/>
              <a:rect l="l" t="t" r="r" b="b"/>
              <a:pathLst>
                <a:path w="3156" h="4084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74"/>
                    <a:pt x="84" y="357"/>
                    <a:pt x="179" y="357"/>
                  </a:cubicBezTo>
                  <a:lnTo>
                    <a:pt x="2072" y="357"/>
                  </a:lnTo>
                  <a:cubicBezTo>
                    <a:pt x="2144" y="726"/>
                    <a:pt x="2429" y="1012"/>
                    <a:pt x="2798" y="1084"/>
                  </a:cubicBezTo>
                  <a:lnTo>
                    <a:pt x="2798" y="3001"/>
                  </a:lnTo>
                  <a:cubicBezTo>
                    <a:pt x="2429" y="3072"/>
                    <a:pt x="2144" y="3358"/>
                    <a:pt x="2072" y="3727"/>
                  </a:cubicBezTo>
                  <a:lnTo>
                    <a:pt x="179" y="3727"/>
                  </a:lnTo>
                  <a:cubicBezTo>
                    <a:pt x="96" y="3727"/>
                    <a:pt x="0" y="3810"/>
                    <a:pt x="0" y="3905"/>
                  </a:cubicBezTo>
                  <a:cubicBezTo>
                    <a:pt x="0" y="4013"/>
                    <a:pt x="84" y="4084"/>
                    <a:pt x="179" y="4084"/>
                  </a:cubicBezTo>
                  <a:lnTo>
                    <a:pt x="2239" y="4084"/>
                  </a:lnTo>
                  <a:cubicBezTo>
                    <a:pt x="2322" y="4084"/>
                    <a:pt x="2417" y="4013"/>
                    <a:pt x="2417" y="3905"/>
                  </a:cubicBezTo>
                  <a:cubicBezTo>
                    <a:pt x="2417" y="3596"/>
                    <a:pt x="2667" y="3346"/>
                    <a:pt x="2977" y="3346"/>
                  </a:cubicBezTo>
                  <a:cubicBezTo>
                    <a:pt x="3072" y="3346"/>
                    <a:pt x="3156" y="3274"/>
                    <a:pt x="3156" y="3167"/>
                  </a:cubicBezTo>
                  <a:lnTo>
                    <a:pt x="3156" y="917"/>
                  </a:lnTo>
                  <a:cubicBezTo>
                    <a:pt x="3156" y="810"/>
                    <a:pt x="3072" y="738"/>
                    <a:pt x="2977" y="738"/>
                  </a:cubicBezTo>
                  <a:cubicBezTo>
                    <a:pt x="2667" y="738"/>
                    <a:pt x="2417" y="488"/>
                    <a:pt x="2417" y="179"/>
                  </a:cubicBezTo>
                  <a:cubicBezTo>
                    <a:pt x="2417" y="83"/>
                    <a:pt x="2346" y="0"/>
                    <a:pt x="2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6" name="Google Shape;10056;p58"/>
            <p:cNvSpPr/>
            <p:nvPr/>
          </p:nvSpPr>
          <p:spPr>
            <a:xfrm>
              <a:off x="6873209" y="3757811"/>
              <a:ext cx="100219" cy="130068"/>
            </a:xfrm>
            <a:custGeom>
              <a:avLst/>
              <a:gdLst/>
              <a:ahLst/>
              <a:cxnLst/>
              <a:rect l="l" t="t" r="r" b="b"/>
              <a:pathLst>
                <a:path w="3156" h="4096" extrusionOk="0">
                  <a:moveTo>
                    <a:pt x="918" y="0"/>
                  </a:moveTo>
                  <a:cubicBezTo>
                    <a:pt x="834" y="0"/>
                    <a:pt x="739" y="84"/>
                    <a:pt x="739" y="191"/>
                  </a:cubicBezTo>
                  <a:cubicBezTo>
                    <a:pt x="739" y="500"/>
                    <a:pt x="489" y="750"/>
                    <a:pt x="179" y="750"/>
                  </a:cubicBezTo>
                  <a:cubicBezTo>
                    <a:pt x="84" y="750"/>
                    <a:pt x="1" y="822"/>
                    <a:pt x="1" y="929"/>
                  </a:cubicBezTo>
                  <a:lnTo>
                    <a:pt x="1" y="3179"/>
                  </a:lnTo>
                  <a:cubicBezTo>
                    <a:pt x="1" y="3263"/>
                    <a:pt x="72" y="3358"/>
                    <a:pt x="179" y="3358"/>
                  </a:cubicBezTo>
                  <a:cubicBezTo>
                    <a:pt x="489" y="3358"/>
                    <a:pt x="739" y="3608"/>
                    <a:pt x="739" y="3917"/>
                  </a:cubicBezTo>
                  <a:cubicBezTo>
                    <a:pt x="739" y="4013"/>
                    <a:pt x="810" y="4096"/>
                    <a:pt x="918" y="4096"/>
                  </a:cubicBezTo>
                  <a:lnTo>
                    <a:pt x="2977" y="4096"/>
                  </a:lnTo>
                  <a:cubicBezTo>
                    <a:pt x="3061" y="4096"/>
                    <a:pt x="3156" y="4025"/>
                    <a:pt x="3156" y="3917"/>
                  </a:cubicBezTo>
                  <a:cubicBezTo>
                    <a:pt x="3132" y="3822"/>
                    <a:pt x="3061" y="3739"/>
                    <a:pt x="2977" y="3739"/>
                  </a:cubicBezTo>
                  <a:lnTo>
                    <a:pt x="1084" y="3739"/>
                  </a:lnTo>
                  <a:cubicBezTo>
                    <a:pt x="1013" y="3370"/>
                    <a:pt x="727" y="3084"/>
                    <a:pt x="346" y="3013"/>
                  </a:cubicBezTo>
                  <a:lnTo>
                    <a:pt x="346" y="1096"/>
                  </a:lnTo>
                  <a:cubicBezTo>
                    <a:pt x="727" y="1024"/>
                    <a:pt x="1013" y="738"/>
                    <a:pt x="1084" y="369"/>
                  </a:cubicBezTo>
                  <a:lnTo>
                    <a:pt x="2977" y="369"/>
                  </a:lnTo>
                  <a:cubicBezTo>
                    <a:pt x="3061" y="369"/>
                    <a:pt x="3156" y="286"/>
                    <a:pt x="3156" y="191"/>
                  </a:cubicBezTo>
                  <a:cubicBezTo>
                    <a:pt x="3156" y="95"/>
                    <a:pt x="3073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7" name="Google Shape;10057;p58"/>
            <p:cNvSpPr/>
            <p:nvPr/>
          </p:nvSpPr>
          <p:spPr>
            <a:xfrm>
              <a:off x="6962060" y="3758192"/>
              <a:ext cx="129338" cy="129338"/>
            </a:xfrm>
            <a:custGeom>
              <a:avLst/>
              <a:gdLst/>
              <a:ahLst/>
              <a:cxnLst/>
              <a:rect l="l" t="t" r="r" b="b"/>
              <a:pathLst>
                <a:path w="4073" h="4073" extrusionOk="0">
                  <a:moveTo>
                    <a:pt x="2037" y="334"/>
                  </a:moveTo>
                  <a:cubicBezTo>
                    <a:pt x="2977" y="334"/>
                    <a:pt x="3727" y="1096"/>
                    <a:pt x="3727" y="2036"/>
                  </a:cubicBezTo>
                  <a:cubicBezTo>
                    <a:pt x="3727" y="2977"/>
                    <a:pt x="2977" y="3727"/>
                    <a:pt x="2037" y="3727"/>
                  </a:cubicBezTo>
                  <a:cubicBezTo>
                    <a:pt x="1096" y="3727"/>
                    <a:pt x="334" y="2977"/>
                    <a:pt x="334" y="2036"/>
                  </a:cubicBezTo>
                  <a:cubicBezTo>
                    <a:pt x="334" y="1096"/>
                    <a:pt x="1096" y="334"/>
                    <a:pt x="2037" y="334"/>
                  </a:cubicBezTo>
                  <a:close/>
                  <a:moveTo>
                    <a:pt x="2037" y="0"/>
                  </a:moveTo>
                  <a:cubicBezTo>
                    <a:pt x="906" y="0"/>
                    <a:pt x="1" y="917"/>
                    <a:pt x="1" y="2036"/>
                  </a:cubicBezTo>
                  <a:cubicBezTo>
                    <a:pt x="1" y="3155"/>
                    <a:pt x="918" y="4072"/>
                    <a:pt x="2037" y="4072"/>
                  </a:cubicBezTo>
                  <a:cubicBezTo>
                    <a:pt x="3156" y="4072"/>
                    <a:pt x="4073" y="3155"/>
                    <a:pt x="4073" y="2036"/>
                  </a:cubicBezTo>
                  <a:cubicBezTo>
                    <a:pt x="4073" y="905"/>
                    <a:pt x="3168" y="0"/>
                    <a:pt x="2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8" name="Google Shape;10058;p58"/>
            <p:cNvSpPr/>
            <p:nvPr/>
          </p:nvSpPr>
          <p:spPr>
            <a:xfrm>
              <a:off x="6997244" y="3781627"/>
              <a:ext cx="59382" cy="82436"/>
            </a:xfrm>
            <a:custGeom>
              <a:avLst/>
              <a:gdLst/>
              <a:ahLst/>
              <a:cxnLst/>
              <a:rect l="l" t="t" r="r" b="b"/>
              <a:pathLst>
                <a:path w="1870" h="2596" extrusionOk="0">
                  <a:moveTo>
                    <a:pt x="750" y="536"/>
                  </a:moveTo>
                  <a:lnTo>
                    <a:pt x="750" y="1060"/>
                  </a:lnTo>
                  <a:cubicBezTo>
                    <a:pt x="452" y="965"/>
                    <a:pt x="345" y="881"/>
                    <a:pt x="345" y="762"/>
                  </a:cubicBezTo>
                  <a:cubicBezTo>
                    <a:pt x="345" y="691"/>
                    <a:pt x="500" y="584"/>
                    <a:pt x="750" y="536"/>
                  </a:cubicBezTo>
                  <a:close/>
                  <a:moveTo>
                    <a:pt x="1107" y="1524"/>
                  </a:moveTo>
                  <a:cubicBezTo>
                    <a:pt x="1405" y="1608"/>
                    <a:pt x="1512" y="1703"/>
                    <a:pt x="1512" y="1822"/>
                  </a:cubicBezTo>
                  <a:cubicBezTo>
                    <a:pt x="1512" y="1893"/>
                    <a:pt x="1357" y="2001"/>
                    <a:pt x="1107" y="2036"/>
                  </a:cubicBezTo>
                  <a:lnTo>
                    <a:pt x="1107" y="1524"/>
                  </a:lnTo>
                  <a:close/>
                  <a:moveTo>
                    <a:pt x="941" y="0"/>
                  </a:moveTo>
                  <a:cubicBezTo>
                    <a:pt x="857" y="0"/>
                    <a:pt x="762" y="72"/>
                    <a:pt x="762" y="179"/>
                  </a:cubicBezTo>
                  <a:lnTo>
                    <a:pt x="762" y="191"/>
                  </a:lnTo>
                  <a:cubicBezTo>
                    <a:pt x="333" y="238"/>
                    <a:pt x="24" y="477"/>
                    <a:pt x="24" y="774"/>
                  </a:cubicBezTo>
                  <a:cubicBezTo>
                    <a:pt x="24" y="1191"/>
                    <a:pt x="441" y="1346"/>
                    <a:pt x="762" y="1429"/>
                  </a:cubicBezTo>
                  <a:lnTo>
                    <a:pt x="762" y="2036"/>
                  </a:lnTo>
                  <a:cubicBezTo>
                    <a:pt x="512" y="2001"/>
                    <a:pt x="357" y="1893"/>
                    <a:pt x="357" y="1822"/>
                  </a:cubicBezTo>
                  <a:cubicBezTo>
                    <a:pt x="357" y="1727"/>
                    <a:pt x="286" y="1643"/>
                    <a:pt x="179" y="1643"/>
                  </a:cubicBezTo>
                  <a:cubicBezTo>
                    <a:pt x="83" y="1643"/>
                    <a:pt x="0" y="1715"/>
                    <a:pt x="0" y="1822"/>
                  </a:cubicBezTo>
                  <a:cubicBezTo>
                    <a:pt x="0" y="2120"/>
                    <a:pt x="310" y="2334"/>
                    <a:pt x="750" y="2393"/>
                  </a:cubicBezTo>
                  <a:lnTo>
                    <a:pt x="750" y="2417"/>
                  </a:lnTo>
                  <a:cubicBezTo>
                    <a:pt x="750" y="2501"/>
                    <a:pt x="822" y="2596"/>
                    <a:pt x="929" y="2596"/>
                  </a:cubicBezTo>
                  <a:cubicBezTo>
                    <a:pt x="1036" y="2596"/>
                    <a:pt x="1107" y="2513"/>
                    <a:pt x="1107" y="2417"/>
                  </a:cubicBezTo>
                  <a:lnTo>
                    <a:pt x="1107" y="2393"/>
                  </a:lnTo>
                  <a:cubicBezTo>
                    <a:pt x="1536" y="2358"/>
                    <a:pt x="1845" y="2120"/>
                    <a:pt x="1845" y="1822"/>
                  </a:cubicBezTo>
                  <a:cubicBezTo>
                    <a:pt x="1845" y="1417"/>
                    <a:pt x="1453" y="1250"/>
                    <a:pt x="1107" y="1167"/>
                  </a:cubicBezTo>
                  <a:lnTo>
                    <a:pt x="1107" y="548"/>
                  </a:lnTo>
                  <a:cubicBezTo>
                    <a:pt x="1357" y="596"/>
                    <a:pt x="1512" y="703"/>
                    <a:pt x="1512" y="774"/>
                  </a:cubicBezTo>
                  <a:cubicBezTo>
                    <a:pt x="1512" y="869"/>
                    <a:pt x="1584" y="953"/>
                    <a:pt x="1691" y="953"/>
                  </a:cubicBezTo>
                  <a:cubicBezTo>
                    <a:pt x="1774" y="953"/>
                    <a:pt x="1869" y="881"/>
                    <a:pt x="1869" y="774"/>
                  </a:cubicBezTo>
                  <a:cubicBezTo>
                    <a:pt x="1869" y="477"/>
                    <a:pt x="1548" y="250"/>
                    <a:pt x="1119" y="191"/>
                  </a:cubicBezTo>
                  <a:lnTo>
                    <a:pt x="1119" y="179"/>
                  </a:lnTo>
                  <a:cubicBezTo>
                    <a:pt x="1119" y="84"/>
                    <a:pt x="1048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59" name="Google Shape;10059;p58"/>
          <p:cNvGrpSpPr/>
          <p:nvPr/>
        </p:nvGrpSpPr>
        <p:grpSpPr>
          <a:xfrm>
            <a:off x="7918997" y="3714687"/>
            <a:ext cx="392111" cy="280206"/>
            <a:chOff x="7918997" y="3714687"/>
            <a:chExt cx="392111" cy="280206"/>
          </a:xfrm>
        </p:grpSpPr>
        <p:sp>
          <p:nvSpPr>
            <p:cNvPr id="10060" name="Google Shape;10060;p58"/>
            <p:cNvSpPr/>
            <p:nvPr/>
          </p:nvSpPr>
          <p:spPr>
            <a:xfrm>
              <a:off x="7918997" y="3781246"/>
              <a:ext cx="309675" cy="213648"/>
            </a:xfrm>
            <a:custGeom>
              <a:avLst/>
              <a:gdLst/>
              <a:ahLst/>
              <a:cxnLst/>
              <a:rect l="l" t="t" r="r" b="b"/>
              <a:pathLst>
                <a:path w="9752" h="6728" extrusionOk="0">
                  <a:moveTo>
                    <a:pt x="774" y="3644"/>
                  </a:moveTo>
                  <a:cubicBezTo>
                    <a:pt x="965" y="3644"/>
                    <a:pt x="1132" y="3810"/>
                    <a:pt x="1132" y="4001"/>
                  </a:cubicBezTo>
                  <a:cubicBezTo>
                    <a:pt x="1132" y="4191"/>
                    <a:pt x="965" y="4358"/>
                    <a:pt x="774" y="4358"/>
                  </a:cubicBezTo>
                  <a:cubicBezTo>
                    <a:pt x="560" y="4358"/>
                    <a:pt x="417" y="4191"/>
                    <a:pt x="417" y="4001"/>
                  </a:cubicBezTo>
                  <a:cubicBezTo>
                    <a:pt x="417" y="3810"/>
                    <a:pt x="584" y="3644"/>
                    <a:pt x="774" y="3644"/>
                  </a:cubicBezTo>
                  <a:close/>
                  <a:moveTo>
                    <a:pt x="715" y="0"/>
                  </a:moveTo>
                  <a:cubicBezTo>
                    <a:pt x="310" y="0"/>
                    <a:pt x="0" y="322"/>
                    <a:pt x="0" y="715"/>
                  </a:cubicBezTo>
                  <a:cubicBezTo>
                    <a:pt x="0" y="1072"/>
                    <a:pt x="250" y="1370"/>
                    <a:pt x="596" y="1429"/>
                  </a:cubicBezTo>
                  <a:lnTo>
                    <a:pt x="596" y="3346"/>
                  </a:lnTo>
                  <a:cubicBezTo>
                    <a:pt x="298" y="3429"/>
                    <a:pt x="72" y="3703"/>
                    <a:pt x="72" y="4025"/>
                  </a:cubicBezTo>
                  <a:cubicBezTo>
                    <a:pt x="72" y="4358"/>
                    <a:pt x="298" y="4644"/>
                    <a:pt x="596" y="4715"/>
                  </a:cubicBezTo>
                  <a:lnTo>
                    <a:pt x="596" y="5442"/>
                  </a:lnTo>
                  <a:cubicBezTo>
                    <a:pt x="322" y="5513"/>
                    <a:pt x="120" y="5775"/>
                    <a:pt x="120" y="6073"/>
                  </a:cubicBezTo>
                  <a:cubicBezTo>
                    <a:pt x="120" y="6430"/>
                    <a:pt x="417" y="6727"/>
                    <a:pt x="774" y="6727"/>
                  </a:cubicBezTo>
                  <a:lnTo>
                    <a:pt x="2215" y="6727"/>
                  </a:lnTo>
                  <a:cubicBezTo>
                    <a:pt x="2322" y="6727"/>
                    <a:pt x="2394" y="6644"/>
                    <a:pt x="2394" y="6549"/>
                  </a:cubicBezTo>
                  <a:cubicBezTo>
                    <a:pt x="2394" y="6442"/>
                    <a:pt x="2286" y="6335"/>
                    <a:pt x="2191" y="6335"/>
                  </a:cubicBezTo>
                  <a:lnTo>
                    <a:pt x="739" y="6335"/>
                  </a:lnTo>
                  <a:cubicBezTo>
                    <a:pt x="584" y="6335"/>
                    <a:pt x="441" y="6204"/>
                    <a:pt x="441" y="6037"/>
                  </a:cubicBezTo>
                  <a:cubicBezTo>
                    <a:pt x="441" y="5882"/>
                    <a:pt x="584" y="5739"/>
                    <a:pt x="739" y="5739"/>
                  </a:cubicBezTo>
                  <a:lnTo>
                    <a:pt x="9561" y="5739"/>
                  </a:lnTo>
                  <a:cubicBezTo>
                    <a:pt x="9668" y="5739"/>
                    <a:pt x="9752" y="5668"/>
                    <a:pt x="9752" y="5561"/>
                  </a:cubicBezTo>
                  <a:cubicBezTo>
                    <a:pt x="9752" y="5465"/>
                    <a:pt x="9668" y="5382"/>
                    <a:pt x="9561" y="5382"/>
                  </a:cubicBezTo>
                  <a:lnTo>
                    <a:pt x="929" y="5382"/>
                  </a:lnTo>
                  <a:lnTo>
                    <a:pt x="929" y="4703"/>
                  </a:lnTo>
                  <a:cubicBezTo>
                    <a:pt x="1251" y="4632"/>
                    <a:pt x="1489" y="4346"/>
                    <a:pt x="1489" y="4001"/>
                  </a:cubicBezTo>
                  <a:cubicBezTo>
                    <a:pt x="1489" y="3656"/>
                    <a:pt x="1251" y="3370"/>
                    <a:pt x="929" y="3298"/>
                  </a:cubicBezTo>
                  <a:lnTo>
                    <a:pt x="929" y="1215"/>
                  </a:lnTo>
                  <a:cubicBezTo>
                    <a:pt x="929" y="1167"/>
                    <a:pt x="917" y="1108"/>
                    <a:pt x="870" y="1084"/>
                  </a:cubicBezTo>
                  <a:cubicBezTo>
                    <a:pt x="834" y="1060"/>
                    <a:pt x="786" y="1036"/>
                    <a:pt x="739" y="1036"/>
                  </a:cubicBezTo>
                  <a:lnTo>
                    <a:pt x="715" y="1036"/>
                  </a:lnTo>
                  <a:cubicBezTo>
                    <a:pt x="512" y="1036"/>
                    <a:pt x="358" y="870"/>
                    <a:pt x="358" y="679"/>
                  </a:cubicBezTo>
                  <a:cubicBezTo>
                    <a:pt x="358" y="489"/>
                    <a:pt x="512" y="322"/>
                    <a:pt x="715" y="322"/>
                  </a:cubicBezTo>
                  <a:cubicBezTo>
                    <a:pt x="905" y="322"/>
                    <a:pt x="1072" y="489"/>
                    <a:pt x="1072" y="679"/>
                  </a:cubicBezTo>
                  <a:cubicBezTo>
                    <a:pt x="1072" y="715"/>
                    <a:pt x="1072" y="762"/>
                    <a:pt x="1048" y="786"/>
                  </a:cubicBezTo>
                  <a:cubicBezTo>
                    <a:pt x="1036" y="858"/>
                    <a:pt x="1048" y="941"/>
                    <a:pt x="1120" y="977"/>
                  </a:cubicBezTo>
                  <a:lnTo>
                    <a:pt x="2906" y="2525"/>
                  </a:lnTo>
                  <a:cubicBezTo>
                    <a:pt x="2940" y="2553"/>
                    <a:pt x="2985" y="2568"/>
                    <a:pt x="3029" y="2568"/>
                  </a:cubicBezTo>
                  <a:cubicBezTo>
                    <a:pt x="3077" y="2568"/>
                    <a:pt x="3124" y="2550"/>
                    <a:pt x="3156" y="2513"/>
                  </a:cubicBezTo>
                  <a:lnTo>
                    <a:pt x="4287" y="1274"/>
                  </a:lnTo>
                  <a:cubicBezTo>
                    <a:pt x="4358" y="1203"/>
                    <a:pt x="4346" y="1084"/>
                    <a:pt x="4275" y="1024"/>
                  </a:cubicBezTo>
                  <a:cubicBezTo>
                    <a:pt x="4237" y="992"/>
                    <a:pt x="4191" y="976"/>
                    <a:pt x="4147" y="976"/>
                  </a:cubicBezTo>
                  <a:cubicBezTo>
                    <a:pt x="4095" y="976"/>
                    <a:pt x="4045" y="998"/>
                    <a:pt x="4013" y="1036"/>
                  </a:cubicBezTo>
                  <a:lnTo>
                    <a:pt x="3001" y="2155"/>
                  </a:lnTo>
                  <a:lnTo>
                    <a:pt x="1429" y="798"/>
                  </a:lnTo>
                  <a:lnTo>
                    <a:pt x="1429" y="715"/>
                  </a:lnTo>
                  <a:cubicBezTo>
                    <a:pt x="1429" y="310"/>
                    <a:pt x="1096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1" name="Google Shape;10061;p58"/>
            <p:cNvSpPr/>
            <p:nvPr/>
          </p:nvSpPr>
          <p:spPr>
            <a:xfrm>
              <a:off x="8080439" y="3862920"/>
              <a:ext cx="68083" cy="68083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7"/>
                  </a:moveTo>
                  <a:cubicBezTo>
                    <a:pt x="1465" y="357"/>
                    <a:pt x="1786" y="691"/>
                    <a:pt x="1786" y="1072"/>
                  </a:cubicBezTo>
                  <a:cubicBezTo>
                    <a:pt x="1786" y="1465"/>
                    <a:pt x="1465" y="1786"/>
                    <a:pt x="1072" y="1786"/>
                  </a:cubicBezTo>
                  <a:cubicBezTo>
                    <a:pt x="691" y="1786"/>
                    <a:pt x="358" y="1465"/>
                    <a:pt x="358" y="1072"/>
                  </a:cubicBezTo>
                  <a:cubicBezTo>
                    <a:pt x="358" y="691"/>
                    <a:pt x="691" y="357"/>
                    <a:pt x="1072" y="357"/>
                  </a:cubicBezTo>
                  <a:close/>
                  <a:moveTo>
                    <a:pt x="1072" y="0"/>
                  </a:moveTo>
                  <a:cubicBezTo>
                    <a:pt x="477" y="0"/>
                    <a:pt x="0" y="476"/>
                    <a:pt x="0" y="1072"/>
                  </a:cubicBezTo>
                  <a:cubicBezTo>
                    <a:pt x="0" y="1667"/>
                    <a:pt x="477" y="2143"/>
                    <a:pt x="1072" y="2143"/>
                  </a:cubicBezTo>
                  <a:cubicBezTo>
                    <a:pt x="1667" y="2143"/>
                    <a:pt x="2144" y="1655"/>
                    <a:pt x="2144" y="1072"/>
                  </a:cubicBezTo>
                  <a:cubicBezTo>
                    <a:pt x="2144" y="476"/>
                    <a:pt x="1667" y="0"/>
                    <a:pt x="1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2" name="Google Shape;10062;p58"/>
            <p:cNvSpPr/>
            <p:nvPr/>
          </p:nvSpPr>
          <p:spPr>
            <a:xfrm>
              <a:off x="8000290" y="3885593"/>
              <a:ext cx="45410" cy="45410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27" y="358"/>
                  </a:moveTo>
                  <a:cubicBezTo>
                    <a:pt x="917" y="358"/>
                    <a:pt x="1084" y="524"/>
                    <a:pt x="1084" y="715"/>
                  </a:cubicBezTo>
                  <a:cubicBezTo>
                    <a:pt x="1084" y="905"/>
                    <a:pt x="917" y="1072"/>
                    <a:pt x="727" y="1072"/>
                  </a:cubicBezTo>
                  <a:cubicBezTo>
                    <a:pt x="536" y="1072"/>
                    <a:pt x="369" y="905"/>
                    <a:pt x="369" y="715"/>
                  </a:cubicBezTo>
                  <a:cubicBezTo>
                    <a:pt x="369" y="524"/>
                    <a:pt x="536" y="358"/>
                    <a:pt x="727" y="358"/>
                  </a:cubicBezTo>
                  <a:close/>
                  <a:moveTo>
                    <a:pt x="694" y="0"/>
                  </a:moveTo>
                  <a:cubicBezTo>
                    <a:pt x="310" y="0"/>
                    <a:pt x="0" y="317"/>
                    <a:pt x="0" y="715"/>
                  </a:cubicBezTo>
                  <a:cubicBezTo>
                    <a:pt x="0" y="1120"/>
                    <a:pt x="322" y="1429"/>
                    <a:pt x="715" y="1429"/>
                  </a:cubicBezTo>
                  <a:cubicBezTo>
                    <a:pt x="1096" y="1429"/>
                    <a:pt x="1429" y="1096"/>
                    <a:pt x="1429" y="715"/>
                  </a:cubicBezTo>
                  <a:cubicBezTo>
                    <a:pt x="1429" y="310"/>
                    <a:pt x="1096" y="1"/>
                    <a:pt x="715" y="1"/>
                  </a:cubicBezTo>
                  <a:cubicBezTo>
                    <a:pt x="708" y="0"/>
                    <a:pt x="701" y="0"/>
                    <a:pt x="6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3" name="Google Shape;10063;p58"/>
            <p:cNvSpPr/>
            <p:nvPr/>
          </p:nvSpPr>
          <p:spPr>
            <a:xfrm>
              <a:off x="8006323" y="3714687"/>
              <a:ext cx="304784" cy="277920"/>
            </a:xfrm>
            <a:custGeom>
              <a:avLst/>
              <a:gdLst/>
              <a:ahLst/>
              <a:cxnLst/>
              <a:rect l="l" t="t" r="r" b="b"/>
              <a:pathLst>
                <a:path w="9598" h="8752" extrusionOk="0">
                  <a:moveTo>
                    <a:pt x="8800" y="5740"/>
                  </a:moveTo>
                  <a:cubicBezTo>
                    <a:pt x="8990" y="5740"/>
                    <a:pt x="9157" y="5906"/>
                    <a:pt x="9157" y="6097"/>
                  </a:cubicBezTo>
                  <a:cubicBezTo>
                    <a:pt x="9157" y="6287"/>
                    <a:pt x="9002" y="6454"/>
                    <a:pt x="8800" y="6454"/>
                  </a:cubicBezTo>
                  <a:cubicBezTo>
                    <a:pt x="8609" y="6454"/>
                    <a:pt x="8442" y="6287"/>
                    <a:pt x="8442" y="6097"/>
                  </a:cubicBezTo>
                  <a:cubicBezTo>
                    <a:pt x="8442" y="5906"/>
                    <a:pt x="8597" y="5740"/>
                    <a:pt x="8800" y="5740"/>
                  </a:cubicBezTo>
                  <a:close/>
                  <a:moveTo>
                    <a:pt x="3430" y="1"/>
                  </a:moveTo>
                  <a:cubicBezTo>
                    <a:pt x="2989" y="1"/>
                    <a:pt x="2632" y="358"/>
                    <a:pt x="2632" y="787"/>
                  </a:cubicBezTo>
                  <a:cubicBezTo>
                    <a:pt x="2632" y="989"/>
                    <a:pt x="2727" y="1203"/>
                    <a:pt x="2858" y="1334"/>
                  </a:cubicBezTo>
                  <a:lnTo>
                    <a:pt x="1739" y="2561"/>
                  </a:lnTo>
                  <a:cubicBezTo>
                    <a:pt x="1668" y="2632"/>
                    <a:pt x="1680" y="2751"/>
                    <a:pt x="1763" y="2811"/>
                  </a:cubicBezTo>
                  <a:cubicBezTo>
                    <a:pt x="1796" y="2844"/>
                    <a:pt x="1838" y="2859"/>
                    <a:pt x="1881" y="2859"/>
                  </a:cubicBezTo>
                  <a:cubicBezTo>
                    <a:pt x="1931" y="2859"/>
                    <a:pt x="1981" y="2838"/>
                    <a:pt x="2013" y="2799"/>
                  </a:cubicBezTo>
                  <a:lnTo>
                    <a:pt x="3251" y="1430"/>
                  </a:lnTo>
                  <a:cubicBezTo>
                    <a:pt x="3287" y="1382"/>
                    <a:pt x="3311" y="1323"/>
                    <a:pt x="3287" y="1275"/>
                  </a:cubicBezTo>
                  <a:cubicBezTo>
                    <a:pt x="3275" y="1215"/>
                    <a:pt x="3251" y="1168"/>
                    <a:pt x="3204" y="1144"/>
                  </a:cubicBezTo>
                  <a:cubicBezTo>
                    <a:pt x="3073" y="1072"/>
                    <a:pt x="2977" y="918"/>
                    <a:pt x="2977" y="775"/>
                  </a:cubicBezTo>
                  <a:cubicBezTo>
                    <a:pt x="2977" y="537"/>
                    <a:pt x="3168" y="334"/>
                    <a:pt x="3406" y="334"/>
                  </a:cubicBezTo>
                  <a:cubicBezTo>
                    <a:pt x="3644" y="334"/>
                    <a:pt x="3847" y="537"/>
                    <a:pt x="3847" y="775"/>
                  </a:cubicBezTo>
                  <a:cubicBezTo>
                    <a:pt x="3847" y="918"/>
                    <a:pt x="3751" y="1072"/>
                    <a:pt x="3620" y="1144"/>
                  </a:cubicBezTo>
                  <a:cubicBezTo>
                    <a:pt x="3573" y="1168"/>
                    <a:pt x="3525" y="1215"/>
                    <a:pt x="3525" y="1275"/>
                  </a:cubicBezTo>
                  <a:cubicBezTo>
                    <a:pt x="3513" y="1334"/>
                    <a:pt x="3525" y="1382"/>
                    <a:pt x="3573" y="1430"/>
                  </a:cubicBezTo>
                  <a:lnTo>
                    <a:pt x="6430" y="4561"/>
                  </a:lnTo>
                  <a:cubicBezTo>
                    <a:pt x="6462" y="4606"/>
                    <a:pt x="6512" y="4627"/>
                    <a:pt x="6562" y="4627"/>
                  </a:cubicBezTo>
                  <a:cubicBezTo>
                    <a:pt x="6605" y="4627"/>
                    <a:pt x="6647" y="4612"/>
                    <a:pt x="6680" y="4585"/>
                  </a:cubicBezTo>
                  <a:lnTo>
                    <a:pt x="8466" y="3037"/>
                  </a:lnTo>
                  <a:cubicBezTo>
                    <a:pt x="8526" y="2989"/>
                    <a:pt x="8549" y="2918"/>
                    <a:pt x="8526" y="2835"/>
                  </a:cubicBezTo>
                  <a:cubicBezTo>
                    <a:pt x="8514" y="2811"/>
                    <a:pt x="8514" y="2763"/>
                    <a:pt x="8514" y="2739"/>
                  </a:cubicBezTo>
                  <a:cubicBezTo>
                    <a:pt x="8514" y="2537"/>
                    <a:pt x="8680" y="2382"/>
                    <a:pt x="8871" y="2382"/>
                  </a:cubicBezTo>
                  <a:cubicBezTo>
                    <a:pt x="9061" y="2382"/>
                    <a:pt x="9228" y="2537"/>
                    <a:pt x="9228" y="2739"/>
                  </a:cubicBezTo>
                  <a:cubicBezTo>
                    <a:pt x="9228" y="2930"/>
                    <a:pt x="9061" y="3097"/>
                    <a:pt x="8871" y="3097"/>
                  </a:cubicBezTo>
                  <a:lnTo>
                    <a:pt x="8847" y="3097"/>
                  </a:lnTo>
                  <a:cubicBezTo>
                    <a:pt x="8800" y="3097"/>
                    <a:pt x="8740" y="3108"/>
                    <a:pt x="8704" y="3132"/>
                  </a:cubicBezTo>
                  <a:cubicBezTo>
                    <a:pt x="8680" y="3168"/>
                    <a:pt x="8645" y="3228"/>
                    <a:pt x="8645" y="3275"/>
                  </a:cubicBezTo>
                  <a:lnTo>
                    <a:pt x="8645" y="5359"/>
                  </a:lnTo>
                  <a:cubicBezTo>
                    <a:pt x="8335" y="5430"/>
                    <a:pt x="8097" y="5716"/>
                    <a:pt x="8097" y="6049"/>
                  </a:cubicBezTo>
                  <a:cubicBezTo>
                    <a:pt x="8097" y="6395"/>
                    <a:pt x="8335" y="6680"/>
                    <a:pt x="8645" y="6752"/>
                  </a:cubicBezTo>
                  <a:lnTo>
                    <a:pt x="8645" y="7442"/>
                  </a:lnTo>
                  <a:lnTo>
                    <a:pt x="7561" y="7442"/>
                  </a:lnTo>
                  <a:cubicBezTo>
                    <a:pt x="7454" y="7442"/>
                    <a:pt x="7383" y="7514"/>
                    <a:pt x="7383" y="7621"/>
                  </a:cubicBezTo>
                  <a:cubicBezTo>
                    <a:pt x="7383" y="7716"/>
                    <a:pt x="7454" y="7800"/>
                    <a:pt x="7561" y="7800"/>
                  </a:cubicBezTo>
                  <a:lnTo>
                    <a:pt x="8823" y="7800"/>
                  </a:lnTo>
                  <a:cubicBezTo>
                    <a:pt x="8990" y="7800"/>
                    <a:pt x="9121" y="7930"/>
                    <a:pt x="9121" y="8097"/>
                  </a:cubicBezTo>
                  <a:cubicBezTo>
                    <a:pt x="9121" y="8252"/>
                    <a:pt x="8990" y="8395"/>
                    <a:pt x="8823" y="8395"/>
                  </a:cubicBezTo>
                  <a:lnTo>
                    <a:pt x="179" y="8395"/>
                  </a:lnTo>
                  <a:cubicBezTo>
                    <a:pt x="72" y="8395"/>
                    <a:pt x="1" y="8466"/>
                    <a:pt x="1" y="8573"/>
                  </a:cubicBezTo>
                  <a:cubicBezTo>
                    <a:pt x="1" y="8669"/>
                    <a:pt x="72" y="8752"/>
                    <a:pt x="179" y="8752"/>
                  </a:cubicBezTo>
                  <a:lnTo>
                    <a:pt x="8823" y="8752"/>
                  </a:lnTo>
                  <a:cubicBezTo>
                    <a:pt x="9181" y="8752"/>
                    <a:pt x="9478" y="8454"/>
                    <a:pt x="9478" y="8097"/>
                  </a:cubicBezTo>
                  <a:cubicBezTo>
                    <a:pt x="9478" y="7800"/>
                    <a:pt x="9276" y="7538"/>
                    <a:pt x="9002" y="7466"/>
                  </a:cubicBezTo>
                  <a:lnTo>
                    <a:pt x="9002" y="6752"/>
                  </a:lnTo>
                  <a:cubicBezTo>
                    <a:pt x="9300" y="6704"/>
                    <a:pt x="9526" y="6430"/>
                    <a:pt x="9526" y="6097"/>
                  </a:cubicBezTo>
                  <a:cubicBezTo>
                    <a:pt x="9526" y="5775"/>
                    <a:pt x="9300" y="5490"/>
                    <a:pt x="9002" y="5394"/>
                  </a:cubicBezTo>
                  <a:lnTo>
                    <a:pt x="9002" y="3478"/>
                  </a:lnTo>
                  <a:cubicBezTo>
                    <a:pt x="9347" y="3418"/>
                    <a:pt x="9597" y="3120"/>
                    <a:pt x="9597" y="2763"/>
                  </a:cubicBezTo>
                  <a:cubicBezTo>
                    <a:pt x="9597" y="2358"/>
                    <a:pt x="9276" y="2049"/>
                    <a:pt x="8883" y="2049"/>
                  </a:cubicBezTo>
                  <a:cubicBezTo>
                    <a:pt x="8502" y="2049"/>
                    <a:pt x="8168" y="2382"/>
                    <a:pt x="8168" y="2763"/>
                  </a:cubicBezTo>
                  <a:lnTo>
                    <a:pt x="8168" y="2858"/>
                  </a:lnTo>
                  <a:lnTo>
                    <a:pt x="6597" y="4204"/>
                  </a:lnTo>
                  <a:lnTo>
                    <a:pt x="3989" y="1334"/>
                  </a:lnTo>
                  <a:cubicBezTo>
                    <a:pt x="4144" y="1192"/>
                    <a:pt x="4216" y="989"/>
                    <a:pt x="4216" y="787"/>
                  </a:cubicBezTo>
                  <a:cubicBezTo>
                    <a:pt x="4216" y="358"/>
                    <a:pt x="3858" y="1"/>
                    <a:pt x="3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4" name="Google Shape;10064;p58"/>
            <p:cNvSpPr/>
            <p:nvPr/>
          </p:nvSpPr>
          <p:spPr>
            <a:xfrm>
              <a:off x="8183643" y="3885593"/>
              <a:ext cx="45410" cy="45410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03" y="358"/>
                  </a:moveTo>
                  <a:cubicBezTo>
                    <a:pt x="894" y="358"/>
                    <a:pt x="1060" y="524"/>
                    <a:pt x="1060" y="715"/>
                  </a:cubicBezTo>
                  <a:cubicBezTo>
                    <a:pt x="1060" y="905"/>
                    <a:pt x="894" y="1072"/>
                    <a:pt x="703" y="1072"/>
                  </a:cubicBezTo>
                  <a:cubicBezTo>
                    <a:pt x="501" y="1072"/>
                    <a:pt x="346" y="905"/>
                    <a:pt x="346" y="715"/>
                  </a:cubicBezTo>
                  <a:cubicBezTo>
                    <a:pt x="346" y="524"/>
                    <a:pt x="501" y="358"/>
                    <a:pt x="703" y="358"/>
                  </a:cubicBezTo>
                  <a:close/>
                  <a:moveTo>
                    <a:pt x="715" y="1"/>
                  </a:moveTo>
                  <a:cubicBezTo>
                    <a:pt x="310" y="1"/>
                    <a:pt x="1" y="334"/>
                    <a:pt x="1" y="715"/>
                  </a:cubicBezTo>
                  <a:cubicBezTo>
                    <a:pt x="1" y="1120"/>
                    <a:pt x="322" y="1429"/>
                    <a:pt x="715" y="1429"/>
                  </a:cubicBezTo>
                  <a:cubicBezTo>
                    <a:pt x="1096" y="1429"/>
                    <a:pt x="1430" y="1108"/>
                    <a:pt x="1430" y="715"/>
                  </a:cubicBezTo>
                  <a:cubicBezTo>
                    <a:pt x="1430" y="310"/>
                    <a:pt x="1096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65" name="Google Shape;10065;p58"/>
          <p:cNvSpPr/>
          <p:nvPr/>
        </p:nvSpPr>
        <p:spPr>
          <a:xfrm>
            <a:off x="867354" y="3694364"/>
            <a:ext cx="355434" cy="326981"/>
          </a:xfrm>
          <a:custGeom>
            <a:avLst/>
            <a:gdLst/>
            <a:ahLst/>
            <a:cxnLst/>
            <a:rect l="l" t="t" r="r" b="b"/>
            <a:pathLst>
              <a:path w="11193" h="10297" extrusionOk="0">
                <a:moveTo>
                  <a:pt x="6014" y="2129"/>
                </a:moveTo>
                <a:lnTo>
                  <a:pt x="6014" y="3034"/>
                </a:lnTo>
                <a:lnTo>
                  <a:pt x="5097" y="3034"/>
                </a:lnTo>
                <a:lnTo>
                  <a:pt x="5097" y="2129"/>
                </a:lnTo>
                <a:close/>
                <a:moveTo>
                  <a:pt x="8704" y="347"/>
                </a:moveTo>
                <a:cubicBezTo>
                  <a:pt x="8745" y="347"/>
                  <a:pt x="8785" y="350"/>
                  <a:pt x="8824" y="355"/>
                </a:cubicBezTo>
                <a:cubicBezTo>
                  <a:pt x="9133" y="403"/>
                  <a:pt x="9371" y="617"/>
                  <a:pt x="9550" y="1058"/>
                </a:cubicBezTo>
                <a:cubicBezTo>
                  <a:pt x="9824" y="1689"/>
                  <a:pt x="9847" y="2201"/>
                  <a:pt x="9645" y="2558"/>
                </a:cubicBezTo>
                <a:cubicBezTo>
                  <a:pt x="9419" y="2939"/>
                  <a:pt x="8966" y="3034"/>
                  <a:pt x="8907" y="3046"/>
                </a:cubicBezTo>
                <a:lnTo>
                  <a:pt x="6335" y="3046"/>
                </a:lnTo>
                <a:lnTo>
                  <a:pt x="6335" y="2034"/>
                </a:lnTo>
                <a:cubicBezTo>
                  <a:pt x="6442" y="1903"/>
                  <a:pt x="6764" y="1498"/>
                  <a:pt x="7204" y="1141"/>
                </a:cubicBezTo>
                <a:cubicBezTo>
                  <a:pt x="7798" y="612"/>
                  <a:pt x="8304" y="347"/>
                  <a:pt x="8704" y="347"/>
                </a:cubicBezTo>
                <a:close/>
                <a:moveTo>
                  <a:pt x="4585" y="3356"/>
                </a:moveTo>
                <a:lnTo>
                  <a:pt x="4585" y="4653"/>
                </a:lnTo>
                <a:lnTo>
                  <a:pt x="299" y="4653"/>
                </a:lnTo>
                <a:lnTo>
                  <a:pt x="299" y="3356"/>
                </a:lnTo>
                <a:close/>
                <a:moveTo>
                  <a:pt x="6204" y="3356"/>
                </a:moveTo>
                <a:lnTo>
                  <a:pt x="6204" y="9987"/>
                </a:lnTo>
                <a:lnTo>
                  <a:pt x="4906" y="9987"/>
                </a:lnTo>
                <a:lnTo>
                  <a:pt x="4906" y="3356"/>
                </a:lnTo>
                <a:close/>
                <a:moveTo>
                  <a:pt x="10812" y="3356"/>
                </a:moveTo>
                <a:lnTo>
                  <a:pt x="10812" y="4653"/>
                </a:lnTo>
                <a:lnTo>
                  <a:pt x="9074" y="4653"/>
                </a:lnTo>
                <a:cubicBezTo>
                  <a:pt x="8990" y="4653"/>
                  <a:pt x="8907" y="4725"/>
                  <a:pt x="8907" y="4820"/>
                </a:cubicBezTo>
                <a:cubicBezTo>
                  <a:pt x="8907" y="4903"/>
                  <a:pt x="8990" y="4987"/>
                  <a:pt x="9074" y="4987"/>
                </a:cubicBezTo>
                <a:lnTo>
                  <a:pt x="10002" y="4987"/>
                </a:lnTo>
                <a:lnTo>
                  <a:pt x="10002" y="9594"/>
                </a:lnTo>
                <a:cubicBezTo>
                  <a:pt x="10002" y="9809"/>
                  <a:pt x="9824" y="9987"/>
                  <a:pt x="9609" y="9987"/>
                </a:cubicBezTo>
                <a:lnTo>
                  <a:pt x="6526" y="9987"/>
                </a:lnTo>
                <a:lnTo>
                  <a:pt x="6526" y="4987"/>
                </a:lnTo>
                <a:lnTo>
                  <a:pt x="8419" y="4987"/>
                </a:lnTo>
                <a:cubicBezTo>
                  <a:pt x="8514" y="4987"/>
                  <a:pt x="8585" y="4903"/>
                  <a:pt x="8585" y="4820"/>
                </a:cubicBezTo>
                <a:cubicBezTo>
                  <a:pt x="8585" y="4725"/>
                  <a:pt x="8514" y="4653"/>
                  <a:pt x="8419" y="4653"/>
                </a:cubicBezTo>
                <a:lnTo>
                  <a:pt x="6526" y="4653"/>
                </a:lnTo>
                <a:lnTo>
                  <a:pt x="6526" y="3356"/>
                </a:lnTo>
                <a:close/>
                <a:moveTo>
                  <a:pt x="2416" y="1"/>
                </a:moveTo>
                <a:cubicBezTo>
                  <a:pt x="2282" y="1"/>
                  <a:pt x="2156" y="24"/>
                  <a:pt x="2037" y="69"/>
                </a:cubicBezTo>
                <a:cubicBezTo>
                  <a:pt x="1727" y="188"/>
                  <a:pt x="1465" y="474"/>
                  <a:pt x="1287" y="903"/>
                </a:cubicBezTo>
                <a:cubicBezTo>
                  <a:pt x="977" y="1653"/>
                  <a:pt x="965" y="2248"/>
                  <a:pt x="1215" y="2689"/>
                </a:cubicBezTo>
                <a:cubicBezTo>
                  <a:pt x="1287" y="2820"/>
                  <a:pt x="1382" y="2927"/>
                  <a:pt x="1489" y="3022"/>
                </a:cubicBezTo>
                <a:lnTo>
                  <a:pt x="156" y="3022"/>
                </a:lnTo>
                <a:cubicBezTo>
                  <a:pt x="72" y="3022"/>
                  <a:pt x="1" y="3094"/>
                  <a:pt x="1" y="3177"/>
                </a:cubicBezTo>
                <a:lnTo>
                  <a:pt x="1" y="4808"/>
                </a:lnTo>
                <a:cubicBezTo>
                  <a:pt x="1" y="4891"/>
                  <a:pt x="72" y="4963"/>
                  <a:pt x="156" y="4963"/>
                </a:cubicBezTo>
                <a:lnTo>
                  <a:pt x="834" y="4963"/>
                </a:lnTo>
                <a:lnTo>
                  <a:pt x="834" y="9583"/>
                </a:lnTo>
                <a:cubicBezTo>
                  <a:pt x="834" y="9964"/>
                  <a:pt x="1156" y="10297"/>
                  <a:pt x="1549" y="10297"/>
                </a:cubicBezTo>
                <a:lnTo>
                  <a:pt x="2656" y="10297"/>
                </a:lnTo>
                <a:cubicBezTo>
                  <a:pt x="2751" y="10297"/>
                  <a:pt x="2823" y="10225"/>
                  <a:pt x="2823" y="10130"/>
                </a:cubicBezTo>
                <a:cubicBezTo>
                  <a:pt x="2823" y="10047"/>
                  <a:pt x="2751" y="9964"/>
                  <a:pt x="2656" y="9964"/>
                </a:cubicBezTo>
                <a:lnTo>
                  <a:pt x="1549" y="9964"/>
                </a:lnTo>
                <a:cubicBezTo>
                  <a:pt x="1334" y="9964"/>
                  <a:pt x="1156" y="9785"/>
                  <a:pt x="1156" y="9583"/>
                </a:cubicBezTo>
                <a:lnTo>
                  <a:pt x="1156" y="4963"/>
                </a:lnTo>
                <a:lnTo>
                  <a:pt x="4609" y="4963"/>
                </a:lnTo>
                <a:lnTo>
                  <a:pt x="4609" y="9964"/>
                </a:lnTo>
                <a:lnTo>
                  <a:pt x="3311" y="9964"/>
                </a:lnTo>
                <a:cubicBezTo>
                  <a:pt x="3228" y="9964"/>
                  <a:pt x="3156" y="10047"/>
                  <a:pt x="3156" y="10130"/>
                </a:cubicBezTo>
                <a:cubicBezTo>
                  <a:pt x="3156" y="10225"/>
                  <a:pt x="3228" y="10297"/>
                  <a:pt x="3311" y="10297"/>
                </a:cubicBezTo>
                <a:lnTo>
                  <a:pt x="9645" y="10297"/>
                </a:lnTo>
                <a:cubicBezTo>
                  <a:pt x="10026" y="10297"/>
                  <a:pt x="10359" y="9964"/>
                  <a:pt x="10359" y="9583"/>
                </a:cubicBezTo>
                <a:lnTo>
                  <a:pt x="10359" y="4963"/>
                </a:lnTo>
                <a:lnTo>
                  <a:pt x="11026" y="4963"/>
                </a:lnTo>
                <a:cubicBezTo>
                  <a:pt x="11110" y="4963"/>
                  <a:pt x="11193" y="4891"/>
                  <a:pt x="11193" y="4808"/>
                </a:cubicBezTo>
                <a:lnTo>
                  <a:pt x="11193" y="3177"/>
                </a:lnTo>
                <a:cubicBezTo>
                  <a:pt x="11145" y="3106"/>
                  <a:pt x="11074" y="3034"/>
                  <a:pt x="10979" y="3034"/>
                </a:cubicBezTo>
                <a:lnTo>
                  <a:pt x="9657" y="3034"/>
                </a:lnTo>
                <a:cubicBezTo>
                  <a:pt x="9752" y="2939"/>
                  <a:pt x="9847" y="2844"/>
                  <a:pt x="9919" y="2701"/>
                </a:cubicBezTo>
                <a:cubicBezTo>
                  <a:pt x="10181" y="2260"/>
                  <a:pt x="10157" y="1641"/>
                  <a:pt x="9847" y="915"/>
                </a:cubicBezTo>
                <a:cubicBezTo>
                  <a:pt x="9621" y="379"/>
                  <a:pt x="9300" y="81"/>
                  <a:pt x="8871" y="22"/>
                </a:cubicBezTo>
                <a:cubicBezTo>
                  <a:pt x="8824" y="16"/>
                  <a:pt x="8776" y="13"/>
                  <a:pt x="8728" y="13"/>
                </a:cubicBezTo>
                <a:cubicBezTo>
                  <a:pt x="7648" y="13"/>
                  <a:pt x="6371" y="1489"/>
                  <a:pt x="6097" y="1808"/>
                </a:cubicBezTo>
                <a:lnTo>
                  <a:pt x="5025" y="1808"/>
                </a:lnTo>
                <a:cubicBezTo>
                  <a:pt x="4859" y="1617"/>
                  <a:pt x="4359" y="1022"/>
                  <a:pt x="3751" y="581"/>
                </a:cubicBezTo>
                <a:cubicBezTo>
                  <a:pt x="3715" y="556"/>
                  <a:pt x="3677" y="543"/>
                  <a:pt x="3642" y="543"/>
                </a:cubicBezTo>
                <a:cubicBezTo>
                  <a:pt x="3595" y="543"/>
                  <a:pt x="3552" y="565"/>
                  <a:pt x="3525" y="605"/>
                </a:cubicBezTo>
                <a:cubicBezTo>
                  <a:pt x="3466" y="677"/>
                  <a:pt x="3478" y="784"/>
                  <a:pt x="3549" y="831"/>
                </a:cubicBezTo>
                <a:cubicBezTo>
                  <a:pt x="4144" y="1260"/>
                  <a:pt x="4656" y="1855"/>
                  <a:pt x="4787" y="2022"/>
                </a:cubicBezTo>
                <a:lnTo>
                  <a:pt x="4787" y="3034"/>
                </a:lnTo>
                <a:lnTo>
                  <a:pt x="2216" y="3034"/>
                </a:lnTo>
                <a:cubicBezTo>
                  <a:pt x="2144" y="3022"/>
                  <a:pt x="1692" y="2927"/>
                  <a:pt x="1489" y="2546"/>
                </a:cubicBezTo>
                <a:cubicBezTo>
                  <a:pt x="1275" y="2189"/>
                  <a:pt x="1323" y="1677"/>
                  <a:pt x="1573" y="1034"/>
                </a:cubicBezTo>
                <a:cubicBezTo>
                  <a:pt x="1727" y="700"/>
                  <a:pt x="1906" y="474"/>
                  <a:pt x="2144" y="379"/>
                </a:cubicBezTo>
                <a:cubicBezTo>
                  <a:pt x="2224" y="348"/>
                  <a:pt x="2314" y="332"/>
                  <a:pt x="2413" y="332"/>
                </a:cubicBezTo>
                <a:cubicBezTo>
                  <a:pt x="2578" y="332"/>
                  <a:pt x="2769" y="377"/>
                  <a:pt x="2978" y="474"/>
                </a:cubicBezTo>
                <a:cubicBezTo>
                  <a:pt x="3001" y="488"/>
                  <a:pt x="3025" y="493"/>
                  <a:pt x="3049" y="493"/>
                </a:cubicBezTo>
                <a:cubicBezTo>
                  <a:pt x="3109" y="493"/>
                  <a:pt x="3166" y="454"/>
                  <a:pt x="3192" y="403"/>
                </a:cubicBezTo>
                <a:cubicBezTo>
                  <a:pt x="3239" y="308"/>
                  <a:pt x="3192" y="224"/>
                  <a:pt x="3120" y="177"/>
                </a:cubicBezTo>
                <a:cubicBezTo>
                  <a:pt x="2864" y="59"/>
                  <a:pt x="2630" y="1"/>
                  <a:pt x="241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66" name="Google Shape;10066;p58"/>
          <p:cNvGrpSpPr/>
          <p:nvPr/>
        </p:nvGrpSpPr>
        <p:grpSpPr>
          <a:xfrm>
            <a:off x="1408777" y="3680964"/>
            <a:ext cx="357720" cy="355148"/>
            <a:chOff x="1408777" y="3680964"/>
            <a:chExt cx="357720" cy="355148"/>
          </a:xfrm>
        </p:grpSpPr>
        <p:sp>
          <p:nvSpPr>
            <p:cNvPr id="10067" name="Google Shape;10067;p58"/>
            <p:cNvSpPr/>
            <p:nvPr/>
          </p:nvSpPr>
          <p:spPr>
            <a:xfrm>
              <a:off x="1510488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62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62" y="1548"/>
                    <a:pt x="596" y="1548"/>
                  </a:cubicBezTo>
                  <a:cubicBezTo>
                    <a:pt x="917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08" y="524"/>
                    <a:pt x="1024" y="524"/>
                  </a:cubicBezTo>
                  <a:cubicBezTo>
                    <a:pt x="941" y="524"/>
                    <a:pt x="858" y="596"/>
                    <a:pt x="858" y="691"/>
                  </a:cubicBezTo>
                  <a:lnTo>
                    <a:pt x="858" y="953"/>
                  </a:lnTo>
                  <a:cubicBezTo>
                    <a:pt x="858" y="1108"/>
                    <a:pt x="739" y="1227"/>
                    <a:pt x="596" y="1227"/>
                  </a:cubicBezTo>
                  <a:cubicBezTo>
                    <a:pt x="441" y="1227"/>
                    <a:pt x="322" y="1108"/>
                    <a:pt x="322" y="953"/>
                  </a:cubicBezTo>
                  <a:lnTo>
                    <a:pt x="322" y="596"/>
                  </a:lnTo>
                  <a:cubicBezTo>
                    <a:pt x="322" y="453"/>
                    <a:pt x="441" y="334"/>
                    <a:pt x="596" y="334"/>
                  </a:cubicBezTo>
                  <a:cubicBezTo>
                    <a:pt x="679" y="334"/>
                    <a:pt x="763" y="262"/>
                    <a:pt x="763" y="167"/>
                  </a:cubicBezTo>
                  <a:cubicBezTo>
                    <a:pt x="763" y="84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8" name="Google Shape;10068;p58"/>
            <p:cNvSpPr/>
            <p:nvPr/>
          </p:nvSpPr>
          <p:spPr>
            <a:xfrm>
              <a:off x="1627315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62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62" y="1548"/>
                    <a:pt x="596" y="1548"/>
                  </a:cubicBezTo>
                  <a:cubicBezTo>
                    <a:pt x="917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08" y="524"/>
                    <a:pt x="1024" y="524"/>
                  </a:cubicBezTo>
                  <a:cubicBezTo>
                    <a:pt x="929" y="524"/>
                    <a:pt x="858" y="596"/>
                    <a:pt x="858" y="691"/>
                  </a:cubicBezTo>
                  <a:lnTo>
                    <a:pt x="858" y="953"/>
                  </a:lnTo>
                  <a:cubicBezTo>
                    <a:pt x="858" y="1108"/>
                    <a:pt x="739" y="1227"/>
                    <a:pt x="596" y="1227"/>
                  </a:cubicBezTo>
                  <a:cubicBezTo>
                    <a:pt x="441" y="1227"/>
                    <a:pt x="322" y="1108"/>
                    <a:pt x="322" y="953"/>
                  </a:cubicBezTo>
                  <a:lnTo>
                    <a:pt x="322" y="596"/>
                  </a:lnTo>
                  <a:cubicBezTo>
                    <a:pt x="322" y="453"/>
                    <a:pt x="441" y="334"/>
                    <a:pt x="596" y="334"/>
                  </a:cubicBezTo>
                  <a:cubicBezTo>
                    <a:pt x="679" y="334"/>
                    <a:pt x="751" y="262"/>
                    <a:pt x="751" y="167"/>
                  </a:cubicBezTo>
                  <a:cubicBezTo>
                    <a:pt x="751" y="84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9" name="Google Shape;10069;p58"/>
            <p:cNvSpPr/>
            <p:nvPr/>
          </p:nvSpPr>
          <p:spPr>
            <a:xfrm>
              <a:off x="1525604" y="3908806"/>
              <a:ext cx="123305" cy="33152"/>
            </a:xfrm>
            <a:custGeom>
              <a:avLst/>
              <a:gdLst/>
              <a:ahLst/>
              <a:cxnLst/>
              <a:rect l="l" t="t" r="r" b="b"/>
              <a:pathLst>
                <a:path w="3883" h="1044" extrusionOk="0">
                  <a:moveTo>
                    <a:pt x="3714" y="0"/>
                  </a:moveTo>
                  <a:cubicBezTo>
                    <a:pt x="3669" y="0"/>
                    <a:pt x="3622" y="18"/>
                    <a:pt x="3585" y="55"/>
                  </a:cubicBezTo>
                  <a:cubicBezTo>
                    <a:pt x="3215" y="460"/>
                    <a:pt x="2596" y="710"/>
                    <a:pt x="1953" y="710"/>
                  </a:cubicBezTo>
                  <a:cubicBezTo>
                    <a:pt x="1299" y="710"/>
                    <a:pt x="679" y="472"/>
                    <a:pt x="310" y="55"/>
                  </a:cubicBezTo>
                  <a:cubicBezTo>
                    <a:pt x="278" y="23"/>
                    <a:pt x="231" y="4"/>
                    <a:pt x="183" y="4"/>
                  </a:cubicBezTo>
                  <a:cubicBezTo>
                    <a:pt x="144" y="4"/>
                    <a:pt x="104" y="17"/>
                    <a:pt x="72" y="43"/>
                  </a:cubicBezTo>
                  <a:cubicBezTo>
                    <a:pt x="13" y="103"/>
                    <a:pt x="1" y="210"/>
                    <a:pt x="60" y="282"/>
                  </a:cubicBezTo>
                  <a:cubicBezTo>
                    <a:pt x="489" y="758"/>
                    <a:pt x="1191" y="1044"/>
                    <a:pt x="1930" y="1044"/>
                  </a:cubicBezTo>
                  <a:cubicBezTo>
                    <a:pt x="2680" y="1044"/>
                    <a:pt x="3370" y="758"/>
                    <a:pt x="3811" y="282"/>
                  </a:cubicBezTo>
                  <a:cubicBezTo>
                    <a:pt x="3882" y="210"/>
                    <a:pt x="3882" y="103"/>
                    <a:pt x="3823" y="43"/>
                  </a:cubicBezTo>
                  <a:cubicBezTo>
                    <a:pt x="3794" y="15"/>
                    <a:pt x="3755" y="0"/>
                    <a:pt x="37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0" name="Google Shape;10070;p58"/>
            <p:cNvSpPr/>
            <p:nvPr/>
          </p:nvSpPr>
          <p:spPr>
            <a:xfrm>
              <a:off x="1408777" y="3680964"/>
              <a:ext cx="298338" cy="296528"/>
            </a:xfrm>
            <a:custGeom>
              <a:avLst/>
              <a:gdLst/>
              <a:ahLst/>
              <a:cxnLst/>
              <a:rect l="l" t="t" r="r" b="b"/>
              <a:pathLst>
                <a:path w="9395" h="9338" extrusionOk="0">
                  <a:moveTo>
                    <a:pt x="5655" y="0"/>
                  </a:moveTo>
                  <a:cubicBezTo>
                    <a:pt x="5592" y="0"/>
                    <a:pt x="5529" y="1"/>
                    <a:pt x="5466" y="3"/>
                  </a:cubicBezTo>
                  <a:cubicBezTo>
                    <a:pt x="4037" y="51"/>
                    <a:pt x="2692" y="622"/>
                    <a:pt x="1680" y="1634"/>
                  </a:cubicBezTo>
                  <a:cubicBezTo>
                    <a:pt x="667" y="2646"/>
                    <a:pt x="96" y="3992"/>
                    <a:pt x="48" y="5421"/>
                  </a:cubicBezTo>
                  <a:cubicBezTo>
                    <a:pt x="1" y="6849"/>
                    <a:pt x="489" y="8219"/>
                    <a:pt x="1429" y="9278"/>
                  </a:cubicBezTo>
                  <a:cubicBezTo>
                    <a:pt x="1465" y="9302"/>
                    <a:pt x="1501" y="9338"/>
                    <a:pt x="1549" y="9338"/>
                  </a:cubicBezTo>
                  <a:cubicBezTo>
                    <a:pt x="1596" y="9338"/>
                    <a:pt x="1620" y="9314"/>
                    <a:pt x="1656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406" y="4075"/>
                    <a:pt x="941" y="2813"/>
                    <a:pt x="1894" y="1861"/>
                  </a:cubicBezTo>
                  <a:cubicBezTo>
                    <a:pt x="2846" y="908"/>
                    <a:pt x="4108" y="360"/>
                    <a:pt x="5454" y="325"/>
                  </a:cubicBezTo>
                  <a:cubicBezTo>
                    <a:pt x="5500" y="323"/>
                    <a:pt x="5547" y="323"/>
                    <a:pt x="5594" y="323"/>
                  </a:cubicBezTo>
                  <a:cubicBezTo>
                    <a:pt x="6878" y="323"/>
                    <a:pt x="8120" y="796"/>
                    <a:pt x="9085" y="1634"/>
                  </a:cubicBezTo>
                  <a:cubicBezTo>
                    <a:pt x="9119" y="1663"/>
                    <a:pt x="9162" y="1678"/>
                    <a:pt x="9203" y="1678"/>
                  </a:cubicBezTo>
                  <a:cubicBezTo>
                    <a:pt x="9248" y="1678"/>
                    <a:pt x="9292" y="1660"/>
                    <a:pt x="9323" y="1623"/>
                  </a:cubicBezTo>
                  <a:cubicBezTo>
                    <a:pt x="9395" y="1551"/>
                    <a:pt x="9395" y="1444"/>
                    <a:pt x="9323" y="1384"/>
                  </a:cubicBezTo>
                  <a:cubicBezTo>
                    <a:pt x="8300" y="486"/>
                    <a:pt x="7004" y="0"/>
                    <a:pt x="5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1" name="Google Shape;10071;p58"/>
            <p:cNvSpPr/>
            <p:nvPr/>
          </p:nvSpPr>
          <p:spPr>
            <a:xfrm>
              <a:off x="1468508" y="3739075"/>
              <a:ext cx="297989" cy="297036"/>
            </a:xfrm>
            <a:custGeom>
              <a:avLst/>
              <a:gdLst/>
              <a:ahLst/>
              <a:cxnLst/>
              <a:rect l="l" t="t" r="r" b="b"/>
              <a:pathLst>
                <a:path w="9384" h="9354" extrusionOk="0">
                  <a:moveTo>
                    <a:pt x="7834" y="1"/>
                  </a:moveTo>
                  <a:cubicBezTo>
                    <a:pt x="7795" y="1"/>
                    <a:pt x="7754" y="15"/>
                    <a:pt x="7716" y="43"/>
                  </a:cubicBezTo>
                  <a:cubicBezTo>
                    <a:pt x="7645" y="102"/>
                    <a:pt x="7645" y="209"/>
                    <a:pt x="7704" y="281"/>
                  </a:cubicBezTo>
                  <a:cubicBezTo>
                    <a:pt x="8585" y="1281"/>
                    <a:pt x="9062" y="2579"/>
                    <a:pt x="9014" y="3912"/>
                  </a:cubicBezTo>
                  <a:cubicBezTo>
                    <a:pt x="8966" y="5257"/>
                    <a:pt x="8431" y="6520"/>
                    <a:pt x="7478" y="7472"/>
                  </a:cubicBezTo>
                  <a:cubicBezTo>
                    <a:pt x="6526" y="8425"/>
                    <a:pt x="5263" y="8972"/>
                    <a:pt x="3918" y="9008"/>
                  </a:cubicBezTo>
                  <a:cubicBezTo>
                    <a:pt x="3870" y="9009"/>
                    <a:pt x="3823" y="9010"/>
                    <a:pt x="3775" y="9010"/>
                  </a:cubicBezTo>
                  <a:cubicBezTo>
                    <a:pt x="2492" y="9010"/>
                    <a:pt x="1251" y="8548"/>
                    <a:pt x="299" y="7698"/>
                  </a:cubicBezTo>
                  <a:cubicBezTo>
                    <a:pt x="259" y="7670"/>
                    <a:pt x="216" y="7655"/>
                    <a:pt x="175" y="7655"/>
                  </a:cubicBezTo>
                  <a:cubicBezTo>
                    <a:pt x="130" y="7655"/>
                    <a:pt x="86" y="7673"/>
                    <a:pt x="49" y="7710"/>
                  </a:cubicBezTo>
                  <a:cubicBezTo>
                    <a:pt x="1" y="7782"/>
                    <a:pt x="1" y="7889"/>
                    <a:pt x="72" y="7948"/>
                  </a:cubicBezTo>
                  <a:cubicBezTo>
                    <a:pt x="1096" y="8853"/>
                    <a:pt x="2394" y="9353"/>
                    <a:pt x="3763" y="9353"/>
                  </a:cubicBezTo>
                  <a:lnTo>
                    <a:pt x="3930" y="9353"/>
                  </a:lnTo>
                  <a:cubicBezTo>
                    <a:pt x="5359" y="9306"/>
                    <a:pt x="6692" y="8722"/>
                    <a:pt x="7704" y="7710"/>
                  </a:cubicBezTo>
                  <a:cubicBezTo>
                    <a:pt x="8716" y="6698"/>
                    <a:pt x="9300" y="5365"/>
                    <a:pt x="9347" y="3936"/>
                  </a:cubicBezTo>
                  <a:cubicBezTo>
                    <a:pt x="9383" y="2507"/>
                    <a:pt x="8895" y="1126"/>
                    <a:pt x="7954" y="66"/>
                  </a:cubicBezTo>
                  <a:cubicBezTo>
                    <a:pt x="7922" y="21"/>
                    <a:pt x="7879" y="1"/>
                    <a:pt x="7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72" name="Google Shape;10072;p58"/>
          <p:cNvGrpSpPr/>
          <p:nvPr/>
        </p:nvGrpSpPr>
        <p:grpSpPr>
          <a:xfrm>
            <a:off x="1952836" y="3680964"/>
            <a:ext cx="357720" cy="355148"/>
            <a:chOff x="1952836" y="3680964"/>
            <a:chExt cx="357720" cy="355148"/>
          </a:xfrm>
        </p:grpSpPr>
        <p:sp>
          <p:nvSpPr>
            <p:cNvPr id="10073" name="Google Shape;10073;p58"/>
            <p:cNvSpPr/>
            <p:nvPr/>
          </p:nvSpPr>
          <p:spPr>
            <a:xfrm>
              <a:off x="2054166" y="3814144"/>
              <a:ext cx="38233" cy="49188"/>
            </a:xfrm>
            <a:custGeom>
              <a:avLst/>
              <a:gdLst/>
              <a:ahLst/>
              <a:cxnLst/>
              <a:rect l="l" t="t" r="r" b="b"/>
              <a:pathLst>
                <a:path w="1204" h="1549" extrusionOk="0">
                  <a:moveTo>
                    <a:pt x="596" y="0"/>
                  </a:moveTo>
                  <a:cubicBezTo>
                    <a:pt x="275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75" y="1548"/>
                    <a:pt x="596" y="1548"/>
                  </a:cubicBezTo>
                  <a:cubicBezTo>
                    <a:pt x="929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203" y="596"/>
                    <a:pt x="1120" y="524"/>
                    <a:pt x="1037" y="524"/>
                  </a:cubicBezTo>
                  <a:cubicBezTo>
                    <a:pt x="941" y="524"/>
                    <a:pt x="870" y="596"/>
                    <a:pt x="870" y="691"/>
                  </a:cubicBezTo>
                  <a:lnTo>
                    <a:pt x="870" y="953"/>
                  </a:lnTo>
                  <a:cubicBezTo>
                    <a:pt x="870" y="1108"/>
                    <a:pt x="751" y="1227"/>
                    <a:pt x="596" y="1227"/>
                  </a:cubicBezTo>
                  <a:cubicBezTo>
                    <a:pt x="453" y="1227"/>
                    <a:pt x="334" y="1108"/>
                    <a:pt x="334" y="953"/>
                  </a:cubicBezTo>
                  <a:lnTo>
                    <a:pt x="334" y="596"/>
                  </a:lnTo>
                  <a:cubicBezTo>
                    <a:pt x="334" y="453"/>
                    <a:pt x="453" y="334"/>
                    <a:pt x="596" y="334"/>
                  </a:cubicBezTo>
                  <a:cubicBezTo>
                    <a:pt x="691" y="334"/>
                    <a:pt x="763" y="262"/>
                    <a:pt x="763" y="167"/>
                  </a:cubicBezTo>
                  <a:cubicBezTo>
                    <a:pt x="763" y="84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4" name="Google Shape;10074;p58"/>
            <p:cNvSpPr/>
            <p:nvPr/>
          </p:nvSpPr>
          <p:spPr>
            <a:xfrm>
              <a:off x="2170992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75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75" y="1548"/>
                    <a:pt x="596" y="1548"/>
                  </a:cubicBezTo>
                  <a:cubicBezTo>
                    <a:pt x="929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20" y="524"/>
                    <a:pt x="1037" y="524"/>
                  </a:cubicBezTo>
                  <a:cubicBezTo>
                    <a:pt x="941" y="524"/>
                    <a:pt x="870" y="596"/>
                    <a:pt x="870" y="691"/>
                  </a:cubicBezTo>
                  <a:lnTo>
                    <a:pt x="870" y="953"/>
                  </a:lnTo>
                  <a:cubicBezTo>
                    <a:pt x="870" y="1108"/>
                    <a:pt x="751" y="1227"/>
                    <a:pt x="596" y="1227"/>
                  </a:cubicBezTo>
                  <a:cubicBezTo>
                    <a:pt x="453" y="1227"/>
                    <a:pt x="334" y="1108"/>
                    <a:pt x="334" y="953"/>
                  </a:cubicBezTo>
                  <a:lnTo>
                    <a:pt x="334" y="596"/>
                  </a:lnTo>
                  <a:cubicBezTo>
                    <a:pt x="334" y="453"/>
                    <a:pt x="453" y="334"/>
                    <a:pt x="596" y="334"/>
                  </a:cubicBezTo>
                  <a:cubicBezTo>
                    <a:pt x="691" y="334"/>
                    <a:pt x="763" y="262"/>
                    <a:pt x="763" y="167"/>
                  </a:cubicBezTo>
                  <a:cubicBezTo>
                    <a:pt x="763" y="84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5" name="Google Shape;10075;p58"/>
            <p:cNvSpPr/>
            <p:nvPr/>
          </p:nvSpPr>
          <p:spPr>
            <a:xfrm>
              <a:off x="2070043" y="3908647"/>
              <a:ext cx="122924" cy="33311"/>
            </a:xfrm>
            <a:custGeom>
              <a:avLst/>
              <a:gdLst/>
              <a:ahLst/>
              <a:cxnLst/>
              <a:rect l="l" t="t" r="r" b="b"/>
              <a:pathLst>
                <a:path w="3871" h="1049" extrusionOk="0">
                  <a:moveTo>
                    <a:pt x="1930" y="1"/>
                  </a:moveTo>
                  <a:cubicBezTo>
                    <a:pt x="1191" y="1"/>
                    <a:pt x="489" y="287"/>
                    <a:pt x="60" y="763"/>
                  </a:cubicBezTo>
                  <a:cubicBezTo>
                    <a:pt x="1" y="822"/>
                    <a:pt x="1" y="930"/>
                    <a:pt x="72" y="1001"/>
                  </a:cubicBezTo>
                  <a:cubicBezTo>
                    <a:pt x="101" y="1029"/>
                    <a:pt x="140" y="1044"/>
                    <a:pt x="181" y="1044"/>
                  </a:cubicBezTo>
                  <a:cubicBezTo>
                    <a:pt x="226" y="1044"/>
                    <a:pt x="273" y="1026"/>
                    <a:pt x="310" y="989"/>
                  </a:cubicBezTo>
                  <a:cubicBezTo>
                    <a:pt x="679" y="584"/>
                    <a:pt x="1299" y="334"/>
                    <a:pt x="1953" y="334"/>
                  </a:cubicBezTo>
                  <a:cubicBezTo>
                    <a:pt x="2596" y="334"/>
                    <a:pt x="3215" y="572"/>
                    <a:pt x="3585" y="989"/>
                  </a:cubicBezTo>
                  <a:cubicBezTo>
                    <a:pt x="3620" y="1013"/>
                    <a:pt x="3656" y="1049"/>
                    <a:pt x="3704" y="1049"/>
                  </a:cubicBezTo>
                  <a:cubicBezTo>
                    <a:pt x="3751" y="1049"/>
                    <a:pt x="3775" y="1037"/>
                    <a:pt x="3811" y="1001"/>
                  </a:cubicBezTo>
                  <a:cubicBezTo>
                    <a:pt x="3870" y="930"/>
                    <a:pt x="3870" y="822"/>
                    <a:pt x="3811" y="763"/>
                  </a:cubicBezTo>
                  <a:cubicBezTo>
                    <a:pt x="3382" y="287"/>
                    <a:pt x="2680" y="1"/>
                    <a:pt x="1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6" name="Google Shape;10076;p58"/>
            <p:cNvSpPr/>
            <p:nvPr/>
          </p:nvSpPr>
          <p:spPr>
            <a:xfrm>
              <a:off x="1952836" y="3680964"/>
              <a:ext cx="298338" cy="296528"/>
            </a:xfrm>
            <a:custGeom>
              <a:avLst/>
              <a:gdLst/>
              <a:ahLst/>
              <a:cxnLst/>
              <a:rect l="l" t="t" r="r" b="b"/>
              <a:pathLst>
                <a:path w="9395" h="9338" extrusionOk="0">
                  <a:moveTo>
                    <a:pt x="5654" y="0"/>
                  </a:moveTo>
                  <a:cubicBezTo>
                    <a:pt x="5591" y="0"/>
                    <a:pt x="5528" y="1"/>
                    <a:pt x="5466" y="3"/>
                  </a:cubicBezTo>
                  <a:cubicBezTo>
                    <a:pt x="4037" y="51"/>
                    <a:pt x="2692" y="622"/>
                    <a:pt x="1680" y="1634"/>
                  </a:cubicBezTo>
                  <a:cubicBezTo>
                    <a:pt x="668" y="2646"/>
                    <a:pt x="84" y="3992"/>
                    <a:pt x="48" y="5421"/>
                  </a:cubicBezTo>
                  <a:cubicBezTo>
                    <a:pt x="1" y="6849"/>
                    <a:pt x="489" y="8219"/>
                    <a:pt x="1430" y="9278"/>
                  </a:cubicBezTo>
                  <a:cubicBezTo>
                    <a:pt x="1453" y="9302"/>
                    <a:pt x="1501" y="9338"/>
                    <a:pt x="1549" y="9338"/>
                  </a:cubicBezTo>
                  <a:cubicBezTo>
                    <a:pt x="1596" y="9338"/>
                    <a:pt x="1620" y="9314"/>
                    <a:pt x="1656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406" y="4075"/>
                    <a:pt x="941" y="2813"/>
                    <a:pt x="1894" y="1861"/>
                  </a:cubicBezTo>
                  <a:cubicBezTo>
                    <a:pt x="2846" y="908"/>
                    <a:pt x="4108" y="360"/>
                    <a:pt x="5442" y="325"/>
                  </a:cubicBezTo>
                  <a:cubicBezTo>
                    <a:pt x="5489" y="323"/>
                    <a:pt x="5536" y="323"/>
                    <a:pt x="5583" y="323"/>
                  </a:cubicBezTo>
                  <a:cubicBezTo>
                    <a:pt x="6878" y="323"/>
                    <a:pt x="8120" y="796"/>
                    <a:pt x="9073" y="1634"/>
                  </a:cubicBezTo>
                  <a:cubicBezTo>
                    <a:pt x="9113" y="1663"/>
                    <a:pt x="9156" y="1678"/>
                    <a:pt x="9196" y="1678"/>
                  </a:cubicBezTo>
                  <a:cubicBezTo>
                    <a:pt x="9239" y="1678"/>
                    <a:pt x="9280" y="1660"/>
                    <a:pt x="9312" y="1623"/>
                  </a:cubicBezTo>
                  <a:cubicBezTo>
                    <a:pt x="9395" y="1551"/>
                    <a:pt x="9395" y="1444"/>
                    <a:pt x="9312" y="1384"/>
                  </a:cubicBezTo>
                  <a:cubicBezTo>
                    <a:pt x="8288" y="486"/>
                    <a:pt x="6992" y="0"/>
                    <a:pt x="56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7" name="Google Shape;10077;p58"/>
            <p:cNvSpPr/>
            <p:nvPr/>
          </p:nvSpPr>
          <p:spPr>
            <a:xfrm>
              <a:off x="2012217" y="3739075"/>
              <a:ext cx="298338" cy="297036"/>
            </a:xfrm>
            <a:custGeom>
              <a:avLst/>
              <a:gdLst/>
              <a:ahLst/>
              <a:cxnLst/>
              <a:rect l="l" t="t" r="r" b="b"/>
              <a:pathLst>
                <a:path w="9395" h="9354" extrusionOk="0">
                  <a:moveTo>
                    <a:pt x="7840" y="1"/>
                  </a:moveTo>
                  <a:cubicBezTo>
                    <a:pt x="7800" y="1"/>
                    <a:pt x="7760" y="15"/>
                    <a:pt x="7727" y="43"/>
                  </a:cubicBezTo>
                  <a:cubicBezTo>
                    <a:pt x="7656" y="102"/>
                    <a:pt x="7656" y="209"/>
                    <a:pt x="7715" y="281"/>
                  </a:cubicBezTo>
                  <a:cubicBezTo>
                    <a:pt x="8585" y="1281"/>
                    <a:pt x="9073" y="2579"/>
                    <a:pt x="9025" y="3912"/>
                  </a:cubicBezTo>
                  <a:cubicBezTo>
                    <a:pt x="8977" y="5257"/>
                    <a:pt x="8442" y="6520"/>
                    <a:pt x="7489" y="7472"/>
                  </a:cubicBezTo>
                  <a:cubicBezTo>
                    <a:pt x="6537" y="8425"/>
                    <a:pt x="5275" y="8972"/>
                    <a:pt x="3929" y="9008"/>
                  </a:cubicBezTo>
                  <a:cubicBezTo>
                    <a:pt x="3881" y="9009"/>
                    <a:pt x="3834" y="9010"/>
                    <a:pt x="3786" y="9010"/>
                  </a:cubicBezTo>
                  <a:cubicBezTo>
                    <a:pt x="2503" y="9010"/>
                    <a:pt x="1262" y="8548"/>
                    <a:pt x="298" y="7698"/>
                  </a:cubicBezTo>
                  <a:cubicBezTo>
                    <a:pt x="264" y="7670"/>
                    <a:pt x="221" y="7655"/>
                    <a:pt x="180" y="7655"/>
                  </a:cubicBezTo>
                  <a:cubicBezTo>
                    <a:pt x="135" y="7655"/>
                    <a:pt x="91" y="7673"/>
                    <a:pt x="60" y="7710"/>
                  </a:cubicBezTo>
                  <a:cubicBezTo>
                    <a:pt x="0" y="7782"/>
                    <a:pt x="0" y="7889"/>
                    <a:pt x="83" y="7948"/>
                  </a:cubicBezTo>
                  <a:cubicBezTo>
                    <a:pt x="1107" y="8853"/>
                    <a:pt x="2405" y="9353"/>
                    <a:pt x="3774" y="9353"/>
                  </a:cubicBezTo>
                  <a:lnTo>
                    <a:pt x="3929" y="9353"/>
                  </a:lnTo>
                  <a:cubicBezTo>
                    <a:pt x="5358" y="9306"/>
                    <a:pt x="6703" y="8722"/>
                    <a:pt x="7715" y="7710"/>
                  </a:cubicBezTo>
                  <a:cubicBezTo>
                    <a:pt x="8727" y="6698"/>
                    <a:pt x="9311" y="5365"/>
                    <a:pt x="9347" y="3936"/>
                  </a:cubicBezTo>
                  <a:cubicBezTo>
                    <a:pt x="9394" y="2507"/>
                    <a:pt x="8906" y="1126"/>
                    <a:pt x="7965" y="66"/>
                  </a:cubicBezTo>
                  <a:cubicBezTo>
                    <a:pt x="7933" y="21"/>
                    <a:pt x="7887" y="1"/>
                    <a:pt x="78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78" name="Google Shape;10078;p58"/>
          <p:cNvGrpSpPr/>
          <p:nvPr/>
        </p:nvGrpSpPr>
        <p:grpSpPr>
          <a:xfrm>
            <a:off x="2496894" y="3680964"/>
            <a:ext cx="357720" cy="355148"/>
            <a:chOff x="2496894" y="3680964"/>
            <a:chExt cx="357720" cy="355148"/>
          </a:xfrm>
        </p:grpSpPr>
        <p:sp>
          <p:nvSpPr>
            <p:cNvPr id="10079" name="Google Shape;10079;p58"/>
            <p:cNvSpPr/>
            <p:nvPr/>
          </p:nvSpPr>
          <p:spPr>
            <a:xfrm>
              <a:off x="2598224" y="3786549"/>
              <a:ext cx="37852" cy="59763"/>
            </a:xfrm>
            <a:custGeom>
              <a:avLst/>
              <a:gdLst/>
              <a:ahLst/>
              <a:cxnLst/>
              <a:rect l="l" t="t" r="r" b="b"/>
              <a:pathLst>
                <a:path w="1192" h="1882" extrusionOk="0">
                  <a:moveTo>
                    <a:pt x="596" y="0"/>
                  </a:moveTo>
                  <a:cubicBezTo>
                    <a:pt x="275" y="0"/>
                    <a:pt x="1" y="262"/>
                    <a:pt x="1" y="595"/>
                  </a:cubicBezTo>
                  <a:lnTo>
                    <a:pt x="1" y="1286"/>
                  </a:lnTo>
                  <a:cubicBezTo>
                    <a:pt x="1" y="1619"/>
                    <a:pt x="275" y="1881"/>
                    <a:pt x="596" y="1881"/>
                  </a:cubicBezTo>
                  <a:cubicBezTo>
                    <a:pt x="929" y="1881"/>
                    <a:pt x="1191" y="1619"/>
                    <a:pt x="1191" y="1286"/>
                  </a:cubicBezTo>
                  <a:lnTo>
                    <a:pt x="1191" y="679"/>
                  </a:lnTo>
                  <a:cubicBezTo>
                    <a:pt x="1191" y="595"/>
                    <a:pt x="1120" y="512"/>
                    <a:pt x="1037" y="512"/>
                  </a:cubicBezTo>
                  <a:cubicBezTo>
                    <a:pt x="941" y="512"/>
                    <a:pt x="870" y="595"/>
                    <a:pt x="870" y="679"/>
                  </a:cubicBezTo>
                  <a:lnTo>
                    <a:pt x="870" y="1286"/>
                  </a:lnTo>
                  <a:cubicBezTo>
                    <a:pt x="870" y="1441"/>
                    <a:pt x="751" y="1560"/>
                    <a:pt x="596" y="1560"/>
                  </a:cubicBezTo>
                  <a:cubicBezTo>
                    <a:pt x="453" y="1560"/>
                    <a:pt x="334" y="1441"/>
                    <a:pt x="334" y="1286"/>
                  </a:cubicBezTo>
                  <a:lnTo>
                    <a:pt x="334" y="595"/>
                  </a:lnTo>
                  <a:cubicBezTo>
                    <a:pt x="334" y="441"/>
                    <a:pt x="453" y="322"/>
                    <a:pt x="596" y="322"/>
                  </a:cubicBezTo>
                  <a:cubicBezTo>
                    <a:pt x="691" y="322"/>
                    <a:pt x="763" y="250"/>
                    <a:pt x="763" y="155"/>
                  </a:cubicBezTo>
                  <a:cubicBezTo>
                    <a:pt x="763" y="72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0" name="Google Shape;10080;p58"/>
            <p:cNvSpPr/>
            <p:nvPr/>
          </p:nvSpPr>
          <p:spPr>
            <a:xfrm>
              <a:off x="2715051" y="3786549"/>
              <a:ext cx="37852" cy="59763"/>
            </a:xfrm>
            <a:custGeom>
              <a:avLst/>
              <a:gdLst/>
              <a:ahLst/>
              <a:cxnLst/>
              <a:rect l="l" t="t" r="r" b="b"/>
              <a:pathLst>
                <a:path w="1192" h="1882" extrusionOk="0">
                  <a:moveTo>
                    <a:pt x="596" y="0"/>
                  </a:moveTo>
                  <a:cubicBezTo>
                    <a:pt x="275" y="0"/>
                    <a:pt x="1" y="262"/>
                    <a:pt x="1" y="595"/>
                  </a:cubicBezTo>
                  <a:lnTo>
                    <a:pt x="1" y="1286"/>
                  </a:lnTo>
                  <a:cubicBezTo>
                    <a:pt x="1" y="1619"/>
                    <a:pt x="275" y="1881"/>
                    <a:pt x="596" y="1881"/>
                  </a:cubicBezTo>
                  <a:cubicBezTo>
                    <a:pt x="930" y="1881"/>
                    <a:pt x="1191" y="1619"/>
                    <a:pt x="1191" y="1286"/>
                  </a:cubicBezTo>
                  <a:lnTo>
                    <a:pt x="1191" y="679"/>
                  </a:lnTo>
                  <a:cubicBezTo>
                    <a:pt x="1191" y="595"/>
                    <a:pt x="1120" y="512"/>
                    <a:pt x="1025" y="512"/>
                  </a:cubicBezTo>
                  <a:cubicBezTo>
                    <a:pt x="941" y="512"/>
                    <a:pt x="870" y="595"/>
                    <a:pt x="870" y="679"/>
                  </a:cubicBezTo>
                  <a:lnTo>
                    <a:pt x="870" y="1286"/>
                  </a:lnTo>
                  <a:cubicBezTo>
                    <a:pt x="870" y="1441"/>
                    <a:pt x="751" y="1560"/>
                    <a:pt x="596" y="1560"/>
                  </a:cubicBezTo>
                  <a:cubicBezTo>
                    <a:pt x="453" y="1560"/>
                    <a:pt x="334" y="1441"/>
                    <a:pt x="334" y="1286"/>
                  </a:cubicBezTo>
                  <a:lnTo>
                    <a:pt x="334" y="595"/>
                  </a:lnTo>
                  <a:cubicBezTo>
                    <a:pt x="334" y="441"/>
                    <a:pt x="453" y="322"/>
                    <a:pt x="596" y="322"/>
                  </a:cubicBezTo>
                  <a:cubicBezTo>
                    <a:pt x="691" y="322"/>
                    <a:pt x="763" y="250"/>
                    <a:pt x="763" y="155"/>
                  </a:cubicBezTo>
                  <a:cubicBezTo>
                    <a:pt x="763" y="72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1" name="Google Shape;10081;p58"/>
            <p:cNvSpPr/>
            <p:nvPr/>
          </p:nvSpPr>
          <p:spPr>
            <a:xfrm>
              <a:off x="2496894" y="3680964"/>
              <a:ext cx="297989" cy="296528"/>
            </a:xfrm>
            <a:custGeom>
              <a:avLst/>
              <a:gdLst/>
              <a:ahLst/>
              <a:cxnLst/>
              <a:rect l="l" t="t" r="r" b="b"/>
              <a:pathLst>
                <a:path w="9384" h="9338" extrusionOk="0">
                  <a:moveTo>
                    <a:pt x="5643" y="0"/>
                  </a:moveTo>
                  <a:cubicBezTo>
                    <a:pt x="5580" y="0"/>
                    <a:pt x="5517" y="1"/>
                    <a:pt x="5454" y="3"/>
                  </a:cubicBezTo>
                  <a:cubicBezTo>
                    <a:pt x="4025" y="51"/>
                    <a:pt x="2692" y="622"/>
                    <a:pt x="1680" y="1634"/>
                  </a:cubicBezTo>
                  <a:cubicBezTo>
                    <a:pt x="668" y="2646"/>
                    <a:pt x="84" y="3992"/>
                    <a:pt x="37" y="5421"/>
                  </a:cubicBezTo>
                  <a:cubicBezTo>
                    <a:pt x="1" y="6849"/>
                    <a:pt x="489" y="8219"/>
                    <a:pt x="1430" y="9278"/>
                  </a:cubicBezTo>
                  <a:cubicBezTo>
                    <a:pt x="1453" y="9302"/>
                    <a:pt x="1501" y="9338"/>
                    <a:pt x="1549" y="9338"/>
                  </a:cubicBezTo>
                  <a:cubicBezTo>
                    <a:pt x="1584" y="9338"/>
                    <a:pt x="1620" y="9314"/>
                    <a:pt x="1644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394" y="4075"/>
                    <a:pt x="930" y="2813"/>
                    <a:pt x="1882" y="1861"/>
                  </a:cubicBezTo>
                  <a:cubicBezTo>
                    <a:pt x="2835" y="908"/>
                    <a:pt x="4109" y="360"/>
                    <a:pt x="5442" y="325"/>
                  </a:cubicBezTo>
                  <a:cubicBezTo>
                    <a:pt x="5489" y="323"/>
                    <a:pt x="5536" y="323"/>
                    <a:pt x="5583" y="323"/>
                  </a:cubicBezTo>
                  <a:cubicBezTo>
                    <a:pt x="6877" y="323"/>
                    <a:pt x="8108" y="796"/>
                    <a:pt x="9073" y="1634"/>
                  </a:cubicBezTo>
                  <a:cubicBezTo>
                    <a:pt x="9108" y="1663"/>
                    <a:pt x="9150" y="1678"/>
                    <a:pt x="9191" y="1678"/>
                  </a:cubicBezTo>
                  <a:cubicBezTo>
                    <a:pt x="9236" y="1678"/>
                    <a:pt x="9280" y="1660"/>
                    <a:pt x="9312" y="1623"/>
                  </a:cubicBezTo>
                  <a:cubicBezTo>
                    <a:pt x="9383" y="1551"/>
                    <a:pt x="9383" y="1444"/>
                    <a:pt x="9312" y="1384"/>
                  </a:cubicBezTo>
                  <a:cubicBezTo>
                    <a:pt x="8288" y="486"/>
                    <a:pt x="6992" y="0"/>
                    <a:pt x="5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2" name="Google Shape;10082;p58"/>
            <p:cNvSpPr/>
            <p:nvPr/>
          </p:nvSpPr>
          <p:spPr>
            <a:xfrm>
              <a:off x="2555895" y="3739075"/>
              <a:ext cx="298719" cy="297036"/>
            </a:xfrm>
            <a:custGeom>
              <a:avLst/>
              <a:gdLst/>
              <a:ahLst/>
              <a:cxnLst/>
              <a:rect l="l" t="t" r="r" b="b"/>
              <a:pathLst>
                <a:path w="9407" h="9354" extrusionOk="0">
                  <a:moveTo>
                    <a:pt x="7840" y="1"/>
                  </a:moveTo>
                  <a:cubicBezTo>
                    <a:pt x="7800" y="1"/>
                    <a:pt x="7760" y="15"/>
                    <a:pt x="7727" y="43"/>
                  </a:cubicBezTo>
                  <a:cubicBezTo>
                    <a:pt x="7644" y="102"/>
                    <a:pt x="7644" y="209"/>
                    <a:pt x="7704" y="281"/>
                  </a:cubicBezTo>
                  <a:cubicBezTo>
                    <a:pt x="8585" y="1281"/>
                    <a:pt x="9061" y="2579"/>
                    <a:pt x="9013" y="3912"/>
                  </a:cubicBezTo>
                  <a:cubicBezTo>
                    <a:pt x="8978" y="5257"/>
                    <a:pt x="8430" y="6520"/>
                    <a:pt x="7489" y="7472"/>
                  </a:cubicBezTo>
                  <a:cubicBezTo>
                    <a:pt x="6537" y="8425"/>
                    <a:pt x="5263" y="8972"/>
                    <a:pt x="3929" y="9008"/>
                  </a:cubicBezTo>
                  <a:cubicBezTo>
                    <a:pt x="3881" y="9009"/>
                    <a:pt x="3833" y="9010"/>
                    <a:pt x="3785" y="9010"/>
                  </a:cubicBezTo>
                  <a:cubicBezTo>
                    <a:pt x="2491" y="9010"/>
                    <a:pt x="1251" y="8548"/>
                    <a:pt x="298" y="7698"/>
                  </a:cubicBezTo>
                  <a:cubicBezTo>
                    <a:pt x="264" y="7670"/>
                    <a:pt x="222" y="7655"/>
                    <a:pt x="180" y="7655"/>
                  </a:cubicBezTo>
                  <a:cubicBezTo>
                    <a:pt x="135" y="7655"/>
                    <a:pt x="91" y="7673"/>
                    <a:pt x="60" y="7710"/>
                  </a:cubicBezTo>
                  <a:cubicBezTo>
                    <a:pt x="0" y="7782"/>
                    <a:pt x="0" y="7889"/>
                    <a:pt x="72" y="7948"/>
                  </a:cubicBezTo>
                  <a:cubicBezTo>
                    <a:pt x="1096" y="8853"/>
                    <a:pt x="2393" y="9353"/>
                    <a:pt x="3763" y="9353"/>
                  </a:cubicBezTo>
                  <a:lnTo>
                    <a:pt x="3929" y="9353"/>
                  </a:lnTo>
                  <a:cubicBezTo>
                    <a:pt x="5358" y="9306"/>
                    <a:pt x="6692" y="8722"/>
                    <a:pt x="7704" y="7710"/>
                  </a:cubicBezTo>
                  <a:cubicBezTo>
                    <a:pt x="8716" y="6698"/>
                    <a:pt x="9299" y="5365"/>
                    <a:pt x="9347" y="3936"/>
                  </a:cubicBezTo>
                  <a:cubicBezTo>
                    <a:pt x="9406" y="2507"/>
                    <a:pt x="8894" y="1126"/>
                    <a:pt x="7966" y="66"/>
                  </a:cubicBezTo>
                  <a:cubicBezTo>
                    <a:pt x="7933" y="21"/>
                    <a:pt x="7887" y="1"/>
                    <a:pt x="78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3" name="Google Shape;10083;p58"/>
            <p:cNvSpPr/>
            <p:nvPr/>
          </p:nvSpPr>
          <p:spPr>
            <a:xfrm>
              <a:off x="2569867" y="3875336"/>
              <a:ext cx="211393" cy="99139"/>
            </a:xfrm>
            <a:custGeom>
              <a:avLst/>
              <a:gdLst/>
              <a:ahLst/>
              <a:cxnLst/>
              <a:rect l="l" t="t" r="r" b="b"/>
              <a:pathLst>
                <a:path w="6657" h="3122" extrusionOk="0">
                  <a:moveTo>
                    <a:pt x="5692" y="478"/>
                  </a:moveTo>
                  <a:lnTo>
                    <a:pt x="5692" y="478"/>
                  </a:lnTo>
                  <a:cubicBezTo>
                    <a:pt x="5644" y="562"/>
                    <a:pt x="5597" y="657"/>
                    <a:pt x="5537" y="728"/>
                  </a:cubicBezTo>
                  <a:cubicBezTo>
                    <a:pt x="5466" y="859"/>
                    <a:pt x="5311" y="931"/>
                    <a:pt x="5156" y="966"/>
                  </a:cubicBezTo>
                  <a:cubicBezTo>
                    <a:pt x="4537" y="1038"/>
                    <a:pt x="3918" y="1074"/>
                    <a:pt x="3323" y="1074"/>
                  </a:cubicBezTo>
                  <a:cubicBezTo>
                    <a:pt x="2715" y="1074"/>
                    <a:pt x="2096" y="1038"/>
                    <a:pt x="1489" y="966"/>
                  </a:cubicBezTo>
                  <a:cubicBezTo>
                    <a:pt x="1334" y="955"/>
                    <a:pt x="1191" y="859"/>
                    <a:pt x="1108" y="740"/>
                  </a:cubicBezTo>
                  <a:cubicBezTo>
                    <a:pt x="1049" y="657"/>
                    <a:pt x="1001" y="574"/>
                    <a:pt x="953" y="490"/>
                  </a:cubicBezTo>
                  <a:lnTo>
                    <a:pt x="953" y="490"/>
                  </a:lnTo>
                  <a:cubicBezTo>
                    <a:pt x="1727" y="609"/>
                    <a:pt x="2525" y="681"/>
                    <a:pt x="3323" y="681"/>
                  </a:cubicBezTo>
                  <a:cubicBezTo>
                    <a:pt x="4120" y="681"/>
                    <a:pt x="4918" y="609"/>
                    <a:pt x="5692" y="478"/>
                  </a:cubicBezTo>
                  <a:close/>
                  <a:moveTo>
                    <a:pt x="6347" y="324"/>
                  </a:moveTo>
                  <a:cubicBezTo>
                    <a:pt x="6311" y="335"/>
                    <a:pt x="6311" y="335"/>
                    <a:pt x="6311" y="359"/>
                  </a:cubicBezTo>
                  <a:cubicBezTo>
                    <a:pt x="6121" y="1050"/>
                    <a:pt x="5716" y="1681"/>
                    <a:pt x="5180" y="2121"/>
                  </a:cubicBezTo>
                  <a:cubicBezTo>
                    <a:pt x="4644" y="2574"/>
                    <a:pt x="3989" y="2812"/>
                    <a:pt x="3323" y="2812"/>
                  </a:cubicBezTo>
                  <a:cubicBezTo>
                    <a:pt x="2656" y="2812"/>
                    <a:pt x="2001" y="2574"/>
                    <a:pt x="1465" y="2121"/>
                  </a:cubicBezTo>
                  <a:cubicBezTo>
                    <a:pt x="941" y="1693"/>
                    <a:pt x="537" y="1050"/>
                    <a:pt x="334" y="359"/>
                  </a:cubicBezTo>
                  <a:lnTo>
                    <a:pt x="334" y="335"/>
                  </a:lnTo>
                  <a:cubicBezTo>
                    <a:pt x="406" y="359"/>
                    <a:pt x="477" y="371"/>
                    <a:pt x="572" y="395"/>
                  </a:cubicBezTo>
                  <a:cubicBezTo>
                    <a:pt x="644" y="574"/>
                    <a:pt x="739" y="752"/>
                    <a:pt x="834" y="907"/>
                  </a:cubicBezTo>
                  <a:cubicBezTo>
                    <a:pt x="965" y="1109"/>
                    <a:pt x="1203" y="1264"/>
                    <a:pt x="1465" y="1276"/>
                  </a:cubicBezTo>
                  <a:cubicBezTo>
                    <a:pt x="2084" y="1347"/>
                    <a:pt x="2715" y="1383"/>
                    <a:pt x="3335" y="1383"/>
                  </a:cubicBezTo>
                  <a:cubicBezTo>
                    <a:pt x="3954" y="1383"/>
                    <a:pt x="4585" y="1347"/>
                    <a:pt x="5216" y="1276"/>
                  </a:cubicBezTo>
                  <a:cubicBezTo>
                    <a:pt x="5466" y="1240"/>
                    <a:pt x="5704" y="1109"/>
                    <a:pt x="5835" y="883"/>
                  </a:cubicBezTo>
                  <a:cubicBezTo>
                    <a:pt x="5942" y="728"/>
                    <a:pt x="6037" y="562"/>
                    <a:pt x="6109" y="383"/>
                  </a:cubicBezTo>
                  <a:cubicBezTo>
                    <a:pt x="6180" y="371"/>
                    <a:pt x="6252" y="347"/>
                    <a:pt x="6347" y="324"/>
                  </a:cubicBezTo>
                  <a:close/>
                  <a:moveTo>
                    <a:pt x="334" y="0"/>
                  </a:moveTo>
                  <a:cubicBezTo>
                    <a:pt x="256" y="0"/>
                    <a:pt x="181" y="36"/>
                    <a:pt x="120" y="97"/>
                  </a:cubicBezTo>
                  <a:cubicBezTo>
                    <a:pt x="37" y="193"/>
                    <a:pt x="1" y="324"/>
                    <a:pt x="37" y="443"/>
                  </a:cubicBezTo>
                  <a:cubicBezTo>
                    <a:pt x="251" y="1217"/>
                    <a:pt x="668" y="1883"/>
                    <a:pt x="1263" y="2360"/>
                  </a:cubicBezTo>
                  <a:cubicBezTo>
                    <a:pt x="1858" y="2871"/>
                    <a:pt x="2596" y="3122"/>
                    <a:pt x="3335" y="3122"/>
                  </a:cubicBezTo>
                  <a:cubicBezTo>
                    <a:pt x="4097" y="3122"/>
                    <a:pt x="4811" y="2860"/>
                    <a:pt x="5406" y="2360"/>
                  </a:cubicBezTo>
                  <a:cubicBezTo>
                    <a:pt x="5990" y="1871"/>
                    <a:pt x="6418" y="1205"/>
                    <a:pt x="6645" y="443"/>
                  </a:cubicBezTo>
                  <a:cubicBezTo>
                    <a:pt x="6656" y="324"/>
                    <a:pt x="6633" y="193"/>
                    <a:pt x="6549" y="97"/>
                  </a:cubicBezTo>
                  <a:cubicBezTo>
                    <a:pt x="6495" y="43"/>
                    <a:pt x="6412" y="2"/>
                    <a:pt x="6328" y="2"/>
                  </a:cubicBezTo>
                  <a:cubicBezTo>
                    <a:pt x="6302" y="2"/>
                    <a:pt x="6277" y="6"/>
                    <a:pt x="6252" y="14"/>
                  </a:cubicBezTo>
                  <a:cubicBezTo>
                    <a:pt x="5323" y="240"/>
                    <a:pt x="4335" y="359"/>
                    <a:pt x="3335" y="359"/>
                  </a:cubicBezTo>
                  <a:cubicBezTo>
                    <a:pt x="2334" y="359"/>
                    <a:pt x="1346" y="240"/>
                    <a:pt x="418" y="14"/>
                  </a:cubicBezTo>
                  <a:cubicBezTo>
                    <a:pt x="390" y="5"/>
                    <a:pt x="362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84" name="Google Shape;10084;p58"/>
          <p:cNvGrpSpPr/>
          <p:nvPr/>
        </p:nvGrpSpPr>
        <p:grpSpPr>
          <a:xfrm>
            <a:off x="3040984" y="3681059"/>
            <a:ext cx="356164" cy="355815"/>
            <a:chOff x="3040984" y="3681059"/>
            <a:chExt cx="356164" cy="355815"/>
          </a:xfrm>
        </p:grpSpPr>
        <p:sp>
          <p:nvSpPr>
            <p:cNvPr id="10085" name="Google Shape;10085;p58"/>
            <p:cNvSpPr/>
            <p:nvPr/>
          </p:nvSpPr>
          <p:spPr>
            <a:xfrm>
              <a:off x="3040984" y="3681059"/>
              <a:ext cx="356164" cy="355815"/>
            </a:xfrm>
            <a:custGeom>
              <a:avLst/>
              <a:gdLst/>
              <a:ahLst/>
              <a:cxnLst/>
              <a:rect l="l" t="t" r="r" b="b"/>
              <a:pathLst>
                <a:path w="11216" h="11205" extrusionOk="0">
                  <a:moveTo>
                    <a:pt x="5620" y="0"/>
                  </a:moveTo>
                  <a:cubicBezTo>
                    <a:pt x="4274" y="0"/>
                    <a:pt x="2965" y="488"/>
                    <a:pt x="1953" y="1369"/>
                  </a:cubicBezTo>
                  <a:cubicBezTo>
                    <a:pt x="1881" y="1429"/>
                    <a:pt x="1881" y="1536"/>
                    <a:pt x="1941" y="1608"/>
                  </a:cubicBezTo>
                  <a:cubicBezTo>
                    <a:pt x="1972" y="1645"/>
                    <a:pt x="2016" y="1663"/>
                    <a:pt x="2061" y="1663"/>
                  </a:cubicBezTo>
                  <a:cubicBezTo>
                    <a:pt x="2103" y="1663"/>
                    <a:pt x="2145" y="1648"/>
                    <a:pt x="2179" y="1620"/>
                  </a:cubicBezTo>
                  <a:cubicBezTo>
                    <a:pt x="3131" y="786"/>
                    <a:pt x="4358" y="346"/>
                    <a:pt x="5620" y="346"/>
                  </a:cubicBezTo>
                  <a:cubicBezTo>
                    <a:pt x="7013" y="346"/>
                    <a:pt x="8346" y="893"/>
                    <a:pt x="9335" y="1893"/>
                  </a:cubicBezTo>
                  <a:cubicBezTo>
                    <a:pt x="10335" y="2882"/>
                    <a:pt x="10882" y="4215"/>
                    <a:pt x="10882" y="5608"/>
                  </a:cubicBezTo>
                  <a:cubicBezTo>
                    <a:pt x="10882" y="7013"/>
                    <a:pt x="10335" y="8335"/>
                    <a:pt x="9335" y="9335"/>
                  </a:cubicBezTo>
                  <a:cubicBezTo>
                    <a:pt x="8346" y="10323"/>
                    <a:pt x="7013" y="10883"/>
                    <a:pt x="5620" y="10883"/>
                  </a:cubicBezTo>
                  <a:cubicBezTo>
                    <a:pt x="4215" y="10883"/>
                    <a:pt x="2893" y="10323"/>
                    <a:pt x="1893" y="9335"/>
                  </a:cubicBezTo>
                  <a:cubicBezTo>
                    <a:pt x="893" y="8335"/>
                    <a:pt x="345" y="7013"/>
                    <a:pt x="345" y="5608"/>
                  </a:cubicBezTo>
                  <a:cubicBezTo>
                    <a:pt x="345" y="4298"/>
                    <a:pt x="822" y="3048"/>
                    <a:pt x="1703" y="2084"/>
                  </a:cubicBezTo>
                  <a:cubicBezTo>
                    <a:pt x="1762" y="2012"/>
                    <a:pt x="1762" y="1905"/>
                    <a:pt x="1691" y="1846"/>
                  </a:cubicBezTo>
                  <a:cubicBezTo>
                    <a:pt x="1657" y="1817"/>
                    <a:pt x="1614" y="1802"/>
                    <a:pt x="1573" y="1802"/>
                  </a:cubicBezTo>
                  <a:cubicBezTo>
                    <a:pt x="1528" y="1802"/>
                    <a:pt x="1484" y="1820"/>
                    <a:pt x="1453" y="1858"/>
                  </a:cubicBezTo>
                  <a:cubicBezTo>
                    <a:pt x="512" y="2882"/>
                    <a:pt x="0" y="4227"/>
                    <a:pt x="0" y="5608"/>
                  </a:cubicBezTo>
                  <a:cubicBezTo>
                    <a:pt x="0" y="7096"/>
                    <a:pt x="583" y="8513"/>
                    <a:pt x="1643" y="9573"/>
                  </a:cubicBezTo>
                  <a:cubicBezTo>
                    <a:pt x="2703" y="10621"/>
                    <a:pt x="4096" y="11204"/>
                    <a:pt x="5608" y="11204"/>
                  </a:cubicBezTo>
                  <a:cubicBezTo>
                    <a:pt x="7108" y="11204"/>
                    <a:pt x="8501" y="10621"/>
                    <a:pt x="9561" y="9573"/>
                  </a:cubicBezTo>
                  <a:cubicBezTo>
                    <a:pt x="10620" y="8513"/>
                    <a:pt x="11204" y="7108"/>
                    <a:pt x="11204" y="5608"/>
                  </a:cubicBezTo>
                  <a:cubicBezTo>
                    <a:pt x="11216" y="4096"/>
                    <a:pt x="10632" y="2691"/>
                    <a:pt x="9573" y="1631"/>
                  </a:cubicBezTo>
                  <a:cubicBezTo>
                    <a:pt x="8525" y="572"/>
                    <a:pt x="7120" y="0"/>
                    <a:pt x="5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6" name="Google Shape;10086;p58"/>
            <p:cNvSpPr/>
            <p:nvPr/>
          </p:nvSpPr>
          <p:spPr>
            <a:xfrm>
              <a:off x="3183120" y="3921508"/>
              <a:ext cx="59414" cy="59382"/>
            </a:xfrm>
            <a:custGeom>
              <a:avLst/>
              <a:gdLst/>
              <a:ahLst/>
              <a:cxnLst/>
              <a:rect l="l" t="t" r="r" b="b"/>
              <a:pathLst>
                <a:path w="1871" h="1870" extrusionOk="0">
                  <a:moveTo>
                    <a:pt x="929" y="334"/>
                  </a:moveTo>
                  <a:cubicBezTo>
                    <a:pt x="1263" y="334"/>
                    <a:pt x="1549" y="608"/>
                    <a:pt x="1549" y="941"/>
                  </a:cubicBezTo>
                  <a:cubicBezTo>
                    <a:pt x="1549" y="1263"/>
                    <a:pt x="1263" y="1548"/>
                    <a:pt x="929" y="1548"/>
                  </a:cubicBezTo>
                  <a:cubicBezTo>
                    <a:pt x="608" y="1548"/>
                    <a:pt x="334" y="1287"/>
                    <a:pt x="334" y="941"/>
                  </a:cubicBezTo>
                  <a:cubicBezTo>
                    <a:pt x="334" y="596"/>
                    <a:pt x="608" y="334"/>
                    <a:pt x="929" y="334"/>
                  </a:cubicBezTo>
                  <a:close/>
                  <a:moveTo>
                    <a:pt x="929" y="1"/>
                  </a:moveTo>
                  <a:cubicBezTo>
                    <a:pt x="429" y="1"/>
                    <a:pt x="1" y="417"/>
                    <a:pt x="1" y="941"/>
                  </a:cubicBezTo>
                  <a:cubicBezTo>
                    <a:pt x="1" y="1453"/>
                    <a:pt x="417" y="1870"/>
                    <a:pt x="929" y="1870"/>
                  </a:cubicBezTo>
                  <a:cubicBezTo>
                    <a:pt x="1191" y="1870"/>
                    <a:pt x="1430" y="1775"/>
                    <a:pt x="1608" y="1596"/>
                  </a:cubicBezTo>
                  <a:cubicBezTo>
                    <a:pt x="1787" y="1417"/>
                    <a:pt x="1870" y="1179"/>
                    <a:pt x="1870" y="941"/>
                  </a:cubicBezTo>
                  <a:cubicBezTo>
                    <a:pt x="1870" y="679"/>
                    <a:pt x="1763" y="453"/>
                    <a:pt x="1584" y="263"/>
                  </a:cubicBezTo>
                  <a:cubicBezTo>
                    <a:pt x="1406" y="108"/>
                    <a:pt x="119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7" name="Google Shape;10087;p58"/>
            <p:cNvSpPr/>
            <p:nvPr/>
          </p:nvSpPr>
          <p:spPr>
            <a:xfrm>
              <a:off x="3149110" y="3735868"/>
              <a:ext cx="141056" cy="174716"/>
            </a:xfrm>
            <a:custGeom>
              <a:avLst/>
              <a:gdLst/>
              <a:ahLst/>
              <a:cxnLst/>
              <a:rect l="l" t="t" r="r" b="b"/>
              <a:pathLst>
                <a:path w="4442" h="5502" extrusionOk="0">
                  <a:moveTo>
                    <a:pt x="2143" y="1"/>
                  </a:moveTo>
                  <a:cubicBezTo>
                    <a:pt x="1322" y="1"/>
                    <a:pt x="810" y="286"/>
                    <a:pt x="536" y="501"/>
                  </a:cubicBezTo>
                  <a:cubicBezTo>
                    <a:pt x="191" y="786"/>
                    <a:pt x="0" y="1156"/>
                    <a:pt x="0" y="1513"/>
                  </a:cubicBezTo>
                  <a:cubicBezTo>
                    <a:pt x="0" y="1739"/>
                    <a:pt x="84" y="1941"/>
                    <a:pt x="262" y="2084"/>
                  </a:cubicBezTo>
                  <a:cubicBezTo>
                    <a:pt x="393" y="2203"/>
                    <a:pt x="596" y="2263"/>
                    <a:pt x="774" y="2263"/>
                  </a:cubicBezTo>
                  <a:cubicBezTo>
                    <a:pt x="1084" y="2263"/>
                    <a:pt x="1227" y="2049"/>
                    <a:pt x="1334" y="1894"/>
                  </a:cubicBezTo>
                  <a:cubicBezTo>
                    <a:pt x="1465" y="1679"/>
                    <a:pt x="1596" y="1489"/>
                    <a:pt x="2108" y="1489"/>
                  </a:cubicBezTo>
                  <a:cubicBezTo>
                    <a:pt x="2286" y="1489"/>
                    <a:pt x="2858" y="1525"/>
                    <a:pt x="2858" y="2001"/>
                  </a:cubicBezTo>
                  <a:cubicBezTo>
                    <a:pt x="2858" y="2358"/>
                    <a:pt x="2512" y="2632"/>
                    <a:pt x="2227" y="2858"/>
                  </a:cubicBezTo>
                  <a:cubicBezTo>
                    <a:pt x="2155" y="2918"/>
                    <a:pt x="2072" y="2965"/>
                    <a:pt x="2024" y="3025"/>
                  </a:cubicBezTo>
                  <a:cubicBezTo>
                    <a:pt x="1679" y="3323"/>
                    <a:pt x="1286" y="3763"/>
                    <a:pt x="1286" y="4668"/>
                  </a:cubicBezTo>
                  <a:cubicBezTo>
                    <a:pt x="1286" y="5180"/>
                    <a:pt x="1405" y="5501"/>
                    <a:pt x="2000" y="5501"/>
                  </a:cubicBezTo>
                  <a:cubicBezTo>
                    <a:pt x="2274" y="5501"/>
                    <a:pt x="2465" y="5442"/>
                    <a:pt x="2596" y="5323"/>
                  </a:cubicBezTo>
                  <a:cubicBezTo>
                    <a:pt x="2703" y="5216"/>
                    <a:pt x="2762" y="5085"/>
                    <a:pt x="2762" y="4918"/>
                  </a:cubicBezTo>
                  <a:cubicBezTo>
                    <a:pt x="2762" y="4430"/>
                    <a:pt x="2762" y="4192"/>
                    <a:pt x="3263" y="3787"/>
                  </a:cubicBezTo>
                  <a:lnTo>
                    <a:pt x="3286" y="3787"/>
                  </a:lnTo>
                  <a:cubicBezTo>
                    <a:pt x="3298" y="3775"/>
                    <a:pt x="3322" y="3763"/>
                    <a:pt x="3358" y="3727"/>
                  </a:cubicBezTo>
                  <a:cubicBezTo>
                    <a:pt x="3429" y="3680"/>
                    <a:pt x="3453" y="3573"/>
                    <a:pt x="3393" y="3489"/>
                  </a:cubicBezTo>
                  <a:cubicBezTo>
                    <a:pt x="3360" y="3449"/>
                    <a:pt x="3311" y="3427"/>
                    <a:pt x="3261" y="3427"/>
                  </a:cubicBezTo>
                  <a:cubicBezTo>
                    <a:pt x="3224" y="3427"/>
                    <a:pt x="3186" y="3440"/>
                    <a:pt x="3155" y="3465"/>
                  </a:cubicBezTo>
                  <a:cubicBezTo>
                    <a:pt x="3120" y="3477"/>
                    <a:pt x="3108" y="3513"/>
                    <a:pt x="3072" y="3525"/>
                  </a:cubicBezTo>
                  <a:lnTo>
                    <a:pt x="3060" y="3525"/>
                  </a:lnTo>
                  <a:cubicBezTo>
                    <a:pt x="2465" y="3989"/>
                    <a:pt x="2429" y="4346"/>
                    <a:pt x="2429" y="4906"/>
                  </a:cubicBezTo>
                  <a:cubicBezTo>
                    <a:pt x="2429" y="4977"/>
                    <a:pt x="2429" y="5156"/>
                    <a:pt x="2000" y="5156"/>
                  </a:cubicBezTo>
                  <a:cubicBezTo>
                    <a:pt x="1798" y="5156"/>
                    <a:pt x="1739" y="5120"/>
                    <a:pt x="1703" y="5085"/>
                  </a:cubicBezTo>
                  <a:cubicBezTo>
                    <a:pt x="1643" y="5025"/>
                    <a:pt x="1619" y="4882"/>
                    <a:pt x="1619" y="4656"/>
                  </a:cubicBezTo>
                  <a:cubicBezTo>
                    <a:pt x="1619" y="3882"/>
                    <a:pt x="1929" y="3513"/>
                    <a:pt x="2227" y="3251"/>
                  </a:cubicBezTo>
                  <a:cubicBezTo>
                    <a:pt x="2286" y="3215"/>
                    <a:pt x="2346" y="3156"/>
                    <a:pt x="2417" y="3108"/>
                  </a:cubicBezTo>
                  <a:cubicBezTo>
                    <a:pt x="2762" y="2858"/>
                    <a:pt x="3179" y="2525"/>
                    <a:pt x="3179" y="1989"/>
                  </a:cubicBezTo>
                  <a:cubicBezTo>
                    <a:pt x="3179" y="1465"/>
                    <a:pt x="2762" y="1144"/>
                    <a:pt x="2108" y="1144"/>
                  </a:cubicBezTo>
                  <a:cubicBezTo>
                    <a:pt x="1417" y="1144"/>
                    <a:pt x="1215" y="1453"/>
                    <a:pt x="1048" y="1691"/>
                  </a:cubicBezTo>
                  <a:cubicBezTo>
                    <a:pt x="941" y="1858"/>
                    <a:pt x="881" y="1918"/>
                    <a:pt x="750" y="1918"/>
                  </a:cubicBezTo>
                  <a:cubicBezTo>
                    <a:pt x="572" y="1918"/>
                    <a:pt x="322" y="1810"/>
                    <a:pt x="322" y="1513"/>
                  </a:cubicBezTo>
                  <a:cubicBezTo>
                    <a:pt x="322" y="1322"/>
                    <a:pt x="429" y="1025"/>
                    <a:pt x="738" y="775"/>
                  </a:cubicBezTo>
                  <a:cubicBezTo>
                    <a:pt x="977" y="572"/>
                    <a:pt x="1405" y="334"/>
                    <a:pt x="2131" y="334"/>
                  </a:cubicBezTo>
                  <a:cubicBezTo>
                    <a:pt x="3298" y="334"/>
                    <a:pt x="4120" y="953"/>
                    <a:pt x="4120" y="1822"/>
                  </a:cubicBezTo>
                  <a:cubicBezTo>
                    <a:pt x="4120" y="2227"/>
                    <a:pt x="3941" y="2644"/>
                    <a:pt x="3596" y="3037"/>
                  </a:cubicBezTo>
                  <a:cubicBezTo>
                    <a:pt x="3524" y="3096"/>
                    <a:pt x="3536" y="3203"/>
                    <a:pt x="3596" y="3263"/>
                  </a:cubicBezTo>
                  <a:cubicBezTo>
                    <a:pt x="3629" y="3290"/>
                    <a:pt x="3669" y="3305"/>
                    <a:pt x="3709" y="3305"/>
                  </a:cubicBezTo>
                  <a:cubicBezTo>
                    <a:pt x="3755" y="3305"/>
                    <a:pt x="3802" y="3284"/>
                    <a:pt x="3834" y="3239"/>
                  </a:cubicBezTo>
                  <a:cubicBezTo>
                    <a:pt x="4239" y="2787"/>
                    <a:pt x="4441" y="2310"/>
                    <a:pt x="4441" y="1810"/>
                  </a:cubicBezTo>
                  <a:cubicBezTo>
                    <a:pt x="4441" y="1287"/>
                    <a:pt x="4203" y="834"/>
                    <a:pt x="3786" y="501"/>
                  </a:cubicBezTo>
                  <a:cubicBezTo>
                    <a:pt x="3370" y="179"/>
                    <a:pt x="2798" y="1"/>
                    <a:pt x="21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88" name="Google Shape;10088;p58"/>
          <p:cNvGrpSpPr/>
          <p:nvPr/>
        </p:nvGrpSpPr>
        <p:grpSpPr>
          <a:xfrm>
            <a:off x="3584280" y="3699191"/>
            <a:ext cx="358069" cy="317995"/>
            <a:chOff x="3584280" y="3699191"/>
            <a:chExt cx="358069" cy="317995"/>
          </a:xfrm>
        </p:grpSpPr>
        <p:sp>
          <p:nvSpPr>
            <p:cNvPr id="10089" name="Google Shape;10089;p58"/>
            <p:cNvSpPr/>
            <p:nvPr/>
          </p:nvSpPr>
          <p:spPr>
            <a:xfrm>
              <a:off x="3584280" y="3699191"/>
              <a:ext cx="358069" cy="317995"/>
            </a:xfrm>
            <a:custGeom>
              <a:avLst/>
              <a:gdLst/>
              <a:ahLst/>
              <a:cxnLst/>
              <a:rect l="l" t="t" r="r" b="b"/>
              <a:pathLst>
                <a:path w="11276" h="10014" extrusionOk="0">
                  <a:moveTo>
                    <a:pt x="5644" y="1"/>
                  </a:moveTo>
                  <a:cubicBezTo>
                    <a:pt x="5203" y="1"/>
                    <a:pt x="4810" y="227"/>
                    <a:pt x="4596" y="620"/>
                  </a:cubicBezTo>
                  <a:lnTo>
                    <a:pt x="822" y="7168"/>
                  </a:lnTo>
                  <a:cubicBezTo>
                    <a:pt x="774" y="7240"/>
                    <a:pt x="798" y="7347"/>
                    <a:pt x="881" y="7395"/>
                  </a:cubicBezTo>
                  <a:cubicBezTo>
                    <a:pt x="903" y="7406"/>
                    <a:pt x="929" y="7411"/>
                    <a:pt x="955" y="7411"/>
                  </a:cubicBezTo>
                  <a:cubicBezTo>
                    <a:pt x="1012" y="7411"/>
                    <a:pt x="1071" y="7384"/>
                    <a:pt x="1096" y="7335"/>
                  </a:cubicBezTo>
                  <a:lnTo>
                    <a:pt x="4882" y="787"/>
                  </a:lnTo>
                  <a:cubicBezTo>
                    <a:pt x="5049" y="513"/>
                    <a:pt x="5322" y="346"/>
                    <a:pt x="5644" y="346"/>
                  </a:cubicBezTo>
                  <a:cubicBezTo>
                    <a:pt x="5953" y="346"/>
                    <a:pt x="6239" y="513"/>
                    <a:pt x="6394" y="787"/>
                  </a:cubicBezTo>
                  <a:lnTo>
                    <a:pt x="10775" y="8359"/>
                  </a:lnTo>
                  <a:cubicBezTo>
                    <a:pt x="10942" y="8621"/>
                    <a:pt x="10942" y="8954"/>
                    <a:pt x="10775" y="9240"/>
                  </a:cubicBezTo>
                  <a:cubicBezTo>
                    <a:pt x="10609" y="9502"/>
                    <a:pt x="10323" y="9669"/>
                    <a:pt x="10013" y="9669"/>
                  </a:cubicBezTo>
                  <a:lnTo>
                    <a:pt x="1262" y="9669"/>
                  </a:lnTo>
                  <a:cubicBezTo>
                    <a:pt x="953" y="9669"/>
                    <a:pt x="667" y="9502"/>
                    <a:pt x="500" y="9240"/>
                  </a:cubicBezTo>
                  <a:cubicBezTo>
                    <a:pt x="346" y="8966"/>
                    <a:pt x="346" y="8645"/>
                    <a:pt x="500" y="8359"/>
                  </a:cubicBezTo>
                  <a:lnTo>
                    <a:pt x="774" y="7895"/>
                  </a:lnTo>
                  <a:cubicBezTo>
                    <a:pt x="822" y="7823"/>
                    <a:pt x="786" y="7716"/>
                    <a:pt x="715" y="7668"/>
                  </a:cubicBezTo>
                  <a:cubicBezTo>
                    <a:pt x="693" y="7657"/>
                    <a:pt x="667" y="7652"/>
                    <a:pt x="641" y="7652"/>
                  </a:cubicBezTo>
                  <a:cubicBezTo>
                    <a:pt x="583" y="7652"/>
                    <a:pt x="521" y="7679"/>
                    <a:pt x="488" y="7728"/>
                  </a:cubicBezTo>
                  <a:lnTo>
                    <a:pt x="227" y="8192"/>
                  </a:lnTo>
                  <a:cubicBezTo>
                    <a:pt x="0" y="8561"/>
                    <a:pt x="0" y="9026"/>
                    <a:pt x="227" y="9395"/>
                  </a:cubicBezTo>
                  <a:cubicBezTo>
                    <a:pt x="441" y="9776"/>
                    <a:pt x="834" y="10014"/>
                    <a:pt x="1262" y="10014"/>
                  </a:cubicBezTo>
                  <a:lnTo>
                    <a:pt x="10013" y="10014"/>
                  </a:lnTo>
                  <a:cubicBezTo>
                    <a:pt x="10442" y="10014"/>
                    <a:pt x="10847" y="9788"/>
                    <a:pt x="11061" y="9395"/>
                  </a:cubicBezTo>
                  <a:cubicBezTo>
                    <a:pt x="11276" y="9026"/>
                    <a:pt x="11276" y="8585"/>
                    <a:pt x="11061" y="8192"/>
                  </a:cubicBezTo>
                  <a:lnTo>
                    <a:pt x="6680" y="620"/>
                  </a:lnTo>
                  <a:cubicBezTo>
                    <a:pt x="6453" y="251"/>
                    <a:pt x="6072" y="1"/>
                    <a:pt x="5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0" name="Google Shape;10090;p58"/>
            <p:cNvSpPr/>
            <p:nvPr/>
          </p:nvSpPr>
          <p:spPr>
            <a:xfrm>
              <a:off x="3613400" y="3727167"/>
              <a:ext cx="299831" cy="261661"/>
            </a:xfrm>
            <a:custGeom>
              <a:avLst/>
              <a:gdLst/>
              <a:ahLst/>
              <a:cxnLst/>
              <a:rect l="l" t="t" r="r" b="b"/>
              <a:pathLst>
                <a:path w="9442" h="8240" extrusionOk="0">
                  <a:moveTo>
                    <a:pt x="4727" y="358"/>
                  </a:moveTo>
                  <a:lnTo>
                    <a:pt x="9085" y="7907"/>
                  </a:lnTo>
                  <a:lnTo>
                    <a:pt x="381" y="7907"/>
                  </a:lnTo>
                  <a:lnTo>
                    <a:pt x="4727" y="358"/>
                  </a:lnTo>
                  <a:close/>
                  <a:moveTo>
                    <a:pt x="4727" y="1"/>
                  </a:moveTo>
                  <a:cubicBezTo>
                    <a:pt x="4608" y="1"/>
                    <a:pt x="4501" y="60"/>
                    <a:pt x="4441" y="168"/>
                  </a:cubicBezTo>
                  <a:lnTo>
                    <a:pt x="60" y="7740"/>
                  </a:lnTo>
                  <a:cubicBezTo>
                    <a:pt x="0" y="7847"/>
                    <a:pt x="0" y="7966"/>
                    <a:pt x="60" y="8073"/>
                  </a:cubicBezTo>
                  <a:cubicBezTo>
                    <a:pt x="119" y="8192"/>
                    <a:pt x="226" y="8240"/>
                    <a:pt x="345" y="8240"/>
                  </a:cubicBezTo>
                  <a:lnTo>
                    <a:pt x="9096" y="8240"/>
                  </a:lnTo>
                  <a:cubicBezTo>
                    <a:pt x="9216" y="8240"/>
                    <a:pt x="9323" y="8180"/>
                    <a:pt x="9382" y="8073"/>
                  </a:cubicBezTo>
                  <a:cubicBezTo>
                    <a:pt x="9442" y="7966"/>
                    <a:pt x="9442" y="7847"/>
                    <a:pt x="9382" y="7740"/>
                  </a:cubicBezTo>
                  <a:lnTo>
                    <a:pt x="5001" y="168"/>
                  </a:lnTo>
                  <a:cubicBezTo>
                    <a:pt x="4941" y="60"/>
                    <a:pt x="4846" y="1"/>
                    <a:pt x="4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1" name="Google Shape;10091;p58"/>
            <p:cNvSpPr/>
            <p:nvPr/>
          </p:nvSpPr>
          <p:spPr>
            <a:xfrm>
              <a:off x="3735879" y="3910171"/>
              <a:ext cx="54873" cy="54841"/>
            </a:xfrm>
            <a:custGeom>
              <a:avLst/>
              <a:gdLst/>
              <a:ahLst/>
              <a:cxnLst/>
              <a:rect l="l" t="t" r="r" b="b"/>
              <a:pathLst>
                <a:path w="1728" h="1727" extrusionOk="0">
                  <a:moveTo>
                    <a:pt x="870" y="322"/>
                  </a:moveTo>
                  <a:cubicBezTo>
                    <a:pt x="1168" y="322"/>
                    <a:pt x="1406" y="572"/>
                    <a:pt x="1406" y="870"/>
                  </a:cubicBezTo>
                  <a:cubicBezTo>
                    <a:pt x="1406" y="1167"/>
                    <a:pt x="1168" y="1405"/>
                    <a:pt x="870" y="1405"/>
                  </a:cubicBezTo>
                  <a:cubicBezTo>
                    <a:pt x="572" y="1405"/>
                    <a:pt x="334" y="1167"/>
                    <a:pt x="334" y="870"/>
                  </a:cubicBezTo>
                  <a:cubicBezTo>
                    <a:pt x="334" y="572"/>
                    <a:pt x="572" y="322"/>
                    <a:pt x="870" y="322"/>
                  </a:cubicBezTo>
                  <a:close/>
                  <a:moveTo>
                    <a:pt x="870" y="0"/>
                  </a:moveTo>
                  <a:cubicBezTo>
                    <a:pt x="394" y="0"/>
                    <a:pt x="1" y="393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3"/>
                    <a:pt x="1346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2" name="Google Shape;10092;p58"/>
            <p:cNvSpPr/>
            <p:nvPr/>
          </p:nvSpPr>
          <p:spPr>
            <a:xfrm>
              <a:off x="3738896" y="3788422"/>
              <a:ext cx="49188" cy="114604"/>
            </a:xfrm>
            <a:custGeom>
              <a:avLst/>
              <a:gdLst/>
              <a:ahLst/>
              <a:cxnLst/>
              <a:rect l="l" t="t" r="r" b="b"/>
              <a:pathLst>
                <a:path w="1549" h="3609" extrusionOk="0">
                  <a:moveTo>
                    <a:pt x="572" y="1"/>
                  </a:moveTo>
                  <a:cubicBezTo>
                    <a:pt x="263" y="1"/>
                    <a:pt x="1" y="251"/>
                    <a:pt x="1" y="572"/>
                  </a:cubicBezTo>
                  <a:lnTo>
                    <a:pt x="1" y="3037"/>
                  </a:lnTo>
                  <a:cubicBezTo>
                    <a:pt x="1" y="3346"/>
                    <a:pt x="263" y="3608"/>
                    <a:pt x="572" y="3608"/>
                  </a:cubicBezTo>
                  <a:lnTo>
                    <a:pt x="965" y="3608"/>
                  </a:lnTo>
                  <a:cubicBezTo>
                    <a:pt x="1275" y="3608"/>
                    <a:pt x="1549" y="3358"/>
                    <a:pt x="1549" y="3037"/>
                  </a:cubicBezTo>
                  <a:lnTo>
                    <a:pt x="1549" y="1560"/>
                  </a:lnTo>
                  <a:cubicBezTo>
                    <a:pt x="1549" y="1465"/>
                    <a:pt x="1465" y="1394"/>
                    <a:pt x="1382" y="1394"/>
                  </a:cubicBezTo>
                  <a:cubicBezTo>
                    <a:pt x="1287" y="1394"/>
                    <a:pt x="1215" y="1465"/>
                    <a:pt x="1215" y="1560"/>
                  </a:cubicBezTo>
                  <a:lnTo>
                    <a:pt x="1215" y="3037"/>
                  </a:lnTo>
                  <a:cubicBezTo>
                    <a:pt x="1215" y="3168"/>
                    <a:pt x="1108" y="3275"/>
                    <a:pt x="977" y="3275"/>
                  </a:cubicBezTo>
                  <a:lnTo>
                    <a:pt x="584" y="3275"/>
                  </a:lnTo>
                  <a:cubicBezTo>
                    <a:pt x="453" y="3275"/>
                    <a:pt x="346" y="3168"/>
                    <a:pt x="346" y="3037"/>
                  </a:cubicBezTo>
                  <a:lnTo>
                    <a:pt x="346" y="572"/>
                  </a:lnTo>
                  <a:cubicBezTo>
                    <a:pt x="346" y="441"/>
                    <a:pt x="453" y="334"/>
                    <a:pt x="584" y="334"/>
                  </a:cubicBezTo>
                  <a:lnTo>
                    <a:pt x="977" y="334"/>
                  </a:lnTo>
                  <a:cubicBezTo>
                    <a:pt x="1108" y="334"/>
                    <a:pt x="1215" y="441"/>
                    <a:pt x="1215" y="572"/>
                  </a:cubicBezTo>
                  <a:lnTo>
                    <a:pt x="1215" y="906"/>
                  </a:lnTo>
                  <a:cubicBezTo>
                    <a:pt x="1215" y="989"/>
                    <a:pt x="1287" y="1072"/>
                    <a:pt x="1382" y="1072"/>
                  </a:cubicBezTo>
                  <a:cubicBezTo>
                    <a:pt x="1465" y="1072"/>
                    <a:pt x="1549" y="989"/>
                    <a:pt x="1549" y="906"/>
                  </a:cubicBezTo>
                  <a:lnTo>
                    <a:pt x="1549" y="572"/>
                  </a:lnTo>
                  <a:cubicBezTo>
                    <a:pt x="1549" y="263"/>
                    <a:pt x="1287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93" name="Google Shape;10093;p58"/>
          <p:cNvGrpSpPr/>
          <p:nvPr/>
        </p:nvGrpSpPr>
        <p:grpSpPr>
          <a:xfrm>
            <a:off x="4129482" y="3681059"/>
            <a:ext cx="355402" cy="354291"/>
            <a:chOff x="4129482" y="3681059"/>
            <a:chExt cx="355402" cy="354291"/>
          </a:xfrm>
        </p:grpSpPr>
        <p:sp>
          <p:nvSpPr>
            <p:cNvPr id="10094" name="Google Shape;10094;p58"/>
            <p:cNvSpPr/>
            <p:nvPr/>
          </p:nvSpPr>
          <p:spPr>
            <a:xfrm>
              <a:off x="4313979" y="3719578"/>
              <a:ext cx="133117" cy="225016"/>
            </a:xfrm>
            <a:custGeom>
              <a:avLst/>
              <a:gdLst/>
              <a:ahLst/>
              <a:cxnLst/>
              <a:rect l="l" t="t" r="r" b="b"/>
              <a:pathLst>
                <a:path w="4192" h="7086" extrusionOk="0">
                  <a:moveTo>
                    <a:pt x="173" y="0"/>
                  </a:moveTo>
                  <a:cubicBezTo>
                    <a:pt x="96" y="0"/>
                    <a:pt x="23" y="68"/>
                    <a:pt x="12" y="156"/>
                  </a:cubicBezTo>
                  <a:cubicBezTo>
                    <a:pt x="0" y="240"/>
                    <a:pt x="72" y="323"/>
                    <a:pt x="167" y="335"/>
                  </a:cubicBezTo>
                  <a:cubicBezTo>
                    <a:pt x="1167" y="418"/>
                    <a:pt x="2108" y="883"/>
                    <a:pt x="2798" y="1633"/>
                  </a:cubicBezTo>
                  <a:cubicBezTo>
                    <a:pt x="3501" y="2383"/>
                    <a:pt x="3870" y="3359"/>
                    <a:pt x="3870" y="4383"/>
                  </a:cubicBezTo>
                  <a:cubicBezTo>
                    <a:pt x="3870" y="5217"/>
                    <a:pt x="3620" y="6002"/>
                    <a:pt x="3156" y="6693"/>
                  </a:cubicBezTo>
                  <a:lnTo>
                    <a:pt x="893" y="4407"/>
                  </a:lnTo>
                  <a:cubicBezTo>
                    <a:pt x="864" y="4377"/>
                    <a:pt x="822" y="4362"/>
                    <a:pt x="779" y="4362"/>
                  </a:cubicBezTo>
                  <a:cubicBezTo>
                    <a:pt x="736" y="4362"/>
                    <a:pt x="691" y="4377"/>
                    <a:pt x="655" y="4407"/>
                  </a:cubicBezTo>
                  <a:cubicBezTo>
                    <a:pt x="596" y="4467"/>
                    <a:pt x="596" y="4574"/>
                    <a:pt x="655" y="4645"/>
                  </a:cubicBezTo>
                  <a:lnTo>
                    <a:pt x="3048" y="7050"/>
                  </a:lnTo>
                  <a:cubicBezTo>
                    <a:pt x="3084" y="7074"/>
                    <a:pt x="3120" y="7086"/>
                    <a:pt x="3167" y="7086"/>
                  </a:cubicBezTo>
                  <a:lnTo>
                    <a:pt x="3179" y="7086"/>
                  </a:lnTo>
                  <a:cubicBezTo>
                    <a:pt x="3227" y="7086"/>
                    <a:pt x="3275" y="7062"/>
                    <a:pt x="3298" y="7026"/>
                  </a:cubicBezTo>
                  <a:cubicBezTo>
                    <a:pt x="3882" y="6252"/>
                    <a:pt x="4191" y="5348"/>
                    <a:pt x="4191" y="4383"/>
                  </a:cubicBezTo>
                  <a:cubicBezTo>
                    <a:pt x="4191" y="3276"/>
                    <a:pt x="3775" y="2228"/>
                    <a:pt x="3036" y="1407"/>
                  </a:cubicBezTo>
                  <a:cubicBezTo>
                    <a:pt x="2286" y="597"/>
                    <a:pt x="1274" y="97"/>
                    <a:pt x="191" y="2"/>
                  </a:cubicBezTo>
                  <a:cubicBezTo>
                    <a:pt x="185" y="1"/>
                    <a:pt x="179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5" name="Google Shape;10095;p58"/>
            <p:cNvSpPr/>
            <p:nvPr/>
          </p:nvSpPr>
          <p:spPr>
            <a:xfrm>
              <a:off x="4220968" y="3719197"/>
              <a:ext cx="106284" cy="132387"/>
            </a:xfrm>
            <a:custGeom>
              <a:avLst/>
              <a:gdLst/>
              <a:ahLst/>
              <a:cxnLst/>
              <a:rect l="l" t="t" r="r" b="b"/>
              <a:pathLst>
                <a:path w="3347" h="4169" extrusionOk="0">
                  <a:moveTo>
                    <a:pt x="2340" y="1"/>
                  </a:moveTo>
                  <a:cubicBezTo>
                    <a:pt x="2334" y="1"/>
                    <a:pt x="2328" y="1"/>
                    <a:pt x="2322" y="2"/>
                  </a:cubicBezTo>
                  <a:cubicBezTo>
                    <a:pt x="1501" y="73"/>
                    <a:pt x="715" y="371"/>
                    <a:pt x="60" y="883"/>
                  </a:cubicBezTo>
                  <a:cubicBezTo>
                    <a:pt x="12" y="907"/>
                    <a:pt x="0" y="954"/>
                    <a:pt x="0" y="1002"/>
                  </a:cubicBezTo>
                  <a:cubicBezTo>
                    <a:pt x="0" y="1038"/>
                    <a:pt x="12" y="1085"/>
                    <a:pt x="36" y="1133"/>
                  </a:cubicBezTo>
                  <a:lnTo>
                    <a:pt x="3048" y="4121"/>
                  </a:lnTo>
                  <a:cubicBezTo>
                    <a:pt x="3072" y="4157"/>
                    <a:pt x="3120" y="4169"/>
                    <a:pt x="3167" y="4169"/>
                  </a:cubicBezTo>
                  <a:cubicBezTo>
                    <a:pt x="3203" y="4169"/>
                    <a:pt x="3251" y="4157"/>
                    <a:pt x="3287" y="4121"/>
                  </a:cubicBezTo>
                  <a:cubicBezTo>
                    <a:pt x="3346" y="4062"/>
                    <a:pt x="3346" y="3955"/>
                    <a:pt x="3287" y="3883"/>
                  </a:cubicBezTo>
                  <a:lnTo>
                    <a:pt x="429" y="1026"/>
                  </a:lnTo>
                  <a:cubicBezTo>
                    <a:pt x="1001" y="645"/>
                    <a:pt x="1655" y="383"/>
                    <a:pt x="2358" y="323"/>
                  </a:cubicBezTo>
                  <a:cubicBezTo>
                    <a:pt x="2363" y="324"/>
                    <a:pt x="2367" y="324"/>
                    <a:pt x="2372" y="324"/>
                  </a:cubicBezTo>
                  <a:cubicBezTo>
                    <a:pt x="2449" y="324"/>
                    <a:pt x="2512" y="235"/>
                    <a:pt x="2501" y="157"/>
                  </a:cubicBezTo>
                  <a:cubicBezTo>
                    <a:pt x="2479" y="68"/>
                    <a:pt x="2416" y="1"/>
                    <a:pt x="23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6" name="Google Shape;10096;p58"/>
            <p:cNvSpPr/>
            <p:nvPr/>
          </p:nvSpPr>
          <p:spPr>
            <a:xfrm>
              <a:off x="4167270" y="3772545"/>
              <a:ext cx="226127" cy="225746"/>
            </a:xfrm>
            <a:custGeom>
              <a:avLst/>
              <a:gdLst/>
              <a:ahLst/>
              <a:cxnLst/>
              <a:rect l="l" t="t" r="r" b="b"/>
              <a:pathLst>
                <a:path w="7121" h="7109" extrusionOk="0">
                  <a:moveTo>
                    <a:pt x="1037" y="405"/>
                  </a:moveTo>
                  <a:lnTo>
                    <a:pt x="6704" y="6061"/>
                  </a:lnTo>
                  <a:cubicBezTo>
                    <a:pt x="6013" y="6537"/>
                    <a:pt x="5228" y="6775"/>
                    <a:pt x="4406" y="6775"/>
                  </a:cubicBezTo>
                  <a:cubicBezTo>
                    <a:pt x="2168" y="6775"/>
                    <a:pt x="334" y="4942"/>
                    <a:pt x="334" y="2703"/>
                  </a:cubicBezTo>
                  <a:cubicBezTo>
                    <a:pt x="334" y="1882"/>
                    <a:pt x="572" y="1096"/>
                    <a:pt x="1037" y="405"/>
                  </a:cubicBezTo>
                  <a:close/>
                  <a:moveTo>
                    <a:pt x="1001" y="1"/>
                  </a:moveTo>
                  <a:cubicBezTo>
                    <a:pt x="953" y="1"/>
                    <a:pt x="918" y="36"/>
                    <a:pt x="882" y="60"/>
                  </a:cubicBezTo>
                  <a:cubicBezTo>
                    <a:pt x="298" y="822"/>
                    <a:pt x="1" y="1739"/>
                    <a:pt x="1" y="2703"/>
                  </a:cubicBezTo>
                  <a:cubicBezTo>
                    <a:pt x="1" y="5120"/>
                    <a:pt x="1989" y="7109"/>
                    <a:pt x="4406" y="7109"/>
                  </a:cubicBezTo>
                  <a:cubicBezTo>
                    <a:pt x="5382" y="7109"/>
                    <a:pt x="6287" y="6811"/>
                    <a:pt x="7061" y="6228"/>
                  </a:cubicBezTo>
                  <a:cubicBezTo>
                    <a:pt x="7109" y="6192"/>
                    <a:pt x="7121" y="6156"/>
                    <a:pt x="7121" y="6108"/>
                  </a:cubicBezTo>
                  <a:cubicBezTo>
                    <a:pt x="7121" y="6061"/>
                    <a:pt x="7109" y="6013"/>
                    <a:pt x="7073" y="5978"/>
                  </a:cubicBezTo>
                  <a:lnTo>
                    <a:pt x="1132" y="36"/>
                  </a:lnTo>
                  <a:cubicBezTo>
                    <a:pt x="1096" y="24"/>
                    <a:pt x="1048" y="1"/>
                    <a:pt x="1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7" name="Google Shape;10097;p58"/>
            <p:cNvSpPr/>
            <p:nvPr/>
          </p:nvSpPr>
          <p:spPr>
            <a:xfrm>
              <a:off x="4129482" y="3681059"/>
              <a:ext cx="355402" cy="354291"/>
            </a:xfrm>
            <a:custGeom>
              <a:avLst/>
              <a:gdLst/>
              <a:ahLst/>
              <a:cxnLst/>
              <a:rect l="l" t="t" r="r" b="b"/>
              <a:pathLst>
                <a:path w="11192" h="11157" extrusionOk="0">
                  <a:moveTo>
                    <a:pt x="5596" y="0"/>
                  </a:moveTo>
                  <a:cubicBezTo>
                    <a:pt x="4096" y="0"/>
                    <a:pt x="2703" y="572"/>
                    <a:pt x="1643" y="1631"/>
                  </a:cubicBezTo>
                  <a:cubicBezTo>
                    <a:pt x="584" y="2691"/>
                    <a:pt x="0" y="4096"/>
                    <a:pt x="0" y="5584"/>
                  </a:cubicBezTo>
                  <a:cubicBezTo>
                    <a:pt x="0" y="7013"/>
                    <a:pt x="536" y="8358"/>
                    <a:pt x="1512" y="9406"/>
                  </a:cubicBezTo>
                  <a:cubicBezTo>
                    <a:pt x="2477" y="10430"/>
                    <a:pt x="3786" y="11061"/>
                    <a:pt x="5191" y="11156"/>
                  </a:cubicBezTo>
                  <a:cubicBezTo>
                    <a:pt x="5286" y="11156"/>
                    <a:pt x="5358" y="11097"/>
                    <a:pt x="5382" y="11014"/>
                  </a:cubicBezTo>
                  <a:cubicBezTo>
                    <a:pt x="5382" y="10918"/>
                    <a:pt x="5322" y="10847"/>
                    <a:pt x="5227" y="10835"/>
                  </a:cubicBezTo>
                  <a:cubicBezTo>
                    <a:pt x="3905" y="10740"/>
                    <a:pt x="2667" y="10144"/>
                    <a:pt x="1762" y="9180"/>
                  </a:cubicBezTo>
                  <a:cubicBezTo>
                    <a:pt x="834" y="8192"/>
                    <a:pt x="333" y="6930"/>
                    <a:pt x="333" y="5572"/>
                  </a:cubicBezTo>
                  <a:cubicBezTo>
                    <a:pt x="333" y="4179"/>
                    <a:pt x="881" y="2858"/>
                    <a:pt x="1881" y="1858"/>
                  </a:cubicBezTo>
                  <a:cubicBezTo>
                    <a:pt x="2881" y="858"/>
                    <a:pt x="4203" y="310"/>
                    <a:pt x="5596" y="310"/>
                  </a:cubicBezTo>
                  <a:cubicBezTo>
                    <a:pt x="7001" y="310"/>
                    <a:pt x="8323" y="858"/>
                    <a:pt x="9323" y="1858"/>
                  </a:cubicBezTo>
                  <a:cubicBezTo>
                    <a:pt x="10323" y="2858"/>
                    <a:pt x="10871" y="4179"/>
                    <a:pt x="10871" y="5572"/>
                  </a:cubicBezTo>
                  <a:cubicBezTo>
                    <a:pt x="10871" y="6918"/>
                    <a:pt x="10359" y="8192"/>
                    <a:pt x="9442" y="9180"/>
                  </a:cubicBezTo>
                  <a:cubicBezTo>
                    <a:pt x="8525" y="10144"/>
                    <a:pt x="7299" y="10740"/>
                    <a:pt x="5977" y="10835"/>
                  </a:cubicBezTo>
                  <a:cubicBezTo>
                    <a:pt x="5882" y="10835"/>
                    <a:pt x="5810" y="10918"/>
                    <a:pt x="5822" y="11014"/>
                  </a:cubicBezTo>
                  <a:cubicBezTo>
                    <a:pt x="5822" y="11097"/>
                    <a:pt x="5894" y="11156"/>
                    <a:pt x="5989" y="11156"/>
                  </a:cubicBezTo>
                  <a:lnTo>
                    <a:pt x="6001" y="11156"/>
                  </a:lnTo>
                  <a:cubicBezTo>
                    <a:pt x="7418" y="11061"/>
                    <a:pt x="8727" y="10442"/>
                    <a:pt x="9692" y="9406"/>
                  </a:cubicBezTo>
                  <a:cubicBezTo>
                    <a:pt x="10656" y="8358"/>
                    <a:pt x="11192" y="7013"/>
                    <a:pt x="11192" y="5584"/>
                  </a:cubicBezTo>
                  <a:cubicBezTo>
                    <a:pt x="11192" y="4096"/>
                    <a:pt x="10597" y="2691"/>
                    <a:pt x="9561" y="1631"/>
                  </a:cubicBezTo>
                  <a:cubicBezTo>
                    <a:pt x="8501" y="572"/>
                    <a:pt x="7108" y="0"/>
                    <a:pt x="5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98" name="Google Shape;10098;p58"/>
          <p:cNvGrpSpPr/>
          <p:nvPr/>
        </p:nvGrpSpPr>
        <p:grpSpPr>
          <a:xfrm>
            <a:off x="4673540" y="3680297"/>
            <a:ext cx="355434" cy="355815"/>
            <a:chOff x="4673540" y="3680297"/>
            <a:chExt cx="355434" cy="355815"/>
          </a:xfrm>
        </p:grpSpPr>
        <p:sp>
          <p:nvSpPr>
            <p:cNvPr id="10099" name="Google Shape;10099;p58"/>
            <p:cNvSpPr/>
            <p:nvPr/>
          </p:nvSpPr>
          <p:spPr>
            <a:xfrm>
              <a:off x="4673540" y="3680297"/>
              <a:ext cx="355434" cy="355815"/>
            </a:xfrm>
            <a:custGeom>
              <a:avLst/>
              <a:gdLst/>
              <a:ahLst/>
              <a:cxnLst/>
              <a:rect l="l" t="t" r="r" b="b"/>
              <a:pathLst>
                <a:path w="11193" h="11205" extrusionOk="0">
                  <a:moveTo>
                    <a:pt x="2012" y="0"/>
                  </a:moveTo>
                  <a:cubicBezTo>
                    <a:pt x="905" y="0"/>
                    <a:pt x="0" y="893"/>
                    <a:pt x="0" y="2013"/>
                  </a:cubicBezTo>
                  <a:lnTo>
                    <a:pt x="0" y="9192"/>
                  </a:lnTo>
                  <a:cubicBezTo>
                    <a:pt x="0" y="10287"/>
                    <a:pt x="893" y="11204"/>
                    <a:pt x="2012" y="11204"/>
                  </a:cubicBezTo>
                  <a:lnTo>
                    <a:pt x="9180" y="11204"/>
                  </a:lnTo>
                  <a:cubicBezTo>
                    <a:pt x="10287" y="11204"/>
                    <a:pt x="11192" y="10311"/>
                    <a:pt x="11192" y="9192"/>
                  </a:cubicBezTo>
                  <a:lnTo>
                    <a:pt x="11192" y="2013"/>
                  </a:lnTo>
                  <a:cubicBezTo>
                    <a:pt x="11180" y="917"/>
                    <a:pt x="10287" y="0"/>
                    <a:pt x="9180" y="0"/>
                  </a:cubicBezTo>
                  <a:lnTo>
                    <a:pt x="8085" y="0"/>
                  </a:lnTo>
                  <a:cubicBezTo>
                    <a:pt x="7989" y="0"/>
                    <a:pt x="7918" y="84"/>
                    <a:pt x="7918" y="167"/>
                  </a:cubicBezTo>
                  <a:cubicBezTo>
                    <a:pt x="7918" y="262"/>
                    <a:pt x="7989" y="334"/>
                    <a:pt x="8085" y="334"/>
                  </a:cubicBezTo>
                  <a:lnTo>
                    <a:pt x="9180" y="334"/>
                  </a:lnTo>
                  <a:cubicBezTo>
                    <a:pt x="10109" y="334"/>
                    <a:pt x="10847" y="1084"/>
                    <a:pt x="10847" y="2001"/>
                  </a:cubicBezTo>
                  <a:lnTo>
                    <a:pt x="10847" y="9180"/>
                  </a:lnTo>
                  <a:cubicBezTo>
                    <a:pt x="10847" y="10097"/>
                    <a:pt x="10109" y="10847"/>
                    <a:pt x="9180" y="10847"/>
                  </a:cubicBezTo>
                  <a:lnTo>
                    <a:pt x="2012" y="10847"/>
                  </a:lnTo>
                  <a:cubicBezTo>
                    <a:pt x="1084" y="10847"/>
                    <a:pt x="345" y="10097"/>
                    <a:pt x="345" y="9180"/>
                  </a:cubicBezTo>
                  <a:lnTo>
                    <a:pt x="345" y="2001"/>
                  </a:lnTo>
                  <a:cubicBezTo>
                    <a:pt x="345" y="1084"/>
                    <a:pt x="1084" y="334"/>
                    <a:pt x="2012" y="334"/>
                  </a:cubicBezTo>
                  <a:lnTo>
                    <a:pt x="7418" y="334"/>
                  </a:lnTo>
                  <a:cubicBezTo>
                    <a:pt x="7501" y="334"/>
                    <a:pt x="7573" y="262"/>
                    <a:pt x="7573" y="167"/>
                  </a:cubicBezTo>
                  <a:cubicBezTo>
                    <a:pt x="7573" y="84"/>
                    <a:pt x="7501" y="0"/>
                    <a:pt x="7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0" name="Google Shape;10100;p58"/>
            <p:cNvSpPr/>
            <p:nvPr/>
          </p:nvSpPr>
          <p:spPr>
            <a:xfrm>
              <a:off x="4805864" y="3736630"/>
              <a:ext cx="93042" cy="92661"/>
            </a:xfrm>
            <a:custGeom>
              <a:avLst/>
              <a:gdLst/>
              <a:ahLst/>
              <a:cxnLst/>
              <a:rect l="l" t="t" r="r" b="b"/>
              <a:pathLst>
                <a:path w="2930" h="2918" extrusionOk="0">
                  <a:moveTo>
                    <a:pt x="1477" y="334"/>
                  </a:moveTo>
                  <a:cubicBezTo>
                    <a:pt x="2096" y="334"/>
                    <a:pt x="2608" y="834"/>
                    <a:pt x="2608" y="1465"/>
                  </a:cubicBezTo>
                  <a:cubicBezTo>
                    <a:pt x="2608" y="2084"/>
                    <a:pt x="2096" y="2596"/>
                    <a:pt x="1477" y="2596"/>
                  </a:cubicBezTo>
                  <a:cubicBezTo>
                    <a:pt x="846" y="2596"/>
                    <a:pt x="346" y="2084"/>
                    <a:pt x="346" y="1465"/>
                  </a:cubicBezTo>
                  <a:cubicBezTo>
                    <a:pt x="346" y="834"/>
                    <a:pt x="846" y="334"/>
                    <a:pt x="1477" y="334"/>
                  </a:cubicBezTo>
                  <a:close/>
                  <a:moveTo>
                    <a:pt x="1477" y="0"/>
                  </a:moveTo>
                  <a:cubicBezTo>
                    <a:pt x="667" y="0"/>
                    <a:pt x="12" y="655"/>
                    <a:pt x="12" y="1465"/>
                  </a:cubicBezTo>
                  <a:cubicBezTo>
                    <a:pt x="0" y="2263"/>
                    <a:pt x="655" y="2918"/>
                    <a:pt x="1477" y="2918"/>
                  </a:cubicBezTo>
                  <a:cubicBezTo>
                    <a:pt x="2274" y="2918"/>
                    <a:pt x="2929" y="2263"/>
                    <a:pt x="2929" y="1465"/>
                  </a:cubicBezTo>
                  <a:cubicBezTo>
                    <a:pt x="2929" y="655"/>
                    <a:pt x="2274" y="0"/>
                    <a:pt x="1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1" name="Google Shape;10101;p58"/>
            <p:cNvSpPr/>
            <p:nvPr/>
          </p:nvSpPr>
          <p:spPr>
            <a:xfrm>
              <a:off x="4779380" y="3841358"/>
              <a:ext cx="143723" cy="138801"/>
            </a:xfrm>
            <a:custGeom>
              <a:avLst/>
              <a:gdLst/>
              <a:ahLst/>
              <a:cxnLst/>
              <a:rect l="l" t="t" r="r" b="b"/>
              <a:pathLst>
                <a:path w="4526" h="4371" extrusionOk="0">
                  <a:moveTo>
                    <a:pt x="477" y="1"/>
                  </a:moveTo>
                  <a:cubicBezTo>
                    <a:pt x="215" y="1"/>
                    <a:pt x="1" y="203"/>
                    <a:pt x="1" y="477"/>
                  </a:cubicBezTo>
                  <a:lnTo>
                    <a:pt x="1" y="893"/>
                  </a:lnTo>
                  <a:cubicBezTo>
                    <a:pt x="1" y="1155"/>
                    <a:pt x="203" y="1370"/>
                    <a:pt x="477" y="1370"/>
                  </a:cubicBezTo>
                  <a:lnTo>
                    <a:pt x="763" y="1370"/>
                  </a:lnTo>
                  <a:cubicBezTo>
                    <a:pt x="834" y="1370"/>
                    <a:pt x="906" y="1429"/>
                    <a:pt x="906" y="1513"/>
                  </a:cubicBezTo>
                  <a:lnTo>
                    <a:pt x="906" y="2858"/>
                  </a:lnTo>
                  <a:cubicBezTo>
                    <a:pt x="906" y="2929"/>
                    <a:pt x="846" y="3001"/>
                    <a:pt x="763" y="3001"/>
                  </a:cubicBezTo>
                  <a:lnTo>
                    <a:pt x="572" y="3001"/>
                  </a:lnTo>
                  <a:cubicBezTo>
                    <a:pt x="299" y="3001"/>
                    <a:pt x="96" y="3215"/>
                    <a:pt x="96" y="3477"/>
                  </a:cubicBezTo>
                  <a:lnTo>
                    <a:pt x="96" y="3894"/>
                  </a:lnTo>
                  <a:cubicBezTo>
                    <a:pt x="96" y="4168"/>
                    <a:pt x="299" y="4370"/>
                    <a:pt x="572" y="4370"/>
                  </a:cubicBezTo>
                  <a:lnTo>
                    <a:pt x="4049" y="4370"/>
                  </a:lnTo>
                  <a:cubicBezTo>
                    <a:pt x="4311" y="4370"/>
                    <a:pt x="4525" y="4168"/>
                    <a:pt x="4525" y="3894"/>
                  </a:cubicBezTo>
                  <a:lnTo>
                    <a:pt x="4525" y="3477"/>
                  </a:lnTo>
                  <a:cubicBezTo>
                    <a:pt x="4525" y="3215"/>
                    <a:pt x="4311" y="3001"/>
                    <a:pt x="4049" y="3001"/>
                  </a:cubicBezTo>
                  <a:lnTo>
                    <a:pt x="3859" y="3001"/>
                  </a:lnTo>
                  <a:cubicBezTo>
                    <a:pt x="3787" y="3001"/>
                    <a:pt x="3704" y="2941"/>
                    <a:pt x="3704" y="2858"/>
                  </a:cubicBezTo>
                  <a:lnTo>
                    <a:pt x="3704" y="477"/>
                  </a:lnTo>
                  <a:cubicBezTo>
                    <a:pt x="3704" y="203"/>
                    <a:pt x="3501" y="1"/>
                    <a:pt x="3228" y="1"/>
                  </a:cubicBezTo>
                  <a:lnTo>
                    <a:pt x="1442" y="1"/>
                  </a:lnTo>
                  <a:cubicBezTo>
                    <a:pt x="1358" y="1"/>
                    <a:pt x="1287" y="72"/>
                    <a:pt x="1287" y="155"/>
                  </a:cubicBezTo>
                  <a:cubicBezTo>
                    <a:pt x="1287" y="251"/>
                    <a:pt x="1358" y="322"/>
                    <a:pt x="1442" y="322"/>
                  </a:cubicBezTo>
                  <a:lnTo>
                    <a:pt x="3228" y="322"/>
                  </a:lnTo>
                  <a:cubicBezTo>
                    <a:pt x="3311" y="322"/>
                    <a:pt x="3382" y="382"/>
                    <a:pt x="3382" y="477"/>
                  </a:cubicBezTo>
                  <a:lnTo>
                    <a:pt x="3382" y="2858"/>
                  </a:lnTo>
                  <a:cubicBezTo>
                    <a:pt x="3382" y="3120"/>
                    <a:pt x="3585" y="3334"/>
                    <a:pt x="3859" y="3334"/>
                  </a:cubicBezTo>
                  <a:lnTo>
                    <a:pt x="4049" y="3334"/>
                  </a:lnTo>
                  <a:cubicBezTo>
                    <a:pt x="4121" y="3334"/>
                    <a:pt x="4204" y="3394"/>
                    <a:pt x="4204" y="3477"/>
                  </a:cubicBezTo>
                  <a:lnTo>
                    <a:pt x="4204" y="3894"/>
                  </a:lnTo>
                  <a:cubicBezTo>
                    <a:pt x="4204" y="3965"/>
                    <a:pt x="4132" y="4049"/>
                    <a:pt x="4049" y="4049"/>
                  </a:cubicBezTo>
                  <a:lnTo>
                    <a:pt x="572" y="4049"/>
                  </a:lnTo>
                  <a:cubicBezTo>
                    <a:pt x="489" y="4049"/>
                    <a:pt x="418" y="3989"/>
                    <a:pt x="418" y="3894"/>
                  </a:cubicBezTo>
                  <a:lnTo>
                    <a:pt x="418" y="3477"/>
                  </a:lnTo>
                  <a:cubicBezTo>
                    <a:pt x="418" y="3406"/>
                    <a:pt x="477" y="3334"/>
                    <a:pt x="572" y="3334"/>
                  </a:cubicBezTo>
                  <a:lnTo>
                    <a:pt x="763" y="3334"/>
                  </a:lnTo>
                  <a:cubicBezTo>
                    <a:pt x="1025" y="3334"/>
                    <a:pt x="1239" y="3120"/>
                    <a:pt x="1239" y="2858"/>
                  </a:cubicBezTo>
                  <a:lnTo>
                    <a:pt x="1239" y="1513"/>
                  </a:lnTo>
                  <a:cubicBezTo>
                    <a:pt x="1239" y="1251"/>
                    <a:pt x="1025" y="1036"/>
                    <a:pt x="763" y="1036"/>
                  </a:cubicBezTo>
                  <a:lnTo>
                    <a:pt x="477" y="1036"/>
                  </a:lnTo>
                  <a:cubicBezTo>
                    <a:pt x="406" y="1036"/>
                    <a:pt x="334" y="977"/>
                    <a:pt x="334" y="893"/>
                  </a:cubicBezTo>
                  <a:lnTo>
                    <a:pt x="334" y="477"/>
                  </a:lnTo>
                  <a:cubicBezTo>
                    <a:pt x="334" y="393"/>
                    <a:pt x="394" y="322"/>
                    <a:pt x="477" y="322"/>
                  </a:cubicBezTo>
                  <a:lnTo>
                    <a:pt x="787" y="322"/>
                  </a:lnTo>
                  <a:cubicBezTo>
                    <a:pt x="882" y="322"/>
                    <a:pt x="953" y="251"/>
                    <a:pt x="953" y="155"/>
                  </a:cubicBezTo>
                  <a:cubicBezTo>
                    <a:pt x="953" y="72"/>
                    <a:pt x="882" y="1"/>
                    <a:pt x="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02" name="Google Shape;10102;p58"/>
          <p:cNvGrpSpPr/>
          <p:nvPr/>
        </p:nvGrpSpPr>
        <p:grpSpPr>
          <a:xfrm>
            <a:off x="5779408" y="3699191"/>
            <a:ext cx="317645" cy="318757"/>
            <a:chOff x="5779408" y="3699191"/>
            <a:chExt cx="317645" cy="318757"/>
          </a:xfrm>
        </p:grpSpPr>
        <p:sp>
          <p:nvSpPr>
            <p:cNvPr id="10103" name="Google Shape;10103;p58"/>
            <p:cNvSpPr/>
            <p:nvPr/>
          </p:nvSpPr>
          <p:spPr>
            <a:xfrm>
              <a:off x="5892837" y="3700334"/>
              <a:ext cx="204216" cy="317614"/>
            </a:xfrm>
            <a:custGeom>
              <a:avLst/>
              <a:gdLst/>
              <a:ahLst/>
              <a:cxnLst/>
              <a:rect l="l" t="t" r="r" b="b"/>
              <a:pathLst>
                <a:path w="6431" h="10002" extrusionOk="0">
                  <a:moveTo>
                    <a:pt x="4025" y="0"/>
                  </a:moveTo>
                  <a:cubicBezTo>
                    <a:pt x="3870" y="0"/>
                    <a:pt x="3704" y="60"/>
                    <a:pt x="3608" y="179"/>
                  </a:cubicBezTo>
                  <a:lnTo>
                    <a:pt x="1465" y="2322"/>
                  </a:lnTo>
                  <a:lnTo>
                    <a:pt x="299" y="1167"/>
                  </a:lnTo>
                  <a:cubicBezTo>
                    <a:pt x="269" y="1138"/>
                    <a:pt x="227" y="1123"/>
                    <a:pt x="184" y="1123"/>
                  </a:cubicBezTo>
                  <a:cubicBezTo>
                    <a:pt x="141" y="1123"/>
                    <a:pt x="96" y="1138"/>
                    <a:pt x="60" y="1167"/>
                  </a:cubicBezTo>
                  <a:cubicBezTo>
                    <a:pt x="1" y="1227"/>
                    <a:pt x="1" y="1322"/>
                    <a:pt x="60" y="1405"/>
                  </a:cubicBezTo>
                  <a:lnTo>
                    <a:pt x="1346" y="2679"/>
                  </a:lnTo>
                  <a:cubicBezTo>
                    <a:pt x="1370" y="2715"/>
                    <a:pt x="1418" y="2727"/>
                    <a:pt x="1465" y="2727"/>
                  </a:cubicBezTo>
                  <a:cubicBezTo>
                    <a:pt x="1501" y="2727"/>
                    <a:pt x="1549" y="2715"/>
                    <a:pt x="1584" y="2679"/>
                  </a:cubicBezTo>
                  <a:lnTo>
                    <a:pt x="3847" y="417"/>
                  </a:lnTo>
                  <a:cubicBezTo>
                    <a:pt x="3882" y="370"/>
                    <a:pt x="3966" y="346"/>
                    <a:pt x="4037" y="346"/>
                  </a:cubicBezTo>
                  <a:cubicBezTo>
                    <a:pt x="4109" y="346"/>
                    <a:pt x="4168" y="370"/>
                    <a:pt x="4228" y="417"/>
                  </a:cubicBezTo>
                  <a:lnTo>
                    <a:pt x="6049" y="2239"/>
                  </a:lnTo>
                  <a:cubicBezTo>
                    <a:pt x="6085" y="2275"/>
                    <a:pt x="6121" y="2358"/>
                    <a:pt x="6121" y="2429"/>
                  </a:cubicBezTo>
                  <a:cubicBezTo>
                    <a:pt x="6121" y="2501"/>
                    <a:pt x="6085" y="2560"/>
                    <a:pt x="6049" y="2620"/>
                  </a:cubicBezTo>
                  <a:lnTo>
                    <a:pt x="3775" y="4882"/>
                  </a:lnTo>
                  <a:cubicBezTo>
                    <a:pt x="3716" y="4942"/>
                    <a:pt x="3716" y="5049"/>
                    <a:pt x="3775" y="5120"/>
                  </a:cubicBezTo>
                  <a:lnTo>
                    <a:pt x="6049" y="7382"/>
                  </a:lnTo>
                  <a:cubicBezTo>
                    <a:pt x="6085" y="7430"/>
                    <a:pt x="6121" y="7501"/>
                    <a:pt x="6121" y="7573"/>
                  </a:cubicBezTo>
                  <a:cubicBezTo>
                    <a:pt x="6121" y="7656"/>
                    <a:pt x="6085" y="7716"/>
                    <a:pt x="6049" y="7775"/>
                  </a:cubicBezTo>
                  <a:lnTo>
                    <a:pt x="4228" y="9585"/>
                  </a:lnTo>
                  <a:cubicBezTo>
                    <a:pt x="4174" y="9639"/>
                    <a:pt x="4103" y="9665"/>
                    <a:pt x="4033" y="9665"/>
                  </a:cubicBezTo>
                  <a:cubicBezTo>
                    <a:pt x="3963" y="9665"/>
                    <a:pt x="3894" y="9639"/>
                    <a:pt x="3847" y="9585"/>
                  </a:cubicBezTo>
                  <a:lnTo>
                    <a:pt x="2989" y="8740"/>
                  </a:lnTo>
                  <a:cubicBezTo>
                    <a:pt x="2960" y="8710"/>
                    <a:pt x="2921" y="8695"/>
                    <a:pt x="2879" y="8695"/>
                  </a:cubicBezTo>
                  <a:cubicBezTo>
                    <a:pt x="2838" y="8695"/>
                    <a:pt x="2793" y="8710"/>
                    <a:pt x="2751" y="8740"/>
                  </a:cubicBezTo>
                  <a:cubicBezTo>
                    <a:pt x="2692" y="8799"/>
                    <a:pt x="2692" y="8906"/>
                    <a:pt x="2751" y="8978"/>
                  </a:cubicBezTo>
                  <a:lnTo>
                    <a:pt x="3608" y="9823"/>
                  </a:lnTo>
                  <a:cubicBezTo>
                    <a:pt x="3728" y="9942"/>
                    <a:pt x="3870" y="10002"/>
                    <a:pt x="4025" y="10002"/>
                  </a:cubicBezTo>
                  <a:cubicBezTo>
                    <a:pt x="4168" y="10002"/>
                    <a:pt x="4335" y="9942"/>
                    <a:pt x="4442" y="9823"/>
                  </a:cubicBezTo>
                  <a:lnTo>
                    <a:pt x="6252" y="8013"/>
                  </a:lnTo>
                  <a:cubicBezTo>
                    <a:pt x="6371" y="7894"/>
                    <a:pt x="6430" y="7740"/>
                    <a:pt x="6430" y="7597"/>
                  </a:cubicBezTo>
                  <a:cubicBezTo>
                    <a:pt x="6430" y="7430"/>
                    <a:pt x="6371" y="7275"/>
                    <a:pt x="6252" y="7180"/>
                  </a:cubicBezTo>
                  <a:lnTo>
                    <a:pt x="4109" y="4977"/>
                  </a:lnTo>
                  <a:lnTo>
                    <a:pt x="6252" y="2834"/>
                  </a:lnTo>
                  <a:cubicBezTo>
                    <a:pt x="6371" y="2715"/>
                    <a:pt x="6430" y="2560"/>
                    <a:pt x="6430" y="2417"/>
                  </a:cubicBezTo>
                  <a:cubicBezTo>
                    <a:pt x="6430" y="2251"/>
                    <a:pt x="6371" y="2096"/>
                    <a:pt x="6252" y="2001"/>
                  </a:cubicBezTo>
                  <a:lnTo>
                    <a:pt x="4442" y="179"/>
                  </a:lnTo>
                  <a:cubicBezTo>
                    <a:pt x="4323" y="60"/>
                    <a:pt x="4168" y="0"/>
                    <a:pt x="4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4" name="Google Shape;10104;p58"/>
            <p:cNvSpPr/>
            <p:nvPr/>
          </p:nvSpPr>
          <p:spPr>
            <a:xfrm>
              <a:off x="5779408" y="3699191"/>
              <a:ext cx="195134" cy="316883"/>
            </a:xfrm>
            <a:custGeom>
              <a:avLst/>
              <a:gdLst/>
              <a:ahLst/>
              <a:cxnLst/>
              <a:rect l="l" t="t" r="r" b="b"/>
              <a:pathLst>
                <a:path w="6145" h="9979" extrusionOk="0">
                  <a:moveTo>
                    <a:pt x="2477" y="1"/>
                  </a:moveTo>
                  <a:cubicBezTo>
                    <a:pt x="2311" y="1"/>
                    <a:pt x="2156" y="60"/>
                    <a:pt x="2061" y="179"/>
                  </a:cubicBezTo>
                  <a:lnTo>
                    <a:pt x="239" y="2001"/>
                  </a:lnTo>
                  <a:cubicBezTo>
                    <a:pt x="1" y="2239"/>
                    <a:pt x="1" y="2608"/>
                    <a:pt x="239" y="2846"/>
                  </a:cubicBezTo>
                  <a:lnTo>
                    <a:pt x="2382" y="4989"/>
                  </a:lnTo>
                  <a:lnTo>
                    <a:pt x="239" y="7133"/>
                  </a:lnTo>
                  <a:cubicBezTo>
                    <a:pt x="1" y="7371"/>
                    <a:pt x="1" y="7752"/>
                    <a:pt x="239" y="7990"/>
                  </a:cubicBezTo>
                  <a:lnTo>
                    <a:pt x="2061" y="9800"/>
                  </a:lnTo>
                  <a:cubicBezTo>
                    <a:pt x="2180" y="9919"/>
                    <a:pt x="2323" y="9978"/>
                    <a:pt x="2477" y="9978"/>
                  </a:cubicBezTo>
                  <a:cubicBezTo>
                    <a:pt x="2620" y="9978"/>
                    <a:pt x="2787" y="9919"/>
                    <a:pt x="2882" y="9800"/>
                  </a:cubicBezTo>
                  <a:lnTo>
                    <a:pt x="5037" y="7656"/>
                  </a:lnTo>
                  <a:lnTo>
                    <a:pt x="5859" y="8490"/>
                  </a:lnTo>
                  <a:cubicBezTo>
                    <a:pt x="5895" y="8520"/>
                    <a:pt x="5936" y="8535"/>
                    <a:pt x="5978" y="8535"/>
                  </a:cubicBezTo>
                  <a:cubicBezTo>
                    <a:pt x="6020" y="8535"/>
                    <a:pt x="6061" y="8520"/>
                    <a:pt x="6097" y="8490"/>
                  </a:cubicBezTo>
                  <a:cubicBezTo>
                    <a:pt x="6145" y="8430"/>
                    <a:pt x="6145" y="8323"/>
                    <a:pt x="6085" y="8264"/>
                  </a:cubicBezTo>
                  <a:lnTo>
                    <a:pt x="5156" y="7335"/>
                  </a:lnTo>
                  <a:cubicBezTo>
                    <a:pt x="5121" y="7299"/>
                    <a:pt x="5073" y="7287"/>
                    <a:pt x="5037" y="7287"/>
                  </a:cubicBezTo>
                  <a:cubicBezTo>
                    <a:pt x="4990" y="7287"/>
                    <a:pt x="4942" y="7299"/>
                    <a:pt x="4918" y="7335"/>
                  </a:cubicBezTo>
                  <a:lnTo>
                    <a:pt x="2656" y="9597"/>
                  </a:lnTo>
                  <a:cubicBezTo>
                    <a:pt x="2608" y="9633"/>
                    <a:pt x="2537" y="9669"/>
                    <a:pt x="2454" y="9669"/>
                  </a:cubicBezTo>
                  <a:cubicBezTo>
                    <a:pt x="2382" y="9669"/>
                    <a:pt x="2323" y="9633"/>
                    <a:pt x="2263" y="9597"/>
                  </a:cubicBezTo>
                  <a:lnTo>
                    <a:pt x="453" y="7776"/>
                  </a:lnTo>
                  <a:cubicBezTo>
                    <a:pt x="346" y="7668"/>
                    <a:pt x="346" y="7490"/>
                    <a:pt x="453" y="7395"/>
                  </a:cubicBezTo>
                  <a:lnTo>
                    <a:pt x="2716" y="5132"/>
                  </a:lnTo>
                  <a:cubicBezTo>
                    <a:pt x="2739" y="5097"/>
                    <a:pt x="2751" y="5049"/>
                    <a:pt x="2751" y="5013"/>
                  </a:cubicBezTo>
                  <a:cubicBezTo>
                    <a:pt x="2751" y="4966"/>
                    <a:pt x="2739" y="4918"/>
                    <a:pt x="2716" y="4894"/>
                  </a:cubicBezTo>
                  <a:lnTo>
                    <a:pt x="453" y="2632"/>
                  </a:lnTo>
                  <a:cubicBezTo>
                    <a:pt x="346" y="2525"/>
                    <a:pt x="346" y="2346"/>
                    <a:pt x="453" y="2239"/>
                  </a:cubicBezTo>
                  <a:lnTo>
                    <a:pt x="2263" y="417"/>
                  </a:lnTo>
                  <a:cubicBezTo>
                    <a:pt x="2311" y="382"/>
                    <a:pt x="2382" y="346"/>
                    <a:pt x="2454" y="346"/>
                  </a:cubicBezTo>
                  <a:cubicBezTo>
                    <a:pt x="2537" y="346"/>
                    <a:pt x="2597" y="382"/>
                    <a:pt x="2656" y="417"/>
                  </a:cubicBezTo>
                  <a:lnTo>
                    <a:pt x="3168" y="941"/>
                  </a:lnTo>
                  <a:cubicBezTo>
                    <a:pt x="3198" y="971"/>
                    <a:pt x="3239" y="986"/>
                    <a:pt x="3283" y="986"/>
                  </a:cubicBezTo>
                  <a:cubicBezTo>
                    <a:pt x="3326" y="986"/>
                    <a:pt x="3370" y="971"/>
                    <a:pt x="3406" y="941"/>
                  </a:cubicBezTo>
                  <a:cubicBezTo>
                    <a:pt x="3466" y="882"/>
                    <a:pt x="3466" y="775"/>
                    <a:pt x="3406" y="703"/>
                  </a:cubicBezTo>
                  <a:lnTo>
                    <a:pt x="2882" y="179"/>
                  </a:lnTo>
                  <a:cubicBezTo>
                    <a:pt x="2775" y="60"/>
                    <a:pt x="262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105" name="Google Shape;10105;p58"/>
          <p:cNvSpPr/>
          <p:nvPr/>
        </p:nvSpPr>
        <p:spPr>
          <a:xfrm>
            <a:off x="6304573" y="3694459"/>
            <a:ext cx="356196" cy="328410"/>
          </a:xfrm>
          <a:custGeom>
            <a:avLst/>
            <a:gdLst/>
            <a:ahLst/>
            <a:cxnLst/>
            <a:rect l="l" t="t" r="r" b="b"/>
            <a:pathLst>
              <a:path w="11217" h="10342" extrusionOk="0">
                <a:moveTo>
                  <a:pt x="3394" y="1186"/>
                </a:moveTo>
                <a:lnTo>
                  <a:pt x="3394" y="1507"/>
                </a:lnTo>
                <a:lnTo>
                  <a:pt x="1668" y="1507"/>
                </a:lnTo>
                <a:lnTo>
                  <a:pt x="1668" y="1186"/>
                </a:lnTo>
                <a:close/>
                <a:moveTo>
                  <a:pt x="3096" y="1829"/>
                </a:moveTo>
                <a:lnTo>
                  <a:pt x="3096" y="2090"/>
                </a:lnTo>
                <a:lnTo>
                  <a:pt x="2013" y="3043"/>
                </a:lnTo>
                <a:lnTo>
                  <a:pt x="2013" y="1829"/>
                </a:lnTo>
                <a:close/>
                <a:moveTo>
                  <a:pt x="6740" y="5948"/>
                </a:moveTo>
                <a:cubicBezTo>
                  <a:pt x="6775" y="5948"/>
                  <a:pt x="6799" y="5972"/>
                  <a:pt x="6799" y="6008"/>
                </a:cubicBezTo>
                <a:lnTo>
                  <a:pt x="6799" y="10020"/>
                </a:lnTo>
                <a:lnTo>
                  <a:pt x="4644" y="10020"/>
                </a:lnTo>
                <a:lnTo>
                  <a:pt x="4644" y="6008"/>
                </a:lnTo>
                <a:cubicBezTo>
                  <a:pt x="4644" y="5972"/>
                  <a:pt x="4668" y="5948"/>
                  <a:pt x="4704" y="5948"/>
                </a:cubicBezTo>
                <a:close/>
                <a:moveTo>
                  <a:pt x="5601" y="1"/>
                </a:moveTo>
                <a:cubicBezTo>
                  <a:pt x="5543" y="1"/>
                  <a:pt x="5484" y="19"/>
                  <a:pt x="5430" y="55"/>
                </a:cubicBezTo>
                <a:lnTo>
                  <a:pt x="3692" y="1567"/>
                </a:lnTo>
                <a:lnTo>
                  <a:pt x="3692" y="1126"/>
                </a:lnTo>
                <a:cubicBezTo>
                  <a:pt x="3692" y="995"/>
                  <a:pt x="3573" y="876"/>
                  <a:pt x="3442" y="876"/>
                </a:cubicBezTo>
                <a:lnTo>
                  <a:pt x="1596" y="876"/>
                </a:lnTo>
                <a:cubicBezTo>
                  <a:pt x="1453" y="876"/>
                  <a:pt x="1334" y="995"/>
                  <a:pt x="1334" y="1126"/>
                </a:cubicBezTo>
                <a:lnTo>
                  <a:pt x="1334" y="1590"/>
                </a:lnTo>
                <a:cubicBezTo>
                  <a:pt x="1334" y="1721"/>
                  <a:pt x="1453" y="1840"/>
                  <a:pt x="1596" y="1840"/>
                </a:cubicBezTo>
                <a:lnTo>
                  <a:pt x="1691" y="1840"/>
                </a:lnTo>
                <a:lnTo>
                  <a:pt x="1691" y="3329"/>
                </a:lnTo>
                <a:lnTo>
                  <a:pt x="108" y="4710"/>
                </a:lnTo>
                <a:cubicBezTo>
                  <a:pt x="25" y="4781"/>
                  <a:pt x="1" y="4888"/>
                  <a:pt x="25" y="4984"/>
                </a:cubicBezTo>
                <a:cubicBezTo>
                  <a:pt x="60" y="5079"/>
                  <a:pt x="167" y="5138"/>
                  <a:pt x="251" y="5138"/>
                </a:cubicBezTo>
                <a:lnTo>
                  <a:pt x="1322" y="5138"/>
                </a:lnTo>
                <a:lnTo>
                  <a:pt x="1322" y="7972"/>
                </a:lnTo>
                <a:cubicBezTo>
                  <a:pt x="1322" y="8056"/>
                  <a:pt x="1394" y="8139"/>
                  <a:pt x="1489" y="8139"/>
                </a:cubicBezTo>
                <a:cubicBezTo>
                  <a:pt x="1572" y="8139"/>
                  <a:pt x="1656" y="8056"/>
                  <a:pt x="1656" y="7972"/>
                </a:cubicBezTo>
                <a:lnTo>
                  <a:pt x="1656" y="5055"/>
                </a:lnTo>
                <a:lnTo>
                  <a:pt x="5609" y="1614"/>
                </a:lnTo>
                <a:lnTo>
                  <a:pt x="9561" y="5055"/>
                </a:lnTo>
                <a:lnTo>
                  <a:pt x="9561" y="9937"/>
                </a:lnTo>
                <a:cubicBezTo>
                  <a:pt x="9561" y="9984"/>
                  <a:pt x="9526" y="10020"/>
                  <a:pt x="9478" y="10020"/>
                </a:cubicBezTo>
                <a:lnTo>
                  <a:pt x="7109" y="10020"/>
                </a:lnTo>
                <a:lnTo>
                  <a:pt x="7109" y="6008"/>
                </a:lnTo>
                <a:cubicBezTo>
                  <a:pt x="7109" y="5793"/>
                  <a:pt x="6930" y="5615"/>
                  <a:pt x="6728" y="5615"/>
                </a:cubicBezTo>
                <a:lnTo>
                  <a:pt x="4680" y="5615"/>
                </a:lnTo>
                <a:cubicBezTo>
                  <a:pt x="4478" y="5615"/>
                  <a:pt x="4299" y="5793"/>
                  <a:pt x="4299" y="6008"/>
                </a:cubicBezTo>
                <a:lnTo>
                  <a:pt x="4299" y="10020"/>
                </a:lnTo>
                <a:lnTo>
                  <a:pt x="1739" y="10020"/>
                </a:lnTo>
                <a:cubicBezTo>
                  <a:pt x="1691" y="10020"/>
                  <a:pt x="1656" y="9984"/>
                  <a:pt x="1656" y="9937"/>
                </a:cubicBezTo>
                <a:lnTo>
                  <a:pt x="1656" y="8734"/>
                </a:lnTo>
                <a:cubicBezTo>
                  <a:pt x="1656" y="8639"/>
                  <a:pt x="1572" y="8567"/>
                  <a:pt x="1489" y="8567"/>
                </a:cubicBezTo>
                <a:cubicBezTo>
                  <a:pt x="1394" y="8567"/>
                  <a:pt x="1322" y="8639"/>
                  <a:pt x="1322" y="8734"/>
                </a:cubicBezTo>
                <a:lnTo>
                  <a:pt x="1322" y="9937"/>
                </a:lnTo>
                <a:cubicBezTo>
                  <a:pt x="1322" y="10163"/>
                  <a:pt x="1501" y="10342"/>
                  <a:pt x="1727" y="10342"/>
                </a:cubicBezTo>
                <a:lnTo>
                  <a:pt x="9466" y="10342"/>
                </a:lnTo>
                <a:cubicBezTo>
                  <a:pt x="9692" y="10342"/>
                  <a:pt x="9871" y="10163"/>
                  <a:pt x="9871" y="9937"/>
                </a:cubicBezTo>
                <a:lnTo>
                  <a:pt x="9871" y="5127"/>
                </a:lnTo>
                <a:lnTo>
                  <a:pt x="10943" y="5127"/>
                </a:lnTo>
                <a:cubicBezTo>
                  <a:pt x="11038" y="5127"/>
                  <a:pt x="11133" y="5067"/>
                  <a:pt x="11157" y="4960"/>
                </a:cubicBezTo>
                <a:cubicBezTo>
                  <a:pt x="11216" y="4877"/>
                  <a:pt x="11205" y="4769"/>
                  <a:pt x="11121" y="4698"/>
                </a:cubicBezTo>
                <a:lnTo>
                  <a:pt x="8811" y="2686"/>
                </a:lnTo>
                <a:cubicBezTo>
                  <a:pt x="8785" y="2659"/>
                  <a:pt x="8748" y="2647"/>
                  <a:pt x="8711" y="2647"/>
                </a:cubicBezTo>
                <a:cubicBezTo>
                  <a:pt x="8665" y="2647"/>
                  <a:pt x="8618" y="2665"/>
                  <a:pt x="8585" y="2698"/>
                </a:cubicBezTo>
                <a:cubicBezTo>
                  <a:pt x="8526" y="2757"/>
                  <a:pt x="8538" y="2864"/>
                  <a:pt x="8597" y="2924"/>
                </a:cubicBezTo>
                <a:lnTo>
                  <a:pt x="10764" y="4805"/>
                </a:lnTo>
                <a:lnTo>
                  <a:pt x="9776" y="4805"/>
                </a:lnTo>
                <a:lnTo>
                  <a:pt x="5763" y="1305"/>
                </a:lnTo>
                <a:cubicBezTo>
                  <a:pt x="5716" y="1269"/>
                  <a:pt x="5659" y="1251"/>
                  <a:pt x="5601" y="1251"/>
                </a:cubicBezTo>
                <a:cubicBezTo>
                  <a:pt x="5543" y="1251"/>
                  <a:pt x="5484" y="1269"/>
                  <a:pt x="5430" y="1305"/>
                </a:cubicBezTo>
                <a:lnTo>
                  <a:pt x="1418" y="4805"/>
                </a:lnTo>
                <a:lnTo>
                  <a:pt x="429" y="4805"/>
                </a:lnTo>
                <a:lnTo>
                  <a:pt x="1918" y="3507"/>
                </a:lnTo>
                <a:lnTo>
                  <a:pt x="3335" y="2281"/>
                </a:lnTo>
                <a:lnTo>
                  <a:pt x="5609" y="340"/>
                </a:lnTo>
                <a:lnTo>
                  <a:pt x="8026" y="2436"/>
                </a:lnTo>
                <a:cubicBezTo>
                  <a:pt x="8052" y="2463"/>
                  <a:pt x="8086" y="2475"/>
                  <a:pt x="8121" y="2475"/>
                </a:cubicBezTo>
                <a:cubicBezTo>
                  <a:pt x="8164" y="2475"/>
                  <a:pt x="8207" y="2457"/>
                  <a:pt x="8240" y="2424"/>
                </a:cubicBezTo>
                <a:cubicBezTo>
                  <a:pt x="8299" y="2364"/>
                  <a:pt x="8288" y="2257"/>
                  <a:pt x="8228" y="2198"/>
                </a:cubicBezTo>
                <a:lnTo>
                  <a:pt x="5763" y="55"/>
                </a:lnTo>
                <a:cubicBezTo>
                  <a:pt x="5716" y="19"/>
                  <a:pt x="5659" y="1"/>
                  <a:pt x="56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106" name="Google Shape;10106;p58"/>
          <p:cNvGrpSpPr/>
          <p:nvPr/>
        </p:nvGrpSpPr>
        <p:grpSpPr>
          <a:xfrm>
            <a:off x="7390435" y="3680868"/>
            <a:ext cx="372073" cy="355243"/>
            <a:chOff x="7390435" y="3680868"/>
            <a:chExt cx="372073" cy="355243"/>
          </a:xfrm>
        </p:grpSpPr>
        <p:sp>
          <p:nvSpPr>
            <p:cNvPr id="10107" name="Google Shape;10107;p58"/>
            <p:cNvSpPr/>
            <p:nvPr/>
          </p:nvSpPr>
          <p:spPr>
            <a:xfrm>
              <a:off x="7390435" y="3744950"/>
              <a:ext cx="294178" cy="291162"/>
            </a:xfrm>
            <a:custGeom>
              <a:avLst/>
              <a:gdLst/>
              <a:ahLst/>
              <a:cxnLst/>
              <a:rect l="l" t="t" r="r" b="b"/>
              <a:pathLst>
                <a:path w="9264" h="9169" extrusionOk="0">
                  <a:moveTo>
                    <a:pt x="4668" y="0"/>
                  </a:moveTo>
                  <a:cubicBezTo>
                    <a:pt x="3441" y="0"/>
                    <a:pt x="2287" y="477"/>
                    <a:pt x="1417" y="1334"/>
                  </a:cubicBezTo>
                  <a:cubicBezTo>
                    <a:pt x="1358" y="1393"/>
                    <a:pt x="1358" y="1501"/>
                    <a:pt x="1417" y="1572"/>
                  </a:cubicBezTo>
                  <a:cubicBezTo>
                    <a:pt x="1447" y="1602"/>
                    <a:pt x="1489" y="1617"/>
                    <a:pt x="1532" y="1617"/>
                  </a:cubicBezTo>
                  <a:cubicBezTo>
                    <a:pt x="1575" y="1617"/>
                    <a:pt x="1620" y="1602"/>
                    <a:pt x="1655" y="1572"/>
                  </a:cubicBezTo>
                  <a:cubicBezTo>
                    <a:pt x="2465" y="774"/>
                    <a:pt x="3537" y="322"/>
                    <a:pt x="4668" y="322"/>
                  </a:cubicBezTo>
                  <a:cubicBezTo>
                    <a:pt x="5799" y="322"/>
                    <a:pt x="6870" y="774"/>
                    <a:pt x="7668" y="1572"/>
                  </a:cubicBezTo>
                  <a:cubicBezTo>
                    <a:pt x="8478" y="2382"/>
                    <a:pt x="8918" y="3453"/>
                    <a:pt x="8918" y="4584"/>
                  </a:cubicBezTo>
                  <a:cubicBezTo>
                    <a:pt x="8918" y="5715"/>
                    <a:pt x="8478" y="6787"/>
                    <a:pt x="7668" y="7585"/>
                  </a:cubicBezTo>
                  <a:cubicBezTo>
                    <a:pt x="6841" y="8412"/>
                    <a:pt x="5751" y="8826"/>
                    <a:pt x="4662" y="8826"/>
                  </a:cubicBezTo>
                  <a:cubicBezTo>
                    <a:pt x="3572" y="8826"/>
                    <a:pt x="2483" y="8412"/>
                    <a:pt x="1655" y="7585"/>
                  </a:cubicBezTo>
                  <a:cubicBezTo>
                    <a:pt x="953" y="6882"/>
                    <a:pt x="524" y="5965"/>
                    <a:pt x="441" y="4977"/>
                  </a:cubicBezTo>
                  <a:cubicBezTo>
                    <a:pt x="346" y="4013"/>
                    <a:pt x="596" y="3037"/>
                    <a:pt x="1132" y="2227"/>
                  </a:cubicBezTo>
                  <a:cubicBezTo>
                    <a:pt x="1179" y="2155"/>
                    <a:pt x="1167" y="2048"/>
                    <a:pt x="1096" y="1989"/>
                  </a:cubicBezTo>
                  <a:cubicBezTo>
                    <a:pt x="1066" y="1972"/>
                    <a:pt x="1035" y="1964"/>
                    <a:pt x="1005" y="1964"/>
                  </a:cubicBezTo>
                  <a:cubicBezTo>
                    <a:pt x="950" y="1964"/>
                    <a:pt x="896" y="1990"/>
                    <a:pt x="858" y="2036"/>
                  </a:cubicBezTo>
                  <a:cubicBezTo>
                    <a:pt x="274" y="2894"/>
                    <a:pt x="1" y="3953"/>
                    <a:pt x="108" y="5013"/>
                  </a:cubicBezTo>
                  <a:cubicBezTo>
                    <a:pt x="215" y="6073"/>
                    <a:pt x="679" y="7085"/>
                    <a:pt x="1429" y="7823"/>
                  </a:cubicBezTo>
                  <a:cubicBezTo>
                    <a:pt x="2322" y="8716"/>
                    <a:pt x="3501" y="9168"/>
                    <a:pt x="4680" y="9168"/>
                  </a:cubicBezTo>
                  <a:cubicBezTo>
                    <a:pt x="5858" y="9168"/>
                    <a:pt x="7025" y="8716"/>
                    <a:pt x="7918" y="7823"/>
                  </a:cubicBezTo>
                  <a:cubicBezTo>
                    <a:pt x="8787" y="6966"/>
                    <a:pt x="9264" y="5799"/>
                    <a:pt x="9264" y="4584"/>
                  </a:cubicBezTo>
                  <a:cubicBezTo>
                    <a:pt x="9264" y="3358"/>
                    <a:pt x="8787" y="2203"/>
                    <a:pt x="7906" y="1334"/>
                  </a:cubicBezTo>
                  <a:cubicBezTo>
                    <a:pt x="7049" y="477"/>
                    <a:pt x="5882" y="0"/>
                    <a:pt x="4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8" name="Google Shape;10108;p58"/>
            <p:cNvSpPr/>
            <p:nvPr/>
          </p:nvSpPr>
          <p:spPr>
            <a:xfrm>
              <a:off x="7408948" y="3772259"/>
              <a:ext cx="259407" cy="236257"/>
            </a:xfrm>
            <a:custGeom>
              <a:avLst/>
              <a:gdLst/>
              <a:ahLst/>
              <a:cxnLst/>
              <a:rect l="l" t="t" r="r" b="b"/>
              <a:pathLst>
                <a:path w="8169" h="7440" extrusionOk="0">
                  <a:moveTo>
                    <a:pt x="4085" y="319"/>
                  </a:moveTo>
                  <a:cubicBezTo>
                    <a:pt x="4942" y="319"/>
                    <a:pt x="5823" y="653"/>
                    <a:pt x="6478" y="1319"/>
                  </a:cubicBezTo>
                  <a:cubicBezTo>
                    <a:pt x="7800" y="2653"/>
                    <a:pt x="7800" y="4796"/>
                    <a:pt x="6478" y="6117"/>
                  </a:cubicBezTo>
                  <a:cubicBezTo>
                    <a:pt x="5817" y="6778"/>
                    <a:pt x="4951" y="7109"/>
                    <a:pt x="4083" y="7109"/>
                  </a:cubicBezTo>
                  <a:cubicBezTo>
                    <a:pt x="3216" y="7109"/>
                    <a:pt x="2346" y="6778"/>
                    <a:pt x="1680" y="6117"/>
                  </a:cubicBezTo>
                  <a:cubicBezTo>
                    <a:pt x="358" y="4796"/>
                    <a:pt x="358" y="2653"/>
                    <a:pt x="1680" y="1319"/>
                  </a:cubicBezTo>
                  <a:cubicBezTo>
                    <a:pt x="2335" y="664"/>
                    <a:pt x="3216" y="319"/>
                    <a:pt x="4085" y="319"/>
                  </a:cubicBezTo>
                  <a:close/>
                  <a:moveTo>
                    <a:pt x="4088" y="1"/>
                  </a:moveTo>
                  <a:cubicBezTo>
                    <a:pt x="3132" y="1"/>
                    <a:pt x="2174" y="361"/>
                    <a:pt x="1442" y="1081"/>
                  </a:cubicBezTo>
                  <a:cubicBezTo>
                    <a:pt x="1" y="2534"/>
                    <a:pt x="1" y="4891"/>
                    <a:pt x="1442" y="6356"/>
                  </a:cubicBezTo>
                  <a:cubicBezTo>
                    <a:pt x="2180" y="7082"/>
                    <a:pt x="3120" y="7439"/>
                    <a:pt x="4085" y="7439"/>
                  </a:cubicBezTo>
                  <a:cubicBezTo>
                    <a:pt x="5037" y="7439"/>
                    <a:pt x="5978" y="7082"/>
                    <a:pt x="6716" y="6356"/>
                  </a:cubicBezTo>
                  <a:cubicBezTo>
                    <a:pt x="8169" y="4891"/>
                    <a:pt x="8169" y="2546"/>
                    <a:pt x="6716" y="1081"/>
                  </a:cubicBezTo>
                  <a:cubicBezTo>
                    <a:pt x="5996" y="361"/>
                    <a:pt x="5043" y="1"/>
                    <a:pt x="40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9" name="Google Shape;10109;p58"/>
            <p:cNvSpPr/>
            <p:nvPr/>
          </p:nvSpPr>
          <p:spPr>
            <a:xfrm>
              <a:off x="7487986" y="3680868"/>
              <a:ext cx="274522" cy="259565"/>
            </a:xfrm>
            <a:custGeom>
              <a:avLst/>
              <a:gdLst/>
              <a:ahLst/>
              <a:cxnLst/>
              <a:rect l="l" t="t" r="r" b="b"/>
              <a:pathLst>
                <a:path w="8645" h="8174" extrusionOk="0">
                  <a:moveTo>
                    <a:pt x="3614" y="0"/>
                  </a:moveTo>
                  <a:cubicBezTo>
                    <a:pt x="2438" y="0"/>
                    <a:pt x="1262" y="447"/>
                    <a:pt x="369" y="1340"/>
                  </a:cubicBezTo>
                  <a:cubicBezTo>
                    <a:pt x="262" y="1447"/>
                    <a:pt x="167" y="1566"/>
                    <a:pt x="60" y="1685"/>
                  </a:cubicBezTo>
                  <a:cubicBezTo>
                    <a:pt x="0" y="1756"/>
                    <a:pt x="12" y="1864"/>
                    <a:pt x="84" y="1923"/>
                  </a:cubicBezTo>
                  <a:cubicBezTo>
                    <a:pt x="118" y="1948"/>
                    <a:pt x="155" y="1960"/>
                    <a:pt x="191" y="1960"/>
                  </a:cubicBezTo>
                  <a:cubicBezTo>
                    <a:pt x="240" y="1960"/>
                    <a:pt x="287" y="1936"/>
                    <a:pt x="322" y="1887"/>
                  </a:cubicBezTo>
                  <a:cubicBezTo>
                    <a:pt x="417" y="1792"/>
                    <a:pt x="500" y="1685"/>
                    <a:pt x="608" y="1578"/>
                  </a:cubicBezTo>
                  <a:cubicBezTo>
                    <a:pt x="1435" y="750"/>
                    <a:pt x="2524" y="337"/>
                    <a:pt x="3614" y="337"/>
                  </a:cubicBezTo>
                  <a:cubicBezTo>
                    <a:pt x="4703" y="337"/>
                    <a:pt x="5793" y="750"/>
                    <a:pt x="6620" y="1578"/>
                  </a:cubicBezTo>
                  <a:cubicBezTo>
                    <a:pt x="8275" y="3233"/>
                    <a:pt x="8275" y="5936"/>
                    <a:pt x="6620" y="7591"/>
                  </a:cubicBezTo>
                  <a:cubicBezTo>
                    <a:pt x="6513" y="7698"/>
                    <a:pt x="6418" y="7781"/>
                    <a:pt x="6311" y="7876"/>
                  </a:cubicBezTo>
                  <a:cubicBezTo>
                    <a:pt x="6239" y="7936"/>
                    <a:pt x="6215" y="8043"/>
                    <a:pt x="6275" y="8114"/>
                  </a:cubicBezTo>
                  <a:cubicBezTo>
                    <a:pt x="6311" y="8162"/>
                    <a:pt x="6358" y="8174"/>
                    <a:pt x="6418" y="8174"/>
                  </a:cubicBezTo>
                  <a:cubicBezTo>
                    <a:pt x="6454" y="8174"/>
                    <a:pt x="6489" y="8162"/>
                    <a:pt x="6513" y="8126"/>
                  </a:cubicBezTo>
                  <a:cubicBezTo>
                    <a:pt x="6632" y="8043"/>
                    <a:pt x="6751" y="7936"/>
                    <a:pt x="6858" y="7817"/>
                  </a:cubicBezTo>
                  <a:cubicBezTo>
                    <a:pt x="8644" y="6031"/>
                    <a:pt x="8644" y="3126"/>
                    <a:pt x="6858" y="1340"/>
                  </a:cubicBezTo>
                  <a:cubicBezTo>
                    <a:pt x="5965" y="447"/>
                    <a:pt x="4790" y="0"/>
                    <a:pt x="36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0" name="Google Shape;10110;p58"/>
            <p:cNvSpPr/>
            <p:nvPr/>
          </p:nvSpPr>
          <p:spPr>
            <a:xfrm>
              <a:off x="7691758" y="3789502"/>
              <a:ext cx="34073" cy="102918"/>
            </a:xfrm>
            <a:custGeom>
              <a:avLst/>
              <a:gdLst/>
              <a:ahLst/>
              <a:cxnLst/>
              <a:rect l="l" t="t" r="r" b="b"/>
              <a:pathLst>
                <a:path w="1073" h="3241" extrusionOk="0">
                  <a:moveTo>
                    <a:pt x="589" y="1"/>
                  </a:moveTo>
                  <a:cubicBezTo>
                    <a:pt x="580" y="1"/>
                    <a:pt x="570" y="1"/>
                    <a:pt x="560" y="2"/>
                  </a:cubicBezTo>
                  <a:cubicBezTo>
                    <a:pt x="477" y="38"/>
                    <a:pt x="429" y="121"/>
                    <a:pt x="441" y="217"/>
                  </a:cubicBezTo>
                  <a:cubicBezTo>
                    <a:pt x="715" y="1157"/>
                    <a:pt x="560" y="2145"/>
                    <a:pt x="37" y="2967"/>
                  </a:cubicBezTo>
                  <a:cubicBezTo>
                    <a:pt x="1" y="3038"/>
                    <a:pt x="13" y="3146"/>
                    <a:pt x="84" y="3205"/>
                  </a:cubicBezTo>
                  <a:cubicBezTo>
                    <a:pt x="120" y="3217"/>
                    <a:pt x="144" y="3241"/>
                    <a:pt x="167" y="3241"/>
                  </a:cubicBezTo>
                  <a:cubicBezTo>
                    <a:pt x="239" y="3241"/>
                    <a:pt x="275" y="3205"/>
                    <a:pt x="310" y="3158"/>
                  </a:cubicBezTo>
                  <a:cubicBezTo>
                    <a:pt x="906" y="2265"/>
                    <a:pt x="1072" y="1169"/>
                    <a:pt x="775" y="121"/>
                  </a:cubicBezTo>
                  <a:cubicBezTo>
                    <a:pt x="743" y="47"/>
                    <a:pt x="672" y="1"/>
                    <a:pt x="5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1" name="Google Shape;10111;p58"/>
            <p:cNvSpPr/>
            <p:nvPr/>
          </p:nvSpPr>
          <p:spPr>
            <a:xfrm>
              <a:off x="7536000" y="3708082"/>
              <a:ext cx="173192" cy="72052"/>
            </a:xfrm>
            <a:custGeom>
              <a:avLst/>
              <a:gdLst/>
              <a:ahLst/>
              <a:cxnLst/>
              <a:rect l="l" t="t" r="r" b="b"/>
              <a:pathLst>
                <a:path w="5454" h="2269" extrusionOk="0">
                  <a:moveTo>
                    <a:pt x="2121" y="0"/>
                  </a:moveTo>
                  <a:cubicBezTo>
                    <a:pt x="1410" y="0"/>
                    <a:pt x="707" y="204"/>
                    <a:pt x="108" y="590"/>
                  </a:cubicBezTo>
                  <a:cubicBezTo>
                    <a:pt x="36" y="638"/>
                    <a:pt x="0" y="733"/>
                    <a:pt x="60" y="828"/>
                  </a:cubicBezTo>
                  <a:cubicBezTo>
                    <a:pt x="91" y="874"/>
                    <a:pt x="147" y="906"/>
                    <a:pt x="205" y="906"/>
                  </a:cubicBezTo>
                  <a:cubicBezTo>
                    <a:pt x="237" y="906"/>
                    <a:pt x="269" y="897"/>
                    <a:pt x="298" y="876"/>
                  </a:cubicBezTo>
                  <a:cubicBezTo>
                    <a:pt x="841" y="534"/>
                    <a:pt x="1478" y="344"/>
                    <a:pt x="2123" y="344"/>
                  </a:cubicBezTo>
                  <a:cubicBezTo>
                    <a:pt x="2241" y="344"/>
                    <a:pt x="2359" y="351"/>
                    <a:pt x="2477" y="364"/>
                  </a:cubicBezTo>
                  <a:cubicBezTo>
                    <a:pt x="3251" y="435"/>
                    <a:pt x="3977" y="792"/>
                    <a:pt x="4513" y="1328"/>
                  </a:cubicBezTo>
                  <a:cubicBezTo>
                    <a:pt x="4763" y="1590"/>
                    <a:pt x="4977" y="1864"/>
                    <a:pt x="5120" y="2185"/>
                  </a:cubicBezTo>
                  <a:cubicBezTo>
                    <a:pt x="5156" y="2245"/>
                    <a:pt x="5215" y="2269"/>
                    <a:pt x="5275" y="2269"/>
                  </a:cubicBezTo>
                  <a:cubicBezTo>
                    <a:pt x="5299" y="2269"/>
                    <a:pt x="5323" y="2269"/>
                    <a:pt x="5346" y="2257"/>
                  </a:cubicBezTo>
                  <a:cubicBezTo>
                    <a:pt x="5418" y="2197"/>
                    <a:pt x="5453" y="2102"/>
                    <a:pt x="5406" y="2019"/>
                  </a:cubicBezTo>
                  <a:cubicBezTo>
                    <a:pt x="5227" y="1673"/>
                    <a:pt x="5001" y="1364"/>
                    <a:pt x="4739" y="1102"/>
                  </a:cubicBezTo>
                  <a:cubicBezTo>
                    <a:pt x="4144" y="507"/>
                    <a:pt x="3334" y="114"/>
                    <a:pt x="2489" y="18"/>
                  </a:cubicBezTo>
                  <a:cubicBezTo>
                    <a:pt x="2366" y="6"/>
                    <a:pt x="2243" y="0"/>
                    <a:pt x="2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2" name="Google Shape;10112;p58"/>
            <p:cNvSpPr/>
            <p:nvPr/>
          </p:nvSpPr>
          <p:spPr>
            <a:xfrm>
              <a:off x="7501228" y="3819415"/>
              <a:ext cx="75640" cy="141437"/>
            </a:xfrm>
            <a:custGeom>
              <a:avLst/>
              <a:gdLst/>
              <a:ahLst/>
              <a:cxnLst/>
              <a:rect l="l" t="t" r="r" b="b"/>
              <a:pathLst>
                <a:path w="2382" h="4454" extrusionOk="0">
                  <a:moveTo>
                    <a:pt x="1012" y="692"/>
                  </a:moveTo>
                  <a:lnTo>
                    <a:pt x="1012" y="2061"/>
                  </a:lnTo>
                  <a:cubicBezTo>
                    <a:pt x="607" y="2001"/>
                    <a:pt x="310" y="1715"/>
                    <a:pt x="310" y="1370"/>
                  </a:cubicBezTo>
                  <a:cubicBezTo>
                    <a:pt x="310" y="1025"/>
                    <a:pt x="607" y="763"/>
                    <a:pt x="1012" y="692"/>
                  </a:cubicBezTo>
                  <a:close/>
                  <a:moveTo>
                    <a:pt x="1357" y="2418"/>
                  </a:moveTo>
                  <a:cubicBezTo>
                    <a:pt x="1750" y="2477"/>
                    <a:pt x="2048" y="2751"/>
                    <a:pt x="2048" y="3097"/>
                  </a:cubicBezTo>
                  <a:cubicBezTo>
                    <a:pt x="2048" y="3430"/>
                    <a:pt x="1738" y="3704"/>
                    <a:pt x="1357" y="3763"/>
                  </a:cubicBezTo>
                  <a:lnTo>
                    <a:pt x="1357" y="2418"/>
                  </a:lnTo>
                  <a:close/>
                  <a:moveTo>
                    <a:pt x="1191" y="1"/>
                  </a:moveTo>
                  <a:cubicBezTo>
                    <a:pt x="1095" y="1"/>
                    <a:pt x="1024" y="72"/>
                    <a:pt x="1024" y="168"/>
                  </a:cubicBezTo>
                  <a:lnTo>
                    <a:pt x="1024" y="358"/>
                  </a:lnTo>
                  <a:cubicBezTo>
                    <a:pt x="441" y="430"/>
                    <a:pt x="0" y="870"/>
                    <a:pt x="0" y="1370"/>
                  </a:cubicBezTo>
                  <a:cubicBezTo>
                    <a:pt x="0" y="1882"/>
                    <a:pt x="441" y="2323"/>
                    <a:pt x="1024" y="2382"/>
                  </a:cubicBezTo>
                  <a:lnTo>
                    <a:pt x="1024" y="3763"/>
                  </a:lnTo>
                  <a:cubicBezTo>
                    <a:pt x="619" y="3704"/>
                    <a:pt x="322" y="3430"/>
                    <a:pt x="322" y="3085"/>
                  </a:cubicBezTo>
                  <a:cubicBezTo>
                    <a:pt x="322" y="2989"/>
                    <a:pt x="250" y="2918"/>
                    <a:pt x="167" y="2918"/>
                  </a:cubicBezTo>
                  <a:cubicBezTo>
                    <a:pt x="71" y="2918"/>
                    <a:pt x="0" y="2989"/>
                    <a:pt x="0" y="3085"/>
                  </a:cubicBezTo>
                  <a:cubicBezTo>
                    <a:pt x="0" y="3609"/>
                    <a:pt x="441" y="4037"/>
                    <a:pt x="1024" y="4097"/>
                  </a:cubicBezTo>
                  <a:lnTo>
                    <a:pt x="1024" y="4287"/>
                  </a:lnTo>
                  <a:cubicBezTo>
                    <a:pt x="1024" y="4371"/>
                    <a:pt x="1095" y="4454"/>
                    <a:pt x="1191" y="4454"/>
                  </a:cubicBezTo>
                  <a:cubicBezTo>
                    <a:pt x="1274" y="4454"/>
                    <a:pt x="1357" y="4371"/>
                    <a:pt x="1357" y="4287"/>
                  </a:cubicBezTo>
                  <a:lnTo>
                    <a:pt x="1357" y="4097"/>
                  </a:lnTo>
                  <a:cubicBezTo>
                    <a:pt x="1929" y="4025"/>
                    <a:pt x="2381" y="3585"/>
                    <a:pt x="2381" y="3085"/>
                  </a:cubicBezTo>
                  <a:cubicBezTo>
                    <a:pt x="2381" y="2573"/>
                    <a:pt x="1929" y="2144"/>
                    <a:pt x="1357" y="2073"/>
                  </a:cubicBezTo>
                  <a:lnTo>
                    <a:pt x="1357" y="692"/>
                  </a:lnTo>
                  <a:cubicBezTo>
                    <a:pt x="1750" y="751"/>
                    <a:pt x="2048" y="1025"/>
                    <a:pt x="2048" y="1370"/>
                  </a:cubicBezTo>
                  <a:cubicBezTo>
                    <a:pt x="2048" y="1465"/>
                    <a:pt x="2131" y="1537"/>
                    <a:pt x="2215" y="1537"/>
                  </a:cubicBezTo>
                  <a:cubicBezTo>
                    <a:pt x="2298" y="1537"/>
                    <a:pt x="2381" y="1465"/>
                    <a:pt x="2381" y="1370"/>
                  </a:cubicBezTo>
                  <a:cubicBezTo>
                    <a:pt x="2381" y="846"/>
                    <a:pt x="1929" y="418"/>
                    <a:pt x="1345" y="358"/>
                  </a:cubicBezTo>
                  <a:lnTo>
                    <a:pt x="1345" y="168"/>
                  </a:lnTo>
                  <a:cubicBezTo>
                    <a:pt x="1345" y="72"/>
                    <a:pt x="1274" y="1"/>
                    <a:pt x="1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13" name="Google Shape;10113;p58"/>
          <p:cNvGrpSpPr/>
          <p:nvPr/>
        </p:nvGrpSpPr>
        <p:grpSpPr>
          <a:xfrm>
            <a:off x="1421638" y="4125629"/>
            <a:ext cx="374709" cy="374010"/>
            <a:chOff x="1421638" y="4125629"/>
            <a:chExt cx="374709" cy="374010"/>
          </a:xfrm>
        </p:grpSpPr>
        <p:sp>
          <p:nvSpPr>
            <p:cNvPr id="10114" name="Google Shape;10114;p58"/>
            <p:cNvSpPr/>
            <p:nvPr/>
          </p:nvSpPr>
          <p:spPr>
            <a:xfrm>
              <a:off x="1421638" y="4265954"/>
              <a:ext cx="374709" cy="233685"/>
            </a:xfrm>
            <a:custGeom>
              <a:avLst/>
              <a:gdLst/>
              <a:ahLst/>
              <a:cxnLst/>
              <a:rect l="l" t="t" r="r" b="b"/>
              <a:pathLst>
                <a:path w="11800" h="7359" extrusionOk="0">
                  <a:moveTo>
                    <a:pt x="3180" y="3298"/>
                  </a:moveTo>
                  <a:lnTo>
                    <a:pt x="3180" y="7001"/>
                  </a:lnTo>
                  <a:lnTo>
                    <a:pt x="1691" y="7001"/>
                  </a:lnTo>
                  <a:lnTo>
                    <a:pt x="1691" y="3298"/>
                  </a:lnTo>
                  <a:close/>
                  <a:moveTo>
                    <a:pt x="6680" y="2370"/>
                  </a:moveTo>
                  <a:lnTo>
                    <a:pt x="6680" y="7001"/>
                  </a:lnTo>
                  <a:lnTo>
                    <a:pt x="5192" y="7001"/>
                  </a:lnTo>
                  <a:lnTo>
                    <a:pt x="5192" y="2370"/>
                  </a:lnTo>
                  <a:close/>
                  <a:moveTo>
                    <a:pt x="10180" y="345"/>
                  </a:moveTo>
                  <a:lnTo>
                    <a:pt x="10180" y="7001"/>
                  </a:lnTo>
                  <a:lnTo>
                    <a:pt x="8692" y="7001"/>
                  </a:lnTo>
                  <a:lnTo>
                    <a:pt x="8692" y="345"/>
                  </a:lnTo>
                  <a:close/>
                  <a:moveTo>
                    <a:pt x="8502" y="0"/>
                  </a:moveTo>
                  <a:cubicBezTo>
                    <a:pt x="8406" y="0"/>
                    <a:pt x="8323" y="84"/>
                    <a:pt x="8323" y="179"/>
                  </a:cubicBezTo>
                  <a:lnTo>
                    <a:pt x="8323" y="7001"/>
                  </a:lnTo>
                  <a:lnTo>
                    <a:pt x="7013" y="7001"/>
                  </a:lnTo>
                  <a:lnTo>
                    <a:pt x="7013" y="2203"/>
                  </a:lnTo>
                  <a:cubicBezTo>
                    <a:pt x="7013" y="2120"/>
                    <a:pt x="6930" y="2024"/>
                    <a:pt x="6835" y="2024"/>
                  </a:cubicBezTo>
                  <a:lnTo>
                    <a:pt x="4989" y="2024"/>
                  </a:lnTo>
                  <a:cubicBezTo>
                    <a:pt x="4894" y="2024"/>
                    <a:pt x="4811" y="2108"/>
                    <a:pt x="4811" y="2203"/>
                  </a:cubicBezTo>
                  <a:lnTo>
                    <a:pt x="4811" y="7001"/>
                  </a:lnTo>
                  <a:lnTo>
                    <a:pt x="3501" y="7001"/>
                  </a:lnTo>
                  <a:lnTo>
                    <a:pt x="3501" y="3132"/>
                  </a:lnTo>
                  <a:cubicBezTo>
                    <a:pt x="3501" y="3036"/>
                    <a:pt x="3418" y="2953"/>
                    <a:pt x="3322" y="2953"/>
                  </a:cubicBezTo>
                  <a:lnTo>
                    <a:pt x="1477" y="2953"/>
                  </a:lnTo>
                  <a:cubicBezTo>
                    <a:pt x="1382" y="2953"/>
                    <a:pt x="1298" y="3024"/>
                    <a:pt x="1298" y="3132"/>
                  </a:cubicBezTo>
                  <a:lnTo>
                    <a:pt x="1298" y="7001"/>
                  </a:lnTo>
                  <a:lnTo>
                    <a:pt x="179" y="7001"/>
                  </a:lnTo>
                  <a:cubicBezTo>
                    <a:pt x="84" y="7001"/>
                    <a:pt x="1" y="7073"/>
                    <a:pt x="1" y="7180"/>
                  </a:cubicBezTo>
                  <a:cubicBezTo>
                    <a:pt x="1" y="7287"/>
                    <a:pt x="72" y="7358"/>
                    <a:pt x="179" y="7358"/>
                  </a:cubicBezTo>
                  <a:lnTo>
                    <a:pt x="11597" y="7358"/>
                  </a:lnTo>
                  <a:cubicBezTo>
                    <a:pt x="11681" y="7358"/>
                    <a:pt x="11776" y="7287"/>
                    <a:pt x="11776" y="7180"/>
                  </a:cubicBezTo>
                  <a:cubicBezTo>
                    <a:pt x="11800" y="7073"/>
                    <a:pt x="11728" y="7001"/>
                    <a:pt x="11633" y="7001"/>
                  </a:cubicBezTo>
                  <a:lnTo>
                    <a:pt x="10526" y="7001"/>
                  </a:lnTo>
                  <a:lnTo>
                    <a:pt x="10526" y="179"/>
                  </a:lnTo>
                  <a:cubicBezTo>
                    <a:pt x="10526" y="95"/>
                    <a:pt x="10442" y="0"/>
                    <a:pt x="10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5" name="Google Shape;10115;p58"/>
            <p:cNvSpPr/>
            <p:nvPr/>
          </p:nvSpPr>
          <p:spPr>
            <a:xfrm>
              <a:off x="1428052" y="4125629"/>
              <a:ext cx="356958" cy="215585"/>
            </a:xfrm>
            <a:custGeom>
              <a:avLst/>
              <a:gdLst/>
              <a:ahLst/>
              <a:cxnLst/>
              <a:rect l="l" t="t" r="r" b="b"/>
              <a:pathLst>
                <a:path w="11241" h="6789" extrusionOk="0">
                  <a:moveTo>
                    <a:pt x="10668" y="0"/>
                  </a:moveTo>
                  <a:cubicBezTo>
                    <a:pt x="10653" y="0"/>
                    <a:pt x="10637" y="1"/>
                    <a:pt x="10621" y="2"/>
                  </a:cubicBezTo>
                  <a:lnTo>
                    <a:pt x="9145" y="181"/>
                  </a:lnTo>
                  <a:cubicBezTo>
                    <a:pt x="8847" y="216"/>
                    <a:pt x="8633" y="490"/>
                    <a:pt x="8669" y="788"/>
                  </a:cubicBezTo>
                  <a:cubicBezTo>
                    <a:pt x="8691" y="1064"/>
                    <a:pt x="8938" y="1268"/>
                    <a:pt x="9211" y="1268"/>
                  </a:cubicBezTo>
                  <a:cubicBezTo>
                    <a:pt x="9232" y="1268"/>
                    <a:pt x="9254" y="1267"/>
                    <a:pt x="9276" y="1264"/>
                  </a:cubicBezTo>
                  <a:lnTo>
                    <a:pt x="9395" y="1252"/>
                  </a:lnTo>
                  <a:lnTo>
                    <a:pt x="9395" y="1252"/>
                  </a:lnTo>
                  <a:cubicBezTo>
                    <a:pt x="7597" y="3348"/>
                    <a:pt x="5442" y="4443"/>
                    <a:pt x="3918" y="4979"/>
                  </a:cubicBezTo>
                  <a:cubicBezTo>
                    <a:pt x="2025" y="5657"/>
                    <a:pt x="561" y="5717"/>
                    <a:pt x="537" y="5717"/>
                  </a:cubicBezTo>
                  <a:cubicBezTo>
                    <a:pt x="239" y="5729"/>
                    <a:pt x="1" y="5967"/>
                    <a:pt x="25" y="6265"/>
                  </a:cubicBezTo>
                  <a:cubicBezTo>
                    <a:pt x="37" y="6562"/>
                    <a:pt x="275" y="6789"/>
                    <a:pt x="561" y="6789"/>
                  </a:cubicBezTo>
                  <a:lnTo>
                    <a:pt x="572" y="6789"/>
                  </a:lnTo>
                  <a:cubicBezTo>
                    <a:pt x="632" y="6789"/>
                    <a:pt x="2192" y="6729"/>
                    <a:pt x="4263" y="6003"/>
                  </a:cubicBezTo>
                  <a:cubicBezTo>
                    <a:pt x="5418" y="5586"/>
                    <a:pt x="6514" y="5050"/>
                    <a:pt x="7490" y="4383"/>
                  </a:cubicBezTo>
                  <a:cubicBezTo>
                    <a:pt x="7561" y="4324"/>
                    <a:pt x="7597" y="4217"/>
                    <a:pt x="7538" y="4145"/>
                  </a:cubicBezTo>
                  <a:cubicBezTo>
                    <a:pt x="7501" y="4093"/>
                    <a:pt x="7445" y="4065"/>
                    <a:pt x="7391" y="4065"/>
                  </a:cubicBezTo>
                  <a:cubicBezTo>
                    <a:pt x="7358" y="4065"/>
                    <a:pt x="7326" y="4075"/>
                    <a:pt x="7299" y="4098"/>
                  </a:cubicBezTo>
                  <a:cubicBezTo>
                    <a:pt x="6335" y="4753"/>
                    <a:pt x="5275" y="5288"/>
                    <a:pt x="4144" y="5693"/>
                  </a:cubicBezTo>
                  <a:cubicBezTo>
                    <a:pt x="2132" y="6408"/>
                    <a:pt x="632" y="6467"/>
                    <a:pt x="561" y="6467"/>
                  </a:cubicBezTo>
                  <a:cubicBezTo>
                    <a:pt x="453" y="6467"/>
                    <a:pt x="358" y="6372"/>
                    <a:pt x="358" y="6265"/>
                  </a:cubicBezTo>
                  <a:cubicBezTo>
                    <a:pt x="358" y="6169"/>
                    <a:pt x="441" y="6074"/>
                    <a:pt x="561" y="6062"/>
                  </a:cubicBezTo>
                  <a:cubicBezTo>
                    <a:pt x="572" y="6062"/>
                    <a:pt x="2085" y="6003"/>
                    <a:pt x="4037" y="5300"/>
                  </a:cubicBezTo>
                  <a:cubicBezTo>
                    <a:pt x="5680" y="4717"/>
                    <a:pt x="8026" y="3514"/>
                    <a:pt x="9943" y="1133"/>
                  </a:cubicBezTo>
                  <a:cubicBezTo>
                    <a:pt x="10035" y="1018"/>
                    <a:pt x="9949" y="847"/>
                    <a:pt x="9813" y="847"/>
                  </a:cubicBezTo>
                  <a:cubicBezTo>
                    <a:pt x="9809" y="847"/>
                    <a:pt x="9804" y="847"/>
                    <a:pt x="9800" y="847"/>
                  </a:cubicBezTo>
                  <a:lnTo>
                    <a:pt x="9252" y="931"/>
                  </a:lnTo>
                  <a:cubicBezTo>
                    <a:pt x="9244" y="932"/>
                    <a:pt x="9236" y="932"/>
                    <a:pt x="9228" y="932"/>
                  </a:cubicBezTo>
                  <a:cubicBezTo>
                    <a:pt x="9139" y="932"/>
                    <a:pt x="9049" y="874"/>
                    <a:pt x="9038" y="776"/>
                  </a:cubicBezTo>
                  <a:cubicBezTo>
                    <a:pt x="9014" y="657"/>
                    <a:pt x="9085" y="550"/>
                    <a:pt x="9204" y="538"/>
                  </a:cubicBezTo>
                  <a:lnTo>
                    <a:pt x="10681" y="359"/>
                  </a:lnTo>
                  <a:cubicBezTo>
                    <a:pt x="10688" y="358"/>
                    <a:pt x="10696" y="358"/>
                    <a:pt x="10703" y="358"/>
                  </a:cubicBezTo>
                  <a:cubicBezTo>
                    <a:pt x="10812" y="358"/>
                    <a:pt x="10895" y="438"/>
                    <a:pt x="10895" y="550"/>
                  </a:cubicBezTo>
                  <a:lnTo>
                    <a:pt x="10895" y="2026"/>
                  </a:lnTo>
                  <a:cubicBezTo>
                    <a:pt x="10895" y="2133"/>
                    <a:pt x="10812" y="2217"/>
                    <a:pt x="10705" y="2217"/>
                  </a:cubicBezTo>
                  <a:cubicBezTo>
                    <a:pt x="10598" y="2217"/>
                    <a:pt x="10514" y="2133"/>
                    <a:pt x="10514" y="2026"/>
                  </a:cubicBezTo>
                  <a:lnTo>
                    <a:pt x="10514" y="1586"/>
                  </a:lnTo>
                  <a:cubicBezTo>
                    <a:pt x="10514" y="1502"/>
                    <a:pt x="10467" y="1443"/>
                    <a:pt x="10407" y="1419"/>
                  </a:cubicBezTo>
                  <a:cubicBezTo>
                    <a:pt x="10387" y="1409"/>
                    <a:pt x="10368" y="1405"/>
                    <a:pt x="10349" y="1405"/>
                  </a:cubicBezTo>
                  <a:cubicBezTo>
                    <a:pt x="10298" y="1405"/>
                    <a:pt x="10251" y="1435"/>
                    <a:pt x="10217" y="1478"/>
                  </a:cubicBezTo>
                  <a:cubicBezTo>
                    <a:pt x="9574" y="2264"/>
                    <a:pt x="8835" y="2979"/>
                    <a:pt x="8026" y="3610"/>
                  </a:cubicBezTo>
                  <a:cubicBezTo>
                    <a:pt x="7954" y="3669"/>
                    <a:pt x="7942" y="3764"/>
                    <a:pt x="8002" y="3848"/>
                  </a:cubicBezTo>
                  <a:cubicBezTo>
                    <a:pt x="8036" y="3888"/>
                    <a:pt x="8081" y="3910"/>
                    <a:pt x="8129" y="3910"/>
                  </a:cubicBezTo>
                  <a:cubicBezTo>
                    <a:pt x="8166" y="3910"/>
                    <a:pt x="8204" y="3897"/>
                    <a:pt x="8240" y="3872"/>
                  </a:cubicBezTo>
                  <a:cubicBezTo>
                    <a:pt x="8931" y="3336"/>
                    <a:pt x="9585" y="2729"/>
                    <a:pt x="10169" y="2062"/>
                  </a:cubicBezTo>
                  <a:cubicBezTo>
                    <a:pt x="10181" y="2336"/>
                    <a:pt x="10419" y="2574"/>
                    <a:pt x="10705" y="2574"/>
                  </a:cubicBezTo>
                  <a:cubicBezTo>
                    <a:pt x="11002" y="2574"/>
                    <a:pt x="11240" y="2336"/>
                    <a:pt x="11240" y="2038"/>
                  </a:cubicBezTo>
                  <a:lnTo>
                    <a:pt x="11240" y="573"/>
                  </a:lnTo>
                  <a:cubicBezTo>
                    <a:pt x="11240" y="395"/>
                    <a:pt x="11169" y="240"/>
                    <a:pt x="11050" y="133"/>
                  </a:cubicBezTo>
                  <a:cubicBezTo>
                    <a:pt x="10943" y="47"/>
                    <a:pt x="10807" y="0"/>
                    <a:pt x="10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16" name="Google Shape;10116;p58"/>
          <p:cNvGrpSpPr/>
          <p:nvPr/>
        </p:nvGrpSpPr>
        <p:grpSpPr>
          <a:xfrm>
            <a:off x="1973254" y="4156304"/>
            <a:ext cx="357720" cy="342192"/>
            <a:chOff x="1973254" y="4156304"/>
            <a:chExt cx="357720" cy="342192"/>
          </a:xfrm>
        </p:grpSpPr>
        <p:sp>
          <p:nvSpPr>
            <p:cNvPr id="10117" name="Google Shape;10117;p58"/>
            <p:cNvSpPr/>
            <p:nvPr/>
          </p:nvSpPr>
          <p:spPr>
            <a:xfrm>
              <a:off x="2129044" y="4156304"/>
              <a:ext cx="18926" cy="97964"/>
            </a:xfrm>
            <a:custGeom>
              <a:avLst/>
              <a:gdLst/>
              <a:ahLst/>
              <a:cxnLst/>
              <a:rect l="l" t="t" r="r" b="b"/>
              <a:pathLst>
                <a:path w="596" h="3085" extrusionOk="0">
                  <a:moveTo>
                    <a:pt x="417" y="0"/>
                  </a:moveTo>
                  <a:cubicBezTo>
                    <a:pt x="310" y="0"/>
                    <a:pt x="238" y="72"/>
                    <a:pt x="238" y="179"/>
                  </a:cubicBezTo>
                  <a:cubicBezTo>
                    <a:pt x="238" y="358"/>
                    <a:pt x="191" y="453"/>
                    <a:pt x="131" y="560"/>
                  </a:cubicBezTo>
                  <a:cubicBezTo>
                    <a:pt x="72" y="667"/>
                    <a:pt x="0" y="822"/>
                    <a:pt x="0" y="1096"/>
                  </a:cubicBezTo>
                  <a:cubicBezTo>
                    <a:pt x="0" y="1358"/>
                    <a:pt x="72" y="1501"/>
                    <a:pt x="131" y="1632"/>
                  </a:cubicBezTo>
                  <a:cubicBezTo>
                    <a:pt x="191" y="1727"/>
                    <a:pt x="238" y="1822"/>
                    <a:pt x="238" y="2001"/>
                  </a:cubicBezTo>
                  <a:cubicBezTo>
                    <a:pt x="238" y="2179"/>
                    <a:pt x="191" y="2263"/>
                    <a:pt x="131" y="2370"/>
                  </a:cubicBezTo>
                  <a:cubicBezTo>
                    <a:pt x="72" y="2501"/>
                    <a:pt x="0" y="2644"/>
                    <a:pt x="0" y="2906"/>
                  </a:cubicBezTo>
                  <a:cubicBezTo>
                    <a:pt x="0" y="3013"/>
                    <a:pt x="72" y="3084"/>
                    <a:pt x="179" y="3084"/>
                  </a:cubicBezTo>
                  <a:cubicBezTo>
                    <a:pt x="286" y="3084"/>
                    <a:pt x="357" y="3013"/>
                    <a:pt x="357" y="2906"/>
                  </a:cubicBezTo>
                  <a:cubicBezTo>
                    <a:pt x="357" y="2727"/>
                    <a:pt x="405" y="2644"/>
                    <a:pt x="464" y="2536"/>
                  </a:cubicBezTo>
                  <a:cubicBezTo>
                    <a:pt x="524" y="2417"/>
                    <a:pt x="595" y="2263"/>
                    <a:pt x="595" y="2001"/>
                  </a:cubicBezTo>
                  <a:cubicBezTo>
                    <a:pt x="595" y="1727"/>
                    <a:pt x="524" y="1584"/>
                    <a:pt x="464" y="1465"/>
                  </a:cubicBezTo>
                  <a:cubicBezTo>
                    <a:pt x="405" y="1358"/>
                    <a:pt x="357" y="1274"/>
                    <a:pt x="357" y="1096"/>
                  </a:cubicBezTo>
                  <a:cubicBezTo>
                    <a:pt x="357" y="905"/>
                    <a:pt x="405" y="822"/>
                    <a:pt x="464" y="715"/>
                  </a:cubicBezTo>
                  <a:cubicBezTo>
                    <a:pt x="524" y="596"/>
                    <a:pt x="595" y="453"/>
                    <a:pt x="595" y="179"/>
                  </a:cubicBezTo>
                  <a:cubicBezTo>
                    <a:pt x="595" y="72"/>
                    <a:pt x="524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8" name="Google Shape;10118;p58"/>
            <p:cNvSpPr/>
            <p:nvPr/>
          </p:nvSpPr>
          <p:spPr>
            <a:xfrm>
              <a:off x="2174771" y="4156304"/>
              <a:ext cx="18958" cy="97964"/>
            </a:xfrm>
            <a:custGeom>
              <a:avLst/>
              <a:gdLst/>
              <a:ahLst/>
              <a:cxnLst/>
              <a:rect l="l" t="t" r="r" b="b"/>
              <a:pathLst>
                <a:path w="597" h="3085" extrusionOk="0">
                  <a:moveTo>
                    <a:pt x="418" y="0"/>
                  </a:moveTo>
                  <a:cubicBezTo>
                    <a:pt x="322" y="0"/>
                    <a:pt x="239" y="72"/>
                    <a:pt x="239" y="179"/>
                  </a:cubicBezTo>
                  <a:cubicBezTo>
                    <a:pt x="239" y="358"/>
                    <a:pt x="191" y="453"/>
                    <a:pt x="144" y="560"/>
                  </a:cubicBezTo>
                  <a:cubicBezTo>
                    <a:pt x="84" y="667"/>
                    <a:pt x="1" y="822"/>
                    <a:pt x="1" y="1096"/>
                  </a:cubicBezTo>
                  <a:cubicBezTo>
                    <a:pt x="1" y="1358"/>
                    <a:pt x="84" y="1501"/>
                    <a:pt x="144" y="1632"/>
                  </a:cubicBezTo>
                  <a:cubicBezTo>
                    <a:pt x="191" y="1727"/>
                    <a:pt x="239" y="1822"/>
                    <a:pt x="239" y="2001"/>
                  </a:cubicBezTo>
                  <a:cubicBezTo>
                    <a:pt x="239" y="2179"/>
                    <a:pt x="191" y="2263"/>
                    <a:pt x="144" y="2370"/>
                  </a:cubicBezTo>
                  <a:cubicBezTo>
                    <a:pt x="84" y="2501"/>
                    <a:pt x="1" y="2644"/>
                    <a:pt x="1" y="2906"/>
                  </a:cubicBezTo>
                  <a:cubicBezTo>
                    <a:pt x="1" y="3013"/>
                    <a:pt x="84" y="3084"/>
                    <a:pt x="179" y="3084"/>
                  </a:cubicBezTo>
                  <a:cubicBezTo>
                    <a:pt x="287" y="3084"/>
                    <a:pt x="358" y="3013"/>
                    <a:pt x="358" y="2906"/>
                  </a:cubicBezTo>
                  <a:cubicBezTo>
                    <a:pt x="358" y="2727"/>
                    <a:pt x="406" y="2644"/>
                    <a:pt x="465" y="2536"/>
                  </a:cubicBezTo>
                  <a:cubicBezTo>
                    <a:pt x="525" y="2417"/>
                    <a:pt x="596" y="2263"/>
                    <a:pt x="596" y="2001"/>
                  </a:cubicBezTo>
                  <a:cubicBezTo>
                    <a:pt x="596" y="1727"/>
                    <a:pt x="525" y="1584"/>
                    <a:pt x="465" y="1465"/>
                  </a:cubicBezTo>
                  <a:cubicBezTo>
                    <a:pt x="406" y="1358"/>
                    <a:pt x="358" y="1274"/>
                    <a:pt x="358" y="1096"/>
                  </a:cubicBezTo>
                  <a:cubicBezTo>
                    <a:pt x="358" y="905"/>
                    <a:pt x="406" y="822"/>
                    <a:pt x="465" y="715"/>
                  </a:cubicBezTo>
                  <a:cubicBezTo>
                    <a:pt x="525" y="596"/>
                    <a:pt x="596" y="453"/>
                    <a:pt x="596" y="179"/>
                  </a:cubicBezTo>
                  <a:cubicBezTo>
                    <a:pt x="596" y="72"/>
                    <a:pt x="525" y="0"/>
                    <a:pt x="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9" name="Google Shape;10119;p58"/>
            <p:cNvSpPr/>
            <p:nvPr/>
          </p:nvSpPr>
          <p:spPr>
            <a:xfrm>
              <a:off x="1992529" y="4460644"/>
              <a:ext cx="338445" cy="37852"/>
            </a:xfrm>
            <a:custGeom>
              <a:avLst/>
              <a:gdLst/>
              <a:ahLst/>
              <a:cxnLst/>
              <a:rect l="l" t="t" r="r" b="b"/>
              <a:pathLst>
                <a:path w="10658" h="1192" extrusionOk="0">
                  <a:moveTo>
                    <a:pt x="10002" y="358"/>
                  </a:moveTo>
                  <a:lnTo>
                    <a:pt x="9931" y="632"/>
                  </a:lnTo>
                  <a:cubicBezTo>
                    <a:pt x="9895" y="751"/>
                    <a:pt x="9764" y="834"/>
                    <a:pt x="9645" y="834"/>
                  </a:cubicBezTo>
                  <a:lnTo>
                    <a:pt x="1013" y="834"/>
                  </a:lnTo>
                  <a:cubicBezTo>
                    <a:pt x="894" y="834"/>
                    <a:pt x="763" y="739"/>
                    <a:pt x="727" y="632"/>
                  </a:cubicBezTo>
                  <a:lnTo>
                    <a:pt x="656" y="358"/>
                  </a:lnTo>
                  <a:close/>
                  <a:moveTo>
                    <a:pt x="180" y="1"/>
                  </a:moveTo>
                  <a:cubicBezTo>
                    <a:pt x="72" y="1"/>
                    <a:pt x="1" y="84"/>
                    <a:pt x="1" y="180"/>
                  </a:cubicBezTo>
                  <a:cubicBezTo>
                    <a:pt x="1" y="287"/>
                    <a:pt x="72" y="358"/>
                    <a:pt x="180" y="358"/>
                  </a:cubicBezTo>
                  <a:lnTo>
                    <a:pt x="287" y="358"/>
                  </a:lnTo>
                  <a:lnTo>
                    <a:pt x="382" y="715"/>
                  </a:lnTo>
                  <a:cubicBezTo>
                    <a:pt x="465" y="989"/>
                    <a:pt x="739" y="1192"/>
                    <a:pt x="1013" y="1192"/>
                  </a:cubicBezTo>
                  <a:lnTo>
                    <a:pt x="9645" y="1192"/>
                  </a:lnTo>
                  <a:cubicBezTo>
                    <a:pt x="9931" y="1192"/>
                    <a:pt x="10193" y="989"/>
                    <a:pt x="10264" y="715"/>
                  </a:cubicBezTo>
                  <a:lnTo>
                    <a:pt x="10371" y="358"/>
                  </a:lnTo>
                  <a:lnTo>
                    <a:pt x="10478" y="358"/>
                  </a:lnTo>
                  <a:cubicBezTo>
                    <a:pt x="10574" y="358"/>
                    <a:pt x="10657" y="287"/>
                    <a:pt x="10657" y="180"/>
                  </a:cubicBezTo>
                  <a:cubicBezTo>
                    <a:pt x="10657" y="96"/>
                    <a:pt x="10586" y="1"/>
                    <a:pt x="104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0" name="Google Shape;10120;p58"/>
            <p:cNvSpPr/>
            <p:nvPr/>
          </p:nvSpPr>
          <p:spPr>
            <a:xfrm>
              <a:off x="1996340" y="4288627"/>
              <a:ext cx="60525" cy="69226"/>
            </a:xfrm>
            <a:custGeom>
              <a:avLst/>
              <a:gdLst/>
              <a:ahLst/>
              <a:cxnLst/>
              <a:rect l="l" t="t" r="r" b="b"/>
              <a:pathLst>
                <a:path w="1906" h="2180" extrusionOk="0">
                  <a:moveTo>
                    <a:pt x="1500" y="358"/>
                  </a:moveTo>
                  <a:lnTo>
                    <a:pt x="1500" y="1346"/>
                  </a:lnTo>
                  <a:cubicBezTo>
                    <a:pt x="1500" y="1513"/>
                    <a:pt x="1512" y="1656"/>
                    <a:pt x="1524" y="1822"/>
                  </a:cubicBezTo>
                  <a:lnTo>
                    <a:pt x="1512" y="1822"/>
                  </a:lnTo>
                  <a:cubicBezTo>
                    <a:pt x="869" y="1822"/>
                    <a:pt x="369" y="1298"/>
                    <a:pt x="369" y="679"/>
                  </a:cubicBezTo>
                  <a:cubicBezTo>
                    <a:pt x="357" y="572"/>
                    <a:pt x="369" y="465"/>
                    <a:pt x="405" y="358"/>
                  </a:cubicBezTo>
                  <a:close/>
                  <a:moveTo>
                    <a:pt x="262" y="1"/>
                  </a:moveTo>
                  <a:cubicBezTo>
                    <a:pt x="191" y="1"/>
                    <a:pt x="131" y="48"/>
                    <a:pt x="107" y="120"/>
                  </a:cubicBezTo>
                  <a:cubicBezTo>
                    <a:pt x="24" y="298"/>
                    <a:pt x="0" y="477"/>
                    <a:pt x="0" y="679"/>
                  </a:cubicBezTo>
                  <a:cubicBezTo>
                    <a:pt x="0" y="1513"/>
                    <a:pt x="667" y="2179"/>
                    <a:pt x="1500" y="2179"/>
                  </a:cubicBezTo>
                  <a:lnTo>
                    <a:pt x="1726" y="2179"/>
                  </a:lnTo>
                  <a:cubicBezTo>
                    <a:pt x="1786" y="2179"/>
                    <a:pt x="1834" y="2144"/>
                    <a:pt x="1857" y="2120"/>
                  </a:cubicBezTo>
                  <a:cubicBezTo>
                    <a:pt x="1893" y="2084"/>
                    <a:pt x="1905" y="2025"/>
                    <a:pt x="1905" y="1965"/>
                  </a:cubicBezTo>
                  <a:cubicBezTo>
                    <a:pt x="1857" y="1763"/>
                    <a:pt x="1846" y="1548"/>
                    <a:pt x="1846" y="1358"/>
                  </a:cubicBezTo>
                  <a:lnTo>
                    <a:pt x="1846" y="179"/>
                  </a:lnTo>
                  <a:cubicBezTo>
                    <a:pt x="1846" y="84"/>
                    <a:pt x="1774" y="1"/>
                    <a:pt x="1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1" name="Google Shape;10121;p58"/>
            <p:cNvSpPr/>
            <p:nvPr/>
          </p:nvSpPr>
          <p:spPr>
            <a:xfrm>
              <a:off x="1973254" y="4265954"/>
              <a:ext cx="306658" cy="184147"/>
            </a:xfrm>
            <a:custGeom>
              <a:avLst/>
              <a:gdLst/>
              <a:ahLst/>
              <a:cxnLst/>
              <a:rect l="l" t="t" r="r" b="b"/>
              <a:pathLst>
                <a:path w="9657" h="5799" extrusionOk="0">
                  <a:moveTo>
                    <a:pt x="9288" y="357"/>
                  </a:moveTo>
                  <a:lnTo>
                    <a:pt x="9288" y="2072"/>
                  </a:lnTo>
                  <a:cubicBezTo>
                    <a:pt x="9288" y="3917"/>
                    <a:pt x="7776" y="5418"/>
                    <a:pt x="5930" y="5418"/>
                  </a:cubicBezTo>
                  <a:cubicBezTo>
                    <a:pt x="4585" y="5418"/>
                    <a:pt x="3358" y="4620"/>
                    <a:pt x="2834" y="3370"/>
                  </a:cubicBezTo>
                  <a:cubicBezTo>
                    <a:pt x="2811" y="3310"/>
                    <a:pt x="2751" y="3263"/>
                    <a:pt x="2668" y="3263"/>
                  </a:cubicBezTo>
                  <a:lnTo>
                    <a:pt x="2227" y="3263"/>
                  </a:lnTo>
                  <a:cubicBezTo>
                    <a:pt x="1203" y="3263"/>
                    <a:pt x="346" y="2429"/>
                    <a:pt x="346" y="1393"/>
                  </a:cubicBezTo>
                  <a:cubicBezTo>
                    <a:pt x="358" y="1012"/>
                    <a:pt x="477" y="655"/>
                    <a:pt x="668" y="357"/>
                  </a:cubicBezTo>
                  <a:lnTo>
                    <a:pt x="8335" y="357"/>
                  </a:lnTo>
                  <a:lnTo>
                    <a:pt x="8335" y="1131"/>
                  </a:lnTo>
                  <a:cubicBezTo>
                    <a:pt x="8335" y="1238"/>
                    <a:pt x="8407" y="1310"/>
                    <a:pt x="8514" y="1310"/>
                  </a:cubicBezTo>
                  <a:cubicBezTo>
                    <a:pt x="8609" y="1310"/>
                    <a:pt x="8692" y="1238"/>
                    <a:pt x="8692" y="1131"/>
                  </a:cubicBezTo>
                  <a:lnTo>
                    <a:pt x="8692" y="357"/>
                  </a:lnTo>
                  <a:close/>
                  <a:moveTo>
                    <a:pt x="572" y="0"/>
                  </a:moveTo>
                  <a:cubicBezTo>
                    <a:pt x="513" y="0"/>
                    <a:pt x="477" y="36"/>
                    <a:pt x="429" y="84"/>
                  </a:cubicBezTo>
                  <a:cubicBezTo>
                    <a:pt x="144" y="465"/>
                    <a:pt x="1" y="917"/>
                    <a:pt x="1" y="1381"/>
                  </a:cubicBezTo>
                  <a:cubicBezTo>
                    <a:pt x="1" y="2620"/>
                    <a:pt x="1013" y="3620"/>
                    <a:pt x="2227" y="3620"/>
                  </a:cubicBezTo>
                  <a:lnTo>
                    <a:pt x="2561" y="3620"/>
                  </a:lnTo>
                  <a:cubicBezTo>
                    <a:pt x="3168" y="4941"/>
                    <a:pt x="4478" y="5799"/>
                    <a:pt x="5930" y="5799"/>
                  </a:cubicBezTo>
                  <a:cubicBezTo>
                    <a:pt x="7990" y="5799"/>
                    <a:pt x="9657" y="4132"/>
                    <a:pt x="9657" y="2072"/>
                  </a:cubicBezTo>
                  <a:lnTo>
                    <a:pt x="9657" y="179"/>
                  </a:lnTo>
                  <a:cubicBezTo>
                    <a:pt x="9657" y="84"/>
                    <a:pt x="9585" y="0"/>
                    <a:pt x="94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2" name="Google Shape;10122;p58"/>
            <p:cNvSpPr/>
            <p:nvPr/>
          </p:nvSpPr>
          <p:spPr>
            <a:xfrm>
              <a:off x="2155877" y="4319620"/>
              <a:ext cx="93423" cy="99488"/>
            </a:xfrm>
            <a:custGeom>
              <a:avLst/>
              <a:gdLst/>
              <a:ahLst/>
              <a:cxnLst/>
              <a:rect l="l" t="t" r="r" b="b"/>
              <a:pathLst>
                <a:path w="2942" h="3133" extrusionOk="0">
                  <a:moveTo>
                    <a:pt x="2763" y="1"/>
                  </a:moveTo>
                  <a:cubicBezTo>
                    <a:pt x="2656" y="1"/>
                    <a:pt x="2584" y="72"/>
                    <a:pt x="2584" y="179"/>
                  </a:cubicBezTo>
                  <a:lnTo>
                    <a:pt x="2584" y="382"/>
                  </a:lnTo>
                  <a:cubicBezTo>
                    <a:pt x="2584" y="1703"/>
                    <a:pt x="1513" y="2775"/>
                    <a:pt x="179" y="2775"/>
                  </a:cubicBezTo>
                  <a:cubicBezTo>
                    <a:pt x="84" y="2775"/>
                    <a:pt x="0" y="2858"/>
                    <a:pt x="0" y="2954"/>
                  </a:cubicBezTo>
                  <a:cubicBezTo>
                    <a:pt x="0" y="3061"/>
                    <a:pt x="84" y="3132"/>
                    <a:pt x="179" y="3132"/>
                  </a:cubicBezTo>
                  <a:cubicBezTo>
                    <a:pt x="1703" y="3132"/>
                    <a:pt x="2941" y="1906"/>
                    <a:pt x="2941" y="382"/>
                  </a:cubicBezTo>
                  <a:lnTo>
                    <a:pt x="2941" y="179"/>
                  </a:lnTo>
                  <a:cubicBezTo>
                    <a:pt x="2941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23" name="Google Shape;10123;p58"/>
          <p:cNvGrpSpPr/>
          <p:nvPr/>
        </p:nvGrpSpPr>
        <p:grpSpPr>
          <a:xfrm>
            <a:off x="2523759" y="4135505"/>
            <a:ext cx="341049" cy="340318"/>
            <a:chOff x="2523759" y="4135505"/>
            <a:chExt cx="341049" cy="340318"/>
          </a:xfrm>
        </p:grpSpPr>
        <p:sp>
          <p:nvSpPr>
            <p:cNvPr id="10124" name="Google Shape;10124;p58"/>
            <p:cNvSpPr/>
            <p:nvPr/>
          </p:nvSpPr>
          <p:spPr>
            <a:xfrm>
              <a:off x="2523759" y="4135505"/>
              <a:ext cx="341049" cy="340318"/>
            </a:xfrm>
            <a:custGeom>
              <a:avLst/>
              <a:gdLst/>
              <a:ahLst/>
              <a:cxnLst/>
              <a:rect l="l" t="t" r="r" b="b"/>
              <a:pathLst>
                <a:path w="10740" h="10717" extrusionOk="0">
                  <a:moveTo>
                    <a:pt x="7882" y="358"/>
                  </a:moveTo>
                  <a:cubicBezTo>
                    <a:pt x="7501" y="703"/>
                    <a:pt x="6965" y="1286"/>
                    <a:pt x="6751" y="1906"/>
                  </a:cubicBezTo>
                  <a:cubicBezTo>
                    <a:pt x="6215" y="1644"/>
                    <a:pt x="5620" y="1489"/>
                    <a:pt x="5013" y="1489"/>
                  </a:cubicBezTo>
                  <a:cubicBezTo>
                    <a:pt x="4739" y="1489"/>
                    <a:pt x="4489" y="1513"/>
                    <a:pt x="4251" y="1536"/>
                  </a:cubicBezTo>
                  <a:cubicBezTo>
                    <a:pt x="5132" y="1060"/>
                    <a:pt x="6061" y="763"/>
                    <a:pt x="6727" y="584"/>
                  </a:cubicBezTo>
                  <a:cubicBezTo>
                    <a:pt x="7192" y="465"/>
                    <a:pt x="7585" y="405"/>
                    <a:pt x="7882" y="358"/>
                  </a:cubicBezTo>
                  <a:close/>
                  <a:moveTo>
                    <a:pt x="8013" y="3453"/>
                  </a:moveTo>
                  <a:cubicBezTo>
                    <a:pt x="8180" y="3727"/>
                    <a:pt x="8335" y="4025"/>
                    <a:pt x="8418" y="4323"/>
                  </a:cubicBezTo>
                  <a:cubicBezTo>
                    <a:pt x="8466" y="4453"/>
                    <a:pt x="8549" y="4561"/>
                    <a:pt x="8668" y="4620"/>
                  </a:cubicBezTo>
                  <a:cubicBezTo>
                    <a:pt x="8739" y="4650"/>
                    <a:pt x="8811" y="4665"/>
                    <a:pt x="8879" y="4665"/>
                  </a:cubicBezTo>
                  <a:cubicBezTo>
                    <a:pt x="8948" y="4665"/>
                    <a:pt x="9013" y="4650"/>
                    <a:pt x="9073" y="4620"/>
                  </a:cubicBezTo>
                  <a:lnTo>
                    <a:pt x="10299" y="4096"/>
                  </a:lnTo>
                  <a:lnTo>
                    <a:pt x="10002" y="5001"/>
                  </a:lnTo>
                  <a:cubicBezTo>
                    <a:pt x="9930" y="5215"/>
                    <a:pt x="9930" y="5430"/>
                    <a:pt x="10002" y="5632"/>
                  </a:cubicBezTo>
                  <a:lnTo>
                    <a:pt x="10299" y="6537"/>
                  </a:lnTo>
                  <a:lnTo>
                    <a:pt x="9073" y="6049"/>
                  </a:lnTo>
                  <a:cubicBezTo>
                    <a:pt x="9007" y="6019"/>
                    <a:pt x="8939" y="6004"/>
                    <a:pt x="8870" y="6004"/>
                  </a:cubicBezTo>
                  <a:cubicBezTo>
                    <a:pt x="8802" y="6004"/>
                    <a:pt x="8733" y="6019"/>
                    <a:pt x="8668" y="6049"/>
                  </a:cubicBezTo>
                  <a:cubicBezTo>
                    <a:pt x="8549" y="6108"/>
                    <a:pt x="8454" y="6216"/>
                    <a:pt x="8418" y="6347"/>
                  </a:cubicBezTo>
                  <a:cubicBezTo>
                    <a:pt x="8335" y="6656"/>
                    <a:pt x="8192" y="6942"/>
                    <a:pt x="8013" y="7204"/>
                  </a:cubicBezTo>
                  <a:cubicBezTo>
                    <a:pt x="7894" y="6644"/>
                    <a:pt x="7835" y="6001"/>
                    <a:pt x="7835" y="5335"/>
                  </a:cubicBezTo>
                  <a:cubicBezTo>
                    <a:pt x="7835" y="4668"/>
                    <a:pt x="7894" y="4025"/>
                    <a:pt x="8013" y="3453"/>
                  </a:cubicBezTo>
                  <a:close/>
                  <a:moveTo>
                    <a:pt x="3001" y="2298"/>
                  </a:moveTo>
                  <a:lnTo>
                    <a:pt x="3001" y="2298"/>
                  </a:lnTo>
                  <a:cubicBezTo>
                    <a:pt x="2691" y="3203"/>
                    <a:pt x="2548" y="4263"/>
                    <a:pt x="2548" y="5358"/>
                  </a:cubicBezTo>
                  <a:cubicBezTo>
                    <a:pt x="2548" y="6466"/>
                    <a:pt x="2703" y="7501"/>
                    <a:pt x="3001" y="8430"/>
                  </a:cubicBezTo>
                  <a:cubicBezTo>
                    <a:pt x="2858" y="8323"/>
                    <a:pt x="2703" y="8216"/>
                    <a:pt x="2572" y="8121"/>
                  </a:cubicBezTo>
                  <a:cubicBezTo>
                    <a:pt x="1989" y="7656"/>
                    <a:pt x="1572" y="7025"/>
                    <a:pt x="1179" y="6430"/>
                  </a:cubicBezTo>
                  <a:cubicBezTo>
                    <a:pt x="941" y="6061"/>
                    <a:pt x="679" y="5692"/>
                    <a:pt x="381" y="5346"/>
                  </a:cubicBezTo>
                  <a:cubicBezTo>
                    <a:pt x="667" y="5001"/>
                    <a:pt x="917" y="4632"/>
                    <a:pt x="1179" y="4263"/>
                  </a:cubicBezTo>
                  <a:cubicBezTo>
                    <a:pt x="1572" y="3656"/>
                    <a:pt x="1989" y="3025"/>
                    <a:pt x="2572" y="2584"/>
                  </a:cubicBezTo>
                  <a:cubicBezTo>
                    <a:pt x="2703" y="2477"/>
                    <a:pt x="2858" y="2370"/>
                    <a:pt x="3001" y="2298"/>
                  </a:cubicBezTo>
                  <a:close/>
                  <a:moveTo>
                    <a:pt x="6168" y="2013"/>
                  </a:moveTo>
                  <a:cubicBezTo>
                    <a:pt x="6465" y="2120"/>
                    <a:pt x="6751" y="2251"/>
                    <a:pt x="7001" y="2429"/>
                  </a:cubicBezTo>
                  <a:cubicBezTo>
                    <a:pt x="6942" y="2596"/>
                    <a:pt x="6906" y="2775"/>
                    <a:pt x="6858" y="2965"/>
                  </a:cubicBezTo>
                  <a:cubicBezTo>
                    <a:pt x="6846" y="3049"/>
                    <a:pt x="6882" y="3132"/>
                    <a:pt x="6977" y="3156"/>
                  </a:cubicBezTo>
                  <a:lnTo>
                    <a:pt x="7001" y="3156"/>
                  </a:lnTo>
                  <a:cubicBezTo>
                    <a:pt x="7084" y="3156"/>
                    <a:pt x="7144" y="3108"/>
                    <a:pt x="7156" y="3037"/>
                  </a:cubicBezTo>
                  <a:cubicBezTo>
                    <a:pt x="7180" y="2906"/>
                    <a:pt x="7227" y="2775"/>
                    <a:pt x="7263" y="2632"/>
                  </a:cubicBezTo>
                  <a:cubicBezTo>
                    <a:pt x="7442" y="2787"/>
                    <a:pt x="7596" y="2953"/>
                    <a:pt x="7751" y="3132"/>
                  </a:cubicBezTo>
                  <a:cubicBezTo>
                    <a:pt x="7585" y="3787"/>
                    <a:pt x="7513" y="4537"/>
                    <a:pt x="7513" y="5346"/>
                  </a:cubicBezTo>
                  <a:cubicBezTo>
                    <a:pt x="7513" y="6144"/>
                    <a:pt x="7596" y="6906"/>
                    <a:pt x="7751" y="7561"/>
                  </a:cubicBezTo>
                  <a:cubicBezTo>
                    <a:pt x="7632" y="7740"/>
                    <a:pt x="7465" y="7906"/>
                    <a:pt x="7287" y="8061"/>
                  </a:cubicBezTo>
                  <a:cubicBezTo>
                    <a:pt x="7049" y="7287"/>
                    <a:pt x="6918" y="6335"/>
                    <a:pt x="6918" y="5346"/>
                  </a:cubicBezTo>
                  <a:cubicBezTo>
                    <a:pt x="6918" y="4787"/>
                    <a:pt x="6965" y="4215"/>
                    <a:pt x="7037" y="3691"/>
                  </a:cubicBezTo>
                  <a:cubicBezTo>
                    <a:pt x="7049" y="3608"/>
                    <a:pt x="6989" y="3537"/>
                    <a:pt x="6906" y="3513"/>
                  </a:cubicBezTo>
                  <a:cubicBezTo>
                    <a:pt x="6898" y="3512"/>
                    <a:pt x="6890" y="3511"/>
                    <a:pt x="6882" y="3511"/>
                  </a:cubicBezTo>
                  <a:cubicBezTo>
                    <a:pt x="6799" y="3511"/>
                    <a:pt x="6738" y="3568"/>
                    <a:pt x="6727" y="3644"/>
                  </a:cubicBezTo>
                  <a:cubicBezTo>
                    <a:pt x="6632" y="4192"/>
                    <a:pt x="6584" y="4763"/>
                    <a:pt x="6584" y="5346"/>
                  </a:cubicBezTo>
                  <a:cubicBezTo>
                    <a:pt x="6584" y="6406"/>
                    <a:pt x="6739" y="7430"/>
                    <a:pt x="7001" y="8263"/>
                  </a:cubicBezTo>
                  <a:cubicBezTo>
                    <a:pt x="6739" y="8442"/>
                    <a:pt x="6465" y="8573"/>
                    <a:pt x="6168" y="8680"/>
                  </a:cubicBezTo>
                  <a:cubicBezTo>
                    <a:pt x="5977" y="7740"/>
                    <a:pt x="5870" y="6561"/>
                    <a:pt x="5870" y="5346"/>
                  </a:cubicBezTo>
                  <a:cubicBezTo>
                    <a:pt x="5870" y="4120"/>
                    <a:pt x="5977" y="2953"/>
                    <a:pt x="6168" y="2013"/>
                  </a:cubicBezTo>
                  <a:close/>
                  <a:moveTo>
                    <a:pt x="5263" y="1834"/>
                  </a:moveTo>
                  <a:cubicBezTo>
                    <a:pt x="5477" y="1846"/>
                    <a:pt x="5680" y="1882"/>
                    <a:pt x="5870" y="1929"/>
                  </a:cubicBezTo>
                  <a:cubicBezTo>
                    <a:pt x="5668" y="2894"/>
                    <a:pt x="5560" y="4096"/>
                    <a:pt x="5560" y="5346"/>
                  </a:cubicBezTo>
                  <a:cubicBezTo>
                    <a:pt x="5560" y="6597"/>
                    <a:pt x="5680" y="7799"/>
                    <a:pt x="5870" y="8775"/>
                  </a:cubicBezTo>
                  <a:cubicBezTo>
                    <a:pt x="5680" y="8811"/>
                    <a:pt x="5477" y="8847"/>
                    <a:pt x="5263" y="8859"/>
                  </a:cubicBezTo>
                  <a:cubicBezTo>
                    <a:pt x="5025" y="7882"/>
                    <a:pt x="4894" y="6632"/>
                    <a:pt x="4894" y="5346"/>
                  </a:cubicBezTo>
                  <a:cubicBezTo>
                    <a:pt x="4894" y="4049"/>
                    <a:pt x="5025" y="2822"/>
                    <a:pt x="5263" y="1834"/>
                  </a:cubicBezTo>
                  <a:close/>
                  <a:moveTo>
                    <a:pt x="4941" y="1822"/>
                  </a:moveTo>
                  <a:cubicBezTo>
                    <a:pt x="4703" y="2822"/>
                    <a:pt x="4584" y="4072"/>
                    <a:pt x="4584" y="5346"/>
                  </a:cubicBezTo>
                  <a:cubicBezTo>
                    <a:pt x="4584" y="6632"/>
                    <a:pt x="4715" y="7882"/>
                    <a:pt x="4941" y="8871"/>
                  </a:cubicBezTo>
                  <a:cubicBezTo>
                    <a:pt x="4668" y="8871"/>
                    <a:pt x="4429" y="8847"/>
                    <a:pt x="4191" y="8811"/>
                  </a:cubicBezTo>
                  <a:cubicBezTo>
                    <a:pt x="3977" y="7847"/>
                    <a:pt x="3834" y="6609"/>
                    <a:pt x="3834" y="5346"/>
                  </a:cubicBezTo>
                  <a:cubicBezTo>
                    <a:pt x="3834" y="4525"/>
                    <a:pt x="3882" y="3751"/>
                    <a:pt x="3989" y="3025"/>
                  </a:cubicBezTo>
                  <a:cubicBezTo>
                    <a:pt x="4013" y="2941"/>
                    <a:pt x="3953" y="2858"/>
                    <a:pt x="3870" y="2846"/>
                  </a:cubicBezTo>
                  <a:cubicBezTo>
                    <a:pt x="3862" y="2845"/>
                    <a:pt x="3854" y="2845"/>
                    <a:pt x="3846" y="2845"/>
                  </a:cubicBezTo>
                  <a:cubicBezTo>
                    <a:pt x="3763" y="2845"/>
                    <a:pt x="3702" y="2901"/>
                    <a:pt x="3691" y="2977"/>
                  </a:cubicBezTo>
                  <a:cubicBezTo>
                    <a:pt x="3584" y="3727"/>
                    <a:pt x="3536" y="4513"/>
                    <a:pt x="3536" y="5346"/>
                  </a:cubicBezTo>
                  <a:cubicBezTo>
                    <a:pt x="3536" y="6585"/>
                    <a:pt x="3655" y="7775"/>
                    <a:pt x="3870" y="8740"/>
                  </a:cubicBezTo>
                  <a:cubicBezTo>
                    <a:pt x="3703" y="8692"/>
                    <a:pt x="3548" y="8656"/>
                    <a:pt x="3394" y="8597"/>
                  </a:cubicBezTo>
                  <a:cubicBezTo>
                    <a:pt x="3036" y="7656"/>
                    <a:pt x="2834" y="6525"/>
                    <a:pt x="2834" y="5346"/>
                  </a:cubicBezTo>
                  <a:cubicBezTo>
                    <a:pt x="2834" y="4156"/>
                    <a:pt x="3036" y="3037"/>
                    <a:pt x="3394" y="2108"/>
                  </a:cubicBezTo>
                  <a:cubicBezTo>
                    <a:pt x="3536" y="2048"/>
                    <a:pt x="3703" y="2001"/>
                    <a:pt x="3870" y="1953"/>
                  </a:cubicBezTo>
                  <a:lnTo>
                    <a:pt x="3870" y="1953"/>
                  </a:lnTo>
                  <a:cubicBezTo>
                    <a:pt x="3834" y="2072"/>
                    <a:pt x="3822" y="2191"/>
                    <a:pt x="3786" y="2310"/>
                  </a:cubicBezTo>
                  <a:cubicBezTo>
                    <a:pt x="3775" y="2406"/>
                    <a:pt x="3834" y="2477"/>
                    <a:pt x="3906" y="2489"/>
                  </a:cubicBezTo>
                  <a:lnTo>
                    <a:pt x="3941" y="2489"/>
                  </a:lnTo>
                  <a:cubicBezTo>
                    <a:pt x="4013" y="2489"/>
                    <a:pt x="4072" y="2429"/>
                    <a:pt x="4084" y="2358"/>
                  </a:cubicBezTo>
                  <a:cubicBezTo>
                    <a:pt x="4120" y="2191"/>
                    <a:pt x="4144" y="2025"/>
                    <a:pt x="4191" y="1882"/>
                  </a:cubicBezTo>
                  <a:cubicBezTo>
                    <a:pt x="4429" y="1834"/>
                    <a:pt x="4679" y="1822"/>
                    <a:pt x="4941" y="1822"/>
                  </a:cubicBezTo>
                  <a:close/>
                  <a:moveTo>
                    <a:pt x="6751" y="8775"/>
                  </a:moveTo>
                  <a:cubicBezTo>
                    <a:pt x="6965" y="9406"/>
                    <a:pt x="7501" y="9978"/>
                    <a:pt x="7882" y="10335"/>
                  </a:cubicBezTo>
                  <a:cubicBezTo>
                    <a:pt x="7585" y="10288"/>
                    <a:pt x="7180" y="10228"/>
                    <a:pt x="6727" y="10109"/>
                  </a:cubicBezTo>
                  <a:cubicBezTo>
                    <a:pt x="6061" y="9942"/>
                    <a:pt x="5132" y="9645"/>
                    <a:pt x="4251" y="9145"/>
                  </a:cubicBezTo>
                  <a:lnTo>
                    <a:pt x="4251" y="9145"/>
                  </a:lnTo>
                  <a:cubicBezTo>
                    <a:pt x="4489" y="9168"/>
                    <a:pt x="4739" y="9192"/>
                    <a:pt x="5013" y="9192"/>
                  </a:cubicBezTo>
                  <a:cubicBezTo>
                    <a:pt x="5620" y="9192"/>
                    <a:pt x="6215" y="9049"/>
                    <a:pt x="6751" y="8775"/>
                  </a:cubicBezTo>
                  <a:close/>
                  <a:moveTo>
                    <a:pt x="8370" y="1"/>
                  </a:moveTo>
                  <a:cubicBezTo>
                    <a:pt x="8347" y="1"/>
                    <a:pt x="7632" y="48"/>
                    <a:pt x="6644" y="286"/>
                  </a:cubicBezTo>
                  <a:cubicBezTo>
                    <a:pt x="5739" y="513"/>
                    <a:pt x="4429" y="953"/>
                    <a:pt x="3298" y="1798"/>
                  </a:cubicBezTo>
                  <a:cubicBezTo>
                    <a:pt x="2953" y="1941"/>
                    <a:pt x="2655" y="2120"/>
                    <a:pt x="2382" y="2334"/>
                  </a:cubicBezTo>
                  <a:cubicBezTo>
                    <a:pt x="1750" y="2834"/>
                    <a:pt x="1322" y="3465"/>
                    <a:pt x="905" y="4096"/>
                  </a:cubicBezTo>
                  <a:cubicBezTo>
                    <a:pt x="631" y="4513"/>
                    <a:pt x="369" y="4894"/>
                    <a:pt x="60" y="5251"/>
                  </a:cubicBezTo>
                  <a:cubicBezTo>
                    <a:pt x="0" y="5311"/>
                    <a:pt x="0" y="5406"/>
                    <a:pt x="60" y="5466"/>
                  </a:cubicBezTo>
                  <a:cubicBezTo>
                    <a:pt x="369" y="5811"/>
                    <a:pt x="619" y="6204"/>
                    <a:pt x="905" y="6620"/>
                  </a:cubicBezTo>
                  <a:cubicBezTo>
                    <a:pt x="1322" y="7251"/>
                    <a:pt x="1750" y="7894"/>
                    <a:pt x="2382" y="8383"/>
                  </a:cubicBezTo>
                  <a:cubicBezTo>
                    <a:pt x="2655" y="8609"/>
                    <a:pt x="2977" y="8787"/>
                    <a:pt x="3298" y="8918"/>
                  </a:cubicBezTo>
                  <a:cubicBezTo>
                    <a:pt x="4429" y="9752"/>
                    <a:pt x="5751" y="10216"/>
                    <a:pt x="6668" y="10430"/>
                  </a:cubicBezTo>
                  <a:cubicBezTo>
                    <a:pt x="7644" y="10669"/>
                    <a:pt x="8358" y="10716"/>
                    <a:pt x="8394" y="10716"/>
                  </a:cubicBezTo>
                  <a:lnTo>
                    <a:pt x="8406" y="10716"/>
                  </a:lnTo>
                  <a:cubicBezTo>
                    <a:pt x="8466" y="10716"/>
                    <a:pt x="8525" y="10669"/>
                    <a:pt x="8549" y="10609"/>
                  </a:cubicBezTo>
                  <a:cubicBezTo>
                    <a:pt x="8585" y="10549"/>
                    <a:pt x="8549" y="10478"/>
                    <a:pt x="8501" y="10430"/>
                  </a:cubicBezTo>
                  <a:cubicBezTo>
                    <a:pt x="8478" y="10419"/>
                    <a:pt x="7323" y="9573"/>
                    <a:pt x="7049" y="8644"/>
                  </a:cubicBezTo>
                  <a:cubicBezTo>
                    <a:pt x="7156" y="8585"/>
                    <a:pt x="7263" y="8514"/>
                    <a:pt x="7358" y="8442"/>
                  </a:cubicBezTo>
                  <a:cubicBezTo>
                    <a:pt x="8013" y="7954"/>
                    <a:pt x="8513" y="7251"/>
                    <a:pt x="8739" y="6478"/>
                  </a:cubicBezTo>
                  <a:cubicBezTo>
                    <a:pt x="8751" y="6430"/>
                    <a:pt x="8775" y="6406"/>
                    <a:pt x="8823" y="6370"/>
                  </a:cubicBezTo>
                  <a:cubicBezTo>
                    <a:pt x="8850" y="6364"/>
                    <a:pt x="8882" y="6357"/>
                    <a:pt x="8913" y="6357"/>
                  </a:cubicBezTo>
                  <a:cubicBezTo>
                    <a:pt x="8935" y="6357"/>
                    <a:pt x="8957" y="6360"/>
                    <a:pt x="8978" y="6370"/>
                  </a:cubicBezTo>
                  <a:lnTo>
                    <a:pt x="10525" y="7037"/>
                  </a:lnTo>
                  <a:cubicBezTo>
                    <a:pt x="10549" y="7051"/>
                    <a:pt x="10570" y="7058"/>
                    <a:pt x="10591" y="7058"/>
                  </a:cubicBezTo>
                  <a:cubicBezTo>
                    <a:pt x="10622" y="7058"/>
                    <a:pt x="10651" y="7042"/>
                    <a:pt x="10680" y="7013"/>
                  </a:cubicBezTo>
                  <a:cubicBezTo>
                    <a:pt x="10728" y="6966"/>
                    <a:pt x="10740" y="6906"/>
                    <a:pt x="10728" y="6847"/>
                  </a:cubicBezTo>
                  <a:lnTo>
                    <a:pt x="10299" y="5561"/>
                  </a:lnTo>
                  <a:cubicBezTo>
                    <a:pt x="10252" y="5418"/>
                    <a:pt x="10252" y="5263"/>
                    <a:pt x="10299" y="5120"/>
                  </a:cubicBezTo>
                  <a:lnTo>
                    <a:pt x="10716" y="3870"/>
                  </a:lnTo>
                  <a:cubicBezTo>
                    <a:pt x="10728" y="3811"/>
                    <a:pt x="10716" y="3751"/>
                    <a:pt x="10668" y="3715"/>
                  </a:cubicBezTo>
                  <a:cubicBezTo>
                    <a:pt x="10637" y="3684"/>
                    <a:pt x="10599" y="3668"/>
                    <a:pt x="10561" y="3668"/>
                  </a:cubicBezTo>
                  <a:cubicBezTo>
                    <a:pt x="10541" y="3668"/>
                    <a:pt x="10521" y="3672"/>
                    <a:pt x="10502" y="3680"/>
                  </a:cubicBezTo>
                  <a:lnTo>
                    <a:pt x="8954" y="4346"/>
                  </a:lnTo>
                  <a:cubicBezTo>
                    <a:pt x="8936" y="4358"/>
                    <a:pt x="8909" y="4364"/>
                    <a:pt x="8882" y="4364"/>
                  </a:cubicBezTo>
                  <a:cubicBezTo>
                    <a:pt x="8856" y="4364"/>
                    <a:pt x="8829" y="4358"/>
                    <a:pt x="8811" y="4346"/>
                  </a:cubicBezTo>
                  <a:cubicBezTo>
                    <a:pt x="8763" y="4334"/>
                    <a:pt x="8739" y="4287"/>
                    <a:pt x="8716" y="4239"/>
                  </a:cubicBezTo>
                  <a:cubicBezTo>
                    <a:pt x="8478" y="3465"/>
                    <a:pt x="8001" y="2775"/>
                    <a:pt x="7346" y="2275"/>
                  </a:cubicBezTo>
                  <a:cubicBezTo>
                    <a:pt x="7239" y="2203"/>
                    <a:pt x="7144" y="2132"/>
                    <a:pt x="7037" y="2072"/>
                  </a:cubicBezTo>
                  <a:cubicBezTo>
                    <a:pt x="7299" y="1144"/>
                    <a:pt x="8466" y="286"/>
                    <a:pt x="8478" y="286"/>
                  </a:cubicBezTo>
                  <a:cubicBezTo>
                    <a:pt x="8537" y="239"/>
                    <a:pt x="8549" y="167"/>
                    <a:pt x="8537" y="108"/>
                  </a:cubicBezTo>
                  <a:cubicBezTo>
                    <a:pt x="8513" y="48"/>
                    <a:pt x="8454" y="1"/>
                    <a:pt x="8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5" name="Google Shape;10125;p58"/>
            <p:cNvSpPr/>
            <p:nvPr/>
          </p:nvSpPr>
          <p:spPr>
            <a:xfrm>
              <a:off x="2561547" y="4278815"/>
              <a:ext cx="36709" cy="37058"/>
            </a:xfrm>
            <a:custGeom>
              <a:avLst/>
              <a:gdLst/>
              <a:ahLst/>
              <a:cxnLst/>
              <a:rect l="l" t="t" r="r" b="b"/>
              <a:pathLst>
                <a:path w="1156" h="1167" extrusionOk="0">
                  <a:moveTo>
                    <a:pt x="584" y="310"/>
                  </a:moveTo>
                  <a:cubicBezTo>
                    <a:pt x="727" y="310"/>
                    <a:pt x="846" y="429"/>
                    <a:pt x="846" y="583"/>
                  </a:cubicBezTo>
                  <a:cubicBezTo>
                    <a:pt x="846" y="726"/>
                    <a:pt x="727" y="845"/>
                    <a:pt x="584" y="845"/>
                  </a:cubicBezTo>
                  <a:cubicBezTo>
                    <a:pt x="430" y="845"/>
                    <a:pt x="310" y="726"/>
                    <a:pt x="310" y="583"/>
                  </a:cubicBezTo>
                  <a:cubicBezTo>
                    <a:pt x="310" y="429"/>
                    <a:pt x="430" y="310"/>
                    <a:pt x="584" y="310"/>
                  </a:cubicBezTo>
                  <a:close/>
                  <a:moveTo>
                    <a:pt x="584" y="0"/>
                  </a:moveTo>
                  <a:cubicBezTo>
                    <a:pt x="263" y="0"/>
                    <a:pt x="1" y="250"/>
                    <a:pt x="1" y="583"/>
                  </a:cubicBezTo>
                  <a:cubicBezTo>
                    <a:pt x="1" y="893"/>
                    <a:pt x="251" y="1167"/>
                    <a:pt x="584" y="1167"/>
                  </a:cubicBezTo>
                  <a:cubicBezTo>
                    <a:pt x="894" y="1167"/>
                    <a:pt x="1156" y="905"/>
                    <a:pt x="1156" y="583"/>
                  </a:cubicBezTo>
                  <a:cubicBezTo>
                    <a:pt x="1156" y="274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26" name="Google Shape;10126;p58"/>
          <p:cNvGrpSpPr/>
          <p:nvPr/>
        </p:nvGrpSpPr>
        <p:grpSpPr>
          <a:xfrm>
            <a:off x="3040603" y="4130360"/>
            <a:ext cx="392079" cy="350353"/>
            <a:chOff x="3040603" y="4130360"/>
            <a:chExt cx="392079" cy="350353"/>
          </a:xfrm>
        </p:grpSpPr>
        <p:sp>
          <p:nvSpPr>
            <p:cNvPr id="10127" name="Google Shape;10127;p58"/>
            <p:cNvSpPr/>
            <p:nvPr/>
          </p:nvSpPr>
          <p:spPr>
            <a:xfrm>
              <a:off x="3081059" y="4144523"/>
              <a:ext cx="62780" cy="66241"/>
            </a:xfrm>
            <a:custGeom>
              <a:avLst/>
              <a:gdLst/>
              <a:ahLst/>
              <a:cxnLst/>
              <a:rect l="l" t="t" r="r" b="b"/>
              <a:pathLst>
                <a:path w="1977" h="2086" extrusionOk="0">
                  <a:moveTo>
                    <a:pt x="857" y="348"/>
                  </a:moveTo>
                  <a:cubicBezTo>
                    <a:pt x="1048" y="348"/>
                    <a:pt x="1250" y="467"/>
                    <a:pt x="1381" y="669"/>
                  </a:cubicBezTo>
                  <a:cubicBezTo>
                    <a:pt x="1524" y="931"/>
                    <a:pt x="1607" y="1264"/>
                    <a:pt x="1548" y="1491"/>
                  </a:cubicBezTo>
                  <a:cubicBezTo>
                    <a:pt x="1524" y="1550"/>
                    <a:pt x="1500" y="1645"/>
                    <a:pt x="1429" y="1681"/>
                  </a:cubicBezTo>
                  <a:cubicBezTo>
                    <a:pt x="1393" y="1705"/>
                    <a:pt x="1345" y="1717"/>
                    <a:pt x="1310" y="1717"/>
                  </a:cubicBezTo>
                  <a:cubicBezTo>
                    <a:pt x="1072" y="1717"/>
                    <a:pt x="714" y="1491"/>
                    <a:pt x="512" y="1193"/>
                  </a:cubicBezTo>
                  <a:cubicBezTo>
                    <a:pt x="417" y="1026"/>
                    <a:pt x="369" y="848"/>
                    <a:pt x="417" y="705"/>
                  </a:cubicBezTo>
                  <a:cubicBezTo>
                    <a:pt x="441" y="586"/>
                    <a:pt x="512" y="479"/>
                    <a:pt x="619" y="419"/>
                  </a:cubicBezTo>
                  <a:cubicBezTo>
                    <a:pt x="691" y="371"/>
                    <a:pt x="786" y="348"/>
                    <a:pt x="857" y="348"/>
                  </a:cubicBezTo>
                  <a:close/>
                  <a:moveTo>
                    <a:pt x="862" y="0"/>
                  </a:moveTo>
                  <a:cubicBezTo>
                    <a:pt x="713" y="0"/>
                    <a:pt x="565" y="40"/>
                    <a:pt x="429" y="121"/>
                  </a:cubicBezTo>
                  <a:cubicBezTo>
                    <a:pt x="238" y="240"/>
                    <a:pt x="119" y="419"/>
                    <a:pt x="60" y="633"/>
                  </a:cubicBezTo>
                  <a:cubicBezTo>
                    <a:pt x="0" y="883"/>
                    <a:pt x="60" y="1145"/>
                    <a:pt x="202" y="1407"/>
                  </a:cubicBezTo>
                  <a:cubicBezTo>
                    <a:pt x="357" y="1622"/>
                    <a:pt x="572" y="1836"/>
                    <a:pt x="834" y="1967"/>
                  </a:cubicBezTo>
                  <a:cubicBezTo>
                    <a:pt x="988" y="2062"/>
                    <a:pt x="1155" y="2086"/>
                    <a:pt x="1286" y="2086"/>
                  </a:cubicBezTo>
                  <a:cubicBezTo>
                    <a:pt x="1405" y="2086"/>
                    <a:pt x="1512" y="2050"/>
                    <a:pt x="1607" y="1991"/>
                  </a:cubicBezTo>
                  <a:cubicBezTo>
                    <a:pt x="1738" y="1907"/>
                    <a:pt x="1846" y="1776"/>
                    <a:pt x="1881" y="1574"/>
                  </a:cubicBezTo>
                  <a:cubicBezTo>
                    <a:pt x="1977" y="1252"/>
                    <a:pt x="1881" y="824"/>
                    <a:pt x="1679" y="490"/>
                  </a:cubicBezTo>
                  <a:cubicBezTo>
                    <a:pt x="1478" y="170"/>
                    <a:pt x="1170" y="0"/>
                    <a:pt x="8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8" name="Google Shape;10128;p58"/>
            <p:cNvSpPr/>
            <p:nvPr/>
          </p:nvSpPr>
          <p:spPr>
            <a:xfrm>
              <a:off x="3040603" y="4192981"/>
              <a:ext cx="58620" cy="55222"/>
            </a:xfrm>
            <a:custGeom>
              <a:avLst/>
              <a:gdLst/>
              <a:ahLst/>
              <a:cxnLst/>
              <a:rect l="l" t="t" r="r" b="b"/>
              <a:pathLst>
                <a:path w="1846" h="1739" extrusionOk="0">
                  <a:moveTo>
                    <a:pt x="750" y="369"/>
                  </a:moveTo>
                  <a:cubicBezTo>
                    <a:pt x="869" y="369"/>
                    <a:pt x="1000" y="429"/>
                    <a:pt x="1119" y="536"/>
                  </a:cubicBezTo>
                  <a:cubicBezTo>
                    <a:pt x="1357" y="727"/>
                    <a:pt x="1548" y="1155"/>
                    <a:pt x="1417" y="1310"/>
                  </a:cubicBezTo>
                  <a:cubicBezTo>
                    <a:pt x="1387" y="1347"/>
                    <a:pt x="1325" y="1366"/>
                    <a:pt x="1247" y="1366"/>
                  </a:cubicBezTo>
                  <a:cubicBezTo>
                    <a:pt x="1201" y="1366"/>
                    <a:pt x="1149" y="1359"/>
                    <a:pt x="1095" y="1346"/>
                  </a:cubicBezTo>
                  <a:cubicBezTo>
                    <a:pt x="905" y="1322"/>
                    <a:pt x="738" y="1227"/>
                    <a:pt x="595" y="1108"/>
                  </a:cubicBezTo>
                  <a:cubicBezTo>
                    <a:pt x="476" y="1000"/>
                    <a:pt x="405" y="893"/>
                    <a:pt x="393" y="774"/>
                  </a:cubicBezTo>
                  <a:cubicBezTo>
                    <a:pt x="381" y="667"/>
                    <a:pt x="405" y="560"/>
                    <a:pt x="476" y="488"/>
                  </a:cubicBezTo>
                  <a:cubicBezTo>
                    <a:pt x="560" y="417"/>
                    <a:pt x="643" y="369"/>
                    <a:pt x="750" y="369"/>
                  </a:cubicBezTo>
                  <a:close/>
                  <a:moveTo>
                    <a:pt x="753" y="0"/>
                  </a:moveTo>
                  <a:cubicBezTo>
                    <a:pt x="548" y="0"/>
                    <a:pt x="351" y="84"/>
                    <a:pt x="203" y="250"/>
                  </a:cubicBezTo>
                  <a:cubicBezTo>
                    <a:pt x="60" y="417"/>
                    <a:pt x="0" y="608"/>
                    <a:pt x="36" y="834"/>
                  </a:cubicBezTo>
                  <a:cubicBezTo>
                    <a:pt x="60" y="1036"/>
                    <a:pt x="179" y="1227"/>
                    <a:pt x="357" y="1393"/>
                  </a:cubicBezTo>
                  <a:cubicBezTo>
                    <a:pt x="536" y="1536"/>
                    <a:pt x="774" y="1655"/>
                    <a:pt x="1012" y="1727"/>
                  </a:cubicBezTo>
                  <a:cubicBezTo>
                    <a:pt x="1095" y="1739"/>
                    <a:pt x="1155" y="1739"/>
                    <a:pt x="1226" y="1739"/>
                  </a:cubicBezTo>
                  <a:cubicBezTo>
                    <a:pt x="1417" y="1739"/>
                    <a:pt x="1584" y="1679"/>
                    <a:pt x="1691" y="1560"/>
                  </a:cubicBezTo>
                  <a:cubicBezTo>
                    <a:pt x="1834" y="1381"/>
                    <a:pt x="1846" y="1143"/>
                    <a:pt x="1762" y="858"/>
                  </a:cubicBezTo>
                  <a:cubicBezTo>
                    <a:pt x="1691" y="631"/>
                    <a:pt x="1536" y="393"/>
                    <a:pt x="1357" y="250"/>
                  </a:cubicBezTo>
                  <a:cubicBezTo>
                    <a:pt x="1173" y="84"/>
                    <a:pt x="959" y="0"/>
                    <a:pt x="7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9" name="Google Shape;10129;p58"/>
            <p:cNvSpPr/>
            <p:nvPr/>
          </p:nvSpPr>
          <p:spPr>
            <a:xfrm>
              <a:off x="3147967" y="4130360"/>
              <a:ext cx="55984" cy="69067"/>
            </a:xfrm>
            <a:custGeom>
              <a:avLst/>
              <a:gdLst/>
              <a:ahLst/>
              <a:cxnLst/>
              <a:rect l="l" t="t" r="r" b="b"/>
              <a:pathLst>
                <a:path w="1763" h="2175" extrusionOk="0">
                  <a:moveTo>
                    <a:pt x="899" y="0"/>
                  </a:moveTo>
                  <a:cubicBezTo>
                    <a:pt x="581" y="0"/>
                    <a:pt x="279" y="177"/>
                    <a:pt x="120" y="496"/>
                  </a:cubicBezTo>
                  <a:cubicBezTo>
                    <a:pt x="72" y="579"/>
                    <a:pt x="108" y="686"/>
                    <a:pt x="191" y="734"/>
                  </a:cubicBezTo>
                  <a:cubicBezTo>
                    <a:pt x="220" y="749"/>
                    <a:pt x="249" y="755"/>
                    <a:pt x="277" y="755"/>
                  </a:cubicBezTo>
                  <a:cubicBezTo>
                    <a:pt x="340" y="755"/>
                    <a:pt x="396" y="720"/>
                    <a:pt x="429" y="663"/>
                  </a:cubicBezTo>
                  <a:cubicBezTo>
                    <a:pt x="524" y="474"/>
                    <a:pt x="701" y="359"/>
                    <a:pt x="881" y="359"/>
                  </a:cubicBezTo>
                  <a:cubicBezTo>
                    <a:pt x="905" y="359"/>
                    <a:pt x="929" y="361"/>
                    <a:pt x="953" y="365"/>
                  </a:cubicBezTo>
                  <a:cubicBezTo>
                    <a:pt x="1072" y="377"/>
                    <a:pt x="1179" y="436"/>
                    <a:pt x="1251" y="544"/>
                  </a:cubicBezTo>
                  <a:cubicBezTo>
                    <a:pt x="1346" y="675"/>
                    <a:pt x="1382" y="841"/>
                    <a:pt x="1358" y="1032"/>
                  </a:cubicBezTo>
                  <a:cubicBezTo>
                    <a:pt x="1301" y="1432"/>
                    <a:pt x="980" y="1832"/>
                    <a:pt x="744" y="1832"/>
                  </a:cubicBezTo>
                  <a:cubicBezTo>
                    <a:pt x="734" y="1832"/>
                    <a:pt x="724" y="1831"/>
                    <a:pt x="715" y="1829"/>
                  </a:cubicBezTo>
                  <a:cubicBezTo>
                    <a:pt x="548" y="1806"/>
                    <a:pt x="405" y="1556"/>
                    <a:pt x="358" y="1210"/>
                  </a:cubicBezTo>
                  <a:cubicBezTo>
                    <a:pt x="346" y="1103"/>
                    <a:pt x="251" y="1044"/>
                    <a:pt x="167" y="1044"/>
                  </a:cubicBezTo>
                  <a:cubicBezTo>
                    <a:pt x="60" y="1056"/>
                    <a:pt x="0" y="1151"/>
                    <a:pt x="0" y="1234"/>
                  </a:cubicBezTo>
                  <a:cubicBezTo>
                    <a:pt x="48" y="1663"/>
                    <a:pt x="274" y="2115"/>
                    <a:pt x="667" y="2175"/>
                  </a:cubicBezTo>
                  <a:lnTo>
                    <a:pt x="751" y="2175"/>
                  </a:lnTo>
                  <a:cubicBezTo>
                    <a:pt x="953" y="2175"/>
                    <a:pt x="1179" y="2056"/>
                    <a:pt x="1370" y="1818"/>
                  </a:cubicBezTo>
                  <a:cubicBezTo>
                    <a:pt x="1548" y="1603"/>
                    <a:pt x="1679" y="1329"/>
                    <a:pt x="1727" y="1056"/>
                  </a:cubicBezTo>
                  <a:cubicBezTo>
                    <a:pt x="1763" y="805"/>
                    <a:pt x="1703" y="544"/>
                    <a:pt x="1548" y="329"/>
                  </a:cubicBezTo>
                  <a:cubicBezTo>
                    <a:pt x="1417" y="151"/>
                    <a:pt x="1215" y="43"/>
                    <a:pt x="1013" y="8"/>
                  </a:cubicBezTo>
                  <a:cubicBezTo>
                    <a:pt x="974" y="3"/>
                    <a:pt x="936" y="0"/>
                    <a:pt x="8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0" name="Google Shape;10130;p58"/>
            <p:cNvSpPr/>
            <p:nvPr/>
          </p:nvSpPr>
          <p:spPr>
            <a:xfrm>
              <a:off x="3205443" y="4158082"/>
              <a:ext cx="52586" cy="59890"/>
            </a:xfrm>
            <a:custGeom>
              <a:avLst/>
              <a:gdLst/>
              <a:ahLst/>
              <a:cxnLst/>
              <a:rect l="l" t="t" r="r" b="b"/>
              <a:pathLst>
                <a:path w="1656" h="1886" extrusionOk="0">
                  <a:moveTo>
                    <a:pt x="905" y="349"/>
                  </a:moveTo>
                  <a:cubicBezTo>
                    <a:pt x="941" y="349"/>
                    <a:pt x="1000" y="361"/>
                    <a:pt x="1048" y="385"/>
                  </a:cubicBezTo>
                  <a:cubicBezTo>
                    <a:pt x="1143" y="421"/>
                    <a:pt x="1215" y="516"/>
                    <a:pt x="1238" y="623"/>
                  </a:cubicBezTo>
                  <a:cubicBezTo>
                    <a:pt x="1286" y="742"/>
                    <a:pt x="1274" y="885"/>
                    <a:pt x="1203" y="1016"/>
                  </a:cubicBezTo>
                  <a:cubicBezTo>
                    <a:pt x="1077" y="1268"/>
                    <a:pt x="774" y="1530"/>
                    <a:pt x="582" y="1530"/>
                  </a:cubicBezTo>
                  <a:cubicBezTo>
                    <a:pt x="556" y="1530"/>
                    <a:pt x="533" y="1526"/>
                    <a:pt x="512" y="1516"/>
                  </a:cubicBezTo>
                  <a:cubicBezTo>
                    <a:pt x="334" y="1421"/>
                    <a:pt x="346" y="945"/>
                    <a:pt x="465" y="683"/>
                  </a:cubicBezTo>
                  <a:cubicBezTo>
                    <a:pt x="524" y="540"/>
                    <a:pt x="631" y="444"/>
                    <a:pt x="750" y="385"/>
                  </a:cubicBezTo>
                  <a:cubicBezTo>
                    <a:pt x="798" y="361"/>
                    <a:pt x="857" y="349"/>
                    <a:pt x="905" y="349"/>
                  </a:cubicBezTo>
                  <a:close/>
                  <a:moveTo>
                    <a:pt x="917" y="1"/>
                  </a:moveTo>
                  <a:cubicBezTo>
                    <a:pt x="816" y="1"/>
                    <a:pt x="715" y="22"/>
                    <a:pt x="619" y="63"/>
                  </a:cubicBezTo>
                  <a:cubicBezTo>
                    <a:pt x="429" y="159"/>
                    <a:pt x="262" y="325"/>
                    <a:pt x="155" y="528"/>
                  </a:cubicBezTo>
                  <a:cubicBezTo>
                    <a:pt x="48" y="742"/>
                    <a:pt x="0" y="1004"/>
                    <a:pt x="24" y="1242"/>
                  </a:cubicBezTo>
                  <a:cubicBezTo>
                    <a:pt x="48" y="1540"/>
                    <a:pt x="167" y="1742"/>
                    <a:pt x="357" y="1837"/>
                  </a:cubicBezTo>
                  <a:cubicBezTo>
                    <a:pt x="441" y="1873"/>
                    <a:pt x="512" y="1885"/>
                    <a:pt x="584" y="1885"/>
                  </a:cubicBezTo>
                  <a:cubicBezTo>
                    <a:pt x="953" y="1885"/>
                    <a:pt x="1358" y="1504"/>
                    <a:pt x="1524" y="1171"/>
                  </a:cubicBezTo>
                  <a:cubicBezTo>
                    <a:pt x="1631" y="956"/>
                    <a:pt x="1655" y="742"/>
                    <a:pt x="1596" y="528"/>
                  </a:cubicBezTo>
                  <a:cubicBezTo>
                    <a:pt x="1536" y="325"/>
                    <a:pt x="1405" y="159"/>
                    <a:pt x="1215" y="63"/>
                  </a:cubicBezTo>
                  <a:cubicBezTo>
                    <a:pt x="1119" y="22"/>
                    <a:pt x="1018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1" name="Google Shape;10131;p58"/>
            <p:cNvSpPr/>
            <p:nvPr/>
          </p:nvSpPr>
          <p:spPr>
            <a:xfrm>
              <a:off x="3092777" y="4212002"/>
              <a:ext cx="144453" cy="102759"/>
            </a:xfrm>
            <a:custGeom>
              <a:avLst/>
              <a:gdLst/>
              <a:ahLst/>
              <a:cxnLst/>
              <a:rect l="l" t="t" r="r" b="b"/>
              <a:pathLst>
                <a:path w="4549" h="3236" extrusionOk="0">
                  <a:moveTo>
                    <a:pt x="2386" y="0"/>
                  </a:moveTo>
                  <a:cubicBezTo>
                    <a:pt x="2223" y="0"/>
                    <a:pt x="2061" y="17"/>
                    <a:pt x="1905" y="56"/>
                  </a:cubicBezTo>
                  <a:cubicBezTo>
                    <a:pt x="1334" y="175"/>
                    <a:pt x="834" y="485"/>
                    <a:pt x="476" y="949"/>
                  </a:cubicBezTo>
                  <a:cubicBezTo>
                    <a:pt x="131" y="1390"/>
                    <a:pt x="0" y="1914"/>
                    <a:pt x="84" y="2378"/>
                  </a:cubicBezTo>
                  <a:cubicBezTo>
                    <a:pt x="179" y="2830"/>
                    <a:pt x="488" y="3116"/>
                    <a:pt x="1000" y="3211"/>
                  </a:cubicBezTo>
                  <a:cubicBezTo>
                    <a:pt x="1119" y="3235"/>
                    <a:pt x="1262" y="3235"/>
                    <a:pt x="1417" y="3235"/>
                  </a:cubicBezTo>
                  <a:cubicBezTo>
                    <a:pt x="1715" y="3235"/>
                    <a:pt x="2084" y="3187"/>
                    <a:pt x="2524" y="3104"/>
                  </a:cubicBezTo>
                  <a:cubicBezTo>
                    <a:pt x="3203" y="2973"/>
                    <a:pt x="3679" y="2806"/>
                    <a:pt x="3989" y="2592"/>
                  </a:cubicBezTo>
                  <a:cubicBezTo>
                    <a:pt x="4394" y="2283"/>
                    <a:pt x="4548" y="1902"/>
                    <a:pt x="4465" y="1437"/>
                  </a:cubicBezTo>
                  <a:cubicBezTo>
                    <a:pt x="4394" y="1044"/>
                    <a:pt x="4132" y="687"/>
                    <a:pt x="3774" y="425"/>
                  </a:cubicBezTo>
                  <a:cubicBezTo>
                    <a:pt x="3746" y="401"/>
                    <a:pt x="3709" y="389"/>
                    <a:pt x="3672" y="389"/>
                  </a:cubicBezTo>
                  <a:cubicBezTo>
                    <a:pt x="3617" y="389"/>
                    <a:pt x="3560" y="416"/>
                    <a:pt x="3524" y="473"/>
                  </a:cubicBezTo>
                  <a:cubicBezTo>
                    <a:pt x="3465" y="544"/>
                    <a:pt x="3477" y="663"/>
                    <a:pt x="3572" y="723"/>
                  </a:cubicBezTo>
                  <a:cubicBezTo>
                    <a:pt x="3870" y="949"/>
                    <a:pt x="4060" y="1211"/>
                    <a:pt x="4120" y="1509"/>
                  </a:cubicBezTo>
                  <a:cubicBezTo>
                    <a:pt x="4179" y="1818"/>
                    <a:pt x="4072" y="2056"/>
                    <a:pt x="3774" y="2271"/>
                  </a:cubicBezTo>
                  <a:cubicBezTo>
                    <a:pt x="3501" y="2449"/>
                    <a:pt x="3084" y="2592"/>
                    <a:pt x="2453" y="2735"/>
                  </a:cubicBezTo>
                  <a:cubicBezTo>
                    <a:pt x="2024" y="2818"/>
                    <a:pt x="1679" y="2866"/>
                    <a:pt x="1417" y="2866"/>
                  </a:cubicBezTo>
                  <a:cubicBezTo>
                    <a:pt x="679" y="2866"/>
                    <a:pt x="500" y="2580"/>
                    <a:pt x="441" y="2283"/>
                  </a:cubicBezTo>
                  <a:cubicBezTo>
                    <a:pt x="298" y="1568"/>
                    <a:pt x="917" y="616"/>
                    <a:pt x="1977" y="390"/>
                  </a:cubicBezTo>
                  <a:cubicBezTo>
                    <a:pt x="2115" y="360"/>
                    <a:pt x="2254" y="344"/>
                    <a:pt x="2393" y="344"/>
                  </a:cubicBezTo>
                  <a:cubicBezTo>
                    <a:pt x="2587" y="344"/>
                    <a:pt x="2782" y="375"/>
                    <a:pt x="2977" y="437"/>
                  </a:cubicBezTo>
                  <a:cubicBezTo>
                    <a:pt x="2992" y="444"/>
                    <a:pt x="3008" y="447"/>
                    <a:pt x="3024" y="447"/>
                  </a:cubicBezTo>
                  <a:cubicBezTo>
                    <a:pt x="3097" y="447"/>
                    <a:pt x="3174" y="386"/>
                    <a:pt x="3203" y="318"/>
                  </a:cubicBezTo>
                  <a:cubicBezTo>
                    <a:pt x="3227" y="235"/>
                    <a:pt x="3167" y="128"/>
                    <a:pt x="3084" y="92"/>
                  </a:cubicBezTo>
                  <a:cubicBezTo>
                    <a:pt x="2859" y="36"/>
                    <a:pt x="2621" y="0"/>
                    <a:pt x="23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2" name="Google Shape;10132;p58"/>
            <p:cNvSpPr/>
            <p:nvPr/>
          </p:nvSpPr>
          <p:spPr>
            <a:xfrm>
              <a:off x="3283307" y="4290469"/>
              <a:ext cx="55254" cy="70782"/>
            </a:xfrm>
            <a:custGeom>
              <a:avLst/>
              <a:gdLst/>
              <a:ahLst/>
              <a:cxnLst/>
              <a:rect l="l" t="t" r="r" b="b"/>
              <a:pathLst>
                <a:path w="1740" h="2229" extrusionOk="0">
                  <a:moveTo>
                    <a:pt x="858" y="347"/>
                  </a:moveTo>
                  <a:cubicBezTo>
                    <a:pt x="1144" y="383"/>
                    <a:pt x="1346" y="645"/>
                    <a:pt x="1334" y="1002"/>
                  </a:cubicBezTo>
                  <a:cubicBezTo>
                    <a:pt x="1334" y="1288"/>
                    <a:pt x="1203" y="1598"/>
                    <a:pt x="1025" y="1764"/>
                  </a:cubicBezTo>
                  <a:cubicBezTo>
                    <a:pt x="985" y="1804"/>
                    <a:pt x="928" y="1853"/>
                    <a:pt x="854" y="1853"/>
                  </a:cubicBezTo>
                  <a:cubicBezTo>
                    <a:pt x="840" y="1853"/>
                    <a:pt x="825" y="1851"/>
                    <a:pt x="811" y="1848"/>
                  </a:cubicBezTo>
                  <a:cubicBezTo>
                    <a:pt x="572" y="1836"/>
                    <a:pt x="322" y="1359"/>
                    <a:pt x="334" y="943"/>
                  </a:cubicBezTo>
                  <a:cubicBezTo>
                    <a:pt x="334" y="752"/>
                    <a:pt x="418" y="586"/>
                    <a:pt x="525" y="466"/>
                  </a:cubicBezTo>
                  <a:cubicBezTo>
                    <a:pt x="620" y="395"/>
                    <a:pt x="727" y="347"/>
                    <a:pt x="822" y="347"/>
                  </a:cubicBezTo>
                  <a:close/>
                  <a:moveTo>
                    <a:pt x="824" y="1"/>
                  </a:moveTo>
                  <a:cubicBezTo>
                    <a:pt x="626" y="1"/>
                    <a:pt x="431" y="73"/>
                    <a:pt x="299" y="216"/>
                  </a:cubicBezTo>
                  <a:cubicBezTo>
                    <a:pt x="96" y="395"/>
                    <a:pt x="1" y="645"/>
                    <a:pt x="1" y="943"/>
                  </a:cubicBezTo>
                  <a:cubicBezTo>
                    <a:pt x="1" y="1205"/>
                    <a:pt x="72" y="1502"/>
                    <a:pt x="203" y="1764"/>
                  </a:cubicBezTo>
                  <a:cubicBezTo>
                    <a:pt x="370" y="2062"/>
                    <a:pt x="596" y="2229"/>
                    <a:pt x="834" y="2229"/>
                  </a:cubicBezTo>
                  <a:lnTo>
                    <a:pt x="858" y="2229"/>
                  </a:lnTo>
                  <a:cubicBezTo>
                    <a:pt x="1013" y="2229"/>
                    <a:pt x="1168" y="2169"/>
                    <a:pt x="1311" y="2026"/>
                  </a:cubicBezTo>
                  <a:cubicBezTo>
                    <a:pt x="1561" y="1812"/>
                    <a:pt x="1727" y="1395"/>
                    <a:pt x="1739" y="1014"/>
                  </a:cubicBezTo>
                  <a:cubicBezTo>
                    <a:pt x="1704" y="466"/>
                    <a:pt x="1346" y="26"/>
                    <a:pt x="870" y="2"/>
                  </a:cubicBezTo>
                  <a:cubicBezTo>
                    <a:pt x="855" y="1"/>
                    <a:pt x="839" y="1"/>
                    <a:pt x="8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3" name="Google Shape;10133;p58"/>
            <p:cNvSpPr/>
            <p:nvPr/>
          </p:nvSpPr>
          <p:spPr>
            <a:xfrm>
              <a:off x="3221702" y="4306728"/>
              <a:ext cx="54460" cy="62462"/>
            </a:xfrm>
            <a:custGeom>
              <a:avLst/>
              <a:gdLst/>
              <a:ahLst/>
              <a:cxnLst/>
              <a:rect l="l" t="t" r="r" b="b"/>
              <a:pathLst>
                <a:path w="1715" h="1967" extrusionOk="0">
                  <a:moveTo>
                    <a:pt x="834" y="359"/>
                  </a:moveTo>
                  <a:cubicBezTo>
                    <a:pt x="905" y="359"/>
                    <a:pt x="988" y="371"/>
                    <a:pt x="1048" y="419"/>
                  </a:cubicBezTo>
                  <a:cubicBezTo>
                    <a:pt x="1143" y="490"/>
                    <a:pt x="1227" y="609"/>
                    <a:pt x="1262" y="752"/>
                  </a:cubicBezTo>
                  <a:cubicBezTo>
                    <a:pt x="1322" y="1074"/>
                    <a:pt x="1250" y="1538"/>
                    <a:pt x="1060" y="1598"/>
                  </a:cubicBezTo>
                  <a:cubicBezTo>
                    <a:pt x="1053" y="1599"/>
                    <a:pt x="1045" y="1599"/>
                    <a:pt x="1037" y="1599"/>
                  </a:cubicBezTo>
                  <a:cubicBezTo>
                    <a:pt x="965" y="1599"/>
                    <a:pt x="859" y="1550"/>
                    <a:pt x="762" y="1443"/>
                  </a:cubicBezTo>
                  <a:cubicBezTo>
                    <a:pt x="643" y="1324"/>
                    <a:pt x="536" y="1145"/>
                    <a:pt x="488" y="966"/>
                  </a:cubicBezTo>
                  <a:cubicBezTo>
                    <a:pt x="417" y="681"/>
                    <a:pt x="524" y="431"/>
                    <a:pt x="750" y="371"/>
                  </a:cubicBezTo>
                  <a:cubicBezTo>
                    <a:pt x="774" y="359"/>
                    <a:pt x="810" y="359"/>
                    <a:pt x="834" y="359"/>
                  </a:cubicBezTo>
                  <a:close/>
                  <a:moveTo>
                    <a:pt x="822" y="0"/>
                  </a:moveTo>
                  <a:cubicBezTo>
                    <a:pt x="762" y="0"/>
                    <a:pt x="702" y="9"/>
                    <a:pt x="643" y="26"/>
                  </a:cubicBezTo>
                  <a:cubicBezTo>
                    <a:pt x="226" y="133"/>
                    <a:pt x="0" y="585"/>
                    <a:pt x="131" y="1074"/>
                  </a:cubicBezTo>
                  <a:cubicBezTo>
                    <a:pt x="191" y="1288"/>
                    <a:pt x="334" y="1526"/>
                    <a:pt x="512" y="1705"/>
                  </a:cubicBezTo>
                  <a:cubicBezTo>
                    <a:pt x="667" y="1871"/>
                    <a:pt x="846" y="1967"/>
                    <a:pt x="1024" y="1967"/>
                  </a:cubicBezTo>
                  <a:cubicBezTo>
                    <a:pt x="1072" y="1967"/>
                    <a:pt x="1119" y="1967"/>
                    <a:pt x="1167" y="1943"/>
                  </a:cubicBezTo>
                  <a:cubicBezTo>
                    <a:pt x="1608" y="1812"/>
                    <a:pt x="1715" y="1121"/>
                    <a:pt x="1596" y="669"/>
                  </a:cubicBezTo>
                  <a:cubicBezTo>
                    <a:pt x="1536" y="431"/>
                    <a:pt x="1405" y="240"/>
                    <a:pt x="1238" y="133"/>
                  </a:cubicBezTo>
                  <a:cubicBezTo>
                    <a:pt x="1112" y="49"/>
                    <a:pt x="968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4" name="Google Shape;10134;p58"/>
            <p:cNvSpPr/>
            <p:nvPr/>
          </p:nvSpPr>
          <p:spPr>
            <a:xfrm>
              <a:off x="3333606" y="4316667"/>
              <a:ext cx="66940" cy="62748"/>
            </a:xfrm>
            <a:custGeom>
              <a:avLst/>
              <a:gdLst/>
              <a:ahLst/>
              <a:cxnLst/>
              <a:rect l="l" t="t" r="r" b="b"/>
              <a:pathLst>
                <a:path w="2108" h="1976" extrusionOk="0">
                  <a:moveTo>
                    <a:pt x="1255" y="0"/>
                  </a:moveTo>
                  <a:cubicBezTo>
                    <a:pt x="1107" y="0"/>
                    <a:pt x="954" y="38"/>
                    <a:pt x="810" y="118"/>
                  </a:cubicBezTo>
                  <a:cubicBezTo>
                    <a:pt x="715" y="165"/>
                    <a:pt x="691" y="284"/>
                    <a:pt x="739" y="356"/>
                  </a:cubicBezTo>
                  <a:cubicBezTo>
                    <a:pt x="762" y="419"/>
                    <a:pt x="823" y="451"/>
                    <a:pt x="886" y="451"/>
                  </a:cubicBezTo>
                  <a:cubicBezTo>
                    <a:pt x="917" y="451"/>
                    <a:pt x="949" y="443"/>
                    <a:pt x="977" y="427"/>
                  </a:cubicBezTo>
                  <a:cubicBezTo>
                    <a:pt x="1064" y="376"/>
                    <a:pt x="1156" y="351"/>
                    <a:pt x="1246" y="351"/>
                  </a:cubicBezTo>
                  <a:cubicBezTo>
                    <a:pt x="1364" y="351"/>
                    <a:pt x="1477" y="394"/>
                    <a:pt x="1572" y="475"/>
                  </a:cubicBezTo>
                  <a:cubicBezTo>
                    <a:pt x="1655" y="570"/>
                    <a:pt x="1715" y="665"/>
                    <a:pt x="1715" y="784"/>
                  </a:cubicBezTo>
                  <a:cubicBezTo>
                    <a:pt x="1715" y="951"/>
                    <a:pt x="1655" y="1118"/>
                    <a:pt x="1524" y="1249"/>
                  </a:cubicBezTo>
                  <a:cubicBezTo>
                    <a:pt x="1314" y="1468"/>
                    <a:pt x="975" y="1622"/>
                    <a:pt x="739" y="1622"/>
                  </a:cubicBezTo>
                  <a:cubicBezTo>
                    <a:pt x="655" y="1622"/>
                    <a:pt x="583" y="1602"/>
                    <a:pt x="536" y="1558"/>
                  </a:cubicBezTo>
                  <a:cubicBezTo>
                    <a:pt x="417" y="1463"/>
                    <a:pt x="441" y="1142"/>
                    <a:pt x="584" y="844"/>
                  </a:cubicBezTo>
                  <a:cubicBezTo>
                    <a:pt x="631" y="761"/>
                    <a:pt x="596" y="653"/>
                    <a:pt x="512" y="606"/>
                  </a:cubicBezTo>
                  <a:cubicBezTo>
                    <a:pt x="485" y="595"/>
                    <a:pt x="457" y="590"/>
                    <a:pt x="430" y="590"/>
                  </a:cubicBezTo>
                  <a:cubicBezTo>
                    <a:pt x="366" y="590"/>
                    <a:pt x="308" y="622"/>
                    <a:pt x="274" y="689"/>
                  </a:cubicBezTo>
                  <a:cubicBezTo>
                    <a:pt x="84" y="1070"/>
                    <a:pt x="0" y="1558"/>
                    <a:pt x="298" y="1832"/>
                  </a:cubicBezTo>
                  <a:cubicBezTo>
                    <a:pt x="417" y="1939"/>
                    <a:pt x="572" y="1975"/>
                    <a:pt x="751" y="1975"/>
                  </a:cubicBezTo>
                  <a:cubicBezTo>
                    <a:pt x="858" y="1975"/>
                    <a:pt x="953" y="1963"/>
                    <a:pt x="1072" y="1939"/>
                  </a:cubicBezTo>
                  <a:cubicBezTo>
                    <a:pt x="1346" y="1856"/>
                    <a:pt x="1608" y="1701"/>
                    <a:pt x="1786" y="1499"/>
                  </a:cubicBezTo>
                  <a:cubicBezTo>
                    <a:pt x="2001" y="1296"/>
                    <a:pt x="2108" y="1046"/>
                    <a:pt x="2084" y="773"/>
                  </a:cubicBezTo>
                  <a:cubicBezTo>
                    <a:pt x="2072" y="546"/>
                    <a:pt x="1989" y="356"/>
                    <a:pt x="1822" y="213"/>
                  </a:cubicBezTo>
                  <a:cubicBezTo>
                    <a:pt x="1663" y="74"/>
                    <a:pt x="1463" y="0"/>
                    <a:pt x="12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5" name="Google Shape;10135;p58"/>
            <p:cNvSpPr/>
            <p:nvPr/>
          </p:nvSpPr>
          <p:spPr>
            <a:xfrm>
              <a:off x="3371046" y="4372587"/>
              <a:ext cx="61636" cy="51792"/>
            </a:xfrm>
            <a:custGeom>
              <a:avLst/>
              <a:gdLst/>
              <a:ahLst/>
              <a:cxnLst/>
              <a:rect l="l" t="t" r="r" b="b"/>
              <a:pathLst>
                <a:path w="1941" h="1631" extrusionOk="0">
                  <a:moveTo>
                    <a:pt x="1181" y="373"/>
                  </a:moveTo>
                  <a:cubicBezTo>
                    <a:pt x="1315" y="373"/>
                    <a:pt x="1432" y="430"/>
                    <a:pt x="1500" y="547"/>
                  </a:cubicBezTo>
                  <a:cubicBezTo>
                    <a:pt x="1548" y="631"/>
                    <a:pt x="1560" y="738"/>
                    <a:pt x="1536" y="845"/>
                  </a:cubicBezTo>
                  <a:cubicBezTo>
                    <a:pt x="1488" y="964"/>
                    <a:pt x="1405" y="1071"/>
                    <a:pt x="1262" y="1143"/>
                  </a:cubicBezTo>
                  <a:cubicBezTo>
                    <a:pt x="1119" y="1226"/>
                    <a:pt x="929" y="1286"/>
                    <a:pt x="750" y="1286"/>
                  </a:cubicBezTo>
                  <a:cubicBezTo>
                    <a:pt x="595" y="1286"/>
                    <a:pt x="476" y="1250"/>
                    <a:pt x="429" y="1190"/>
                  </a:cubicBezTo>
                  <a:cubicBezTo>
                    <a:pt x="393" y="1131"/>
                    <a:pt x="417" y="988"/>
                    <a:pt x="488" y="857"/>
                  </a:cubicBezTo>
                  <a:cubicBezTo>
                    <a:pt x="584" y="702"/>
                    <a:pt x="726" y="559"/>
                    <a:pt x="869" y="464"/>
                  </a:cubicBezTo>
                  <a:cubicBezTo>
                    <a:pt x="975" y="404"/>
                    <a:pt x="1083" y="373"/>
                    <a:pt x="1181" y="373"/>
                  </a:cubicBezTo>
                  <a:close/>
                  <a:moveTo>
                    <a:pt x="1161" y="0"/>
                  </a:moveTo>
                  <a:cubicBezTo>
                    <a:pt x="998" y="0"/>
                    <a:pt x="826" y="47"/>
                    <a:pt x="667" y="143"/>
                  </a:cubicBezTo>
                  <a:cubicBezTo>
                    <a:pt x="465" y="262"/>
                    <a:pt x="286" y="452"/>
                    <a:pt x="167" y="667"/>
                  </a:cubicBezTo>
                  <a:cubicBezTo>
                    <a:pt x="12" y="917"/>
                    <a:pt x="0" y="1167"/>
                    <a:pt x="107" y="1345"/>
                  </a:cubicBezTo>
                  <a:cubicBezTo>
                    <a:pt x="214" y="1524"/>
                    <a:pt x="429" y="1631"/>
                    <a:pt x="726" y="1631"/>
                  </a:cubicBezTo>
                  <a:cubicBezTo>
                    <a:pt x="965" y="1631"/>
                    <a:pt x="1238" y="1559"/>
                    <a:pt x="1429" y="1440"/>
                  </a:cubicBezTo>
                  <a:cubicBezTo>
                    <a:pt x="1643" y="1321"/>
                    <a:pt x="1786" y="1143"/>
                    <a:pt x="1858" y="952"/>
                  </a:cubicBezTo>
                  <a:cubicBezTo>
                    <a:pt x="1941" y="750"/>
                    <a:pt x="1917" y="536"/>
                    <a:pt x="1798" y="357"/>
                  </a:cubicBezTo>
                  <a:cubicBezTo>
                    <a:pt x="1666" y="122"/>
                    <a:pt x="1425" y="0"/>
                    <a:pt x="11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6" name="Google Shape;10136;p58"/>
            <p:cNvSpPr/>
            <p:nvPr/>
          </p:nvSpPr>
          <p:spPr>
            <a:xfrm>
              <a:off x="3227735" y="4370904"/>
              <a:ext cx="142961" cy="109809"/>
            </a:xfrm>
            <a:custGeom>
              <a:avLst/>
              <a:gdLst/>
              <a:ahLst/>
              <a:cxnLst/>
              <a:rect l="l" t="t" r="r" b="b"/>
              <a:pathLst>
                <a:path w="4502" h="3458" extrusionOk="0">
                  <a:moveTo>
                    <a:pt x="2067" y="1"/>
                  </a:moveTo>
                  <a:cubicBezTo>
                    <a:pt x="1808" y="1"/>
                    <a:pt x="1548" y="43"/>
                    <a:pt x="1298" y="124"/>
                  </a:cubicBezTo>
                  <a:cubicBezTo>
                    <a:pt x="763" y="303"/>
                    <a:pt x="358" y="660"/>
                    <a:pt x="179" y="1089"/>
                  </a:cubicBezTo>
                  <a:cubicBezTo>
                    <a:pt x="1" y="1517"/>
                    <a:pt x="96" y="1934"/>
                    <a:pt x="465" y="2291"/>
                  </a:cubicBezTo>
                  <a:cubicBezTo>
                    <a:pt x="739" y="2565"/>
                    <a:pt x="1168" y="2803"/>
                    <a:pt x="1810" y="3065"/>
                  </a:cubicBezTo>
                  <a:cubicBezTo>
                    <a:pt x="2441" y="3339"/>
                    <a:pt x="2918" y="3458"/>
                    <a:pt x="3299" y="3458"/>
                  </a:cubicBezTo>
                  <a:cubicBezTo>
                    <a:pt x="3799" y="3458"/>
                    <a:pt x="4156" y="3232"/>
                    <a:pt x="4335" y="2803"/>
                  </a:cubicBezTo>
                  <a:cubicBezTo>
                    <a:pt x="4501" y="2434"/>
                    <a:pt x="4501" y="1982"/>
                    <a:pt x="4335" y="1565"/>
                  </a:cubicBezTo>
                  <a:cubicBezTo>
                    <a:pt x="4316" y="1498"/>
                    <a:pt x="4244" y="1447"/>
                    <a:pt x="4167" y="1447"/>
                  </a:cubicBezTo>
                  <a:cubicBezTo>
                    <a:pt x="4147" y="1447"/>
                    <a:pt x="4128" y="1450"/>
                    <a:pt x="4108" y="1458"/>
                  </a:cubicBezTo>
                  <a:cubicBezTo>
                    <a:pt x="4025" y="1493"/>
                    <a:pt x="3965" y="1589"/>
                    <a:pt x="4013" y="1684"/>
                  </a:cubicBezTo>
                  <a:cubicBezTo>
                    <a:pt x="4120" y="2029"/>
                    <a:pt x="4144" y="2374"/>
                    <a:pt x="4025" y="2648"/>
                  </a:cubicBezTo>
                  <a:cubicBezTo>
                    <a:pt x="3927" y="2880"/>
                    <a:pt x="3758" y="3083"/>
                    <a:pt x="3320" y="3083"/>
                  </a:cubicBezTo>
                  <a:cubicBezTo>
                    <a:pt x="3016" y="3083"/>
                    <a:pt x="2583" y="2985"/>
                    <a:pt x="1953" y="2732"/>
                  </a:cubicBezTo>
                  <a:cubicBezTo>
                    <a:pt x="1358" y="2482"/>
                    <a:pt x="977" y="2267"/>
                    <a:pt x="739" y="2029"/>
                  </a:cubicBezTo>
                  <a:cubicBezTo>
                    <a:pt x="477" y="1767"/>
                    <a:pt x="406" y="1517"/>
                    <a:pt x="525" y="1220"/>
                  </a:cubicBezTo>
                  <a:cubicBezTo>
                    <a:pt x="656" y="886"/>
                    <a:pt x="989" y="612"/>
                    <a:pt x="1418" y="458"/>
                  </a:cubicBezTo>
                  <a:cubicBezTo>
                    <a:pt x="1628" y="393"/>
                    <a:pt x="1846" y="360"/>
                    <a:pt x="2065" y="360"/>
                  </a:cubicBezTo>
                  <a:cubicBezTo>
                    <a:pt x="2328" y="360"/>
                    <a:pt x="2593" y="408"/>
                    <a:pt x="2846" y="505"/>
                  </a:cubicBezTo>
                  <a:cubicBezTo>
                    <a:pt x="3156" y="636"/>
                    <a:pt x="3442" y="839"/>
                    <a:pt x="3656" y="1101"/>
                  </a:cubicBezTo>
                  <a:cubicBezTo>
                    <a:pt x="3692" y="1144"/>
                    <a:pt x="3751" y="1170"/>
                    <a:pt x="3807" y="1170"/>
                  </a:cubicBezTo>
                  <a:cubicBezTo>
                    <a:pt x="3843" y="1170"/>
                    <a:pt x="3878" y="1159"/>
                    <a:pt x="3906" y="1136"/>
                  </a:cubicBezTo>
                  <a:cubicBezTo>
                    <a:pt x="3977" y="1077"/>
                    <a:pt x="3989" y="958"/>
                    <a:pt x="3930" y="874"/>
                  </a:cubicBezTo>
                  <a:cubicBezTo>
                    <a:pt x="3680" y="577"/>
                    <a:pt x="3358" y="339"/>
                    <a:pt x="2977" y="184"/>
                  </a:cubicBezTo>
                  <a:cubicBezTo>
                    <a:pt x="2686" y="61"/>
                    <a:pt x="2376" y="1"/>
                    <a:pt x="20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37" name="Google Shape;10137;p58"/>
          <p:cNvGrpSpPr/>
          <p:nvPr/>
        </p:nvGrpSpPr>
        <p:grpSpPr>
          <a:xfrm>
            <a:off x="3662144" y="4135505"/>
            <a:ext cx="232955" cy="340318"/>
            <a:chOff x="3662144" y="4135505"/>
            <a:chExt cx="232955" cy="340318"/>
          </a:xfrm>
        </p:grpSpPr>
        <p:sp>
          <p:nvSpPr>
            <p:cNvPr id="10138" name="Google Shape;10138;p58"/>
            <p:cNvSpPr/>
            <p:nvPr/>
          </p:nvSpPr>
          <p:spPr>
            <a:xfrm>
              <a:off x="3662144" y="4135505"/>
              <a:ext cx="163761" cy="340318"/>
            </a:xfrm>
            <a:custGeom>
              <a:avLst/>
              <a:gdLst/>
              <a:ahLst/>
              <a:cxnLst/>
              <a:rect l="l" t="t" r="r" b="b"/>
              <a:pathLst>
                <a:path w="5157" h="10717" extrusionOk="0">
                  <a:moveTo>
                    <a:pt x="2573" y="1"/>
                  </a:moveTo>
                  <a:cubicBezTo>
                    <a:pt x="1715" y="1"/>
                    <a:pt x="1013" y="703"/>
                    <a:pt x="1013" y="1572"/>
                  </a:cubicBezTo>
                  <a:lnTo>
                    <a:pt x="1013" y="6097"/>
                  </a:lnTo>
                  <a:cubicBezTo>
                    <a:pt x="370" y="6585"/>
                    <a:pt x="1" y="7347"/>
                    <a:pt x="1" y="8144"/>
                  </a:cubicBezTo>
                  <a:cubicBezTo>
                    <a:pt x="1" y="9561"/>
                    <a:pt x="1156" y="10716"/>
                    <a:pt x="2573" y="10716"/>
                  </a:cubicBezTo>
                  <a:cubicBezTo>
                    <a:pt x="3990" y="10716"/>
                    <a:pt x="5144" y="9561"/>
                    <a:pt x="5144" y="8144"/>
                  </a:cubicBezTo>
                  <a:cubicBezTo>
                    <a:pt x="5156" y="7323"/>
                    <a:pt x="4775" y="6573"/>
                    <a:pt x="4144" y="6073"/>
                  </a:cubicBezTo>
                  <a:lnTo>
                    <a:pt x="4144" y="3322"/>
                  </a:lnTo>
                  <a:cubicBezTo>
                    <a:pt x="4144" y="3239"/>
                    <a:pt x="4061" y="3156"/>
                    <a:pt x="3978" y="3156"/>
                  </a:cubicBezTo>
                  <a:cubicBezTo>
                    <a:pt x="3882" y="3156"/>
                    <a:pt x="3811" y="3239"/>
                    <a:pt x="3811" y="3322"/>
                  </a:cubicBezTo>
                  <a:lnTo>
                    <a:pt x="3811" y="6168"/>
                  </a:lnTo>
                  <a:cubicBezTo>
                    <a:pt x="3811" y="6216"/>
                    <a:pt x="3847" y="6275"/>
                    <a:pt x="3871" y="6299"/>
                  </a:cubicBezTo>
                  <a:cubicBezTo>
                    <a:pt x="4466" y="6716"/>
                    <a:pt x="4823" y="7418"/>
                    <a:pt x="4823" y="8133"/>
                  </a:cubicBezTo>
                  <a:cubicBezTo>
                    <a:pt x="4823" y="9359"/>
                    <a:pt x="3811" y="10383"/>
                    <a:pt x="2573" y="10383"/>
                  </a:cubicBezTo>
                  <a:cubicBezTo>
                    <a:pt x="1346" y="10383"/>
                    <a:pt x="322" y="9371"/>
                    <a:pt x="322" y="8133"/>
                  </a:cubicBezTo>
                  <a:cubicBezTo>
                    <a:pt x="322" y="7406"/>
                    <a:pt x="680" y="6716"/>
                    <a:pt x="1275" y="6299"/>
                  </a:cubicBezTo>
                  <a:cubicBezTo>
                    <a:pt x="1323" y="6275"/>
                    <a:pt x="1334" y="6228"/>
                    <a:pt x="1334" y="6168"/>
                  </a:cubicBezTo>
                  <a:lnTo>
                    <a:pt x="1334" y="1572"/>
                  </a:lnTo>
                  <a:cubicBezTo>
                    <a:pt x="1334" y="882"/>
                    <a:pt x="1894" y="334"/>
                    <a:pt x="2573" y="334"/>
                  </a:cubicBezTo>
                  <a:cubicBezTo>
                    <a:pt x="3263" y="334"/>
                    <a:pt x="3811" y="882"/>
                    <a:pt x="3811" y="1572"/>
                  </a:cubicBezTo>
                  <a:lnTo>
                    <a:pt x="3811" y="2703"/>
                  </a:lnTo>
                  <a:cubicBezTo>
                    <a:pt x="3811" y="2787"/>
                    <a:pt x="3882" y="2858"/>
                    <a:pt x="3978" y="2858"/>
                  </a:cubicBezTo>
                  <a:cubicBezTo>
                    <a:pt x="4061" y="2858"/>
                    <a:pt x="4132" y="2787"/>
                    <a:pt x="4132" y="2703"/>
                  </a:cubicBezTo>
                  <a:lnTo>
                    <a:pt x="4132" y="1572"/>
                  </a:lnTo>
                  <a:cubicBezTo>
                    <a:pt x="4132" y="703"/>
                    <a:pt x="3442" y="1"/>
                    <a:pt x="2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9" name="Google Shape;10139;p58"/>
            <p:cNvSpPr/>
            <p:nvPr/>
          </p:nvSpPr>
          <p:spPr>
            <a:xfrm>
              <a:off x="3689771" y="4162719"/>
              <a:ext cx="109650" cy="285859"/>
            </a:xfrm>
            <a:custGeom>
              <a:avLst/>
              <a:gdLst/>
              <a:ahLst/>
              <a:cxnLst/>
              <a:rect l="l" t="t" r="r" b="b"/>
              <a:pathLst>
                <a:path w="3453" h="9002" extrusionOk="0">
                  <a:moveTo>
                    <a:pt x="1727" y="310"/>
                  </a:moveTo>
                  <a:cubicBezTo>
                    <a:pt x="1941" y="310"/>
                    <a:pt x="2108" y="489"/>
                    <a:pt x="2108" y="691"/>
                  </a:cubicBezTo>
                  <a:lnTo>
                    <a:pt x="2108" y="1156"/>
                  </a:lnTo>
                  <a:lnTo>
                    <a:pt x="1322" y="1156"/>
                  </a:lnTo>
                  <a:lnTo>
                    <a:pt x="1322" y="691"/>
                  </a:lnTo>
                  <a:cubicBezTo>
                    <a:pt x="1322" y="489"/>
                    <a:pt x="1500" y="310"/>
                    <a:pt x="1727" y="310"/>
                  </a:cubicBezTo>
                  <a:close/>
                  <a:moveTo>
                    <a:pt x="2108" y="1489"/>
                  </a:moveTo>
                  <a:lnTo>
                    <a:pt x="2108" y="2382"/>
                  </a:lnTo>
                  <a:lnTo>
                    <a:pt x="1322" y="2382"/>
                  </a:lnTo>
                  <a:lnTo>
                    <a:pt x="1322" y="1489"/>
                  </a:lnTo>
                  <a:close/>
                  <a:moveTo>
                    <a:pt x="2108" y="2704"/>
                  </a:moveTo>
                  <a:lnTo>
                    <a:pt x="2108" y="3596"/>
                  </a:lnTo>
                  <a:lnTo>
                    <a:pt x="1322" y="3596"/>
                  </a:lnTo>
                  <a:lnTo>
                    <a:pt x="1322" y="2704"/>
                  </a:lnTo>
                  <a:close/>
                  <a:moveTo>
                    <a:pt x="2108" y="3906"/>
                  </a:moveTo>
                  <a:lnTo>
                    <a:pt x="2108" y="4799"/>
                  </a:lnTo>
                  <a:lnTo>
                    <a:pt x="1322" y="4799"/>
                  </a:lnTo>
                  <a:lnTo>
                    <a:pt x="1322" y="3906"/>
                  </a:lnTo>
                  <a:close/>
                  <a:moveTo>
                    <a:pt x="1727" y="1"/>
                  </a:moveTo>
                  <a:cubicBezTo>
                    <a:pt x="1334" y="1"/>
                    <a:pt x="1012" y="310"/>
                    <a:pt x="1012" y="715"/>
                  </a:cubicBezTo>
                  <a:lnTo>
                    <a:pt x="1012" y="5668"/>
                  </a:lnTo>
                  <a:lnTo>
                    <a:pt x="726" y="5871"/>
                  </a:lnTo>
                  <a:cubicBezTo>
                    <a:pt x="262" y="6204"/>
                    <a:pt x="0" y="6728"/>
                    <a:pt x="0" y="7276"/>
                  </a:cubicBezTo>
                  <a:cubicBezTo>
                    <a:pt x="0" y="7609"/>
                    <a:pt x="95" y="7954"/>
                    <a:pt x="298" y="8240"/>
                  </a:cubicBezTo>
                  <a:cubicBezTo>
                    <a:pt x="321" y="8286"/>
                    <a:pt x="374" y="8312"/>
                    <a:pt x="427" y="8312"/>
                  </a:cubicBezTo>
                  <a:cubicBezTo>
                    <a:pt x="457" y="8312"/>
                    <a:pt x="487" y="8304"/>
                    <a:pt x="512" y="8288"/>
                  </a:cubicBezTo>
                  <a:cubicBezTo>
                    <a:pt x="595" y="8240"/>
                    <a:pt x="607" y="8133"/>
                    <a:pt x="560" y="8061"/>
                  </a:cubicBezTo>
                  <a:cubicBezTo>
                    <a:pt x="393" y="7823"/>
                    <a:pt x="322" y="7549"/>
                    <a:pt x="322" y="7276"/>
                  </a:cubicBezTo>
                  <a:cubicBezTo>
                    <a:pt x="322" y="6811"/>
                    <a:pt x="548" y="6394"/>
                    <a:pt x="917" y="6121"/>
                  </a:cubicBezTo>
                  <a:lnTo>
                    <a:pt x="1274" y="5871"/>
                  </a:lnTo>
                  <a:cubicBezTo>
                    <a:pt x="1322" y="5847"/>
                    <a:pt x="1334" y="5799"/>
                    <a:pt x="1334" y="5740"/>
                  </a:cubicBezTo>
                  <a:lnTo>
                    <a:pt x="1334" y="5132"/>
                  </a:lnTo>
                  <a:lnTo>
                    <a:pt x="2119" y="5132"/>
                  </a:lnTo>
                  <a:lnTo>
                    <a:pt x="2119" y="5740"/>
                  </a:lnTo>
                  <a:cubicBezTo>
                    <a:pt x="2119" y="5787"/>
                    <a:pt x="2155" y="5847"/>
                    <a:pt x="2179" y="5871"/>
                  </a:cubicBezTo>
                  <a:lnTo>
                    <a:pt x="2536" y="6121"/>
                  </a:lnTo>
                  <a:cubicBezTo>
                    <a:pt x="2917" y="6394"/>
                    <a:pt x="3131" y="6823"/>
                    <a:pt x="3131" y="7276"/>
                  </a:cubicBezTo>
                  <a:cubicBezTo>
                    <a:pt x="3120" y="8049"/>
                    <a:pt x="2500" y="8669"/>
                    <a:pt x="1727" y="8669"/>
                  </a:cubicBezTo>
                  <a:cubicBezTo>
                    <a:pt x="1441" y="8669"/>
                    <a:pt x="1155" y="8585"/>
                    <a:pt x="917" y="8419"/>
                  </a:cubicBezTo>
                  <a:cubicBezTo>
                    <a:pt x="892" y="8402"/>
                    <a:pt x="863" y="8394"/>
                    <a:pt x="835" y="8394"/>
                  </a:cubicBezTo>
                  <a:cubicBezTo>
                    <a:pt x="782" y="8394"/>
                    <a:pt x="729" y="8420"/>
                    <a:pt x="691" y="8466"/>
                  </a:cubicBezTo>
                  <a:cubicBezTo>
                    <a:pt x="655" y="8538"/>
                    <a:pt x="667" y="8633"/>
                    <a:pt x="738" y="8692"/>
                  </a:cubicBezTo>
                  <a:cubicBezTo>
                    <a:pt x="1036" y="8895"/>
                    <a:pt x="1369" y="9002"/>
                    <a:pt x="1727" y="9002"/>
                  </a:cubicBezTo>
                  <a:cubicBezTo>
                    <a:pt x="2679" y="9002"/>
                    <a:pt x="3453" y="8228"/>
                    <a:pt x="3453" y="7276"/>
                  </a:cubicBezTo>
                  <a:cubicBezTo>
                    <a:pt x="3453" y="6716"/>
                    <a:pt x="3179" y="6192"/>
                    <a:pt x="2715" y="5871"/>
                  </a:cubicBezTo>
                  <a:lnTo>
                    <a:pt x="2441" y="5668"/>
                  </a:lnTo>
                  <a:lnTo>
                    <a:pt x="2441" y="715"/>
                  </a:lnTo>
                  <a:cubicBezTo>
                    <a:pt x="2441" y="322"/>
                    <a:pt x="2119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0" name="Google Shape;10140;p58"/>
            <p:cNvSpPr/>
            <p:nvPr/>
          </p:nvSpPr>
          <p:spPr>
            <a:xfrm>
              <a:off x="3838352" y="4182375"/>
              <a:ext cx="56746" cy="94947"/>
            </a:xfrm>
            <a:custGeom>
              <a:avLst/>
              <a:gdLst/>
              <a:ahLst/>
              <a:cxnLst/>
              <a:rect l="l" t="t" r="r" b="b"/>
              <a:pathLst>
                <a:path w="1787" h="2990" extrusionOk="0">
                  <a:moveTo>
                    <a:pt x="881" y="1"/>
                  </a:moveTo>
                  <a:cubicBezTo>
                    <a:pt x="334" y="1"/>
                    <a:pt x="0" y="334"/>
                    <a:pt x="0" y="894"/>
                  </a:cubicBezTo>
                  <a:lnTo>
                    <a:pt x="0" y="2096"/>
                  </a:lnTo>
                  <a:cubicBezTo>
                    <a:pt x="0" y="2394"/>
                    <a:pt x="96" y="2632"/>
                    <a:pt x="262" y="2787"/>
                  </a:cubicBezTo>
                  <a:cubicBezTo>
                    <a:pt x="405" y="2918"/>
                    <a:pt x="619" y="2989"/>
                    <a:pt x="869" y="2989"/>
                  </a:cubicBezTo>
                  <a:cubicBezTo>
                    <a:pt x="1393" y="2989"/>
                    <a:pt x="1751" y="2692"/>
                    <a:pt x="1751" y="2263"/>
                  </a:cubicBezTo>
                  <a:cubicBezTo>
                    <a:pt x="1786" y="2120"/>
                    <a:pt x="1715" y="2073"/>
                    <a:pt x="1596" y="2073"/>
                  </a:cubicBezTo>
                  <a:cubicBezTo>
                    <a:pt x="1489" y="2073"/>
                    <a:pt x="1417" y="2120"/>
                    <a:pt x="1417" y="2192"/>
                  </a:cubicBezTo>
                  <a:cubicBezTo>
                    <a:pt x="1393" y="2382"/>
                    <a:pt x="1358" y="2668"/>
                    <a:pt x="917" y="2668"/>
                  </a:cubicBezTo>
                  <a:cubicBezTo>
                    <a:pt x="560" y="2668"/>
                    <a:pt x="381" y="2489"/>
                    <a:pt x="381" y="2096"/>
                  </a:cubicBezTo>
                  <a:lnTo>
                    <a:pt x="381" y="894"/>
                  </a:lnTo>
                  <a:cubicBezTo>
                    <a:pt x="381" y="525"/>
                    <a:pt x="560" y="334"/>
                    <a:pt x="893" y="334"/>
                  </a:cubicBezTo>
                  <a:cubicBezTo>
                    <a:pt x="1298" y="334"/>
                    <a:pt x="1405" y="584"/>
                    <a:pt x="1405" y="775"/>
                  </a:cubicBezTo>
                  <a:cubicBezTo>
                    <a:pt x="1405" y="846"/>
                    <a:pt x="1477" y="906"/>
                    <a:pt x="1584" y="906"/>
                  </a:cubicBezTo>
                  <a:cubicBezTo>
                    <a:pt x="1703" y="906"/>
                    <a:pt x="1762" y="882"/>
                    <a:pt x="1762" y="715"/>
                  </a:cubicBezTo>
                  <a:cubicBezTo>
                    <a:pt x="1762" y="299"/>
                    <a:pt x="1405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1" name="Google Shape;10141;p58"/>
            <p:cNvSpPr/>
            <p:nvPr/>
          </p:nvSpPr>
          <p:spPr>
            <a:xfrm>
              <a:off x="3813012" y="4151763"/>
              <a:ext cx="32930" cy="32930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36" y="310"/>
                  </a:moveTo>
                  <a:cubicBezTo>
                    <a:pt x="644" y="310"/>
                    <a:pt x="739" y="405"/>
                    <a:pt x="739" y="524"/>
                  </a:cubicBezTo>
                  <a:cubicBezTo>
                    <a:pt x="727" y="620"/>
                    <a:pt x="644" y="727"/>
                    <a:pt x="536" y="727"/>
                  </a:cubicBezTo>
                  <a:cubicBezTo>
                    <a:pt x="429" y="727"/>
                    <a:pt x="322" y="643"/>
                    <a:pt x="322" y="524"/>
                  </a:cubicBezTo>
                  <a:cubicBezTo>
                    <a:pt x="322" y="417"/>
                    <a:pt x="417" y="310"/>
                    <a:pt x="536" y="310"/>
                  </a:cubicBezTo>
                  <a:close/>
                  <a:moveTo>
                    <a:pt x="524" y="1"/>
                  </a:moveTo>
                  <a:cubicBezTo>
                    <a:pt x="239" y="1"/>
                    <a:pt x="1" y="239"/>
                    <a:pt x="1" y="524"/>
                  </a:cubicBezTo>
                  <a:cubicBezTo>
                    <a:pt x="1" y="798"/>
                    <a:pt x="239" y="1036"/>
                    <a:pt x="524" y="1036"/>
                  </a:cubicBezTo>
                  <a:cubicBezTo>
                    <a:pt x="822" y="1036"/>
                    <a:pt x="1036" y="798"/>
                    <a:pt x="1036" y="524"/>
                  </a:cubicBezTo>
                  <a:cubicBezTo>
                    <a:pt x="1036" y="239"/>
                    <a:pt x="79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42" name="Google Shape;10142;p58"/>
          <p:cNvGrpSpPr/>
          <p:nvPr/>
        </p:nvGrpSpPr>
        <p:grpSpPr>
          <a:xfrm>
            <a:off x="4149138" y="4121151"/>
            <a:ext cx="344065" cy="368644"/>
            <a:chOff x="4149138" y="4121151"/>
            <a:chExt cx="344065" cy="368644"/>
          </a:xfrm>
        </p:grpSpPr>
        <p:sp>
          <p:nvSpPr>
            <p:cNvPr id="10143" name="Google Shape;10143;p58"/>
            <p:cNvSpPr/>
            <p:nvPr/>
          </p:nvSpPr>
          <p:spPr>
            <a:xfrm>
              <a:off x="4205853" y="4182724"/>
              <a:ext cx="225746" cy="307071"/>
            </a:xfrm>
            <a:custGeom>
              <a:avLst/>
              <a:gdLst/>
              <a:ahLst/>
              <a:cxnLst/>
              <a:rect l="l" t="t" r="r" b="b"/>
              <a:pathLst>
                <a:path w="7109" h="9670" extrusionOk="0">
                  <a:moveTo>
                    <a:pt x="3643" y="359"/>
                  </a:moveTo>
                  <a:cubicBezTo>
                    <a:pt x="4417" y="359"/>
                    <a:pt x="5132" y="645"/>
                    <a:pt x="5703" y="1157"/>
                  </a:cubicBezTo>
                  <a:cubicBezTo>
                    <a:pt x="6358" y="1752"/>
                    <a:pt x="6751" y="2597"/>
                    <a:pt x="6751" y="3478"/>
                  </a:cubicBezTo>
                  <a:cubicBezTo>
                    <a:pt x="6739" y="4074"/>
                    <a:pt x="6572" y="4669"/>
                    <a:pt x="6251" y="5157"/>
                  </a:cubicBezTo>
                  <a:cubicBezTo>
                    <a:pt x="5929" y="5645"/>
                    <a:pt x="5489" y="6038"/>
                    <a:pt x="4953" y="6288"/>
                  </a:cubicBezTo>
                  <a:cubicBezTo>
                    <a:pt x="4620" y="6431"/>
                    <a:pt x="4417" y="6776"/>
                    <a:pt x="4417" y="7146"/>
                  </a:cubicBezTo>
                  <a:lnTo>
                    <a:pt x="4417" y="7360"/>
                  </a:lnTo>
                  <a:lnTo>
                    <a:pt x="2834" y="7360"/>
                  </a:lnTo>
                  <a:lnTo>
                    <a:pt x="2834" y="7146"/>
                  </a:lnTo>
                  <a:cubicBezTo>
                    <a:pt x="2834" y="6776"/>
                    <a:pt x="2631" y="6455"/>
                    <a:pt x="2298" y="6288"/>
                  </a:cubicBezTo>
                  <a:cubicBezTo>
                    <a:pt x="1084" y="5705"/>
                    <a:pt x="381" y="4407"/>
                    <a:pt x="548" y="3074"/>
                  </a:cubicBezTo>
                  <a:cubicBezTo>
                    <a:pt x="726" y="1669"/>
                    <a:pt x="1869" y="526"/>
                    <a:pt x="3286" y="383"/>
                  </a:cubicBezTo>
                  <a:cubicBezTo>
                    <a:pt x="3405" y="359"/>
                    <a:pt x="3524" y="359"/>
                    <a:pt x="3643" y="359"/>
                  </a:cubicBezTo>
                  <a:close/>
                  <a:moveTo>
                    <a:pt x="4417" y="7729"/>
                  </a:moveTo>
                  <a:lnTo>
                    <a:pt x="4417" y="8324"/>
                  </a:lnTo>
                  <a:cubicBezTo>
                    <a:pt x="4417" y="8443"/>
                    <a:pt x="4322" y="8539"/>
                    <a:pt x="4203" y="8539"/>
                  </a:cubicBezTo>
                  <a:lnTo>
                    <a:pt x="3048" y="8539"/>
                  </a:lnTo>
                  <a:cubicBezTo>
                    <a:pt x="2929" y="8539"/>
                    <a:pt x="2834" y="8443"/>
                    <a:pt x="2834" y="8324"/>
                  </a:cubicBezTo>
                  <a:lnTo>
                    <a:pt x="2834" y="7729"/>
                  </a:lnTo>
                  <a:close/>
                  <a:moveTo>
                    <a:pt x="4024" y="8896"/>
                  </a:moveTo>
                  <a:lnTo>
                    <a:pt x="4024" y="9098"/>
                  </a:lnTo>
                  <a:cubicBezTo>
                    <a:pt x="4024" y="9217"/>
                    <a:pt x="3941" y="9313"/>
                    <a:pt x="3822" y="9313"/>
                  </a:cubicBezTo>
                  <a:lnTo>
                    <a:pt x="3429" y="9313"/>
                  </a:lnTo>
                  <a:cubicBezTo>
                    <a:pt x="3310" y="9313"/>
                    <a:pt x="3227" y="9217"/>
                    <a:pt x="3227" y="9098"/>
                  </a:cubicBezTo>
                  <a:lnTo>
                    <a:pt x="3227" y="8896"/>
                  </a:lnTo>
                  <a:close/>
                  <a:moveTo>
                    <a:pt x="3658" y="1"/>
                  </a:moveTo>
                  <a:cubicBezTo>
                    <a:pt x="3519" y="1"/>
                    <a:pt x="3379" y="9"/>
                    <a:pt x="3239" y="26"/>
                  </a:cubicBezTo>
                  <a:cubicBezTo>
                    <a:pt x="1667" y="204"/>
                    <a:pt x="381" y="1466"/>
                    <a:pt x="191" y="3026"/>
                  </a:cubicBezTo>
                  <a:cubicBezTo>
                    <a:pt x="0" y="4526"/>
                    <a:pt x="786" y="5979"/>
                    <a:pt x="2155" y="6610"/>
                  </a:cubicBezTo>
                  <a:cubicBezTo>
                    <a:pt x="2358" y="6705"/>
                    <a:pt x="2477" y="6931"/>
                    <a:pt x="2477" y="7146"/>
                  </a:cubicBezTo>
                  <a:lnTo>
                    <a:pt x="2477" y="8324"/>
                  </a:lnTo>
                  <a:cubicBezTo>
                    <a:pt x="2477" y="8574"/>
                    <a:pt x="2643" y="8789"/>
                    <a:pt x="2870" y="8860"/>
                  </a:cubicBezTo>
                  <a:lnTo>
                    <a:pt x="2870" y="9098"/>
                  </a:lnTo>
                  <a:cubicBezTo>
                    <a:pt x="2870" y="9408"/>
                    <a:pt x="3120" y="9670"/>
                    <a:pt x="3429" y="9670"/>
                  </a:cubicBezTo>
                  <a:lnTo>
                    <a:pt x="3822" y="9670"/>
                  </a:lnTo>
                  <a:cubicBezTo>
                    <a:pt x="4132" y="9670"/>
                    <a:pt x="4382" y="9408"/>
                    <a:pt x="4382" y="9098"/>
                  </a:cubicBezTo>
                  <a:lnTo>
                    <a:pt x="4382" y="8860"/>
                  </a:lnTo>
                  <a:cubicBezTo>
                    <a:pt x="4608" y="8789"/>
                    <a:pt x="4775" y="8574"/>
                    <a:pt x="4775" y="8324"/>
                  </a:cubicBezTo>
                  <a:lnTo>
                    <a:pt x="4775" y="7146"/>
                  </a:lnTo>
                  <a:cubicBezTo>
                    <a:pt x="4775" y="6931"/>
                    <a:pt x="4906" y="6717"/>
                    <a:pt x="5096" y="6610"/>
                  </a:cubicBezTo>
                  <a:cubicBezTo>
                    <a:pt x="5691" y="6336"/>
                    <a:pt x="6191" y="5895"/>
                    <a:pt x="6549" y="5348"/>
                  </a:cubicBezTo>
                  <a:cubicBezTo>
                    <a:pt x="6906" y="4788"/>
                    <a:pt x="7096" y="4133"/>
                    <a:pt x="7096" y="3455"/>
                  </a:cubicBezTo>
                  <a:cubicBezTo>
                    <a:pt x="7108" y="2490"/>
                    <a:pt x="6680" y="1538"/>
                    <a:pt x="5953" y="883"/>
                  </a:cubicBezTo>
                  <a:cubicBezTo>
                    <a:pt x="5309" y="310"/>
                    <a:pt x="4506" y="1"/>
                    <a:pt x="36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4" name="Google Shape;10144;p58"/>
            <p:cNvSpPr/>
            <p:nvPr/>
          </p:nvSpPr>
          <p:spPr>
            <a:xfrm>
              <a:off x="4444777" y="4287484"/>
              <a:ext cx="48426" cy="11400"/>
            </a:xfrm>
            <a:custGeom>
              <a:avLst/>
              <a:gdLst/>
              <a:ahLst/>
              <a:cxnLst/>
              <a:rect l="l" t="t" r="r" b="b"/>
              <a:pathLst>
                <a:path w="1525" h="359" extrusionOk="0">
                  <a:moveTo>
                    <a:pt x="180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80" y="358"/>
                  </a:cubicBezTo>
                  <a:lnTo>
                    <a:pt x="1346" y="358"/>
                  </a:lnTo>
                  <a:cubicBezTo>
                    <a:pt x="1442" y="358"/>
                    <a:pt x="1525" y="275"/>
                    <a:pt x="1525" y="179"/>
                  </a:cubicBezTo>
                  <a:cubicBezTo>
                    <a:pt x="1525" y="72"/>
                    <a:pt x="1430" y="1"/>
                    <a:pt x="1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5" name="Google Shape;10145;p58"/>
            <p:cNvSpPr/>
            <p:nvPr/>
          </p:nvSpPr>
          <p:spPr>
            <a:xfrm>
              <a:off x="4149138" y="4287484"/>
              <a:ext cx="48426" cy="11400"/>
            </a:xfrm>
            <a:custGeom>
              <a:avLst/>
              <a:gdLst/>
              <a:ahLst/>
              <a:cxnLst/>
              <a:rect l="l" t="t" r="r" b="b"/>
              <a:pathLst>
                <a:path w="1525" h="359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334" y="358"/>
                  </a:lnTo>
                  <a:cubicBezTo>
                    <a:pt x="1441" y="358"/>
                    <a:pt x="1512" y="275"/>
                    <a:pt x="1512" y="179"/>
                  </a:cubicBezTo>
                  <a:cubicBezTo>
                    <a:pt x="1524" y="72"/>
                    <a:pt x="1441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6" name="Google Shape;10146;p58"/>
            <p:cNvSpPr/>
            <p:nvPr/>
          </p:nvSpPr>
          <p:spPr>
            <a:xfrm>
              <a:off x="4315471" y="4121151"/>
              <a:ext cx="11400" cy="48045"/>
            </a:xfrm>
            <a:custGeom>
              <a:avLst/>
              <a:gdLst/>
              <a:ahLst/>
              <a:cxnLst/>
              <a:rect l="l" t="t" r="r" b="b"/>
              <a:pathLst>
                <a:path w="359" h="1513" extrusionOk="0">
                  <a:moveTo>
                    <a:pt x="180" y="0"/>
                  </a:moveTo>
                  <a:cubicBezTo>
                    <a:pt x="72" y="0"/>
                    <a:pt x="1" y="72"/>
                    <a:pt x="1" y="179"/>
                  </a:cubicBezTo>
                  <a:lnTo>
                    <a:pt x="1" y="1334"/>
                  </a:lnTo>
                  <a:cubicBezTo>
                    <a:pt x="1" y="1441"/>
                    <a:pt x="72" y="1512"/>
                    <a:pt x="180" y="1512"/>
                  </a:cubicBezTo>
                  <a:cubicBezTo>
                    <a:pt x="275" y="1512"/>
                    <a:pt x="358" y="1441"/>
                    <a:pt x="358" y="1334"/>
                  </a:cubicBezTo>
                  <a:lnTo>
                    <a:pt x="358" y="179"/>
                  </a:lnTo>
                  <a:cubicBezTo>
                    <a:pt x="358" y="72"/>
                    <a:pt x="275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7" name="Google Shape;10147;p58"/>
            <p:cNvSpPr/>
            <p:nvPr/>
          </p:nvSpPr>
          <p:spPr>
            <a:xfrm>
              <a:off x="4378632" y="4159575"/>
              <a:ext cx="22705" cy="27754"/>
            </a:xfrm>
            <a:custGeom>
              <a:avLst/>
              <a:gdLst/>
              <a:ahLst/>
              <a:cxnLst/>
              <a:rect l="l" t="t" r="r" b="b"/>
              <a:pathLst>
                <a:path w="715" h="874" extrusionOk="0">
                  <a:moveTo>
                    <a:pt x="513" y="0"/>
                  </a:moveTo>
                  <a:cubicBezTo>
                    <a:pt x="451" y="0"/>
                    <a:pt x="387" y="27"/>
                    <a:pt x="346" y="76"/>
                  </a:cubicBezTo>
                  <a:lnTo>
                    <a:pt x="48" y="588"/>
                  </a:lnTo>
                  <a:cubicBezTo>
                    <a:pt x="0" y="671"/>
                    <a:pt x="24" y="778"/>
                    <a:pt x="107" y="838"/>
                  </a:cubicBezTo>
                  <a:cubicBezTo>
                    <a:pt x="131" y="850"/>
                    <a:pt x="167" y="874"/>
                    <a:pt x="191" y="874"/>
                  </a:cubicBezTo>
                  <a:cubicBezTo>
                    <a:pt x="250" y="874"/>
                    <a:pt x="310" y="838"/>
                    <a:pt x="358" y="778"/>
                  </a:cubicBezTo>
                  <a:lnTo>
                    <a:pt x="655" y="278"/>
                  </a:lnTo>
                  <a:cubicBezTo>
                    <a:pt x="715" y="171"/>
                    <a:pt x="691" y="64"/>
                    <a:pt x="596" y="16"/>
                  </a:cubicBezTo>
                  <a:cubicBezTo>
                    <a:pt x="570" y="5"/>
                    <a:pt x="542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8" name="Google Shape;10148;p58"/>
            <p:cNvSpPr/>
            <p:nvPr/>
          </p:nvSpPr>
          <p:spPr>
            <a:xfrm>
              <a:off x="4240243" y="4399103"/>
              <a:ext cx="22705" cy="27563"/>
            </a:xfrm>
            <a:custGeom>
              <a:avLst/>
              <a:gdLst/>
              <a:ahLst/>
              <a:cxnLst/>
              <a:rect l="l" t="t" r="r" b="b"/>
              <a:pathLst>
                <a:path w="715" h="868" extrusionOk="0">
                  <a:moveTo>
                    <a:pt x="507" y="0"/>
                  </a:moveTo>
                  <a:cubicBezTo>
                    <a:pt x="444" y="0"/>
                    <a:pt x="387" y="33"/>
                    <a:pt x="346" y="82"/>
                  </a:cubicBezTo>
                  <a:lnTo>
                    <a:pt x="48" y="594"/>
                  </a:lnTo>
                  <a:cubicBezTo>
                    <a:pt x="1" y="677"/>
                    <a:pt x="24" y="784"/>
                    <a:pt x="108" y="844"/>
                  </a:cubicBezTo>
                  <a:cubicBezTo>
                    <a:pt x="132" y="855"/>
                    <a:pt x="155" y="867"/>
                    <a:pt x="191" y="867"/>
                  </a:cubicBezTo>
                  <a:cubicBezTo>
                    <a:pt x="251" y="867"/>
                    <a:pt x="310" y="844"/>
                    <a:pt x="358" y="784"/>
                  </a:cubicBezTo>
                  <a:lnTo>
                    <a:pt x="655" y="272"/>
                  </a:lnTo>
                  <a:cubicBezTo>
                    <a:pt x="715" y="189"/>
                    <a:pt x="679" y="82"/>
                    <a:pt x="596" y="22"/>
                  </a:cubicBezTo>
                  <a:cubicBezTo>
                    <a:pt x="566" y="7"/>
                    <a:pt x="536" y="0"/>
                    <a:pt x="5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9" name="Google Shape;10149;p58"/>
            <p:cNvSpPr/>
            <p:nvPr/>
          </p:nvSpPr>
          <p:spPr>
            <a:xfrm>
              <a:off x="4240243" y="4159130"/>
              <a:ext cx="22705" cy="28198"/>
            </a:xfrm>
            <a:custGeom>
              <a:avLst/>
              <a:gdLst/>
              <a:ahLst/>
              <a:cxnLst/>
              <a:rect l="l" t="t" r="r" b="b"/>
              <a:pathLst>
                <a:path w="715" h="888" extrusionOk="0">
                  <a:moveTo>
                    <a:pt x="213" y="1"/>
                  </a:moveTo>
                  <a:cubicBezTo>
                    <a:pt x="181" y="1"/>
                    <a:pt x="148" y="10"/>
                    <a:pt x="120" y="30"/>
                  </a:cubicBezTo>
                  <a:cubicBezTo>
                    <a:pt x="24" y="78"/>
                    <a:pt x="1" y="197"/>
                    <a:pt x="60" y="292"/>
                  </a:cubicBezTo>
                  <a:lnTo>
                    <a:pt x="358" y="792"/>
                  </a:lnTo>
                  <a:cubicBezTo>
                    <a:pt x="382" y="852"/>
                    <a:pt x="441" y="888"/>
                    <a:pt x="525" y="888"/>
                  </a:cubicBezTo>
                  <a:cubicBezTo>
                    <a:pt x="548" y="888"/>
                    <a:pt x="584" y="864"/>
                    <a:pt x="608" y="852"/>
                  </a:cubicBezTo>
                  <a:cubicBezTo>
                    <a:pt x="679" y="792"/>
                    <a:pt x="715" y="685"/>
                    <a:pt x="667" y="602"/>
                  </a:cubicBezTo>
                  <a:lnTo>
                    <a:pt x="370" y="90"/>
                  </a:lnTo>
                  <a:cubicBezTo>
                    <a:pt x="338" y="35"/>
                    <a:pt x="276" y="1"/>
                    <a:pt x="2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0" name="Google Shape;10150;p58"/>
            <p:cNvSpPr/>
            <p:nvPr/>
          </p:nvSpPr>
          <p:spPr>
            <a:xfrm>
              <a:off x="4378632" y="4399230"/>
              <a:ext cx="22705" cy="28198"/>
            </a:xfrm>
            <a:custGeom>
              <a:avLst/>
              <a:gdLst/>
              <a:ahLst/>
              <a:cxnLst/>
              <a:rect l="l" t="t" r="r" b="b"/>
              <a:pathLst>
                <a:path w="715" h="888" extrusionOk="0">
                  <a:moveTo>
                    <a:pt x="221" y="0"/>
                  </a:moveTo>
                  <a:cubicBezTo>
                    <a:pt x="187" y="0"/>
                    <a:pt x="152" y="10"/>
                    <a:pt x="119" y="30"/>
                  </a:cubicBezTo>
                  <a:cubicBezTo>
                    <a:pt x="24" y="78"/>
                    <a:pt x="0" y="197"/>
                    <a:pt x="60" y="292"/>
                  </a:cubicBezTo>
                  <a:lnTo>
                    <a:pt x="358" y="792"/>
                  </a:lnTo>
                  <a:cubicBezTo>
                    <a:pt x="393" y="851"/>
                    <a:pt x="453" y="887"/>
                    <a:pt x="524" y="887"/>
                  </a:cubicBezTo>
                  <a:cubicBezTo>
                    <a:pt x="548" y="887"/>
                    <a:pt x="584" y="863"/>
                    <a:pt x="608" y="851"/>
                  </a:cubicBezTo>
                  <a:cubicBezTo>
                    <a:pt x="691" y="792"/>
                    <a:pt x="715" y="673"/>
                    <a:pt x="667" y="601"/>
                  </a:cubicBezTo>
                  <a:lnTo>
                    <a:pt x="369" y="89"/>
                  </a:lnTo>
                  <a:cubicBezTo>
                    <a:pt x="346" y="35"/>
                    <a:pt x="286" y="0"/>
                    <a:pt x="2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1" name="Google Shape;10151;p58"/>
            <p:cNvSpPr/>
            <p:nvPr/>
          </p:nvSpPr>
          <p:spPr>
            <a:xfrm>
              <a:off x="4426264" y="4351851"/>
              <a:ext cx="29532" cy="21117"/>
            </a:xfrm>
            <a:custGeom>
              <a:avLst/>
              <a:gdLst/>
              <a:ahLst/>
              <a:cxnLst/>
              <a:rect l="l" t="t" r="r" b="b"/>
              <a:pathLst>
                <a:path w="930" h="665" extrusionOk="0">
                  <a:moveTo>
                    <a:pt x="215" y="0"/>
                  </a:moveTo>
                  <a:cubicBezTo>
                    <a:pt x="152" y="0"/>
                    <a:pt x="89" y="32"/>
                    <a:pt x="48" y="81"/>
                  </a:cubicBezTo>
                  <a:cubicBezTo>
                    <a:pt x="1" y="177"/>
                    <a:pt x="36" y="272"/>
                    <a:pt x="108" y="331"/>
                  </a:cubicBezTo>
                  <a:lnTo>
                    <a:pt x="608" y="629"/>
                  </a:lnTo>
                  <a:cubicBezTo>
                    <a:pt x="643" y="653"/>
                    <a:pt x="667" y="665"/>
                    <a:pt x="703" y="665"/>
                  </a:cubicBezTo>
                  <a:cubicBezTo>
                    <a:pt x="763" y="665"/>
                    <a:pt x="822" y="629"/>
                    <a:pt x="870" y="569"/>
                  </a:cubicBezTo>
                  <a:cubicBezTo>
                    <a:pt x="929" y="486"/>
                    <a:pt x="893" y="367"/>
                    <a:pt x="810" y="319"/>
                  </a:cubicBezTo>
                  <a:lnTo>
                    <a:pt x="298" y="22"/>
                  </a:lnTo>
                  <a:cubicBezTo>
                    <a:pt x="272" y="7"/>
                    <a:pt x="244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2" name="Google Shape;10152;p58"/>
            <p:cNvSpPr/>
            <p:nvPr/>
          </p:nvSpPr>
          <p:spPr>
            <a:xfrm>
              <a:off x="4186196" y="4213463"/>
              <a:ext cx="29500" cy="21117"/>
            </a:xfrm>
            <a:custGeom>
              <a:avLst/>
              <a:gdLst/>
              <a:ahLst/>
              <a:cxnLst/>
              <a:rect l="l" t="t" r="r" b="b"/>
              <a:pathLst>
                <a:path w="929" h="665" extrusionOk="0">
                  <a:moveTo>
                    <a:pt x="214" y="0"/>
                  </a:moveTo>
                  <a:cubicBezTo>
                    <a:pt x="152" y="0"/>
                    <a:pt x="89" y="33"/>
                    <a:pt x="48" y="82"/>
                  </a:cubicBezTo>
                  <a:cubicBezTo>
                    <a:pt x="0" y="165"/>
                    <a:pt x="36" y="272"/>
                    <a:pt x="107" y="332"/>
                  </a:cubicBezTo>
                  <a:lnTo>
                    <a:pt x="619" y="629"/>
                  </a:lnTo>
                  <a:cubicBezTo>
                    <a:pt x="643" y="641"/>
                    <a:pt x="667" y="665"/>
                    <a:pt x="703" y="665"/>
                  </a:cubicBezTo>
                  <a:cubicBezTo>
                    <a:pt x="762" y="665"/>
                    <a:pt x="822" y="629"/>
                    <a:pt x="869" y="570"/>
                  </a:cubicBezTo>
                  <a:cubicBezTo>
                    <a:pt x="929" y="463"/>
                    <a:pt x="893" y="367"/>
                    <a:pt x="810" y="320"/>
                  </a:cubicBezTo>
                  <a:lnTo>
                    <a:pt x="298" y="22"/>
                  </a:lnTo>
                  <a:cubicBezTo>
                    <a:pt x="272" y="7"/>
                    <a:pt x="243" y="0"/>
                    <a:pt x="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3" name="Google Shape;10153;p58"/>
            <p:cNvSpPr/>
            <p:nvPr/>
          </p:nvSpPr>
          <p:spPr>
            <a:xfrm>
              <a:off x="4425883" y="4213590"/>
              <a:ext cx="29913" cy="21371"/>
            </a:xfrm>
            <a:custGeom>
              <a:avLst/>
              <a:gdLst/>
              <a:ahLst/>
              <a:cxnLst/>
              <a:rect l="l" t="t" r="r" b="b"/>
              <a:pathLst>
                <a:path w="942" h="673" extrusionOk="0">
                  <a:moveTo>
                    <a:pt x="725" y="0"/>
                  </a:moveTo>
                  <a:cubicBezTo>
                    <a:pt x="693" y="0"/>
                    <a:pt x="660" y="10"/>
                    <a:pt x="632" y="30"/>
                  </a:cubicBezTo>
                  <a:lnTo>
                    <a:pt x="120" y="328"/>
                  </a:lnTo>
                  <a:cubicBezTo>
                    <a:pt x="36" y="375"/>
                    <a:pt x="1" y="494"/>
                    <a:pt x="60" y="578"/>
                  </a:cubicBezTo>
                  <a:cubicBezTo>
                    <a:pt x="96" y="637"/>
                    <a:pt x="155" y="673"/>
                    <a:pt x="227" y="673"/>
                  </a:cubicBezTo>
                  <a:cubicBezTo>
                    <a:pt x="251" y="673"/>
                    <a:pt x="286" y="661"/>
                    <a:pt x="310" y="637"/>
                  </a:cubicBezTo>
                  <a:lnTo>
                    <a:pt x="822" y="340"/>
                  </a:lnTo>
                  <a:cubicBezTo>
                    <a:pt x="905" y="280"/>
                    <a:pt x="941" y="161"/>
                    <a:pt x="882" y="89"/>
                  </a:cubicBezTo>
                  <a:cubicBezTo>
                    <a:pt x="850" y="35"/>
                    <a:pt x="788" y="0"/>
                    <a:pt x="7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4" name="Google Shape;10154;p58"/>
            <p:cNvSpPr/>
            <p:nvPr/>
          </p:nvSpPr>
          <p:spPr>
            <a:xfrm>
              <a:off x="4186196" y="4351978"/>
              <a:ext cx="29500" cy="21371"/>
            </a:xfrm>
            <a:custGeom>
              <a:avLst/>
              <a:gdLst/>
              <a:ahLst/>
              <a:cxnLst/>
              <a:rect l="l" t="t" r="r" b="b"/>
              <a:pathLst>
                <a:path w="929" h="673" extrusionOk="0">
                  <a:moveTo>
                    <a:pt x="725" y="0"/>
                  </a:moveTo>
                  <a:cubicBezTo>
                    <a:pt x="692" y="0"/>
                    <a:pt x="660" y="9"/>
                    <a:pt x="631" y="30"/>
                  </a:cubicBezTo>
                  <a:lnTo>
                    <a:pt x="119" y="327"/>
                  </a:lnTo>
                  <a:cubicBezTo>
                    <a:pt x="36" y="375"/>
                    <a:pt x="0" y="494"/>
                    <a:pt x="60" y="589"/>
                  </a:cubicBezTo>
                  <a:cubicBezTo>
                    <a:pt x="95" y="649"/>
                    <a:pt x="155" y="673"/>
                    <a:pt x="226" y="673"/>
                  </a:cubicBezTo>
                  <a:cubicBezTo>
                    <a:pt x="262" y="673"/>
                    <a:pt x="286" y="661"/>
                    <a:pt x="322" y="649"/>
                  </a:cubicBezTo>
                  <a:lnTo>
                    <a:pt x="822" y="351"/>
                  </a:lnTo>
                  <a:cubicBezTo>
                    <a:pt x="893" y="292"/>
                    <a:pt x="929" y="173"/>
                    <a:pt x="881" y="89"/>
                  </a:cubicBezTo>
                  <a:cubicBezTo>
                    <a:pt x="850" y="34"/>
                    <a:pt x="787" y="0"/>
                    <a:pt x="7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155" name="Google Shape;10155;p58"/>
          <p:cNvSpPr/>
          <p:nvPr/>
        </p:nvSpPr>
        <p:spPr>
          <a:xfrm>
            <a:off x="4692054" y="4135409"/>
            <a:ext cx="344097" cy="340033"/>
          </a:xfrm>
          <a:custGeom>
            <a:avLst/>
            <a:gdLst/>
            <a:ahLst/>
            <a:cxnLst/>
            <a:rect l="l" t="t" r="r" b="b"/>
            <a:pathLst>
              <a:path w="10836" h="10708" extrusionOk="0">
                <a:moveTo>
                  <a:pt x="7677" y="328"/>
                </a:moveTo>
                <a:cubicBezTo>
                  <a:pt x="7821" y="328"/>
                  <a:pt x="7960" y="378"/>
                  <a:pt x="8061" y="480"/>
                </a:cubicBezTo>
                <a:lnTo>
                  <a:pt x="10288" y="2706"/>
                </a:lnTo>
                <a:cubicBezTo>
                  <a:pt x="10502" y="2897"/>
                  <a:pt x="10490" y="3278"/>
                  <a:pt x="10252" y="3516"/>
                </a:cubicBezTo>
                <a:cubicBezTo>
                  <a:pt x="10125" y="3643"/>
                  <a:pt x="9961" y="3709"/>
                  <a:pt x="9802" y="3709"/>
                </a:cubicBezTo>
                <a:cubicBezTo>
                  <a:pt x="9661" y="3709"/>
                  <a:pt x="9524" y="3657"/>
                  <a:pt x="9418" y="3552"/>
                </a:cubicBezTo>
                <a:lnTo>
                  <a:pt x="8264" y="2385"/>
                </a:lnTo>
                <a:cubicBezTo>
                  <a:pt x="8234" y="2355"/>
                  <a:pt x="8195" y="2340"/>
                  <a:pt x="8156" y="2340"/>
                </a:cubicBezTo>
                <a:cubicBezTo>
                  <a:pt x="8118" y="2340"/>
                  <a:pt x="8079" y="2355"/>
                  <a:pt x="8049" y="2385"/>
                </a:cubicBezTo>
                <a:cubicBezTo>
                  <a:pt x="7990" y="2444"/>
                  <a:pt x="7990" y="2540"/>
                  <a:pt x="8049" y="2599"/>
                </a:cubicBezTo>
                <a:lnTo>
                  <a:pt x="8930" y="3480"/>
                </a:lnTo>
                <a:lnTo>
                  <a:pt x="7811" y="4587"/>
                </a:lnTo>
                <a:cubicBezTo>
                  <a:pt x="7549" y="4861"/>
                  <a:pt x="7382" y="5207"/>
                  <a:pt x="7335" y="5564"/>
                </a:cubicBezTo>
                <a:cubicBezTo>
                  <a:pt x="7287" y="5921"/>
                  <a:pt x="7371" y="6290"/>
                  <a:pt x="7561" y="6588"/>
                </a:cubicBezTo>
                <a:cubicBezTo>
                  <a:pt x="7930" y="7171"/>
                  <a:pt x="7859" y="7838"/>
                  <a:pt x="7728" y="8028"/>
                </a:cubicBezTo>
                <a:cubicBezTo>
                  <a:pt x="7644" y="8016"/>
                  <a:pt x="7406" y="7897"/>
                  <a:pt x="6751" y="7350"/>
                </a:cubicBezTo>
                <a:cubicBezTo>
                  <a:pt x="6335" y="6993"/>
                  <a:pt x="5835" y="6528"/>
                  <a:pt x="5311" y="6004"/>
                </a:cubicBezTo>
                <a:lnTo>
                  <a:pt x="5204" y="5897"/>
                </a:lnTo>
                <a:lnTo>
                  <a:pt x="5180" y="5873"/>
                </a:lnTo>
                <a:cubicBezTo>
                  <a:pt x="5085" y="5778"/>
                  <a:pt x="4977" y="5695"/>
                  <a:pt x="4894" y="5588"/>
                </a:cubicBezTo>
                <a:lnTo>
                  <a:pt x="4846" y="5540"/>
                </a:lnTo>
                <a:lnTo>
                  <a:pt x="4739" y="5445"/>
                </a:lnTo>
                <a:cubicBezTo>
                  <a:pt x="4239" y="4921"/>
                  <a:pt x="3763" y="4409"/>
                  <a:pt x="3406" y="3992"/>
                </a:cubicBezTo>
                <a:cubicBezTo>
                  <a:pt x="2858" y="3337"/>
                  <a:pt x="2751" y="3099"/>
                  <a:pt x="2715" y="3028"/>
                </a:cubicBezTo>
                <a:cubicBezTo>
                  <a:pt x="2805" y="2970"/>
                  <a:pt x="2986" y="2926"/>
                  <a:pt x="3210" y="2926"/>
                </a:cubicBezTo>
                <a:cubicBezTo>
                  <a:pt x="3492" y="2926"/>
                  <a:pt x="3843" y="2995"/>
                  <a:pt x="4168" y="3194"/>
                </a:cubicBezTo>
                <a:cubicBezTo>
                  <a:pt x="4416" y="3353"/>
                  <a:pt x="4715" y="3430"/>
                  <a:pt x="5014" y="3430"/>
                </a:cubicBezTo>
                <a:cubicBezTo>
                  <a:pt x="5073" y="3430"/>
                  <a:pt x="5133" y="3427"/>
                  <a:pt x="5192" y="3421"/>
                </a:cubicBezTo>
                <a:cubicBezTo>
                  <a:pt x="5549" y="3373"/>
                  <a:pt x="5894" y="3194"/>
                  <a:pt x="6156" y="2944"/>
                </a:cubicBezTo>
                <a:lnTo>
                  <a:pt x="7275" y="1825"/>
                </a:lnTo>
                <a:lnTo>
                  <a:pt x="7359" y="1909"/>
                </a:lnTo>
                <a:cubicBezTo>
                  <a:pt x="7394" y="1938"/>
                  <a:pt x="7433" y="1953"/>
                  <a:pt x="7470" y="1953"/>
                </a:cubicBezTo>
                <a:cubicBezTo>
                  <a:pt x="7507" y="1953"/>
                  <a:pt x="7543" y="1938"/>
                  <a:pt x="7573" y="1909"/>
                </a:cubicBezTo>
                <a:cubicBezTo>
                  <a:pt x="7633" y="1849"/>
                  <a:pt x="7633" y="1766"/>
                  <a:pt x="7573" y="1706"/>
                </a:cubicBezTo>
                <a:lnTo>
                  <a:pt x="7204" y="1337"/>
                </a:lnTo>
                <a:lnTo>
                  <a:pt x="7192" y="1313"/>
                </a:lnTo>
                <a:cubicBezTo>
                  <a:pt x="7025" y="1123"/>
                  <a:pt x="7013" y="837"/>
                  <a:pt x="7144" y="635"/>
                </a:cubicBezTo>
                <a:cubicBezTo>
                  <a:pt x="7168" y="587"/>
                  <a:pt x="7204" y="539"/>
                  <a:pt x="7228" y="516"/>
                </a:cubicBezTo>
                <a:cubicBezTo>
                  <a:pt x="7353" y="390"/>
                  <a:pt x="7518" y="328"/>
                  <a:pt x="7677" y="328"/>
                </a:cubicBezTo>
                <a:close/>
                <a:moveTo>
                  <a:pt x="7667" y="0"/>
                </a:moveTo>
                <a:cubicBezTo>
                  <a:pt x="7428" y="0"/>
                  <a:pt x="7186" y="93"/>
                  <a:pt x="7001" y="277"/>
                </a:cubicBezTo>
                <a:cubicBezTo>
                  <a:pt x="6644" y="635"/>
                  <a:pt x="6632" y="1194"/>
                  <a:pt x="6978" y="1539"/>
                </a:cubicBezTo>
                <a:lnTo>
                  <a:pt x="7037" y="1599"/>
                </a:lnTo>
                <a:lnTo>
                  <a:pt x="5918" y="2718"/>
                </a:lnTo>
                <a:cubicBezTo>
                  <a:pt x="5651" y="2985"/>
                  <a:pt x="5292" y="3125"/>
                  <a:pt x="4942" y="3125"/>
                </a:cubicBezTo>
                <a:cubicBezTo>
                  <a:pt x="4715" y="3125"/>
                  <a:pt x="4491" y="3066"/>
                  <a:pt x="4299" y="2944"/>
                </a:cubicBezTo>
                <a:cubicBezTo>
                  <a:pt x="3965" y="2730"/>
                  <a:pt x="3596" y="2623"/>
                  <a:pt x="3215" y="2623"/>
                </a:cubicBezTo>
                <a:cubicBezTo>
                  <a:pt x="2882" y="2623"/>
                  <a:pt x="2584" y="2706"/>
                  <a:pt x="2453" y="2849"/>
                </a:cubicBezTo>
                <a:cubicBezTo>
                  <a:pt x="2322" y="2980"/>
                  <a:pt x="2418" y="3194"/>
                  <a:pt x="2525" y="3385"/>
                </a:cubicBezTo>
                <a:cubicBezTo>
                  <a:pt x="2632" y="3564"/>
                  <a:pt x="2810" y="3802"/>
                  <a:pt x="3049" y="4087"/>
                </a:cubicBezTo>
                <a:cubicBezTo>
                  <a:pt x="3394" y="4504"/>
                  <a:pt x="3846" y="5004"/>
                  <a:pt x="4370" y="5540"/>
                </a:cubicBezTo>
                <a:lnTo>
                  <a:pt x="3180" y="6731"/>
                </a:lnTo>
                <a:cubicBezTo>
                  <a:pt x="2763" y="7147"/>
                  <a:pt x="2346" y="7600"/>
                  <a:pt x="1965" y="8064"/>
                </a:cubicBezTo>
                <a:lnTo>
                  <a:pt x="84" y="10291"/>
                </a:lnTo>
                <a:cubicBezTo>
                  <a:pt x="1" y="10398"/>
                  <a:pt x="1" y="10541"/>
                  <a:pt x="84" y="10636"/>
                </a:cubicBezTo>
                <a:cubicBezTo>
                  <a:pt x="132" y="10683"/>
                  <a:pt x="191" y="10707"/>
                  <a:pt x="251" y="10707"/>
                </a:cubicBezTo>
                <a:cubicBezTo>
                  <a:pt x="310" y="10707"/>
                  <a:pt x="370" y="10683"/>
                  <a:pt x="429" y="10636"/>
                </a:cubicBezTo>
                <a:lnTo>
                  <a:pt x="2572" y="8850"/>
                </a:lnTo>
                <a:cubicBezTo>
                  <a:pt x="2632" y="8790"/>
                  <a:pt x="2644" y="8695"/>
                  <a:pt x="2584" y="8636"/>
                </a:cubicBezTo>
                <a:cubicBezTo>
                  <a:pt x="2552" y="8603"/>
                  <a:pt x="2512" y="8585"/>
                  <a:pt x="2472" y="8585"/>
                </a:cubicBezTo>
                <a:cubicBezTo>
                  <a:pt x="2440" y="8585"/>
                  <a:pt x="2409" y="8597"/>
                  <a:pt x="2382" y="8624"/>
                </a:cubicBezTo>
                <a:lnTo>
                  <a:pt x="739" y="9993"/>
                </a:lnTo>
                <a:lnTo>
                  <a:pt x="2191" y="8266"/>
                </a:lnTo>
                <a:cubicBezTo>
                  <a:pt x="2560" y="7826"/>
                  <a:pt x="2965" y="7374"/>
                  <a:pt x="3382" y="6957"/>
                </a:cubicBezTo>
                <a:lnTo>
                  <a:pt x="4573" y="5766"/>
                </a:lnTo>
                <a:lnTo>
                  <a:pt x="4585" y="5778"/>
                </a:lnTo>
                <a:lnTo>
                  <a:pt x="4763" y="5957"/>
                </a:lnTo>
                <a:lnTo>
                  <a:pt x="4942" y="6135"/>
                </a:lnTo>
                <a:lnTo>
                  <a:pt x="4954" y="6159"/>
                </a:lnTo>
                <a:lnTo>
                  <a:pt x="3763" y="7350"/>
                </a:lnTo>
                <a:cubicBezTo>
                  <a:pt x="3537" y="7564"/>
                  <a:pt x="3299" y="7790"/>
                  <a:pt x="3084" y="8005"/>
                </a:cubicBezTo>
                <a:cubicBezTo>
                  <a:pt x="3025" y="8064"/>
                  <a:pt x="3025" y="8147"/>
                  <a:pt x="3061" y="8207"/>
                </a:cubicBezTo>
                <a:cubicBezTo>
                  <a:pt x="3092" y="8238"/>
                  <a:pt x="3133" y="8253"/>
                  <a:pt x="3174" y="8253"/>
                </a:cubicBezTo>
                <a:cubicBezTo>
                  <a:pt x="3211" y="8253"/>
                  <a:pt x="3247" y="8241"/>
                  <a:pt x="3275" y="8219"/>
                </a:cubicBezTo>
                <a:cubicBezTo>
                  <a:pt x="3513" y="8005"/>
                  <a:pt x="3751" y="7778"/>
                  <a:pt x="3977" y="7552"/>
                </a:cubicBezTo>
                <a:lnTo>
                  <a:pt x="5168" y="6361"/>
                </a:lnTo>
                <a:cubicBezTo>
                  <a:pt x="5704" y="6885"/>
                  <a:pt x="6204" y="7350"/>
                  <a:pt x="6620" y="7683"/>
                </a:cubicBezTo>
                <a:cubicBezTo>
                  <a:pt x="6906" y="7921"/>
                  <a:pt x="7144" y="8088"/>
                  <a:pt x="7323" y="8207"/>
                </a:cubicBezTo>
                <a:cubicBezTo>
                  <a:pt x="7442" y="8278"/>
                  <a:pt x="7573" y="8362"/>
                  <a:pt x="7692" y="8362"/>
                </a:cubicBezTo>
                <a:cubicBezTo>
                  <a:pt x="7752" y="8362"/>
                  <a:pt x="7811" y="8338"/>
                  <a:pt x="7859" y="8302"/>
                </a:cubicBezTo>
                <a:cubicBezTo>
                  <a:pt x="7990" y="8159"/>
                  <a:pt x="8073" y="7862"/>
                  <a:pt x="8073" y="7540"/>
                </a:cubicBezTo>
                <a:cubicBezTo>
                  <a:pt x="8073" y="7171"/>
                  <a:pt x="7954" y="6778"/>
                  <a:pt x="7763" y="6457"/>
                </a:cubicBezTo>
                <a:cubicBezTo>
                  <a:pt x="7454" y="5957"/>
                  <a:pt x="7549" y="5278"/>
                  <a:pt x="7990" y="4826"/>
                </a:cubicBezTo>
                <a:lnTo>
                  <a:pt x="9109" y="3718"/>
                </a:lnTo>
                <a:lnTo>
                  <a:pt x="9168" y="3778"/>
                </a:lnTo>
                <a:lnTo>
                  <a:pt x="9192" y="3802"/>
                </a:lnTo>
                <a:lnTo>
                  <a:pt x="9216" y="3814"/>
                </a:lnTo>
                <a:cubicBezTo>
                  <a:pt x="9216" y="3814"/>
                  <a:pt x="9228" y="3837"/>
                  <a:pt x="9240" y="3837"/>
                </a:cubicBezTo>
                <a:cubicBezTo>
                  <a:pt x="9240" y="3837"/>
                  <a:pt x="9252" y="3837"/>
                  <a:pt x="9252" y="3849"/>
                </a:cubicBezTo>
                <a:lnTo>
                  <a:pt x="9264" y="3861"/>
                </a:lnTo>
                <a:cubicBezTo>
                  <a:pt x="9264" y="3861"/>
                  <a:pt x="9287" y="3861"/>
                  <a:pt x="9287" y="3873"/>
                </a:cubicBezTo>
                <a:lnTo>
                  <a:pt x="9299" y="3897"/>
                </a:lnTo>
                <a:cubicBezTo>
                  <a:pt x="9299" y="3897"/>
                  <a:pt x="9311" y="3897"/>
                  <a:pt x="9311" y="3909"/>
                </a:cubicBezTo>
                <a:lnTo>
                  <a:pt x="9323" y="3921"/>
                </a:lnTo>
                <a:cubicBezTo>
                  <a:pt x="9323" y="3921"/>
                  <a:pt x="9347" y="3921"/>
                  <a:pt x="9347" y="3933"/>
                </a:cubicBezTo>
                <a:lnTo>
                  <a:pt x="9359" y="3956"/>
                </a:lnTo>
                <a:cubicBezTo>
                  <a:pt x="9359" y="3956"/>
                  <a:pt x="9371" y="3956"/>
                  <a:pt x="9371" y="3968"/>
                </a:cubicBezTo>
                <a:cubicBezTo>
                  <a:pt x="9371" y="3968"/>
                  <a:pt x="9383" y="3968"/>
                  <a:pt x="9383" y="3980"/>
                </a:cubicBezTo>
                <a:cubicBezTo>
                  <a:pt x="9383" y="3980"/>
                  <a:pt x="9407" y="3980"/>
                  <a:pt x="9407" y="3992"/>
                </a:cubicBezTo>
                <a:cubicBezTo>
                  <a:pt x="9407" y="3992"/>
                  <a:pt x="9418" y="3992"/>
                  <a:pt x="9418" y="4016"/>
                </a:cubicBezTo>
                <a:lnTo>
                  <a:pt x="9430" y="4016"/>
                </a:lnTo>
                <a:cubicBezTo>
                  <a:pt x="9430" y="4016"/>
                  <a:pt x="9442" y="4016"/>
                  <a:pt x="9442" y="4028"/>
                </a:cubicBezTo>
                <a:lnTo>
                  <a:pt x="9942" y="4028"/>
                </a:lnTo>
                <a:cubicBezTo>
                  <a:pt x="9954" y="4028"/>
                  <a:pt x="9954" y="4028"/>
                  <a:pt x="9966" y="4016"/>
                </a:cubicBezTo>
                <a:lnTo>
                  <a:pt x="9978" y="4016"/>
                </a:lnTo>
                <a:cubicBezTo>
                  <a:pt x="10002" y="4016"/>
                  <a:pt x="10002" y="4016"/>
                  <a:pt x="10014" y="3992"/>
                </a:cubicBezTo>
                <a:lnTo>
                  <a:pt x="10026" y="3992"/>
                </a:lnTo>
                <a:cubicBezTo>
                  <a:pt x="10038" y="3992"/>
                  <a:pt x="10038" y="3992"/>
                  <a:pt x="10061" y="3980"/>
                </a:cubicBezTo>
                <a:cubicBezTo>
                  <a:pt x="10061" y="3980"/>
                  <a:pt x="10073" y="3980"/>
                  <a:pt x="10073" y="3968"/>
                </a:cubicBezTo>
                <a:cubicBezTo>
                  <a:pt x="10085" y="3968"/>
                  <a:pt x="10085" y="3956"/>
                  <a:pt x="10097" y="3956"/>
                </a:cubicBezTo>
                <a:cubicBezTo>
                  <a:pt x="10097" y="3956"/>
                  <a:pt x="10121" y="3956"/>
                  <a:pt x="10121" y="3933"/>
                </a:cubicBezTo>
                <a:cubicBezTo>
                  <a:pt x="10133" y="3933"/>
                  <a:pt x="10133" y="3921"/>
                  <a:pt x="10145" y="3921"/>
                </a:cubicBezTo>
                <a:cubicBezTo>
                  <a:pt x="10145" y="3921"/>
                  <a:pt x="10157" y="3921"/>
                  <a:pt x="10157" y="3909"/>
                </a:cubicBezTo>
                <a:cubicBezTo>
                  <a:pt x="10180" y="3909"/>
                  <a:pt x="10180" y="3897"/>
                  <a:pt x="10192" y="3897"/>
                </a:cubicBezTo>
                <a:cubicBezTo>
                  <a:pt x="10192" y="3897"/>
                  <a:pt x="10204" y="3897"/>
                  <a:pt x="10204" y="3873"/>
                </a:cubicBezTo>
                <a:cubicBezTo>
                  <a:pt x="10216" y="3873"/>
                  <a:pt x="10216" y="3861"/>
                  <a:pt x="10240" y="3861"/>
                </a:cubicBezTo>
                <a:cubicBezTo>
                  <a:pt x="10240" y="3861"/>
                  <a:pt x="10252" y="3861"/>
                  <a:pt x="10252" y="3849"/>
                </a:cubicBezTo>
                <a:cubicBezTo>
                  <a:pt x="10264" y="3849"/>
                  <a:pt x="10264" y="3837"/>
                  <a:pt x="10276" y="3837"/>
                </a:cubicBezTo>
                <a:cubicBezTo>
                  <a:pt x="10276" y="3837"/>
                  <a:pt x="10300" y="3837"/>
                  <a:pt x="10300" y="3814"/>
                </a:cubicBezTo>
                <a:cubicBezTo>
                  <a:pt x="10311" y="3814"/>
                  <a:pt x="10311" y="3802"/>
                  <a:pt x="10323" y="3802"/>
                </a:cubicBezTo>
                <a:cubicBezTo>
                  <a:pt x="10323" y="3802"/>
                  <a:pt x="10335" y="3802"/>
                  <a:pt x="10335" y="3790"/>
                </a:cubicBezTo>
                <a:cubicBezTo>
                  <a:pt x="10359" y="3778"/>
                  <a:pt x="10371" y="3778"/>
                  <a:pt x="10371" y="3754"/>
                </a:cubicBezTo>
                <a:cubicBezTo>
                  <a:pt x="10823" y="3373"/>
                  <a:pt x="10835" y="2802"/>
                  <a:pt x="10490" y="2468"/>
                </a:cubicBezTo>
                <a:lnTo>
                  <a:pt x="8275" y="242"/>
                </a:lnTo>
                <a:cubicBezTo>
                  <a:pt x="8109" y="81"/>
                  <a:pt x="7889" y="0"/>
                  <a:pt x="766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156" name="Google Shape;10156;p58"/>
          <p:cNvGrpSpPr/>
          <p:nvPr/>
        </p:nvGrpSpPr>
        <p:grpSpPr>
          <a:xfrm>
            <a:off x="5206262" y="4174817"/>
            <a:ext cx="397763" cy="262804"/>
            <a:chOff x="5206262" y="4174817"/>
            <a:chExt cx="397763" cy="262804"/>
          </a:xfrm>
        </p:grpSpPr>
        <p:sp>
          <p:nvSpPr>
            <p:cNvPr id="10157" name="Google Shape;10157;p58"/>
            <p:cNvSpPr/>
            <p:nvPr/>
          </p:nvSpPr>
          <p:spPr>
            <a:xfrm>
              <a:off x="5206262" y="4177104"/>
              <a:ext cx="397763" cy="260518"/>
            </a:xfrm>
            <a:custGeom>
              <a:avLst/>
              <a:gdLst/>
              <a:ahLst/>
              <a:cxnLst/>
              <a:rect l="l" t="t" r="r" b="b"/>
              <a:pathLst>
                <a:path w="12526" h="8204" extrusionOk="0">
                  <a:moveTo>
                    <a:pt x="3655" y="381"/>
                  </a:moveTo>
                  <a:cubicBezTo>
                    <a:pt x="3989" y="381"/>
                    <a:pt x="4298" y="500"/>
                    <a:pt x="4536" y="738"/>
                  </a:cubicBezTo>
                  <a:lnTo>
                    <a:pt x="7049" y="3120"/>
                  </a:lnTo>
                  <a:lnTo>
                    <a:pt x="5644" y="3120"/>
                  </a:lnTo>
                  <a:lnTo>
                    <a:pt x="3512" y="381"/>
                  </a:lnTo>
                  <a:close/>
                  <a:moveTo>
                    <a:pt x="10585" y="3477"/>
                  </a:moveTo>
                  <a:cubicBezTo>
                    <a:pt x="10882" y="3501"/>
                    <a:pt x="11156" y="3620"/>
                    <a:pt x="11382" y="3846"/>
                  </a:cubicBezTo>
                  <a:lnTo>
                    <a:pt x="11502" y="3965"/>
                  </a:lnTo>
                  <a:lnTo>
                    <a:pt x="10763" y="3965"/>
                  </a:lnTo>
                  <a:lnTo>
                    <a:pt x="10763" y="3953"/>
                  </a:lnTo>
                  <a:cubicBezTo>
                    <a:pt x="10656" y="3953"/>
                    <a:pt x="10585" y="3858"/>
                    <a:pt x="10585" y="3775"/>
                  </a:cubicBezTo>
                  <a:lnTo>
                    <a:pt x="10585" y="3477"/>
                  </a:lnTo>
                  <a:close/>
                  <a:moveTo>
                    <a:pt x="7906" y="4263"/>
                  </a:moveTo>
                  <a:lnTo>
                    <a:pt x="4536" y="7430"/>
                  </a:lnTo>
                  <a:cubicBezTo>
                    <a:pt x="4298" y="7656"/>
                    <a:pt x="3989" y="7787"/>
                    <a:pt x="3655" y="7787"/>
                  </a:cubicBezTo>
                  <a:lnTo>
                    <a:pt x="3512" y="7787"/>
                  </a:lnTo>
                  <a:lnTo>
                    <a:pt x="6263" y="4263"/>
                  </a:lnTo>
                  <a:close/>
                  <a:moveTo>
                    <a:pt x="3381" y="0"/>
                  </a:moveTo>
                  <a:cubicBezTo>
                    <a:pt x="3262" y="0"/>
                    <a:pt x="3155" y="60"/>
                    <a:pt x="3108" y="179"/>
                  </a:cubicBezTo>
                  <a:cubicBezTo>
                    <a:pt x="3060" y="286"/>
                    <a:pt x="3060" y="405"/>
                    <a:pt x="3143" y="512"/>
                  </a:cubicBezTo>
                  <a:lnTo>
                    <a:pt x="5167" y="3120"/>
                  </a:lnTo>
                  <a:lnTo>
                    <a:pt x="2512" y="3120"/>
                  </a:lnTo>
                  <a:cubicBezTo>
                    <a:pt x="2405" y="3120"/>
                    <a:pt x="2310" y="3060"/>
                    <a:pt x="2250" y="2965"/>
                  </a:cubicBezTo>
                  <a:lnTo>
                    <a:pt x="1429" y="1536"/>
                  </a:lnTo>
                  <a:cubicBezTo>
                    <a:pt x="1310" y="1334"/>
                    <a:pt x="1084" y="1215"/>
                    <a:pt x="845" y="1215"/>
                  </a:cubicBezTo>
                  <a:lnTo>
                    <a:pt x="310" y="1215"/>
                  </a:lnTo>
                  <a:cubicBezTo>
                    <a:pt x="143" y="1215"/>
                    <a:pt x="0" y="1346"/>
                    <a:pt x="0" y="1524"/>
                  </a:cubicBezTo>
                  <a:lnTo>
                    <a:pt x="0" y="4394"/>
                  </a:lnTo>
                  <a:cubicBezTo>
                    <a:pt x="0" y="4763"/>
                    <a:pt x="310" y="5084"/>
                    <a:pt x="679" y="5084"/>
                  </a:cubicBezTo>
                  <a:lnTo>
                    <a:pt x="2262" y="5084"/>
                  </a:lnTo>
                  <a:cubicBezTo>
                    <a:pt x="2369" y="5084"/>
                    <a:pt x="2441" y="4989"/>
                    <a:pt x="2441" y="4906"/>
                  </a:cubicBezTo>
                  <a:cubicBezTo>
                    <a:pt x="2441" y="4810"/>
                    <a:pt x="2346" y="4727"/>
                    <a:pt x="2262" y="4727"/>
                  </a:cubicBezTo>
                  <a:lnTo>
                    <a:pt x="679" y="4727"/>
                  </a:lnTo>
                  <a:cubicBezTo>
                    <a:pt x="500" y="4727"/>
                    <a:pt x="369" y="4572"/>
                    <a:pt x="369" y="4406"/>
                  </a:cubicBezTo>
                  <a:lnTo>
                    <a:pt x="369" y="1596"/>
                  </a:lnTo>
                  <a:lnTo>
                    <a:pt x="845" y="1596"/>
                  </a:lnTo>
                  <a:cubicBezTo>
                    <a:pt x="965" y="1596"/>
                    <a:pt x="1060" y="1655"/>
                    <a:pt x="1119" y="1750"/>
                  </a:cubicBezTo>
                  <a:lnTo>
                    <a:pt x="1929" y="3179"/>
                  </a:lnTo>
                  <a:cubicBezTo>
                    <a:pt x="2048" y="3382"/>
                    <a:pt x="2274" y="3513"/>
                    <a:pt x="2512" y="3513"/>
                  </a:cubicBezTo>
                  <a:lnTo>
                    <a:pt x="10192" y="3513"/>
                  </a:lnTo>
                  <a:lnTo>
                    <a:pt x="10192" y="3834"/>
                  </a:lnTo>
                  <a:cubicBezTo>
                    <a:pt x="10192" y="4132"/>
                    <a:pt x="10442" y="4382"/>
                    <a:pt x="10740" y="4382"/>
                  </a:cubicBezTo>
                  <a:lnTo>
                    <a:pt x="11835" y="4382"/>
                  </a:lnTo>
                  <a:lnTo>
                    <a:pt x="12049" y="4620"/>
                  </a:lnTo>
                  <a:cubicBezTo>
                    <a:pt x="12085" y="4644"/>
                    <a:pt x="12109" y="4703"/>
                    <a:pt x="12133" y="4751"/>
                  </a:cubicBezTo>
                  <a:lnTo>
                    <a:pt x="7942" y="4751"/>
                  </a:lnTo>
                  <a:lnTo>
                    <a:pt x="8454" y="4275"/>
                  </a:lnTo>
                  <a:cubicBezTo>
                    <a:pt x="8513" y="4227"/>
                    <a:pt x="8525" y="4144"/>
                    <a:pt x="8501" y="4072"/>
                  </a:cubicBezTo>
                  <a:cubicBezTo>
                    <a:pt x="8465" y="3989"/>
                    <a:pt x="8406" y="3953"/>
                    <a:pt x="8334" y="3953"/>
                  </a:cubicBezTo>
                  <a:lnTo>
                    <a:pt x="6203" y="3953"/>
                  </a:lnTo>
                  <a:cubicBezTo>
                    <a:pt x="6120" y="3953"/>
                    <a:pt x="6025" y="3989"/>
                    <a:pt x="5965" y="4072"/>
                  </a:cubicBezTo>
                  <a:lnTo>
                    <a:pt x="5441" y="4739"/>
                  </a:lnTo>
                  <a:lnTo>
                    <a:pt x="3120" y="4739"/>
                  </a:lnTo>
                  <a:cubicBezTo>
                    <a:pt x="3024" y="4739"/>
                    <a:pt x="2941" y="4822"/>
                    <a:pt x="2941" y="4918"/>
                  </a:cubicBezTo>
                  <a:cubicBezTo>
                    <a:pt x="2941" y="5001"/>
                    <a:pt x="3036" y="5096"/>
                    <a:pt x="3120" y="5096"/>
                  </a:cubicBezTo>
                  <a:lnTo>
                    <a:pt x="5167" y="5096"/>
                  </a:lnTo>
                  <a:lnTo>
                    <a:pt x="3143" y="7704"/>
                  </a:lnTo>
                  <a:cubicBezTo>
                    <a:pt x="3060" y="7787"/>
                    <a:pt x="3048" y="7918"/>
                    <a:pt x="3108" y="8025"/>
                  </a:cubicBezTo>
                  <a:cubicBezTo>
                    <a:pt x="3155" y="8132"/>
                    <a:pt x="3274" y="8204"/>
                    <a:pt x="3381" y="8204"/>
                  </a:cubicBezTo>
                  <a:lnTo>
                    <a:pt x="3643" y="8204"/>
                  </a:lnTo>
                  <a:cubicBezTo>
                    <a:pt x="4060" y="8204"/>
                    <a:pt x="4477" y="8037"/>
                    <a:pt x="4775" y="7763"/>
                  </a:cubicBezTo>
                  <a:lnTo>
                    <a:pt x="7572" y="5108"/>
                  </a:lnTo>
                  <a:lnTo>
                    <a:pt x="12252" y="5108"/>
                  </a:lnTo>
                  <a:cubicBezTo>
                    <a:pt x="12395" y="5108"/>
                    <a:pt x="12525" y="4989"/>
                    <a:pt x="12525" y="4822"/>
                  </a:cubicBezTo>
                  <a:cubicBezTo>
                    <a:pt x="12525" y="4584"/>
                    <a:pt x="12466" y="4406"/>
                    <a:pt x="12335" y="4286"/>
                  </a:cubicBezTo>
                  <a:lnTo>
                    <a:pt x="11621" y="3572"/>
                  </a:lnTo>
                  <a:cubicBezTo>
                    <a:pt x="11311" y="3263"/>
                    <a:pt x="10894" y="3096"/>
                    <a:pt x="10466" y="3096"/>
                  </a:cubicBezTo>
                  <a:lnTo>
                    <a:pt x="7572" y="3096"/>
                  </a:lnTo>
                  <a:lnTo>
                    <a:pt x="4775" y="453"/>
                  </a:lnTo>
                  <a:cubicBezTo>
                    <a:pt x="4465" y="155"/>
                    <a:pt x="4060" y="0"/>
                    <a:pt x="3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8" name="Google Shape;10158;p58"/>
            <p:cNvSpPr/>
            <p:nvPr/>
          </p:nvSpPr>
          <p:spPr>
            <a:xfrm>
              <a:off x="5434231" y="4174817"/>
              <a:ext cx="167539" cy="70369"/>
            </a:xfrm>
            <a:custGeom>
              <a:avLst/>
              <a:gdLst/>
              <a:ahLst/>
              <a:cxnLst/>
              <a:rect l="l" t="t" r="r" b="b"/>
              <a:pathLst>
                <a:path w="5276" h="2216" extrusionOk="0">
                  <a:moveTo>
                    <a:pt x="2596" y="1"/>
                  </a:moveTo>
                  <a:cubicBezTo>
                    <a:pt x="1965" y="1"/>
                    <a:pt x="1417" y="418"/>
                    <a:pt x="1251" y="1013"/>
                  </a:cubicBezTo>
                  <a:cubicBezTo>
                    <a:pt x="1179" y="1001"/>
                    <a:pt x="1108" y="1001"/>
                    <a:pt x="1048" y="1001"/>
                  </a:cubicBezTo>
                  <a:cubicBezTo>
                    <a:pt x="465" y="1001"/>
                    <a:pt x="1" y="1465"/>
                    <a:pt x="1" y="2037"/>
                  </a:cubicBezTo>
                  <a:cubicBezTo>
                    <a:pt x="24" y="2132"/>
                    <a:pt x="96" y="2203"/>
                    <a:pt x="203" y="2203"/>
                  </a:cubicBezTo>
                  <a:lnTo>
                    <a:pt x="3358" y="2203"/>
                  </a:lnTo>
                  <a:cubicBezTo>
                    <a:pt x="3465" y="2203"/>
                    <a:pt x="3537" y="2120"/>
                    <a:pt x="3537" y="2025"/>
                  </a:cubicBezTo>
                  <a:cubicBezTo>
                    <a:pt x="3537" y="1918"/>
                    <a:pt x="3441" y="1846"/>
                    <a:pt x="3358" y="1846"/>
                  </a:cubicBezTo>
                  <a:lnTo>
                    <a:pt x="405" y="1846"/>
                  </a:lnTo>
                  <a:cubicBezTo>
                    <a:pt x="489" y="1561"/>
                    <a:pt x="751" y="1358"/>
                    <a:pt x="1048" y="1358"/>
                  </a:cubicBezTo>
                  <a:cubicBezTo>
                    <a:pt x="1144" y="1358"/>
                    <a:pt x="1239" y="1370"/>
                    <a:pt x="1334" y="1418"/>
                  </a:cubicBezTo>
                  <a:cubicBezTo>
                    <a:pt x="1359" y="1428"/>
                    <a:pt x="1384" y="1431"/>
                    <a:pt x="1409" y="1431"/>
                  </a:cubicBezTo>
                  <a:cubicBezTo>
                    <a:pt x="1442" y="1431"/>
                    <a:pt x="1473" y="1425"/>
                    <a:pt x="1501" y="1418"/>
                  </a:cubicBezTo>
                  <a:cubicBezTo>
                    <a:pt x="1536" y="1382"/>
                    <a:pt x="1584" y="1346"/>
                    <a:pt x="1584" y="1287"/>
                  </a:cubicBezTo>
                  <a:cubicBezTo>
                    <a:pt x="1644" y="763"/>
                    <a:pt x="2096" y="370"/>
                    <a:pt x="2608" y="370"/>
                  </a:cubicBezTo>
                  <a:cubicBezTo>
                    <a:pt x="3084" y="370"/>
                    <a:pt x="3489" y="691"/>
                    <a:pt x="3608" y="1144"/>
                  </a:cubicBezTo>
                  <a:cubicBezTo>
                    <a:pt x="3620" y="1191"/>
                    <a:pt x="3656" y="1239"/>
                    <a:pt x="3703" y="1263"/>
                  </a:cubicBezTo>
                  <a:cubicBezTo>
                    <a:pt x="3726" y="1286"/>
                    <a:pt x="3758" y="1294"/>
                    <a:pt x="3791" y="1294"/>
                  </a:cubicBezTo>
                  <a:cubicBezTo>
                    <a:pt x="3810" y="1294"/>
                    <a:pt x="3829" y="1291"/>
                    <a:pt x="3846" y="1287"/>
                  </a:cubicBezTo>
                  <a:cubicBezTo>
                    <a:pt x="3930" y="1251"/>
                    <a:pt x="4025" y="1239"/>
                    <a:pt x="4120" y="1239"/>
                  </a:cubicBezTo>
                  <a:cubicBezTo>
                    <a:pt x="4501" y="1239"/>
                    <a:pt x="4811" y="1501"/>
                    <a:pt x="4906" y="1858"/>
                  </a:cubicBezTo>
                  <a:lnTo>
                    <a:pt x="4215" y="1858"/>
                  </a:lnTo>
                  <a:cubicBezTo>
                    <a:pt x="4120" y="1858"/>
                    <a:pt x="4037" y="1953"/>
                    <a:pt x="4037" y="2037"/>
                  </a:cubicBezTo>
                  <a:cubicBezTo>
                    <a:pt x="4037" y="2132"/>
                    <a:pt x="4132" y="2215"/>
                    <a:pt x="4215" y="2215"/>
                  </a:cubicBezTo>
                  <a:lnTo>
                    <a:pt x="5096" y="2215"/>
                  </a:lnTo>
                  <a:cubicBezTo>
                    <a:pt x="5204" y="2215"/>
                    <a:pt x="5275" y="2132"/>
                    <a:pt x="5275" y="2037"/>
                  </a:cubicBezTo>
                  <a:cubicBezTo>
                    <a:pt x="5275" y="1406"/>
                    <a:pt x="4751" y="870"/>
                    <a:pt x="4096" y="870"/>
                  </a:cubicBezTo>
                  <a:cubicBezTo>
                    <a:pt x="4025" y="870"/>
                    <a:pt x="3965" y="870"/>
                    <a:pt x="3894" y="882"/>
                  </a:cubicBezTo>
                  <a:cubicBezTo>
                    <a:pt x="3680" y="358"/>
                    <a:pt x="3180" y="1"/>
                    <a:pt x="2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9" name="Google Shape;10159;p58"/>
            <p:cNvSpPr/>
            <p:nvPr/>
          </p:nvSpPr>
          <p:spPr>
            <a:xfrm>
              <a:off x="536087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96" y="0"/>
                    <a:pt x="1" y="95"/>
                    <a:pt x="1" y="238"/>
                  </a:cubicBezTo>
                  <a:cubicBezTo>
                    <a:pt x="1" y="369"/>
                    <a:pt x="96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0" name="Google Shape;10160;p58"/>
            <p:cNvSpPr/>
            <p:nvPr/>
          </p:nvSpPr>
          <p:spPr>
            <a:xfrm>
              <a:off x="5329503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95"/>
                    <a:pt x="1" y="238"/>
                  </a:cubicBezTo>
                  <a:cubicBezTo>
                    <a:pt x="1" y="369"/>
                    <a:pt x="108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1" name="Google Shape;10161;p58"/>
            <p:cNvSpPr/>
            <p:nvPr/>
          </p:nvSpPr>
          <p:spPr>
            <a:xfrm>
              <a:off x="5298511" y="4299202"/>
              <a:ext cx="14766" cy="15179"/>
            </a:xfrm>
            <a:custGeom>
              <a:avLst/>
              <a:gdLst/>
              <a:ahLst/>
              <a:cxnLst/>
              <a:rect l="l" t="t" r="r" b="b"/>
              <a:pathLst>
                <a:path w="465" h="478" extrusionOk="0">
                  <a:moveTo>
                    <a:pt x="238" y="1"/>
                  </a:moveTo>
                  <a:cubicBezTo>
                    <a:pt x="95" y="1"/>
                    <a:pt x="0" y="108"/>
                    <a:pt x="0" y="239"/>
                  </a:cubicBezTo>
                  <a:cubicBezTo>
                    <a:pt x="0" y="370"/>
                    <a:pt x="95" y="477"/>
                    <a:pt x="238" y="477"/>
                  </a:cubicBezTo>
                  <a:cubicBezTo>
                    <a:pt x="369" y="477"/>
                    <a:pt x="465" y="370"/>
                    <a:pt x="465" y="239"/>
                  </a:cubicBezTo>
                  <a:cubicBezTo>
                    <a:pt x="465" y="108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2" name="Google Shape;10162;p58"/>
            <p:cNvSpPr/>
            <p:nvPr/>
          </p:nvSpPr>
          <p:spPr>
            <a:xfrm>
              <a:off x="526713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69" y="476"/>
                    <a:pt x="476" y="369"/>
                    <a:pt x="476" y="238"/>
                  </a:cubicBezTo>
                  <a:cubicBezTo>
                    <a:pt x="476" y="95"/>
                    <a:pt x="369" y="0"/>
                    <a:pt x="2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3" name="Google Shape;10163;p58"/>
            <p:cNvSpPr/>
            <p:nvPr/>
          </p:nvSpPr>
          <p:spPr>
            <a:xfrm>
              <a:off x="5492470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81" y="476"/>
                    <a:pt x="476" y="381"/>
                    <a:pt x="476" y="238"/>
                  </a:cubicBezTo>
                  <a:cubicBezTo>
                    <a:pt x="476" y="95"/>
                    <a:pt x="381" y="0"/>
                    <a:pt x="2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64" name="Google Shape;10164;p58"/>
          <p:cNvGrpSpPr/>
          <p:nvPr/>
        </p:nvGrpSpPr>
        <p:grpSpPr>
          <a:xfrm>
            <a:off x="5727616" y="4204699"/>
            <a:ext cx="440505" cy="290018"/>
            <a:chOff x="5727616" y="4204699"/>
            <a:chExt cx="440505" cy="290018"/>
          </a:xfrm>
        </p:grpSpPr>
        <p:sp>
          <p:nvSpPr>
            <p:cNvPr id="10165" name="Google Shape;10165;p58"/>
            <p:cNvSpPr/>
            <p:nvPr/>
          </p:nvSpPr>
          <p:spPr>
            <a:xfrm>
              <a:off x="5727616" y="4204699"/>
              <a:ext cx="440505" cy="290018"/>
            </a:xfrm>
            <a:custGeom>
              <a:avLst/>
              <a:gdLst/>
              <a:ahLst/>
              <a:cxnLst/>
              <a:rect l="l" t="t" r="r" b="b"/>
              <a:pathLst>
                <a:path w="13872" h="9133" extrusionOk="0">
                  <a:moveTo>
                    <a:pt x="13145" y="4465"/>
                  </a:moveTo>
                  <a:lnTo>
                    <a:pt x="13145" y="4870"/>
                  </a:lnTo>
                  <a:lnTo>
                    <a:pt x="12752" y="4870"/>
                  </a:lnTo>
                  <a:lnTo>
                    <a:pt x="12752" y="4465"/>
                  </a:lnTo>
                  <a:close/>
                  <a:moveTo>
                    <a:pt x="1275" y="3941"/>
                  </a:moveTo>
                  <a:lnTo>
                    <a:pt x="1275" y="4430"/>
                  </a:lnTo>
                  <a:cubicBezTo>
                    <a:pt x="1275" y="4775"/>
                    <a:pt x="1013" y="5049"/>
                    <a:pt x="668" y="5049"/>
                  </a:cubicBezTo>
                  <a:lnTo>
                    <a:pt x="418" y="5049"/>
                  </a:lnTo>
                  <a:cubicBezTo>
                    <a:pt x="501" y="4549"/>
                    <a:pt x="810" y="4120"/>
                    <a:pt x="1275" y="3941"/>
                  </a:cubicBezTo>
                  <a:close/>
                  <a:moveTo>
                    <a:pt x="9121" y="417"/>
                  </a:moveTo>
                  <a:cubicBezTo>
                    <a:pt x="9562" y="417"/>
                    <a:pt x="9978" y="620"/>
                    <a:pt x="10252" y="977"/>
                  </a:cubicBezTo>
                  <a:lnTo>
                    <a:pt x="12205" y="3584"/>
                  </a:lnTo>
                  <a:cubicBezTo>
                    <a:pt x="12240" y="3632"/>
                    <a:pt x="12300" y="3656"/>
                    <a:pt x="12360" y="3656"/>
                  </a:cubicBezTo>
                  <a:lnTo>
                    <a:pt x="13312" y="3656"/>
                  </a:lnTo>
                  <a:cubicBezTo>
                    <a:pt x="13431" y="3656"/>
                    <a:pt x="13514" y="3775"/>
                    <a:pt x="13467" y="3882"/>
                  </a:cubicBezTo>
                  <a:lnTo>
                    <a:pt x="13372" y="4060"/>
                  </a:lnTo>
                  <a:lnTo>
                    <a:pt x="12574" y="4060"/>
                  </a:lnTo>
                  <a:cubicBezTo>
                    <a:pt x="12455" y="4060"/>
                    <a:pt x="12360" y="4156"/>
                    <a:pt x="12360" y="4275"/>
                  </a:cubicBezTo>
                  <a:lnTo>
                    <a:pt x="12360" y="5084"/>
                  </a:lnTo>
                  <a:cubicBezTo>
                    <a:pt x="12360" y="5203"/>
                    <a:pt x="12455" y="5299"/>
                    <a:pt x="12574" y="5299"/>
                  </a:cubicBezTo>
                  <a:lnTo>
                    <a:pt x="13181" y="5299"/>
                  </a:lnTo>
                  <a:lnTo>
                    <a:pt x="13181" y="5596"/>
                  </a:lnTo>
                  <a:cubicBezTo>
                    <a:pt x="13181" y="5787"/>
                    <a:pt x="13252" y="5977"/>
                    <a:pt x="13395" y="6096"/>
                  </a:cubicBezTo>
                  <a:cubicBezTo>
                    <a:pt x="13455" y="6156"/>
                    <a:pt x="13479" y="6227"/>
                    <a:pt x="13479" y="6323"/>
                  </a:cubicBezTo>
                  <a:lnTo>
                    <a:pt x="13479" y="6692"/>
                  </a:lnTo>
                  <a:lnTo>
                    <a:pt x="13443" y="6692"/>
                  </a:lnTo>
                  <a:cubicBezTo>
                    <a:pt x="13443" y="7037"/>
                    <a:pt x="13181" y="7311"/>
                    <a:pt x="12836" y="7311"/>
                  </a:cubicBezTo>
                  <a:lnTo>
                    <a:pt x="12526" y="7311"/>
                  </a:lnTo>
                  <a:cubicBezTo>
                    <a:pt x="12419" y="6501"/>
                    <a:pt x="11740" y="5894"/>
                    <a:pt x="10919" y="5894"/>
                  </a:cubicBezTo>
                  <a:cubicBezTo>
                    <a:pt x="10097" y="5894"/>
                    <a:pt x="9419" y="6513"/>
                    <a:pt x="9312" y="7311"/>
                  </a:cubicBezTo>
                  <a:lnTo>
                    <a:pt x="4061" y="7311"/>
                  </a:lnTo>
                  <a:cubicBezTo>
                    <a:pt x="3954" y="6501"/>
                    <a:pt x="3275" y="5894"/>
                    <a:pt x="2454" y="5894"/>
                  </a:cubicBezTo>
                  <a:cubicBezTo>
                    <a:pt x="1632" y="5894"/>
                    <a:pt x="965" y="6501"/>
                    <a:pt x="846" y="7275"/>
                  </a:cubicBezTo>
                  <a:cubicBezTo>
                    <a:pt x="608" y="7204"/>
                    <a:pt x="429" y="6966"/>
                    <a:pt x="429" y="6692"/>
                  </a:cubicBezTo>
                  <a:lnTo>
                    <a:pt x="429" y="5465"/>
                  </a:lnTo>
                  <a:lnTo>
                    <a:pt x="691" y="5465"/>
                  </a:lnTo>
                  <a:cubicBezTo>
                    <a:pt x="1263" y="5465"/>
                    <a:pt x="1703" y="5001"/>
                    <a:pt x="1703" y="4453"/>
                  </a:cubicBezTo>
                  <a:lnTo>
                    <a:pt x="1703" y="3822"/>
                  </a:lnTo>
                  <a:lnTo>
                    <a:pt x="2406" y="3644"/>
                  </a:lnTo>
                  <a:cubicBezTo>
                    <a:pt x="2465" y="3632"/>
                    <a:pt x="2513" y="3596"/>
                    <a:pt x="2525" y="3560"/>
                  </a:cubicBezTo>
                  <a:lnTo>
                    <a:pt x="3954" y="1120"/>
                  </a:lnTo>
                  <a:cubicBezTo>
                    <a:pt x="4204" y="679"/>
                    <a:pt x="4680" y="417"/>
                    <a:pt x="5180" y="417"/>
                  </a:cubicBezTo>
                  <a:close/>
                  <a:moveTo>
                    <a:pt x="2430" y="6275"/>
                  </a:moveTo>
                  <a:cubicBezTo>
                    <a:pt x="3108" y="6275"/>
                    <a:pt x="3656" y="6823"/>
                    <a:pt x="3656" y="7501"/>
                  </a:cubicBezTo>
                  <a:cubicBezTo>
                    <a:pt x="3656" y="8168"/>
                    <a:pt x="3108" y="8716"/>
                    <a:pt x="2430" y="8716"/>
                  </a:cubicBezTo>
                  <a:cubicBezTo>
                    <a:pt x="1763" y="8716"/>
                    <a:pt x="1215" y="8168"/>
                    <a:pt x="1215" y="7501"/>
                  </a:cubicBezTo>
                  <a:cubicBezTo>
                    <a:pt x="1215" y="6823"/>
                    <a:pt x="1763" y="6275"/>
                    <a:pt x="2430" y="6275"/>
                  </a:cubicBezTo>
                  <a:close/>
                  <a:moveTo>
                    <a:pt x="10919" y="6275"/>
                  </a:moveTo>
                  <a:cubicBezTo>
                    <a:pt x="11586" y="6275"/>
                    <a:pt x="12145" y="6823"/>
                    <a:pt x="12145" y="7501"/>
                  </a:cubicBezTo>
                  <a:cubicBezTo>
                    <a:pt x="12145" y="8168"/>
                    <a:pt x="11586" y="8716"/>
                    <a:pt x="10919" y="8716"/>
                  </a:cubicBezTo>
                  <a:cubicBezTo>
                    <a:pt x="10252" y="8716"/>
                    <a:pt x="9693" y="8168"/>
                    <a:pt x="9693" y="7501"/>
                  </a:cubicBezTo>
                  <a:cubicBezTo>
                    <a:pt x="9693" y="6823"/>
                    <a:pt x="10252" y="6275"/>
                    <a:pt x="10919" y="6275"/>
                  </a:cubicBezTo>
                  <a:close/>
                  <a:moveTo>
                    <a:pt x="5144" y="0"/>
                  </a:moveTo>
                  <a:cubicBezTo>
                    <a:pt x="4501" y="0"/>
                    <a:pt x="3894" y="334"/>
                    <a:pt x="3573" y="905"/>
                  </a:cubicBezTo>
                  <a:lnTo>
                    <a:pt x="2180" y="3275"/>
                  </a:lnTo>
                  <a:lnTo>
                    <a:pt x="1430" y="3465"/>
                  </a:lnTo>
                  <a:cubicBezTo>
                    <a:pt x="489" y="3703"/>
                    <a:pt x="1" y="4477"/>
                    <a:pt x="1" y="5251"/>
                  </a:cubicBezTo>
                  <a:lnTo>
                    <a:pt x="1" y="6692"/>
                  </a:lnTo>
                  <a:cubicBezTo>
                    <a:pt x="1" y="7180"/>
                    <a:pt x="358" y="7608"/>
                    <a:pt x="810" y="7692"/>
                  </a:cubicBezTo>
                  <a:cubicBezTo>
                    <a:pt x="906" y="8501"/>
                    <a:pt x="1584" y="9132"/>
                    <a:pt x="2418" y="9132"/>
                  </a:cubicBezTo>
                  <a:cubicBezTo>
                    <a:pt x="3251" y="9132"/>
                    <a:pt x="3930" y="8513"/>
                    <a:pt x="4025" y="7728"/>
                  </a:cubicBezTo>
                  <a:lnTo>
                    <a:pt x="9300" y="7728"/>
                  </a:lnTo>
                  <a:cubicBezTo>
                    <a:pt x="9407" y="8525"/>
                    <a:pt x="10085" y="9132"/>
                    <a:pt x="10907" y="9132"/>
                  </a:cubicBezTo>
                  <a:cubicBezTo>
                    <a:pt x="11740" y="9132"/>
                    <a:pt x="12407" y="8513"/>
                    <a:pt x="12514" y="7728"/>
                  </a:cubicBezTo>
                  <a:lnTo>
                    <a:pt x="12824" y="7728"/>
                  </a:lnTo>
                  <a:cubicBezTo>
                    <a:pt x="13395" y="7728"/>
                    <a:pt x="13836" y="7263"/>
                    <a:pt x="13836" y="6716"/>
                  </a:cubicBezTo>
                  <a:lnTo>
                    <a:pt x="13836" y="6299"/>
                  </a:lnTo>
                  <a:cubicBezTo>
                    <a:pt x="13848" y="6096"/>
                    <a:pt x="13776" y="5918"/>
                    <a:pt x="13645" y="5787"/>
                  </a:cubicBezTo>
                  <a:cubicBezTo>
                    <a:pt x="13586" y="5727"/>
                    <a:pt x="13550" y="5656"/>
                    <a:pt x="13550" y="5561"/>
                  </a:cubicBezTo>
                  <a:lnTo>
                    <a:pt x="13550" y="4572"/>
                  </a:lnTo>
                  <a:lnTo>
                    <a:pt x="13788" y="4037"/>
                  </a:lnTo>
                  <a:cubicBezTo>
                    <a:pt x="13872" y="3846"/>
                    <a:pt x="13872" y="3656"/>
                    <a:pt x="13764" y="3501"/>
                  </a:cubicBezTo>
                  <a:cubicBezTo>
                    <a:pt x="13657" y="3334"/>
                    <a:pt x="13479" y="3239"/>
                    <a:pt x="13288" y="3239"/>
                  </a:cubicBezTo>
                  <a:lnTo>
                    <a:pt x="12443" y="3239"/>
                  </a:lnTo>
                  <a:lnTo>
                    <a:pt x="10550" y="727"/>
                  </a:lnTo>
                  <a:cubicBezTo>
                    <a:pt x="10204" y="262"/>
                    <a:pt x="9657" y="0"/>
                    <a:pt x="90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6" name="Google Shape;10166;p58"/>
            <p:cNvSpPr/>
            <p:nvPr/>
          </p:nvSpPr>
          <p:spPr>
            <a:xfrm>
              <a:off x="5779789" y="4416409"/>
              <a:ext cx="52205" cy="51475"/>
            </a:xfrm>
            <a:custGeom>
              <a:avLst/>
              <a:gdLst/>
              <a:ahLst/>
              <a:cxnLst/>
              <a:rect l="l" t="t" r="r" b="b"/>
              <a:pathLst>
                <a:path w="1644" h="1621" extrusionOk="0">
                  <a:moveTo>
                    <a:pt x="811" y="1"/>
                  </a:moveTo>
                  <a:cubicBezTo>
                    <a:pt x="584" y="1"/>
                    <a:pt x="394" y="84"/>
                    <a:pt x="239" y="239"/>
                  </a:cubicBezTo>
                  <a:cubicBezTo>
                    <a:pt x="96" y="382"/>
                    <a:pt x="1" y="596"/>
                    <a:pt x="1" y="799"/>
                  </a:cubicBezTo>
                  <a:cubicBezTo>
                    <a:pt x="1" y="1263"/>
                    <a:pt x="382" y="1620"/>
                    <a:pt x="822" y="1620"/>
                  </a:cubicBezTo>
                  <a:cubicBezTo>
                    <a:pt x="1275" y="1620"/>
                    <a:pt x="1644" y="1263"/>
                    <a:pt x="1644" y="799"/>
                  </a:cubicBezTo>
                  <a:cubicBezTo>
                    <a:pt x="1644" y="739"/>
                    <a:pt x="1632" y="668"/>
                    <a:pt x="1608" y="608"/>
                  </a:cubicBezTo>
                  <a:cubicBezTo>
                    <a:pt x="1557" y="546"/>
                    <a:pt x="1478" y="484"/>
                    <a:pt x="1389" y="484"/>
                  </a:cubicBezTo>
                  <a:cubicBezTo>
                    <a:pt x="1375" y="484"/>
                    <a:pt x="1361" y="486"/>
                    <a:pt x="1346" y="489"/>
                  </a:cubicBezTo>
                  <a:cubicBezTo>
                    <a:pt x="1239" y="525"/>
                    <a:pt x="1168" y="620"/>
                    <a:pt x="1192" y="727"/>
                  </a:cubicBezTo>
                  <a:cubicBezTo>
                    <a:pt x="1203" y="763"/>
                    <a:pt x="1203" y="787"/>
                    <a:pt x="1203" y="822"/>
                  </a:cubicBezTo>
                  <a:cubicBezTo>
                    <a:pt x="1203" y="1037"/>
                    <a:pt x="1025" y="1215"/>
                    <a:pt x="811" y="1215"/>
                  </a:cubicBezTo>
                  <a:cubicBezTo>
                    <a:pt x="584" y="1215"/>
                    <a:pt x="406" y="1037"/>
                    <a:pt x="406" y="822"/>
                  </a:cubicBezTo>
                  <a:cubicBezTo>
                    <a:pt x="406" y="596"/>
                    <a:pt x="584" y="418"/>
                    <a:pt x="811" y="418"/>
                  </a:cubicBezTo>
                  <a:cubicBezTo>
                    <a:pt x="930" y="418"/>
                    <a:pt x="1013" y="322"/>
                    <a:pt x="1013" y="203"/>
                  </a:cubicBezTo>
                  <a:cubicBezTo>
                    <a:pt x="1013" y="84"/>
                    <a:pt x="930" y="1"/>
                    <a:pt x="8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7" name="Google Shape;10167;p58"/>
            <p:cNvSpPr/>
            <p:nvPr/>
          </p:nvSpPr>
          <p:spPr>
            <a:xfrm>
              <a:off x="6048627" y="4416409"/>
              <a:ext cx="52205" cy="51856"/>
            </a:xfrm>
            <a:custGeom>
              <a:avLst/>
              <a:gdLst/>
              <a:ahLst/>
              <a:cxnLst/>
              <a:rect l="l" t="t" r="r" b="b"/>
              <a:pathLst>
                <a:path w="1644" h="1633" extrusionOk="0">
                  <a:moveTo>
                    <a:pt x="822" y="1"/>
                  </a:moveTo>
                  <a:cubicBezTo>
                    <a:pt x="596" y="1"/>
                    <a:pt x="405" y="84"/>
                    <a:pt x="238" y="239"/>
                  </a:cubicBezTo>
                  <a:cubicBezTo>
                    <a:pt x="95" y="382"/>
                    <a:pt x="0" y="596"/>
                    <a:pt x="0" y="822"/>
                  </a:cubicBezTo>
                  <a:cubicBezTo>
                    <a:pt x="0" y="1263"/>
                    <a:pt x="381" y="1632"/>
                    <a:pt x="822" y="1632"/>
                  </a:cubicBezTo>
                  <a:cubicBezTo>
                    <a:pt x="1274" y="1632"/>
                    <a:pt x="1643" y="1275"/>
                    <a:pt x="1643" y="822"/>
                  </a:cubicBezTo>
                  <a:cubicBezTo>
                    <a:pt x="1643" y="763"/>
                    <a:pt x="1631" y="680"/>
                    <a:pt x="1608" y="620"/>
                  </a:cubicBezTo>
                  <a:cubicBezTo>
                    <a:pt x="1577" y="548"/>
                    <a:pt x="1492" y="484"/>
                    <a:pt x="1400" y="484"/>
                  </a:cubicBezTo>
                  <a:cubicBezTo>
                    <a:pt x="1386" y="484"/>
                    <a:pt x="1372" y="486"/>
                    <a:pt x="1358" y="489"/>
                  </a:cubicBezTo>
                  <a:cubicBezTo>
                    <a:pt x="1250" y="525"/>
                    <a:pt x="1179" y="620"/>
                    <a:pt x="1215" y="727"/>
                  </a:cubicBezTo>
                  <a:cubicBezTo>
                    <a:pt x="1227" y="763"/>
                    <a:pt x="1227" y="787"/>
                    <a:pt x="1227" y="822"/>
                  </a:cubicBezTo>
                  <a:cubicBezTo>
                    <a:pt x="1227" y="1037"/>
                    <a:pt x="1048" y="1215"/>
                    <a:pt x="822" y="1215"/>
                  </a:cubicBezTo>
                  <a:cubicBezTo>
                    <a:pt x="596" y="1215"/>
                    <a:pt x="417" y="1037"/>
                    <a:pt x="417" y="822"/>
                  </a:cubicBezTo>
                  <a:cubicBezTo>
                    <a:pt x="417" y="596"/>
                    <a:pt x="596" y="418"/>
                    <a:pt x="822" y="418"/>
                  </a:cubicBezTo>
                  <a:cubicBezTo>
                    <a:pt x="941" y="418"/>
                    <a:pt x="1036" y="322"/>
                    <a:pt x="1036" y="203"/>
                  </a:cubicBezTo>
                  <a:cubicBezTo>
                    <a:pt x="1036" y="84"/>
                    <a:pt x="941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8" name="Google Shape;10168;p58"/>
            <p:cNvSpPr/>
            <p:nvPr/>
          </p:nvSpPr>
          <p:spPr>
            <a:xfrm>
              <a:off x="6000995" y="4365379"/>
              <a:ext cx="122892" cy="58016"/>
            </a:xfrm>
            <a:custGeom>
              <a:avLst/>
              <a:gdLst/>
              <a:ahLst/>
              <a:cxnLst/>
              <a:rect l="l" t="t" r="r" b="b"/>
              <a:pathLst>
                <a:path w="3870" h="1827" extrusionOk="0">
                  <a:moveTo>
                    <a:pt x="2310" y="1"/>
                  </a:moveTo>
                  <a:cubicBezTo>
                    <a:pt x="1810" y="1"/>
                    <a:pt x="1334" y="143"/>
                    <a:pt x="929" y="429"/>
                  </a:cubicBezTo>
                  <a:cubicBezTo>
                    <a:pt x="524" y="715"/>
                    <a:pt x="226" y="1096"/>
                    <a:pt x="48" y="1548"/>
                  </a:cubicBezTo>
                  <a:cubicBezTo>
                    <a:pt x="0" y="1656"/>
                    <a:pt x="60" y="1775"/>
                    <a:pt x="167" y="1810"/>
                  </a:cubicBezTo>
                  <a:cubicBezTo>
                    <a:pt x="192" y="1822"/>
                    <a:pt x="218" y="1827"/>
                    <a:pt x="244" y="1827"/>
                  </a:cubicBezTo>
                  <a:cubicBezTo>
                    <a:pt x="326" y="1827"/>
                    <a:pt x="404" y="1773"/>
                    <a:pt x="441" y="1691"/>
                  </a:cubicBezTo>
                  <a:cubicBezTo>
                    <a:pt x="738" y="917"/>
                    <a:pt x="1488" y="405"/>
                    <a:pt x="2322" y="405"/>
                  </a:cubicBezTo>
                  <a:cubicBezTo>
                    <a:pt x="2774" y="405"/>
                    <a:pt x="3191" y="536"/>
                    <a:pt x="3548" y="798"/>
                  </a:cubicBezTo>
                  <a:cubicBezTo>
                    <a:pt x="3581" y="831"/>
                    <a:pt x="3624" y="846"/>
                    <a:pt x="3667" y="846"/>
                  </a:cubicBezTo>
                  <a:cubicBezTo>
                    <a:pt x="3732" y="846"/>
                    <a:pt x="3798" y="813"/>
                    <a:pt x="3834" y="763"/>
                  </a:cubicBezTo>
                  <a:cubicBezTo>
                    <a:pt x="3870" y="679"/>
                    <a:pt x="3858" y="560"/>
                    <a:pt x="3774" y="489"/>
                  </a:cubicBezTo>
                  <a:cubicBezTo>
                    <a:pt x="3334" y="179"/>
                    <a:pt x="2846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9" name="Google Shape;10169;p58"/>
            <p:cNvSpPr/>
            <p:nvPr/>
          </p:nvSpPr>
          <p:spPr>
            <a:xfrm>
              <a:off x="5816847" y="4230039"/>
              <a:ext cx="124797" cy="193610"/>
            </a:xfrm>
            <a:custGeom>
              <a:avLst/>
              <a:gdLst/>
              <a:ahLst/>
              <a:cxnLst/>
              <a:rect l="l" t="t" r="r" b="b"/>
              <a:pathLst>
                <a:path w="3930" h="6097" extrusionOk="0">
                  <a:moveTo>
                    <a:pt x="3513" y="417"/>
                  </a:moveTo>
                  <a:lnTo>
                    <a:pt x="3513" y="2441"/>
                  </a:lnTo>
                  <a:lnTo>
                    <a:pt x="822" y="2441"/>
                  </a:lnTo>
                  <a:lnTo>
                    <a:pt x="1834" y="714"/>
                  </a:lnTo>
                  <a:cubicBezTo>
                    <a:pt x="1930" y="524"/>
                    <a:pt x="2144" y="417"/>
                    <a:pt x="2346" y="417"/>
                  </a:cubicBezTo>
                  <a:close/>
                  <a:moveTo>
                    <a:pt x="2346" y="0"/>
                  </a:moveTo>
                  <a:cubicBezTo>
                    <a:pt x="1989" y="0"/>
                    <a:pt x="1644" y="203"/>
                    <a:pt x="1465" y="512"/>
                  </a:cubicBezTo>
                  <a:lnTo>
                    <a:pt x="60" y="2917"/>
                  </a:lnTo>
                  <a:cubicBezTo>
                    <a:pt x="1" y="3024"/>
                    <a:pt x="25" y="3143"/>
                    <a:pt x="132" y="3203"/>
                  </a:cubicBezTo>
                  <a:cubicBezTo>
                    <a:pt x="155" y="3215"/>
                    <a:pt x="203" y="3239"/>
                    <a:pt x="239" y="3239"/>
                  </a:cubicBezTo>
                  <a:cubicBezTo>
                    <a:pt x="310" y="3239"/>
                    <a:pt x="370" y="3203"/>
                    <a:pt x="417" y="3131"/>
                  </a:cubicBezTo>
                  <a:lnTo>
                    <a:pt x="572" y="2846"/>
                  </a:lnTo>
                  <a:lnTo>
                    <a:pt x="3513" y="2846"/>
                  </a:lnTo>
                  <a:lnTo>
                    <a:pt x="3513" y="5882"/>
                  </a:lnTo>
                  <a:cubicBezTo>
                    <a:pt x="3513" y="6001"/>
                    <a:pt x="3596" y="6096"/>
                    <a:pt x="3715" y="6096"/>
                  </a:cubicBezTo>
                  <a:cubicBezTo>
                    <a:pt x="3835" y="6096"/>
                    <a:pt x="3930" y="6001"/>
                    <a:pt x="3930" y="5882"/>
                  </a:cubicBezTo>
                  <a:lnTo>
                    <a:pt x="3930" y="203"/>
                  </a:lnTo>
                  <a:cubicBezTo>
                    <a:pt x="3918" y="95"/>
                    <a:pt x="3823" y="0"/>
                    <a:pt x="3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0" name="Google Shape;10170;p58"/>
            <p:cNvSpPr/>
            <p:nvPr/>
          </p:nvSpPr>
          <p:spPr>
            <a:xfrm>
              <a:off x="5954474" y="4230039"/>
              <a:ext cx="120256" cy="102854"/>
            </a:xfrm>
            <a:custGeom>
              <a:avLst/>
              <a:gdLst/>
              <a:ahLst/>
              <a:cxnLst/>
              <a:rect l="l" t="t" r="r" b="b"/>
              <a:pathLst>
                <a:path w="3787" h="3239" extrusionOk="0">
                  <a:moveTo>
                    <a:pt x="203" y="0"/>
                  </a:moveTo>
                  <a:cubicBezTo>
                    <a:pt x="84" y="0"/>
                    <a:pt x="1" y="95"/>
                    <a:pt x="1" y="214"/>
                  </a:cubicBezTo>
                  <a:lnTo>
                    <a:pt x="1" y="3024"/>
                  </a:lnTo>
                  <a:cubicBezTo>
                    <a:pt x="1" y="3143"/>
                    <a:pt x="84" y="3239"/>
                    <a:pt x="203" y="3239"/>
                  </a:cubicBezTo>
                  <a:cubicBezTo>
                    <a:pt x="322" y="3239"/>
                    <a:pt x="417" y="3143"/>
                    <a:pt x="417" y="3024"/>
                  </a:cubicBezTo>
                  <a:lnTo>
                    <a:pt x="417" y="405"/>
                  </a:lnTo>
                  <a:lnTo>
                    <a:pt x="1977" y="405"/>
                  </a:lnTo>
                  <a:cubicBezTo>
                    <a:pt x="2132" y="405"/>
                    <a:pt x="2322" y="512"/>
                    <a:pt x="2429" y="655"/>
                  </a:cubicBezTo>
                  <a:lnTo>
                    <a:pt x="3287" y="1786"/>
                  </a:lnTo>
                  <a:cubicBezTo>
                    <a:pt x="3346" y="1869"/>
                    <a:pt x="3358" y="1941"/>
                    <a:pt x="3358" y="2024"/>
                  </a:cubicBezTo>
                  <a:cubicBezTo>
                    <a:pt x="3358" y="2250"/>
                    <a:pt x="3180" y="2429"/>
                    <a:pt x="2953" y="2429"/>
                  </a:cubicBezTo>
                  <a:lnTo>
                    <a:pt x="1013" y="2429"/>
                  </a:lnTo>
                  <a:cubicBezTo>
                    <a:pt x="894" y="2429"/>
                    <a:pt x="798" y="2524"/>
                    <a:pt x="798" y="2643"/>
                  </a:cubicBezTo>
                  <a:cubicBezTo>
                    <a:pt x="798" y="2762"/>
                    <a:pt x="882" y="2846"/>
                    <a:pt x="1013" y="2846"/>
                  </a:cubicBezTo>
                  <a:lnTo>
                    <a:pt x="2977" y="2846"/>
                  </a:lnTo>
                  <a:cubicBezTo>
                    <a:pt x="3418" y="2846"/>
                    <a:pt x="3787" y="2489"/>
                    <a:pt x="3787" y="2024"/>
                  </a:cubicBezTo>
                  <a:cubicBezTo>
                    <a:pt x="3787" y="1846"/>
                    <a:pt x="3727" y="1691"/>
                    <a:pt x="3632" y="1536"/>
                  </a:cubicBezTo>
                  <a:lnTo>
                    <a:pt x="2775" y="405"/>
                  </a:lnTo>
                  <a:cubicBezTo>
                    <a:pt x="2584" y="155"/>
                    <a:pt x="2287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1" name="Google Shape;10171;p58"/>
            <p:cNvSpPr/>
            <p:nvPr/>
          </p:nvSpPr>
          <p:spPr>
            <a:xfrm>
              <a:off x="5876198" y="4333243"/>
              <a:ext cx="39376" cy="13274"/>
            </a:xfrm>
            <a:custGeom>
              <a:avLst/>
              <a:gdLst/>
              <a:ahLst/>
              <a:cxnLst/>
              <a:rect l="l" t="t" r="r" b="b"/>
              <a:pathLst>
                <a:path w="1240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7"/>
                    <a:pt x="215" y="417"/>
                  </a:cubicBezTo>
                  <a:lnTo>
                    <a:pt x="1025" y="417"/>
                  </a:lnTo>
                  <a:cubicBezTo>
                    <a:pt x="1144" y="417"/>
                    <a:pt x="1239" y="322"/>
                    <a:pt x="1239" y="203"/>
                  </a:cubicBezTo>
                  <a:cubicBezTo>
                    <a:pt x="1239" y="84"/>
                    <a:pt x="1156" y="1"/>
                    <a:pt x="1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2" name="Google Shape;10172;p58"/>
            <p:cNvSpPr/>
            <p:nvPr/>
          </p:nvSpPr>
          <p:spPr>
            <a:xfrm>
              <a:off x="5979433" y="4333243"/>
              <a:ext cx="39344" cy="13274"/>
            </a:xfrm>
            <a:custGeom>
              <a:avLst/>
              <a:gdLst/>
              <a:ahLst/>
              <a:cxnLst/>
              <a:rect l="l" t="t" r="r" b="b"/>
              <a:pathLst>
                <a:path w="1239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lnTo>
                    <a:pt x="1024" y="417"/>
                  </a:lnTo>
                  <a:cubicBezTo>
                    <a:pt x="1143" y="417"/>
                    <a:pt x="1239" y="322"/>
                    <a:pt x="1239" y="203"/>
                  </a:cubicBezTo>
                  <a:cubicBezTo>
                    <a:pt x="1239" y="84"/>
                    <a:pt x="1143" y="1"/>
                    <a:pt x="1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73" name="Google Shape;10173;p58"/>
          <p:cNvGrpSpPr/>
          <p:nvPr/>
        </p:nvGrpSpPr>
        <p:grpSpPr>
          <a:xfrm>
            <a:off x="6410063" y="4135124"/>
            <a:ext cx="159950" cy="364516"/>
            <a:chOff x="6410063" y="4135124"/>
            <a:chExt cx="159950" cy="364516"/>
          </a:xfrm>
        </p:grpSpPr>
        <p:sp>
          <p:nvSpPr>
            <p:cNvPr id="10174" name="Google Shape;10174;p58"/>
            <p:cNvSpPr/>
            <p:nvPr/>
          </p:nvSpPr>
          <p:spPr>
            <a:xfrm>
              <a:off x="6493991" y="4299202"/>
              <a:ext cx="36328" cy="200438"/>
            </a:xfrm>
            <a:custGeom>
              <a:avLst/>
              <a:gdLst/>
              <a:ahLst/>
              <a:cxnLst/>
              <a:rect l="l" t="t" r="r" b="b"/>
              <a:pathLst>
                <a:path w="1144" h="6312" extrusionOk="0">
                  <a:moveTo>
                    <a:pt x="965" y="1"/>
                  </a:moveTo>
                  <a:cubicBezTo>
                    <a:pt x="882" y="1"/>
                    <a:pt x="810" y="72"/>
                    <a:pt x="810" y="168"/>
                  </a:cubicBezTo>
                  <a:lnTo>
                    <a:pt x="810" y="5716"/>
                  </a:lnTo>
                  <a:cubicBezTo>
                    <a:pt x="810" y="5847"/>
                    <a:pt x="703" y="5954"/>
                    <a:pt x="584" y="5966"/>
                  </a:cubicBezTo>
                  <a:cubicBezTo>
                    <a:pt x="453" y="5966"/>
                    <a:pt x="334" y="5859"/>
                    <a:pt x="334" y="5728"/>
                  </a:cubicBezTo>
                  <a:lnTo>
                    <a:pt x="334" y="4656"/>
                  </a:lnTo>
                  <a:cubicBezTo>
                    <a:pt x="334" y="4573"/>
                    <a:pt x="251" y="4490"/>
                    <a:pt x="167" y="4490"/>
                  </a:cubicBezTo>
                  <a:cubicBezTo>
                    <a:pt x="72" y="4490"/>
                    <a:pt x="1" y="4573"/>
                    <a:pt x="1" y="4656"/>
                  </a:cubicBezTo>
                  <a:lnTo>
                    <a:pt x="1" y="5728"/>
                  </a:lnTo>
                  <a:cubicBezTo>
                    <a:pt x="1" y="5966"/>
                    <a:pt x="167" y="6192"/>
                    <a:pt x="394" y="6276"/>
                  </a:cubicBezTo>
                  <a:cubicBezTo>
                    <a:pt x="453" y="6299"/>
                    <a:pt x="525" y="6311"/>
                    <a:pt x="596" y="6311"/>
                  </a:cubicBezTo>
                  <a:cubicBezTo>
                    <a:pt x="906" y="6299"/>
                    <a:pt x="1144" y="6037"/>
                    <a:pt x="1144" y="5728"/>
                  </a:cubicBezTo>
                  <a:lnTo>
                    <a:pt x="1144" y="180"/>
                  </a:lnTo>
                  <a:cubicBezTo>
                    <a:pt x="1144" y="72"/>
                    <a:pt x="1072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5" name="Google Shape;10175;p58"/>
            <p:cNvSpPr/>
            <p:nvPr/>
          </p:nvSpPr>
          <p:spPr>
            <a:xfrm>
              <a:off x="6454297" y="4135124"/>
              <a:ext cx="71099" cy="71131"/>
            </a:xfrm>
            <a:custGeom>
              <a:avLst/>
              <a:gdLst/>
              <a:ahLst/>
              <a:cxnLst/>
              <a:rect l="l" t="t" r="r" b="b"/>
              <a:pathLst>
                <a:path w="2239" h="2240" extrusionOk="0">
                  <a:moveTo>
                    <a:pt x="1120" y="346"/>
                  </a:moveTo>
                  <a:cubicBezTo>
                    <a:pt x="1548" y="346"/>
                    <a:pt x="1894" y="679"/>
                    <a:pt x="1894" y="1120"/>
                  </a:cubicBezTo>
                  <a:cubicBezTo>
                    <a:pt x="1894" y="1548"/>
                    <a:pt x="1548" y="1894"/>
                    <a:pt x="1120" y="1894"/>
                  </a:cubicBezTo>
                  <a:cubicBezTo>
                    <a:pt x="691" y="1894"/>
                    <a:pt x="346" y="1548"/>
                    <a:pt x="346" y="1120"/>
                  </a:cubicBezTo>
                  <a:cubicBezTo>
                    <a:pt x="346" y="679"/>
                    <a:pt x="691" y="346"/>
                    <a:pt x="1120" y="346"/>
                  </a:cubicBezTo>
                  <a:close/>
                  <a:moveTo>
                    <a:pt x="1120" y="1"/>
                  </a:moveTo>
                  <a:cubicBezTo>
                    <a:pt x="513" y="1"/>
                    <a:pt x="1" y="513"/>
                    <a:pt x="1" y="1120"/>
                  </a:cubicBezTo>
                  <a:cubicBezTo>
                    <a:pt x="1" y="1727"/>
                    <a:pt x="513" y="2239"/>
                    <a:pt x="1120" y="2239"/>
                  </a:cubicBezTo>
                  <a:cubicBezTo>
                    <a:pt x="1727" y="2239"/>
                    <a:pt x="2239" y="1727"/>
                    <a:pt x="2239" y="1120"/>
                  </a:cubicBezTo>
                  <a:cubicBezTo>
                    <a:pt x="2239" y="513"/>
                    <a:pt x="1727" y="1"/>
                    <a:pt x="1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6" name="Google Shape;10176;p58"/>
            <p:cNvSpPr/>
            <p:nvPr/>
          </p:nvSpPr>
          <p:spPr>
            <a:xfrm>
              <a:off x="6410063" y="4252712"/>
              <a:ext cx="94566" cy="246927"/>
            </a:xfrm>
            <a:custGeom>
              <a:avLst/>
              <a:gdLst/>
              <a:ahLst/>
              <a:cxnLst/>
              <a:rect l="l" t="t" r="r" b="b"/>
              <a:pathLst>
                <a:path w="2978" h="7776" extrusionOk="0">
                  <a:moveTo>
                    <a:pt x="1191" y="0"/>
                  </a:moveTo>
                  <a:cubicBezTo>
                    <a:pt x="977" y="0"/>
                    <a:pt x="798" y="179"/>
                    <a:pt x="798" y="393"/>
                  </a:cubicBezTo>
                  <a:lnTo>
                    <a:pt x="798" y="2894"/>
                  </a:lnTo>
                  <a:cubicBezTo>
                    <a:pt x="798" y="3025"/>
                    <a:pt x="691" y="3132"/>
                    <a:pt x="560" y="3132"/>
                  </a:cubicBezTo>
                  <a:cubicBezTo>
                    <a:pt x="429" y="3132"/>
                    <a:pt x="322" y="3025"/>
                    <a:pt x="322" y="2894"/>
                  </a:cubicBezTo>
                  <a:lnTo>
                    <a:pt x="322" y="2275"/>
                  </a:lnTo>
                  <a:cubicBezTo>
                    <a:pt x="322" y="2191"/>
                    <a:pt x="251" y="2120"/>
                    <a:pt x="155" y="2120"/>
                  </a:cubicBezTo>
                  <a:cubicBezTo>
                    <a:pt x="72" y="2120"/>
                    <a:pt x="1" y="2191"/>
                    <a:pt x="1" y="2275"/>
                  </a:cubicBezTo>
                  <a:lnTo>
                    <a:pt x="1" y="2894"/>
                  </a:lnTo>
                  <a:cubicBezTo>
                    <a:pt x="1" y="3203"/>
                    <a:pt x="251" y="3465"/>
                    <a:pt x="572" y="3465"/>
                  </a:cubicBezTo>
                  <a:cubicBezTo>
                    <a:pt x="894" y="3465"/>
                    <a:pt x="1156" y="3215"/>
                    <a:pt x="1156" y="2894"/>
                  </a:cubicBezTo>
                  <a:lnTo>
                    <a:pt x="1156" y="393"/>
                  </a:lnTo>
                  <a:cubicBezTo>
                    <a:pt x="1156" y="358"/>
                    <a:pt x="1191" y="334"/>
                    <a:pt x="1215" y="334"/>
                  </a:cubicBezTo>
                  <a:cubicBezTo>
                    <a:pt x="1251" y="334"/>
                    <a:pt x="1275" y="358"/>
                    <a:pt x="1275" y="393"/>
                  </a:cubicBezTo>
                  <a:lnTo>
                    <a:pt x="1275" y="7192"/>
                  </a:lnTo>
                  <a:cubicBezTo>
                    <a:pt x="1275" y="7501"/>
                    <a:pt x="1525" y="7775"/>
                    <a:pt x="1858" y="7775"/>
                  </a:cubicBezTo>
                  <a:cubicBezTo>
                    <a:pt x="2168" y="7775"/>
                    <a:pt x="2441" y="7513"/>
                    <a:pt x="2441" y="7192"/>
                  </a:cubicBezTo>
                  <a:lnTo>
                    <a:pt x="2441" y="4251"/>
                  </a:lnTo>
                  <a:cubicBezTo>
                    <a:pt x="2441" y="4168"/>
                    <a:pt x="2501" y="4132"/>
                    <a:pt x="2560" y="4132"/>
                  </a:cubicBezTo>
                  <a:cubicBezTo>
                    <a:pt x="2632" y="4132"/>
                    <a:pt x="2680" y="4191"/>
                    <a:pt x="2680" y="4251"/>
                  </a:cubicBezTo>
                  <a:lnTo>
                    <a:pt x="2644" y="5442"/>
                  </a:lnTo>
                  <a:cubicBezTo>
                    <a:pt x="2644" y="5525"/>
                    <a:pt x="2715" y="5596"/>
                    <a:pt x="2810" y="5596"/>
                  </a:cubicBezTo>
                  <a:cubicBezTo>
                    <a:pt x="2894" y="5596"/>
                    <a:pt x="2977" y="5525"/>
                    <a:pt x="2977" y="5442"/>
                  </a:cubicBezTo>
                  <a:lnTo>
                    <a:pt x="2977" y="4251"/>
                  </a:lnTo>
                  <a:cubicBezTo>
                    <a:pt x="2977" y="3989"/>
                    <a:pt x="2763" y="3787"/>
                    <a:pt x="2513" y="3787"/>
                  </a:cubicBezTo>
                  <a:cubicBezTo>
                    <a:pt x="2263" y="3787"/>
                    <a:pt x="2048" y="3989"/>
                    <a:pt x="2048" y="4251"/>
                  </a:cubicBezTo>
                  <a:lnTo>
                    <a:pt x="2048" y="7192"/>
                  </a:lnTo>
                  <a:cubicBezTo>
                    <a:pt x="2048" y="7323"/>
                    <a:pt x="1941" y="7430"/>
                    <a:pt x="1810" y="7430"/>
                  </a:cubicBezTo>
                  <a:cubicBezTo>
                    <a:pt x="1679" y="7430"/>
                    <a:pt x="1572" y="7323"/>
                    <a:pt x="1572" y="7192"/>
                  </a:cubicBezTo>
                  <a:lnTo>
                    <a:pt x="1572" y="393"/>
                  </a:lnTo>
                  <a:cubicBezTo>
                    <a:pt x="1572" y="179"/>
                    <a:pt x="1394" y="0"/>
                    <a:pt x="1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7" name="Google Shape;10177;p58"/>
            <p:cNvSpPr/>
            <p:nvPr/>
          </p:nvSpPr>
          <p:spPr>
            <a:xfrm>
              <a:off x="6410063" y="4212638"/>
              <a:ext cx="159950" cy="150519"/>
            </a:xfrm>
            <a:custGeom>
              <a:avLst/>
              <a:gdLst/>
              <a:ahLst/>
              <a:cxnLst/>
              <a:rect l="l" t="t" r="r" b="b"/>
              <a:pathLst>
                <a:path w="5037" h="4740" extrusionOk="0">
                  <a:moveTo>
                    <a:pt x="1429" y="0"/>
                  </a:moveTo>
                  <a:cubicBezTo>
                    <a:pt x="632" y="0"/>
                    <a:pt x="1" y="643"/>
                    <a:pt x="1" y="1429"/>
                  </a:cubicBezTo>
                  <a:lnTo>
                    <a:pt x="1" y="2858"/>
                  </a:lnTo>
                  <a:cubicBezTo>
                    <a:pt x="1" y="2953"/>
                    <a:pt x="72" y="3025"/>
                    <a:pt x="155" y="3025"/>
                  </a:cubicBezTo>
                  <a:cubicBezTo>
                    <a:pt x="251" y="3025"/>
                    <a:pt x="322" y="2953"/>
                    <a:pt x="322" y="2858"/>
                  </a:cubicBezTo>
                  <a:lnTo>
                    <a:pt x="322" y="1429"/>
                  </a:lnTo>
                  <a:cubicBezTo>
                    <a:pt x="322" y="822"/>
                    <a:pt x="810" y="334"/>
                    <a:pt x="1429" y="334"/>
                  </a:cubicBezTo>
                  <a:lnTo>
                    <a:pt x="3608" y="334"/>
                  </a:lnTo>
                  <a:cubicBezTo>
                    <a:pt x="4227" y="334"/>
                    <a:pt x="4715" y="822"/>
                    <a:pt x="4715" y="1429"/>
                  </a:cubicBezTo>
                  <a:lnTo>
                    <a:pt x="4715" y="4144"/>
                  </a:lnTo>
                  <a:cubicBezTo>
                    <a:pt x="4715" y="4275"/>
                    <a:pt x="4608" y="4382"/>
                    <a:pt x="4489" y="4394"/>
                  </a:cubicBezTo>
                  <a:cubicBezTo>
                    <a:pt x="4358" y="4394"/>
                    <a:pt x="4239" y="4287"/>
                    <a:pt x="4239" y="4156"/>
                  </a:cubicBezTo>
                  <a:lnTo>
                    <a:pt x="4239" y="1655"/>
                  </a:lnTo>
                  <a:cubicBezTo>
                    <a:pt x="4239" y="1441"/>
                    <a:pt x="4061" y="1262"/>
                    <a:pt x="3846" y="1262"/>
                  </a:cubicBezTo>
                  <a:cubicBezTo>
                    <a:pt x="3644" y="1262"/>
                    <a:pt x="3465" y="1441"/>
                    <a:pt x="3465" y="1655"/>
                  </a:cubicBezTo>
                  <a:lnTo>
                    <a:pt x="3465" y="2239"/>
                  </a:lnTo>
                  <a:cubicBezTo>
                    <a:pt x="3465" y="2322"/>
                    <a:pt x="3537" y="2394"/>
                    <a:pt x="3632" y="2394"/>
                  </a:cubicBezTo>
                  <a:cubicBezTo>
                    <a:pt x="3715" y="2394"/>
                    <a:pt x="3787" y="2322"/>
                    <a:pt x="3787" y="2239"/>
                  </a:cubicBezTo>
                  <a:lnTo>
                    <a:pt x="3787" y="1655"/>
                  </a:lnTo>
                  <a:cubicBezTo>
                    <a:pt x="3787" y="1620"/>
                    <a:pt x="3814" y="1602"/>
                    <a:pt x="3840" y="1602"/>
                  </a:cubicBezTo>
                  <a:cubicBezTo>
                    <a:pt x="3867" y="1602"/>
                    <a:pt x="3894" y="1620"/>
                    <a:pt x="3894" y="1655"/>
                  </a:cubicBezTo>
                  <a:lnTo>
                    <a:pt x="3894" y="4156"/>
                  </a:lnTo>
                  <a:cubicBezTo>
                    <a:pt x="3894" y="4382"/>
                    <a:pt x="4049" y="4596"/>
                    <a:pt x="4251" y="4691"/>
                  </a:cubicBezTo>
                  <a:cubicBezTo>
                    <a:pt x="4323" y="4715"/>
                    <a:pt x="4406" y="4739"/>
                    <a:pt x="4489" y="4739"/>
                  </a:cubicBezTo>
                  <a:cubicBezTo>
                    <a:pt x="4799" y="4715"/>
                    <a:pt x="5037" y="4465"/>
                    <a:pt x="5037" y="4156"/>
                  </a:cubicBezTo>
                  <a:lnTo>
                    <a:pt x="5037" y="1429"/>
                  </a:lnTo>
                  <a:cubicBezTo>
                    <a:pt x="5037" y="643"/>
                    <a:pt x="4406" y="0"/>
                    <a:pt x="3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78" name="Google Shape;10178;p58"/>
          <p:cNvGrpSpPr/>
          <p:nvPr/>
        </p:nvGrpSpPr>
        <p:grpSpPr>
          <a:xfrm>
            <a:off x="6924652" y="4135505"/>
            <a:ext cx="214378" cy="364135"/>
            <a:chOff x="6924652" y="4135505"/>
            <a:chExt cx="214378" cy="364135"/>
          </a:xfrm>
        </p:grpSpPr>
        <p:sp>
          <p:nvSpPr>
            <p:cNvPr id="10179" name="Google Shape;10179;p58"/>
            <p:cNvSpPr/>
            <p:nvPr/>
          </p:nvSpPr>
          <p:spPr>
            <a:xfrm>
              <a:off x="6996482" y="4135505"/>
              <a:ext cx="70718" cy="71099"/>
            </a:xfrm>
            <a:custGeom>
              <a:avLst/>
              <a:gdLst/>
              <a:ahLst/>
              <a:cxnLst/>
              <a:rect l="l" t="t" r="r" b="b"/>
              <a:pathLst>
                <a:path w="2227" h="2239" extrusionOk="0">
                  <a:moveTo>
                    <a:pt x="1119" y="346"/>
                  </a:moveTo>
                  <a:cubicBezTo>
                    <a:pt x="1548" y="346"/>
                    <a:pt x="1893" y="691"/>
                    <a:pt x="1893" y="1120"/>
                  </a:cubicBezTo>
                  <a:cubicBezTo>
                    <a:pt x="1893" y="1548"/>
                    <a:pt x="1548" y="1894"/>
                    <a:pt x="1119" y="1894"/>
                  </a:cubicBezTo>
                  <a:cubicBezTo>
                    <a:pt x="679" y="1894"/>
                    <a:pt x="345" y="1548"/>
                    <a:pt x="345" y="1120"/>
                  </a:cubicBezTo>
                  <a:cubicBezTo>
                    <a:pt x="345" y="691"/>
                    <a:pt x="703" y="346"/>
                    <a:pt x="1119" y="346"/>
                  </a:cubicBezTo>
                  <a:close/>
                  <a:moveTo>
                    <a:pt x="1119" y="1"/>
                  </a:moveTo>
                  <a:cubicBezTo>
                    <a:pt x="500" y="1"/>
                    <a:pt x="0" y="513"/>
                    <a:pt x="0" y="1120"/>
                  </a:cubicBezTo>
                  <a:cubicBezTo>
                    <a:pt x="12" y="1727"/>
                    <a:pt x="500" y="2239"/>
                    <a:pt x="1119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0" name="Google Shape;10180;p58"/>
            <p:cNvSpPr/>
            <p:nvPr/>
          </p:nvSpPr>
          <p:spPr>
            <a:xfrm>
              <a:off x="7018012" y="4345183"/>
              <a:ext cx="88882" cy="154456"/>
            </a:xfrm>
            <a:custGeom>
              <a:avLst/>
              <a:gdLst/>
              <a:ahLst/>
              <a:cxnLst/>
              <a:rect l="l" t="t" r="r" b="b"/>
              <a:pathLst>
                <a:path w="2799" h="4864" extrusionOk="0">
                  <a:moveTo>
                    <a:pt x="2293" y="0"/>
                  </a:moveTo>
                  <a:cubicBezTo>
                    <a:pt x="2280" y="0"/>
                    <a:pt x="2266" y="2"/>
                    <a:pt x="2251" y="6"/>
                  </a:cubicBezTo>
                  <a:cubicBezTo>
                    <a:pt x="2168" y="41"/>
                    <a:pt x="2108" y="125"/>
                    <a:pt x="2132" y="220"/>
                  </a:cubicBezTo>
                  <a:lnTo>
                    <a:pt x="2358" y="1077"/>
                  </a:lnTo>
                  <a:lnTo>
                    <a:pt x="1549" y="1077"/>
                  </a:lnTo>
                  <a:cubicBezTo>
                    <a:pt x="1465" y="1077"/>
                    <a:pt x="1394" y="1160"/>
                    <a:pt x="1394" y="1244"/>
                  </a:cubicBezTo>
                  <a:lnTo>
                    <a:pt x="1394" y="4280"/>
                  </a:lnTo>
                  <a:cubicBezTo>
                    <a:pt x="1394" y="4411"/>
                    <a:pt x="1287" y="4518"/>
                    <a:pt x="1156" y="4518"/>
                  </a:cubicBezTo>
                  <a:cubicBezTo>
                    <a:pt x="1013" y="4518"/>
                    <a:pt x="918" y="4411"/>
                    <a:pt x="918" y="4280"/>
                  </a:cubicBezTo>
                  <a:lnTo>
                    <a:pt x="918" y="1244"/>
                  </a:lnTo>
                  <a:cubicBezTo>
                    <a:pt x="918" y="1160"/>
                    <a:pt x="834" y="1077"/>
                    <a:pt x="751" y="1077"/>
                  </a:cubicBezTo>
                  <a:lnTo>
                    <a:pt x="168" y="1077"/>
                  </a:lnTo>
                  <a:cubicBezTo>
                    <a:pt x="84" y="1077"/>
                    <a:pt x="1" y="1160"/>
                    <a:pt x="1" y="1244"/>
                  </a:cubicBezTo>
                  <a:lnTo>
                    <a:pt x="1" y="2482"/>
                  </a:lnTo>
                  <a:cubicBezTo>
                    <a:pt x="1" y="2565"/>
                    <a:pt x="84" y="2649"/>
                    <a:pt x="168" y="2649"/>
                  </a:cubicBezTo>
                  <a:cubicBezTo>
                    <a:pt x="263" y="2649"/>
                    <a:pt x="334" y="2565"/>
                    <a:pt x="334" y="2482"/>
                  </a:cubicBezTo>
                  <a:lnTo>
                    <a:pt x="334" y="1422"/>
                  </a:lnTo>
                  <a:lnTo>
                    <a:pt x="584" y="1422"/>
                  </a:lnTo>
                  <a:lnTo>
                    <a:pt x="584" y="4280"/>
                  </a:lnTo>
                  <a:cubicBezTo>
                    <a:pt x="584" y="4589"/>
                    <a:pt x="834" y="4863"/>
                    <a:pt x="1168" y="4863"/>
                  </a:cubicBezTo>
                  <a:cubicBezTo>
                    <a:pt x="1477" y="4863"/>
                    <a:pt x="1751" y="4601"/>
                    <a:pt x="1751" y="4280"/>
                  </a:cubicBezTo>
                  <a:lnTo>
                    <a:pt x="1751" y="1422"/>
                  </a:lnTo>
                  <a:lnTo>
                    <a:pt x="2608" y="1422"/>
                  </a:lnTo>
                  <a:cubicBezTo>
                    <a:pt x="2715" y="1422"/>
                    <a:pt x="2799" y="1315"/>
                    <a:pt x="2775" y="1208"/>
                  </a:cubicBezTo>
                  <a:lnTo>
                    <a:pt x="2465" y="125"/>
                  </a:lnTo>
                  <a:cubicBezTo>
                    <a:pt x="2435" y="54"/>
                    <a:pt x="2370" y="0"/>
                    <a:pt x="2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1" name="Google Shape;10181;p58"/>
            <p:cNvSpPr/>
            <p:nvPr/>
          </p:nvSpPr>
          <p:spPr>
            <a:xfrm>
              <a:off x="6948850" y="4212638"/>
              <a:ext cx="190181" cy="149884"/>
            </a:xfrm>
            <a:custGeom>
              <a:avLst/>
              <a:gdLst/>
              <a:ahLst/>
              <a:cxnLst/>
              <a:rect l="l" t="t" r="r" b="b"/>
              <a:pathLst>
                <a:path w="5989" h="4720" extrusionOk="0">
                  <a:moveTo>
                    <a:pt x="1548" y="0"/>
                  </a:moveTo>
                  <a:cubicBezTo>
                    <a:pt x="917" y="0"/>
                    <a:pt x="369" y="417"/>
                    <a:pt x="179" y="1012"/>
                  </a:cubicBezTo>
                  <a:lnTo>
                    <a:pt x="179" y="1024"/>
                  </a:lnTo>
                  <a:lnTo>
                    <a:pt x="24" y="1596"/>
                  </a:lnTo>
                  <a:cubicBezTo>
                    <a:pt x="0" y="1679"/>
                    <a:pt x="60" y="1774"/>
                    <a:pt x="143" y="1798"/>
                  </a:cubicBezTo>
                  <a:cubicBezTo>
                    <a:pt x="160" y="1805"/>
                    <a:pt x="177" y="1809"/>
                    <a:pt x="194" y="1809"/>
                  </a:cubicBezTo>
                  <a:cubicBezTo>
                    <a:pt x="262" y="1809"/>
                    <a:pt x="329" y="1755"/>
                    <a:pt x="357" y="1679"/>
                  </a:cubicBezTo>
                  <a:lnTo>
                    <a:pt x="500" y="1132"/>
                  </a:lnTo>
                  <a:lnTo>
                    <a:pt x="500" y="1120"/>
                  </a:lnTo>
                  <a:cubicBezTo>
                    <a:pt x="631" y="655"/>
                    <a:pt x="1072" y="334"/>
                    <a:pt x="1548" y="334"/>
                  </a:cubicBezTo>
                  <a:lnTo>
                    <a:pt x="3727" y="334"/>
                  </a:lnTo>
                  <a:cubicBezTo>
                    <a:pt x="4203" y="334"/>
                    <a:pt x="4643" y="655"/>
                    <a:pt x="4774" y="1120"/>
                  </a:cubicBezTo>
                  <a:lnTo>
                    <a:pt x="4774" y="1132"/>
                  </a:lnTo>
                  <a:lnTo>
                    <a:pt x="5596" y="4084"/>
                  </a:lnTo>
                  <a:cubicBezTo>
                    <a:pt x="5620" y="4191"/>
                    <a:pt x="5548" y="4334"/>
                    <a:pt x="5429" y="4382"/>
                  </a:cubicBezTo>
                  <a:cubicBezTo>
                    <a:pt x="5414" y="4385"/>
                    <a:pt x="5398" y="4386"/>
                    <a:pt x="5383" y="4386"/>
                  </a:cubicBezTo>
                  <a:cubicBezTo>
                    <a:pt x="5278" y="4386"/>
                    <a:pt x="5173" y="4319"/>
                    <a:pt x="5132" y="4215"/>
                  </a:cubicBezTo>
                  <a:lnTo>
                    <a:pt x="4382" y="1560"/>
                  </a:lnTo>
                  <a:cubicBezTo>
                    <a:pt x="4346" y="1405"/>
                    <a:pt x="4179" y="1286"/>
                    <a:pt x="4012" y="1286"/>
                  </a:cubicBezTo>
                  <a:cubicBezTo>
                    <a:pt x="3762" y="1286"/>
                    <a:pt x="3572" y="1524"/>
                    <a:pt x="3631" y="1774"/>
                  </a:cubicBezTo>
                  <a:lnTo>
                    <a:pt x="4131" y="3751"/>
                  </a:lnTo>
                  <a:cubicBezTo>
                    <a:pt x="4161" y="3830"/>
                    <a:pt x="4223" y="3876"/>
                    <a:pt x="4298" y="3876"/>
                  </a:cubicBezTo>
                  <a:cubicBezTo>
                    <a:pt x="4313" y="3876"/>
                    <a:pt x="4329" y="3874"/>
                    <a:pt x="4346" y="3870"/>
                  </a:cubicBezTo>
                  <a:cubicBezTo>
                    <a:pt x="4429" y="3834"/>
                    <a:pt x="4489" y="3751"/>
                    <a:pt x="4465" y="3656"/>
                  </a:cubicBezTo>
                  <a:lnTo>
                    <a:pt x="3953" y="1679"/>
                  </a:lnTo>
                  <a:cubicBezTo>
                    <a:pt x="3946" y="1637"/>
                    <a:pt x="3980" y="1607"/>
                    <a:pt x="4012" y="1607"/>
                  </a:cubicBezTo>
                  <a:cubicBezTo>
                    <a:pt x="4034" y="1607"/>
                    <a:pt x="4055" y="1621"/>
                    <a:pt x="4060" y="1655"/>
                  </a:cubicBezTo>
                  <a:lnTo>
                    <a:pt x="4798" y="4299"/>
                  </a:lnTo>
                  <a:cubicBezTo>
                    <a:pt x="4879" y="4552"/>
                    <a:pt x="5116" y="4719"/>
                    <a:pt x="5368" y="4719"/>
                  </a:cubicBezTo>
                  <a:cubicBezTo>
                    <a:pt x="5412" y="4719"/>
                    <a:pt x="5456" y="4714"/>
                    <a:pt x="5501" y="4703"/>
                  </a:cubicBezTo>
                  <a:cubicBezTo>
                    <a:pt x="5810" y="4620"/>
                    <a:pt x="5989" y="4287"/>
                    <a:pt x="5917" y="3989"/>
                  </a:cubicBezTo>
                  <a:lnTo>
                    <a:pt x="5096" y="1024"/>
                  </a:lnTo>
                  <a:lnTo>
                    <a:pt x="5096" y="1012"/>
                  </a:lnTo>
                  <a:cubicBezTo>
                    <a:pt x="4917" y="417"/>
                    <a:pt x="4358" y="0"/>
                    <a:pt x="3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2" name="Google Shape;10182;p58"/>
            <p:cNvSpPr/>
            <p:nvPr/>
          </p:nvSpPr>
          <p:spPr>
            <a:xfrm>
              <a:off x="6924652" y="4252331"/>
              <a:ext cx="103617" cy="245815"/>
            </a:xfrm>
            <a:custGeom>
              <a:avLst/>
              <a:gdLst/>
              <a:ahLst/>
              <a:cxnLst/>
              <a:rect l="l" t="t" r="r" b="b"/>
              <a:pathLst>
                <a:path w="3263" h="7741" extrusionOk="0">
                  <a:moveTo>
                    <a:pt x="1988" y="1"/>
                  </a:moveTo>
                  <a:cubicBezTo>
                    <a:pt x="1810" y="1"/>
                    <a:pt x="1667" y="120"/>
                    <a:pt x="1619" y="286"/>
                  </a:cubicBezTo>
                  <a:lnTo>
                    <a:pt x="881" y="2930"/>
                  </a:lnTo>
                  <a:cubicBezTo>
                    <a:pt x="851" y="3030"/>
                    <a:pt x="754" y="3105"/>
                    <a:pt x="645" y="3105"/>
                  </a:cubicBezTo>
                  <a:cubicBezTo>
                    <a:pt x="625" y="3105"/>
                    <a:pt x="604" y="3102"/>
                    <a:pt x="583" y="3096"/>
                  </a:cubicBezTo>
                  <a:cubicBezTo>
                    <a:pt x="464" y="3072"/>
                    <a:pt x="381" y="2930"/>
                    <a:pt x="417" y="2799"/>
                  </a:cubicBezTo>
                  <a:lnTo>
                    <a:pt x="905" y="1048"/>
                  </a:lnTo>
                  <a:cubicBezTo>
                    <a:pt x="941" y="953"/>
                    <a:pt x="881" y="870"/>
                    <a:pt x="786" y="834"/>
                  </a:cubicBezTo>
                  <a:cubicBezTo>
                    <a:pt x="773" y="830"/>
                    <a:pt x="760" y="829"/>
                    <a:pt x="748" y="829"/>
                  </a:cubicBezTo>
                  <a:cubicBezTo>
                    <a:pt x="675" y="829"/>
                    <a:pt x="604" y="882"/>
                    <a:pt x="583" y="953"/>
                  </a:cubicBezTo>
                  <a:lnTo>
                    <a:pt x="83" y="2715"/>
                  </a:lnTo>
                  <a:cubicBezTo>
                    <a:pt x="0" y="3013"/>
                    <a:pt x="191" y="3334"/>
                    <a:pt x="488" y="3406"/>
                  </a:cubicBezTo>
                  <a:cubicBezTo>
                    <a:pt x="541" y="3423"/>
                    <a:pt x="594" y="3430"/>
                    <a:pt x="647" y="3430"/>
                  </a:cubicBezTo>
                  <a:cubicBezTo>
                    <a:pt x="895" y="3430"/>
                    <a:pt x="1132" y="3258"/>
                    <a:pt x="1191" y="3013"/>
                  </a:cubicBezTo>
                  <a:lnTo>
                    <a:pt x="1929" y="358"/>
                  </a:lnTo>
                  <a:cubicBezTo>
                    <a:pt x="1938" y="329"/>
                    <a:pt x="1964" y="315"/>
                    <a:pt x="1988" y="315"/>
                  </a:cubicBezTo>
                  <a:cubicBezTo>
                    <a:pt x="2024" y="315"/>
                    <a:pt x="2057" y="344"/>
                    <a:pt x="2036" y="393"/>
                  </a:cubicBezTo>
                  <a:lnTo>
                    <a:pt x="1083" y="4096"/>
                  </a:lnTo>
                  <a:cubicBezTo>
                    <a:pt x="1060" y="4203"/>
                    <a:pt x="1143" y="4299"/>
                    <a:pt x="1250" y="4299"/>
                  </a:cubicBezTo>
                  <a:lnTo>
                    <a:pt x="2107" y="4299"/>
                  </a:lnTo>
                  <a:lnTo>
                    <a:pt x="2107" y="7156"/>
                  </a:lnTo>
                  <a:cubicBezTo>
                    <a:pt x="2107" y="7478"/>
                    <a:pt x="2346" y="7728"/>
                    <a:pt x="2667" y="7740"/>
                  </a:cubicBezTo>
                  <a:cubicBezTo>
                    <a:pt x="2676" y="7740"/>
                    <a:pt x="2684" y="7740"/>
                    <a:pt x="2693" y="7740"/>
                  </a:cubicBezTo>
                  <a:cubicBezTo>
                    <a:pt x="2922" y="7740"/>
                    <a:pt x="3146" y="7589"/>
                    <a:pt x="3227" y="7371"/>
                  </a:cubicBezTo>
                  <a:cubicBezTo>
                    <a:pt x="3262" y="7311"/>
                    <a:pt x="3262" y="7240"/>
                    <a:pt x="3262" y="7156"/>
                  </a:cubicBezTo>
                  <a:lnTo>
                    <a:pt x="3262" y="6025"/>
                  </a:lnTo>
                  <a:cubicBezTo>
                    <a:pt x="3262" y="5966"/>
                    <a:pt x="3179" y="5894"/>
                    <a:pt x="3096" y="5894"/>
                  </a:cubicBezTo>
                  <a:cubicBezTo>
                    <a:pt x="3000" y="5894"/>
                    <a:pt x="2929" y="5966"/>
                    <a:pt x="2929" y="6061"/>
                  </a:cubicBezTo>
                  <a:lnTo>
                    <a:pt x="2929" y="7192"/>
                  </a:lnTo>
                  <a:cubicBezTo>
                    <a:pt x="2929" y="7323"/>
                    <a:pt x="2810" y="7430"/>
                    <a:pt x="2679" y="7430"/>
                  </a:cubicBezTo>
                  <a:cubicBezTo>
                    <a:pt x="2560" y="7430"/>
                    <a:pt x="2453" y="7311"/>
                    <a:pt x="2453" y="7180"/>
                  </a:cubicBezTo>
                  <a:lnTo>
                    <a:pt x="2453" y="4156"/>
                  </a:lnTo>
                  <a:cubicBezTo>
                    <a:pt x="2453" y="4061"/>
                    <a:pt x="2381" y="3989"/>
                    <a:pt x="2286" y="3989"/>
                  </a:cubicBezTo>
                  <a:lnTo>
                    <a:pt x="1488" y="3989"/>
                  </a:lnTo>
                  <a:lnTo>
                    <a:pt x="2381" y="489"/>
                  </a:lnTo>
                  <a:cubicBezTo>
                    <a:pt x="2441" y="251"/>
                    <a:pt x="2250" y="1"/>
                    <a:pt x="19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83" name="Google Shape;10183;p58"/>
          <p:cNvGrpSpPr/>
          <p:nvPr/>
        </p:nvGrpSpPr>
        <p:grpSpPr>
          <a:xfrm>
            <a:off x="7384751" y="4147984"/>
            <a:ext cx="380012" cy="351274"/>
            <a:chOff x="7384751" y="4147984"/>
            <a:chExt cx="380012" cy="351274"/>
          </a:xfrm>
        </p:grpSpPr>
        <p:sp>
          <p:nvSpPr>
            <p:cNvPr id="10184" name="Google Shape;10184;p58"/>
            <p:cNvSpPr/>
            <p:nvPr/>
          </p:nvSpPr>
          <p:spPr>
            <a:xfrm>
              <a:off x="7385513" y="4225879"/>
              <a:ext cx="379250" cy="273379"/>
            </a:xfrm>
            <a:custGeom>
              <a:avLst/>
              <a:gdLst/>
              <a:ahLst/>
              <a:cxnLst/>
              <a:rect l="l" t="t" r="r" b="b"/>
              <a:pathLst>
                <a:path w="11943" h="8609" extrusionOk="0">
                  <a:moveTo>
                    <a:pt x="11740" y="0"/>
                  </a:moveTo>
                  <a:cubicBezTo>
                    <a:pt x="11645" y="0"/>
                    <a:pt x="11562" y="72"/>
                    <a:pt x="11562" y="179"/>
                  </a:cubicBezTo>
                  <a:lnTo>
                    <a:pt x="11562" y="2667"/>
                  </a:lnTo>
                  <a:cubicBezTo>
                    <a:pt x="11562" y="3393"/>
                    <a:pt x="10966" y="3989"/>
                    <a:pt x="10240" y="3989"/>
                  </a:cubicBezTo>
                  <a:lnTo>
                    <a:pt x="9085" y="3989"/>
                  </a:lnTo>
                  <a:cubicBezTo>
                    <a:pt x="8954" y="3989"/>
                    <a:pt x="8823" y="4084"/>
                    <a:pt x="8776" y="4203"/>
                  </a:cubicBezTo>
                  <a:cubicBezTo>
                    <a:pt x="8573" y="4703"/>
                    <a:pt x="8549" y="5167"/>
                    <a:pt x="8752" y="5537"/>
                  </a:cubicBezTo>
                  <a:cubicBezTo>
                    <a:pt x="8823" y="5703"/>
                    <a:pt x="8942" y="5834"/>
                    <a:pt x="9049" y="5941"/>
                  </a:cubicBezTo>
                  <a:cubicBezTo>
                    <a:pt x="8752" y="5929"/>
                    <a:pt x="8514" y="5822"/>
                    <a:pt x="8359" y="5656"/>
                  </a:cubicBezTo>
                  <a:cubicBezTo>
                    <a:pt x="8240" y="5537"/>
                    <a:pt x="7978" y="5167"/>
                    <a:pt x="8073" y="4358"/>
                  </a:cubicBezTo>
                  <a:cubicBezTo>
                    <a:pt x="8109" y="4155"/>
                    <a:pt x="7942" y="3977"/>
                    <a:pt x="7740" y="3977"/>
                  </a:cubicBezTo>
                  <a:lnTo>
                    <a:pt x="5954" y="3977"/>
                  </a:lnTo>
                  <a:cubicBezTo>
                    <a:pt x="5859" y="3977"/>
                    <a:pt x="5775" y="4048"/>
                    <a:pt x="5775" y="4155"/>
                  </a:cubicBezTo>
                  <a:cubicBezTo>
                    <a:pt x="5775" y="4263"/>
                    <a:pt x="5847" y="4334"/>
                    <a:pt x="5954" y="4334"/>
                  </a:cubicBezTo>
                  <a:lnTo>
                    <a:pt x="6847" y="4334"/>
                  </a:lnTo>
                  <a:lnTo>
                    <a:pt x="6847" y="5691"/>
                  </a:lnTo>
                  <a:cubicBezTo>
                    <a:pt x="6847" y="6430"/>
                    <a:pt x="6228" y="7037"/>
                    <a:pt x="5490" y="7037"/>
                  </a:cubicBezTo>
                  <a:lnTo>
                    <a:pt x="4704" y="7037"/>
                  </a:lnTo>
                  <a:cubicBezTo>
                    <a:pt x="4561" y="7037"/>
                    <a:pt x="4466" y="7144"/>
                    <a:pt x="4466" y="7275"/>
                  </a:cubicBezTo>
                  <a:cubicBezTo>
                    <a:pt x="4442" y="7834"/>
                    <a:pt x="4239" y="8215"/>
                    <a:pt x="3668" y="8251"/>
                  </a:cubicBezTo>
                  <a:cubicBezTo>
                    <a:pt x="3930" y="7977"/>
                    <a:pt x="3954" y="7573"/>
                    <a:pt x="3882" y="7239"/>
                  </a:cubicBezTo>
                  <a:cubicBezTo>
                    <a:pt x="3846" y="7120"/>
                    <a:pt x="3763" y="7037"/>
                    <a:pt x="3644" y="7037"/>
                  </a:cubicBezTo>
                  <a:lnTo>
                    <a:pt x="1703" y="7037"/>
                  </a:lnTo>
                  <a:cubicBezTo>
                    <a:pt x="965" y="7037"/>
                    <a:pt x="358" y="6430"/>
                    <a:pt x="358" y="5691"/>
                  </a:cubicBezTo>
                  <a:lnTo>
                    <a:pt x="358" y="5310"/>
                  </a:lnTo>
                  <a:cubicBezTo>
                    <a:pt x="358" y="5227"/>
                    <a:pt x="275" y="5132"/>
                    <a:pt x="179" y="5132"/>
                  </a:cubicBezTo>
                  <a:cubicBezTo>
                    <a:pt x="84" y="5132"/>
                    <a:pt x="1" y="5215"/>
                    <a:pt x="1" y="5310"/>
                  </a:cubicBezTo>
                  <a:lnTo>
                    <a:pt x="1" y="5691"/>
                  </a:lnTo>
                  <a:cubicBezTo>
                    <a:pt x="1" y="6620"/>
                    <a:pt x="751" y="7394"/>
                    <a:pt x="1703" y="7394"/>
                  </a:cubicBezTo>
                  <a:lnTo>
                    <a:pt x="3573" y="7394"/>
                  </a:lnTo>
                  <a:cubicBezTo>
                    <a:pt x="3596" y="7620"/>
                    <a:pt x="3596" y="8025"/>
                    <a:pt x="3215" y="8144"/>
                  </a:cubicBezTo>
                  <a:cubicBezTo>
                    <a:pt x="2989" y="8215"/>
                    <a:pt x="3001" y="8525"/>
                    <a:pt x="3239" y="8573"/>
                  </a:cubicBezTo>
                  <a:cubicBezTo>
                    <a:pt x="3370" y="8608"/>
                    <a:pt x="3489" y="8608"/>
                    <a:pt x="3596" y="8608"/>
                  </a:cubicBezTo>
                  <a:cubicBezTo>
                    <a:pt x="4299" y="8608"/>
                    <a:pt x="4763" y="8204"/>
                    <a:pt x="4823" y="7394"/>
                  </a:cubicBezTo>
                  <a:lnTo>
                    <a:pt x="5513" y="7394"/>
                  </a:lnTo>
                  <a:cubicBezTo>
                    <a:pt x="6454" y="7394"/>
                    <a:pt x="7228" y="6644"/>
                    <a:pt x="7228" y="5691"/>
                  </a:cubicBezTo>
                  <a:lnTo>
                    <a:pt x="7228" y="4334"/>
                  </a:lnTo>
                  <a:lnTo>
                    <a:pt x="7764" y="4334"/>
                  </a:lnTo>
                  <a:cubicBezTo>
                    <a:pt x="7716" y="4715"/>
                    <a:pt x="7704" y="5429"/>
                    <a:pt x="8157" y="5894"/>
                  </a:cubicBezTo>
                  <a:cubicBezTo>
                    <a:pt x="8407" y="6168"/>
                    <a:pt x="8764" y="6299"/>
                    <a:pt x="9240" y="6299"/>
                  </a:cubicBezTo>
                  <a:cubicBezTo>
                    <a:pt x="9311" y="6299"/>
                    <a:pt x="9383" y="6299"/>
                    <a:pt x="9478" y="6287"/>
                  </a:cubicBezTo>
                  <a:cubicBezTo>
                    <a:pt x="9704" y="6263"/>
                    <a:pt x="9776" y="5965"/>
                    <a:pt x="9561" y="5846"/>
                  </a:cubicBezTo>
                  <a:cubicBezTo>
                    <a:pt x="8847" y="5429"/>
                    <a:pt x="9002" y="4715"/>
                    <a:pt x="9145" y="4334"/>
                  </a:cubicBezTo>
                  <a:lnTo>
                    <a:pt x="10276" y="4334"/>
                  </a:lnTo>
                  <a:cubicBezTo>
                    <a:pt x="11205" y="4334"/>
                    <a:pt x="11943" y="3584"/>
                    <a:pt x="11943" y="2667"/>
                  </a:cubicBezTo>
                  <a:lnTo>
                    <a:pt x="11943" y="179"/>
                  </a:lnTo>
                  <a:cubicBezTo>
                    <a:pt x="11919" y="95"/>
                    <a:pt x="11847" y="0"/>
                    <a:pt x="11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5" name="Google Shape;10185;p58"/>
            <p:cNvSpPr/>
            <p:nvPr/>
          </p:nvSpPr>
          <p:spPr>
            <a:xfrm>
              <a:off x="7384751" y="4147984"/>
              <a:ext cx="380012" cy="228382"/>
            </a:xfrm>
            <a:custGeom>
              <a:avLst/>
              <a:gdLst/>
              <a:ahLst/>
              <a:cxnLst/>
              <a:rect l="l" t="t" r="r" b="b"/>
              <a:pathLst>
                <a:path w="11967" h="7192" extrusionOk="0">
                  <a:moveTo>
                    <a:pt x="3144" y="0"/>
                  </a:moveTo>
                  <a:cubicBezTo>
                    <a:pt x="2227" y="0"/>
                    <a:pt x="1477" y="739"/>
                    <a:pt x="1477" y="1667"/>
                  </a:cubicBezTo>
                  <a:lnTo>
                    <a:pt x="1477" y="4132"/>
                  </a:lnTo>
                  <a:cubicBezTo>
                    <a:pt x="1108" y="4191"/>
                    <a:pt x="751" y="4358"/>
                    <a:pt x="477" y="4644"/>
                  </a:cubicBezTo>
                  <a:cubicBezTo>
                    <a:pt x="168" y="4965"/>
                    <a:pt x="1" y="5382"/>
                    <a:pt x="1" y="5823"/>
                  </a:cubicBezTo>
                  <a:lnTo>
                    <a:pt x="1" y="7013"/>
                  </a:lnTo>
                  <a:cubicBezTo>
                    <a:pt x="1" y="7097"/>
                    <a:pt x="84" y="7192"/>
                    <a:pt x="180" y="7192"/>
                  </a:cubicBezTo>
                  <a:cubicBezTo>
                    <a:pt x="275" y="7192"/>
                    <a:pt x="358" y="7108"/>
                    <a:pt x="358" y="7013"/>
                  </a:cubicBezTo>
                  <a:lnTo>
                    <a:pt x="358" y="5823"/>
                  </a:lnTo>
                  <a:cubicBezTo>
                    <a:pt x="358" y="5465"/>
                    <a:pt x="501" y="5132"/>
                    <a:pt x="751" y="4882"/>
                  </a:cubicBezTo>
                  <a:cubicBezTo>
                    <a:pt x="953" y="4668"/>
                    <a:pt x="1203" y="4537"/>
                    <a:pt x="1489" y="4477"/>
                  </a:cubicBezTo>
                  <a:lnTo>
                    <a:pt x="1489" y="5084"/>
                  </a:lnTo>
                  <a:cubicBezTo>
                    <a:pt x="1489" y="6013"/>
                    <a:pt x="2239" y="6751"/>
                    <a:pt x="3156" y="6751"/>
                  </a:cubicBezTo>
                  <a:lnTo>
                    <a:pt x="5240" y="6751"/>
                  </a:lnTo>
                  <a:cubicBezTo>
                    <a:pt x="5335" y="6751"/>
                    <a:pt x="5418" y="6680"/>
                    <a:pt x="5418" y="6573"/>
                  </a:cubicBezTo>
                  <a:cubicBezTo>
                    <a:pt x="5418" y="6489"/>
                    <a:pt x="5347" y="6394"/>
                    <a:pt x="5240" y="6394"/>
                  </a:cubicBezTo>
                  <a:lnTo>
                    <a:pt x="3156" y="6394"/>
                  </a:lnTo>
                  <a:cubicBezTo>
                    <a:pt x="2430" y="6394"/>
                    <a:pt x="1834" y="5799"/>
                    <a:pt x="1834" y="5073"/>
                  </a:cubicBezTo>
                  <a:lnTo>
                    <a:pt x="1834" y="1620"/>
                  </a:lnTo>
                  <a:cubicBezTo>
                    <a:pt x="1834" y="893"/>
                    <a:pt x="2430" y="298"/>
                    <a:pt x="3156" y="298"/>
                  </a:cubicBezTo>
                  <a:lnTo>
                    <a:pt x="10288" y="298"/>
                  </a:lnTo>
                  <a:cubicBezTo>
                    <a:pt x="11014" y="298"/>
                    <a:pt x="11610" y="893"/>
                    <a:pt x="11610" y="1620"/>
                  </a:cubicBezTo>
                  <a:lnTo>
                    <a:pt x="11610" y="1846"/>
                  </a:lnTo>
                  <a:cubicBezTo>
                    <a:pt x="11610" y="1929"/>
                    <a:pt x="11693" y="2025"/>
                    <a:pt x="11788" y="2025"/>
                  </a:cubicBezTo>
                  <a:cubicBezTo>
                    <a:pt x="11883" y="2025"/>
                    <a:pt x="11967" y="1953"/>
                    <a:pt x="11967" y="1846"/>
                  </a:cubicBezTo>
                  <a:lnTo>
                    <a:pt x="11967" y="1620"/>
                  </a:lnTo>
                  <a:cubicBezTo>
                    <a:pt x="11943" y="762"/>
                    <a:pt x="11193" y="0"/>
                    <a:pt x="102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6" name="Google Shape;10186;p58"/>
            <p:cNvSpPr/>
            <p:nvPr/>
          </p:nvSpPr>
          <p:spPr>
            <a:xfrm>
              <a:off x="7507642" y="4228134"/>
              <a:ext cx="37852" cy="37852"/>
            </a:xfrm>
            <a:custGeom>
              <a:avLst/>
              <a:gdLst/>
              <a:ahLst/>
              <a:cxnLst/>
              <a:rect l="l" t="t" r="r" b="b"/>
              <a:pathLst>
                <a:path w="1192" h="1192" extrusionOk="0">
                  <a:moveTo>
                    <a:pt x="596" y="358"/>
                  </a:moveTo>
                  <a:cubicBezTo>
                    <a:pt x="739" y="358"/>
                    <a:pt x="834" y="465"/>
                    <a:pt x="834" y="596"/>
                  </a:cubicBezTo>
                  <a:cubicBezTo>
                    <a:pt x="834" y="739"/>
                    <a:pt x="739" y="834"/>
                    <a:pt x="596" y="834"/>
                  </a:cubicBezTo>
                  <a:cubicBezTo>
                    <a:pt x="465" y="834"/>
                    <a:pt x="358" y="739"/>
                    <a:pt x="358" y="596"/>
                  </a:cubicBezTo>
                  <a:cubicBezTo>
                    <a:pt x="358" y="465"/>
                    <a:pt x="465" y="358"/>
                    <a:pt x="596" y="358"/>
                  </a:cubicBezTo>
                  <a:close/>
                  <a:moveTo>
                    <a:pt x="596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6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7" name="Google Shape;10187;p58"/>
            <p:cNvSpPr/>
            <p:nvPr/>
          </p:nvSpPr>
          <p:spPr>
            <a:xfrm>
              <a:off x="7573820" y="4228134"/>
              <a:ext cx="37820" cy="37852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358"/>
                  </a:moveTo>
                  <a:cubicBezTo>
                    <a:pt x="738" y="358"/>
                    <a:pt x="833" y="465"/>
                    <a:pt x="833" y="596"/>
                  </a:cubicBezTo>
                  <a:cubicBezTo>
                    <a:pt x="833" y="739"/>
                    <a:pt x="738" y="834"/>
                    <a:pt x="595" y="834"/>
                  </a:cubicBezTo>
                  <a:cubicBezTo>
                    <a:pt x="464" y="834"/>
                    <a:pt x="357" y="739"/>
                    <a:pt x="357" y="596"/>
                  </a:cubicBezTo>
                  <a:cubicBezTo>
                    <a:pt x="357" y="465"/>
                    <a:pt x="464" y="358"/>
                    <a:pt x="595" y="358"/>
                  </a:cubicBezTo>
                  <a:close/>
                  <a:moveTo>
                    <a:pt x="595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5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8" name="Google Shape;10188;p58"/>
            <p:cNvSpPr/>
            <p:nvPr/>
          </p:nvSpPr>
          <p:spPr>
            <a:xfrm>
              <a:off x="7640728" y="4228134"/>
              <a:ext cx="37852" cy="37852"/>
            </a:xfrm>
            <a:custGeom>
              <a:avLst/>
              <a:gdLst/>
              <a:ahLst/>
              <a:cxnLst/>
              <a:rect l="l" t="t" r="r" b="b"/>
              <a:pathLst>
                <a:path w="1192" h="1192" extrusionOk="0">
                  <a:moveTo>
                    <a:pt x="596" y="358"/>
                  </a:moveTo>
                  <a:cubicBezTo>
                    <a:pt x="727" y="358"/>
                    <a:pt x="834" y="465"/>
                    <a:pt x="834" y="596"/>
                  </a:cubicBezTo>
                  <a:cubicBezTo>
                    <a:pt x="834" y="739"/>
                    <a:pt x="727" y="834"/>
                    <a:pt x="596" y="834"/>
                  </a:cubicBezTo>
                  <a:cubicBezTo>
                    <a:pt x="453" y="834"/>
                    <a:pt x="358" y="739"/>
                    <a:pt x="358" y="596"/>
                  </a:cubicBezTo>
                  <a:cubicBezTo>
                    <a:pt x="334" y="465"/>
                    <a:pt x="453" y="358"/>
                    <a:pt x="596" y="358"/>
                  </a:cubicBezTo>
                  <a:close/>
                  <a:moveTo>
                    <a:pt x="596" y="1"/>
                  </a:moveTo>
                  <a:cubicBezTo>
                    <a:pt x="262" y="1"/>
                    <a:pt x="0" y="274"/>
                    <a:pt x="0" y="596"/>
                  </a:cubicBezTo>
                  <a:cubicBezTo>
                    <a:pt x="0" y="929"/>
                    <a:pt x="262" y="1191"/>
                    <a:pt x="596" y="1191"/>
                  </a:cubicBezTo>
                  <a:cubicBezTo>
                    <a:pt x="917" y="1191"/>
                    <a:pt x="1191" y="929"/>
                    <a:pt x="1191" y="596"/>
                  </a:cubicBezTo>
                  <a:cubicBezTo>
                    <a:pt x="1191" y="274"/>
                    <a:pt x="917" y="1"/>
                    <a:pt x="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3" name="Google Shape;10193;p59"/>
          <p:cNvSpPr txBox="1">
            <a:spLocks noGrp="1"/>
          </p:cNvSpPr>
          <p:nvPr>
            <p:ph type="title" idx="4294967295"/>
          </p:nvPr>
        </p:nvSpPr>
        <p:spPr>
          <a:xfrm>
            <a:off x="849675" y="94792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Educational 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94" name="Google Shape;10194;p59"/>
          <p:cNvSpPr txBox="1">
            <a:spLocks noGrp="1"/>
          </p:cNvSpPr>
          <p:nvPr>
            <p:ph type="title" idx="4294967295"/>
          </p:nvPr>
        </p:nvSpPr>
        <p:spPr>
          <a:xfrm>
            <a:off x="4858400" y="94792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Medical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5" name="Google Shape;10195;p59"/>
          <p:cNvGrpSpPr/>
          <p:nvPr/>
        </p:nvGrpSpPr>
        <p:grpSpPr>
          <a:xfrm>
            <a:off x="1989449" y="4282269"/>
            <a:ext cx="374774" cy="346073"/>
            <a:chOff x="1989449" y="4282269"/>
            <a:chExt cx="374774" cy="346073"/>
          </a:xfrm>
        </p:grpSpPr>
        <p:sp>
          <p:nvSpPr>
            <p:cNvPr id="10196" name="Google Shape;10196;p59"/>
            <p:cNvSpPr/>
            <p:nvPr/>
          </p:nvSpPr>
          <p:spPr>
            <a:xfrm>
              <a:off x="2067590" y="4506432"/>
              <a:ext cx="78172" cy="70941"/>
            </a:xfrm>
            <a:custGeom>
              <a:avLst/>
              <a:gdLst/>
              <a:ahLst/>
              <a:cxnLst/>
              <a:rect l="l" t="t" r="r" b="b"/>
              <a:pathLst>
                <a:path w="2454" h="2227" extrusionOk="0">
                  <a:moveTo>
                    <a:pt x="1231" y="325"/>
                  </a:moveTo>
                  <a:cubicBezTo>
                    <a:pt x="1435" y="325"/>
                    <a:pt x="1638" y="399"/>
                    <a:pt x="1786" y="548"/>
                  </a:cubicBezTo>
                  <a:cubicBezTo>
                    <a:pt x="2096" y="857"/>
                    <a:pt x="2096" y="1369"/>
                    <a:pt x="1786" y="1667"/>
                  </a:cubicBezTo>
                  <a:cubicBezTo>
                    <a:pt x="1626" y="1822"/>
                    <a:pt x="1420" y="1899"/>
                    <a:pt x="1218" y="1899"/>
                  </a:cubicBezTo>
                  <a:cubicBezTo>
                    <a:pt x="1016" y="1899"/>
                    <a:pt x="816" y="1822"/>
                    <a:pt x="667" y="1667"/>
                  </a:cubicBezTo>
                  <a:cubicBezTo>
                    <a:pt x="358" y="1357"/>
                    <a:pt x="358" y="845"/>
                    <a:pt x="667" y="548"/>
                  </a:cubicBezTo>
                  <a:cubicBezTo>
                    <a:pt x="822" y="399"/>
                    <a:pt x="1027" y="325"/>
                    <a:pt x="1231" y="325"/>
                  </a:cubicBezTo>
                  <a:close/>
                  <a:moveTo>
                    <a:pt x="1237" y="0"/>
                  </a:moveTo>
                  <a:cubicBezTo>
                    <a:pt x="950" y="0"/>
                    <a:pt x="661" y="107"/>
                    <a:pt x="441" y="322"/>
                  </a:cubicBezTo>
                  <a:cubicBezTo>
                    <a:pt x="1" y="762"/>
                    <a:pt x="1" y="1476"/>
                    <a:pt x="441" y="1905"/>
                  </a:cubicBezTo>
                  <a:cubicBezTo>
                    <a:pt x="655" y="2119"/>
                    <a:pt x="944" y="2227"/>
                    <a:pt x="1233" y="2227"/>
                  </a:cubicBezTo>
                  <a:cubicBezTo>
                    <a:pt x="1522" y="2227"/>
                    <a:pt x="1810" y="2119"/>
                    <a:pt x="2025" y="1905"/>
                  </a:cubicBezTo>
                  <a:cubicBezTo>
                    <a:pt x="2453" y="1476"/>
                    <a:pt x="2453" y="762"/>
                    <a:pt x="2025" y="322"/>
                  </a:cubicBezTo>
                  <a:cubicBezTo>
                    <a:pt x="1810" y="107"/>
                    <a:pt x="1525" y="0"/>
                    <a:pt x="12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7" name="Google Shape;10197;p59"/>
            <p:cNvSpPr/>
            <p:nvPr/>
          </p:nvSpPr>
          <p:spPr>
            <a:xfrm>
              <a:off x="2036117" y="4422972"/>
              <a:ext cx="77790" cy="70973"/>
            </a:xfrm>
            <a:custGeom>
              <a:avLst/>
              <a:gdLst/>
              <a:ahLst/>
              <a:cxnLst/>
              <a:rect l="l" t="t" r="r" b="b"/>
              <a:pathLst>
                <a:path w="2442" h="2228" extrusionOk="0">
                  <a:moveTo>
                    <a:pt x="1224" y="328"/>
                  </a:moveTo>
                  <a:cubicBezTo>
                    <a:pt x="1426" y="328"/>
                    <a:pt x="1626" y="406"/>
                    <a:pt x="1774" y="560"/>
                  </a:cubicBezTo>
                  <a:cubicBezTo>
                    <a:pt x="2084" y="882"/>
                    <a:pt x="2084" y="1382"/>
                    <a:pt x="1774" y="1680"/>
                  </a:cubicBezTo>
                  <a:cubicBezTo>
                    <a:pt x="1620" y="1834"/>
                    <a:pt x="1420" y="1912"/>
                    <a:pt x="1219" y="1912"/>
                  </a:cubicBezTo>
                  <a:cubicBezTo>
                    <a:pt x="1018" y="1912"/>
                    <a:pt x="816" y="1834"/>
                    <a:pt x="655" y="1680"/>
                  </a:cubicBezTo>
                  <a:cubicBezTo>
                    <a:pt x="346" y="1370"/>
                    <a:pt x="346" y="858"/>
                    <a:pt x="655" y="560"/>
                  </a:cubicBezTo>
                  <a:cubicBezTo>
                    <a:pt x="816" y="406"/>
                    <a:pt x="1021" y="328"/>
                    <a:pt x="1224" y="328"/>
                  </a:cubicBezTo>
                  <a:close/>
                  <a:moveTo>
                    <a:pt x="1227" y="1"/>
                  </a:moveTo>
                  <a:cubicBezTo>
                    <a:pt x="941" y="1"/>
                    <a:pt x="655" y="108"/>
                    <a:pt x="441" y="322"/>
                  </a:cubicBezTo>
                  <a:cubicBezTo>
                    <a:pt x="0" y="763"/>
                    <a:pt x="0" y="1477"/>
                    <a:pt x="441" y="1906"/>
                  </a:cubicBezTo>
                  <a:cubicBezTo>
                    <a:pt x="655" y="2120"/>
                    <a:pt x="941" y="2227"/>
                    <a:pt x="1227" y="2227"/>
                  </a:cubicBezTo>
                  <a:cubicBezTo>
                    <a:pt x="1512" y="2227"/>
                    <a:pt x="1798" y="2120"/>
                    <a:pt x="2012" y="1906"/>
                  </a:cubicBezTo>
                  <a:cubicBezTo>
                    <a:pt x="2441" y="1477"/>
                    <a:pt x="2441" y="775"/>
                    <a:pt x="2012" y="322"/>
                  </a:cubicBezTo>
                  <a:cubicBezTo>
                    <a:pt x="1798" y="108"/>
                    <a:pt x="1512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8" name="Google Shape;10198;p59"/>
            <p:cNvSpPr/>
            <p:nvPr/>
          </p:nvSpPr>
          <p:spPr>
            <a:xfrm>
              <a:off x="2073292" y="4336327"/>
              <a:ext cx="77758" cy="71419"/>
            </a:xfrm>
            <a:custGeom>
              <a:avLst/>
              <a:gdLst/>
              <a:ahLst/>
              <a:cxnLst/>
              <a:rect l="l" t="t" r="r" b="b"/>
              <a:pathLst>
                <a:path w="2441" h="2242" extrusionOk="0">
                  <a:moveTo>
                    <a:pt x="1231" y="345"/>
                  </a:moveTo>
                  <a:cubicBezTo>
                    <a:pt x="1435" y="345"/>
                    <a:pt x="1637" y="423"/>
                    <a:pt x="1786" y="578"/>
                  </a:cubicBezTo>
                  <a:cubicBezTo>
                    <a:pt x="2084" y="875"/>
                    <a:pt x="2084" y="1375"/>
                    <a:pt x="1786" y="1697"/>
                  </a:cubicBezTo>
                  <a:cubicBezTo>
                    <a:pt x="1631" y="1852"/>
                    <a:pt x="1426" y="1929"/>
                    <a:pt x="1222" y="1929"/>
                  </a:cubicBezTo>
                  <a:cubicBezTo>
                    <a:pt x="1018" y="1929"/>
                    <a:pt x="816" y="1852"/>
                    <a:pt x="667" y="1697"/>
                  </a:cubicBezTo>
                  <a:cubicBezTo>
                    <a:pt x="357" y="1375"/>
                    <a:pt x="357" y="875"/>
                    <a:pt x="667" y="578"/>
                  </a:cubicBezTo>
                  <a:cubicBezTo>
                    <a:pt x="822" y="423"/>
                    <a:pt x="1027" y="345"/>
                    <a:pt x="1231" y="345"/>
                  </a:cubicBezTo>
                  <a:close/>
                  <a:moveTo>
                    <a:pt x="1216" y="0"/>
                  </a:moveTo>
                  <a:cubicBezTo>
                    <a:pt x="929" y="0"/>
                    <a:pt x="643" y="113"/>
                    <a:pt x="429" y="339"/>
                  </a:cubicBezTo>
                  <a:cubicBezTo>
                    <a:pt x="0" y="768"/>
                    <a:pt x="0" y="1482"/>
                    <a:pt x="429" y="1911"/>
                  </a:cubicBezTo>
                  <a:cubicBezTo>
                    <a:pt x="643" y="2131"/>
                    <a:pt x="929" y="2242"/>
                    <a:pt x="1216" y="2242"/>
                  </a:cubicBezTo>
                  <a:cubicBezTo>
                    <a:pt x="1503" y="2242"/>
                    <a:pt x="1792" y="2131"/>
                    <a:pt x="2012" y="1911"/>
                  </a:cubicBezTo>
                  <a:cubicBezTo>
                    <a:pt x="2441" y="1482"/>
                    <a:pt x="2441" y="768"/>
                    <a:pt x="2012" y="339"/>
                  </a:cubicBezTo>
                  <a:cubicBezTo>
                    <a:pt x="1792" y="113"/>
                    <a:pt x="1503" y="0"/>
                    <a:pt x="12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9" name="Google Shape;10199;p59"/>
            <p:cNvSpPr/>
            <p:nvPr/>
          </p:nvSpPr>
          <p:spPr>
            <a:xfrm>
              <a:off x="2181376" y="4334606"/>
              <a:ext cx="126719" cy="117449"/>
            </a:xfrm>
            <a:custGeom>
              <a:avLst/>
              <a:gdLst/>
              <a:ahLst/>
              <a:cxnLst/>
              <a:rect l="l" t="t" r="r" b="b"/>
              <a:pathLst>
                <a:path w="3978" h="3687" extrusionOk="0">
                  <a:moveTo>
                    <a:pt x="2013" y="1"/>
                  </a:moveTo>
                  <a:cubicBezTo>
                    <a:pt x="1542" y="1"/>
                    <a:pt x="1072" y="179"/>
                    <a:pt x="715" y="536"/>
                  </a:cubicBezTo>
                  <a:cubicBezTo>
                    <a:pt x="0" y="1251"/>
                    <a:pt x="0" y="2429"/>
                    <a:pt x="715" y="3144"/>
                  </a:cubicBezTo>
                  <a:cubicBezTo>
                    <a:pt x="1078" y="3507"/>
                    <a:pt x="1551" y="3686"/>
                    <a:pt x="2023" y="3686"/>
                  </a:cubicBezTo>
                  <a:cubicBezTo>
                    <a:pt x="2558" y="3686"/>
                    <a:pt x="3092" y="3456"/>
                    <a:pt x="3465" y="3001"/>
                  </a:cubicBezTo>
                  <a:cubicBezTo>
                    <a:pt x="3525" y="2918"/>
                    <a:pt x="3513" y="2810"/>
                    <a:pt x="3429" y="2751"/>
                  </a:cubicBezTo>
                  <a:cubicBezTo>
                    <a:pt x="3401" y="2732"/>
                    <a:pt x="3367" y="2722"/>
                    <a:pt x="3332" y="2722"/>
                  </a:cubicBezTo>
                  <a:cubicBezTo>
                    <a:pt x="3280" y="2722"/>
                    <a:pt x="3227" y="2744"/>
                    <a:pt x="3191" y="2787"/>
                  </a:cubicBezTo>
                  <a:cubicBezTo>
                    <a:pt x="2893" y="3168"/>
                    <a:pt x="2452" y="3359"/>
                    <a:pt x="2009" y="3359"/>
                  </a:cubicBezTo>
                  <a:cubicBezTo>
                    <a:pt x="1620" y="3359"/>
                    <a:pt x="1229" y="3212"/>
                    <a:pt x="929" y="2918"/>
                  </a:cubicBezTo>
                  <a:cubicBezTo>
                    <a:pt x="334" y="2322"/>
                    <a:pt x="334" y="1370"/>
                    <a:pt x="929" y="774"/>
                  </a:cubicBezTo>
                  <a:cubicBezTo>
                    <a:pt x="1227" y="477"/>
                    <a:pt x="1614" y="328"/>
                    <a:pt x="2001" y="328"/>
                  </a:cubicBezTo>
                  <a:cubicBezTo>
                    <a:pt x="2388" y="328"/>
                    <a:pt x="2775" y="477"/>
                    <a:pt x="3072" y="774"/>
                  </a:cubicBezTo>
                  <a:cubicBezTo>
                    <a:pt x="3465" y="1155"/>
                    <a:pt x="3620" y="1727"/>
                    <a:pt x="3465" y="2263"/>
                  </a:cubicBezTo>
                  <a:cubicBezTo>
                    <a:pt x="3441" y="2358"/>
                    <a:pt x="3501" y="2441"/>
                    <a:pt x="3572" y="2477"/>
                  </a:cubicBezTo>
                  <a:cubicBezTo>
                    <a:pt x="3585" y="2481"/>
                    <a:pt x="3598" y="2482"/>
                    <a:pt x="3611" y="2482"/>
                  </a:cubicBezTo>
                  <a:cubicBezTo>
                    <a:pt x="3683" y="2482"/>
                    <a:pt x="3755" y="2430"/>
                    <a:pt x="3775" y="2370"/>
                  </a:cubicBezTo>
                  <a:cubicBezTo>
                    <a:pt x="3977" y="1715"/>
                    <a:pt x="3799" y="1013"/>
                    <a:pt x="3310" y="536"/>
                  </a:cubicBezTo>
                  <a:cubicBezTo>
                    <a:pt x="2953" y="179"/>
                    <a:pt x="2483" y="1"/>
                    <a:pt x="2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0" name="Google Shape;10200;p59"/>
            <p:cNvSpPr/>
            <p:nvPr/>
          </p:nvSpPr>
          <p:spPr>
            <a:xfrm>
              <a:off x="1989449" y="4282269"/>
              <a:ext cx="374774" cy="346073"/>
            </a:xfrm>
            <a:custGeom>
              <a:avLst/>
              <a:gdLst/>
              <a:ahLst/>
              <a:cxnLst/>
              <a:rect l="l" t="t" r="r" b="b"/>
              <a:pathLst>
                <a:path w="11765" h="10864" extrusionOk="0">
                  <a:moveTo>
                    <a:pt x="6254" y="0"/>
                  </a:moveTo>
                  <a:cubicBezTo>
                    <a:pt x="6237" y="0"/>
                    <a:pt x="6221" y="0"/>
                    <a:pt x="6204" y="1"/>
                  </a:cubicBezTo>
                  <a:cubicBezTo>
                    <a:pt x="4001" y="12"/>
                    <a:pt x="2144" y="1310"/>
                    <a:pt x="1263" y="3108"/>
                  </a:cubicBezTo>
                  <a:cubicBezTo>
                    <a:pt x="1215" y="3179"/>
                    <a:pt x="1263" y="3287"/>
                    <a:pt x="1334" y="3334"/>
                  </a:cubicBezTo>
                  <a:cubicBezTo>
                    <a:pt x="1353" y="3344"/>
                    <a:pt x="1374" y="3348"/>
                    <a:pt x="1396" y="3348"/>
                  </a:cubicBezTo>
                  <a:cubicBezTo>
                    <a:pt x="1458" y="3348"/>
                    <a:pt x="1525" y="3312"/>
                    <a:pt x="1561" y="3251"/>
                  </a:cubicBezTo>
                  <a:cubicBezTo>
                    <a:pt x="1811" y="2739"/>
                    <a:pt x="2144" y="2275"/>
                    <a:pt x="2561" y="1858"/>
                  </a:cubicBezTo>
                  <a:cubicBezTo>
                    <a:pt x="3567" y="846"/>
                    <a:pt x="4895" y="340"/>
                    <a:pt x="6228" y="340"/>
                  </a:cubicBezTo>
                  <a:cubicBezTo>
                    <a:pt x="7544" y="340"/>
                    <a:pt x="8865" y="834"/>
                    <a:pt x="9883" y="1822"/>
                  </a:cubicBezTo>
                  <a:cubicBezTo>
                    <a:pt x="10621" y="2560"/>
                    <a:pt x="11109" y="3477"/>
                    <a:pt x="11324" y="4477"/>
                  </a:cubicBezTo>
                  <a:cubicBezTo>
                    <a:pt x="11492" y="5318"/>
                    <a:pt x="10844" y="6029"/>
                    <a:pt x="10051" y="6029"/>
                  </a:cubicBezTo>
                  <a:cubicBezTo>
                    <a:pt x="9946" y="6029"/>
                    <a:pt x="9837" y="6016"/>
                    <a:pt x="9728" y="5989"/>
                  </a:cubicBezTo>
                  <a:cubicBezTo>
                    <a:pt x="9511" y="5939"/>
                    <a:pt x="9295" y="5915"/>
                    <a:pt x="9085" y="5915"/>
                  </a:cubicBezTo>
                  <a:cubicBezTo>
                    <a:pt x="7462" y="5915"/>
                    <a:pt x="6126" y="7342"/>
                    <a:pt x="6347" y="9049"/>
                  </a:cubicBezTo>
                  <a:cubicBezTo>
                    <a:pt x="6469" y="9867"/>
                    <a:pt x="5812" y="10535"/>
                    <a:pt x="5051" y="10535"/>
                  </a:cubicBezTo>
                  <a:cubicBezTo>
                    <a:pt x="4925" y="10535"/>
                    <a:pt x="4796" y="10517"/>
                    <a:pt x="4668" y="10478"/>
                  </a:cubicBezTo>
                  <a:cubicBezTo>
                    <a:pt x="1989" y="9645"/>
                    <a:pt x="334" y="6704"/>
                    <a:pt x="1322" y="3834"/>
                  </a:cubicBezTo>
                  <a:cubicBezTo>
                    <a:pt x="1346" y="3751"/>
                    <a:pt x="1311" y="3656"/>
                    <a:pt x="1215" y="3632"/>
                  </a:cubicBezTo>
                  <a:cubicBezTo>
                    <a:pt x="1196" y="3624"/>
                    <a:pt x="1176" y="3620"/>
                    <a:pt x="1157" y="3620"/>
                  </a:cubicBezTo>
                  <a:cubicBezTo>
                    <a:pt x="1092" y="3620"/>
                    <a:pt x="1031" y="3663"/>
                    <a:pt x="1013" y="3727"/>
                  </a:cubicBezTo>
                  <a:cubicBezTo>
                    <a:pt x="1" y="6704"/>
                    <a:pt x="1668" y="9859"/>
                    <a:pt x="4585" y="10788"/>
                  </a:cubicBezTo>
                  <a:cubicBezTo>
                    <a:pt x="4749" y="10839"/>
                    <a:pt x="4915" y="10864"/>
                    <a:pt x="5079" y="10864"/>
                  </a:cubicBezTo>
                  <a:cubicBezTo>
                    <a:pt x="5451" y="10864"/>
                    <a:pt x="5811" y="10734"/>
                    <a:pt x="6109" y="10478"/>
                  </a:cubicBezTo>
                  <a:cubicBezTo>
                    <a:pt x="6549" y="10121"/>
                    <a:pt x="6752" y="9549"/>
                    <a:pt x="6680" y="9002"/>
                  </a:cubicBezTo>
                  <a:cubicBezTo>
                    <a:pt x="6481" y="7520"/>
                    <a:pt x="7653" y="6252"/>
                    <a:pt x="9076" y="6252"/>
                  </a:cubicBezTo>
                  <a:cubicBezTo>
                    <a:pt x="9266" y="6252"/>
                    <a:pt x="9461" y="6275"/>
                    <a:pt x="9657" y="6323"/>
                  </a:cubicBezTo>
                  <a:cubicBezTo>
                    <a:pt x="9781" y="6352"/>
                    <a:pt x="9908" y="6367"/>
                    <a:pt x="10033" y="6367"/>
                  </a:cubicBezTo>
                  <a:cubicBezTo>
                    <a:pt x="10460" y="6367"/>
                    <a:pt x="10880" y="6200"/>
                    <a:pt x="11193" y="5906"/>
                  </a:cubicBezTo>
                  <a:cubicBezTo>
                    <a:pt x="11574" y="5513"/>
                    <a:pt x="11764" y="4965"/>
                    <a:pt x="11645" y="4418"/>
                  </a:cubicBezTo>
                  <a:cubicBezTo>
                    <a:pt x="11113" y="1897"/>
                    <a:pt x="8910" y="0"/>
                    <a:pt x="62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01" name="Google Shape;10201;p59"/>
          <p:cNvGrpSpPr/>
          <p:nvPr/>
        </p:nvGrpSpPr>
        <p:grpSpPr>
          <a:xfrm>
            <a:off x="2487439" y="4280740"/>
            <a:ext cx="198775" cy="348972"/>
            <a:chOff x="2487439" y="4280740"/>
            <a:chExt cx="198775" cy="348972"/>
          </a:xfrm>
        </p:grpSpPr>
        <p:sp>
          <p:nvSpPr>
            <p:cNvPr id="10202" name="Google Shape;10202;p59"/>
            <p:cNvSpPr/>
            <p:nvPr/>
          </p:nvSpPr>
          <p:spPr>
            <a:xfrm>
              <a:off x="2487439" y="4280740"/>
              <a:ext cx="198775" cy="348972"/>
            </a:xfrm>
            <a:custGeom>
              <a:avLst/>
              <a:gdLst/>
              <a:ahLst/>
              <a:cxnLst/>
              <a:rect l="l" t="t" r="r" b="b"/>
              <a:pathLst>
                <a:path w="6240" h="10955" extrusionOk="0">
                  <a:moveTo>
                    <a:pt x="5644" y="358"/>
                  </a:moveTo>
                  <a:lnTo>
                    <a:pt x="5644" y="2870"/>
                  </a:lnTo>
                  <a:cubicBezTo>
                    <a:pt x="5644" y="4001"/>
                    <a:pt x="4882" y="5013"/>
                    <a:pt x="3787" y="5311"/>
                  </a:cubicBezTo>
                  <a:cubicBezTo>
                    <a:pt x="3716" y="5323"/>
                    <a:pt x="3656" y="5406"/>
                    <a:pt x="3656" y="5478"/>
                  </a:cubicBezTo>
                  <a:cubicBezTo>
                    <a:pt x="3656" y="5549"/>
                    <a:pt x="3716" y="5621"/>
                    <a:pt x="3787" y="5644"/>
                  </a:cubicBezTo>
                  <a:cubicBezTo>
                    <a:pt x="4882" y="5942"/>
                    <a:pt x="5644" y="6954"/>
                    <a:pt x="5644" y="8085"/>
                  </a:cubicBezTo>
                  <a:lnTo>
                    <a:pt x="5644" y="10597"/>
                  </a:lnTo>
                  <a:lnTo>
                    <a:pt x="584" y="10597"/>
                  </a:lnTo>
                  <a:lnTo>
                    <a:pt x="584" y="8085"/>
                  </a:lnTo>
                  <a:cubicBezTo>
                    <a:pt x="584" y="6954"/>
                    <a:pt x="1346" y="5942"/>
                    <a:pt x="2442" y="5644"/>
                  </a:cubicBezTo>
                  <a:cubicBezTo>
                    <a:pt x="2525" y="5621"/>
                    <a:pt x="2573" y="5549"/>
                    <a:pt x="2573" y="5478"/>
                  </a:cubicBezTo>
                  <a:cubicBezTo>
                    <a:pt x="2573" y="5406"/>
                    <a:pt x="2525" y="5323"/>
                    <a:pt x="2442" y="5311"/>
                  </a:cubicBezTo>
                  <a:cubicBezTo>
                    <a:pt x="1346" y="5013"/>
                    <a:pt x="584" y="4001"/>
                    <a:pt x="584" y="2870"/>
                  </a:cubicBezTo>
                  <a:lnTo>
                    <a:pt x="584" y="358"/>
                  </a:lnTo>
                  <a:close/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84" y="358"/>
                    <a:pt x="179" y="358"/>
                  </a:cubicBezTo>
                  <a:lnTo>
                    <a:pt x="239" y="358"/>
                  </a:lnTo>
                  <a:lnTo>
                    <a:pt x="239" y="2870"/>
                  </a:lnTo>
                  <a:cubicBezTo>
                    <a:pt x="239" y="4001"/>
                    <a:pt x="894" y="5013"/>
                    <a:pt x="1894" y="5478"/>
                  </a:cubicBezTo>
                  <a:cubicBezTo>
                    <a:pt x="894" y="5942"/>
                    <a:pt x="239" y="6966"/>
                    <a:pt x="239" y="8085"/>
                  </a:cubicBezTo>
                  <a:lnTo>
                    <a:pt x="239" y="10597"/>
                  </a:lnTo>
                  <a:lnTo>
                    <a:pt x="179" y="10597"/>
                  </a:lnTo>
                  <a:cubicBezTo>
                    <a:pt x="84" y="10597"/>
                    <a:pt x="1" y="10669"/>
                    <a:pt x="1" y="10776"/>
                  </a:cubicBezTo>
                  <a:cubicBezTo>
                    <a:pt x="1" y="10883"/>
                    <a:pt x="84" y="10955"/>
                    <a:pt x="179" y="10955"/>
                  </a:cubicBezTo>
                  <a:lnTo>
                    <a:pt x="6061" y="10955"/>
                  </a:lnTo>
                  <a:cubicBezTo>
                    <a:pt x="6168" y="10955"/>
                    <a:pt x="6240" y="10883"/>
                    <a:pt x="6240" y="10776"/>
                  </a:cubicBezTo>
                  <a:cubicBezTo>
                    <a:pt x="6240" y="10669"/>
                    <a:pt x="6144" y="10597"/>
                    <a:pt x="6061" y="10597"/>
                  </a:cubicBezTo>
                  <a:lnTo>
                    <a:pt x="6002" y="10597"/>
                  </a:lnTo>
                  <a:lnTo>
                    <a:pt x="6002" y="8085"/>
                  </a:lnTo>
                  <a:cubicBezTo>
                    <a:pt x="6002" y="6954"/>
                    <a:pt x="5347" y="5942"/>
                    <a:pt x="4347" y="5478"/>
                  </a:cubicBezTo>
                  <a:cubicBezTo>
                    <a:pt x="5347" y="5013"/>
                    <a:pt x="6002" y="3989"/>
                    <a:pt x="6002" y="2870"/>
                  </a:cubicBezTo>
                  <a:lnTo>
                    <a:pt x="6002" y="358"/>
                  </a:lnTo>
                  <a:lnTo>
                    <a:pt x="6061" y="358"/>
                  </a:lnTo>
                  <a:cubicBezTo>
                    <a:pt x="6168" y="358"/>
                    <a:pt x="6240" y="287"/>
                    <a:pt x="6240" y="179"/>
                  </a:cubicBezTo>
                  <a:cubicBezTo>
                    <a:pt x="6240" y="72"/>
                    <a:pt x="6168" y="1"/>
                    <a:pt x="6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3" name="Google Shape;10203;p59"/>
            <p:cNvSpPr/>
            <p:nvPr/>
          </p:nvSpPr>
          <p:spPr>
            <a:xfrm>
              <a:off x="2516267" y="4511784"/>
              <a:ext cx="139620" cy="95565"/>
            </a:xfrm>
            <a:custGeom>
              <a:avLst/>
              <a:gdLst/>
              <a:ahLst/>
              <a:cxnLst/>
              <a:rect l="l" t="t" r="r" b="b"/>
              <a:pathLst>
                <a:path w="4383" h="3000" extrusionOk="0">
                  <a:moveTo>
                    <a:pt x="1670" y="0"/>
                  </a:moveTo>
                  <a:cubicBezTo>
                    <a:pt x="1650" y="0"/>
                    <a:pt x="1629" y="4"/>
                    <a:pt x="1608" y="11"/>
                  </a:cubicBezTo>
                  <a:cubicBezTo>
                    <a:pt x="679" y="261"/>
                    <a:pt x="1" y="1130"/>
                    <a:pt x="1" y="2106"/>
                  </a:cubicBezTo>
                  <a:lnTo>
                    <a:pt x="1" y="2821"/>
                  </a:lnTo>
                  <a:cubicBezTo>
                    <a:pt x="1" y="2928"/>
                    <a:pt x="84" y="2999"/>
                    <a:pt x="179" y="2999"/>
                  </a:cubicBezTo>
                  <a:lnTo>
                    <a:pt x="4192" y="2999"/>
                  </a:lnTo>
                  <a:cubicBezTo>
                    <a:pt x="4299" y="2999"/>
                    <a:pt x="4370" y="2928"/>
                    <a:pt x="4370" y="2821"/>
                  </a:cubicBezTo>
                  <a:lnTo>
                    <a:pt x="4370" y="2106"/>
                  </a:lnTo>
                  <a:cubicBezTo>
                    <a:pt x="4382" y="1130"/>
                    <a:pt x="3727" y="261"/>
                    <a:pt x="2787" y="11"/>
                  </a:cubicBezTo>
                  <a:cubicBezTo>
                    <a:pt x="2770" y="4"/>
                    <a:pt x="2752" y="0"/>
                    <a:pt x="2735" y="0"/>
                  </a:cubicBezTo>
                  <a:cubicBezTo>
                    <a:pt x="2663" y="0"/>
                    <a:pt x="2589" y="54"/>
                    <a:pt x="2560" y="130"/>
                  </a:cubicBezTo>
                  <a:cubicBezTo>
                    <a:pt x="2537" y="213"/>
                    <a:pt x="2596" y="320"/>
                    <a:pt x="2680" y="356"/>
                  </a:cubicBezTo>
                  <a:cubicBezTo>
                    <a:pt x="3477" y="570"/>
                    <a:pt x="4025" y="1285"/>
                    <a:pt x="4025" y="2106"/>
                  </a:cubicBezTo>
                  <a:lnTo>
                    <a:pt x="4025" y="2642"/>
                  </a:lnTo>
                  <a:lnTo>
                    <a:pt x="382" y="2642"/>
                  </a:lnTo>
                  <a:lnTo>
                    <a:pt x="382" y="2106"/>
                  </a:lnTo>
                  <a:cubicBezTo>
                    <a:pt x="382" y="1285"/>
                    <a:pt x="929" y="558"/>
                    <a:pt x="1715" y="356"/>
                  </a:cubicBezTo>
                  <a:cubicBezTo>
                    <a:pt x="1810" y="320"/>
                    <a:pt x="1870" y="237"/>
                    <a:pt x="1834" y="130"/>
                  </a:cubicBezTo>
                  <a:cubicBezTo>
                    <a:pt x="1815" y="54"/>
                    <a:pt x="1750" y="0"/>
                    <a:pt x="16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4" name="Google Shape;10204;p59"/>
            <p:cNvSpPr/>
            <p:nvPr/>
          </p:nvSpPr>
          <p:spPr>
            <a:xfrm>
              <a:off x="2518911" y="4385065"/>
              <a:ext cx="134683" cy="105090"/>
            </a:xfrm>
            <a:custGeom>
              <a:avLst/>
              <a:gdLst/>
              <a:ahLst/>
              <a:cxnLst/>
              <a:rect l="l" t="t" r="r" b="b"/>
              <a:pathLst>
                <a:path w="4228" h="3299" extrusionOk="0">
                  <a:moveTo>
                    <a:pt x="191" y="0"/>
                  </a:moveTo>
                  <a:cubicBezTo>
                    <a:pt x="132" y="0"/>
                    <a:pt x="84" y="24"/>
                    <a:pt x="49" y="72"/>
                  </a:cubicBezTo>
                  <a:cubicBezTo>
                    <a:pt x="13" y="119"/>
                    <a:pt x="1" y="179"/>
                    <a:pt x="13" y="238"/>
                  </a:cubicBezTo>
                  <a:cubicBezTo>
                    <a:pt x="239" y="953"/>
                    <a:pt x="799" y="1512"/>
                    <a:pt x="1513" y="1691"/>
                  </a:cubicBezTo>
                  <a:cubicBezTo>
                    <a:pt x="1632" y="1727"/>
                    <a:pt x="1751" y="1750"/>
                    <a:pt x="1918" y="1774"/>
                  </a:cubicBezTo>
                  <a:lnTo>
                    <a:pt x="1954" y="3120"/>
                  </a:lnTo>
                  <a:cubicBezTo>
                    <a:pt x="1954" y="3227"/>
                    <a:pt x="2025" y="3298"/>
                    <a:pt x="2132" y="3298"/>
                  </a:cubicBezTo>
                  <a:cubicBezTo>
                    <a:pt x="2227" y="3298"/>
                    <a:pt x="2311" y="3227"/>
                    <a:pt x="2311" y="3120"/>
                  </a:cubicBezTo>
                  <a:lnTo>
                    <a:pt x="2311" y="1774"/>
                  </a:lnTo>
                  <a:cubicBezTo>
                    <a:pt x="2466" y="1750"/>
                    <a:pt x="2585" y="1727"/>
                    <a:pt x="2704" y="1691"/>
                  </a:cubicBezTo>
                  <a:cubicBezTo>
                    <a:pt x="3418" y="1512"/>
                    <a:pt x="4001" y="953"/>
                    <a:pt x="4216" y="238"/>
                  </a:cubicBezTo>
                  <a:cubicBezTo>
                    <a:pt x="4228" y="179"/>
                    <a:pt x="4216" y="119"/>
                    <a:pt x="4180" y="72"/>
                  </a:cubicBezTo>
                  <a:cubicBezTo>
                    <a:pt x="4156" y="24"/>
                    <a:pt x="4097" y="0"/>
                    <a:pt x="4037" y="0"/>
                  </a:cubicBezTo>
                  <a:lnTo>
                    <a:pt x="2454" y="0"/>
                  </a:lnTo>
                  <a:cubicBezTo>
                    <a:pt x="2347" y="0"/>
                    <a:pt x="2275" y="72"/>
                    <a:pt x="2275" y="179"/>
                  </a:cubicBezTo>
                  <a:cubicBezTo>
                    <a:pt x="2275" y="286"/>
                    <a:pt x="2347" y="357"/>
                    <a:pt x="2454" y="357"/>
                  </a:cubicBezTo>
                  <a:lnTo>
                    <a:pt x="3775" y="357"/>
                  </a:lnTo>
                  <a:cubicBezTo>
                    <a:pt x="3561" y="845"/>
                    <a:pt x="3120" y="1215"/>
                    <a:pt x="2608" y="1357"/>
                  </a:cubicBezTo>
                  <a:cubicBezTo>
                    <a:pt x="2501" y="1381"/>
                    <a:pt x="2335" y="1429"/>
                    <a:pt x="2108" y="1429"/>
                  </a:cubicBezTo>
                  <a:cubicBezTo>
                    <a:pt x="1894" y="1429"/>
                    <a:pt x="1739" y="1381"/>
                    <a:pt x="1620" y="1357"/>
                  </a:cubicBezTo>
                  <a:cubicBezTo>
                    <a:pt x="1096" y="1215"/>
                    <a:pt x="668" y="845"/>
                    <a:pt x="442" y="357"/>
                  </a:cubicBezTo>
                  <a:lnTo>
                    <a:pt x="1775" y="357"/>
                  </a:lnTo>
                  <a:cubicBezTo>
                    <a:pt x="1870" y="357"/>
                    <a:pt x="1954" y="286"/>
                    <a:pt x="1954" y="179"/>
                  </a:cubicBezTo>
                  <a:cubicBezTo>
                    <a:pt x="1954" y="72"/>
                    <a:pt x="1870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5" name="Google Shape;10205;p59"/>
            <p:cNvSpPr/>
            <p:nvPr/>
          </p:nvSpPr>
          <p:spPr>
            <a:xfrm>
              <a:off x="2580742" y="4501113"/>
              <a:ext cx="11786" cy="13315"/>
            </a:xfrm>
            <a:custGeom>
              <a:avLst/>
              <a:gdLst/>
              <a:ahLst/>
              <a:cxnLst/>
              <a:rect l="l" t="t" r="r" b="b"/>
              <a:pathLst>
                <a:path w="370" h="418" extrusionOk="0">
                  <a:moveTo>
                    <a:pt x="191" y="0"/>
                  </a:moveTo>
                  <a:cubicBezTo>
                    <a:pt x="84" y="0"/>
                    <a:pt x="1" y="72"/>
                    <a:pt x="1" y="179"/>
                  </a:cubicBezTo>
                  <a:lnTo>
                    <a:pt x="1" y="239"/>
                  </a:lnTo>
                  <a:cubicBezTo>
                    <a:pt x="1" y="346"/>
                    <a:pt x="84" y="417"/>
                    <a:pt x="191" y="417"/>
                  </a:cubicBezTo>
                  <a:cubicBezTo>
                    <a:pt x="286" y="417"/>
                    <a:pt x="370" y="346"/>
                    <a:pt x="370" y="239"/>
                  </a:cubicBezTo>
                  <a:lnTo>
                    <a:pt x="370" y="179"/>
                  </a:lnTo>
                  <a:cubicBezTo>
                    <a:pt x="370" y="96"/>
                    <a:pt x="286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06" name="Google Shape;10206;p59"/>
          <p:cNvGrpSpPr/>
          <p:nvPr/>
        </p:nvGrpSpPr>
        <p:grpSpPr>
          <a:xfrm>
            <a:off x="2810958" y="4273923"/>
            <a:ext cx="353145" cy="361873"/>
            <a:chOff x="2810958" y="4273923"/>
            <a:chExt cx="353145" cy="361873"/>
          </a:xfrm>
        </p:grpSpPr>
        <p:sp>
          <p:nvSpPr>
            <p:cNvPr id="10207" name="Google Shape;10207;p59"/>
            <p:cNvSpPr/>
            <p:nvPr/>
          </p:nvSpPr>
          <p:spPr>
            <a:xfrm>
              <a:off x="2886837" y="4273923"/>
              <a:ext cx="53867" cy="169946"/>
            </a:xfrm>
            <a:custGeom>
              <a:avLst/>
              <a:gdLst/>
              <a:ahLst/>
              <a:cxnLst/>
              <a:rect l="l" t="t" r="r" b="b"/>
              <a:pathLst>
                <a:path w="1691" h="5335" extrusionOk="0">
                  <a:moveTo>
                    <a:pt x="1179" y="346"/>
                  </a:moveTo>
                  <a:cubicBezTo>
                    <a:pt x="1203" y="346"/>
                    <a:pt x="1250" y="382"/>
                    <a:pt x="1250" y="417"/>
                  </a:cubicBezTo>
                  <a:lnTo>
                    <a:pt x="1250" y="644"/>
                  </a:lnTo>
                  <a:lnTo>
                    <a:pt x="464" y="644"/>
                  </a:lnTo>
                  <a:lnTo>
                    <a:pt x="464" y="417"/>
                  </a:lnTo>
                  <a:cubicBezTo>
                    <a:pt x="452" y="382"/>
                    <a:pt x="488" y="346"/>
                    <a:pt x="524" y="346"/>
                  </a:cubicBezTo>
                  <a:close/>
                  <a:moveTo>
                    <a:pt x="1131" y="4275"/>
                  </a:moveTo>
                  <a:lnTo>
                    <a:pt x="845" y="4965"/>
                  </a:lnTo>
                  <a:lnTo>
                    <a:pt x="583" y="4275"/>
                  </a:lnTo>
                  <a:close/>
                  <a:moveTo>
                    <a:pt x="512" y="1"/>
                  </a:moveTo>
                  <a:cubicBezTo>
                    <a:pt x="298" y="1"/>
                    <a:pt x="119" y="179"/>
                    <a:pt x="119" y="405"/>
                  </a:cubicBezTo>
                  <a:lnTo>
                    <a:pt x="119" y="751"/>
                  </a:lnTo>
                  <a:cubicBezTo>
                    <a:pt x="36" y="822"/>
                    <a:pt x="0" y="929"/>
                    <a:pt x="0" y="1036"/>
                  </a:cubicBezTo>
                  <a:lnTo>
                    <a:pt x="0" y="3870"/>
                  </a:lnTo>
                  <a:cubicBezTo>
                    <a:pt x="0" y="4025"/>
                    <a:pt x="71" y="4156"/>
                    <a:pt x="191" y="4215"/>
                  </a:cubicBezTo>
                  <a:lnTo>
                    <a:pt x="560" y="5144"/>
                  </a:lnTo>
                  <a:cubicBezTo>
                    <a:pt x="607" y="5263"/>
                    <a:pt x="726" y="5335"/>
                    <a:pt x="845" y="5335"/>
                  </a:cubicBezTo>
                  <a:cubicBezTo>
                    <a:pt x="976" y="5335"/>
                    <a:pt x="1084" y="5263"/>
                    <a:pt x="1131" y="5144"/>
                  </a:cubicBezTo>
                  <a:lnTo>
                    <a:pt x="1500" y="4215"/>
                  </a:lnTo>
                  <a:cubicBezTo>
                    <a:pt x="1619" y="4144"/>
                    <a:pt x="1691" y="4025"/>
                    <a:pt x="1691" y="3870"/>
                  </a:cubicBezTo>
                  <a:lnTo>
                    <a:pt x="1691" y="3084"/>
                  </a:lnTo>
                  <a:cubicBezTo>
                    <a:pt x="1691" y="3001"/>
                    <a:pt x="1619" y="2918"/>
                    <a:pt x="1524" y="2918"/>
                  </a:cubicBezTo>
                  <a:cubicBezTo>
                    <a:pt x="1441" y="2918"/>
                    <a:pt x="1369" y="3001"/>
                    <a:pt x="1369" y="3084"/>
                  </a:cubicBezTo>
                  <a:lnTo>
                    <a:pt x="1369" y="3870"/>
                  </a:lnTo>
                  <a:cubicBezTo>
                    <a:pt x="1369" y="3906"/>
                    <a:pt x="1334" y="3953"/>
                    <a:pt x="1286" y="3953"/>
                  </a:cubicBezTo>
                  <a:lnTo>
                    <a:pt x="393" y="3953"/>
                  </a:lnTo>
                  <a:cubicBezTo>
                    <a:pt x="369" y="3953"/>
                    <a:pt x="322" y="3918"/>
                    <a:pt x="322" y="3870"/>
                  </a:cubicBezTo>
                  <a:lnTo>
                    <a:pt x="322" y="1036"/>
                  </a:lnTo>
                  <a:cubicBezTo>
                    <a:pt x="322" y="1001"/>
                    <a:pt x="357" y="953"/>
                    <a:pt x="393" y="953"/>
                  </a:cubicBezTo>
                  <a:lnTo>
                    <a:pt x="1286" y="953"/>
                  </a:lnTo>
                  <a:cubicBezTo>
                    <a:pt x="1322" y="953"/>
                    <a:pt x="1369" y="989"/>
                    <a:pt x="1369" y="1036"/>
                  </a:cubicBezTo>
                  <a:lnTo>
                    <a:pt x="1369" y="2358"/>
                  </a:lnTo>
                  <a:cubicBezTo>
                    <a:pt x="1369" y="2441"/>
                    <a:pt x="1441" y="2525"/>
                    <a:pt x="1524" y="2525"/>
                  </a:cubicBezTo>
                  <a:cubicBezTo>
                    <a:pt x="1619" y="2525"/>
                    <a:pt x="1691" y="2441"/>
                    <a:pt x="1691" y="2358"/>
                  </a:cubicBezTo>
                  <a:lnTo>
                    <a:pt x="1691" y="1036"/>
                  </a:lnTo>
                  <a:cubicBezTo>
                    <a:pt x="1691" y="929"/>
                    <a:pt x="1643" y="822"/>
                    <a:pt x="1572" y="751"/>
                  </a:cubicBezTo>
                  <a:lnTo>
                    <a:pt x="1572" y="405"/>
                  </a:lnTo>
                  <a:cubicBezTo>
                    <a:pt x="1572" y="179"/>
                    <a:pt x="1393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8" name="Google Shape;10208;p59"/>
            <p:cNvSpPr/>
            <p:nvPr/>
          </p:nvSpPr>
          <p:spPr>
            <a:xfrm>
              <a:off x="2815131" y="4273923"/>
              <a:ext cx="57307" cy="279942"/>
            </a:xfrm>
            <a:custGeom>
              <a:avLst/>
              <a:gdLst/>
              <a:ahLst/>
              <a:cxnLst/>
              <a:rect l="l" t="t" r="r" b="b"/>
              <a:pathLst>
                <a:path w="1799" h="8788" extrusionOk="0">
                  <a:moveTo>
                    <a:pt x="906" y="382"/>
                  </a:moveTo>
                  <a:lnTo>
                    <a:pt x="1251" y="1239"/>
                  </a:lnTo>
                  <a:lnTo>
                    <a:pt x="572" y="1239"/>
                  </a:lnTo>
                  <a:lnTo>
                    <a:pt x="906" y="382"/>
                  </a:lnTo>
                  <a:close/>
                  <a:moveTo>
                    <a:pt x="751" y="1548"/>
                  </a:moveTo>
                  <a:lnTo>
                    <a:pt x="751" y="7466"/>
                  </a:lnTo>
                  <a:lnTo>
                    <a:pt x="346" y="7466"/>
                  </a:lnTo>
                  <a:lnTo>
                    <a:pt x="346" y="1644"/>
                  </a:lnTo>
                  <a:cubicBezTo>
                    <a:pt x="346" y="1596"/>
                    <a:pt x="394" y="1548"/>
                    <a:pt x="429" y="1548"/>
                  </a:cubicBezTo>
                  <a:close/>
                  <a:moveTo>
                    <a:pt x="1382" y="1572"/>
                  </a:moveTo>
                  <a:cubicBezTo>
                    <a:pt x="1430" y="1572"/>
                    <a:pt x="1477" y="1608"/>
                    <a:pt x="1477" y="1656"/>
                  </a:cubicBezTo>
                  <a:lnTo>
                    <a:pt x="1477" y="7478"/>
                  </a:lnTo>
                  <a:lnTo>
                    <a:pt x="1072" y="7478"/>
                  </a:lnTo>
                  <a:lnTo>
                    <a:pt x="1072" y="1572"/>
                  </a:lnTo>
                  <a:close/>
                  <a:moveTo>
                    <a:pt x="1489" y="7787"/>
                  </a:moveTo>
                  <a:lnTo>
                    <a:pt x="1489" y="8359"/>
                  </a:lnTo>
                  <a:cubicBezTo>
                    <a:pt x="1477" y="8418"/>
                    <a:pt x="1441" y="8442"/>
                    <a:pt x="1382" y="8442"/>
                  </a:cubicBezTo>
                  <a:lnTo>
                    <a:pt x="429" y="8442"/>
                  </a:lnTo>
                  <a:cubicBezTo>
                    <a:pt x="394" y="8442"/>
                    <a:pt x="346" y="8394"/>
                    <a:pt x="346" y="8359"/>
                  </a:cubicBezTo>
                  <a:lnTo>
                    <a:pt x="346" y="7787"/>
                  </a:lnTo>
                  <a:close/>
                  <a:moveTo>
                    <a:pt x="906" y="1"/>
                  </a:moveTo>
                  <a:cubicBezTo>
                    <a:pt x="775" y="1"/>
                    <a:pt x="656" y="84"/>
                    <a:pt x="608" y="215"/>
                  </a:cubicBezTo>
                  <a:lnTo>
                    <a:pt x="179" y="1310"/>
                  </a:lnTo>
                  <a:cubicBezTo>
                    <a:pt x="72" y="1394"/>
                    <a:pt x="13" y="1513"/>
                    <a:pt x="13" y="1656"/>
                  </a:cubicBezTo>
                  <a:lnTo>
                    <a:pt x="13" y="8371"/>
                  </a:lnTo>
                  <a:cubicBezTo>
                    <a:pt x="1" y="8597"/>
                    <a:pt x="191" y="8787"/>
                    <a:pt x="429" y="8787"/>
                  </a:cubicBezTo>
                  <a:lnTo>
                    <a:pt x="1382" y="8787"/>
                  </a:lnTo>
                  <a:cubicBezTo>
                    <a:pt x="1620" y="8787"/>
                    <a:pt x="1799" y="8597"/>
                    <a:pt x="1799" y="8371"/>
                  </a:cubicBezTo>
                  <a:lnTo>
                    <a:pt x="1799" y="1656"/>
                  </a:lnTo>
                  <a:cubicBezTo>
                    <a:pt x="1799" y="1525"/>
                    <a:pt x="1727" y="1394"/>
                    <a:pt x="1632" y="1310"/>
                  </a:cubicBezTo>
                  <a:lnTo>
                    <a:pt x="1203" y="215"/>
                  </a:lnTo>
                  <a:cubicBezTo>
                    <a:pt x="1168" y="96"/>
                    <a:pt x="1037" y="1"/>
                    <a:pt x="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9" name="Google Shape;10209;p59"/>
            <p:cNvSpPr/>
            <p:nvPr/>
          </p:nvSpPr>
          <p:spPr>
            <a:xfrm>
              <a:off x="2883396" y="4463173"/>
              <a:ext cx="60333" cy="90691"/>
            </a:xfrm>
            <a:custGeom>
              <a:avLst/>
              <a:gdLst/>
              <a:ahLst/>
              <a:cxnLst/>
              <a:rect l="l" t="t" r="r" b="b"/>
              <a:pathLst>
                <a:path w="1894" h="2847" extrusionOk="0">
                  <a:moveTo>
                    <a:pt x="1322" y="310"/>
                  </a:moveTo>
                  <a:cubicBezTo>
                    <a:pt x="1370" y="310"/>
                    <a:pt x="1418" y="358"/>
                    <a:pt x="1418" y="406"/>
                  </a:cubicBezTo>
                  <a:lnTo>
                    <a:pt x="1418" y="584"/>
                  </a:lnTo>
                  <a:lnTo>
                    <a:pt x="513" y="584"/>
                  </a:lnTo>
                  <a:lnTo>
                    <a:pt x="513" y="406"/>
                  </a:lnTo>
                  <a:cubicBezTo>
                    <a:pt x="513" y="358"/>
                    <a:pt x="537" y="310"/>
                    <a:pt x="596" y="310"/>
                  </a:cubicBezTo>
                  <a:close/>
                  <a:moveTo>
                    <a:pt x="1477" y="929"/>
                  </a:moveTo>
                  <a:cubicBezTo>
                    <a:pt x="1513" y="929"/>
                    <a:pt x="1561" y="965"/>
                    <a:pt x="1561" y="1013"/>
                  </a:cubicBezTo>
                  <a:lnTo>
                    <a:pt x="1561" y="2418"/>
                  </a:lnTo>
                  <a:cubicBezTo>
                    <a:pt x="1561" y="2453"/>
                    <a:pt x="1525" y="2501"/>
                    <a:pt x="1477" y="2501"/>
                  </a:cubicBezTo>
                  <a:lnTo>
                    <a:pt x="430" y="2501"/>
                  </a:lnTo>
                  <a:cubicBezTo>
                    <a:pt x="394" y="2501"/>
                    <a:pt x="346" y="2453"/>
                    <a:pt x="346" y="2418"/>
                  </a:cubicBezTo>
                  <a:lnTo>
                    <a:pt x="346" y="1013"/>
                  </a:lnTo>
                  <a:cubicBezTo>
                    <a:pt x="346" y="965"/>
                    <a:pt x="382" y="929"/>
                    <a:pt x="430" y="929"/>
                  </a:cubicBezTo>
                  <a:close/>
                  <a:moveTo>
                    <a:pt x="596" y="1"/>
                  </a:moveTo>
                  <a:cubicBezTo>
                    <a:pt x="358" y="1"/>
                    <a:pt x="179" y="191"/>
                    <a:pt x="179" y="418"/>
                  </a:cubicBezTo>
                  <a:lnTo>
                    <a:pt x="179" y="691"/>
                  </a:lnTo>
                  <a:cubicBezTo>
                    <a:pt x="72" y="763"/>
                    <a:pt x="13" y="882"/>
                    <a:pt x="13" y="1013"/>
                  </a:cubicBezTo>
                  <a:lnTo>
                    <a:pt x="13" y="2430"/>
                  </a:lnTo>
                  <a:cubicBezTo>
                    <a:pt x="1" y="2656"/>
                    <a:pt x="191" y="2846"/>
                    <a:pt x="430" y="2846"/>
                  </a:cubicBezTo>
                  <a:lnTo>
                    <a:pt x="1477" y="2846"/>
                  </a:lnTo>
                  <a:cubicBezTo>
                    <a:pt x="1715" y="2846"/>
                    <a:pt x="1894" y="2656"/>
                    <a:pt x="1894" y="2430"/>
                  </a:cubicBezTo>
                  <a:lnTo>
                    <a:pt x="1894" y="1013"/>
                  </a:lnTo>
                  <a:cubicBezTo>
                    <a:pt x="1894" y="882"/>
                    <a:pt x="1834" y="763"/>
                    <a:pt x="1727" y="691"/>
                  </a:cubicBezTo>
                  <a:lnTo>
                    <a:pt x="1727" y="418"/>
                  </a:lnTo>
                  <a:cubicBezTo>
                    <a:pt x="1727" y="179"/>
                    <a:pt x="1537" y="1"/>
                    <a:pt x="1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0" name="Google Shape;10210;p59"/>
            <p:cNvSpPr/>
            <p:nvPr/>
          </p:nvSpPr>
          <p:spPr>
            <a:xfrm>
              <a:off x="2955835" y="4273923"/>
              <a:ext cx="202948" cy="281439"/>
            </a:xfrm>
            <a:custGeom>
              <a:avLst/>
              <a:gdLst/>
              <a:ahLst/>
              <a:cxnLst/>
              <a:rect l="l" t="t" r="r" b="b"/>
              <a:pathLst>
                <a:path w="6371" h="8835" extrusionOk="0">
                  <a:moveTo>
                    <a:pt x="5692" y="524"/>
                  </a:moveTo>
                  <a:cubicBezTo>
                    <a:pt x="5883" y="524"/>
                    <a:pt x="6037" y="679"/>
                    <a:pt x="6037" y="870"/>
                  </a:cubicBezTo>
                  <a:lnTo>
                    <a:pt x="6037" y="7966"/>
                  </a:lnTo>
                  <a:cubicBezTo>
                    <a:pt x="6037" y="8156"/>
                    <a:pt x="5883" y="8311"/>
                    <a:pt x="5692" y="8311"/>
                  </a:cubicBezTo>
                  <a:lnTo>
                    <a:pt x="1811" y="8311"/>
                  </a:lnTo>
                  <a:lnTo>
                    <a:pt x="1811" y="524"/>
                  </a:lnTo>
                  <a:close/>
                  <a:moveTo>
                    <a:pt x="1465" y="346"/>
                  </a:moveTo>
                  <a:lnTo>
                    <a:pt x="1465" y="8490"/>
                  </a:lnTo>
                  <a:lnTo>
                    <a:pt x="1227" y="8490"/>
                  </a:lnTo>
                  <a:lnTo>
                    <a:pt x="1227" y="346"/>
                  </a:lnTo>
                  <a:close/>
                  <a:moveTo>
                    <a:pt x="1215" y="1"/>
                  </a:moveTo>
                  <a:cubicBezTo>
                    <a:pt x="1096" y="1"/>
                    <a:pt x="965" y="72"/>
                    <a:pt x="930" y="179"/>
                  </a:cubicBezTo>
                  <a:lnTo>
                    <a:pt x="418" y="179"/>
                  </a:lnTo>
                  <a:cubicBezTo>
                    <a:pt x="180" y="179"/>
                    <a:pt x="1" y="370"/>
                    <a:pt x="1" y="596"/>
                  </a:cubicBezTo>
                  <a:lnTo>
                    <a:pt x="1" y="2358"/>
                  </a:lnTo>
                  <a:cubicBezTo>
                    <a:pt x="1" y="2441"/>
                    <a:pt x="84" y="2513"/>
                    <a:pt x="168" y="2513"/>
                  </a:cubicBezTo>
                  <a:cubicBezTo>
                    <a:pt x="263" y="2513"/>
                    <a:pt x="334" y="2441"/>
                    <a:pt x="334" y="2358"/>
                  </a:cubicBezTo>
                  <a:lnTo>
                    <a:pt x="334" y="596"/>
                  </a:lnTo>
                  <a:cubicBezTo>
                    <a:pt x="334" y="548"/>
                    <a:pt x="382" y="513"/>
                    <a:pt x="418" y="513"/>
                  </a:cubicBezTo>
                  <a:lnTo>
                    <a:pt x="882" y="513"/>
                  </a:lnTo>
                  <a:lnTo>
                    <a:pt x="882" y="8287"/>
                  </a:lnTo>
                  <a:lnTo>
                    <a:pt x="418" y="8287"/>
                  </a:lnTo>
                  <a:cubicBezTo>
                    <a:pt x="382" y="8287"/>
                    <a:pt x="334" y="8252"/>
                    <a:pt x="334" y="8204"/>
                  </a:cubicBezTo>
                  <a:lnTo>
                    <a:pt x="334" y="3072"/>
                  </a:lnTo>
                  <a:cubicBezTo>
                    <a:pt x="334" y="2977"/>
                    <a:pt x="263" y="2906"/>
                    <a:pt x="168" y="2906"/>
                  </a:cubicBezTo>
                  <a:cubicBezTo>
                    <a:pt x="84" y="2906"/>
                    <a:pt x="1" y="2977"/>
                    <a:pt x="1" y="3072"/>
                  </a:cubicBezTo>
                  <a:lnTo>
                    <a:pt x="1" y="8204"/>
                  </a:lnTo>
                  <a:cubicBezTo>
                    <a:pt x="1" y="8454"/>
                    <a:pt x="203" y="8656"/>
                    <a:pt x="418" y="8656"/>
                  </a:cubicBezTo>
                  <a:lnTo>
                    <a:pt x="930" y="8656"/>
                  </a:lnTo>
                  <a:cubicBezTo>
                    <a:pt x="989" y="8752"/>
                    <a:pt x="1096" y="8835"/>
                    <a:pt x="1215" y="8835"/>
                  </a:cubicBezTo>
                  <a:lnTo>
                    <a:pt x="1477" y="8835"/>
                  </a:lnTo>
                  <a:cubicBezTo>
                    <a:pt x="1596" y="8835"/>
                    <a:pt x="1715" y="8752"/>
                    <a:pt x="1763" y="8656"/>
                  </a:cubicBezTo>
                  <a:lnTo>
                    <a:pt x="5692" y="8656"/>
                  </a:lnTo>
                  <a:cubicBezTo>
                    <a:pt x="6061" y="8656"/>
                    <a:pt x="6371" y="8359"/>
                    <a:pt x="6371" y="7966"/>
                  </a:cubicBezTo>
                  <a:lnTo>
                    <a:pt x="6371" y="870"/>
                  </a:lnTo>
                  <a:cubicBezTo>
                    <a:pt x="6371" y="489"/>
                    <a:pt x="6073" y="179"/>
                    <a:pt x="5692" y="179"/>
                  </a:cubicBezTo>
                  <a:lnTo>
                    <a:pt x="1763" y="179"/>
                  </a:lnTo>
                  <a:cubicBezTo>
                    <a:pt x="1704" y="72"/>
                    <a:pt x="1596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1" name="Google Shape;10211;p59"/>
            <p:cNvSpPr/>
            <p:nvPr/>
          </p:nvSpPr>
          <p:spPr>
            <a:xfrm>
              <a:off x="3098067" y="4511720"/>
              <a:ext cx="29243" cy="10289"/>
            </a:xfrm>
            <a:custGeom>
              <a:avLst/>
              <a:gdLst/>
              <a:ahLst/>
              <a:cxnLst/>
              <a:rect l="l" t="t" r="r" b="b"/>
              <a:pathLst>
                <a:path w="918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751" y="322"/>
                  </a:lnTo>
                  <a:cubicBezTo>
                    <a:pt x="834" y="322"/>
                    <a:pt x="918" y="251"/>
                    <a:pt x="918" y="156"/>
                  </a:cubicBezTo>
                  <a:cubicBezTo>
                    <a:pt x="918" y="72"/>
                    <a:pt x="834" y="1"/>
                    <a:pt x="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2" name="Google Shape;10212;p59"/>
            <p:cNvSpPr/>
            <p:nvPr/>
          </p:nvSpPr>
          <p:spPr>
            <a:xfrm>
              <a:off x="3115906" y="4497704"/>
              <a:ext cx="10257" cy="10640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cubicBezTo>
                    <a:pt x="250" y="334"/>
                    <a:pt x="322" y="262"/>
                    <a:pt x="322" y="167"/>
                  </a:cubicBez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3" name="Google Shape;10213;p59"/>
            <p:cNvSpPr/>
            <p:nvPr/>
          </p:nvSpPr>
          <p:spPr>
            <a:xfrm>
              <a:off x="2810958" y="4563676"/>
              <a:ext cx="353145" cy="72120"/>
            </a:xfrm>
            <a:custGeom>
              <a:avLst/>
              <a:gdLst/>
              <a:ahLst/>
              <a:cxnLst/>
              <a:rect l="l" t="t" r="r" b="b"/>
              <a:pathLst>
                <a:path w="11086" h="2264" extrusionOk="0">
                  <a:moveTo>
                    <a:pt x="418" y="1"/>
                  </a:moveTo>
                  <a:cubicBezTo>
                    <a:pt x="179" y="1"/>
                    <a:pt x="1" y="191"/>
                    <a:pt x="1" y="418"/>
                  </a:cubicBezTo>
                  <a:lnTo>
                    <a:pt x="1" y="1846"/>
                  </a:lnTo>
                  <a:cubicBezTo>
                    <a:pt x="1" y="2085"/>
                    <a:pt x="191" y="2263"/>
                    <a:pt x="418" y="2263"/>
                  </a:cubicBezTo>
                  <a:lnTo>
                    <a:pt x="8442" y="2263"/>
                  </a:lnTo>
                  <a:cubicBezTo>
                    <a:pt x="8526" y="2263"/>
                    <a:pt x="8597" y="2192"/>
                    <a:pt x="8597" y="2096"/>
                  </a:cubicBezTo>
                  <a:cubicBezTo>
                    <a:pt x="8597" y="2013"/>
                    <a:pt x="8526" y="1930"/>
                    <a:pt x="8442" y="1930"/>
                  </a:cubicBezTo>
                  <a:lnTo>
                    <a:pt x="418" y="1930"/>
                  </a:lnTo>
                  <a:cubicBezTo>
                    <a:pt x="370" y="1930"/>
                    <a:pt x="322" y="1894"/>
                    <a:pt x="322" y="1846"/>
                  </a:cubicBezTo>
                  <a:lnTo>
                    <a:pt x="322" y="418"/>
                  </a:lnTo>
                  <a:cubicBezTo>
                    <a:pt x="322" y="370"/>
                    <a:pt x="370" y="322"/>
                    <a:pt x="418" y="322"/>
                  </a:cubicBezTo>
                  <a:lnTo>
                    <a:pt x="1037" y="322"/>
                  </a:lnTo>
                  <a:lnTo>
                    <a:pt x="1037" y="584"/>
                  </a:lnTo>
                  <a:cubicBezTo>
                    <a:pt x="1037" y="668"/>
                    <a:pt x="1120" y="739"/>
                    <a:pt x="1203" y="739"/>
                  </a:cubicBezTo>
                  <a:cubicBezTo>
                    <a:pt x="1299" y="739"/>
                    <a:pt x="1370" y="668"/>
                    <a:pt x="1370" y="584"/>
                  </a:cubicBezTo>
                  <a:lnTo>
                    <a:pt x="1370" y="322"/>
                  </a:lnTo>
                  <a:lnTo>
                    <a:pt x="1834" y="322"/>
                  </a:lnTo>
                  <a:lnTo>
                    <a:pt x="1834" y="584"/>
                  </a:lnTo>
                  <a:cubicBezTo>
                    <a:pt x="1834" y="668"/>
                    <a:pt x="1906" y="739"/>
                    <a:pt x="1989" y="739"/>
                  </a:cubicBezTo>
                  <a:cubicBezTo>
                    <a:pt x="2084" y="739"/>
                    <a:pt x="2156" y="668"/>
                    <a:pt x="2156" y="584"/>
                  </a:cubicBezTo>
                  <a:lnTo>
                    <a:pt x="2156" y="322"/>
                  </a:lnTo>
                  <a:lnTo>
                    <a:pt x="2620" y="322"/>
                  </a:lnTo>
                  <a:lnTo>
                    <a:pt x="2620" y="584"/>
                  </a:lnTo>
                  <a:cubicBezTo>
                    <a:pt x="2620" y="668"/>
                    <a:pt x="2692" y="739"/>
                    <a:pt x="2787" y="739"/>
                  </a:cubicBezTo>
                  <a:cubicBezTo>
                    <a:pt x="2870" y="739"/>
                    <a:pt x="2942" y="668"/>
                    <a:pt x="2942" y="584"/>
                  </a:cubicBezTo>
                  <a:lnTo>
                    <a:pt x="2942" y="322"/>
                  </a:lnTo>
                  <a:lnTo>
                    <a:pt x="3406" y="322"/>
                  </a:lnTo>
                  <a:lnTo>
                    <a:pt x="3406" y="584"/>
                  </a:lnTo>
                  <a:cubicBezTo>
                    <a:pt x="3406" y="668"/>
                    <a:pt x="3477" y="739"/>
                    <a:pt x="3573" y="739"/>
                  </a:cubicBezTo>
                  <a:cubicBezTo>
                    <a:pt x="3656" y="739"/>
                    <a:pt x="3739" y="668"/>
                    <a:pt x="3739" y="584"/>
                  </a:cubicBezTo>
                  <a:lnTo>
                    <a:pt x="3739" y="322"/>
                  </a:lnTo>
                  <a:lnTo>
                    <a:pt x="4192" y="322"/>
                  </a:lnTo>
                  <a:lnTo>
                    <a:pt x="4192" y="584"/>
                  </a:lnTo>
                  <a:cubicBezTo>
                    <a:pt x="4192" y="668"/>
                    <a:pt x="4275" y="739"/>
                    <a:pt x="4358" y="739"/>
                  </a:cubicBezTo>
                  <a:cubicBezTo>
                    <a:pt x="4454" y="739"/>
                    <a:pt x="4525" y="668"/>
                    <a:pt x="4525" y="584"/>
                  </a:cubicBezTo>
                  <a:lnTo>
                    <a:pt x="4525" y="322"/>
                  </a:lnTo>
                  <a:lnTo>
                    <a:pt x="4990" y="322"/>
                  </a:lnTo>
                  <a:lnTo>
                    <a:pt x="4990" y="584"/>
                  </a:lnTo>
                  <a:cubicBezTo>
                    <a:pt x="4990" y="668"/>
                    <a:pt x="5061" y="739"/>
                    <a:pt x="5144" y="739"/>
                  </a:cubicBezTo>
                  <a:cubicBezTo>
                    <a:pt x="5240" y="739"/>
                    <a:pt x="5311" y="668"/>
                    <a:pt x="5311" y="584"/>
                  </a:cubicBezTo>
                  <a:lnTo>
                    <a:pt x="5311" y="322"/>
                  </a:lnTo>
                  <a:lnTo>
                    <a:pt x="5775" y="322"/>
                  </a:lnTo>
                  <a:lnTo>
                    <a:pt x="5775" y="584"/>
                  </a:lnTo>
                  <a:cubicBezTo>
                    <a:pt x="5775" y="668"/>
                    <a:pt x="5847" y="739"/>
                    <a:pt x="5942" y="739"/>
                  </a:cubicBezTo>
                  <a:cubicBezTo>
                    <a:pt x="6025" y="739"/>
                    <a:pt x="6097" y="668"/>
                    <a:pt x="6097" y="584"/>
                  </a:cubicBezTo>
                  <a:lnTo>
                    <a:pt x="6097" y="322"/>
                  </a:lnTo>
                  <a:lnTo>
                    <a:pt x="6561" y="322"/>
                  </a:lnTo>
                  <a:lnTo>
                    <a:pt x="6561" y="584"/>
                  </a:lnTo>
                  <a:cubicBezTo>
                    <a:pt x="6561" y="668"/>
                    <a:pt x="6633" y="739"/>
                    <a:pt x="6728" y="739"/>
                  </a:cubicBezTo>
                  <a:cubicBezTo>
                    <a:pt x="6811" y="739"/>
                    <a:pt x="6895" y="668"/>
                    <a:pt x="6895" y="584"/>
                  </a:cubicBezTo>
                  <a:lnTo>
                    <a:pt x="6895" y="322"/>
                  </a:lnTo>
                  <a:lnTo>
                    <a:pt x="7347" y="322"/>
                  </a:lnTo>
                  <a:lnTo>
                    <a:pt x="7347" y="584"/>
                  </a:lnTo>
                  <a:cubicBezTo>
                    <a:pt x="7347" y="668"/>
                    <a:pt x="7430" y="739"/>
                    <a:pt x="7514" y="739"/>
                  </a:cubicBezTo>
                  <a:cubicBezTo>
                    <a:pt x="7609" y="739"/>
                    <a:pt x="7680" y="668"/>
                    <a:pt x="7680" y="584"/>
                  </a:cubicBezTo>
                  <a:lnTo>
                    <a:pt x="7680" y="322"/>
                  </a:lnTo>
                  <a:lnTo>
                    <a:pt x="8145" y="322"/>
                  </a:lnTo>
                  <a:lnTo>
                    <a:pt x="8145" y="584"/>
                  </a:lnTo>
                  <a:cubicBezTo>
                    <a:pt x="8145" y="668"/>
                    <a:pt x="8216" y="739"/>
                    <a:pt x="8299" y="739"/>
                  </a:cubicBezTo>
                  <a:cubicBezTo>
                    <a:pt x="8395" y="739"/>
                    <a:pt x="8466" y="668"/>
                    <a:pt x="8466" y="584"/>
                  </a:cubicBezTo>
                  <a:lnTo>
                    <a:pt x="8466" y="322"/>
                  </a:lnTo>
                  <a:lnTo>
                    <a:pt x="8930" y="322"/>
                  </a:lnTo>
                  <a:lnTo>
                    <a:pt x="8930" y="584"/>
                  </a:lnTo>
                  <a:cubicBezTo>
                    <a:pt x="8930" y="668"/>
                    <a:pt x="9002" y="739"/>
                    <a:pt x="9097" y="739"/>
                  </a:cubicBezTo>
                  <a:cubicBezTo>
                    <a:pt x="9181" y="739"/>
                    <a:pt x="9252" y="668"/>
                    <a:pt x="9252" y="584"/>
                  </a:cubicBezTo>
                  <a:lnTo>
                    <a:pt x="9252" y="322"/>
                  </a:lnTo>
                  <a:lnTo>
                    <a:pt x="9716" y="322"/>
                  </a:lnTo>
                  <a:lnTo>
                    <a:pt x="9716" y="584"/>
                  </a:lnTo>
                  <a:cubicBezTo>
                    <a:pt x="9716" y="668"/>
                    <a:pt x="9788" y="739"/>
                    <a:pt x="9883" y="739"/>
                  </a:cubicBezTo>
                  <a:cubicBezTo>
                    <a:pt x="9966" y="739"/>
                    <a:pt x="10050" y="668"/>
                    <a:pt x="10050" y="584"/>
                  </a:cubicBezTo>
                  <a:lnTo>
                    <a:pt x="10050" y="322"/>
                  </a:lnTo>
                  <a:lnTo>
                    <a:pt x="10669" y="322"/>
                  </a:lnTo>
                  <a:cubicBezTo>
                    <a:pt x="10716" y="322"/>
                    <a:pt x="10764" y="370"/>
                    <a:pt x="10764" y="418"/>
                  </a:cubicBezTo>
                  <a:lnTo>
                    <a:pt x="10764" y="1846"/>
                  </a:lnTo>
                  <a:cubicBezTo>
                    <a:pt x="10764" y="1894"/>
                    <a:pt x="10716" y="1930"/>
                    <a:pt x="10669" y="1930"/>
                  </a:cubicBezTo>
                  <a:lnTo>
                    <a:pt x="9192" y="1930"/>
                  </a:lnTo>
                  <a:cubicBezTo>
                    <a:pt x="9109" y="1930"/>
                    <a:pt x="9038" y="2013"/>
                    <a:pt x="9038" y="2096"/>
                  </a:cubicBezTo>
                  <a:cubicBezTo>
                    <a:pt x="9038" y="2192"/>
                    <a:pt x="9109" y="2263"/>
                    <a:pt x="9192" y="2263"/>
                  </a:cubicBezTo>
                  <a:lnTo>
                    <a:pt x="10669" y="2263"/>
                  </a:lnTo>
                  <a:cubicBezTo>
                    <a:pt x="10907" y="2263"/>
                    <a:pt x="11086" y="2073"/>
                    <a:pt x="11086" y="1846"/>
                  </a:cubicBezTo>
                  <a:lnTo>
                    <a:pt x="11086" y="418"/>
                  </a:lnTo>
                  <a:cubicBezTo>
                    <a:pt x="11062" y="191"/>
                    <a:pt x="10883" y="1"/>
                    <a:pt x="106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14" name="Google Shape;10214;p59"/>
          <p:cNvGrpSpPr/>
          <p:nvPr/>
        </p:nvGrpSpPr>
        <p:grpSpPr>
          <a:xfrm>
            <a:off x="6275635" y="4282651"/>
            <a:ext cx="209383" cy="366778"/>
            <a:chOff x="6275635" y="4282651"/>
            <a:chExt cx="209383" cy="366778"/>
          </a:xfrm>
        </p:grpSpPr>
        <p:sp>
          <p:nvSpPr>
            <p:cNvPr id="10215" name="Google Shape;10215;p59"/>
            <p:cNvSpPr/>
            <p:nvPr/>
          </p:nvSpPr>
          <p:spPr>
            <a:xfrm>
              <a:off x="6275635" y="4282651"/>
              <a:ext cx="89162" cy="366778"/>
            </a:xfrm>
            <a:custGeom>
              <a:avLst/>
              <a:gdLst/>
              <a:ahLst/>
              <a:cxnLst/>
              <a:rect l="l" t="t" r="r" b="b"/>
              <a:pathLst>
                <a:path w="2799" h="11514" extrusionOk="0">
                  <a:moveTo>
                    <a:pt x="1382" y="1751"/>
                  </a:moveTo>
                  <a:cubicBezTo>
                    <a:pt x="1667" y="1917"/>
                    <a:pt x="1929" y="2084"/>
                    <a:pt x="2132" y="2275"/>
                  </a:cubicBezTo>
                  <a:lnTo>
                    <a:pt x="620" y="2275"/>
                  </a:lnTo>
                  <a:cubicBezTo>
                    <a:pt x="822" y="2084"/>
                    <a:pt x="1084" y="1917"/>
                    <a:pt x="1382" y="1751"/>
                  </a:cubicBezTo>
                  <a:close/>
                  <a:moveTo>
                    <a:pt x="2370" y="2620"/>
                  </a:moveTo>
                  <a:cubicBezTo>
                    <a:pt x="2465" y="2822"/>
                    <a:pt x="2489" y="3048"/>
                    <a:pt x="2382" y="3298"/>
                  </a:cubicBezTo>
                  <a:lnTo>
                    <a:pt x="381" y="3298"/>
                  </a:lnTo>
                  <a:cubicBezTo>
                    <a:pt x="298" y="3084"/>
                    <a:pt x="286" y="2858"/>
                    <a:pt x="381" y="2620"/>
                  </a:cubicBezTo>
                  <a:close/>
                  <a:moveTo>
                    <a:pt x="2144" y="3644"/>
                  </a:moveTo>
                  <a:cubicBezTo>
                    <a:pt x="1953" y="3834"/>
                    <a:pt x="1679" y="4001"/>
                    <a:pt x="1382" y="4168"/>
                  </a:cubicBezTo>
                  <a:cubicBezTo>
                    <a:pt x="1096" y="4001"/>
                    <a:pt x="822" y="3834"/>
                    <a:pt x="620" y="3644"/>
                  </a:cubicBezTo>
                  <a:close/>
                  <a:moveTo>
                    <a:pt x="2441" y="5918"/>
                  </a:moveTo>
                  <a:cubicBezTo>
                    <a:pt x="2334" y="6394"/>
                    <a:pt x="1893" y="6680"/>
                    <a:pt x="1382" y="6966"/>
                  </a:cubicBezTo>
                  <a:cubicBezTo>
                    <a:pt x="881" y="6680"/>
                    <a:pt x="429" y="6394"/>
                    <a:pt x="346" y="5918"/>
                  </a:cubicBezTo>
                  <a:close/>
                  <a:moveTo>
                    <a:pt x="1382" y="7347"/>
                  </a:moveTo>
                  <a:cubicBezTo>
                    <a:pt x="1679" y="7513"/>
                    <a:pt x="1953" y="7680"/>
                    <a:pt x="2144" y="7870"/>
                  </a:cubicBezTo>
                  <a:lnTo>
                    <a:pt x="620" y="7870"/>
                  </a:lnTo>
                  <a:cubicBezTo>
                    <a:pt x="822" y="7680"/>
                    <a:pt x="1096" y="7513"/>
                    <a:pt x="1382" y="7347"/>
                  </a:cubicBezTo>
                  <a:close/>
                  <a:moveTo>
                    <a:pt x="2394" y="8216"/>
                  </a:moveTo>
                  <a:cubicBezTo>
                    <a:pt x="2489" y="8454"/>
                    <a:pt x="2489" y="8680"/>
                    <a:pt x="2382" y="8894"/>
                  </a:cubicBezTo>
                  <a:lnTo>
                    <a:pt x="405" y="8894"/>
                  </a:lnTo>
                  <a:cubicBezTo>
                    <a:pt x="298" y="8656"/>
                    <a:pt x="298" y="8442"/>
                    <a:pt x="405" y="8216"/>
                  </a:cubicBezTo>
                  <a:close/>
                  <a:moveTo>
                    <a:pt x="2132" y="9240"/>
                  </a:moveTo>
                  <a:cubicBezTo>
                    <a:pt x="1929" y="9430"/>
                    <a:pt x="1667" y="9597"/>
                    <a:pt x="1382" y="9764"/>
                  </a:cubicBezTo>
                  <a:cubicBezTo>
                    <a:pt x="1096" y="9597"/>
                    <a:pt x="834" y="9430"/>
                    <a:pt x="620" y="9240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846"/>
                    <a:pt x="524" y="1251"/>
                    <a:pt x="1072" y="1560"/>
                  </a:cubicBezTo>
                  <a:cubicBezTo>
                    <a:pt x="500" y="1894"/>
                    <a:pt x="0" y="2310"/>
                    <a:pt x="0" y="2965"/>
                  </a:cubicBezTo>
                  <a:cubicBezTo>
                    <a:pt x="0" y="3644"/>
                    <a:pt x="524" y="4049"/>
                    <a:pt x="1072" y="4358"/>
                  </a:cubicBezTo>
                  <a:cubicBezTo>
                    <a:pt x="524" y="4668"/>
                    <a:pt x="0" y="5072"/>
                    <a:pt x="0" y="5763"/>
                  </a:cubicBezTo>
                  <a:cubicBezTo>
                    <a:pt x="0" y="6442"/>
                    <a:pt x="524" y="6847"/>
                    <a:pt x="1072" y="7156"/>
                  </a:cubicBezTo>
                  <a:cubicBezTo>
                    <a:pt x="524" y="7466"/>
                    <a:pt x="0" y="7870"/>
                    <a:pt x="0" y="8549"/>
                  </a:cubicBezTo>
                  <a:cubicBezTo>
                    <a:pt x="0" y="8799"/>
                    <a:pt x="72" y="9002"/>
                    <a:pt x="179" y="9180"/>
                  </a:cubicBezTo>
                  <a:cubicBezTo>
                    <a:pt x="227" y="9240"/>
                    <a:pt x="322" y="9525"/>
                    <a:pt x="1072" y="9954"/>
                  </a:cubicBezTo>
                  <a:cubicBezTo>
                    <a:pt x="524" y="10264"/>
                    <a:pt x="0" y="10668"/>
                    <a:pt x="0" y="11359"/>
                  </a:cubicBezTo>
                  <a:cubicBezTo>
                    <a:pt x="0" y="11442"/>
                    <a:pt x="72" y="11514"/>
                    <a:pt x="167" y="11514"/>
                  </a:cubicBezTo>
                  <a:cubicBezTo>
                    <a:pt x="250" y="11514"/>
                    <a:pt x="322" y="11442"/>
                    <a:pt x="322" y="11359"/>
                  </a:cubicBezTo>
                  <a:cubicBezTo>
                    <a:pt x="322" y="10776"/>
                    <a:pt x="834" y="10466"/>
                    <a:pt x="1393" y="10145"/>
                  </a:cubicBezTo>
                  <a:cubicBezTo>
                    <a:pt x="1965" y="10466"/>
                    <a:pt x="2465" y="10776"/>
                    <a:pt x="2465" y="11359"/>
                  </a:cubicBezTo>
                  <a:cubicBezTo>
                    <a:pt x="2465" y="11442"/>
                    <a:pt x="2548" y="11514"/>
                    <a:pt x="2632" y="11514"/>
                  </a:cubicBezTo>
                  <a:cubicBezTo>
                    <a:pt x="2727" y="11514"/>
                    <a:pt x="2798" y="11442"/>
                    <a:pt x="2798" y="11359"/>
                  </a:cubicBezTo>
                  <a:cubicBezTo>
                    <a:pt x="2798" y="10668"/>
                    <a:pt x="2274" y="10264"/>
                    <a:pt x="1727" y="9954"/>
                  </a:cubicBezTo>
                  <a:cubicBezTo>
                    <a:pt x="2286" y="9633"/>
                    <a:pt x="2798" y="9216"/>
                    <a:pt x="2798" y="8561"/>
                  </a:cubicBezTo>
                  <a:cubicBezTo>
                    <a:pt x="2798" y="7870"/>
                    <a:pt x="2274" y="7466"/>
                    <a:pt x="1727" y="7156"/>
                  </a:cubicBezTo>
                  <a:cubicBezTo>
                    <a:pt x="2274" y="6847"/>
                    <a:pt x="2798" y="6442"/>
                    <a:pt x="2798" y="5763"/>
                  </a:cubicBezTo>
                  <a:cubicBezTo>
                    <a:pt x="2798" y="5608"/>
                    <a:pt x="2763" y="5465"/>
                    <a:pt x="2727" y="5346"/>
                  </a:cubicBezTo>
                  <a:cubicBezTo>
                    <a:pt x="2699" y="5273"/>
                    <a:pt x="2629" y="5227"/>
                    <a:pt x="2560" y="5227"/>
                  </a:cubicBezTo>
                  <a:cubicBezTo>
                    <a:pt x="2539" y="5227"/>
                    <a:pt x="2519" y="5231"/>
                    <a:pt x="2501" y="5239"/>
                  </a:cubicBezTo>
                  <a:cubicBezTo>
                    <a:pt x="2405" y="5263"/>
                    <a:pt x="2370" y="5370"/>
                    <a:pt x="2394" y="5465"/>
                  </a:cubicBezTo>
                  <a:cubicBezTo>
                    <a:pt x="2405" y="5501"/>
                    <a:pt x="2405" y="5549"/>
                    <a:pt x="2405" y="5596"/>
                  </a:cubicBezTo>
                  <a:lnTo>
                    <a:pt x="322" y="5596"/>
                  </a:lnTo>
                  <a:cubicBezTo>
                    <a:pt x="417" y="5132"/>
                    <a:pt x="881" y="4834"/>
                    <a:pt x="1370" y="4549"/>
                  </a:cubicBezTo>
                  <a:cubicBezTo>
                    <a:pt x="1560" y="4656"/>
                    <a:pt x="1774" y="4775"/>
                    <a:pt x="1929" y="4906"/>
                  </a:cubicBezTo>
                  <a:cubicBezTo>
                    <a:pt x="1960" y="4932"/>
                    <a:pt x="1998" y="4944"/>
                    <a:pt x="2035" y="4944"/>
                  </a:cubicBezTo>
                  <a:cubicBezTo>
                    <a:pt x="2084" y="4944"/>
                    <a:pt x="2134" y="4923"/>
                    <a:pt x="2167" y="4882"/>
                  </a:cubicBezTo>
                  <a:cubicBezTo>
                    <a:pt x="2227" y="4811"/>
                    <a:pt x="2215" y="4703"/>
                    <a:pt x="2144" y="4644"/>
                  </a:cubicBezTo>
                  <a:cubicBezTo>
                    <a:pt x="2001" y="4537"/>
                    <a:pt x="1858" y="4453"/>
                    <a:pt x="1703" y="4358"/>
                  </a:cubicBezTo>
                  <a:cubicBezTo>
                    <a:pt x="2263" y="4049"/>
                    <a:pt x="2775" y="3644"/>
                    <a:pt x="2775" y="2965"/>
                  </a:cubicBezTo>
                  <a:cubicBezTo>
                    <a:pt x="2775" y="2727"/>
                    <a:pt x="2703" y="2513"/>
                    <a:pt x="2596" y="2334"/>
                  </a:cubicBezTo>
                  <a:cubicBezTo>
                    <a:pt x="2560" y="2275"/>
                    <a:pt x="2441" y="1989"/>
                    <a:pt x="1703" y="1560"/>
                  </a:cubicBezTo>
                  <a:cubicBezTo>
                    <a:pt x="2263" y="1239"/>
                    <a:pt x="2798" y="846"/>
                    <a:pt x="2798" y="167"/>
                  </a:cubicBezTo>
                  <a:cubicBezTo>
                    <a:pt x="2798" y="72"/>
                    <a:pt x="2727" y="0"/>
                    <a:pt x="2632" y="0"/>
                  </a:cubicBezTo>
                  <a:cubicBezTo>
                    <a:pt x="2548" y="0"/>
                    <a:pt x="2465" y="72"/>
                    <a:pt x="2465" y="167"/>
                  </a:cubicBezTo>
                  <a:cubicBezTo>
                    <a:pt x="2465" y="739"/>
                    <a:pt x="1965" y="1060"/>
                    <a:pt x="1393" y="1370"/>
                  </a:cubicBezTo>
                  <a:cubicBezTo>
                    <a:pt x="834" y="1060"/>
                    <a:pt x="322" y="727"/>
                    <a:pt x="322" y="167"/>
                  </a:cubicBez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6" name="Google Shape;10216;p59"/>
            <p:cNvSpPr/>
            <p:nvPr/>
          </p:nvSpPr>
          <p:spPr>
            <a:xfrm>
              <a:off x="6395474" y="4282651"/>
              <a:ext cx="89544" cy="366778"/>
            </a:xfrm>
            <a:custGeom>
              <a:avLst/>
              <a:gdLst/>
              <a:ahLst/>
              <a:cxnLst/>
              <a:rect l="l" t="t" r="r" b="b"/>
              <a:pathLst>
                <a:path w="2811" h="11514" extrusionOk="0">
                  <a:moveTo>
                    <a:pt x="2799" y="2906"/>
                  </a:moveTo>
                  <a:cubicBezTo>
                    <a:pt x="2799" y="2912"/>
                    <a:pt x="2802" y="2914"/>
                    <a:pt x="2803" y="2914"/>
                  </a:cubicBezTo>
                  <a:cubicBezTo>
                    <a:pt x="2805" y="2914"/>
                    <a:pt x="2805" y="2912"/>
                    <a:pt x="2799" y="2906"/>
                  </a:cubicBezTo>
                  <a:close/>
                  <a:moveTo>
                    <a:pt x="2453" y="3096"/>
                  </a:moveTo>
                  <a:cubicBezTo>
                    <a:pt x="2382" y="3584"/>
                    <a:pt x="1918" y="3870"/>
                    <a:pt x="1406" y="4168"/>
                  </a:cubicBezTo>
                  <a:cubicBezTo>
                    <a:pt x="882" y="3870"/>
                    <a:pt x="417" y="3584"/>
                    <a:pt x="346" y="3096"/>
                  </a:cubicBezTo>
                  <a:close/>
                  <a:moveTo>
                    <a:pt x="1394" y="4549"/>
                  </a:moveTo>
                  <a:cubicBezTo>
                    <a:pt x="1680" y="4715"/>
                    <a:pt x="1965" y="4882"/>
                    <a:pt x="2156" y="5072"/>
                  </a:cubicBezTo>
                  <a:lnTo>
                    <a:pt x="644" y="5072"/>
                  </a:lnTo>
                  <a:cubicBezTo>
                    <a:pt x="834" y="4882"/>
                    <a:pt x="1120" y="4715"/>
                    <a:pt x="1394" y="4549"/>
                  </a:cubicBezTo>
                  <a:close/>
                  <a:moveTo>
                    <a:pt x="2394" y="5418"/>
                  </a:moveTo>
                  <a:cubicBezTo>
                    <a:pt x="2501" y="5644"/>
                    <a:pt x="2501" y="5858"/>
                    <a:pt x="2394" y="6096"/>
                  </a:cubicBezTo>
                  <a:lnTo>
                    <a:pt x="406" y="6096"/>
                  </a:lnTo>
                  <a:cubicBezTo>
                    <a:pt x="298" y="5858"/>
                    <a:pt x="298" y="5644"/>
                    <a:pt x="406" y="5418"/>
                  </a:cubicBezTo>
                  <a:close/>
                  <a:moveTo>
                    <a:pt x="2156" y="6442"/>
                  </a:moveTo>
                  <a:cubicBezTo>
                    <a:pt x="1965" y="6632"/>
                    <a:pt x="1680" y="6799"/>
                    <a:pt x="1406" y="6966"/>
                  </a:cubicBezTo>
                  <a:cubicBezTo>
                    <a:pt x="1120" y="6799"/>
                    <a:pt x="846" y="6632"/>
                    <a:pt x="644" y="6442"/>
                  </a:cubicBezTo>
                  <a:close/>
                  <a:moveTo>
                    <a:pt x="1406" y="7347"/>
                  </a:moveTo>
                  <a:cubicBezTo>
                    <a:pt x="1906" y="7632"/>
                    <a:pt x="2358" y="7918"/>
                    <a:pt x="2453" y="8382"/>
                  </a:cubicBezTo>
                  <a:lnTo>
                    <a:pt x="358" y="8382"/>
                  </a:lnTo>
                  <a:cubicBezTo>
                    <a:pt x="453" y="7918"/>
                    <a:pt x="906" y="7632"/>
                    <a:pt x="1406" y="7347"/>
                  </a:cubicBezTo>
                  <a:close/>
                  <a:moveTo>
                    <a:pt x="2442" y="8716"/>
                  </a:moveTo>
                  <a:cubicBezTo>
                    <a:pt x="2370" y="9180"/>
                    <a:pt x="1906" y="9478"/>
                    <a:pt x="1406" y="9764"/>
                  </a:cubicBezTo>
                  <a:cubicBezTo>
                    <a:pt x="894" y="9478"/>
                    <a:pt x="429" y="9192"/>
                    <a:pt x="346" y="8716"/>
                  </a:cubicBezTo>
                  <a:close/>
                  <a:moveTo>
                    <a:pt x="179" y="0"/>
                  </a:moveTo>
                  <a:cubicBezTo>
                    <a:pt x="96" y="0"/>
                    <a:pt x="13" y="72"/>
                    <a:pt x="13" y="167"/>
                  </a:cubicBezTo>
                  <a:cubicBezTo>
                    <a:pt x="13" y="858"/>
                    <a:pt x="548" y="1251"/>
                    <a:pt x="1084" y="1560"/>
                  </a:cubicBezTo>
                  <a:cubicBezTo>
                    <a:pt x="953" y="1632"/>
                    <a:pt x="834" y="1715"/>
                    <a:pt x="715" y="1786"/>
                  </a:cubicBezTo>
                  <a:cubicBezTo>
                    <a:pt x="584" y="1870"/>
                    <a:pt x="656" y="2096"/>
                    <a:pt x="822" y="2096"/>
                  </a:cubicBezTo>
                  <a:cubicBezTo>
                    <a:pt x="906" y="2096"/>
                    <a:pt x="870" y="2072"/>
                    <a:pt x="1430" y="1751"/>
                  </a:cubicBezTo>
                  <a:cubicBezTo>
                    <a:pt x="1918" y="2036"/>
                    <a:pt x="2370" y="2310"/>
                    <a:pt x="2477" y="2751"/>
                  </a:cubicBezTo>
                  <a:lnTo>
                    <a:pt x="406" y="2751"/>
                  </a:lnTo>
                  <a:cubicBezTo>
                    <a:pt x="417" y="2703"/>
                    <a:pt x="417" y="2644"/>
                    <a:pt x="429" y="2608"/>
                  </a:cubicBezTo>
                  <a:cubicBezTo>
                    <a:pt x="477" y="2513"/>
                    <a:pt x="429" y="2429"/>
                    <a:pt x="346" y="2382"/>
                  </a:cubicBezTo>
                  <a:cubicBezTo>
                    <a:pt x="320" y="2369"/>
                    <a:pt x="295" y="2363"/>
                    <a:pt x="271" y="2363"/>
                  </a:cubicBezTo>
                  <a:cubicBezTo>
                    <a:pt x="208" y="2363"/>
                    <a:pt x="154" y="2404"/>
                    <a:pt x="120" y="2465"/>
                  </a:cubicBezTo>
                  <a:cubicBezTo>
                    <a:pt x="60" y="2608"/>
                    <a:pt x="36" y="2751"/>
                    <a:pt x="13" y="2917"/>
                  </a:cubicBezTo>
                  <a:lnTo>
                    <a:pt x="13" y="2929"/>
                  </a:lnTo>
                  <a:cubicBezTo>
                    <a:pt x="1" y="3620"/>
                    <a:pt x="489" y="4013"/>
                    <a:pt x="1084" y="4358"/>
                  </a:cubicBezTo>
                  <a:cubicBezTo>
                    <a:pt x="537" y="4668"/>
                    <a:pt x="13" y="5072"/>
                    <a:pt x="13" y="5763"/>
                  </a:cubicBezTo>
                  <a:cubicBezTo>
                    <a:pt x="13" y="6442"/>
                    <a:pt x="537" y="6847"/>
                    <a:pt x="1084" y="7156"/>
                  </a:cubicBezTo>
                  <a:cubicBezTo>
                    <a:pt x="513" y="7501"/>
                    <a:pt x="13" y="7882"/>
                    <a:pt x="13" y="8561"/>
                  </a:cubicBezTo>
                  <a:cubicBezTo>
                    <a:pt x="13" y="9240"/>
                    <a:pt x="537" y="9644"/>
                    <a:pt x="1084" y="9954"/>
                  </a:cubicBezTo>
                  <a:cubicBezTo>
                    <a:pt x="537" y="10264"/>
                    <a:pt x="13" y="10668"/>
                    <a:pt x="13" y="11359"/>
                  </a:cubicBezTo>
                  <a:cubicBezTo>
                    <a:pt x="13" y="11442"/>
                    <a:pt x="96" y="11514"/>
                    <a:pt x="179" y="11514"/>
                  </a:cubicBezTo>
                  <a:cubicBezTo>
                    <a:pt x="275" y="11514"/>
                    <a:pt x="346" y="11442"/>
                    <a:pt x="346" y="11359"/>
                  </a:cubicBezTo>
                  <a:cubicBezTo>
                    <a:pt x="346" y="10776"/>
                    <a:pt x="846" y="10466"/>
                    <a:pt x="1418" y="10145"/>
                  </a:cubicBezTo>
                  <a:cubicBezTo>
                    <a:pt x="1977" y="10466"/>
                    <a:pt x="2489" y="10776"/>
                    <a:pt x="2489" y="11359"/>
                  </a:cubicBezTo>
                  <a:cubicBezTo>
                    <a:pt x="2489" y="11442"/>
                    <a:pt x="2561" y="11514"/>
                    <a:pt x="2656" y="11514"/>
                  </a:cubicBezTo>
                  <a:cubicBezTo>
                    <a:pt x="2739" y="11514"/>
                    <a:pt x="2811" y="11442"/>
                    <a:pt x="2811" y="11359"/>
                  </a:cubicBezTo>
                  <a:cubicBezTo>
                    <a:pt x="2811" y="10668"/>
                    <a:pt x="2299" y="10264"/>
                    <a:pt x="1739" y="9954"/>
                  </a:cubicBezTo>
                  <a:cubicBezTo>
                    <a:pt x="2322" y="9609"/>
                    <a:pt x="2811" y="9228"/>
                    <a:pt x="2811" y="8537"/>
                  </a:cubicBezTo>
                  <a:cubicBezTo>
                    <a:pt x="2811" y="7859"/>
                    <a:pt x="2299" y="7466"/>
                    <a:pt x="1739" y="7144"/>
                  </a:cubicBezTo>
                  <a:cubicBezTo>
                    <a:pt x="2299" y="6835"/>
                    <a:pt x="2811" y="6430"/>
                    <a:pt x="2811" y="5739"/>
                  </a:cubicBezTo>
                  <a:cubicBezTo>
                    <a:pt x="2811" y="5061"/>
                    <a:pt x="2299" y="4656"/>
                    <a:pt x="1739" y="4346"/>
                  </a:cubicBezTo>
                  <a:cubicBezTo>
                    <a:pt x="2358" y="4001"/>
                    <a:pt x="2799" y="3632"/>
                    <a:pt x="2799" y="2906"/>
                  </a:cubicBezTo>
                  <a:cubicBezTo>
                    <a:pt x="2775" y="2251"/>
                    <a:pt x="2263" y="1870"/>
                    <a:pt x="1739" y="1560"/>
                  </a:cubicBezTo>
                  <a:cubicBezTo>
                    <a:pt x="2299" y="1251"/>
                    <a:pt x="2811" y="846"/>
                    <a:pt x="2811" y="167"/>
                  </a:cubicBezTo>
                  <a:cubicBezTo>
                    <a:pt x="2811" y="72"/>
                    <a:pt x="2739" y="0"/>
                    <a:pt x="2656" y="0"/>
                  </a:cubicBezTo>
                  <a:cubicBezTo>
                    <a:pt x="2561" y="0"/>
                    <a:pt x="2489" y="72"/>
                    <a:pt x="2489" y="167"/>
                  </a:cubicBezTo>
                  <a:cubicBezTo>
                    <a:pt x="2489" y="739"/>
                    <a:pt x="1977" y="1060"/>
                    <a:pt x="1418" y="1370"/>
                  </a:cubicBezTo>
                  <a:cubicBezTo>
                    <a:pt x="846" y="1060"/>
                    <a:pt x="346" y="727"/>
                    <a:pt x="346" y="167"/>
                  </a:cubicBezTo>
                  <a:cubicBezTo>
                    <a:pt x="346" y="72"/>
                    <a:pt x="275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17" name="Google Shape;10217;p59"/>
          <p:cNvGrpSpPr/>
          <p:nvPr/>
        </p:nvGrpSpPr>
        <p:grpSpPr>
          <a:xfrm>
            <a:off x="6701186" y="4283033"/>
            <a:ext cx="280292" cy="366396"/>
            <a:chOff x="6701186" y="4283033"/>
            <a:chExt cx="280292" cy="366396"/>
          </a:xfrm>
        </p:grpSpPr>
        <p:sp>
          <p:nvSpPr>
            <p:cNvPr id="10218" name="Google Shape;10218;p59"/>
            <p:cNvSpPr/>
            <p:nvPr/>
          </p:nvSpPr>
          <p:spPr>
            <a:xfrm>
              <a:off x="6772095" y="4345979"/>
              <a:ext cx="209383" cy="302686"/>
            </a:xfrm>
            <a:custGeom>
              <a:avLst/>
              <a:gdLst/>
              <a:ahLst/>
              <a:cxnLst/>
              <a:rect l="l" t="t" r="r" b="b"/>
              <a:pathLst>
                <a:path w="6573" h="9502" extrusionOk="0">
                  <a:moveTo>
                    <a:pt x="5751" y="894"/>
                  </a:moveTo>
                  <a:cubicBezTo>
                    <a:pt x="6013" y="894"/>
                    <a:pt x="6216" y="1120"/>
                    <a:pt x="6204" y="1394"/>
                  </a:cubicBezTo>
                  <a:lnTo>
                    <a:pt x="6156" y="1799"/>
                  </a:lnTo>
                  <a:lnTo>
                    <a:pt x="5501" y="1799"/>
                  </a:lnTo>
                  <a:cubicBezTo>
                    <a:pt x="5418" y="1799"/>
                    <a:pt x="5335" y="1882"/>
                    <a:pt x="5335" y="1965"/>
                  </a:cubicBezTo>
                  <a:cubicBezTo>
                    <a:pt x="5335" y="2061"/>
                    <a:pt x="5418" y="2132"/>
                    <a:pt x="5501" y="2132"/>
                  </a:cubicBezTo>
                  <a:lnTo>
                    <a:pt x="6132" y="2132"/>
                  </a:lnTo>
                  <a:lnTo>
                    <a:pt x="6085" y="2596"/>
                  </a:lnTo>
                  <a:lnTo>
                    <a:pt x="489" y="2596"/>
                  </a:lnTo>
                  <a:lnTo>
                    <a:pt x="370" y="1394"/>
                  </a:lnTo>
                  <a:cubicBezTo>
                    <a:pt x="334" y="1132"/>
                    <a:pt x="548" y="894"/>
                    <a:pt x="810" y="894"/>
                  </a:cubicBezTo>
                  <a:close/>
                  <a:moveTo>
                    <a:pt x="4561" y="7025"/>
                  </a:moveTo>
                  <a:lnTo>
                    <a:pt x="4549" y="7311"/>
                  </a:lnTo>
                  <a:cubicBezTo>
                    <a:pt x="4549" y="7490"/>
                    <a:pt x="4406" y="7621"/>
                    <a:pt x="4239" y="7621"/>
                  </a:cubicBezTo>
                  <a:lnTo>
                    <a:pt x="2334" y="7621"/>
                  </a:lnTo>
                  <a:cubicBezTo>
                    <a:pt x="2156" y="7621"/>
                    <a:pt x="2025" y="7478"/>
                    <a:pt x="2025" y="7311"/>
                  </a:cubicBezTo>
                  <a:lnTo>
                    <a:pt x="2025" y="7025"/>
                  </a:lnTo>
                  <a:close/>
                  <a:moveTo>
                    <a:pt x="3287" y="1"/>
                  </a:moveTo>
                  <a:cubicBezTo>
                    <a:pt x="3192" y="1"/>
                    <a:pt x="3120" y="84"/>
                    <a:pt x="3120" y="167"/>
                  </a:cubicBezTo>
                  <a:lnTo>
                    <a:pt x="3120" y="560"/>
                  </a:lnTo>
                  <a:lnTo>
                    <a:pt x="810" y="560"/>
                  </a:lnTo>
                  <a:cubicBezTo>
                    <a:pt x="358" y="560"/>
                    <a:pt x="1" y="953"/>
                    <a:pt x="36" y="1418"/>
                  </a:cubicBezTo>
                  <a:cubicBezTo>
                    <a:pt x="60" y="1596"/>
                    <a:pt x="215" y="3215"/>
                    <a:pt x="251" y="3501"/>
                  </a:cubicBezTo>
                  <a:cubicBezTo>
                    <a:pt x="262" y="3589"/>
                    <a:pt x="324" y="3657"/>
                    <a:pt x="409" y="3657"/>
                  </a:cubicBezTo>
                  <a:cubicBezTo>
                    <a:pt x="415" y="3657"/>
                    <a:pt x="422" y="3657"/>
                    <a:pt x="429" y="3656"/>
                  </a:cubicBezTo>
                  <a:cubicBezTo>
                    <a:pt x="513" y="3632"/>
                    <a:pt x="596" y="3561"/>
                    <a:pt x="572" y="3477"/>
                  </a:cubicBezTo>
                  <a:lnTo>
                    <a:pt x="513" y="2942"/>
                  </a:lnTo>
                  <a:lnTo>
                    <a:pt x="6025" y="2942"/>
                  </a:lnTo>
                  <a:lnTo>
                    <a:pt x="5978" y="3394"/>
                  </a:lnTo>
                  <a:lnTo>
                    <a:pt x="4799" y="3394"/>
                  </a:lnTo>
                  <a:cubicBezTo>
                    <a:pt x="4716" y="3394"/>
                    <a:pt x="4644" y="3477"/>
                    <a:pt x="4644" y="3561"/>
                  </a:cubicBezTo>
                  <a:cubicBezTo>
                    <a:pt x="4644" y="3656"/>
                    <a:pt x="4716" y="3727"/>
                    <a:pt x="4799" y="3727"/>
                  </a:cubicBezTo>
                  <a:lnTo>
                    <a:pt x="5954" y="3727"/>
                  </a:lnTo>
                  <a:lnTo>
                    <a:pt x="5906" y="4192"/>
                  </a:lnTo>
                  <a:lnTo>
                    <a:pt x="5489" y="4192"/>
                  </a:lnTo>
                  <a:cubicBezTo>
                    <a:pt x="5394" y="4192"/>
                    <a:pt x="5323" y="4263"/>
                    <a:pt x="5323" y="4347"/>
                  </a:cubicBezTo>
                  <a:cubicBezTo>
                    <a:pt x="5323" y="4442"/>
                    <a:pt x="5394" y="4513"/>
                    <a:pt x="5489" y="4513"/>
                  </a:cubicBezTo>
                  <a:lnTo>
                    <a:pt x="5870" y="4513"/>
                  </a:lnTo>
                  <a:lnTo>
                    <a:pt x="5835" y="4978"/>
                  </a:lnTo>
                  <a:lnTo>
                    <a:pt x="4799" y="4978"/>
                  </a:lnTo>
                  <a:cubicBezTo>
                    <a:pt x="4716" y="4978"/>
                    <a:pt x="4644" y="5049"/>
                    <a:pt x="4644" y="5144"/>
                  </a:cubicBezTo>
                  <a:cubicBezTo>
                    <a:pt x="4644" y="5228"/>
                    <a:pt x="4716" y="5299"/>
                    <a:pt x="4799" y="5299"/>
                  </a:cubicBezTo>
                  <a:lnTo>
                    <a:pt x="5787" y="5299"/>
                  </a:lnTo>
                  <a:lnTo>
                    <a:pt x="5728" y="5990"/>
                  </a:lnTo>
                  <a:cubicBezTo>
                    <a:pt x="5692" y="6275"/>
                    <a:pt x="5561" y="6656"/>
                    <a:pt x="4668" y="6656"/>
                  </a:cubicBezTo>
                  <a:lnTo>
                    <a:pt x="1882" y="6656"/>
                  </a:lnTo>
                  <a:cubicBezTo>
                    <a:pt x="989" y="6656"/>
                    <a:pt x="858" y="6287"/>
                    <a:pt x="834" y="5990"/>
                  </a:cubicBezTo>
                  <a:lnTo>
                    <a:pt x="632" y="4085"/>
                  </a:lnTo>
                  <a:cubicBezTo>
                    <a:pt x="621" y="3996"/>
                    <a:pt x="559" y="3929"/>
                    <a:pt x="474" y="3929"/>
                  </a:cubicBezTo>
                  <a:cubicBezTo>
                    <a:pt x="467" y="3929"/>
                    <a:pt x="460" y="3929"/>
                    <a:pt x="453" y="3930"/>
                  </a:cubicBezTo>
                  <a:cubicBezTo>
                    <a:pt x="370" y="3954"/>
                    <a:pt x="298" y="4025"/>
                    <a:pt x="310" y="4108"/>
                  </a:cubicBezTo>
                  <a:lnTo>
                    <a:pt x="501" y="6013"/>
                  </a:lnTo>
                  <a:cubicBezTo>
                    <a:pt x="548" y="6430"/>
                    <a:pt x="786" y="6906"/>
                    <a:pt x="1679" y="6990"/>
                  </a:cubicBezTo>
                  <a:lnTo>
                    <a:pt x="1679" y="7287"/>
                  </a:lnTo>
                  <a:cubicBezTo>
                    <a:pt x="1679" y="7645"/>
                    <a:pt x="1977" y="7942"/>
                    <a:pt x="2334" y="7942"/>
                  </a:cubicBezTo>
                  <a:lnTo>
                    <a:pt x="3120" y="7942"/>
                  </a:lnTo>
                  <a:lnTo>
                    <a:pt x="3120" y="9335"/>
                  </a:lnTo>
                  <a:cubicBezTo>
                    <a:pt x="3120" y="9430"/>
                    <a:pt x="3192" y="9502"/>
                    <a:pt x="3287" y="9502"/>
                  </a:cubicBezTo>
                  <a:cubicBezTo>
                    <a:pt x="3370" y="9502"/>
                    <a:pt x="3453" y="9430"/>
                    <a:pt x="3453" y="9335"/>
                  </a:cubicBezTo>
                  <a:lnTo>
                    <a:pt x="3453" y="7942"/>
                  </a:lnTo>
                  <a:lnTo>
                    <a:pt x="4239" y="7942"/>
                  </a:lnTo>
                  <a:cubicBezTo>
                    <a:pt x="4596" y="7942"/>
                    <a:pt x="4894" y="7645"/>
                    <a:pt x="4894" y="7287"/>
                  </a:cubicBezTo>
                  <a:lnTo>
                    <a:pt x="4894" y="6990"/>
                  </a:lnTo>
                  <a:cubicBezTo>
                    <a:pt x="5787" y="6930"/>
                    <a:pt x="6025" y="6430"/>
                    <a:pt x="6073" y="6013"/>
                  </a:cubicBezTo>
                  <a:cubicBezTo>
                    <a:pt x="6323" y="3442"/>
                    <a:pt x="6263" y="4156"/>
                    <a:pt x="6525" y="1418"/>
                  </a:cubicBezTo>
                  <a:cubicBezTo>
                    <a:pt x="6573" y="953"/>
                    <a:pt x="6216" y="560"/>
                    <a:pt x="5751" y="560"/>
                  </a:cubicBezTo>
                  <a:lnTo>
                    <a:pt x="3453" y="560"/>
                  </a:lnTo>
                  <a:lnTo>
                    <a:pt x="3453" y="167"/>
                  </a:lnTo>
                  <a:cubicBezTo>
                    <a:pt x="3453" y="84"/>
                    <a:pt x="3370" y="1"/>
                    <a:pt x="3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9" name="Google Shape;10219;p59"/>
            <p:cNvSpPr/>
            <p:nvPr/>
          </p:nvSpPr>
          <p:spPr>
            <a:xfrm>
              <a:off x="6701186" y="4283033"/>
              <a:ext cx="217347" cy="366396"/>
            </a:xfrm>
            <a:custGeom>
              <a:avLst/>
              <a:gdLst/>
              <a:ahLst/>
              <a:cxnLst/>
              <a:rect l="l" t="t" r="r" b="b"/>
              <a:pathLst>
                <a:path w="6823" h="11502" extrusionOk="0">
                  <a:moveTo>
                    <a:pt x="5513" y="0"/>
                  </a:moveTo>
                  <a:cubicBezTo>
                    <a:pt x="5418" y="0"/>
                    <a:pt x="5346" y="72"/>
                    <a:pt x="5346" y="167"/>
                  </a:cubicBezTo>
                  <a:lnTo>
                    <a:pt x="5346" y="369"/>
                  </a:lnTo>
                  <a:cubicBezTo>
                    <a:pt x="4882" y="429"/>
                    <a:pt x="4501" y="727"/>
                    <a:pt x="4310" y="1143"/>
                  </a:cubicBezTo>
                  <a:lnTo>
                    <a:pt x="1762" y="1143"/>
                  </a:lnTo>
                  <a:cubicBezTo>
                    <a:pt x="810" y="1143"/>
                    <a:pt x="24" y="1917"/>
                    <a:pt x="24" y="2894"/>
                  </a:cubicBezTo>
                  <a:lnTo>
                    <a:pt x="24" y="5072"/>
                  </a:lnTo>
                  <a:cubicBezTo>
                    <a:pt x="24" y="5168"/>
                    <a:pt x="95" y="5239"/>
                    <a:pt x="179" y="5239"/>
                  </a:cubicBezTo>
                  <a:cubicBezTo>
                    <a:pt x="274" y="5239"/>
                    <a:pt x="345" y="5168"/>
                    <a:pt x="345" y="5072"/>
                  </a:cubicBezTo>
                  <a:lnTo>
                    <a:pt x="345" y="2894"/>
                  </a:lnTo>
                  <a:cubicBezTo>
                    <a:pt x="345" y="2120"/>
                    <a:pt x="977" y="1489"/>
                    <a:pt x="1750" y="1489"/>
                  </a:cubicBezTo>
                  <a:lnTo>
                    <a:pt x="4394" y="1489"/>
                  </a:lnTo>
                  <a:cubicBezTo>
                    <a:pt x="4465" y="1489"/>
                    <a:pt x="4525" y="1441"/>
                    <a:pt x="4560" y="1370"/>
                  </a:cubicBezTo>
                  <a:cubicBezTo>
                    <a:pt x="4691" y="965"/>
                    <a:pt x="5060" y="703"/>
                    <a:pt x="5477" y="703"/>
                  </a:cubicBezTo>
                  <a:cubicBezTo>
                    <a:pt x="6013" y="703"/>
                    <a:pt x="6453" y="1131"/>
                    <a:pt x="6453" y="1667"/>
                  </a:cubicBezTo>
                  <a:cubicBezTo>
                    <a:pt x="6453" y="1774"/>
                    <a:pt x="6394" y="1846"/>
                    <a:pt x="6287" y="1882"/>
                  </a:cubicBezTo>
                  <a:cubicBezTo>
                    <a:pt x="6274" y="1884"/>
                    <a:pt x="6262" y="1885"/>
                    <a:pt x="6250" y="1885"/>
                  </a:cubicBezTo>
                  <a:cubicBezTo>
                    <a:pt x="6134" y="1885"/>
                    <a:pt x="6037" y="1786"/>
                    <a:pt x="6037" y="1667"/>
                  </a:cubicBezTo>
                  <a:cubicBezTo>
                    <a:pt x="6037" y="1330"/>
                    <a:pt x="5756" y="1100"/>
                    <a:pt x="5462" y="1100"/>
                  </a:cubicBezTo>
                  <a:cubicBezTo>
                    <a:pt x="5340" y="1100"/>
                    <a:pt x="5216" y="1140"/>
                    <a:pt x="5108" y="1227"/>
                  </a:cubicBezTo>
                  <a:cubicBezTo>
                    <a:pt x="4882" y="1405"/>
                    <a:pt x="4906" y="1667"/>
                    <a:pt x="4906" y="1679"/>
                  </a:cubicBezTo>
                  <a:cubicBezTo>
                    <a:pt x="4906" y="1798"/>
                    <a:pt x="4810" y="1893"/>
                    <a:pt x="4691" y="1893"/>
                  </a:cubicBezTo>
                  <a:lnTo>
                    <a:pt x="1727" y="1893"/>
                  </a:lnTo>
                  <a:cubicBezTo>
                    <a:pt x="1191" y="1893"/>
                    <a:pt x="750" y="2334"/>
                    <a:pt x="750" y="2870"/>
                  </a:cubicBezTo>
                  <a:lnTo>
                    <a:pt x="750" y="11180"/>
                  </a:lnTo>
                  <a:lnTo>
                    <a:pt x="334" y="11180"/>
                  </a:lnTo>
                  <a:lnTo>
                    <a:pt x="334" y="5692"/>
                  </a:lnTo>
                  <a:cubicBezTo>
                    <a:pt x="334" y="5596"/>
                    <a:pt x="262" y="5525"/>
                    <a:pt x="167" y="5525"/>
                  </a:cubicBezTo>
                  <a:cubicBezTo>
                    <a:pt x="84" y="5525"/>
                    <a:pt x="0" y="5596"/>
                    <a:pt x="0" y="5692"/>
                  </a:cubicBezTo>
                  <a:lnTo>
                    <a:pt x="0" y="11347"/>
                  </a:lnTo>
                  <a:cubicBezTo>
                    <a:pt x="0" y="11430"/>
                    <a:pt x="84" y="11502"/>
                    <a:pt x="167" y="11502"/>
                  </a:cubicBezTo>
                  <a:lnTo>
                    <a:pt x="929" y="11502"/>
                  </a:lnTo>
                  <a:cubicBezTo>
                    <a:pt x="1012" y="11502"/>
                    <a:pt x="1096" y="11430"/>
                    <a:pt x="1096" y="11347"/>
                  </a:cubicBezTo>
                  <a:lnTo>
                    <a:pt x="1096" y="2870"/>
                  </a:lnTo>
                  <a:cubicBezTo>
                    <a:pt x="1096" y="2513"/>
                    <a:pt x="1369" y="2239"/>
                    <a:pt x="1727" y="2239"/>
                  </a:cubicBezTo>
                  <a:lnTo>
                    <a:pt x="4703" y="2239"/>
                  </a:lnTo>
                  <a:cubicBezTo>
                    <a:pt x="5037" y="2215"/>
                    <a:pt x="5287" y="1977"/>
                    <a:pt x="5287" y="1679"/>
                  </a:cubicBezTo>
                  <a:lnTo>
                    <a:pt x="5287" y="1667"/>
                  </a:lnTo>
                  <a:cubicBezTo>
                    <a:pt x="5287" y="1548"/>
                    <a:pt x="5386" y="1438"/>
                    <a:pt x="5521" y="1438"/>
                  </a:cubicBezTo>
                  <a:cubicBezTo>
                    <a:pt x="5534" y="1438"/>
                    <a:pt x="5547" y="1439"/>
                    <a:pt x="5560" y="1441"/>
                  </a:cubicBezTo>
                  <a:cubicBezTo>
                    <a:pt x="5656" y="1465"/>
                    <a:pt x="5739" y="1560"/>
                    <a:pt x="5739" y="1667"/>
                  </a:cubicBezTo>
                  <a:cubicBezTo>
                    <a:pt x="5739" y="1978"/>
                    <a:pt x="5990" y="2212"/>
                    <a:pt x="6292" y="2212"/>
                  </a:cubicBezTo>
                  <a:cubicBezTo>
                    <a:pt x="6325" y="2212"/>
                    <a:pt x="6359" y="2209"/>
                    <a:pt x="6394" y="2203"/>
                  </a:cubicBezTo>
                  <a:cubicBezTo>
                    <a:pt x="6644" y="2155"/>
                    <a:pt x="6822" y="1917"/>
                    <a:pt x="6822" y="1667"/>
                  </a:cubicBezTo>
                  <a:cubicBezTo>
                    <a:pt x="6822" y="1000"/>
                    <a:pt x="6311" y="453"/>
                    <a:pt x="5679" y="369"/>
                  </a:cubicBezTo>
                  <a:lnTo>
                    <a:pt x="5679" y="167"/>
                  </a:lnTo>
                  <a:cubicBezTo>
                    <a:pt x="5679" y="72"/>
                    <a:pt x="5596" y="0"/>
                    <a:pt x="5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20" name="Google Shape;10220;p59"/>
          <p:cNvGrpSpPr/>
          <p:nvPr/>
        </p:nvGrpSpPr>
        <p:grpSpPr>
          <a:xfrm>
            <a:off x="2609571" y="3824958"/>
            <a:ext cx="373627" cy="347347"/>
            <a:chOff x="2609571" y="3824958"/>
            <a:chExt cx="373627" cy="347347"/>
          </a:xfrm>
        </p:grpSpPr>
        <p:sp>
          <p:nvSpPr>
            <p:cNvPr id="10221" name="Google Shape;10221;p59"/>
            <p:cNvSpPr/>
            <p:nvPr/>
          </p:nvSpPr>
          <p:spPr>
            <a:xfrm>
              <a:off x="2609571" y="3824958"/>
              <a:ext cx="373627" cy="347347"/>
            </a:xfrm>
            <a:custGeom>
              <a:avLst/>
              <a:gdLst/>
              <a:ahLst/>
              <a:cxnLst/>
              <a:rect l="l" t="t" r="r" b="b"/>
              <a:pathLst>
                <a:path w="11729" h="10904" extrusionOk="0">
                  <a:moveTo>
                    <a:pt x="10859" y="4201"/>
                  </a:moveTo>
                  <a:cubicBezTo>
                    <a:pt x="11157" y="4201"/>
                    <a:pt x="11395" y="4439"/>
                    <a:pt x="11395" y="4736"/>
                  </a:cubicBezTo>
                  <a:cubicBezTo>
                    <a:pt x="11395" y="5034"/>
                    <a:pt x="11157" y="5272"/>
                    <a:pt x="10859" y="5272"/>
                  </a:cubicBezTo>
                  <a:cubicBezTo>
                    <a:pt x="10561" y="5272"/>
                    <a:pt x="10323" y="5034"/>
                    <a:pt x="10323" y="4736"/>
                  </a:cubicBezTo>
                  <a:cubicBezTo>
                    <a:pt x="10323" y="4439"/>
                    <a:pt x="10561" y="4201"/>
                    <a:pt x="10859" y="4201"/>
                  </a:cubicBezTo>
                  <a:close/>
                  <a:moveTo>
                    <a:pt x="9549" y="8903"/>
                  </a:moveTo>
                  <a:cubicBezTo>
                    <a:pt x="9645" y="8903"/>
                    <a:pt x="9716" y="8975"/>
                    <a:pt x="9716" y="9070"/>
                  </a:cubicBezTo>
                  <a:lnTo>
                    <a:pt x="9716" y="10094"/>
                  </a:lnTo>
                  <a:cubicBezTo>
                    <a:pt x="9716" y="10189"/>
                    <a:pt x="9645" y="10261"/>
                    <a:pt x="9549" y="10261"/>
                  </a:cubicBezTo>
                  <a:lnTo>
                    <a:pt x="9180" y="10261"/>
                  </a:lnTo>
                  <a:cubicBezTo>
                    <a:pt x="9204" y="10130"/>
                    <a:pt x="9180" y="9963"/>
                    <a:pt x="9192" y="8903"/>
                  </a:cubicBezTo>
                  <a:close/>
                  <a:moveTo>
                    <a:pt x="5053" y="0"/>
                  </a:moveTo>
                  <a:cubicBezTo>
                    <a:pt x="4265" y="0"/>
                    <a:pt x="3460" y="208"/>
                    <a:pt x="2715" y="664"/>
                  </a:cubicBezTo>
                  <a:cubicBezTo>
                    <a:pt x="2644" y="700"/>
                    <a:pt x="2620" y="807"/>
                    <a:pt x="2656" y="879"/>
                  </a:cubicBezTo>
                  <a:cubicBezTo>
                    <a:pt x="2687" y="933"/>
                    <a:pt x="2744" y="962"/>
                    <a:pt x="2800" y="962"/>
                  </a:cubicBezTo>
                  <a:cubicBezTo>
                    <a:pt x="2829" y="962"/>
                    <a:pt x="2857" y="955"/>
                    <a:pt x="2882" y="938"/>
                  </a:cubicBezTo>
                  <a:cubicBezTo>
                    <a:pt x="3575" y="516"/>
                    <a:pt x="4322" y="323"/>
                    <a:pt x="5053" y="323"/>
                  </a:cubicBezTo>
                  <a:cubicBezTo>
                    <a:pt x="7249" y="323"/>
                    <a:pt x="9299" y="2063"/>
                    <a:pt x="9299" y="4546"/>
                  </a:cubicBezTo>
                  <a:cubicBezTo>
                    <a:pt x="9299" y="6883"/>
                    <a:pt x="7400" y="8772"/>
                    <a:pt x="5076" y="8772"/>
                  </a:cubicBezTo>
                  <a:cubicBezTo>
                    <a:pt x="4972" y="8772"/>
                    <a:pt x="4868" y="8768"/>
                    <a:pt x="4763" y="8761"/>
                  </a:cubicBezTo>
                  <a:cubicBezTo>
                    <a:pt x="2584" y="8594"/>
                    <a:pt x="858" y="6772"/>
                    <a:pt x="858" y="4546"/>
                  </a:cubicBezTo>
                  <a:cubicBezTo>
                    <a:pt x="858" y="3284"/>
                    <a:pt x="1429" y="2093"/>
                    <a:pt x="2394" y="1283"/>
                  </a:cubicBezTo>
                  <a:cubicBezTo>
                    <a:pt x="2465" y="1224"/>
                    <a:pt x="2465" y="1117"/>
                    <a:pt x="2418" y="1057"/>
                  </a:cubicBezTo>
                  <a:cubicBezTo>
                    <a:pt x="2386" y="1020"/>
                    <a:pt x="2346" y="1002"/>
                    <a:pt x="2305" y="1002"/>
                  </a:cubicBezTo>
                  <a:cubicBezTo>
                    <a:pt x="2268" y="1002"/>
                    <a:pt x="2232" y="1017"/>
                    <a:pt x="2203" y="1045"/>
                  </a:cubicBezTo>
                  <a:cubicBezTo>
                    <a:pt x="298" y="2629"/>
                    <a:pt x="1" y="5403"/>
                    <a:pt x="1501" y="7344"/>
                  </a:cubicBezTo>
                  <a:lnTo>
                    <a:pt x="751" y="8189"/>
                  </a:lnTo>
                  <a:cubicBezTo>
                    <a:pt x="620" y="8344"/>
                    <a:pt x="548" y="8546"/>
                    <a:pt x="548" y="8737"/>
                  </a:cubicBezTo>
                  <a:lnTo>
                    <a:pt x="548" y="10166"/>
                  </a:lnTo>
                  <a:cubicBezTo>
                    <a:pt x="548" y="10570"/>
                    <a:pt x="870" y="10904"/>
                    <a:pt x="1275" y="10904"/>
                  </a:cubicBezTo>
                  <a:lnTo>
                    <a:pt x="6847" y="10904"/>
                  </a:lnTo>
                  <a:cubicBezTo>
                    <a:pt x="6930" y="10904"/>
                    <a:pt x="7001" y="10820"/>
                    <a:pt x="7001" y="10737"/>
                  </a:cubicBezTo>
                  <a:cubicBezTo>
                    <a:pt x="7001" y="10642"/>
                    <a:pt x="6930" y="10570"/>
                    <a:pt x="6847" y="10570"/>
                  </a:cubicBezTo>
                  <a:lnTo>
                    <a:pt x="1275" y="10570"/>
                  </a:lnTo>
                  <a:cubicBezTo>
                    <a:pt x="1048" y="10570"/>
                    <a:pt x="870" y="10392"/>
                    <a:pt x="870" y="10166"/>
                  </a:cubicBezTo>
                  <a:lnTo>
                    <a:pt x="870" y="8737"/>
                  </a:lnTo>
                  <a:cubicBezTo>
                    <a:pt x="870" y="8618"/>
                    <a:pt x="917" y="8499"/>
                    <a:pt x="1013" y="8403"/>
                  </a:cubicBezTo>
                  <a:lnTo>
                    <a:pt x="1727" y="7594"/>
                  </a:lnTo>
                  <a:cubicBezTo>
                    <a:pt x="2622" y="8589"/>
                    <a:pt x="3864" y="9098"/>
                    <a:pt x="5110" y="9098"/>
                  </a:cubicBezTo>
                  <a:cubicBezTo>
                    <a:pt x="6233" y="9098"/>
                    <a:pt x="7359" y="8685"/>
                    <a:pt x="8240" y="7844"/>
                  </a:cubicBezTo>
                  <a:lnTo>
                    <a:pt x="8728" y="8415"/>
                  </a:lnTo>
                  <a:cubicBezTo>
                    <a:pt x="8823" y="8499"/>
                    <a:pt x="8859" y="8618"/>
                    <a:pt x="8859" y="8761"/>
                  </a:cubicBezTo>
                  <a:cubicBezTo>
                    <a:pt x="8847" y="10166"/>
                    <a:pt x="8906" y="10213"/>
                    <a:pt x="8811" y="10380"/>
                  </a:cubicBezTo>
                  <a:cubicBezTo>
                    <a:pt x="8728" y="10499"/>
                    <a:pt x="8609" y="10570"/>
                    <a:pt x="8466" y="10570"/>
                  </a:cubicBezTo>
                  <a:lnTo>
                    <a:pt x="7454" y="10570"/>
                  </a:lnTo>
                  <a:cubicBezTo>
                    <a:pt x="7359" y="10570"/>
                    <a:pt x="7287" y="10642"/>
                    <a:pt x="7287" y="10737"/>
                  </a:cubicBezTo>
                  <a:cubicBezTo>
                    <a:pt x="7287" y="10820"/>
                    <a:pt x="7359" y="10904"/>
                    <a:pt x="7454" y="10904"/>
                  </a:cubicBezTo>
                  <a:lnTo>
                    <a:pt x="8466" y="10904"/>
                  </a:lnTo>
                  <a:cubicBezTo>
                    <a:pt x="8704" y="10904"/>
                    <a:pt x="8906" y="10797"/>
                    <a:pt x="9049" y="10618"/>
                  </a:cubicBezTo>
                  <a:lnTo>
                    <a:pt x="9549" y="10618"/>
                  </a:lnTo>
                  <a:cubicBezTo>
                    <a:pt x="9811" y="10618"/>
                    <a:pt x="10038" y="10392"/>
                    <a:pt x="10038" y="10130"/>
                  </a:cubicBezTo>
                  <a:lnTo>
                    <a:pt x="10038" y="9737"/>
                  </a:lnTo>
                  <a:lnTo>
                    <a:pt x="10252" y="9737"/>
                  </a:lnTo>
                  <a:cubicBezTo>
                    <a:pt x="10680" y="9737"/>
                    <a:pt x="11038" y="9380"/>
                    <a:pt x="11038" y="8951"/>
                  </a:cubicBezTo>
                  <a:lnTo>
                    <a:pt x="11038" y="5570"/>
                  </a:lnTo>
                  <a:cubicBezTo>
                    <a:pt x="11431" y="5510"/>
                    <a:pt x="11728" y="5153"/>
                    <a:pt x="11728" y="4736"/>
                  </a:cubicBezTo>
                  <a:cubicBezTo>
                    <a:pt x="11728" y="4260"/>
                    <a:pt x="11335" y="3879"/>
                    <a:pt x="10859" y="3879"/>
                  </a:cubicBezTo>
                  <a:cubicBezTo>
                    <a:pt x="10383" y="3879"/>
                    <a:pt x="10002" y="4260"/>
                    <a:pt x="10002" y="4736"/>
                  </a:cubicBezTo>
                  <a:cubicBezTo>
                    <a:pt x="10002" y="5153"/>
                    <a:pt x="10299" y="5510"/>
                    <a:pt x="10692" y="5582"/>
                  </a:cubicBezTo>
                  <a:lnTo>
                    <a:pt x="10692" y="8963"/>
                  </a:lnTo>
                  <a:cubicBezTo>
                    <a:pt x="10692" y="9213"/>
                    <a:pt x="10490" y="9427"/>
                    <a:pt x="10240" y="9427"/>
                  </a:cubicBezTo>
                  <a:lnTo>
                    <a:pt x="10026" y="9427"/>
                  </a:lnTo>
                  <a:lnTo>
                    <a:pt x="10026" y="9082"/>
                  </a:lnTo>
                  <a:cubicBezTo>
                    <a:pt x="10026" y="8820"/>
                    <a:pt x="9799" y="8594"/>
                    <a:pt x="9537" y="8594"/>
                  </a:cubicBezTo>
                  <a:lnTo>
                    <a:pt x="9168" y="8594"/>
                  </a:lnTo>
                  <a:cubicBezTo>
                    <a:pt x="9133" y="8439"/>
                    <a:pt x="9073" y="8296"/>
                    <a:pt x="8966" y="8177"/>
                  </a:cubicBezTo>
                  <a:lnTo>
                    <a:pt x="8454" y="7594"/>
                  </a:lnTo>
                  <a:cubicBezTo>
                    <a:pt x="9180" y="6796"/>
                    <a:pt x="9621" y="5725"/>
                    <a:pt x="9621" y="4546"/>
                  </a:cubicBezTo>
                  <a:cubicBezTo>
                    <a:pt x="9621" y="1868"/>
                    <a:pt x="7413" y="0"/>
                    <a:pt x="50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2" name="Google Shape;10222;p59"/>
            <p:cNvSpPr/>
            <p:nvPr/>
          </p:nvSpPr>
          <p:spPr>
            <a:xfrm>
              <a:off x="2735494" y="3933329"/>
              <a:ext cx="72088" cy="72088"/>
            </a:xfrm>
            <a:custGeom>
              <a:avLst/>
              <a:gdLst/>
              <a:ahLst/>
              <a:cxnLst/>
              <a:rect l="l" t="t" r="r" b="b"/>
              <a:pathLst>
                <a:path w="2263" h="2263" extrusionOk="0">
                  <a:moveTo>
                    <a:pt x="1143" y="322"/>
                  </a:moveTo>
                  <a:cubicBezTo>
                    <a:pt x="1596" y="322"/>
                    <a:pt x="1953" y="679"/>
                    <a:pt x="1953" y="1132"/>
                  </a:cubicBezTo>
                  <a:cubicBezTo>
                    <a:pt x="1953" y="1572"/>
                    <a:pt x="1596" y="1930"/>
                    <a:pt x="1143" y="1930"/>
                  </a:cubicBezTo>
                  <a:cubicBezTo>
                    <a:pt x="703" y="1918"/>
                    <a:pt x="346" y="1561"/>
                    <a:pt x="346" y="1132"/>
                  </a:cubicBezTo>
                  <a:cubicBezTo>
                    <a:pt x="346" y="679"/>
                    <a:pt x="703" y="322"/>
                    <a:pt x="1143" y="322"/>
                  </a:cubicBezTo>
                  <a:close/>
                  <a:moveTo>
                    <a:pt x="1132" y="1"/>
                  </a:moveTo>
                  <a:cubicBezTo>
                    <a:pt x="501" y="1"/>
                    <a:pt x="0" y="501"/>
                    <a:pt x="0" y="1132"/>
                  </a:cubicBezTo>
                  <a:cubicBezTo>
                    <a:pt x="0" y="1751"/>
                    <a:pt x="501" y="2263"/>
                    <a:pt x="1132" y="2263"/>
                  </a:cubicBezTo>
                  <a:cubicBezTo>
                    <a:pt x="1763" y="2239"/>
                    <a:pt x="2263" y="1739"/>
                    <a:pt x="2263" y="1132"/>
                  </a:cubicBezTo>
                  <a:cubicBezTo>
                    <a:pt x="2263" y="501"/>
                    <a:pt x="1763" y="1"/>
                    <a:pt x="1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23" name="Google Shape;10223;p59"/>
          <p:cNvSpPr/>
          <p:nvPr/>
        </p:nvSpPr>
        <p:spPr>
          <a:xfrm>
            <a:off x="1288576" y="3822410"/>
            <a:ext cx="363370" cy="351456"/>
          </a:xfrm>
          <a:custGeom>
            <a:avLst/>
            <a:gdLst/>
            <a:ahLst/>
            <a:cxnLst/>
            <a:rect l="l" t="t" r="r" b="b"/>
            <a:pathLst>
              <a:path w="11407" h="11033" extrusionOk="0">
                <a:moveTo>
                  <a:pt x="1698" y="1130"/>
                </a:moveTo>
                <a:cubicBezTo>
                  <a:pt x="1739" y="1130"/>
                  <a:pt x="1780" y="1133"/>
                  <a:pt x="1822" y="1137"/>
                </a:cubicBezTo>
                <a:lnTo>
                  <a:pt x="1143" y="3626"/>
                </a:lnTo>
                <a:cubicBezTo>
                  <a:pt x="643" y="3423"/>
                  <a:pt x="357" y="2852"/>
                  <a:pt x="512" y="2316"/>
                </a:cubicBezTo>
                <a:lnTo>
                  <a:pt x="607" y="1959"/>
                </a:lnTo>
                <a:cubicBezTo>
                  <a:pt x="750" y="1453"/>
                  <a:pt x="1207" y="1130"/>
                  <a:pt x="1698" y="1130"/>
                </a:cubicBezTo>
                <a:close/>
                <a:moveTo>
                  <a:pt x="2641" y="304"/>
                </a:moveTo>
                <a:cubicBezTo>
                  <a:pt x="2755" y="304"/>
                  <a:pt x="2867" y="357"/>
                  <a:pt x="2929" y="471"/>
                </a:cubicBezTo>
                <a:cubicBezTo>
                  <a:pt x="2977" y="542"/>
                  <a:pt x="2989" y="649"/>
                  <a:pt x="2965" y="732"/>
                </a:cubicBezTo>
                <a:lnTo>
                  <a:pt x="1941" y="4566"/>
                </a:lnTo>
                <a:cubicBezTo>
                  <a:pt x="1905" y="4650"/>
                  <a:pt x="1846" y="4733"/>
                  <a:pt x="1774" y="4769"/>
                </a:cubicBezTo>
                <a:cubicBezTo>
                  <a:pt x="1719" y="4806"/>
                  <a:pt x="1659" y="4822"/>
                  <a:pt x="1601" y="4822"/>
                </a:cubicBezTo>
                <a:cubicBezTo>
                  <a:pt x="1396" y="4822"/>
                  <a:pt x="1207" y="4619"/>
                  <a:pt x="1262" y="4388"/>
                </a:cubicBezTo>
                <a:cubicBezTo>
                  <a:pt x="1310" y="4209"/>
                  <a:pt x="2215" y="828"/>
                  <a:pt x="2298" y="566"/>
                </a:cubicBezTo>
                <a:cubicBezTo>
                  <a:pt x="2339" y="397"/>
                  <a:pt x="2491" y="304"/>
                  <a:pt x="2641" y="304"/>
                </a:cubicBezTo>
                <a:close/>
                <a:moveTo>
                  <a:pt x="8751" y="3792"/>
                </a:moveTo>
                <a:lnTo>
                  <a:pt x="10168" y="4173"/>
                </a:lnTo>
                <a:lnTo>
                  <a:pt x="9894" y="5185"/>
                </a:lnTo>
                <a:lnTo>
                  <a:pt x="8489" y="4804"/>
                </a:lnTo>
                <a:cubicBezTo>
                  <a:pt x="8525" y="4614"/>
                  <a:pt x="8704" y="3983"/>
                  <a:pt x="8751" y="3792"/>
                </a:cubicBezTo>
                <a:close/>
                <a:moveTo>
                  <a:pt x="10789" y="3812"/>
                </a:moveTo>
                <a:cubicBezTo>
                  <a:pt x="10804" y="3812"/>
                  <a:pt x="10819" y="3813"/>
                  <a:pt x="10835" y="3816"/>
                </a:cubicBezTo>
                <a:cubicBezTo>
                  <a:pt x="10954" y="3852"/>
                  <a:pt x="11025" y="3971"/>
                  <a:pt x="11001" y="4090"/>
                </a:cubicBezTo>
                <a:lnTo>
                  <a:pt x="10573" y="5662"/>
                </a:lnTo>
                <a:cubicBezTo>
                  <a:pt x="10542" y="5765"/>
                  <a:pt x="10447" y="5833"/>
                  <a:pt x="10345" y="5833"/>
                </a:cubicBezTo>
                <a:cubicBezTo>
                  <a:pt x="10330" y="5833"/>
                  <a:pt x="10314" y="5831"/>
                  <a:pt x="10299" y="5828"/>
                </a:cubicBezTo>
                <a:cubicBezTo>
                  <a:pt x="10180" y="5805"/>
                  <a:pt x="10120" y="5626"/>
                  <a:pt x="10132" y="5566"/>
                </a:cubicBezTo>
                <a:cubicBezTo>
                  <a:pt x="10179" y="5391"/>
                  <a:pt x="10560" y="3982"/>
                  <a:pt x="10573" y="3982"/>
                </a:cubicBezTo>
                <a:cubicBezTo>
                  <a:pt x="10573" y="3982"/>
                  <a:pt x="10573" y="3982"/>
                  <a:pt x="10573" y="3983"/>
                </a:cubicBezTo>
                <a:cubicBezTo>
                  <a:pt x="10594" y="3879"/>
                  <a:pt x="10687" y="3812"/>
                  <a:pt x="10789" y="3812"/>
                </a:cubicBezTo>
                <a:close/>
                <a:moveTo>
                  <a:pt x="4679" y="4983"/>
                </a:moveTo>
                <a:lnTo>
                  <a:pt x="6799" y="5447"/>
                </a:lnTo>
                <a:lnTo>
                  <a:pt x="6799" y="5924"/>
                </a:lnTo>
                <a:cubicBezTo>
                  <a:pt x="6799" y="6245"/>
                  <a:pt x="6537" y="6531"/>
                  <a:pt x="6191" y="6531"/>
                </a:cubicBezTo>
                <a:lnTo>
                  <a:pt x="5286" y="6531"/>
                </a:lnTo>
                <a:cubicBezTo>
                  <a:pt x="4953" y="6531"/>
                  <a:pt x="4667" y="6257"/>
                  <a:pt x="4667" y="5924"/>
                </a:cubicBezTo>
                <a:lnTo>
                  <a:pt x="4667" y="4983"/>
                </a:lnTo>
                <a:close/>
                <a:moveTo>
                  <a:pt x="2644" y="0"/>
                </a:moveTo>
                <a:cubicBezTo>
                  <a:pt x="2359" y="0"/>
                  <a:pt x="2075" y="175"/>
                  <a:pt x="1988" y="494"/>
                </a:cubicBezTo>
                <a:lnTo>
                  <a:pt x="1905" y="840"/>
                </a:lnTo>
                <a:cubicBezTo>
                  <a:pt x="1835" y="829"/>
                  <a:pt x="1764" y="824"/>
                  <a:pt x="1694" y="824"/>
                </a:cubicBezTo>
                <a:cubicBezTo>
                  <a:pt x="1065" y="824"/>
                  <a:pt x="469" y="1246"/>
                  <a:pt x="298" y="1899"/>
                </a:cubicBezTo>
                <a:lnTo>
                  <a:pt x="191" y="2256"/>
                </a:lnTo>
                <a:cubicBezTo>
                  <a:pt x="0" y="2947"/>
                  <a:pt x="369" y="3685"/>
                  <a:pt x="1048" y="3959"/>
                </a:cubicBezTo>
                <a:lnTo>
                  <a:pt x="953" y="4292"/>
                </a:lnTo>
                <a:cubicBezTo>
                  <a:pt x="822" y="4751"/>
                  <a:pt x="1191" y="5150"/>
                  <a:pt x="1609" y="5150"/>
                </a:cubicBezTo>
                <a:cubicBezTo>
                  <a:pt x="1723" y="5150"/>
                  <a:pt x="1840" y="5121"/>
                  <a:pt x="1953" y="5054"/>
                </a:cubicBezTo>
                <a:cubicBezTo>
                  <a:pt x="2274" y="4876"/>
                  <a:pt x="2274" y="4554"/>
                  <a:pt x="2322" y="4459"/>
                </a:cubicBezTo>
                <a:lnTo>
                  <a:pt x="4358" y="4912"/>
                </a:lnTo>
                <a:lnTo>
                  <a:pt x="4358" y="5924"/>
                </a:lnTo>
                <a:cubicBezTo>
                  <a:pt x="4358" y="6436"/>
                  <a:pt x="4775" y="6852"/>
                  <a:pt x="5298" y="6852"/>
                </a:cubicBezTo>
                <a:lnTo>
                  <a:pt x="5584" y="6852"/>
                </a:lnTo>
                <a:lnTo>
                  <a:pt x="5584" y="7638"/>
                </a:lnTo>
                <a:lnTo>
                  <a:pt x="4001" y="7638"/>
                </a:lnTo>
                <a:cubicBezTo>
                  <a:pt x="3703" y="7638"/>
                  <a:pt x="3453" y="7900"/>
                  <a:pt x="3453" y="8198"/>
                </a:cubicBezTo>
                <a:cubicBezTo>
                  <a:pt x="3453" y="8495"/>
                  <a:pt x="3703" y="8745"/>
                  <a:pt x="4001" y="8745"/>
                </a:cubicBezTo>
                <a:lnTo>
                  <a:pt x="4298" y="8745"/>
                </a:lnTo>
                <a:lnTo>
                  <a:pt x="2679" y="10758"/>
                </a:lnTo>
                <a:cubicBezTo>
                  <a:pt x="2584" y="10865"/>
                  <a:pt x="2667" y="11019"/>
                  <a:pt x="2810" y="11019"/>
                </a:cubicBezTo>
                <a:cubicBezTo>
                  <a:pt x="2858" y="11019"/>
                  <a:pt x="2905" y="11008"/>
                  <a:pt x="2941" y="10960"/>
                </a:cubicBezTo>
                <a:lnTo>
                  <a:pt x="4727" y="8745"/>
                </a:lnTo>
                <a:lnTo>
                  <a:pt x="5596" y="8745"/>
                </a:lnTo>
                <a:lnTo>
                  <a:pt x="5596" y="10865"/>
                </a:lnTo>
                <a:cubicBezTo>
                  <a:pt x="5596" y="10948"/>
                  <a:pt x="5667" y="11019"/>
                  <a:pt x="5763" y="11019"/>
                </a:cubicBezTo>
                <a:cubicBezTo>
                  <a:pt x="5846" y="11019"/>
                  <a:pt x="5918" y="10948"/>
                  <a:pt x="5918" y="10865"/>
                </a:cubicBezTo>
                <a:lnTo>
                  <a:pt x="5918" y="8745"/>
                </a:lnTo>
                <a:lnTo>
                  <a:pt x="6787" y="8745"/>
                </a:lnTo>
                <a:lnTo>
                  <a:pt x="8573" y="10960"/>
                </a:lnTo>
                <a:cubicBezTo>
                  <a:pt x="8607" y="11009"/>
                  <a:pt x="8658" y="11033"/>
                  <a:pt x="8706" y="11033"/>
                </a:cubicBezTo>
                <a:cubicBezTo>
                  <a:pt x="8741" y="11033"/>
                  <a:pt x="8774" y="11020"/>
                  <a:pt x="8799" y="10996"/>
                </a:cubicBezTo>
                <a:cubicBezTo>
                  <a:pt x="8870" y="10936"/>
                  <a:pt x="8870" y="10829"/>
                  <a:pt x="8823" y="10769"/>
                </a:cubicBezTo>
                <a:lnTo>
                  <a:pt x="7203" y="8757"/>
                </a:lnTo>
                <a:lnTo>
                  <a:pt x="7501" y="8757"/>
                </a:lnTo>
                <a:cubicBezTo>
                  <a:pt x="7799" y="8757"/>
                  <a:pt x="8049" y="8507"/>
                  <a:pt x="8049" y="8210"/>
                </a:cubicBezTo>
                <a:cubicBezTo>
                  <a:pt x="8049" y="7912"/>
                  <a:pt x="7799" y="7662"/>
                  <a:pt x="7501" y="7662"/>
                </a:cubicBezTo>
                <a:lnTo>
                  <a:pt x="7108" y="7662"/>
                </a:lnTo>
                <a:cubicBezTo>
                  <a:pt x="7025" y="7662"/>
                  <a:pt x="6953" y="7733"/>
                  <a:pt x="6953" y="7817"/>
                </a:cubicBezTo>
                <a:cubicBezTo>
                  <a:pt x="6953" y="7912"/>
                  <a:pt x="7025" y="7983"/>
                  <a:pt x="7108" y="7983"/>
                </a:cubicBezTo>
                <a:lnTo>
                  <a:pt x="7501" y="7983"/>
                </a:lnTo>
                <a:cubicBezTo>
                  <a:pt x="7620" y="7983"/>
                  <a:pt x="7727" y="8091"/>
                  <a:pt x="7727" y="8210"/>
                </a:cubicBezTo>
                <a:cubicBezTo>
                  <a:pt x="7727" y="8329"/>
                  <a:pt x="7620" y="8436"/>
                  <a:pt x="7501" y="8436"/>
                </a:cubicBezTo>
                <a:lnTo>
                  <a:pt x="4024" y="8436"/>
                </a:lnTo>
                <a:cubicBezTo>
                  <a:pt x="3905" y="8436"/>
                  <a:pt x="3798" y="8329"/>
                  <a:pt x="3798" y="8210"/>
                </a:cubicBezTo>
                <a:cubicBezTo>
                  <a:pt x="3798" y="8091"/>
                  <a:pt x="3905" y="7983"/>
                  <a:pt x="4024" y="7983"/>
                </a:cubicBezTo>
                <a:lnTo>
                  <a:pt x="6489" y="7983"/>
                </a:lnTo>
                <a:cubicBezTo>
                  <a:pt x="6584" y="7983"/>
                  <a:pt x="6656" y="7912"/>
                  <a:pt x="6656" y="7817"/>
                </a:cubicBezTo>
                <a:cubicBezTo>
                  <a:pt x="6656" y="7733"/>
                  <a:pt x="6584" y="7662"/>
                  <a:pt x="6489" y="7662"/>
                </a:cubicBezTo>
                <a:lnTo>
                  <a:pt x="5929" y="7662"/>
                </a:lnTo>
                <a:lnTo>
                  <a:pt x="5929" y="6876"/>
                </a:lnTo>
                <a:lnTo>
                  <a:pt x="6203" y="6876"/>
                </a:lnTo>
                <a:cubicBezTo>
                  <a:pt x="6727" y="6876"/>
                  <a:pt x="7144" y="6459"/>
                  <a:pt x="7144" y="5935"/>
                </a:cubicBezTo>
                <a:lnTo>
                  <a:pt x="7144" y="5531"/>
                </a:lnTo>
                <a:lnTo>
                  <a:pt x="7668" y="5650"/>
                </a:lnTo>
                <a:cubicBezTo>
                  <a:pt x="7713" y="5660"/>
                  <a:pt x="7758" y="5665"/>
                  <a:pt x="7803" y="5665"/>
                </a:cubicBezTo>
                <a:cubicBezTo>
                  <a:pt x="8075" y="5665"/>
                  <a:pt x="8322" y="5484"/>
                  <a:pt x="8394" y="5197"/>
                </a:cubicBezTo>
                <a:lnTo>
                  <a:pt x="8406" y="5126"/>
                </a:lnTo>
                <a:lnTo>
                  <a:pt x="9823" y="5519"/>
                </a:lnTo>
                <a:cubicBezTo>
                  <a:pt x="9763" y="5793"/>
                  <a:pt x="9930" y="6078"/>
                  <a:pt x="10228" y="6150"/>
                </a:cubicBezTo>
                <a:cubicBezTo>
                  <a:pt x="10279" y="6164"/>
                  <a:pt x="10331" y="6171"/>
                  <a:pt x="10382" y="6171"/>
                </a:cubicBezTo>
                <a:cubicBezTo>
                  <a:pt x="10622" y="6171"/>
                  <a:pt x="10835" y="6015"/>
                  <a:pt x="10894" y="5769"/>
                </a:cubicBezTo>
                <a:lnTo>
                  <a:pt x="11323" y="4185"/>
                </a:lnTo>
                <a:cubicBezTo>
                  <a:pt x="11406" y="3888"/>
                  <a:pt x="11240" y="3590"/>
                  <a:pt x="10942" y="3519"/>
                </a:cubicBezTo>
                <a:cubicBezTo>
                  <a:pt x="10897" y="3507"/>
                  <a:pt x="10852" y="3502"/>
                  <a:pt x="10807" y="3502"/>
                </a:cubicBezTo>
                <a:cubicBezTo>
                  <a:pt x="10568" y="3502"/>
                  <a:pt x="10345" y="3655"/>
                  <a:pt x="10275" y="3876"/>
                </a:cubicBezTo>
                <a:lnTo>
                  <a:pt x="8858" y="3495"/>
                </a:lnTo>
                <a:lnTo>
                  <a:pt x="8870" y="3411"/>
                </a:lnTo>
                <a:cubicBezTo>
                  <a:pt x="8966" y="3090"/>
                  <a:pt x="8775" y="2757"/>
                  <a:pt x="8454" y="2673"/>
                </a:cubicBezTo>
                <a:lnTo>
                  <a:pt x="5679" y="1792"/>
                </a:lnTo>
                <a:cubicBezTo>
                  <a:pt x="5663" y="1787"/>
                  <a:pt x="5646" y="1785"/>
                  <a:pt x="5629" y="1785"/>
                </a:cubicBezTo>
                <a:cubicBezTo>
                  <a:pt x="5561" y="1785"/>
                  <a:pt x="5496" y="1823"/>
                  <a:pt x="5477" y="1899"/>
                </a:cubicBezTo>
                <a:cubicBezTo>
                  <a:pt x="5453" y="1983"/>
                  <a:pt x="5489" y="2078"/>
                  <a:pt x="5584" y="2102"/>
                </a:cubicBezTo>
                <a:lnTo>
                  <a:pt x="8346" y="2983"/>
                </a:lnTo>
                <a:cubicBezTo>
                  <a:pt x="8501" y="3030"/>
                  <a:pt x="8585" y="3197"/>
                  <a:pt x="8549" y="3340"/>
                </a:cubicBezTo>
                <a:cubicBezTo>
                  <a:pt x="8049" y="5162"/>
                  <a:pt x="8144" y="4816"/>
                  <a:pt x="8073" y="5126"/>
                </a:cubicBezTo>
                <a:cubicBezTo>
                  <a:pt x="8030" y="5263"/>
                  <a:pt x="7904" y="5344"/>
                  <a:pt x="7776" y="5344"/>
                </a:cubicBezTo>
                <a:cubicBezTo>
                  <a:pt x="7760" y="5344"/>
                  <a:pt x="7743" y="5343"/>
                  <a:pt x="7727" y="5340"/>
                </a:cubicBezTo>
                <a:lnTo>
                  <a:pt x="2393" y="4161"/>
                </a:lnTo>
                <a:lnTo>
                  <a:pt x="3155" y="1352"/>
                </a:lnTo>
                <a:lnTo>
                  <a:pt x="4977" y="1923"/>
                </a:lnTo>
                <a:cubicBezTo>
                  <a:pt x="4996" y="1931"/>
                  <a:pt x="5016" y="1935"/>
                  <a:pt x="5035" y="1935"/>
                </a:cubicBezTo>
                <a:cubicBezTo>
                  <a:pt x="5100" y="1935"/>
                  <a:pt x="5161" y="1892"/>
                  <a:pt x="5179" y="1828"/>
                </a:cubicBezTo>
                <a:cubicBezTo>
                  <a:pt x="5203" y="1733"/>
                  <a:pt x="5167" y="1649"/>
                  <a:pt x="5072" y="1614"/>
                </a:cubicBezTo>
                <a:lnTo>
                  <a:pt x="3239" y="1030"/>
                </a:lnTo>
                <a:cubicBezTo>
                  <a:pt x="3262" y="935"/>
                  <a:pt x="3405" y="661"/>
                  <a:pt x="3227" y="340"/>
                </a:cubicBezTo>
                <a:cubicBezTo>
                  <a:pt x="3095" y="109"/>
                  <a:pt x="2869" y="0"/>
                  <a:pt x="264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24" name="Google Shape;10224;p59"/>
          <p:cNvGrpSpPr/>
          <p:nvPr/>
        </p:nvGrpSpPr>
        <p:grpSpPr>
          <a:xfrm>
            <a:off x="916127" y="3807056"/>
            <a:ext cx="221902" cy="380795"/>
            <a:chOff x="916127" y="3807056"/>
            <a:chExt cx="221902" cy="380795"/>
          </a:xfrm>
        </p:grpSpPr>
        <p:sp>
          <p:nvSpPr>
            <p:cNvPr id="10225" name="Google Shape;10225;p59"/>
            <p:cNvSpPr/>
            <p:nvPr/>
          </p:nvSpPr>
          <p:spPr>
            <a:xfrm>
              <a:off x="916127" y="3807056"/>
              <a:ext cx="221902" cy="380795"/>
            </a:xfrm>
            <a:custGeom>
              <a:avLst/>
              <a:gdLst/>
              <a:ahLst/>
              <a:cxnLst/>
              <a:rect l="l" t="t" r="r" b="b"/>
              <a:pathLst>
                <a:path w="6966" h="11954" extrusionOk="0">
                  <a:moveTo>
                    <a:pt x="4120" y="6429"/>
                  </a:moveTo>
                  <a:lnTo>
                    <a:pt x="4120" y="7799"/>
                  </a:lnTo>
                  <a:lnTo>
                    <a:pt x="2810" y="7799"/>
                  </a:lnTo>
                  <a:lnTo>
                    <a:pt x="2810" y="6429"/>
                  </a:lnTo>
                  <a:cubicBezTo>
                    <a:pt x="3024" y="6489"/>
                    <a:pt x="3245" y="6519"/>
                    <a:pt x="3465" y="6519"/>
                  </a:cubicBezTo>
                  <a:cubicBezTo>
                    <a:pt x="3685" y="6519"/>
                    <a:pt x="3905" y="6489"/>
                    <a:pt x="4120" y="6429"/>
                  </a:cubicBezTo>
                  <a:close/>
                  <a:moveTo>
                    <a:pt x="4882" y="8144"/>
                  </a:moveTo>
                  <a:lnTo>
                    <a:pt x="4882" y="8680"/>
                  </a:lnTo>
                  <a:lnTo>
                    <a:pt x="2060" y="8680"/>
                  </a:lnTo>
                  <a:lnTo>
                    <a:pt x="2060" y="8144"/>
                  </a:lnTo>
                  <a:close/>
                  <a:moveTo>
                    <a:pt x="5596" y="9037"/>
                  </a:moveTo>
                  <a:lnTo>
                    <a:pt x="5596" y="9335"/>
                  </a:lnTo>
                  <a:lnTo>
                    <a:pt x="1346" y="9335"/>
                  </a:lnTo>
                  <a:lnTo>
                    <a:pt x="1346" y="9037"/>
                  </a:lnTo>
                  <a:lnTo>
                    <a:pt x="2060" y="9037"/>
                  </a:lnTo>
                  <a:lnTo>
                    <a:pt x="2060" y="9049"/>
                  </a:lnTo>
                  <a:lnTo>
                    <a:pt x="4882" y="9049"/>
                  </a:lnTo>
                  <a:lnTo>
                    <a:pt x="4882" y="9037"/>
                  </a:lnTo>
                  <a:close/>
                  <a:moveTo>
                    <a:pt x="6227" y="9692"/>
                  </a:moveTo>
                  <a:cubicBezTo>
                    <a:pt x="6441" y="9692"/>
                    <a:pt x="6608" y="9858"/>
                    <a:pt x="6608" y="10061"/>
                  </a:cubicBezTo>
                  <a:lnTo>
                    <a:pt x="6608" y="11251"/>
                  </a:lnTo>
                  <a:cubicBezTo>
                    <a:pt x="6608" y="11466"/>
                    <a:pt x="6441" y="11620"/>
                    <a:pt x="6227" y="11620"/>
                  </a:cubicBezTo>
                  <a:lnTo>
                    <a:pt x="715" y="11620"/>
                  </a:lnTo>
                  <a:cubicBezTo>
                    <a:pt x="500" y="11620"/>
                    <a:pt x="334" y="11466"/>
                    <a:pt x="334" y="11251"/>
                  </a:cubicBezTo>
                  <a:lnTo>
                    <a:pt x="334" y="10061"/>
                  </a:lnTo>
                  <a:cubicBezTo>
                    <a:pt x="334" y="9858"/>
                    <a:pt x="500" y="9692"/>
                    <a:pt x="715" y="9692"/>
                  </a:cubicBezTo>
                  <a:close/>
                  <a:moveTo>
                    <a:pt x="655" y="0"/>
                  </a:moveTo>
                  <a:cubicBezTo>
                    <a:pt x="298" y="0"/>
                    <a:pt x="0" y="298"/>
                    <a:pt x="0" y="655"/>
                  </a:cubicBezTo>
                  <a:lnTo>
                    <a:pt x="0" y="964"/>
                  </a:lnTo>
                  <a:cubicBezTo>
                    <a:pt x="0" y="1322"/>
                    <a:pt x="298" y="1619"/>
                    <a:pt x="655" y="1619"/>
                  </a:cubicBezTo>
                  <a:lnTo>
                    <a:pt x="1012" y="1619"/>
                  </a:lnTo>
                  <a:lnTo>
                    <a:pt x="1012" y="4048"/>
                  </a:lnTo>
                  <a:cubicBezTo>
                    <a:pt x="1012" y="5060"/>
                    <a:pt x="1619" y="5929"/>
                    <a:pt x="2477" y="6310"/>
                  </a:cubicBezTo>
                  <a:lnTo>
                    <a:pt x="2477" y="7799"/>
                  </a:lnTo>
                  <a:lnTo>
                    <a:pt x="1905" y="7799"/>
                  </a:lnTo>
                  <a:cubicBezTo>
                    <a:pt x="1798" y="7799"/>
                    <a:pt x="1727" y="7870"/>
                    <a:pt x="1727" y="7977"/>
                  </a:cubicBezTo>
                  <a:lnTo>
                    <a:pt x="1727" y="8680"/>
                  </a:lnTo>
                  <a:lnTo>
                    <a:pt x="1191" y="8680"/>
                  </a:lnTo>
                  <a:cubicBezTo>
                    <a:pt x="1084" y="8680"/>
                    <a:pt x="1012" y="8751"/>
                    <a:pt x="1012" y="8858"/>
                  </a:cubicBezTo>
                  <a:lnTo>
                    <a:pt x="1012" y="9335"/>
                  </a:lnTo>
                  <a:lnTo>
                    <a:pt x="726" y="9335"/>
                  </a:lnTo>
                  <a:cubicBezTo>
                    <a:pt x="322" y="9335"/>
                    <a:pt x="12" y="9656"/>
                    <a:pt x="12" y="10049"/>
                  </a:cubicBezTo>
                  <a:lnTo>
                    <a:pt x="12" y="11240"/>
                  </a:lnTo>
                  <a:cubicBezTo>
                    <a:pt x="12" y="11644"/>
                    <a:pt x="334" y="11954"/>
                    <a:pt x="726" y="11954"/>
                  </a:cubicBezTo>
                  <a:lnTo>
                    <a:pt x="6251" y="11954"/>
                  </a:lnTo>
                  <a:cubicBezTo>
                    <a:pt x="6644" y="11954"/>
                    <a:pt x="6965" y="11620"/>
                    <a:pt x="6965" y="11240"/>
                  </a:cubicBezTo>
                  <a:lnTo>
                    <a:pt x="6965" y="10049"/>
                  </a:lnTo>
                  <a:cubicBezTo>
                    <a:pt x="6965" y="9644"/>
                    <a:pt x="6632" y="9335"/>
                    <a:pt x="6251" y="9335"/>
                  </a:cubicBezTo>
                  <a:lnTo>
                    <a:pt x="5953" y="9335"/>
                  </a:lnTo>
                  <a:lnTo>
                    <a:pt x="5953" y="8858"/>
                  </a:lnTo>
                  <a:cubicBezTo>
                    <a:pt x="5953" y="8751"/>
                    <a:pt x="5870" y="8680"/>
                    <a:pt x="5775" y="8680"/>
                  </a:cubicBezTo>
                  <a:lnTo>
                    <a:pt x="5239" y="8680"/>
                  </a:lnTo>
                  <a:lnTo>
                    <a:pt x="5239" y="7977"/>
                  </a:lnTo>
                  <a:cubicBezTo>
                    <a:pt x="5239" y="7870"/>
                    <a:pt x="5156" y="7799"/>
                    <a:pt x="5060" y="7799"/>
                  </a:cubicBezTo>
                  <a:lnTo>
                    <a:pt x="4477" y="7799"/>
                  </a:lnTo>
                  <a:lnTo>
                    <a:pt x="4477" y="6310"/>
                  </a:lnTo>
                  <a:cubicBezTo>
                    <a:pt x="4786" y="6179"/>
                    <a:pt x="5072" y="5965"/>
                    <a:pt x="5310" y="5703"/>
                  </a:cubicBezTo>
                  <a:cubicBezTo>
                    <a:pt x="5370" y="5632"/>
                    <a:pt x="5370" y="5525"/>
                    <a:pt x="5298" y="5453"/>
                  </a:cubicBezTo>
                  <a:cubicBezTo>
                    <a:pt x="5259" y="5425"/>
                    <a:pt x="5216" y="5410"/>
                    <a:pt x="5174" y="5410"/>
                  </a:cubicBezTo>
                  <a:cubicBezTo>
                    <a:pt x="5127" y="5410"/>
                    <a:pt x="5080" y="5428"/>
                    <a:pt x="5037" y="5465"/>
                  </a:cubicBezTo>
                  <a:cubicBezTo>
                    <a:pt x="4882" y="5644"/>
                    <a:pt x="4679" y="5786"/>
                    <a:pt x="4477" y="5906"/>
                  </a:cubicBezTo>
                  <a:cubicBezTo>
                    <a:pt x="4158" y="6080"/>
                    <a:pt x="3812" y="6165"/>
                    <a:pt x="3467" y="6165"/>
                  </a:cubicBezTo>
                  <a:cubicBezTo>
                    <a:pt x="3245" y="6165"/>
                    <a:pt x="3024" y="6130"/>
                    <a:pt x="2810" y="6060"/>
                  </a:cubicBezTo>
                  <a:cubicBezTo>
                    <a:pt x="1965" y="5786"/>
                    <a:pt x="1334" y="4989"/>
                    <a:pt x="1334" y="4036"/>
                  </a:cubicBezTo>
                  <a:lnTo>
                    <a:pt x="1334" y="1607"/>
                  </a:lnTo>
                  <a:lnTo>
                    <a:pt x="5572" y="1607"/>
                  </a:lnTo>
                  <a:lnTo>
                    <a:pt x="5572" y="4048"/>
                  </a:lnTo>
                  <a:cubicBezTo>
                    <a:pt x="5596" y="4358"/>
                    <a:pt x="5537" y="4655"/>
                    <a:pt x="5394" y="4929"/>
                  </a:cubicBezTo>
                  <a:cubicBezTo>
                    <a:pt x="5358" y="5013"/>
                    <a:pt x="5394" y="5120"/>
                    <a:pt x="5489" y="5167"/>
                  </a:cubicBezTo>
                  <a:cubicBezTo>
                    <a:pt x="5513" y="5179"/>
                    <a:pt x="5537" y="5179"/>
                    <a:pt x="5560" y="5179"/>
                  </a:cubicBezTo>
                  <a:cubicBezTo>
                    <a:pt x="5620" y="5179"/>
                    <a:pt x="5691" y="5132"/>
                    <a:pt x="5727" y="5072"/>
                  </a:cubicBezTo>
                  <a:cubicBezTo>
                    <a:pt x="5870" y="4751"/>
                    <a:pt x="5953" y="4405"/>
                    <a:pt x="5953" y="4048"/>
                  </a:cubicBezTo>
                  <a:lnTo>
                    <a:pt x="5953" y="1619"/>
                  </a:lnTo>
                  <a:lnTo>
                    <a:pt x="6310" y="1619"/>
                  </a:lnTo>
                  <a:cubicBezTo>
                    <a:pt x="6668" y="1619"/>
                    <a:pt x="6965" y="1322"/>
                    <a:pt x="6965" y="964"/>
                  </a:cubicBezTo>
                  <a:lnTo>
                    <a:pt x="6965" y="655"/>
                  </a:lnTo>
                  <a:cubicBezTo>
                    <a:pt x="6965" y="298"/>
                    <a:pt x="6668" y="0"/>
                    <a:pt x="6310" y="0"/>
                  </a:cubicBezTo>
                  <a:lnTo>
                    <a:pt x="2215" y="0"/>
                  </a:lnTo>
                  <a:cubicBezTo>
                    <a:pt x="2108" y="0"/>
                    <a:pt x="2036" y="71"/>
                    <a:pt x="2036" y="179"/>
                  </a:cubicBezTo>
                  <a:cubicBezTo>
                    <a:pt x="2036" y="286"/>
                    <a:pt x="2108" y="357"/>
                    <a:pt x="2215" y="357"/>
                  </a:cubicBezTo>
                  <a:lnTo>
                    <a:pt x="6310" y="357"/>
                  </a:lnTo>
                  <a:cubicBezTo>
                    <a:pt x="6465" y="357"/>
                    <a:pt x="6608" y="488"/>
                    <a:pt x="6608" y="655"/>
                  </a:cubicBezTo>
                  <a:lnTo>
                    <a:pt x="6608" y="964"/>
                  </a:lnTo>
                  <a:cubicBezTo>
                    <a:pt x="6608" y="1131"/>
                    <a:pt x="6465" y="1262"/>
                    <a:pt x="6310" y="1262"/>
                  </a:cubicBezTo>
                  <a:lnTo>
                    <a:pt x="655" y="1262"/>
                  </a:lnTo>
                  <a:cubicBezTo>
                    <a:pt x="488" y="1262"/>
                    <a:pt x="357" y="1131"/>
                    <a:pt x="357" y="964"/>
                  </a:cubicBezTo>
                  <a:lnTo>
                    <a:pt x="357" y="655"/>
                  </a:lnTo>
                  <a:cubicBezTo>
                    <a:pt x="357" y="488"/>
                    <a:pt x="488" y="357"/>
                    <a:pt x="655" y="357"/>
                  </a:cubicBezTo>
                  <a:lnTo>
                    <a:pt x="1500" y="357"/>
                  </a:lnTo>
                  <a:cubicBezTo>
                    <a:pt x="1608" y="357"/>
                    <a:pt x="1679" y="286"/>
                    <a:pt x="1679" y="179"/>
                  </a:cubicBezTo>
                  <a:cubicBezTo>
                    <a:pt x="1679" y="71"/>
                    <a:pt x="1608" y="0"/>
                    <a:pt x="1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6" name="Google Shape;10226;p59"/>
            <p:cNvSpPr/>
            <p:nvPr/>
          </p:nvSpPr>
          <p:spPr>
            <a:xfrm>
              <a:off x="969580" y="3869746"/>
              <a:ext cx="110792" cy="102955"/>
            </a:xfrm>
            <a:custGeom>
              <a:avLst/>
              <a:gdLst/>
              <a:ahLst/>
              <a:cxnLst/>
              <a:rect l="l" t="t" r="r" b="b"/>
              <a:pathLst>
                <a:path w="3478" h="3232" extrusionOk="0">
                  <a:moveTo>
                    <a:pt x="1815" y="1"/>
                  </a:moveTo>
                  <a:cubicBezTo>
                    <a:pt x="1680" y="1"/>
                    <a:pt x="1543" y="72"/>
                    <a:pt x="1477" y="211"/>
                  </a:cubicBezTo>
                  <a:cubicBezTo>
                    <a:pt x="1175" y="806"/>
                    <a:pt x="1156" y="843"/>
                    <a:pt x="1155" y="843"/>
                  </a:cubicBezTo>
                  <a:cubicBezTo>
                    <a:pt x="1155" y="843"/>
                    <a:pt x="1156" y="842"/>
                    <a:pt x="1156" y="842"/>
                  </a:cubicBezTo>
                  <a:lnTo>
                    <a:pt x="1156" y="842"/>
                  </a:lnTo>
                  <a:cubicBezTo>
                    <a:pt x="1052" y="977"/>
                    <a:pt x="1162" y="1139"/>
                    <a:pt x="1292" y="1139"/>
                  </a:cubicBezTo>
                  <a:cubicBezTo>
                    <a:pt x="1356" y="1139"/>
                    <a:pt x="1426" y="1099"/>
                    <a:pt x="1477" y="997"/>
                  </a:cubicBezTo>
                  <a:cubicBezTo>
                    <a:pt x="1762" y="396"/>
                    <a:pt x="1786" y="352"/>
                    <a:pt x="1795" y="352"/>
                  </a:cubicBezTo>
                  <a:cubicBezTo>
                    <a:pt x="1796" y="352"/>
                    <a:pt x="1797" y="354"/>
                    <a:pt x="1799" y="354"/>
                  </a:cubicBezTo>
                  <a:cubicBezTo>
                    <a:pt x="1801" y="354"/>
                    <a:pt x="1801" y="352"/>
                    <a:pt x="1803" y="352"/>
                  </a:cubicBezTo>
                  <a:cubicBezTo>
                    <a:pt x="1812" y="352"/>
                    <a:pt x="1837" y="396"/>
                    <a:pt x="2132" y="997"/>
                  </a:cubicBezTo>
                  <a:cubicBezTo>
                    <a:pt x="2192" y="1104"/>
                    <a:pt x="2287" y="1175"/>
                    <a:pt x="2406" y="1199"/>
                  </a:cubicBezTo>
                  <a:lnTo>
                    <a:pt x="3108" y="1306"/>
                  </a:lnTo>
                  <a:cubicBezTo>
                    <a:pt x="3120" y="1306"/>
                    <a:pt x="3120" y="1318"/>
                    <a:pt x="3120" y="1318"/>
                  </a:cubicBezTo>
                  <a:cubicBezTo>
                    <a:pt x="3120" y="1342"/>
                    <a:pt x="3156" y="1306"/>
                    <a:pt x="2608" y="1830"/>
                  </a:cubicBezTo>
                  <a:cubicBezTo>
                    <a:pt x="2525" y="1902"/>
                    <a:pt x="2489" y="1997"/>
                    <a:pt x="2489" y="2092"/>
                  </a:cubicBezTo>
                  <a:cubicBezTo>
                    <a:pt x="2489" y="2152"/>
                    <a:pt x="2608" y="2842"/>
                    <a:pt x="2608" y="2866"/>
                  </a:cubicBezTo>
                  <a:cubicBezTo>
                    <a:pt x="2608" y="2883"/>
                    <a:pt x="2596" y="2894"/>
                    <a:pt x="2584" y="2894"/>
                  </a:cubicBezTo>
                  <a:cubicBezTo>
                    <a:pt x="2580" y="2894"/>
                    <a:pt x="2576" y="2893"/>
                    <a:pt x="2573" y="2890"/>
                  </a:cubicBezTo>
                  <a:lnTo>
                    <a:pt x="1954" y="2556"/>
                  </a:lnTo>
                  <a:cubicBezTo>
                    <a:pt x="1900" y="2527"/>
                    <a:pt x="1840" y="2512"/>
                    <a:pt x="1781" y="2512"/>
                  </a:cubicBezTo>
                  <a:cubicBezTo>
                    <a:pt x="1721" y="2512"/>
                    <a:pt x="1662" y="2527"/>
                    <a:pt x="1608" y="2556"/>
                  </a:cubicBezTo>
                  <a:cubicBezTo>
                    <a:pt x="996" y="2879"/>
                    <a:pt x="977" y="2890"/>
                    <a:pt x="967" y="2890"/>
                  </a:cubicBezTo>
                  <a:cubicBezTo>
                    <a:pt x="967" y="2890"/>
                    <a:pt x="966" y="2890"/>
                    <a:pt x="965" y="2890"/>
                  </a:cubicBezTo>
                  <a:cubicBezTo>
                    <a:pt x="953" y="2890"/>
                    <a:pt x="953" y="2866"/>
                    <a:pt x="953" y="2854"/>
                  </a:cubicBezTo>
                  <a:cubicBezTo>
                    <a:pt x="1073" y="2116"/>
                    <a:pt x="1073" y="2152"/>
                    <a:pt x="1073" y="2092"/>
                  </a:cubicBezTo>
                  <a:cubicBezTo>
                    <a:pt x="1073" y="1997"/>
                    <a:pt x="1025" y="1902"/>
                    <a:pt x="953" y="1830"/>
                  </a:cubicBezTo>
                  <a:lnTo>
                    <a:pt x="441" y="1342"/>
                  </a:lnTo>
                  <a:cubicBezTo>
                    <a:pt x="430" y="1318"/>
                    <a:pt x="441" y="1306"/>
                    <a:pt x="465" y="1306"/>
                  </a:cubicBezTo>
                  <a:lnTo>
                    <a:pt x="608" y="1294"/>
                  </a:lnTo>
                  <a:cubicBezTo>
                    <a:pt x="703" y="1282"/>
                    <a:pt x="775" y="1187"/>
                    <a:pt x="763" y="1104"/>
                  </a:cubicBezTo>
                  <a:cubicBezTo>
                    <a:pt x="741" y="1016"/>
                    <a:pt x="668" y="948"/>
                    <a:pt x="581" y="948"/>
                  </a:cubicBezTo>
                  <a:cubicBezTo>
                    <a:pt x="574" y="948"/>
                    <a:pt x="568" y="948"/>
                    <a:pt x="561" y="949"/>
                  </a:cubicBezTo>
                  <a:lnTo>
                    <a:pt x="418" y="961"/>
                  </a:lnTo>
                  <a:cubicBezTo>
                    <a:pt x="108" y="1009"/>
                    <a:pt x="1" y="1378"/>
                    <a:pt x="203" y="1592"/>
                  </a:cubicBezTo>
                  <a:cubicBezTo>
                    <a:pt x="739" y="2116"/>
                    <a:pt x="727" y="2080"/>
                    <a:pt x="727" y="2092"/>
                  </a:cubicBezTo>
                  <a:cubicBezTo>
                    <a:pt x="608" y="2842"/>
                    <a:pt x="608" y="2806"/>
                    <a:pt x="608" y="2854"/>
                  </a:cubicBezTo>
                  <a:cubicBezTo>
                    <a:pt x="608" y="3074"/>
                    <a:pt x="785" y="3231"/>
                    <a:pt x="976" y="3231"/>
                  </a:cubicBezTo>
                  <a:cubicBezTo>
                    <a:pt x="1032" y="3231"/>
                    <a:pt x="1089" y="3217"/>
                    <a:pt x="1144" y="3187"/>
                  </a:cubicBezTo>
                  <a:cubicBezTo>
                    <a:pt x="1696" y="2896"/>
                    <a:pt x="1757" y="2851"/>
                    <a:pt x="1777" y="2851"/>
                  </a:cubicBezTo>
                  <a:cubicBezTo>
                    <a:pt x="1781" y="2851"/>
                    <a:pt x="1783" y="2852"/>
                    <a:pt x="1787" y="2854"/>
                  </a:cubicBezTo>
                  <a:cubicBezTo>
                    <a:pt x="2382" y="3152"/>
                    <a:pt x="2442" y="3223"/>
                    <a:pt x="2585" y="3223"/>
                  </a:cubicBezTo>
                  <a:cubicBezTo>
                    <a:pt x="2811" y="3223"/>
                    <a:pt x="2989" y="3021"/>
                    <a:pt x="2966" y="2795"/>
                  </a:cubicBezTo>
                  <a:cubicBezTo>
                    <a:pt x="2847" y="2068"/>
                    <a:pt x="2847" y="2092"/>
                    <a:pt x="2858" y="2080"/>
                  </a:cubicBezTo>
                  <a:lnTo>
                    <a:pt x="3359" y="1592"/>
                  </a:lnTo>
                  <a:cubicBezTo>
                    <a:pt x="3442" y="1521"/>
                    <a:pt x="3478" y="1425"/>
                    <a:pt x="3478" y="1318"/>
                  </a:cubicBezTo>
                  <a:cubicBezTo>
                    <a:pt x="3478" y="1128"/>
                    <a:pt x="3347" y="985"/>
                    <a:pt x="3168" y="949"/>
                  </a:cubicBezTo>
                  <a:lnTo>
                    <a:pt x="2466" y="842"/>
                  </a:lnTo>
                  <a:cubicBezTo>
                    <a:pt x="2465" y="842"/>
                    <a:pt x="2464" y="842"/>
                    <a:pt x="2463" y="842"/>
                  </a:cubicBezTo>
                  <a:cubicBezTo>
                    <a:pt x="2454" y="842"/>
                    <a:pt x="2444" y="821"/>
                    <a:pt x="2144" y="211"/>
                  </a:cubicBezTo>
                  <a:cubicBezTo>
                    <a:pt x="2079" y="70"/>
                    <a:pt x="1947" y="1"/>
                    <a:pt x="18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7" name="Google Shape;10227;p59"/>
            <p:cNvSpPr/>
            <p:nvPr/>
          </p:nvSpPr>
          <p:spPr>
            <a:xfrm>
              <a:off x="982863" y="4127517"/>
              <a:ext cx="88015" cy="11404"/>
            </a:xfrm>
            <a:custGeom>
              <a:avLst/>
              <a:gdLst/>
              <a:ahLst/>
              <a:cxnLst/>
              <a:rect l="l" t="t" r="r" b="b"/>
              <a:pathLst>
                <a:path w="2763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2584" y="358"/>
                  </a:lnTo>
                  <a:cubicBezTo>
                    <a:pt x="2691" y="358"/>
                    <a:pt x="2763" y="287"/>
                    <a:pt x="2763" y="179"/>
                  </a:cubicBezTo>
                  <a:cubicBezTo>
                    <a:pt x="2763" y="72"/>
                    <a:pt x="2680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8" name="Google Shape;10228;p59"/>
            <p:cNvSpPr/>
            <p:nvPr/>
          </p:nvSpPr>
          <p:spPr>
            <a:xfrm>
              <a:off x="982863" y="4152173"/>
              <a:ext cx="88015" cy="11404"/>
            </a:xfrm>
            <a:custGeom>
              <a:avLst/>
              <a:gdLst/>
              <a:ahLst/>
              <a:cxnLst/>
              <a:rect l="l" t="t" r="r" b="b"/>
              <a:pathLst>
                <a:path w="2763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584" y="358"/>
                  </a:lnTo>
                  <a:cubicBezTo>
                    <a:pt x="2691" y="358"/>
                    <a:pt x="2763" y="286"/>
                    <a:pt x="2763" y="179"/>
                  </a:cubicBezTo>
                  <a:cubicBezTo>
                    <a:pt x="2751" y="72"/>
                    <a:pt x="2680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29" name="Google Shape;10229;p59"/>
          <p:cNvSpPr/>
          <p:nvPr/>
        </p:nvSpPr>
        <p:spPr>
          <a:xfrm>
            <a:off x="3136771" y="3823174"/>
            <a:ext cx="224928" cy="349131"/>
          </a:xfrm>
          <a:custGeom>
            <a:avLst/>
            <a:gdLst/>
            <a:ahLst/>
            <a:cxnLst/>
            <a:rect l="l" t="t" r="r" b="b"/>
            <a:pathLst>
              <a:path w="7061" h="10960" extrusionOk="0">
                <a:moveTo>
                  <a:pt x="3906" y="5316"/>
                </a:moveTo>
                <a:cubicBezTo>
                  <a:pt x="4072" y="5316"/>
                  <a:pt x="4191" y="5447"/>
                  <a:pt x="4191" y="5602"/>
                </a:cubicBezTo>
                <a:cubicBezTo>
                  <a:pt x="4191" y="5757"/>
                  <a:pt x="4060" y="5876"/>
                  <a:pt x="3906" y="5876"/>
                </a:cubicBezTo>
                <a:lnTo>
                  <a:pt x="3370" y="5876"/>
                </a:lnTo>
                <a:cubicBezTo>
                  <a:pt x="3215" y="5876"/>
                  <a:pt x="3096" y="5745"/>
                  <a:pt x="3096" y="5602"/>
                </a:cubicBezTo>
                <a:cubicBezTo>
                  <a:pt x="3096" y="5435"/>
                  <a:pt x="3227" y="5316"/>
                  <a:pt x="3370" y="5316"/>
                </a:cubicBezTo>
                <a:close/>
                <a:moveTo>
                  <a:pt x="5370" y="8459"/>
                </a:moveTo>
                <a:cubicBezTo>
                  <a:pt x="5430" y="8471"/>
                  <a:pt x="5489" y="8519"/>
                  <a:pt x="5489" y="8578"/>
                </a:cubicBezTo>
                <a:lnTo>
                  <a:pt x="5489" y="9317"/>
                </a:lnTo>
                <a:cubicBezTo>
                  <a:pt x="5489" y="9376"/>
                  <a:pt x="5430" y="9436"/>
                  <a:pt x="5370" y="9436"/>
                </a:cubicBezTo>
                <a:lnTo>
                  <a:pt x="1929" y="9436"/>
                </a:lnTo>
                <a:cubicBezTo>
                  <a:pt x="1870" y="9436"/>
                  <a:pt x="1810" y="9376"/>
                  <a:pt x="1810" y="9317"/>
                </a:cubicBezTo>
                <a:lnTo>
                  <a:pt x="1810" y="8578"/>
                </a:lnTo>
                <a:cubicBezTo>
                  <a:pt x="1810" y="8519"/>
                  <a:pt x="1870" y="8459"/>
                  <a:pt x="1929" y="8459"/>
                </a:cubicBezTo>
                <a:close/>
                <a:moveTo>
                  <a:pt x="3645" y="0"/>
                </a:moveTo>
                <a:cubicBezTo>
                  <a:pt x="3527" y="0"/>
                  <a:pt x="3411" y="54"/>
                  <a:pt x="3346" y="161"/>
                </a:cubicBezTo>
                <a:lnTo>
                  <a:pt x="191" y="4792"/>
                </a:lnTo>
                <a:cubicBezTo>
                  <a:pt x="0" y="5078"/>
                  <a:pt x="36" y="5447"/>
                  <a:pt x="262" y="5685"/>
                </a:cubicBezTo>
                <a:lnTo>
                  <a:pt x="1762" y="7209"/>
                </a:lnTo>
                <a:cubicBezTo>
                  <a:pt x="1822" y="7269"/>
                  <a:pt x="1858" y="7340"/>
                  <a:pt x="1858" y="7412"/>
                </a:cubicBezTo>
                <a:lnTo>
                  <a:pt x="1858" y="8078"/>
                </a:lnTo>
                <a:cubicBezTo>
                  <a:pt x="1620" y="8114"/>
                  <a:pt x="1429" y="8317"/>
                  <a:pt x="1429" y="8578"/>
                </a:cubicBezTo>
                <a:lnTo>
                  <a:pt x="1429" y="9317"/>
                </a:lnTo>
                <a:cubicBezTo>
                  <a:pt x="1429" y="9602"/>
                  <a:pt x="1643" y="9829"/>
                  <a:pt x="1929" y="9829"/>
                </a:cubicBezTo>
                <a:lnTo>
                  <a:pt x="2155" y="9829"/>
                </a:lnTo>
                <a:lnTo>
                  <a:pt x="2155" y="10472"/>
                </a:lnTo>
                <a:cubicBezTo>
                  <a:pt x="2155" y="10734"/>
                  <a:pt x="2358" y="10960"/>
                  <a:pt x="2632" y="10960"/>
                </a:cubicBezTo>
                <a:lnTo>
                  <a:pt x="3179" y="10960"/>
                </a:lnTo>
                <a:cubicBezTo>
                  <a:pt x="3286" y="10960"/>
                  <a:pt x="3370" y="10864"/>
                  <a:pt x="3370" y="10757"/>
                </a:cubicBezTo>
                <a:cubicBezTo>
                  <a:pt x="3370" y="10662"/>
                  <a:pt x="3286" y="10567"/>
                  <a:pt x="3179" y="10567"/>
                </a:cubicBezTo>
                <a:lnTo>
                  <a:pt x="2632" y="10567"/>
                </a:lnTo>
                <a:cubicBezTo>
                  <a:pt x="2584" y="10567"/>
                  <a:pt x="2536" y="10519"/>
                  <a:pt x="2536" y="10483"/>
                </a:cubicBezTo>
                <a:lnTo>
                  <a:pt x="2536" y="9829"/>
                </a:lnTo>
                <a:lnTo>
                  <a:pt x="4763" y="9829"/>
                </a:lnTo>
                <a:lnTo>
                  <a:pt x="4763" y="10483"/>
                </a:lnTo>
                <a:cubicBezTo>
                  <a:pt x="4763" y="10519"/>
                  <a:pt x="4715" y="10567"/>
                  <a:pt x="4668" y="10567"/>
                </a:cubicBezTo>
                <a:lnTo>
                  <a:pt x="4072" y="10567"/>
                </a:lnTo>
                <a:cubicBezTo>
                  <a:pt x="3965" y="10567"/>
                  <a:pt x="3882" y="10662"/>
                  <a:pt x="3882" y="10757"/>
                </a:cubicBezTo>
                <a:cubicBezTo>
                  <a:pt x="3882" y="10864"/>
                  <a:pt x="3965" y="10960"/>
                  <a:pt x="4072" y="10960"/>
                </a:cubicBezTo>
                <a:lnTo>
                  <a:pt x="4668" y="10960"/>
                </a:lnTo>
                <a:cubicBezTo>
                  <a:pt x="4918" y="10960"/>
                  <a:pt x="5144" y="10745"/>
                  <a:pt x="5144" y="10472"/>
                </a:cubicBezTo>
                <a:lnTo>
                  <a:pt x="5144" y="9829"/>
                </a:lnTo>
                <a:lnTo>
                  <a:pt x="5370" y="9829"/>
                </a:lnTo>
                <a:cubicBezTo>
                  <a:pt x="5656" y="9829"/>
                  <a:pt x="5870" y="9602"/>
                  <a:pt x="5870" y="9317"/>
                </a:cubicBezTo>
                <a:lnTo>
                  <a:pt x="5870" y="8578"/>
                </a:lnTo>
                <a:cubicBezTo>
                  <a:pt x="5870" y="8317"/>
                  <a:pt x="5680" y="8114"/>
                  <a:pt x="5441" y="8078"/>
                </a:cubicBezTo>
                <a:lnTo>
                  <a:pt x="5441" y="7412"/>
                </a:lnTo>
                <a:cubicBezTo>
                  <a:pt x="5441" y="7340"/>
                  <a:pt x="5477" y="7269"/>
                  <a:pt x="5537" y="7209"/>
                </a:cubicBezTo>
                <a:lnTo>
                  <a:pt x="6977" y="5745"/>
                </a:lnTo>
                <a:cubicBezTo>
                  <a:pt x="7049" y="5673"/>
                  <a:pt x="7049" y="5554"/>
                  <a:pt x="6977" y="5483"/>
                </a:cubicBezTo>
                <a:cubicBezTo>
                  <a:pt x="6942" y="5441"/>
                  <a:pt x="6894" y="5420"/>
                  <a:pt x="6845" y="5420"/>
                </a:cubicBezTo>
                <a:cubicBezTo>
                  <a:pt x="6796" y="5420"/>
                  <a:pt x="6745" y="5441"/>
                  <a:pt x="6703" y="5483"/>
                </a:cubicBezTo>
                <a:lnTo>
                  <a:pt x="5263" y="6935"/>
                </a:lnTo>
                <a:cubicBezTo>
                  <a:pt x="5132" y="7066"/>
                  <a:pt x="5072" y="7233"/>
                  <a:pt x="5072" y="7412"/>
                </a:cubicBezTo>
                <a:lnTo>
                  <a:pt x="5072" y="8067"/>
                </a:lnTo>
                <a:lnTo>
                  <a:pt x="2262" y="8067"/>
                </a:lnTo>
                <a:lnTo>
                  <a:pt x="2262" y="7412"/>
                </a:lnTo>
                <a:cubicBezTo>
                  <a:pt x="2262" y="7233"/>
                  <a:pt x="2179" y="7054"/>
                  <a:pt x="2060" y="6935"/>
                </a:cubicBezTo>
                <a:lnTo>
                  <a:pt x="560" y="5423"/>
                </a:lnTo>
                <a:cubicBezTo>
                  <a:pt x="453" y="5316"/>
                  <a:pt x="441" y="5138"/>
                  <a:pt x="536" y="5019"/>
                </a:cubicBezTo>
                <a:lnTo>
                  <a:pt x="3477" y="685"/>
                </a:lnTo>
                <a:lnTo>
                  <a:pt x="3477" y="4923"/>
                </a:lnTo>
                <a:lnTo>
                  <a:pt x="3405" y="4923"/>
                </a:lnTo>
                <a:cubicBezTo>
                  <a:pt x="3036" y="4923"/>
                  <a:pt x="2739" y="5221"/>
                  <a:pt x="2739" y="5602"/>
                </a:cubicBezTo>
                <a:cubicBezTo>
                  <a:pt x="2739" y="5971"/>
                  <a:pt x="3036" y="6269"/>
                  <a:pt x="3405" y="6269"/>
                </a:cubicBezTo>
                <a:lnTo>
                  <a:pt x="3941" y="6269"/>
                </a:lnTo>
                <a:cubicBezTo>
                  <a:pt x="4310" y="6269"/>
                  <a:pt x="4608" y="5971"/>
                  <a:pt x="4608" y="5602"/>
                </a:cubicBezTo>
                <a:cubicBezTo>
                  <a:pt x="4608" y="5221"/>
                  <a:pt x="4310" y="4923"/>
                  <a:pt x="3941" y="4923"/>
                </a:cubicBezTo>
                <a:lnTo>
                  <a:pt x="3870" y="4923"/>
                </a:lnTo>
                <a:lnTo>
                  <a:pt x="3870" y="685"/>
                </a:lnTo>
                <a:lnTo>
                  <a:pt x="6692" y="4840"/>
                </a:lnTo>
                <a:cubicBezTo>
                  <a:pt x="6727" y="4889"/>
                  <a:pt x="6783" y="4918"/>
                  <a:pt x="6843" y="4918"/>
                </a:cubicBezTo>
                <a:cubicBezTo>
                  <a:pt x="6884" y="4918"/>
                  <a:pt x="6927" y="4905"/>
                  <a:pt x="6965" y="4876"/>
                </a:cubicBezTo>
                <a:cubicBezTo>
                  <a:pt x="7049" y="4816"/>
                  <a:pt x="7061" y="4697"/>
                  <a:pt x="7001" y="4614"/>
                </a:cubicBezTo>
                <a:lnTo>
                  <a:pt x="3953" y="161"/>
                </a:lnTo>
                <a:cubicBezTo>
                  <a:pt x="3882" y="54"/>
                  <a:pt x="3763" y="0"/>
                  <a:pt x="364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30" name="Google Shape;10230;p59"/>
          <p:cNvSpPr/>
          <p:nvPr/>
        </p:nvSpPr>
        <p:spPr>
          <a:xfrm>
            <a:off x="2179465" y="3851048"/>
            <a:ext cx="362255" cy="292811"/>
          </a:xfrm>
          <a:custGeom>
            <a:avLst/>
            <a:gdLst/>
            <a:ahLst/>
            <a:cxnLst/>
            <a:rect l="l" t="t" r="r" b="b"/>
            <a:pathLst>
              <a:path w="11372" h="9192" extrusionOk="0">
                <a:moveTo>
                  <a:pt x="7264" y="345"/>
                </a:moveTo>
                <a:lnTo>
                  <a:pt x="7264" y="5513"/>
                </a:lnTo>
                <a:lnTo>
                  <a:pt x="6311" y="5513"/>
                </a:lnTo>
                <a:lnTo>
                  <a:pt x="6311" y="345"/>
                </a:lnTo>
                <a:close/>
                <a:moveTo>
                  <a:pt x="9478" y="345"/>
                </a:moveTo>
                <a:lnTo>
                  <a:pt x="9478" y="5513"/>
                </a:lnTo>
                <a:lnTo>
                  <a:pt x="8526" y="5513"/>
                </a:lnTo>
                <a:lnTo>
                  <a:pt x="8526" y="345"/>
                </a:lnTo>
                <a:close/>
                <a:moveTo>
                  <a:pt x="1549" y="345"/>
                </a:moveTo>
                <a:lnTo>
                  <a:pt x="1549" y="5691"/>
                </a:lnTo>
                <a:cubicBezTo>
                  <a:pt x="1549" y="5775"/>
                  <a:pt x="1620" y="5858"/>
                  <a:pt x="1715" y="5858"/>
                </a:cubicBezTo>
                <a:lnTo>
                  <a:pt x="2192" y="5858"/>
                </a:lnTo>
                <a:lnTo>
                  <a:pt x="2192" y="8858"/>
                </a:lnTo>
                <a:lnTo>
                  <a:pt x="322" y="8858"/>
                </a:lnTo>
                <a:lnTo>
                  <a:pt x="322" y="345"/>
                </a:lnTo>
                <a:close/>
                <a:moveTo>
                  <a:pt x="4394" y="357"/>
                </a:moveTo>
                <a:lnTo>
                  <a:pt x="4406" y="8858"/>
                </a:lnTo>
                <a:lnTo>
                  <a:pt x="2525" y="8858"/>
                </a:lnTo>
                <a:lnTo>
                  <a:pt x="2525" y="5858"/>
                </a:lnTo>
                <a:lnTo>
                  <a:pt x="3001" y="5858"/>
                </a:lnTo>
                <a:cubicBezTo>
                  <a:pt x="3097" y="5858"/>
                  <a:pt x="3168" y="5775"/>
                  <a:pt x="3168" y="5691"/>
                </a:cubicBezTo>
                <a:lnTo>
                  <a:pt x="3168" y="3203"/>
                </a:lnTo>
                <a:cubicBezTo>
                  <a:pt x="3168" y="3108"/>
                  <a:pt x="3097" y="3036"/>
                  <a:pt x="3001" y="3036"/>
                </a:cubicBezTo>
                <a:cubicBezTo>
                  <a:pt x="2918" y="3036"/>
                  <a:pt x="2846" y="3108"/>
                  <a:pt x="2846" y="3203"/>
                </a:cubicBezTo>
                <a:lnTo>
                  <a:pt x="2846" y="5525"/>
                </a:lnTo>
                <a:lnTo>
                  <a:pt x="1894" y="5525"/>
                </a:lnTo>
                <a:lnTo>
                  <a:pt x="1894" y="357"/>
                </a:lnTo>
                <a:lnTo>
                  <a:pt x="2846" y="357"/>
                </a:lnTo>
                <a:lnTo>
                  <a:pt x="2846" y="2417"/>
                </a:lnTo>
                <a:cubicBezTo>
                  <a:pt x="2846" y="2500"/>
                  <a:pt x="2918" y="2572"/>
                  <a:pt x="3001" y="2572"/>
                </a:cubicBezTo>
                <a:cubicBezTo>
                  <a:pt x="3097" y="2572"/>
                  <a:pt x="3168" y="2500"/>
                  <a:pt x="3168" y="2417"/>
                </a:cubicBezTo>
                <a:lnTo>
                  <a:pt x="3168" y="357"/>
                </a:lnTo>
                <a:close/>
                <a:moveTo>
                  <a:pt x="5966" y="345"/>
                </a:moveTo>
                <a:lnTo>
                  <a:pt x="5966" y="5691"/>
                </a:lnTo>
                <a:cubicBezTo>
                  <a:pt x="5966" y="5775"/>
                  <a:pt x="6037" y="5858"/>
                  <a:pt x="6133" y="5858"/>
                </a:cubicBezTo>
                <a:lnTo>
                  <a:pt x="6609" y="5858"/>
                </a:lnTo>
                <a:lnTo>
                  <a:pt x="6621" y="8858"/>
                </a:lnTo>
                <a:lnTo>
                  <a:pt x="4751" y="8858"/>
                </a:lnTo>
                <a:lnTo>
                  <a:pt x="4751" y="345"/>
                </a:lnTo>
                <a:close/>
                <a:moveTo>
                  <a:pt x="8157" y="345"/>
                </a:moveTo>
                <a:lnTo>
                  <a:pt x="8157" y="5691"/>
                </a:lnTo>
                <a:cubicBezTo>
                  <a:pt x="8157" y="5775"/>
                  <a:pt x="8228" y="5858"/>
                  <a:pt x="8323" y="5858"/>
                </a:cubicBezTo>
                <a:lnTo>
                  <a:pt x="8800" y="5858"/>
                </a:lnTo>
                <a:lnTo>
                  <a:pt x="8800" y="8858"/>
                </a:lnTo>
                <a:lnTo>
                  <a:pt x="6954" y="8858"/>
                </a:lnTo>
                <a:lnTo>
                  <a:pt x="6954" y="5858"/>
                </a:lnTo>
                <a:lnTo>
                  <a:pt x="7430" y="5858"/>
                </a:lnTo>
                <a:cubicBezTo>
                  <a:pt x="7514" y="5858"/>
                  <a:pt x="7585" y="5775"/>
                  <a:pt x="7585" y="5691"/>
                </a:cubicBezTo>
                <a:lnTo>
                  <a:pt x="7585" y="345"/>
                </a:lnTo>
                <a:close/>
                <a:moveTo>
                  <a:pt x="168" y="0"/>
                </a:moveTo>
                <a:cubicBezTo>
                  <a:pt x="72" y="0"/>
                  <a:pt x="1" y="72"/>
                  <a:pt x="1" y="167"/>
                </a:cubicBezTo>
                <a:lnTo>
                  <a:pt x="1" y="9025"/>
                </a:lnTo>
                <a:cubicBezTo>
                  <a:pt x="1" y="9108"/>
                  <a:pt x="72" y="9192"/>
                  <a:pt x="168" y="9192"/>
                </a:cubicBezTo>
                <a:lnTo>
                  <a:pt x="11181" y="9192"/>
                </a:lnTo>
                <a:cubicBezTo>
                  <a:pt x="11264" y="9192"/>
                  <a:pt x="11336" y="9108"/>
                  <a:pt x="11336" y="9025"/>
                </a:cubicBezTo>
                <a:lnTo>
                  <a:pt x="11336" y="4536"/>
                </a:lnTo>
                <a:cubicBezTo>
                  <a:pt x="11336" y="4453"/>
                  <a:pt x="11264" y="4382"/>
                  <a:pt x="11181" y="4382"/>
                </a:cubicBezTo>
                <a:cubicBezTo>
                  <a:pt x="11086" y="4382"/>
                  <a:pt x="11014" y="4453"/>
                  <a:pt x="11014" y="4536"/>
                </a:cubicBezTo>
                <a:lnTo>
                  <a:pt x="11014" y="8858"/>
                </a:lnTo>
                <a:lnTo>
                  <a:pt x="9133" y="8858"/>
                </a:lnTo>
                <a:lnTo>
                  <a:pt x="9133" y="5846"/>
                </a:lnTo>
                <a:lnTo>
                  <a:pt x="9609" y="5846"/>
                </a:lnTo>
                <a:cubicBezTo>
                  <a:pt x="9704" y="5846"/>
                  <a:pt x="9776" y="5775"/>
                  <a:pt x="9776" y="5691"/>
                </a:cubicBezTo>
                <a:lnTo>
                  <a:pt x="9776" y="345"/>
                </a:lnTo>
                <a:lnTo>
                  <a:pt x="11002" y="345"/>
                </a:lnTo>
                <a:lnTo>
                  <a:pt x="11002" y="3751"/>
                </a:lnTo>
                <a:cubicBezTo>
                  <a:pt x="11026" y="3846"/>
                  <a:pt x="11098" y="3917"/>
                  <a:pt x="11205" y="3917"/>
                </a:cubicBezTo>
                <a:cubicBezTo>
                  <a:pt x="11300" y="3917"/>
                  <a:pt x="11371" y="3846"/>
                  <a:pt x="11371" y="3751"/>
                </a:cubicBezTo>
                <a:lnTo>
                  <a:pt x="11371" y="167"/>
                </a:lnTo>
                <a:cubicBezTo>
                  <a:pt x="11371" y="72"/>
                  <a:pt x="11300" y="0"/>
                  <a:pt x="1120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31" name="Google Shape;10231;p59"/>
          <p:cNvGrpSpPr/>
          <p:nvPr/>
        </p:nvGrpSpPr>
        <p:grpSpPr>
          <a:xfrm>
            <a:off x="3513010" y="3816134"/>
            <a:ext cx="362223" cy="361108"/>
            <a:chOff x="3513010" y="3816134"/>
            <a:chExt cx="362223" cy="361108"/>
          </a:xfrm>
        </p:grpSpPr>
        <p:sp>
          <p:nvSpPr>
            <p:cNvPr id="10232" name="Google Shape;10232;p59"/>
            <p:cNvSpPr/>
            <p:nvPr/>
          </p:nvSpPr>
          <p:spPr>
            <a:xfrm>
              <a:off x="3513010" y="3816134"/>
              <a:ext cx="362223" cy="361108"/>
            </a:xfrm>
            <a:custGeom>
              <a:avLst/>
              <a:gdLst/>
              <a:ahLst/>
              <a:cxnLst/>
              <a:rect l="l" t="t" r="r" b="b"/>
              <a:pathLst>
                <a:path w="11371" h="11336" extrusionOk="0">
                  <a:moveTo>
                    <a:pt x="1381" y="346"/>
                  </a:moveTo>
                  <a:cubicBezTo>
                    <a:pt x="1846" y="358"/>
                    <a:pt x="2262" y="715"/>
                    <a:pt x="2358" y="1191"/>
                  </a:cubicBezTo>
                  <a:lnTo>
                    <a:pt x="1881" y="1191"/>
                  </a:lnTo>
                  <a:cubicBezTo>
                    <a:pt x="1786" y="1191"/>
                    <a:pt x="1715" y="1263"/>
                    <a:pt x="1715" y="1358"/>
                  </a:cubicBezTo>
                  <a:cubicBezTo>
                    <a:pt x="1715" y="1727"/>
                    <a:pt x="1417" y="2025"/>
                    <a:pt x="1048" y="2025"/>
                  </a:cubicBezTo>
                  <a:cubicBezTo>
                    <a:pt x="667" y="2025"/>
                    <a:pt x="369" y="1727"/>
                    <a:pt x="369" y="1358"/>
                  </a:cubicBezTo>
                  <a:cubicBezTo>
                    <a:pt x="369" y="798"/>
                    <a:pt x="822" y="346"/>
                    <a:pt x="1381" y="346"/>
                  </a:cubicBezTo>
                  <a:close/>
                  <a:moveTo>
                    <a:pt x="2358" y="1537"/>
                  </a:moveTo>
                  <a:lnTo>
                    <a:pt x="2358" y="2037"/>
                  </a:lnTo>
                  <a:lnTo>
                    <a:pt x="1774" y="2037"/>
                  </a:lnTo>
                  <a:cubicBezTo>
                    <a:pt x="1893" y="1906"/>
                    <a:pt x="1977" y="1727"/>
                    <a:pt x="2012" y="1537"/>
                  </a:cubicBezTo>
                  <a:close/>
                  <a:moveTo>
                    <a:pt x="9109" y="4489"/>
                  </a:moveTo>
                  <a:lnTo>
                    <a:pt x="9109" y="4489"/>
                  </a:lnTo>
                  <a:cubicBezTo>
                    <a:pt x="8739" y="5049"/>
                    <a:pt x="8287" y="5585"/>
                    <a:pt x="7787" y="6085"/>
                  </a:cubicBezTo>
                  <a:cubicBezTo>
                    <a:pt x="7275" y="6597"/>
                    <a:pt x="6739" y="7037"/>
                    <a:pt x="6192" y="7406"/>
                  </a:cubicBezTo>
                  <a:cubicBezTo>
                    <a:pt x="6584" y="6859"/>
                    <a:pt x="7013" y="6323"/>
                    <a:pt x="7513" y="5823"/>
                  </a:cubicBezTo>
                  <a:cubicBezTo>
                    <a:pt x="8025" y="5311"/>
                    <a:pt x="8561" y="4870"/>
                    <a:pt x="9109" y="4489"/>
                  </a:cubicBezTo>
                  <a:close/>
                  <a:moveTo>
                    <a:pt x="4036" y="9359"/>
                  </a:moveTo>
                  <a:cubicBezTo>
                    <a:pt x="4346" y="9359"/>
                    <a:pt x="4620" y="9573"/>
                    <a:pt x="4691" y="9871"/>
                  </a:cubicBezTo>
                  <a:lnTo>
                    <a:pt x="3382" y="9871"/>
                  </a:lnTo>
                  <a:cubicBezTo>
                    <a:pt x="3453" y="9573"/>
                    <a:pt x="3727" y="9359"/>
                    <a:pt x="4036" y="9359"/>
                  </a:cubicBezTo>
                  <a:close/>
                  <a:moveTo>
                    <a:pt x="10359" y="9359"/>
                  </a:moveTo>
                  <a:cubicBezTo>
                    <a:pt x="10728" y="9359"/>
                    <a:pt x="11025" y="9657"/>
                    <a:pt x="11025" y="10026"/>
                  </a:cubicBezTo>
                  <a:cubicBezTo>
                    <a:pt x="11025" y="10597"/>
                    <a:pt x="10585" y="11038"/>
                    <a:pt x="10037" y="11038"/>
                  </a:cubicBezTo>
                  <a:lnTo>
                    <a:pt x="4584" y="11038"/>
                  </a:lnTo>
                  <a:cubicBezTo>
                    <a:pt x="4870" y="10788"/>
                    <a:pt x="5037" y="10431"/>
                    <a:pt x="5037" y="10026"/>
                  </a:cubicBezTo>
                  <a:cubicBezTo>
                    <a:pt x="5037" y="9776"/>
                    <a:pt x="4929" y="9538"/>
                    <a:pt x="4775" y="9359"/>
                  </a:cubicBezTo>
                  <a:close/>
                  <a:moveTo>
                    <a:pt x="1346" y="1"/>
                  </a:moveTo>
                  <a:cubicBezTo>
                    <a:pt x="596" y="1"/>
                    <a:pt x="0" y="596"/>
                    <a:pt x="0" y="1334"/>
                  </a:cubicBezTo>
                  <a:cubicBezTo>
                    <a:pt x="0" y="1906"/>
                    <a:pt x="465" y="2346"/>
                    <a:pt x="1012" y="2346"/>
                  </a:cubicBezTo>
                  <a:lnTo>
                    <a:pt x="2358" y="2346"/>
                  </a:lnTo>
                  <a:lnTo>
                    <a:pt x="2358" y="7514"/>
                  </a:lnTo>
                  <a:cubicBezTo>
                    <a:pt x="2358" y="7609"/>
                    <a:pt x="2429" y="7680"/>
                    <a:pt x="2512" y="7680"/>
                  </a:cubicBezTo>
                  <a:cubicBezTo>
                    <a:pt x="2608" y="7680"/>
                    <a:pt x="2679" y="7609"/>
                    <a:pt x="2679" y="7514"/>
                  </a:cubicBezTo>
                  <a:lnTo>
                    <a:pt x="2679" y="1334"/>
                  </a:lnTo>
                  <a:cubicBezTo>
                    <a:pt x="2679" y="929"/>
                    <a:pt x="2501" y="572"/>
                    <a:pt x="2239" y="322"/>
                  </a:cubicBezTo>
                  <a:lnTo>
                    <a:pt x="7680" y="322"/>
                  </a:lnTo>
                  <a:cubicBezTo>
                    <a:pt x="8227" y="322"/>
                    <a:pt x="8680" y="775"/>
                    <a:pt x="8680" y="1334"/>
                  </a:cubicBezTo>
                  <a:lnTo>
                    <a:pt x="8680" y="2870"/>
                  </a:lnTo>
                  <a:cubicBezTo>
                    <a:pt x="8192" y="3108"/>
                    <a:pt x="7739" y="3430"/>
                    <a:pt x="7358" y="3811"/>
                  </a:cubicBezTo>
                  <a:cubicBezTo>
                    <a:pt x="6549" y="4608"/>
                    <a:pt x="6537" y="5192"/>
                    <a:pt x="6525" y="6144"/>
                  </a:cubicBezTo>
                  <a:lnTo>
                    <a:pt x="6525" y="6394"/>
                  </a:lnTo>
                  <a:cubicBezTo>
                    <a:pt x="6132" y="6859"/>
                    <a:pt x="5811" y="7347"/>
                    <a:pt x="5513" y="7847"/>
                  </a:cubicBezTo>
                  <a:cubicBezTo>
                    <a:pt x="5465" y="7907"/>
                    <a:pt x="5477" y="7990"/>
                    <a:pt x="5537" y="8049"/>
                  </a:cubicBezTo>
                  <a:cubicBezTo>
                    <a:pt x="5572" y="8085"/>
                    <a:pt x="5608" y="8097"/>
                    <a:pt x="5656" y="8097"/>
                  </a:cubicBezTo>
                  <a:cubicBezTo>
                    <a:pt x="5691" y="8097"/>
                    <a:pt x="5715" y="8097"/>
                    <a:pt x="5751" y="8061"/>
                  </a:cubicBezTo>
                  <a:cubicBezTo>
                    <a:pt x="6251" y="7776"/>
                    <a:pt x="6727" y="7442"/>
                    <a:pt x="7192" y="7049"/>
                  </a:cubicBezTo>
                  <a:lnTo>
                    <a:pt x="7442" y="7049"/>
                  </a:lnTo>
                  <a:cubicBezTo>
                    <a:pt x="7930" y="7037"/>
                    <a:pt x="8323" y="7037"/>
                    <a:pt x="8692" y="6918"/>
                  </a:cubicBezTo>
                  <a:lnTo>
                    <a:pt x="8692" y="9002"/>
                  </a:lnTo>
                  <a:lnTo>
                    <a:pt x="4036" y="9002"/>
                  </a:lnTo>
                  <a:cubicBezTo>
                    <a:pt x="3465" y="9002"/>
                    <a:pt x="3024" y="9466"/>
                    <a:pt x="3024" y="10014"/>
                  </a:cubicBezTo>
                  <a:cubicBezTo>
                    <a:pt x="3024" y="10097"/>
                    <a:pt x="3096" y="10181"/>
                    <a:pt x="3191" y="10181"/>
                  </a:cubicBezTo>
                  <a:lnTo>
                    <a:pt x="4691" y="10181"/>
                  </a:lnTo>
                  <a:cubicBezTo>
                    <a:pt x="4620" y="10657"/>
                    <a:pt x="4203" y="11014"/>
                    <a:pt x="3691" y="11014"/>
                  </a:cubicBezTo>
                  <a:cubicBezTo>
                    <a:pt x="3144" y="11014"/>
                    <a:pt x="2679" y="10562"/>
                    <a:pt x="2679" y="10002"/>
                  </a:cubicBezTo>
                  <a:lnTo>
                    <a:pt x="2679" y="8168"/>
                  </a:lnTo>
                  <a:cubicBezTo>
                    <a:pt x="2679" y="8085"/>
                    <a:pt x="2608" y="8002"/>
                    <a:pt x="2512" y="8002"/>
                  </a:cubicBezTo>
                  <a:cubicBezTo>
                    <a:pt x="2429" y="8002"/>
                    <a:pt x="2358" y="8085"/>
                    <a:pt x="2358" y="8168"/>
                  </a:cubicBezTo>
                  <a:lnTo>
                    <a:pt x="2358" y="10002"/>
                  </a:lnTo>
                  <a:cubicBezTo>
                    <a:pt x="2358" y="10740"/>
                    <a:pt x="2953" y="11335"/>
                    <a:pt x="3691" y="11335"/>
                  </a:cubicBezTo>
                  <a:lnTo>
                    <a:pt x="10013" y="11335"/>
                  </a:lnTo>
                  <a:cubicBezTo>
                    <a:pt x="10764" y="11335"/>
                    <a:pt x="11359" y="10740"/>
                    <a:pt x="11359" y="10002"/>
                  </a:cubicBezTo>
                  <a:cubicBezTo>
                    <a:pt x="11371" y="9478"/>
                    <a:pt x="10930" y="9038"/>
                    <a:pt x="10359" y="9038"/>
                  </a:cubicBezTo>
                  <a:lnTo>
                    <a:pt x="9025" y="9038"/>
                  </a:lnTo>
                  <a:lnTo>
                    <a:pt x="9025" y="6811"/>
                  </a:lnTo>
                  <a:cubicBezTo>
                    <a:pt x="9263" y="6692"/>
                    <a:pt x="9513" y="6513"/>
                    <a:pt x="9775" y="6252"/>
                  </a:cubicBezTo>
                  <a:cubicBezTo>
                    <a:pt x="10013" y="6013"/>
                    <a:pt x="10228" y="5763"/>
                    <a:pt x="10406" y="5478"/>
                  </a:cubicBezTo>
                  <a:cubicBezTo>
                    <a:pt x="10430" y="5430"/>
                    <a:pt x="10430" y="5370"/>
                    <a:pt x="10418" y="5311"/>
                  </a:cubicBezTo>
                  <a:cubicBezTo>
                    <a:pt x="10394" y="5251"/>
                    <a:pt x="10347" y="5228"/>
                    <a:pt x="10299" y="5204"/>
                  </a:cubicBezTo>
                  <a:lnTo>
                    <a:pt x="9894" y="5132"/>
                  </a:lnTo>
                  <a:cubicBezTo>
                    <a:pt x="10728" y="4489"/>
                    <a:pt x="11264" y="3525"/>
                    <a:pt x="11323" y="2465"/>
                  </a:cubicBezTo>
                  <a:lnTo>
                    <a:pt x="11323" y="2453"/>
                  </a:lnTo>
                  <a:cubicBezTo>
                    <a:pt x="11323" y="2406"/>
                    <a:pt x="11311" y="2358"/>
                    <a:pt x="11287" y="2322"/>
                  </a:cubicBezTo>
                  <a:cubicBezTo>
                    <a:pt x="11252" y="2287"/>
                    <a:pt x="11204" y="2275"/>
                    <a:pt x="11145" y="2275"/>
                  </a:cubicBezTo>
                  <a:cubicBezTo>
                    <a:pt x="10764" y="2311"/>
                    <a:pt x="10394" y="2346"/>
                    <a:pt x="10037" y="2430"/>
                  </a:cubicBezTo>
                  <a:cubicBezTo>
                    <a:pt x="9942" y="2442"/>
                    <a:pt x="9882" y="2525"/>
                    <a:pt x="9894" y="2620"/>
                  </a:cubicBezTo>
                  <a:cubicBezTo>
                    <a:pt x="9916" y="2696"/>
                    <a:pt x="9988" y="2753"/>
                    <a:pt x="10073" y="2753"/>
                  </a:cubicBezTo>
                  <a:cubicBezTo>
                    <a:pt x="10080" y="2753"/>
                    <a:pt x="10089" y="2752"/>
                    <a:pt x="10097" y="2751"/>
                  </a:cubicBezTo>
                  <a:cubicBezTo>
                    <a:pt x="10371" y="2692"/>
                    <a:pt x="10656" y="2644"/>
                    <a:pt x="10966" y="2620"/>
                  </a:cubicBezTo>
                  <a:lnTo>
                    <a:pt x="10966" y="2620"/>
                  </a:lnTo>
                  <a:cubicBezTo>
                    <a:pt x="10847" y="3632"/>
                    <a:pt x="10275" y="4537"/>
                    <a:pt x="9382" y="5073"/>
                  </a:cubicBezTo>
                  <a:lnTo>
                    <a:pt x="9359" y="5085"/>
                  </a:lnTo>
                  <a:cubicBezTo>
                    <a:pt x="9299" y="5120"/>
                    <a:pt x="9275" y="5192"/>
                    <a:pt x="9287" y="5263"/>
                  </a:cubicBezTo>
                  <a:cubicBezTo>
                    <a:pt x="9299" y="5347"/>
                    <a:pt x="9359" y="5382"/>
                    <a:pt x="9418" y="5406"/>
                  </a:cubicBezTo>
                  <a:lnTo>
                    <a:pt x="9978" y="5490"/>
                  </a:lnTo>
                  <a:cubicBezTo>
                    <a:pt x="9835" y="5668"/>
                    <a:pt x="9692" y="5847"/>
                    <a:pt x="9525" y="6002"/>
                  </a:cubicBezTo>
                  <a:cubicBezTo>
                    <a:pt x="8870" y="6656"/>
                    <a:pt x="8406" y="6716"/>
                    <a:pt x="7573" y="6728"/>
                  </a:cubicBezTo>
                  <a:cubicBezTo>
                    <a:pt x="7727" y="6597"/>
                    <a:pt x="7870" y="6454"/>
                    <a:pt x="8013" y="6311"/>
                  </a:cubicBezTo>
                  <a:cubicBezTo>
                    <a:pt x="8728" y="5597"/>
                    <a:pt x="9299" y="4835"/>
                    <a:pt x="9775" y="4037"/>
                  </a:cubicBezTo>
                  <a:cubicBezTo>
                    <a:pt x="9823" y="3977"/>
                    <a:pt x="9811" y="3882"/>
                    <a:pt x="9751" y="3823"/>
                  </a:cubicBezTo>
                  <a:cubicBezTo>
                    <a:pt x="9718" y="3789"/>
                    <a:pt x="9681" y="3774"/>
                    <a:pt x="9639" y="3774"/>
                  </a:cubicBezTo>
                  <a:cubicBezTo>
                    <a:pt x="9608" y="3774"/>
                    <a:pt x="9574" y="3783"/>
                    <a:pt x="9537" y="3799"/>
                  </a:cubicBezTo>
                  <a:cubicBezTo>
                    <a:pt x="8739" y="4251"/>
                    <a:pt x="7966" y="4847"/>
                    <a:pt x="7263" y="5561"/>
                  </a:cubicBezTo>
                  <a:cubicBezTo>
                    <a:pt x="7120" y="5716"/>
                    <a:pt x="6977" y="5847"/>
                    <a:pt x="6846" y="6002"/>
                  </a:cubicBezTo>
                  <a:cubicBezTo>
                    <a:pt x="6882" y="5168"/>
                    <a:pt x="6918" y="4704"/>
                    <a:pt x="7573" y="4049"/>
                  </a:cubicBezTo>
                  <a:cubicBezTo>
                    <a:pt x="8085" y="3537"/>
                    <a:pt x="8728" y="3156"/>
                    <a:pt x="9454" y="2906"/>
                  </a:cubicBezTo>
                  <a:cubicBezTo>
                    <a:pt x="9537" y="2870"/>
                    <a:pt x="9585" y="2787"/>
                    <a:pt x="9561" y="2692"/>
                  </a:cubicBezTo>
                  <a:cubicBezTo>
                    <a:pt x="9531" y="2623"/>
                    <a:pt x="9470" y="2578"/>
                    <a:pt x="9395" y="2578"/>
                  </a:cubicBezTo>
                  <a:cubicBezTo>
                    <a:pt x="9379" y="2578"/>
                    <a:pt x="9363" y="2580"/>
                    <a:pt x="9347" y="2584"/>
                  </a:cubicBezTo>
                  <a:cubicBezTo>
                    <a:pt x="9228" y="2632"/>
                    <a:pt x="9109" y="2680"/>
                    <a:pt x="9001" y="2715"/>
                  </a:cubicBezTo>
                  <a:lnTo>
                    <a:pt x="9001" y="1334"/>
                  </a:lnTo>
                  <a:cubicBezTo>
                    <a:pt x="9001" y="596"/>
                    <a:pt x="8406" y="1"/>
                    <a:pt x="7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3" name="Google Shape;10233;p59"/>
            <p:cNvSpPr/>
            <p:nvPr/>
          </p:nvSpPr>
          <p:spPr>
            <a:xfrm>
              <a:off x="3618450" y="3879112"/>
              <a:ext cx="157045" cy="24688"/>
            </a:xfrm>
            <a:custGeom>
              <a:avLst/>
              <a:gdLst/>
              <a:ahLst/>
              <a:cxnLst/>
              <a:rect l="l" t="t" r="r" b="b"/>
              <a:pathLst>
                <a:path w="4930" h="775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cubicBezTo>
                    <a:pt x="322" y="334"/>
                    <a:pt x="381" y="405"/>
                    <a:pt x="500" y="512"/>
                  </a:cubicBezTo>
                  <a:cubicBezTo>
                    <a:pt x="619" y="631"/>
                    <a:pt x="786" y="774"/>
                    <a:pt x="1084" y="774"/>
                  </a:cubicBezTo>
                  <a:cubicBezTo>
                    <a:pt x="1381" y="774"/>
                    <a:pt x="1524" y="631"/>
                    <a:pt x="1667" y="512"/>
                  </a:cubicBezTo>
                  <a:cubicBezTo>
                    <a:pt x="1762" y="405"/>
                    <a:pt x="1846" y="334"/>
                    <a:pt x="2000" y="334"/>
                  </a:cubicBezTo>
                  <a:cubicBezTo>
                    <a:pt x="2167" y="334"/>
                    <a:pt x="2227" y="405"/>
                    <a:pt x="2346" y="512"/>
                  </a:cubicBezTo>
                  <a:cubicBezTo>
                    <a:pt x="2465" y="631"/>
                    <a:pt x="2631" y="774"/>
                    <a:pt x="2929" y="774"/>
                  </a:cubicBezTo>
                  <a:cubicBezTo>
                    <a:pt x="3227" y="774"/>
                    <a:pt x="3370" y="631"/>
                    <a:pt x="3501" y="512"/>
                  </a:cubicBezTo>
                  <a:cubicBezTo>
                    <a:pt x="3608" y="405"/>
                    <a:pt x="3679" y="334"/>
                    <a:pt x="3846" y="334"/>
                  </a:cubicBezTo>
                  <a:cubicBezTo>
                    <a:pt x="4013" y="334"/>
                    <a:pt x="4072" y="405"/>
                    <a:pt x="4191" y="512"/>
                  </a:cubicBezTo>
                  <a:cubicBezTo>
                    <a:pt x="4310" y="631"/>
                    <a:pt x="4477" y="774"/>
                    <a:pt x="4775" y="774"/>
                  </a:cubicBezTo>
                  <a:cubicBezTo>
                    <a:pt x="4858" y="774"/>
                    <a:pt x="4929" y="703"/>
                    <a:pt x="4929" y="607"/>
                  </a:cubicBezTo>
                  <a:cubicBezTo>
                    <a:pt x="4929" y="524"/>
                    <a:pt x="4858" y="453"/>
                    <a:pt x="4775" y="453"/>
                  </a:cubicBezTo>
                  <a:cubicBezTo>
                    <a:pt x="4608" y="453"/>
                    <a:pt x="4548" y="369"/>
                    <a:pt x="4429" y="274"/>
                  </a:cubicBezTo>
                  <a:cubicBezTo>
                    <a:pt x="4310" y="155"/>
                    <a:pt x="4144" y="0"/>
                    <a:pt x="3846" y="0"/>
                  </a:cubicBezTo>
                  <a:cubicBezTo>
                    <a:pt x="3548" y="0"/>
                    <a:pt x="3405" y="155"/>
                    <a:pt x="3263" y="274"/>
                  </a:cubicBezTo>
                  <a:cubicBezTo>
                    <a:pt x="3167" y="369"/>
                    <a:pt x="3084" y="453"/>
                    <a:pt x="2929" y="453"/>
                  </a:cubicBezTo>
                  <a:cubicBezTo>
                    <a:pt x="2762" y="453"/>
                    <a:pt x="2703" y="369"/>
                    <a:pt x="2584" y="274"/>
                  </a:cubicBezTo>
                  <a:cubicBezTo>
                    <a:pt x="2465" y="155"/>
                    <a:pt x="2298" y="0"/>
                    <a:pt x="2000" y="0"/>
                  </a:cubicBezTo>
                  <a:cubicBezTo>
                    <a:pt x="1703" y="0"/>
                    <a:pt x="1560" y="155"/>
                    <a:pt x="1417" y="274"/>
                  </a:cubicBezTo>
                  <a:cubicBezTo>
                    <a:pt x="1322" y="369"/>
                    <a:pt x="1238" y="453"/>
                    <a:pt x="1084" y="453"/>
                  </a:cubicBezTo>
                  <a:cubicBezTo>
                    <a:pt x="917" y="453"/>
                    <a:pt x="857" y="369"/>
                    <a:pt x="738" y="274"/>
                  </a:cubicBezTo>
                  <a:cubicBezTo>
                    <a:pt x="619" y="155"/>
                    <a:pt x="453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4" name="Google Shape;10234;p59"/>
            <p:cNvSpPr/>
            <p:nvPr/>
          </p:nvSpPr>
          <p:spPr>
            <a:xfrm>
              <a:off x="3618450" y="3921192"/>
              <a:ext cx="127834" cy="24688"/>
            </a:xfrm>
            <a:custGeom>
              <a:avLst/>
              <a:gdLst/>
              <a:ahLst/>
              <a:cxnLst/>
              <a:rect l="l" t="t" r="r" b="b"/>
              <a:pathLst>
                <a:path w="4013" h="77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322" y="334"/>
                    <a:pt x="381" y="406"/>
                    <a:pt x="500" y="513"/>
                  </a:cubicBezTo>
                  <a:cubicBezTo>
                    <a:pt x="619" y="632"/>
                    <a:pt x="786" y="775"/>
                    <a:pt x="1084" y="775"/>
                  </a:cubicBezTo>
                  <a:cubicBezTo>
                    <a:pt x="1381" y="775"/>
                    <a:pt x="1524" y="632"/>
                    <a:pt x="1667" y="513"/>
                  </a:cubicBezTo>
                  <a:cubicBezTo>
                    <a:pt x="1762" y="406"/>
                    <a:pt x="1846" y="334"/>
                    <a:pt x="2000" y="334"/>
                  </a:cubicBezTo>
                  <a:cubicBezTo>
                    <a:pt x="2167" y="334"/>
                    <a:pt x="2227" y="406"/>
                    <a:pt x="2346" y="513"/>
                  </a:cubicBezTo>
                  <a:cubicBezTo>
                    <a:pt x="2465" y="632"/>
                    <a:pt x="2631" y="775"/>
                    <a:pt x="2929" y="775"/>
                  </a:cubicBezTo>
                  <a:cubicBezTo>
                    <a:pt x="3227" y="775"/>
                    <a:pt x="3370" y="632"/>
                    <a:pt x="3501" y="513"/>
                  </a:cubicBezTo>
                  <a:cubicBezTo>
                    <a:pt x="3608" y="406"/>
                    <a:pt x="3679" y="334"/>
                    <a:pt x="3846" y="334"/>
                  </a:cubicBezTo>
                  <a:cubicBezTo>
                    <a:pt x="3941" y="334"/>
                    <a:pt x="4013" y="263"/>
                    <a:pt x="4013" y="167"/>
                  </a:cubicBezTo>
                  <a:cubicBezTo>
                    <a:pt x="4013" y="84"/>
                    <a:pt x="3941" y="1"/>
                    <a:pt x="3846" y="1"/>
                  </a:cubicBezTo>
                  <a:cubicBezTo>
                    <a:pt x="3548" y="1"/>
                    <a:pt x="3405" y="156"/>
                    <a:pt x="3263" y="275"/>
                  </a:cubicBezTo>
                  <a:cubicBezTo>
                    <a:pt x="3167" y="382"/>
                    <a:pt x="3084" y="453"/>
                    <a:pt x="2929" y="453"/>
                  </a:cubicBezTo>
                  <a:cubicBezTo>
                    <a:pt x="2762" y="453"/>
                    <a:pt x="2703" y="382"/>
                    <a:pt x="2584" y="275"/>
                  </a:cubicBezTo>
                  <a:cubicBezTo>
                    <a:pt x="2465" y="156"/>
                    <a:pt x="2298" y="1"/>
                    <a:pt x="2000" y="1"/>
                  </a:cubicBezTo>
                  <a:cubicBezTo>
                    <a:pt x="1703" y="1"/>
                    <a:pt x="1560" y="156"/>
                    <a:pt x="1417" y="275"/>
                  </a:cubicBezTo>
                  <a:cubicBezTo>
                    <a:pt x="1322" y="382"/>
                    <a:pt x="1238" y="453"/>
                    <a:pt x="1084" y="453"/>
                  </a:cubicBezTo>
                  <a:cubicBezTo>
                    <a:pt x="917" y="453"/>
                    <a:pt x="857" y="382"/>
                    <a:pt x="738" y="275"/>
                  </a:cubicBezTo>
                  <a:cubicBezTo>
                    <a:pt x="619" y="156"/>
                    <a:pt x="453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5" name="Google Shape;10235;p59"/>
            <p:cNvSpPr/>
            <p:nvPr/>
          </p:nvSpPr>
          <p:spPr>
            <a:xfrm>
              <a:off x="3617304" y="3962922"/>
              <a:ext cx="98655" cy="24688"/>
            </a:xfrm>
            <a:custGeom>
              <a:avLst/>
              <a:gdLst/>
              <a:ahLst/>
              <a:cxnLst/>
              <a:rect l="l" t="t" r="r" b="b"/>
              <a:pathLst>
                <a:path w="3097" h="775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334" y="334"/>
                    <a:pt x="393" y="405"/>
                    <a:pt x="512" y="512"/>
                  </a:cubicBezTo>
                  <a:cubicBezTo>
                    <a:pt x="632" y="632"/>
                    <a:pt x="786" y="774"/>
                    <a:pt x="1084" y="774"/>
                  </a:cubicBezTo>
                  <a:cubicBezTo>
                    <a:pt x="1382" y="774"/>
                    <a:pt x="1536" y="632"/>
                    <a:pt x="1667" y="512"/>
                  </a:cubicBezTo>
                  <a:cubicBezTo>
                    <a:pt x="1775" y="405"/>
                    <a:pt x="1846" y="334"/>
                    <a:pt x="2013" y="334"/>
                  </a:cubicBezTo>
                  <a:cubicBezTo>
                    <a:pt x="2179" y="334"/>
                    <a:pt x="2239" y="405"/>
                    <a:pt x="2358" y="512"/>
                  </a:cubicBezTo>
                  <a:cubicBezTo>
                    <a:pt x="2477" y="632"/>
                    <a:pt x="2632" y="774"/>
                    <a:pt x="2929" y="774"/>
                  </a:cubicBezTo>
                  <a:cubicBezTo>
                    <a:pt x="3025" y="774"/>
                    <a:pt x="3096" y="703"/>
                    <a:pt x="3096" y="620"/>
                  </a:cubicBezTo>
                  <a:cubicBezTo>
                    <a:pt x="3096" y="524"/>
                    <a:pt x="3025" y="453"/>
                    <a:pt x="2929" y="453"/>
                  </a:cubicBezTo>
                  <a:cubicBezTo>
                    <a:pt x="2775" y="441"/>
                    <a:pt x="2691" y="381"/>
                    <a:pt x="2596" y="274"/>
                  </a:cubicBezTo>
                  <a:cubicBezTo>
                    <a:pt x="2477" y="155"/>
                    <a:pt x="2310" y="0"/>
                    <a:pt x="2013" y="0"/>
                  </a:cubicBezTo>
                  <a:cubicBezTo>
                    <a:pt x="1715" y="0"/>
                    <a:pt x="1560" y="155"/>
                    <a:pt x="1429" y="274"/>
                  </a:cubicBezTo>
                  <a:cubicBezTo>
                    <a:pt x="1322" y="381"/>
                    <a:pt x="1251" y="453"/>
                    <a:pt x="1084" y="453"/>
                  </a:cubicBezTo>
                  <a:cubicBezTo>
                    <a:pt x="929" y="453"/>
                    <a:pt x="870" y="381"/>
                    <a:pt x="751" y="274"/>
                  </a:cubicBezTo>
                  <a:cubicBezTo>
                    <a:pt x="632" y="155"/>
                    <a:pt x="46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36" name="Google Shape;10236;p59"/>
          <p:cNvGrpSpPr/>
          <p:nvPr/>
        </p:nvGrpSpPr>
        <p:grpSpPr>
          <a:xfrm>
            <a:off x="3950316" y="3820307"/>
            <a:ext cx="369805" cy="353782"/>
            <a:chOff x="3950316" y="3820307"/>
            <a:chExt cx="369805" cy="353782"/>
          </a:xfrm>
        </p:grpSpPr>
        <p:sp>
          <p:nvSpPr>
            <p:cNvPr id="10237" name="Google Shape;10237;p59"/>
            <p:cNvSpPr/>
            <p:nvPr/>
          </p:nvSpPr>
          <p:spPr>
            <a:xfrm>
              <a:off x="4040561" y="3880991"/>
              <a:ext cx="99802" cy="28383"/>
            </a:xfrm>
            <a:custGeom>
              <a:avLst/>
              <a:gdLst/>
              <a:ahLst/>
              <a:cxnLst/>
              <a:rect l="l" t="t" r="r" b="b"/>
              <a:pathLst>
                <a:path w="3133" h="891" extrusionOk="0">
                  <a:moveTo>
                    <a:pt x="1572" y="1"/>
                  </a:moveTo>
                  <a:cubicBezTo>
                    <a:pt x="1001" y="1"/>
                    <a:pt x="465" y="227"/>
                    <a:pt x="60" y="632"/>
                  </a:cubicBezTo>
                  <a:cubicBezTo>
                    <a:pt x="1" y="691"/>
                    <a:pt x="1" y="787"/>
                    <a:pt x="60" y="846"/>
                  </a:cubicBezTo>
                  <a:cubicBezTo>
                    <a:pt x="84" y="876"/>
                    <a:pt x="123" y="891"/>
                    <a:pt x="165" y="891"/>
                  </a:cubicBezTo>
                  <a:cubicBezTo>
                    <a:pt x="206" y="891"/>
                    <a:pt x="251" y="876"/>
                    <a:pt x="287" y="846"/>
                  </a:cubicBezTo>
                  <a:cubicBezTo>
                    <a:pt x="632" y="513"/>
                    <a:pt x="1072" y="310"/>
                    <a:pt x="1572" y="310"/>
                  </a:cubicBezTo>
                  <a:cubicBezTo>
                    <a:pt x="2061" y="310"/>
                    <a:pt x="2501" y="513"/>
                    <a:pt x="2846" y="846"/>
                  </a:cubicBezTo>
                  <a:cubicBezTo>
                    <a:pt x="2876" y="876"/>
                    <a:pt x="2918" y="891"/>
                    <a:pt x="2960" y="891"/>
                  </a:cubicBezTo>
                  <a:cubicBezTo>
                    <a:pt x="3001" y="891"/>
                    <a:pt x="3043" y="876"/>
                    <a:pt x="3073" y="846"/>
                  </a:cubicBezTo>
                  <a:cubicBezTo>
                    <a:pt x="3132" y="787"/>
                    <a:pt x="3132" y="691"/>
                    <a:pt x="3073" y="632"/>
                  </a:cubicBezTo>
                  <a:cubicBezTo>
                    <a:pt x="2668" y="227"/>
                    <a:pt x="2132" y="1"/>
                    <a:pt x="1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8" name="Google Shape;10238;p59"/>
            <p:cNvSpPr/>
            <p:nvPr/>
          </p:nvSpPr>
          <p:spPr>
            <a:xfrm>
              <a:off x="3950316" y="3820307"/>
              <a:ext cx="369805" cy="353782"/>
            </a:xfrm>
            <a:custGeom>
              <a:avLst/>
              <a:gdLst/>
              <a:ahLst/>
              <a:cxnLst/>
              <a:rect l="l" t="t" r="r" b="b"/>
              <a:pathLst>
                <a:path w="11609" h="11106" extrusionOk="0">
                  <a:moveTo>
                    <a:pt x="7358" y="6728"/>
                  </a:moveTo>
                  <a:lnTo>
                    <a:pt x="7799" y="7156"/>
                  </a:lnTo>
                  <a:lnTo>
                    <a:pt x="7513" y="7442"/>
                  </a:lnTo>
                  <a:lnTo>
                    <a:pt x="7084" y="7014"/>
                  </a:lnTo>
                  <a:cubicBezTo>
                    <a:pt x="7180" y="6918"/>
                    <a:pt x="7275" y="6835"/>
                    <a:pt x="7358" y="6728"/>
                  </a:cubicBezTo>
                  <a:close/>
                  <a:moveTo>
                    <a:pt x="4395" y="358"/>
                  </a:moveTo>
                  <a:cubicBezTo>
                    <a:pt x="5337" y="358"/>
                    <a:pt x="6281" y="715"/>
                    <a:pt x="7001" y="1429"/>
                  </a:cubicBezTo>
                  <a:cubicBezTo>
                    <a:pt x="8370" y="2799"/>
                    <a:pt x="8430" y="4942"/>
                    <a:pt x="7239" y="6382"/>
                  </a:cubicBezTo>
                  <a:cubicBezTo>
                    <a:pt x="7096" y="6561"/>
                    <a:pt x="6930" y="6728"/>
                    <a:pt x="6763" y="6859"/>
                  </a:cubicBezTo>
                  <a:cubicBezTo>
                    <a:pt x="6075" y="7434"/>
                    <a:pt x="5230" y="7723"/>
                    <a:pt x="4386" y="7723"/>
                  </a:cubicBezTo>
                  <a:cubicBezTo>
                    <a:pt x="3448" y="7723"/>
                    <a:pt x="2513" y="7365"/>
                    <a:pt x="1798" y="6644"/>
                  </a:cubicBezTo>
                  <a:cubicBezTo>
                    <a:pt x="357" y="5192"/>
                    <a:pt x="357" y="2870"/>
                    <a:pt x="1798" y="1429"/>
                  </a:cubicBezTo>
                  <a:cubicBezTo>
                    <a:pt x="2512" y="715"/>
                    <a:pt x="3453" y="358"/>
                    <a:pt x="4395" y="358"/>
                  </a:cubicBezTo>
                  <a:close/>
                  <a:moveTo>
                    <a:pt x="8226" y="7228"/>
                  </a:moveTo>
                  <a:cubicBezTo>
                    <a:pt x="8260" y="7228"/>
                    <a:pt x="8293" y="7240"/>
                    <a:pt x="8311" y="7264"/>
                  </a:cubicBezTo>
                  <a:lnTo>
                    <a:pt x="8763" y="7668"/>
                  </a:lnTo>
                  <a:lnTo>
                    <a:pt x="8001" y="8430"/>
                  </a:lnTo>
                  <a:lnTo>
                    <a:pt x="7620" y="7966"/>
                  </a:lnTo>
                  <a:cubicBezTo>
                    <a:pt x="7573" y="7918"/>
                    <a:pt x="7573" y="7835"/>
                    <a:pt x="7620" y="7787"/>
                  </a:cubicBezTo>
                  <a:lnTo>
                    <a:pt x="8132" y="7264"/>
                  </a:lnTo>
                  <a:cubicBezTo>
                    <a:pt x="8156" y="7240"/>
                    <a:pt x="8192" y="7228"/>
                    <a:pt x="8226" y="7228"/>
                  </a:cubicBezTo>
                  <a:close/>
                  <a:moveTo>
                    <a:pt x="9013" y="7871"/>
                  </a:moveTo>
                  <a:lnTo>
                    <a:pt x="10871" y="9514"/>
                  </a:lnTo>
                  <a:cubicBezTo>
                    <a:pt x="11192" y="9800"/>
                    <a:pt x="11204" y="10276"/>
                    <a:pt x="10906" y="10573"/>
                  </a:cubicBezTo>
                  <a:cubicBezTo>
                    <a:pt x="10765" y="10715"/>
                    <a:pt x="10580" y="10784"/>
                    <a:pt x="10396" y="10784"/>
                  </a:cubicBezTo>
                  <a:cubicBezTo>
                    <a:pt x="10193" y="10784"/>
                    <a:pt x="9990" y="10700"/>
                    <a:pt x="9847" y="10538"/>
                  </a:cubicBezTo>
                  <a:lnTo>
                    <a:pt x="8227" y="8668"/>
                  </a:lnTo>
                  <a:lnTo>
                    <a:pt x="9013" y="7871"/>
                  </a:lnTo>
                  <a:close/>
                  <a:moveTo>
                    <a:pt x="4423" y="1"/>
                  </a:moveTo>
                  <a:cubicBezTo>
                    <a:pt x="3396" y="1"/>
                    <a:pt x="2370" y="394"/>
                    <a:pt x="1584" y="1179"/>
                  </a:cubicBezTo>
                  <a:cubicBezTo>
                    <a:pt x="0" y="2775"/>
                    <a:pt x="0" y="5299"/>
                    <a:pt x="1560" y="6883"/>
                  </a:cubicBezTo>
                  <a:cubicBezTo>
                    <a:pt x="2340" y="7663"/>
                    <a:pt x="3364" y="8052"/>
                    <a:pt x="4389" y="8052"/>
                  </a:cubicBezTo>
                  <a:cubicBezTo>
                    <a:pt x="5257" y="8052"/>
                    <a:pt x="6126" y="7773"/>
                    <a:pt x="6846" y="7216"/>
                  </a:cubicBezTo>
                  <a:lnTo>
                    <a:pt x="7323" y="7692"/>
                  </a:lnTo>
                  <a:cubicBezTo>
                    <a:pt x="7239" y="7859"/>
                    <a:pt x="7263" y="8049"/>
                    <a:pt x="7394" y="8180"/>
                  </a:cubicBezTo>
                  <a:lnTo>
                    <a:pt x="9644" y="10752"/>
                  </a:lnTo>
                  <a:cubicBezTo>
                    <a:pt x="9847" y="10986"/>
                    <a:pt x="10133" y="11105"/>
                    <a:pt x="10421" y="11105"/>
                  </a:cubicBezTo>
                  <a:cubicBezTo>
                    <a:pt x="10690" y="11105"/>
                    <a:pt x="10961" y="11001"/>
                    <a:pt x="11168" y="10788"/>
                  </a:cubicBezTo>
                  <a:cubicBezTo>
                    <a:pt x="11609" y="10359"/>
                    <a:pt x="11573" y="9657"/>
                    <a:pt x="11133" y="9264"/>
                  </a:cubicBezTo>
                  <a:lnTo>
                    <a:pt x="8573" y="7014"/>
                  </a:lnTo>
                  <a:cubicBezTo>
                    <a:pt x="8483" y="6939"/>
                    <a:pt x="8369" y="6897"/>
                    <a:pt x="8259" y="6897"/>
                  </a:cubicBezTo>
                  <a:cubicBezTo>
                    <a:pt x="8194" y="6897"/>
                    <a:pt x="8130" y="6911"/>
                    <a:pt x="8073" y="6942"/>
                  </a:cubicBezTo>
                  <a:lnTo>
                    <a:pt x="7596" y="6454"/>
                  </a:lnTo>
                  <a:cubicBezTo>
                    <a:pt x="8811" y="4894"/>
                    <a:pt x="8704" y="2632"/>
                    <a:pt x="7263" y="1179"/>
                  </a:cubicBezTo>
                  <a:cubicBezTo>
                    <a:pt x="6477" y="394"/>
                    <a:pt x="5450" y="1"/>
                    <a:pt x="44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9" name="Google Shape;10239;p59"/>
            <p:cNvSpPr/>
            <p:nvPr/>
          </p:nvSpPr>
          <p:spPr>
            <a:xfrm>
              <a:off x="4098219" y="3850602"/>
              <a:ext cx="101299" cy="195781"/>
            </a:xfrm>
            <a:custGeom>
              <a:avLst/>
              <a:gdLst/>
              <a:ahLst/>
              <a:cxnLst/>
              <a:rect l="l" t="t" r="r" b="b"/>
              <a:pathLst>
                <a:path w="3180" h="6146" extrusionOk="0">
                  <a:moveTo>
                    <a:pt x="194" y="1"/>
                  </a:moveTo>
                  <a:cubicBezTo>
                    <a:pt x="120" y="1"/>
                    <a:pt x="58" y="57"/>
                    <a:pt x="36" y="133"/>
                  </a:cubicBezTo>
                  <a:cubicBezTo>
                    <a:pt x="24" y="228"/>
                    <a:pt x="84" y="300"/>
                    <a:pt x="179" y="312"/>
                  </a:cubicBezTo>
                  <a:cubicBezTo>
                    <a:pt x="775" y="407"/>
                    <a:pt x="1322" y="669"/>
                    <a:pt x="1739" y="1110"/>
                  </a:cubicBezTo>
                  <a:cubicBezTo>
                    <a:pt x="2822" y="2193"/>
                    <a:pt x="2822" y="3967"/>
                    <a:pt x="1739" y="5050"/>
                  </a:cubicBezTo>
                  <a:cubicBezTo>
                    <a:pt x="1286" y="5479"/>
                    <a:pt x="739" y="5765"/>
                    <a:pt x="143" y="5836"/>
                  </a:cubicBezTo>
                  <a:cubicBezTo>
                    <a:pt x="60" y="5848"/>
                    <a:pt x="1" y="5932"/>
                    <a:pt x="13" y="6015"/>
                  </a:cubicBezTo>
                  <a:cubicBezTo>
                    <a:pt x="24" y="6086"/>
                    <a:pt x="84" y="6146"/>
                    <a:pt x="179" y="6146"/>
                  </a:cubicBezTo>
                  <a:lnTo>
                    <a:pt x="203" y="6146"/>
                  </a:lnTo>
                  <a:cubicBezTo>
                    <a:pt x="870" y="6063"/>
                    <a:pt x="1489" y="5753"/>
                    <a:pt x="1977" y="5277"/>
                  </a:cubicBezTo>
                  <a:cubicBezTo>
                    <a:pt x="3180" y="4062"/>
                    <a:pt x="3180" y="2086"/>
                    <a:pt x="1977" y="883"/>
                  </a:cubicBezTo>
                  <a:cubicBezTo>
                    <a:pt x="1501" y="407"/>
                    <a:pt x="894" y="97"/>
                    <a:pt x="215" y="2"/>
                  </a:cubicBezTo>
                  <a:cubicBezTo>
                    <a:pt x="208" y="1"/>
                    <a:pt x="201" y="1"/>
                    <a:pt x="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0" name="Google Shape;10240;p59"/>
            <p:cNvSpPr/>
            <p:nvPr/>
          </p:nvSpPr>
          <p:spPr>
            <a:xfrm>
              <a:off x="3981789" y="3849136"/>
              <a:ext cx="103178" cy="198011"/>
            </a:xfrm>
            <a:custGeom>
              <a:avLst/>
              <a:gdLst/>
              <a:ahLst/>
              <a:cxnLst/>
              <a:rect l="l" t="t" r="r" b="b"/>
              <a:pathLst>
                <a:path w="3239" h="6216" extrusionOk="0">
                  <a:moveTo>
                    <a:pt x="3036" y="1"/>
                  </a:moveTo>
                  <a:cubicBezTo>
                    <a:pt x="2346" y="120"/>
                    <a:pt x="1703" y="441"/>
                    <a:pt x="1215" y="929"/>
                  </a:cubicBezTo>
                  <a:cubicBezTo>
                    <a:pt x="0" y="2132"/>
                    <a:pt x="0" y="4108"/>
                    <a:pt x="1215" y="5323"/>
                  </a:cubicBezTo>
                  <a:cubicBezTo>
                    <a:pt x="1715" y="5823"/>
                    <a:pt x="2346" y="6120"/>
                    <a:pt x="3036" y="6216"/>
                  </a:cubicBezTo>
                  <a:lnTo>
                    <a:pt x="3060" y="6216"/>
                  </a:lnTo>
                  <a:cubicBezTo>
                    <a:pt x="3132" y="6216"/>
                    <a:pt x="3203" y="6156"/>
                    <a:pt x="3215" y="6061"/>
                  </a:cubicBezTo>
                  <a:cubicBezTo>
                    <a:pt x="3239" y="5978"/>
                    <a:pt x="3156" y="5894"/>
                    <a:pt x="3072" y="5882"/>
                  </a:cubicBezTo>
                  <a:cubicBezTo>
                    <a:pt x="2441" y="5811"/>
                    <a:pt x="1882" y="5537"/>
                    <a:pt x="1429" y="5085"/>
                  </a:cubicBezTo>
                  <a:cubicBezTo>
                    <a:pt x="346" y="3989"/>
                    <a:pt x="346" y="2215"/>
                    <a:pt x="1429" y="1132"/>
                  </a:cubicBezTo>
                  <a:cubicBezTo>
                    <a:pt x="1882" y="691"/>
                    <a:pt x="2441" y="405"/>
                    <a:pt x="3072" y="334"/>
                  </a:cubicBezTo>
                  <a:cubicBezTo>
                    <a:pt x="3156" y="322"/>
                    <a:pt x="3215" y="239"/>
                    <a:pt x="3215" y="155"/>
                  </a:cubicBezTo>
                  <a:cubicBezTo>
                    <a:pt x="3203" y="60"/>
                    <a:pt x="3132" y="1"/>
                    <a:pt x="3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41" name="Google Shape;10241;p59"/>
          <p:cNvGrpSpPr/>
          <p:nvPr/>
        </p:nvGrpSpPr>
        <p:grpSpPr>
          <a:xfrm>
            <a:off x="1761909" y="3811961"/>
            <a:ext cx="307974" cy="371716"/>
            <a:chOff x="1761909" y="3811961"/>
            <a:chExt cx="307974" cy="371716"/>
          </a:xfrm>
        </p:grpSpPr>
        <p:sp>
          <p:nvSpPr>
            <p:cNvPr id="10242" name="Google Shape;10242;p59"/>
            <p:cNvSpPr/>
            <p:nvPr/>
          </p:nvSpPr>
          <p:spPr>
            <a:xfrm>
              <a:off x="1761909" y="3811961"/>
              <a:ext cx="307974" cy="371716"/>
            </a:xfrm>
            <a:custGeom>
              <a:avLst/>
              <a:gdLst/>
              <a:ahLst/>
              <a:cxnLst/>
              <a:rect l="l" t="t" r="r" b="b"/>
              <a:pathLst>
                <a:path w="9668" h="11669" extrusionOk="0">
                  <a:moveTo>
                    <a:pt x="8930" y="310"/>
                  </a:moveTo>
                  <a:cubicBezTo>
                    <a:pt x="8954" y="310"/>
                    <a:pt x="8977" y="334"/>
                    <a:pt x="8977" y="370"/>
                  </a:cubicBezTo>
                  <a:lnTo>
                    <a:pt x="8977" y="608"/>
                  </a:lnTo>
                  <a:cubicBezTo>
                    <a:pt x="8977" y="632"/>
                    <a:pt x="8954" y="668"/>
                    <a:pt x="8930" y="668"/>
                  </a:cubicBezTo>
                  <a:lnTo>
                    <a:pt x="7989" y="668"/>
                  </a:lnTo>
                  <a:cubicBezTo>
                    <a:pt x="7894" y="668"/>
                    <a:pt x="7811" y="739"/>
                    <a:pt x="7811" y="846"/>
                  </a:cubicBezTo>
                  <a:cubicBezTo>
                    <a:pt x="7811" y="953"/>
                    <a:pt x="7882" y="1025"/>
                    <a:pt x="7989" y="1025"/>
                  </a:cubicBezTo>
                  <a:lnTo>
                    <a:pt x="8668" y="1025"/>
                  </a:lnTo>
                  <a:lnTo>
                    <a:pt x="8668" y="10216"/>
                  </a:lnTo>
                  <a:lnTo>
                    <a:pt x="7263" y="10216"/>
                  </a:lnTo>
                  <a:cubicBezTo>
                    <a:pt x="7168" y="10216"/>
                    <a:pt x="7084" y="10288"/>
                    <a:pt x="7084" y="10395"/>
                  </a:cubicBezTo>
                  <a:cubicBezTo>
                    <a:pt x="7084" y="10502"/>
                    <a:pt x="7156" y="10574"/>
                    <a:pt x="7263" y="10574"/>
                  </a:cubicBezTo>
                  <a:lnTo>
                    <a:pt x="9168" y="10574"/>
                  </a:lnTo>
                  <a:cubicBezTo>
                    <a:pt x="9251" y="10574"/>
                    <a:pt x="9323" y="10657"/>
                    <a:pt x="9323" y="10740"/>
                  </a:cubicBezTo>
                  <a:lnTo>
                    <a:pt x="9323" y="11324"/>
                  </a:lnTo>
                  <a:lnTo>
                    <a:pt x="333" y="11324"/>
                  </a:lnTo>
                  <a:lnTo>
                    <a:pt x="333" y="10740"/>
                  </a:lnTo>
                  <a:cubicBezTo>
                    <a:pt x="333" y="10657"/>
                    <a:pt x="417" y="10574"/>
                    <a:pt x="500" y="10574"/>
                  </a:cubicBezTo>
                  <a:lnTo>
                    <a:pt x="6513" y="10574"/>
                  </a:lnTo>
                  <a:cubicBezTo>
                    <a:pt x="6608" y="10574"/>
                    <a:pt x="6691" y="10502"/>
                    <a:pt x="6691" y="10395"/>
                  </a:cubicBezTo>
                  <a:cubicBezTo>
                    <a:pt x="6691" y="10288"/>
                    <a:pt x="6620" y="10216"/>
                    <a:pt x="6513" y="10216"/>
                  </a:cubicBezTo>
                  <a:lnTo>
                    <a:pt x="976" y="10216"/>
                  </a:lnTo>
                  <a:lnTo>
                    <a:pt x="976" y="1025"/>
                  </a:lnTo>
                  <a:lnTo>
                    <a:pt x="7263" y="1025"/>
                  </a:lnTo>
                  <a:cubicBezTo>
                    <a:pt x="7346" y="1025"/>
                    <a:pt x="7442" y="953"/>
                    <a:pt x="7442" y="846"/>
                  </a:cubicBezTo>
                  <a:cubicBezTo>
                    <a:pt x="7442" y="739"/>
                    <a:pt x="7358" y="668"/>
                    <a:pt x="7263" y="668"/>
                  </a:cubicBezTo>
                  <a:lnTo>
                    <a:pt x="750" y="668"/>
                  </a:lnTo>
                  <a:cubicBezTo>
                    <a:pt x="726" y="668"/>
                    <a:pt x="691" y="632"/>
                    <a:pt x="691" y="608"/>
                  </a:cubicBezTo>
                  <a:lnTo>
                    <a:pt x="691" y="370"/>
                  </a:lnTo>
                  <a:cubicBezTo>
                    <a:pt x="691" y="334"/>
                    <a:pt x="726" y="310"/>
                    <a:pt x="750" y="310"/>
                  </a:cubicBezTo>
                  <a:close/>
                  <a:moveTo>
                    <a:pt x="738" y="1"/>
                  </a:moveTo>
                  <a:cubicBezTo>
                    <a:pt x="512" y="1"/>
                    <a:pt x="333" y="179"/>
                    <a:pt x="333" y="394"/>
                  </a:cubicBezTo>
                  <a:lnTo>
                    <a:pt x="333" y="632"/>
                  </a:lnTo>
                  <a:cubicBezTo>
                    <a:pt x="333" y="810"/>
                    <a:pt x="453" y="977"/>
                    <a:pt x="619" y="1025"/>
                  </a:cubicBezTo>
                  <a:lnTo>
                    <a:pt x="619" y="10240"/>
                  </a:lnTo>
                  <a:lnTo>
                    <a:pt x="500" y="10240"/>
                  </a:lnTo>
                  <a:cubicBezTo>
                    <a:pt x="214" y="10240"/>
                    <a:pt x="0" y="10454"/>
                    <a:pt x="0" y="10740"/>
                  </a:cubicBezTo>
                  <a:lnTo>
                    <a:pt x="0" y="11490"/>
                  </a:lnTo>
                  <a:cubicBezTo>
                    <a:pt x="0" y="11574"/>
                    <a:pt x="72" y="11669"/>
                    <a:pt x="179" y="11669"/>
                  </a:cubicBezTo>
                  <a:lnTo>
                    <a:pt x="9489" y="11669"/>
                  </a:lnTo>
                  <a:cubicBezTo>
                    <a:pt x="9585" y="11669"/>
                    <a:pt x="9668" y="11586"/>
                    <a:pt x="9668" y="11490"/>
                  </a:cubicBezTo>
                  <a:lnTo>
                    <a:pt x="9668" y="10740"/>
                  </a:lnTo>
                  <a:cubicBezTo>
                    <a:pt x="9656" y="10454"/>
                    <a:pt x="9430" y="10240"/>
                    <a:pt x="9144" y="10240"/>
                  </a:cubicBezTo>
                  <a:lnTo>
                    <a:pt x="9001" y="10240"/>
                  </a:lnTo>
                  <a:lnTo>
                    <a:pt x="9001" y="1025"/>
                  </a:lnTo>
                  <a:cubicBezTo>
                    <a:pt x="9180" y="977"/>
                    <a:pt x="9311" y="810"/>
                    <a:pt x="9311" y="632"/>
                  </a:cubicBezTo>
                  <a:lnTo>
                    <a:pt x="9311" y="394"/>
                  </a:lnTo>
                  <a:cubicBezTo>
                    <a:pt x="9311" y="179"/>
                    <a:pt x="9132" y="1"/>
                    <a:pt x="8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3" name="Google Shape;10243;p59"/>
            <p:cNvSpPr/>
            <p:nvPr/>
          </p:nvSpPr>
          <p:spPr>
            <a:xfrm>
              <a:off x="1921566" y="3855953"/>
              <a:ext cx="105854" cy="271213"/>
            </a:xfrm>
            <a:custGeom>
              <a:avLst/>
              <a:gdLst/>
              <a:ahLst/>
              <a:cxnLst/>
              <a:rect l="l" t="t" r="r" b="b"/>
              <a:pathLst>
                <a:path w="3323" h="8514" extrusionOk="0">
                  <a:moveTo>
                    <a:pt x="2977" y="346"/>
                  </a:moveTo>
                  <a:lnTo>
                    <a:pt x="2977" y="1370"/>
                  </a:lnTo>
                  <a:lnTo>
                    <a:pt x="2394" y="1370"/>
                  </a:lnTo>
                  <a:cubicBezTo>
                    <a:pt x="2203" y="1370"/>
                    <a:pt x="2049" y="1513"/>
                    <a:pt x="2049" y="1704"/>
                  </a:cubicBezTo>
                  <a:lnTo>
                    <a:pt x="2049" y="2168"/>
                  </a:lnTo>
                  <a:lnTo>
                    <a:pt x="1715" y="2168"/>
                  </a:lnTo>
                  <a:cubicBezTo>
                    <a:pt x="1548" y="2168"/>
                    <a:pt x="1417" y="2287"/>
                    <a:pt x="1382" y="2442"/>
                  </a:cubicBezTo>
                  <a:lnTo>
                    <a:pt x="1025" y="2442"/>
                  </a:lnTo>
                  <a:lnTo>
                    <a:pt x="1025" y="1739"/>
                  </a:lnTo>
                  <a:cubicBezTo>
                    <a:pt x="1025" y="1549"/>
                    <a:pt x="882" y="1394"/>
                    <a:pt x="679" y="1394"/>
                  </a:cubicBezTo>
                  <a:lnTo>
                    <a:pt x="346" y="1394"/>
                  </a:lnTo>
                  <a:lnTo>
                    <a:pt x="346" y="346"/>
                  </a:lnTo>
                  <a:close/>
                  <a:moveTo>
                    <a:pt x="679" y="1739"/>
                  </a:moveTo>
                  <a:lnTo>
                    <a:pt x="679" y="2763"/>
                  </a:lnTo>
                  <a:lnTo>
                    <a:pt x="679" y="3954"/>
                  </a:lnTo>
                  <a:lnTo>
                    <a:pt x="346" y="3954"/>
                  </a:lnTo>
                  <a:lnTo>
                    <a:pt x="346" y="1739"/>
                  </a:lnTo>
                  <a:close/>
                  <a:moveTo>
                    <a:pt x="1370" y="2763"/>
                  </a:moveTo>
                  <a:lnTo>
                    <a:pt x="1370" y="3954"/>
                  </a:lnTo>
                  <a:lnTo>
                    <a:pt x="1025" y="3954"/>
                  </a:lnTo>
                  <a:lnTo>
                    <a:pt x="1025" y="2763"/>
                  </a:lnTo>
                  <a:close/>
                  <a:moveTo>
                    <a:pt x="2049" y="2513"/>
                  </a:moveTo>
                  <a:lnTo>
                    <a:pt x="2049" y="3954"/>
                  </a:lnTo>
                  <a:lnTo>
                    <a:pt x="1715" y="3954"/>
                  </a:lnTo>
                  <a:lnTo>
                    <a:pt x="1715" y="2763"/>
                  </a:lnTo>
                  <a:lnTo>
                    <a:pt x="1715" y="2513"/>
                  </a:lnTo>
                  <a:close/>
                  <a:moveTo>
                    <a:pt x="2977" y="1727"/>
                  </a:moveTo>
                  <a:lnTo>
                    <a:pt x="2977" y="3954"/>
                  </a:lnTo>
                  <a:lnTo>
                    <a:pt x="2394" y="3954"/>
                  </a:lnTo>
                  <a:lnTo>
                    <a:pt x="2394" y="2513"/>
                  </a:lnTo>
                  <a:lnTo>
                    <a:pt x="2394" y="1727"/>
                  </a:lnTo>
                  <a:close/>
                  <a:moveTo>
                    <a:pt x="2977" y="4299"/>
                  </a:moveTo>
                  <a:lnTo>
                    <a:pt x="2977" y="4644"/>
                  </a:lnTo>
                  <a:lnTo>
                    <a:pt x="346" y="4644"/>
                  </a:lnTo>
                  <a:lnTo>
                    <a:pt x="346" y="4299"/>
                  </a:lnTo>
                  <a:close/>
                  <a:moveTo>
                    <a:pt x="2977" y="4990"/>
                  </a:moveTo>
                  <a:lnTo>
                    <a:pt x="2977" y="7347"/>
                  </a:lnTo>
                  <a:lnTo>
                    <a:pt x="2453" y="6085"/>
                  </a:lnTo>
                  <a:cubicBezTo>
                    <a:pt x="2430" y="6014"/>
                    <a:pt x="2346" y="5942"/>
                    <a:pt x="2275" y="5906"/>
                  </a:cubicBezTo>
                  <a:cubicBezTo>
                    <a:pt x="2239" y="5889"/>
                    <a:pt x="2197" y="5880"/>
                    <a:pt x="2154" y="5880"/>
                  </a:cubicBezTo>
                  <a:cubicBezTo>
                    <a:pt x="2111" y="5880"/>
                    <a:pt x="2066" y="5889"/>
                    <a:pt x="2025" y="5906"/>
                  </a:cubicBezTo>
                  <a:lnTo>
                    <a:pt x="1679" y="6061"/>
                  </a:lnTo>
                  <a:cubicBezTo>
                    <a:pt x="1596" y="6085"/>
                    <a:pt x="1537" y="6156"/>
                    <a:pt x="1501" y="6240"/>
                  </a:cubicBezTo>
                  <a:cubicBezTo>
                    <a:pt x="1477" y="6311"/>
                    <a:pt x="1477" y="6395"/>
                    <a:pt x="1501" y="6490"/>
                  </a:cubicBezTo>
                  <a:lnTo>
                    <a:pt x="1513" y="6537"/>
                  </a:lnTo>
                  <a:cubicBezTo>
                    <a:pt x="1477" y="6514"/>
                    <a:pt x="1429" y="6502"/>
                    <a:pt x="1382" y="6502"/>
                  </a:cubicBezTo>
                  <a:lnTo>
                    <a:pt x="1025" y="6502"/>
                  </a:lnTo>
                  <a:lnTo>
                    <a:pt x="1025" y="5942"/>
                  </a:lnTo>
                  <a:cubicBezTo>
                    <a:pt x="1025" y="5740"/>
                    <a:pt x="882" y="5597"/>
                    <a:pt x="679" y="5597"/>
                  </a:cubicBezTo>
                  <a:lnTo>
                    <a:pt x="346" y="5597"/>
                  </a:lnTo>
                  <a:lnTo>
                    <a:pt x="346" y="4990"/>
                  </a:lnTo>
                  <a:close/>
                  <a:moveTo>
                    <a:pt x="2132" y="6252"/>
                  </a:moveTo>
                  <a:lnTo>
                    <a:pt x="2858" y="7990"/>
                  </a:lnTo>
                  <a:lnTo>
                    <a:pt x="2549" y="8121"/>
                  </a:lnTo>
                  <a:lnTo>
                    <a:pt x="1810" y="6383"/>
                  </a:lnTo>
                  <a:lnTo>
                    <a:pt x="2132" y="6252"/>
                  </a:lnTo>
                  <a:close/>
                  <a:moveTo>
                    <a:pt x="679" y="5954"/>
                  </a:moveTo>
                  <a:lnTo>
                    <a:pt x="679" y="6835"/>
                  </a:lnTo>
                  <a:lnTo>
                    <a:pt x="679" y="8169"/>
                  </a:lnTo>
                  <a:lnTo>
                    <a:pt x="346" y="8169"/>
                  </a:lnTo>
                  <a:lnTo>
                    <a:pt x="346" y="5954"/>
                  </a:lnTo>
                  <a:close/>
                  <a:moveTo>
                    <a:pt x="1370" y="6847"/>
                  </a:moveTo>
                  <a:lnTo>
                    <a:pt x="1370" y="8169"/>
                  </a:lnTo>
                  <a:lnTo>
                    <a:pt x="1025" y="8169"/>
                  </a:lnTo>
                  <a:lnTo>
                    <a:pt x="1025" y="6847"/>
                  </a:lnTo>
                  <a:close/>
                  <a:moveTo>
                    <a:pt x="1715" y="6990"/>
                  </a:moveTo>
                  <a:lnTo>
                    <a:pt x="2203" y="8169"/>
                  </a:lnTo>
                  <a:lnTo>
                    <a:pt x="1715" y="8169"/>
                  </a:lnTo>
                  <a:lnTo>
                    <a:pt x="1715" y="6990"/>
                  </a:lnTo>
                  <a:close/>
                  <a:moveTo>
                    <a:pt x="251" y="1"/>
                  </a:moveTo>
                  <a:cubicBezTo>
                    <a:pt x="120" y="1"/>
                    <a:pt x="1" y="120"/>
                    <a:pt x="1" y="251"/>
                  </a:cubicBezTo>
                  <a:lnTo>
                    <a:pt x="1" y="8252"/>
                  </a:lnTo>
                  <a:cubicBezTo>
                    <a:pt x="1" y="8395"/>
                    <a:pt x="120" y="8514"/>
                    <a:pt x="251" y="8514"/>
                  </a:cubicBezTo>
                  <a:lnTo>
                    <a:pt x="3061" y="8514"/>
                  </a:lnTo>
                  <a:cubicBezTo>
                    <a:pt x="3203" y="8514"/>
                    <a:pt x="3322" y="8395"/>
                    <a:pt x="3322" y="8252"/>
                  </a:cubicBezTo>
                  <a:lnTo>
                    <a:pt x="3322" y="1704"/>
                  </a:lnTo>
                  <a:lnTo>
                    <a:pt x="3322" y="251"/>
                  </a:lnTo>
                  <a:cubicBezTo>
                    <a:pt x="3322" y="120"/>
                    <a:pt x="3203" y="1"/>
                    <a:pt x="3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4" name="Google Shape;10244;p59"/>
            <p:cNvSpPr/>
            <p:nvPr/>
          </p:nvSpPr>
          <p:spPr>
            <a:xfrm>
              <a:off x="1803990" y="3855953"/>
              <a:ext cx="106619" cy="165773"/>
            </a:xfrm>
            <a:custGeom>
              <a:avLst/>
              <a:gdLst/>
              <a:ahLst/>
              <a:cxnLst/>
              <a:rect l="l" t="t" r="r" b="b"/>
              <a:pathLst>
                <a:path w="3347" h="5204" extrusionOk="0">
                  <a:moveTo>
                    <a:pt x="251" y="1"/>
                  </a:moveTo>
                  <a:cubicBezTo>
                    <a:pt x="120" y="1"/>
                    <a:pt x="1" y="120"/>
                    <a:pt x="1" y="251"/>
                  </a:cubicBezTo>
                  <a:lnTo>
                    <a:pt x="1" y="4954"/>
                  </a:lnTo>
                  <a:cubicBezTo>
                    <a:pt x="1" y="5085"/>
                    <a:pt x="120" y="5204"/>
                    <a:pt x="251" y="5204"/>
                  </a:cubicBezTo>
                  <a:lnTo>
                    <a:pt x="715" y="5204"/>
                  </a:lnTo>
                  <a:cubicBezTo>
                    <a:pt x="798" y="5204"/>
                    <a:pt x="894" y="5133"/>
                    <a:pt x="894" y="5025"/>
                  </a:cubicBezTo>
                  <a:cubicBezTo>
                    <a:pt x="894" y="4930"/>
                    <a:pt x="822" y="4847"/>
                    <a:pt x="715" y="4847"/>
                  </a:cubicBezTo>
                  <a:lnTo>
                    <a:pt x="346" y="4847"/>
                  </a:lnTo>
                  <a:lnTo>
                    <a:pt x="346" y="322"/>
                  </a:lnTo>
                  <a:lnTo>
                    <a:pt x="3001" y="322"/>
                  </a:lnTo>
                  <a:lnTo>
                    <a:pt x="3001" y="4847"/>
                  </a:lnTo>
                  <a:lnTo>
                    <a:pt x="1441" y="4847"/>
                  </a:lnTo>
                  <a:cubicBezTo>
                    <a:pt x="1358" y="4847"/>
                    <a:pt x="1263" y="4930"/>
                    <a:pt x="1263" y="5025"/>
                  </a:cubicBezTo>
                  <a:cubicBezTo>
                    <a:pt x="1263" y="5133"/>
                    <a:pt x="1334" y="5204"/>
                    <a:pt x="1441" y="5204"/>
                  </a:cubicBezTo>
                  <a:lnTo>
                    <a:pt x="3096" y="5204"/>
                  </a:lnTo>
                  <a:cubicBezTo>
                    <a:pt x="3227" y="5204"/>
                    <a:pt x="3346" y="5085"/>
                    <a:pt x="3346" y="4954"/>
                  </a:cubicBezTo>
                  <a:lnTo>
                    <a:pt x="3346" y="251"/>
                  </a:lnTo>
                  <a:cubicBezTo>
                    <a:pt x="3346" y="120"/>
                    <a:pt x="3227" y="1"/>
                    <a:pt x="3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5" name="Google Shape;10245;p59"/>
            <p:cNvSpPr/>
            <p:nvPr/>
          </p:nvSpPr>
          <p:spPr>
            <a:xfrm>
              <a:off x="1824472" y="3932565"/>
              <a:ext cx="63360" cy="11436"/>
            </a:xfrm>
            <a:custGeom>
              <a:avLst/>
              <a:gdLst/>
              <a:ahLst/>
              <a:cxnLst/>
              <a:rect l="l" t="t" r="r" b="b"/>
              <a:pathLst>
                <a:path w="1989" h="359" extrusionOk="0">
                  <a:moveTo>
                    <a:pt x="179" y="1"/>
                  </a:moveTo>
                  <a:cubicBezTo>
                    <a:pt x="84" y="1"/>
                    <a:pt x="1" y="84"/>
                    <a:pt x="1" y="180"/>
                  </a:cubicBezTo>
                  <a:cubicBezTo>
                    <a:pt x="1" y="287"/>
                    <a:pt x="84" y="358"/>
                    <a:pt x="179" y="358"/>
                  </a:cubicBezTo>
                  <a:lnTo>
                    <a:pt x="1810" y="358"/>
                  </a:lnTo>
                  <a:cubicBezTo>
                    <a:pt x="1906" y="358"/>
                    <a:pt x="1989" y="287"/>
                    <a:pt x="1989" y="180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6" name="Google Shape;10246;p59"/>
            <p:cNvSpPr/>
            <p:nvPr/>
          </p:nvSpPr>
          <p:spPr>
            <a:xfrm>
              <a:off x="1824472" y="3907941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86"/>
                    <a:pt x="84" y="357"/>
                    <a:pt x="179" y="357"/>
                  </a:cubicBezTo>
                  <a:lnTo>
                    <a:pt x="1810" y="357"/>
                  </a:lnTo>
                  <a:cubicBezTo>
                    <a:pt x="1906" y="357"/>
                    <a:pt x="1989" y="286"/>
                    <a:pt x="1989" y="179"/>
                  </a:cubicBezTo>
                  <a:cubicBezTo>
                    <a:pt x="1989" y="72"/>
                    <a:pt x="1918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7" name="Google Shape;10247;p59"/>
            <p:cNvSpPr/>
            <p:nvPr/>
          </p:nvSpPr>
          <p:spPr>
            <a:xfrm>
              <a:off x="1824472" y="3882903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3" y="286"/>
                    <a:pt x="84" y="357"/>
                    <a:pt x="179" y="357"/>
                  </a:cubicBezTo>
                  <a:lnTo>
                    <a:pt x="1810" y="357"/>
                  </a:lnTo>
                  <a:cubicBezTo>
                    <a:pt x="1906" y="357"/>
                    <a:pt x="1989" y="286"/>
                    <a:pt x="1989" y="179"/>
                  </a:cubicBezTo>
                  <a:cubicBezTo>
                    <a:pt x="1989" y="96"/>
                    <a:pt x="1918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8" name="Google Shape;10248;p59"/>
            <p:cNvSpPr/>
            <p:nvPr/>
          </p:nvSpPr>
          <p:spPr>
            <a:xfrm>
              <a:off x="1824472" y="3957603"/>
              <a:ext cx="63360" cy="11786"/>
            </a:xfrm>
            <a:custGeom>
              <a:avLst/>
              <a:gdLst/>
              <a:ahLst/>
              <a:cxnLst/>
              <a:rect l="l" t="t" r="r" b="b"/>
              <a:pathLst>
                <a:path w="1989" h="370" extrusionOk="0">
                  <a:moveTo>
                    <a:pt x="179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87"/>
                    <a:pt x="84" y="370"/>
                    <a:pt x="179" y="370"/>
                  </a:cubicBezTo>
                  <a:lnTo>
                    <a:pt x="1810" y="370"/>
                  </a:lnTo>
                  <a:cubicBezTo>
                    <a:pt x="1906" y="370"/>
                    <a:pt x="1989" y="287"/>
                    <a:pt x="1989" y="191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9" name="Google Shape;10249;p59"/>
            <p:cNvSpPr/>
            <p:nvPr/>
          </p:nvSpPr>
          <p:spPr>
            <a:xfrm>
              <a:off x="1824472" y="3983023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3" y="286"/>
                    <a:pt x="84" y="358"/>
                    <a:pt x="179" y="358"/>
                  </a:cubicBezTo>
                  <a:lnTo>
                    <a:pt x="1810" y="358"/>
                  </a:lnTo>
                  <a:cubicBezTo>
                    <a:pt x="1906" y="358"/>
                    <a:pt x="1989" y="286"/>
                    <a:pt x="1989" y="179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0" name="Google Shape;10250;p59"/>
            <p:cNvSpPr/>
            <p:nvPr/>
          </p:nvSpPr>
          <p:spPr>
            <a:xfrm>
              <a:off x="1852919" y="4057372"/>
              <a:ext cx="32269" cy="32269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1" y="345"/>
                  </a:moveTo>
                  <a:cubicBezTo>
                    <a:pt x="596" y="345"/>
                    <a:pt x="667" y="417"/>
                    <a:pt x="667" y="512"/>
                  </a:cubicBezTo>
                  <a:cubicBezTo>
                    <a:pt x="667" y="595"/>
                    <a:pt x="596" y="667"/>
                    <a:pt x="501" y="667"/>
                  </a:cubicBezTo>
                  <a:cubicBezTo>
                    <a:pt x="417" y="667"/>
                    <a:pt x="334" y="595"/>
                    <a:pt x="334" y="512"/>
                  </a:cubicBezTo>
                  <a:cubicBezTo>
                    <a:pt x="334" y="417"/>
                    <a:pt x="417" y="345"/>
                    <a:pt x="501" y="345"/>
                  </a:cubicBezTo>
                  <a:close/>
                  <a:moveTo>
                    <a:pt x="501" y="0"/>
                  </a:moveTo>
                  <a:cubicBezTo>
                    <a:pt x="215" y="0"/>
                    <a:pt x="1" y="226"/>
                    <a:pt x="1" y="512"/>
                  </a:cubicBezTo>
                  <a:cubicBezTo>
                    <a:pt x="1" y="786"/>
                    <a:pt x="215" y="1012"/>
                    <a:pt x="501" y="1012"/>
                  </a:cubicBezTo>
                  <a:cubicBezTo>
                    <a:pt x="786" y="1012"/>
                    <a:pt x="1013" y="786"/>
                    <a:pt x="1013" y="512"/>
                  </a:cubicBezTo>
                  <a:cubicBezTo>
                    <a:pt x="1013" y="226"/>
                    <a:pt x="78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1" name="Google Shape;10251;p59"/>
            <p:cNvSpPr/>
            <p:nvPr/>
          </p:nvSpPr>
          <p:spPr>
            <a:xfrm>
              <a:off x="1803607" y="4031188"/>
              <a:ext cx="34563" cy="88398"/>
            </a:xfrm>
            <a:custGeom>
              <a:avLst/>
              <a:gdLst/>
              <a:ahLst/>
              <a:cxnLst/>
              <a:rect l="l" t="t" r="r" b="b"/>
              <a:pathLst>
                <a:path w="1085" h="2775" extrusionOk="0">
                  <a:moveTo>
                    <a:pt x="596" y="584"/>
                  </a:moveTo>
                  <a:cubicBezTo>
                    <a:pt x="668" y="584"/>
                    <a:pt x="739" y="644"/>
                    <a:pt x="739" y="739"/>
                  </a:cubicBezTo>
                  <a:lnTo>
                    <a:pt x="739" y="2025"/>
                  </a:lnTo>
                  <a:cubicBezTo>
                    <a:pt x="739" y="2108"/>
                    <a:pt x="679" y="2179"/>
                    <a:pt x="596" y="2179"/>
                  </a:cubicBezTo>
                  <a:lnTo>
                    <a:pt x="358" y="2179"/>
                  </a:lnTo>
                  <a:lnTo>
                    <a:pt x="358" y="584"/>
                  </a:lnTo>
                  <a:close/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lnTo>
                    <a:pt x="1" y="417"/>
                  </a:lnTo>
                  <a:lnTo>
                    <a:pt x="1" y="2358"/>
                  </a:lnTo>
                  <a:lnTo>
                    <a:pt x="1" y="2596"/>
                  </a:lnTo>
                  <a:cubicBezTo>
                    <a:pt x="1" y="2680"/>
                    <a:pt x="72" y="2775"/>
                    <a:pt x="179" y="2775"/>
                  </a:cubicBezTo>
                  <a:cubicBezTo>
                    <a:pt x="263" y="2775"/>
                    <a:pt x="358" y="2703"/>
                    <a:pt x="358" y="2596"/>
                  </a:cubicBezTo>
                  <a:lnTo>
                    <a:pt x="358" y="2525"/>
                  </a:lnTo>
                  <a:lnTo>
                    <a:pt x="596" y="2525"/>
                  </a:lnTo>
                  <a:cubicBezTo>
                    <a:pt x="858" y="2525"/>
                    <a:pt x="1084" y="2299"/>
                    <a:pt x="1084" y="2025"/>
                  </a:cubicBezTo>
                  <a:lnTo>
                    <a:pt x="1084" y="739"/>
                  </a:lnTo>
                  <a:cubicBezTo>
                    <a:pt x="1084" y="465"/>
                    <a:pt x="870" y="239"/>
                    <a:pt x="596" y="239"/>
                  </a:cubicBezTo>
                  <a:lnTo>
                    <a:pt x="358" y="239"/>
                  </a:lnTo>
                  <a:lnTo>
                    <a:pt x="358" y="179"/>
                  </a:lnTo>
                  <a:cubicBezTo>
                    <a:pt x="358" y="96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52" name="Google Shape;10252;p59"/>
          <p:cNvGrpSpPr/>
          <p:nvPr/>
        </p:nvGrpSpPr>
        <p:grpSpPr>
          <a:xfrm>
            <a:off x="5373342" y="3808935"/>
            <a:ext cx="231395" cy="353145"/>
            <a:chOff x="5373342" y="3808935"/>
            <a:chExt cx="231395" cy="353145"/>
          </a:xfrm>
        </p:grpSpPr>
        <p:sp>
          <p:nvSpPr>
            <p:cNvPr id="10253" name="Google Shape;10253;p59"/>
            <p:cNvSpPr/>
            <p:nvPr/>
          </p:nvSpPr>
          <p:spPr>
            <a:xfrm>
              <a:off x="5422654" y="3832827"/>
              <a:ext cx="132772" cy="114200"/>
            </a:xfrm>
            <a:custGeom>
              <a:avLst/>
              <a:gdLst/>
              <a:ahLst/>
              <a:cxnLst/>
              <a:rect l="l" t="t" r="r" b="b"/>
              <a:pathLst>
                <a:path w="4168" h="3585" extrusionOk="0">
                  <a:moveTo>
                    <a:pt x="2072" y="322"/>
                  </a:moveTo>
                  <a:cubicBezTo>
                    <a:pt x="3036" y="322"/>
                    <a:pt x="3822" y="1108"/>
                    <a:pt x="3822" y="2084"/>
                  </a:cubicBezTo>
                  <a:lnTo>
                    <a:pt x="3846" y="2918"/>
                  </a:lnTo>
                  <a:cubicBezTo>
                    <a:pt x="3846" y="3108"/>
                    <a:pt x="3679" y="3275"/>
                    <a:pt x="3489" y="3275"/>
                  </a:cubicBezTo>
                  <a:lnTo>
                    <a:pt x="667" y="3275"/>
                  </a:lnTo>
                  <a:cubicBezTo>
                    <a:pt x="476" y="3275"/>
                    <a:pt x="310" y="3108"/>
                    <a:pt x="310" y="2918"/>
                  </a:cubicBezTo>
                  <a:lnTo>
                    <a:pt x="310" y="2084"/>
                  </a:lnTo>
                  <a:cubicBezTo>
                    <a:pt x="310" y="1108"/>
                    <a:pt x="1096" y="322"/>
                    <a:pt x="2072" y="322"/>
                  </a:cubicBezTo>
                  <a:close/>
                  <a:moveTo>
                    <a:pt x="2084" y="1"/>
                  </a:moveTo>
                  <a:cubicBezTo>
                    <a:pt x="941" y="1"/>
                    <a:pt x="0" y="929"/>
                    <a:pt x="0" y="2084"/>
                  </a:cubicBezTo>
                  <a:lnTo>
                    <a:pt x="0" y="2918"/>
                  </a:lnTo>
                  <a:cubicBezTo>
                    <a:pt x="0" y="3287"/>
                    <a:pt x="298" y="3584"/>
                    <a:pt x="667" y="3584"/>
                  </a:cubicBezTo>
                  <a:lnTo>
                    <a:pt x="3489" y="3584"/>
                  </a:lnTo>
                  <a:cubicBezTo>
                    <a:pt x="3858" y="3584"/>
                    <a:pt x="4156" y="3287"/>
                    <a:pt x="4156" y="2918"/>
                  </a:cubicBezTo>
                  <a:lnTo>
                    <a:pt x="4156" y="2084"/>
                  </a:lnTo>
                  <a:cubicBezTo>
                    <a:pt x="4167" y="929"/>
                    <a:pt x="3227" y="1"/>
                    <a:pt x="2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4" name="Google Shape;10254;p59"/>
            <p:cNvSpPr/>
            <p:nvPr/>
          </p:nvSpPr>
          <p:spPr>
            <a:xfrm>
              <a:off x="5394590" y="3972415"/>
              <a:ext cx="45139" cy="37557"/>
            </a:xfrm>
            <a:custGeom>
              <a:avLst/>
              <a:gdLst/>
              <a:ahLst/>
              <a:cxnLst/>
              <a:rect l="l" t="t" r="r" b="b"/>
              <a:pathLst>
                <a:path w="1417" h="1179" extrusionOk="0">
                  <a:moveTo>
                    <a:pt x="953" y="334"/>
                  </a:moveTo>
                  <a:cubicBezTo>
                    <a:pt x="1024" y="334"/>
                    <a:pt x="1096" y="393"/>
                    <a:pt x="1096" y="464"/>
                  </a:cubicBezTo>
                  <a:lnTo>
                    <a:pt x="1096" y="715"/>
                  </a:lnTo>
                  <a:cubicBezTo>
                    <a:pt x="1096" y="798"/>
                    <a:pt x="1024" y="857"/>
                    <a:pt x="953" y="857"/>
                  </a:cubicBezTo>
                  <a:lnTo>
                    <a:pt x="465" y="857"/>
                  </a:lnTo>
                  <a:cubicBezTo>
                    <a:pt x="393" y="857"/>
                    <a:pt x="334" y="798"/>
                    <a:pt x="334" y="715"/>
                  </a:cubicBezTo>
                  <a:lnTo>
                    <a:pt x="334" y="464"/>
                  </a:lnTo>
                  <a:cubicBezTo>
                    <a:pt x="334" y="393"/>
                    <a:pt x="393" y="334"/>
                    <a:pt x="465" y="334"/>
                  </a:cubicBezTo>
                  <a:close/>
                  <a:moveTo>
                    <a:pt x="465" y="0"/>
                  </a:moveTo>
                  <a:cubicBezTo>
                    <a:pt x="214" y="0"/>
                    <a:pt x="0" y="214"/>
                    <a:pt x="0" y="464"/>
                  </a:cubicBezTo>
                  <a:lnTo>
                    <a:pt x="0" y="715"/>
                  </a:lnTo>
                  <a:cubicBezTo>
                    <a:pt x="0" y="976"/>
                    <a:pt x="214" y="1179"/>
                    <a:pt x="465" y="1179"/>
                  </a:cubicBezTo>
                  <a:lnTo>
                    <a:pt x="953" y="1179"/>
                  </a:lnTo>
                  <a:cubicBezTo>
                    <a:pt x="1215" y="1179"/>
                    <a:pt x="1417" y="976"/>
                    <a:pt x="1417" y="715"/>
                  </a:cubicBezTo>
                  <a:lnTo>
                    <a:pt x="1417" y="464"/>
                  </a:lnTo>
                  <a:cubicBezTo>
                    <a:pt x="1417" y="214"/>
                    <a:pt x="1203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5" name="Google Shape;10255;p59"/>
            <p:cNvSpPr/>
            <p:nvPr/>
          </p:nvSpPr>
          <p:spPr>
            <a:xfrm>
              <a:off x="5460179" y="3972415"/>
              <a:ext cx="58072" cy="37557"/>
            </a:xfrm>
            <a:custGeom>
              <a:avLst/>
              <a:gdLst/>
              <a:ahLst/>
              <a:cxnLst/>
              <a:rect l="l" t="t" r="r" b="b"/>
              <a:pathLst>
                <a:path w="1823" h="1179" extrusionOk="0">
                  <a:moveTo>
                    <a:pt x="1346" y="334"/>
                  </a:moveTo>
                  <a:cubicBezTo>
                    <a:pt x="1430" y="334"/>
                    <a:pt x="1489" y="393"/>
                    <a:pt x="1489" y="464"/>
                  </a:cubicBezTo>
                  <a:lnTo>
                    <a:pt x="1489" y="715"/>
                  </a:lnTo>
                  <a:cubicBezTo>
                    <a:pt x="1489" y="798"/>
                    <a:pt x="1430" y="857"/>
                    <a:pt x="1346" y="857"/>
                  </a:cubicBezTo>
                  <a:lnTo>
                    <a:pt x="441" y="857"/>
                  </a:lnTo>
                  <a:cubicBezTo>
                    <a:pt x="370" y="857"/>
                    <a:pt x="311" y="798"/>
                    <a:pt x="311" y="715"/>
                  </a:cubicBezTo>
                  <a:lnTo>
                    <a:pt x="311" y="464"/>
                  </a:lnTo>
                  <a:cubicBezTo>
                    <a:pt x="311" y="393"/>
                    <a:pt x="370" y="334"/>
                    <a:pt x="441" y="334"/>
                  </a:cubicBezTo>
                  <a:close/>
                  <a:moveTo>
                    <a:pt x="453" y="0"/>
                  </a:moveTo>
                  <a:cubicBezTo>
                    <a:pt x="203" y="0"/>
                    <a:pt x="1" y="214"/>
                    <a:pt x="1" y="464"/>
                  </a:cubicBezTo>
                  <a:lnTo>
                    <a:pt x="1" y="715"/>
                  </a:lnTo>
                  <a:cubicBezTo>
                    <a:pt x="1" y="976"/>
                    <a:pt x="203" y="1179"/>
                    <a:pt x="453" y="1179"/>
                  </a:cubicBezTo>
                  <a:lnTo>
                    <a:pt x="1370" y="1179"/>
                  </a:lnTo>
                  <a:cubicBezTo>
                    <a:pt x="1620" y="1179"/>
                    <a:pt x="1823" y="976"/>
                    <a:pt x="1823" y="715"/>
                  </a:cubicBezTo>
                  <a:lnTo>
                    <a:pt x="1823" y="464"/>
                  </a:lnTo>
                  <a:cubicBezTo>
                    <a:pt x="1823" y="214"/>
                    <a:pt x="1620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6" name="Google Shape;10256;p59"/>
            <p:cNvSpPr/>
            <p:nvPr/>
          </p:nvSpPr>
          <p:spPr>
            <a:xfrm>
              <a:off x="5538319" y="3972415"/>
              <a:ext cx="45170" cy="37557"/>
            </a:xfrm>
            <a:custGeom>
              <a:avLst/>
              <a:gdLst/>
              <a:ahLst/>
              <a:cxnLst/>
              <a:rect l="l" t="t" r="r" b="b"/>
              <a:pathLst>
                <a:path w="1418" h="1179" extrusionOk="0">
                  <a:moveTo>
                    <a:pt x="941" y="334"/>
                  </a:moveTo>
                  <a:cubicBezTo>
                    <a:pt x="1013" y="334"/>
                    <a:pt x="1072" y="393"/>
                    <a:pt x="1072" y="464"/>
                  </a:cubicBezTo>
                  <a:lnTo>
                    <a:pt x="1072" y="715"/>
                  </a:lnTo>
                  <a:cubicBezTo>
                    <a:pt x="1072" y="798"/>
                    <a:pt x="1013" y="857"/>
                    <a:pt x="941" y="857"/>
                  </a:cubicBezTo>
                  <a:lnTo>
                    <a:pt x="453" y="857"/>
                  </a:lnTo>
                  <a:cubicBezTo>
                    <a:pt x="370" y="857"/>
                    <a:pt x="310" y="798"/>
                    <a:pt x="310" y="715"/>
                  </a:cubicBezTo>
                  <a:lnTo>
                    <a:pt x="310" y="464"/>
                  </a:lnTo>
                  <a:cubicBezTo>
                    <a:pt x="310" y="393"/>
                    <a:pt x="370" y="334"/>
                    <a:pt x="453" y="334"/>
                  </a:cubicBezTo>
                  <a:close/>
                  <a:moveTo>
                    <a:pt x="465" y="0"/>
                  </a:moveTo>
                  <a:cubicBezTo>
                    <a:pt x="215" y="0"/>
                    <a:pt x="1" y="214"/>
                    <a:pt x="1" y="464"/>
                  </a:cubicBezTo>
                  <a:lnTo>
                    <a:pt x="1" y="715"/>
                  </a:lnTo>
                  <a:cubicBezTo>
                    <a:pt x="1" y="976"/>
                    <a:pt x="215" y="1179"/>
                    <a:pt x="465" y="1179"/>
                  </a:cubicBezTo>
                  <a:lnTo>
                    <a:pt x="953" y="1179"/>
                  </a:lnTo>
                  <a:cubicBezTo>
                    <a:pt x="1203" y="1179"/>
                    <a:pt x="1417" y="976"/>
                    <a:pt x="1417" y="715"/>
                  </a:cubicBezTo>
                  <a:lnTo>
                    <a:pt x="1417" y="464"/>
                  </a:lnTo>
                  <a:cubicBezTo>
                    <a:pt x="1417" y="214"/>
                    <a:pt x="1203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7" name="Google Shape;10257;p59"/>
            <p:cNvSpPr/>
            <p:nvPr/>
          </p:nvSpPr>
          <p:spPr>
            <a:xfrm>
              <a:off x="5373342" y="3808935"/>
              <a:ext cx="231395" cy="353145"/>
            </a:xfrm>
            <a:custGeom>
              <a:avLst/>
              <a:gdLst/>
              <a:ahLst/>
              <a:cxnLst/>
              <a:rect l="l" t="t" r="r" b="b"/>
              <a:pathLst>
                <a:path w="7264" h="11086" extrusionOk="0">
                  <a:moveTo>
                    <a:pt x="4215" y="9502"/>
                  </a:moveTo>
                  <a:lnTo>
                    <a:pt x="4215" y="10764"/>
                  </a:lnTo>
                  <a:lnTo>
                    <a:pt x="3048" y="10764"/>
                  </a:lnTo>
                  <a:lnTo>
                    <a:pt x="3048" y="9502"/>
                  </a:lnTo>
                  <a:close/>
                  <a:moveTo>
                    <a:pt x="1810" y="1"/>
                  </a:moveTo>
                  <a:cubicBezTo>
                    <a:pt x="822" y="1"/>
                    <a:pt x="0" y="822"/>
                    <a:pt x="0" y="1822"/>
                  </a:cubicBezTo>
                  <a:lnTo>
                    <a:pt x="0" y="7144"/>
                  </a:lnTo>
                  <a:cubicBezTo>
                    <a:pt x="0" y="7728"/>
                    <a:pt x="477" y="8204"/>
                    <a:pt x="1060" y="8204"/>
                  </a:cubicBezTo>
                  <a:lnTo>
                    <a:pt x="2727" y="8204"/>
                  </a:lnTo>
                  <a:lnTo>
                    <a:pt x="2727" y="8275"/>
                  </a:lnTo>
                  <a:cubicBezTo>
                    <a:pt x="2727" y="8371"/>
                    <a:pt x="2798" y="8442"/>
                    <a:pt x="2882" y="8442"/>
                  </a:cubicBezTo>
                  <a:cubicBezTo>
                    <a:pt x="2977" y="8442"/>
                    <a:pt x="3048" y="8371"/>
                    <a:pt x="3048" y="8275"/>
                  </a:cubicBezTo>
                  <a:lnTo>
                    <a:pt x="3048" y="7144"/>
                  </a:lnTo>
                  <a:lnTo>
                    <a:pt x="4215" y="7144"/>
                  </a:lnTo>
                  <a:lnTo>
                    <a:pt x="4215" y="9168"/>
                  </a:lnTo>
                  <a:lnTo>
                    <a:pt x="3048" y="9168"/>
                  </a:lnTo>
                  <a:lnTo>
                    <a:pt x="3048" y="9049"/>
                  </a:lnTo>
                  <a:cubicBezTo>
                    <a:pt x="3048" y="8966"/>
                    <a:pt x="2977" y="8883"/>
                    <a:pt x="2882" y="8883"/>
                  </a:cubicBezTo>
                  <a:cubicBezTo>
                    <a:pt x="2798" y="8883"/>
                    <a:pt x="2727" y="8966"/>
                    <a:pt x="2727" y="9049"/>
                  </a:cubicBezTo>
                  <a:lnTo>
                    <a:pt x="2727" y="10930"/>
                  </a:lnTo>
                  <a:cubicBezTo>
                    <a:pt x="2727" y="11014"/>
                    <a:pt x="2798" y="11085"/>
                    <a:pt x="2882" y="11085"/>
                  </a:cubicBezTo>
                  <a:lnTo>
                    <a:pt x="4370" y="11085"/>
                  </a:lnTo>
                  <a:cubicBezTo>
                    <a:pt x="4465" y="11085"/>
                    <a:pt x="4537" y="11014"/>
                    <a:pt x="4537" y="10930"/>
                  </a:cubicBezTo>
                  <a:lnTo>
                    <a:pt x="4537" y="8192"/>
                  </a:lnTo>
                  <a:lnTo>
                    <a:pt x="6204" y="8192"/>
                  </a:lnTo>
                  <a:cubicBezTo>
                    <a:pt x="6787" y="8192"/>
                    <a:pt x="7263" y="7716"/>
                    <a:pt x="7263" y="7132"/>
                  </a:cubicBezTo>
                  <a:lnTo>
                    <a:pt x="7263" y="1798"/>
                  </a:lnTo>
                  <a:cubicBezTo>
                    <a:pt x="7263" y="810"/>
                    <a:pt x="6442" y="1"/>
                    <a:pt x="5453" y="1"/>
                  </a:cubicBezTo>
                  <a:lnTo>
                    <a:pt x="5132" y="1"/>
                  </a:lnTo>
                  <a:cubicBezTo>
                    <a:pt x="5049" y="1"/>
                    <a:pt x="4977" y="72"/>
                    <a:pt x="4977" y="167"/>
                  </a:cubicBezTo>
                  <a:cubicBezTo>
                    <a:pt x="4977" y="251"/>
                    <a:pt x="5049" y="334"/>
                    <a:pt x="5132" y="334"/>
                  </a:cubicBezTo>
                  <a:lnTo>
                    <a:pt x="5453" y="334"/>
                  </a:lnTo>
                  <a:cubicBezTo>
                    <a:pt x="6263" y="334"/>
                    <a:pt x="6942" y="1001"/>
                    <a:pt x="6942" y="1822"/>
                  </a:cubicBezTo>
                  <a:lnTo>
                    <a:pt x="6942" y="7144"/>
                  </a:lnTo>
                  <a:cubicBezTo>
                    <a:pt x="6942" y="7549"/>
                    <a:pt x="6608" y="7871"/>
                    <a:pt x="6204" y="7871"/>
                  </a:cubicBezTo>
                  <a:lnTo>
                    <a:pt x="4537" y="7871"/>
                  </a:lnTo>
                  <a:lnTo>
                    <a:pt x="4537" y="7144"/>
                  </a:lnTo>
                  <a:lnTo>
                    <a:pt x="4727" y="7144"/>
                  </a:lnTo>
                  <a:cubicBezTo>
                    <a:pt x="4822" y="7144"/>
                    <a:pt x="4894" y="7073"/>
                    <a:pt x="4894" y="6978"/>
                  </a:cubicBezTo>
                  <a:cubicBezTo>
                    <a:pt x="4894" y="6894"/>
                    <a:pt x="4822" y="6823"/>
                    <a:pt x="4727" y="6823"/>
                  </a:cubicBezTo>
                  <a:lnTo>
                    <a:pt x="2525" y="6823"/>
                  </a:lnTo>
                  <a:cubicBezTo>
                    <a:pt x="2441" y="6823"/>
                    <a:pt x="2370" y="6894"/>
                    <a:pt x="2370" y="6978"/>
                  </a:cubicBezTo>
                  <a:cubicBezTo>
                    <a:pt x="2370" y="7073"/>
                    <a:pt x="2441" y="7144"/>
                    <a:pt x="2525" y="7144"/>
                  </a:cubicBezTo>
                  <a:lnTo>
                    <a:pt x="2727" y="7144"/>
                  </a:lnTo>
                  <a:lnTo>
                    <a:pt x="2727" y="7871"/>
                  </a:lnTo>
                  <a:lnTo>
                    <a:pt x="1060" y="7871"/>
                  </a:lnTo>
                  <a:cubicBezTo>
                    <a:pt x="655" y="7871"/>
                    <a:pt x="322" y="7549"/>
                    <a:pt x="322" y="7144"/>
                  </a:cubicBezTo>
                  <a:lnTo>
                    <a:pt x="322" y="1822"/>
                  </a:lnTo>
                  <a:cubicBezTo>
                    <a:pt x="322" y="1001"/>
                    <a:pt x="1001" y="334"/>
                    <a:pt x="1810" y="334"/>
                  </a:cubicBezTo>
                  <a:lnTo>
                    <a:pt x="4191" y="334"/>
                  </a:lnTo>
                  <a:cubicBezTo>
                    <a:pt x="4287" y="334"/>
                    <a:pt x="4358" y="251"/>
                    <a:pt x="4358" y="167"/>
                  </a:cubicBezTo>
                  <a:cubicBezTo>
                    <a:pt x="4358" y="72"/>
                    <a:pt x="4287" y="1"/>
                    <a:pt x="4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8" name="Google Shape;10258;p59"/>
            <p:cNvSpPr/>
            <p:nvPr/>
          </p:nvSpPr>
          <p:spPr>
            <a:xfrm>
              <a:off x="5481426" y="4125255"/>
              <a:ext cx="15195" cy="15195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108"/>
                    <a:pt x="1" y="238"/>
                  </a:cubicBezTo>
                  <a:cubicBezTo>
                    <a:pt x="1" y="369"/>
                    <a:pt x="108" y="477"/>
                    <a:pt x="239" y="477"/>
                  </a:cubicBezTo>
                  <a:cubicBezTo>
                    <a:pt x="370" y="477"/>
                    <a:pt x="477" y="369"/>
                    <a:pt x="477" y="238"/>
                  </a:cubicBezTo>
                  <a:cubicBezTo>
                    <a:pt x="477" y="108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9" name="Google Shape;10259;p59"/>
            <p:cNvSpPr/>
            <p:nvPr/>
          </p:nvSpPr>
          <p:spPr>
            <a:xfrm>
              <a:off x="5447692" y="3873792"/>
              <a:ext cx="29593" cy="48579"/>
            </a:xfrm>
            <a:custGeom>
              <a:avLst/>
              <a:gdLst/>
              <a:ahLst/>
              <a:cxnLst/>
              <a:rect l="l" t="t" r="r" b="b"/>
              <a:pathLst>
                <a:path w="929" h="1525" extrusionOk="0">
                  <a:moveTo>
                    <a:pt x="595" y="334"/>
                  </a:moveTo>
                  <a:lnTo>
                    <a:pt x="595" y="596"/>
                  </a:lnTo>
                  <a:lnTo>
                    <a:pt x="333" y="596"/>
                  </a:lnTo>
                  <a:lnTo>
                    <a:pt x="333" y="334"/>
                  </a:lnTo>
                  <a:close/>
                  <a:moveTo>
                    <a:pt x="595" y="917"/>
                  </a:moveTo>
                  <a:lnTo>
                    <a:pt x="595" y="1179"/>
                  </a:lnTo>
                  <a:lnTo>
                    <a:pt x="333" y="1179"/>
                  </a:lnTo>
                  <a:lnTo>
                    <a:pt x="333" y="917"/>
                  </a:lnTo>
                  <a:close/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lnTo>
                    <a:pt x="0" y="1358"/>
                  </a:lnTo>
                  <a:cubicBezTo>
                    <a:pt x="0" y="1453"/>
                    <a:pt x="83" y="1525"/>
                    <a:pt x="167" y="1525"/>
                  </a:cubicBezTo>
                  <a:lnTo>
                    <a:pt x="762" y="1525"/>
                  </a:lnTo>
                  <a:cubicBezTo>
                    <a:pt x="845" y="1525"/>
                    <a:pt x="929" y="1453"/>
                    <a:pt x="929" y="1358"/>
                  </a:cubicBezTo>
                  <a:lnTo>
                    <a:pt x="929" y="167"/>
                  </a:lnTo>
                  <a:cubicBezTo>
                    <a:pt x="929" y="84"/>
                    <a:pt x="845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0" name="Google Shape;10260;p59"/>
            <p:cNvSpPr/>
            <p:nvPr/>
          </p:nvSpPr>
          <p:spPr>
            <a:xfrm>
              <a:off x="5500762" y="3873792"/>
              <a:ext cx="29625" cy="48579"/>
            </a:xfrm>
            <a:custGeom>
              <a:avLst/>
              <a:gdLst/>
              <a:ahLst/>
              <a:cxnLst/>
              <a:rect l="l" t="t" r="r" b="b"/>
              <a:pathLst>
                <a:path w="930" h="1525" extrusionOk="0">
                  <a:moveTo>
                    <a:pt x="596" y="917"/>
                  </a:moveTo>
                  <a:lnTo>
                    <a:pt x="596" y="1179"/>
                  </a:lnTo>
                  <a:lnTo>
                    <a:pt x="334" y="1179"/>
                  </a:lnTo>
                  <a:lnTo>
                    <a:pt x="334" y="917"/>
                  </a:lnTo>
                  <a:close/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1358"/>
                  </a:lnTo>
                  <a:cubicBezTo>
                    <a:pt x="1" y="1453"/>
                    <a:pt x="84" y="1525"/>
                    <a:pt x="168" y="1525"/>
                  </a:cubicBezTo>
                  <a:lnTo>
                    <a:pt x="763" y="1525"/>
                  </a:lnTo>
                  <a:cubicBezTo>
                    <a:pt x="858" y="1525"/>
                    <a:pt x="930" y="1453"/>
                    <a:pt x="930" y="1358"/>
                  </a:cubicBezTo>
                  <a:lnTo>
                    <a:pt x="930" y="763"/>
                  </a:lnTo>
                  <a:cubicBezTo>
                    <a:pt x="930" y="679"/>
                    <a:pt x="858" y="596"/>
                    <a:pt x="763" y="596"/>
                  </a:cubicBezTo>
                  <a:lnTo>
                    <a:pt x="334" y="596"/>
                  </a:lnTo>
                  <a:lnTo>
                    <a:pt x="334" y="334"/>
                  </a:lnTo>
                  <a:lnTo>
                    <a:pt x="763" y="334"/>
                  </a:lnTo>
                  <a:cubicBezTo>
                    <a:pt x="858" y="334"/>
                    <a:pt x="930" y="262"/>
                    <a:pt x="930" y="167"/>
                  </a:cubicBezTo>
                  <a:cubicBezTo>
                    <a:pt x="930" y="84"/>
                    <a:pt x="858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1" name="Google Shape;10261;p59"/>
            <p:cNvSpPr/>
            <p:nvPr/>
          </p:nvSpPr>
          <p:spPr>
            <a:xfrm>
              <a:off x="5482573" y="3909533"/>
              <a:ext cx="15959" cy="17998"/>
            </a:xfrm>
            <a:custGeom>
              <a:avLst/>
              <a:gdLst/>
              <a:ahLst/>
              <a:cxnLst/>
              <a:rect l="l" t="t" r="r" b="b"/>
              <a:pathLst>
                <a:path w="501" h="565" extrusionOk="0">
                  <a:moveTo>
                    <a:pt x="324" y="1"/>
                  </a:moveTo>
                  <a:cubicBezTo>
                    <a:pt x="261" y="1"/>
                    <a:pt x="191" y="30"/>
                    <a:pt x="155" y="93"/>
                  </a:cubicBezTo>
                  <a:lnTo>
                    <a:pt x="36" y="331"/>
                  </a:lnTo>
                  <a:cubicBezTo>
                    <a:pt x="0" y="403"/>
                    <a:pt x="36" y="510"/>
                    <a:pt x="119" y="545"/>
                  </a:cubicBezTo>
                  <a:cubicBezTo>
                    <a:pt x="139" y="559"/>
                    <a:pt x="162" y="565"/>
                    <a:pt x="185" y="565"/>
                  </a:cubicBezTo>
                  <a:cubicBezTo>
                    <a:pt x="245" y="565"/>
                    <a:pt x="308" y="525"/>
                    <a:pt x="334" y="474"/>
                  </a:cubicBezTo>
                  <a:lnTo>
                    <a:pt x="453" y="236"/>
                  </a:lnTo>
                  <a:cubicBezTo>
                    <a:pt x="500" y="164"/>
                    <a:pt x="453" y="57"/>
                    <a:pt x="381" y="10"/>
                  </a:cubicBezTo>
                  <a:cubicBezTo>
                    <a:pt x="364" y="4"/>
                    <a:pt x="345" y="1"/>
                    <a:pt x="3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62" name="Google Shape;10262;p59"/>
          <p:cNvSpPr/>
          <p:nvPr/>
        </p:nvSpPr>
        <p:spPr>
          <a:xfrm>
            <a:off x="6738361" y="3809700"/>
            <a:ext cx="205210" cy="353399"/>
          </a:xfrm>
          <a:custGeom>
            <a:avLst/>
            <a:gdLst/>
            <a:ahLst/>
            <a:cxnLst/>
            <a:rect l="l" t="t" r="r" b="b"/>
            <a:pathLst>
              <a:path w="6442" h="11094" extrusionOk="0">
                <a:moveTo>
                  <a:pt x="2703" y="2120"/>
                </a:moveTo>
                <a:cubicBezTo>
                  <a:pt x="2965" y="2286"/>
                  <a:pt x="3620" y="2632"/>
                  <a:pt x="4489" y="2667"/>
                </a:cubicBezTo>
                <a:lnTo>
                  <a:pt x="4489" y="3763"/>
                </a:lnTo>
                <a:cubicBezTo>
                  <a:pt x="4489" y="4453"/>
                  <a:pt x="3929" y="5037"/>
                  <a:pt x="3215" y="5037"/>
                </a:cubicBezTo>
                <a:cubicBezTo>
                  <a:pt x="3207" y="5037"/>
                  <a:pt x="3200" y="5037"/>
                  <a:pt x="3193" y="5037"/>
                </a:cubicBezTo>
                <a:cubicBezTo>
                  <a:pt x="2512" y="5037"/>
                  <a:pt x="1953" y="4482"/>
                  <a:pt x="1953" y="3775"/>
                </a:cubicBezTo>
                <a:lnTo>
                  <a:pt x="1953" y="2632"/>
                </a:lnTo>
                <a:cubicBezTo>
                  <a:pt x="2286" y="2465"/>
                  <a:pt x="2560" y="2239"/>
                  <a:pt x="2703" y="2120"/>
                </a:cubicBezTo>
                <a:close/>
                <a:moveTo>
                  <a:pt x="3643" y="5394"/>
                </a:moveTo>
                <a:lnTo>
                  <a:pt x="3643" y="5858"/>
                </a:lnTo>
                <a:cubicBezTo>
                  <a:pt x="3500" y="5912"/>
                  <a:pt x="3361" y="5939"/>
                  <a:pt x="3222" y="5939"/>
                </a:cubicBezTo>
                <a:cubicBezTo>
                  <a:pt x="3084" y="5939"/>
                  <a:pt x="2947" y="5912"/>
                  <a:pt x="2810" y="5858"/>
                </a:cubicBezTo>
                <a:lnTo>
                  <a:pt x="2810" y="5394"/>
                </a:lnTo>
                <a:cubicBezTo>
                  <a:pt x="2947" y="5442"/>
                  <a:pt x="3090" y="5465"/>
                  <a:pt x="3231" y="5465"/>
                </a:cubicBezTo>
                <a:cubicBezTo>
                  <a:pt x="3372" y="5465"/>
                  <a:pt x="3512" y="5442"/>
                  <a:pt x="3643" y="5394"/>
                </a:cubicBezTo>
                <a:close/>
                <a:moveTo>
                  <a:pt x="2619" y="6144"/>
                </a:moveTo>
                <a:cubicBezTo>
                  <a:pt x="2703" y="6180"/>
                  <a:pt x="2798" y="6215"/>
                  <a:pt x="2881" y="6227"/>
                </a:cubicBezTo>
                <a:lnTo>
                  <a:pt x="2524" y="6573"/>
                </a:lnTo>
                <a:lnTo>
                  <a:pt x="2381" y="6144"/>
                </a:lnTo>
                <a:close/>
                <a:moveTo>
                  <a:pt x="3929" y="6144"/>
                </a:moveTo>
                <a:cubicBezTo>
                  <a:pt x="3989" y="6144"/>
                  <a:pt x="4036" y="6144"/>
                  <a:pt x="4060" y="6156"/>
                </a:cubicBezTo>
                <a:lnTo>
                  <a:pt x="3917" y="6573"/>
                </a:lnTo>
                <a:lnTo>
                  <a:pt x="3572" y="6215"/>
                </a:lnTo>
                <a:cubicBezTo>
                  <a:pt x="3643" y="6204"/>
                  <a:pt x="3739" y="6168"/>
                  <a:pt x="3810" y="6144"/>
                </a:cubicBezTo>
                <a:close/>
                <a:moveTo>
                  <a:pt x="2060" y="6227"/>
                </a:moveTo>
                <a:lnTo>
                  <a:pt x="2477" y="7370"/>
                </a:lnTo>
                <a:lnTo>
                  <a:pt x="2238" y="6954"/>
                </a:lnTo>
                <a:cubicBezTo>
                  <a:pt x="2203" y="6892"/>
                  <a:pt x="2149" y="6856"/>
                  <a:pt x="2094" y="6856"/>
                </a:cubicBezTo>
                <a:cubicBezTo>
                  <a:pt x="2074" y="6856"/>
                  <a:pt x="2055" y="6861"/>
                  <a:pt x="2036" y="6870"/>
                </a:cubicBezTo>
                <a:lnTo>
                  <a:pt x="1738" y="6989"/>
                </a:lnTo>
                <a:lnTo>
                  <a:pt x="1738" y="6989"/>
                </a:lnTo>
                <a:lnTo>
                  <a:pt x="1976" y="6239"/>
                </a:lnTo>
                <a:cubicBezTo>
                  <a:pt x="2012" y="6227"/>
                  <a:pt x="2036" y="6227"/>
                  <a:pt x="2060" y="6227"/>
                </a:cubicBezTo>
                <a:close/>
                <a:moveTo>
                  <a:pt x="4405" y="6204"/>
                </a:moveTo>
                <a:cubicBezTo>
                  <a:pt x="4453" y="6215"/>
                  <a:pt x="4512" y="6227"/>
                  <a:pt x="4548" y="6239"/>
                </a:cubicBezTo>
                <a:lnTo>
                  <a:pt x="4763" y="6977"/>
                </a:lnTo>
                <a:lnTo>
                  <a:pt x="4465" y="6858"/>
                </a:lnTo>
                <a:cubicBezTo>
                  <a:pt x="4446" y="6849"/>
                  <a:pt x="4425" y="6844"/>
                  <a:pt x="4404" y="6844"/>
                </a:cubicBezTo>
                <a:cubicBezTo>
                  <a:pt x="4347" y="6844"/>
                  <a:pt x="4292" y="6877"/>
                  <a:pt x="4274" y="6930"/>
                </a:cubicBezTo>
                <a:lnTo>
                  <a:pt x="3953" y="7477"/>
                </a:lnTo>
                <a:lnTo>
                  <a:pt x="3953" y="7477"/>
                </a:lnTo>
                <a:lnTo>
                  <a:pt x="4405" y="6204"/>
                </a:lnTo>
                <a:close/>
                <a:moveTo>
                  <a:pt x="3239" y="6334"/>
                </a:moveTo>
                <a:lnTo>
                  <a:pt x="3798" y="6918"/>
                </a:lnTo>
                <a:lnTo>
                  <a:pt x="3239" y="8501"/>
                </a:lnTo>
                <a:lnTo>
                  <a:pt x="2667" y="6918"/>
                </a:lnTo>
                <a:lnTo>
                  <a:pt x="3239" y="6334"/>
                </a:lnTo>
                <a:close/>
                <a:moveTo>
                  <a:pt x="4953" y="6477"/>
                </a:moveTo>
                <a:cubicBezTo>
                  <a:pt x="5251" y="6704"/>
                  <a:pt x="5465" y="7037"/>
                  <a:pt x="5560" y="7406"/>
                </a:cubicBezTo>
                <a:lnTo>
                  <a:pt x="6025" y="9311"/>
                </a:lnTo>
                <a:cubicBezTo>
                  <a:pt x="6084" y="9573"/>
                  <a:pt x="5965" y="9871"/>
                  <a:pt x="5715" y="10025"/>
                </a:cubicBezTo>
                <a:cubicBezTo>
                  <a:pt x="4941" y="10466"/>
                  <a:pt x="4167" y="10692"/>
                  <a:pt x="3405" y="10740"/>
                </a:cubicBezTo>
                <a:lnTo>
                  <a:pt x="3405" y="9061"/>
                </a:lnTo>
                <a:lnTo>
                  <a:pt x="4477" y="7227"/>
                </a:lnTo>
                <a:lnTo>
                  <a:pt x="4965" y="7406"/>
                </a:lnTo>
                <a:cubicBezTo>
                  <a:pt x="4983" y="7413"/>
                  <a:pt x="5002" y="7417"/>
                  <a:pt x="5020" y="7417"/>
                </a:cubicBezTo>
                <a:cubicBezTo>
                  <a:pt x="5123" y="7417"/>
                  <a:pt x="5220" y="7313"/>
                  <a:pt x="5179" y="7192"/>
                </a:cubicBezTo>
                <a:lnTo>
                  <a:pt x="4953" y="6477"/>
                </a:lnTo>
                <a:close/>
                <a:moveTo>
                  <a:pt x="2605" y="0"/>
                </a:moveTo>
                <a:cubicBezTo>
                  <a:pt x="1565" y="0"/>
                  <a:pt x="665" y="872"/>
                  <a:pt x="655" y="1977"/>
                </a:cubicBezTo>
                <a:cubicBezTo>
                  <a:pt x="655" y="2465"/>
                  <a:pt x="679" y="2989"/>
                  <a:pt x="774" y="3584"/>
                </a:cubicBezTo>
                <a:cubicBezTo>
                  <a:pt x="833" y="3977"/>
                  <a:pt x="1191" y="4299"/>
                  <a:pt x="1584" y="4299"/>
                </a:cubicBezTo>
                <a:lnTo>
                  <a:pt x="1691" y="4299"/>
                </a:lnTo>
                <a:cubicBezTo>
                  <a:pt x="1834" y="4691"/>
                  <a:pt x="2096" y="5013"/>
                  <a:pt x="2465" y="5203"/>
                </a:cubicBezTo>
                <a:lnTo>
                  <a:pt x="2465" y="5823"/>
                </a:lnTo>
                <a:cubicBezTo>
                  <a:pt x="1619" y="5846"/>
                  <a:pt x="786" y="6418"/>
                  <a:pt x="560" y="7347"/>
                </a:cubicBezTo>
                <a:lnTo>
                  <a:pt x="488" y="7644"/>
                </a:lnTo>
                <a:cubicBezTo>
                  <a:pt x="476" y="7728"/>
                  <a:pt x="524" y="7823"/>
                  <a:pt x="607" y="7835"/>
                </a:cubicBezTo>
                <a:cubicBezTo>
                  <a:pt x="617" y="7836"/>
                  <a:pt x="628" y="7837"/>
                  <a:pt x="638" y="7837"/>
                </a:cubicBezTo>
                <a:cubicBezTo>
                  <a:pt x="713" y="7837"/>
                  <a:pt x="787" y="7799"/>
                  <a:pt x="798" y="7716"/>
                </a:cubicBezTo>
                <a:lnTo>
                  <a:pt x="869" y="7418"/>
                </a:lnTo>
                <a:cubicBezTo>
                  <a:pt x="976" y="7001"/>
                  <a:pt x="1214" y="6680"/>
                  <a:pt x="1548" y="6454"/>
                </a:cubicBezTo>
                <a:lnTo>
                  <a:pt x="1548" y="6454"/>
                </a:lnTo>
                <a:lnTo>
                  <a:pt x="1310" y="7216"/>
                </a:lnTo>
                <a:cubicBezTo>
                  <a:pt x="1269" y="7326"/>
                  <a:pt x="1357" y="7429"/>
                  <a:pt x="1457" y="7429"/>
                </a:cubicBezTo>
                <a:cubicBezTo>
                  <a:pt x="1475" y="7429"/>
                  <a:pt x="1494" y="7425"/>
                  <a:pt x="1512" y="7418"/>
                </a:cubicBezTo>
                <a:lnTo>
                  <a:pt x="2012" y="7239"/>
                </a:lnTo>
                <a:lnTo>
                  <a:pt x="3084" y="9073"/>
                </a:lnTo>
                <a:lnTo>
                  <a:pt x="3084" y="10764"/>
                </a:lnTo>
                <a:cubicBezTo>
                  <a:pt x="2310" y="10740"/>
                  <a:pt x="1512" y="10514"/>
                  <a:pt x="714" y="10049"/>
                </a:cubicBezTo>
                <a:cubicBezTo>
                  <a:pt x="452" y="9906"/>
                  <a:pt x="345" y="9621"/>
                  <a:pt x="417" y="9335"/>
                </a:cubicBezTo>
                <a:lnTo>
                  <a:pt x="607" y="8501"/>
                </a:lnTo>
                <a:cubicBezTo>
                  <a:pt x="619" y="8418"/>
                  <a:pt x="572" y="8323"/>
                  <a:pt x="488" y="8311"/>
                </a:cubicBezTo>
                <a:cubicBezTo>
                  <a:pt x="480" y="8310"/>
                  <a:pt x="471" y="8309"/>
                  <a:pt x="462" y="8309"/>
                </a:cubicBezTo>
                <a:cubicBezTo>
                  <a:pt x="386" y="8309"/>
                  <a:pt x="308" y="8355"/>
                  <a:pt x="298" y="8430"/>
                </a:cubicBezTo>
                <a:lnTo>
                  <a:pt x="107" y="9263"/>
                </a:lnTo>
                <a:cubicBezTo>
                  <a:pt x="0" y="9680"/>
                  <a:pt x="191" y="10133"/>
                  <a:pt x="560" y="10335"/>
                </a:cubicBezTo>
                <a:cubicBezTo>
                  <a:pt x="1447" y="10841"/>
                  <a:pt x="2337" y="11094"/>
                  <a:pt x="3225" y="11094"/>
                </a:cubicBezTo>
                <a:cubicBezTo>
                  <a:pt x="4114" y="11094"/>
                  <a:pt x="5001" y="10841"/>
                  <a:pt x="5882" y="10335"/>
                </a:cubicBezTo>
                <a:cubicBezTo>
                  <a:pt x="6251" y="10085"/>
                  <a:pt x="6441" y="9656"/>
                  <a:pt x="6334" y="9240"/>
                </a:cubicBezTo>
                <a:lnTo>
                  <a:pt x="5882" y="7335"/>
                </a:lnTo>
                <a:cubicBezTo>
                  <a:pt x="5655" y="6394"/>
                  <a:pt x="4786" y="5823"/>
                  <a:pt x="3977" y="5811"/>
                </a:cubicBezTo>
                <a:lnTo>
                  <a:pt x="3977" y="5191"/>
                </a:lnTo>
                <a:cubicBezTo>
                  <a:pt x="4334" y="4989"/>
                  <a:pt x="4608" y="4668"/>
                  <a:pt x="4751" y="4275"/>
                </a:cubicBezTo>
                <a:lnTo>
                  <a:pt x="4774" y="4275"/>
                </a:lnTo>
                <a:cubicBezTo>
                  <a:pt x="5191" y="4275"/>
                  <a:pt x="5548" y="3965"/>
                  <a:pt x="5596" y="3548"/>
                </a:cubicBezTo>
                <a:cubicBezTo>
                  <a:pt x="5644" y="3144"/>
                  <a:pt x="5667" y="2786"/>
                  <a:pt x="5703" y="2453"/>
                </a:cubicBezTo>
                <a:cubicBezTo>
                  <a:pt x="5703" y="2358"/>
                  <a:pt x="5644" y="2286"/>
                  <a:pt x="5548" y="2263"/>
                </a:cubicBezTo>
                <a:cubicBezTo>
                  <a:pt x="5542" y="2262"/>
                  <a:pt x="5536" y="2261"/>
                  <a:pt x="5530" y="2261"/>
                </a:cubicBezTo>
                <a:cubicBezTo>
                  <a:pt x="5453" y="2261"/>
                  <a:pt x="5381" y="2329"/>
                  <a:pt x="5370" y="2417"/>
                </a:cubicBezTo>
                <a:cubicBezTo>
                  <a:pt x="5358" y="2763"/>
                  <a:pt x="5322" y="3108"/>
                  <a:pt x="5286" y="3501"/>
                </a:cubicBezTo>
                <a:cubicBezTo>
                  <a:pt x="5251" y="3739"/>
                  <a:pt x="5060" y="3918"/>
                  <a:pt x="4834" y="3929"/>
                </a:cubicBezTo>
                <a:cubicBezTo>
                  <a:pt x="4870" y="3596"/>
                  <a:pt x="4834" y="4144"/>
                  <a:pt x="4846" y="2536"/>
                </a:cubicBezTo>
                <a:cubicBezTo>
                  <a:pt x="4846" y="2524"/>
                  <a:pt x="4834" y="2489"/>
                  <a:pt x="4822" y="2477"/>
                </a:cubicBezTo>
                <a:cubicBezTo>
                  <a:pt x="4810" y="2465"/>
                  <a:pt x="4810" y="2429"/>
                  <a:pt x="4786" y="2417"/>
                </a:cubicBezTo>
                <a:cubicBezTo>
                  <a:pt x="4774" y="2405"/>
                  <a:pt x="4751" y="2405"/>
                  <a:pt x="4727" y="2382"/>
                </a:cubicBezTo>
                <a:cubicBezTo>
                  <a:pt x="4715" y="2382"/>
                  <a:pt x="4703" y="2358"/>
                  <a:pt x="4667" y="2358"/>
                </a:cubicBezTo>
                <a:cubicBezTo>
                  <a:pt x="3560" y="2346"/>
                  <a:pt x="2798" y="1774"/>
                  <a:pt x="2798" y="1774"/>
                </a:cubicBezTo>
                <a:cubicBezTo>
                  <a:pt x="2770" y="1752"/>
                  <a:pt x="2731" y="1740"/>
                  <a:pt x="2692" y="1740"/>
                </a:cubicBezTo>
                <a:cubicBezTo>
                  <a:pt x="2648" y="1740"/>
                  <a:pt x="2603" y="1755"/>
                  <a:pt x="2572" y="1786"/>
                </a:cubicBezTo>
                <a:cubicBezTo>
                  <a:pt x="2572" y="1786"/>
                  <a:pt x="2203" y="2179"/>
                  <a:pt x="1726" y="2370"/>
                </a:cubicBezTo>
                <a:cubicBezTo>
                  <a:pt x="1715" y="2370"/>
                  <a:pt x="1715" y="2382"/>
                  <a:pt x="1691" y="2405"/>
                </a:cubicBezTo>
                <a:cubicBezTo>
                  <a:pt x="1667" y="2417"/>
                  <a:pt x="1631" y="2465"/>
                  <a:pt x="1631" y="2513"/>
                </a:cubicBezTo>
                <a:cubicBezTo>
                  <a:pt x="1631" y="2524"/>
                  <a:pt x="1619" y="2524"/>
                  <a:pt x="1619" y="2536"/>
                </a:cubicBezTo>
                <a:lnTo>
                  <a:pt x="1619" y="3787"/>
                </a:lnTo>
                <a:cubicBezTo>
                  <a:pt x="1619" y="3846"/>
                  <a:pt x="1631" y="3906"/>
                  <a:pt x="1631" y="3953"/>
                </a:cubicBezTo>
                <a:lnTo>
                  <a:pt x="1595" y="3953"/>
                </a:lnTo>
                <a:cubicBezTo>
                  <a:pt x="1334" y="3953"/>
                  <a:pt x="1131" y="3775"/>
                  <a:pt x="1095" y="3525"/>
                </a:cubicBezTo>
                <a:cubicBezTo>
                  <a:pt x="1024" y="2953"/>
                  <a:pt x="976" y="2453"/>
                  <a:pt x="976" y="1977"/>
                </a:cubicBezTo>
                <a:cubicBezTo>
                  <a:pt x="976" y="1054"/>
                  <a:pt x="1746" y="325"/>
                  <a:pt x="2616" y="325"/>
                </a:cubicBezTo>
                <a:cubicBezTo>
                  <a:pt x="2802" y="325"/>
                  <a:pt x="2991" y="358"/>
                  <a:pt x="3179" y="429"/>
                </a:cubicBezTo>
                <a:cubicBezTo>
                  <a:pt x="3381" y="500"/>
                  <a:pt x="3536" y="608"/>
                  <a:pt x="3679" y="739"/>
                </a:cubicBezTo>
                <a:cubicBezTo>
                  <a:pt x="3709" y="768"/>
                  <a:pt x="3753" y="783"/>
                  <a:pt x="3798" y="783"/>
                </a:cubicBezTo>
                <a:cubicBezTo>
                  <a:pt x="3843" y="783"/>
                  <a:pt x="3887" y="768"/>
                  <a:pt x="3917" y="739"/>
                </a:cubicBezTo>
                <a:lnTo>
                  <a:pt x="3929" y="727"/>
                </a:lnTo>
                <a:cubicBezTo>
                  <a:pt x="4081" y="557"/>
                  <a:pt x="4294" y="466"/>
                  <a:pt x="4511" y="466"/>
                </a:cubicBezTo>
                <a:cubicBezTo>
                  <a:pt x="4599" y="466"/>
                  <a:pt x="4688" y="481"/>
                  <a:pt x="4774" y="512"/>
                </a:cubicBezTo>
                <a:cubicBezTo>
                  <a:pt x="5084" y="619"/>
                  <a:pt x="5298" y="881"/>
                  <a:pt x="5322" y="1215"/>
                </a:cubicBezTo>
                <a:cubicBezTo>
                  <a:pt x="5322" y="1262"/>
                  <a:pt x="5334" y="1298"/>
                  <a:pt x="5334" y="1334"/>
                </a:cubicBezTo>
                <a:cubicBezTo>
                  <a:pt x="5358" y="1465"/>
                  <a:pt x="5358" y="1524"/>
                  <a:pt x="5358" y="1715"/>
                </a:cubicBezTo>
                <a:cubicBezTo>
                  <a:pt x="5358" y="1810"/>
                  <a:pt x="5429" y="1882"/>
                  <a:pt x="5513" y="1882"/>
                </a:cubicBezTo>
                <a:cubicBezTo>
                  <a:pt x="5608" y="1882"/>
                  <a:pt x="5679" y="1810"/>
                  <a:pt x="5679" y="1715"/>
                </a:cubicBezTo>
                <a:cubicBezTo>
                  <a:pt x="5679" y="1512"/>
                  <a:pt x="5679" y="1441"/>
                  <a:pt x="5667" y="1298"/>
                </a:cubicBezTo>
                <a:cubicBezTo>
                  <a:pt x="5667" y="1274"/>
                  <a:pt x="5667" y="1227"/>
                  <a:pt x="5655" y="1179"/>
                </a:cubicBezTo>
                <a:cubicBezTo>
                  <a:pt x="5608" y="739"/>
                  <a:pt x="5310" y="369"/>
                  <a:pt x="4893" y="215"/>
                </a:cubicBezTo>
                <a:cubicBezTo>
                  <a:pt x="4768" y="171"/>
                  <a:pt x="4639" y="150"/>
                  <a:pt x="4512" y="150"/>
                </a:cubicBezTo>
                <a:cubicBezTo>
                  <a:pt x="4254" y="150"/>
                  <a:pt x="4002" y="238"/>
                  <a:pt x="3786" y="405"/>
                </a:cubicBezTo>
                <a:cubicBezTo>
                  <a:pt x="3643" y="286"/>
                  <a:pt x="3477" y="203"/>
                  <a:pt x="3298" y="131"/>
                </a:cubicBezTo>
                <a:cubicBezTo>
                  <a:pt x="3066" y="42"/>
                  <a:pt x="2832" y="0"/>
                  <a:pt x="260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63" name="Google Shape;10263;p59"/>
          <p:cNvGrpSpPr/>
          <p:nvPr/>
        </p:nvGrpSpPr>
        <p:grpSpPr>
          <a:xfrm>
            <a:off x="5833775" y="3809445"/>
            <a:ext cx="235185" cy="352253"/>
            <a:chOff x="5833775" y="3809445"/>
            <a:chExt cx="235185" cy="352253"/>
          </a:xfrm>
        </p:grpSpPr>
        <p:sp>
          <p:nvSpPr>
            <p:cNvPr id="10264" name="Google Shape;10264;p59"/>
            <p:cNvSpPr/>
            <p:nvPr/>
          </p:nvSpPr>
          <p:spPr>
            <a:xfrm>
              <a:off x="5859195" y="3855953"/>
              <a:ext cx="168417" cy="206866"/>
            </a:xfrm>
            <a:custGeom>
              <a:avLst/>
              <a:gdLst/>
              <a:ahLst/>
              <a:cxnLst/>
              <a:rect l="l" t="t" r="r" b="b"/>
              <a:pathLst>
                <a:path w="5287" h="6494" extrusionOk="0">
                  <a:moveTo>
                    <a:pt x="2584" y="1"/>
                  </a:moveTo>
                  <a:cubicBezTo>
                    <a:pt x="2489" y="1"/>
                    <a:pt x="2417" y="72"/>
                    <a:pt x="2417" y="156"/>
                  </a:cubicBezTo>
                  <a:cubicBezTo>
                    <a:pt x="2417" y="251"/>
                    <a:pt x="2489" y="322"/>
                    <a:pt x="2584" y="322"/>
                  </a:cubicBezTo>
                  <a:cubicBezTo>
                    <a:pt x="2894" y="334"/>
                    <a:pt x="3144" y="370"/>
                    <a:pt x="3489" y="501"/>
                  </a:cubicBezTo>
                  <a:cubicBezTo>
                    <a:pt x="4501" y="930"/>
                    <a:pt x="4679" y="2227"/>
                    <a:pt x="4406" y="3299"/>
                  </a:cubicBezTo>
                  <a:cubicBezTo>
                    <a:pt x="4513" y="2477"/>
                    <a:pt x="4275" y="1787"/>
                    <a:pt x="3691" y="1215"/>
                  </a:cubicBezTo>
                  <a:cubicBezTo>
                    <a:pt x="3607" y="1131"/>
                    <a:pt x="3484" y="1077"/>
                    <a:pt x="3356" y="1077"/>
                  </a:cubicBezTo>
                  <a:cubicBezTo>
                    <a:pt x="3285" y="1077"/>
                    <a:pt x="3212" y="1094"/>
                    <a:pt x="3144" y="1132"/>
                  </a:cubicBezTo>
                  <a:cubicBezTo>
                    <a:pt x="2977" y="1215"/>
                    <a:pt x="2894" y="1430"/>
                    <a:pt x="2953" y="1620"/>
                  </a:cubicBezTo>
                  <a:cubicBezTo>
                    <a:pt x="3632" y="4013"/>
                    <a:pt x="2834" y="5085"/>
                    <a:pt x="1298" y="5502"/>
                  </a:cubicBezTo>
                  <a:cubicBezTo>
                    <a:pt x="1191" y="5537"/>
                    <a:pt x="1191" y="5609"/>
                    <a:pt x="881" y="6049"/>
                  </a:cubicBezTo>
                  <a:cubicBezTo>
                    <a:pt x="845" y="6112"/>
                    <a:pt x="789" y="6141"/>
                    <a:pt x="732" y="6141"/>
                  </a:cubicBezTo>
                  <a:cubicBezTo>
                    <a:pt x="714" y="6141"/>
                    <a:pt x="696" y="6138"/>
                    <a:pt x="679" y="6133"/>
                  </a:cubicBezTo>
                  <a:cubicBezTo>
                    <a:pt x="560" y="6097"/>
                    <a:pt x="500" y="5966"/>
                    <a:pt x="560" y="5859"/>
                  </a:cubicBezTo>
                  <a:cubicBezTo>
                    <a:pt x="750" y="5442"/>
                    <a:pt x="1072" y="4894"/>
                    <a:pt x="941" y="3739"/>
                  </a:cubicBezTo>
                  <a:lnTo>
                    <a:pt x="941" y="3739"/>
                  </a:lnTo>
                  <a:lnTo>
                    <a:pt x="1786" y="4335"/>
                  </a:lnTo>
                  <a:cubicBezTo>
                    <a:pt x="1878" y="4393"/>
                    <a:pt x="1981" y="4421"/>
                    <a:pt x="2083" y="4421"/>
                  </a:cubicBezTo>
                  <a:cubicBezTo>
                    <a:pt x="2232" y="4421"/>
                    <a:pt x="2378" y="4360"/>
                    <a:pt x="2477" y="4240"/>
                  </a:cubicBezTo>
                  <a:cubicBezTo>
                    <a:pt x="2655" y="4013"/>
                    <a:pt x="2620" y="3644"/>
                    <a:pt x="2370" y="3478"/>
                  </a:cubicBezTo>
                  <a:lnTo>
                    <a:pt x="2024" y="3239"/>
                  </a:lnTo>
                  <a:cubicBezTo>
                    <a:pt x="1536" y="2882"/>
                    <a:pt x="1250" y="2323"/>
                    <a:pt x="1250" y="1704"/>
                  </a:cubicBezTo>
                  <a:cubicBezTo>
                    <a:pt x="1262" y="1192"/>
                    <a:pt x="1405" y="739"/>
                    <a:pt x="1893" y="477"/>
                  </a:cubicBezTo>
                  <a:cubicBezTo>
                    <a:pt x="1965" y="430"/>
                    <a:pt x="2001" y="322"/>
                    <a:pt x="1953" y="251"/>
                  </a:cubicBezTo>
                  <a:cubicBezTo>
                    <a:pt x="1920" y="202"/>
                    <a:pt x="1865" y="170"/>
                    <a:pt x="1807" y="170"/>
                  </a:cubicBezTo>
                  <a:cubicBezTo>
                    <a:pt x="1780" y="170"/>
                    <a:pt x="1753" y="176"/>
                    <a:pt x="1727" y="191"/>
                  </a:cubicBezTo>
                  <a:cubicBezTo>
                    <a:pt x="1346" y="406"/>
                    <a:pt x="1060" y="775"/>
                    <a:pt x="989" y="1203"/>
                  </a:cubicBezTo>
                  <a:cubicBezTo>
                    <a:pt x="798" y="2192"/>
                    <a:pt x="1167" y="3001"/>
                    <a:pt x="1834" y="3489"/>
                  </a:cubicBezTo>
                  <a:cubicBezTo>
                    <a:pt x="1839" y="3493"/>
                    <a:pt x="1841" y="3494"/>
                    <a:pt x="1841" y="3494"/>
                  </a:cubicBezTo>
                  <a:cubicBezTo>
                    <a:pt x="1840" y="3494"/>
                    <a:pt x="1839" y="3493"/>
                    <a:pt x="1839" y="3493"/>
                  </a:cubicBezTo>
                  <a:lnTo>
                    <a:pt x="1839" y="3493"/>
                  </a:lnTo>
                  <a:cubicBezTo>
                    <a:pt x="1837" y="3493"/>
                    <a:pt x="1859" y="3512"/>
                    <a:pt x="2179" y="3739"/>
                  </a:cubicBezTo>
                  <a:cubicBezTo>
                    <a:pt x="2263" y="3811"/>
                    <a:pt x="2286" y="3954"/>
                    <a:pt x="2215" y="4037"/>
                  </a:cubicBezTo>
                  <a:cubicBezTo>
                    <a:pt x="2182" y="4076"/>
                    <a:pt x="2139" y="4094"/>
                    <a:pt x="2094" y="4094"/>
                  </a:cubicBezTo>
                  <a:cubicBezTo>
                    <a:pt x="2058" y="4094"/>
                    <a:pt x="2021" y="4082"/>
                    <a:pt x="1989" y="4061"/>
                  </a:cubicBezTo>
                  <a:lnTo>
                    <a:pt x="1072" y="3418"/>
                  </a:lnTo>
                  <a:cubicBezTo>
                    <a:pt x="1022" y="3383"/>
                    <a:pt x="967" y="3367"/>
                    <a:pt x="914" y="3367"/>
                  </a:cubicBezTo>
                  <a:cubicBezTo>
                    <a:pt x="748" y="3367"/>
                    <a:pt x="593" y="3515"/>
                    <a:pt x="619" y="3704"/>
                  </a:cubicBezTo>
                  <a:cubicBezTo>
                    <a:pt x="822" y="5371"/>
                    <a:pt x="0" y="5597"/>
                    <a:pt x="238" y="6133"/>
                  </a:cubicBezTo>
                  <a:cubicBezTo>
                    <a:pt x="329" y="6327"/>
                    <a:pt x="521" y="6429"/>
                    <a:pt x="712" y="6429"/>
                  </a:cubicBezTo>
                  <a:cubicBezTo>
                    <a:pt x="873" y="6429"/>
                    <a:pt x="1033" y="6356"/>
                    <a:pt x="1131" y="6204"/>
                  </a:cubicBezTo>
                  <a:lnTo>
                    <a:pt x="1417" y="5775"/>
                  </a:lnTo>
                  <a:cubicBezTo>
                    <a:pt x="3477" y="5180"/>
                    <a:pt x="3834" y="3585"/>
                    <a:pt x="3239" y="1501"/>
                  </a:cubicBezTo>
                  <a:cubicBezTo>
                    <a:pt x="3221" y="1449"/>
                    <a:pt x="3242" y="1370"/>
                    <a:pt x="3321" y="1370"/>
                  </a:cubicBezTo>
                  <a:cubicBezTo>
                    <a:pt x="3349" y="1370"/>
                    <a:pt x="3385" y="1381"/>
                    <a:pt x="3429" y="1406"/>
                  </a:cubicBezTo>
                  <a:cubicBezTo>
                    <a:pt x="3429" y="1406"/>
                    <a:pt x="3441" y="1406"/>
                    <a:pt x="3441" y="1430"/>
                  </a:cubicBezTo>
                  <a:cubicBezTo>
                    <a:pt x="4525" y="2501"/>
                    <a:pt x="4251" y="4013"/>
                    <a:pt x="2560" y="6228"/>
                  </a:cubicBezTo>
                  <a:cubicBezTo>
                    <a:pt x="2501" y="6311"/>
                    <a:pt x="2513" y="6395"/>
                    <a:pt x="2596" y="6454"/>
                  </a:cubicBezTo>
                  <a:cubicBezTo>
                    <a:pt x="2623" y="6481"/>
                    <a:pt x="2657" y="6493"/>
                    <a:pt x="2692" y="6493"/>
                  </a:cubicBezTo>
                  <a:cubicBezTo>
                    <a:pt x="2734" y="6493"/>
                    <a:pt x="2777" y="6475"/>
                    <a:pt x="2810" y="6442"/>
                  </a:cubicBezTo>
                  <a:cubicBezTo>
                    <a:pt x="4120" y="5013"/>
                    <a:pt x="5287" y="3180"/>
                    <a:pt x="4668" y="1346"/>
                  </a:cubicBezTo>
                  <a:cubicBezTo>
                    <a:pt x="4370" y="453"/>
                    <a:pt x="3513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5" name="Google Shape;10265;p59"/>
            <p:cNvSpPr/>
            <p:nvPr/>
          </p:nvSpPr>
          <p:spPr>
            <a:xfrm>
              <a:off x="5833775" y="4034946"/>
              <a:ext cx="128981" cy="126751"/>
            </a:xfrm>
            <a:custGeom>
              <a:avLst/>
              <a:gdLst/>
              <a:ahLst/>
              <a:cxnLst/>
              <a:rect l="l" t="t" r="r" b="b"/>
              <a:pathLst>
                <a:path w="4049" h="3979" extrusionOk="0">
                  <a:moveTo>
                    <a:pt x="179" y="0"/>
                  </a:moveTo>
                  <a:cubicBezTo>
                    <a:pt x="171" y="0"/>
                    <a:pt x="163" y="1"/>
                    <a:pt x="155" y="2"/>
                  </a:cubicBezTo>
                  <a:cubicBezTo>
                    <a:pt x="72" y="25"/>
                    <a:pt x="13" y="97"/>
                    <a:pt x="24" y="180"/>
                  </a:cubicBezTo>
                  <a:cubicBezTo>
                    <a:pt x="120" y="811"/>
                    <a:pt x="132" y="1407"/>
                    <a:pt x="72" y="1954"/>
                  </a:cubicBezTo>
                  <a:cubicBezTo>
                    <a:pt x="1" y="2597"/>
                    <a:pt x="239" y="3204"/>
                    <a:pt x="715" y="3597"/>
                  </a:cubicBezTo>
                  <a:cubicBezTo>
                    <a:pt x="1036" y="3847"/>
                    <a:pt x="1394" y="3978"/>
                    <a:pt x="1810" y="3978"/>
                  </a:cubicBezTo>
                  <a:cubicBezTo>
                    <a:pt x="2441" y="3978"/>
                    <a:pt x="3013" y="3669"/>
                    <a:pt x="3394" y="3145"/>
                  </a:cubicBezTo>
                  <a:lnTo>
                    <a:pt x="3989" y="2311"/>
                  </a:lnTo>
                  <a:cubicBezTo>
                    <a:pt x="4049" y="2228"/>
                    <a:pt x="3977" y="2073"/>
                    <a:pt x="3834" y="2073"/>
                  </a:cubicBezTo>
                  <a:cubicBezTo>
                    <a:pt x="3834" y="2073"/>
                    <a:pt x="3831" y="2073"/>
                    <a:pt x="3825" y="2073"/>
                  </a:cubicBezTo>
                  <a:cubicBezTo>
                    <a:pt x="3793" y="2073"/>
                    <a:pt x="3686" y="2082"/>
                    <a:pt x="3656" y="2192"/>
                  </a:cubicBezTo>
                  <a:lnTo>
                    <a:pt x="3108" y="2966"/>
                  </a:lnTo>
                  <a:cubicBezTo>
                    <a:pt x="2633" y="3632"/>
                    <a:pt x="1970" y="3669"/>
                    <a:pt x="1826" y="3669"/>
                  </a:cubicBezTo>
                  <a:cubicBezTo>
                    <a:pt x="1808" y="3669"/>
                    <a:pt x="1798" y="3669"/>
                    <a:pt x="1798" y="3669"/>
                  </a:cubicBezTo>
                  <a:cubicBezTo>
                    <a:pt x="929" y="3669"/>
                    <a:pt x="263" y="2907"/>
                    <a:pt x="382" y="2002"/>
                  </a:cubicBezTo>
                  <a:cubicBezTo>
                    <a:pt x="453" y="1419"/>
                    <a:pt x="441" y="799"/>
                    <a:pt x="334" y="145"/>
                  </a:cubicBezTo>
                  <a:cubicBezTo>
                    <a:pt x="323" y="57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6" name="Google Shape;10266;p59"/>
            <p:cNvSpPr/>
            <p:nvPr/>
          </p:nvSpPr>
          <p:spPr>
            <a:xfrm>
              <a:off x="5836068" y="3809445"/>
              <a:ext cx="232892" cy="278285"/>
            </a:xfrm>
            <a:custGeom>
              <a:avLst/>
              <a:gdLst/>
              <a:ahLst/>
              <a:cxnLst/>
              <a:rect l="l" t="t" r="r" b="b"/>
              <a:pathLst>
                <a:path w="7311" h="8736" extrusionOk="0">
                  <a:moveTo>
                    <a:pt x="3693" y="0"/>
                  </a:moveTo>
                  <a:cubicBezTo>
                    <a:pt x="3479" y="0"/>
                    <a:pt x="3263" y="26"/>
                    <a:pt x="3048" y="80"/>
                  </a:cubicBezTo>
                  <a:cubicBezTo>
                    <a:pt x="2334" y="258"/>
                    <a:pt x="1774" y="616"/>
                    <a:pt x="1322" y="1128"/>
                  </a:cubicBezTo>
                  <a:cubicBezTo>
                    <a:pt x="1012" y="1473"/>
                    <a:pt x="631" y="1663"/>
                    <a:pt x="167" y="1699"/>
                  </a:cubicBezTo>
                  <a:cubicBezTo>
                    <a:pt x="71" y="1699"/>
                    <a:pt x="0" y="1782"/>
                    <a:pt x="12" y="1878"/>
                  </a:cubicBezTo>
                  <a:cubicBezTo>
                    <a:pt x="12" y="1951"/>
                    <a:pt x="86" y="2025"/>
                    <a:pt x="161" y="2025"/>
                  </a:cubicBezTo>
                  <a:cubicBezTo>
                    <a:pt x="171" y="2025"/>
                    <a:pt x="181" y="2023"/>
                    <a:pt x="191" y="2021"/>
                  </a:cubicBezTo>
                  <a:cubicBezTo>
                    <a:pt x="726" y="1985"/>
                    <a:pt x="1226" y="1759"/>
                    <a:pt x="1584" y="1342"/>
                  </a:cubicBezTo>
                  <a:cubicBezTo>
                    <a:pt x="2196" y="655"/>
                    <a:pt x="2970" y="332"/>
                    <a:pt x="3709" y="332"/>
                  </a:cubicBezTo>
                  <a:cubicBezTo>
                    <a:pt x="4637" y="332"/>
                    <a:pt x="5511" y="841"/>
                    <a:pt x="5941" y="1782"/>
                  </a:cubicBezTo>
                  <a:cubicBezTo>
                    <a:pt x="7310" y="4807"/>
                    <a:pt x="4286" y="8247"/>
                    <a:pt x="4167" y="8486"/>
                  </a:cubicBezTo>
                  <a:cubicBezTo>
                    <a:pt x="4096" y="8593"/>
                    <a:pt x="4167" y="8736"/>
                    <a:pt x="4298" y="8736"/>
                  </a:cubicBezTo>
                  <a:cubicBezTo>
                    <a:pt x="4346" y="8736"/>
                    <a:pt x="4405" y="8712"/>
                    <a:pt x="4441" y="8664"/>
                  </a:cubicBezTo>
                  <a:cubicBezTo>
                    <a:pt x="5132" y="7676"/>
                    <a:pt x="5096" y="7736"/>
                    <a:pt x="5108" y="7724"/>
                  </a:cubicBezTo>
                  <a:cubicBezTo>
                    <a:pt x="6298" y="5878"/>
                    <a:pt x="7144" y="3675"/>
                    <a:pt x="6215" y="1651"/>
                  </a:cubicBezTo>
                  <a:cubicBezTo>
                    <a:pt x="5759" y="640"/>
                    <a:pt x="4758" y="0"/>
                    <a:pt x="36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67" name="Google Shape;10267;p59"/>
          <p:cNvGrpSpPr/>
          <p:nvPr/>
        </p:nvGrpSpPr>
        <p:grpSpPr>
          <a:xfrm>
            <a:off x="4942472" y="3809318"/>
            <a:ext cx="238976" cy="352762"/>
            <a:chOff x="4942472" y="3809318"/>
            <a:chExt cx="238976" cy="352762"/>
          </a:xfrm>
        </p:grpSpPr>
        <p:sp>
          <p:nvSpPr>
            <p:cNvPr id="10268" name="Google Shape;10268;p59"/>
            <p:cNvSpPr/>
            <p:nvPr/>
          </p:nvSpPr>
          <p:spPr>
            <a:xfrm>
              <a:off x="4975473" y="3837159"/>
              <a:ext cx="77790" cy="77790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206" y="334"/>
                  </a:moveTo>
                  <a:cubicBezTo>
                    <a:pt x="1372" y="334"/>
                    <a:pt x="1546" y="383"/>
                    <a:pt x="1715" y="496"/>
                  </a:cubicBezTo>
                  <a:lnTo>
                    <a:pt x="489" y="1722"/>
                  </a:lnTo>
                  <a:cubicBezTo>
                    <a:pt x="54" y="1069"/>
                    <a:pt x="566" y="334"/>
                    <a:pt x="1206" y="334"/>
                  </a:cubicBezTo>
                  <a:close/>
                  <a:moveTo>
                    <a:pt x="1941" y="722"/>
                  </a:moveTo>
                  <a:lnTo>
                    <a:pt x="1941" y="722"/>
                  </a:lnTo>
                  <a:cubicBezTo>
                    <a:pt x="2403" y="1372"/>
                    <a:pt x="1880" y="2119"/>
                    <a:pt x="1235" y="2119"/>
                  </a:cubicBezTo>
                  <a:cubicBezTo>
                    <a:pt x="1065" y="2119"/>
                    <a:pt x="886" y="2067"/>
                    <a:pt x="715" y="1948"/>
                  </a:cubicBezTo>
                  <a:lnTo>
                    <a:pt x="1941" y="722"/>
                  </a:lnTo>
                  <a:close/>
                  <a:moveTo>
                    <a:pt x="1243" y="1"/>
                  </a:moveTo>
                  <a:cubicBezTo>
                    <a:pt x="616" y="1"/>
                    <a:pt x="1" y="477"/>
                    <a:pt x="1" y="1210"/>
                  </a:cubicBezTo>
                  <a:cubicBezTo>
                    <a:pt x="1" y="1555"/>
                    <a:pt x="144" y="1853"/>
                    <a:pt x="358" y="2079"/>
                  </a:cubicBezTo>
                  <a:cubicBezTo>
                    <a:pt x="604" y="2330"/>
                    <a:pt x="909" y="2442"/>
                    <a:pt x="1209" y="2442"/>
                  </a:cubicBezTo>
                  <a:cubicBezTo>
                    <a:pt x="1837" y="2442"/>
                    <a:pt x="2442" y="1951"/>
                    <a:pt x="2442" y="1210"/>
                  </a:cubicBezTo>
                  <a:cubicBezTo>
                    <a:pt x="2442" y="889"/>
                    <a:pt x="2311" y="579"/>
                    <a:pt x="2084" y="353"/>
                  </a:cubicBezTo>
                  <a:cubicBezTo>
                    <a:pt x="1845" y="110"/>
                    <a:pt x="1543" y="1"/>
                    <a:pt x="12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9" name="Google Shape;10269;p59"/>
            <p:cNvSpPr/>
            <p:nvPr/>
          </p:nvSpPr>
          <p:spPr>
            <a:xfrm>
              <a:off x="5056640" y="3837000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10" y="339"/>
                  </a:moveTo>
                  <a:cubicBezTo>
                    <a:pt x="1773" y="339"/>
                    <a:pt x="1944" y="388"/>
                    <a:pt x="2108" y="501"/>
                  </a:cubicBezTo>
                  <a:lnTo>
                    <a:pt x="894" y="1727"/>
                  </a:lnTo>
                  <a:cubicBezTo>
                    <a:pt x="459" y="1074"/>
                    <a:pt x="978" y="339"/>
                    <a:pt x="1610" y="339"/>
                  </a:cubicBezTo>
                  <a:close/>
                  <a:moveTo>
                    <a:pt x="2358" y="727"/>
                  </a:moveTo>
                  <a:lnTo>
                    <a:pt x="2358" y="727"/>
                  </a:lnTo>
                  <a:cubicBezTo>
                    <a:pt x="2801" y="1377"/>
                    <a:pt x="2289" y="2124"/>
                    <a:pt x="1649" y="2124"/>
                  </a:cubicBezTo>
                  <a:cubicBezTo>
                    <a:pt x="1481" y="2124"/>
                    <a:pt x="1303" y="2072"/>
                    <a:pt x="1132" y="1953"/>
                  </a:cubicBezTo>
                  <a:lnTo>
                    <a:pt x="2358" y="727"/>
                  </a:lnTo>
                  <a:close/>
                  <a:moveTo>
                    <a:pt x="1620" y="1"/>
                  </a:moveTo>
                  <a:cubicBezTo>
                    <a:pt x="525" y="1"/>
                    <a:pt x="1" y="1358"/>
                    <a:pt x="763" y="2084"/>
                  </a:cubicBezTo>
                  <a:cubicBezTo>
                    <a:pt x="1005" y="2335"/>
                    <a:pt x="1309" y="2447"/>
                    <a:pt x="1609" y="2447"/>
                  </a:cubicBezTo>
                  <a:cubicBezTo>
                    <a:pt x="2236" y="2447"/>
                    <a:pt x="2846" y="1956"/>
                    <a:pt x="2846" y="1215"/>
                  </a:cubicBezTo>
                  <a:cubicBezTo>
                    <a:pt x="2846" y="905"/>
                    <a:pt x="2727" y="596"/>
                    <a:pt x="2489" y="358"/>
                  </a:cubicBezTo>
                  <a:cubicBezTo>
                    <a:pt x="2275" y="143"/>
                    <a:pt x="1965" y="1"/>
                    <a:pt x="1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0" name="Google Shape;10270;p59"/>
            <p:cNvSpPr/>
            <p:nvPr/>
          </p:nvSpPr>
          <p:spPr>
            <a:xfrm>
              <a:off x="4962572" y="3943969"/>
              <a:ext cx="90691" cy="77662"/>
            </a:xfrm>
            <a:custGeom>
              <a:avLst/>
              <a:gdLst/>
              <a:ahLst/>
              <a:cxnLst/>
              <a:rect l="l" t="t" r="r" b="b"/>
              <a:pathLst>
                <a:path w="2847" h="2438" extrusionOk="0">
                  <a:moveTo>
                    <a:pt x="1604" y="333"/>
                  </a:moveTo>
                  <a:cubicBezTo>
                    <a:pt x="1772" y="333"/>
                    <a:pt x="1949" y="383"/>
                    <a:pt x="2120" y="500"/>
                  </a:cubicBezTo>
                  <a:lnTo>
                    <a:pt x="894" y="1715"/>
                  </a:lnTo>
                  <a:cubicBezTo>
                    <a:pt x="461" y="1065"/>
                    <a:pt x="966" y="333"/>
                    <a:pt x="1604" y="333"/>
                  </a:cubicBezTo>
                  <a:close/>
                  <a:moveTo>
                    <a:pt x="2346" y="726"/>
                  </a:moveTo>
                  <a:lnTo>
                    <a:pt x="2346" y="726"/>
                  </a:lnTo>
                  <a:cubicBezTo>
                    <a:pt x="2808" y="1377"/>
                    <a:pt x="2285" y="2124"/>
                    <a:pt x="1640" y="2124"/>
                  </a:cubicBezTo>
                  <a:cubicBezTo>
                    <a:pt x="1470" y="2124"/>
                    <a:pt x="1291" y="2072"/>
                    <a:pt x="1120" y="1953"/>
                  </a:cubicBezTo>
                  <a:lnTo>
                    <a:pt x="2346" y="726"/>
                  </a:lnTo>
                  <a:close/>
                  <a:moveTo>
                    <a:pt x="1632" y="0"/>
                  </a:moveTo>
                  <a:cubicBezTo>
                    <a:pt x="561" y="0"/>
                    <a:pt x="1" y="1310"/>
                    <a:pt x="763" y="2072"/>
                  </a:cubicBezTo>
                  <a:cubicBezTo>
                    <a:pt x="1016" y="2325"/>
                    <a:pt x="1325" y="2438"/>
                    <a:pt x="1628" y="2438"/>
                  </a:cubicBezTo>
                  <a:cubicBezTo>
                    <a:pt x="2252" y="2438"/>
                    <a:pt x="2847" y="1956"/>
                    <a:pt x="2847" y="1227"/>
                  </a:cubicBezTo>
                  <a:cubicBezTo>
                    <a:pt x="2847" y="881"/>
                    <a:pt x="2716" y="584"/>
                    <a:pt x="2489" y="357"/>
                  </a:cubicBezTo>
                  <a:cubicBezTo>
                    <a:pt x="2287" y="155"/>
                    <a:pt x="1977" y="0"/>
                    <a:pt x="1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1" name="Google Shape;10271;p59"/>
            <p:cNvSpPr/>
            <p:nvPr/>
          </p:nvSpPr>
          <p:spPr>
            <a:xfrm>
              <a:off x="5056640" y="3943969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06" y="335"/>
                  </a:moveTo>
                  <a:cubicBezTo>
                    <a:pt x="1769" y="335"/>
                    <a:pt x="1941" y="385"/>
                    <a:pt x="2108" y="500"/>
                  </a:cubicBezTo>
                  <a:lnTo>
                    <a:pt x="894" y="1715"/>
                  </a:lnTo>
                  <a:cubicBezTo>
                    <a:pt x="468" y="1081"/>
                    <a:pt x="974" y="335"/>
                    <a:pt x="1606" y="335"/>
                  </a:cubicBezTo>
                  <a:close/>
                  <a:moveTo>
                    <a:pt x="2358" y="726"/>
                  </a:moveTo>
                  <a:cubicBezTo>
                    <a:pt x="2801" y="1367"/>
                    <a:pt x="2289" y="2127"/>
                    <a:pt x="1649" y="2127"/>
                  </a:cubicBezTo>
                  <a:cubicBezTo>
                    <a:pt x="1481" y="2127"/>
                    <a:pt x="1303" y="2074"/>
                    <a:pt x="1132" y="1953"/>
                  </a:cubicBezTo>
                  <a:lnTo>
                    <a:pt x="2358" y="726"/>
                  </a:lnTo>
                  <a:close/>
                  <a:moveTo>
                    <a:pt x="1620" y="0"/>
                  </a:moveTo>
                  <a:cubicBezTo>
                    <a:pt x="525" y="0"/>
                    <a:pt x="1" y="1357"/>
                    <a:pt x="763" y="2084"/>
                  </a:cubicBezTo>
                  <a:cubicBezTo>
                    <a:pt x="1006" y="2335"/>
                    <a:pt x="1310" y="2447"/>
                    <a:pt x="1610" y="2447"/>
                  </a:cubicBezTo>
                  <a:cubicBezTo>
                    <a:pt x="2237" y="2447"/>
                    <a:pt x="2846" y="1959"/>
                    <a:pt x="2846" y="1227"/>
                  </a:cubicBezTo>
                  <a:cubicBezTo>
                    <a:pt x="2846" y="560"/>
                    <a:pt x="2311" y="0"/>
                    <a:pt x="1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2" name="Google Shape;10272;p59"/>
            <p:cNvSpPr/>
            <p:nvPr/>
          </p:nvSpPr>
          <p:spPr>
            <a:xfrm>
              <a:off x="4975473" y="4050492"/>
              <a:ext cx="77790" cy="78300"/>
            </a:xfrm>
            <a:custGeom>
              <a:avLst/>
              <a:gdLst/>
              <a:ahLst/>
              <a:cxnLst/>
              <a:rect l="l" t="t" r="r" b="b"/>
              <a:pathLst>
                <a:path w="2442" h="2458" extrusionOk="0">
                  <a:moveTo>
                    <a:pt x="1941" y="740"/>
                  </a:moveTo>
                  <a:lnTo>
                    <a:pt x="1941" y="740"/>
                  </a:lnTo>
                  <a:cubicBezTo>
                    <a:pt x="2401" y="1388"/>
                    <a:pt x="1892" y="2132"/>
                    <a:pt x="1247" y="2132"/>
                  </a:cubicBezTo>
                  <a:cubicBezTo>
                    <a:pt x="1074" y="2132"/>
                    <a:pt x="892" y="2078"/>
                    <a:pt x="715" y="1954"/>
                  </a:cubicBezTo>
                  <a:lnTo>
                    <a:pt x="1941" y="740"/>
                  </a:lnTo>
                  <a:close/>
                  <a:moveTo>
                    <a:pt x="1226" y="1"/>
                  </a:moveTo>
                  <a:cubicBezTo>
                    <a:pt x="1024" y="1"/>
                    <a:pt x="816" y="53"/>
                    <a:pt x="620" y="169"/>
                  </a:cubicBezTo>
                  <a:cubicBezTo>
                    <a:pt x="537" y="216"/>
                    <a:pt x="513" y="323"/>
                    <a:pt x="560" y="395"/>
                  </a:cubicBezTo>
                  <a:cubicBezTo>
                    <a:pt x="585" y="444"/>
                    <a:pt x="643" y="476"/>
                    <a:pt x="700" y="476"/>
                  </a:cubicBezTo>
                  <a:cubicBezTo>
                    <a:pt x="726" y="476"/>
                    <a:pt x="752" y="469"/>
                    <a:pt x="775" y="454"/>
                  </a:cubicBezTo>
                  <a:cubicBezTo>
                    <a:pt x="918" y="383"/>
                    <a:pt x="1072" y="335"/>
                    <a:pt x="1227" y="335"/>
                  </a:cubicBezTo>
                  <a:cubicBezTo>
                    <a:pt x="1406" y="335"/>
                    <a:pt x="1572" y="407"/>
                    <a:pt x="1715" y="502"/>
                  </a:cubicBezTo>
                  <a:lnTo>
                    <a:pt x="489" y="1716"/>
                  </a:lnTo>
                  <a:cubicBezTo>
                    <a:pt x="346" y="1502"/>
                    <a:pt x="287" y="1276"/>
                    <a:pt x="358" y="1026"/>
                  </a:cubicBezTo>
                  <a:cubicBezTo>
                    <a:pt x="370" y="931"/>
                    <a:pt x="334" y="847"/>
                    <a:pt x="239" y="823"/>
                  </a:cubicBezTo>
                  <a:cubicBezTo>
                    <a:pt x="230" y="822"/>
                    <a:pt x="222" y="822"/>
                    <a:pt x="213" y="822"/>
                  </a:cubicBezTo>
                  <a:cubicBezTo>
                    <a:pt x="137" y="822"/>
                    <a:pt x="59" y="868"/>
                    <a:pt x="48" y="942"/>
                  </a:cubicBezTo>
                  <a:cubicBezTo>
                    <a:pt x="36" y="1038"/>
                    <a:pt x="13" y="1145"/>
                    <a:pt x="13" y="1228"/>
                  </a:cubicBezTo>
                  <a:cubicBezTo>
                    <a:pt x="1" y="1573"/>
                    <a:pt x="144" y="1883"/>
                    <a:pt x="358" y="2097"/>
                  </a:cubicBezTo>
                  <a:cubicBezTo>
                    <a:pt x="607" y="2346"/>
                    <a:pt x="911" y="2457"/>
                    <a:pt x="1209" y="2457"/>
                  </a:cubicBezTo>
                  <a:cubicBezTo>
                    <a:pt x="1839" y="2457"/>
                    <a:pt x="2442" y="1963"/>
                    <a:pt x="2442" y="1228"/>
                  </a:cubicBezTo>
                  <a:cubicBezTo>
                    <a:pt x="2442" y="515"/>
                    <a:pt x="1860" y="1"/>
                    <a:pt x="12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3" name="Google Shape;10273;p59"/>
            <p:cNvSpPr/>
            <p:nvPr/>
          </p:nvSpPr>
          <p:spPr>
            <a:xfrm>
              <a:off x="5056640" y="4051288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06" y="326"/>
                  </a:moveTo>
                  <a:cubicBezTo>
                    <a:pt x="1771" y="326"/>
                    <a:pt x="1943" y="375"/>
                    <a:pt x="2108" y="489"/>
                  </a:cubicBezTo>
                  <a:lnTo>
                    <a:pt x="894" y="1715"/>
                  </a:lnTo>
                  <a:cubicBezTo>
                    <a:pt x="459" y="1054"/>
                    <a:pt x="976" y="326"/>
                    <a:pt x="1606" y="326"/>
                  </a:cubicBezTo>
                  <a:close/>
                  <a:moveTo>
                    <a:pt x="2358" y="715"/>
                  </a:moveTo>
                  <a:lnTo>
                    <a:pt x="2358" y="715"/>
                  </a:lnTo>
                  <a:cubicBezTo>
                    <a:pt x="2809" y="1363"/>
                    <a:pt x="2297" y="2107"/>
                    <a:pt x="1658" y="2107"/>
                  </a:cubicBezTo>
                  <a:cubicBezTo>
                    <a:pt x="1486" y="2107"/>
                    <a:pt x="1306" y="2053"/>
                    <a:pt x="1132" y="1929"/>
                  </a:cubicBezTo>
                  <a:lnTo>
                    <a:pt x="2358" y="715"/>
                  </a:lnTo>
                  <a:close/>
                  <a:moveTo>
                    <a:pt x="1620" y="1"/>
                  </a:moveTo>
                  <a:cubicBezTo>
                    <a:pt x="536" y="1"/>
                    <a:pt x="1" y="1322"/>
                    <a:pt x="763" y="2084"/>
                  </a:cubicBezTo>
                  <a:cubicBezTo>
                    <a:pt x="1005" y="2335"/>
                    <a:pt x="1309" y="2447"/>
                    <a:pt x="1609" y="2447"/>
                  </a:cubicBezTo>
                  <a:cubicBezTo>
                    <a:pt x="2236" y="2447"/>
                    <a:pt x="2846" y="1956"/>
                    <a:pt x="2846" y="1215"/>
                  </a:cubicBezTo>
                  <a:cubicBezTo>
                    <a:pt x="2846" y="548"/>
                    <a:pt x="2311" y="1"/>
                    <a:pt x="1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4" name="Google Shape;10274;p59"/>
            <p:cNvSpPr/>
            <p:nvPr/>
          </p:nvSpPr>
          <p:spPr>
            <a:xfrm>
              <a:off x="4942472" y="3809318"/>
              <a:ext cx="238976" cy="352762"/>
            </a:xfrm>
            <a:custGeom>
              <a:avLst/>
              <a:gdLst/>
              <a:ahLst/>
              <a:cxnLst/>
              <a:rect l="l" t="t" r="r" b="b"/>
              <a:pathLst>
                <a:path w="7502" h="11074" extrusionOk="0">
                  <a:moveTo>
                    <a:pt x="775" y="0"/>
                  </a:moveTo>
                  <a:cubicBezTo>
                    <a:pt x="334" y="0"/>
                    <a:pt x="1" y="358"/>
                    <a:pt x="1" y="774"/>
                  </a:cubicBezTo>
                  <a:lnTo>
                    <a:pt x="1" y="10299"/>
                  </a:lnTo>
                  <a:cubicBezTo>
                    <a:pt x="1" y="10728"/>
                    <a:pt x="358" y="11073"/>
                    <a:pt x="775" y="11073"/>
                  </a:cubicBezTo>
                  <a:lnTo>
                    <a:pt x="6728" y="11073"/>
                  </a:lnTo>
                  <a:cubicBezTo>
                    <a:pt x="7157" y="11073"/>
                    <a:pt x="7502" y="10716"/>
                    <a:pt x="7502" y="10299"/>
                  </a:cubicBezTo>
                  <a:lnTo>
                    <a:pt x="7502" y="4799"/>
                  </a:lnTo>
                  <a:cubicBezTo>
                    <a:pt x="7502" y="4703"/>
                    <a:pt x="7419" y="4632"/>
                    <a:pt x="7335" y="4632"/>
                  </a:cubicBezTo>
                  <a:cubicBezTo>
                    <a:pt x="7252" y="4632"/>
                    <a:pt x="7168" y="4703"/>
                    <a:pt x="7168" y="4799"/>
                  </a:cubicBezTo>
                  <a:lnTo>
                    <a:pt x="7168" y="10299"/>
                  </a:lnTo>
                  <a:cubicBezTo>
                    <a:pt x="7168" y="10561"/>
                    <a:pt x="6966" y="10752"/>
                    <a:pt x="6728" y="10752"/>
                  </a:cubicBezTo>
                  <a:lnTo>
                    <a:pt x="775" y="10752"/>
                  </a:lnTo>
                  <a:cubicBezTo>
                    <a:pt x="525" y="10752"/>
                    <a:pt x="322" y="10537"/>
                    <a:pt x="322" y="10299"/>
                  </a:cubicBezTo>
                  <a:lnTo>
                    <a:pt x="322" y="774"/>
                  </a:lnTo>
                  <a:cubicBezTo>
                    <a:pt x="322" y="524"/>
                    <a:pt x="537" y="334"/>
                    <a:pt x="775" y="334"/>
                  </a:cubicBezTo>
                  <a:lnTo>
                    <a:pt x="6728" y="334"/>
                  </a:lnTo>
                  <a:cubicBezTo>
                    <a:pt x="6978" y="334"/>
                    <a:pt x="7168" y="536"/>
                    <a:pt x="7168" y="774"/>
                  </a:cubicBezTo>
                  <a:lnTo>
                    <a:pt x="7168" y="3930"/>
                  </a:lnTo>
                  <a:cubicBezTo>
                    <a:pt x="7168" y="4025"/>
                    <a:pt x="7252" y="4096"/>
                    <a:pt x="7335" y="4096"/>
                  </a:cubicBezTo>
                  <a:cubicBezTo>
                    <a:pt x="7419" y="4096"/>
                    <a:pt x="7502" y="4025"/>
                    <a:pt x="7502" y="3930"/>
                  </a:cubicBezTo>
                  <a:lnTo>
                    <a:pt x="7502" y="774"/>
                  </a:lnTo>
                  <a:cubicBezTo>
                    <a:pt x="7502" y="346"/>
                    <a:pt x="7145" y="0"/>
                    <a:pt x="6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75" name="Google Shape;10275;p59"/>
          <p:cNvGrpSpPr/>
          <p:nvPr/>
        </p:nvGrpSpPr>
        <p:grpSpPr>
          <a:xfrm>
            <a:off x="6266525" y="3807788"/>
            <a:ext cx="260223" cy="353527"/>
            <a:chOff x="6266525" y="3807788"/>
            <a:chExt cx="260223" cy="353527"/>
          </a:xfrm>
        </p:grpSpPr>
        <p:sp>
          <p:nvSpPr>
            <p:cNvPr id="10276" name="Google Shape;10276;p59"/>
            <p:cNvSpPr/>
            <p:nvPr/>
          </p:nvSpPr>
          <p:spPr>
            <a:xfrm>
              <a:off x="6266525" y="3807788"/>
              <a:ext cx="260223" cy="353527"/>
            </a:xfrm>
            <a:custGeom>
              <a:avLst/>
              <a:gdLst/>
              <a:ahLst/>
              <a:cxnLst/>
              <a:rect l="l" t="t" r="r" b="b"/>
              <a:pathLst>
                <a:path w="8169" h="11098" extrusionOk="0">
                  <a:moveTo>
                    <a:pt x="1322" y="1"/>
                  </a:moveTo>
                  <a:cubicBezTo>
                    <a:pt x="1239" y="1"/>
                    <a:pt x="1167" y="84"/>
                    <a:pt x="1167" y="168"/>
                  </a:cubicBezTo>
                  <a:lnTo>
                    <a:pt x="1167" y="1430"/>
                  </a:lnTo>
                  <a:cubicBezTo>
                    <a:pt x="1167" y="1953"/>
                    <a:pt x="1525" y="2382"/>
                    <a:pt x="2013" y="2513"/>
                  </a:cubicBezTo>
                  <a:lnTo>
                    <a:pt x="2025" y="2513"/>
                  </a:lnTo>
                  <a:cubicBezTo>
                    <a:pt x="2001" y="2573"/>
                    <a:pt x="1977" y="2620"/>
                    <a:pt x="1953" y="2692"/>
                  </a:cubicBezTo>
                  <a:lnTo>
                    <a:pt x="1858" y="2906"/>
                  </a:lnTo>
                  <a:cubicBezTo>
                    <a:pt x="1846" y="2942"/>
                    <a:pt x="1834" y="2965"/>
                    <a:pt x="1822" y="3013"/>
                  </a:cubicBezTo>
                  <a:cubicBezTo>
                    <a:pt x="1108" y="2823"/>
                    <a:pt x="596" y="2180"/>
                    <a:pt x="596" y="1441"/>
                  </a:cubicBezTo>
                  <a:lnTo>
                    <a:pt x="596" y="168"/>
                  </a:lnTo>
                  <a:cubicBezTo>
                    <a:pt x="596" y="84"/>
                    <a:pt x="525" y="13"/>
                    <a:pt x="429" y="13"/>
                  </a:cubicBezTo>
                  <a:cubicBezTo>
                    <a:pt x="346" y="13"/>
                    <a:pt x="274" y="84"/>
                    <a:pt x="274" y="168"/>
                  </a:cubicBezTo>
                  <a:lnTo>
                    <a:pt x="274" y="1441"/>
                  </a:lnTo>
                  <a:cubicBezTo>
                    <a:pt x="274" y="2311"/>
                    <a:pt x="870" y="3120"/>
                    <a:pt x="1763" y="3346"/>
                  </a:cubicBezTo>
                  <a:cubicBezTo>
                    <a:pt x="1656" y="4192"/>
                    <a:pt x="2001" y="4906"/>
                    <a:pt x="2441" y="5251"/>
                  </a:cubicBezTo>
                  <a:cubicBezTo>
                    <a:pt x="2668" y="5430"/>
                    <a:pt x="2656" y="5859"/>
                    <a:pt x="2334" y="5942"/>
                  </a:cubicBezTo>
                  <a:cubicBezTo>
                    <a:pt x="2239" y="5978"/>
                    <a:pt x="2144" y="6002"/>
                    <a:pt x="2060" y="6049"/>
                  </a:cubicBezTo>
                  <a:cubicBezTo>
                    <a:pt x="1560" y="6264"/>
                    <a:pt x="1239" y="6716"/>
                    <a:pt x="1167" y="7252"/>
                  </a:cubicBezTo>
                  <a:cubicBezTo>
                    <a:pt x="513" y="7335"/>
                    <a:pt x="1" y="7895"/>
                    <a:pt x="1" y="8561"/>
                  </a:cubicBezTo>
                  <a:lnTo>
                    <a:pt x="1" y="10931"/>
                  </a:lnTo>
                  <a:cubicBezTo>
                    <a:pt x="1" y="11026"/>
                    <a:pt x="72" y="11097"/>
                    <a:pt x="167" y="11097"/>
                  </a:cubicBezTo>
                  <a:cubicBezTo>
                    <a:pt x="251" y="11097"/>
                    <a:pt x="334" y="11026"/>
                    <a:pt x="334" y="10931"/>
                  </a:cubicBezTo>
                  <a:lnTo>
                    <a:pt x="334" y="8561"/>
                  </a:lnTo>
                  <a:cubicBezTo>
                    <a:pt x="334" y="8014"/>
                    <a:pt x="775" y="7573"/>
                    <a:pt x="1322" y="7573"/>
                  </a:cubicBezTo>
                  <a:cubicBezTo>
                    <a:pt x="1417" y="7573"/>
                    <a:pt x="1489" y="7490"/>
                    <a:pt x="1489" y="7418"/>
                  </a:cubicBezTo>
                  <a:cubicBezTo>
                    <a:pt x="1525" y="6942"/>
                    <a:pt x="1787" y="6525"/>
                    <a:pt x="2203" y="6347"/>
                  </a:cubicBezTo>
                  <a:cubicBezTo>
                    <a:pt x="2275" y="6311"/>
                    <a:pt x="2370" y="6287"/>
                    <a:pt x="2441" y="6252"/>
                  </a:cubicBezTo>
                  <a:cubicBezTo>
                    <a:pt x="2656" y="6192"/>
                    <a:pt x="2811" y="6037"/>
                    <a:pt x="2894" y="5823"/>
                  </a:cubicBezTo>
                  <a:cubicBezTo>
                    <a:pt x="2918" y="5740"/>
                    <a:pt x="2930" y="5621"/>
                    <a:pt x="2918" y="5513"/>
                  </a:cubicBezTo>
                  <a:cubicBezTo>
                    <a:pt x="3030" y="5443"/>
                    <a:pt x="3291" y="5320"/>
                    <a:pt x="3612" y="5320"/>
                  </a:cubicBezTo>
                  <a:cubicBezTo>
                    <a:pt x="3837" y="5320"/>
                    <a:pt x="4092" y="5380"/>
                    <a:pt x="4346" y="5561"/>
                  </a:cubicBezTo>
                  <a:cubicBezTo>
                    <a:pt x="4596" y="5732"/>
                    <a:pt x="4893" y="5799"/>
                    <a:pt x="5206" y="5799"/>
                  </a:cubicBezTo>
                  <a:cubicBezTo>
                    <a:pt x="5699" y="5799"/>
                    <a:pt x="6231" y="5632"/>
                    <a:pt x="6668" y="5442"/>
                  </a:cubicBezTo>
                  <a:lnTo>
                    <a:pt x="6668" y="5442"/>
                  </a:lnTo>
                  <a:cubicBezTo>
                    <a:pt x="6561" y="6049"/>
                    <a:pt x="6323" y="6645"/>
                    <a:pt x="5966" y="7168"/>
                  </a:cubicBezTo>
                  <a:cubicBezTo>
                    <a:pt x="5299" y="8145"/>
                    <a:pt x="4406" y="8680"/>
                    <a:pt x="3251" y="8823"/>
                  </a:cubicBezTo>
                  <a:cubicBezTo>
                    <a:pt x="3184" y="8831"/>
                    <a:pt x="3118" y="8834"/>
                    <a:pt x="3053" y="8834"/>
                  </a:cubicBezTo>
                  <a:cubicBezTo>
                    <a:pt x="2468" y="8834"/>
                    <a:pt x="1959" y="8555"/>
                    <a:pt x="1691" y="8180"/>
                  </a:cubicBezTo>
                  <a:cubicBezTo>
                    <a:pt x="1668" y="8133"/>
                    <a:pt x="1608" y="8109"/>
                    <a:pt x="1548" y="8109"/>
                  </a:cubicBezTo>
                  <a:lnTo>
                    <a:pt x="1322" y="8109"/>
                  </a:lnTo>
                  <a:cubicBezTo>
                    <a:pt x="1072" y="8109"/>
                    <a:pt x="870" y="8311"/>
                    <a:pt x="870" y="8561"/>
                  </a:cubicBezTo>
                  <a:lnTo>
                    <a:pt x="870" y="10931"/>
                  </a:lnTo>
                  <a:cubicBezTo>
                    <a:pt x="870" y="11026"/>
                    <a:pt x="941" y="11097"/>
                    <a:pt x="1025" y="11097"/>
                  </a:cubicBezTo>
                  <a:cubicBezTo>
                    <a:pt x="1120" y="11097"/>
                    <a:pt x="1191" y="11026"/>
                    <a:pt x="1191" y="10931"/>
                  </a:cubicBezTo>
                  <a:lnTo>
                    <a:pt x="1191" y="8561"/>
                  </a:lnTo>
                  <a:cubicBezTo>
                    <a:pt x="1191" y="8490"/>
                    <a:pt x="1251" y="8430"/>
                    <a:pt x="1322" y="8430"/>
                  </a:cubicBezTo>
                  <a:lnTo>
                    <a:pt x="1477" y="8430"/>
                  </a:lnTo>
                  <a:cubicBezTo>
                    <a:pt x="1814" y="8852"/>
                    <a:pt x="2374" y="9161"/>
                    <a:pt x="3018" y="9161"/>
                  </a:cubicBezTo>
                  <a:cubicBezTo>
                    <a:pt x="3103" y="9161"/>
                    <a:pt x="3188" y="9156"/>
                    <a:pt x="3275" y="9145"/>
                  </a:cubicBezTo>
                  <a:cubicBezTo>
                    <a:pt x="7144" y="8716"/>
                    <a:pt x="8168" y="3763"/>
                    <a:pt x="5847" y="1834"/>
                  </a:cubicBezTo>
                  <a:cubicBezTo>
                    <a:pt x="5818" y="1810"/>
                    <a:pt x="5783" y="1800"/>
                    <a:pt x="5750" y="1800"/>
                  </a:cubicBezTo>
                  <a:cubicBezTo>
                    <a:pt x="5700" y="1800"/>
                    <a:pt x="5654" y="1823"/>
                    <a:pt x="5632" y="1858"/>
                  </a:cubicBezTo>
                  <a:cubicBezTo>
                    <a:pt x="5573" y="1930"/>
                    <a:pt x="5585" y="2037"/>
                    <a:pt x="5644" y="2073"/>
                  </a:cubicBezTo>
                  <a:cubicBezTo>
                    <a:pt x="6501" y="2787"/>
                    <a:pt x="6835" y="3966"/>
                    <a:pt x="6740" y="5073"/>
                  </a:cubicBezTo>
                  <a:cubicBezTo>
                    <a:pt x="6517" y="5175"/>
                    <a:pt x="5841" y="5487"/>
                    <a:pt x="5230" y="5487"/>
                  </a:cubicBezTo>
                  <a:cubicBezTo>
                    <a:pt x="4990" y="5487"/>
                    <a:pt x="4761" y="5439"/>
                    <a:pt x="4573" y="5311"/>
                  </a:cubicBezTo>
                  <a:cubicBezTo>
                    <a:pt x="4275" y="5113"/>
                    <a:pt x="3955" y="5013"/>
                    <a:pt x="3632" y="5013"/>
                  </a:cubicBezTo>
                  <a:cubicBezTo>
                    <a:pt x="3373" y="5013"/>
                    <a:pt x="3112" y="5077"/>
                    <a:pt x="2858" y="5204"/>
                  </a:cubicBezTo>
                  <a:cubicBezTo>
                    <a:pt x="2811" y="5109"/>
                    <a:pt x="2751" y="5037"/>
                    <a:pt x="2680" y="4978"/>
                  </a:cubicBezTo>
                  <a:cubicBezTo>
                    <a:pt x="2239" y="4632"/>
                    <a:pt x="1941" y="3847"/>
                    <a:pt x="2191" y="3013"/>
                  </a:cubicBezTo>
                  <a:cubicBezTo>
                    <a:pt x="2470" y="2062"/>
                    <a:pt x="3289" y="1530"/>
                    <a:pt x="4171" y="1530"/>
                  </a:cubicBezTo>
                  <a:cubicBezTo>
                    <a:pt x="4459" y="1530"/>
                    <a:pt x="4753" y="1586"/>
                    <a:pt x="5037" y="1703"/>
                  </a:cubicBezTo>
                  <a:cubicBezTo>
                    <a:pt x="5059" y="1713"/>
                    <a:pt x="5081" y="1717"/>
                    <a:pt x="5103" y="1717"/>
                  </a:cubicBezTo>
                  <a:cubicBezTo>
                    <a:pt x="5165" y="1717"/>
                    <a:pt x="5222" y="1682"/>
                    <a:pt x="5239" y="1620"/>
                  </a:cubicBezTo>
                  <a:cubicBezTo>
                    <a:pt x="5275" y="1525"/>
                    <a:pt x="5239" y="1430"/>
                    <a:pt x="5156" y="1406"/>
                  </a:cubicBezTo>
                  <a:cubicBezTo>
                    <a:pt x="4841" y="1276"/>
                    <a:pt x="4506" y="1210"/>
                    <a:pt x="4171" y="1210"/>
                  </a:cubicBezTo>
                  <a:cubicBezTo>
                    <a:pt x="3432" y="1210"/>
                    <a:pt x="2699" y="1535"/>
                    <a:pt x="2215" y="2215"/>
                  </a:cubicBezTo>
                  <a:cubicBezTo>
                    <a:pt x="2215" y="2215"/>
                    <a:pt x="2120" y="2192"/>
                    <a:pt x="2084" y="2180"/>
                  </a:cubicBezTo>
                  <a:cubicBezTo>
                    <a:pt x="1727" y="2108"/>
                    <a:pt x="1489" y="1787"/>
                    <a:pt x="1489" y="1430"/>
                  </a:cubicBezTo>
                  <a:lnTo>
                    <a:pt x="1489" y="168"/>
                  </a:lnTo>
                  <a:cubicBezTo>
                    <a:pt x="1489" y="84"/>
                    <a:pt x="1417" y="1"/>
                    <a:pt x="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7" name="Google Shape;10277;p59"/>
            <p:cNvSpPr/>
            <p:nvPr/>
          </p:nvSpPr>
          <p:spPr>
            <a:xfrm>
              <a:off x="6370085" y="4004652"/>
              <a:ext cx="13284" cy="13284"/>
            </a:xfrm>
            <a:custGeom>
              <a:avLst/>
              <a:gdLst/>
              <a:ahLst/>
              <a:cxnLst/>
              <a:rect l="l" t="t" r="r" b="b"/>
              <a:pathLst>
                <a:path w="417" h="417" extrusionOk="0">
                  <a:moveTo>
                    <a:pt x="202" y="0"/>
                  </a:moveTo>
                  <a:cubicBezTo>
                    <a:pt x="83" y="0"/>
                    <a:pt x="0" y="95"/>
                    <a:pt x="0" y="214"/>
                  </a:cubicBezTo>
                  <a:cubicBezTo>
                    <a:pt x="0" y="334"/>
                    <a:pt x="83" y="417"/>
                    <a:pt x="202" y="417"/>
                  </a:cubicBezTo>
                  <a:cubicBezTo>
                    <a:pt x="322" y="417"/>
                    <a:pt x="417" y="334"/>
                    <a:pt x="417" y="214"/>
                  </a:cubicBezTo>
                  <a:cubicBezTo>
                    <a:pt x="417" y="95"/>
                    <a:pt x="322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8" name="Google Shape;10278;p59"/>
            <p:cNvSpPr/>
            <p:nvPr/>
          </p:nvSpPr>
          <p:spPr>
            <a:xfrm>
              <a:off x="6423156" y="4017904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1" y="96"/>
                    <a:pt x="1" y="215"/>
                  </a:cubicBezTo>
                  <a:cubicBezTo>
                    <a:pt x="1" y="334"/>
                    <a:pt x="84" y="418"/>
                    <a:pt x="203" y="418"/>
                  </a:cubicBezTo>
                  <a:cubicBezTo>
                    <a:pt x="322" y="418"/>
                    <a:pt x="418" y="334"/>
                    <a:pt x="418" y="215"/>
                  </a:cubicBezTo>
                  <a:cubicBezTo>
                    <a:pt x="418" y="108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9" name="Google Shape;10279;p59"/>
            <p:cNvSpPr/>
            <p:nvPr/>
          </p:nvSpPr>
          <p:spPr>
            <a:xfrm>
              <a:off x="6364766" y="4050906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96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80" name="Google Shape;10280;p59"/>
          <p:cNvSpPr/>
          <p:nvPr/>
        </p:nvSpPr>
        <p:spPr>
          <a:xfrm>
            <a:off x="7972870" y="3808967"/>
            <a:ext cx="348749" cy="353877"/>
          </a:xfrm>
          <a:custGeom>
            <a:avLst/>
            <a:gdLst/>
            <a:ahLst/>
            <a:cxnLst/>
            <a:rect l="l" t="t" r="r" b="b"/>
            <a:pathLst>
              <a:path w="10948" h="11109" extrusionOk="0">
                <a:moveTo>
                  <a:pt x="2620" y="1738"/>
                </a:moveTo>
                <a:lnTo>
                  <a:pt x="2620" y="1738"/>
                </a:lnTo>
                <a:cubicBezTo>
                  <a:pt x="2108" y="2262"/>
                  <a:pt x="2227" y="3107"/>
                  <a:pt x="2846" y="3488"/>
                </a:cubicBezTo>
                <a:cubicBezTo>
                  <a:pt x="2763" y="3524"/>
                  <a:pt x="2704" y="3571"/>
                  <a:pt x="2644" y="3631"/>
                </a:cubicBezTo>
                <a:cubicBezTo>
                  <a:pt x="2275" y="2559"/>
                  <a:pt x="1989" y="2595"/>
                  <a:pt x="2144" y="2238"/>
                </a:cubicBezTo>
                <a:cubicBezTo>
                  <a:pt x="2227" y="2012"/>
                  <a:pt x="2406" y="1845"/>
                  <a:pt x="2620" y="1738"/>
                </a:cubicBezTo>
                <a:close/>
                <a:moveTo>
                  <a:pt x="8740" y="4214"/>
                </a:moveTo>
                <a:cubicBezTo>
                  <a:pt x="8716" y="4345"/>
                  <a:pt x="8716" y="4500"/>
                  <a:pt x="8704" y="4643"/>
                </a:cubicBezTo>
                <a:cubicBezTo>
                  <a:pt x="8645" y="4572"/>
                  <a:pt x="8561" y="4512"/>
                  <a:pt x="8466" y="4452"/>
                </a:cubicBezTo>
                <a:cubicBezTo>
                  <a:pt x="8573" y="4393"/>
                  <a:pt x="8657" y="4298"/>
                  <a:pt x="8740" y="4214"/>
                </a:cubicBezTo>
                <a:close/>
                <a:moveTo>
                  <a:pt x="8025" y="1650"/>
                </a:moveTo>
                <a:cubicBezTo>
                  <a:pt x="8616" y="1650"/>
                  <a:pt x="9126" y="2169"/>
                  <a:pt x="8990" y="2798"/>
                </a:cubicBezTo>
                <a:cubicBezTo>
                  <a:pt x="8978" y="2869"/>
                  <a:pt x="8954" y="2952"/>
                  <a:pt x="8942" y="3036"/>
                </a:cubicBezTo>
                <a:cubicBezTo>
                  <a:pt x="8764" y="2655"/>
                  <a:pt x="8383" y="2381"/>
                  <a:pt x="7919" y="2381"/>
                </a:cubicBezTo>
                <a:cubicBezTo>
                  <a:pt x="7823" y="2381"/>
                  <a:pt x="7752" y="2452"/>
                  <a:pt x="7752" y="2547"/>
                </a:cubicBezTo>
                <a:cubicBezTo>
                  <a:pt x="7752" y="2631"/>
                  <a:pt x="7823" y="2714"/>
                  <a:pt x="7919" y="2714"/>
                </a:cubicBezTo>
                <a:cubicBezTo>
                  <a:pt x="8359" y="2714"/>
                  <a:pt x="8716" y="3071"/>
                  <a:pt x="8716" y="3512"/>
                </a:cubicBezTo>
                <a:cubicBezTo>
                  <a:pt x="8716" y="3964"/>
                  <a:pt x="8359" y="4322"/>
                  <a:pt x="7919" y="4322"/>
                </a:cubicBezTo>
                <a:lnTo>
                  <a:pt x="7907" y="4322"/>
                </a:lnTo>
                <a:cubicBezTo>
                  <a:pt x="7765" y="4329"/>
                  <a:pt x="6934" y="4515"/>
                  <a:pt x="5736" y="4515"/>
                </a:cubicBezTo>
                <a:cubicBezTo>
                  <a:pt x="5124" y="4515"/>
                  <a:pt x="4417" y="4466"/>
                  <a:pt x="3656" y="4322"/>
                </a:cubicBezTo>
                <a:cubicBezTo>
                  <a:pt x="3643" y="4317"/>
                  <a:pt x="3630" y="4315"/>
                  <a:pt x="3617" y="4315"/>
                </a:cubicBezTo>
                <a:cubicBezTo>
                  <a:pt x="3557" y="4315"/>
                  <a:pt x="3497" y="4358"/>
                  <a:pt x="3477" y="4417"/>
                </a:cubicBezTo>
                <a:cubicBezTo>
                  <a:pt x="3454" y="4512"/>
                  <a:pt x="3513" y="4619"/>
                  <a:pt x="3597" y="4643"/>
                </a:cubicBezTo>
                <a:cubicBezTo>
                  <a:pt x="4287" y="4774"/>
                  <a:pt x="5001" y="4857"/>
                  <a:pt x="5740" y="4857"/>
                </a:cubicBezTo>
                <a:lnTo>
                  <a:pt x="5752" y="4857"/>
                </a:lnTo>
                <a:cubicBezTo>
                  <a:pt x="6466" y="4857"/>
                  <a:pt x="7204" y="4798"/>
                  <a:pt x="7930" y="4655"/>
                </a:cubicBezTo>
                <a:cubicBezTo>
                  <a:pt x="8359" y="4655"/>
                  <a:pt x="8716" y="5012"/>
                  <a:pt x="8716" y="5465"/>
                </a:cubicBezTo>
                <a:cubicBezTo>
                  <a:pt x="8716" y="5905"/>
                  <a:pt x="8359" y="6262"/>
                  <a:pt x="7919" y="6262"/>
                </a:cubicBezTo>
                <a:cubicBezTo>
                  <a:pt x="7807" y="6262"/>
                  <a:pt x="7088" y="6463"/>
                  <a:pt x="5862" y="6463"/>
                </a:cubicBezTo>
                <a:cubicBezTo>
                  <a:pt x="5249" y="6463"/>
                  <a:pt x="4509" y="6413"/>
                  <a:pt x="3656" y="6262"/>
                </a:cubicBezTo>
                <a:cubicBezTo>
                  <a:pt x="3649" y="6261"/>
                  <a:pt x="3642" y="6261"/>
                  <a:pt x="3635" y="6261"/>
                </a:cubicBezTo>
                <a:cubicBezTo>
                  <a:pt x="3557" y="6261"/>
                  <a:pt x="3476" y="6318"/>
                  <a:pt x="3466" y="6405"/>
                </a:cubicBezTo>
                <a:cubicBezTo>
                  <a:pt x="3454" y="6488"/>
                  <a:pt x="3513" y="6584"/>
                  <a:pt x="3597" y="6596"/>
                </a:cubicBezTo>
                <a:cubicBezTo>
                  <a:pt x="4370" y="6727"/>
                  <a:pt x="5121" y="6786"/>
                  <a:pt x="5835" y="6786"/>
                </a:cubicBezTo>
                <a:cubicBezTo>
                  <a:pt x="6549" y="6786"/>
                  <a:pt x="7240" y="6727"/>
                  <a:pt x="7930" y="6596"/>
                </a:cubicBezTo>
                <a:cubicBezTo>
                  <a:pt x="8240" y="6596"/>
                  <a:pt x="8526" y="6465"/>
                  <a:pt x="8728" y="6238"/>
                </a:cubicBezTo>
                <a:lnTo>
                  <a:pt x="8728" y="6238"/>
                </a:lnTo>
                <a:cubicBezTo>
                  <a:pt x="8752" y="6536"/>
                  <a:pt x="8776" y="6881"/>
                  <a:pt x="8573" y="7334"/>
                </a:cubicBezTo>
                <a:cubicBezTo>
                  <a:pt x="8454" y="7370"/>
                  <a:pt x="7919" y="7500"/>
                  <a:pt x="6811" y="7560"/>
                </a:cubicBezTo>
                <a:cubicBezTo>
                  <a:pt x="6523" y="7574"/>
                  <a:pt x="6226" y="7581"/>
                  <a:pt x="5931" y="7581"/>
                </a:cubicBezTo>
                <a:cubicBezTo>
                  <a:pt x="5238" y="7581"/>
                  <a:pt x="4559" y="7543"/>
                  <a:pt x="4049" y="7477"/>
                </a:cubicBezTo>
                <a:cubicBezTo>
                  <a:pt x="3263" y="7370"/>
                  <a:pt x="3108" y="7215"/>
                  <a:pt x="3096" y="7203"/>
                </a:cubicBezTo>
                <a:cubicBezTo>
                  <a:pt x="3108" y="6715"/>
                  <a:pt x="3108" y="6191"/>
                  <a:pt x="3061" y="5691"/>
                </a:cubicBezTo>
                <a:cubicBezTo>
                  <a:pt x="3188" y="5623"/>
                  <a:pt x="3279" y="5601"/>
                  <a:pt x="3418" y="5601"/>
                </a:cubicBezTo>
                <a:cubicBezTo>
                  <a:pt x="3697" y="5601"/>
                  <a:pt x="4168" y="5691"/>
                  <a:pt x="5502" y="5691"/>
                </a:cubicBezTo>
                <a:cubicBezTo>
                  <a:pt x="5568" y="5692"/>
                  <a:pt x="5637" y="5692"/>
                  <a:pt x="5707" y="5692"/>
                </a:cubicBezTo>
                <a:cubicBezTo>
                  <a:pt x="6578" y="5692"/>
                  <a:pt x="7678" y="5627"/>
                  <a:pt x="7799" y="5572"/>
                </a:cubicBezTo>
                <a:cubicBezTo>
                  <a:pt x="7962" y="5490"/>
                  <a:pt x="7887" y="5250"/>
                  <a:pt x="7716" y="5250"/>
                </a:cubicBezTo>
                <a:cubicBezTo>
                  <a:pt x="7712" y="5250"/>
                  <a:pt x="7708" y="5250"/>
                  <a:pt x="7704" y="5250"/>
                </a:cubicBezTo>
                <a:cubicBezTo>
                  <a:pt x="7043" y="5304"/>
                  <a:pt x="6391" y="5347"/>
                  <a:pt x="5732" y="5347"/>
                </a:cubicBezTo>
                <a:cubicBezTo>
                  <a:pt x="5655" y="5347"/>
                  <a:pt x="5579" y="5347"/>
                  <a:pt x="5502" y="5345"/>
                </a:cubicBezTo>
                <a:cubicBezTo>
                  <a:pt x="4394" y="5334"/>
                  <a:pt x="3501" y="5250"/>
                  <a:pt x="3442" y="5250"/>
                </a:cubicBezTo>
                <a:cubicBezTo>
                  <a:pt x="3287" y="5250"/>
                  <a:pt x="3144" y="5214"/>
                  <a:pt x="3001" y="5131"/>
                </a:cubicBezTo>
                <a:cubicBezTo>
                  <a:pt x="2942" y="4738"/>
                  <a:pt x="2870" y="4357"/>
                  <a:pt x="2787" y="4000"/>
                </a:cubicBezTo>
                <a:cubicBezTo>
                  <a:pt x="2930" y="3798"/>
                  <a:pt x="3168" y="3667"/>
                  <a:pt x="3418" y="3667"/>
                </a:cubicBezTo>
                <a:cubicBezTo>
                  <a:pt x="4180" y="3810"/>
                  <a:pt x="4954" y="3881"/>
                  <a:pt x="5716" y="3881"/>
                </a:cubicBezTo>
                <a:cubicBezTo>
                  <a:pt x="6549" y="3881"/>
                  <a:pt x="7383" y="3762"/>
                  <a:pt x="7764" y="3667"/>
                </a:cubicBezTo>
                <a:cubicBezTo>
                  <a:pt x="7955" y="3610"/>
                  <a:pt x="7912" y="3342"/>
                  <a:pt x="7727" y="3342"/>
                </a:cubicBezTo>
                <a:cubicBezTo>
                  <a:pt x="7716" y="3342"/>
                  <a:pt x="7704" y="3343"/>
                  <a:pt x="7692" y="3345"/>
                </a:cubicBezTo>
                <a:cubicBezTo>
                  <a:pt x="6962" y="3512"/>
                  <a:pt x="6268" y="3567"/>
                  <a:pt x="5659" y="3567"/>
                </a:cubicBezTo>
                <a:cubicBezTo>
                  <a:pt x="4443" y="3567"/>
                  <a:pt x="3573" y="3345"/>
                  <a:pt x="3454" y="3345"/>
                </a:cubicBezTo>
                <a:cubicBezTo>
                  <a:pt x="3001" y="3345"/>
                  <a:pt x="2644" y="2988"/>
                  <a:pt x="2644" y="2547"/>
                </a:cubicBezTo>
                <a:cubicBezTo>
                  <a:pt x="2644" y="2095"/>
                  <a:pt x="3001" y="1738"/>
                  <a:pt x="3454" y="1738"/>
                </a:cubicBezTo>
                <a:lnTo>
                  <a:pt x="3466" y="1738"/>
                </a:lnTo>
                <a:cubicBezTo>
                  <a:pt x="3477" y="1738"/>
                  <a:pt x="3477" y="1762"/>
                  <a:pt x="3501" y="1762"/>
                </a:cubicBezTo>
                <a:cubicBezTo>
                  <a:pt x="4177" y="2057"/>
                  <a:pt x="4860" y="2207"/>
                  <a:pt x="5550" y="2207"/>
                </a:cubicBezTo>
                <a:cubicBezTo>
                  <a:pt x="5724" y="2207"/>
                  <a:pt x="5898" y="2198"/>
                  <a:pt x="6073" y="2178"/>
                </a:cubicBezTo>
                <a:lnTo>
                  <a:pt x="6073" y="2178"/>
                </a:lnTo>
                <a:cubicBezTo>
                  <a:pt x="5883" y="2333"/>
                  <a:pt x="5621" y="2476"/>
                  <a:pt x="5359" y="2476"/>
                </a:cubicBezTo>
                <a:cubicBezTo>
                  <a:pt x="4811" y="2452"/>
                  <a:pt x="4228" y="2428"/>
                  <a:pt x="3644" y="2369"/>
                </a:cubicBezTo>
                <a:cubicBezTo>
                  <a:pt x="3638" y="2368"/>
                  <a:pt x="3632" y="2368"/>
                  <a:pt x="3626" y="2368"/>
                </a:cubicBezTo>
                <a:cubicBezTo>
                  <a:pt x="3549" y="2368"/>
                  <a:pt x="3477" y="2435"/>
                  <a:pt x="3466" y="2512"/>
                </a:cubicBezTo>
                <a:cubicBezTo>
                  <a:pt x="3454" y="2607"/>
                  <a:pt x="3525" y="2678"/>
                  <a:pt x="3620" y="2690"/>
                </a:cubicBezTo>
                <a:cubicBezTo>
                  <a:pt x="4398" y="2763"/>
                  <a:pt x="5186" y="2808"/>
                  <a:pt x="5967" y="2808"/>
                </a:cubicBezTo>
                <a:cubicBezTo>
                  <a:pt x="6346" y="2808"/>
                  <a:pt x="6724" y="2797"/>
                  <a:pt x="7097" y="2774"/>
                </a:cubicBezTo>
                <a:cubicBezTo>
                  <a:pt x="7192" y="2774"/>
                  <a:pt x="7264" y="2678"/>
                  <a:pt x="7252" y="2595"/>
                </a:cubicBezTo>
                <a:cubicBezTo>
                  <a:pt x="7252" y="2507"/>
                  <a:pt x="7170" y="2439"/>
                  <a:pt x="7092" y="2439"/>
                </a:cubicBezTo>
                <a:cubicBezTo>
                  <a:pt x="7085" y="2439"/>
                  <a:pt x="7079" y="2439"/>
                  <a:pt x="7073" y="2440"/>
                </a:cubicBezTo>
                <a:cubicBezTo>
                  <a:pt x="6787" y="2452"/>
                  <a:pt x="6502" y="2476"/>
                  <a:pt x="6216" y="2476"/>
                </a:cubicBezTo>
                <a:cubicBezTo>
                  <a:pt x="6371" y="2357"/>
                  <a:pt x="6502" y="2214"/>
                  <a:pt x="6597" y="2083"/>
                </a:cubicBezTo>
                <a:cubicBezTo>
                  <a:pt x="6930" y="2012"/>
                  <a:pt x="7264" y="1893"/>
                  <a:pt x="7609" y="1738"/>
                </a:cubicBezTo>
                <a:cubicBezTo>
                  <a:pt x="7747" y="1678"/>
                  <a:pt x="7888" y="1650"/>
                  <a:pt x="8025" y="1650"/>
                </a:cubicBezTo>
                <a:close/>
                <a:moveTo>
                  <a:pt x="8009" y="0"/>
                </a:moveTo>
                <a:cubicBezTo>
                  <a:pt x="7651" y="0"/>
                  <a:pt x="7281" y="75"/>
                  <a:pt x="6918" y="238"/>
                </a:cubicBezTo>
                <a:cubicBezTo>
                  <a:pt x="6448" y="446"/>
                  <a:pt x="5987" y="550"/>
                  <a:pt x="5525" y="550"/>
                </a:cubicBezTo>
                <a:cubicBezTo>
                  <a:pt x="5064" y="550"/>
                  <a:pt x="4603" y="446"/>
                  <a:pt x="4132" y="238"/>
                </a:cubicBezTo>
                <a:cubicBezTo>
                  <a:pt x="3787" y="81"/>
                  <a:pt x="3416" y="3"/>
                  <a:pt x="3046" y="3"/>
                </a:cubicBezTo>
                <a:cubicBezTo>
                  <a:pt x="2714" y="3"/>
                  <a:pt x="2383" y="66"/>
                  <a:pt x="2073" y="190"/>
                </a:cubicBezTo>
                <a:cubicBezTo>
                  <a:pt x="739" y="714"/>
                  <a:pt x="1" y="2262"/>
                  <a:pt x="775" y="3488"/>
                </a:cubicBezTo>
                <a:cubicBezTo>
                  <a:pt x="977" y="3810"/>
                  <a:pt x="1144" y="4214"/>
                  <a:pt x="1251" y="4703"/>
                </a:cubicBezTo>
                <a:cubicBezTo>
                  <a:pt x="1261" y="4779"/>
                  <a:pt x="1323" y="4832"/>
                  <a:pt x="1391" y="4832"/>
                </a:cubicBezTo>
                <a:cubicBezTo>
                  <a:pt x="1408" y="4832"/>
                  <a:pt x="1425" y="4829"/>
                  <a:pt x="1442" y="4822"/>
                </a:cubicBezTo>
                <a:cubicBezTo>
                  <a:pt x="1525" y="4810"/>
                  <a:pt x="1584" y="4714"/>
                  <a:pt x="1561" y="4631"/>
                </a:cubicBezTo>
                <a:cubicBezTo>
                  <a:pt x="1442" y="4119"/>
                  <a:pt x="1263" y="3679"/>
                  <a:pt x="1037" y="3321"/>
                </a:cubicBezTo>
                <a:cubicBezTo>
                  <a:pt x="198" y="2014"/>
                  <a:pt x="1460" y="347"/>
                  <a:pt x="3047" y="347"/>
                </a:cubicBezTo>
                <a:cubicBezTo>
                  <a:pt x="3353" y="347"/>
                  <a:pt x="3672" y="409"/>
                  <a:pt x="3989" y="547"/>
                </a:cubicBezTo>
                <a:cubicBezTo>
                  <a:pt x="4501" y="779"/>
                  <a:pt x="5007" y="895"/>
                  <a:pt x="5513" y="895"/>
                </a:cubicBezTo>
                <a:cubicBezTo>
                  <a:pt x="6019" y="895"/>
                  <a:pt x="6525" y="779"/>
                  <a:pt x="7037" y="547"/>
                </a:cubicBezTo>
                <a:cubicBezTo>
                  <a:pt x="7358" y="404"/>
                  <a:pt x="7683" y="338"/>
                  <a:pt x="7998" y="338"/>
                </a:cubicBezTo>
                <a:cubicBezTo>
                  <a:pt x="9380" y="338"/>
                  <a:pt x="10560" y="1602"/>
                  <a:pt x="10240" y="3095"/>
                </a:cubicBezTo>
                <a:cubicBezTo>
                  <a:pt x="10026" y="4024"/>
                  <a:pt x="9954" y="5072"/>
                  <a:pt x="10014" y="6346"/>
                </a:cubicBezTo>
                <a:cubicBezTo>
                  <a:pt x="10074" y="7655"/>
                  <a:pt x="9359" y="8858"/>
                  <a:pt x="8169" y="9405"/>
                </a:cubicBezTo>
                <a:cubicBezTo>
                  <a:pt x="8049" y="9465"/>
                  <a:pt x="8097" y="9501"/>
                  <a:pt x="7752" y="10513"/>
                </a:cubicBezTo>
                <a:cubicBezTo>
                  <a:pt x="7704" y="10596"/>
                  <a:pt x="7633" y="10763"/>
                  <a:pt x="7538" y="10763"/>
                </a:cubicBezTo>
                <a:cubicBezTo>
                  <a:pt x="7478" y="10763"/>
                  <a:pt x="7478" y="10763"/>
                  <a:pt x="7418" y="10668"/>
                </a:cubicBezTo>
                <a:cubicBezTo>
                  <a:pt x="7276" y="10406"/>
                  <a:pt x="7264" y="10191"/>
                  <a:pt x="7145" y="9822"/>
                </a:cubicBezTo>
                <a:cubicBezTo>
                  <a:pt x="7002" y="9298"/>
                  <a:pt x="7240" y="8751"/>
                  <a:pt x="7740" y="8513"/>
                </a:cubicBezTo>
                <a:cubicBezTo>
                  <a:pt x="8538" y="8143"/>
                  <a:pt x="9062" y="7310"/>
                  <a:pt x="9014" y="6381"/>
                </a:cubicBezTo>
                <a:cubicBezTo>
                  <a:pt x="8954" y="5036"/>
                  <a:pt x="9026" y="3881"/>
                  <a:pt x="9252" y="2869"/>
                </a:cubicBezTo>
                <a:cubicBezTo>
                  <a:pt x="9446" y="2036"/>
                  <a:pt x="8772" y="1321"/>
                  <a:pt x="7976" y="1321"/>
                </a:cubicBezTo>
                <a:cubicBezTo>
                  <a:pt x="7793" y="1321"/>
                  <a:pt x="7605" y="1358"/>
                  <a:pt x="7418" y="1440"/>
                </a:cubicBezTo>
                <a:cubicBezTo>
                  <a:pt x="6781" y="1726"/>
                  <a:pt x="6139" y="1869"/>
                  <a:pt x="5497" y="1869"/>
                </a:cubicBezTo>
                <a:cubicBezTo>
                  <a:pt x="4856" y="1869"/>
                  <a:pt x="4216" y="1726"/>
                  <a:pt x="3585" y="1440"/>
                </a:cubicBezTo>
                <a:cubicBezTo>
                  <a:pt x="3395" y="1357"/>
                  <a:pt x="3206" y="1320"/>
                  <a:pt x="3026" y="1320"/>
                </a:cubicBezTo>
                <a:cubicBezTo>
                  <a:pt x="2152" y="1320"/>
                  <a:pt x="1473" y="2184"/>
                  <a:pt x="1858" y="2786"/>
                </a:cubicBezTo>
                <a:cubicBezTo>
                  <a:pt x="2096" y="3143"/>
                  <a:pt x="2275" y="3560"/>
                  <a:pt x="2406" y="4036"/>
                </a:cubicBezTo>
                <a:cubicBezTo>
                  <a:pt x="2858" y="5536"/>
                  <a:pt x="2763" y="7417"/>
                  <a:pt x="2620" y="8965"/>
                </a:cubicBezTo>
                <a:cubicBezTo>
                  <a:pt x="2587" y="9208"/>
                  <a:pt x="2380" y="9409"/>
                  <a:pt x="2142" y="9409"/>
                </a:cubicBezTo>
                <a:cubicBezTo>
                  <a:pt x="2123" y="9409"/>
                  <a:pt x="2104" y="9408"/>
                  <a:pt x="2084" y="9405"/>
                </a:cubicBezTo>
                <a:cubicBezTo>
                  <a:pt x="1811" y="9382"/>
                  <a:pt x="1620" y="9144"/>
                  <a:pt x="1632" y="8870"/>
                </a:cubicBezTo>
                <a:cubicBezTo>
                  <a:pt x="1739" y="7870"/>
                  <a:pt x="1823" y="6596"/>
                  <a:pt x="1680" y="5417"/>
                </a:cubicBezTo>
                <a:cubicBezTo>
                  <a:pt x="1668" y="5334"/>
                  <a:pt x="1584" y="5274"/>
                  <a:pt x="1501" y="5274"/>
                </a:cubicBezTo>
                <a:cubicBezTo>
                  <a:pt x="1406" y="5286"/>
                  <a:pt x="1346" y="5357"/>
                  <a:pt x="1346" y="5453"/>
                </a:cubicBezTo>
                <a:cubicBezTo>
                  <a:pt x="1489" y="6596"/>
                  <a:pt x="1394" y="7858"/>
                  <a:pt x="1311" y="8846"/>
                </a:cubicBezTo>
                <a:cubicBezTo>
                  <a:pt x="1263" y="9286"/>
                  <a:pt x="1584" y="9691"/>
                  <a:pt x="2037" y="9739"/>
                </a:cubicBezTo>
                <a:cubicBezTo>
                  <a:pt x="2059" y="9741"/>
                  <a:pt x="2082" y="9742"/>
                  <a:pt x="2104" y="9742"/>
                </a:cubicBezTo>
                <a:cubicBezTo>
                  <a:pt x="2518" y="9742"/>
                  <a:pt x="2885" y="9430"/>
                  <a:pt x="2930" y="9001"/>
                </a:cubicBezTo>
                <a:cubicBezTo>
                  <a:pt x="2977" y="8501"/>
                  <a:pt x="3013" y="8024"/>
                  <a:pt x="3037" y="7596"/>
                </a:cubicBezTo>
                <a:cubicBezTo>
                  <a:pt x="3347" y="7739"/>
                  <a:pt x="3918" y="7810"/>
                  <a:pt x="4251" y="7846"/>
                </a:cubicBezTo>
                <a:cubicBezTo>
                  <a:pt x="4751" y="7905"/>
                  <a:pt x="5347" y="7917"/>
                  <a:pt x="5942" y="7917"/>
                </a:cubicBezTo>
                <a:cubicBezTo>
                  <a:pt x="6323" y="7917"/>
                  <a:pt x="6716" y="7905"/>
                  <a:pt x="7085" y="7893"/>
                </a:cubicBezTo>
                <a:cubicBezTo>
                  <a:pt x="7442" y="7870"/>
                  <a:pt x="7883" y="7834"/>
                  <a:pt x="8228" y="7751"/>
                </a:cubicBezTo>
                <a:lnTo>
                  <a:pt x="8228" y="7751"/>
                </a:lnTo>
                <a:cubicBezTo>
                  <a:pt x="7990" y="8036"/>
                  <a:pt x="7764" y="8143"/>
                  <a:pt x="7561" y="8262"/>
                </a:cubicBezTo>
                <a:cubicBezTo>
                  <a:pt x="6966" y="8560"/>
                  <a:pt x="6656" y="9275"/>
                  <a:pt x="6835" y="9929"/>
                </a:cubicBezTo>
                <a:cubicBezTo>
                  <a:pt x="6930" y="10287"/>
                  <a:pt x="6966" y="10537"/>
                  <a:pt x="7145" y="10846"/>
                </a:cubicBezTo>
                <a:cubicBezTo>
                  <a:pt x="7204" y="10965"/>
                  <a:pt x="7299" y="11108"/>
                  <a:pt x="7526" y="11108"/>
                </a:cubicBezTo>
                <a:cubicBezTo>
                  <a:pt x="7533" y="11108"/>
                  <a:pt x="7540" y="11109"/>
                  <a:pt x="7547" y="11109"/>
                </a:cubicBezTo>
                <a:cubicBezTo>
                  <a:pt x="7806" y="11109"/>
                  <a:pt x="7934" y="10899"/>
                  <a:pt x="8049" y="10668"/>
                </a:cubicBezTo>
                <a:cubicBezTo>
                  <a:pt x="8073" y="10596"/>
                  <a:pt x="8014" y="10763"/>
                  <a:pt x="8359" y="9691"/>
                </a:cubicBezTo>
                <a:cubicBezTo>
                  <a:pt x="9645" y="9060"/>
                  <a:pt x="10419" y="7751"/>
                  <a:pt x="10335" y="6346"/>
                </a:cubicBezTo>
                <a:cubicBezTo>
                  <a:pt x="10276" y="5107"/>
                  <a:pt x="10335" y="4060"/>
                  <a:pt x="10550" y="3190"/>
                </a:cubicBezTo>
                <a:cubicBezTo>
                  <a:pt x="10948" y="1453"/>
                  <a:pt x="9589" y="0"/>
                  <a:pt x="800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81" name="Google Shape;10281;p59"/>
          <p:cNvGrpSpPr/>
          <p:nvPr/>
        </p:nvGrpSpPr>
        <p:grpSpPr>
          <a:xfrm>
            <a:off x="7184363" y="3809604"/>
            <a:ext cx="202184" cy="352762"/>
            <a:chOff x="7184363" y="3809604"/>
            <a:chExt cx="202184" cy="352762"/>
          </a:xfrm>
        </p:grpSpPr>
        <p:sp>
          <p:nvSpPr>
            <p:cNvPr id="10282" name="Google Shape;10282;p59"/>
            <p:cNvSpPr/>
            <p:nvPr/>
          </p:nvSpPr>
          <p:spPr>
            <a:xfrm>
              <a:off x="7273111" y="3823716"/>
              <a:ext cx="23541" cy="23573"/>
            </a:xfrm>
            <a:custGeom>
              <a:avLst/>
              <a:gdLst/>
              <a:ahLst/>
              <a:cxnLst/>
              <a:rect l="l" t="t" r="r" b="b"/>
              <a:pathLst>
                <a:path w="739" h="740" extrusionOk="0">
                  <a:moveTo>
                    <a:pt x="370" y="1"/>
                  </a:moveTo>
                  <a:cubicBezTo>
                    <a:pt x="287" y="1"/>
                    <a:pt x="203" y="72"/>
                    <a:pt x="203" y="168"/>
                  </a:cubicBezTo>
                  <a:lnTo>
                    <a:pt x="203" y="203"/>
                  </a:lnTo>
                  <a:lnTo>
                    <a:pt x="168" y="203"/>
                  </a:lnTo>
                  <a:cubicBezTo>
                    <a:pt x="72" y="203"/>
                    <a:pt x="1" y="287"/>
                    <a:pt x="1" y="370"/>
                  </a:cubicBezTo>
                  <a:cubicBezTo>
                    <a:pt x="1" y="465"/>
                    <a:pt x="72" y="537"/>
                    <a:pt x="168" y="537"/>
                  </a:cubicBezTo>
                  <a:lnTo>
                    <a:pt x="203" y="537"/>
                  </a:lnTo>
                  <a:lnTo>
                    <a:pt x="203" y="584"/>
                  </a:lnTo>
                  <a:cubicBezTo>
                    <a:pt x="203" y="668"/>
                    <a:pt x="287" y="739"/>
                    <a:pt x="370" y="739"/>
                  </a:cubicBezTo>
                  <a:cubicBezTo>
                    <a:pt x="453" y="739"/>
                    <a:pt x="537" y="668"/>
                    <a:pt x="537" y="584"/>
                  </a:cubicBezTo>
                  <a:lnTo>
                    <a:pt x="537" y="537"/>
                  </a:lnTo>
                  <a:lnTo>
                    <a:pt x="572" y="537"/>
                  </a:lnTo>
                  <a:cubicBezTo>
                    <a:pt x="668" y="537"/>
                    <a:pt x="739" y="465"/>
                    <a:pt x="739" y="370"/>
                  </a:cubicBezTo>
                  <a:cubicBezTo>
                    <a:pt x="739" y="287"/>
                    <a:pt x="668" y="203"/>
                    <a:pt x="572" y="203"/>
                  </a:cubicBezTo>
                  <a:lnTo>
                    <a:pt x="537" y="203"/>
                  </a:lnTo>
                  <a:lnTo>
                    <a:pt x="537" y="168"/>
                  </a:lnTo>
                  <a:cubicBezTo>
                    <a:pt x="537" y="72"/>
                    <a:pt x="453" y="1"/>
                    <a:pt x="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3" name="Google Shape;10283;p59"/>
            <p:cNvSpPr/>
            <p:nvPr/>
          </p:nvSpPr>
          <p:spPr>
            <a:xfrm>
              <a:off x="7184363" y="3809604"/>
              <a:ext cx="202184" cy="352762"/>
            </a:xfrm>
            <a:custGeom>
              <a:avLst/>
              <a:gdLst/>
              <a:ahLst/>
              <a:cxnLst/>
              <a:rect l="l" t="t" r="r" b="b"/>
              <a:pathLst>
                <a:path w="6347" h="11074" extrusionOk="0">
                  <a:moveTo>
                    <a:pt x="3159" y="310"/>
                  </a:moveTo>
                  <a:cubicBezTo>
                    <a:pt x="3623" y="310"/>
                    <a:pt x="4091" y="390"/>
                    <a:pt x="4561" y="551"/>
                  </a:cubicBezTo>
                  <a:lnTo>
                    <a:pt x="4347" y="1087"/>
                  </a:lnTo>
                  <a:lnTo>
                    <a:pt x="4168" y="1563"/>
                  </a:lnTo>
                  <a:cubicBezTo>
                    <a:pt x="3841" y="1450"/>
                    <a:pt x="3510" y="1393"/>
                    <a:pt x="3175" y="1393"/>
                  </a:cubicBezTo>
                  <a:cubicBezTo>
                    <a:pt x="2840" y="1393"/>
                    <a:pt x="2501" y="1450"/>
                    <a:pt x="2156" y="1563"/>
                  </a:cubicBezTo>
                  <a:lnTo>
                    <a:pt x="1775" y="551"/>
                  </a:lnTo>
                  <a:cubicBezTo>
                    <a:pt x="2233" y="390"/>
                    <a:pt x="2695" y="310"/>
                    <a:pt x="3159" y="310"/>
                  </a:cubicBezTo>
                  <a:close/>
                  <a:moveTo>
                    <a:pt x="4549" y="1408"/>
                  </a:moveTo>
                  <a:cubicBezTo>
                    <a:pt x="5025" y="1754"/>
                    <a:pt x="5299" y="2301"/>
                    <a:pt x="5299" y="2885"/>
                  </a:cubicBezTo>
                  <a:cubicBezTo>
                    <a:pt x="5299" y="3289"/>
                    <a:pt x="5287" y="4075"/>
                    <a:pt x="5240" y="4421"/>
                  </a:cubicBezTo>
                  <a:cubicBezTo>
                    <a:pt x="5192" y="4849"/>
                    <a:pt x="4835" y="5171"/>
                    <a:pt x="4406" y="5171"/>
                  </a:cubicBezTo>
                  <a:lnTo>
                    <a:pt x="4001" y="5171"/>
                  </a:lnTo>
                  <a:cubicBezTo>
                    <a:pt x="4430" y="4897"/>
                    <a:pt x="4716" y="4397"/>
                    <a:pt x="4716" y="3849"/>
                  </a:cubicBezTo>
                  <a:lnTo>
                    <a:pt x="4716" y="2611"/>
                  </a:lnTo>
                  <a:cubicBezTo>
                    <a:pt x="4716" y="2599"/>
                    <a:pt x="4692" y="2551"/>
                    <a:pt x="4692" y="2527"/>
                  </a:cubicBezTo>
                  <a:lnTo>
                    <a:pt x="4632" y="2468"/>
                  </a:lnTo>
                  <a:cubicBezTo>
                    <a:pt x="4168" y="2277"/>
                    <a:pt x="3799" y="1896"/>
                    <a:pt x="3799" y="1885"/>
                  </a:cubicBezTo>
                  <a:cubicBezTo>
                    <a:pt x="3767" y="1853"/>
                    <a:pt x="3726" y="1838"/>
                    <a:pt x="3685" y="1838"/>
                  </a:cubicBezTo>
                  <a:cubicBezTo>
                    <a:pt x="3649" y="1838"/>
                    <a:pt x="3613" y="1850"/>
                    <a:pt x="3585" y="1873"/>
                  </a:cubicBezTo>
                  <a:cubicBezTo>
                    <a:pt x="3585" y="1873"/>
                    <a:pt x="2823" y="2432"/>
                    <a:pt x="1727" y="2456"/>
                  </a:cubicBezTo>
                  <a:cubicBezTo>
                    <a:pt x="1715" y="2456"/>
                    <a:pt x="1680" y="2468"/>
                    <a:pt x="1668" y="2480"/>
                  </a:cubicBezTo>
                  <a:cubicBezTo>
                    <a:pt x="1656" y="2492"/>
                    <a:pt x="1620" y="2492"/>
                    <a:pt x="1608" y="2516"/>
                  </a:cubicBezTo>
                  <a:cubicBezTo>
                    <a:pt x="1596" y="2527"/>
                    <a:pt x="1596" y="2551"/>
                    <a:pt x="1572" y="2575"/>
                  </a:cubicBezTo>
                  <a:cubicBezTo>
                    <a:pt x="1560" y="2587"/>
                    <a:pt x="1549" y="2599"/>
                    <a:pt x="1549" y="2635"/>
                  </a:cubicBezTo>
                  <a:lnTo>
                    <a:pt x="1549" y="3087"/>
                  </a:lnTo>
                  <a:cubicBezTo>
                    <a:pt x="1549" y="3182"/>
                    <a:pt x="1620" y="3254"/>
                    <a:pt x="1715" y="3254"/>
                  </a:cubicBezTo>
                  <a:cubicBezTo>
                    <a:pt x="1799" y="3254"/>
                    <a:pt x="1870" y="3182"/>
                    <a:pt x="1870" y="3087"/>
                  </a:cubicBezTo>
                  <a:lnTo>
                    <a:pt x="1870" y="2778"/>
                  </a:lnTo>
                  <a:cubicBezTo>
                    <a:pt x="2751" y="2730"/>
                    <a:pt x="3406" y="2397"/>
                    <a:pt x="3644" y="2230"/>
                  </a:cubicBezTo>
                  <a:cubicBezTo>
                    <a:pt x="3775" y="2349"/>
                    <a:pt x="4061" y="2575"/>
                    <a:pt x="4394" y="2730"/>
                  </a:cubicBezTo>
                  <a:lnTo>
                    <a:pt x="4394" y="3861"/>
                  </a:lnTo>
                  <a:cubicBezTo>
                    <a:pt x="4394" y="4563"/>
                    <a:pt x="3823" y="5135"/>
                    <a:pt x="3120" y="5135"/>
                  </a:cubicBezTo>
                  <a:cubicBezTo>
                    <a:pt x="2430" y="5135"/>
                    <a:pt x="1858" y="4563"/>
                    <a:pt x="1858" y="3861"/>
                  </a:cubicBezTo>
                  <a:cubicBezTo>
                    <a:pt x="1858" y="3778"/>
                    <a:pt x="1787" y="3706"/>
                    <a:pt x="1691" y="3706"/>
                  </a:cubicBezTo>
                  <a:cubicBezTo>
                    <a:pt x="1608" y="3706"/>
                    <a:pt x="1537" y="3778"/>
                    <a:pt x="1537" y="3861"/>
                  </a:cubicBezTo>
                  <a:cubicBezTo>
                    <a:pt x="1537" y="4421"/>
                    <a:pt x="1811" y="4909"/>
                    <a:pt x="2251" y="5194"/>
                  </a:cubicBezTo>
                  <a:lnTo>
                    <a:pt x="1846" y="5194"/>
                  </a:lnTo>
                  <a:cubicBezTo>
                    <a:pt x="1441" y="5171"/>
                    <a:pt x="1084" y="4849"/>
                    <a:pt x="1049" y="4421"/>
                  </a:cubicBezTo>
                  <a:cubicBezTo>
                    <a:pt x="1013" y="4063"/>
                    <a:pt x="989" y="3289"/>
                    <a:pt x="989" y="2885"/>
                  </a:cubicBezTo>
                  <a:cubicBezTo>
                    <a:pt x="989" y="2289"/>
                    <a:pt x="1263" y="1754"/>
                    <a:pt x="1727" y="1408"/>
                  </a:cubicBezTo>
                  <a:cubicBezTo>
                    <a:pt x="1906" y="1825"/>
                    <a:pt x="1858" y="1885"/>
                    <a:pt x="2001" y="1932"/>
                  </a:cubicBezTo>
                  <a:cubicBezTo>
                    <a:pt x="2013" y="1932"/>
                    <a:pt x="2025" y="1944"/>
                    <a:pt x="2037" y="1944"/>
                  </a:cubicBezTo>
                  <a:cubicBezTo>
                    <a:pt x="2049" y="1944"/>
                    <a:pt x="2084" y="1944"/>
                    <a:pt x="2096" y="1932"/>
                  </a:cubicBezTo>
                  <a:cubicBezTo>
                    <a:pt x="2453" y="1795"/>
                    <a:pt x="2802" y="1727"/>
                    <a:pt x="3147" y="1727"/>
                  </a:cubicBezTo>
                  <a:cubicBezTo>
                    <a:pt x="3492" y="1727"/>
                    <a:pt x="3835" y="1795"/>
                    <a:pt x="4180" y="1932"/>
                  </a:cubicBezTo>
                  <a:cubicBezTo>
                    <a:pt x="4204" y="1938"/>
                    <a:pt x="4227" y="1941"/>
                    <a:pt x="4248" y="1941"/>
                  </a:cubicBezTo>
                  <a:cubicBezTo>
                    <a:pt x="4269" y="1941"/>
                    <a:pt x="4287" y="1938"/>
                    <a:pt x="4299" y="1932"/>
                  </a:cubicBezTo>
                  <a:cubicBezTo>
                    <a:pt x="4347" y="1920"/>
                    <a:pt x="4382" y="1885"/>
                    <a:pt x="4394" y="1837"/>
                  </a:cubicBezTo>
                  <a:lnTo>
                    <a:pt x="4549" y="1408"/>
                  </a:lnTo>
                  <a:close/>
                  <a:moveTo>
                    <a:pt x="3573" y="5445"/>
                  </a:moveTo>
                  <a:lnTo>
                    <a:pt x="3573" y="6028"/>
                  </a:lnTo>
                  <a:cubicBezTo>
                    <a:pt x="3573" y="6111"/>
                    <a:pt x="3644" y="6183"/>
                    <a:pt x="3739" y="6183"/>
                  </a:cubicBezTo>
                  <a:lnTo>
                    <a:pt x="3954" y="6183"/>
                  </a:lnTo>
                  <a:lnTo>
                    <a:pt x="3156" y="7576"/>
                  </a:lnTo>
                  <a:lnTo>
                    <a:pt x="2346" y="6183"/>
                  </a:lnTo>
                  <a:lnTo>
                    <a:pt x="2573" y="6183"/>
                  </a:lnTo>
                  <a:cubicBezTo>
                    <a:pt x="2668" y="6183"/>
                    <a:pt x="2739" y="6111"/>
                    <a:pt x="2739" y="6028"/>
                  </a:cubicBezTo>
                  <a:lnTo>
                    <a:pt x="2739" y="5445"/>
                  </a:lnTo>
                  <a:cubicBezTo>
                    <a:pt x="2876" y="5480"/>
                    <a:pt x="3019" y="5498"/>
                    <a:pt x="3160" y="5498"/>
                  </a:cubicBezTo>
                  <a:cubicBezTo>
                    <a:pt x="3302" y="5498"/>
                    <a:pt x="3442" y="5480"/>
                    <a:pt x="3573" y="5445"/>
                  </a:cubicBezTo>
                  <a:close/>
                  <a:moveTo>
                    <a:pt x="3180" y="0"/>
                  </a:moveTo>
                  <a:cubicBezTo>
                    <a:pt x="2626" y="0"/>
                    <a:pt x="2072" y="105"/>
                    <a:pt x="1525" y="313"/>
                  </a:cubicBezTo>
                  <a:cubicBezTo>
                    <a:pt x="1477" y="325"/>
                    <a:pt x="1441" y="349"/>
                    <a:pt x="1430" y="396"/>
                  </a:cubicBezTo>
                  <a:cubicBezTo>
                    <a:pt x="1418" y="444"/>
                    <a:pt x="1418" y="492"/>
                    <a:pt x="1430" y="515"/>
                  </a:cubicBezTo>
                  <a:lnTo>
                    <a:pt x="1656" y="1099"/>
                  </a:lnTo>
                  <a:cubicBezTo>
                    <a:pt x="1060" y="1504"/>
                    <a:pt x="703" y="2158"/>
                    <a:pt x="703" y="2861"/>
                  </a:cubicBezTo>
                  <a:cubicBezTo>
                    <a:pt x="703" y="3218"/>
                    <a:pt x="715" y="4051"/>
                    <a:pt x="763" y="4444"/>
                  </a:cubicBezTo>
                  <a:cubicBezTo>
                    <a:pt x="822" y="5040"/>
                    <a:pt x="1322" y="5504"/>
                    <a:pt x="1918" y="5504"/>
                  </a:cubicBezTo>
                  <a:lnTo>
                    <a:pt x="2453" y="5504"/>
                  </a:lnTo>
                  <a:lnTo>
                    <a:pt x="2453" y="5861"/>
                  </a:lnTo>
                  <a:cubicBezTo>
                    <a:pt x="1549" y="5873"/>
                    <a:pt x="775" y="6480"/>
                    <a:pt x="572" y="7361"/>
                  </a:cubicBezTo>
                  <a:lnTo>
                    <a:pt x="108" y="9255"/>
                  </a:lnTo>
                  <a:cubicBezTo>
                    <a:pt x="1" y="9671"/>
                    <a:pt x="191" y="10100"/>
                    <a:pt x="572" y="10314"/>
                  </a:cubicBezTo>
                  <a:cubicBezTo>
                    <a:pt x="1441" y="10820"/>
                    <a:pt x="2320" y="11073"/>
                    <a:pt x="3199" y="11073"/>
                  </a:cubicBezTo>
                  <a:cubicBezTo>
                    <a:pt x="4079" y="11073"/>
                    <a:pt x="4960" y="10820"/>
                    <a:pt x="5835" y="10314"/>
                  </a:cubicBezTo>
                  <a:cubicBezTo>
                    <a:pt x="6168" y="10100"/>
                    <a:pt x="6347" y="9659"/>
                    <a:pt x="6240" y="9255"/>
                  </a:cubicBezTo>
                  <a:lnTo>
                    <a:pt x="6061" y="8504"/>
                  </a:lnTo>
                  <a:cubicBezTo>
                    <a:pt x="6050" y="8430"/>
                    <a:pt x="5972" y="8384"/>
                    <a:pt x="5896" y="8384"/>
                  </a:cubicBezTo>
                  <a:cubicBezTo>
                    <a:pt x="5888" y="8384"/>
                    <a:pt x="5879" y="8384"/>
                    <a:pt x="5871" y="8385"/>
                  </a:cubicBezTo>
                  <a:cubicBezTo>
                    <a:pt x="5775" y="8409"/>
                    <a:pt x="5728" y="8493"/>
                    <a:pt x="5751" y="8588"/>
                  </a:cubicBezTo>
                  <a:lnTo>
                    <a:pt x="5930" y="9326"/>
                  </a:lnTo>
                  <a:cubicBezTo>
                    <a:pt x="5990" y="9600"/>
                    <a:pt x="5871" y="9897"/>
                    <a:pt x="5632" y="10028"/>
                  </a:cubicBezTo>
                  <a:cubicBezTo>
                    <a:pt x="4799" y="10505"/>
                    <a:pt x="3980" y="10743"/>
                    <a:pt x="3162" y="10743"/>
                  </a:cubicBezTo>
                  <a:cubicBezTo>
                    <a:pt x="2343" y="10743"/>
                    <a:pt x="1525" y="10505"/>
                    <a:pt x="691" y="10028"/>
                  </a:cubicBezTo>
                  <a:cubicBezTo>
                    <a:pt x="453" y="9897"/>
                    <a:pt x="310" y="9600"/>
                    <a:pt x="394" y="9326"/>
                  </a:cubicBezTo>
                  <a:lnTo>
                    <a:pt x="846" y="7433"/>
                  </a:lnTo>
                  <a:cubicBezTo>
                    <a:pt x="1001" y="6838"/>
                    <a:pt x="1441" y="6397"/>
                    <a:pt x="2025" y="6242"/>
                  </a:cubicBezTo>
                  <a:lnTo>
                    <a:pt x="3025" y="7992"/>
                  </a:lnTo>
                  <a:cubicBezTo>
                    <a:pt x="3055" y="8040"/>
                    <a:pt x="3111" y="8064"/>
                    <a:pt x="3168" y="8064"/>
                  </a:cubicBezTo>
                  <a:cubicBezTo>
                    <a:pt x="3224" y="8064"/>
                    <a:pt x="3281" y="8040"/>
                    <a:pt x="3311" y="7992"/>
                  </a:cubicBezTo>
                  <a:lnTo>
                    <a:pt x="4299" y="6242"/>
                  </a:lnTo>
                  <a:cubicBezTo>
                    <a:pt x="4870" y="6397"/>
                    <a:pt x="5335" y="6838"/>
                    <a:pt x="5478" y="7433"/>
                  </a:cubicBezTo>
                  <a:lnTo>
                    <a:pt x="5573" y="7826"/>
                  </a:lnTo>
                  <a:cubicBezTo>
                    <a:pt x="5584" y="7901"/>
                    <a:pt x="5652" y="7947"/>
                    <a:pt x="5735" y="7947"/>
                  </a:cubicBezTo>
                  <a:cubicBezTo>
                    <a:pt x="5744" y="7947"/>
                    <a:pt x="5754" y="7946"/>
                    <a:pt x="5763" y="7945"/>
                  </a:cubicBezTo>
                  <a:cubicBezTo>
                    <a:pt x="5847" y="7921"/>
                    <a:pt x="5894" y="7838"/>
                    <a:pt x="5882" y="7754"/>
                  </a:cubicBezTo>
                  <a:lnTo>
                    <a:pt x="5787" y="7361"/>
                  </a:lnTo>
                  <a:cubicBezTo>
                    <a:pt x="5585" y="6480"/>
                    <a:pt x="4811" y="5873"/>
                    <a:pt x="3906" y="5861"/>
                  </a:cubicBezTo>
                  <a:lnTo>
                    <a:pt x="3906" y="5504"/>
                  </a:lnTo>
                  <a:lnTo>
                    <a:pt x="4442" y="5504"/>
                  </a:lnTo>
                  <a:cubicBezTo>
                    <a:pt x="5037" y="5504"/>
                    <a:pt x="5537" y="5052"/>
                    <a:pt x="5597" y="4444"/>
                  </a:cubicBezTo>
                  <a:cubicBezTo>
                    <a:pt x="5644" y="4051"/>
                    <a:pt x="5656" y="3218"/>
                    <a:pt x="5656" y="2861"/>
                  </a:cubicBezTo>
                  <a:cubicBezTo>
                    <a:pt x="5656" y="2135"/>
                    <a:pt x="5287" y="1492"/>
                    <a:pt x="4704" y="1099"/>
                  </a:cubicBezTo>
                  <a:lnTo>
                    <a:pt x="4930" y="515"/>
                  </a:lnTo>
                  <a:cubicBezTo>
                    <a:pt x="4954" y="432"/>
                    <a:pt x="4918" y="337"/>
                    <a:pt x="4835" y="313"/>
                  </a:cubicBezTo>
                  <a:cubicBezTo>
                    <a:pt x="4287" y="105"/>
                    <a:pt x="3733" y="0"/>
                    <a:pt x="3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84" name="Google Shape;10284;p59"/>
          <p:cNvGrpSpPr/>
          <p:nvPr/>
        </p:nvGrpSpPr>
        <p:grpSpPr>
          <a:xfrm>
            <a:off x="7571624" y="3808935"/>
            <a:ext cx="292047" cy="352762"/>
            <a:chOff x="7571624" y="3808935"/>
            <a:chExt cx="292047" cy="352762"/>
          </a:xfrm>
        </p:grpSpPr>
        <p:sp>
          <p:nvSpPr>
            <p:cNvPr id="10285" name="Google Shape;10285;p59"/>
            <p:cNvSpPr/>
            <p:nvPr/>
          </p:nvSpPr>
          <p:spPr>
            <a:xfrm>
              <a:off x="7802955" y="4057755"/>
              <a:ext cx="15227" cy="15195"/>
            </a:xfrm>
            <a:custGeom>
              <a:avLst/>
              <a:gdLst/>
              <a:ahLst/>
              <a:cxnLst/>
              <a:rect l="l" t="t" r="r" b="b"/>
              <a:pathLst>
                <a:path w="478" h="477" extrusionOk="0">
                  <a:moveTo>
                    <a:pt x="239" y="0"/>
                  </a:moveTo>
                  <a:cubicBezTo>
                    <a:pt x="120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cubicBezTo>
                    <a:pt x="382" y="476"/>
                    <a:pt x="477" y="381"/>
                    <a:pt x="477" y="238"/>
                  </a:cubicBezTo>
                  <a:cubicBezTo>
                    <a:pt x="477" y="107"/>
                    <a:pt x="382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6" name="Google Shape;10286;p59"/>
            <p:cNvSpPr/>
            <p:nvPr/>
          </p:nvSpPr>
          <p:spPr>
            <a:xfrm>
              <a:off x="7764665" y="4115763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7" name="Google Shape;10287;p59"/>
            <p:cNvSpPr/>
            <p:nvPr/>
          </p:nvSpPr>
          <p:spPr>
            <a:xfrm>
              <a:off x="7653141" y="4048262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cubicBezTo>
                    <a:pt x="334" y="417"/>
                    <a:pt x="418" y="334"/>
                    <a:pt x="418" y="215"/>
                  </a:cubicBezTo>
                  <a:cubicBezTo>
                    <a:pt x="418" y="96"/>
                    <a:pt x="334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8" name="Google Shape;10288;p59"/>
            <p:cNvSpPr/>
            <p:nvPr/>
          </p:nvSpPr>
          <p:spPr>
            <a:xfrm>
              <a:off x="7675917" y="4115763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15" y="1"/>
                  </a:moveTo>
                  <a:cubicBezTo>
                    <a:pt x="96" y="1"/>
                    <a:pt x="0" y="84"/>
                    <a:pt x="0" y="203"/>
                  </a:cubicBezTo>
                  <a:cubicBezTo>
                    <a:pt x="0" y="322"/>
                    <a:pt x="96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9" name="Google Shape;10289;p59"/>
            <p:cNvSpPr/>
            <p:nvPr/>
          </p:nvSpPr>
          <p:spPr>
            <a:xfrm>
              <a:off x="7715736" y="4062660"/>
              <a:ext cx="16342" cy="15959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62" y="1"/>
                  </a:moveTo>
                  <a:cubicBezTo>
                    <a:pt x="119" y="1"/>
                    <a:pt x="0" y="120"/>
                    <a:pt x="0" y="251"/>
                  </a:cubicBezTo>
                  <a:cubicBezTo>
                    <a:pt x="0" y="382"/>
                    <a:pt x="119" y="501"/>
                    <a:pt x="262" y="501"/>
                  </a:cubicBezTo>
                  <a:cubicBezTo>
                    <a:pt x="393" y="501"/>
                    <a:pt x="512" y="406"/>
                    <a:pt x="512" y="251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0" name="Google Shape;10290;p59"/>
            <p:cNvSpPr/>
            <p:nvPr/>
          </p:nvSpPr>
          <p:spPr>
            <a:xfrm>
              <a:off x="7571624" y="3808935"/>
              <a:ext cx="292047" cy="352762"/>
            </a:xfrm>
            <a:custGeom>
              <a:avLst/>
              <a:gdLst/>
              <a:ahLst/>
              <a:cxnLst/>
              <a:rect l="l" t="t" r="r" b="b"/>
              <a:pathLst>
                <a:path w="9168" h="11074" extrusionOk="0">
                  <a:moveTo>
                    <a:pt x="3085" y="6536"/>
                  </a:moveTo>
                  <a:cubicBezTo>
                    <a:pt x="3680" y="6536"/>
                    <a:pt x="4251" y="6687"/>
                    <a:pt x="4786" y="7001"/>
                  </a:cubicBezTo>
                  <a:cubicBezTo>
                    <a:pt x="5364" y="7337"/>
                    <a:pt x="5926" y="7449"/>
                    <a:pt x="6422" y="7449"/>
                  </a:cubicBezTo>
                  <a:cubicBezTo>
                    <a:pt x="6805" y="7449"/>
                    <a:pt x="7149" y="7382"/>
                    <a:pt x="7430" y="7299"/>
                  </a:cubicBezTo>
                  <a:cubicBezTo>
                    <a:pt x="7858" y="7180"/>
                    <a:pt x="8192" y="7001"/>
                    <a:pt x="8382" y="6882"/>
                  </a:cubicBezTo>
                  <a:lnTo>
                    <a:pt x="8382" y="6882"/>
                  </a:lnTo>
                  <a:cubicBezTo>
                    <a:pt x="8739" y="8156"/>
                    <a:pt x="8430" y="9502"/>
                    <a:pt x="7477" y="10454"/>
                  </a:cubicBezTo>
                  <a:cubicBezTo>
                    <a:pt x="7287" y="10645"/>
                    <a:pt x="7013" y="10764"/>
                    <a:pt x="6727" y="10764"/>
                  </a:cubicBezTo>
                  <a:lnTo>
                    <a:pt x="3000" y="10764"/>
                  </a:lnTo>
                  <a:cubicBezTo>
                    <a:pt x="2715" y="10764"/>
                    <a:pt x="2441" y="10645"/>
                    <a:pt x="2250" y="10454"/>
                  </a:cubicBezTo>
                  <a:cubicBezTo>
                    <a:pt x="1393" y="9573"/>
                    <a:pt x="988" y="8311"/>
                    <a:pt x="1334" y="6966"/>
                  </a:cubicBezTo>
                  <a:cubicBezTo>
                    <a:pt x="1476" y="6894"/>
                    <a:pt x="1846" y="6716"/>
                    <a:pt x="2357" y="6609"/>
                  </a:cubicBezTo>
                  <a:cubicBezTo>
                    <a:pt x="2603" y="6561"/>
                    <a:pt x="2846" y="6536"/>
                    <a:pt x="3085" y="6536"/>
                  </a:cubicBezTo>
                  <a:close/>
                  <a:moveTo>
                    <a:pt x="3322" y="1"/>
                  </a:moveTo>
                  <a:cubicBezTo>
                    <a:pt x="3084" y="1"/>
                    <a:pt x="2893" y="191"/>
                    <a:pt x="2893" y="429"/>
                  </a:cubicBezTo>
                  <a:lnTo>
                    <a:pt x="2893" y="822"/>
                  </a:lnTo>
                  <a:cubicBezTo>
                    <a:pt x="2893" y="1060"/>
                    <a:pt x="3084" y="1251"/>
                    <a:pt x="3322" y="1251"/>
                  </a:cubicBezTo>
                  <a:lnTo>
                    <a:pt x="3548" y="1251"/>
                  </a:lnTo>
                  <a:lnTo>
                    <a:pt x="3548" y="2584"/>
                  </a:lnTo>
                  <a:cubicBezTo>
                    <a:pt x="3548" y="2679"/>
                    <a:pt x="3620" y="2751"/>
                    <a:pt x="3715" y="2751"/>
                  </a:cubicBezTo>
                  <a:cubicBezTo>
                    <a:pt x="3798" y="2751"/>
                    <a:pt x="3870" y="2679"/>
                    <a:pt x="3870" y="2584"/>
                  </a:cubicBezTo>
                  <a:lnTo>
                    <a:pt x="3870" y="1251"/>
                  </a:lnTo>
                  <a:lnTo>
                    <a:pt x="5822" y="1251"/>
                  </a:lnTo>
                  <a:lnTo>
                    <a:pt x="5822" y="3965"/>
                  </a:lnTo>
                  <a:cubicBezTo>
                    <a:pt x="5822" y="4203"/>
                    <a:pt x="5977" y="4418"/>
                    <a:pt x="6191" y="4513"/>
                  </a:cubicBezTo>
                  <a:cubicBezTo>
                    <a:pt x="7168" y="4894"/>
                    <a:pt x="7894" y="5656"/>
                    <a:pt x="8251" y="6597"/>
                  </a:cubicBezTo>
                  <a:cubicBezTo>
                    <a:pt x="8084" y="6704"/>
                    <a:pt x="7763" y="6894"/>
                    <a:pt x="7299" y="7025"/>
                  </a:cubicBezTo>
                  <a:cubicBezTo>
                    <a:pt x="6992" y="7113"/>
                    <a:pt x="6689" y="7157"/>
                    <a:pt x="6391" y="7157"/>
                  </a:cubicBezTo>
                  <a:cubicBezTo>
                    <a:pt x="5879" y="7157"/>
                    <a:pt x="5384" y="7027"/>
                    <a:pt x="4917" y="6763"/>
                  </a:cubicBezTo>
                  <a:cubicBezTo>
                    <a:pt x="4326" y="6419"/>
                    <a:pt x="3678" y="6255"/>
                    <a:pt x="3027" y="6255"/>
                  </a:cubicBezTo>
                  <a:cubicBezTo>
                    <a:pt x="2486" y="6255"/>
                    <a:pt x="1942" y="6368"/>
                    <a:pt x="1429" y="6585"/>
                  </a:cubicBezTo>
                  <a:cubicBezTo>
                    <a:pt x="1786" y="5656"/>
                    <a:pt x="2512" y="4894"/>
                    <a:pt x="3489" y="4513"/>
                  </a:cubicBezTo>
                  <a:cubicBezTo>
                    <a:pt x="3703" y="4418"/>
                    <a:pt x="3858" y="4215"/>
                    <a:pt x="3858" y="3977"/>
                  </a:cubicBezTo>
                  <a:lnTo>
                    <a:pt x="3858" y="3394"/>
                  </a:lnTo>
                  <a:cubicBezTo>
                    <a:pt x="3858" y="3310"/>
                    <a:pt x="3786" y="3227"/>
                    <a:pt x="3691" y="3227"/>
                  </a:cubicBezTo>
                  <a:cubicBezTo>
                    <a:pt x="3608" y="3227"/>
                    <a:pt x="3536" y="3310"/>
                    <a:pt x="3536" y="3394"/>
                  </a:cubicBezTo>
                  <a:lnTo>
                    <a:pt x="3536" y="3942"/>
                  </a:lnTo>
                  <a:cubicBezTo>
                    <a:pt x="3536" y="4049"/>
                    <a:pt x="3465" y="4156"/>
                    <a:pt x="3370" y="4180"/>
                  </a:cubicBezTo>
                  <a:cubicBezTo>
                    <a:pt x="714" y="5239"/>
                    <a:pt x="0" y="8668"/>
                    <a:pt x="1988" y="10669"/>
                  </a:cubicBezTo>
                  <a:cubicBezTo>
                    <a:pt x="2238" y="10930"/>
                    <a:pt x="2596" y="11073"/>
                    <a:pt x="2953" y="11073"/>
                  </a:cubicBezTo>
                  <a:lnTo>
                    <a:pt x="6703" y="11073"/>
                  </a:lnTo>
                  <a:cubicBezTo>
                    <a:pt x="7060" y="11073"/>
                    <a:pt x="7418" y="10930"/>
                    <a:pt x="7680" y="10657"/>
                  </a:cubicBezTo>
                  <a:cubicBezTo>
                    <a:pt x="9132" y="9240"/>
                    <a:pt x="9168" y="7097"/>
                    <a:pt x="8120" y="5596"/>
                  </a:cubicBezTo>
                  <a:cubicBezTo>
                    <a:pt x="7668" y="4954"/>
                    <a:pt x="7049" y="4477"/>
                    <a:pt x="6334" y="4203"/>
                  </a:cubicBezTo>
                  <a:cubicBezTo>
                    <a:pt x="6227" y="4156"/>
                    <a:pt x="6167" y="4061"/>
                    <a:pt x="6167" y="3965"/>
                  </a:cubicBezTo>
                  <a:lnTo>
                    <a:pt x="6167" y="1251"/>
                  </a:lnTo>
                  <a:lnTo>
                    <a:pt x="6394" y="1251"/>
                  </a:lnTo>
                  <a:cubicBezTo>
                    <a:pt x="6632" y="1251"/>
                    <a:pt x="6822" y="1060"/>
                    <a:pt x="6822" y="822"/>
                  </a:cubicBezTo>
                  <a:lnTo>
                    <a:pt x="6822" y="429"/>
                  </a:lnTo>
                  <a:cubicBezTo>
                    <a:pt x="6822" y="191"/>
                    <a:pt x="6632" y="1"/>
                    <a:pt x="6394" y="1"/>
                  </a:cubicBezTo>
                  <a:lnTo>
                    <a:pt x="5525" y="1"/>
                  </a:lnTo>
                  <a:cubicBezTo>
                    <a:pt x="5441" y="1"/>
                    <a:pt x="5358" y="72"/>
                    <a:pt x="5358" y="167"/>
                  </a:cubicBezTo>
                  <a:cubicBezTo>
                    <a:pt x="5358" y="251"/>
                    <a:pt x="5441" y="334"/>
                    <a:pt x="5525" y="334"/>
                  </a:cubicBezTo>
                  <a:lnTo>
                    <a:pt x="6394" y="334"/>
                  </a:lnTo>
                  <a:cubicBezTo>
                    <a:pt x="6453" y="334"/>
                    <a:pt x="6489" y="370"/>
                    <a:pt x="6489" y="429"/>
                  </a:cubicBezTo>
                  <a:lnTo>
                    <a:pt x="6489" y="822"/>
                  </a:lnTo>
                  <a:cubicBezTo>
                    <a:pt x="6489" y="882"/>
                    <a:pt x="6453" y="929"/>
                    <a:pt x="6394" y="929"/>
                  </a:cubicBezTo>
                  <a:lnTo>
                    <a:pt x="3322" y="929"/>
                  </a:lnTo>
                  <a:cubicBezTo>
                    <a:pt x="3262" y="929"/>
                    <a:pt x="3215" y="882"/>
                    <a:pt x="3215" y="822"/>
                  </a:cubicBezTo>
                  <a:lnTo>
                    <a:pt x="3215" y="429"/>
                  </a:lnTo>
                  <a:cubicBezTo>
                    <a:pt x="3215" y="370"/>
                    <a:pt x="3262" y="334"/>
                    <a:pt x="3322" y="334"/>
                  </a:cubicBezTo>
                  <a:lnTo>
                    <a:pt x="4739" y="334"/>
                  </a:lnTo>
                  <a:cubicBezTo>
                    <a:pt x="4822" y="334"/>
                    <a:pt x="4905" y="251"/>
                    <a:pt x="4905" y="167"/>
                  </a:cubicBezTo>
                  <a:cubicBezTo>
                    <a:pt x="4905" y="72"/>
                    <a:pt x="4822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1" name="Google Shape;10291;p59"/>
          <p:cNvGrpSpPr/>
          <p:nvPr/>
        </p:nvGrpSpPr>
        <p:grpSpPr>
          <a:xfrm>
            <a:off x="2174559" y="3356116"/>
            <a:ext cx="364135" cy="359930"/>
            <a:chOff x="2174559" y="3356116"/>
            <a:chExt cx="364135" cy="359930"/>
          </a:xfrm>
        </p:grpSpPr>
        <p:sp>
          <p:nvSpPr>
            <p:cNvPr id="10292" name="Google Shape;10292;p59"/>
            <p:cNvSpPr/>
            <p:nvPr/>
          </p:nvSpPr>
          <p:spPr>
            <a:xfrm>
              <a:off x="2273915" y="3452414"/>
              <a:ext cx="166920" cy="166920"/>
            </a:xfrm>
            <a:custGeom>
              <a:avLst/>
              <a:gdLst/>
              <a:ahLst/>
              <a:cxnLst/>
              <a:rect l="l" t="t" r="r" b="b"/>
              <a:pathLst>
                <a:path w="5240" h="5240" extrusionOk="0">
                  <a:moveTo>
                    <a:pt x="4715" y="358"/>
                  </a:moveTo>
                  <a:cubicBezTo>
                    <a:pt x="4763" y="358"/>
                    <a:pt x="4787" y="370"/>
                    <a:pt x="4811" y="406"/>
                  </a:cubicBezTo>
                  <a:cubicBezTo>
                    <a:pt x="4846" y="429"/>
                    <a:pt x="4858" y="477"/>
                    <a:pt x="4858" y="513"/>
                  </a:cubicBezTo>
                  <a:cubicBezTo>
                    <a:pt x="4858" y="548"/>
                    <a:pt x="4846" y="584"/>
                    <a:pt x="4811" y="608"/>
                  </a:cubicBezTo>
                  <a:lnTo>
                    <a:pt x="4418" y="1013"/>
                  </a:lnTo>
                  <a:lnTo>
                    <a:pt x="4192" y="787"/>
                  </a:lnTo>
                  <a:lnTo>
                    <a:pt x="4608" y="406"/>
                  </a:lnTo>
                  <a:cubicBezTo>
                    <a:pt x="4644" y="370"/>
                    <a:pt x="4680" y="358"/>
                    <a:pt x="4715" y="358"/>
                  </a:cubicBezTo>
                  <a:close/>
                  <a:moveTo>
                    <a:pt x="3965" y="1048"/>
                  </a:moveTo>
                  <a:lnTo>
                    <a:pt x="4192" y="1263"/>
                  </a:lnTo>
                  <a:lnTo>
                    <a:pt x="3358" y="2084"/>
                  </a:lnTo>
                  <a:lnTo>
                    <a:pt x="3132" y="1858"/>
                  </a:lnTo>
                  <a:lnTo>
                    <a:pt x="3965" y="1048"/>
                  </a:lnTo>
                  <a:close/>
                  <a:moveTo>
                    <a:pt x="2894" y="2096"/>
                  </a:moveTo>
                  <a:lnTo>
                    <a:pt x="3120" y="2322"/>
                  </a:lnTo>
                  <a:lnTo>
                    <a:pt x="2287" y="3156"/>
                  </a:lnTo>
                  <a:lnTo>
                    <a:pt x="2060" y="2930"/>
                  </a:lnTo>
                  <a:lnTo>
                    <a:pt x="2894" y="2096"/>
                  </a:lnTo>
                  <a:close/>
                  <a:moveTo>
                    <a:pt x="1846" y="3168"/>
                  </a:moveTo>
                  <a:lnTo>
                    <a:pt x="2060" y="3394"/>
                  </a:lnTo>
                  <a:lnTo>
                    <a:pt x="1227" y="4227"/>
                  </a:lnTo>
                  <a:lnTo>
                    <a:pt x="1013" y="4001"/>
                  </a:lnTo>
                  <a:lnTo>
                    <a:pt x="1846" y="3168"/>
                  </a:lnTo>
                  <a:close/>
                  <a:moveTo>
                    <a:pt x="774" y="4227"/>
                  </a:moveTo>
                  <a:lnTo>
                    <a:pt x="989" y="4454"/>
                  </a:lnTo>
                  <a:lnTo>
                    <a:pt x="596" y="4858"/>
                  </a:lnTo>
                  <a:cubicBezTo>
                    <a:pt x="560" y="4882"/>
                    <a:pt x="513" y="4894"/>
                    <a:pt x="489" y="4894"/>
                  </a:cubicBezTo>
                  <a:cubicBezTo>
                    <a:pt x="441" y="4894"/>
                    <a:pt x="417" y="4882"/>
                    <a:pt x="382" y="4858"/>
                  </a:cubicBezTo>
                  <a:cubicBezTo>
                    <a:pt x="358" y="4823"/>
                    <a:pt x="334" y="4775"/>
                    <a:pt x="334" y="4751"/>
                  </a:cubicBezTo>
                  <a:cubicBezTo>
                    <a:pt x="322" y="4704"/>
                    <a:pt x="334" y="4656"/>
                    <a:pt x="370" y="4632"/>
                  </a:cubicBezTo>
                  <a:lnTo>
                    <a:pt x="774" y="4227"/>
                  </a:lnTo>
                  <a:close/>
                  <a:moveTo>
                    <a:pt x="4739" y="1"/>
                  </a:moveTo>
                  <a:cubicBezTo>
                    <a:pt x="4608" y="1"/>
                    <a:pt x="4489" y="48"/>
                    <a:pt x="4406" y="144"/>
                  </a:cubicBezTo>
                  <a:lnTo>
                    <a:pt x="4001" y="548"/>
                  </a:lnTo>
                  <a:lnTo>
                    <a:pt x="3846" y="406"/>
                  </a:lnTo>
                  <a:cubicBezTo>
                    <a:pt x="3816" y="376"/>
                    <a:pt x="3772" y="361"/>
                    <a:pt x="3727" y="361"/>
                  </a:cubicBezTo>
                  <a:cubicBezTo>
                    <a:pt x="3683" y="361"/>
                    <a:pt x="3638" y="376"/>
                    <a:pt x="3608" y="406"/>
                  </a:cubicBezTo>
                  <a:cubicBezTo>
                    <a:pt x="3549" y="465"/>
                    <a:pt x="3549" y="584"/>
                    <a:pt x="3608" y="644"/>
                  </a:cubicBezTo>
                  <a:lnTo>
                    <a:pt x="3763" y="787"/>
                  </a:lnTo>
                  <a:lnTo>
                    <a:pt x="2929" y="1620"/>
                  </a:lnTo>
                  <a:lnTo>
                    <a:pt x="2775" y="1477"/>
                  </a:lnTo>
                  <a:cubicBezTo>
                    <a:pt x="2745" y="1447"/>
                    <a:pt x="2700" y="1432"/>
                    <a:pt x="2656" y="1432"/>
                  </a:cubicBezTo>
                  <a:cubicBezTo>
                    <a:pt x="2611" y="1432"/>
                    <a:pt x="2566" y="1447"/>
                    <a:pt x="2537" y="1477"/>
                  </a:cubicBezTo>
                  <a:cubicBezTo>
                    <a:pt x="2477" y="1537"/>
                    <a:pt x="2477" y="1656"/>
                    <a:pt x="2537" y="1715"/>
                  </a:cubicBezTo>
                  <a:lnTo>
                    <a:pt x="2691" y="1858"/>
                  </a:lnTo>
                  <a:lnTo>
                    <a:pt x="1858" y="2692"/>
                  </a:lnTo>
                  <a:lnTo>
                    <a:pt x="1703" y="2549"/>
                  </a:lnTo>
                  <a:cubicBezTo>
                    <a:pt x="1673" y="2519"/>
                    <a:pt x="1629" y="2504"/>
                    <a:pt x="1584" y="2504"/>
                  </a:cubicBezTo>
                  <a:cubicBezTo>
                    <a:pt x="1539" y="2504"/>
                    <a:pt x="1495" y="2519"/>
                    <a:pt x="1465" y="2549"/>
                  </a:cubicBezTo>
                  <a:cubicBezTo>
                    <a:pt x="1405" y="2608"/>
                    <a:pt x="1405" y="2727"/>
                    <a:pt x="1465" y="2787"/>
                  </a:cubicBezTo>
                  <a:lnTo>
                    <a:pt x="1620" y="2930"/>
                  </a:lnTo>
                  <a:lnTo>
                    <a:pt x="786" y="3763"/>
                  </a:lnTo>
                  <a:lnTo>
                    <a:pt x="632" y="3620"/>
                  </a:lnTo>
                  <a:cubicBezTo>
                    <a:pt x="602" y="3590"/>
                    <a:pt x="557" y="3576"/>
                    <a:pt x="513" y="3576"/>
                  </a:cubicBezTo>
                  <a:cubicBezTo>
                    <a:pt x="468" y="3576"/>
                    <a:pt x="423" y="3590"/>
                    <a:pt x="393" y="3620"/>
                  </a:cubicBezTo>
                  <a:cubicBezTo>
                    <a:pt x="334" y="3680"/>
                    <a:pt x="334" y="3799"/>
                    <a:pt x="393" y="3858"/>
                  </a:cubicBezTo>
                  <a:lnTo>
                    <a:pt x="548" y="4001"/>
                  </a:lnTo>
                  <a:lnTo>
                    <a:pt x="143" y="4406"/>
                  </a:lnTo>
                  <a:cubicBezTo>
                    <a:pt x="36" y="4477"/>
                    <a:pt x="1" y="4620"/>
                    <a:pt x="1" y="4751"/>
                  </a:cubicBezTo>
                  <a:cubicBezTo>
                    <a:pt x="1" y="4882"/>
                    <a:pt x="36" y="5001"/>
                    <a:pt x="143" y="5097"/>
                  </a:cubicBezTo>
                  <a:cubicBezTo>
                    <a:pt x="239" y="5180"/>
                    <a:pt x="370" y="5239"/>
                    <a:pt x="489" y="5239"/>
                  </a:cubicBezTo>
                  <a:cubicBezTo>
                    <a:pt x="620" y="5239"/>
                    <a:pt x="739" y="5192"/>
                    <a:pt x="834" y="5097"/>
                  </a:cubicBezTo>
                  <a:lnTo>
                    <a:pt x="1227" y="4692"/>
                  </a:lnTo>
                  <a:lnTo>
                    <a:pt x="1382" y="4835"/>
                  </a:lnTo>
                  <a:cubicBezTo>
                    <a:pt x="1405" y="4870"/>
                    <a:pt x="1453" y="4882"/>
                    <a:pt x="1501" y="4882"/>
                  </a:cubicBezTo>
                  <a:cubicBezTo>
                    <a:pt x="1548" y="4882"/>
                    <a:pt x="1584" y="4870"/>
                    <a:pt x="1620" y="4835"/>
                  </a:cubicBezTo>
                  <a:cubicBezTo>
                    <a:pt x="1679" y="4775"/>
                    <a:pt x="1679" y="4656"/>
                    <a:pt x="1620" y="4597"/>
                  </a:cubicBezTo>
                  <a:lnTo>
                    <a:pt x="1465" y="4454"/>
                  </a:lnTo>
                  <a:lnTo>
                    <a:pt x="2298" y="3620"/>
                  </a:lnTo>
                  <a:lnTo>
                    <a:pt x="2453" y="3763"/>
                  </a:lnTo>
                  <a:cubicBezTo>
                    <a:pt x="2477" y="3799"/>
                    <a:pt x="2525" y="3811"/>
                    <a:pt x="2572" y="3811"/>
                  </a:cubicBezTo>
                  <a:cubicBezTo>
                    <a:pt x="2620" y="3811"/>
                    <a:pt x="2656" y="3799"/>
                    <a:pt x="2691" y="3763"/>
                  </a:cubicBezTo>
                  <a:cubicBezTo>
                    <a:pt x="2751" y="3704"/>
                    <a:pt x="2751" y="3584"/>
                    <a:pt x="2691" y="3525"/>
                  </a:cubicBezTo>
                  <a:lnTo>
                    <a:pt x="2537" y="3382"/>
                  </a:lnTo>
                  <a:lnTo>
                    <a:pt x="3370" y="2549"/>
                  </a:lnTo>
                  <a:lnTo>
                    <a:pt x="3525" y="2692"/>
                  </a:lnTo>
                  <a:cubicBezTo>
                    <a:pt x="3549" y="2727"/>
                    <a:pt x="3596" y="2739"/>
                    <a:pt x="3644" y="2739"/>
                  </a:cubicBezTo>
                  <a:cubicBezTo>
                    <a:pt x="3691" y="2739"/>
                    <a:pt x="3727" y="2727"/>
                    <a:pt x="3763" y="2692"/>
                  </a:cubicBezTo>
                  <a:cubicBezTo>
                    <a:pt x="3822" y="2632"/>
                    <a:pt x="3822" y="2513"/>
                    <a:pt x="3763" y="2453"/>
                  </a:cubicBezTo>
                  <a:lnTo>
                    <a:pt x="3608" y="2311"/>
                  </a:lnTo>
                  <a:lnTo>
                    <a:pt x="4442" y="1477"/>
                  </a:lnTo>
                  <a:lnTo>
                    <a:pt x="4596" y="1620"/>
                  </a:lnTo>
                  <a:cubicBezTo>
                    <a:pt x="4620" y="1656"/>
                    <a:pt x="4668" y="1668"/>
                    <a:pt x="4715" y="1668"/>
                  </a:cubicBezTo>
                  <a:cubicBezTo>
                    <a:pt x="4763" y="1668"/>
                    <a:pt x="4799" y="1656"/>
                    <a:pt x="4834" y="1620"/>
                  </a:cubicBezTo>
                  <a:cubicBezTo>
                    <a:pt x="4894" y="1560"/>
                    <a:pt x="4894" y="1441"/>
                    <a:pt x="4834" y="1382"/>
                  </a:cubicBezTo>
                  <a:lnTo>
                    <a:pt x="4680" y="1239"/>
                  </a:lnTo>
                  <a:lnTo>
                    <a:pt x="5085" y="834"/>
                  </a:lnTo>
                  <a:cubicBezTo>
                    <a:pt x="5180" y="739"/>
                    <a:pt x="5239" y="608"/>
                    <a:pt x="5239" y="489"/>
                  </a:cubicBezTo>
                  <a:cubicBezTo>
                    <a:pt x="5239" y="358"/>
                    <a:pt x="5192" y="239"/>
                    <a:pt x="5085" y="144"/>
                  </a:cubicBezTo>
                  <a:cubicBezTo>
                    <a:pt x="5001" y="60"/>
                    <a:pt x="4858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3" name="Google Shape;10293;p59"/>
            <p:cNvSpPr/>
            <p:nvPr/>
          </p:nvSpPr>
          <p:spPr>
            <a:xfrm>
              <a:off x="2174559" y="3356116"/>
              <a:ext cx="364135" cy="359930"/>
            </a:xfrm>
            <a:custGeom>
              <a:avLst/>
              <a:gdLst/>
              <a:ahLst/>
              <a:cxnLst/>
              <a:rect l="l" t="t" r="r" b="b"/>
              <a:pathLst>
                <a:path w="11431" h="11299" extrusionOk="0">
                  <a:moveTo>
                    <a:pt x="8142" y="339"/>
                  </a:moveTo>
                  <a:cubicBezTo>
                    <a:pt x="8988" y="339"/>
                    <a:pt x="9829" y="482"/>
                    <a:pt x="10632" y="750"/>
                  </a:cubicBezTo>
                  <a:cubicBezTo>
                    <a:pt x="10930" y="1631"/>
                    <a:pt x="11061" y="2583"/>
                    <a:pt x="11037" y="3500"/>
                  </a:cubicBezTo>
                  <a:lnTo>
                    <a:pt x="7858" y="345"/>
                  </a:lnTo>
                  <a:cubicBezTo>
                    <a:pt x="7953" y="341"/>
                    <a:pt x="8048" y="339"/>
                    <a:pt x="8142" y="339"/>
                  </a:cubicBezTo>
                  <a:close/>
                  <a:moveTo>
                    <a:pt x="572" y="6453"/>
                  </a:moveTo>
                  <a:lnTo>
                    <a:pt x="4917" y="10798"/>
                  </a:lnTo>
                  <a:cubicBezTo>
                    <a:pt x="4620" y="10858"/>
                    <a:pt x="4322" y="10894"/>
                    <a:pt x="4001" y="10929"/>
                  </a:cubicBezTo>
                  <a:lnTo>
                    <a:pt x="441" y="7358"/>
                  </a:lnTo>
                  <a:cubicBezTo>
                    <a:pt x="464" y="7060"/>
                    <a:pt x="512" y="6750"/>
                    <a:pt x="572" y="6453"/>
                  </a:cubicBezTo>
                  <a:close/>
                  <a:moveTo>
                    <a:pt x="405" y="7798"/>
                  </a:moveTo>
                  <a:lnTo>
                    <a:pt x="3560" y="10953"/>
                  </a:lnTo>
                  <a:cubicBezTo>
                    <a:pt x="3462" y="10957"/>
                    <a:pt x="3363" y="10959"/>
                    <a:pt x="3264" y="10959"/>
                  </a:cubicBezTo>
                  <a:cubicBezTo>
                    <a:pt x="2440" y="10959"/>
                    <a:pt x="1596" y="10826"/>
                    <a:pt x="810" y="10560"/>
                  </a:cubicBezTo>
                  <a:cubicBezTo>
                    <a:pt x="512" y="9679"/>
                    <a:pt x="381" y="8727"/>
                    <a:pt x="405" y="7798"/>
                  </a:cubicBezTo>
                  <a:close/>
                  <a:moveTo>
                    <a:pt x="8188" y="1"/>
                  </a:moveTo>
                  <a:cubicBezTo>
                    <a:pt x="7942" y="1"/>
                    <a:pt x="7697" y="12"/>
                    <a:pt x="7453" y="35"/>
                  </a:cubicBezTo>
                  <a:cubicBezTo>
                    <a:pt x="7013" y="71"/>
                    <a:pt x="6560" y="154"/>
                    <a:pt x="6132" y="261"/>
                  </a:cubicBezTo>
                  <a:cubicBezTo>
                    <a:pt x="4739" y="607"/>
                    <a:pt x="3453" y="1345"/>
                    <a:pt x="2429" y="2369"/>
                  </a:cubicBezTo>
                  <a:cubicBezTo>
                    <a:pt x="1893" y="2905"/>
                    <a:pt x="1429" y="3512"/>
                    <a:pt x="1072" y="4167"/>
                  </a:cubicBezTo>
                  <a:cubicBezTo>
                    <a:pt x="1024" y="4250"/>
                    <a:pt x="1060" y="4345"/>
                    <a:pt x="1131" y="4393"/>
                  </a:cubicBezTo>
                  <a:cubicBezTo>
                    <a:pt x="1154" y="4408"/>
                    <a:pt x="1180" y="4415"/>
                    <a:pt x="1206" y="4415"/>
                  </a:cubicBezTo>
                  <a:cubicBezTo>
                    <a:pt x="1264" y="4415"/>
                    <a:pt x="1325" y="4382"/>
                    <a:pt x="1357" y="4333"/>
                  </a:cubicBezTo>
                  <a:cubicBezTo>
                    <a:pt x="1703" y="3714"/>
                    <a:pt x="2143" y="3131"/>
                    <a:pt x="2655" y="2607"/>
                  </a:cubicBezTo>
                  <a:cubicBezTo>
                    <a:pt x="3620" y="1643"/>
                    <a:pt x="4810" y="952"/>
                    <a:pt x="6108" y="595"/>
                  </a:cubicBezTo>
                  <a:lnTo>
                    <a:pt x="9156" y="3655"/>
                  </a:lnTo>
                  <a:cubicBezTo>
                    <a:pt x="9180" y="3679"/>
                    <a:pt x="9227" y="3690"/>
                    <a:pt x="9275" y="3690"/>
                  </a:cubicBezTo>
                  <a:cubicBezTo>
                    <a:pt x="9323" y="3690"/>
                    <a:pt x="9358" y="3679"/>
                    <a:pt x="9394" y="3655"/>
                  </a:cubicBezTo>
                  <a:cubicBezTo>
                    <a:pt x="9454" y="3595"/>
                    <a:pt x="9454" y="3476"/>
                    <a:pt x="9394" y="3417"/>
                  </a:cubicBezTo>
                  <a:lnTo>
                    <a:pt x="6489" y="511"/>
                  </a:lnTo>
                  <a:cubicBezTo>
                    <a:pt x="6787" y="452"/>
                    <a:pt x="7084" y="404"/>
                    <a:pt x="7394" y="381"/>
                  </a:cubicBezTo>
                  <a:lnTo>
                    <a:pt x="10966" y="3952"/>
                  </a:lnTo>
                  <a:cubicBezTo>
                    <a:pt x="10942" y="4250"/>
                    <a:pt x="10894" y="4560"/>
                    <a:pt x="10835" y="4857"/>
                  </a:cubicBezTo>
                  <a:lnTo>
                    <a:pt x="9954" y="3976"/>
                  </a:lnTo>
                  <a:cubicBezTo>
                    <a:pt x="9924" y="3946"/>
                    <a:pt x="9879" y="3932"/>
                    <a:pt x="9835" y="3932"/>
                  </a:cubicBezTo>
                  <a:cubicBezTo>
                    <a:pt x="9790" y="3932"/>
                    <a:pt x="9745" y="3946"/>
                    <a:pt x="9716" y="3976"/>
                  </a:cubicBezTo>
                  <a:cubicBezTo>
                    <a:pt x="9656" y="4036"/>
                    <a:pt x="9656" y="4155"/>
                    <a:pt x="9716" y="4214"/>
                  </a:cubicBezTo>
                  <a:lnTo>
                    <a:pt x="10751" y="5238"/>
                  </a:lnTo>
                  <a:cubicBezTo>
                    <a:pt x="10394" y="6548"/>
                    <a:pt x="9704" y="7739"/>
                    <a:pt x="8751" y="8691"/>
                  </a:cubicBezTo>
                  <a:cubicBezTo>
                    <a:pt x="7787" y="9667"/>
                    <a:pt x="6596" y="10346"/>
                    <a:pt x="5298" y="10703"/>
                  </a:cubicBezTo>
                  <a:lnTo>
                    <a:pt x="679" y="6060"/>
                  </a:lnTo>
                  <a:cubicBezTo>
                    <a:pt x="762" y="5715"/>
                    <a:pt x="881" y="5381"/>
                    <a:pt x="1012" y="5048"/>
                  </a:cubicBezTo>
                  <a:cubicBezTo>
                    <a:pt x="1048" y="4964"/>
                    <a:pt x="1012" y="4869"/>
                    <a:pt x="929" y="4822"/>
                  </a:cubicBezTo>
                  <a:cubicBezTo>
                    <a:pt x="906" y="4816"/>
                    <a:pt x="884" y="4813"/>
                    <a:pt x="864" y="4813"/>
                  </a:cubicBezTo>
                  <a:cubicBezTo>
                    <a:pt x="796" y="4813"/>
                    <a:pt x="739" y="4844"/>
                    <a:pt x="703" y="4917"/>
                  </a:cubicBezTo>
                  <a:cubicBezTo>
                    <a:pt x="536" y="5286"/>
                    <a:pt x="417" y="5679"/>
                    <a:pt x="322" y="6072"/>
                  </a:cubicBezTo>
                  <a:cubicBezTo>
                    <a:pt x="214" y="6512"/>
                    <a:pt x="143" y="6953"/>
                    <a:pt x="95" y="7405"/>
                  </a:cubicBezTo>
                  <a:cubicBezTo>
                    <a:pt x="0" y="8548"/>
                    <a:pt x="143" y="9667"/>
                    <a:pt x="512" y="10751"/>
                  </a:cubicBezTo>
                  <a:cubicBezTo>
                    <a:pt x="524" y="10798"/>
                    <a:pt x="572" y="10834"/>
                    <a:pt x="619" y="10858"/>
                  </a:cubicBezTo>
                  <a:cubicBezTo>
                    <a:pt x="1465" y="11156"/>
                    <a:pt x="2381" y="11299"/>
                    <a:pt x="3298" y="11299"/>
                  </a:cubicBezTo>
                  <a:cubicBezTo>
                    <a:pt x="3512" y="11299"/>
                    <a:pt x="3739" y="11287"/>
                    <a:pt x="3965" y="11275"/>
                  </a:cubicBezTo>
                  <a:cubicBezTo>
                    <a:pt x="4405" y="11227"/>
                    <a:pt x="4858" y="11156"/>
                    <a:pt x="5286" y="11049"/>
                  </a:cubicBezTo>
                  <a:cubicBezTo>
                    <a:pt x="6680" y="10691"/>
                    <a:pt x="7965" y="9965"/>
                    <a:pt x="8989" y="8929"/>
                  </a:cubicBezTo>
                  <a:cubicBezTo>
                    <a:pt x="10013" y="7905"/>
                    <a:pt x="10751" y="6631"/>
                    <a:pt x="11109" y="5226"/>
                  </a:cubicBezTo>
                  <a:cubicBezTo>
                    <a:pt x="11204" y="4798"/>
                    <a:pt x="11287" y="4345"/>
                    <a:pt x="11323" y="3905"/>
                  </a:cubicBezTo>
                  <a:cubicBezTo>
                    <a:pt x="11430" y="2774"/>
                    <a:pt x="11287" y="1631"/>
                    <a:pt x="10906" y="559"/>
                  </a:cubicBezTo>
                  <a:cubicBezTo>
                    <a:pt x="10894" y="511"/>
                    <a:pt x="10859" y="464"/>
                    <a:pt x="10811" y="452"/>
                  </a:cubicBezTo>
                  <a:cubicBezTo>
                    <a:pt x="9980" y="153"/>
                    <a:pt x="9082" y="1"/>
                    <a:pt x="8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4" name="Google Shape;10294;p59"/>
          <p:cNvGrpSpPr/>
          <p:nvPr/>
        </p:nvGrpSpPr>
        <p:grpSpPr>
          <a:xfrm>
            <a:off x="1731934" y="3355639"/>
            <a:ext cx="368371" cy="361554"/>
            <a:chOff x="1731934" y="3355639"/>
            <a:chExt cx="368371" cy="361554"/>
          </a:xfrm>
        </p:grpSpPr>
        <p:sp>
          <p:nvSpPr>
            <p:cNvPr id="10295" name="Google Shape;10295;p59"/>
            <p:cNvSpPr/>
            <p:nvPr/>
          </p:nvSpPr>
          <p:spPr>
            <a:xfrm>
              <a:off x="1812336" y="3533963"/>
              <a:ext cx="41762" cy="41762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5" y="322"/>
                  </a:moveTo>
                  <a:cubicBezTo>
                    <a:pt x="834" y="322"/>
                    <a:pt x="989" y="477"/>
                    <a:pt x="989" y="655"/>
                  </a:cubicBezTo>
                  <a:cubicBezTo>
                    <a:pt x="989" y="834"/>
                    <a:pt x="834" y="989"/>
                    <a:pt x="655" y="989"/>
                  </a:cubicBezTo>
                  <a:cubicBezTo>
                    <a:pt x="477" y="989"/>
                    <a:pt x="334" y="834"/>
                    <a:pt x="334" y="655"/>
                  </a:cubicBezTo>
                  <a:cubicBezTo>
                    <a:pt x="334" y="477"/>
                    <a:pt x="477" y="322"/>
                    <a:pt x="655" y="322"/>
                  </a:cubicBezTo>
                  <a:close/>
                  <a:moveTo>
                    <a:pt x="655" y="1"/>
                  </a:moveTo>
                  <a:cubicBezTo>
                    <a:pt x="298" y="1"/>
                    <a:pt x="1" y="298"/>
                    <a:pt x="1" y="655"/>
                  </a:cubicBezTo>
                  <a:cubicBezTo>
                    <a:pt x="1" y="1013"/>
                    <a:pt x="298" y="1310"/>
                    <a:pt x="655" y="1310"/>
                  </a:cubicBezTo>
                  <a:cubicBezTo>
                    <a:pt x="1013" y="1310"/>
                    <a:pt x="1310" y="1013"/>
                    <a:pt x="1310" y="655"/>
                  </a:cubicBezTo>
                  <a:cubicBezTo>
                    <a:pt x="1310" y="298"/>
                    <a:pt x="1013" y="1"/>
                    <a:pt x="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6" name="Google Shape;10296;p59"/>
            <p:cNvSpPr/>
            <p:nvPr/>
          </p:nvSpPr>
          <p:spPr>
            <a:xfrm>
              <a:off x="1731934" y="3355639"/>
              <a:ext cx="368371" cy="361554"/>
            </a:xfrm>
            <a:custGeom>
              <a:avLst/>
              <a:gdLst/>
              <a:ahLst/>
              <a:cxnLst/>
              <a:rect l="l" t="t" r="r" b="b"/>
              <a:pathLst>
                <a:path w="11564" h="11350" extrusionOk="0">
                  <a:moveTo>
                    <a:pt x="4572" y="330"/>
                  </a:moveTo>
                  <a:cubicBezTo>
                    <a:pt x="4619" y="330"/>
                    <a:pt x="4691" y="407"/>
                    <a:pt x="5251" y="753"/>
                  </a:cubicBezTo>
                  <a:lnTo>
                    <a:pt x="4882" y="1348"/>
                  </a:lnTo>
                  <a:lnTo>
                    <a:pt x="4239" y="943"/>
                  </a:lnTo>
                  <a:cubicBezTo>
                    <a:pt x="4215" y="907"/>
                    <a:pt x="4192" y="872"/>
                    <a:pt x="4215" y="836"/>
                  </a:cubicBezTo>
                  <a:cubicBezTo>
                    <a:pt x="4513" y="396"/>
                    <a:pt x="4489" y="348"/>
                    <a:pt x="4549" y="336"/>
                  </a:cubicBezTo>
                  <a:cubicBezTo>
                    <a:pt x="4557" y="333"/>
                    <a:pt x="4564" y="330"/>
                    <a:pt x="4572" y="330"/>
                  </a:cubicBezTo>
                  <a:close/>
                  <a:moveTo>
                    <a:pt x="5975" y="398"/>
                  </a:moveTo>
                  <a:cubicBezTo>
                    <a:pt x="6005" y="398"/>
                    <a:pt x="6035" y="404"/>
                    <a:pt x="6061" y="419"/>
                  </a:cubicBezTo>
                  <a:lnTo>
                    <a:pt x="7394" y="1253"/>
                  </a:lnTo>
                  <a:lnTo>
                    <a:pt x="6275" y="3039"/>
                  </a:lnTo>
                  <a:lnTo>
                    <a:pt x="4942" y="2205"/>
                  </a:lnTo>
                  <a:cubicBezTo>
                    <a:pt x="4846" y="2146"/>
                    <a:pt x="4834" y="2039"/>
                    <a:pt x="4882" y="1967"/>
                  </a:cubicBezTo>
                  <a:cubicBezTo>
                    <a:pt x="5073" y="1658"/>
                    <a:pt x="5501" y="979"/>
                    <a:pt x="5823" y="479"/>
                  </a:cubicBezTo>
                  <a:cubicBezTo>
                    <a:pt x="5847" y="430"/>
                    <a:pt x="5911" y="398"/>
                    <a:pt x="5975" y="398"/>
                  </a:cubicBezTo>
                  <a:close/>
                  <a:moveTo>
                    <a:pt x="10180" y="2860"/>
                  </a:moveTo>
                  <a:cubicBezTo>
                    <a:pt x="10323" y="2979"/>
                    <a:pt x="10847" y="3158"/>
                    <a:pt x="11002" y="3789"/>
                  </a:cubicBezTo>
                  <a:cubicBezTo>
                    <a:pt x="11195" y="4581"/>
                    <a:pt x="10555" y="5231"/>
                    <a:pt x="9842" y="5231"/>
                  </a:cubicBezTo>
                  <a:cubicBezTo>
                    <a:pt x="9633" y="5231"/>
                    <a:pt x="9418" y="5175"/>
                    <a:pt x="9216" y="5051"/>
                  </a:cubicBezTo>
                  <a:lnTo>
                    <a:pt x="8918" y="4872"/>
                  </a:lnTo>
                  <a:lnTo>
                    <a:pt x="10180" y="2860"/>
                  </a:lnTo>
                  <a:close/>
                  <a:moveTo>
                    <a:pt x="5644" y="3039"/>
                  </a:moveTo>
                  <a:lnTo>
                    <a:pt x="6204" y="3396"/>
                  </a:lnTo>
                  <a:lnTo>
                    <a:pt x="6216" y="3408"/>
                  </a:lnTo>
                  <a:lnTo>
                    <a:pt x="4287" y="5349"/>
                  </a:lnTo>
                  <a:cubicBezTo>
                    <a:pt x="4132" y="5170"/>
                    <a:pt x="3941" y="5039"/>
                    <a:pt x="3751" y="4944"/>
                  </a:cubicBezTo>
                  <a:lnTo>
                    <a:pt x="5644" y="3039"/>
                  </a:lnTo>
                  <a:close/>
                  <a:moveTo>
                    <a:pt x="3195" y="5176"/>
                  </a:moveTo>
                  <a:cubicBezTo>
                    <a:pt x="3355" y="5176"/>
                    <a:pt x="3520" y="5212"/>
                    <a:pt x="3680" y="5289"/>
                  </a:cubicBezTo>
                  <a:cubicBezTo>
                    <a:pt x="4705" y="5802"/>
                    <a:pt x="4316" y="7363"/>
                    <a:pt x="3195" y="7363"/>
                  </a:cubicBezTo>
                  <a:cubicBezTo>
                    <a:pt x="3170" y="7363"/>
                    <a:pt x="3145" y="7362"/>
                    <a:pt x="3120" y="7361"/>
                  </a:cubicBezTo>
                  <a:cubicBezTo>
                    <a:pt x="2548" y="7325"/>
                    <a:pt x="2096" y="6849"/>
                    <a:pt x="2096" y="6265"/>
                  </a:cubicBezTo>
                  <a:cubicBezTo>
                    <a:pt x="2096" y="5640"/>
                    <a:pt x="2615" y="5176"/>
                    <a:pt x="3195" y="5176"/>
                  </a:cubicBezTo>
                  <a:close/>
                  <a:moveTo>
                    <a:pt x="5144" y="8992"/>
                  </a:moveTo>
                  <a:cubicBezTo>
                    <a:pt x="5358" y="8992"/>
                    <a:pt x="5537" y="9159"/>
                    <a:pt x="5537" y="9385"/>
                  </a:cubicBezTo>
                  <a:lnTo>
                    <a:pt x="5537" y="9694"/>
                  </a:lnTo>
                  <a:lnTo>
                    <a:pt x="4537" y="9694"/>
                  </a:lnTo>
                  <a:lnTo>
                    <a:pt x="4537" y="9385"/>
                  </a:lnTo>
                  <a:lnTo>
                    <a:pt x="4525" y="9385"/>
                  </a:lnTo>
                  <a:cubicBezTo>
                    <a:pt x="4525" y="9170"/>
                    <a:pt x="4692" y="8992"/>
                    <a:pt x="4906" y="8992"/>
                  </a:cubicBezTo>
                  <a:close/>
                  <a:moveTo>
                    <a:pt x="6085" y="10016"/>
                  </a:moveTo>
                  <a:cubicBezTo>
                    <a:pt x="6454" y="10016"/>
                    <a:pt x="6751" y="10313"/>
                    <a:pt x="6751" y="10694"/>
                  </a:cubicBezTo>
                  <a:lnTo>
                    <a:pt x="6751" y="10992"/>
                  </a:lnTo>
                  <a:lnTo>
                    <a:pt x="322" y="10992"/>
                  </a:lnTo>
                  <a:lnTo>
                    <a:pt x="322" y="10694"/>
                  </a:lnTo>
                  <a:cubicBezTo>
                    <a:pt x="322" y="10313"/>
                    <a:pt x="620" y="10016"/>
                    <a:pt x="1001" y="10016"/>
                  </a:cubicBezTo>
                  <a:close/>
                  <a:moveTo>
                    <a:pt x="4558" y="1"/>
                  </a:moveTo>
                  <a:cubicBezTo>
                    <a:pt x="4419" y="1"/>
                    <a:pt x="4281" y="69"/>
                    <a:pt x="4203" y="193"/>
                  </a:cubicBezTo>
                  <a:lnTo>
                    <a:pt x="3906" y="669"/>
                  </a:lnTo>
                  <a:cubicBezTo>
                    <a:pt x="3787" y="872"/>
                    <a:pt x="3846" y="1122"/>
                    <a:pt x="4049" y="1241"/>
                  </a:cubicBezTo>
                  <a:lnTo>
                    <a:pt x="4680" y="1646"/>
                  </a:lnTo>
                  <a:cubicBezTo>
                    <a:pt x="4644" y="1741"/>
                    <a:pt x="4442" y="1908"/>
                    <a:pt x="4525" y="2193"/>
                  </a:cubicBezTo>
                  <a:cubicBezTo>
                    <a:pt x="4549" y="2324"/>
                    <a:pt x="4620" y="2431"/>
                    <a:pt x="4739" y="2503"/>
                  </a:cubicBezTo>
                  <a:lnTo>
                    <a:pt x="5335" y="2872"/>
                  </a:lnTo>
                  <a:lnTo>
                    <a:pt x="3358" y="4872"/>
                  </a:lnTo>
                  <a:cubicBezTo>
                    <a:pt x="3297" y="4865"/>
                    <a:pt x="3237" y="4861"/>
                    <a:pt x="3177" y="4861"/>
                  </a:cubicBezTo>
                  <a:cubicBezTo>
                    <a:pt x="2398" y="4861"/>
                    <a:pt x="1751" y="5493"/>
                    <a:pt x="1751" y="6289"/>
                  </a:cubicBezTo>
                  <a:cubicBezTo>
                    <a:pt x="1751" y="6765"/>
                    <a:pt x="1989" y="7194"/>
                    <a:pt x="2346" y="7444"/>
                  </a:cubicBezTo>
                  <a:lnTo>
                    <a:pt x="2346" y="8397"/>
                  </a:lnTo>
                  <a:cubicBezTo>
                    <a:pt x="2346" y="8492"/>
                    <a:pt x="2417" y="8563"/>
                    <a:pt x="2513" y="8563"/>
                  </a:cubicBezTo>
                  <a:cubicBezTo>
                    <a:pt x="2596" y="8563"/>
                    <a:pt x="2679" y="8492"/>
                    <a:pt x="2679" y="8397"/>
                  </a:cubicBezTo>
                  <a:lnTo>
                    <a:pt x="2679" y="7623"/>
                  </a:lnTo>
                  <a:cubicBezTo>
                    <a:pt x="2828" y="7675"/>
                    <a:pt x="2995" y="7708"/>
                    <a:pt x="3163" y="7708"/>
                  </a:cubicBezTo>
                  <a:cubicBezTo>
                    <a:pt x="3224" y="7708"/>
                    <a:pt x="3286" y="7704"/>
                    <a:pt x="3346" y="7694"/>
                  </a:cubicBezTo>
                  <a:lnTo>
                    <a:pt x="3346" y="9706"/>
                  </a:lnTo>
                  <a:lnTo>
                    <a:pt x="2679" y="9706"/>
                  </a:lnTo>
                  <a:lnTo>
                    <a:pt x="2679" y="9028"/>
                  </a:lnTo>
                  <a:cubicBezTo>
                    <a:pt x="2679" y="8932"/>
                    <a:pt x="2596" y="8861"/>
                    <a:pt x="2513" y="8861"/>
                  </a:cubicBezTo>
                  <a:cubicBezTo>
                    <a:pt x="2417" y="8861"/>
                    <a:pt x="2346" y="8932"/>
                    <a:pt x="2346" y="9028"/>
                  </a:cubicBezTo>
                  <a:lnTo>
                    <a:pt x="2346" y="9706"/>
                  </a:lnTo>
                  <a:lnTo>
                    <a:pt x="989" y="9706"/>
                  </a:lnTo>
                  <a:cubicBezTo>
                    <a:pt x="441" y="9706"/>
                    <a:pt x="1" y="10159"/>
                    <a:pt x="1" y="10706"/>
                  </a:cubicBezTo>
                  <a:lnTo>
                    <a:pt x="1" y="11183"/>
                  </a:lnTo>
                  <a:cubicBezTo>
                    <a:pt x="1" y="11266"/>
                    <a:pt x="72" y="11349"/>
                    <a:pt x="155" y="11349"/>
                  </a:cubicBezTo>
                  <a:lnTo>
                    <a:pt x="6918" y="11349"/>
                  </a:lnTo>
                  <a:cubicBezTo>
                    <a:pt x="7001" y="11349"/>
                    <a:pt x="7085" y="11266"/>
                    <a:pt x="7085" y="11183"/>
                  </a:cubicBezTo>
                  <a:lnTo>
                    <a:pt x="7085" y="10706"/>
                  </a:lnTo>
                  <a:cubicBezTo>
                    <a:pt x="7085" y="10159"/>
                    <a:pt x="6632" y="9706"/>
                    <a:pt x="6085" y="9706"/>
                  </a:cubicBezTo>
                  <a:lnTo>
                    <a:pt x="5846" y="9706"/>
                  </a:lnTo>
                  <a:lnTo>
                    <a:pt x="5846" y="9397"/>
                  </a:lnTo>
                  <a:cubicBezTo>
                    <a:pt x="5846" y="9004"/>
                    <a:pt x="5537" y="8682"/>
                    <a:pt x="5132" y="8682"/>
                  </a:cubicBezTo>
                  <a:lnTo>
                    <a:pt x="4894" y="8682"/>
                  </a:lnTo>
                  <a:cubicBezTo>
                    <a:pt x="4501" y="8682"/>
                    <a:pt x="4180" y="9004"/>
                    <a:pt x="4180" y="9397"/>
                  </a:cubicBezTo>
                  <a:lnTo>
                    <a:pt x="4180" y="9706"/>
                  </a:lnTo>
                  <a:lnTo>
                    <a:pt x="3668" y="9706"/>
                  </a:lnTo>
                  <a:lnTo>
                    <a:pt x="3668" y="7611"/>
                  </a:lnTo>
                  <a:cubicBezTo>
                    <a:pt x="4465" y="7313"/>
                    <a:pt x="4823" y="6384"/>
                    <a:pt x="4442" y="5646"/>
                  </a:cubicBezTo>
                  <a:lnTo>
                    <a:pt x="6370" y="3717"/>
                  </a:lnTo>
                  <a:lnTo>
                    <a:pt x="7585" y="5801"/>
                  </a:lnTo>
                  <a:cubicBezTo>
                    <a:pt x="7670" y="5947"/>
                    <a:pt x="7817" y="6018"/>
                    <a:pt x="7962" y="6018"/>
                  </a:cubicBezTo>
                  <a:cubicBezTo>
                    <a:pt x="8100" y="6018"/>
                    <a:pt x="8235" y="5953"/>
                    <a:pt x="8311" y="5825"/>
                  </a:cubicBezTo>
                  <a:lnTo>
                    <a:pt x="8716" y="5182"/>
                  </a:lnTo>
                  <a:lnTo>
                    <a:pt x="9014" y="5360"/>
                  </a:lnTo>
                  <a:cubicBezTo>
                    <a:pt x="9273" y="5514"/>
                    <a:pt x="9548" y="5584"/>
                    <a:pt x="9813" y="5584"/>
                  </a:cubicBezTo>
                  <a:cubicBezTo>
                    <a:pt x="10740" y="5584"/>
                    <a:pt x="11564" y="4739"/>
                    <a:pt x="11323" y="3694"/>
                  </a:cubicBezTo>
                  <a:cubicBezTo>
                    <a:pt x="11145" y="2908"/>
                    <a:pt x="10490" y="2670"/>
                    <a:pt x="10359" y="2562"/>
                  </a:cubicBezTo>
                  <a:lnTo>
                    <a:pt x="10764" y="1920"/>
                  </a:lnTo>
                  <a:cubicBezTo>
                    <a:pt x="10942" y="1658"/>
                    <a:pt x="10740" y="1300"/>
                    <a:pt x="10430" y="1265"/>
                  </a:cubicBezTo>
                  <a:lnTo>
                    <a:pt x="9359" y="1181"/>
                  </a:lnTo>
                  <a:cubicBezTo>
                    <a:pt x="9353" y="1180"/>
                    <a:pt x="9346" y="1180"/>
                    <a:pt x="9340" y="1180"/>
                  </a:cubicBezTo>
                  <a:cubicBezTo>
                    <a:pt x="9262" y="1180"/>
                    <a:pt x="9180" y="1247"/>
                    <a:pt x="9180" y="1324"/>
                  </a:cubicBezTo>
                  <a:cubicBezTo>
                    <a:pt x="9168" y="1419"/>
                    <a:pt x="9240" y="1503"/>
                    <a:pt x="9335" y="1503"/>
                  </a:cubicBezTo>
                  <a:lnTo>
                    <a:pt x="10407" y="1598"/>
                  </a:lnTo>
                  <a:cubicBezTo>
                    <a:pt x="10478" y="1598"/>
                    <a:pt x="10526" y="1681"/>
                    <a:pt x="10478" y="1741"/>
                  </a:cubicBezTo>
                  <a:cubicBezTo>
                    <a:pt x="10109" y="2324"/>
                    <a:pt x="8347" y="5134"/>
                    <a:pt x="8049" y="5610"/>
                  </a:cubicBezTo>
                  <a:cubicBezTo>
                    <a:pt x="8025" y="5640"/>
                    <a:pt x="7993" y="5655"/>
                    <a:pt x="7961" y="5655"/>
                  </a:cubicBezTo>
                  <a:cubicBezTo>
                    <a:pt x="7930" y="5655"/>
                    <a:pt x="7900" y="5640"/>
                    <a:pt x="7882" y="5610"/>
                  </a:cubicBezTo>
                  <a:lnTo>
                    <a:pt x="6525" y="3313"/>
                  </a:lnTo>
                  <a:lnTo>
                    <a:pt x="6513" y="3277"/>
                  </a:lnTo>
                  <a:lnTo>
                    <a:pt x="7704" y="1372"/>
                  </a:lnTo>
                  <a:lnTo>
                    <a:pt x="8704" y="1467"/>
                  </a:lnTo>
                  <a:cubicBezTo>
                    <a:pt x="8710" y="1468"/>
                    <a:pt x="8716" y="1468"/>
                    <a:pt x="8722" y="1468"/>
                  </a:cubicBezTo>
                  <a:cubicBezTo>
                    <a:pt x="8801" y="1468"/>
                    <a:pt x="8883" y="1401"/>
                    <a:pt x="8883" y="1312"/>
                  </a:cubicBezTo>
                  <a:cubicBezTo>
                    <a:pt x="8894" y="1229"/>
                    <a:pt x="8823" y="1134"/>
                    <a:pt x="8728" y="1134"/>
                  </a:cubicBezTo>
                  <a:lnTo>
                    <a:pt x="7656" y="1050"/>
                  </a:lnTo>
                  <a:lnTo>
                    <a:pt x="6216" y="134"/>
                  </a:lnTo>
                  <a:cubicBezTo>
                    <a:pt x="6133" y="84"/>
                    <a:pt x="6042" y="60"/>
                    <a:pt x="5952" y="60"/>
                  </a:cubicBezTo>
                  <a:cubicBezTo>
                    <a:pt x="5781" y="60"/>
                    <a:pt x="5614" y="145"/>
                    <a:pt x="5513" y="300"/>
                  </a:cubicBezTo>
                  <a:lnTo>
                    <a:pt x="5418" y="467"/>
                  </a:lnTo>
                  <a:lnTo>
                    <a:pt x="4775" y="62"/>
                  </a:lnTo>
                  <a:cubicBezTo>
                    <a:pt x="4708" y="21"/>
                    <a:pt x="4633" y="1"/>
                    <a:pt x="45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7" name="Google Shape;10297;p59"/>
          <p:cNvGrpSpPr/>
          <p:nvPr/>
        </p:nvGrpSpPr>
        <p:grpSpPr>
          <a:xfrm>
            <a:off x="3990517" y="3354173"/>
            <a:ext cx="279559" cy="363402"/>
            <a:chOff x="3990517" y="3354173"/>
            <a:chExt cx="279559" cy="363402"/>
          </a:xfrm>
        </p:grpSpPr>
        <p:sp>
          <p:nvSpPr>
            <p:cNvPr id="10298" name="Google Shape;10298;p59"/>
            <p:cNvSpPr/>
            <p:nvPr/>
          </p:nvSpPr>
          <p:spPr>
            <a:xfrm>
              <a:off x="3990517" y="3354173"/>
              <a:ext cx="279559" cy="363402"/>
            </a:xfrm>
            <a:custGeom>
              <a:avLst/>
              <a:gdLst/>
              <a:ahLst/>
              <a:cxnLst/>
              <a:rect l="l" t="t" r="r" b="b"/>
              <a:pathLst>
                <a:path w="8776" h="11408" extrusionOk="0">
                  <a:moveTo>
                    <a:pt x="6322" y="346"/>
                  </a:moveTo>
                  <a:lnTo>
                    <a:pt x="6322" y="715"/>
                  </a:lnTo>
                  <a:lnTo>
                    <a:pt x="5537" y="715"/>
                  </a:lnTo>
                  <a:lnTo>
                    <a:pt x="5537" y="346"/>
                  </a:lnTo>
                  <a:close/>
                  <a:moveTo>
                    <a:pt x="6692" y="1049"/>
                  </a:moveTo>
                  <a:lnTo>
                    <a:pt x="6692" y="5121"/>
                  </a:lnTo>
                  <a:lnTo>
                    <a:pt x="5179" y="5121"/>
                  </a:lnTo>
                  <a:lnTo>
                    <a:pt x="5179" y="1049"/>
                  </a:lnTo>
                  <a:close/>
                  <a:moveTo>
                    <a:pt x="5763" y="5466"/>
                  </a:moveTo>
                  <a:lnTo>
                    <a:pt x="5763" y="6014"/>
                  </a:lnTo>
                  <a:lnTo>
                    <a:pt x="5465" y="6014"/>
                  </a:lnTo>
                  <a:lnTo>
                    <a:pt x="5465" y="5466"/>
                  </a:lnTo>
                  <a:close/>
                  <a:moveTo>
                    <a:pt x="6394" y="5466"/>
                  </a:moveTo>
                  <a:lnTo>
                    <a:pt x="6394" y="6633"/>
                  </a:lnTo>
                  <a:lnTo>
                    <a:pt x="6096" y="6633"/>
                  </a:lnTo>
                  <a:lnTo>
                    <a:pt x="6096" y="5466"/>
                  </a:lnTo>
                  <a:close/>
                  <a:moveTo>
                    <a:pt x="6953" y="8038"/>
                  </a:moveTo>
                  <a:cubicBezTo>
                    <a:pt x="7168" y="8038"/>
                    <a:pt x="7346" y="8216"/>
                    <a:pt x="7346" y="8443"/>
                  </a:cubicBezTo>
                  <a:cubicBezTo>
                    <a:pt x="7346" y="8669"/>
                    <a:pt x="7168" y="8847"/>
                    <a:pt x="6953" y="8847"/>
                  </a:cubicBezTo>
                  <a:lnTo>
                    <a:pt x="4584" y="8847"/>
                  </a:lnTo>
                  <a:lnTo>
                    <a:pt x="4584" y="8038"/>
                  </a:lnTo>
                  <a:close/>
                  <a:moveTo>
                    <a:pt x="6549" y="9193"/>
                  </a:moveTo>
                  <a:cubicBezTo>
                    <a:pt x="6537" y="9502"/>
                    <a:pt x="6275" y="9740"/>
                    <a:pt x="5965" y="9740"/>
                  </a:cubicBezTo>
                  <a:lnTo>
                    <a:pt x="4584" y="9740"/>
                  </a:lnTo>
                  <a:lnTo>
                    <a:pt x="4584" y="9193"/>
                  </a:lnTo>
                  <a:close/>
                  <a:moveTo>
                    <a:pt x="5882" y="10086"/>
                  </a:moveTo>
                  <a:lnTo>
                    <a:pt x="5882" y="10359"/>
                  </a:lnTo>
                  <a:lnTo>
                    <a:pt x="4584" y="10359"/>
                  </a:lnTo>
                  <a:lnTo>
                    <a:pt x="4584" y="10086"/>
                  </a:lnTo>
                  <a:close/>
                  <a:moveTo>
                    <a:pt x="4953" y="1"/>
                  </a:moveTo>
                  <a:cubicBezTo>
                    <a:pt x="4870" y="1"/>
                    <a:pt x="4787" y="72"/>
                    <a:pt x="4787" y="168"/>
                  </a:cubicBezTo>
                  <a:cubicBezTo>
                    <a:pt x="4787" y="263"/>
                    <a:pt x="4870" y="334"/>
                    <a:pt x="4953" y="334"/>
                  </a:cubicBezTo>
                  <a:lnTo>
                    <a:pt x="5144" y="334"/>
                  </a:lnTo>
                  <a:lnTo>
                    <a:pt x="5144" y="703"/>
                  </a:lnTo>
                  <a:lnTo>
                    <a:pt x="4953" y="703"/>
                  </a:lnTo>
                  <a:cubicBezTo>
                    <a:pt x="4870" y="703"/>
                    <a:pt x="4787" y="775"/>
                    <a:pt x="4787" y="870"/>
                  </a:cubicBezTo>
                  <a:lnTo>
                    <a:pt x="4787" y="1334"/>
                  </a:lnTo>
                  <a:lnTo>
                    <a:pt x="4370" y="1334"/>
                  </a:lnTo>
                  <a:cubicBezTo>
                    <a:pt x="3644" y="1334"/>
                    <a:pt x="2929" y="1513"/>
                    <a:pt x="2310" y="1846"/>
                  </a:cubicBezTo>
                  <a:cubicBezTo>
                    <a:pt x="2215" y="1894"/>
                    <a:pt x="2191" y="2001"/>
                    <a:pt x="2227" y="2073"/>
                  </a:cubicBezTo>
                  <a:cubicBezTo>
                    <a:pt x="2262" y="2132"/>
                    <a:pt x="2322" y="2168"/>
                    <a:pt x="2381" y="2168"/>
                  </a:cubicBezTo>
                  <a:cubicBezTo>
                    <a:pt x="2405" y="2168"/>
                    <a:pt x="2441" y="2168"/>
                    <a:pt x="2453" y="2144"/>
                  </a:cubicBezTo>
                  <a:cubicBezTo>
                    <a:pt x="3036" y="1835"/>
                    <a:pt x="3691" y="1668"/>
                    <a:pt x="4358" y="1668"/>
                  </a:cubicBezTo>
                  <a:lnTo>
                    <a:pt x="4775" y="1668"/>
                  </a:lnTo>
                  <a:lnTo>
                    <a:pt x="4775" y="3382"/>
                  </a:lnTo>
                  <a:lnTo>
                    <a:pt x="4358" y="3382"/>
                  </a:lnTo>
                  <a:cubicBezTo>
                    <a:pt x="3060" y="3382"/>
                    <a:pt x="2024" y="4430"/>
                    <a:pt x="2024" y="5716"/>
                  </a:cubicBezTo>
                  <a:cubicBezTo>
                    <a:pt x="2024" y="6954"/>
                    <a:pt x="2977" y="7966"/>
                    <a:pt x="4191" y="8038"/>
                  </a:cubicBezTo>
                  <a:lnTo>
                    <a:pt x="4191" y="9740"/>
                  </a:lnTo>
                  <a:cubicBezTo>
                    <a:pt x="2048" y="9645"/>
                    <a:pt x="346" y="7883"/>
                    <a:pt x="346" y="5716"/>
                  </a:cubicBezTo>
                  <a:cubicBezTo>
                    <a:pt x="346" y="4454"/>
                    <a:pt x="917" y="3299"/>
                    <a:pt x="1917" y="2525"/>
                  </a:cubicBezTo>
                  <a:cubicBezTo>
                    <a:pt x="1989" y="2466"/>
                    <a:pt x="2012" y="2358"/>
                    <a:pt x="1953" y="2287"/>
                  </a:cubicBezTo>
                  <a:cubicBezTo>
                    <a:pt x="1918" y="2238"/>
                    <a:pt x="1867" y="2214"/>
                    <a:pt x="1817" y="2214"/>
                  </a:cubicBezTo>
                  <a:cubicBezTo>
                    <a:pt x="1780" y="2214"/>
                    <a:pt x="1744" y="2226"/>
                    <a:pt x="1715" y="2251"/>
                  </a:cubicBezTo>
                  <a:cubicBezTo>
                    <a:pt x="1191" y="2656"/>
                    <a:pt x="762" y="3180"/>
                    <a:pt x="465" y="3751"/>
                  </a:cubicBezTo>
                  <a:cubicBezTo>
                    <a:pt x="143" y="4371"/>
                    <a:pt x="0" y="5037"/>
                    <a:pt x="0" y="5716"/>
                  </a:cubicBezTo>
                  <a:cubicBezTo>
                    <a:pt x="0" y="8073"/>
                    <a:pt x="1858" y="9990"/>
                    <a:pt x="4191" y="10086"/>
                  </a:cubicBezTo>
                  <a:lnTo>
                    <a:pt x="4191" y="10359"/>
                  </a:lnTo>
                  <a:lnTo>
                    <a:pt x="2036" y="10359"/>
                  </a:lnTo>
                  <a:cubicBezTo>
                    <a:pt x="1739" y="10359"/>
                    <a:pt x="1512" y="10598"/>
                    <a:pt x="1512" y="10883"/>
                  </a:cubicBezTo>
                  <a:cubicBezTo>
                    <a:pt x="1512" y="11181"/>
                    <a:pt x="1750" y="11407"/>
                    <a:pt x="2036" y="11407"/>
                  </a:cubicBezTo>
                  <a:lnTo>
                    <a:pt x="8263" y="11407"/>
                  </a:lnTo>
                  <a:cubicBezTo>
                    <a:pt x="8561" y="11407"/>
                    <a:pt x="8775" y="11169"/>
                    <a:pt x="8775" y="10883"/>
                  </a:cubicBezTo>
                  <a:cubicBezTo>
                    <a:pt x="8775" y="10598"/>
                    <a:pt x="8537" y="10359"/>
                    <a:pt x="8263" y="10359"/>
                  </a:cubicBezTo>
                  <a:lnTo>
                    <a:pt x="7465" y="10359"/>
                  </a:lnTo>
                  <a:cubicBezTo>
                    <a:pt x="7382" y="10359"/>
                    <a:pt x="7311" y="10443"/>
                    <a:pt x="7311" y="10526"/>
                  </a:cubicBezTo>
                  <a:cubicBezTo>
                    <a:pt x="7311" y="10621"/>
                    <a:pt x="7382" y="10693"/>
                    <a:pt x="7465" y="10693"/>
                  </a:cubicBezTo>
                  <a:lnTo>
                    <a:pt x="8263" y="10693"/>
                  </a:lnTo>
                  <a:cubicBezTo>
                    <a:pt x="8358" y="10693"/>
                    <a:pt x="8454" y="10776"/>
                    <a:pt x="8454" y="10883"/>
                  </a:cubicBezTo>
                  <a:cubicBezTo>
                    <a:pt x="8454" y="10990"/>
                    <a:pt x="8358" y="11074"/>
                    <a:pt x="8263" y="11074"/>
                  </a:cubicBezTo>
                  <a:lnTo>
                    <a:pt x="2084" y="11074"/>
                  </a:lnTo>
                  <a:cubicBezTo>
                    <a:pt x="1977" y="11074"/>
                    <a:pt x="1893" y="10990"/>
                    <a:pt x="1893" y="10883"/>
                  </a:cubicBezTo>
                  <a:cubicBezTo>
                    <a:pt x="1893" y="10776"/>
                    <a:pt x="1977" y="10693"/>
                    <a:pt x="2084" y="10693"/>
                  </a:cubicBezTo>
                  <a:lnTo>
                    <a:pt x="6787" y="10693"/>
                  </a:lnTo>
                  <a:cubicBezTo>
                    <a:pt x="6870" y="10693"/>
                    <a:pt x="6953" y="10621"/>
                    <a:pt x="6953" y="10526"/>
                  </a:cubicBezTo>
                  <a:cubicBezTo>
                    <a:pt x="6953" y="10443"/>
                    <a:pt x="6870" y="10359"/>
                    <a:pt x="6787" y="10359"/>
                  </a:cubicBezTo>
                  <a:lnTo>
                    <a:pt x="6203" y="10359"/>
                  </a:lnTo>
                  <a:lnTo>
                    <a:pt x="6203" y="10050"/>
                  </a:lnTo>
                  <a:cubicBezTo>
                    <a:pt x="6596" y="9943"/>
                    <a:pt x="6870" y="9609"/>
                    <a:pt x="6870" y="9193"/>
                  </a:cubicBezTo>
                  <a:lnTo>
                    <a:pt x="6930" y="9193"/>
                  </a:lnTo>
                  <a:cubicBezTo>
                    <a:pt x="7334" y="9193"/>
                    <a:pt x="7680" y="8859"/>
                    <a:pt x="7680" y="8443"/>
                  </a:cubicBezTo>
                  <a:cubicBezTo>
                    <a:pt x="7680" y="8038"/>
                    <a:pt x="7346" y="7704"/>
                    <a:pt x="6930" y="7704"/>
                  </a:cubicBezTo>
                  <a:lnTo>
                    <a:pt x="4406" y="7704"/>
                  </a:lnTo>
                  <a:cubicBezTo>
                    <a:pt x="3298" y="7704"/>
                    <a:pt x="2405" y="6811"/>
                    <a:pt x="2405" y="5704"/>
                  </a:cubicBezTo>
                  <a:cubicBezTo>
                    <a:pt x="2405" y="4609"/>
                    <a:pt x="3298" y="3716"/>
                    <a:pt x="4406" y="3716"/>
                  </a:cubicBezTo>
                  <a:lnTo>
                    <a:pt x="4822" y="3716"/>
                  </a:lnTo>
                  <a:lnTo>
                    <a:pt x="4822" y="5287"/>
                  </a:lnTo>
                  <a:cubicBezTo>
                    <a:pt x="4822" y="5383"/>
                    <a:pt x="4894" y="5454"/>
                    <a:pt x="4989" y="5454"/>
                  </a:cubicBezTo>
                  <a:lnTo>
                    <a:pt x="5108" y="5454"/>
                  </a:lnTo>
                  <a:lnTo>
                    <a:pt x="5108" y="6180"/>
                  </a:lnTo>
                  <a:cubicBezTo>
                    <a:pt x="5108" y="6276"/>
                    <a:pt x="5179" y="6347"/>
                    <a:pt x="5263" y="6347"/>
                  </a:cubicBezTo>
                  <a:lnTo>
                    <a:pt x="5727" y="6347"/>
                  </a:lnTo>
                  <a:lnTo>
                    <a:pt x="5727" y="6788"/>
                  </a:lnTo>
                  <a:cubicBezTo>
                    <a:pt x="5727" y="6883"/>
                    <a:pt x="5799" y="6954"/>
                    <a:pt x="5894" y="6954"/>
                  </a:cubicBezTo>
                  <a:lnTo>
                    <a:pt x="6537" y="6954"/>
                  </a:lnTo>
                  <a:cubicBezTo>
                    <a:pt x="6620" y="6954"/>
                    <a:pt x="6692" y="6883"/>
                    <a:pt x="6692" y="6788"/>
                  </a:cubicBezTo>
                  <a:lnTo>
                    <a:pt x="6692" y="5454"/>
                  </a:lnTo>
                  <a:lnTo>
                    <a:pt x="6811" y="5454"/>
                  </a:lnTo>
                  <a:cubicBezTo>
                    <a:pt x="6906" y="5454"/>
                    <a:pt x="6977" y="5383"/>
                    <a:pt x="6977" y="5287"/>
                  </a:cubicBezTo>
                  <a:lnTo>
                    <a:pt x="6977" y="870"/>
                  </a:lnTo>
                  <a:cubicBezTo>
                    <a:pt x="6977" y="775"/>
                    <a:pt x="6906" y="703"/>
                    <a:pt x="6811" y="703"/>
                  </a:cubicBezTo>
                  <a:lnTo>
                    <a:pt x="6620" y="703"/>
                  </a:lnTo>
                  <a:lnTo>
                    <a:pt x="6620" y="334"/>
                  </a:lnTo>
                  <a:lnTo>
                    <a:pt x="6811" y="334"/>
                  </a:lnTo>
                  <a:cubicBezTo>
                    <a:pt x="6906" y="334"/>
                    <a:pt x="6977" y="263"/>
                    <a:pt x="6977" y="168"/>
                  </a:cubicBezTo>
                  <a:cubicBezTo>
                    <a:pt x="6977" y="72"/>
                    <a:pt x="6906" y="1"/>
                    <a:pt x="68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9" name="Google Shape;10299;p59"/>
            <p:cNvSpPr/>
            <p:nvPr/>
          </p:nvSpPr>
          <p:spPr>
            <a:xfrm>
              <a:off x="4102009" y="3418680"/>
              <a:ext cx="36824" cy="37175"/>
            </a:xfrm>
            <a:custGeom>
              <a:avLst/>
              <a:gdLst/>
              <a:ahLst/>
              <a:cxnLst/>
              <a:rect l="l" t="t" r="r" b="b"/>
              <a:pathLst>
                <a:path w="1156" h="1167" extrusionOk="0">
                  <a:moveTo>
                    <a:pt x="572" y="345"/>
                  </a:moveTo>
                  <a:cubicBezTo>
                    <a:pt x="715" y="345"/>
                    <a:pt x="810" y="452"/>
                    <a:pt x="810" y="583"/>
                  </a:cubicBezTo>
                  <a:cubicBezTo>
                    <a:pt x="810" y="714"/>
                    <a:pt x="715" y="822"/>
                    <a:pt x="572" y="822"/>
                  </a:cubicBezTo>
                  <a:cubicBezTo>
                    <a:pt x="441" y="822"/>
                    <a:pt x="334" y="714"/>
                    <a:pt x="334" y="583"/>
                  </a:cubicBezTo>
                  <a:cubicBezTo>
                    <a:pt x="334" y="452"/>
                    <a:pt x="441" y="345"/>
                    <a:pt x="572" y="345"/>
                  </a:cubicBezTo>
                  <a:close/>
                  <a:moveTo>
                    <a:pt x="572" y="0"/>
                  </a:moveTo>
                  <a:cubicBezTo>
                    <a:pt x="263" y="0"/>
                    <a:pt x="1" y="262"/>
                    <a:pt x="1" y="583"/>
                  </a:cubicBezTo>
                  <a:cubicBezTo>
                    <a:pt x="1" y="893"/>
                    <a:pt x="251" y="1167"/>
                    <a:pt x="572" y="1167"/>
                  </a:cubicBezTo>
                  <a:cubicBezTo>
                    <a:pt x="894" y="1167"/>
                    <a:pt x="1156" y="893"/>
                    <a:pt x="1156" y="583"/>
                  </a:cubicBezTo>
                  <a:cubicBezTo>
                    <a:pt x="1156" y="274"/>
                    <a:pt x="906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0" name="Google Shape;10300;p59"/>
            <p:cNvSpPr/>
            <p:nvPr/>
          </p:nvSpPr>
          <p:spPr>
            <a:xfrm>
              <a:off x="4083820" y="3615129"/>
              <a:ext cx="37175" cy="36824"/>
            </a:xfrm>
            <a:custGeom>
              <a:avLst/>
              <a:gdLst/>
              <a:ahLst/>
              <a:cxnLst/>
              <a:rect l="l" t="t" r="r" b="b"/>
              <a:pathLst>
                <a:path w="1167" h="1156" extrusionOk="0">
                  <a:moveTo>
                    <a:pt x="584" y="346"/>
                  </a:moveTo>
                  <a:cubicBezTo>
                    <a:pt x="715" y="346"/>
                    <a:pt x="822" y="441"/>
                    <a:pt x="822" y="584"/>
                  </a:cubicBezTo>
                  <a:cubicBezTo>
                    <a:pt x="822" y="715"/>
                    <a:pt x="715" y="822"/>
                    <a:pt x="584" y="822"/>
                  </a:cubicBezTo>
                  <a:cubicBezTo>
                    <a:pt x="453" y="822"/>
                    <a:pt x="345" y="715"/>
                    <a:pt x="345" y="584"/>
                  </a:cubicBezTo>
                  <a:cubicBezTo>
                    <a:pt x="345" y="441"/>
                    <a:pt x="453" y="346"/>
                    <a:pt x="584" y="346"/>
                  </a:cubicBezTo>
                  <a:close/>
                  <a:moveTo>
                    <a:pt x="584" y="0"/>
                  </a:moveTo>
                  <a:cubicBezTo>
                    <a:pt x="274" y="0"/>
                    <a:pt x="0" y="251"/>
                    <a:pt x="0" y="584"/>
                  </a:cubicBezTo>
                  <a:cubicBezTo>
                    <a:pt x="0" y="905"/>
                    <a:pt x="250" y="1155"/>
                    <a:pt x="584" y="1155"/>
                  </a:cubicBezTo>
                  <a:cubicBezTo>
                    <a:pt x="905" y="1155"/>
                    <a:pt x="1167" y="893"/>
                    <a:pt x="1167" y="584"/>
                  </a:cubicBezTo>
                  <a:cubicBezTo>
                    <a:pt x="1167" y="262"/>
                    <a:pt x="90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1" name="Google Shape;10301;p59"/>
          <p:cNvGrpSpPr/>
          <p:nvPr/>
        </p:nvGrpSpPr>
        <p:grpSpPr>
          <a:xfrm>
            <a:off x="3497847" y="3417374"/>
            <a:ext cx="379680" cy="237606"/>
            <a:chOff x="3497847" y="3417374"/>
            <a:chExt cx="379680" cy="237606"/>
          </a:xfrm>
        </p:grpSpPr>
        <p:sp>
          <p:nvSpPr>
            <p:cNvPr id="10302" name="Google Shape;10302;p59"/>
            <p:cNvSpPr/>
            <p:nvPr/>
          </p:nvSpPr>
          <p:spPr>
            <a:xfrm>
              <a:off x="3557767" y="3444833"/>
              <a:ext cx="113818" cy="113818"/>
            </a:xfrm>
            <a:custGeom>
              <a:avLst/>
              <a:gdLst/>
              <a:ahLst/>
              <a:cxnLst/>
              <a:rect l="l" t="t" r="r" b="b"/>
              <a:pathLst>
                <a:path w="3573" h="3573" extrusionOk="0">
                  <a:moveTo>
                    <a:pt x="1786" y="358"/>
                  </a:moveTo>
                  <a:cubicBezTo>
                    <a:pt x="2572" y="358"/>
                    <a:pt x="3215" y="1001"/>
                    <a:pt x="3215" y="1787"/>
                  </a:cubicBezTo>
                  <a:cubicBezTo>
                    <a:pt x="3215" y="2572"/>
                    <a:pt x="2572" y="3215"/>
                    <a:pt x="1786" y="3215"/>
                  </a:cubicBezTo>
                  <a:cubicBezTo>
                    <a:pt x="988" y="3215"/>
                    <a:pt x="357" y="2572"/>
                    <a:pt x="357" y="1787"/>
                  </a:cubicBezTo>
                  <a:cubicBezTo>
                    <a:pt x="334" y="1001"/>
                    <a:pt x="988" y="358"/>
                    <a:pt x="1786" y="358"/>
                  </a:cubicBezTo>
                  <a:close/>
                  <a:moveTo>
                    <a:pt x="1786" y="1"/>
                  </a:moveTo>
                  <a:cubicBezTo>
                    <a:pt x="798" y="1"/>
                    <a:pt x="0" y="810"/>
                    <a:pt x="0" y="1787"/>
                  </a:cubicBezTo>
                  <a:cubicBezTo>
                    <a:pt x="0" y="2787"/>
                    <a:pt x="798" y="3572"/>
                    <a:pt x="1786" y="3572"/>
                  </a:cubicBezTo>
                  <a:cubicBezTo>
                    <a:pt x="2762" y="3572"/>
                    <a:pt x="3572" y="2775"/>
                    <a:pt x="3572" y="1787"/>
                  </a:cubicBezTo>
                  <a:cubicBezTo>
                    <a:pt x="3572" y="810"/>
                    <a:pt x="2762" y="1"/>
                    <a:pt x="1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3" name="Google Shape;10303;p59"/>
            <p:cNvSpPr/>
            <p:nvPr/>
          </p:nvSpPr>
          <p:spPr>
            <a:xfrm>
              <a:off x="3706434" y="3518418"/>
              <a:ext cx="62595" cy="62595"/>
            </a:xfrm>
            <a:custGeom>
              <a:avLst/>
              <a:gdLst/>
              <a:ahLst/>
              <a:cxnLst/>
              <a:rect l="l" t="t" r="r" b="b"/>
              <a:pathLst>
                <a:path w="1965" h="1965" extrusionOk="0">
                  <a:moveTo>
                    <a:pt x="989" y="358"/>
                  </a:moveTo>
                  <a:cubicBezTo>
                    <a:pt x="1322" y="358"/>
                    <a:pt x="1608" y="643"/>
                    <a:pt x="1608" y="977"/>
                  </a:cubicBezTo>
                  <a:cubicBezTo>
                    <a:pt x="1608" y="1322"/>
                    <a:pt x="1322" y="1608"/>
                    <a:pt x="989" y="1608"/>
                  </a:cubicBezTo>
                  <a:cubicBezTo>
                    <a:pt x="982" y="1608"/>
                    <a:pt x="975" y="1608"/>
                    <a:pt x="968" y="1608"/>
                  </a:cubicBezTo>
                  <a:cubicBezTo>
                    <a:pt x="632" y="1608"/>
                    <a:pt x="358" y="1327"/>
                    <a:pt x="358" y="977"/>
                  </a:cubicBezTo>
                  <a:cubicBezTo>
                    <a:pt x="358" y="643"/>
                    <a:pt x="643" y="358"/>
                    <a:pt x="989" y="358"/>
                  </a:cubicBezTo>
                  <a:close/>
                  <a:moveTo>
                    <a:pt x="989" y="0"/>
                  </a:moveTo>
                  <a:cubicBezTo>
                    <a:pt x="441" y="0"/>
                    <a:pt x="0" y="429"/>
                    <a:pt x="0" y="977"/>
                  </a:cubicBezTo>
                  <a:cubicBezTo>
                    <a:pt x="0" y="1512"/>
                    <a:pt x="429" y="1965"/>
                    <a:pt x="989" y="1965"/>
                  </a:cubicBezTo>
                  <a:cubicBezTo>
                    <a:pt x="1524" y="1965"/>
                    <a:pt x="1965" y="1536"/>
                    <a:pt x="1965" y="977"/>
                  </a:cubicBezTo>
                  <a:cubicBezTo>
                    <a:pt x="1965" y="441"/>
                    <a:pt x="1536" y="0"/>
                    <a:pt x="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4" name="Google Shape;10304;p59"/>
            <p:cNvSpPr/>
            <p:nvPr/>
          </p:nvSpPr>
          <p:spPr>
            <a:xfrm>
              <a:off x="3780019" y="3518418"/>
              <a:ext cx="62595" cy="62595"/>
            </a:xfrm>
            <a:custGeom>
              <a:avLst/>
              <a:gdLst/>
              <a:ahLst/>
              <a:cxnLst/>
              <a:rect l="l" t="t" r="r" b="b"/>
              <a:pathLst>
                <a:path w="1965" h="1965" extrusionOk="0">
                  <a:moveTo>
                    <a:pt x="1000" y="358"/>
                  </a:moveTo>
                  <a:cubicBezTo>
                    <a:pt x="1334" y="358"/>
                    <a:pt x="1620" y="643"/>
                    <a:pt x="1620" y="977"/>
                  </a:cubicBezTo>
                  <a:cubicBezTo>
                    <a:pt x="1620" y="1322"/>
                    <a:pt x="1334" y="1608"/>
                    <a:pt x="1000" y="1608"/>
                  </a:cubicBezTo>
                  <a:cubicBezTo>
                    <a:pt x="655" y="1608"/>
                    <a:pt x="369" y="1334"/>
                    <a:pt x="369" y="977"/>
                  </a:cubicBezTo>
                  <a:cubicBezTo>
                    <a:pt x="369" y="643"/>
                    <a:pt x="655" y="358"/>
                    <a:pt x="1000" y="358"/>
                  </a:cubicBezTo>
                  <a:close/>
                  <a:moveTo>
                    <a:pt x="977" y="0"/>
                  </a:moveTo>
                  <a:cubicBezTo>
                    <a:pt x="429" y="0"/>
                    <a:pt x="0" y="429"/>
                    <a:pt x="0" y="977"/>
                  </a:cubicBezTo>
                  <a:cubicBezTo>
                    <a:pt x="0" y="1512"/>
                    <a:pt x="429" y="1965"/>
                    <a:pt x="977" y="1965"/>
                  </a:cubicBezTo>
                  <a:cubicBezTo>
                    <a:pt x="1536" y="1965"/>
                    <a:pt x="1965" y="1536"/>
                    <a:pt x="1965" y="977"/>
                  </a:cubicBezTo>
                  <a:cubicBezTo>
                    <a:pt x="1965" y="441"/>
                    <a:pt x="1536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5" name="Google Shape;10305;p59"/>
            <p:cNvSpPr/>
            <p:nvPr/>
          </p:nvSpPr>
          <p:spPr>
            <a:xfrm>
              <a:off x="3497847" y="3417374"/>
              <a:ext cx="379680" cy="237606"/>
            </a:xfrm>
            <a:custGeom>
              <a:avLst/>
              <a:gdLst/>
              <a:ahLst/>
              <a:cxnLst/>
              <a:rect l="l" t="t" r="r" b="b"/>
              <a:pathLst>
                <a:path w="11919" h="7459" extrusionOk="0">
                  <a:moveTo>
                    <a:pt x="9144" y="1315"/>
                  </a:moveTo>
                  <a:cubicBezTo>
                    <a:pt x="9418" y="1315"/>
                    <a:pt x="9656" y="1506"/>
                    <a:pt x="9739" y="1756"/>
                  </a:cubicBezTo>
                  <a:lnTo>
                    <a:pt x="8096" y="1756"/>
                  </a:lnTo>
                  <a:cubicBezTo>
                    <a:pt x="8168" y="1506"/>
                    <a:pt x="8406" y="1315"/>
                    <a:pt x="8692" y="1315"/>
                  </a:cubicBezTo>
                  <a:close/>
                  <a:moveTo>
                    <a:pt x="3822" y="6566"/>
                  </a:moveTo>
                  <a:lnTo>
                    <a:pt x="3822" y="6970"/>
                  </a:lnTo>
                  <a:cubicBezTo>
                    <a:pt x="3822" y="7042"/>
                    <a:pt x="3762" y="7113"/>
                    <a:pt x="3679" y="7113"/>
                  </a:cubicBezTo>
                  <a:lnTo>
                    <a:pt x="2024" y="7113"/>
                  </a:lnTo>
                  <a:cubicBezTo>
                    <a:pt x="1953" y="7113"/>
                    <a:pt x="1881" y="7054"/>
                    <a:pt x="1881" y="6970"/>
                  </a:cubicBezTo>
                  <a:lnTo>
                    <a:pt x="1881" y="6566"/>
                  </a:lnTo>
                  <a:close/>
                  <a:moveTo>
                    <a:pt x="10001" y="6566"/>
                  </a:moveTo>
                  <a:lnTo>
                    <a:pt x="10001" y="6970"/>
                  </a:lnTo>
                  <a:lnTo>
                    <a:pt x="10013" y="6970"/>
                  </a:lnTo>
                  <a:cubicBezTo>
                    <a:pt x="10013" y="7042"/>
                    <a:pt x="9954" y="7113"/>
                    <a:pt x="9870" y="7113"/>
                  </a:cubicBezTo>
                  <a:lnTo>
                    <a:pt x="8215" y="7113"/>
                  </a:lnTo>
                  <a:cubicBezTo>
                    <a:pt x="8144" y="7113"/>
                    <a:pt x="8072" y="7054"/>
                    <a:pt x="8072" y="6970"/>
                  </a:cubicBezTo>
                  <a:lnTo>
                    <a:pt x="8072" y="6566"/>
                  </a:lnTo>
                  <a:close/>
                  <a:moveTo>
                    <a:pt x="3660" y="1"/>
                  </a:moveTo>
                  <a:cubicBezTo>
                    <a:pt x="3359" y="1"/>
                    <a:pt x="3052" y="52"/>
                    <a:pt x="2750" y="160"/>
                  </a:cubicBezTo>
                  <a:cubicBezTo>
                    <a:pt x="2667" y="196"/>
                    <a:pt x="2619" y="291"/>
                    <a:pt x="2655" y="386"/>
                  </a:cubicBezTo>
                  <a:cubicBezTo>
                    <a:pt x="2675" y="455"/>
                    <a:pt x="2751" y="500"/>
                    <a:pt x="2824" y="500"/>
                  </a:cubicBezTo>
                  <a:cubicBezTo>
                    <a:pt x="2840" y="500"/>
                    <a:pt x="2855" y="498"/>
                    <a:pt x="2869" y="493"/>
                  </a:cubicBezTo>
                  <a:cubicBezTo>
                    <a:pt x="3132" y="398"/>
                    <a:pt x="3397" y="353"/>
                    <a:pt x="3656" y="353"/>
                  </a:cubicBezTo>
                  <a:cubicBezTo>
                    <a:pt x="4845" y="353"/>
                    <a:pt x="5906" y="1294"/>
                    <a:pt x="5965" y="2565"/>
                  </a:cubicBezTo>
                  <a:cubicBezTo>
                    <a:pt x="6025" y="3887"/>
                    <a:pt x="4965" y="4970"/>
                    <a:pt x="3667" y="4970"/>
                  </a:cubicBezTo>
                  <a:cubicBezTo>
                    <a:pt x="2381" y="4970"/>
                    <a:pt x="1357" y="3934"/>
                    <a:pt x="1357" y="2649"/>
                  </a:cubicBezTo>
                  <a:cubicBezTo>
                    <a:pt x="1357" y="1922"/>
                    <a:pt x="1715" y="1220"/>
                    <a:pt x="2310" y="803"/>
                  </a:cubicBezTo>
                  <a:cubicBezTo>
                    <a:pt x="2381" y="744"/>
                    <a:pt x="2393" y="636"/>
                    <a:pt x="2346" y="565"/>
                  </a:cubicBezTo>
                  <a:cubicBezTo>
                    <a:pt x="2307" y="519"/>
                    <a:pt x="2254" y="493"/>
                    <a:pt x="2198" y="493"/>
                  </a:cubicBezTo>
                  <a:cubicBezTo>
                    <a:pt x="2168" y="493"/>
                    <a:pt x="2137" y="500"/>
                    <a:pt x="2107" y="517"/>
                  </a:cubicBezTo>
                  <a:cubicBezTo>
                    <a:pt x="1679" y="839"/>
                    <a:pt x="1357" y="1279"/>
                    <a:pt x="1179" y="1767"/>
                  </a:cubicBezTo>
                  <a:lnTo>
                    <a:pt x="655" y="1767"/>
                  </a:lnTo>
                  <a:cubicBezTo>
                    <a:pt x="298" y="1767"/>
                    <a:pt x="0" y="2065"/>
                    <a:pt x="0" y="2422"/>
                  </a:cubicBezTo>
                  <a:lnTo>
                    <a:pt x="0" y="5911"/>
                  </a:lnTo>
                  <a:cubicBezTo>
                    <a:pt x="0" y="6268"/>
                    <a:pt x="298" y="6566"/>
                    <a:pt x="655" y="6566"/>
                  </a:cubicBezTo>
                  <a:lnTo>
                    <a:pt x="1560" y="6566"/>
                  </a:lnTo>
                  <a:lnTo>
                    <a:pt x="1560" y="6970"/>
                  </a:lnTo>
                  <a:cubicBezTo>
                    <a:pt x="1560" y="7232"/>
                    <a:pt x="1786" y="7459"/>
                    <a:pt x="2048" y="7459"/>
                  </a:cubicBezTo>
                  <a:lnTo>
                    <a:pt x="3703" y="7459"/>
                  </a:lnTo>
                  <a:cubicBezTo>
                    <a:pt x="3977" y="7459"/>
                    <a:pt x="4191" y="7232"/>
                    <a:pt x="4191" y="6970"/>
                  </a:cubicBezTo>
                  <a:lnTo>
                    <a:pt x="4191" y="6566"/>
                  </a:lnTo>
                  <a:lnTo>
                    <a:pt x="6537" y="6566"/>
                  </a:lnTo>
                  <a:cubicBezTo>
                    <a:pt x="6620" y="6566"/>
                    <a:pt x="6715" y="6494"/>
                    <a:pt x="6715" y="6387"/>
                  </a:cubicBezTo>
                  <a:cubicBezTo>
                    <a:pt x="6715" y="6292"/>
                    <a:pt x="6644" y="6208"/>
                    <a:pt x="6537" y="6208"/>
                  </a:cubicBezTo>
                  <a:lnTo>
                    <a:pt x="655" y="6208"/>
                  </a:lnTo>
                  <a:cubicBezTo>
                    <a:pt x="476" y="6208"/>
                    <a:pt x="345" y="6066"/>
                    <a:pt x="345" y="5887"/>
                  </a:cubicBezTo>
                  <a:lnTo>
                    <a:pt x="345" y="2410"/>
                  </a:lnTo>
                  <a:cubicBezTo>
                    <a:pt x="345" y="2232"/>
                    <a:pt x="476" y="2101"/>
                    <a:pt x="655" y="2101"/>
                  </a:cubicBezTo>
                  <a:lnTo>
                    <a:pt x="1072" y="2101"/>
                  </a:lnTo>
                  <a:cubicBezTo>
                    <a:pt x="726" y="3708"/>
                    <a:pt x="1953" y="5292"/>
                    <a:pt x="3655" y="5292"/>
                  </a:cubicBezTo>
                  <a:cubicBezTo>
                    <a:pt x="5358" y="5292"/>
                    <a:pt x="6608" y="3720"/>
                    <a:pt x="6251" y="2101"/>
                  </a:cubicBezTo>
                  <a:lnTo>
                    <a:pt x="11263" y="2101"/>
                  </a:lnTo>
                  <a:cubicBezTo>
                    <a:pt x="11430" y="2101"/>
                    <a:pt x="11573" y="2232"/>
                    <a:pt x="11573" y="2410"/>
                  </a:cubicBezTo>
                  <a:lnTo>
                    <a:pt x="11573" y="5887"/>
                  </a:lnTo>
                  <a:cubicBezTo>
                    <a:pt x="11573" y="6054"/>
                    <a:pt x="11442" y="6208"/>
                    <a:pt x="11263" y="6208"/>
                  </a:cubicBezTo>
                  <a:lnTo>
                    <a:pt x="7168" y="6208"/>
                  </a:lnTo>
                  <a:cubicBezTo>
                    <a:pt x="7084" y="6208"/>
                    <a:pt x="6989" y="6280"/>
                    <a:pt x="6989" y="6387"/>
                  </a:cubicBezTo>
                  <a:cubicBezTo>
                    <a:pt x="6989" y="6470"/>
                    <a:pt x="7072" y="6566"/>
                    <a:pt x="7168" y="6566"/>
                  </a:cubicBezTo>
                  <a:lnTo>
                    <a:pt x="7727" y="6566"/>
                  </a:lnTo>
                  <a:lnTo>
                    <a:pt x="7727" y="6970"/>
                  </a:lnTo>
                  <a:cubicBezTo>
                    <a:pt x="7727" y="7232"/>
                    <a:pt x="7941" y="7459"/>
                    <a:pt x="8215" y="7459"/>
                  </a:cubicBezTo>
                  <a:lnTo>
                    <a:pt x="9870" y="7459"/>
                  </a:lnTo>
                  <a:cubicBezTo>
                    <a:pt x="10132" y="7459"/>
                    <a:pt x="10358" y="7232"/>
                    <a:pt x="10358" y="6970"/>
                  </a:cubicBezTo>
                  <a:lnTo>
                    <a:pt x="10358" y="6566"/>
                  </a:lnTo>
                  <a:lnTo>
                    <a:pt x="11263" y="6566"/>
                  </a:lnTo>
                  <a:cubicBezTo>
                    <a:pt x="11621" y="6566"/>
                    <a:pt x="11918" y="6268"/>
                    <a:pt x="11918" y="5911"/>
                  </a:cubicBezTo>
                  <a:lnTo>
                    <a:pt x="11918" y="2422"/>
                  </a:lnTo>
                  <a:cubicBezTo>
                    <a:pt x="11918" y="2053"/>
                    <a:pt x="11621" y="1756"/>
                    <a:pt x="11263" y="1756"/>
                  </a:cubicBezTo>
                  <a:lnTo>
                    <a:pt x="10108" y="1756"/>
                  </a:lnTo>
                  <a:cubicBezTo>
                    <a:pt x="10013" y="1291"/>
                    <a:pt x="9632" y="958"/>
                    <a:pt x="9144" y="958"/>
                  </a:cubicBezTo>
                  <a:lnTo>
                    <a:pt x="8692" y="958"/>
                  </a:lnTo>
                  <a:cubicBezTo>
                    <a:pt x="8215" y="958"/>
                    <a:pt x="7811" y="1291"/>
                    <a:pt x="7727" y="1756"/>
                  </a:cubicBezTo>
                  <a:lnTo>
                    <a:pt x="6167" y="1756"/>
                  </a:lnTo>
                  <a:cubicBezTo>
                    <a:pt x="5766" y="673"/>
                    <a:pt x="4751" y="1"/>
                    <a:pt x="36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6" name="Google Shape;10306;p59"/>
          <p:cNvGrpSpPr/>
          <p:nvPr/>
        </p:nvGrpSpPr>
        <p:grpSpPr>
          <a:xfrm>
            <a:off x="2612597" y="3367075"/>
            <a:ext cx="376271" cy="337982"/>
            <a:chOff x="2612597" y="3367075"/>
            <a:chExt cx="376271" cy="337982"/>
          </a:xfrm>
        </p:grpSpPr>
        <p:sp>
          <p:nvSpPr>
            <p:cNvPr id="10307" name="Google Shape;10307;p59"/>
            <p:cNvSpPr/>
            <p:nvPr/>
          </p:nvSpPr>
          <p:spPr>
            <a:xfrm>
              <a:off x="2612597" y="3367075"/>
              <a:ext cx="376271" cy="337982"/>
            </a:xfrm>
            <a:custGeom>
              <a:avLst/>
              <a:gdLst/>
              <a:ahLst/>
              <a:cxnLst/>
              <a:rect l="l" t="t" r="r" b="b"/>
              <a:pathLst>
                <a:path w="11812" h="10610" extrusionOk="0">
                  <a:moveTo>
                    <a:pt x="7561" y="346"/>
                  </a:moveTo>
                  <a:cubicBezTo>
                    <a:pt x="7490" y="668"/>
                    <a:pt x="7192" y="918"/>
                    <a:pt x="6835" y="918"/>
                  </a:cubicBezTo>
                  <a:lnTo>
                    <a:pt x="4966" y="918"/>
                  </a:lnTo>
                  <a:cubicBezTo>
                    <a:pt x="4609" y="918"/>
                    <a:pt x="4311" y="668"/>
                    <a:pt x="4228" y="346"/>
                  </a:cubicBezTo>
                  <a:close/>
                  <a:moveTo>
                    <a:pt x="7918" y="358"/>
                  </a:moveTo>
                  <a:cubicBezTo>
                    <a:pt x="8264" y="418"/>
                    <a:pt x="8526" y="727"/>
                    <a:pt x="8526" y="1108"/>
                  </a:cubicBezTo>
                  <a:lnTo>
                    <a:pt x="8526" y="1918"/>
                  </a:lnTo>
                  <a:lnTo>
                    <a:pt x="3263" y="1918"/>
                  </a:lnTo>
                  <a:lnTo>
                    <a:pt x="3263" y="1108"/>
                  </a:lnTo>
                  <a:cubicBezTo>
                    <a:pt x="3263" y="727"/>
                    <a:pt x="3525" y="429"/>
                    <a:pt x="3870" y="358"/>
                  </a:cubicBezTo>
                  <a:cubicBezTo>
                    <a:pt x="3966" y="882"/>
                    <a:pt x="4406" y="1287"/>
                    <a:pt x="4954" y="1287"/>
                  </a:cubicBezTo>
                  <a:lnTo>
                    <a:pt x="6835" y="1287"/>
                  </a:lnTo>
                  <a:cubicBezTo>
                    <a:pt x="7383" y="1287"/>
                    <a:pt x="7835" y="882"/>
                    <a:pt x="7918" y="358"/>
                  </a:cubicBezTo>
                  <a:close/>
                  <a:moveTo>
                    <a:pt x="7502" y="5180"/>
                  </a:moveTo>
                  <a:cubicBezTo>
                    <a:pt x="7835" y="5180"/>
                    <a:pt x="8097" y="5454"/>
                    <a:pt x="8097" y="5775"/>
                  </a:cubicBezTo>
                  <a:lnTo>
                    <a:pt x="8097" y="7323"/>
                  </a:lnTo>
                  <a:cubicBezTo>
                    <a:pt x="7764" y="7395"/>
                    <a:pt x="7430" y="7442"/>
                    <a:pt x="7073" y="7478"/>
                  </a:cubicBezTo>
                  <a:lnTo>
                    <a:pt x="7073" y="6942"/>
                  </a:lnTo>
                  <a:cubicBezTo>
                    <a:pt x="7085" y="6561"/>
                    <a:pt x="6764" y="6240"/>
                    <a:pt x="6371" y="6240"/>
                  </a:cubicBezTo>
                  <a:lnTo>
                    <a:pt x="5406" y="6240"/>
                  </a:lnTo>
                  <a:cubicBezTo>
                    <a:pt x="5025" y="6240"/>
                    <a:pt x="4704" y="6549"/>
                    <a:pt x="4704" y="6942"/>
                  </a:cubicBezTo>
                  <a:lnTo>
                    <a:pt x="4704" y="7478"/>
                  </a:lnTo>
                  <a:cubicBezTo>
                    <a:pt x="4370" y="7442"/>
                    <a:pt x="4025" y="7383"/>
                    <a:pt x="3680" y="7323"/>
                  </a:cubicBezTo>
                  <a:lnTo>
                    <a:pt x="3680" y="5775"/>
                  </a:lnTo>
                  <a:cubicBezTo>
                    <a:pt x="3680" y="5454"/>
                    <a:pt x="3954" y="5180"/>
                    <a:pt x="4275" y="5180"/>
                  </a:cubicBezTo>
                  <a:close/>
                  <a:moveTo>
                    <a:pt x="6371" y="6585"/>
                  </a:moveTo>
                  <a:cubicBezTo>
                    <a:pt x="6573" y="6585"/>
                    <a:pt x="6728" y="6740"/>
                    <a:pt x="6728" y="6942"/>
                  </a:cubicBezTo>
                  <a:lnTo>
                    <a:pt x="6728" y="8430"/>
                  </a:lnTo>
                  <a:cubicBezTo>
                    <a:pt x="6728" y="8621"/>
                    <a:pt x="6573" y="8788"/>
                    <a:pt x="6371" y="8788"/>
                  </a:cubicBezTo>
                  <a:lnTo>
                    <a:pt x="5406" y="8788"/>
                  </a:lnTo>
                  <a:cubicBezTo>
                    <a:pt x="5216" y="8788"/>
                    <a:pt x="5049" y="8621"/>
                    <a:pt x="5049" y="8430"/>
                  </a:cubicBezTo>
                  <a:lnTo>
                    <a:pt x="5049" y="6942"/>
                  </a:lnTo>
                  <a:cubicBezTo>
                    <a:pt x="5049" y="6740"/>
                    <a:pt x="5216" y="6585"/>
                    <a:pt x="5406" y="6585"/>
                  </a:cubicBezTo>
                  <a:close/>
                  <a:moveTo>
                    <a:pt x="4025" y="1"/>
                  </a:moveTo>
                  <a:cubicBezTo>
                    <a:pt x="3406" y="1"/>
                    <a:pt x="2918" y="489"/>
                    <a:pt x="2918" y="1108"/>
                  </a:cubicBezTo>
                  <a:lnTo>
                    <a:pt x="2918" y="1918"/>
                  </a:lnTo>
                  <a:lnTo>
                    <a:pt x="1084" y="1918"/>
                  </a:lnTo>
                  <a:cubicBezTo>
                    <a:pt x="489" y="1918"/>
                    <a:pt x="1" y="2418"/>
                    <a:pt x="1" y="3013"/>
                  </a:cubicBezTo>
                  <a:lnTo>
                    <a:pt x="1" y="6168"/>
                  </a:lnTo>
                  <a:cubicBezTo>
                    <a:pt x="1" y="6228"/>
                    <a:pt x="37" y="6287"/>
                    <a:pt x="96" y="6311"/>
                  </a:cubicBezTo>
                  <a:cubicBezTo>
                    <a:pt x="203" y="6371"/>
                    <a:pt x="322" y="6430"/>
                    <a:pt x="418" y="6490"/>
                  </a:cubicBezTo>
                  <a:lnTo>
                    <a:pt x="418" y="7311"/>
                  </a:lnTo>
                  <a:cubicBezTo>
                    <a:pt x="418" y="7418"/>
                    <a:pt x="501" y="7490"/>
                    <a:pt x="596" y="7490"/>
                  </a:cubicBezTo>
                  <a:cubicBezTo>
                    <a:pt x="703" y="7490"/>
                    <a:pt x="775" y="7418"/>
                    <a:pt x="775" y="7311"/>
                  </a:cubicBezTo>
                  <a:lnTo>
                    <a:pt x="775" y="6668"/>
                  </a:lnTo>
                  <a:cubicBezTo>
                    <a:pt x="2013" y="7299"/>
                    <a:pt x="3358" y="7668"/>
                    <a:pt x="4740" y="7811"/>
                  </a:cubicBezTo>
                  <a:lnTo>
                    <a:pt x="4740" y="8407"/>
                  </a:lnTo>
                  <a:cubicBezTo>
                    <a:pt x="4740" y="8800"/>
                    <a:pt x="5049" y="9109"/>
                    <a:pt x="5442" y="9109"/>
                  </a:cubicBezTo>
                  <a:lnTo>
                    <a:pt x="6406" y="9109"/>
                  </a:lnTo>
                  <a:cubicBezTo>
                    <a:pt x="6787" y="9109"/>
                    <a:pt x="7109" y="8800"/>
                    <a:pt x="7109" y="8407"/>
                  </a:cubicBezTo>
                  <a:lnTo>
                    <a:pt x="7109" y="7811"/>
                  </a:lnTo>
                  <a:cubicBezTo>
                    <a:pt x="8490" y="7668"/>
                    <a:pt x="9812" y="7299"/>
                    <a:pt x="11062" y="6668"/>
                  </a:cubicBezTo>
                  <a:lnTo>
                    <a:pt x="11062" y="9526"/>
                  </a:lnTo>
                  <a:cubicBezTo>
                    <a:pt x="11062" y="9931"/>
                    <a:pt x="10740" y="10276"/>
                    <a:pt x="10324" y="10276"/>
                  </a:cubicBezTo>
                  <a:lnTo>
                    <a:pt x="1489" y="10276"/>
                  </a:lnTo>
                  <a:cubicBezTo>
                    <a:pt x="1096" y="10276"/>
                    <a:pt x="751" y="9943"/>
                    <a:pt x="751" y="9526"/>
                  </a:cubicBezTo>
                  <a:lnTo>
                    <a:pt x="751" y="8026"/>
                  </a:lnTo>
                  <a:cubicBezTo>
                    <a:pt x="751" y="7918"/>
                    <a:pt x="679" y="7847"/>
                    <a:pt x="572" y="7847"/>
                  </a:cubicBezTo>
                  <a:cubicBezTo>
                    <a:pt x="465" y="7847"/>
                    <a:pt x="394" y="7918"/>
                    <a:pt x="394" y="8026"/>
                  </a:cubicBezTo>
                  <a:lnTo>
                    <a:pt x="394" y="9526"/>
                  </a:lnTo>
                  <a:cubicBezTo>
                    <a:pt x="394" y="10121"/>
                    <a:pt x="882" y="10609"/>
                    <a:pt x="1477" y="10609"/>
                  </a:cubicBezTo>
                  <a:lnTo>
                    <a:pt x="10300" y="10609"/>
                  </a:lnTo>
                  <a:cubicBezTo>
                    <a:pt x="10895" y="10609"/>
                    <a:pt x="11395" y="10121"/>
                    <a:pt x="11395" y="9526"/>
                  </a:cubicBezTo>
                  <a:lnTo>
                    <a:pt x="11395" y="6490"/>
                  </a:lnTo>
                  <a:cubicBezTo>
                    <a:pt x="11490" y="6430"/>
                    <a:pt x="11609" y="6371"/>
                    <a:pt x="11717" y="6311"/>
                  </a:cubicBezTo>
                  <a:cubicBezTo>
                    <a:pt x="11776" y="6287"/>
                    <a:pt x="11812" y="6228"/>
                    <a:pt x="11812" y="6168"/>
                  </a:cubicBezTo>
                  <a:lnTo>
                    <a:pt x="11812" y="3013"/>
                  </a:lnTo>
                  <a:cubicBezTo>
                    <a:pt x="11812" y="2394"/>
                    <a:pt x="11312" y="1918"/>
                    <a:pt x="10716" y="1918"/>
                  </a:cubicBezTo>
                  <a:lnTo>
                    <a:pt x="10276" y="1918"/>
                  </a:lnTo>
                  <a:cubicBezTo>
                    <a:pt x="10169" y="1918"/>
                    <a:pt x="10097" y="2001"/>
                    <a:pt x="10097" y="2096"/>
                  </a:cubicBezTo>
                  <a:cubicBezTo>
                    <a:pt x="10097" y="2203"/>
                    <a:pt x="10169" y="2275"/>
                    <a:pt x="10276" y="2275"/>
                  </a:cubicBezTo>
                  <a:lnTo>
                    <a:pt x="10716" y="2275"/>
                  </a:lnTo>
                  <a:cubicBezTo>
                    <a:pt x="11121" y="2275"/>
                    <a:pt x="11467" y="2608"/>
                    <a:pt x="11467" y="3025"/>
                  </a:cubicBezTo>
                  <a:lnTo>
                    <a:pt x="11467" y="6073"/>
                  </a:lnTo>
                  <a:cubicBezTo>
                    <a:pt x="11359" y="6133"/>
                    <a:pt x="11252" y="6192"/>
                    <a:pt x="11133" y="6252"/>
                  </a:cubicBezTo>
                  <a:cubicBezTo>
                    <a:pt x="10288" y="6704"/>
                    <a:pt x="9395" y="7037"/>
                    <a:pt x="8454" y="7252"/>
                  </a:cubicBezTo>
                  <a:lnTo>
                    <a:pt x="8454" y="5775"/>
                  </a:lnTo>
                  <a:cubicBezTo>
                    <a:pt x="8454" y="5251"/>
                    <a:pt x="8026" y="4823"/>
                    <a:pt x="7502" y="4823"/>
                  </a:cubicBezTo>
                  <a:lnTo>
                    <a:pt x="4275" y="4823"/>
                  </a:lnTo>
                  <a:cubicBezTo>
                    <a:pt x="3751" y="4823"/>
                    <a:pt x="3323" y="5251"/>
                    <a:pt x="3323" y="5775"/>
                  </a:cubicBezTo>
                  <a:lnTo>
                    <a:pt x="3323" y="7252"/>
                  </a:lnTo>
                  <a:cubicBezTo>
                    <a:pt x="2275" y="7014"/>
                    <a:pt x="1275" y="6609"/>
                    <a:pt x="334" y="6073"/>
                  </a:cubicBezTo>
                  <a:lnTo>
                    <a:pt x="334" y="3025"/>
                  </a:lnTo>
                  <a:cubicBezTo>
                    <a:pt x="334" y="2620"/>
                    <a:pt x="656" y="2275"/>
                    <a:pt x="1072" y="2275"/>
                  </a:cubicBezTo>
                  <a:lnTo>
                    <a:pt x="9562" y="2275"/>
                  </a:lnTo>
                  <a:cubicBezTo>
                    <a:pt x="9657" y="2275"/>
                    <a:pt x="9740" y="2203"/>
                    <a:pt x="9740" y="2096"/>
                  </a:cubicBezTo>
                  <a:cubicBezTo>
                    <a:pt x="9740" y="2001"/>
                    <a:pt x="9657" y="1918"/>
                    <a:pt x="9562" y="1918"/>
                  </a:cubicBezTo>
                  <a:lnTo>
                    <a:pt x="8871" y="1918"/>
                  </a:lnTo>
                  <a:lnTo>
                    <a:pt x="8871" y="1108"/>
                  </a:lnTo>
                  <a:cubicBezTo>
                    <a:pt x="8871" y="489"/>
                    <a:pt x="8383" y="1"/>
                    <a:pt x="77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8" name="Google Shape;10308;p59"/>
            <p:cNvSpPr/>
            <p:nvPr/>
          </p:nvSpPr>
          <p:spPr>
            <a:xfrm>
              <a:off x="2784805" y="3588212"/>
              <a:ext cx="31505" cy="47432"/>
            </a:xfrm>
            <a:custGeom>
              <a:avLst/>
              <a:gdLst/>
              <a:ahLst/>
              <a:cxnLst/>
              <a:rect l="l" t="t" r="r" b="b"/>
              <a:pathLst>
                <a:path w="989" h="1489" extrusionOk="0">
                  <a:moveTo>
                    <a:pt x="631" y="357"/>
                  </a:moveTo>
                  <a:lnTo>
                    <a:pt x="631" y="1143"/>
                  </a:lnTo>
                  <a:lnTo>
                    <a:pt x="346" y="1143"/>
                  </a:lnTo>
                  <a:lnTo>
                    <a:pt x="346" y="357"/>
                  </a:lnTo>
                  <a:close/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1310"/>
                  </a:lnTo>
                  <a:cubicBezTo>
                    <a:pt x="0" y="1405"/>
                    <a:pt x="72" y="1488"/>
                    <a:pt x="179" y="1488"/>
                  </a:cubicBezTo>
                  <a:lnTo>
                    <a:pt x="810" y="1488"/>
                  </a:lnTo>
                  <a:cubicBezTo>
                    <a:pt x="905" y="1488"/>
                    <a:pt x="988" y="1405"/>
                    <a:pt x="988" y="1310"/>
                  </a:cubicBezTo>
                  <a:lnTo>
                    <a:pt x="988" y="179"/>
                  </a:lnTo>
                  <a:cubicBezTo>
                    <a:pt x="965" y="83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9" name="Google Shape;10309;p59"/>
          <p:cNvGrpSpPr/>
          <p:nvPr/>
        </p:nvGrpSpPr>
        <p:grpSpPr>
          <a:xfrm>
            <a:off x="3071914" y="3364431"/>
            <a:ext cx="343652" cy="342505"/>
            <a:chOff x="3071914" y="3364431"/>
            <a:chExt cx="343652" cy="342505"/>
          </a:xfrm>
        </p:grpSpPr>
        <p:sp>
          <p:nvSpPr>
            <p:cNvPr id="10310" name="Google Shape;10310;p59"/>
            <p:cNvSpPr/>
            <p:nvPr/>
          </p:nvSpPr>
          <p:spPr>
            <a:xfrm>
              <a:off x="3157636" y="3408390"/>
              <a:ext cx="12519" cy="11054"/>
            </a:xfrm>
            <a:custGeom>
              <a:avLst/>
              <a:gdLst/>
              <a:ahLst/>
              <a:cxnLst/>
              <a:rect l="l" t="t" r="r" b="b"/>
              <a:pathLst>
                <a:path w="393" h="347" extrusionOk="0">
                  <a:moveTo>
                    <a:pt x="212" y="0"/>
                  </a:moveTo>
                  <a:cubicBezTo>
                    <a:pt x="205" y="0"/>
                    <a:pt x="198" y="1"/>
                    <a:pt x="191" y="2"/>
                  </a:cubicBezTo>
                  <a:lnTo>
                    <a:pt x="143" y="13"/>
                  </a:lnTo>
                  <a:cubicBezTo>
                    <a:pt x="60" y="25"/>
                    <a:pt x="0" y="121"/>
                    <a:pt x="12" y="204"/>
                  </a:cubicBezTo>
                  <a:cubicBezTo>
                    <a:pt x="24" y="287"/>
                    <a:pt x="83" y="347"/>
                    <a:pt x="179" y="347"/>
                  </a:cubicBezTo>
                  <a:lnTo>
                    <a:pt x="203" y="347"/>
                  </a:lnTo>
                  <a:lnTo>
                    <a:pt x="250" y="323"/>
                  </a:lnTo>
                  <a:cubicBezTo>
                    <a:pt x="333" y="311"/>
                    <a:pt x="393" y="216"/>
                    <a:pt x="381" y="133"/>
                  </a:cubicBezTo>
                  <a:cubicBezTo>
                    <a:pt x="370" y="56"/>
                    <a:pt x="290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1" name="Google Shape;10311;p59"/>
            <p:cNvSpPr/>
            <p:nvPr/>
          </p:nvSpPr>
          <p:spPr>
            <a:xfrm>
              <a:off x="3072679" y="3696678"/>
              <a:ext cx="11404" cy="10257"/>
            </a:xfrm>
            <a:custGeom>
              <a:avLst/>
              <a:gdLst/>
              <a:ahLst/>
              <a:cxnLst/>
              <a:rect l="l" t="t" r="r" b="b"/>
              <a:pathLst>
                <a:path w="35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91" y="322"/>
                  </a:lnTo>
                  <a:cubicBezTo>
                    <a:pt x="286" y="322"/>
                    <a:pt x="357" y="250"/>
                    <a:pt x="357" y="167"/>
                  </a:cubicBez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2" name="Google Shape;10312;p59"/>
            <p:cNvSpPr/>
            <p:nvPr/>
          </p:nvSpPr>
          <p:spPr>
            <a:xfrm>
              <a:off x="3231571" y="3530937"/>
              <a:ext cx="11404" cy="10640"/>
            </a:xfrm>
            <a:custGeom>
              <a:avLst/>
              <a:gdLst/>
              <a:ahLst/>
              <a:cxnLst/>
              <a:rect l="l" t="t" r="r" b="b"/>
              <a:pathLst>
                <a:path w="358" h="334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191" y="334"/>
                  </a:lnTo>
                  <a:cubicBezTo>
                    <a:pt x="275" y="334"/>
                    <a:pt x="358" y="262"/>
                    <a:pt x="358" y="167"/>
                  </a:cubicBezTo>
                  <a:cubicBezTo>
                    <a:pt x="358" y="84"/>
                    <a:pt x="275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3" name="Google Shape;10313;p59"/>
            <p:cNvSpPr/>
            <p:nvPr/>
          </p:nvSpPr>
          <p:spPr>
            <a:xfrm>
              <a:off x="3317293" y="3653005"/>
              <a:ext cx="12933" cy="10703"/>
            </a:xfrm>
            <a:custGeom>
              <a:avLst/>
              <a:gdLst/>
              <a:ahLst/>
              <a:cxnLst/>
              <a:rect l="l" t="t" r="r" b="b"/>
              <a:pathLst>
                <a:path w="406" h="336" extrusionOk="0">
                  <a:moveTo>
                    <a:pt x="215" y="1"/>
                  </a:moveTo>
                  <a:cubicBezTo>
                    <a:pt x="207" y="1"/>
                    <a:pt x="199" y="1"/>
                    <a:pt x="191" y="2"/>
                  </a:cubicBezTo>
                  <a:lnTo>
                    <a:pt x="144" y="14"/>
                  </a:lnTo>
                  <a:cubicBezTo>
                    <a:pt x="60" y="26"/>
                    <a:pt x="1" y="121"/>
                    <a:pt x="13" y="205"/>
                  </a:cubicBezTo>
                  <a:cubicBezTo>
                    <a:pt x="24" y="288"/>
                    <a:pt x="108" y="335"/>
                    <a:pt x="179" y="335"/>
                  </a:cubicBezTo>
                  <a:lnTo>
                    <a:pt x="203" y="335"/>
                  </a:lnTo>
                  <a:lnTo>
                    <a:pt x="251" y="324"/>
                  </a:lnTo>
                  <a:cubicBezTo>
                    <a:pt x="346" y="312"/>
                    <a:pt x="405" y="216"/>
                    <a:pt x="382" y="133"/>
                  </a:cubicBezTo>
                  <a:cubicBezTo>
                    <a:pt x="371" y="57"/>
                    <a:pt x="300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4" name="Google Shape;10314;p59"/>
            <p:cNvSpPr/>
            <p:nvPr/>
          </p:nvSpPr>
          <p:spPr>
            <a:xfrm>
              <a:off x="3071914" y="3364431"/>
              <a:ext cx="343652" cy="342505"/>
            </a:xfrm>
            <a:custGeom>
              <a:avLst/>
              <a:gdLst/>
              <a:ahLst/>
              <a:cxnLst/>
              <a:rect l="l" t="t" r="r" b="b"/>
              <a:pathLst>
                <a:path w="10788" h="10752" extrusionOk="0">
                  <a:moveTo>
                    <a:pt x="5394" y="334"/>
                  </a:moveTo>
                  <a:cubicBezTo>
                    <a:pt x="6632" y="334"/>
                    <a:pt x="7775" y="786"/>
                    <a:pt x="8656" y="1524"/>
                  </a:cubicBezTo>
                  <a:cubicBezTo>
                    <a:pt x="7644" y="1263"/>
                    <a:pt x="6525" y="1132"/>
                    <a:pt x="5394" y="1132"/>
                  </a:cubicBezTo>
                  <a:cubicBezTo>
                    <a:pt x="4775" y="1132"/>
                    <a:pt x="4156" y="1167"/>
                    <a:pt x="3560" y="1239"/>
                  </a:cubicBezTo>
                  <a:cubicBezTo>
                    <a:pt x="3477" y="1263"/>
                    <a:pt x="3405" y="1346"/>
                    <a:pt x="3417" y="1441"/>
                  </a:cubicBezTo>
                  <a:cubicBezTo>
                    <a:pt x="3428" y="1518"/>
                    <a:pt x="3511" y="1585"/>
                    <a:pt x="3589" y="1585"/>
                  </a:cubicBezTo>
                  <a:cubicBezTo>
                    <a:pt x="3596" y="1585"/>
                    <a:pt x="3602" y="1585"/>
                    <a:pt x="3608" y="1584"/>
                  </a:cubicBezTo>
                  <a:cubicBezTo>
                    <a:pt x="4191" y="1513"/>
                    <a:pt x="4799" y="1465"/>
                    <a:pt x="5394" y="1465"/>
                  </a:cubicBezTo>
                  <a:cubicBezTo>
                    <a:pt x="6739" y="1465"/>
                    <a:pt x="8025" y="1655"/>
                    <a:pt x="9156" y="2036"/>
                  </a:cubicBezTo>
                  <a:cubicBezTo>
                    <a:pt x="9740" y="2691"/>
                    <a:pt x="10156" y="3501"/>
                    <a:pt x="10335" y="4394"/>
                  </a:cubicBezTo>
                  <a:cubicBezTo>
                    <a:pt x="10049" y="4096"/>
                    <a:pt x="9644" y="3846"/>
                    <a:pt x="9144" y="3608"/>
                  </a:cubicBezTo>
                  <a:cubicBezTo>
                    <a:pt x="8132" y="3179"/>
                    <a:pt x="6811" y="2929"/>
                    <a:pt x="5394" y="2929"/>
                  </a:cubicBezTo>
                  <a:cubicBezTo>
                    <a:pt x="3977" y="2929"/>
                    <a:pt x="2643" y="3168"/>
                    <a:pt x="1643" y="3608"/>
                  </a:cubicBezTo>
                  <a:cubicBezTo>
                    <a:pt x="1119" y="3834"/>
                    <a:pt x="715" y="4096"/>
                    <a:pt x="453" y="4394"/>
                  </a:cubicBezTo>
                  <a:cubicBezTo>
                    <a:pt x="893" y="2096"/>
                    <a:pt x="2953" y="334"/>
                    <a:pt x="5394" y="334"/>
                  </a:cubicBezTo>
                  <a:close/>
                  <a:moveTo>
                    <a:pt x="5394" y="3287"/>
                  </a:moveTo>
                  <a:cubicBezTo>
                    <a:pt x="6763" y="3287"/>
                    <a:pt x="8037" y="3525"/>
                    <a:pt x="9013" y="3941"/>
                  </a:cubicBezTo>
                  <a:cubicBezTo>
                    <a:pt x="9918" y="4322"/>
                    <a:pt x="10442" y="4858"/>
                    <a:pt x="10442" y="5382"/>
                  </a:cubicBezTo>
                  <a:cubicBezTo>
                    <a:pt x="10442" y="5906"/>
                    <a:pt x="9918" y="6442"/>
                    <a:pt x="9013" y="6823"/>
                  </a:cubicBezTo>
                  <a:cubicBezTo>
                    <a:pt x="8037" y="7239"/>
                    <a:pt x="6763" y="7478"/>
                    <a:pt x="5394" y="7478"/>
                  </a:cubicBezTo>
                  <a:cubicBezTo>
                    <a:pt x="4025" y="7478"/>
                    <a:pt x="2751" y="7239"/>
                    <a:pt x="1774" y="6823"/>
                  </a:cubicBezTo>
                  <a:cubicBezTo>
                    <a:pt x="977" y="6466"/>
                    <a:pt x="465" y="6025"/>
                    <a:pt x="357" y="5549"/>
                  </a:cubicBezTo>
                  <a:lnTo>
                    <a:pt x="4489" y="5549"/>
                  </a:lnTo>
                  <a:cubicBezTo>
                    <a:pt x="4572" y="5549"/>
                    <a:pt x="4656" y="5477"/>
                    <a:pt x="4656" y="5382"/>
                  </a:cubicBezTo>
                  <a:cubicBezTo>
                    <a:pt x="4668" y="5299"/>
                    <a:pt x="4596" y="5215"/>
                    <a:pt x="4489" y="5215"/>
                  </a:cubicBezTo>
                  <a:lnTo>
                    <a:pt x="357" y="5215"/>
                  </a:lnTo>
                  <a:cubicBezTo>
                    <a:pt x="465" y="4763"/>
                    <a:pt x="953" y="4299"/>
                    <a:pt x="1774" y="3941"/>
                  </a:cubicBezTo>
                  <a:cubicBezTo>
                    <a:pt x="2751" y="3525"/>
                    <a:pt x="4025" y="3287"/>
                    <a:pt x="5394" y="3287"/>
                  </a:cubicBezTo>
                  <a:close/>
                  <a:moveTo>
                    <a:pt x="453" y="6370"/>
                  </a:moveTo>
                  <a:lnTo>
                    <a:pt x="453" y="6370"/>
                  </a:lnTo>
                  <a:cubicBezTo>
                    <a:pt x="738" y="6668"/>
                    <a:pt x="1143" y="6918"/>
                    <a:pt x="1643" y="7156"/>
                  </a:cubicBezTo>
                  <a:cubicBezTo>
                    <a:pt x="2655" y="7585"/>
                    <a:pt x="3977" y="7835"/>
                    <a:pt x="5394" y="7835"/>
                  </a:cubicBezTo>
                  <a:cubicBezTo>
                    <a:pt x="6811" y="7835"/>
                    <a:pt x="8144" y="7597"/>
                    <a:pt x="9144" y="7156"/>
                  </a:cubicBezTo>
                  <a:cubicBezTo>
                    <a:pt x="9668" y="6930"/>
                    <a:pt x="10073" y="6668"/>
                    <a:pt x="10335" y="6370"/>
                  </a:cubicBezTo>
                  <a:lnTo>
                    <a:pt x="10335" y="6370"/>
                  </a:lnTo>
                  <a:cubicBezTo>
                    <a:pt x="9894" y="8692"/>
                    <a:pt x="7847" y="10430"/>
                    <a:pt x="5394" y="10430"/>
                  </a:cubicBezTo>
                  <a:cubicBezTo>
                    <a:pt x="4156" y="10430"/>
                    <a:pt x="3024" y="9978"/>
                    <a:pt x="2155" y="9240"/>
                  </a:cubicBezTo>
                  <a:lnTo>
                    <a:pt x="2155" y="9240"/>
                  </a:lnTo>
                  <a:cubicBezTo>
                    <a:pt x="3167" y="9502"/>
                    <a:pt x="4263" y="9645"/>
                    <a:pt x="5394" y="9645"/>
                  </a:cubicBezTo>
                  <a:cubicBezTo>
                    <a:pt x="6025" y="9645"/>
                    <a:pt x="6632" y="9597"/>
                    <a:pt x="7227" y="9525"/>
                  </a:cubicBezTo>
                  <a:cubicBezTo>
                    <a:pt x="7311" y="9502"/>
                    <a:pt x="7394" y="9418"/>
                    <a:pt x="7370" y="9323"/>
                  </a:cubicBezTo>
                  <a:cubicBezTo>
                    <a:pt x="7359" y="9246"/>
                    <a:pt x="7277" y="9179"/>
                    <a:pt x="7198" y="9179"/>
                  </a:cubicBezTo>
                  <a:cubicBezTo>
                    <a:pt x="7192" y="9179"/>
                    <a:pt x="7186" y="9179"/>
                    <a:pt x="7180" y="9180"/>
                  </a:cubicBezTo>
                  <a:cubicBezTo>
                    <a:pt x="6596" y="9252"/>
                    <a:pt x="5989" y="9299"/>
                    <a:pt x="5394" y="9299"/>
                  </a:cubicBezTo>
                  <a:cubicBezTo>
                    <a:pt x="4072" y="9299"/>
                    <a:pt x="2763" y="9109"/>
                    <a:pt x="1631" y="8728"/>
                  </a:cubicBezTo>
                  <a:cubicBezTo>
                    <a:pt x="1048" y="8073"/>
                    <a:pt x="631" y="7263"/>
                    <a:pt x="453" y="6370"/>
                  </a:cubicBezTo>
                  <a:close/>
                  <a:moveTo>
                    <a:pt x="5394" y="0"/>
                  </a:moveTo>
                  <a:cubicBezTo>
                    <a:pt x="3953" y="0"/>
                    <a:pt x="2596" y="560"/>
                    <a:pt x="1584" y="1572"/>
                  </a:cubicBezTo>
                  <a:cubicBezTo>
                    <a:pt x="572" y="2584"/>
                    <a:pt x="0" y="3941"/>
                    <a:pt x="0" y="5382"/>
                  </a:cubicBezTo>
                  <a:cubicBezTo>
                    <a:pt x="0" y="6704"/>
                    <a:pt x="488" y="7978"/>
                    <a:pt x="1358" y="8954"/>
                  </a:cubicBezTo>
                  <a:cubicBezTo>
                    <a:pt x="1381" y="8990"/>
                    <a:pt x="1393" y="9002"/>
                    <a:pt x="1417" y="9013"/>
                  </a:cubicBezTo>
                  <a:cubicBezTo>
                    <a:pt x="1477" y="9073"/>
                    <a:pt x="1524" y="9133"/>
                    <a:pt x="1584" y="9192"/>
                  </a:cubicBezTo>
                  <a:cubicBezTo>
                    <a:pt x="2132" y="9740"/>
                    <a:pt x="2786" y="10156"/>
                    <a:pt x="3501" y="10430"/>
                  </a:cubicBezTo>
                  <a:lnTo>
                    <a:pt x="1096" y="10430"/>
                  </a:lnTo>
                  <a:cubicBezTo>
                    <a:pt x="1000" y="10430"/>
                    <a:pt x="929" y="10502"/>
                    <a:pt x="929" y="10597"/>
                  </a:cubicBezTo>
                  <a:cubicBezTo>
                    <a:pt x="929" y="10680"/>
                    <a:pt x="1000" y="10752"/>
                    <a:pt x="1096" y="10752"/>
                  </a:cubicBezTo>
                  <a:lnTo>
                    <a:pt x="9025" y="10752"/>
                  </a:lnTo>
                  <a:cubicBezTo>
                    <a:pt x="9109" y="10752"/>
                    <a:pt x="9192" y="10680"/>
                    <a:pt x="9192" y="10597"/>
                  </a:cubicBezTo>
                  <a:cubicBezTo>
                    <a:pt x="9192" y="10502"/>
                    <a:pt x="9109" y="10430"/>
                    <a:pt x="9025" y="10430"/>
                  </a:cubicBezTo>
                  <a:lnTo>
                    <a:pt x="7287" y="10430"/>
                  </a:lnTo>
                  <a:cubicBezTo>
                    <a:pt x="8001" y="10156"/>
                    <a:pt x="8656" y="9740"/>
                    <a:pt x="9204" y="9192"/>
                  </a:cubicBezTo>
                  <a:cubicBezTo>
                    <a:pt x="10228" y="8180"/>
                    <a:pt x="10787" y="6823"/>
                    <a:pt x="10787" y="5382"/>
                  </a:cubicBezTo>
                  <a:cubicBezTo>
                    <a:pt x="10787" y="3941"/>
                    <a:pt x="10216" y="2584"/>
                    <a:pt x="9204" y="1572"/>
                  </a:cubicBezTo>
                  <a:cubicBezTo>
                    <a:pt x="8192" y="560"/>
                    <a:pt x="6834" y="0"/>
                    <a:pt x="5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15" name="Google Shape;10315;p59"/>
          <p:cNvGrpSpPr/>
          <p:nvPr/>
        </p:nvGrpSpPr>
        <p:grpSpPr>
          <a:xfrm>
            <a:off x="897141" y="3359875"/>
            <a:ext cx="257962" cy="352762"/>
            <a:chOff x="897141" y="3359875"/>
            <a:chExt cx="257962" cy="352762"/>
          </a:xfrm>
        </p:grpSpPr>
        <p:sp>
          <p:nvSpPr>
            <p:cNvPr id="10316" name="Google Shape;10316;p59"/>
            <p:cNvSpPr/>
            <p:nvPr/>
          </p:nvSpPr>
          <p:spPr>
            <a:xfrm>
              <a:off x="897141" y="3359875"/>
              <a:ext cx="257962" cy="352762"/>
            </a:xfrm>
            <a:custGeom>
              <a:avLst/>
              <a:gdLst/>
              <a:ahLst/>
              <a:cxnLst/>
              <a:rect l="l" t="t" r="r" b="b"/>
              <a:pathLst>
                <a:path w="8098" h="11074" extrusionOk="0">
                  <a:moveTo>
                    <a:pt x="5204" y="334"/>
                  </a:moveTo>
                  <a:cubicBezTo>
                    <a:pt x="5240" y="334"/>
                    <a:pt x="5252" y="358"/>
                    <a:pt x="5252" y="382"/>
                  </a:cubicBezTo>
                  <a:lnTo>
                    <a:pt x="5252" y="810"/>
                  </a:lnTo>
                  <a:cubicBezTo>
                    <a:pt x="5252" y="834"/>
                    <a:pt x="5216" y="846"/>
                    <a:pt x="5204" y="846"/>
                  </a:cubicBezTo>
                  <a:lnTo>
                    <a:pt x="2870" y="846"/>
                  </a:lnTo>
                  <a:cubicBezTo>
                    <a:pt x="2865" y="848"/>
                    <a:pt x="2861" y="848"/>
                    <a:pt x="2857" y="848"/>
                  </a:cubicBezTo>
                  <a:cubicBezTo>
                    <a:pt x="2832" y="848"/>
                    <a:pt x="2823" y="817"/>
                    <a:pt x="2823" y="786"/>
                  </a:cubicBezTo>
                  <a:lnTo>
                    <a:pt x="2823" y="382"/>
                  </a:lnTo>
                  <a:cubicBezTo>
                    <a:pt x="2823" y="346"/>
                    <a:pt x="2858" y="334"/>
                    <a:pt x="2870" y="334"/>
                  </a:cubicBezTo>
                  <a:close/>
                  <a:moveTo>
                    <a:pt x="2882" y="1"/>
                  </a:moveTo>
                  <a:cubicBezTo>
                    <a:pt x="2680" y="1"/>
                    <a:pt x="2513" y="167"/>
                    <a:pt x="2513" y="382"/>
                  </a:cubicBezTo>
                  <a:lnTo>
                    <a:pt x="2513" y="810"/>
                  </a:lnTo>
                  <a:cubicBezTo>
                    <a:pt x="2513" y="1001"/>
                    <a:pt x="2656" y="1167"/>
                    <a:pt x="2858" y="1179"/>
                  </a:cubicBezTo>
                  <a:lnTo>
                    <a:pt x="2858" y="4811"/>
                  </a:lnTo>
                  <a:cubicBezTo>
                    <a:pt x="2858" y="4906"/>
                    <a:pt x="2835" y="4977"/>
                    <a:pt x="2799" y="5061"/>
                  </a:cubicBezTo>
                  <a:lnTo>
                    <a:pt x="1906" y="6728"/>
                  </a:lnTo>
                  <a:lnTo>
                    <a:pt x="965" y="8502"/>
                  </a:lnTo>
                  <a:lnTo>
                    <a:pt x="489" y="9383"/>
                  </a:lnTo>
                  <a:lnTo>
                    <a:pt x="120" y="10085"/>
                  </a:lnTo>
                  <a:cubicBezTo>
                    <a:pt x="1" y="10288"/>
                    <a:pt x="13" y="10538"/>
                    <a:pt x="132" y="10752"/>
                  </a:cubicBezTo>
                  <a:cubicBezTo>
                    <a:pt x="251" y="10954"/>
                    <a:pt x="477" y="11073"/>
                    <a:pt x="715" y="11073"/>
                  </a:cubicBezTo>
                  <a:lnTo>
                    <a:pt x="3668" y="11073"/>
                  </a:lnTo>
                  <a:cubicBezTo>
                    <a:pt x="3763" y="11073"/>
                    <a:pt x="3835" y="11002"/>
                    <a:pt x="3835" y="10919"/>
                  </a:cubicBezTo>
                  <a:cubicBezTo>
                    <a:pt x="3835" y="10823"/>
                    <a:pt x="3763" y="10752"/>
                    <a:pt x="3668" y="10752"/>
                  </a:cubicBezTo>
                  <a:lnTo>
                    <a:pt x="715" y="10752"/>
                  </a:lnTo>
                  <a:cubicBezTo>
                    <a:pt x="596" y="10752"/>
                    <a:pt x="477" y="10692"/>
                    <a:pt x="418" y="10585"/>
                  </a:cubicBezTo>
                  <a:cubicBezTo>
                    <a:pt x="358" y="10478"/>
                    <a:pt x="334" y="10347"/>
                    <a:pt x="394" y="10240"/>
                  </a:cubicBezTo>
                  <a:lnTo>
                    <a:pt x="727" y="9621"/>
                  </a:lnTo>
                  <a:lnTo>
                    <a:pt x="1168" y="9621"/>
                  </a:lnTo>
                  <a:cubicBezTo>
                    <a:pt x="1263" y="9621"/>
                    <a:pt x="1334" y="9549"/>
                    <a:pt x="1334" y="9454"/>
                  </a:cubicBezTo>
                  <a:cubicBezTo>
                    <a:pt x="1334" y="9371"/>
                    <a:pt x="1263" y="9287"/>
                    <a:pt x="1168" y="9287"/>
                  </a:cubicBezTo>
                  <a:lnTo>
                    <a:pt x="894" y="9287"/>
                  </a:lnTo>
                  <a:lnTo>
                    <a:pt x="1191" y="8728"/>
                  </a:lnTo>
                  <a:lnTo>
                    <a:pt x="1632" y="8728"/>
                  </a:lnTo>
                  <a:cubicBezTo>
                    <a:pt x="1727" y="8728"/>
                    <a:pt x="1799" y="8656"/>
                    <a:pt x="1799" y="8561"/>
                  </a:cubicBezTo>
                  <a:cubicBezTo>
                    <a:pt x="1799" y="8478"/>
                    <a:pt x="1727" y="8394"/>
                    <a:pt x="1632" y="8394"/>
                  </a:cubicBezTo>
                  <a:lnTo>
                    <a:pt x="1370" y="8394"/>
                  </a:lnTo>
                  <a:lnTo>
                    <a:pt x="1668" y="7835"/>
                  </a:lnTo>
                  <a:lnTo>
                    <a:pt x="2108" y="7835"/>
                  </a:lnTo>
                  <a:cubicBezTo>
                    <a:pt x="2204" y="7835"/>
                    <a:pt x="2275" y="7763"/>
                    <a:pt x="2275" y="7668"/>
                  </a:cubicBezTo>
                  <a:cubicBezTo>
                    <a:pt x="2275" y="7585"/>
                    <a:pt x="2204" y="7502"/>
                    <a:pt x="2108" y="7502"/>
                  </a:cubicBezTo>
                  <a:lnTo>
                    <a:pt x="1834" y="7502"/>
                  </a:lnTo>
                  <a:lnTo>
                    <a:pt x="2132" y="6942"/>
                  </a:lnTo>
                  <a:lnTo>
                    <a:pt x="2585" y="6942"/>
                  </a:lnTo>
                  <a:cubicBezTo>
                    <a:pt x="2668" y="6942"/>
                    <a:pt x="2751" y="6870"/>
                    <a:pt x="2751" y="6775"/>
                  </a:cubicBezTo>
                  <a:cubicBezTo>
                    <a:pt x="2751" y="6692"/>
                    <a:pt x="2668" y="6609"/>
                    <a:pt x="2585" y="6609"/>
                  </a:cubicBezTo>
                  <a:lnTo>
                    <a:pt x="2311" y="6609"/>
                  </a:lnTo>
                  <a:lnTo>
                    <a:pt x="3085" y="5180"/>
                  </a:lnTo>
                  <a:cubicBezTo>
                    <a:pt x="3144" y="5061"/>
                    <a:pt x="3192" y="4930"/>
                    <a:pt x="3192" y="4775"/>
                  </a:cubicBezTo>
                  <a:lnTo>
                    <a:pt x="3192" y="1144"/>
                  </a:lnTo>
                  <a:lnTo>
                    <a:pt x="4930" y="1144"/>
                  </a:lnTo>
                  <a:lnTo>
                    <a:pt x="4930" y="4775"/>
                  </a:lnTo>
                  <a:cubicBezTo>
                    <a:pt x="4930" y="4918"/>
                    <a:pt x="4966" y="5061"/>
                    <a:pt x="5037" y="5180"/>
                  </a:cubicBezTo>
                  <a:lnTo>
                    <a:pt x="7716" y="10216"/>
                  </a:lnTo>
                  <a:cubicBezTo>
                    <a:pt x="7776" y="10323"/>
                    <a:pt x="7776" y="10454"/>
                    <a:pt x="7704" y="10550"/>
                  </a:cubicBezTo>
                  <a:cubicBezTo>
                    <a:pt x="7645" y="10657"/>
                    <a:pt x="7526" y="10716"/>
                    <a:pt x="7407" y="10716"/>
                  </a:cubicBezTo>
                  <a:lnTo>
                    <a:pt x="4430" y="10716"/>
                  </a:lnTo>
                  <a:cubicBezTo>
                    <a:pt x="4335" y="10716"/>
                    <a:pt x="4263" y="10788"/>
                    <a:pt x="4263" y="10883"/>
                  </a:cubicBezTo>
                  <a:cubicBezTo>
                    <a:pt x="4263" y="10978"/>
                    <a:pt x="4335" y="11050"/>
                    <a:pt x="4430" y="11050"/>
                  </a:cubicBezTo>
                  <a:lnTo>
                    <a:pt x="7407" y="11050"/>
                  </a:lnTo>
                  <a:cubicBezTo>
                    <a:pt x="7645" y="11050"/>
                    <a:pt x="7871" y="10931"/>
                    <a:pt x="7990" y="10716"/>
                  </a:cubicBezTo>
                  <a:cubicBezTo>
                    <a:pt x="8097" y="10538"/>
                    <a:pt x="8097" y="10288"/>
                    <a:pt x="7990" y="10085"/>
                  </a:cubicBezTo>
                  <a:lnTo>
                    <a:pt x="5311" y="5049"/>
                  </a:lnTo>
                  <a:cubicBezTo>
                    <a:pt x="5263" y="4977"/>
                    <a:pt x="5252" y="4882"/>
                    <a:pt x="5252" y="4799"/>
                  </a:cubicBezTo>
                  <a:lnTo>
                    <a:pt x="5252" y="1167"/>
                  </a:lnTo>
                  <a:cubicBezTo>
                    <a:pt x="5442" y="1155"/>
                    <a:pt x="5597" y="989"/>
                    <a:pt x="5597" y="798"/>
                  </a:cubicBezTo>
                  <a:lnTo>
                    <a:pt x="5597" y="382"/>
                  </a:lnTo>
                  <a:cubicBezTo>
                    <a:pt x="5597" y="167"/>
                    <a:pt x="5430" y="1"/>
                    <a:pt x="52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7" name="Google Shape;10317;p59"/>
            <p:cNvSpPr/>
            <p:nvPr/>
          </p:nvSpPr>
          <p:spPr>
            <a:xfrm>
              <a:off x="945688" y="3593691"/>
              <a:ext cx="160485" cy="89736"/>
            </a:xfrm>
            <a:custGeom>
              <a:avLst/>
              <a:gdLst/>
              <a:ahLst/>
              <a:cxnLst/>
              <a:rect l="l" t="t" r="r" b="b"/>
              <a:pathLst>
                <a:path w="5038" h="2817" extrusionOk="0">
                  <a:moveTo>
                    <a:pt x="2535" y="339"/>
                  </a:moveTo>
                  <a:cubicBezTo>
                    <a:pt x="2817" y="339"/>
                    <a:pt x="3097" y="363"/>
                    <a:pt x="3370" y="412"/>
                  </a:cubicBezTo>
                  <a:lnTo>
                    <a:pt x="3513" y="447"/>
                  </a:lnTo>
                  <a:cubicBezTo>
                    <a:pt x="3608" y="459"/>
                    <a:pt x="3668" y="519"/>
                    <a:pt x="3716" y="602"/>
                  </a:cubicBezTo>
                  <a:lnTo>
                    <a:pt x="4680" y="2424"/>
                  </a:lnTo>
                  <a:cubicBezTo>
                    <a:pt x="4692" y="2459"/>
                    <a:pt x="4680" y="2471"/>
                    <a:pt x="4680" y="2483"/>
                  </a:cubicBezTo>
                  <a:cubicBezTo>
                    <a:pt x="4680" y="2495"/>
                    <a:pt x="4668" y="2519"/>
                    <a:pt x="4632" y="2519"/>
                  </a:cubicBezTo>
                  <a:lnTo>
                    <a:pt x="406" y="2519"/>
                  </a:lnTo>
                  <a:cubicBezTo>
                    <a:pt x="382" y="2519"/>
                    <a:pt x="358" y="2495"/>
                    <a:pt x="358" y="2483"/>
                  </a:cubicBezTo>
                  <a:cubicBezTo>
                    <a:pt x="358" y="2471"/>
                    <a:pt x="346" y="2459"/>
                    <a:pt x="358" y="2424"/>
                  </a:cubicBezTo>
                  <a:lnTo>
                    <a:pt x="1334" y="602"/>
                  </a:lnTo>
                  <a:cubicBezTo>
                    <a:pt x="1358" y="507"/>
                    <a:pt x="1430" y="459"/>
                    <a:pt x="1513" y="447"/>
                  </a:cubicBezTo>
                  <a:cubicBezTo>
                    <a:pt x="1847" y="375"/>
                    <a:pt x="2192" y="339"/>
                    <a:pt x="2535" y="339"/>
                  </a:cubicBezTo>
                  <a:close/>
                  <a:moveTo>
                    <a:pt x="2520" y="0"/>
                  </a:moveTo>
                  <a:cubicBezTo>
                    <a:pt x="2155" y="0"/>
                    <a:pt x="1791" y="42"/>
                    <a:pt x="1430" y="126"/>
                  </a:cubicBezTo>
                  <a:cubicBezTo>
                    <a:pt x="1275" y="162"/>
                    <a:pt x="1120" y="281"/>
                    <a:pt x="1037" y="435"/>
                  </a:cubicBezTo>
                  <a:lnTo>
                    <a:pt x="60" y="2269"/>
                  </a:lnTo>
                  <a:cubicBezTo>
                    <a:pt x="1" y="2388"/>
                    <a:pt x="1" y="2531"/>
                    <a:pt x="84" y="2638"/>
                  </a:cubicBezTo>
                  <a:cubicBezTo>
                    <a:pt x="156" y="2757"/>
                    <a:pt x="275" y="2817"/>
                    <a:pt x="406" y="2817"/>
                  </a:cubicBezTo>
                  <a:lnTo>
                    <a:pt x="4632" y="2817"/>
                  </a:lnTo>
                  <a:cubicBezTo>
                    <a:pt x="4763" y="2817"/>
                    <a:pt x="4882" y="2745"/>
                    <a:pt x="4954" y="2638"/>
                  </a:cubicBezTo>
                  <a:cubicBezTo>
                    <a:pt x="5037" y="2519"/>
                    <a:pt x="5037" y="2388"/>
                    <a:pt x="4978" y="2269"/>
                  </a:cubicBezTo>
                  <a:lnTo>
                    <a:pt x="4001" y="435"/>
                  </a:lnTo>
                  <a:cubicBezTo>
                    <a:pt x="3918" y="269"/>
                    <a:pt x="3763" y="162"/>
                    <a:pt x="3585" y="126"/>
                  </a:cubicBezTo>
                  <a:lnTo>
                    <a:pt x="3442" y="90"/>
                  </a:lnTo>
                  <a:cubicBezTo>
                    <a:pt x="3136" y="30"/>
                    <a:pt x="2828" y="0"/>
                    <a:pt x="25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8" name="Google Shape;10318;p59"/>
            <p:cNvSpPr/>
            <p:nvPr/>
          </p:nvSpPr>
          <p:spPr>
            <a:xfrm>
              <a:off x="1045076" y="3638256"/>
              <a:ext cx="27332" cy="27714"/>
            </a:xfrm>
            <a:custGeom>
              <a:avLst/>
              <a:gdLst/>
              <a:ahLst/>
              <a:cxnLst/>
              <a:rect l="l" t="t" r="r" b="b"/>
              <a:pathLst>
                <a:path w="858" h="870" extrusionOk="0">
                  <a:moveTo>
                    <a:pt x="429" y="310"/>
                  </a:moveTo>
                  <a:cubicBezTo>
                    <a:pt x="488" y="310"/>
                    <a:pt x="548" y="358"/>
                    <a:pt x="548" y="429"/>
                  </a:cubicBezTo>
                  <a:cubicBezTo>
                    <a:pt x="548" y="489"/>
                    <a:pt x="500" y="548"/>
                    <a:pt x="429" y="548"/>
                  </a:cubicBezTo>
                  <a:cubicBezTo>
                    <a:pt x="369" y="548"/>
                    <a:pt x="310" y="501"/>
                    <a:pt x="310" y="429"/>
                  </a:cubicBezTo>
                  <a:cubicBezTo>
                    <a:pt x="322" y="370"/>
                    <a:pt x="369" y="310"/>
                    <a:pt x="429" y="310"/>
                  </a:cubicBezTo>
                  <a:close/>
                  <a:moveTo>
                    <a:pt x="429" y="1"/>
                  </a:moveTo>
                  <a:cubicBezTo>
                    <a:pt x="191" y="1"/>
                    <a:pt x="0" y="191"/>
                    <a:pt x="0" y="429"/>
                  </a:cubicBezTo>
                  <a:cubicBezTo>
                    <a:pt x="0" y="668"/>
                    <a:pt x="191" y="870"/>
                    <a:pt x="429" y="870"/>
                  </a:cubicBezTo>
                  <a:cubicBezTo>
                    <a:pt x="667" y="870"/>
                    <a:pt x="858" y="668"/>
                    <a:pt x="858" y="429"/>
                  </a:cubicBezTo>
                  <a:cubicBezTo>
                    <a:pt x="858" y="191"/>
                    <a:pt x="667" y="1"/>
                    <a:pt x="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9" name="Google Shape;10319;p59"/>
            <p:cNvSpPr/>
            <p:nvPr/>
          </p:nvSpPr>
          <p:spPr>
            <a:xfrm>
              <a:off x="976046" y="3643194"/>
              <a:ext cx="28096" cy="27332"/>
            </a:xfrm>
            <a:custGeom>
              <a:avLst/>
              <a:gdLst/>
              <a:ahLst/>
              <a:cxnLst/>
              <a:rect l="l" t="t" r="r" b="b"/>
              <a:pathLst>
                <a:path w="882" h="858" extrusionOk="0">
                  <a:moveTo>
                    <a:pt x="453" y="310"/>
                  </a:moveTo>
                  <a:cubicBezTo>
                    <a:pt x="512" y="310"/>
                    <a:pt x="572" y="346"/>
                    <a:pt x="572" y="429"/>
                  </a:cubicBezTo>
                  <a:cubicBezTo>
                    <a:pt x="572" y="489"/>
                    <a:pt x="524" y="548"/>
                    <a:pt x="453" y="548"/>
                  </a:cubicBezTo>
                  <a:cubicBezTo>
                    <a:pt x="393" y="548"/>
                    <a:pt x="334" y="501"/>
                    <a:pt x="334" y="429"/>
                  </a:cubicBezTo>
                  <a:cubicBezTo>
                    <a:pt x="334" y="358"/>
                    <a:pt x="393" y="310"/>
                    <a:pt x="453" y="310"/>
                  </a:cubicBezTo>
                  <a:close/>
                  <a:moveTo>
                    <a:pt x="453" y="1"/>
                  </a:moveTo>
                  <a:cubicBezTo>
                    <a:pt x="215" y="1"/>
                    <a:pt x="24" y="191"/>
                    <a:pt x="24" y="429"/>
                  </a:cubicBezTo>
                  <a:cubicBezTo>
                    <a:pt x="0" y="667"/>
                    <a:pt x="215" y="858"/>
                    <a:pt x="453" y="858"/>
                  </a:cubicBezTo>
                  <a:cubicBezTo>
                    <a:pt x="691" y="858"/>
                    <a:pt x="881" y="667"/>
                    <a:pt x="881" y="429"/>
                  </a:cubicBezTo>
                  <a:cubicBezTo>
                    <a:pt x="881" y="191"/>
                    <a:pt x="691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0" name="Google Shape;10320;p59"/>
            <p:cNvSpPr/>
            <p:nvPr/>
          </p:nvSpPr>
          <p:spPr>
            <a:xfrm>
              <a:off x="1004493" y="3613218"/>
              <a:ext cx="31505" cy="31154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0" y="322"/>
                  </a:moveTo>
                  <a:cubicBezTo>
                    <a:pt x="584" y="322"/>
                    <a:pt x="655" y="406"/>
                    <a:pt x="655" y="489"/>
                  </a:cubicBezTo>
                  <a:cubicBezTo>
                    <a:pt x="655" y="584"/>
                    <a:pt x="584" y="656"/>
                    <a:pt x="500" y="656"/>
                  </a:cubicBezTo>
                  <a:cubicBezTo>
                    <a:pt x="405" y="656"/>
                    <a:pt x="334" y="584"/>
                    <a:pt x="334" y="489"/>
                  </a:cubicBezTo>
                  <a:cubicBezTo>
                    <a:pt x="334" y="406"/>
                    <a:pt x="405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489"/>
                  </a:cubicBezTo>
                  <a:cubicBezTo>
                    <a:pt x="0" y="763"/>
                    <a:pt x="227" y="977"/>
                    <a:pt x="500" y="977"/>
                  </a:cubicBezTo>
                  <a:cubicBezTo>
                    <a:pt x="762" y="977"/>
                    <a:pt x="989" y="763"/>
                    <a:pt x="989" y="489"/>
                  </a:cubicBezTo>
                  <a:cubicBezTo>
                    <a:pt x="989" y="227"/>
                    <a:pt x="762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1" name="Google Shape;10321;p59"/>
            <p:cNvSpPr/>
            <p:nvPr/>
          </p:nvSpPr>
          <p:spPr>
            <a:xfrm>
              <a:off x="991209" y="3555975"/>
              <a:ext cx="31505" cy="31122"/>
            </a:xfrm>
            <a:custGeom>
              <a:avLst/>
              <a:gdLst/>
              <a:ahLst/>
              <a:cxnLst/>
              <a:rect l="l" t="t" r="r" b="b"/>
              <a:pathLst>
                <a:path w="989" h="977" extrusionOk="0">
                  <a:moveTo>
                    <a:pt x="513" y="322"/>
                  </a:moveTo>
                  <a:cubicBezTo>
                    <a:pt x="596" y="322"/>
                    <a:pt x="679" y="393"/>
                    <a:pt x="679" y="488"/>
                  </a:cubicBezTo>
                  <a:cubicBezTo>
                    <a:pt x="679" y="572"/>
                    <a:pt x="596" y="655"/>
                    <a:pt x="513" y="655"/>
                  </a:cubicBezTo>
                  <a:cubicBezTo>
                    <a:pt x="417" y="655"/>
                    <a:pt x="346" y="572"/>
                    <a:pt x="346" y="488"/>
                  </a:cubicBezTo>
                  <a:cubicBezTo>
                    <a:pt x="346" y="393"/>
                    <a:pt x="417" y="322"/>
                    <a:pt x="513" y="322"/>
                  </a:cubicBezTo>
                  <a:close/>
                  <a:moveTo>
                    <a:pt x="501" y="0"/>
                  </a:moveTo>
                  <a:cubicBezTo>
                    <a:pt x="227" y="0"/>
                    <a:pt x="1" y="214"/>
                    <a:pt x="1" y="488"/>
                  </a:cubicBezTo>
                  <a:cubicBezTo>
                    <a:pt x="1" y="750"/>
                    <a:pt x="227" y="976"/>
                    <a:pt x="501" y="976"/>
                  </a:cubicBezTo>
                  <a:cubicBezTo>
                    <a:pt x="763" y="976"/>
                    <a:pt x="989" y="750"/>
                    <a:pt x="989" y="488"/>
                  </a:cubicBezTo>
                  <a:cubicBezTo>
                    <a:pt x="989" y="214"/>
                    <a:pt x="763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2" name="Google Shape;10322;p59"/>
            <p:cNvSpPr/>
            <p:nvPr/>
          </p:nvSpPr>
          <p:spPr>
            <a:xfrm>
              <a:off x="1023447" y="3528261"/>
              <a:ext cx="31505" cy="31154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1" y="311"/>
                  </a:moveTo>
                  <a:cubicBezTo>
                    <a:pt x="584" y="311"/>
                    <a:pt x="655" y="394"/>
                    <a:pt x="655" y="477"/>
                  </a:cubicBezTo>
                  <a:cubicBezTo>
                    <a:pt x="655" y="572"/>
                    <a:pt x="584" y="644"/>
                    <a:pt x="501" y="644"/>
                  </a:cubicBezTo>
                  <a:cubicBezTo>
                    <a:pt x="405" y="644"/>
                    <a:pt x="334" y="572"/>
                    <a:pt x="334" y="477"/>
                  </a:cubicBezTo>
                  <a:cubicBezTo>
                    <a:pt x="334" y="394"/>
                    <a:pt x="405" y="311"/>
                    <a:pt x="501" y="311"/>
                  </a:cubicBezTo>
                  <a:close/>
                  <a:moveTo>
                    <a:pt x="501" y="1"/>
                  </a:moveTo>
                  <a:cubicBezTo>
                    <a:pt x="227" y="1"/>
                    <a:pt x="1" y="215"/>
                    <a:pt x="1" y="489"/>
                  </a:cubicBezTo>
                  <a:cubicBezTo>
                    <a:pt x="1" y="763"/>
                    <a:pt x="227" y="977"/>
                    <a:pt x="501" y="977"/>
                  </a:cubicBezTo>
                  <a:cubicBezTo>
                    <a:pt x="763" y="977"/>
                    <a:pt x="989" y="763"/>
                    <a:pt x="989" y="489"/>
                  </a:cubicBezTo>
                  <a:cubicBezTo>
                    <a:pt x="989" y="227"/>
                    <a:pt x="763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3" name="Google Shape;10323;p59"/>
            <p:cNvSpPr/>
            <p:nvPr/>
          </p:nvSpPr>
          <p:spPr>
            <a:xfrm>
              <a:off x="1008284" y="3488442"/>
              <a:ext cx="28096" cy="27714"/>
            </a:xfrm>
            <a:custGeom>
              <a:avLst/>
              <a:gdLst/>
              <a:ahLst/>
              <a:cxnLst/>
              <a:rect l="l" t="t" r="r" b="b"/>
              <a:pathLst>
                <a:path w="882" h="870" extrusionOk="0">
                  <a:moveTo>
                    <a:pt x="441" y="310"/>
                  </a:moveTo>
                  <a:cubicBezTo>
                    <a:pt x="500" y="310"/>
                    <a:pt x="560" y="358"/>
                    <a:pt x="560" y="429"/>
                  </a:cubicBezTo>
                  <a:cubicBezTo>
                    <a:pt x="560" y="513"/>
                    <a:pt x="512" y="548"/>
                    <a:pt x="441" y="548"/>
                  </a:cubicBezTo>
                  <a:cubicBezTo>
                    <a:pt x="381" y="548"/>
                    <a:pt x="322" y="513"/>
                    <a:pt x="322" y="429"/>
                  </a:cubicBezTo>
                  <a:cubicBezTo>
                    <a:pt x="322" y="370"/>
                    <a:pt x="358" y="310"/>
                    <a:pt x="441" y="310"/>
                  </a:cubicBezTo>
                  <a:close/>
                  <a:moveTo>
                    <a:pt x="441" y="1"/>
                  </a:moveTo>
                  <a:cubicBezTo>
                    <a:pt x="203" y="1"/>
                    <a:pt x="0" y="191"/>
                    <a:pt x="0" y="429"/>
                  </a:cubicBezTo>
                  <a:cubicBezTo>
                    <a:pt x="0" y="668"/>
                    <a:pt x="203" y="870"/>
                    <a:pt x="441" y="870"/>
                  </a:cubicBezTo>
                  <a:cubicBezTo>
                    <a:pt x="679" y="870"/>
                    <a:pt x="870" y="668"/>
                    <a:pt x="870" y="429"/>
                  </a:cubicBezTo>
                  <a:cubicBezTo>
                    <a:pt x="881" y="191"/>
                    <a:pt x="691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24" name="Google Shape;10324;p59"/>
          <p:cNvGrpSpPr/>
          <p:nvPr/>
        </p:nvGrpSpPr>
        <p:grpSpPr>
          <a:xfrm>
            <a:off x="1333682" y="3344330"/>
            <a:ext cx="271213" cy="383088"/>
            <a:chOff x="1333682" y="3344330"/>
            <a:chExt cx="271213" cy="383088"/>
          </a:xfrm>
        </p:grpSpPr>
        <p:sp>
          <p:nvSpPr>
            <p:cNvPr id="10325" name="Google Shape;10325;p59"/>
            <p:cNvSpPr/>
            <p:nvPr/>
          </p:nvSpPr>
          <p:spPr>
            <a:xfrm>
              <a:off x="1334065" y="3377332"/>
              <a:ext cx="270831" cy="350086"/>
            </a:xfrm>
            <a:custGeom>
              <a:avLst/>
              <a:gdLst/>
              <a:ahLst/>
              <a:cxnLst/>
              <a:rect l="l" t="t" r="r" b="b"/>
              <a:pathLst>
                <a:path w="8502" h="10990" extrusionOk="0">
                  <a:moveTo>
                    <a:pt x="6502" y="0"/>
                  </a:moveTo>
                  <a:cubicBezTo>
                    <a:pt x="6406" y="0"/>
                    <a:pt x="6323" y="84"/>
                    <a:pt x="6323" y="191"/>
                  </a:cubicBezTo>
                  <a:cubicBezTo>
                    <a:pt x="6323" y="286"/>
                    <a:pt x="6406" y="369"/>
                    <a:pt x="6502" y="369"/>
                  </a:cubicBezTo>
                  <a:lnTo>
                    <a:pt x="7276" y="369"/>
                  </a:lnTo>
                  <a:cubicBezTo>
                    <a:pt x="7383" y="369"/>
                    <a:pt x="7454" y="441"/>
                    <a:pt x="7454" y="548"/>
                  </a:cubicBezTo>
                  <a:lnTo>
                    <a:pt x="7454" y="9490"/>
                  </a:lnTo>
                  <a:cubicBezTo>
                    <a:pt x="7454" y="9597"/>
                    <a:pt x="7383" y="9668"/>
                    <a:pt x="7276" y="9668"/>
                  </a:cubicBezTo>
                  <a:lnTo>
                    <a:pt x="537" y="9668"/>
                  </a:lnTo>
                  <a:cubicBezTo>
                    <a:pt x="429" y="9668"/>
                    <a:pt x="358" y="9597"/>
                    <a:pt x="358" y="9490"/>
                  </a:cubicBezTo>
                  <a:lnTo>
                    <a:pt x="358" y="8775"/>
                  </a:lnTo>
                  <a:cubicBezTo>
                    <a:pt x="358" y="8668"/>
                    <a:pt x="287" y="8597"/>
                    <a:pt x="179" y="8597"/>
                  </a:cubicBezTo>
                  <a:cubicBezTo>
                    <a:pt x="72" y="8597"/>
                    <a:pt x="1" y="8668"/>
                    <a:pt x="1" y="8775"/>
                  </a:cubicBezTo>
                  <a:lnTo>
                    <a:pt x="1" y="9490"/>
                  </a:lnTo>
                  <a:cubicBezTo>
                    <a:pt x="1" y="9787"/>
                    <a:pt x="239" y="10013"/>
                    <a:pt x="525" y="10013"/>
                  </a:cubicBezTo>
                  <a:lnTo>
                    <a:pt x="703" y="10013"/>
                  </a:lnTo>
                  <a:lnTo>
                    <a:pt x="703" y="10466"/>
                  </a:lnTo>
                  <a:cubicBezTo>
                    <a:pt x="703" y="10763"/>
                    <a:pt x="941" y="10990"/>
                    <a:pt x="1227" y="10990"/>
                  </a:cubicBezTo>
                  <a:lnTo>
                    <a:pt x="7966" y="10990"/>
                  </a:lnTo>
                  <a:cubicBezTo>
                    <a:pt x="8264" y="10990"/>
                    <a:pt x="8490" y="10752"/>
                    <a:pt x="8490" y="10466"/>
                  </a:cubicBezTo>
                  <a:lnTo>
                    <a:pt x="8490" y="10252"/>
                  </a:lnTo>
                  <a:cubicBezTo>
                    <a:pt x="8490" y="10144"/>
                    <a:pt x="8407" y="10073"/>
                    <a:pt x="8311" y="10073"/>
                  </a:cubicBezTo>
                  <a:cubicBezTo>
                    <a:pt x="8204" y="10073"/>
                    <a:pt x="8133" y="10144"/>
                    <a:pt x="8133" y="10252"/>
                  </a:cubicBezTo>
                  <a:lnTo>
                    <a:pt x="8133" y="10466"/>
                  </a:lnTo>
                  <a:cubicBezTo>
                    <a:pt x="8133" y="10573"/>
                    <a:pt x="8049" y="10644"/>
                    <a:pt x="7954" y="10644"/>
                  </a:cubicBezTo>
                  <a:lnTo>
                    <a:pt x="1203" y="10644"/>
                  </a:lnTo>
                  <a:cubicBezTo>
                    <a:pt x="1108" y="10644"/>
                    <a:pt x="1025" y="10573"/>
                    <a:pt x="1025" y="10466"/>
                  </a:cubicBezTo>
                  <a:lnTo>
                    <a:pt x="1025" y="10013"/>
                  </a:lnTo>
                  <a:lnTo>
                    <a:pt x="7264" y="10013"/>
                  </a:lnTo>
                  <a:cubicBezTo>
                    <a:pt x="7561" y="10013"/>
                    <a:pt x="7788" y="9775"/>
                    <a:pt x="7788" y="9490"/>
                  </a:cubicBezTo>
                  <a:lnTo>
                    <a:pt x="7788" y="1358"/>
                  </a:lnTo>
                  <a:lnTo>
                    <a:pt x="7966" y="1358"/>
                  </a:lnTo>
                  <a:cubicBezTo>
                    <a:pt x="8061" y="1358"/>
                    <a:pt x="8145" y="1441"/>
                    <a:pt x="8145" y="1536"/>
                  </a:cubicBezTo>
                  <a:lnTo>
                    <a:pt x="8145" y="9501"/>
                  </a:lnTo>
                  <a:cubicBezTo>
                    <a:pt x="8145" y="9573"/>
                    <a:pt x="8228" y="9656"/>
                    <a:pt x="8323" y="9656"/>
                  </a:cubicBezTo>
                  <a:cubicBezTo>
                    <a:pt x="8430" y="9656"/>
                    <a:pt x="8502" y="9573"/>
                    <a:pt x="8502" y="9478"/>
                  </a:cubicBezTo>
                  <a:lnTo>
                    <a:pt x="8502" y="1512"/>
                  </a:lnTo>
                  <a:cubicBezTo>
                    <a:pt x="8502" y="1215"/>
                    <a:pt x="8264" y="988"/>
                    <a:pt x="7978" y="988"/>
                  </a:cubicBezTo>
                  <a:lnTo>
                    <a:pt x="7799" y="988"/>
                  </a:lnTo>
                  <a:lnTo>
                    <a:pt x="7799" y="524"/>
                  </a:lnTo>
                  <a:cubicBezTo>
                    <a:pt x="7799" y="226"/>
                    <a:pt x="7561" y="0"/>
                    <a:pt x="72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6" name="Google Shape;10326;p59"/>
            <p:cNvSpPr/>
            <p:nvPr/>
          </p:nvSpPr>
          <p:spPr>
            <a:xfrm>
              <a:off x="1333682" y="3344330"/>
              <a:ext cx="189697" cy="292461"/>
            </a:xfrm>
            <a:custGeom>
              <a:avLst/>
              <a:gdLst/>
              <a:ahLst/>
              <a:cxnLst/>
              <a:rect l="l" t="t" r="r" b="b"/>
              <a:pathLst>
                <a:path w="5955" h="9181" extrusionOk="0">
                  <a:moveTo>
                    <a:pt x="2430" y="370"/>
                  </a:moveTo>
                  <a:cubicBezTo>
                    <a:pt x="2489" y="370"/>
                    <a:pt x="2549" y="429"/>
                    <a:pt x="2549" y="489"/>
                  </a:cubicBezTo>
                  <a:lnTo>
                    <a:pt x="2549" y="727"/>
                  </a:lnTo>
                  <a:lnTo>
                    <a:pt x="1858" y="727"/>
                  </a:lnTo>
                  <a:lnTo>
                    <a:pt x="1858" y="489"/>
                  </a:lnTo>
                  <a:cubicBezTo>
                    <a:pt x="1858" y="429"/>
                    <a:pt x="1918" y="370"/>
                    <a:pt x="1977" y="370"/>
                  </a:cubicBezTo>
                  <a:close/>
                  <a:moveTo>
                    <a:pt x="3037" y="1072"/>
                  </a:moveTo>
                  <a:cubicBezTo>
                    <a:pt x="3120" y="1072"/>
                    <a:pt x="3216" y="1143"/>
                    <a:pt x="3216" y="1251"/>
                  </a:cubicBezTo>
                  <a:lnTo>
                    <a:pt x="3216" y="1953"/>
                  </a:lnTo>
                  <a:lnTo>
                    <a:pt x="1215" y="1953"/>
                  </a:lnTo>
                  <a:lnTo>
                    <a:pt x="1215" y="1251"/>
                  </a:lnTo>
                  <a:cubicBezTo>
                    <a:pt x="1203" y="1167"/>
                    <a:pt x="1299" y="1072"/>
                    <a:pt x="1382" y="1072"/>
                  </a:cubicBezTo>
                  <a:close/>
                  <a:moveTo>
                    <a:pt x="1977" y="0"/>
                  </a:moveTo>
                  <a:cubicBezTo>
                    <a:pt x="1727" y="0"/>
                    <a:pt x="1501" y="203"/>
                    <a:pt x="1501" y="477"/>
                  </a:cubicBezTo>
                  <a:lnTo>
                    <a:pt x="1501" y="715"/>
                  </a:lnTo>
                  <a:lnTo>
                    <a:pt x="1370" y="715"/>
                  </a:lnTo>
                  <a:cubicBezTo>
                    <a:pt x="1156" y="715"/>
                    <a:pt x="977" y="834"/>
                    <a:pt x="894" y="1012"/>
                  </a:cubicBezTo>
                  <a:lnTo>
                    <a:pt x="525" y="1012"/>
                  </a:lnTo>
                  <a:cubicBezTo>
                    <a:pt x="227" y="1012"/>
                    <a:pt x="1" y="1251"/>
                    <a:pt x="1" y="1536"/>
                  </a:cubicBezTo>
                  <a:lnTo>
                    <a:pt x="1" y="8990"/>
                  </a:lnTo>
                  <a:cubicBezTo>
                    <a:pt x="13" y="9109"/>
                    <a:pt x="84" y="9180"/>
                    <a:pt x="191" y="9180"/>
                  </a:cubicBezTo>
                  <a:cubicBezTo>
                    <a:pt x="299" y="9180"/>
                    <a:pt x="370" y="9109"/>
                    <a:pt x="370" y="9002"/>
                  </a:cubicBezTo>
                  <a:lnTo>
                    <a:pt x="370" y="1548"/>
                  </a:lnTo>
                  <a:cubicBezTo>
                    <a:pt x="370" y="1441"/>
                    <a:pt x="441" y="1370"/>
                    <a:pt x="549" y="1370"/>
                  </a:cubicBezTo>
                  <a:lnTo>
                    <a:pt x="858" y="1370"/>
                  </a:lnTo>
                  <a:lnTo>
                    <a:pt x="858" y="1965"/>
                  </a:lnTo>
                  <a:cubicBezTo>
                    <a:pt x="858" y="2144"/>
                    <a:pt x="1013" y="2310"/>
                    <a:pt x="1203" y="2310"/>
                  </a:cubicBezTo>
                  <a:lnTo>
                    <a:pt x="3228" y="2310"/>
                  </a:lnTo>
                  <a:cubicBezTo>
                    <a:pt x="3406" y="2310"/>
                    <a:pt x="3573" y="2155"/>
                    <a:pt x="3573" y="1965"/>
                  </a:cubicBezTo>
                  <a:lnTo>
                    <a:pt x="3573" y="1370"/>
                  </a:lnTo>
                  <a:lnTo>
                    <a:pt x="5775" y="1370"/>
                  </a:lnTo>
                  <a:cubicBezTo>
                    <a:pt x="5883" y="1370"/>
                    <a:pt x="5954" y="1298"/>
                    <a:pt x="5954" y="1191"/>
                  </a:cubicBezTo>
                  <a:cubicBezTo>
                    <a:pt x="5954" y="1084"/>
                    <a:pt x="5883" y="1012"/>
                    <a:pt x="5775" y="1012"/>
                  </a:cubicBezTo>
                  <a:lnTo>
                    <a:pt x="3513" y="1012"/>
                  </a:lnTo>
                  <a:cubicBezTo>
                    <a:pt x="3418" y="834"/>
                    <a:pt x="3239" y="715"/>
                    <a:pt x="3037" y="715"/>
                  </a:cubicBezTo>
                  <a:lnTo>
                    <a:pt x="2906" y="715"/>
                  </a:lnTo>
                  <a:lnTo>
                    <a:pt x="2906" y="477"/>
                  </a:lnTo>
                  <a:cubicBezTo>
                    <a:pt x="2906" y="227"/>
                    <a:pt x="2692" y="0"/>
                    <a:pt x="2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7" name="Google Shape;10327;p59"/>
            <p:cNvSpPr/>
            <p:nvPr/>
          </p:nvSpPr>
          <p:spPr>
            <a:xfrm>
              <a:off x="1444060" y="3469488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8" name="Google Shape;10328;p59"/>
            <p:cNvSpPr/>
            <p:nvPr/>
          </p:nvSpPr>
          <p:spPr>
            <a:xfrm>
              <a:off x="1444060" y="3493762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9" name="Google Shape;10329;p59"/>
            <p:cNvSpPr/>
            <p:nvPr/>
          </p:nvSpPr>
          <p:spPr>
            <a:xfrm>
              <a:off x="1444060" y="3541927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84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0" name="Google Shape;10330;p59"/>
            <p:cNvSpPr/>
            <p:nvPr/>
          </p:nvSpPr>
          <p:spPr>
            <a:xfrm>
              <a:off x="1444060" y="3565818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1" name="Google Shape;10331;p59"/>
            <p:cNvSpPr/>
            <p:nvPr/>
          </p:nvSpPr>
          <p:spPr>
            <a:xfrm>
              <a:off x="1444060" y="3614747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4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74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2" name="Google Shape;10332;p59"/>
            <p:cNvSpPr/>
            <p:nvPr/>
          </p:nvSpPr>
          <p:spPr>
            <a:xfrm>
              <a:off x="1444060" y="3638256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7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3" name="Google Shape;10333;p59"/>
            <p:cNvSpPr/>
            <p:nvPr/>
          </p:nvSpPr>
          <p:spPr>
            <a:xfrm>
              <a:off x="1371622" y="3459454"/>
              <a:ext cx="70208" cy="57084"/>
            </a:xfrm>
            <a:custGeom>
              <a:avLst/>
              <a:gdLst/>
              <a:ahLst/>
              <a:cxnLst/>
              <a:rect l="l" t="t" r="r" b="b"/>
              <a:pathLst>
                <a:path w="2204" h="1792" extrusionOk="0">
                  <a:moveTo>
                    <a:pt x="1417" y="387"/>
                  </a:moveTo>
                  <a:lnTo>
                    <a:pt x="1417" y="470"/>
                  </a:lnTo>
                  <a:lnTo>
                    <a:pt x="1072" y="768"/>
                  </a:lnTo>
                  <a:lnTo>
                    <a:pt x="905" y="589"/>
                  </a:lnTo>
                  <a:cubicBezTo>
                    <a:pt x="873" y="544"/>
                    <a:pt x="823" y="523"/>
                    <a:pt x="773" y="523"/>
                  </a:cubicBezTo>
                  <a:cubicBezTo>
                    <a:pt x="731" y="523"/>
                    <a:pt x="688" y="538"/>
                    <a:pt x="655" y="566"/>
                  </a:cubicBezTo>
                  <a:cubicBezTo>
                    <a:pt x="584" y="625"/>
                    <a:pt x="584" y="744"/>
                    <a:pt x="632" y="827"/>
                  </a:cubicBezTo>
                  <a:lnTo>
                    <a:pt x="917" y="1125"/>
                  </a:lnTo>
                  <a:cubicBezTo>
                    <a:pt x="953" y="1161"/>
                    <a:pt x="989" y="1185"/>
                    <a:pt x="1048" y="1185"/>
                  </a:cubicBezTo>
                  <a:cubicBezTo>
                    <a:pt x="1096" y="1185"/>
                    <a:pt x="1132" y="1161"/>
                    <a:pt x="1167" y="1137"/>
                  </a:cubicBezTo>
                  <a:lnTo>
                    <a:pt x="1429" y="923"/>
                  </a:lnTo>
                  <a:lnTo>
                    <a:pt x="1417" y="1447"/>
                  </a:lnTo>
                  <a:lnTo>
                    <a:pt x="358" y="1447"/>
                  </a:lnTo>
                  <a:lnTo>
                    <a:pt x="358" y="387"/>
                  </a:lnTo>
                  <a:close/>
                  <a:moveTo>
                    <a:pt x="2007" y="1"/>
                  </a:moveTo>
                  <a:cubicBezTo>
                    <a:pt x="1966" y="1"/>
                    <a:pt x="1925" y="17"/>
                    <a:pt x="1894" y="54"/>
                  </a:cubicBezTo>
                  <a:lnTo>
                    <a:pt x="1727" y="185"/>
                  </a:lnTo>
                  <a:cubicBezTo>
                    <a:pt x="1679" y="89"/>
                    <a:pt x="1596" y="30"/>
                    <a:pt x="1489" y="30"/>
                  </a:cubicBezTo>
                  <a:lnTo>
                    <a:pt x="263" y="30"/>
                  </a:lnTo>
                  <a:cubicBezTo>
                    <a:pt x="120" y="30"/>
                    <a:pt x="1" y="149"/>
                    <a:pt x="1" y="304"/>
                  </a:cubicBezTo>
                  <a:lnTo>
                    <a:pt x="1" y="1518"/>
                  </a:lnTo>
                  <a:cubicBezTo>
                    <a:pt x="1" y="1673"/>
                    <a:pt x="120" y="1792"/>
                    <a:pt x="263" y="1792"/>
                  </a:cubicBezTo>
                  <a:lnTo>
                    <a:pt x="1489" y="1792"/>
                  </a:lnTo>
                  <a:cubicBezTo>
                    <a:pt x="1632" y="1792"/>
                    <a:pt x="1751" y="1673"/>
                    <a:pt x="1751" y="1518"/>
                  </a:cubicBezTo>
                  <a:lnTo>
                    <a:pt x="1751" y="613"/>
                  </a:lnTo>
                  <a:lnTo>
                    <a:pt x="2108" y="304"/>
                  </a:lnTo>
                  <a:cubicBezTo>
                    <a:pt x="2203" y="256"/>
                    <a:pt x="2203" y="137"/>
                    <a:pt x="2144" y="65"/>
                  </a:cubicBezTo>
                  <a:cubicBezTo>
                    <a:pt x="2111" y="26"/>
                    <a:pt x="2059" y="1"/>
                    <a:pt x="20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4" name="Google Shape;10334;p59"/>
            <p:cNvSpPr/>
            <p:nvPr/>
          </p:nvSpPr>
          <p:spPr>
            <a:xfrm>
              <a:off x="1371622" y="3532434"/>
              <a:ext cx="70208" cy="56543"/>
            </a:xfrm>
            <a:custGeom>
              <a:avLst/>
              <a:gdLst/>
              <a:ahLst/>
              <a:cxnLst/>
              <a:rect l="l" t="t" r="r" b="b"/>
              <a:pathLst>
                <a:path w="2204" h="1775" extrusionOk="0">
                  <a:moveTo>
                    <a:pt x="1417" y="382"/>
                  </a:moveTo>
                  <a:lnTo>
                    <a:pt x="1417" y="465"/>
                  </a:lnTo>
                  <a:lnTo>
                    <a:pt x="1072" y="763"/>
                  </a:lnTo>
                  <a:lnTo>
                    <a:pt x="905" y="584"/>
                  </a:lnTo>
                  <a:cubicBezTo>
                    <a:pt x="874" y="547"/>
                    <a:pt x="827" y="529"/>
                    <a:pt x="779" y="529"/>
                  </a:cubicBezTo>
                  <a:cubicBezTo>
                    <a:pt x="734" y="529"/>
                    <a:pt x="690" y="544"/>
                    <a:pt x="655" y="572"/>
                  </a:cubicBezTo>
                  <a:cubicBezTo>
                    <a:pt x="584" y="632"/>
                    <a:pt x="584" y="751"/>
                    <a:pt x="632" y="822"/>
                  </a:cubicBezTo>
                  <a:lnTo>
                    <a:pt x="917" y="1120"/>
                  </a:lnTo>
                  <a:cubicBezTo>
                    <a:pt x="953" y="1168"/>
                    <a:pt x="989" y="1180"/>
                    <a:pt x="1048" y="1180"/>
                  </a:cubicBezTo>
                  <a:cubicBezTo>
                    <a:pt x="1096" y="1180"/>
                    <a:pt x="1132" y="1168"/>
                    <a:pt x="1167" y="1132"/>
                  </a:cubicBezTo>
                  <a:lnTo>
                    <a:pt x="1429" y="930"/>
                  </a:lnTo>
                  <a:lnTo>
                    <a:pt x="1417" y="1430"/>
                  </a:lnTo>
                  <a:lnTo>
                    <a:pt x="358" y="1430"/>
                  </a:lnTo>
                  <a:lnTo>
                    <a:pt x="358" y="382"/>
                  </a:lnTo>
                  <a:close/>
                  <a:moveTo>
                    <a:pt x="2012" y="1"/>
                  </a:moveTo>
                  <a:cubicBezTo>
                    <a:pt x="1969" y="1"/>
                    <a:pt x="1926" y="16"/>
                    <a:pt x="1894" y="49"/>
                  </a:cubicBezTo>
                  <a:lnTo>
                    <a:pt x="1727" y="180"/>
                  </a:lnTo>
                  <a:cubicBezTo>
                    <a:pt x="1679" y="96"/>
                    <a:pt x="1596" y="13"/>
                    <a:pt x="1489" y="13"/>
                  </a:cubicBezTo>
                  <a:lnTo>
                    <a:pt x="263" y="13"/>
                  </a:lnTo>
                  <a:cubicBezTo>
                    <a:pt x="120" y="13"/>
                    <a:pt x="1" y="132"/>
                    <a:pt x="1" y="287"/>
                  </a:cubicBezTo>
                  <a:lnTo>
                    <a:pt x="1" y="1501"/>
                  </a:lnTo>
                  <a:cubicBezTo>
                    <a:pt x="1" y="1656"/>
                    <a:pt x="120" y="1775"/>
                    <a:pt x="263" y="1775"/>
                  </a:cubicBezTo>
                  <a:lnTo>
                    <a:pt x="1489" y="1775"/>
                  </a:lnTo>
                  <a:cubicBezTo>
                    <a:pt x="1632" y="1775"/>
                    <a:pt x="1751" y="1656"/>
                    <a:pt x="1751" y="1501"/>
                  </a:cubicBezTo>
                  <a:lnTo>
                    <a:pt x="1751" y="608"/>
                  </a:lnTo>
                  <a:lnTo>
                    <a:pt x="2108" y="299"/>
                  </a:lnTo>
                  <a:cubicBezTo>
                    <a:pt x="2203" y="239"/>
                    <a:pt x="2203" y="144"/>
                    <a:pt x="2144" y="60"/>
                  </a:cubicBezTo>
                  <a:cubicBezTo>
                    <a:pt x="2111" y="22"/>
                    <a:pt x="2062" y="1"/>
                    <a:pt x="2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5" name="Google Shape;10335;p59"/>
            <p:cNvSpPr/>
            <p:nvPr/>
          </p:nvSpPr>
          <p:spPr>
            <a:xfrm>
              <a:off x="1371622" y="3605254"/>
              <a:ext cx="70208" cy="55810"/>
            </a:xfrm>
            <a:custGeom>
              <a:avLst/>
              <a:gdLst/>
              <a:ahLst/>
              <a:cxnLst/>
              <a:rect l="l" t="t" r="r" b="b"/>
              <a:pathLst>
                <a:path w="2204" h="1752" extrusionOk="0">
                  <a:moveTo>
                    <a:pt x="1417" y="358"/>
                  </a:moveTo>
                  <a:lnTo>
                    <a:pt x="1417" y="489"/>
                  </a:lnTo>
                  <a:lnTo>
                    <a:pt x="1072" y="787"/>
                  </a:lnTo>
                  <a:lnTo>
                    <a:pt x="905" y="608"/>
                  </a:lnTo>
                  <a:cubicBezTo>
                    <a:pt x="874" y="571"/>
                    <a:pt x="827" y="553"/>
                    <a:pt x="779" y="553"/>
                  </a:cubicBezTo>
                  <a:cubicBezTo>
                    <a:pt x="734" y="553"/>
                    <a:pt x="690" y="568"/>
                    <a:pt x="655" y="596"/>
                  </a:cubicBezTo>
                  <a:cubicBezTo>
                    <a:pt x="584" y="644"/>
                    <a:pt x="584" y="775"/>
                    <a:pt x="632" y="846"/>
                  </a:cubicBezTo>
                  <a:lnTo>
                    <a:pt x="917" y="1144"/>
                  </a:lnTo>
                  <a:cubicBezTo>
                    <a:pt x="953" y="1192"/>
                    <a:pt x="989" y="1203"/>
                    <a:pt x="1048" y="1203"/>
                  </a:cubicBezTo>
                  <a:cubicBezTo>
                    <a:pt x="1096" y="1203"/>
                    <a:pt x="1132" y="1192"/>
                    <a:pt x="1167" y="1156"/>
                  </a:cubicBezTo>
                  <a:lnTo>
                    <a:pt x="1429" y="953"/>
                  </a:lnTo>
                  <a:lnTo>
                    <a:pt x="1417" y="1406"/>
                  </a:lnTo>
                  <a:lnTo>
                    <a:pt x="358" y="1406"/>
                  </a:lnTo>
                  <a:lnTo>
                    <a:pt x="358" y="358"/>
                  </a:lnTo>
                  <a:close/>
                  <a:moveTo>
                    <a:pt x="263" y="1"/>
                  </a:moveTo>
                  <a:cubicBezTo>
                    <a:pt x="120" y="1"/>
                    <a:pt x="1" y="120"/>
                    <a:pt x="1" y="263"/>
                  </a:cubicBezTo>
                  <a:lnTo>
                    <a:pt x="1" y="1489"/>
                  </a:lnTo>
                  <a:cubicBezTo>
                    <a:pt x="1" y="1632"/>
                    <a:pt x="120" y="1751"/>
                    <a:pt x="263" y="1751"/>
                  </a:cubicBezTo>
                  <a:lnTo>
                    <a:pt x="1489" y="1751"/>
                  </a:lnTo>
                  <a:cubicBezTo>
                    <a:pt x="1632" y="1751"/>
                    <a:pt x="1751" y="1632"/>
                    <a:pt x="1751" y="1489"/>
                  </a:cubicBezTo>
                  <a:lnTo>
                    <a:pt x="1751" y="632"/>
                  </a:lnTo>
                  <a:lnTo>
                    <a:pt x="2108" y="322"/>
                  </a:lnTo>
                  <a:cubicBezTo>
                    <a:pt x="2191" y="263"/>
                    <a:pt x="2203" y="144"/>
                    <a:pt x="2132" y="72"/>
                  </a:cubicBezTo>
                  <a:cubicBezTo>
                    <a:pt x="2107" y="47"/>
                    <a:pt x="2062" y="32"/>
                    <a:pt x="2014" y="32"/>
                  </a:cubicBezTo>
                  <a:cubicBezTo>
                    <a:pt x="1972" y="32"/>
                    <a:pt x="1927" y="44"/>
                    <a:pt x="1894" y="72"/>
                  </a:cubicBezTo>
                  <a:lnTo>
                    <a:pt x="1739" y="191"/>
                  </a:lnTo>
                  <a:cubicBezTo>
                    <a:pt x="1715" y="84"/>
                    <a:pt x="1608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36" name="Google Shape;10336;p59"/>
          <p:cNvGrpSpPr/>
          <p:nvPr/>
        </p:nvGrpSpPr>
        <p:grpSpPr>
          <a:xfrm>
            <a:off x="6664394" y="3346974"/>
            <a:ext cx="353113" cy="351998"/>
            <a:chOff x="6664394" y="3346974"/>
            <a:chExt cx="353113" cy="351998"/>
          </a:xfrm>
        </p:grpSpPr>
        <p:sp>
          <p:nvSpPr>
            <p:cNvPr id="10337" name="Google Shape;10337;p59"/>
            <p:cNvSpPr/>
            <p:nvPr/>
          </p:nvSpPr>
          <p:spPr>
            <a:xfrm>
              <a:off x="6788023" y="3450917"/>
              <a:ext cx="37207" cy="37175"/>
            </a:xfrm>
            <a:custGeom>
              <a:avLst/>
              <a:gdLst/>
              <a:ahLst/>
              <a:cxnLst/>
              <a:rect l="l" t="t" r="r" b="b"/>
              <a:pathLst>
                <a:path w="1168" h="1167" extrusionOk="0">
                  <a:moveTo>
                    <a:pt x="572" y="333"/>
                  </a:moveTo>
                  <a:cubicBezTo>
                    <a:pt x="703" y="333"/>
                    <a:pt x="822" y="453"/>
                    <a:pt x="822" y="583"/>
                  </a:cubicBezTo>
                  <a:cubicBezTo>
                    <a:pt x="822" y="738"/>
                    <a:pt x="703" y="834"/>
                    <a:pt x="572" y="834"/>
                  </a:cubicBezTo>
                  <a:cubicBezTo>
                    <a:pt x="429" y="834"/>
                    <a:pt x="310" y="738"/>
                    <a:pt x="310" y="583"/>
                  </a:cubicBezTo>
                  <a:cubicBezTo>
                    <a:pt x="310" y="441"/>
                    <a:pt x="429" y="333"/>
                    <a:pt x="572" y="333"/>
                  </a:cubicBezTo>
                  <a:close/>
                  <a:moveTo>
                    <a:pt x="584" y="0"/>
                  </a:moveTo>
                  <a:cubicBezTo>
                    <a:pt x="251" y="0"/>
                    <a:pt x="1" y="274"/>
                    <a:pt x="1" y="583"/>
                  </a:cubicBezTo>
                  <a:cubicBezTo>
                    <a:pt x="1" y="917"/>
                    <a:pt x="275" y="1167"/>
                    <a:pt x="584" y="1167"/>
                  </a:cubicBezTo>
                  <a:cubicBezTo>
                    <a:pt x="894" y="1167"/>
                    <a:pt x="1168" y="917"/>
                    <a:pt x="1168" y="583"/>
                  </a:cubicBezTo>
                  <a:cubicBezTo>
                    <a:pt x="1168" y="262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8" name="Google Shape;10338;p59"/>
            <p:cNvSpPr/>
            <p:nvPr/>
          </p:nvSpPr>
          <p:spPr>
            <a:xfrm>
              <a:off x="6874892" y="3495641"/>
              <a:ext cx="36824" cy="36824"/>
            </a:xfrm>
            <a:custGeom>
              <a:avLst/>
              <a:gdLst/>
              <a:ahLst/>
              <a:cxnLst/>
              <a:rect l="l" t="t" r="r" b="b"/>
              <a:pathLst>
                <a:path w="1156" h="1156" extrusionOk="0">
                  <a:moveTo>
                    <a:pt x="584" y="311"/>
                  </a:moveTo>
                  <a:cubicBezTo>
                    <a:pt x="727" y="311"/>
                    <a:pt x="834" y="430"/>
                    <a:pt x="834" y="561"/>
                  </a:cubicBezTo>
                  <a:cubicBezTo>
                    <a:pt x="834" y="715"/>
                    <a:pt x="715" y="823"/>
                    <a:pt x="584" y="823"/>
                  </a:cubicBezTo>
                  <a:cubicBezTo>
                    <a:pt x="441" y="823"/>
                    <a:pt x="322" y="703"/>
                    <a:pt x="322" y="561"/>
                  </a:cubicBezTo>
                  <a:cubicBezTo>
                    <a:pt x="322" y="430"/>
                    <a:pt x="441" y="311"/>
                    <a:pt x="584" y="311"/>
                  </a:cubicBezTo>
                  <a:close/>
                  <a:moveTo>
                    <a:pt x="563" y="1"/>
                  </a:moveTo>
                  <a:cubicBezTo>
                    <a:pt x="251" y="1"/>
                    <a:pt x="0" y="258"/>
                    <a:pt x="0" y="584"/>
                  </a:cubicBezTo>
                  <a:cubicBezTo>
                    <a:pt x="0" y="906"/>
                    <a:pt x="262" y="1156"/>
                    <a:pt x="584" y="1156"/>
                  </a:cubicBezTo>
                  <a:cubicBezTo>
                    <a:pt x="905" y="1156"/>
                    <a:pt x="1155" y="894"/>
                    <a:pt x="1155" y="584"/>
                  </a:cubicBezTo>
                  <a:cubicBezTo>
                    <a:pt x="1155" y="251"/>
                    <a:pt x="893" y="1"/>
                    <a:pt x="584" y="1"/>
                  </a:cubicBezTo>
                  <a:cubicBezTo>
                    <a:pt x="577" y="1"/>
                    <a:pt x="570" y="1"/>
                    <a:pt x="5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9" name="Google Shape;10339;p59"/>
            <p:cNvSpPr/>
            <p:nvPr/>
          </p:nvSpPr>
          <p:spPr>
            <a:xfrm>
              <a:off x="6780059" y="3538136"/>
              <a:ext cx="53134" cy="53134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20" y="334"/>
                    <a:pt x="1334" y="560"/>
                    <a:pt x="1334" y="834"/>
                  </a:cubicBezTo>
                  <a:cubicBezTo>
                    <a:pt x="1334" y="1120"/>
                    <a:pt x="1120" y="1346"/>
                    <a:pt x="834" y="1346"/>
                  </a:cubicBezTo>
                  <a:cubicBezTo>
                    <a:pt x="548" y="1346"/>
                    <a:pt x="322" y="1120"/>
                    <a:pt x="322" y="834"/>
                  </a:cubicBezTo>
                  <a:cubicBezTo>
                    <a:pt x="322" y="572"/>
                    <a:pt x="548" y="334"/>
                    <a:pt x="834" y="334"/>
                  </a:cubicBezTo>
                  <a:close/>
                  <a:moveTo>
                    <a:pt x="834" y="1"/>
                  </a:moveTo>
                  <a:cubicBezTo>
                    <a:pt x="370" y="24"/>
                    <a:pt x="1" y="393"/>
                    <a:pt x="1" y="834"/>
                  </a:cubicBezTo>
                  <a:cubicBezTo>
                    <a:pt x="1" y="1298"/>
                    <a:pt x="370" y="1667"/>
                    <a:pt x="834" y="1667"/>
                  </a:cubicBezTo>
                  <a:cubicBezTo>
                    <a:pt x="1298" y="1667"/>
                    <a:pt x="1668" y="1298"/>
                    <a:pt x="1668" y="834"/>
                  </a:cubicBezTo>
                  <a:cubicBezTo>
                    <a:pt x="1668" y="382"/>
                    <a:pt x="1298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0" name="Google Shape;10340;p59"/>
            <p:cNvSpPr/>
            <p:nvPr/>
          </p:nvSpPr>
          <p:spPr>
            <a:xfrm>
              <a:off x="6664394" y="3346974"/>
              <a:ext cx="353113" cy="351998"/>
            </a:xfrm>
            <a:custGeom>
              <a:avLst/>
              <a:gdLst/>
              <a:ahLst/>
              <a:cxnLst/>
              <a:rect l="l" t="t" r="r" b="b"/>
              <a:pathLst>
                <a:path w="11085" h="11050" extrusionOk="0">
                  <a:moveTo>
                    <a:pt x="5549" y="358"/>
                  </a:moveTo>
                  <a:cubicBezTo>
                    <a:pt x="5680" y="358"/>
                    <a:pt x="5799" y="477"/>
                    <a:pt x="5799" y="620"/>
                  </a:cubicBezTo>
                  <a:cubicBezTo>
                    <a:pt x="5799" y="763"/>
                    <a:pt x="5680" y="870"/>
                    <a:pt x="5549" y="870"/>
                  </a:cubicBezTo>
                  <a:cubicBezTo>
                    <a:pt x="5418" y="870"/>
                    <a:pt x="5299" y="763"/>
                    <a:pt x="5299" y="620"/>
                  </a:cubicBezTo>
                  <a:cubicBezTo>
                    <a:pt x="5299" y="465"/>
                    <a:pt x="5418" y="358"/>
                    <a:pt x="5549" y="358"/>
                  </a:cubicBezTo>
                  <a:close/>
                  <a:moveTo>
                    <a:pt x="9752" y="1001"/>
                  </a:moveTo>
                  <a:cubicBezTo>
                    <a:pt x="10061" y="1001"/>
                    <a:pt x="10228" y="1394"/>
                    <a:pt x="10002" y="1620"/>
                  </a:cubicBezTo>
                  <a:cubicBezTo>
                    <a:pt x="9936" y="1686"/>
                    <a:pt x="9844" y="1718"/>
                    <a:pt x="9750" y="1718"/>
                  </a:cubicBezTo>
                  <a:cubicBezTo>
                    <a:pt x="9656" y="1718"/>
                    <a:pt x="9561" y="1686"/>
                    <a:pt x="9490" y="1620"/>
                  </a:cubicBezTo>
                  <a:cubicBezTo>
                    <a:pt x="9275" y="1394"/>
                    <a:pt x="9430" y="1001"/>
                    <a:pt x="9752" y="1001"/>
                  </a:cubicBezTo>
                  <a:close/>
                  <a:moveTo>
                    <a:pt x="1554" y="1203"/>
                  </a:moveTo>
                  <a:cubicBezTo>
                    <a:pt x="1655" y="1203"/>
                    <a:pt x="1756" y="1239"/>
                    <a:pt x="1834" y="1310"/>
                  </a:cubicBezTo>
                  <a:cubicBezTo>
                    <a:pt x="1977" y="1465"/>
                    <a:pt x="1977" y="1715"/>
                    <a:pt x="1834" y="1870"/>
                  </a:cubicBezTo>
                  <a:cubicBezTo>
                    <a:pt x="1756" y="1941"/>
                    <a:pt x="1658" y="1977"/>
                    <a:pt x="1559" y="1977"/>
                  </a:cubicBezTo>
                  <a:cubicBezTo>
                    <a:pt x="1459" y="1977"/>
                    <a:pt x="1358" y="1941"/>
                    <a:pt x="1274" y="1870"/>
                  </a:cubicBezTo>
                  <a:cubicBezTo>
                    <a:pt x="1131" y="1715"/>
                    <a:pt x="1131" y="1465"/>
                    <a:pt x="1274" y="1310"/>
                  </a:cubicBezTo>
                  <a:cubicBezTo>
                    <a:pt x="1352" y="1239"/>
                    <a:pt x="1453" y="1203"/>
                    <a:pt x="1554" y="1203"/>
                  </a:cubicBezTo>
                  <a:close/>
                  <a:moveTo>
                    <a:pt x="596" y="5323"/>
                  </a:moveTo>
                  <a:cubicBezTo>
                    <a:pt x="727" y="5323"/>
                    <a:pt x="846" y="5442"/>
                    <a:pt x="846" y="5573"/>
                  </a:cubicBezTo>
                  <a:cubicBezTo>
                    <a:pt x="858" y="5704"/>
                    <a:pt x="738" y="5823"/>
                    <a:pt x="596" y="5823"/>
                  </a:cubicBezTo>
                  <a:cubicBezTo>
                    <a:pt x="441" y="5823"/>
                    <a:pt x="346" y="5704"/>
                    <a:pt x="346" y="5573"/>
                  </a:cubicBezTo>
                  <a:cubicBezTo>
                    <a:pt x="346" y="5430"/>
                    <a:pt x="465" y="5323"/>
                    <a:pt x="596" y="5323"/>
                  </a:cubicBezTo>
                  <a:close/>
                  <a:moveTo>
                    <a:pt x="10502" y="5323"/>
                  </a:moveTo>
                  <a:cubicBezTo>
                    <a:pt x="10656" y="5323"/>
                    <a:pt x="10764" y="5442"/>
                    <a:pt x="10764" y="5573"/>
                  </a:cubicBezTo>
                  <a:cubicBezTo>
                    <a:pt x="10764" y="5704"/>
                    <a:pt x="10644" y="5823"/>
                    <a:pt x="10502" y="5823"/>
                  </a:cubicBezTo>
                  <a:cubicBezTo>
                    <a:pt x="10359" y="5823"/>
                    <a:pt x="10252" y="5704"/>
                    <a:pt x="10252" y="5573"/>
                  </a:cubicBezTo>
                  <a:cubicBezTo>
                    <a:pt x="10252" y="5430"/>
                    <a:pt x="10371" y="5323"/>
                    <a:pt x="10502" y="5323"/>
                  </a:cubicBezTo>
                  <a:close/>
                  <a:moveTo>
                    <a:pt x="2036" y="8799"/>
                  </a:moveTo>
                  <a:cubicBezTo>
                    <a:pt x="2274" y="8823"/>
                    <a:pt x="2393" y="9085"/>
                    <a:pt x="2227" y="9252"/>
                  </a:cubicBezTo>
                  <a:cubicBezTo>
                    <a:pt x="2179" y="9305"/>
                    <a:pt x="2114" y="9332"/>
                    <a:pt x="2047" y="9332"/>
                  </a:cubicBezTo>
                  <a:cubicBezTo>
                    <a:pt x="1980" y="9332"/>
                    <a:pt x="1911" y="9305"/>
                    <a:pt x="1858" y="9252"/>
                  </a:cubicBezTo>
                  <a:cubicBezTo>
                    <a:pt x="1691" y="9085"/>
                    <a:pt x="1810" y="8799"/>
                    <a:pt x="2036" y="8799"/>
                  </a:cubicBezTo>
                  <a:close/>
                  <a:moveTo>
                    <a:pt x="5549" y="10264"/>
                  </a:moveTo>
                  <a:cubicBezTo>
                    <a:pt x="5680" y="10264"/>
                    <a:pt x="5799" y="10383"/>
                    <a:pt x="5799" y="10514"/>
                  </a:cubicBezTo>
                  <a:cubicBezTo>
                    <a:pt x="5799" y="10669"/>
                    <a:pt x="5680" y="10764"/>
                    <a:pt x="5549" y="10764"/>
                  </a:cubicBezTo>
                  <a:cubicBezTo>
                    <a:pt x="5418" y="10764"/>
                    <a:pt x="5299" y="10645"/>
                    <a:pt x="5299" y="10514"/>
                  </a:cubicBezTo>
                  <a:cubicBezTo>
                    <a:pt x="5299" y="10371"/>
                    <a:pt x="5418" y="10264"/>
                    <a:pt x="5549" y="10264"/>
                  </a:cubicBezTo>
                  <a:close/>
                  <a:moveTo>
                    <a:pt x="5501" y="1"/>
                  </a:moveTo>
                  <a:cubicBezTo>
                    <a:pt x="5180" y="1"/>
                    <a:pt x="4918" y="275"/>
                    <a:pt x="4918" y="584"/>
                  </a:cubicBezTo>
                  <a:cubicBezTo>
                    <a:pt x="4918" y="858"/>
                    <a:pt x="5096" y="1060"/>
                    <a:pt x="5334" y="1132"/>
                  </a:cubicBezTo>
                  <a:lnTo>
                    <a:pt x="5334" y="2025"/>
                  </a:lnTo>
                  <a:cubicBezTo>
                    <a:pt x="5299" y="2013"/>
                    <a:pt x="5251" y="2001"/>
                    <a:pt x="5191" y="1989"/>
                  </a:cubicBezTo>
                  <a:cubicBezTo>
                    <a:pt x="5015" y="1924"/>
                    <a:pt x="4880" y="1886"/>
                    <a:pt x="4761" y="1886"/>
                  </a:cubicBezTo>
                  <a:cubicBezTo>
                    <a:pt x="4576" y="1886"/>
                    <a:pt x="4430" y="1978"/>
                    <a:pt x="4227" y="2203"/>
                  </a:cubicBezTo>
                  <a:cubicBezTo>
                    <a:pt x="4144" y="2299"/>
                    <a:pt x="4072" y="2370"/>
                    <a:pt x="4001" y="2406"/>
                  </a:cubicBezTo>
                  <a:cubicBezTo>
                    <a:pt x="3929" y="2442"/>
                    <a:pt x="3810" y="2442"/>
                    <a:pt x="3703" y="2465"/>
                  </a:cubicBezTo>
                  <a:cubicBezTo>
                    <a:pt x="3370" y="2489"/>
                    <a:pt x="3179" y="2537"/>
                    <a:pt x="3036" y="2823"/>
                  </a:cubicBezTo>
                  <a:lnTo>
                    <a:pt x="2120" y="1906"/>
                  </a:lnTo>
                  <a:cubicBezTo>
                    <a:pt x="2286" y="1632"/>
                    <a:pt x="2274" y="1275"/>
                    <a:pt x="2036" y="1037"/>
                  </a:cubicBezTo>
                  <a:cubicBezTo>
                    <a:pt x="1893" y="894"/>
                    <a:pt x="1712" y="822"/>
                    <a:pt x="1530" y="822"/>
                  </a:cubicBezTo>
                  <a:cubicBezTo>
                    <a:pt x="1349" y="822"/>
                    <a:pt x="1167" y="894"/>
                    <a:pt x="1024" y="1037"/>
                  </a:cubicBezTo>
                  <a:cubicBezTo>
                    <a:pt x="546" y="1505"/>
                    <a:pt x="939" y="2252"/>
                    <a:pt x="1509" y="2252"/>
                  </a:cubicBezTo>
                  <a:cubicBezTo>
                    <a:pt x="1635" y="2252"/>
                    <a:pt x="1770" y="2216"/>
                    <a:pt x="1905" y="2132"/>
                  </a:cubicBezTo>
                  <a:lnTo>
                    <a:pt x="2917" y="3144"/>
                  </a:lnTo>
                  <a:cubicBezTo>
                    <a:pt x="2846" y="3370"/>
                    <a:pt x="2810" y="3394"/>
                    <a:pt x="2572" y="3549"/>
                  </a:cubicBezTo>
                  <a:cubicBezTo>
                    <a:pt x="2143" y="3799"/>
                    <a:pt x="2084" y="3966"/>
                    <a:pt x="2143" y="4442"/>
                  </a:cubicBezTo>
                  <a:cubicBezTo>
                    <a:pt x="2155" y="4561"/>
                    <a:pt x="2167" y="4668"/>
                    <a:pt x="2155" y="4751"/>
                  </a:cubicBezTo>
                  <a:cubicBezTo>
                    <a:pt x="2108" y="4918"/>
                    <a:pt x="1941" y="5061"/>
                    <a:pt x="1846" y="5359"/>
                  </a:cubicBezTo>
                  <a:lnTo>
                    <a:pt x="1131" y="5359"/>
                  </a:lnTo>
                  <a:cubicBezTo>
                    <a:pt x="1060" y="5120"/>
                    <a:pt x="846" y="4942"/>
                    <a:pt x="584" y="4942"/>
                  </a:cubicBezTo>
                  <a:cubicBezTo>
                    <a:pt x="250" y="4942"/>
                    <a:pt x="0" y="5216"/>
                    <a:pt x="0" y="5525"/>
                  </a:cubicBezTo>
                  <a:cubicBezTo>
                    <a:pt x="0" y="5859"/>
                    <a:pt x="262" y="6109"/>
                    <a:pt x="584" y="6109"/>
                  </a:cubicBezTo>
                  <a:cubicBezTo>
                    <a:pt x="846" y="6109"/>
                    <a:pt x="1060" y="5930"/>
                    <a:pt x="1131" y="5692"/>
                  </a:cubicBezTo>
                  <a:lnTo>
                    <a:pt x="1846" y="5692"/>
                  </a:lnTo>
                  <a:cubicBezTo>
                    <a:pt x="1929" y="5990"/>
                    <a:pt x="2108" y="6132"/>
                    <a:pt x="2155" y="6299"/>
                  </a:cubicBezTo>
                  <a:cubicBezTo>
                    <a:pt x="2203" y="6513"/>
                    <a:pt x="2036" y="6871"/>
                    <a:pt x="2179" y="7156"/>
                  </a:cubicBezTo>
                  <a:cubicBezTo>
                    <a:pt x="2322" y="7430"/>
                    <a:pt x="2703" y="7526"/>
                    <a:pt x="2822" y="7704"/>
                  </a:cubicBezTo>
                  <a:cubicBezTo>
                    <a:pt x="2870" y="7764"/>
                    <a:pt x="2894" y="7835"/>
                    <a:pt x="2929" y="7930"/>
                  </a:cubicBezTo>
                  <a:lnTo>
                    <a:pt x="2322" y="8538"/>
                  </a:lnTo>
                  <a:cubicBezTo>
                    <a:pt x="2229" y="8489"/>
                    <a:pt x="2127" y="8464"/>
                    <a:pt x="2025" y="8464"/>
                  </a:cubicBezTo>
                  <a:cubicBezTo>
                    <a:pt x="1880" y="8464"/>
                    <a:pt x="1737" y="8515"/>
                    <a:pt x="1631" y="8621"/>
                  </a:cubicBezTo>
                  <a:cubicBezTo>
                    <a:pt x="1262" y="9002"/>
                    <a:pt x="1536" y="9621"/>
                    <a:pt x="2048" y="9621"/>
                  </a:cubicBezTo>
                  <a:cubicBezTo>
                    <a:pt x="2489" y="9621"/>
                    <a:pt x="2786" y="9157"/>
                    <a:pt x="2560" y="8764"/>
                  </a:cubicBezTo>
                  <a:lnTo>
                    <a:pt x="3084" y="8240"/>
                  </a:lnTo>
                  <a:cubicBezTo>
                    <a:pt x="3322" y="8704"/>
                    <a:pt x="3810" y="8538"/>
                    <a:pt x="4060" y="8657"/>
                  </a:cubicBezTo>
                  <a:cubicBezTo>
                    <a:pt x="4251" y="8740"/>
                    <a:pt x="4418" y="9085"/>
                    <a:pt x="4727" y="9157"/>
                  </a:cubicBezTo>
                  <a:cubicBezTo>
                    <a:pt x="4769" y="9167"/>
                    <a:pt x="4811" y="9172"/>
                    <a:pt x="4853" y="9172"/>
                  </a:cubicBezTo>
                  <a:cubicBezTo>
                    <a:pt x="5045" y="9172"/>
                    <a:pt x="5230" y="9075"/>
                    <a:pt x="5406" y="9026"/>
                  </a:cubicBezTo>
                  <a:lnTo>
                    <a:pt x="5406" y="9919"/>
                  </a:lnTo>
                  <a:cubicBezTo>
                    <a:pt x="5168" y="9990"/>
                    <a:pt x="4989" y="10204"/>
                    <a:pt x="4989" y="10466"/>
                  </a:cubicBezTo>
                  <a:cubicBezTo>
                    <a:pt x="4989" y="10800"/>
                    <a:pt x="5251" y="11050"/>
                    <a:pt x="5561" y="11050"/>
                  </a:cubicBezTo>
                  <a:cubicBezTo>
                    <a:pt x="5894" y="11050"/>
                    <a:pt x="6144" y="10788"/>
                    <a:pt x="6144" y="10466"/>
                  </a:cubicBezTo>
                  <a:cubicBezTo>
                    <a:pt x="6144" y="10204"/>
                    <a:pt x="5965" y="9990"/>
                    <a:pt x="5727" y="9919"/>
                  </a:cubicBezTo>
                  <a:lnTo>
                    <a:pt x="5727" y="9026"/>
                  </a:lnTo>
                  <a:cubicBezTo>
                    <a:pt x="5903" y="9075"/>
                    <a:pt x="6080" y="9172"/>
                    <a:pt x="6269" y="9172"/>
                  </a:cubicBezTo>
                  <a:cubicBezTo>
                    <a:pt x="6310" y="9172"/>
                    <a:pt x="6352" y="9167"/>
                    <a:pt x="6394" y="9157"/>
                  </a:cubicBezTo>
                  <a:cubicBezTo>
                    <a:pt x="6715" y="9085"/>
                    <a:pt x="6894" y="8740"/>
                    <a:pt x="7073" y="8657"/>
                  </a:cubicBezTo>
                  <a:cubicBezTo>
                    <a:pt x="7323" y="8538"/>
                    <a:pt x="7799" y="8704"/>
                    <a:pt x="8049" y="8240"/>
                  </a:cubicBezTo>
                  <a:lnTo>
                    <a:pt x="8216" y="8407"/>
                  </a:lnTo>
                  <a:cubicBezTo>
                    <a:pt x="8245" y="8436"/>
                    <a:pt x="8287" y="8451"/>
                    <a:pt x="8329" y="8451"/>
                  </a:cubicBezTo>
                  <a:cubicBezTo>
                    <a:pt x="8370" y="8451"/>
                    <a:pt x="8412" y="8436"/>
                    <a:pt x="8442" y="8407"/>
                  </a:cubicBezTo>
                  <a:cubicBezTo>
                    <a:pt x="8501" y="8347"/>
                    <a:pt x="8501" y="8240"/>
                    <a:pt x="8442" y="8180"/>
                  </a:cubicBezTo>
                  <a:lnTo>
                    <a:pt x="8168" y="7907"/>
                  </a:lnTo>
                  <a:cubicBezTo>
                    <a:pt x="8239" y="7692"/>
                    <a:pt x="8275" y="7656"/>
                    <a:pt x="8513" y="7514"/>
                  </a:cubicBezTo>
                  <a:cubicBezTo>
                    <a:pt x="8942" y="7252"/>
                    <a:pt x="9013" y="7097"/>
                    <a:pt x="8942" y="6621"/>
                  </a:cubicBezTo>
                  <a:cubicBezTo>
                    <a:pt x="8894" y="6323"/>
                    <a:pt x="8918" y="6287"/>
                    <a:pt x="9073" y="6037"/>
                  </a:cubicBezTo>
                  <a:cubicBezTo>
                    <a:pt x="9156" y="5930"/>
                    <a:pt x="9216" y="5811"/>
                    <a:pt x="9240" y="5692"/>
                  </a:cubicBezTo>
                  <a:lnTo>
                    <a:pt x="9954" y="5692"/>
                  </a:lnTo>
                  <a:cubicBezTo>
                    <a:pt x="10025" y="5930"/>
                    <a:pt x="10240" y="6109"/>
                    <a:pt x="10502" y="6109"/>
                  </a:cubicBezTo>
                  <a:cubicBezTo>
                    <a:pt x="10835" y="6109"/>
                    <a:pt x="11085" y="5847"/>
                    <a:pt x="11085" y="5525"/>
                  </a:cubicBezTo>
                  <a:cubicBezTo>
                    <a:pt x="11085" y="5251"/>
                    <a:pt x="10823" y="4989"/>
                    <a:pt x="10502" y="4989"/>
                  </a:cubicBezTo>
                  <a:cubicBezTo>
                    <a:pt x="10240" y="4989"/>
                    <a:pt x="10025" y="5168"/>
                    <a:pt x="9954" y="5406"/>
                  </a:cubicBezTo>
                  <a:lnTo>
                    <a:pt x="9240" y="5406"/>
                  </a:lnTo>
                  <a:cubicBezTo>
                    <a:pt x="9156" y="5109"/>
                    <a:pt x="8978" y="4966"/>
                    <a:pt x="8930" y="4799"/>
                  </a:cubicBezTo>
                  <a:cubicBezTo>
                    <a:pt x="8882" y="4585"/>
                    <a:pt x="9049" y="4239"/>
                    <a:pt x="8894" y="3954"/>
                  </a:cubicBezTo>
                  <a:cubicBezTo>
                    <a:pt x="8763" y="3668"/>
                    <a:pt x="8382" y="3573"/>
                    <a:pt x="8263" y="3394"/>
                  </a:cubicBezTo>
                  <a:cubicBezTo>
                    <a:pt x="8216" y="3335"/>
                    <a:pt x="8180" y="3263"/>
                    <a:pt x="8156" y="3180"/>
                  </a:cubicBezTo>
                  <a:lnTo>
                    <a:pt x="9406" y="1930"/>
                  </a:lnTo>
                  <a:cubicBezTo>
                    <a:pt x="9513" y="1989"/>
                    <a:pt x="9632" y="2025"/>
                    <a:pt x="9752" y="2025"/>
                  </a:cubicBezTo>
                  <a:cubicBezTo>
                    <a:pt x="9930" y="2025"/>
                    <a:pt x="10109" y="1953"/>
                    <a:pt x="10228" y="1834"/>
                  </a:cubicBezTo>
                  <a:cubicBezTo>
                    <a:pt x="10490" y="1572"/>
                    <a:pt x="10490" y="1132"/>
                    <a:pt x="10228" y="870"/>
                  </a:cubicBezTo>
                  <a:cubicBezTo>
                    <a:pt x="10091" y="733"/>
                    <a:pt x="9915" y="665"/>
                    <a:pt x="9740" y="665"/>
                  </a:cubicBezTo>
                  <a:cubicBezTo>
                    <a:pt x="9564" y="665"/>
                    <a:pt x="9388" y="733"/>
                    <a:pt x="9251" y="870"/>
                  </a:cubicBezTo>
                  <a:cubicBezTo>
                    <a:pt x="9037" y="1096"/>
                    <a:pt x="9001" y="1430"/>
                    <a:pt x="9168" y="1691"/>
                  </a:cubicBezTo>
                  <a:lnTo>
                    <a:pt x="8025" y="2834"/>
                  </a:lnTo>
                  <a:cubicBezTo>
                    <a:pt x="7918" y="2644"/>
                    <a:pt x="7799" y="2537"/>
                    <a:pt x="7501" y="2489"/>
                  </a:cubicBezTo>
                  <a:cubicBezTo>
                    <a:pt x="7493" y="2488"/>
                    <a:pt x="7485" y="2488"/>
                    <a:pt x="7477" y="2488"/>
                  </a:cubicBezTo>
                  <a:cubicBezTo>
                    <a:pt x="7394" y="2488"/>
                    <a:pt x="7334" y="2545"/>
                    <a:pt x="7323" y="2632"/>
                  </a:cubicBezTo>
                  <a:cubicBezTo>
                    <a:pt x="7311" y="2715"/>
                    <a:pt x="7370" y="2787"/>
                    <a:pt x="7454" y="2811"/>
                  </a:cubicBezTo>
                  <a:cubicBezTo>
                    <a:pt x="7680" y="2834"/>
                    <a:pt x="7727" y="2906"/>
                    <a:pt x="7811" y="3192"/>
                  </a:cubicBezTo>
                  <a:cubicBezTo>
                    <a:pt x="7930" y="3549"/>
                    <a:pt x="7989" y="3644"/>
                    <a:pt x="8323" y="3835"/>
                  </a:cubicBezTo>
                  <a:cubicBezTo>
                    <a:pt x="8632" y="4025"/>
                    <a:pt x="8644" y="4061"/>
                    <a:pt x="8597" y="4418"/>
                  </a:cubicBezTo>
                  <a:cubicBezTo>
                    <a:pt x="8537" y="4799"/>
                    <a:pt x="8573" y="4906"/>
                    <a:pt x="8775" y="5216"/>
                  </a:cubicBezTo>
                  <a:cubicBezTo>
                    <a:pt x="8990" y="5525"/>
                    <a:pt x="8990" y="5573"/>
                    <a:pt x="8775" y="5871"/>
                  </a:cubicBezTo>
                  <a:cubicBezTo>
                    <a:pt x="8573" y="6180"/>
                    <a:pt x="8561" y="6287"/>
                    <a:pt x="8597" y="6668"/>
                  </a:cubicBezTo>
                  <a:cubicBezTo>
                    <a:pt x="8644" y="7025"/>
                    <a:pt x="8632" y="7061"/>
                    <a:pt x="8323" y="7252"/>
                  </a:cubicBezTo>
                  <a:cubicBezTo>
                    <a:pt x="7989" y="7442"/>
                    <a:pt x="7930" y="7537"/>
                    <a:pt x="7811" y="7895"/>
                  </a:cubicBezTo>
                  <a:cubicBezTo>
                    <a:pt x="7692" y="8240"/>
                    <a:pt x="7668" y="8264"/>
                    <a:pt x="7311" y="8299"/>
                  </a:cubicBezTo>
                  <a:cubicBezTo>
                    <a:pt x="6918" y="8323"/>
                    <a:pt x="6834" y="8383"/>
                    <a:pt x="6561" y="8657"/>
                  </a:cubicBezTo>
                  <a:cubicBezTo>
                    <a:pt x="6411" y="8813"/>
                    <a:pt x="6334" y="8876"/>
                    <a:pt x="6228" y="8876"/>
                  </a:cubicBezTo>
                  <a:cubicBezTo>
                    <a:pt x="6156" y="8876"/>
                    <a:pt x="6071" y="8847"/>
                    <a:pt x="5942" y="8799"/>
                  </a:cubicBezTo>
                  <a:cubicBezTo>
                    <a:pt x="5799" y="8752"/>
                    <a:pt x="5668" y="8692"/>
                    <a:pt x="5525" y="8692"/>
                  </a:cubicBezTo>
                  <a:cubicBezTo>
                    <a:pt x="5261" y="8692"/>
                    <a:pt x="4987" y="8875"/>
                    <a:pt x="4806" y="8875"/>
                  </a:cubicBezTo>
                  <a:cubicBezTo>
                    <a:pt x="4791" y="8875"/>
                    <a:pt x="4777" y="8874"/>
                    <a:pt x="4763" y="8871"/>
                  </a:cubicBezTo>
                  <a:cubicBezTo>
                    <a:pt x="4668" y="8859"/>
                    <a:pt x="4572" y="8752"/>
                    <a:pt x="4477" y="8657"/>
                  </a:cubicBezTo>
                  <a:cubicBezTo>
                    <a:pt x="4227" y="8383"/>
                    <a:pt x="4120" y="8323"/>
                    <a:pt x="3739" y="8299"/>
                  </a:cubicBezTo>
                  <a:cubicBezTo>
                    <a:pt x="3382" y="8264"/>
                    <a:pt x="3346" y="8240"/>
                    <a:pt x="3227" y="7895"/>
                  </a:cubicBezTo>
                  <a:cubicBezTo>
                    <a:pt x="3108" y="7537"/>
                    <a:pt x="3048" y="7442"/>
                    <a:pt x="2727" y="7252"/>
                  </a:cubicBezTo>
                  <a:cubicBezTo>
                    <a:pt x="2405" y="7061"/>
                    <a:pt x="2393" y="7025"/>
                    <a:pt x="2441" y="6668"/>
                  </a:cubicBezTo>
                  <a:cubicBezTo>
                    <a:pt x="2501" y="6287"/>
                    <a:pt x="2465" y="6180"/>
                    <a:pt x="2262" y="5871"/>
                  </a:cubicBezTo>
                  <a:cubicBezTo>
                    <a:pt x="2048" y="5561"/>
                    <a:pt x="2048" y="5513"/>
                    <a:pt x="2262" y="5216"/>
                  </a:cubicBezTo>
                  <a:cubicBezTo>
                    <a:pt x="2465" y="4906"/>
                    <a:pt x="2477" y="4799"/>
                    <a:pt x="2441" y="4418"/>
                  </a:cubicBezTo>
                  <a:cubicBezTo>
                    <a:pt x="2393" y="4061"/>
                    <a:pt x="2405" y="4025"/>
                    <a:pt x="2727" y="3835"/>
                  </a:cubicBezTo>
                  <a:cubicBezTo>
                    <a:pt x="2846" y="3763"/>
                    <a:pt x="2965" y="3680"/>
                    <a:pt x="3048" y="3585"/>
                  </a:cubicBezTo>
                  <a:cubicBezTo>
                    <a:pt x="3144" y="3477"/>
                    <a:pt x="3179" y="3323"/>
                    <a:pt x="3227" y="3192"/>
                  </a:cubicBezTo>
                  <a:cubicBezTo>
                    <a:pt x="3275" y="3061"/>
                    <a:pt x="3322" y="2942"/>
                    <a:pt x="3394" y="2882"/>
                  </a:cubicBezTo>
                  <a:cubicBezTo>
                    <a:pt x="3465" y="2823"/>
                    <a:pt x="3596" y="2799"/>
                    <a:pt x="3739" y="2787"/>
                  </a:cubicBezTo>
                  <a:cubicBezTo>
                    <a:pt x="4120" y="2763"/>
                    <a:pt x="4215" y="2703"/>
                    <a:pt x="4477" y="2430"/>
                  </a:cubicBezTo>
                  <a:cubicBezTo>
                    <a:pt x="4626" y="2273"/>
                    <a:pt x="4699" y="2210"/>
                    <a:pt x="4807" y="2210"/>
                  </a:cubicBezTo>
                  <a:cubicBezTo>
                    <a:pt x="4880" y="2210"/>
                    <a:pt x="4969" y="2239"/>
                    <a:pt x="5108" y="2287"/>
                  </a:cubicBezTo>
                  <a:cubicBezTo>
                    <a:pt x="5287" y="2352"/>
                    <a:pt x="5406" y="2385"/>
                    <a:pt x="5525" y="2385"/>
                  </a:cubicBezTo>
                  <a:cubicBezTo>
                    <a:pt x="5644" y="2385"/>
                    <a:pt x="5763" y="2352"/>
                    <a:pt x="5942" y="2287"/>
                  </a:cubicBezTo>
                  <a:cubicBezTo>
                    <a:pt x="6081" y="2233"/>
                    <a:pt x="6168" y="2206"/>
                    <a:pt x="6236" y="2206"/>
                  </a:cubicBezTo>
                  <a:cubicBezTo>
                    <a:pt x="6366" y="2206"/>
                    <a:pt x="6425" y="2306"/>
                    <a:pt x="6644" y="2525"/>
                  </a:cubicBezTo>
                  <a:cubicBezTo>
                    <a:pt x="6680" y="2555"/>
                    <a:pt x="6721" y="2570"/>
                    <a:pt x="6762" y="2570"/>
                  </a:cubicBezTo>
                  <a:cubicBezTo>
                    <a:pt x="6802" y="2570"/>
                    <a:pt x="6840" y="2555"/>
                    <a:pt x="6870" y="2525"/>
                  </a:cubicBezTo>
                  <a:cubicBezTo>
                    <a:pt x="6930" y="2465"/>
                    <a:pt x="6930" y="2358"/>
                    <a:pt x="6870" y="2299"/>
                  </a:cubicBezTo>
                  <a:lnTo>
                    <a:pt x="6787" y="2203"/>
                  </a:lnTo>
                  <a:cubicBezTo>
                    <a:pt x="6569" y="1978"/>
                    <a:pt x="6422" y="1886"/>
                    <a:pt x="6241" y="1886"/>
                  </a:cubicBezTo>
                  <a:cubicBezTo>
                    <a:pt x="6125" y="1886"/>
                    <a:pt x="5994" y="1924"/>
                    <a:pt x="5822" y="1989"/>
                  </a:cubicBezTo>
                  <a:cubicBezTo>
                    <a:pt x="5775" y="2001"/>
                    <a:pt x="5715" y="2013"/>
                    <a:pt x="5668" y="2025"/>
                  </a:cubicBezTo>
                  <a:lnTo>
                    <a:pt x="5668" y="1132"/>
                  </a:lnTo>
                  <a:cubicBezTo>
                    <a:pt x="5906" y="1060"/>
                    <a:pt x="6084" y="858"/>
                    <a:pt x="6084" y="584"/>
                  </a:cubicBezTo>
                  <a:cubicBezTo>
                    <a:pt x="6084" y="263"/>
                    <a:pt x="5822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1" name="Google Shape;10341;p59"/>
            <p:cNvSpPr/>
            <p:nvPr/>
          </p:nvSpPr>
          <p:spPr>
            <a:xfrm>
              <a:off x="6938984" y="3622042"/>
              <a:ext cx="53899" cy="51605"/>
            </a:xfrm>
            <a:custGeom>
              <a:avLst/>
              <a:gdLst/>
              <a:ahLst/>
              <a:cxnLst/>
              <a:rect l="l" t="t" r="r" b="b"/>
              <a:pathLst>
                <a:path w="1692" h="1620" extrusionOk="0">
                  <a:moveTo>
                    <a:pt x="919" y="548"/>
                  </a:moveTo>
                  <a:cubicBezTo>
                    <a:pt x="1015" y="548"/>
                    <a:pt x="1114" y="587"/>
                    <a:pt x="1191" y="665"/>
                  </a:cubicBezTo>
                  <a:cubicBezTo>
                    <a:pt x="1334" y="796"/>
                    <a:pt x="1334" y="1046"/>
                    <a:pt x="1191" y="1200"/>
                  </a:cubicBezTo>
                  <a:cubicBezTo>
                    <a:pt x="1114" y="1272"/>
                    <a:pt x="1015" y="1307"/>
                    <a:pt x="919" y="1307"/>
                  </a:cubicBezTo>
                  <a:cubicBezTo>
                    <a:pt x="822" y="1307"/>
                    <a:pt x="727" y="1272"/>
                    <a:pt x="655" y="1200"/>
                  </a:cubicBezTo>
                  <a:cubicBezTo>
                    <a:pt x="500" y="1046"/>
                    <a:pt x="500" y="807"/>
                    <a:pt x="655" y="665"/>
                  </a:cubicBezTo>
                  <a:cubicBezTo>
                    <a:pt x="727" y="587"/>
                    <a:pt x="822" y="548"/>
                    <a:pt x="919" y="548"/>
                  </a:cubicBezTo>
                  <a:close/>
                  <a:moveTo>
                    <a:pt x="167" y="1"/>
                  </a:moveTo>
                  <a:cubicBezTo>
                    <a:pt x="128" y="1"/>
                    <a:pt x="90" y="16"/>
                    <a:pt x="60" y="45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334" y="557"/>
                  </a:lnTo>
                  <a:cubicBezTo>
                    <a:pt x="179" y="819"/>
                    <a:pt x="191" y="1177"/>
                    <a:pt x="429" y="1415"/>
                  </a:cubicBezTo>
                  <a:cubicBezTo>
                    <a:pt x="560" y="1552"/>
                    <a:pt x="739" y="1620"/>
                    <a:pt x="920" y="1620"/>
                  </a:cubicBezTo>
                  <a:cubicBezTo>
                    <a:pt x="1102" y="1620"/>
                    <a:pt x="1286" y="1552"/>
                    <a:pt x="1429" y="1415"/>
                  </a:cubicBezTo>
                  <a:cubicBezTo>
                    <a:pt x="1691" y="1153"/>
                    <a:pt x="1691" y="700"/>
                    <a:pt x="1429" y="415"/>
                  </a:cubicBezTo>
                  <a:cubicBezTo>
                    <a:pt x="1294" y="286"/>
                    <a:pt x="1120" y="223"/>
                    <a:pt x="945" y="223"/>
                  </a:cubicBezTo>
                  <a:cubicBezTo>
                    <a:pt x="812" y="223"/>
                    <a:pt x="678" y="259"/>
                    <a:pt x="560" y="331"/>
                  </a:cubicBezTo>
                  <a:lnTo>
                    <a:pt x="274" y="45"/>
                  </a:lnTo>
                  <a:cubicBezTo>
                    <a:pt x="244" y="16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2" name="Google Shape;10342;p59"/>
          <p:cNvGrpSpPr/>
          <p:nvPr/>
        </p:nvGrpSpPr>
        <p:grpSpPr>
          <a:xfrm>
            <a:off x="849741" y="1959307"/>
            <a:ext cx="399398" cy="375443"/>
            <a:chOff x="849741" y="1959307"/>
            <a:chExt cx="399398" cy="375443"/>
          </a:xfrm>
        </p:grpSpPr>
        <p:sp>
          <p:nvSpPr>
            <p:cNvPr id="10343" name="Google Shape;10343;p59"/>
            <p:cNvSpPr/>
            <p:nvPr/>
          </p:nvSpPr>
          <p:spPr>
            <a:xfrm>
              <a:off x="849741" y="1959307"/>
              <a:ext cx="399398" cy="375443"/>
            </a:xfrm>
            <a:custGeom>
              <a:avLst/>
              <a:gdLst/>
              <a:ahLst/>
              <a:cxnLst/>
              <a:rect l="l" t="t" r="r" b="b"/>
              <a:pathLst>
                <a:path w="12538" h="11786" extrusionOk="0">
                  <a:moveTo>
                    <a:pt x="2441" y="7273"/>
                  </a:moveTo>
                  <a:lnTo>
                    <a:pt x="5251" y="10082"/>
                  </a:lnTo>
                  <a:lnTo>
                    <a:pt x="4537" y="10797"/>
                  </a:lnTo>
                  <a:lnTo>
                    <a:pt x="1727" y="7987"/>
                  </a:lnTo>
                  <a:lnTo>
                    <a:pt x="2441" y="7273"/>
                  </a:lnTo>
                  <a:close/>
                  <a:moveTo>
                    <a:pt x="8661" y="1"/>
                  </a:moveTo>
                  <a:cubicBezTo>
                    <a:pt x="8400" y="1"/>
                    <a:pt x="8138" y="99"/>
                    <a:pt x="7942" y="296"/>
                  </a:cubicBezTo>
                  <a:lnTo>
                    <a:pt x="1846" y="6392"/>
                  </a:lnTo>
                  <a:cubicBezTo>
                    <a:pt x="1763" y="6463"/>
                    <a:pt x="1763" y="6582"/>
                    <a:pt x="1846" y="6665"/>
                  </a:cubicBezTo>
                  <a:lnTo>
                    <a:pt x="2168" y="6987"/>
                  </a:lnTo>
                  <a:lnTo>
                    <a:pt x="1322" y="7832"/>
                  </a:lnTo>
                  <a:cubicBezTo>
                    <a:pt x="1251" y="7916"/>
                    <a:pt x="1251" y="8035"/>
                    <a:pt x="1322" y="8106"/>
                  </a:cubicBezTo>
                  <a:lnTo>
                    <a:pt x="1941" y="8725"/>
                  </a:lnTo>
                  <a:lnTo>
                    <a:pt x="1465" y="9201"/>
                  </a:lnTo>
                  <a:cubicBezTo>
                    <a:pt x="1394" y="9285"/>
                    <a:pt x="1394" y="9404"/>
                    <a:pt x="1465" y="9475"/>
                  </a:cubicBezTo>
                  <a:cubicBezTo>
                    <a:pt x="1507" y="9511"/>
                    <a:pt x="1557" y="9529"/>
                    <a:pt x="1606" y="9529"/>
                  </a:cubicBezTo>
                  <a:cubicBezTo>
                    <a:pt x="1656" y="9529"/>
                    <a:pt x="1703" y="9511"/>
                    <a:pt x="1739" y="9475"/>
                  </a:cubicBezTo>
                  <a:lnTo>
                    <a:pt x="2215" y="8999"/>
                  </a:lnTo>
                  <a:lnTo>
                    <a:pt x="3525" y="10309"/>
                  </a:lnTo>
                  <a:lnTo>
                    <a:pt x="2453" y="11380"/>
                  </a:lnTo>
                  <a:lnTo>
                    <a:pt x="536" y="10678"/>
                  </a:lnTo>
                  <a:lnTo>
                    <a:pt x="1167" y="10035"/>
                  </a:lnTo>
                  <a:cubicBezTo>
                    <a:pt x="1251" y="9963"/>
                    <a:pt x="1251" y="9844"/>
                    <a:pt x="1167" y="9773"/>
                  </a:cubicBezTo>
                  <a:cubicBezTo>
                    <a:pt x="1132" y="9737"/>
                    <a:pt x="1084" y="9719"/>
                    <a:pt x="1036" y="9719"/>
                  </a:cubicBezTo>
                  <a:cubicBezTo>
                    <a:pt x="989" y="9719"/>
                    <a:pt x="941" y="9737"/>
                    <a:pt x="905" y="9773"/>
                  </a:cubicBezTo>
                  <a:lnTo>
                    <a:pt x="60" y="10618"/>
                  </a:lnTo>
                  <a:cubicBezTo>
                    <a:pt x="12" y="10666"/>
                    <a:pt x="1" y="10737"/>
                    <a:pt x="12" y="10797"/>
                  </a:cubicBezTo>
                  <a:cubicBezTo>
                    <a:pt x="24" y="10856"/>
                    <a:pt x="72" y="10916"/>
                    <a:pt x="132" y="10928"/>
                  </a:cubicBezTo>
                  <a:lnTo>
                    <a:pt x="2441" y="11761"/>
                  </a:lnTo>
                  <a:cubicBezTo>
                    <a:pt x="2453" y="11785"/>
                    <a:pt x="2477" y="11785"/>
                    <a:pt x="2501" y="11785"/>
                  </a:cubicBezTo>
                  <a:cubicBezTo>
                    <a:pt x="2537" y="11785"/>
                    <a:pt x="2596" y="11761"/>
                    <a:pt x="2632" y="11726"/>
                  </a:cubicBezTo>
                  <a:lnTo>
                    <a:pt x="3787" y="10559"/>
                  </a:lnTo>
                  <a:lnTo>
                    <a:pt x="4418" y="11190"/>
                  </a:lnTo>
                  <a:cubicBezTo>
                    <a:pt x="4442" y="11214"/>
                    <a:pt x="4501" y="11249"/>
                    <a:pt x="4549" y="11249"/>
                  </a:cubicBezTo>
                  <a:cubicBezTo>
                    <a:pt x="4596" y="11249"/>
                    <a:pt x="4656" y="11225"/>
                    <a:pt x="4680" y="11190"/>
                  </a:cubicBezTo>
                  <a:lnTo>
                    <a:pt x="5537" y="10332"/>
                  </a:lnTo>
                  <a:lnTo>
                    <a:pt x="5858" y="10666"/>
                  </a:lnTo>
                  <a:cubicBezTo>
                    <a:pt x="5894" y="10690"/>
                    <a:pt x="5954" y="10725"/>
                    <a:pt x="5989" y="10725"/>
                  </a:cubicBezTo>
                  <a:cubicBezTo>
                    <a:pt x="6037" y="10725"/>
                    <a:pt x="6097" y="10702"/>
                    <a:pt x="6132" y="10666"/>
                  </a:cubicBezTo>
                  <a:lnTo>
                    <a:pt x="10788" y="6011"/>
                  </a:lnTo>
                  <a:cubicBezTo>
                    <a:pt x="10859" y="5927"/>
                    <a:pt x="10859" y="5808"/>
                    <a:pt x="10788" y="5737"/>
                  </a:cubicBezTo>
                  <a:cubicBezTo>
                    <a:pt x="10752" y="5701"/>
                    <a:pt x="10704" y="5683"/>
                    <a:pt x="10655" y="5683"/>
                  </a:cubicBezTo>
                  <a:cubicBezTo>
                    <a:pt x="10606" y="5683"/>
                    <a:pt x="10555" y="5701"/>
                    <a:pt x="10514" y="5737"/>
                  </a:cubicBezTo>
                  <a:lnTo>
                    <a:pt x="5989" y="10261"/>
                  </a:lnTo>
                  <a:lnTo>
                    <a:pt x="2263" y="6523"/>
                  </a:lnTo>
                  <a:lnTo>
                    <a:pt x="8240" y="546"/>
                  </a:lnTo>
                  <a:cubicBezTo>
                    <a:pt x="8365" y="415"/>
                    <a:pt x="8525" y="349"/>
                    <a:pt x="8686" y="349"/>
                  </a:cubicBezTo>
                  <a:cubicBezTo>
                    <a:pt x="8847" y="349"/>
                    <a:pt x="9008" y="415"/>
                    <a:pt x="9133" y="546"/>
                  </a:cubicBezTo>
                  <a:lnTo>
                    <a:pt x="11978" y="3379"/>
                  </a:lnTo>
                  <a:cubicBezTo>
                    <a:pt x="12097" y="3510"/>
                    <a:pt x="12157" y="3665"/>
                    <a:pt x="12157" y="3832"/>
                  </a:cubicBezTo>
                  <a:cubicBezTo>
                    <a:pt x="12157" y="3998"/>
                    <a:pt x="12097" y="4153"/>
                    <a:pt x="11978" y="4272"/>
                  </a:cubicBezTo>
                  <a:lnTo>
                    <a:pt x="11050" y="5201"/>
                  </a:lnTo>
                  <a:cubicBezTo>
                    <a:pt x="10978" y="5272"/>
                    <a:pt x="10978" y="5391"/>
                    <a:pt x="11050" y="5463"/>
                  </a:cubicBezTo>
                  <a:cubicBezTo>
                    <a:pt x="11091" y="5505"/>
                    <a:pt x="11142" y="5525"/>
                    <a:pt x="11191" y="5525"/>
                  </a:cubicBezTo>
                  <a:cubicBezTo>
                    <a:pt x="11240" y="5525"/>
                    <a:pt x="11288" y="5505"/>
                    <a:pt x="11323" y="5463"/>
                  </a:cubicBezTo>
                  <a:lnTo>
                    <a:pt x="12240" y="4546"/>
                  </a:lnTo>
                  <a:cubicBezTo>
                    <a:pt x="12443" y="4356"/>
                    <a:pt x="12538" y="4106"/>
                    <a:pt x="12538" y="3832"/>
                  </a:cubicBezTo>
                  <a:cubicBezTo>
                    <a:pt x="12526" y="3582"/>
                    <a:pt x="12419" y="3332"/>
                    <a:pt x="12228" y="3129"/>
                  </a:cubicBezTo>
                  <a:lnTo>
                    <a:pt x="9371" y="296"/>
                  </a:lnTo>
                  <a:cubicBezTo>
                    <a:pt x="9180" y="99"/>
                    <a:pt x="8921" y="1"/>
                    <a:pt x="86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4" name="Google Shape;10344;p59"/>
            <p:cNvSpPr/>
            <p:nvPr/>
          </p:nvSpPr>
          <p:spPr>
            <a:xfrm>
              <a:off x="986654" y="2041588"/>
              <a:ext cx="180204" cy="177082"/>
            </a:xfrm>
            <a:custGeom>
              <a:avLst/>
              <a:gdLst/>
              <a:ahLst/>
              <a:cxnLst/>
              <a:rect l="l" t="t" r="r" b="b"/>
              <a:pathLst>
                <a:path w="5657" h="5559" extrusionOk="0">
                  <a:moveTo>
                    <a:pt x="3811" y="368"/>
                  </a:moveTo>
                  <a:cubicBezTo>
                    <a:pt x="3894" y="368"/>
                    <a:pt x="3989" y="403"/>
                    <a:pt x="4061" y="475"/>
                  </a:cubicBezTo>
                  <a:lnTo>
                    <a:pt x="5168" y="1582"/>
                  </a:lnTo>
                  <a:cubicBezTo>
                    <a:pt x="5228" y="1642"/>
                    <a:pt x="5263" y="1725"/>
                    <a:pt x="5263" y="1832"/>
                  </a:cubicBezTo>
                  <a:cubicBezTo>
                    <a:pt x="5263" y="1915"/>
                    <a:pt x="5228" y="2023"/>
                    <a:pt x="5168" y="2082"/>
                  </a:cubicBezTo>
                  <a:lnTo>
                    <a:pt x="2156" y="5094"/>
                  </a:lnTo>
                  <a:cubicBezTo>
                    <a:pt x="2090" y="5160"/>
                    <a:pt x="1998" y="5193"/>
                    <a:pt x="1906" y="5193"/>
                  </a:cubicBezTo>
                  <a:cubicBezTo>
                    <a:pt x="1813" y="5193"/>
                    <a:pt x="1721" y="5160"/>
                    <a:pt x="1656" y="5094"/>
                  </a:cubicBezTo>
                  <a:lnTo>
                    <a:pt x="548" y="3987"/>
                  </a:lnTo>
                  <a:cubicBezTo>
                    <a:pt x="417" y="3856"/>
                    <a:pt x="417" y="3618"/>
                    <a:pt x="548" y="3487"/>
                  </a:cubicBezTo>
                  <a:lnTo>
                    <a:pt x="3561" y="475"/>
                  </a:lnTo>
                  <a:cubicBezTo>
                    <a:pt x="3632" y="403"/>
                    <a:pt x="3715" y="368"/>
                    <a:pt x="3811" y="368"/>
                  </a:cubicBezTo>
                  <a:close/>
                  <a:moveTo>
                    <a:pt x="3800" y="0"/>
                  </a:moveTo>
                  <a:cubicBezTo>
                    <a:pt x="3613" y="0"/>
                    <a:pt x="3428" y="71"/>
                    <a:pt x="3287" y="213"/>
                  </a:cubicBezTo>
                  <a:lnTo>
                    <a:pt x="286" y="3213"/>
                  </a:lnTo>
                  <a:cubicBezTo>
                    <a:pt x="1" y="3499"/>
                    <a:pt x="1" y="3975"/>
                    <a:pt x="286" y="4261"/>
                  </a:cubicBezTo>
                  <a:lnTo>
                    <a:pt x="1382" y="5356"/>
                  </a:lnTo>
                  <a:cubicBezTo>
                    <a:pt x="1537" y="5511"/>
                    <a:pt x="1715" y="5559"/>
                    <a:pt x="1906" y="5559"/>
                  </a:cubicBezTo>
                  <a:cubicBezTo>
                    <a:pt x="2096" y="5559"/>
                    <a:pt x="2275" y="5487"/>
                    <a:pt x="2430" y="5356"/>
                  </a:cubicBezTo>
                  <a:lnTo>
                    <a:pt x="5430" y="2368"/>
                  </a:lnTo>
                  <a:cubicBezTo>
                    <a:pt x="5561" y="2237"/>
                    <a:pt x="5656" y="2035"/>
                    <a:pt x="5656" y="1844"/>
                  </a:cubicBezTo>
                  <a:cubicBezTo>
                    <a:pt x="5656" y="1654"/>
                    <a:pt x="5585" y="1451"/>
                    <a:pt x="5430" y="1320"/>
                  </a:cubicBezTo>
                  <a:lnTo>
                    <a:pt x="4335" y="225"/>
                  </a:lnTo>
                  <a:cubicBezTo>
                    <a:pt x="4184" y="74"/>
                    <a:pt x="3991" y="0"/>
                    <a:pt x="38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5" name="Google Shape;10345;p59"/>
          <p:cNvGrpSpPr/>
          <p:nvPr/>
        </p:nvGrpSpPr>
        <p:grpSpPr>
          <a:xfrm>
            <a:off x="1284212" y="1963766"/>
            <a:ext cx="379489" cy="366046"/>
            <a:chOff x="1284212" y="1963766"/>
            <a:chExt cx="379489" cy="366046"/>
          </a:xfrm>
        </p:grpSpPr>
        <p:sp>
          <p:nvSpPr>
            <p:cNvPr id="10346" name="Google Shape;10346;p59"/>
            <p:cNvSpPr/>
            <p:nvPr/>
          </p:nvSpPr>
          <p:spPr>
            <a:xfrm>
              <a:off x="1436861" y="2112975"/>
              <a:ext cx="69444" cy="68902"/>
            </a:xfrm>
            <a:custGeom>
              <a:avLst/>
              <a:gdLst/>
              <a:ahLst/>
              <a:cxnLst/>
              <a:rect l="l" t="t" r="r" b="b"/>
              <a:pathLst>
                <a:path w="2180" h="2163" extrusionOk="0">
                  <a:moveTo>
                    <a:pt x="1086" y="1"/>
                  </a:moveTo>
                  <a:cubicBezTo>
                    <a:pt x="526" y="1"/>
                    <a:pt x="0" y="443"/>
                    <a:pt x="0" y="1079"/>
                  </a:cubicBezTo>
                  <a:cubicBezTo>
                    <a:pt x="0" y="1675"/>
                    <a:pt x="501" y="2163"/>
                    <a:pt x="1096" y="2163"/>
                  </a:cubicBezTo>
                  <a:cubicBezTo>
                    <a:pt x="1703" y="2163"/>
                    <a:pt x="2179" y="1675"/>
                    <a:pt x="2179" y="1079"/>
                  </a:cubicBezTo>
                  <a:cubicBezTo>
                    <a:pt x="2144" y="1020"/>
                    <a:pt x="2144" y="960"/>
                    <a:pt x="2132" y="889"/>
                  </a:cubicBezTo>
                  <a:cubicBezTo>
                    <a:pt x="2121" y="802"/>
                    <a:pt x="2040" y="744"/>
                    <a:pt x="1963" y="744"/>
                  </a:cubicBezTo>
                  <a:cubicBezTo>
                    <a:pt x="1955" y="744"/>
                    <a:pt x="1948" y="745"/>
                    <a:pt x="1941" y="746"/>
                  </a:cubicBezTo>
                  <a:cubicBezTo>
                    <a:pt x="1846" y="770"/>
                    <a:pt x="1786" y="853"/>
                    <a:pt x="1810" y="948"/>
                  </a:cubicBezTo>
                  <a:cubicBezTo>
                    <a:pt x="1883" y="1428"/>
                    <a:pt x="1488" y="1811"/>
                    <a:pt x="1059" y="1811"/>
                  </a:cubicBezTo>
                  <a:cubicBezTo>
                    <a:pt x="923" y="1811"/>
                    <a:pt x="784" y="1772"/>
                    <a:pt x="655" y="1687"/>
                  </a:cubicBezTo>
                  <a:cubicBezTo>
                    <a:pt x="48" y="1282"/>
                    <a:pt x="346" y="329"/>
                    <a:pt x="1072" y="329"/>
                  </a:cubicBezTo>
                  <a:cubicBezTo>
                    <a:pt x="1239" y="329"/>
                    <a:pt x="1405" y="389"/>
                    <a:pt x="1536" y="496"/>
                  </a:cubicBezTo>
                  <a:cubicBezTo>
                    <a:pt x="1567" y="522"/>
                    <a:pt x="1605" y="534"/>
                    <a:pt x="1642" y="534"/>
                  </a:cubicBezTo>
                  <a:cubicBezTo>
                    <a:pt x="1692" y="534"/>
                    <a:pt x="1741" y="513"/>
                    <a:pt x="1774" y="472"/>
                  </a:cubicBezTo>
                  <a:cubicBezTo>
                    <a:pt x="1834" y="389"/>
                    <a:pt x="1822" y="294"/>
                    <a:pt x="1751" y="234"/>
                  </a:cubicBezTo>
                  <a:cubicBezTo>
                    <a:pt x="1545" y="73"/>
                    <a:pt x="1313" y="1"/>
                    <a:pt x="10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7" name="Google Shape;10347;p59"/>
            <p:cNvSpPr/>
            <p:nvPr/>
          </p:nvSpPr>
          <p:spPr>
            <a:xfrm>
              <a:off x="1284212" y="1963766"/>
              <a:ext cx="379489" cy="366046"/>
            </a:xfrm>
            <a:custGeom>
              <a:avLst/>
              <a:gdLst/>
              <a:ahLst/>
              <a:cxnLst/>
              <a:rect l="l" t="t" r="r" b="b"/>
              <a:pathLst>
                <a:path w="11913" h="11491" extrusionOk="0">
                  <a:moveTo>
                    <a:pt x="1031" y="2185"/>
                  </a:moveTo>
                  <a:cubicBezTo>
                    <a:pt x="1151" y="2185"/>
                    <a:pt x="1275" y="2224"/>
                    <a:pt x="1387" y="2311"/>
                  </a:cubicBezTo>
                  <a:cubicBezTo>
                    <a:pt x="1625" y="2489"/>
                    <a:pt x="1673" y="2834"/>
                    <a:pt x="1506" y="3084"/>
                  </a:cubicBezTo>
                  <a:cubicBezTo>
                    <a:pt x="1389" y="3256"/>
                    <a:pt x="1207" y="3337"/>
                    <a:pt x="1026" y="3337"/>
                  </a:cubicBezTo>
                  <a:cubicBezTo>
                    <a:pt x="767" y="3337"/>
                    <a:pt x="510" y="3171"/>
                    <a:pt x="447" y="2870"/>
                  </a:cubicBezTo>
                  <a:cubicBezTo>
                    <a:pt x="376" y="2492"/>
                    <a:pt x="689" y="2185"/>
                    <a:pt x="1031" y="2185"/>
                  </a:cubicBezTo>
                  <a:close/>
                  <a:moveTo>
                    <a:pt x="4269" y="3025"/>
                  </a:moveTo>
                  <a:cubicBezTo>
                    <a:pt x="4364" y="3073"/>
                    <a:pt x="5435" y="3680"/>
                    <a:pt x="5519" y="3739"/>
                  </a:cubicBezTo>
                  <a:lnTo>
                    <a:pt x="4269" y="4454"/>
                  </a:lnTo>
                  <a:lnTo>
                    <a:pt x="4269" y="3025"/>
                  </a:lnTo>
                  <a:close/>
                  <a:moveTo>
                    <a:pt x="7448" y="3025"/>
                  </a:moveTo>
                  <a:lnTo>
                    <a:pt x="7448" y="4454"/>
                  </a:lnTo>
                  <a:lnTo>
                    <a:pt x="6197" y="3739"/>
                  </a:lnTo>
                  <a:lnTo>
                    <a:pt x="7448" y="3025"/>
                  </a:lnTo>
                  <a:close/>
                  <a:moveTo>
                    <a:pt x="2550" y="2268"/>
                  </a:moveTo>
                  <a:cubicBezTo>
                    <a:pt x="2817" y="2268"/>
                    <a:pt x="3085" y="2336"/>
                    <a:pt x="3328" y="2477"/>
                  </a:cubicBezTo>
                  <a:cubicBezTo>
                    <a:pt x="3697" y="2692"/>
                    <a:pt x="3566" y="2608"/>
                    <a:pt x="3935" y="2811"/>
                  </a:cubicBezTo>
                  <a:lnTo>
                    <a:pt x="3935" y="4644"/>
                  </a:lnTo>
                  <a:lnTo>
                    <a:pt x="2328" y="5573"/>
                  </a:lnTo>
                  <a:lnTo>
                    <a:pt x="1744" y="5240"/>
                  </a:lnTo>
                  <a:cubicBezTo>
                    <a:pt x="1375" y="5037"/>
                    <a:pt x="1125" y="4692"/>
                    <a:pt x="1006" y="4275"/>
                  </a:cubicBezTo>
                  <a:cubicBezTo>
                    <a:pt x="947" y="4085"/>
                    <a:pt x="923" y="3870"/>
                    <a:pt x="959" y="3680"/>
                  </a:cubicBezTo>
                  <a:lnTo>
                    <a:pt x="959" y="3680"/>
                  </a:lnTo>
                  <a:cubicBezTo>
                    <a:pt x="981" y="3681"/>
                    <a:pt x="1003" y="3682"/>
                    <a:pt x="1025" y="3682"/>
                  </a:cubicBezTo>
                  <a:cubicBezTo>
                    <a:pt x="1659" y="3682"/>
                    <a:pt x="2129" y="3028"/>
                    <a:pt x="1875" y="2418"/>
                  </a:cubicBezTo>
                  <a:cubicBezTo>
                    <a:pt x="2090" y="2319"/>
                    <a:pt x="2320" y="2268"/>
                    <a:pt x="2550" y="2268"/>
                  </a:cubicBezTo>
                  <a:close/>
                  <a:moveTo>
                    <a:pt x="9186" y="2275"/>
                  </a:moveTo>
                  <a:cubicBezTo>
                    <a:pt x="10067" y="2275"/>
                    <a:pt x="10781" y="2977"/>
                    <a:pt x="10781" y="3858"/>
                  </a:cubicBezTo>
                  <a:cubicBezTo>
                    <a:pt x="10781" y="4418"/>
                    <a:pt x="10460" y="4954"/>
                    <a:pt x="9972" y="5240"/>
                  </a:cubicBezTo>
                  <a:lnTo>
                    <a:pt x="9400" y="5573"/>
                  </a:lnTo>
                  <a:cubicBezTo>
                    <a:pt x="9186" y="5454"/>
                    <a:pt x="7983" y="4751"/>
                    <a:pt x="7793" y="4644"/>
                  </a:cubicBezTo>
                  <a:lnTo>
                    <a:pt x="7793" y="2834"/>
                  </a:lnTo>
                  <a:cubicBezTo>
                    <a:pt x="8245" y="2596"/>
                    <a:pt x="8567" y="2275"/>
                    <a:pt x="9186" y="2275"/>
                  </a:cubicBezTo>
                  <a:close/>
                  <a:moveTo>
                    <a:pt x="3935" y="5013"/>
                  </a:moveTo>
                  <a:lnTo>
                    <a:pt x="3935" y="6478"/>
                  </a:lnTo>
                  <a:lnTo>
                    <a:pt x="2673" y="5751"/>
                  </a:lnTo>
                  <a:lnTo>
                    <a:pt x="3935" y="5013"/>
                  </a:lnTo>
                  <a:close/>
                  <a:moveTo>
                    <a:pt x="7793" y="5037"/>
                  </a:moveTo>
                  <a:cubicBezTo>
                    <a:pt x="7948" y="5120"/>
                    <a:pt x="8900" y="5668"/>
                    <a:pt x="9055" y="5763"/>
                  </a:cubicBezTo>
                  <a:lnTo>
                    <a:pt x="7793" y="6490"/>
                  </a:lnTo>
                  <a:lnTo>
                    <a:pt x="7793" y="5037"/>
                  </a:lnTo>
                  <a:close/>
                  <a:moveTo>
                    <a:pt x="5852" y="3918"/>
                  </a:moveTo>
                  <a:lnTo>
                    <a:pt x="7448" y="4823"/>
                  </a:lnTo>
                  <a:lnTo>
                    <a:pt x="7448" y="6668"/>
                  </a:lnTo>
                  <a:lnTo>
                    <a:pt x="5852" y="7573"/>
                  </a:lnTo>
                  <a:lnTo>
                    <a:pt x="4257" y="6668"/>
                  </a:lnTo>
                  <a:lnTo>
                    <a:pt x="4257" y="4823"/>
                  </a:lnTo>
                  <a:lnTo>
                    <a:pt x="5852" y="3918"/>
                  </a:lnTo>
                  <a:close/>
                  <a:moveTo>
                    <a:pt x="7448" y="7061"/>
                  </a:moveTo>
                  <a:lnTo>
                    <a:pt x="7448" y="8490"/>
                  </a:lnTo>
                  <a:cubicBezTo>
                    <a:pt x="7352" y="8442"/>
                    <a:pt x="6281" y="7835"/>
                    <a:pt x="6197" y="7776"/>
                  </a:cubicBezTo>
                  <a:lnTo>
                    <a:pt x="7448" y="7061"/>
                  </a:lnTo>
                  <a:close/>
                  <a:moveTo>
                    <a:pt x="4269" y="7073"/>
                  </a:moveTo>
                  <a:lnTo>
                    <a:pt x="5519" y="7787"/>
                  </a:lnTo>
                  <a:lnTo>
                    <a:pt x="4269" y="8502"/>
                  </a:lnTo>
                  <a:lnTo>
                    <a:pt x="4269" y="7073"/>
                  </a:lnTo>
                  <a:close/>
                  <a:moveTo>
                    <a:pt x="9376" y="5954"/>
                  </a:moveTo>
                  <a:lnTo>
                    <a:pt x="9960" y="6287"/>
                  </a:lnTo>
                  <a:cubicBezTo>
                    <a:pt x="10329" y="6490"/>
                    <a:pt x="10579" y="6835"/>
                    <a:pt x="10710" y="7252"/>
                  </a:cubicBezTo>
                  <a:cubicBezTo>
                    <a:pt x="10746" y="7430"/>
                    <a:pt x="10757" y="7609"/>
                    <a:pt x="10757" y="7787"/>
                  </a:cubicBezTo>
                  <a:cubicBezTo>
                    <a:pt x="10736" y="7786"/>
                    <a:pt x="10714" y="7785"/>
                    <a:pt x="10693" y="7785"/>
                  </a:cubicBezTo>
                  <a:cubicBezTo>
                    <a:pt x="10049" y="7785"/>
                    <a:pt x="9612" y="8474"/>
                    <a:pt x="9888" y="9085"/>
                  </a:cubicBezTo>
                  <a:cubicBezTo>
                    <a:pt x="9662" y="9190"/>
                    <a:pt x="9412" y="9249"/>
                    <a:pt x="9161" y="9249"/>
                  </a:cubicBezTo>
                  <a:cubicBezTo>
                    <a:pt x="8898" y="9249"/>
                    <a:pt x="8632" y="9184"/>
                    <a:pt x="8388" y="9038"/>
                  </a:cubicBezTo>
                  <a:cubicBezTo>
                    <a:pt x="8007" y="8811"/>
                    <a:pt x="8138" y="8907"/>
                    <a:pt x="7769" y="8692"/>
                  </a:cubicBezTo>
                  <a:lnTo>
                    <a:pt x="7769" y="6883"/>
                  </a:lnTo>
                  <a:lnTo>
                    <a:pt x="9376" y="5954"/>
                  </a:lnTo>
                  <a:close/>
                  <a:moveTo>
                    <a:pt x="10731" y="8111"/>
                  </a:moveTo>
                  <a:cubicBezTo>
                    <a:pt x="10841" y="8111"/>
                    <a:pt x="10950" y="8142"/>
                    <a:pt x="11043" y="8204"/>
                  </a:cubicBezTo>
                  <a:cubicBezTo>
                    <a:pt x="11484" y="8502"/>
                    <a:pt x="11329" y="9157"/>
                    <a:pt x="10841" y="9264"/>
                  </a:cubicBezTo>
                  <a:cubicBezTo>
                    <a:pt x="10802" y="9271"/>
                    <a:pt x="10764" y="9275"/>
                    <a:pt x="10726" y="9275"/>
                  </a:cubicBezTo>
                  <a:cubicBezTo>
                    <a:pt x="10276" y="9275"/>
                    <a:pt x="9982" y="8767"/>
                    <a:pt x="10246" y="8371"/>
                  </a:cubicBezTo>
                  <a:cubicBezTo>
                    <a:pt x="10358" y="8199"/>
                    <a:pt x="10545" y="8111"/>
                    <a:pt x="10731" y="8111"/>
                  </a:cubicBezTo>
                  <a:close/>
                  <a:moveTo>
                    <a:pt x="5852" y="7978"/>
                  </a:moveTo>
                  <a:cubicBezTo>
                    <a:pt x="6043" y="8097"/>
                    <a:pt x="7233" y="8764"/>
                    <a:pt x="7448" y="8883"/>
                  </a:cubicBezTo>
                  <a:lnTo>
                    <a:pt x="7448" y="9585"/>
                  </a:lnTo>
                  <a:cubicBezTo>
                    <a:pt x="7448" y="10466"/>
                    <a:pt x="6733" y="11181"/>
                    <a:pt x="5852" y="11181"/>
                  </a:cubicBezTo>
                  <a:cubicBezTo>
                    <a:pt x="4971" y="11181"/>
                    <a:pt x="4257" y="10466"/>
                    <a:pt x="4257" y="9585"/>
                  </a:cubicBezTo>
                  <a:lnTo>
                    <a:pt x="4257" y="8883"/>
                  </a:lnTo>
                  <a:lnTo>
                    <a:pt x="5852" y="7978"/>
                  </a:lnTo>
                  <a:close/>
                  <a:moveTo>
                    <a:pt x="5852" y="1"/>
                  </a:moveTo>
                  <a:cubicBezTo>
                    <a:pt x="4792" y="1"/>
                    <a:pt x="3935" y="870"/>
                    <a:pt x="3935" y="1918"/>
                  </a:cubicBezTo>
                  <a:lnTo>
                    <a:pt x="3935" y="2430"/>
                  </a:lnTo>
                  <a:cubicBezTo>
                    <a:pt x="3649" y="2263"/>
                    <a:pt x="3757" y="2322"/>
                    <a:pt x="3483" y="2180"/>
                  </a:cubicBezTo>
                  <a:cubicBezTo>
                    <a:pt x="3183" y="2005"/>
                    <a:pt x="2854" y="1922"/>
                    <a:pt x="2529" y="1922"/>
                  </a:cubicBezTo>
                  <a:cubicBezTo>
                    <a:pt x="2235" y="1922"/>
                    <a:pt x="1945" y="1990"/>
                    <a:pt x="1685" y="2120"/>
                  </a:cubicBezTo>
                  <a:cubicBezTo>
                    <a:pt x="1491" y="1915"/>
                    <a:pt x="1256" y="1827"/>
                    <a:pt x="1027" y="1827"/>
                  </a:cubicBezTo>
                  <a:cubicBezTo>
                    <a:pt x="497" y="1827"/>
                    <a:pt x="0" y="2303"/>
                    <a:pt x="125" y="2918"/>
                  </a:cubicBezTo>
                  <a:cubicBezTo>
                    <a:pt x="185" y="3215"/>
                    <a:pt x="375" y="3454"/>
                    <a:pt x="625" y="3573"/>
                  </a:cubicBezTo>
                  <a:cubicBezTo>
                    <a:pt x="530" y="4335"/>
                    <a:pt x="887" y="5109"/>
                    <a:pt x="1578" y="5501"/>
                  </a:cubicBezTo>
                  <a:cubicBezTo>
                    <a:pt x="1816" y="5644"/>
                    <a:pt x="1744" y="5597"/>
                    <a:pt x="1983" y="5728"/>
                  </a:cubicBezTo>
                  <a:lnTo>
                    <a:pt x="1578" y="5954"/>
                  </a:lnTo>
                  <a:cubicBezTo>
                    <a:pt x="982" y="6299"/>
                    <a:pt x="613" y="6942"/>
                    <a:pt x="613" y="7633"/>
                  </a:cubicBezTo>
                  <a:cubicBezTo>
                    <a:pt x="613" y="8633"/>
                    <a:pt x="1375" y="9466"/>
                    <a:pt x="2375" y="9538"/>
                  </a:cubicBezTo>
                  <a:lnTo>
                    <a:pt x="2387" y="9538"/>
                  </a:lnTo>
                  <a:cubicBezTo>
                    <a:pt x="2471" y="9538"/>
                    <a:pt x="2554" y="9478"/>
                    <a:pt x="2554" y="9395"/>
                  </a:cubicBezTo>
                  <a:cubicBezTo>
                    <a:pt x="2566" y="9300"/>
                    <a:pt x="2495" y="9216"/>
                    <a:pt x="2399" y="9216"/>
                  </a:cubicBezTo>
                  <a:cubicBezTo>
                    <a:pt x="1578" y="9145"/>
                    <a:pt x="959" y="8454"/>
                    <a:pt x="959" y="7633"/>
                  </a:cubicBezTo>
                  <a:cubicBezTo>
                    <a:pt x="959" y="7073"/>
                    <a:pt x="1268" y="6537"/>
                    <a:pt x="1756" y="6252"/>
                  </a:cubicBezTo>
                  <a:lnTo>
                    <a:pt x="2340" y="5918"/>
                  </a:lnTo>
                  <a:lnTo>
                    <a:pt x="3947" y="6847"/>
                  </a:lnTo>
                  <a:lnTo>
                    <a:pt x="3947" y="8657"/>
                  </a:lnTo>
                  <a:cubicBezTo>
                    <a:pt x="3411" y="8954"/>
                    <a:pt x="3280" y="9061"/>
                    <a:pt x="3030" y="9157"/>
                  </a:cubicBezTo>
                  <a:cubicBezTo>
                    <a:pt x="2935" y="9180"/>
                    <a:pt x="2887" y="9276"/>
                    <a:pt x="2911" y="9359"/>
                  </a:cubicBezTo>
                  <a:cubicBezTo>
                    <a:pt x="2932" y="9443"/>
                    <a:pt x="3008" y="9480"/>
                    <a:pt x="3082" y="9480"/>
                  </a:cubicBezTo>
                  <a:cubicBezTo>
                    <a:pt x="3093" y="9480"/>
                    <a:pt x="3103" y="9480"/>
                    <a:pt x="3114" y="9478"/>
                  </a:cubicBezTo>
                  <a:cubicBezTo>
                    <a:pt x="3423" y="9395"/>
                    <a:pt x="3578" y="9252"/>
                    <a:pt x="3947" y="9061"/>
                  </a:cubicBezTo>
                  <a:lnTo>
                    <a:pt x="3947" y="9573"/>
                  </a:lnTo>
                  <a:cubicBezTo>
                    <a:pt x="3947" y="10621"/>
                    <a:pt x="4816" y="11490"/>
                    <a:pt x="5864" y="11490"/>
                  </a:cubicBezTo>
                  <a:cubicBezTo>
                    <a:pt x="6924" y="11490"/>
                    <a:pt x="7793" y="10621"/>
                    <a:pt x="7793" y="9573"/>
                  </a:cubicBezTo>
                  <a:lnTo>
                    <a:pt x="7793" y="9085"/>
                  </a:lnTo>
                  <a:cubicBezTo>
                    <a:pt x="8269" y="9347"/>
                    <a:pt x="8591" y="9585"/>
                    <a:pt x="9186" y="9585"/>
                  </a:cubicBezTo>
                  <a:cubicBezTo>
                    <a:pt x="9495" y="9585"/>
                    <a:pt x="9829" y="9514"/>
                    <a:pt x="10115" y="9359"/>
                  </a:cubicBezTo>
                  <a:cubicBezTo>
                    <a:pt x="10277" y="9521"/>
                    <a:pt x="10500" y="9615"/>
                    <a:pt x="10736" y="9615"/>
                  </a:cubicBezTo>
                  <a:cubicBezTo>
                    <a:pt x="10794" y="9615"/>
                    <a:pt x="10853" y="9609"/>
                    <a:pt x="10912" y="9597"/>
                  </a:cubicBezTo>
                  <a:cubicBezTo>
                    <a:pt x="11781" y="9419"/>
                    <a:pt x="11912" y="8216"/>
                    <a:pt x="11091" y="7847"/>
                  </a:cubicBezTo>
                  <a:cubicBezTo>
                    <a:pt x="11162" y="7121"/>
                    <a:pt x="10805" y="6371"/>
                    <a:pt x="10138" y="5990"/>
                  </a:cubicBezTo>
                  <a:cubicBezTo>
                    <a:pt x="9900" y="5847"/>
                    <a:pt x="9972" y="5894"/>
                    <a:pt x="9734" y="5763"/>
                  </a:cubicBezTo>
                  <a:lnTo>
                    <a:pt x="10138" y="5537"/>
                  </a:lnTo>
                  <a:cubicBezTo>
                    <a:pt x="11067" y="5013"/>
                    <a:pt x="11377" y="3823"/>
                    <a:pt x="10853" y="2906"/>
                  </a:cubicBezTo>
                  <a:cubicBezTo>
                    <a:pt x="10507" y="2311"/>
                    <a:pt x="9876" y="1941"/>
                    <a:pt x="9174" y="1941"/>
                  </a:cubicBezTo>
                  <a:cubicBezTo>
                    <a:pt x="8471" y="1941"/>
                    <a:pt x="8067" y="2311"/>
                    <a:pt x="7769" y="2442"/>
                  </a:cubicBezTo>
                  <a:cubicBezTo>
                    <a:pt x="7757" y="2025"/>
                    <a:pt x="7805" y="1834"/>
                    <a:pt x="7733" y="1525"/>
                  </a:cubicBezTo>
                  <a:cubicBezTo>
                    <a:pt x="7711" y="1438"/>
                    <a:pt x="7640" y="1380"/>
                    <a:pt x="7546" y="1380"/>
                  </a:cubicBezTo>
                  <a:cubicBezTo>
                    <a:pt x="7537" y="1380"/>
                    <a:pt x="7528" y="1381"/>
                    <a:pt x="7519" y="1382"/>
                  </a:cubicBezTo>
                  <a:cubicBezTo>
                    <a:pt x="7436" y="1406"/>
                    <a:pt x="7376" y="1489"/>
                    <a:pt x="7388" y="1596"/>
                  </a:cubicBezTo>
                  <a:cubicBezTo>
                    <a:pt x="7448" y="1858"/>
                    <a:pt x="7412" y="2013"/>
                    <a:pt x="7436" y="2632"/>
                  </a:cubicBezTo>
                  <a:lnTo>
                    <a:pt x="5840" y="3549"/>
                  </a:lnTo>
                  <a:lnTo>
                    <a:pt x="4245" y="2632"/>
                  </a:lnTo>
                  <a:lnTo>
                    <a:pt x="4245" y="1941"/>
                  </a:lnTo>
                  <a:cubicBezTo>
                    <a:pt x="4245" y="1060"/>
                    <a:pt x="4959" y="346"/>
                    <a:pt x="5840" y="346"/>
                  </a:cubicBezTo>
                  <a:cubicBezTo>
                    <a:pt x="6364" y="346"/>
                    <a:pt x="6840" y="596"/>
                    <a:pt x="7150" y="1025"/>
                  </a:cubicBezTo>
                  <a:cubicBezTo>
                    <a:pt x="7186" y="1076"/>
                    <a:pt x="7241" y="1100"/>
                    <a:pt x="7294" y="1100"/>
                  </a:cubicBezTo>
                  <a:cubicBezTo>
                    <a:pt x="7328" y="1100"/>
                    <a:pt x="7360" y="1091"/>
                    <a:pt x="7388" y="1072"/>
                  </a:cubicBezTo>
                  <a:cubicBezTo>
                    <a:pt x="7459" y="1013"/>
                    <a:pt x="7471" y="906"/>
                    <a:pt x="7436" y="834"/>
                  </a:cubicBezTo>
                  <a:cubicBezTo>
                    <a:pt x="7078" y="310"/>
                    <a:pt x="6483" y="1"/>
                    <a:pt x="58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8" name="Google Shape;10348;p59"/>
          <p:cNvGrpSpPr/>
          <p:nvPr/>
        </p:nvGrpSpPr>
        <p:grpSpPr>
          <a:xfrm>
            <a:off x="3037766" y="1969564"/>
            <a:ext cx="370219" cy="354928"/>
            <a:chOff x="3037766" y="1969564"/>
            <a:chExt cx="370219" cy="354928"/>
          </a:xfrm>
        </p:grpSpPr>
        <p:sp>
          <p:nvSpPr>
            <p:cNvPr id="10349" name="Google Shape;10349;p59"/>
            <p:cNvSpPr/>
            <p:nvPr/>
          </p:nvSpPr>
          <p:spPr>
            <a:xfrm>
              <a:off x="3037766" y="1969564"/>
              <a:ext cx="370219" cy="354928"/>
            </a:xfrm>
            <a:custGeom>
              <a:avLst/>
              <a:gdLst/>
              <a:ahLst/>
              <a:cxnLst/>
              <a:rect l="l" t="t" r="r" b="b"/>
              <a:pathLst>
                <a:path w="11622" h="11142" extrusionOk="0">
                  <a:moveTo>
                    <a:pt x="5609" y="366"/>
                  </a:moveTo>
                  <a:lnTo>
                    <a:pt x="7299" y="2069"/>
                  </a:lnTo>
                  <a:lnTo>
                    <a:pt x="6180" y="3188"/>
                  </a:lnTo>
                  <a:lnTo>
                    <a:pt x="4489" y="1486"/>
                  </a:lnTo>
                  <a:lnTo>
                    <a:pt x="5609" y="366"/>
                  </a:lnTo>
                  <a:close/>
                  <a:moveTo>
                    <a:pt x="4263" y="1700"/>
                  </a:moveTo>
                  <a:lnTo>
                    <a:pt x="5954" y="3391"/>
                  </a:lnTo>
                  <a:lnTo>
                    <a:pt x="3596" y="5772"/>
                  </a:lnTo>
                  <a:cubicBezTo>
                    <a:pt x="2989" y="6379"/>
                    <a:pt x="2989" y="7379"/>
                    <a:pt x="3596" y="7986"/>
                  </a:cubicBezTo>
                  <a:cubicBezTo>
                    <a:pt x="3900" y="8296"/>
                    <a:pt x="4302" y="8451"/>
                    <a:pt x="4704" y="8451"/>
                  </a:cubicBezTo>
                  <a:cubicBezTo>
                    <a:pt x="5106" y="8451"/>
                    <a:pt x="5507" y="8296"/>
                    <a:pt x="5811" y="7986"/>
                  </a:cubicBezTo>
                  <a:lnTo>
                    <a:pt x="8180" y="5629"/>
                  </a:lnTo>
                  <a:lnTo>
                    <a:pt x="9097" y="6546"/>
                  </a:lnTo>
                  <a:cubicBezTo>
                    <a:pt x="9127" y="6576"/>
                    <a:pt x="9169" y="6590"/>
                    <a:pt x="9210" y="6590"/>
                  </a:cubicBezTo>
                  <a:cubicBezTo>
                    <a:pt x="9252" y="6590"/>
                    <a:pt x="9294" y="6576"/>
                    <a:pt x="9323" y="6546"/>
                  </a:cubicBezTo>
                  <a:cubicBezTo>
                    <a:pt x="9383" y="6486"/>
                    <a:pt x="9383" y="6379"/>
                    <a:pt x="9323" y="6320"/>
                  </a:cubicBezTo>
                  <a:lnTo>
                    <a:pt x="8407" y="5403"/>
                  </a:lnTo>
                  <a:lnTo>
                    <a:pt x="9514" y="4284"/>
                  </a:lnTo>
                  <a:lnTo>
                    <a:pt x="11216" y="5986"/>
                  </a:lnTo>
                  <a:lnTo>
                    <a:pt x="10097" y="7093"/>
                  </a:lnTo>
                  <a:lnTo>
                    <a:pt x="9776" y="6772"/>
                  </a:lnTo>
                  <a:cubicBezTo>
                    <a:pt x="9746" y="6742"/>
                    <a:pt x="9704" y="6727"/>
                    <a:pt x="9663" y="6727"/>
                  </a:cubicBezTo>
                  <a:cubicBezTo>
                    <a:pt x="9621" y="6727"/>
                    <a:pt x="9579" y="6742"/>
                    <a:pt x="9550" y="6772"/>
                  </a:cubicBezTo>
                  <a:cubicBezTo>
                    <a:pt x="9490" y="6832"/>
                    <a:pt x="9490" y="6939"/>
                    <a:pt x="9550" y="6998"/>
                  </a:cubicBezTo>
                  <a:lnTo>
                    <a:pt x="9871" y="7320"/>
                  </a:lnTo>
                  <a:lnTo>
                    <a:pt x="7514" y="9689"/>
                  </a:lnTo>
                  <a:cubicBezTo>
                    <a:pt x="6746" y="10463"/>
                    <a:pt x="5728" y="10850"/>
                    <a:pt x="4708" y="10850"/>
                  </a:cubicBezTo>
                  <a:cubicBezTo>
                    <a:pt x="3689" y="10850"/>
                    <a:pt x="2668" y="10463"/>
                    <a:pt x="1894" y="9689"/>
                  </a:cubicBezTo>
                  <a:cubicBezTo>
                    <a:pt x="346" y="8141"/>
                    <a:pt x="346" y="5605"/>
                    <a:pt x="1894" y="4057"/>
                  </a:cubicBezTo>
                  <a:lnTo>
                    <a:pt x="4263" y="1700"/>
                  </a:lnTo>
                  <a:close/>
                  <a:moveTo>
                    <a:pt x="5615" y="0"/>
                  </a:moveTo>
                  <a:cubicBezTo>
                    <a:pt x="5573" y="0"/>
                    <a:pt x="5531" y="15"/>
                    <a:pt x="5501" y="45"/>
                  </a:cubicBezTo>
                  <a:lnTo>
                    <a:pt x="1668" y="3843"/>
                  </a:lnTo>
                  <a:cubicBezTo>
                    <a:pt x="1" y="5510"/>
                    <a:pt x="1" y="8225"/>
                    <a:pt x="1668" y="9891"/>
                  </a:cubicBezTo>
                  <a:cubicBezTo>
                    <a:pt x="2507" y="10725"/>
                    <a:pt x="3605" y="11142"/>
                    <a:pt x="4702" y="11142"/>
                  </a:cubicBezTo>
                  <a:cubicBezTo>
                    <a:pt x="5799" y="11142"/>
                    <a:pt x="6894" y="10725"/>
                    <a:pt x="7728" y="9891"/>
                  </a:cubicBezTo>
                  <a:lnTo>
                    <a:pt x="11538" y="6081"/>
                  </a:lnTo>
                  <a:cubicBezTo>
                    <a:pt x="11621" y="6046"/>
                    <a:pt x="11621" y="5939"/>
                    <a:pt x="11562" y="5879"/>
                  </a:cubicBezTo>
                  <a:lnTo>
                    <a:pt x="9633" y="3962"/>
                  </a:lnTo>
                  <a:cubicBezTo>
                    <a:pt x="9603" y="3932"/>
                    <a:pt x="9564" y="3917"/>
                    <a:pt x="9526" y="3917"/>
                  </a:cubicBezTo>
                  <a:cubicBezTo>
                    <a:pt x="9487" y="3917"/>
                    <a:pt x="9448" y="3932"/>
                    <a:pt x="9419" y="3962"/>
                  </a:cubicBezTo>
                  <a:lnTo>
                    <a:pt x="5609" y="7772"/>
                  </a:lnTo>
                  <a:cubicBezTo>
                    <a:pt x="5359" y="8016"/>
                    <a:pt x="5037" y="8138"/>
                    <a:pt x="4717" y="8138"/>
                  </a:cubicBezTo>
                  <a:cubicBezTo>
                    <a:pt x="4397" y="8138"/>
                    <a:pt x="4079" y="8016"/>
                    <a:pt x="3835" y="7772"/>
                  </a:cubicBezTo>
                  <a:cubicBezTo>
                    <a:pt x="3346" y="7272"/>
                    <a:pt x="3346" y="6486"/>
                    <a:pt x="3835" y="5998"/>
                  </a:cubicBezTo>
                  <a:lnTo>
                    <a:pt x="7645" y="2188"/>
                  </a:lnTo>
                  <a:cubicBezTo>
                    <a:pt x="7704" y="2129"/>
                    <a:pt x="7704" y="2021"/>
                    <a:pt x="7645" y="1962"/>
                  </a:cubicBezTo>
                  <a:lnTo>
                    <a:pt x="5728" y="45"/>
                  </a:lnTo>
                  <a:cubicBezTo>
                    <a:pt x="5698" y="15"/>
                    <a:pt x="5656" y="0"/>
                    <a:pt x="56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0" name="Google Shape;10350;p59"/>
            <p:cNvSpPr/>
            <p:nvPr/>
          </p:nvSpPr>
          <p:spPr>
            <a:xfrm>
              <a:off x="3081757" y="2197136"/>
              <a:ext cx="11436" cy="10448"/>
            </a:xfrm>
            <a:custGeom>
              <a:avLst/>
              <a:gdLst/>
              <a:ahLst/>
              <a:cxnLst/>
              <a:rect l="l" t="t" r="r" b="b"/>
              <a:pathLst>
                <a:path w="359" h="328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16"/>
                    <a:pt x="1" y="211"/>
                    <a:pt x="60" y="283"/>
                  </a:cubicBezTo>
                  <a:cubicBezTo>
                    <a:pt x="90" y="313"/>
                    <a:pt x="132" y="327"/>
                    <a:pt x="173" y="327"/>
                  </a:cubicBezTo>
                  <a:cubicBezTo>
                    <a:pt x="215" y="327"/>
                    <a:pt x="257" y="313"/>
                    <a:pt x="287" y="283"/>
                  </a:cubicBezTo>
                  <a:cubicBezTo>
                    <a:pt x="358" y="211"/>
                    <a:pt x="358" y="116"/>
                    <a:pt x="287" y="45"/>
                  </a:cubicBez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1" name="Google Shape;10351;p59"/>
            <p:cNvSpPr/>
            <p:nvPr/>
          </p:nvSpPr>
          <p:spPr>
            <a:xfrm>
              <a:off x="3081375" y="2168689"/>
              <a:ext cx="11436" cy="10448"/>
            </a:xfrm>
            <a:custGeom>
              <a:avLst/>
              <a:gdLst/>
              <a:ahLst/>
              <a:cxnLst/>
              <a:rect l="l" t="t" r="r" b="b"/>
              <a:pathLst>
                <a:path w="359" h="328" extrusionOk="0">
                  <a:moveTo>
                    <a:pt x="185" y="0"/>
                  </a:moveTo>
                  <a:cubicBezTo>
                    <a:pt x="144" y="0"/>
                    <a:pt x="102" y="15"/>
                    <a:pt x="72" y="45"/>
                  </a:cubicBezTo>
                  <a:cubicBezTo>
                    <a:pt x="1" y="116"/>
                    <a:pt x="1" y="223"/>
                    <a:pt x="72" y="283"/>
                  </a:cubicBezTo>
                  <a:cubicBezTo>
                    <a:pt x="102" y="313"/>
                    <a:pt x="144" y="328"/>
                    <a:pt x="185" y="328"/>
                  </a:cubicBezTo>
                  <a:cubicBezTo>
                    <a:pt x="227" y="328"/>
                    <a:pt x="269" y="313"/>
                    <a:pt x="299" y="283"/>
                  </a:cubicBezTo>
                  <a:cubicBezTo>
                    <a:pt x="358" y="223"/>
                    <a:pt x="358" y="116"/>
                    <a:pt x="299" y="45"/>
                  </a:cubicBezTo>
                  <a:cubicBezTo>
                    <a:pt x="269" y="15"/>
                    <a:pt x="227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2" name="Google Shape;10352;p59"/>
            <p:cNvSpPr/>
            <p:nvPr/>
          </p:nvSpPr>
          <p:spPr>
            <a:xfrm>
              <a:off x="3298340" y="2210770"/>
              <a:ext cx="11404" cy="10480"/>
            </a:xfrm>
            <a:custGeom>
              <a:avLst/>
              <a:gdLst/>
              <a:ahLst/>
              <a:cxnLst/>
              <a:rect l="l" t="t" r="r" b="b"/>
              <a:pathLst>
                <a:path w="358" h="329" extrusionOk="0">
                  <a:moveTo>
                    <a:pt x="179" y="1"/>
                  </a:moveTo>
                  <a:cubicBezTo>
                    <a:pt x="137" y="1"/>
                    <a:pt x="96" y="16"/>
                    <a:pt x="60" y="45"/>
                  </a:cubicBezTo>
                  <a:cubicBezTo>
                    <a:pt x="0" y="117"/>
                    <a:pt x="0" y="212"/>
                    <a:pt x="60" y="283"/>
                  </a:cubicBezTo>
                  <a:cubicBezTo>
                    <a:pt x="96" y="313"/>
                    <a:pt x="137" y="328"/>
                    <a:pt x="179" y="328"/>
                  </a:cubicBezTo>
                  <a:cubicBezTo>
                    <a:pt x="221" y="328"/>
                    <a:pt x="262" y="313"/>
                    <a:pt x="298" y="283"/>
                  </a:cubicBezTo>
                  <a:cubicBezTo>
                    <a:pt x="358" y="212"/>
                    <a:pt x="358" y="117"/>
                    <a:pt x="298" y="45"/>
                  </a:cubicBezTo>
                  <a:cubicBezTo>
                    <a:pt x="262" y="16"/>
                    <a:pt x="221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53" name="Google Shape;10353;p59"/>
          <p:cNvGrpSpPr/>
          <p:nvPr/>
        </p:nvGrpSpPr>
        <p:grpSpPr>
          <a:xfrm>
            <a:off x="3982553" y="1971730"/>
            <a:ext cx="304566" cy="350501"/>
            <a:chOff x="3982553" y="1971730"/>
            <a:chExt cx="304566" cy="350501"/>
          </a:xfrm>
        </p:grpSpPr>
        <p:sp>
          <p:nvSpPr>
            <p:cNvPr id="10354" name="Google Shape;10354;p59"/>
            <p:cNvSpPr/>
            <p:nvPr/>
          </p:nvSpPr>
          <p:spPr>
            <a:xfrm>
              <a:off x="4037535" y="2176558"/>
              <a:ext cx="196513" cy="145673"/>
            </a:xfrm>
            <a:custGeom>
              <a:avLst/>
              <a:gdLst/>
              <a:ahLst/>
              <a:cxnLst/>
              <a:rect l="l" t="t" r="r" b="b"/>
              <a:pathLst>
                <a:path w="6169" h="4573" extrusionOk="0">
                  <a:moveTo>
                    <a:pt x="1441" y="322"/>
                  </a:moveTo>
                  <a:cubicBezTo>
                    <a:pt x="1584" y="322"/>
                    <a:pt x="1727" y="441"/>
                    <a:pt x="1727" y="595"/>
                  </a:cubicBezTo>
                  <a:lnTo>
                    <a:pt x="1727" y="4251"/>
                  </a:lnTo>
                  <a:lnTo>
                    <a:pt x="1167" y="4251"/>
                  </a:lnTo>
                  <a:lnTo>
                    <a:pt x="1167" y="595"/>
                  </a:lnTo>
                  <a:lnTo>
                    <a:pt x="1156" y="595"/>
                  </a:lnTo>
                  <a:cubicBezTo>
                    <a:pt x="1156" y="453"/>
                    <a:pt x="1275" y="322"/>
                    <a:pt x="1441" y="322"/>
                  </a:cubicBezTo>
                  <a:close/>
                  <a:moveTo>
                    <a:pt x="3061" y="322"/>
                  </a:moveTo>
                  <a:cubicBezTo>
                    <a:pt x="3227" y="322"/>
                    <a:pt x="3346" y="441"/>
                    <a:pt x="3346" y="595"/>
                  </a:cubicBezTo>
                  <a:lnTo>
                    <a:pt x="3346" y="4251"/>
                  </a:lnTo>
                  <a:lnTo>
                    <a:pt x="2799" y="4251"/>
                  </a:lnTo>
                  <a:lnTo>
                    <a:pt x="2799" y="595"/>
                  </a:lnTo>
                  <a:lnTo>
                    <a:pt x="2775" y="595"/>
                  </a:lnTo>
                  <a:cubicBezTo>
                    <a:pt x="2775" y="453"/>
                    <a:pt x="2894" y="322"/>
                    <a:pt x="3061" y="322"/>
                  </a:cubicBezTo>
                  <a:close/>
                  <a:moveTo>
                    <a:pt x="4680" y="322"/>
                  </a:moveTo>
                  <a:cubicBezTo>
                    <a:pt x="4835" y="322"/>
                    <a:pt x="4966" y="441"/>
                    <a:pt x="4966" y="595"/>
                  </a:cubicBezTo>
                  <a:lnTo>
                    <a:pt x="4966" y="4251"/>
                  </a:lnTo>
                  <a:lnTo>
                    <a:pt x="4406" y="4251"/>
                  </a:lnTo>
                  <a:lnTo>
                    <a:pt x="4406" y="595"/>
                  </a:lnTo>
                  <a:cubicBezTo>
                    <a:pt x="4406" y="453"/>
                    <a:pt x="4525" y="322"/>
                    <a:pt x="4680" y="322"/>
                  </a:cubicBezTo>
                  <a:close/>
                  <a:moveTo>
                    <a:pt x="1441" y="0"/>
                  </a:moveTo>
                  <a:cubicBezTo>
                    <a:pt x="1108" y="0"/>
                    <a:pt x="846" y="274"/>
                    <a:pt x="846" y="595"/>
                  </a:cubicBezTo>
                  <a:lnTo>
                    <a:pt x="846" y="4251"/>
                  </a:lnTo>
                  <a:lnTo>
                    <a:pt x="322" y="4251"/>
                  </a:lnTo>
                  <a:lnTo>
                    <a:pt x="322" y="2536"/>
                  </a:lnTo>
                  <a:cubicBezTo>
                    <a:pt x="322" y="2441"/>
                    <a:pt x="251" y="2370"/>
                    <a:pt x="155" y="2370"/>
                  </a:cubicBezTo>
                  <a:cubicBezTo>
                    <a:pt x="72" y="2370"/>
                    <a:pt x="1" y="2441"/>
                    <a:pt x="1" y="2536"/>
                  </a:cubicBezTo>
                  <a:lnTo>
                    <a:pt x="1" y="4405"/>
                  </a:lnTo>
                  <a:cubicBezTo>
                    <a:pt x="1" y="4501"/>
                    <a:pt x="72" y="4572"/>
                    <a:pt x="155" y="4572"/>
                  </a:cubicBezTo>
                  <a:lnTo>
                    <a:pt x="6001" y="4572"/>
                  </a:lnTo>
                  <a:cubicBezTo>
                    <a:pt x="6097" y="4572"/>
                    <a:pt x="6168" y="4501"/>
                    <a:pt x="6168" y="4405"/>
                  </a:cubicBezTo>
                  <a:lnTo>
                    <a:pt x="6168" y="834"/>
                  </a:lnTo>
                  <a:cubicBezTo>
                    <a:pt x="6144" y="750"/>
                    <a:pt x="6073" y="679"/>
                    <a:pt x="5978" y="679"/>
                  </a:cubicBezTo>
                  <a:cubicBezTo>
                    <a:pt x="5894" y="679"/>
                    <a:pt x="5811" y="750"/>
                    <a:pt x="5811" y="834"/>
                  </a:cubicBezTo>
                  <a:lnTo>
                    <a:pt x="5811" y="4251"/>
                  </a:lnTo>
                  <a:lnTo>
                    <a:pt x="5299" y="4251"/>
                  </a:lnTo>
                  <a:lnTo>
                    <a:pt x="5299" y="595"/>
                  </a:lnTo>
                  <a:cubicBezTo>
                    <a:pt x="5299" y="274"/>
                    <a:pt x="5025" y="0"/>
                    <a:pt x="4704" y="0"/>
                  </a:cubicBezTo>
                  <a:cubicBezTo>
                    <a:pt x="4370" y="0"/>
                    <a:pt x="4108" y="274"/>
                    <a:pt x="4108" y="595"/>
                  </a:cubicBezTo>
                  <a:lnTo>
                    <a:pt x="4108" y="4251"/>
                  </a:lnTo>
                  <a:lnTo>
                    <a:pt x="3656" y="4251"/>
                  </a:lnTo>
                  <a:lnTo>
                    <a:pt x="3656" y="595"/>
                  </a:lnTo>
                  <a:cubicBezTo>
                    <a:pt x="3656" y="274"/>
                    <a:pt x="3394" y="0"/>
                    <a:pt x="3061" y="0"/>
                  </a:cubicBezTo>
                  <a:cubicBezTo>
                    <a:pt x="2739" y="0"/>
                    <a:pt x="2465" y="274"/>
                    <a:pt x="2465" y="595"/>
                  </a:cubicBezTo>
                  <a:lnTo>
                    <a:pt x="2465" y="4251"/>
                  </a:lnTo>
                  <a:lnTo>
                    <a:pt x="2037" y="4251"/>
                  </a:lnTo>
                  <a:lnTo>
                    <a:pt x="2037" y="595"/>
                  </a:lnTo>
                  <a:cubicBezTo>
                    <a:pt x="2037" y="274"/>
                    <a:pt x="1763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5" name="Google Shape;10355;p59"/>
            <p:cNvSpPr/>
            <p:nvPr/>
          </p:nvSpPr>
          <p:spPr>
            <a:xfrm>
              <a:off x="3982553" y="1971730"/>
              <a:ext cx="304566" cy="272360"/>
            </a:xfrm>
            <a:custGeom>
              <a:avLst/>
              <a:gdLst/>
              <a:ahLst/>
              <a:cxnLst/>
              <a:rect l="l" t="t" r="r" b="b"/>
              <a:pathLst>
                <a:path w="9561" h="8550" extrusionOk="0">
                  <a:moveTo>
                    <a:pt x="8632" y="346"/>
                  </a:moveTo>
                  <a:cubicBezTo>
                    <a:pt x="8966" y="346"/>
                    <a:pt x="9239" y="632"/>
                    <a:pt x="9239" y="953"/>
                  </a:cubicBezTo>
                  <a:cubicBezTo>
                    <a:pt x="9239" y="1287"/>
                    <a:pt x="8954" y="1572"/>
                    <a:pt x="8632" y="1572"/>
                  </a:cubicBezTo>
                  <a:lnTo>
                    <a:pt x="929" y="1572"/>
                  </a:lnTo>
                  <a:cubicBezTo>
                    <a:pt x="596" y="1572"/>
                    <a:pt x="322" y="1287"/>
                    <a:pt x="322" y="953"/>
                  </a:cubicBezTo>
                  <a:cubicBezTo>
                    <a:pt x="322" y="632"/>
                    <a:pt x="607" y="346"/>
                    <a:pt x="929" y="346"/>
                  </a:cubicBezTo>
                  <a:close/>
                  <a:moveTo>
                    <a:pt x="6787" y="3835"/>
                  </a:moveTo>
                  <a:cubicBezTo>
                    <a:pt x="6811" y="4073"/>
                    <a:pt x="6930" y="4275"/>
                    <a:pt x="7096" y="4442"/>
                  </a:cubicBezTo>
                  <a:lnTo>
                    <a:pt x="2524" y="4442"/>
                  </a:lnTo>
                  <a:cubicBezTo>
                    <a:pt x="2715" y="4275"/>
                    <a:pt x="2822" y="4049"/>
                    <a:pt x="2858" y="3835"/>
                  </a:cubicBezTo>
                  <a:close/>
                  <a:moveTo>
                    <a:pt x="7870" y="1882"/>
                  </a:moveTo>
                  <a:cubicBezTo>
                    <a:pt x="8573" y="1882"/>
                    <a:pt x="9144" y="2453"/>
                    <a:pt x="9144" y="3156"/>
                  </a:cubicBezTo>
                  <a:cubicBezTo>
                    <a:pt x="9168" y="3870"/>
                    <a:pt x="8597" y="4442"/>
                    <a:pt x="7894" y="4442"/>
                  </a:cubicBezTo>
                  <a:lnTo>
                    <a:pt x="7823" y="4442"/>
                  </a:lnTo>
                  <a:cubicBezTo>
                    <a:pt x="7644" y="4406"/>
                    <a:pt x="7477" y="4335"/>
                    <a:pt x="7334" y="4216"/>
                  </a:cubicBezTo>
                  <a:cubicBezTo>
                    <a:pt x="7203" y="4097"/>
                    <a:pt x="7108" y="3918"/>
                    <a:pt x="7096" y="3716"/>
                  </a:cubicBezTo>
                  <a:cubicBezTo>
                    <a:pt x="7084" y="3513"/>
                    <a:pt x="7156" y="3323"/>
                    <a:pt x="7275" y="3192"/>
                  </a:cubicBezTo>
                  <a:cubicBezTo>
                    <a:pt x="7377" y="3070"/>
                    <a:pt x="7523" y="3011"/>
                    <a:pt x="7672" y="3011"/>
                  </a:cubicBezTo>
                  <a:cubicBezTo>
                    <a:pt x="7801" y="3011"/>
                    <a:pt x="7932" y="3056"/>
                    <a:pt x="8037" y="3144"/>
                  </a:cubicBezTo>
                  <a:cubicBezTo>
                    <a:pt x="8108" y="3215"/>
                    <a:pt x="8156" y="3311"/>
                    <a:pt x="8168" y="3418"/>
                  </a:cubicBezTo>
                  <a:cubicBezTo>
                    <a:pt x="8168" y="3513"/>
                    <a:pt x="8132" y="3620"/>
                    <a:pt x="8061" y="3692"/>
                  </a:cubicBezTo>
                  <a:cubicBezTo>
                    <a:pt x="8001" y="3751"/>
                    <a:pt x="8001" y="3858"/>
                    <a:pt x="8073" y="3918"/>
                  </a:cubicBezTo>
                  <a:cubicBezTo>
                    <a:pt x="8101" y="3946"/>
                    <a:pt x="8140" y="3961"/>
                    <a:pt x="8180" y="3961"/>
                  </a:cubicBezTo>
                  <a:cubicBezTo>
                    <a:pt x="8224" y="3961"/>
                    <a:pt x="8268" y="3943"/>
                    <a:pt x="8299" y="3906"/>
                  </a:cubicBezTo>
                  <a:cubicBezTo>
                    <a:pt x="8430" y="3751"/>
                    <a:pt x="8489" y="3573"/>
                    <a:pt x="8477" y="3382"/>
                  </a:cubicBezTo>
                  <a:cubicBezTo>
                    <a:pt x="8466" y="3192"/>
                    <a:pt x="8394" y="3013"/>
                    <a:pt x="8239" y="2894"/>
                  </a:cubicBezTo>
                  <a:cubicBezTo>
                    <a:pt x="8075" y="2746"/>
                    <a:pt x="7872" y="2674"/>
                    <a:pt x="7672" y="2674"/>
                  </a:cubicBezTo>
                  <a:cubicBezTo>
                    <a:pt x="7437" y="2674"/>
                    <a:pt x="7204" y="2773"/>
                    <a:pt x="7037" y="2965"/>
                  </a:cubicBezTo>
                  <a:cubicBezTo>
                    <a:pt x="6906" y="3120"/>
                    <a:pt x="6811" y="3287"/>
                    <a:pt x="6787" y="3489"/>
                  </a:cubicBezTo>
                  <a:lnTo>
                    <a:pt x="2858" y="3489"/>
                  </a:lnTo>
                  <a:cubicBezTo>
                    <a:pt x="2822" y="3287"/>
                    <a:pt x="2751" y="3120"/>
                    <a:pt x="2596" y="2965"/>
                  </a:cubicBezTo>
                  <a:cubicBezTo>
                    <a:pt x="2453" y="2799"/>
                    <a:pt x="2239" y="2692"/>
                    <a:pt x="2000" y="2680"/>
                  </a:cubicBezTo>
                  <a:cubicBezTo>
                    <a:pt x="1985" y="2679"/>
                    <a:pt x="1970" y="2678"/>
                    <a:pt x="1954" y="2678"/>
                  </a:cubicBezTo>
                  <a:cubicBezTo>
                    <a:pt x="1754" y="2678"/>
                    <a:pt x="1547" y="2750"/>
                    <a:pt x="1381" y="2894"/>
                  </a:cubicBezTo>
                  <a:cubicBezTo>
                    <a:pt x="1227" y="3025"/>
                    <a:pt x="1155" y="3192"/>
                    <a:pt x="1143" y="3382"/>
                  </a:cubicBezTo>
                  <a:cubicBezTo>
                    <a:pt x="1119" y="3573"/>
                    <a:pt x="1203" y="3751"/>
                    <a:pt x="1322" y="3906"/>
                  </a:cubicBezTo>
                  <a:cubicBezTo>
                    <a:pt x="1355" y="3939"/>
                    <a:pt x="1402" y="3957"/>
                    <a:pt x="1447" y="3957"/>
                  </a:cubicBezTo>
                  <a:cubicBezTo>
                    <a:pt x="1485" y="3957"/>
                    <a:pt x="1521" y="3945"/>
                    <a:pt x="1548" y="3918"/>
                  </a:cubicBezTo>
                  <a:cubicBezTo>
                    <a:pt x="1596" y="3858"/>
                    <a:pt x="1619" y="3751"/>
                    <a:pt x="1560" y="3692"/>
                  </a:cubicBezTo>
                  <a:cubicBezTo>
                    <a:pt x="1488" y="3620"/>
                    <a:pt x="1453" y="3513"/>
                    <a:pt x="1453" y="3418"/>
                  </a:cubicBezTo>
                  <a:cubicBezTo>
                    <a:pt x="1453" y="3311"/>
                    <a:pt x="1512" y="3204"/>
                    <a:pt x="1584" y="3144"/>
                  </a:cubicBezTo>
                  <a:cubicBezTo>
                    <a:pt x="1682" y="3068"/>
                    <a:pt x="1800" y="3012"/>
                    <a:pt x="1937" y="3012"/>
                  </a:cubicBezTo>
                  <a:cubicBezTo>
                    <a:pt x="1950" y="3012"/>
                    <a:pt x="1963" y="3012"/>
                    <a:pt x="1977" y="3013"/>
                  </a:cubicBezTo>
                  <a:cubicBezTo>
                    <a:pt x="2120" y="3025"/>
                    <a:pt x="2239" y="3085"/>
                    <a:pt x="2346" y="3192"/>
                  </a:cubicBezTo>
                  <a:cubicBezTo>
                    <a:pt x="2608" y="3489"/>
                    <a:pt x="2584" y="3954"/>
                    <a:pt x="2286" y="4216"/>
                  </a:cubicBezTo>
                  <a:cubicBezTo>
                    <a:pt x="2155" y="4335"/>
                    <a:pt x="1977" y="4406"/>
                    <a:pt x="1798" y="4442"/>
                  </a:cubicBezTo>
                  <a:lnTo>
                    <a:pt x="1727" y="4442"/>
                  </a:lnTo>
                  <a:cubicBezTo>
                    <a:pt x="1024" y="4442"/>
                    <a:pt x="441" y="3858"/>
                    <a:pt x="441" y="3156"/>
                  </a:cubicBezTo>
                  <a:cubicBezTo>
                    <a:pt x="441" y="2465"/>
                    <a:pt x="1024" y="1882"/>
                    <a:pt x="1727" y="1882"/>
                  </a:cubicBezTo>
                  <a:close/>
                  <a:moveTo>
                    <a:pt x="7537" y="4763"/>
                  </a:moveTo>
                  <a:lnTo>
                    <a:pt x="7537" y="5573"/>
                  </a:lnTo>
                  <a:lnTo>
                    <a:pt x="2036" y="5573"/>
                  </a:lnTo>
                  <a:lnTo>
                    <a:pt x="2036" y="4763"/>
                  </a:lnTo>
                  <a:close/>
                  <a:moveTo>
                    <a:pt x="929" y="1"/>
                  </a:moveTo>
                  <a:cubicBezTo>
                    <a:pt x="417" y="1"/>
                    <a:pt x="0" y="418"/>
                    <a:pt x="0" y="941"/>
                  </a:cubicBezTo>
                  <a:cubicBezTo>
                    <a:pt x="0" y="1418"/>
                    <a:pt x="357" y="1811"/>
                    <a:pt x="798" y="1870"/>
                  </a:cubicBezTo>
                  <a:cubicBezTo>
                    <a:pt x="393" y="2168"/>
                    <a:pt x="143" y="2620"/>
                    <a:pt x="143" y="3144"/>
                  </a:cubicBezTo>
                  <a:cubicBezTo>
                    <a:pt x="143" y="4013"/>
                    <a:pt x="834" y="4728"/>
                    <a:pt x="1691" y="4739"/>
                  </a:cubicBezTo>
                  <a:lnTo>
                    <a:pt x="1703" y="4739"/>
                  </a:lnTo>
                  <a:lnTo>
                    <a:pt x="1703" y="5704"/>
                  </a:lnTo>
                  <a:lnTo>
                    <a:pt x="1703" y="8383"/>
                  </a:lnTo>
                  <a:cubicBezTo>
                    <a:pt x="1703" y="8478"/>
                    <a:pt x="1786" y="8549"/>
                    <a:pt x="1869" y="8549"/>
                  </a:cubicBezTo>
                  <a:cubicBezTo>
                    <a:pt x="1965" y="8549"/>
                    <a:pt x="2036" y="8478"/>
                    <a:pt x="2036" y="8383"/>
                  </a:cubicBezTo>
                  <a:lnTo>
                    <a:pt x="2036" y="5894"/>
                  </a:lnTo>
                  <a:lnTo>
                    <a:pt x="7537" y="5894"/>
                  </a:lnTo>
                  <a:lnTo>
                    <a:pt x="7537" y="6692"/>
                  </a:lnTo>
                  <a:cubicBezTo>
                    <a:pt x="7537" y="6775"/>
                    <a:pt x="7620" y="6847"/>
                    <a:pt x="7704" y="6847"/>
                  </a:cubicBezTo>
                  <a:cubicBezTo>
                    <a:pt x="7799" y="6847"/>
                    <a:pt x="7870" y="6775"/>
                    <a:pt x="7870" y="6692"/>
                  </a:cubicBezTo>
                  <a:lnTo>
                    <a:pt x="7870" y="5740"/>
                  </a:lnTo>
                  <a:lnTo>
                    <a:pt x="7870" y="4763"/>
                  </a:lnTo>
                  <a:lnTo>
                    <a:pt x="7918" y="4763"/>
                  </a:lnTo>
                  <a:cubicBezTo>
                    <a:pt x="7930" y="4763"/>
                    <a:pt x="7942" y="4763"/>
                    <a:pt x="7954" y="4751"/>
                  </a:cubicBezTo>
                  <a:cubicBezTo>
                    <a:pt x="8823" y="4728"/>
                    <a:pt x="9501" y="4025"/>
                    <a:pt x="9501" y="3156"/>
                  </a:cubicBezTo>
                  <a:cubicBezTo>
                    <a:pt x="9489" y="2644"/>
                    <a:pt x="9228" y="2168"/>
                    <a:pt x="8823" y="1870"/>
                  </a:cubicBezTo>
                  <a:cubicBezTo>
                    <a:pt x="9251" y="1775"/>
                    <a:pt x="9561" y="1406"/>
                    <a:pt x="9561" y="941"/>
                  </a:cubicBezTo>
                  <a:cubicBezTo>
                    <a:pt x="9561" y="418"/>
                    <a:pt x="9144" y="1"/>
                    <a:pt x="8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56" name="Google Shape;10356;p59"/>
          <p:cNvGrpSpPr/>
          <p:nvPr/>
        </p:nvGrpSpPr>
        <p:grpSpPr>
          <a:xfrm>
            <a:off x="2567841" y="1994124"/>
            <a:ext cx="399812" cy="306477"/>
            <a:chOff x="2567841" y="1994124"/>
            <a:chExt cx="399812" cy="306477"/>
          </a:xfrm>
        </p:grpSpPr>
        <p:sp>
          <p:nvSpPr>
            <p:cNvPr id="10357" name="Google Shape;10357;p59"/>
            <p:cNvSpPr/>
            <p:nvPr/>
          </p:nvSpPr>
          <p:spPr>
            <a:xfrm>
              <a:off x="2567841" y="1994124"/>
              <a:ext cx="399812" cy="306477"/>
            </a:xfrm>
            <a:custGeom>
              <a:avLst/>
              <a:gdLst/>
              <a:ahLst/>
              <a:cxnLst/>
              <a:rect l="l" t="t" r="r" b="b"/>
              <a:pathLst>
                <a:path w="12551" h="9621" extrusionOk="0">
                  <a:moveTo>
                    <a:pt x="11157" y="346"/>
                  </a:moveTo>
                  <a:lnTo>
                    <a:pt x="11157" y="6584"/>
                  </a:lnTo>
                  <a:lnTo>
                    <a:pt x="1334" y="6584"/>
                  </a:lnTo>
                  <a:lnTo>
                    <a:pt x="1334" y="346"/>
                  </a:lnTo>
                  <a:close/>
                  <a:moveTo>
                    <a:pt x="7442" y="7930"/>
                  </a:moveTo>
                  <a:lnTo>
                    <a:pt x="7621" y="8561"/>
                  </a:lnTo>
                  <a:lnTo>
                    <a:pt x="4859" y="8561"/>
                  </a:lnTo>
                  <a:lnTo>
                    <a:pt x="5037" y="7930"/>
                  </a:lnTo>
                  <a:close/>
                  <a:moveTo>
                    <a:pt x="11217" y="6954"/>
                  </a:moveTo>
                  <a:lnTo>
                    <a:pt x="12038" y="8561"/>
                  </a:lnTo>
                  <a:lnTo>
                    <a:pt x="7990" y="8561"/>
                  </a:lnTo>
                  <a:lnTo>
                    <a:pt x="7776" y="7835"/>
                  </a:lnTo>
                  <a:cubicBezTo>
                    <a:pt x="7740" y="7680"/>
                    <a:pt x="7597" y="7573"/>
                    <a:pt x="7454" y="7573"/>
                  </a:cubicBezTo>
                  <a:lnTo>
                    <a:pt x="5013" y="7573"/>
                  </a:lnTo>
                  <a:cubicBezTo>
                    <a:pt x="4859" y="7573"/>
                    <a:pt x="4716" y="7680"/>
                    <a:pt x="4680" y="7835"/>
                  </a:cubicBezTo>
                  <a:lnTo>
                    <a:pt x="4478" y="8561"/>
                  </a:lnTo>
                  <a:lnTo>
                    <a:pt x="430" y="8561"/>
                  </a:lnTo>
                  <a:lnTo>
                    <a:pt x="1263" y="6954"/>
                  </a:lnTo>
                  <a:close/>
                  <a:moveTo>
                    <a:pt x="12157" y="8930"/>
                  </a:moveTo>
                  <a:lnTo>
                    <a:pt x="12157" y="9216"/>
                  </a:lnTo>
                  <a:lnTo>
                    <a:pt x="12169" y="9216"/>
                  </a:lnTo>
                  <a:cubicBezTo>
                    <a:pt x="12169" y="9239"/>
                    <a:pt x="12145" y="9275"/>
                    <a:pt x="12110" y="9275"/>
                  </a:cubicBezTo>
                  <a:lnTo>
                    <a:pt x="382" y="9275"/>
                  </a:lnTo>
                  <a:cubicBezTo>
                    <a:pt x="346" y="9275"/>
                    <a:pt x="322" y="9239"/>
                    <a:pt x="322" y="9216"/>
                  </a:cubicBezTo>
                  <a:lnTo>
                    <a:pt x="322" y="8930"/>
                  </a:lnTo>
                  <a:close/>
                  <a:moveTo>
                    <a:pt x="1334" y="0"/>
                  </a:moveTo>
                  <a:cubicBezTo>
                    <a:pt x="1144" y="0"/>
                    <a:pt x="977" y="167"/>
                    <a:pt x="977" y="357"/>
                  </a:cubicBezTo>
                  <a:lnTo>
                    <a:pt x="977" y="6739"/>
                  </a:lnTo>
                  <a:lnTo>
                    <a:pt x="1" y="8680"/>
                  </a:lnTo>
                  <a:lnTo>
                    <a:pt x="1" y="8692"/>
                  </a:lnTo>
                  <a:lnTo>
                    <a:pt x="1" y="8704"/>
                  </a:lnTo>
                  <a:lnTo>
                    <a:pt x="1" y="8728"/>
                  </a:lnTo>
                  <a:lnTo>
                    <a:pt x="1" y="8739"/>
                  </a:lnTo>
                  <a:lnTo>
                    <a:pt x="1" y="9204"/>
                  </a:lnTo>
                  <a:cubicBezTo>
                    <a:pt x="1" y="9442"/>
                    <a:pt x="191" y="9620"/>
                    <a:pt x="406" y="9620"/>
                  </a:cubicBezTo>
                  <a:lnTo>
                    <a:pt x="12133" y="9620"/>
                  </a:lnTo>
                  <a:cubicBezTo>
                    <a:pt x="12371" y="9620"/>
                    <a:pt x="12550" y="9418"/>
                    <a:pt x="12550" y="9204"/>
                  </a:cubicBezTo>
                  <a:lnTo>
                    <a:pt x="12526" y="8739"/>
                  </a:lnTo>
                  <a:lnTo>
                    <a:pt x="12526" y="8704"/>
                  </a:lnTo>
                  <a:lnTo>
                    <a:pt x="12526" y="8692"/>
                  </a:lnTo>
                  <a:lnTo>
                    <a:pt x="12526" y="8680"/>
                  </a:lnTo>
                  <a:lnTo>
                    <a:pt x="11550" y="6739"/>
                  </a:lnTo>
                  <a:lnTo>
                    <a:pt x="11550" y="357"/>
                  </a:lnTo>
                  <a:cubicBezTo>
                    <a:pt x="11550" y="167"/>
                    <a:pt x="11383" y="0"/>
                    <a:pt x="111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8" name="Google Shape;10358;p59"/>
            <p:cNvSpPr/>
            <p:nvPr/>
          </p:nvSpPr>
          <p:spPr>
            <a:xfrm>
              <a:off x="2623237" y="2113963"/>
              <a:ext cx="287523" cy="77025"/>
            </a:xfrm>
            <a:custGeom>
              <a:avLst/>
              <a:gdLst/>
              <a:ahLst/>
              <a:cxnLst/>
              <a:rect l="l" t="t" r="r" b="b"/>
              <a:pathLst>
                <a:path w="9026" h="241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lnTo>
                    <a:pt x="0" y="2132"/>
                  </a:lnTo>
                  <a:cubicBezTo>
                    <a:pt x="0" y="2299"/>
                    <a:pt x="131" y="2418"/>
                    <a:pt x="274" y="2418"/>
                  </a:cubicBezTo>
                  <a:lnTo>
                    <a:pt x="8727" y="2418"/>
                  </a:lnTo>
                  <a:cubicBezTo>
                    <a:pt x="8894" y="2418"/>
                    <a:pt x="9013" y="2287"/>
                    <a:pt x="9013" y="2132"/>
                  </a:cubicBezTo>
                  <a:lnTo>
                    <a:pt x="9013" y="179"/>
                  </a:lnTo>
                  <a:cubicBezTo>
                    <a:pt x="9025" y="96"/>
                    <a:pt x="8942" y="1"/>
                    <a:pt x="8835" y="1"/>
                  </a:cubicBezTo>
                  <a:cubicBezTo>
                    <a:pt x="8727" y="1"/>
                    <a:pt x="8656" y="96"/>
                    <a:pt x="8656" y="179"/>
                  </a:cubicBezTo>
                  <a:lnTo>
                    <a:pt x="8656" y="2049"/>
                  </a:lnTo>
                  <a:lnTo>
                    <a:pt x="357" y="2049"/>
                  </a:lnTo>
                  <a:lnTo>
                    <a:pt x="357" y="179"/>
                  </a:lnTo>
                  <a:cubicBezTo>
                    <a:pt x="357" y="84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9" name="Google Shape;10359;p59"/>
            <p:cNvSpPr/>
            <p:nvPr/>
          </p:nvSpPr>
          <p:spPr>
            <a:xfrm>
              <a:off x="2623237" y="2017251"/>
              <a:ext cx="287523" cy="77025"/>
            </a:xfrm>
            <a:custGeom>
              <a:avLst/>
              <a:gdLst/>
              <a:ahLst/>
              <a:cxnLst/>
              <a:rect l="l" t="t" r="r" b="b"/>
              <a:pathLst>
                <a:path w="9026" h="2418" extrusionOk="0">
                  <a:moveTo>
                    <a:pt x="286" y="1"/>
                  </a:moveTo>
                  <a:cubicBezTo>
                    <a:pt x="119" y="1"/>
                    <a:pt x="0" y="143"/>
                    <a:pt x="0" y="286"/>
                  </a:cubicBezTo>
                  <a:lnTo>
                    <a:pt x="0" y="2239"/>
                  </a:lnTo>
                  <a:cubicBezTo>
                    <a:pt x="0" y="2346"/>
                    <a:pt x="84" y="2418"/>
                    <a:pt x="179" y="2418"/>
                  </a:cubicBezTo>
                  <a:cubicBezTo>
                    <a:pt x="286" y="2418"/>
                    <a:pt x="357" y="2322"/>
                    <a:pt x="357" y="2239"/>
                  </a:cubicBezTo>
                  <a:lnTo>
                    <a:pt x="357" y="382"/>
                  </a:lnTo>
                  <a:lnTo>
                    <a:pt x="8656" y="382"/>
                  </a:lnTo>
                  <a:lnTo>
                    <a:pt x="8656" y="2239"/>
                  </a:lnTo>
                  <a:cubicBezTo>
                    <a:pt x="8656" y="2346"/>
                    <a:pt x="8751" y="2418"/>
                    <a:pt x="8835" y="2418"/>
                  </a:cubicBezTo>
                  <a:cubicBezTo>
                    <a:pt x="8942" y="2418"/>
                    <a:pt x="9013" y="2322"/>
                    <a:pt x="9013" y="2239"/>
                  </a:cubicBezTo>
                  <a:lnTo>
                    <a:pt x="9013" y="286"/>
                  </a:lnTo>
                  <a:cubicBezTo>
                    <a:pt x="9025" y="143"/>
                    <a:pt x="8894" y="1"/>
                    <a:pt x="8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60" name="Google Shape;10360;p59"/>
          <p:cNvGrpSpPr/>
          <p:nvPr/>
        </p:nvGrpSpPr>
        <p:grpSpPr>
          <a:xfrm>
            <a:off x="2212084" y="1960358"/>
            <a:ext cx="324698" cy="372863"/>
            <a:chOff x="2212084" y="1960358"/>
            <a:chExt cx="324698" cy="372863"/>
          </a:xfrm>
        </p:grpSpPr>
        <p:sp>
          <p:nvSpPr>
            <p:cNvPr id="10361" name="Google Shape;10361;p59"/>
            <p:cNvSpPr/>
            <p:nvPr/>
          </p:nvSpPr>
          <p:spPr>
            <a:xfrm>
              <a:off x="2291371" y="2128011"/>
              <a:ext cx="166888" cy="166888"/>
            </a:xfrm>
            <a:custGeom>
              <a:avLst/>
              <a:gdLst/>
              <a:ahLst/>
              <a:cxnLst/>
              <a:rect l="l" t="t" r="r" b="b"/>
              <a:pathLst>
                <a:path w="5239" h="5239" extrusionOk="0">
                  <a:moveTo>
                    <a:pt x="2620" y="357"/>
                  </a:moveTo>
                  <a:cubicBezTo>
                    <a:pt x="3870" y="357"/>
                    <a:pt x="4894" y="1369"/>
                    <a:pt x="4894" y="2631"/>
                  </a:cubicBezTo>
                  <a:cubicBezTo>
                    <a:pt x="4894" y="3882"/>
                    <a:pt x="3882" y="4906"/>
                    <a:pt x="2620" y="4906"/>
                  </a:cubicBezTo>
                  <a:cubicBezTo>
                    <a:pt x="1369" y="4906"/>
                    <a:pt x="346" y="3894"/>
                    <a:pt x="346" y="2631"/>
                  </a:cubicBezTo>
                  <a:cubicBezTo>
                    <a:pt x="346" y="1369"/>
                    <a:pt x="1369" y="357"/>
                    <a:pt x="2620" y="357"/>
                  </a:cubicBezTo>
                  <a:close/>
                  <a:moveTo>
                    <a:pt x="2620" y="0"/>
                  </a:moveTo>
                  <a:cubicBezTo>
                    <a:pt x="1179" y="0"/>
                    <a:pt x="0" y="1167"/>
                    <a:pt x="0" y="2620"/>
                  </a:cubicBezTo>
                  <a:cubicBezTo>
                    <a:pt x="0" y="4060"/>
                    <a:pt x="1179" y="5239"/>
                    <a:pt x="2620" y="5239"/>
                  </a:cubicBezTo>
                  <a:cubicBezTo>
                    <a:pt x="4060" y="5239"/>
                    <a:pt x="5239" y="4060"/>
                    <a:pt x="5239" y="2620"/>
                  </a:cubicBezTo>
                  <a:cubicBezTo>
                    <a:pt x="5239" y="1167"/>
                    <a:pt x="4060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2" name="Google Shape;10362;p59"/>
            <p:cNvSpPr/>
            <p:nvPr/>
          </p:nvSpPr>
          <p:spPr>
            <a:xfrm>
              <a:off x="2212084" y="1960358"/>
              <a:ext cx="324698" cy="372863"/>
            </a:xfrm>
            <a:custGeom>
              <a:avLst/>
              <a:gdLst/>
              <a:ahLst/>
              <a:cxnLst/>
              <a:rect l="l" t="t" r="r" b="b"/>
              <a:pathLst>
                <a:path w="10193" h="11705" extrusionOk="0">
                  <a:moveTo>
                    <a:pt x="7502" y="358"/>
                  </a:moveTo>
                  <a:lnTo>
                    <a:pt x="6383" y="2644"/>
                  </a:lnTo>
                  <a:lnTo>
                    <a:pt x="3811" y="2644"/>
                  </a:lnTo>
                  <a:lnTo>
                    <a:pt x="2692" y="358"/>
                  </a:lnTo>
                  <a:close/>
                  <a:moveTo>
                    <a:pt x="6228" y="3001"/>
                  </a:moveTo>
                  <a:lnTo>
                    <a:pt x="5692" y="4096"/>
                  </a:lnTo>
                  <a:cubicBezTo>
                    <a:pt x="5490" y="4073"/>
                    <a:pt x="5299" y="4049"/>
                    <a:pt x="5109" y="4049"/>
                  </a:cubicBezTo>
                  <a:cubicBezTo>
                    <a:pt x="4918" y="4049"/>
                    <a:pt x="4716" y="4073"/>
                    <a:pt x="4525" y="4096"/>
                  </a:cubicBezTo>
                  <a:lnTo>
                    <a:pt x="3989" y="3001"/>
                  </a:lnTo>
                  <a:close/>
                  <a:moveTo>
                    <a:pt x="2334" y="405"/>
                  </a:moveTo>
                  <a:lnTo>
                    <a:pt x="4168" y="4156"/>
                  </a:lnTo>
                  <a:cubicBezTo>
                    <a:pt x="3382" y="4370"/>
                    <a:pt x="2692" y="4799"/>
                    <a:pt x="2180" y="5406"/>
                  </a:cubicBezTo>
                  <a:lnTo>
                    <a:pt x="608" y="2227"/>
                  </a:lnTo>
                  <a:cubicBezTo>
                    <a:pt x="406" y="1787"/>
                    <a:pt x="584" y="1275"/>
                    <a:pt x="1013" y="1060"/>
                  </a:cubicBezTo>
                  <a:lnTo>
                    <a:pt x="2334" y="405"/>
                  </a:lnTo>
                  <a:close/>
                  <a:moveTo>
                    <a:pt x="2418" y="1"/>
                  </a:moveTo>
                  <a:cubicBezTo>
                    <a:pt x="2382" y="1"/>
                    <a:pt x="2358" y="1"/>
                    <a:pt x="2334" y="24"/>
                  </a:cubicBezTo>
                  <a:lnTo>
                    <a:pt x="846" y="751"/>
                  </a:lnTo>
                  <a:cubicBezTo>
                    <a:pt x="251" y="1048"/>
                    <a:pt x="1" y="1775"/>
                    <a:pt x="298" y="2370"/>
                  </a:cubicBezTo>
                  <a:lnTo>
                    <a:pt x="1942" y="5704"/>
                  </a:lnTo>
                  <a:cubicBezTo>
                    <a:pt x="1525" y="6311"/>
                    <a:pt x="1263" y="7073"/>
                    <a:pt x="1263" y="7883"/>
                  </a:cubicBezTo>
                  <a:cubicBezTo>
                    <a:pt x="1263" y="8275"/>
                    <a:pt x="1322" y="8680"/>
                    <a:pt x="1441" y="9049"/>
                  </a:cubicBezTo>
                  <a:cubicBezTo>
                    <a:pt x="1470" y="9126"/>
                    <a:pt x="1544" y="9179"/>
                    <a:pt x="1616" y="9179"/>
                  </a:cubicBezTo>
                  <a:cubicBezTo>
                    <a:pt x="1633" y="9179"/>
                    <a:pt x="1651" y="9176"/>
                    <a:pt x="1668" y="9168"/>
                  </a:cubicBezTo>
                  <a:cubicBezTo>
                    <a:pt x="1763" y="9145"/>
                    <a:pt x="1822" y="9037"/>
                    <a:pt x="1787" y="8954"/>
                  </a:cubicBezTo>
                  <a:cubicBezTo>
                    <a:pt x="1668" y="8609"/>
                    <a:pt x="1620" y="8240"/>
                    <a:pt x="1620" y="7883"/>
                  </a:cubicBezTo>
                  <a:cubicBezTo>
                    <a:pt x="1620" y="5954"/>
                    <a:pt x="3192" y="4394"/>
                    <a:pt x="5109" y="4394"/>
                  </a:cubicBezTo>
                  <a:cubicBezTo>
                    <a:pt x="7026" y="4394"/>
                    <a:pt x="8585" y="5954"/>
                    <a:pt x="8585" y="7883"/>
                  </a:cubicBezTo>
                  <a:cubicBezTo>
                    <a:pt x="8585" y="9799"/>
                    <a:pt x="7026" y="11359"/>
                    <a:pt x="5109" y="11359"/>
                  </a:cubicBezTo>
                  <a:cubicBezTo>
                    <a:pt x="3823" y="11359"/>
                    <a:pt x="2656" y="10657"/>
                    <a:pt x="2037" y="9526"/>
                  </a:cubicBezTo>
                  <a:cubicBezTo>
                    <a:pt x="2012" y="9468"/>
                    <a:pt x="1953" y="9433"/>
                    <a:pt x="1887" y="9433"/>
                  </a:cubicBezTo>
                  <a:cubicBezTo>
                    <a:pt x="1858" y="9433"/>
                    <a:pt x="1828" y="9440"/>
                    <a:pt x="1799" y="9454"/>
                  </a:cubicBezTo>
                  <a:cubicBezTo>
                    <a:pt x="1715" y="9502"/>
                    <a:pt x="1680" y="9597"/>
                    <a:pt x="1727" y="9692"/>
                  </a:cubicBezTo>
                  <a:cubicBezTo>
                    <a:pt x="2394" y="10931"/>
                    <a:pt x="3692" y="11704"/>
                    <a:pt x="5109" y="11704"/>
                  </a:cubicBezTo>
                  <a:cubicBezTo>
                    <a:pt x="7216" y="11704"/>
                    <a:pt x="8942" y="9978"/>
                    <a:pt x="8942" y="7859"/>
                  </a:cubicBezTo>
                  <a:cubicBezTo>
                    <a:pt x="8942" y="7061"/>
                    <a:pt x="8692" y="6311"/>
                    <a:pt x="8276" y="5692"/>
                  </a:cubicBezTo>
                  <a:lnTo>
                    <a:pt x="8966" y="4299"/>
                  </a:lnTo>
                  <a:cubicBezTo>
                    <a:pt x="9002" y="4215"/>
                    <a:pt x="8966" y="4108"/>
                    <a:pt x="8883" y="4061"/>
                  </a:cubicBezTo>
                  <a:cubicBezTo>
                    <a:pt x="8861" y="4051"/>
                    <a:pt x="8838" y="4047"/>
                    <a:pt x="8814" y="4047"/>
                  </a:cubicBezTo>
                  <a:cubicBezTo>
                    <a:pt x="8748" y="4047"/>
                    <a:pt x="8680" y="4082"/>
                    <a:pt x="8645" y="4144"/>
                  </a:cubicBezTo>
                  <a:lnTo>
                    <a:pt x="8038" y="5370"/>
                  </a:lnTo>
                  <a:cubicBezTo>
                    <a:pt x="7537" y="4763"/>
                    <a:pt x="6835" y="4334"/>
                    <a:pt x="6049" y="4120"/>
                  </a:cubicBezTo>
                  <a:lnTo>
                    <a:pt x="7871" y="370"/>
                  </a:lnTo>
                  <a:lnTo>
                    <a:pt x="9204" y="1025"/>
                  </a:lnTo>
                  <a:cubicBezTo>
                    <a:pt x="9633" y="1239"/>
                    <a:pt x="9812" y="1763"/>
                    <a:pt x="9597" y="2191"/>
                  </a:cubicBezTo>
                  <a:lnTo>
                    <a:pt x="8942" y="3513"/>
                  </a:lnTo>
                  <a:cubicBezTo>
                    <a:pt x="8907" y="3608"/>
                    <a:pt x="8942" y="3703"/>
                    <a:pt x="9026" y="3751"/>
                  </a:cubicBezTo>
                  <a:cubicBezTo>
                    <a:pt x="9049" y="3764"/>
                    <a:pt x="9074" y="3770"/>
                    <a:pt x="9099" y="3770"/>
                  </a:cubicBezTo>
                  <a:cubicBezTo>
                    <a:pt x="9164" y="3770"/>
                    <a:pt x="9230" y="3731"/>
                    <a:pt x="9264" y="3680"/>
                  </a:cubicBezTo>
                  <a:lnTo>
                    <a:pt x="9919" y="2358"/>
                  </a:lnTo>
                  <a:cubicBezTo>
                    <a:pt x="10193" y="1775"/>
                    <a:pt x="9943" y="1048"/>
                    <a:pt x="9347" y="751"/>
                  </a:cubicBezTo>
                  <a:lnTo>
                    <a:pt x="7859" y="24"/>
                  </a:lnTo>
                  <a:cubicBezTo>
                    <a:pt x="7835" y="1"/>
                    <a:pt x="7811" y="1"/>
                    <a:pt x="77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3" name="Google Shape;10363;p59"/>
            <p:cNvSpPr/>
            <p:nvPr/>
          </p:nvSpPr>
          <p:spPr>
            <a:xfrm>
              <a:off x="2319435" y="2157190"/>
              <a:ext cx="108880" cy="103210"/>
            </a:xfrm>
            <a:custGeom>
              <a:avLst/>
              <a:gdLst/>
              <a:ahLst/>
              <a:cxnLst/>
              <a:rect l="l" t="t" r="r" b="b"/>
              <a:pathLst>
                <a:path w="3418" h="3240" extrusionOk="0">
                  <a:moveTo>
                    <a:pt x="1739" y="346"/>
                  </a:moveTo>
                  <a:cubicBezTo>
                    <a:pt x="1822" y="346"/>
                    <a:pt x="1881" y="394"/>
                    <a:pt x="1929" y="465"/>
                  </a:cubicBezTo>
                  <a:lnTo>
                    <a:pt x="2096" y="787"/>
                  </a:lnTo>
                  <a:cubicBezTo>
                    <a:pt x="2179" y="953"/>
                    <a:pt x="2334" y="1073"/>
                    <a:pt x="2513" y="1108"/>
                  </a:cubicBezTo>
                  <a:lnTo>
                    <a:pt x="2870" y="1144"/>
                  </a:lnTo>
                  <a:cubicBezTo>
                    <a:pt x="2953" y="1168"/>
                    <a:pt x="3013" y="1203"/>
                    <a:pt x="3048" y="1299"/>
                  </a:cubicBezTo>
                  <a:cubicBezTo>
                    <a:pt x="3072" y="1370"/>
                    <a:pt x="3048" y="1465"/>
                    <a:pt x="2989" y="1525"/>
                  </a:cubicBezTo>
                  <a:lnTo>
                    <a:pt x="2739" y="1775"/>
                  </a:lnTo>
                  <a:cubicBezTo>
                    <a:pt x="2596" y="1906"/>
                    <a:pt x="2536" y="2085"/>
                    <a:pt x="2572" y="2263"/>
                  </a:cubicBezTo>
                  <a:lnTo>
                    <a:pt x="2632" y="2620"/>
                  </a:lnTo>
                  <a:cubicBezTo>
                    <a:pt x="2643" y="2692"/>
                    <a:pt x="2620" y="2787"/>
                    <a:pt x="2536" y="2823"/>
                  </a:cubicBezTo>
                  <a:cubicBezTo>
                    <a:pt x="2493" y="2852"/>
                    <a:pt x="2450" y="2867"/>
                    <a:pt x="2407" y="2867"/>
                  </a:cubicBezTo>
                  <a:cubicBezTo>
                    <a:pt x="2378" y="2867"/>
                    <a:pt x="2350" y="2861"/>
                    <a:pt x="2322" y="2847"/>
                  </a:cubicBezTo>
                  <a:lnTo>
                    <a:pt x="2001" y="2680"/>
                  </a:lnTo>
                  <a:cubicBezTo>
                    <a:pt x="1917" y="2632"/>
                    <a:pt x="1822" y="2620"/>
                    <a:pt x="1739" y="2620"/>
                  </a:cubicBezTo>
                  <a:cubicBezTo>
                    <a:pt x="1643" y="2620"/>
                    <a:pt x="1560" y="2632"/>
                    <a:pt x="1465" y="2680"/>
                  </a:cubicBezTo>
                  <a:lnTo>
                    <a:pt x="1155" y="2847"/>
                  </a:lnTo>
                  <a:cubicBezTo>
                    <a:pt x="1128" y="2865"/>
                    <a:pt x="1097" y="2872"/>
                    <a:pt x="1066" y="2872"/>
                  </a:cubicBezTo>
                  <a:cubicBezTo>
                    <a:pt x="1016" y="2872"/>
                    <a:pt x="966" y="2852"/>
                    <a:pt x="929" y="2823"/>
                  </a:cubicBezTo>
                  <a:cubicBezTo>
                    <a:pt x="858" y="2787"/>
                    <a:pt x="822" y="2692"/>
                    <a:pt x="846" y="2620"/>
                  </a:cubicBezTo>
                  <a:lnTo>
                    <a:pt x="905" y="2263"/>
                  </a:lnTo>
                  <a:cubicBezTo>
                    <a:pt x="929" y="2085"/>
                    <a:pt x="869" y="1894"/>
                    <a:pt x="738" y="1775"/>
                  </a:cubicBezTo>
                  <a:lnTo>
                    <a:pt x="488" y="1525"/>
                  </a:lnTo>
                  <a:cubicBezTo>
                    <a:pt x="429" y="1465"/>
                    <a:pt x="393" y="1382"/>
                    <a:pt x="429" y="1299"/>
                  </a:cubicBezTo>
                  <a:cubicBezTo>
                    <a:pt x="453" y="1227"/>
                    <a:pt x="512" y="1168"/>
                    <a:pt x="608" y="1144"/>
                  </a:cubicBezTo>
                  <a:lnTo>
                    <a:pt x="965" y="1108"/>
                  </a:lnTo>
                  <a:cubicBezTo>
                    <a:pt x="1143" y="1073"/>
                    <a:pt x="1298" y="953"/>
                    <a:pt x="1381" y="787"/>
                  </a:cubicBezTo>
                  <a:lnTo>
                    <a:pt x="1548" y="465"/>
                  </a:lnTo>
                  <a:cubicBezTo>
                    <a:pt x="1572" y="394"/>
                    <a:pt x="1643" y="346"/>
                    <a:pt x="1739" y="346"/>
                  </a:cubicBezTo>
                  <a:close/>
                  <a:moveTo>
                    <a:pt x="1703" y="1"/>
                  </a:moveTo>
                  <a:cubicBezTo>
                    <a:pt x="1489" y="1"/>
                    <a:pt x="1310" y="120"/>
                    <a:pt x="1203" y="311"/>
                  </a:cubicBezTo>
                  <a:lnTo>
                    <a:pt x="1036" y="644"/>
                  </a:lnTo>
                  <a:cubicBezTo>
                    <a:pt x="1012" y="703"/>
                    <a:pt x="953" y="739"/>
                    <a:pt x="869" y="763"/>
                  </a:cubicBezTo>
                  <a:lnTo>
                    <a:pt x="512" y="811"/>
                  </a:lnTo>
                  <a:cubicBezTo>
                    <a:pt x="310" y="834"/>
                    <a:pt x="131" y="989"/>
                    <a:pt x="60" y="1192"/>
                  </a:cubicBezTo>
                  <a:cubicBezTo>
                    <a:pt x="0" y="1406"/>
                    <a:pt x="36" y="1620"/>
                    <a:pt x="203" y="1775"/>
                  </a:cubicBezTo>
                  <a:lnTo>
                    <a:pt x="500" y="2025"/>
                  </a:lnTo>
                  <a:cubicBezTo>
                    <a:pt x="548" y="2073"/>
                    <a:pt x="572" y="2144"/>
                    <a:pt x="560" y="2216"/>
                  </a:cubicBezTo>
                  <a:lnTo>
                    <a:pt x="500" y="2573"/>
                  </a:lnTo>
                  <a:cubicBezTo>
                    <a:pt x="477" y="2787"/>
                    <a:pt x="548" y="2989"/>
                    <a:pt x="727" y="3120"/>
                  </a:cubicBezTo>
                  <a:cubicBezTo>
                    <a:pt x="834" y="3204"/>
                    <a:pt x="929" y="3228"/>
                    <a:pt x="1048" y="3228"/>
                  </a:cubicBezTo>
                  <a:cubicBezTo>
                    <a:pt x="1143" y="3228"/>
                    <a:pt x="1227" y="3216"/>
                    <a:pt x="1322" y="3168"/>
                  </a:cubicBezTo>
                  <a:lnTo>
                    <a:pt x="1631" y="3001"/>
                  </a:lnTo>
                  <a:cubicBezTo>
                    <a:pt x="1661" y="2989"/>
                    <a:pt x="1694" y="2983"/>
                    <a:pt x="1727" y="2983"/>
                  </a:cubicBezTo>
                  <a:cubicBezTo>
                    <a:pt x="1759" y="2983"/>
                    <a:pt x="1792" y="2989"/>
                    <a:pt x="1822" y="3001"/>
                  </a:cubicBezTo>
                  <a:lnTo>
                    <a:pt x="2143" y="3168"/>
                  </a:lnTo>
                  <a:cubicBezTo>
                    <a:pt x="2227" y="3215"/>
                    <a:pt x="2318" y="3239"/>
                    <a:pt x="2409" y="3239"/>
                  </a:cubicBezTo>
                  <a:cubicBezTo>
                    <a:pt x="2524" y="3239"/>
                    <a:pt x="2639" y="3200"/>
                    <a:pt x="2739" y="3120"/>
                  </a:cubicBezTo>
                  <a:cubicBezTo>
                    <a:pt x="2917" y="2989"/>
                    <a:pt x="2989" y="2787"/>
                    <a:pt x="2953" y="2573"/>
                  </a:cubicBezTo>
                  <a:lnTo>
                    <a:pt x="2894" y="2216"/>
                  </a:lnTo>
                  <a:cubicBezTo>
                    <a:pt x="2882" y="2144"/>
                    <a:pt x="2917" y="2085"/>
                    <a:pt x="2953" y="2025"/>
                  </a:cubicBezTo>
                  <a:lnTo>
                    <a:pt x="3215" y="1775"/>
                  </a:lnTo>
                  <a:cubicBezTo>
                    <a:pt x="3358" y="1620"/>
                    <a:pt x="3417" y="1406"/>
                    <a:pt x="3358" y="1192"/>
                  </a:cubicBezTo>
                  <a:cubicBezTo>
                    <a:pt x="3298" y="989"/>
                    <a:pt x="3120" y="834"/>
                    <a:pt x="2894" y="811"/>
                  </a:cubicBezTo>
                  <a:lnTo>
                    <a:pt x="2536" y="763"/>
                  </a:lnTo>
                  <a:cubicBezTo>
                    <a:pt x="2465" y="739"/>
                    <a:pt x="2405" y="703"/>
                    <a:pt x="2382" y="644"/>
                  </a:cubicBezTo>
                  <a:lnTo>
                    <a:pt x="2215" y="311"/>
                  </a:lnTo>
                  <a:cubicBezTo>
                    <a:pt x="2120" y="120"/>
                    <a:pt x="1929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64" name="Google Shape;10364;p59"/>
          <p:cNvGrpSpPr/>
          <p:nvPr/>
        </p:nvGrpSpPr>
        <p:grpSpPr>
          <a:xfrm>
            <a:off x="1805901" y="1960358"/>
            <a:ext cx="284847" cy="373627"/>
            <a:chOff x="1805901" y="1960358"/>
            <a:chExt cx="284847" cy="373627"/>
          </a:xfrm>
        </p:grpSpPr>
        <p:sp>
          <p:nvSpPr>
            <p:cNvPr id="10365" name="Google Shape;10365;p59"/>
            <p:cNvSpPr/>
            <p:nvPr/>
          </p:nvSpPr>
          <p:spPr>
            <a:xfrm>
              <a:off x="1805901" y="1960358"/>
              <a:ext cx="284847" cy="373627"/>
            </a:xfrm>
            <a:custGeom>
              <a:avLst/>
              <a:gdLst/>
              <a:ahLst/>
              <a:cxnLst/>
              <a:rect l="l" t="t" r="r" b="b"/>
              <a:pathLst>
                <a:path w="8942" h="11729" extrusionOk="0">
                  <a:moveTo>
                    <a:pt x="8525" y="9395"/>
                  </a:moveTo>
                  <a:lnTo>
                    <a:pt x="8525" y="9764"/>
                  </a:lnTo>
                  <a:lnTo>
                    <a:pt x="3358" y="9764"/>
                  </a:lnTo>
                  <a:cubicBezTo>
                    <a:pt x="3239" y="9764"/>
                    <a:pt x="3155" y="9859"/>
                    <a:pt x="3155" y="9978"/>
                  </a:cubicBezTo>
                  <a:cubicBezTo>
                    <a:pt x="3155" y="10097"/>
                    <a:pt x="3239" y="10180"/>
                    <a:pt x="3358" y="10180"/>
                  </a:cubicBezTo>
                  <a:lnTo>
                    <a:pt x="8525" y="10180"/>
                  </a:lnTo>
                  <a:lnTo>
                    <a:pt x="8525" y="10490"/>
                  </a:lnTo>
                  <a:lnTo>
                    <a:pt x="6775" y="10490"/>
                  </a:lnTo>
                  <a:cubicBezTo>
                    <a:pt x="6656" y="10490"/>
                    <a:pt x="6561" y="10585"/>
                    <a:pt x="6561" y="10704"/>
                  </a:cubicBezTo>
                  <a:cubicBezTo>
                    <a:pt x="6561" y="10823"/>
                    <a:pt x="6656" y="10907"/>
                    <a:pt x="6775" y="10907"/>
                  </a:cubicBezTo>
                  <a:lnTo>
                    <a:pt x="8525" y="10907"/>
                  </a:lnTo>
                  <a:lnTo>
                    <a:pt x="8525" y="11264"/>
                  </a:lnTo>
                  <a:lnTo>
                    <a:pt x="1381" y="11264"/>
                  </a:lnTo>
                  <a:cubicBezTo>
                    <a:pt x="857" y="11264"/>
                    <a:pt x="441" y="10847"/>
                    <a:pt x="441" y="10335"/>
                  </a:cubicBezTo>
                  <a:cubicBezTo>
                    <a:pt x="441" y="10073"/>
                    <a:pt x="548" y="9835"/>
                    <a:pt x="715" y="9657"/>
                  </a:cubicBezTo>
                  <a:cubicBezTo>
                    <a:pt x="893" y="9478"/>
                    <a:pt x="1131" y="9395"/>
                    <a:pt x="1381" y="9395"/>
                  </a:cubicBezTo>
                  <a:close/>
                  <a:moveTo>
                    <a:pt x="1369" y="1"/>
                  </a:moveTo>
                  <a:cubicBezTo>
                    <a:pt x="619" y="1"/>
                    <a:pt x="0" y="620"/>
                    <a:pt x="0" y="1370"/>
                  </a:cubicBezTo>
                  <a:lnTo>
                    <a:pt x="0" y="10359"/>
                  </a:lnTo>
                  <a:cubicBezTo>
                    <a:pt x="0" y="11109"/>
                    <a:pt x="607" y="11728"/>
                    <a:pt x="1369" y="11728"/>
                  </a:cubicBezTo>
                  <a:lnTo>
                    <a:pt x="8739" y="11728"/>
                  </a:lnTo>
                  <a:cubicBezTo>
                    <a:pt x="8858" y="11728"/>
                    <a:pt x="8942" y="11645"/>
                    <a:pt x="8942" y="11526"/>
                  </a:cubicBezTo>
                  <a:lnTo>
                    <a:pt x="8942" y="2191"/>
                  </a:lnTo>
                  <a:cubicBezTo>
                    <a:pt x="8942" y="2072"/>
                    <a:pt x="8858" y="1989"/>
                    <a:pt x="8739" y="1989"/>
                  </a:cubicBezTo>
                  <a:cubicBezTo>
                    <a:pt x="8620" y="1989"/>
                    <a:pt x="8525" y="2072"/>
                    <a:pt x="8525" y="2191"/>
                  </a:cubicBezTo>
                  <a:lnTo>
                    <a:pt x="8525" y="8990"/>
                  </a:lnTo>
                  <a:lnTo>
                    <a:pt x="1596" y="8990"/>
                  </a:lnTo>
                  <a:lnTo>
                    <a:pt x="1596" y="7787"/>
                  </a:lnTo>
                  <a:cubicBezTo>
                    <a:pt x="1596" y="7668"/>
                    <a:pt x="1500" y="7585"/>
                    <a:pt x="1381" y="7585"/>
                  </a:cubicBezTo>
                  <a:cubicBezTo>
                    <a:pt x="1262" y="7585"/>
                    <a:pt x="1179" y="7668"/>
                    <a:pt x="1179" y="7787"/>
                  </a:cubicBezTo>
                  <a:lnTo>
                    <a:pt x="1179" y="9002"/>
                  </a:lnTo>
                  <a:cubicBezTo>
                    <a:pt x="905" y="9049"/>
                    <a:pt x="655" y="9168"/>
                    <a:pt x="441" y="9359"/>
                  </a:cubicBezTo>
                  <a:lnTo>
                    <a:pt x="441" y="1370"/>
                  </a:lnTo>
                  <a:cubicBezTo>
                    <a:pt x="441" y="929"/>
                    <a:pt x="762" y="548"/>
                    <a:pt x="1179" y="465"/>
                  </a:cubicBezTo>
                  <a:lnTo>
                    <a:pt x="1179" y="7109"/>
                  </a:lnTo>
                  <a:cubicBezTo>
                    <a:pt x="1179" y="7228"/>
                    <a:pt x="1262" y="7311"/>
                    <a:pt x="1381" y="7311"/>
                  </a:cubicBezTo>
                  <a:cubicBezTo>
                    <a:pt x="1500" y="7311"/>
                    <a:pt x="1596" y="7216"/>
                    <a:pt x="1596" y="7109"/>
                  </a:cubicBezTo>
                  <a:lnTo>
                    <a:pt x="1596" y="441"/>
                  </a:lnTo>
                  <a:lnTo>
                    <a:pt x="8525" y="441"/>
                  </a:lnTo>
                  <a:lnTo>
                    <a:pt x="8525" y="1489"/>
                  </a:lnTo>
                  <a:cubicBezTo>
                    <a:pt x="8525" y="1608"/>
                    <a:pt x="8620" y="1703"/>
                    <a:pt x="8739" y="1703"/>
                  </a:cubicBezTo>
                  <a:cubicBezTo>
                    <a:pt x="8847" y="1703"/>
                    <a:pt x="8942" y="1608"/>
                    <a:pt x="8942" y="1489"/>
                  </a:cubicBezTo>
                  <a:lnTo>
                    <a:pt x="8942" y="215"/>
                  </a:lnTo>
                  <a:cubicBezTo>
                    <a:pt x="8942" y="96"/>
                    <a:pt x="8847" y="1"/>
                    <a:pt x="8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6" name="Google Shape;10366;p59"/>
            <p:cNvSpPr/>
            <p:nvPr/>
          </p:nvSpPr>
          <p:spPr>
            <a:xfrm>
              <a:off x="1841929" y="2295249"/>
              <a:ext cx="165773" cy="13315"/>
            </a:xfrm>
            <a:custGeom>
              <a:avLst/>
              <a:gdLst/>
              <a:ahLst/>
              <a:cxnLst/>
              <a:rect l="l" t="t" r="r" b="b"/>
              <a:pathLst>
                <a:path w="5204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8"/>
                    <a:pt x="203" y="418"/>
                  </a:cubicBezTo>
                  <a:lnTo>
                    <a:pt x="5001" y="418"/>
                  </a:lnTo>
                  <a:cubicBezTo>
                    <a:pt x="5120" y="418"/>
                    <a:pt x="5203" y="322"/>
                    <a:pt x="5203" y="203"/>
                  </a:cubicBezTo>
                  <a:cubicBezTo>
                    <a:pt x="5203" y="84"/>
                    <a:pt x="5120" y="1"/>
                    <a:pt x="5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67" name="Google Shape;10367;p59"/>
          <p:cNvSpPr/>
          <p:nvPr/>
        </p:nvSpPr>
        <p:spPr>
          <a:xfrm>
            <a:off x="3505429" y="1980076"/>
            <a:ext cx="342505" cy="334191"/>
          </a:xfrm>
          <a:custGeom>
            <a:avLst/>
            <a:gdLst/>
            <a:ahLst/>
            <a:cxnLst/>
            <a:rect l="l" t="t" r="r" b="b"/>
            <a:pathLst>
              <a:path w="10752" h="10491" extrusionOk="0">
                <a:moveTo>
                  <a:pt x="9632" y="1406"/>
                </a:moveTo>
                <a:lnTo>
                  <a:pt x="9632" y="2418"/>
                </a:lnTo>
                <a:lnTo>
                  <a:pt x="3584" y="2418"/>
                </a:lnTo>
                <a:lnTo>
                  <a:pt x="3584" y="1918"/>
                </a:lnTo>
                <a:cubicBezTo>
                  <a:pt x="3584" y="1787"/>
                  <a:pt x="3477" y="1680"/>
                  <a:pt x="3346" y="1680"/>
                </a:cubicBezTo>
                <a:lnTo>
                  <a:pt x="1905" y="1680"/>
                </a:lnTo>
                <a:cubicBezTo>
                  <a:pt x="1774" y="1680"/>
                  <a:pt x="1667" y="1787"/>
                  <a:pt x="1667" y="1918"/>
                </a:cubicBezTo>
                <a:lnTo>
                  <a:pt x="1667" y="2358"/>
                </a:lnTo>
                <a:cubicBezTo>
                  <a:pt x="1500" y="2275"/>
                  <a:pt x="1381" y="2108"/>
                  <a:pt x="1381" y="1918"/>
                </a:cubicBezTo>
                <a:cubicBezTo>
                  <a:pt x="1381" y="1632"/>
                  <a:pt x="1607" y="1406"/>
                  <a:pt x="1893" y="1406"/>
                </a:cubicBezTo>
                <a:close/>
                <a:moveTo>
                  <a:pt x="3131" y="2156"/>
                </a:moveTo>
                <a:lnTo>
                  <a:pt x="3131" y="3168"/>
                </a:lnTo>
                <a:lnTo>
                  <a:pt x="2739" y="3001"/>
                </a:lnTo>
                <a:cubicBezTo>
                  <a:pt x="2709" y="2989"/>
                  <a:pt x="2679" y="2983"/>
                  <a:pt x="2649" y="2983"/>
                </a:cubicBezTo>
                <a:cubicBezTo>
                  <a:pt x="2620" y="2983"/>
                  <a:pt x="2590" y="2989"/>
                  <a:pt x="2560" y="3001"/>
                </a:cubicBezTo>
                <a:lnTo>
                  <a:pt x="2143" y="3180"/>
                </a:lnTo>
                <a:lnTo>
                  <a:pt x="2143" y="2156"/>
                </a:lnTo>
                <a:close/>
                <a:moveTo>
                  <a:pt x="10275" y="2882"/>
                </a:moveTo>
                <a:lnTo>
                  <a:pt x="10275" y="3346"/>
                </a:lnTo>
                <a:lnTo>
                  <a:pt x="3584" y="3346"/>
                </a:lnTo>
                <a:lnTo>
                  <a:pt x="3584" y="2882"/>
                </a:lnTo>
                <a:close/>
                <a:moveTo>
                  <a:pt x="8823" y="4728"/>
                </a:moveTo>
                <a:cubicBezTo>
                  <a:pt x="9108" y="4728"/>
                  <a:pt x="9335" y="4954"/>
                  <a:pt x="9335" y="5239"/>
                </a:cubicBezTo>
                <a:cubicBezTo>
                  <a:pt x="9335" y="5430"/>
                  <a:pt x="9216" y="5609"/>
                  <a:pt x="9049" y="5680"/>
                </a:cubicBezTo>
                <a:lnTo>
                  <a:pt x="9049" y="5239"/>
                </a:lnTo>
                <a:cubicBezTo>
                  <a:pt x="9049" y="5097"/>
                  <a:pt x="8942" y="4989"/>
                  <a:pt x="8811" y="4989"/>
                </a:cubicBezTo>
                <a:lnTo>
                  <a:pt x="7358" y="4989"/>
                </a:lnTo>
                <a:cubicBezTo>
                  <a:pt x="7215" y="4989"/>
                  <a:pt x="7120" y="5097"/>
                  <a:pt x="7120" y="5239"/>
                </a:cubicBezTo>
                <a:lnTo>
                  <a:pt x="7120" y="5740"/>
                </a:lnTo>
                <a:lnTo>
                  <a:pt x="1060" y="5740"/>
                </a:lnTo>
                <a:lnTo>
                  <a:pt x="1060" y="4728"/>
                </a:lnTo>
                <a:close/>
                <a:moveTo>
                  <a:pt x="8608" y="5454"/>
                </a:moveTo>
                <a:lnTo>
                  <a:pt x="8608" y="6502"/>
                </a:lnTo>
                <a:lnTo>
                  <a:pt x="8192" y="6323"/>
                </a:lnTo>
                <a:cubicBezTo>
                  <a:pt x="8156" y="6311"/>
                  <a:pt x="8132" y="6311"/>
                  <a:pt x="8096" y="6311"/>
                </a:cubicBezTo>
                <a:cubicBezTo>
                  <a:pt x="8073" y="6311"/>
                  <a:pt x="8037" y="6311"/>
                  <a:pt x="8013" y="6323"/>
                </a:cubicBezTo>
                <a:lnTo>
                  <a:pt x="7620" y="6490"/>
                </a:lnTo>
                <a:lnTo>
                  <a:pt x="7620" y="5454"/>
                </a:lnTo>
                <a:close/>
                <a:moveTo>
                  <a:pt x="8846" y="3811"/>
                </a:moveTo>
                <a:cubicBezTo>
                  <a:pt x="9632" y="3811"/>
                  <a:pt x="10275" y="4442"/>
                  <a:pt x="10275" y="5251"/>
                </a:cubicBezTo>
                <a:cubicBezTo>
                  <a:pt x="10275" y="5632"/>
                  <a:pt x="10120" y="5990"/>
                  <a:pt x="9859" y="6263"/>
                </a:cubicBezTo>
                <a:cubicBezTo>
                  <a:pt x="9632" y="6490"/>
                  <a:pt x="9358" y="6621"/>
                  <a:pt x="9061" y="6668"/>
                </a:cubicBezTo>
                <a:lnTo>
                  <a:pt x="9061" y="6192"/>
                </a:lnTo>
                <a:cubicBezTo>
                  <a:pt x="9501" y="6085"/>
                  <a:pt x="9811" y="5692"/>
                  <a:pt x="9811" y="5239"/>
                </a:cubicBezTo>
                <a:cubicBezTo>
                  <a:pt x="9811" y="4704"/>
                  <a:pt x="9382" y="4263"/>
                  <a:pt x="8846" y="4263"/>
                </a:cubicBezTo>
                <a:lnTo>
                  <a:pt x="476" y="4263"/>
                </a:lnTo>
                <a:lnTo>
                  <a:pt x="476" y="3811"/>
                </a:lnTo>
                <a:close/>
                <a:moveTo>
                  <a:pt x="7144" y="6216"/>
                </a:moveTo>
                <a:lnTo>
                  <a:pt x="7144" y="6680"/>
                </a:lnTo>
                <a:lnTo>
                  <a:pt x="464" y="6680"/>
                </a:lnTo>
                <a:lnTo>
                  <a:pt x="464" y="6216"/>
                </a:lnTo>
                <a:close/>
                <a:moveTo>
                  <a:pt x="9632" y="8073"/>
                </a:moveTo>
                <a:lnTo>
                  <a:pt x="9632" y="9085"/>
                </a:lnTo>
                <a:lnTo>
                  <a:pt x="3584" y="9085"/>
                </a:lnTo>
                <a:lnTo>
                  <a:pt x="3584" y="8585"/>
                </a:lnTo>
                <a:cubicBezTo>
                  <a:pt x="3584" y="8454"/>
                  <a:pt x="3477" y="8347"/>
                  <a:pt x="3346" y="8347"/>
                </a:cubicBezTo>
                <a:lnTo>
                  <a:pt x="1905" y="8347"/>
                </a:lnTo>
                <a:cubicBezTo>
                  <a:pt x="1774" y="8347"/>
                  <a:pt x="1667" y="8454"/>
                  <a:pt x="1667" y="8585"/>
                </a:cubicBezTo>
                <a:lnTo>
                  <a:pt x="1667" y="9026"/>
                </a:lnTo>
                <a:cubicBezTo>
                  <a:pt x="1500" y="8942"/>
                  <a:pt x="1381" y="8776"/>
                  <a:pt x="1381" y="8585"/>
                </a:cubicBezTo>
                <a:cubicBezTo>
                  <a:pt x="1381" y="8299"/>
                  <a:pt x="1607" y="8073"/>
                  <a:pt x="1893" y="8073"/>
                </a:cubicBezTo>
                <a:close/>
                <a:moveTo>
                  <a:pt x="3131" y="8823"/>
                </a:moveTo>
                <a:lnTo>
                  <a:pt x="3131" y="9835"/>
                </a:lnTo>
                <a:lnTo>
                  <a:pt x="2739" y="9669"/>
                </a:lnTo>
                <a:cubicBezTo>
                  <a:pt x="2709" y="9657"/>
                  <a:pt x="2679" y="9651"/>
                  <a:pt x="2649" y="9651"/>
                </a:cubicBezTo>
                <a:cubicBezTo>
                  <a:pt x="2620" y="9651"/>
                  <a:pt x="2590" y="9657"/>
                  <a:pt x="2560" y="9669"/>
                </a:cubicBezTo>
                <a:lnTo>
                  <a:pt x="2143" y="9847"/>
                </a:lnTo>
                <a:lnTo>
                  <a:pt x="2143" y="8823"/>
                </a:lnTo>
                <a:close/>
                <a:moveTo>
                  <a:pt x="10275" y="7144"/>
                </a:moveTo>
                <a:lnTo>
                  <a:pt x="10275" y="7597"/>
                </a:lnTo>
                <a:lnTo>
                  <a:pt x="1905" y="7597"/>
                </a:lnTo>
                <a:cubicBezTo>
                  <a:pt x="1369" y="7597"/>
                  <a:pt x="941" y="8037"/>
                  <a:pt x="941" y="8573"/>
                </a:cubicBezTo>
                <a:cubicBezTo>
                  <a:pt x="941" y="9026"/>
                  <a:pt x="1250" y="9419"/>
                  <a:pt x="1679" y="9526"/>
                </a:cubicBezTo>
                <a:lnTo>
                  <a:pt x="1679" y="10002"/>
                </a:lnTo>
                <a:cubicBezTo>
                  <a:pt x="1381" y="9954"/>
                  <a:pt x="1119" y="9800"/>
                  <a:pt x="893" y="9597"/>
                </a:cubicBezTo>
                <a:cubicBezTo>
                  <a:pt x="631" y="9323"/>
                  <a:pt x="476" y="8954"/>
                  <a:pt x="476" y="8585"/>
                </a:cubicBezTo>
                <a:cubicBezTo>
                  <a:pt x="476" y="7787"/>
                  <a:pt x="1119" y="7144"/>
                  <a:pt x="1917" y="7144"/>
                </a:cubicBezTo>
                <a:close/>
                <a:moveTo>
                  <a:pt x="1917" y="1"/>
                </a:moveTo>
                <a:cubicBezTo>
                  <a:pt x="881" y="1"/>
                  <a:pt x="12" y="846"/>
                  <a:pt x="12" y="1906"/>
                </a:cubicBezTo>
                <a:cubicBezTo>
                  <a:pt x="12" y="2406"/>
                  <a:pt x="214" y="2882"/>
                  <a:pt x="572" y="3239"/>
                </a:cubicBezTo>
                <a:cubicBezTo>
                  <a:pt x="595" y="3275"/>
                  <a:pt x="631" y="3299"/>
                  <a:pt x="667" y="3334"/>
                </a:cubicBezTo>
                <a:lnTo>
                  <a:pt x="238" y="3334"/>
                </a:lnTo>
                <a:cubicBezTo>
                  <a:pt x="107" y="3334"/>
                  <a:pt x="0" y="3430"/>
                  <a:pt x="0" y="3573"/>
                </a:cubicBezTo>
                <a:lnTo>
                  <a:pt x="0" y="4489"/>
                </a:lnTo>
                <a:cubicBezTo>
                  <a:pt x="0" y="4620"/>
                  <a:pt x="107" y="4728"/>
                  <a:pt x="238" y="4728"/>
                </a:cubicBezTo>
                <a:lnTo>
                  <a:pt x="631" y="4728"/>
                </a:lnTo>
                <a:lnTo>
                  <a:pt x="631" y="5751"/>
                </a:lnTo>
                <a:lnTo>
                  <a:pt x="238" y="5751"/>
                </a:lnTo>
                <a:cubicBezTo>
                  <a:pt x="107" y="5751"/>
                  <a:pt x="0" y="5859"/>
                  <a:pt x="0" y="5990"/>
                </a:cubicBezTo>
                <a:lnTo>
                  <a:pt x="0" y="6918"/>
                </a:lnTo>
                <a:cubicBezTo>
                  <a:pt x="0" y="7049"/>
                  <a:pt x="107" y="7156"/>
                  <a:pt x="238" y="7156"/>
                </a:cubicBezTo>
                <a:lnTo>
                  <a:pt x="667" y="7156"/>
                </a:lnTo>
                <a:cubicBezTo>
                  <a:pt x="274" y="7502"/>
                  <a:pt x="12" y="8014"/>
                  <a:pt x="12" y="8597"/>
                </a:cubicBezTo>
                <a:cubicBezTo>
                  <a:pt x="12" y="9109"/>
                  <a:pt x="214" y="9585"/>
                  <a:pt x="572" y="9942"/>
                </a:cubicBezTo>
                <a:cubicBezTo>
                  <a:pt x="929" y="10300"/>
                  <a:pt x="1405" y="10490"/>
                  <a:pt x="1905" y="10490"/>
                </a:cubicBezTo>
                <a:lnTo>
                  <a:pt x="5394" y="10490"/>
                </a:lnTo>
                <a:cubicBezTo>
                  <a:pt x="5525" y="10490"/>
                  <a:pt x="5632" y="10383"/>
                  <a:pt x="5632" y="10252"/>
                </a:cubicBezTo>
                <a:cubicBezTo>
                  <a:pt x="5632" y="10121"/>
                  <a:pt x="5525" y="10014"/>
                  <a:pt x="5394" y="10014"/>
                </a:cubicBezTo>
                <a:lnTo>
                  <a:pt x="3584" y="10014"/>
                </a:lnTo>
                <a:lnTo>
                  <a:pt x="3584" y="9550"/>
                </a:lnTo>
                <a:lnTo>
                  <a:pt x="10275" y="9550"/>
                </a:lnTo>
                <a:lnTo>
                  <a:pt x="10275" y="10014"/>
                </a:lnTo>
                <a:lnTo>
                  <a:pt x="6477" y="10014"/>
                </a:lnTo>
                <a:cubicBezTo>
                  <a:pt x="6346" y="10014"/>
                  <a:pt x="6239" y="10121"/>
                  <a:pt x="6239" y="10252"/>
                </a:cubicBezTo>
                <a:cubicBezTo>
                  <a:pt x="6239" y="10383"/>
                  <a:pt x="6346" y="10490"/>
                  <a:pt x="6477" y="10490"/>
                </a:cubicBezTo>
                <a:lnTo>
                  <a:pt x="10513" y="10490"/>
                </a:lnTo>
                <a:cubicBezTo>
                  <a:pt x="10644" y="10490"/>
                  <a:pt x="10751" y="10383"/>
                  <a:pt x="10751" y="10252"/>
                </a:cubicBezTo>
                <a:lnTo>
                  <a:pt x="10751" y="9323"/>
                </a:lnTo>
                <a:cubicBezTo>
                  <a:pt x="10751" y="9192"/>
                  <a:pt x="10644" y="9085"/>
                  <a:pt x="10513" y="9085"/>
                </a:cubicBezTo>
                <a:lnTo>
                  <a:pt x="10120" y="9085"/>
                </a:lnTo>
                <a:lnTo>
                  <a:pt x="10120" y="8061"/>
                </a:lnTo>
                <a:lnTo>
                  <a:pt x="10513" y="8061"/>
                </a:lnTo>
                <a:cubicBezTo>
                  <a:pt x="10644" y="8061"/>
                  <a:pt x="10751" y="7954"/>
                  <a:pt x="10751" y="7823"/>
                </a:cubicBezTo>
                <a:lnTo>
                  <a:pt x="10751" y="6906"/>
                </a:lnTo>
                <a:cubicBezTo>
                  <a:pt x="10751" y="6763"/>
                  <a:pt x="10644" y="6668"/>
                  <a:pt x="10513" y="6668"/>
                </a:cubicBezTo>
                <a:lnTo>
                  <a:pt x="10073" y="6668"/>
                </a:lnTo>
                <a:cubicBezTo>
                  <a:pt x="10109" y="6633"/>
                  <a:pt x="10156" y="6609"/>
                  <a:pt x="10180" y="6573"/>
                </a:cubicBezTo>
                <a:cubicBezTo>
                  <a:pt x="10537" y="6216"/>
                  <a:pt x="10728" y="5740"/>
                  <a:pt x="10728" y="5239"/>
                </a:cubicBezTo>
                <a:cubicBezTo>
                  <a:pt x="10728" y="4656"/>
                  <a:pt x="10478" y="4144"/>
                  <a:pt x="10073" y="3787"/>
                </a:cubicBezTo>
                <a:lnTo>
                  <a:pt x="10513" y="3787"/>
                </a:lnTo>
                <a:cubicBezTo>
                  <a:pt x="10644" y="3787"/>
                  <a:pt x="10751" y="3692"/>
                  <a:pt x="10751" y="3549"/>
                </a:cubicBezTo>
                <a:lnTo>
                  <a:pt x="10751" y="2632"/>
                </a:lnTo>
                <a:cubicBezTo>
                  <a:pt x="10751" y="2501"/>
                  <a:pt x="10644" y="2394"/>
                  <a:pt x="10513" y="2394"/>
                </a:cubicBezTo>
                <a:lnTo>
                  <a:pt x="10120" y="2394"/>
                </a:lnTo>
                <a:lnTo>
                  <a:pt x="10120" y="1370"/>
                </a:lnTo>
                <a:lnTo>
                  <a:pt x="10513" y="1394"/>
                </a:lnTo>
                <a:cubicBezTo>
                  <a:pt x="10644" y="1394"/>
                  <a:pt x="10751" y="1287"/>
                  <a:pt x="10751" y="1156"/>
                </a:cubicBezTo>
                <a:lnTo>
                  <a:pt x="10751" y="239"/>
                </a:lnTo>
                <a:cubicBezTo>
                  <a:pt x="10751" y="96"/>
                  <a:pt x="10644" y="1"/>
                  <a:pt x="10513" y="1"/>
                </a:cubicBezTo>
                <a:lnTo>
                  <a:pt x="8942" y="1"/>
                </a:lnTo>
                <a:cubicBezTo>
                  <a:pt x="8811" y="1"/>
                  <a:pt x="8704" y="96"/>
                  <a:pt x="8704" y="239"/>
                </a:cubicBezTo>
                <a:cubicBezTo>
                  <a:pt x="8704" y="370"/>
                  <a:pt x="8811" y="477"/>
                  <a:pt x="8942" y="477"/>
                </a:cubicBezTo>
                <a:lnTo>
                  <a:pt x="10287" y="477"/>
                </a:lnTo>
                <a:lnTo>
                  <a:pt x="10287" y="929"/>
                </a:lnTo>
                <a:lnTo>
                  <a:pt x="1905" y="929"/>
                </a:lnTo>
                <a:cubicBezTo>
                  <a:pt x="1369" y="929"/>
                  <a:pt x="941" y="1370"/>
                  <a:pt x="941" y="1906"/>
                </a:cubicBezTo>
                <a:cubicBezTo>
                  <a:pt x="941" y="2358"/>
                  <a:pt x="1250" y="2751"/>
                  <a:pt x="1679" y="2858"/>
                </a:cubicBezTo>
                <a:lnTo>
                  <a:pt x="1679" y="3334"/>
                </a:lnTo>
                <a:cubicBezTo>
                  <a:pt x="1381" y="3287"/>
                  <a:pt x="1119" y="3156"/>
                  <a:pt x="893" y="2930"/>
                </a:cubicBezTo>
                <a:cubicBezTo>
                  <a:pt x="631" y="2656"/>
                  <a:pt x="476" y="2287"/>
                  <a:pt x="476" y="1918"/>
                </a:cubicBezTo>
                <a:cubicBezTo>
                  <a:pt x="476" y="1132"/>
                  <a:pt x="1119" y="477"/>
                  <a:pt x="1917" y="477"/>
                </a:cubicBezTo>
                <a:lnTo>
                  <a:pt x="7870" y="477"/>
                </a:lnTo>
                <a:cubicBezTo>
                  <a:pt x="8013" y="477"/>
                  <a:pt x="8108" y="370"/>
                  <a:pt x="8108" y="239"/>
                </a:cubicBezTo>
                <a:cubicBezTo>
                  <a:pt x="8108" y="96"/>
                  <a:pt x="8013" y="1"/>
                  <a:pt x="7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8" name="Google Shape;10368;p59"/>
          <p:cNvSpPr/>
          <p:nvPr/>
        </p:nvSpPr>
        <p:spPr>
          <a:xfrm>
            <a:off x="7100552" y="1984249"/>
            <a:ext cx="368690" cy="334541"/>
          </a:xfrm>
          <a:custGeom>
            <a:avLst/>
            <a:gdLst/>
            <a:ahLst/>
            <a:cxnLst/>
            <a:rect l="l" t="t" r="r" b="b"/>
            <a:pathLst>
              <a:path w="11574" h="10502" extrusionOk="0">
                <a:moveTo>
                  <a:pt x="4370" y="1560"/>
                </a:moveTo>
                <a:lnTo>
                  <a:pt x="4287" y="2668"/>
                </a:lnTo>
                <a:cubicBezTo>
                  <a:pt x="4287" y="2692"/>
                  <a:pt x="4251" y="2703"/>
                  <a:pt x="4227" y="2703"/>
                </a:cubicBezTo>
                <a:lnTo>
                  <a:pt x="3525" y="2703"/>
                </a:lnTo>
                <a:cubicBezTo>
                  <a:pt x="3489" y="2703"/>
                  <a:pt x="3465" y="2680"/>
                  <a:pt x="3465" y="2668"/>
                </a:cubicBezTo>
                <a:lnTo>
                  <a:pt x="3358" y="1560"/>
                </a:lnTo>
                <a:close/>
                <a:moveTo>
                  <a:pt x="1084" y="3442"/>
                </a:moveTo>
                <a:cubicBezTo>
                  <a:pt x="2048" y="3525"/>
                  <a:pt x="2858" y="4335"/>
                  <a:pt x="2941" y="5311"/>
                </a:cubicBezTo>
                <a:lnTo>
                  <a:pt x="1084" y="5311"/>
                </a:lnTo>
                <a:lnTo>
                  <a:pt x="1084" y="3442"/>
                </a:lnTo>
                <a:close/>
                <a:moveTo>
                  <a:pt x="3989" y="5656"/>
                </a:moveTo>
                <a:lnTo>
                  <a:pt x="3989" y="8264"/>
                </a:lnTo>
                <a:lnTo>
                  <a:pt x="1072" y="8264"/>
                </a:lnTo>
                <a:lnTo>
                  <a:pt x="1072" y="5656"/>
                </a:lnTo>
                <a:close/>
                <a:moveTo>
                  <a:pt x="2370" y="8585"/>
                </a:moveTo>
                <a:lnTo>
                  <a:pt x="2370" y="10192"/>
                </a:lnTo>
                <a:lnTo>
                  <a:pt x="2191" y="10192"/>
                </a:lnTo>
                <a:lnTo>
                  <a:pt x="2191" y="8585"/>
                </a:lnTo>
                <a:close/>
                <a:moveTo>
                  <a:pt x="11026" y="4311"/>
                </a:moveTo>
                <a:cubicBezTo>
                  <a:pt x="11133" y="4311"/>
                  <a:pt x="11216" y="4406"/>
                  <a:pt x="11216" y="4513"/>
                </a:cubicBezTo>
                <a:lnTo>
                  <a:pt x="11240" y="10192"/>
                </a:lnTo>
                <a:lnTo>
                  <a:pt x="10835" y="10192"/>
                </a:lnTo>
                <a:lnTo>
                  <a:pt x="10835" y="4513"/>
                </a:lnTo>
                <a:cubicBezTo>
                  <a:pt x="10835" y="4406"/>
                  <a:pt x="10919" y="4311"/>
                  <a:pt x="11026" y="4311"/>
                </a:cubicBezTo>
                <a:close/>
                <a:moveTo>
                  <a:pt x="2334" y="1"/>
                </a:moveTo>
                <a:cubicBezTo>
                  <a:pt x="2072" y="1"/>
                  <a:pt x="1858" y="227"/>
                  <a:pt x="1858" y="477"/>
                </a:cubicBezTo>
                <a:lnTo>
                  <a:pt x="1858" y="3263"/>
                </a:lnTo>
                <a:cubicBezTo>
                  <a:pt x="1620" y="3156"/>
                  <a:pt x="1358" y="3096"/>
                  <a:pt x="1084" y="3084"/>
                </a:cubicBezTo>
                <a:lnTo>
                  <a:pt x="1084" y="1370"/>
                </a:lnTo>
                <a:cubicBezTo>
                  <a:pt x="1084" y="1072"/>
                  <a:pt x="846" y="834"/>
                  <a:pt x="548" y="834"/>
                </a:cubicBezTo>
                <a:cubicBezTo>
                  <a:pt x="251" y="834"/>
                  <a:pt x="12" y="1072"/>
                  <a:pt x="12" y="1370"/>
                </a:cubicBezTo>
                <a:lnTo>
                  <a:pt x="12" y="4954"/>
                </a:lnTo>
                <a:cubicBezTo>
                  <a:pt x="12" y="5049"/>
                  <a:pt x="84" y="5120"/>
                  <a:pt x="179" y="5120"/>
                </a:cubicBezTo>
                <a:cubicBezTo>
                  <a:pt x="262" y="5120"/>
                  <a:pt x="346" y="5049"/>
                  <a:pt x="346" y="4954"/>
                </a:cubicBezTo>
                <a:lnTo>
                  <a:pt x="346" y="1370"/>
                </a:lnTo>
                <a:cubicBezTo>
                  <a:pt x="346" y="1263"/>
                  <a:pt x="429" y="1179"/>
                  <a:pt x="536" y="1179"/>
                </a:cubicBezTo>
                <a:cubicBezTo>
                  <a:pt x="643" y="1179"/>
                  <a:pt x="727" y="1263"/>
                  <a:pt x="727" y="1370"/>
                </a:cubicBezTo>
                <a:lnTo>
                  <a:pt x="727" y="10133"/>
                </a:lnTo>
                <a:lnTo>
                  <a:pt x="322" y="10133"/>
                </a:lnTo>
                <a:lnTo>
                  <a:pt x="322" y="5775"/>
                </a:lnTo>
                <a:cubicBezTo>
                  <a:pt x="322" y="5680"/>
                  <a:pt x="251" y="5609"/>
                  <a:pt x="167" y="5609"/>
                </a:cubicBezTo>
                <a:cubicBezTo>
                  <a:pt x="72" y="5609"/>
                  <a:pt x="0" y="5680"/>
                  <a:pt x="0" y="5775"/>
                </a:cubicBezTo>
                <a:lnTo>
                  <a:pt x="0" y="10300"/>
                </a:lnTo>
                <a:cubicBezTo>
                  <a:pt x="0" y="10383"/>
                  <a:pt x="72" y="10466"/>
                  <a:pt x="167" y="10466"/>
                </a:cubicBezTo>
                <a:lnTo>
                  <a:pt x="893" y="10466"/>
                </a:lnTo>
                <a:cubicBezTo>
                  <a:pt x="977" y="10466"/>
                  <a:pt x="1060" y="10383"/>
                  <a:pt x="1060" y="10300"/>
                </a:cubicBezTo>
                <a:lnTo>
                  <a:pt x="1060" y="8537"/>
                </a:lnTo>
                <a:lnTo>
                  <a:pt x="1834" y="8537"/>
                </a:lnTo>
                <a:lnTo>
                  <a:pt x="1834" y="10300"/>
                </a:lnTo>
                <a:cubicBezTo>
                  <a:pt x="1834" y="10383"/>
                  <a:pt x="1905" y="10466"/>
                  <a:pt x="1989" y="10466"/>
                </a:cubicBezTo>
                <a:lnTo>
                  <a:pt x="2513" y="10466"/>
                </a:lnTo>
                <a:cubicBezTo>
                  <a:pt x="2596" y="10466"/>
                  <a:pt x="2679" y="10383"/>
                  <a:pt x="2679" y="10300"/>
                </a:cubicBezTo>
                <a:lnTo>
                  <a:pt x="2679" y="8537"/>
                </a:lnTo>
                <a:lnTo>
                  <a:pt x="3965" y="8537"/>
                </a:lnTo>
                <a:lnTo>
                  <a:pt x="3965" y="8954"/>
                </a:lnTo>
                <a:cubicBezTo>
                  <a:pt x="3965" y="9049"/>
                  <a:pt x="4049" y="9121"/>
                  <a:pt x="4132" y="9121"/>
                </a:cubicBezTo>
                <a:lnTo>
                  <a:pt x="7299" y="9121"/>
                </a:lnTo>
                <a:cubicBezTo>
                  <a:pt x="7394" y="9121"/>
                  <a:pt x="7466" y="9049"/>
                  <a:pt x="7466" y="8954"/>
                </a:cubicBezTo>
                <a:cubicBezTo>
                  <a:pt x="7466" y="8871"/>
                  <a:pt x="7394" y="8799"/>
                  <a:pt x="7299" y="8799"/>
                </a:cubicBezTo>
                <a:lnTo>
                  <a:pt x="4311" y="8799"/>
                </a:lnTo>
                <a:lnTo>
                  <a:pt x="4311" y="5168"/>
                </a:lnTo>
                <a:lnTo>
                  <a:pt x="10490" y="5168"/>
                </a:lnTo>
                <a:lnTo>
                  <a:pt x="10490" y="8835"/>
                </a:lnTo>
                <a:lnTo>
                  <a:pt x="8109" y="8835"/>
                </a:lnTo>
                <a:cubicBezTo>
                  <a:pt x="8025" y="8835"/>
                  <a:pt x="7942" y="8918"/>
                  <a:pt x="7942" y="9002"/>
                </a:cubicBezTo>
                <a:cubicBezTo>
                  <a:pt x="7942" y="9097"/>
                  <a:pt x="8025" y="9168"/>
                  <a:pt x="8109" y="9168"/>
                </a:cubicBezTo>
                <a:lnTo>
                  <a:pt x="10490" y="9168"/>
                </a:lnTo>
                <a:lnTo>
                  <a:pt x="10490" y="10347"/>
                </a:lnTo>
                <a:cubicBezTo>
                  <a:pt x="10490" y="10431"/>
                  <a:pt x="10561" y="10502"/>
                  <a:pt x="10657" y="10502"/>
                </a:cubicBezTo>
                <a:lnTo>
                  <a:pt x="11383" y="10502"/>
                </a:lnTo>
                <a:cubicBezTo>
                  <a:pt x="11466" y="10502"/>
                  <a:pt x="11550" y="10431"/>
                  <a:pt x="11550" y="10347"/>
                </a:cubicBezTo>
                <a:lnTo>
                  <a:pt x="11550" y="4477"/>
                </a:lnTo>
                <a:cubicBezTo>
                  <a:pt x="11573" y="4192"/>
                  <a:pt x="11323" y="3954"/>
                  <a:pt x="11026" y="3954"/>
                </a:cubicBezTo>
                <a:cubicBezTo>
                  <a:pt x="10728" y="3954"/>
                  <a:pt x="10490" y="4192"/>
                  <a:pt x="10490" y="4489"/>
                </a:cubicBezTo>
                <a:lnTo>
                  <a:pt x="10490" y="4823"/>
                </a:lnTo>
                <a:lnTo>
                  <a:pt x="4156" y="4823"/>
                </a:lnTo>
                <a:cubicBezTo>
                  <a:pt x="4061" y="4823"/>
                  <a:pt x="3989" y="4894"/>
                  <a:pt x="3989" y="4989"/>
                </a:cubicBezTo>
                <a:lnTo>
                  <a:pt x="3989" y="5311"/>
                </a:lnTo>
                <a:lnTo>
                  <a:pt x="3275" y="5311"/>
                </a:lnTo>
                <a:cubicBezTo>
                  <a:pt x="3227" y="4787"/>
                  <a:pt x="3025" y="4311"/>
                  <a:pt x="2703" y="3930"/>
                </a:cubicBezTo>
                <a:lnTo>
                  <a:pt x="2703" y="882"/>
                </a:lnTo>
                <a:lnTo>
                  <a:pt x="3715" y="882"/>
                </a:lnTo>
                <a:lnTo>
                  <a:pt x="3715" y="1203"/>
                </a:lnTo>
                <a:lnTo>
                  <a:pt x="3203" y="1203"/>
                </a:lnTo>
                <a:cubicBezTo>
                  <a:pt x="3096" y="1203"/>
                  <a:pt x="3025" y="1298"/>
                  <a:pt x="3037" y="1394"/>
                </a:cubicBezTo>
                <a:lnTo>
                  <a:pt x="3156" y="2680"/>
                </a:lnTo>
                <a:cubicBezTo>
                  <a:pt x="3168" y="2882"/>
                  <a:pt x="3346" y="3037"/>
                  <a:pt x="3537" y="3037"/>
                </a:cubicBezTo>
                <a:lnTo>
                  <a:pt x="3715" y="3037"/>
                </a:lnTo>
                <a:lnTo>
                  <a:pt x="3715" y="3989"/>
                </a:lnTo>
                <a:cubicBezTo>
                  <a:pt x="3715" y="4073"/>
                  <a:pt x="3799" y="4156"/>
                  <a:pt x="3882" y="4156"/>
                </a:cubicBezTo>
                <a:cubicBezTo>
                  <a:pt x="3977" y="4156"/>
                  <a:pt x="4049" y="4073"/>
                  <a:pt x="4049" y="3989"/>
                </a:cubicBezTo>
                <a:lnTo>
                  <a:pt x="4049" y="3037"/>
                </a:lnTo>
                <a:lnTo>
                  <a:pt x="4227" y="3037"/>
                </a:lnTo>
                <a:cubicBezTo>
                  <a:pt x="4430" y="3037"/>
                  <a:pt x="4596" y="2882"/>
                  <a:pt x="4608" y="2680"/>
                </a:cubicBezTo>
                <a:lnTo>
                  <a:pt x="4727" y="1394"/>
                </a:lnTo>
                <a:cubicBezTo>
                  <a:pt x="4727" y="1358"/>
                  <a:pt x="4715" y="1310"/>
                  <a:pt x="4692" y="1263"/>
                </a:cubicBezTo>
                <a:cubicBezTo>
                  <a:pt x="4656" y="1239"/>
                  <a:pt x="4608" y="1203"/>
                  <a:pt x="4572" y="1203"/>
                </a:cubicBezTo>
                <a:lnTo>
                  <a:pt x="4049" y="1203"/>
                </a:lnTo>
                <a:lnTo>
                  <a:pt x="4049" y="882"/>
                </a:lnTo>
                <a:lnTo>
                  <a:pt x="4394" y="882"/>
                </a:lnTo>
                <a:cubicBezTo>
                  <a:pt x="4632" y="882"/>
                  <a:pt x="4823" y="679"/>
                  <a:pt x="4823" y="441"/>
                </a:cubicBezTo>
                <a:cubicBezTo>
                  <a:pt x="4823" y="203"/>
                  <a:pt x="4632" y="13"/>
                  <a:pt x="4394" y="13"/>
                </a:cubicBezTo>
                <a:lnTo>
                  <a:pt x="3632" y="13"/>
                </a:lnTo>
                <a:cubicBezTo>
                  <a:pt x="3537" y="13"/>
                  <a:pt x="3465" y="84"/>
                  <a:pt x="3465" y="179"/>
                </a:cubicBezTo>
                <a:cubicBezTo>
                  <a:pt x="3465" y="263"/>
                  <a:pt x="3537" y="346"/>
                  <a:pt x="3632" y="346"/>
                </a:cubicBezTo>
                <a:lnTo>
                  <a:pt x="4394" y="346"/>
                </a:lnTo>
                <a:cubicBezTo>
                  <a:pt x="4430" y="346"/>
                  <a:pt x="4477" y="382"/>
                  <a:pt x="4477" y="429"/>
                </a:cubicBezTo>
                <a:cubicBezTo>
                  <a:pt x="4477" y="477"/>
                  <a:pt x="4430" y="525"/>
                  <a:pt x="4394" y="525"/>
                </a:cubicBezTo>
                <a:lnTo>
                  <a:pt x="2525" y="525"/>
                </a:lnTo>
                <a:cubicBezTo>
                  <a:pt x="2441" y="525"/>
                  <a:pt x="2370" y="596"/>
                  <a:pt x="2370" y="679"/>
                </a:cubicBezTo>
                <a:lnTo>
                  <a:pt x="2370" y="3573"/>
                </a:lnTo>
                <a:cubicBezTo>
                  <a:pt x="2334" y="3561"/>
                  <a:pt x="2191" y="3442"/>
                  <a:pt x="2191" y="3442"/>
                </a:cubicBezTo>
                <a:lnTo>
                  <a:pt x="2191" y="477"/>
                </a:lnTo>
                <a:cubicBezTo>
                  <a:pt x="2191" y="406"/>
                  <a:pt x="2251" y="322"/>
                  <a:pt x="2334" y="322"/>
                </a:cubicBezTo>
                <a:lnTo>
                  <a:pt x="2870" y="322"/>
                </a:lnTo>
                <a:cubicBezTo>
                  <a:pt x="2965" y="322"/>
                  <a:pt x="3037" y="251"/>
                  <a:pt x="3037" y="167"/>
                </a:cubicBezTo>
                <a:cubicBezTo>
                  <a:pt x="3037" y="72"/>
                  <a:pt x="2965" y="1"/>
                  <a:pt x="2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9" name="Google Shape;10369;p59"/>
          <p:cNvSpPr/>
          <p:nvPr/>
        </p:nvSpPr>
        <p:spPr>
          <a:xfrm>
            <a:off x="7955445" y="2011198"/>
            <a:ext cx="383088" cy="286472"/>
          </a:xfrm>
          <a:custGeom>
            <a:avLst/>
            <a:gdLst/>
            <a:ahLst/>
            <a:cxnLst/>
            <a:rect l="l" t="t" r="r" b="b"/>
            <a:pathLst>
              <a:path w="12026" h="8993" extrusionOk="0">
                <a:moveTo>
                  <a:pt x="3929" y="0"/>
                </a:moveTo>
                <a:cubicBezTo>
                  <a:pt x="1691" y="0"/>
                  <a:pt x="0" y="2322"/>
                  <a:pt x="1167" y="4763"/>
                </a:cubicBezTo>
                <a:lnTo>
                  <a:pt x="453" y="4763"/>
                </a:lnTo>
                <a:cubicBezTo>
                  <a:pt x="369" y="4763"/>
                  <a:pt x="298" y="4834"/>
                  <a:pt x="298" y="4929"/>
                </a:cubicBezTo>
                <a:cubicBezTo>
                  <a:pt x="298" y="5013"/>
                  <a:pt x="369" y="5096"/>
                  <a:pt x="453" y="5096"/>
                </a:cubicBezTo>
                <a:lnTo>
                  <a:pt x="1346" y="5096"/>
                </a:lnTo>
                <a:cubicBezTo>
                  <a:pt x="2334" y="6727"/>
                  <a:pt x="4382" y="7918"/>
                  <a:pt x="5977" y="8965"/>
                </a:cubicBezTo>
                <a:cubicBezTo>
                  <a:pt x="6007" y="8983"/>
                  <a:pt x="6040" y="8992"/>
                  <a:pt x="6071" y="8992"/>
                </a:cubicBezTo>
                <a:cubicBezTo>
                  <a:pt x="6102" y="8992"/>
                  <a:pt x="6132" y="8983"/>
                  <a:pt x="6156" y="8965"/>
                </a:cubicBezTo>
                <a:cubicBezTo>
                  <a:pt x="7751" y="7930"/>
                  <a:pt x="9799" y="6739"/>
                  <a:pt x="10787" y="5096"/>
                </a:cubicBezTo>
                <a:lnTo>
                  <a:pt x="11680" y="5096"/>
                </a:lnTo>
                <a:cubicBezTo>
                  <a:pt x="11764" y="5096"/>
                  <a:pt x="11847" y="5013"/>
                  <a:pt x="11847" y="4929"/>
                </a:cubicBezTo>
                <a:cubicBezTo>
                  <a:pt x="11883" y="4774"/>
                  <a:pt x="11811" y="4703"/>
                  <a:pt x="11704" y="4703"/>
                </a:cubicBezTo>
                <a:lnTo>
                  <a:pt x="10990" y="4703"/>
                </a:lnTo>
                <a:cubicBezTo>
                  <a:pt x="12025" y="2572"/>
                  <a:pt x="10859" y="452"/>
                  <a:pt x="8930" y="12"/>
                </a:cubicBezTo>
                <a:cubicBezTo>
                  <a:pt x="8922" y="11"/>
                  <a:pt x="8914" y="10"/>
                  <a:pt x="8906" y="10"/>
                </a:cubicBezTo>
                <a:cubicBezTo>
                  <a:pt x="8821" y="10"/>
                  <a:pt x="8748" y="68"/>
                  <a:pt x="8716" y="155"/>
                </a:cubicBezTo>
                <a:cubicBezTo>
                  <a:pt x="8704" y="238"/>
                  <a:pt x="8763" y="333"/>
                  <a:pt x="8847" y="357"/>
                </a:cubicBezTo>
                <a:cubicBezTo>
                  <a:pt x="10609" y="762"/>
                  <a:pt x="11668" y="2738"/>
                  <a:pt x="10621" y="4715"/>
                </a:cubicBezTo>
                <a:lnTo>
                  <a:pt x="10001" y="4715"/>
                </a:lnTo>
                <a:lnTo>
                  <a:pt x="9418" y="3548"/>
                </a:lnTo>
                <a:cubicBezTo>
                  <a:pt x="9385" y="3483"/>
                  <a:pt x="9325" y="3452"/>
                  <a:pt x="9266" y="3452"/>
                </a:cubicBezTo>
                <a:cubicBezTo>
                  <a:pt x="9196" y="3452"/>
                  <a:pt x="9128" y="3495"/>
                  <a:pt x="9108" y="3572"/>
                </a:cubicBezTo>
                <a:lnTo>
                  <a:pt x="8573" y="5251"/>
                </a:lnTo>
                <a:lnTo>
                  <a:pt x="7954" y="3870"/>
                </a:lnTo>
                <a:cubicBezTo>
                  <a:pt x="7927" y="3808"/>
                  <a:pt x="7868" y="3772"/>
                  <a:pt x="7806" y="3772"/>
                </a:cubicBezTo>
                <a:cubicBezTo>
                  <a:pt x="7784" y="3772"/>
                  <a:pt x="7761" y="3777"/>
                  <a:pt x="7739" y="3786"/>
                </a:cubicBezTo>
                <a:cubicBezTo>
                  <a:pt x="7644" y="3822"/>
                  <a:pt x="7620" y="3917"/>
                  <a:pt x="7644" y="4001"/>
                </a:cubicBezTo>
                <a:lnTo>
                  <a:pt x="8430" y="5810"/>
                </a:lnTo>
                <a:cubicBezTo>
                  <a:pt x="8458" y="5877"/>
                  <a:pt x="8520" y="5910"/>
                  <a:pt x="8583" y="5910"/>
                </a:cubicBezTo>
                <a:cubicBezTo>
                  <a:pt x="8654" y="5910"/>
                  <a:pt x="8726" y="5869"/>
                  <a:pt x="8751" y="5786"/>
                </a:cubicBezTo>
                <a:lnTo>
                  <a:pt x="9299" y="4084"/>
                </a:lnTo>
                <a:lnTo>
                  <a:pt x="9739" y="4989"/>
                </a:lnTo>
                <a:cubicBezTo>
                  <a:pt x="9775" y="5048"/>
                  <a:pt x="9835" y="5072"/>
                  <a:pt x="9894" y="5072"/>
                </a:cubicBezTo>
                <a:lnTo>
                  <a:pt x="10418" y="5072"/>
                </a:lnTo>
                <a:cubicBezTo>
                  <a:pt x="9323" y="6715"/>
                  <a:pt x="6989" y="7965"/>
                  <a:pt x="6084" y="8584"/>
                </a:cubicBezTo>
                <a:cubicBezTo>
                  <a:pt x="4644" y="7656"/>
                  <a:pt x="2715" y="6537"/>
                  <a:pt x="1750" y="5072"/>
                </a:cubicBezTo>
                <a:lnTo>
                  <a:pt x="2572" y="5072"/>
                </a:lnTo>
                <a:cubicBezTo>
                  <a:pt x="2631" y="5072"/>
                  <a:pt x="2691" y="5036"/>
                  <a:pt x="2715" y="4989"/>
                </a:cubicBezTo>
                <a:lnTo>
                  <a:pt x="3453" y="3500"/>
                </a:lnTo>
                <a:lnTo>
                  <a:pt x="4358" y="6167"/>
                </a:lnTo>
                <a:cubicBezTo>
                  <a:pt x="4387" y="6243"/>
                  <a:pt x="4456" y="6279"/>
                  <a:pt x="4523" y="6279"/>
                </a:cubicBezTo>
                <a:cubicBezTo>
                  <a:pt x="4593" y="6279"/>
                  <a:pt x="4661" y="6240"/>
                  <a:pt x="4679" y="6167"/>
                </a:cubicBezTo>
                <a:lnTo>
                  <a:pt x="5394" y="3739"/>
                </a:lnTo>
                <a:lnTo>
                  <a:pt x="6049" y="4822"/>
                </a:lnTo>
                <a:cubicBezTo>
                  <a:pt x="6087" y="4877"/>
                  <a:pt x="6146" y="4904"/>
                  <a:pt x="6202" y="4904"/>
                </a:cubicBezTo>
                <a:cubicBezTo>
                  <a:pt x="6267" y="4904"/>
                  <a:pt x="6327" y="4868"/>
                  <a:pt x="6346" y="4798"/>
                </a:cubicBezTo>
                <a:lnTo>
                  <a:pt x="7120" y="2893"/>
                </a:lnTo>
                <a:lnTo>
                  <a:pt x="7358" y="3429"/>
                </a:lnTo>
                <a:cubicBezTo>
                  <a:pt x="7393" y="3491"/>
                  <a:pt x="7455" y="3526"/>
                  <a:pt x="7518" y="3526"/>
                </a:cubicBezTo>
                <a:cubicBezTo>
                  <a:pt x="7540" y="3526"/>
                  <a:pt x="7563" y="3522"/>
                  <a:pt x="7584" y="3512"/>
                </a:cubicBezTo>
                <a:cubicBezTo>
                  <a:pt x="7680" y="3465"/>
                  <a:pt x="7704" y="3381"/>
                  <a:pt x="7680" y="3286"/>
                </a:cubicBezTo>
                <a:lnTo>
                  <a:pt x="7287" y="2393"/>
                </a:lnTo>
                <a:cubicBezTo>
                  <a:pt x="7257" y="2328"/>
                  <a:pt x="7195" y="2295"/>
                  <a:pt x="7132" y="2295"/>
                </a:cubicBezTo>
                <a:cubicBezTo>
                  <a:pt x="7070" y="2295"/>
                  <a:pt x="7007" y="2328"/>
                  <a:pt x="6977" y="2393"/>
                </a:cubicBezTo>
                <a:lnTo>
                  <a:pt x="6168" y="4358"/>
                </a:lnTo>
                <a:lnTo>
                  <a:pt x="5501" y="3227"/>
                </a:lnTo>
                <a:cubicBezTo>
                  <a:pt x="5470" y="3171"/>
                  <a:pt x="5419" y="3145"/>
                  <a:pt x="5365" y="3145"/>
                </a:cubicBezTo>
                <a:cubicBezTo>
                  <a:pt x="5293" y="3145"/>
                  <a:pt x="5219" y="3192"/>
                  <a:pt x="5191" y="3274"/>
                </a:cubicBezTo>
                <a:lnTo>
                  <a:pt x="4501" y="5572"/>
                </a:lnTo>
                <a:lnTo>
                  <a:pt x="3643" y="3024"/>
                </a:lnTo>
                <a:cubicBezTo>
                  <a:pt x="3618" y="2942"/>
                  <a:pt x="3550" y="2900"/>
                  <a:pt x="3482" y="2900"/>
                </a:cubicBezTo>
                <a:cubicBezTo>
                  <a:pt x="3421" y="2900"/>
                  <a:pt x="3362" y="2933"/>
                  <a:pt x="3334" y="3000"/>
                </a:cubicBezTo>
                <a:lnTo>
                  <a:pt x="2465" y="4774"/>
                </a:lnTo>
                <a:lnTo>
                  <a:pt x="1548" y="4774"/>
                </a:lnTo>
                <a:cubicBezTo>
                  <a:pt x="357" y="2548"/>
                  <a:pt x="1869" y="345"/>
                  <a:pt x="3929" y="345"/>
                </a:cubicBezTo>
                <a:cubicBezTo>
                  <a:pt x="4703" y="345"/>
                  <a:pt x="5418" y="655"/>
                  <a:pt x="5953" y="1203"/>
                </a:cubicBezTo>
                <a:cubicBezTo>
                  <a:pt x="5989" y="1238"/>
                  <a:pt x="6034" y="1256"/>
                  <a:pt x="6078" y="1256"/>
                </a:cubicBezTo>
                <a:cubicBezTo>
                  <a:pt x="6123" y="1256"/>
                  <a:pt x="6168" y="1238"/>
                  <a:pt x="6203" y="1203"/>
                </a:cubicBezTo>
                <a:cubicBezTo>
                  <a:pt x="6668" y="714"/>
                  <a:pt x="7287" y="417"/>
                  <a:pt x="7954" y="357"/>
                </a:cubicBezTo>
                <a:cubicBezTo>
                  <a:pt x="8049" y="345"/>
                  <a:pt x="8120" y="262"/>
                  <a:pt x="8108" y="167"/>
                </a:cubicBezTo>
                <a:cubicBezTo>
                  <a:pt x="8097" y="78"/>
                  <a:pt x="8025" y="11"/>
                  <a:pt x="7939" y="11"/>
                </a:cubicBezTo>
                <a:cubicBezTo>
                  <a:pt x="7932" y="11"/>
                  <a:pt x="7925" y="11"/>
                  <a:pt x="7918" y="12"/>
                </a:cubicBezTo>
                <a:cubicBezTo>
                  <a:pt x="7215" y="83"/>
                  <a:pt x="6572" y="369"/>
                  <a:pt x="6072" y="845"/>
                </a:cubicBezTo>
                <a:cubicBezTo>
                  <a:pt x="5489" y="298"/>
                  <a:pt x="4727" y="0"/>
                  <a:pt x="392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370" name="Google Shape;10370;p59"/>
          <p:cNvGrpSpPr/>
          <p:nvPr/>
        </p:nvGrpSpPr>
        <p:grpSpPr>
          <a:xfrm>
            <a:off x="6656812" y="2029388"/>
            <a:ext cx="368690" cy="245793"/>
            <a:chOff x="6656812" y="2029388"/>
            <a:chExt cx="368690" cy="245793"/>
          </a:xfrm>
        </p:grpSpPr>
        <p:sp>
          <p:nvSpPr>
            <p:cNvPr id="10371" name="Google Shape;10371;p59"/>
            <p:cNvSpPr/>
            <p:nvPr/>
          </p:nvSpPr>
          <p:spPr>
            <a:xfrm>
              <a:off x="6915475" y="2164007"/>
              <a:ext cx="73967" cy="73999"/>
            </a:xfrm>
            <a:custGeom>
              <a:avLst/>
              <a:gdLst/>
              <a:ahLst/>
              <a:cxnLst/>
              <a:rect l="l" t="t" r="r" b="b"/>
              <a:pathLst>
                <a:path w="2322" h="2323" extrusionOk="0">
                  <a:moveTo>
                    <a:pt x="1167" y="323"/>
                  </a:moveTo>
                  <a:cubicBezTo>
                    <a:pt x="1631" y="323"/>
                    <a:pt x="2000" y="692"/>
                    <a:pt x="2000" y="1156"/>
                  </a:cubicBezTo>
                  <a:cubicBezTo>
                    <a:pt x="2000" y="1621"/>
                    <a:pt x="1631" y="1990"/>
                    <a:pt x="1167" y="1990"/>
                  </a:cubicBezTo>
                  <a:cubicBezTo>
                    <a:pt x="703" y="1990"/>
                    <a:pt x="334" y="1621"/>
                    <a:pt x="334" y="1156"/>
                  </a:cubicBezTo>
                  <a:cubicBezTo>
                    <a:pt x="334" y="692"/>
                    <a:pt x="703" y="323"/>
                    <a:pt x="1167" y="323"/>
                  </a:cubicBezTo>
                  <a:close/>
                  <a:moveTo>
                    <a:pt x="1126" y="0"/>
                  </a:moveTo>
                  <a:cubicBezTo>
                    <a:pt x="502" y="0"/>
                    <a:pt x="0" y="527"/>
                    <a:pt x="0" y="1156"/>
                  </a:cubicBezTo>
                  <a:cubicBezTo>
                    <a:pt x="0" y="1799"/>
                    <a:pt x="524" y="2323"/>
                    <a:pt x="1167" y="2323"/>
                  </a:cubicBezTo>
                  <a:cubicBezTo>
                    <a:pt x="1810" y="2323"/>
                    <a:pt x="2322" y="1799"/>
                    <a:pt x="2322" y="1156"/>
                  </a:cubicBezTo>
                  <a:cubicBezTo>
                    <a:pt x="2322" y="513"/>
                    <a:pt x="1810" y="1"/>
                    <a:pt x="1167" y="1"/>
                  </a:cubicBezTo>
                  <a:cubicBezTo>
                    <a:pt x="1153" y="1"/>
                    <a:pt x="1139" y="0"/>
                    <a:pt x="11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2" name="Google Shape;10372;p59"/>
            <p:cNvSpPr/>
            <p:nvPr/>
          </p:nvSpPr>
          <p:spPr>
            <a:xfrm>
              <a:off x="6901427" y="2057070"/>
              <a:ext cx="51605" cy="31154"/>
            </a:xfrm>
            <a:custGeom>
              <a:avLst/>
              <a:gdLst/>
              <a:ahLst/>
              <a:cxnLst/>
              <a:rect l="l" t="t" r="r" b="b"/>
              <a:pathLst>
                <a:path w="1620" h="978" extrusionOk="0">
                  <a:moveTo>
                    <a:pt x="1179" y="346"/>
                  </a:moveTo>
                  <a:cubicBezTo>
                    <a:pt x="1239" y="346"/>
                    <a:pt x="1275" y="394"/>
                    <a:pt x="1275" y="453"/>
                  </a:cubicBezTo>
                  <a:lnTo>
                    <a:pt x="1275" y="525"/>
                  </a:lnTo>
                  <a:cubicBezTo>
                    <a:pt x="1275" y="584"/>
                    <a:pt x="1239" y="632"/>
                    <a:pt x="1179" y="632"/>
                  </a:cubicBezTo>
                  <a:lnTo>
                    <a:pt x="441" y="632"/>
                  </a:lnTo>
                  <a:cubicBezTo>
                    <a:pt x="382" y="632"/>
                    <a:pt x="334" y="584"/>
                    <a:pt x="334" y="525"/>
                  </a:cubicBezTo>
                  <a:lnTo>
                    <a:pt x="334" y="453"/>
                  </a:lnTo>
                  <a:cubicBezTo>
                    <a:pt x="334" y="394"/>
                    <a:pt x="382" y="346"/>
                    <a:pt x="441" y="346"/>
                  </a:cubicBezTo>
                  <a:close/>
                  <a:moveTo>
                    <a:pt x="441" y="1"/>
                  </a:moveTo>
                  <a:cubicBezTo>
                    <a:pt x="203" y="1"/>
                    <a:pt x="1" y="203"/>
                    <a:pt x="1" y="453"/>
                  </a:cubicBezTo>
                  <a:lnTo>
                    <a:pt x="1" y="525"/>
                  </a:lnTo>
                  <a:cubicBezTo>
                    <a:pt x="1" y="763"/>
                    <a:pt x="191" y="977"/>
                    <a:pt x="441" y="977"/>
                  </a:cubicBezTo>
                  <a:lnTo>
                    <a:pt x="1179" y="977"/>
                  </a:lnTo>
                  <a:cubicBezTo>
                    <a:pt x="1418" y="977"/>
                    <a:pt x="1620" y="775"/>
                    <a:pt x="1620" y="525"/>
                  </a:cubicBezTo>
                  <a:lnTo>
                    <a:pt x="1620" y="453"/>
                  </a:lnTo>
                  <a:cubicBezTo>
                    <a:pt x="1620" y="215"/>
                    <a:pt x="1429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3" name="Google Shape;10373;p59"/>
            <p:cNvSpPr/>
            <p:nvPr/>
          </p:nvSpPr>
          <p:spPr>
            <a:xfrm>
              <a:off x="6901809" y="2091983"/>
              <a:ext cx="51605" cy="30358"/>
            </a:xfrm>
            <a:custGeom>
              <a:avLst/>
              <a:gdLst/>
              <a:ahLst/>
              <a:cxnLst/>
              <a:rect l="l" t="t" r="r" b="b"/>
              <a:pathLst>
                <a:path w="1620" h="953" extrusionOk="0">
                  <a:moveTo>
                    <a:pt x="1179" y="333"/>
                  </a:moveTo>
                  <a:cubicBezTo>
                    <a:pt x="1239" y="333"/>
                    <a:pt x="1286" y="381"/>
                    <a:pt x="1286" y="441"/>
                  </a:cubicBezTo>
                  <a:lnTo>
                    <a:pt x="1286" y="512"/>
                  </a:lnTo>
                  <a:cubicBezTo>
                    <a:pt x="1286" y="572"/>
                    <a:pt x="1239" y="619"/>
                    <a:pt x="1179" y="619"/>
                  </a:cubicBezTo>
                  <a:lnTo>
                    <a:pt x="453" y="619"/>
                  </a:lnTo>
                  <a:cubicBezTo>
                    <a:pt x="394" y="619"/>
                    <a:pt x="346" y="572"/>
                    <a:pt x="346" y="512"/>
                  </a:cubicBezTo>
                  <a:lnTo>
                    <a:pt x="346" y="441"/>
                  </a:lnTo>
                  <a:cubicBezTo>
                    <a:pt x="346" y="381"/>
                    <a:pt x="394" y="333"/>
                    <a:pt x="453" y="333"/>
                  </a:cubicBezTo>
                  <a:close/>
                  <a:moveTo>
                    <a:pt x="453" y="0"/>
                  </a:moveTo>
                  <a:cubicBezTo>
                    <a:pt x="215" y="0"/>
                    <a:pt x="1" y="191"/>
                    <a:pt x="1" y="441"/>
                  </a:cubicBezTo>
                  <a:lnTo>
                    <a:pt x="1" y="500"/>
                  </a:lnTo>
                  <a:cubicBezTo>
                    <a:pt x="1" y="738"/>
                    <a:pt x="191" y="953"/>
                    <a:pt x="453" y="953"/>
                  </a:cubicBezTo>
                  <a:lnTo>
                    <a:pt x="1179" y="953"/>
                  </a:lnTo>
                  <a:cubicBezTo>
                    <a:pt x="1417" y="953"/>
                    <a:pt x="1620" y="750"/>
                    <a:pt x="1620" y="500"/>
                  </a:cubicBezTo>
                  <a:lnTo>
                    <a:pt x="1620" y="441"/>
                  </a:lnTo>
                  <a:cubicBezTo>
                    <a:pt x="1620" y="202"/>
                    <a:pt x="1429" y="0"/>
                    <a:pt x="1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4" name="Google Shape;10374;p59"/>
            <p:cNvSpPr/>
            <p:nvPr/>
          </p:nvSpPr>
          <p:spPr>
            <a:xfrm>
              <a:off x="6901809" y="2126099"/>
              <a:ext cx="51605" cy="30772"/>
            </a:xfrm>
            <a:custGeom>
              <a:avLst/>
              <a:gdLst/>
              <a:ahLst/>
              <a:cxnLst/>
              <a:rect l="l" t="t" r="r" b="b"/>
              <a:pathLst>
                <a:path w="1620" h="966" extrusionOk="0">
                  <a:moveTo>
                    <a:pt x="1179" y="358"/>
                  </a:moveTo>
                  <a:cubicBezTo>
                    <a:pt x="1239" y="358"/>
                    <a:pt x="1286" y="394"/>
                    <a:pt x="1286" y="453"/>
                  </a:cubicBezTo>
                  <a:lnTo>
                    <a:pt x="1286" y="536"/>
                  </a:lnTo>
                  <a:cubicBezTo>
                    <a:pt x="1286" y="596"/>
                    <a:pt x="1239" y="632"/>
                    <a:pt x="1179" y="632"/>
                  </a:cubicBezTo>
                  <a:lnTo>
                    <a:pt x="453" y="632"/>
                  </a:lnTo>
                  <a:cubicBezTo>
                    <a:pt x="394" y="632"/>
                    <a:pt x="346" y="596"/>
                    <a:pt x="346" y="536"/>
                  </a:cubicBezTo>
                  <a:lnTo>
                    <a:pt x="346" y="453"/>
                  </a:lnTo>
                  <a:cubicBezTo>
                    <a:pt x="346" y="394"/>
                    <a:pt x="394" y="358"/>
                    <a:pt x="453" y="358"/>
                  </a:cubicBezTo>
                  <a:close/>
                  <a:moveTo>
                    <a:pt x="453" y="1"/>
                  </a:moveTo>
                  <a:cubicBezTo>
                    <a:pt x="215" y="1"/>
                    <a:pt x="1" y="191"/>
                    <a:pt x="1" y="441"/>
                  </a:cubicBezTo>
                  <a:lnTo>
                    <a:pt x="1" y="513"/>
                  </a:lnTo>
                  <a:cubicBezTo>
                    <a:pt x="1" y="751"/>
                    <a:pt x="191" y="965"/>
                    <a:pt x="453" y="965"/>
                  </a:cubicBezTo>
                  <a:lnTo>
                    <a:pt x="1179" y="965"/>
                  </a:lnTo>
                  <a:cubicBezTo>
                    <a:pt x="1417" y="965"/>
                    <a:pt x="1620" y="775"/>
                    <a:pt x="1620" y="513"/>
                  </a:cubicBezTo>
                  <a:lnTo>
                    <a:pt x="1620" y="441"/>
                  </a:lnTo>
                  <a:cubicBezTo>
                    <a:pt x="1620" y="203"/>
                    <a:pt x="1429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5" name="Google Shape;10375;p59"/>
            <p:cNvSpPr/>
            <p:nvPr/>
          </p:nvSpPr>
          <p:spPr>
            <a:xfrm>
              <a:off x="6959849" y="2057452"/>
              <a:ext cx="43641" cy="99419"/>
            </a:xfrm>
            <a:custGeom>
              <a:avLst/>
              <a:gdLst/>
              <a:ahLst/>
              <a:cxnLst/>
              <a:rect l="l" t="t" r="r" b="b"/>
              <a:pathLst>
                <a:path w="1370" h="3121" extrusionOk="0">
                  <a:moveTo>
                    <a:pt x="965" y="334"/>
                  </a:moveTo>
                  <a:cubicBezTo>
                    <a:pt x="1000" y="334"/>
                    <a:pt x="1048" y="382"/>
                    <a:pt x="1048" y="429"/>
                  </a:cubicBezTo>
                  <a:lnTo>
                    <a:pt x="1048" y="2703"/>
                  </a:lnTo>
                  <a:cubicBezTo>
                    <a:pt x="1048" y="2751"/>
                    <a:pt x="1000" y="2787"/>
                    <a:pt x="965" y="2787"/>
                  </a:cubicBezTo>
                  <a:lnTo>
                    <a:pt x="429" y="2787"/>
                  </a:lnTo>
                  <a:cubicBezTo>
                    <a:pt x="369" y="2775"/>
                    <a:pt x="334" y="2751"/>
                    <a:pt x="334" y="2703"/>
                  </a:cubicBezTo>
                  <a:lnTo>
                    <a:pt x="334" y="429"/>
                  </a:lnTo>
                  <a:cubicBezTo>
                    <a:pt x="334" y="382"/>
                    <a:pt x="381" y="334"/>
                    <a:pt x="429" y="334"/>
                  </a:cubicBezTo>
                  <a:close/>
                  <a:moveTo>
                    <a:pt x="417" y="1"/>
                  </a:moveTo>
                  <a:cubicBezTo>
                    <a:pt x="179" y="1"/>
                    <a:pt x="0" y="203"/>
                    <a:pt x="0" y="429"/>
                  </a:cubicBezTo>
                  <a:lnTo>
                    <a:pt x="0" y="2703"/>
                  </a:lnTo>
                  <a:cubicBezTo>
                    <a:pt x="0" y="2941"/>
                    <a:pt x="191" y="3120"/>
                    <a:pt x="417" y="3120"/>
                  </a:cubicBezTo>
                  <a:lnTo>
                    <a:pt x="953" y="3120"/>
                  </a:lnTo>
                  <a:cubicBezTo>
                    <a:pt x="1191" y="3120"/>
                    <a:pt x="1369" y="2930"/>
                    <a:pt x="1369" y="2703"/>
                  </a:cubicBezTo>
                  <a:lnTo>
                    <a:pt x="1369" y="429"/>
                  </a:lnTo>
                  <a:cubicBezTo>
                    <a:pt x="1369" y="179"/>
                    <a:pt x="1167" y="1"/>
                    <a:pt x="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6" name="Google Shape;10376;p59"/>
            <p:cNvSpPr/>
            <p:nvPr/>
          </p:nvSpPr>
          <p:spPr>
            <a:xfrm>
              <a:off x="6835805" y="2075291"/>
              <a:ext cx="29243" cy="10257"/>
            </a:xfrm>
            <a:custGeom>
              <a:avLst/>
              <a:gdLst/>
              <a:ahLst/>
              <a:cxnLst/>
              <a:rect l="l" t="t" r="r" b="b"/>
              <a:pathLst>
                <a:path w="918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751" y="322"/>
                  </a:lnTo>
                  <a:cubicBezTo>
                    <a:pt x="834" y="322"/>
                    <a:pt x="918" y="250"/>
                    <a:pt x="918" y="167"/>
                  </a:cubicBezTo>
                  <a:cubicBezTo>
                    <a:pt x="918" y="72"/>
                    <a:pt x="834" y="0"/>
                    <a:pt x="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7" name="Google Shape;10377;p59"/>
            <p:cNvSpPr/>
            <p:nvPr/>
          </p:nvSpPr>
          <p:spPr>
            <a:xfrm>
              <a:off x="6700422" y="2074908"/>
              <a:ext cx="11022" cy="10257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79" y="322"/>
                  </a:lnTo>
                  <a:cubicBezTo>
                    <a:pt x="262" y="322"/>
                    <a:pt x="346" y="250"/>
                    <a:pt x="346" y="155"/>
                  </a:cubicBezTo>
                  <a:cubicBezTo>
                    <a:pt x="346" y="72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8" name="Google Shape;10378;p59"/>
            <p:cNvSpPr/>
            <p:nvPr/>
          </p:nvSpPr>
          <p:spPr>
            <a:xfrm>
              <a:off x="6706092" y="2098417"/>
              <a:ext cx="151375" cy="89162"/>
            </a:xfrm>
            <a:custGeom>
              <a:avLst/>
              <a:gdLst/>
              <a:ahLst/>
              <a:cxnLst/>
              <a:rect l="l" t="t" r="r" b="b"/>
              <a:pathLst>
                <a:path w="4752" h="2799" extrusionOk="0">
                  <a:moveTo>
                    <a:pt x="2119" y="0"/>
                  </a:moveTo>
                  <a:cubicBezTo>
                    <a:pt x="2047" y="0"/>
                    <a:pt x="1977" y="45"/>
                    <a:pt x="1966" y="131"/>
                  </a:cubicBezTo>
                  <a:lnTo>
                    <a:pt x="1573" y="1977"/>
                  </a:lnTo>
                  <a:lnTo>
                    <a:pt x="1239" y="941"/>
                  </a:lnTo>
                  <a:cubicBezTo>
                    <a:pt x="1214" y="859"/>
                    <a:pt x="1142" y="817"/>
                    <a:pt x="1071" y="817"/>
                  </a:cubicBezTo>
                  <a:cubicBezTo>
                    <a:pt x="1008" y="817"/>
                    <a:pt x="946" y="850"/>
                    <a:pt x="918" y="917"/>
                  </a:cubicBezTo>
                  <a:lnTo>
                    <a:pt x="501" y="1846"/>
                  </a:lnTo>
                  <a:lnTo>
                    <a:pt x="168" y="1846"/>
                  </a:lnTo>
                  <a:cubicBezTo>
                    <a:pt x="72" y="1846"/>
                    <a:pt x="1" y="1917"/>
                    <a:pt x="1" y="2013"/>
                  </a:cubicBezTo>
                  <a:cubicBezTo>
                    <a:pt x="1" y="2096"/>
                    <a:pt x="72" y="2167"/>
                    <a:pt x="168" y="2167"/>
                  </a:cubicBezTo>
                  <a:lnTo>
                    <a:pt x="608" y="2167"/>
                  </a:lnTo>
                  <a:cubicBezTo>
                    <a:pt x="680" y="2167"/>
                    <a:pt x="739" y="2132"/>
                    <a:pt x="763" y="2072"/>
                  </a:cubicBezTo>
                  <a:lnTo>
                    <a:pt x="1037" y="1441"/>
                  </a:lnTo>
                  <a:lnTo>
                    <a:pt x="1442" y="2679"/>
                  </a:lnTo>
                  <a:cubicBezTo>
                    <a:pt x="1470" y="2760"/>
                    <a:pt x="1541" y="2799"/>
                    <a:pt x="1610" y="2799"/>
                  </a:cubicBezTo>
                  <a:cubicBezTo>
                    <a:pt x="1684" y="2799"/>
                    <a:pt x="1757" y="2754"/>
                    <a:pt x="1775" y="2667"/>
                  </a:cubicBezTo>
                  <a:lnTo>
                    <a:pt x="2096" y="1084"/>
                  </a:lnTo>
                  <a:lnTo>
                    <a:pt x="2227" y="1917"/>
                  </a:lnTo>
                  <a:cubicBezTo>
                    <a:pt x="2251" y="2013"/>
                    <a:pt x="2323" y="2072"/>
                    <a:pt x="2394" y="2072"/>
                  </a:cubicBezTo>
                  <a:lnTo>
                    <a:pt x="3049" y="2072"/>
                  </a:lnTo>
                  <a:cubicBezTo>
                    <a:pt x="3144" y="2072"/>
                    <a:pt x="3204" y="2013"/>
                    <a:pt x="3216" y="1941"/>
                  </a:cubicBezTo>
                  <a:lnTo>
                    <a:pt x="3287" y="1501"/>
                  </a:lnTo>
                  <a:lnTo>
                    <a:pt x="3501" y="2453"/>
                  </a:lnTo>
                  <a:cubicBezTo>
                    <a:pt x="3514" y="2543"/>
                    <a:pt x="3586" y="2588"/>
                    <a:pt x="3660" y="2588"/>
                  </a:cubicBezTo>
                  <a:cubicBezTo>
                    <a:pt x="3724" y="2588"/>
                    <a:pt x="3790" y="2555"/>
                    <a:pt x="3823" y="2489"/>
                  </a:cubicBezTo>
                  <a:lnTo>
                    <a:pt x="4037" y="2036"/>
                  </a:lnTo>
                  <a:lnTo>
                    <a:pt x="4585" y="2036"/>
                  </a:lnTo>
                  <a:cubicBezTo>
                    <a:pt x="4668" y="2036"/>
                    <a:pt x="4752" y="1965"/>
                    <a:pt x="4752" y="1870"/>
                  </a:cubicBezTo>
                  <a:cubicBezTo>
                    <a:pt x="4752" y="1786"/>
                    <a:pt x="4668" y="1715"/>
                    <a:pt x="4585" y="1715"/>
                  </a:cubicBezTo>
                  <a:lnTo>
                    <a:pt x="3918" y="1715"/>
                  </a:lnTo>
                  <a:cubicBezTo>
                    <a:pt x="3775" y="1715"/>
                    <a:pt x="3763" y="1858"/>
                    <a:pt x="3740" y="1905"/>
                  </a:cubicBezTo>
                  <a:lnTo>
                    <a:pt x="3454" y="632"/>
                  </a:lnTo>
                  <a:cubicBezTo>
                    <a:pt x="3430" y="542"/>
                    <a:pt x="3356" y="498"/>
                    <a:pt x="3283" y="498"/>
                  </a:cubicBezTo>
                  <a:cubicBezTo>
                    <a:pt x="3210" y="498"/>
                    <a:pt x="3138" y="542"/>
                    <a:pt x="3120" y="632"/>
                  </a:cubicBezTo>
                  <a:lnTo>
                    <a:pt x="2918" y="1739"/>
                  </a:lnTo>
                  <a:lnTo>
                    <a:pt x="2549" y="1739"/>
                  </a:lnTo>
                  <a:lnTo>
                    <a:pt x="2287" y="155"/>
                  </a:lnTo>
                  <a:cubicBezTo>
                    <a:pt x="2275" y="51"/>
                    <a:pt x="2196" y="0"/>
                    <a:pt x="2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9" name="Google Shape;10379;p59"/>
            <p:cNvSpPr/>
            <p:nvPr/>
          </p:nvSpPr>
          <p:spPr>
            <a:xfrm>
              <a:off x="6656812" y="2029388"/>
              <a:ext cx="368690" cy="245793"/>
            </a:xfrm>
            <a:custGeom>
              <a:avLst/>
              <a:gdLst/>
              <a:ahLst/>
              <a:cxnLst/>
              <a:rect l="l" t="t" r="r" b="b"/>
              <a:pathLst>
                <a:path w="11574" h="7716" extrusionOk="0">
                  <a:moveTo>
                    <a:pt x="3286" y="7180"/>
                  </a:moveTo>
                  <a:lnTo>
                    <a:pt x="3286" y="7394"/>
                  </a:lnTo>
                  <a:lnTo>
                    <a:pt x="1596" y="7394"/>
                  </a:lnTo>
                  <a:lnTo>
                    <a:pt x="1596" y="7180"/>
                  </a:lnTo>
                  <a:close/>
                  <a:moveTo>
                    <a:pt x="9966" y="7180"/>
                  </a:moveTo>
                  <a:lnTo>
                    <a:pt x="9966" y="7394"/>
                  </a:lnTo>
                  <a:lnTo>
                    <a:pt x="8275" y="7394"/>
                  </a:lnTo>
                  <a:lnTo>
                    <a:pt x="8275" y="7180"/>
                  </a:lnTo>
                  <a:close/>
                  <a:moveTo>
                    <a:pt x="548" y="1"/>
                  </a:moveTo>
                  <a:cubicBezTo>
                    <a:pt x="250" y="1"/>
                    <a:pt x="0" y="251"/>
                    <a:pt x="0" y="548"/>
                  </a:cubicBezTo>
                  <a:lnTo>
                    <a:pt x="0" y="6632"/>
                  </a:lnTo>
                  <a:cubicBezTo>
                    <a:pt x="0" y="6930"/>
                    <a:pt x="250" y="7180"/>
                    <a:pt x="548" y="7180"/>
                  </a:cubicBezTo>
                  <a:lnTo>
                    <a:pt x="1250" y="7180"/>
                  </a:lnTo>
                  <a:lnTo>
                    <a:pt x="1250" y="7561"/>
                  </a:lnTo>
                  <a:cubicBezTo>
                    <a:pt x="1250" y="7644"/>
                    <a:pt x="1322" y="7716"/>
                    <a:pt x="1417" y="7716"/>
                  </a:cubicBezTo>
                  <a:lnTo>
                    <a:pt x="3453" y="7716"/>
                  </a:lnTo>
                  <a:cubicBezTo>
                    <a:pt x="3536" y="7716"/>
                    <a:pt x="3608" y="7644"/>
                    <a:pt x="3608" y="7561"/>
                  </a:cubicBezTo>
                  <a:lnTo>
                    <a:pt x="3608" y="7180"/>
                  </a:lnTo>
                  <a:lnTo>
                    <a:pt x="7930" y="7180"/>
                  </a:lnTo>
                  <a:lnTo>
                    <a:pt x="7930" y="7561"/>
                  </a:lnTo>
                  <a:cubicBezTo>
                    <a:pt x="7930" y="7644"/>
                    <a:pt x="8001" y="7716"/>
                    <a:pt x="8096" y="7716"/>
                  </a:cubicBezTo>
                  <a:lnTo>
                    <a:pt x="10132" y="7716"/>
                  </a:lnTo>
                  <a:cubicBezTo>
                    <a:pt x="10216" y="7716"/>
                    <a:pt x="10299" y="7644"/>
                    <a:pt x="10299" y="7561"/>
                  </a:cubicBezTo>
                  <a:lnTo>
                    <a:pt x="10299" y="7180"/>
                  </a:lnTo>
                  <a:lnTo>
                    <a:pt x="10990" y="7180"/>
                  </a:lnTo>
                  <a:cubicBezTo>
                    <a:pt x="11287" y="7180"/>
                    <a:pt x="11549" y="6930"/>
                    <a:pt x="11549" y="6632"/>
                  </a:cubicBezTo>
                  <a:lnTo>
                    <a:pt x="11549" y="548"/>
                  </a:lnTo>
                  <a:cubicBezTo>
                    <a:pt x="11573" y="251"/>
                    <a:pt x="11323" y="1"/>
                    <a:pt x="11025" y="1"/>
                  </a:cubicBezTo>
                  <a:lnTo>
                    <a:pt x="7620" y="1"/>
                  </a:lnTo>
                  <a:cubicBezTo>
                    <a:pt x="7525" y="1"/>
                    <a:pt x="7453" y="72"/>
                    <a:pt x="7453" y="155"/>
                  </a:cubicBezTo>
                  <a:cubicBezTo>
                    <a:pt x="7453" y="251"/>
                    <a:pt x="7525" y="322"/>
                    <a:pt x="7620" y="322"/>
                  </a:cubicBezTo>
                  <a:lnTo>
                    <a:pt x="11025" y="322"/>
                  </a:lnTo>
                  <a:cubicBezTo>
                    <a:pt x="11144" y="322"/>
                    <a:pt x="11240" y="417"/>
                    <a:pt x="11240" y="536"/>
                  </a:cubicBezTo>
                  <a:lnTo>
                    <a:pt x="11240" y="6620"/>
                  </a:lnTo>
                  <a:cubicBezTo>
                    <a:pt x="11240" y="6739"/>
                    <a:pt x="11144" y="6823"/>
                    <a:pt x="11025" y="6823"/>
                  </a:cubicBezTo>
                  <a:lnTo>
                    <a:pt x="548" y="6823"/>
                  </a:lnTo>
                  <a:cubicBezTo>
                    <a:pt x="429" y="6823"/>
                    <a:pt x="334" y="6739"/>
                    <a:pt x="334" y="6620"/>
                  </a:cubicBezTo>
                  <a:lnTo>
                    <a:pt x="334" y="536"/>
                  </a:lnTo>
                  <a:cubicBezTo>
                    <a:pt x="334" y="417"/>
                    <a:pt x="429" y="322"/>
                    <a:pt x="548" y="322"/>
                  </a:cubicBezTo>
                  <a:lnTo>
                    <a:pt x="6870" y="322"/>
                  </a:lnTo>
                  <a:cubicBezTo>
                    <a:pt x="6965" y="322"/>
                    <a:pt x="7037" y="251"/>
                    <a:pt x="7037" y="155"/>
                  </a:cubicBezTo>
                  <a:cubicBezTo>
                    <a:pt x="7037" y="72"/>
                    <a:pt x="6965" y="1"/>
                    <a:pt x="6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0" name="Google Shape;10380;p59"/>
            <p:cNvSpPr/>
            <p:nvPr/>
          </p:nvSpPr>
          <p:spPr>
            <a:xfrm>
              <a:off x="6681818" y="2057070"/>
              <a:ext cx="199540" cy="172622"/>
            </a:xfrm>
            <a:custGeom>
              <a:avLst/>
              <a:gdLst/>
              <a:ahLst/>
              <a:cxnLst/>
              <a:rect l="l" t="t" r="r" b="b"/>
              <a:pathLst>
                <a:path w="6264" h="5419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1691"/>
                  </a:lnTo>
                  <a:cubicBezTo>
                    <a:pt x="1" y="1775"/>
                    <a:pt x="72" y="1846"/>
                    <a:pt x="168" y="1846"/>
                  </a:cubicBezTo>
                  <a:cubicBezTo>
                    <a:pt x="251" y="1846"/>
                    <a:pt x="334" y="1775"/>
                    <a:pt x="334" y="1691"/>
                  </a:cubicBezTo>
                  <a:lnTo>
                    <a:pt x="334" y="346"/>
                  </a:lnTo>
                  <a:lnTo>
                    <a:pt x="5942" y="346"/>
                  </a:lnTo>
                  <a:lnTo>
                    <a:pt x="5942" y="5097"/>
                  </a:lnTo>
                  <a:lnTo>
                    <a:pt x="334" y="5097"/>
                  </a:lnTo>
                  <a:lnTo>
                    <a:pt x="334" y="2465"/>
                  </a:lnTo>
                  <a:cubicBezTo>
                    <a:pt x="334" y="2370"/>
                    <a:pt x="251" y="2299"/>
                    <a:pt x="168" y="2299"/>
                  </a:cubicBezTo>
                  <a:cubicBezTo>
                    <a:pt x="72" y="2299"/>
                    <a:pt x="1" y="2370"/>
                    <a:pt x="1" y="2465"/>
                  </a:cubicBezTo>
                  <a:lnTo>
                    <a:pt x="1" y="5263"/>
                  </a:lnTo>
                  <a:cubicBezTo>
                    <a:pt x="1" y="5347"/>
                    <a:pt x="72" y="5418"/>
                    <a:pt x="168" y="5418"/>
                  </a:cubicBezTo>
                  <a:lnTo>
                    <a:pt x="6109" y="5418"/>
                  </a:lnTo>
                  <a:cubicBezTo>
                    <a:pt x="6192" y="5418"/>
                    <a:pt x="6264" y="5347"/>
                    <a:pt x="6264" y="5263"/>
                  </a:cubicBezTo>
                  <a:lnTo>
                    <a:pt x="6264" y="167"/>
                  </a:lnTo>
                  <a:cubicBezTo>
                    <a:pt x="6264" y="84"/>
                    <a:pt x="6192" y="1"/>
                    <a:pt x="61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81" name="Google Shape;10381;p59"/>
          <p:cNvGrpSpPr/>
          <p:nvPr/>
        </p:nvGrpSpPr>
        <p:grpSpPr>
          <a:xfrm>
            <a:off x="4869651" y="2012218"/>
            <a:ext cx="376654" cy="281566"/>
            <a:chOff x="4869651" y="2012218"/>
            <a:chExt cx="376654" cy="281566"/>
          </a:xfrm>
        </p:grpSpPr>
        <p:sp>
          <p:nvSpPr>
            <p:cNvPr id="10382" name="Google Shape;10382;p59"/>
            <p:cNvSpPr/>
            <p:nvPr/>
          </p:nvSpPr>
          <p:spPr>
            <a:xfrm>
              <a:off x="4869651" y="2012218"/>
              <a:ext cx="376654" cy="281566"/>
            </a:xfrm>
            <a:custGeom>
              <a:avLst/>
              <a:gdLst/>
              <a:ahLst/>
              <a:cxnLst/>
              <a:rect l="l" t="t" r="r" b="b"/>
              <a:pathLst>
                <a:path w="11824" h="8839" extrusionOk="0">
                  <a:moveTo>
                    <a:pt x="4976" y="1"/>
                  </a:moveTo>
                  <a:cubicBezTo>
                    <a:pt x="4854" y="1"/>
                    <a:pt x="4732" y="6"/>
                    <a:pt x="4609" y="16"/>
                  </a:cubicBezTo>
                  <a:cubicBezTo>
                    <a:pt x="4513" y="28"/>
                    <a:pt x="4442" y="99"/>
                    <a:pt x="4442" y="194"/>
                  </a:cubicBezTo>
                  <a:cubicBezTo>
                    <a:pt x="4454" y="278"/>
                    <a:pt x="4537" y="349"/>
                    <a:pt x="4621" y="349"/>
                  </a:cubicBezTo>
                  <a:cubicBezTo>
                    <a:pt x="4722" y="342"/>
                    <a:pt x="4822" y="338"/>
                    <a:pt x="4922" y="338"/>
                  </a:cubicBezTo>
                  <a:cubicBezTo>
                    <a:pt x="6773" y="338"/>
                    <a:pt x="8373" y="1575"/>
                    <a:pt x="8859" y="3326"/>
                  </a:cubicBezTo>
                  <a:cubicBezTo>
                    <a:pt x="8823" y="3385"/>
                    <a:pt x="8764" y="3468"/>
                    <a:pt x="8657" y="3540"/>
                  </a:cubicBezTo>
                  <a:cubicBezTo>
                    <a:pt x="8525" y="3632"/>
                    <a:pt x="8386" y="3671"/>
                    <a:pt x="8244" y="3671"/>
                  </a:cubicBezTo>
                  <a:cubicBezTo>
                    <a:pt x="8003" y="3671"/>
                    <a:pt x="7754" y="3559"/>
                    <a:pt x="7514" y="3409"/>
                  </a:cubicBezTo>
                  <a:cubicBezTo>
                    <a:pt x="7288" y="2933"/>
                    <a:pt x="7549" y="2635"/>
                    <a:pt x="7585" y="2611"/>
                  </a:cubicBezTo>
                  <a:cubicBezTo>
                    <a:pt x="7657" y="2552"/>
                    <a:pt x="7657" y="2433"/>
                    <a:pt x="7585" y="2373"/>
                  </a:cubicBezTo>
                  <a:cubicBezTo>
                    <a:pt x="7555" y="2337"/>
                    <a:pt x="7511" y="2320"/>
                    <a:pt x="7466" y="2320"/>
                  </a:cubicBezTo>
                  <a:cubicBezTo>
                    <a:pt x="7421" y="2320"/>
                    <a:pt x="7377" y="2337"/>
                    <a:pt x="7347" y="2373"/>
                  </a:cubicBezTo>
                  <a:cubicBezTo>
                    <a:pt x="7335" y="2397"/>
                    <a:pt x="7061" y="2671"/>
                    <a:pt x="7097" y="3135"/>
                  </a:cubicBezTo>
                  <a:cubicBezTo>
                    <a:pt x="6893" y="3013"/>
                    <a:pt x="6663" y="2925"/>
                    <a:pt x="6256" y="2925"/>
                  </a:cubicBezTo>
                  <a:cubicBezTo>
                    <a:pt x="6188" y="2925"/>
                    <a:pt x="6116" y="2928"/>
                    <a:pt x="6037" y="2933"/>
                  </a:cubicBezTo>
                  <a:cubicBezTo>
                    <a:pt x="5942" y="2933"/>
                    <a:pt x="5871" y="3016"/>
                    <a:pt x="5871" y="3111"/>
                  </a:cubicBezTo>
                  <a:cubicBezTo>
                    <a:pt x="5871" y="3195"/>
                    <a:pt x="5966" y="3266"/>
                    <a:pt x="6049" y="3266"/>
                  </a:cubicBezTo>
                  <a:cubicBezTo>
                    <a:pt x="6107" y="3263"/>
                    <a:pt x="6162" y="3262"/>
                    <a:pt x="6212" y="3262"/>
                  </a:cubicBezTo>
                  <a:cubicBezTo>
                    <a:pt x="6813" y="3262"/>
                    <a:pt x="6903" y="3451"/>
                    <a:pt x="7288" y="3671"/>
                  </a:cubicBezTo>
                  <a:cubicBezTo>
                    <a:pt x="7601" y="3871"/>
                    <a:pt x="7925" y="4007"/>
                    <a:pt x="8240" y="4007"/>
                  </a:cubicBezTo>
                  <a:cubicBezTo>
                    <a:pt x="8488" y="4007"/>
                    <a:pt x="8729" y="3923"/>
                    <a:pt x="8954" y="3719"/>
                  </a:cubicBezTo>
                  <a:cubicBezTo>
                    <a:pt x="9073" y="4397"/>
                    <a:pt x="9014" y="4623"/>
                    <a:pt x="8966" y="4957"/>
                  </a:cubicBezTo>
                  <a:cubicBezTo>
                    <a:pt x="8835" y="4969"/>
                    <a:pt x="8442" y="5040"/>
                    <a:pt x="7966" y="5219"/>
                  </a:cubicBezTo>
                  <a:cubicBezTo>
                    <a:pt x="7490" y="5421"/>
                    <a:pt x="7097" y="5671"/>
                    <a:pt x="6752" y="5969"/>
                  </a:cubicBezTo>
                  <a:cubicBezTo>
                    <a:pt x="6442" y="5719"/>
                    <a:pt x="6502" y="5278"/>
                    <a:pt x="6502" y="5254"/>
                  </a:cubicBezTo>
                  <a:cubicBezTo>
                    <a:pt x="6514" y="5159"/>
                    <a:pt x="6454" y="5076"/>
                    <a:pt x="6359" y="5052"/>
                  </a:cubicBezTo>
                  <a:cubicBezTo>
                    <a:pt x="6352" y="5051"/>
                    <a:pt x="6345" y="5050"/>
                    <a:pt x="6337" y="5050"/>
                  </a:cubicBezTo>
                  <a:cubicBezTo>
                    <a:pt x="6260" y="5050"/>
                    <a:pt x="6179" y="5108"/>
                    <a:pt x="6168" y="5195"/>
                  </a:cubicBezTo>
                  <a:cubicBezTo>
                    <a:pt x="6168" y="5219"/>
                    <a:pt x="6085" y="5814"/>
                    <a:pt x="6514" y="6183"/>
                  </a:cubicBezTo>
                  <a:cubicBezTo>
                    <a:pt x="6395" y="6302"/>
                    <a:pt x="6287" y="6445"/>
                    <a:pt x="6204" y="6576"/>
                  </a:cubicBezTo>
                  <a:cubicBezTo>
                    <a:pt x="6145" y="6647"/>
                    <a:pt x="6168" y="6755"/>
                    <a:pt x="6240" y="6814"/>
                  </a:cubicBezTo>
                  <a:cubicBezTo>
                    <a:pt x="6269" y="6835"/>
                    <a:pt x="6300" y="6844"/>
                    <a:pt x="6330" y="6844"/>
                  </a:cubicBezTo>
                  <a:cubicBezTo>
                    <a:pt x="6386" y="6844"/>
                    <a:pt x="6439" y="6813"/>
                    <a:pt x="6478" y="6767"/>
                  </a:cubicBezTo>
                  <a:cubicBezTo>
                    <a:pt x="6657" y="6505"/>
                    <a:pt x="6883" y="6290"/>
                    <a:pt x="7121" y="6100"/>
                  </a:cubicBezTo>
                  <a:lnTo>
                    <a:pt x="7121" y="6100"/>
                  </a:lnTo>
                  <a:cubicBezTo>
                    <a:pt x="7061" y="6576"/>
                    <a:pt x="7299" y="6945"/>
                    <a:pt x="7311" y="6981"/>
                  </a:cubicBezTo>
                  <a:cubicBezTo>
                    <a:pt x="7340" y="7024"/>
                    <a:pt x="7392" y="7050"/>
                    <a:pt x="7446" y="7050"/>
                  </a:cubicBezTo>
                  <a:cubicBezTo>
                    <a:pt x="7481" y="7050"/>
                    <a:pt x="7517" y="7040"/>
                    <a:pt x="7549" y="7017"/>
                  </a:cubicBezTo>
                  <a:cubicBezTo>
                    <a:pt x="7645" y="6957"/>
                    <a:pt x="7657" y="6874"/>
                    <a:pt x="7609" y="6778"/>
                  </a:cubicBezTo>
                  <a:cubicBezTo>
                    <a:pt x="7597" y="6755"/>
                    <a:pt x="7299" y="6266"/>
                    <a:pt x="7585" y="5790"/>
                  </a:cubicBezTo>
                  <a:cubicBezTo>
                    <a:pt x="8145" y="5469"/>
                    <a:pt x="8681" y="5338"/>
                    <a:pt x="8931" y="5290"/>
                  </a:cubicBezTo>
                  <a:lnTo>
                    <a:pt x="8931" y="5290"/>
                  </a:lnTo>
                  <a:cubicBezTo>
                    <a:pt x="8484" y="7304"/>
                    <a:pt x="6730" y="8498"/>
                    <a:pt x="4932" y="8498"/>
                  </a:cubicBezTo>
                  <a:cubicBezTo>
                    <a:pt x="3806" y="8498"/>
                    <a:pt x="2663" y="8031"/>
                    <a:pt x="1811" y="7005"/>
                  </a:cubicBezTo>
                  <a:cubicBezTo>
                    <a:pt x="2061" y="6921"/>
                    <a:pt x="2287" y="6695"/>
                    <a:pt x="2466" y="6350"/>
                  </a:cubicBezTo>
                  <a:cubicBezTo>
                    <a:pt x="2525" y="6231"/>
                    <a:pt x="2430" y="6100"/>
                    <a:pt x="2311" y="6100"/>
                  </a:cubicBezTo>
                  <a:cubicBezTo>
                    <a:pt x="2239" y="6100"/>
                    <a:pt x="2180" y="6147"/>
                    <a:pt x="2144" y="6207"/>
                  </a:cubicBezTo>
                  <a:cubicBezTo>
                    <a:pt x="1965" y="6528"/>
                    <a:pt x="1763" y="6707"/>
                    <a:pt x="1549" y="6707"/>
                  </a:cubicBezTo>
                  <a:cubicBezTo>
                    <a:pt x="1275" y="6290"/>
                    <a:pt x="1132" y="5945"/>
                    <a:pt x="1001" y="5493"/>
                  </a:cubicBezTo>
                  <a:lnTo>
                    <a:pt x="1001" y="5493"/>
                  </a:lnTo>
                  <a:cubicBezTo>
                    <a:pt x="1037" y="5504"/>
                    <a:pt x="1061" y="5504"/>
                    <a:pt x="1108" y="5504"/>
                  </a:cubicBezTo>
                  <a:cubicBezTo>
                    <a:pt x="1418" y="5504"/>
                    <a:pt x="1668" y="5016"/>
                    <a:pt x="1668" y="4397"/>
                  </a:cubicBezTo>
                  <a:cubicBezTo>
                    <a:pt x="1668" y="3790"/>
                    <a:pt x="1418" y="3302"/>
                    <a:pt x="1108" y="3302"/>
                  </a:cubicBezTo>
                  <a:cubicBezTo>
                    <a:pt x="1072" y="3302"/>
                    <a:pt x="1037" y="3314"/>
                    <a:pt x="1001" y="3314"/>
                  </a:cubicBezTo>
                  <a:cubicBezTo>
                    <a:pt x="1156" y="2778"/>
                    <a:pt x="1311" y="2468"/>
                    <a:pt x="1573" y="2099"/>
                  </a:cubicBezTo>
                  <a:cubicBezTo>
                    <a:pt x="2025" y="2147"/>
                    <a:pt x="2537" y="3076"/>
                    <a:pt x="2537" y="4385"/>
                  </a:cubicBezTo>
                  <a:cubicBezTo>
                    <a:pt x="2537" y="4778"/>
                    <a:pt x="2489" y="5147"/>
                    <a:pt x="2406" y="5493"/>
                  </a:cubicBezTo>
                  <a:cubicBezTo>
                    <a:pt x="2370" y="5576"/>
                    <a:pt x="2430" y="5671"/>
                    <a:pt x="2525" y="5695"/>
                  </a:cubicBezTo>
                  <a:cubicBezTo>
                    <a:pt x="2542" y="5702"/>
                    <a:pt x="2559" y="5705"/>
                    <a:pt x="2576" y="5705"/>
                  </a:cubicBezTo>
                  <a:cubicBezTo>
                    <a:pt x="2644" y="5705"/>
                    <a:pt x="2708" y="5652"/>
                    <a:pt x="2727" y="5576"/>
                  </a:cubicBezTo>
                  <a:cubicBezTo>
                    <a:pt x="2823" y="5207"/>
                    <a:pt x="2858" y="4814"/>
                    <a:pt x="2858" y="4397"/>
                  </a:cubicBezTo>
                  <a:cubicBezTo>
                    <a:pt x="2858" y="3730"/>
                    <a:pt x="2739" y="3087"/>
                    <a:pt x="2501" y="2599"/>
                  </a:cubicBezTo>
                  <a:cubicBezTo>
                    <a:pt x="2311" y="2183"/>
                    <a:pt x="2061" y="1921"/>
                    <a:pt x="1775" y="1814"/>
                  </a:cubicBezTo>
                  <a:cubicBezTo>
                    <a:pt x="2299" y="1171"/>
                    <a:pt x="3013" y="682"/>
                    <a:pt x="3859" y="456"/>
                  </a:cubicBezTo>
                  <a:cubicBezTo>
                    <a:pt x="3954" y="432"/>
                    <a:pt x="4013" y="337"/>
                    <a:pt x="3978" y="254"/>
                  </a:cubicBezTo>
                  <a:cubicBezTo>
                    <a:pt x="3959" y="178"/>
                    <a:pt x="3894" y="124"/>
                    <a:pt x="3826" y="124"/>
                  </a:cubicBezTo>
                  <a:cubicBezTo>
                    <a:pt x="3809" y="124"/>
                    <a:pt x="3792" y="128"/>
                    <a:pt x="3775" y="135"/>
                  </a:cubicBezTo>
                  <a:cubicBezTo>
                    <a:pt x="2763" y="397"/>
                    <a:pt x="1930" y="1028"/>
                    <a:pt x="1346" y="1825"/>
                  </a:cubicBezTo>
                  <a:cubicBezTo>
                    <a:pt x="1346" y="1825"/>
                    <a:pt x="1334" y="1825"/>
                    <a:pt x="1311" y="1837"/>
                  </a:cubicBezTo>
                  <a:cubicBezTo>
                    <a:pt x="1239" y="1944"/>
                    <a:pt x="1180" y="2052"/>
                    <a:pt x="1120" y="2159"/>
                  </a:cubicBezTo>
                  <a:cubicBezTo>
                    <a:pt x="1049" y="2290"/>
                    <a:pt x="977" y="2361"/>
                    <a:pt x="799" y="2826"/>
                  </a:cubicBezTo>
                  <a:cubicBezTo>
                    <a:pt x="775" y="2837"/>
                    <a:pt x="775" y="2873"/>
                    <a:pt x="763" y="2885"/>
                  </a:cubicBezTo>
                  <a:cubicBezTo>
                    <a:pt x="1" y="3445"/>
                    <a:pt x="1" y="5350"/>
                    <a:pt x="763" y="5933"/>
                  </a:cubicBezTo>
                  <a:cubicBezTo>
                    <a:pt x="1418" y="7719"/>
                    <a:pt x="3120" y="8838"/>
                    <a:pt x="4918" y="8838"/>
                  </a:cubicBezTo>
                  <a:cubicBezTo>
                    <a:pt x="6668" y="8838"/>
                    <a:pt x="8181" y="7814"/>
                    <a:pt x="8907" y="6338"/>
                  </a:cubicBezTo>
                  <a:cubicBezTo>
                    <a:pt x="8919" y="6338"/>
                    <a:pt x="8931" y="6338"/>
                    <a:pt x="8954" y="6326"/>
                  </a:cubicBezTo>
                  <a:cubicBezTo>
                    <a:pt x="8965" y="6306"/>
                    <a:pt x="10054" y="5294"/>
                    <a:pt x="11047" y="5294"/>
                  </a:cubicBezTo>
                  <a:cubicBezTo>
                    <a:pt x="11211" y="5294"/>
                    <a:pt x="11373" y="5321"/>
                    <a:pt x="11526" y="5385"/>
                  </a:cubicBezTo>
                  <a:cubicBezTo>
                    <a:pt x="11546" y="5391"/>
                    <a:pt x="11567" y="5394"/>
                    <a:pt x="11588" y="5394"/>
                  </a:cubicBezTo>
                  <a:cubicBezTo>
                    <a:pt x="11656" y="5394"/>
                    <a:pt x="11725" y="5363"/>
                    <a:pt x="11752" y="5290"/>
                  </a:cubicBezTo>
                  <a:cubicBezTo>
                    <a:pt x="11824" y="5195"/>
                    <a:pt x="11776" y="5088"/>
                    <a:pt x="11693" y="5064"/>
                  </a:cubicBezTo>
                  <a:cubicBezTo>
                    <a:pt x="11501" y="4987"/>
                    <a:pt x="11302" y="4954"/>
                    <a:pt x="11103" y="4954"/>
                  </a:cubicBezTo>
                  <a:cubicBezTo>
                    <a:pt x="10376" y="4954"/>
                    <a:pt x="9641" y="5392"/>
                    <a:pt x="9193" y="5719"/>
                  </a:cubicBezTo>
                  <a:cubicBezTo>
                    <a:pt x="9454" y="4838"/>
                    <a:pt x="9443" y="3933"/>
                    <a:pt x="9193" y="3111"/>
                  </a:cubicBezTo>
                  <a:lnTo>
                    <a:pt x="9193" y="3111"/>
                  </a:lnTo>
                  <a:cubicBezTo>
                    <a:pt x="9741" y="3514"/>
                    <a:pt x="10437" y="3874"/>
                    <a:pt x="11103" y="3874"/>
                  </a:cubicBezTo>
                  <a:cubicBezTo>
                    <a:pt x="11304" y="3874"/>
                    <a:pt x="11502" y="3841"/>
                    <a:pt x="11693" y="3766"/>
                  </a:cubicBezTo>
                  <a:cubicBezTo>
                    <a:pt x="11776" y="3730"/>
                    <a:pt x="11824" y="3635"/>
                    <a:pt x="11776" y="3540"/>
                  </a:cubicBezTo>
                  <a:cubicBezTo>
                    <a:pt x="11758" y="3469"/>
                    <a:pt x="11695" y="3431"/>
                    <a:pt x="11624" y="3431"/>
                  </a:cubicBezTo>
                  <a:cubicBezTo>
                    <a:pt x="11599" y="3431"/>
                    <a:pt x="11574" y="3436"/>
                    <a:pt x="11550" y="3445"/>
                  </a:cubicBezTo>
                  <a:cubicBezTo>
                    <a:pt x="11396" y="3509"/>
                    <a:pt x="11235" y="3536"/>
                    <a:pt x="11071" y="3536"/>
                  </a:cubicBezTo>
                  <a:cubicBezTo>
                    <a:pt x="10077" y="3536"/>
                    <a:pt x="8988" y="2526"/>
                    <a:pt x="8978" y="2516"/>
                  </a:cubicBezTo>
                  <a:cubicBezTo>
                    <a:pt x="8966" y="2492"/>
                    <a:pt x="8954" y="2492"/>
                    <a:pt x="8943" y="2492"/>
                  </a:cubicBezTo>
                  <a:cubicBezTo>
                    <a:pt x="8219" y="1012"/>
                    <a:pt x="6706" y="1"/>
                    <a:pt x="49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3" name="Google Shape;10383;p59"/>
            <p:cNvSpPr/>
            <p:nvPr/>
          </p:nvSpPr>
          <p:spPr>
            <a:xfrm>
              <a:off x="5073332" y="2140402"/>
              <a:ext cx="44788" cy="20260"/>
            </a:xfrm>
            <a:custGeom>
              <a:avLst/>
              <a:gdLst/>
              <a:ahLst/>
              <a:cxnLst/>
              <a:rect l="l" t="t" r="r" b="b"/>
              <a:pathLst>
                <a:path w="1406" h="636" extrusionOk="0">
                  <a:moveTo>
                    <a:pt x="538" y="1"/>
                  </a:moveTo>
                  <a:cubicBezTo>
                    <a:pt x="389" y="1"/>
                    <a:pt x="234" y="42"/>
                    <a:pt x="84" y="147"/>
                  </a:cubicBezTo>
                  <a:cubicBezTo>
                    <a:pt x="12" y="206"/>
                    <a:pt x="1" y="302"/>
                    <a:pt x="36" y="385"/>
                  </a:cubicBezTo>
                  <a:cubicBezTo>
                    <a:pt x="72" y="428"/>
                    <a:pt x="125" y="449"/>
                    <a:pt x="179" y="449"/>
                  </a:cubicBezTo>
                  <a:cubicBezTo>
                    <a:pt x="216" y="449"/>
                    <a:pt x="253" y="440"/>
                    <a:pt x="286" y="421"/>
                  </a:cubicBezTo>
                  <a:cubicBezTo>
                    <a:pt x="370" y="362"/>
                    <a:pt x="456" y="339"/>
                    <a:pt x="539" y="339"/>
                  </a:cubicBezTo>
                  <a:cubicBezTo>
                    <a:pt x="809" y="339"/>
                    <a:pt x="1045" y="578"/>
                    <a:pt x="1072" y="587"/>
                  </a:cubicBezTo>
                  <a:cubicBezTo>
                    <a:pt x="1096" y="623"/>
                    <a:pt x="1144" y="635"/>
                    <a:pt x="1191" y="635"/>
                  </a:cubicBezTo>
                  <a:cubicBezTo>
                    <a:pt x="1334" y="635"/>
                    <a:pt x="1406" y="457"/>
                    <a:pt x="1310" y="349"/>
                  </a:cubicBezTo>
                  <a:cubicBezTo>
                    <a:pt x="1155" y="194"/>
                    <a:pt x="861" y="1"/>
                    <a:pt x="5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4" name="Google Shape;10384;p59"/>
            <p:cNvSpPr/>
            <p:nvPr/>
          </p:nvSpPr>
          <p:spPr>
            <a:xfrm>
              <a:off x="5048294" y="2037988"/>
              <a:ext cx="73617" cy="43705"/>
            </a:xfrm>
            <a:custGeom>
              <a:avLst/>
              <a:gdLst/>
              <a:ahLst/>
              <a:cxnLst/>
              <a:rect l="l" t="t" r="r" b="b"/>
              <a:pathLst>
                <a:path w="2311" h="1372" extrusionOk="0">
                  <a:moveTo>
                    <a:pt x="197" y="1"/>
                  </a:moveTo>
                  <a:cubicBezTo>
                    <a:pt x="170" y="1"/>
                    <a:pt x="144" y="6"/>
                    <a:pt x="120" y="16"/>
                  </a:cubicBezTo>
                  <a:cubicBezTo>
                    <a:pt x="25" y="64"/>
                    <a:pt x="1" y="171"/>
                    <a:pt x="36" y="266"/>
                  </a:cubicBezTo>
                  <a:cubicBezTo>
                    <a:pt x="60" y="278"/>
                    <a:pt x="382" y="862"/>
                    <a:pt x="1108" y="897"/>
                  </a:cubicBezTo>
                  <a:cubicBezTo>
                    <a:pt x="1680" y="945"/>
                    <a:pt x="1977" y="1290"/>
                    <a:pt x="1989" y="1302"/>
                  </a:cubicBezTo>
                  <a:cubicBezTo>
                    <a:pt x="2025" y="1346"/>
                    <a:pt x="2080" y="1372"/>
                    <a:pt x="2132" y="1372"/>
                  </a:cubicBezTo>
                  <a:cubicBezTo>
                    <a:pt x="2166" y="1372"/>
                    <a:pt x="2199" y="1361"/>
                    <a:pt x="2227" y="1338"/>
                  </a:cubicBezTo>
                  <a:cubicBezTo>
                    <a:pt x="2299" y="1278"/>
                    <a:pt x="2311" y="1171"/>
                    <a:pt x="2263" y="1088"/>
                  </a:cubicBezTo>
                  <a:cubicBezTo>
                    <a:pt x="2239" y="1076"/>
                    <a:pt x="1858" y="612"/>
                    <a:pt x="1144" y="576"/>
                  </a:cubicBezTo>
                  <a:cubicBezTo>
                    <a:pt x="584" y="528"/>
                    <a:pt x="358" y="112"/>
                    <a:pt x="358" y="100"/>
                  </a:cubicBezTo>
                  <a:cubicBezTo>
                    <a:pt x="324" y="32"/>
                    <a:pt x="261" y="1"/>
                    <a:pt x="1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5" name="Google Shape;10385;p59"/>
            <p:cNvSpPr/>
            <p:nvPr/>
          </p:nvSpPr>
          <p:spPr>
            <a:xfrm>
              <a:off x="5026314" y="2238484"/>
              <a:ext cx="59187" cy="30645"/>
            </a:xfrm>
            <a:custGeom>
              <a:avLst/>
              <a:gdLst/>
              <a:ahLst/>
              <a:cxnLst/>
              <a:rect l="l" t="t" r="r" b="b"/>
              <a:pathLst>
                <a:path w="1858" h="962" extrusionOk="0">
                  <a:moveTo>
                    <a:pt x="1677" y="0"/>
                  </a:moveTo>
                  <a:cubicBezTo>
                    <a:pt x="1609" y="0"/>
                    <a:pt x="1542" y="31"/>
                    <a:pt x="1524" y="104"/>
                  </a:cubicBezTo>
                  <a:cubicBezTo>
                    <a:pt x="1502" y="126"/>
                    <a:pt x="1291" y="611"/>
                    <a:pt x="378" y="611"/>
                  </a:cubicBezTo>
                  <a:cubicBezTo>
                    <a:pt x="319" y="611"/>
                    <a:pt x="256" y="608"/>
                    <a:pt x="191" y="604"/>
                  </a:cubicBezTo>
                  <a:cubicBezTo>
                    <a:pt x="84" y="616"/>
                    <a:pt x="0" y="699"/>
                    <a:pt x="0" y="783"/>
                  </a:cubicBezTo>
                  <a:cubicBezTo>
                    <a:pt x="0" y="878"/>
                    <a:pt x="60" y="961"/>
                    <a:pt x="167" y="961"/>
                  </a:cubicBezTo>
                  <a:lnTo>
                    <a:pt x="357" y="961"/>
                  </a:lnTo>
                  <a:cubicBezTo>
                    <a:pt x="1512" y="961"/>
                    <a:pt x="1810" y="259"/>
                    <a:pt x="1834" y="235"/>
                  </a:cubicBezTo>
                  <a:cubicBezTo>
                    <a:pt x="1858" y="140"/>
                    <a:pt x="1822" y="45"/>
                    <a:pt x="1739" y="9"/>
                  </a:cubicBezTo>
                  <a:cubicBezTo>
                    <a:pt x="1719" y="3"/>
                    <a:pt x="1698" y="0"/>
                    <a:pt x="16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86" name="Google Shape;10386;p59"/>
          <p:cNvGrpSpPr/>
          <p:nvPr/>
        </p:nvGrpSpPr>
        <p:grpSpPr>
          <a:xfrm>
            <a:off x="5306224" y="2012313"/>
            <a:ext cx="367925" cy="281694"/>
            <a:chOff x="5306224" y="2012313"/>
            <a:chExt cx="367925" cy="281694"/>
          </a:xfrm>
        </p:grpSpPr>
        <p:sp>
          <p:nvSpPr>
            <p:cNvPr id="10387" name="Google Shape;10387;p59"/>
            <p:cNvSpPr/>
            <p:nvPr/>
          </p:nvSpPr>
          <p:spPr>
            <a:xfrm>
              <a:off x="5483720" y="2123073"/>
              <a:ext cx="47814" cy="73617"/>
            </a:xfrm>
            <a:custGeom>
              <a:avLst/>
              <a:gdLst/>
              <a:ahLst/>
              <a:cxnLst/>
              <a:rect l="l" t="t" r="r" b="b"/>
              <a:pathLst>
                <a:path w="1501" h="2311" extrusionOk="0">
                  <a:moveTo>
                    <a:pt x="1179" y="334"/>
                  </a:moveTo>
                  <a:lnTo>
                    <a:pt x="1179" y="1965"/>
                  </a:lnTo>
                  <a:lnTo>
                    <a:pt x="345" y="1965"/>
                  </a:lnTo>
                  <a:lnTo>
                    <a:pt x="345" y="334"/>
                  </a:lnTo>
                  <a:close/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2144"/>
                  </a:lnTo>
                  <a:cubicBezTo>
                    <a:pt x="0" y="2239"/>
                    <a:pt x="83" y="2310"/>
                    <a:pt x="167" y="2310"/>
                  </a:cubicBezTo>
                  <a:lnTo>
                    <a:pt x="1346" y="2310"/>
                  </a:lnTo>
                  <a:cubicBezTo>
                    <a:pt x="1429" y="2310"/>
                    <a:pt x="1500" y="2239"/>
                    <a:pt x="1500" y="2144"/>
                  </a:cubicBezTo>
                  <a:lnTo>
                    <a:pt x="1500" y="167"/>
                  </a:lnTo>
                  <a:cubicBezTo>
                    <a:pt x="1500" y="72"/>
                    <a:pt x="1429" y="0"/>
                    <a:pt x="1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8" name="Google Shape;10388;p59"/>
            <p:cNvSpPr/>
            <p:nvPr/>
          </p:nvSpPr>
          <p:spPr>
            <a:xfrm>
              <a:off x="5306224" y="2012313"/>
              <a:ext cx="367925" cy="281694"/>
            </a:xfrm>
            <a:custGeom>
              <a:avLst/>
              <a:gdLst/>
              <a:ahLst/>
              <a:cxnLst/>
              <a:rect l="l" t="t" r="r" b="b"/>
              <a:pathLst>
                <a:path w="11550" h="8843" extrusionOk="0">
                  <a:moveTo>
                    <a:pt x="2084" y="394"/>
                  </a:moveTo>
                  <a:lnTo>
                    <a:pt x="5274" y="620"/>
                  </a:lnTo>
                  <a:lnTo>
                    <a:pt x="5274" y="906"/>
                  </a:lnTo>
                  <a:lnTo>
                    <a:pt x="2084" y="1144"/>
                  </a:lnTo>
                  <a:cubicBezTo>
                    <a:pt x="2074" y="1144"/>
                    <a:pt x="2065" y="1145"/>
                    <a:pt x="2056" y="1145"/>
                  </a:cubicBezTo>
                  <a:cubicBezTo>
                    <a:pt x="1728" y="1145"/>
                    <a:pt x="1555" y="733"/>
                    <a:pt x="1798" y="501"/>
                  </a:cubicBezTo>
                  <a:cubicBezTo>
                    <a:pt x="1869" y="429"/>
                    <a:pt x="1976" y="394"/>
                    <a:pt x="2084" y="394"/>
                  </a:cubicBezTo>
                  <a:close/>
                  <a:moveTo>
                    <a:pt x="5929" y="322"/>
                  </a:moveTo>
                  <a:cubicBezTo>
                    <a:pt x="6108" y="322"/>
                    <a:pt x="6239" y="453"/>
                    <a:pt x="6239" y="632"/>
                  </a:cubicBezTo>
                  <a:lnTo>
                    <a:pt x="6239" y="1370"/>
                  </a:lnTo>
                  <a:lnTo>
                    <a:pt x="5620" y="1370"/>
                  </a:lnTo>
                  <a:lnTo>
                    <a:pt x="5620" y="632"/>
                  </a:lnTo>
                  <a:cubicBezTo>
                    <a:pt x="5620" y="453"/>
                    <a:pt x="5751" y="322"/>
                    <a:pt x="5929" y="322"/>
                  </a:cubicBezTo>
                  <a:close/>
                  <a:moveTo>
                    <a:pt x="6441" y="1691"/>
                  </a:moveTo>
                  <a:lnTo>
                    <a:pt x="6441" y="1918"/>
                  </a:lnTo>
                  <a:lnTo>
                    <a:pt x="5417" y="1918"/>
                  </a:lnTo>
                  <a:lnTo>
                    <a:pt x="5417" y="1691"/>
                  </a:lnTo>
                  <a:close/>
                  <a:moveTo>
                    <a:pt x="6036" y="2263"/>
                  </a:moveTo>
                  <a:lnTo>
                    <a:pt x="6036" y="2465"/>
                  </a:lnTo>
                  <a:lnTo>
                    <a:pt x="5834" y="2465"/>
                  </a:lnTo>
                  <a:lnTo>
                    <a:pt x="5834" y="2263"/>
                  </a:lnTo>
                  <a:close/>
                  <a:moveTo>
                    <a:pt x="8596" y="3632"/>
                  </a:moveTo>
                  <a:cubicBezTo>
                    <a:pt x="8727" y="3632"/>
                    <a:pt x="8834" y="3727"/>
                    <a:pt x="8834" y="3870"/>
                  </a:cubicBezTo>
                  <a:lnTo>
                    <a:pt x="8834" y="4787"/>
                  </a:lnTo>
                  <a:cubicBezTo>
                    <a:pt x="8763" y="4775"/>
                    <a:pt x="8727" y="4739"/>
                    <a:pt x="8692" y="4716"/>
                  </a:cubicBezTo>
                  <a:cubicBezTo>
                    <a:pt x="8394" y="4537"/>
                    <a:pt x="8394" y="4501"/>
                    <a:pt x="8358" y="4466"/>
                  </a:cubicBezTo>
                  <a:lnTo>
                    <a:pt x="8358" y="3870"/>
                  </a:lnTo>
                  <a:cubicBezTo>
                    <a:pt x="8358" y="3727"/>
                    <a:pt x="8465" y="3632"/>
                    <a:pt x="8596" y="3632"/>
                  </a:cubicBezTo>
                  <a:close/>
                  <a:moveTo>
                    <a:pt x="7930" y="2977"/>
                  </a:moveTo>
                  <a:cubicBezTo>
                    <a:pt x="9477" y="2977"/>
                    <a:pt x="10739" y="4168"/>
                    <a:pt x="10870" y="5680"/>
                  </a:cubicBezTo>
                  <a:lnTo>
                    <a:pt x="9144" y="4954"/>
                  </a:lnTo>
                  <a:lnTo>
                    <a:pt x="9144" y="3882"/>
                  </a:lnTo>
                  <a:cubicBezTo>
                    <a:pt x="9144" y="3573"/>
                    <a:pt x="8894" y="3311"/>
                    <a:pt x="8584" y="3311"/>
                  </a:cubicBezTo>
                  <a:cubicBezTo>
                    <a:pt x="8275" y="3311"/>
                    <a:pt x="8013" y="3573"/>
                    <a:pt x="8013" y="3882"/>
                  </a:cubicBezTo>
                  <a:lnTo>
                    <a:pt x="8013" y="4001"/>
                  </a:lnTo>
                  <a:cubicBezTo>
                    <a:pt x="7763" y="3465"/>
                    <a:pt x="7834" y="3168"/>
                    <a:pt x="7822" y="2977"/>
                  </a:cubicBezTo>
                  <a:close/>
                  <a:moveTo>
                    <a:pt x="9168" y="7287"/>
                  </a:moveTo>
                  <a:lnTo>
                    <a:pt x="9537" y="7692"/>
                  </a:lnTo>
                  <a:cubicBezTo>
                    <a:pt x="9835" y="8002"/>
                    <a:pt x="9739" y="8347"/>
                    <a:pt x="9763" y="8466"/>
                  </a:cubicBezTo>
                  <a:lnTo>
                    <a:pt x="6513" y="8466"/>
                  </a:lnTo>
                  <a:cubicBezTo>
                    <a:pt x="6513" y="8347"/>
                    <a:pt x="6429" y="8002"/>
                    <a:pt x="6727" y="7692"/>
                  </a:cubicBezTo>
                  <a:lnTo>
                    <a:pt x="7096" y="7287"/>
                  </a:lnTo>
                  <a:close/>
                  <a:moveTo>
                    <a:pt x="5941" y="1"/>
                  </a:moveTo>
                  <a:cubicBezTo>
                    <a:pt x="5733" y="1"/>
                    <a:pt x="5525" y="108"/>
                    <a:pt x="5394" y="322"/>
                  </a:cubicBezTo>
                  <a:lnTo>
                    <a:pt x="2107" y="96"/>
                  </a:lnTo>
                  <a:cubicBezTo>
                    <a:pt x="2094" y="95"/>
                    <a:pt x="2080" y="95"/>
                    <a:pt x="2066" y="95"/>
                  </a:cubicBezTo>
                  <a:cubicBezTo>
                    <a:pt x="1890" y="95"/>
                    <a:pt x="1715" y="166"/>
                    <a:pt x="1572" y="298"/>
                  </a:cubicBezTo>
                  <a:cubicBezTo>
                    <a:pt x="1107" y="727"/>
                    <a:pt x="1429" y="1513"/>
                    <a:pt x="2060" y="1513"/>
                  </a:cubicBezTo>
                  <a:cubicBezTo>
                    <a:pt x="2064" y="1513"/>
                    <a:pt x="2066" y="1513"/>
                    <a:pt x="2069" y="1513"/>
                  </a:cubicBezTo>
                  <a:cubicBezTo>
                    <a:pt x="2100" y="1513"/>
                    <a:pt x="2213" y="1503"/>
                    <a:pt x="5298" y="1287"/>
                  </a:cubicBezTo>
                  <a:lnTo>
                    <a:pt x="5298" y="1394"/>
                  </a:lnTo>
                  <a:lnTo>
                    <a:pt x="5263" y="1394"/>
                  </a:lnTo>
                  <a:cubicBezTo>
                    <a:pt x="5179" y="1394"/>
                    <a:pt x="5096" y="1465"/>
                    <a:pt x="5096" y="1560"/>
                  </a:cubicBezTo>
                  <a:lnTo>
                    <a:pt x="5096" y="2108"/>
                  </a:lnTo>
                  <a:cubicBezTo>
                    <a:pt x="5096" y="2203"/>
                    <a:pt x="5179" y="2275"/>
                    <a:pt x="5263" y="2275"/>
                  </a:cubicBezTo>
                  <a:lnTo>
                    <a:pt x="5513" y="2275"/>
                  </a:lnTo>
                  <a:lnTo>
                    <a:pt x="5513" y="2477"/>
                  </a:lnTo>
                  <a:lnTo>
                    <a:pt x="1679" y="2477"/>
                  </a:lnTo>
                  <a:lnTo>
                    <a:pt x="1381" y="1608"/>
                  </a:lnTo>
                  <a:cubicBezTo>
                    <a:pt x="1345" y="1525"/>
                    <a:pt x="1286" y="1489"/>
                    <a:pt x="1214" y="1489"/>
                  </a:cubicBezTo>
                  <a:lnTo>
                    <a:pt x="179" y="1489"/>
                  </a:lnTo>
                  <a:cubicBezTo>
                    <a:pt x="71" y="1489"/>
                    <a:pt x="0" y="1572"/>
                    <a:pt x="12" y="1680"/>
                  </a:cubicBezTo>
                  <a:lnTo>
                    <a:pt x="298" y="4430"/>
                  </a:lnTo>
                  <a:cubicBezTo>
                    <a:pt x="310" y="4525"/>
                    <a:pt x="381" y="4585"/>
                    <a:pt x="452" y="4585"/>
                  </a:cubicBezTo>
                  <a:lnTo>
                    <a:pt x="1214" y="4585"/>
                  </a:lnTo>
                  <a:cubicBezTo>
                    <a:pt x="1286" y="4585"/>
                    <a:pt x="1334" y="4537"/>
                    <a:pt x="1369" y="4478"/>
                  </a:cubicBezTo>
                  <a:lnTo>
                    <a:pt x="1750" y="3656"/>
                  </a:lnTo>
                  <a:lnTo>
                    <a:pt x="4536" y="3656"/>
                  </a:lnTo>
                  <a:cubicBezTo>
                    <a:pt x="4655" y="3656"/>
                    <a:pt x="4739" y="3751"/>
                    <a:pt x="4739" y="3870"/>
                  </a:cubicBezTo>
                  <a:cubicBezTo>
                    <a:pt x="4763" y="5311"/>
                    <a:pt x="4715" y="5430"/>
                    <a:pt x="4786" y="5787"/>
                  </a:cubicBezTo>
                  <a:cubicBezTo>
                    <a:pt x="4797" y="5863"/>
                    <a:pt x="4888" y="5920"/>
                    <a:pt x="4976" y="5920"/>
                  </a:cubicBezTo>
                  <a:cubicBezTo>
                    <a:pt x="4984" y="5920"/>
                    <a:pt x="4992" y="5919"/>
                    <a:pt x="5001" y="5918"/>
                  </a:cubicBezTo>
                  <a:cubicBezTo>
                    <a:pt x="5084" y="5906"/>
                    <a:pt x="5144" y="5799"/>
                    <a:pt x="5132" y="5716"/>
                  </a:cubicBezTo>
                  <a:cubicBezTo>
                    <a:pt x="5072" y="5418"/>
                    <a:pt x="5096" y="5299"/>
                    <a:pt x="5084" y="3870"/>
                  </a:cubicBezTo>
                  <a:cubicBezTo>
                    <a:pt x="5084" y="3573"/>
                    <a:pt x="4834" y="3311"/>
                    <a:pt x="4536" y="3311"/>
                  </a:cubicBezTo>
                  <a:lnTo>
                    <a:pt x="1643" y="3311"/>
                  </a:lnTo>
                  <a:cubicBezTo>
                    <a:pt x="1572" y="3311"/>
                    <a:pt x="1524" y="3358"/>
                    <a:pt x="1500" y="3418"/>
                  </a:cubicBezTo>
                  <a:lnTo>
                    <a:pt x="1107" y="4239"/>
                  </a:lnTo>
                  <a:lnTo>
                    <a:pt x="607" y="4239"/>
                  </a:lnTo>
                  <a:lnTo>
                    <a:pt x="357" y="1822"/>
                  </a:lnTo>
                  <a:lnTo>
                    <a:pt x="1095" y="1822"/>
                  </a:lnTo>
                  <a:lnTo>
                    <a:pt x="1393" y="2703"/>
                  </a:lnTo>
                  <a:cubicBezTo>
                    <a:pt x="1429" y="2775"/>
                    <a:pt x="1488" y="2823"/>
                    <a:pt x="1560" y="2823"/>
                  </a:cubicBezTo>
                  <a:lnTo>
                    <a:pt x="7382" y="2823"/>
                  </a:lnTo>
                  <a:cubicBezTo>
                    <a:pt x="7453" y="2823"/>
                    <a:pt x="7525" y="2882"/>
                    <a:pt x="7525" y="2977"/>
                  </a:cubicBezTo>
                  <a:lnTo>
                    <a:pt x="7525" y="3287"/>
                  </a:lnTo>
                  <a:cubicBezTo>
                    <a:pt x="7525" y="4144"/>
                    <a:pt x="8061" y="4882"/>
                    <a:pt x="8787" y="5192"/>
                  </a:cubicBezTo>
                  <a:lnTo>
                    <a:pt x="11216" y="6216"/>
                  </a:lnTo>
                  <a:cubicBezTo>
                    <a:pt x="11156" y="6644"/>
                    <a:pt x="10787" y="6990"/>
                    <a:pt x="10335" y="6990"/>
                  </a:cubicBezTo>
                  <a:lnTo>
                    <a:pt x="6703" y="6990"/>
                  </a:lnTo>
                  <a:cubicBezTo>
                    <a:pt x="6215" y="6990"/>
                    <a:pt x="5751" y="6764"/>
                    <a:pt x="5453" y="6383"/>
                  </a:cubicBezTo>
                  <a:cubicBezTo>
                    <a:pt x="5417" y="6339"/>
                    <a:pt x="5367" y="6313"/>
                    <a:pt x="5315" y="6313"/>
                  </a:cubicBezTo>
                  <a:cubicBezTo>
                    <a:pt x="5282" y="6313"/>
                    <a:pt x="5247" y="6324"/>
                    <a:pt x="5215" y="6347"/>
                  </a:cubicBezTo>
                  <a:cubicBezTo>
                    <a:pt x="5144" y="6406"/>
                    <a:pt x="5132" y="6513"/>
                    <a:pt x="5191" y="6585"/>
                  </a:cubicBezTo>
                  <a:cubicBezTo>
                    <a:pt x="5560" y="7049"/>
                    <a:pt x="6096" y="7323"/>
                    <a:pt x="6679" y="7323"/>
                  </a:cubicBezTo>
                  <a:lnTo>
                    <a:pt x="6513" y="7502"/>
                  </a:lnTo>
                  <a:cubicBezTo>
                    <a:pt x="6132" y="7930"/>
                    <a:pt x="6215" y="8407"/>
                    <a:pt x="6203" y="8514"/>
                  </a:cubicBezTo>
                  <a:lnTo>
                    <a:pt x="5632" y="8514"/>
                  </a:lnTo>
                  <a:lnTo>
                    <a:pt x="5084" y="8002"/>
                  </a:lnTo>
                  <a:cubicBezTo>
                    <a:pt x="5050" y="7973"/>
                    <a:pt x="5008" y="7958"/>
                    <a:pt x="4966" y="7958"/>
                  </a:cubicBezTo>
                  <a:cubicBezTo>
                    <a:pt x="4921" y="7958"/>
                    <a:pt x="4877" y="7976"/>
                    <a:pt x="4846" y="8014"/>
                  </a:cubicBezTo>
                  <a:cubicBezTo>
                    <a:pt x="4786" y="8097"/>
                    <a:pt x="4786" y="8192"/>
                    <a:pt x="4858" y="8252"/>
                  </a:cubicBezTo>
                  <a:cubicBezTo>
                    <a:pt x="5453" y="8776"/>
                    <a:pt x="5453" y="8835"/>
                    <a:pt x="5572" y="8835"/>
                  </a:cubicBezTo>
                  <a:cubicBezTo>
                    <a:pt x="6112" y="8834"/>
                    <a:pt x="6596" y="8834"/>
                    <a:pt x="7031" y="8834"/>
                  </a:cubicBezTo>
                  <a:cubicBezTo>
                    <a:pt x="8939" y="8834"/>
                    <a:pt x="9885" y="8843"/>
                    <a:pt x="10363" y="8843"/>
                  </a:cubicBezTo>
                  <a:cubicBezTo>
                    <a:pt x="10878" y="8843"/>
                    <a:pt x="10850" y="8832"/>
                    <a:pt x="10894" y="8788"/>
                  </a:cubicBezTo>
                  <a:lnTo>
                    <a:pt x="11466" y="8276"/>
                  </a:lnTo>
                  <a:cubicBezTo>
                    <a:pt x="11549" y="8216"/>
                    <a:pt x="11549" y="8109"/>
                    <a:pt x="11490" y="8037"/>
                  </a:cubicBezTo>
                  <a:cubicBezTo>
                    <a:pt x="11421" y="7976"/>
                    <a:pt x="11357" y="7950"/>
                    <a:pt x="11301" y="7950"/>
                  </a:cubicBezTo>
                  <a:cubicBezTo>
                    <a:pt x="11259" y="7950"/>
                    <a:pt x="11222" y="7964"/>
                    <a:pt x="11192" y="7990"/>
                  </a:cubicBezTo>
                  <a:lnTo>
                    <a:pt x="10668" y="8466"/>
                  </a:lnTo>
                  <a:lnTo>
                    <a:pt x="10085" y="8466"/>
                  </a:lnTo>
                  <a:lnTo>
                    <a:pt x="10085" y="8240"/>
                  </a:lnTo>
                  <a:cubicBezTo>
                    <a:pt x="10085" y="7656"/>
                    <a:pt x="9680" y="7371"/>
                    <a:pt x="9620" y="7287"/>
                  </a:cubicBezTo>
                  <a:lnTo>
                    <a:pt x="10299" y="7287"/>
                  </a:lnTo>
                  <a:cubicBezTo>
                    <a:pt x="10966" y="7287"/>
                    <a:pt x="11513" y="6740"/>
                    <a:pt x="11513" y="6073"/>
                  </a:cubicBezTo>
                  <a:cubicBezTo>
                    <a:pt x="11513" y="5990"/>
                    <a:pt x="11466" y="5930"/>
                    <a:pt x="11406" y="5906"/>
                  </a:cubicBezTo>
                  <a:lnTo>
                    <a:pt x="11228" y="5835"/>
                  </a:lnTo>
                  <a:cubicBezTo>
                    <a:pt x="11168" y="4061"/>
                    <a:pt x="9716" y="2632"/>
                    <a:pt x="7930" y="2632"/>
                  </a:cubicBezTo>
                  <a:lnTo>
                    <a:pt x="7703" y="2632"/>
                  </a:lnTo>
                  <a:cubicBezTo>
                    <a:pt x="7620" y="2525"/>
                    <a:pt x="7477" y="2453"/>
                    <a:pt x="7346" y="2453"/>
                  </a:cubicBezTo>
                  <a:lnTo>
                    <a:pt x="6370" y="2453"/>
                  </a:lnTo>
                  <a:lnTo>
                    <a:pt x="6370" y="2239"/>
                  </a:lnTo>
                  <a:lnTo>
                    <a:pt x="6620" y="2239"/>
                  </a:lnTo>
                  <a:cubicBezTo>
                    <a:pt x="6703" y="2239"/>
                    <a:pt x="6775" y="2168"/>
                    <a:pt x="6775" y="2084"/>
                  </a:cubicBezTo>
                  <a:lnTo>
                    <a:pt x="6775" y="1525"/>
                  </a:lnTo>
                  <a:cubicBezTo>
                    <a:pt x="6775" y="1441"/>
                    <a:pt x="6703" y="1370"/>
                    <a:pt x="6620" y="1370"/>
                  </a:cubicBezTo>
                  <a:lnTo>
                    <a:pt x="6584" y="1370"/>
                  </a:lnTo>
                  <a:lnTo>
                    <a:pt x="6584" y="1263"/>
                  </a:lnTo>
                  <a:cubicBezTo>
                    <a:pt x="9701" y="1479"/>
                    <a:pt x="9808" y="1489"/>
                    <a:pt x="9837" y="1489"/>
                  </a:cubicBezTo>
                  <a:cubicBezTo>
                    <a:pt x="9840" y="1489"/>
                    <a:pt x="9842" y="1489"/>
                    <a:pt x="9846" y="1489"/>
                  </a:cubicBezTo>
                  <a:cubicBezTo>
                    <a:pt x="10489" y="1489"/>
                    <a:pt x="10799" y="691"/>
                    <a:pt x="10335" y="263"/>
                  </a:cubicBezTo>
                  <a:cubicBezTo>
                    <a:pt x="10202" y="141"/>
                    <a:pt x="10029" y="71"/>
                    <a:pt x="9842" y="71"/>
                  </a:cubicBezTo>
                  <a:cubicBezTo>
                    <a:pt x="9828" y="71"/>
                    <a:pt x="9813" y="71"/>
                    <a:pt x="9799" y="72"/>
                  </a:cubicBezTo>
                  <a:lnTo>
                    <a:pt x="8989" y="132"/>
                  </a:lnTo>
                  <a:cubicBezTo>
                    <a:pt x="8894" y="132"/>
                    <a:pt x="8823" y="215"/>
                    <a:pt x="8823" y="310"/>
                  </a:cubicBezTo>
                  <a:cubicBezTo>
                    <a:pt x="8823" y="394"/>
                    <a:pt x="8906" y="477"/>
                    <a:pt x="9001" y="477"/>
                  </a:cubicBezTo>
                  <a:lnTo>
                    <a:pt x="9823" y="417"/>
                  </a:lnTo>
                  <a:cubicBezTo>
                    <a:pt x="9836" y="416"/>
                    <a:pt x="9849" y="415"/>
                    <a:pt x="9861" y="415"/>
                  </a:cubicBezTo>
                  <a:cubicBezTo>
                    <a:pt x="10170" y="415"/>
                    <a:pt x="10325" y="820"/>
                    <a:pt x="10097" y="1049"/>
                  </a:cubicBezTo>
                  <a:cubicBezTo>
                    <a:pt x="10025" y="1132"/>
                    <a:pt x="9918" y="1156"/>
                    <a:pt x="9823" y="1156"/>
                  </a:cubicBezTo>
                  <a:lnTo>
                    <a:pt x="6620" y="929"/>
                  </a:lnTo>
                  <a:lnTo>
                    <a:pt x="6620" y="656"/>
                  </a:lnTo>
                  <a:lnTo>
                    <a:pt x="8132" y="548"/>
                  </a:lnTo>
                  <a:cubicBezTo>
                    <a:pt x="8227" y="548"/>
                    <a:pt x="8299" y="453"/>
                    <a:pt x="8299" y="370"/>
                  </a:cubicBezTo>
                  <a:cubicBezTo>
                    <a:pt x="8299" y="275"/>
                    <a:pt x="8215" y="203"/>
                    <a:pt x="8120" y="203"/>
                  </a:cubicBezTo>
                  <a:lnTo>
                    <a:pt x="6489" y="322"/>
                  </a:lnTo>
                  <a:cubicBezTo>
                    <a:pt x="6358" y="108"/>
                    <a:pt x="6150" y="1"/>
                    <a:pt x="5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89" name="Google Shape;10389;p59"/>
          <p:cNvSpPr/>
          <p:nvPr/>
        </p:nvSpPr>
        <p:spPr>
          <a:xfrm>
            <a:off x="5754137" y="2005815"/>
            <a:ext cx="370569" cy="293958"/>
          </a:xfrm>
          <a:custGeom>
            <a:avLst/>
            <a:gdLst/>
            <a:ahLst/>
            <a:cxnLst/>
            <a:rect l="l" t="t" r="r" b="b"/>
            <a:pathLst>
              <a:path w="11633" h="9228" extrusionOk="0">
                <a:moveTo>
                  <a:pt x="7227" y="2193"/>
                </a:moveTo>
                <a:cubicBezTo>
                  <a:pt x="7085" y="2384"/>
                  <a:pt x="6989" y="2622"/>
                  <a:pt x="6989" y="2896"/>
                </a:cubicBezTo>
                <a:lnTo>
                  <a:pt x="6989" y="5098"/>
                </a:lnTo>
                <a:cubicBezTo>
                  <a:pt x="6989" y="5241"/>
                  <a:pt x="7037" y="5360"/>
                  <a:pt x="7108" y="5479"/>
                </a:cubicBezTo>
                <a:cubicBezTo>
                  <a:pt x="6954" y="5539"/>
                  <a:pt x="6787" y="5622"/>
                  <a:pt x="6656" y="5717"/>
                </a:cubicBezTo>
                <a:cubicBezTo>
                  <a:pt x="6632" y="2312"/>
                  <a:pt x="6692" y="2443"/>
                  <a:pt x="6608" y="2193"/>
                </a:cubicBezTo>
                <a:close/>
                <a:moveTo>
                  <a:pt x="5680" y="1"/>
                </a:moveTo>
                <a:cubicBezTo>
                  <a:pt x="5672" y="1"/>
                  <a:pt x="5664" y="1"/>
                  <a:pt x="5656" y="2"/>
                </a:cubicBezTo>
                <a:cubicBezTo>
                  <a:pt x="5561" y="26"/>
                  <a:pt x="5501" y="110"/>
                  <a:pt x="5513" y="217"/>
                </a:cubicBezTo>
                <a:lnTo>
                  <a:pt x="5846" y="1729"/>
                </a:lnTo>
                <a:lnTo>
                  <a:pt x="5263" y="1729"/>
                </a:lnTo>
                <a:lnTo>
                  <a:pt x="4965" y="336"/>
                </a:lnTo>
                <a:cubicBezTo>
                  <a:pt x="4955" y="255"/>
                  <a:pt x="4885" y="200"/>
                  <a:pt x="4805" y="200"/>
                </a:cubicBezTo>
                <a:cubicBezTo>
                  <a:pt x="4791" y="200"/>
                  <a:pt x="4777" y="201"/>
                  <a:pt x="4763" y="205"/>
                </a:cubicBezTo>
                <a:cubicBezTo>
                  <a:pt x="4668" y="217"/>
                  <a:pt x="4608" y="300"/>
                  <a:pt x="4620" y="407"/>
                </a:cubicBezTo>
                <a:lnTo>
                  <a:pt x="4906" y="1753"/>
                </a:lnTo>
                <a:lnTo>
                  <a:pt x="2417" y="1753"/>
                </a:lnTo>
                <a:cubicBezTo>
                  <a:pt x="1084" y="1753"/>
                  <a:pt x="0" y="2836"/>
                  <a:pt x="0" y="4170"/>
                </a:cubicBezTo>
                <a:lnTo>
                  <a:pt x="0" y="6289"/>
                </a:lnTo>
                <a:cubicBezTo>
                  <a:pt x="0" y="7018"/>
                  <a:pt x="582" y="7579"/>
                  <a:pt x="1279" y="7579"/>
                </a:cubicBezTo>
                <a:cubicBezTo>
                  <a:pt x="1367" y="7579"/>
                  <a:pt x="1457" y="7570"/>
                  <a:pt x="1548" y="7551"/>
                </a:cubicBezTo>
                <a:lnTo>
                  <a:pt x="1762" y="7503"/>
                </a:lnTo>
                <a:cubicBezTo>
                  <a:pt x="1858" y="7491"/>
                  <a:pt x="1917" y="7408"/>
                  <a:pt x="1905" y="7301"/>
                </a:cubicBezTo>
                <a:cubicBezTo>
                  <a:pt x="1885" y="7220"/>
                  <a:pt x="1822" y="7165"/>
                  <a:pt x="1737" y="7165"/>
                </a:cubicBezTo>
                <a:cubicBezTo>
                  <a:pt x="1722" y="7165"/>
                  <a:pt x="1707" y="7166"/>
                  <a:pt x="1691" y="7170"/>
                </a:cubicBezTo>
                <a:lnTo>
                  <a:pt x="1465" y="7206"/>
                </a:lnTo>
                <a:cubicBezTo>
                  <a:pt x="1399" y="7219"/>
                  <a:pt x="1334" y="7225"/>
                  <a:pt x="1270" y="7225"/>
                </a:cubicBezTo>
                <a:cubicBezTo>
                  <a:pt x="755" y="7225"/>
                  <a:pt x="322" y="6817"/>
                  <a:pt x="322" y="6277"/>
                </a:cubicBezTo>
                <a:lnTo>
                  <a:pt x="322" y="4158"/>
                </a:lnTo>
                <a:cubicBezTo>
                  <a:pt x="322" y="3015"/>
                  <a:pt x="1262" y="2074"/>
                  <a:pt x="2405" y="2074"/>
                </a:cubicBezTo>
                <a:lnTo>
                  <a:pt x="5846" y="2074"/>
                </a:lnTo>
                <a:cubicBezTo>
                  <a:pt x="6049" y="2074"/>
                  <a:pt x="6215" y="2241"/>
                  <a:pt x="6215" y="2443"/>
                </a:cubicBezTo>
                <a:lnTo>
                  <a:pt x="6215" y="5825"/>
                </a:lnTo>
                <a:cubicBezTo>
                  <a:pt x="6215" y="5979"/>
                  <a:pt x="6144" y="6122"/>
                  <a:pt x="6025" y="6217"/>
                </a:cubicBezTo>
                <a:cubicBezTo>
                  <a:pt x="5858" y="6348"/>
                  <a:pt x="6227" y="6229"/>
                  <a:pt x="2560" y="6968"/>
                </a:cubicBezTo>
                <a:cubicBezTo>
                  <a:pt x="2465" y="6991"/>
                  <a:pt x="2405" y="7075"/>
                  <a:pt x="2417" y="7182"/>
                </a:cubicBezTo>
                <a:cubicBezTo>
                  <a:pt x="2439" y="7258"/>
                  <a:pt x="2511" y="7314"/>
                  <a:pt x="2595" y="7314"/>
                </a:cubicBezTo>
                <a:cubicBezTo>
                  <a:pt x="2603" y="7314"/>
                  <a:pt x="2611" y="7314"/>
                  <a:pt x="2620" y="7313"/>
                </a:cubicBezTo>
                <a:lnTo>
                  <a:pt x="5203" y="6789"/>
                </a:lnTo>
                <a:lnTo>
                  <a:pt x="5203" y="6789"/>
                </a:lnTo>
                <a:cubicBezTo>
                  <a:pt x="5251" y="7360"/>
                  <a:pt x="5203" y="8027"/>
                  <a:pt x="4918" y="8396"/>
                </a:cubicBezTo>
                <a:cubicBezTo>
                  <a:pt x="4858" y="8480"/>
                  <a:pt x="4882" y="8575"/>
                  <a:pt x="4953" y="8634"/>
                </a:cubicBezTo>
                <a:cubicBezTo>
                  <a:pt x="4984" y="8660"/>
                  <a:pt x="5022" y="8672"/>
                  <a:pt x="5059" y="8672"/>
                </a:cubicBezTo>
                <a:cubicBezTo>
                  <a:pt x="5108" y="8672"/>
                  <a:pt x="5158" y="8651"/>
                  <a:pt x="5191" y="8611"/>
                </a:cubicBezTo>
                <a:cubicBezTo>
                  <a:pt x="5596" y="8075"/>
                  <a:pt x="5572" y="7170"/>
                  <a:pt x="5549" y="6729"/>
                </a:cubicBezTo>
                <a:cubicBezTo>
                  <a:pt x="5834" y="6670"/>
                  <a:pt x="5930" y="6670"/>
                  <a:pt x="6096" y="6587"/>
                </a:cubicBezTo>
                <a:lnTo>
                  <a:pt x="6096" y="6587"/>
                </a:lnTo>
                <a:cubicBezTo>
                  <a:pt x="6168" y="7372"/>
                  <a:pt x="6108" y="8325"/>
                  <a:pt x="5632" y="8956"/>
                </a:cubicBezTo>
                <a:cubicBezTo>
                  <a:pt x="5572" y="9027"/>
                  <a:pt x="5596" y="9134"/>
                  <a:pt x="5668" y="9194"/>
                </a:cubicBezTo>
                <a:cubicBezTo>
                  <a:pt x="5696" y="9217"/>
                  <a:pt x="5729" y="9228"/>
                  <a:pt x="5763" y="9228"/>
                </a:cubicBezTo>
                <a:cubicBezTo>
                  <a:pt x="5815" y="9228"/>
                  <a:pt x="5869" y="9202"/>
                  <a:pt x="5906" y="9158"/>
                </a:cubicBezTo>
                <a:cubicBezTo>
                  <a:pt x="6489" y="8396"/>
                  <a:pt x="6549" y="7229"/>
                  <a:pt x="6394" y="6301"/>
                </a:cubicBezTo>
                <a:cubicBezTo>
                  <a:pt x="6632" y="6098"/>
                  <a:pt x="6930" y="5777"/>
                  <a:pt x="7406" y="5777"/>
                </a:cubicBezTo>
                <a:cubicBezTo>
                  <a:pt x="7418" y="5777"/>
                  <a:pt x="7513" y="5813"/>
                  <a:pt x="7561" y="5813"/>
                </a:cubicBezTo>
                <a:cubicBezTo>
                  <a:pt x="7680" y="5813"/>
                  <a:pt x="7799" y="5777"/>
                  <a:pt x="7894" y="5717"/>
                </a:cubicBezTo>
                <a:lnTo>
                  <a:pt x="10978" y="3908"/>
                </a:lnTo>
                <a:cubicBezTo>
                  <a:pt x="11323" y="3693"/>
                  <a:pt x="11549" y="3324"/>
                  <a:pt x="11549" y="2919"/>
                </a:cubicBezTo>
                <a:cubicBezTo>
                  <a:pt x="11633" y="2241"/>
                  <a:pt x="11121" y="1729"/>
                  <a:pt x="10490" y="1729"/>
                </a:cubicBezTo>
                <a:cubicBezTo>
                  <a:pt x="10406" y="1729"/>
                  <a:pt x="10323" y="1812"/>
                  <a:pt x="10323" y="1895"/>
                </a:cubicBezTo>
                <a:cubicBezTo>
                  <a:pt x="10323" y="1991"/>
                  <a:pt x="10406" y="2062"/>
                  <a:pt x="10490" y="2062"/>
                </a:cubicBezTo>
                <a:cubicBezTo>
                  <a:pt x="10942" y="2062"/>
                  <a:pt x="11299" y="2419"/>
                  <a:pt x="11299" y="2860"/>
                </a:cubicBezTo>
                <a:cubicBezTo>
                  <a:pt x="11299" y="3146"/>
                  <a:pt x="11145" y="3419"/>
                  <a:pt x="10895" y="3562"/>
                </a:cubicBezTo>
                <a:lnTo>
                  <a:pt x="7811" y="5384"/>
                </a:lnTo>
                <a:cubicBezTo>
                  <a:pt x="7756" y="5416"/>
                  <a:pt x="7698" y="5430"/>
                  <a:pt x="7642" y="5430"/>
                </a:cubicBezTo>
                <a:cubicBezTo>
                  <a:pt x="7463" y="5430"/>
                  <a:pt x="7299" y="5288"/>
                  <a:pt x="7299" y="5098"/>
                </a:cubicBezTo>
                <a:lnTo>
                  <a:pt x="7299" y="2896"/>
                </a:lnTo>
                <a:cubicBezTo>
                  <a:pt x="7299" y="2431"/>
                  <a:pt x="7680" y="2074"/>
                  <a:pt x="8120" y="2074"/>
                </a:cubicBezTo>
                <a:lnTo>
                  <a:pt x="9704" y="2074"/>
                </a:lnTo>
                <a:cubicBezTo>
                  <a:pt x="9787" y="2074"/>
                  <a:pt x="9859" y="2003"/>
                  <a:pt x="9859" y="1907"/>
                </a:cubicBezTo>
                <a:cubicBezTo>
                  <a:pt x="9859" y="1824"/>
                  <a:pt x="9787" y="1753"/>
                  <a:pt x="9704" y="1753"/>
                </a:cubicBezTo>
                <a:lnTo>
                  <a:pt x="9061" y="1753"/>
                </a:lnTo>
                <a:lnTo>
                  <a:pt x="9347" y="407"/>
                </a:lnTo>
                <a:cubicBezTo>
                  <a:pt x="9359" y="312"/>
                  <a:pt x="9299" y="229"/>
                  <a:pt x="9204" y="205"/>
                </a:cubicBezTo>
                <a:cubicBezTo>
                  <a:pt x="9191" y="201"/>
                  <a:pt x="9179" y="200"/>
                  <a:pt x="9166" y="200"/>
                </a:cubicBezTo>
                <a:cubicBezTo>
                  <a:pt x="9094" y="200"/>
                  <a:pt x="9022" y="255"/>
                  <a:pt x="9001" y="336"/>
                </a:cubicBezTo>
                <a:lnTo>
                  <a:pt x="8704" y="1729"/>
                </a:lnTo>
                <a:lnTo>
                  <a:pt x="8120" y="1729"/>
                </a:lnTo>
                <a:lnTo>
                  <a:pt x="8454" y="217"/>
                </a:lnTo>
                <a:cubicBezTo>
                  <a:pt x="8466" y="121"/>
                  <a:pt x="8406" y="38"/>
                  <a:pt x="8311" y="2"/>
                </a:cubicBezTo>
                <a:cubicBezTo>
                  <a:pt x="8304" y="1"/>
                  <a:pt x="8296" y="1"/>
                  <a:pt x="8289" y="1"/>
                </a:cubicBezTo>
                <a:cubicBezTo>
                  <a:pt x="8212" y="1"/>
                  <a:pt x="8130" y="57"/>
                  <a:pt x="8108" y="133"/>
                </a:cubicBezTo>
                <a:lnTo>
                  <a:pt x="7751" y="1788"/>
                </a:lnTo>
                <a:cubicBezTo>
                  <a:pt x="7692" y="1812"/>
                  <a:pt x="7632" y="1836"/>
                  <a:pt x="7585" y="1848"/>
                </a:cubicBezTo>
                <a:lnTo>
                  <a:pt x="6263" y="1848"/>
                </a:lnTo>
                <a:cubicBezTo>
                  <a:pt x="6251" y="1836"/>
                  <a:pt x="6227" y="1836"/>
                  <a:pt x="6215" y="1824"/>
                </a:cubicBezTo>
                <a:lnTo>
                  <a:pt x="5858" y="133"/>
                </a:lnTo>
                <a:cubicBezTo>
                  <a:pt x="5847" y="57"/>
                  <a:pt x="5767" y="1"/>
                  <a:pt x="568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390" name="Google Shape;10390;p59"/>
          <p:cNvGrpSpPr/>
          <p:nvPr/>
        </p:nvGrpSpPr>
        <p:grpSpPr>
          <a:xfrm>
            <a:off x="6195998" y="1983102"/>
            <a:ext cx="368308" cy="338746"/>
            <a:chOff x="6195998" y="1983102"/>
            <a:chExt cx="368308" cy="338746"/>
          </a:xfrm>
        </p:grpSpPr>
        <p:sp>
          <p:nvSpPr>
            <p:cNvPr id="10391" name="Google Shape;10391;p59"/>
            <p:cNvSpPr/>
            <p:nvPr/>
          </p:nvSpPr>
          <p:spPr>
            <a:xfrm>
              <a:off x="6267289" y="2161012"/>
              <a:ext cx="67533" cy="67150"/>
            </a:xfrm>
            <a:custGeom>
              <a:avLst/>
              <a:gdLst/>
              <a:ahLst/>
              <a:cxnLst/>
              <a:rect l="l" t="t" r="r" b="b"/>
              <a:pathLst>
                <a:path w="2120" h="2108" extrusionOk="0">
                  <a:moveTo>
                    <a:pt x="1060" y="0"/>
                  </a:moveTo>
                  <a:cubicBezTo>
                    <a:pt x="953" y="0"/>
                    <a:pt x="882" y="71"/>
                    <a:pt x="882" y="179"/>
                  </a:cubicBezTo>
                  <a:lnTo>
                    <a:pt x="882" y="881"/>
                  </a:lnTo>
                  <a:lnTo>
                    <a:pt x="179" y="881"/>
                  </a:lnTo>
                  <a:cubicBezTo>
                    <a:pt x="84" y="881"/>
                    <a:pt x="0" y="953"/>
                    <a:pt x="0" y="1060"/>
                  </a:cubicBezTo>
                  <a:cubicBezTo>
                    <a:pt x="0" y="1143"/>
                    <a:pt x="84" y="1238"/>
                    <a:pt x="179" y="1238"/>
                  </a:cubicBezTo>
                  <a:lnTo>
                    <a:pt x="882" y="1238"/>
                  </a:lnTo>
                  <a:lnTo>
                    <a:pt x="882" y="1941"/>
                  </a:lnTo>
                  <a:cubicBezTo>
                    <a:pt x="882" y="2024"/>
                    <a:pt x="953" y="2107"/>
                    <a:pt x="1060" y="2107"/>
                  </a:cubicBezTo>
                  <a:cubicBezTo>
                    <a:pt x="1155" y="2107"/>
                    <a:pt x="1239" y="2036"/>
                    <a:pt x="1239" y="1941"/>
                  </a:cubicBezTo>
                  <a:lnTo>
                    <a:pt x="1239" y="1238"/>
                  </a:lnTo>
                  <a:lnTo>
                    <a:pt x="1941" y="1238"/>
                  </a:lnTo>
                  <a:cubicBezTo>
                    <a:pt x="2048" y="1238"/>
                    <a:pt x="2120" y="1167"/>
                    <a:pt x="2120" y="1060"/>
                  </a:cubicBezTo>
                  <a:cubicBezTo>
                    <a:pt x="2120" y="953"/>
                    <a:pt x="2036" y="881"/>
                    <a:pt x="1941" y="881"/>
                  </a:cubicBezTo>
                  <a:lnTo>
                    <a:pt x="1239" y="881"/>
                  </a:lnTo>
                  <a:lnTo>
                    <a:pt x="1239" y="179"/>
                  </a:lnTo>
                  <a:cubicBezTo>
                    <a:pt x="1239" y="95"/>
                    <a:pt x="1167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2" name="Google Shape;10392;p59"/>
            <p:cNvSpPr/>
            <p:nvPr/>
          </p:nvSpPr>
          <p:spPr>
            <a:xfrm>
              <a:off x="6235052" y="2128393"/>
              <a:ext cx="132007" cy="131625"/>
            </a:xfrm>
            <a:custGeom>
              <a:avLst/>
              <a:gdLst/>
              <a:ahLst/>
              <a:cxnLst/>
              <a:rect l="l" t="t" r="r" b="b"/>
              <a:pathLst>
                <a:path w="4144" h="4132" extrusionOk="0">
                  <a:moveTo>
                    <a:pt x="2072" y="357"/>
                  </a:moveTo>
                  <a:cubicBezTo>
                    <a:pt x="3013" y="357"/>
                    <a:pt x="3799" y="1131"/>
                    <a:pt x="3799" y="2084"/>
                  </a:cubicBezTo>
                  <a:cubicBezTo>
                    <a:pt x="3799" y="3024"/>
                    <a:pt x="3025" y="3798"/>
                    <a:pt x="2072" y="3798"/>
                  </a:cubicBezTo>
                  <a:cubicBezTo>
                    <a:pt x="1120" y="3798"/>
                    <a:pt x="370" y="3024"/>
                    <a:pt x="370" y="2084"/>
                  </a:cubicBezTo>
                  <a:cubicBezTo>
                    <a:pt x="370" y="1131"/>
                    <a:pt x="1143" y="357"/>
                    <a:pt x="2072" y="357"/>
                  </a:cubicBezTo>
                  <a:close/>
                  <a:moveTo>
                    <a:pt x="2072" y="0"/>
                  </a:moveTo>
                  <a:cubicBezTo>
                    <a:pt x="929" y="0"/>
                    <a:pt x="0" y="917"/>
                    <a:pt x="0" y="2072"/>
                  </a:cubicBezTo>
                  <a:cubicBezTo>
                    <a:pt x="0" y="3215"/>
                    <a:pt x="929" y="4132"/>
                    <a:pt x="2072" y="4132"/>
                  </a:cubicBezTo>
                  <a:cubicBezTo>
                    <a:pt x="3227" y="4132"/>
                    <a:pt x="4144" y="3215"/>
                    <a:pt x="4144" y="2072"/>
                  </a:cubicBezTo>
                  <a:cubicBezTo>
                    <a:pt x="4144" y="917"/>
                    <a:pt x="3227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3" name="Google Shape;10393;p59"/>
            <p:cNvSpPr/>
            <p:nvPr/>
          </p:nvSpPr>
          <p:spPr>
            <a:xfrm>
              <a:off x="6195998" y="1983102"/>
              <a:ext cx="368308" cy="338746"/>
            </a:xfrm>
            <a:custGeom>
              <a:avLst/>
              <a:gdLst/>
              <a:ahLst/>
              <a:cxnLst/>
              <a:rect l="l" t="t" r="r" b="b"/>
              <a:pathLst>
                <a:path w="11562" h="10634" extrusionOk="0">
                  <a:moveTo>
                    <a:pt x="3143" y="382"/>
                  </a:moveTo>
                  <a:lnTo>
                    <a:pt x="3143" y="1989"/>
                  </a:lnTo>
                  <a:lnTo>
                    <a:pt x="2227" y="1989"/>
                  </a:lnTo>
                  <a:lnTo>
                    <a:pt x="2227" y="382"/>
                  </a:lnTo>
                  <a:close/>
                  <a:moveTo>
                    <a:pt x="4382" y="382"/>
                  </a:moveTo>
                  <a:lnTo>
                    <a:pt x="4382" y="1989"/>
                  </a:lnTo>
                  <a:lnTo>
                    <a:pt x="3477" y="1989"/>
                  </a:lnTo>
                  <a:lnTo>
                    <a:pt x="3477" y="382"/>
                  </a:lnTo>
                  <a:close/>
                  <a:moveTo>
                    <a:pt x="5584" y="382"/>
                  </a:moveTo>
                  <a:lnTo>
                    <a:pt x="5584" y="1989"/>
                  </a:lnTo>
                  <a:lnTo>
                    <a:pt x="4727" y="1989"/>
                  </a:lnTo>
                  <a:lnTo>
                    <a:pt x="4727" y="382"/>
                  </a:lnTo>
                  <a:close/>
                  <a:moveTo>
                    <a:pt x="4846" y="2323"/>
                  </a:moveTo>
                  <a:lnTo>
                    <a:pt x="4846" y="2656"/>
                  </a:lnTo>
                  <a:lnTo>
                    <a:pt x="1750" y="2656"/>
                  </a:lnTo>
                  <a:lnTo>
                    <a:pt x="1750" y="2323"/>
                  </a:lnTo>
                  <a:close/>
                  <a:moveTo>
                    <a:pt x="7918" y="6073"/>
                  </a:moveTo>
                  <a:cubicBezTo>
                    <a:pt x="8442" y="6073"/>
                    <a:pt x="8894" y="6276"/>
                    <a:pt x="9251" y="6585"/>
                  </a:cubicBezTo>
                  <a:lnTo>
                    <a:pt x="6322" y="9514"/>
                  </a:lnTo>
                  <a:cubicBezTo>
                    <a:pt x="5144" y="8121"/>
                    <a:pt x="6203" y="6073"/>
                    <a:pt x="7918" y="6073"/>
                  </a:cubicBezTo>
                  <a:close/>
                  <a:moveTo>
                    <a:pt x="11204" y="6585"/>
                  </a:moveTo>
                  <a:lnTo>
                    <a:pt x="11204" y="7990"/>
                  </a:lnTo>
                  <a:cubicBezTo>
                    <a:pt x="11204" y="8776"/>
                    <a:pt x="10656" y="9431"/>
                    <a:pt x="9906" y="9562"/>
                  </a:cubicBezTo>
                  <a:cubicBezTo>
                    <a:pt x="10168" y="9193"/>
                    <a:pt x="10347" y="8669"/>
                    <a:pt x="10347" y="8181"/>
                  </a:cubicBezTo>
                  <a:cubicBezTo>
                    <a:pt x="10347" y="7764"/>
                    <a:pt x="10251" y="7550"/>
                    <a:pt x="10251" y="7538"/>
                  </a:cubicBezTo>
                  <a:cubicBezTo>
                    <a:pt x="10168" y="7192"/>
                    <a:pt x="10144" y="7228"/>
                    <a:pt x="10073" y="7073"/>
                  </a:cubicBezTo>
                  <a:cubicBezTo>
                    <a:pt x="9966" y="6883"/>
                    <a:pt x="9954" y="6823"/>
                    <a:pt x="9751" y="6585"/>
                  </a:cubicBezTo>
                  <a:close/>
                  <a:moveTo>
                    <a:pt x="9513" y="6823"/>
                  </a:moveTo>
                  <a:lnTo>
                    <a:pt x="9513" y="6823"/>
                  </a:lnTo>
                  <a:cubicBezTo>
                    <a:pt x="10704" y="8216"/>
                    <a:pt x="9632" y="10240"/>
                    <a:pt x="7918" y="10240"/>
                  </a:cubicBezTo>
                  <a:cubicBezTo>
                    <a:pt x="7890" y="10242"/>
                    <a:pt x="7862" y="10242"/>
                    <a:pt x="7834" y="10242"/>
                  </a:cubicBezTo>
                  <a:cubicBezTo>
                    <a:pt x="7345" y="10242"/>
                    <a:pt x="6910" y="10045"/>
                    <a:pt x="6572" y="9752"/>
                  </a:cubicBezTo>
                  <a:lnTo>
                    <a:pt x="9513" y="6823"/>
                  </a:lnTo>
                  <a:close/>
                  <a:moveTo>
                    <a:pt x="881" y="1"/>
                  </a:moveTo>
                  <a:cubicBezTo>
                    <a:pt x="786" y="1"/>
                    <a:pt x="703" y="84"/>
                    <a:pt x="703" y="180"/>
                  </a:cubicBezTo>
                  <a:lnTo>
                    <a:pt x="703" y="525"/>
                  </a:lnTo>
                  <a:cubicBezTo>
                    <a:pt x="703" y="620"/>
                    <a:pt x="774" y="703"/>
                    <a:pt x="881" y="703"/>
                  </a:cubicBezTo>
                  <a:cubicBezTo>
                    <a:pt x="976" y="703"/>
                    <a:pt x="1060" y="632"/>
                    <a:pt x="1060" y="525"/>
                  </a:cubicBezTo>
                  <a:lnTo>
                    <a:pt x="1060" y="358"/>
                  </a:lnTo>
                  <a:lnTo>
                    <a:pt x="1905" y="358"/>
                  </a:lnTo>
                  <a:lnTo>
                    <a:pt x="1905" y="1966"/>
                  </a:lnTo>
                  <a:lnTo>
                    <a:pt x="1060" y="1966"/>
                  </a:lnTo>
                  <a:lnTo>
                    <a:pt x="1060" y="1418"/>
                  </a:lnTo>
                  <a:cubicBezTo>
                    <a:pt x="1060" y="1323"/>
                    <a:pt x="976" y="1239"/>
                    <a:pt x="881" y="1239"/>
                  </a:cubicBezTo>
                  <a:cubicBezTo>
                    <a:pt x="786" y="1239"/>
                    <a:pt x="703" y="1311"/>
                    <a:pt x="703" y="1418"/>
                  </a:cubicBezTo>
                  <a:lnTo>
                    <a:pt x="703" y="2144"/>
                  </a:lnTo>
                  <a:cubicBezTo>
                    <a:pt x="703" y="2239"/>
                    <a:pt x="774" y="2323"/>
                    <a:pt x="881" y="2323"/>
                  </a:cubicBezTo>
                  <a:lnTo>
                    <a:pt x="1429" y="2323"/>
                  </a:lnTo>
                  <a:lnTo>
                    <a:pt x="1429" y="2656"/>
                  </a:lnTo>
                  <a:lnTo>
                    <a:pt x="905" y="2656"/>
                  </a:lnTo>
                  <a:cubicBezTo>
                    <a:pt x="405" y="2656"/>
                    <a:pt x="0" y="3049"/>
                    <a:pt x="0" y="3561"/>
                  </a:cubicBezTo>
                  <a:lnTo>
                    <a:pt x="0" y="9693"/>
                  </a:lnTo>
                  <a:cubicBezTo>
                    <a:pt x="0" y="10193"/>
                    <a:pt x="405" y="10598"/>
                    <a:pt x="905" y="10598"/>
                  </a:cubicBezTo>
                  <a:lnTo>
                    <a:pt x="3774" y="10598"/>
                  </a:lnTo>
                  <a:cubicBezTo>
                    <a:pt x="3882" y="10598"/>
                    <a:pt x="3953" y="10526"/>
                    <a:pt x="3953" y="10419"/>
                  </a:cubicBezTo>
                  <a:cubicBezTo>
                    <a:pt x="3953" y="10336"/>
                    <a:pt x="3882" y="10240"/>
                    <a:pt x="3774" y="10240"/>
                  </a:cubicBezTo>
                  <a:lnTo>
                    <a:pt x="905" y="10240"/>
                  </a:lnTo>
                  <a:cubicBezTo>
                    <a:pt x="595" y="10240"/>
                    <a:pt x="357" y="9990"/>
                    <a:pt x="357" y="9693"/>
                  </a:cubicBezTo>
                  <a:lnTo>
                    <a:pt x="357" y="3561"/>
                  </a:lnTo>
                  <a:cubicBezTo>
                    <a:pt x="357" y="3251"/>
                    <a:pt x="607" y="3013"/>
                    <a:pt x="905" y="3013"/>
                  </a:cubicBezTo>
                  <a:lnTo>
                    <a:pt x="5739" y="3013"/>
                  </a:lnTo>
                  <a:cubicBezTo>
                    <a:pt x="6060" y="3013"/>
                    <a:pt x="6298" y="3263"/>
                    <a:pt x="6298" y="3561"/>
                  </a:cubicBezTo>
                  <a:lnTo>
                    <a:pt x="6298" y="6359"/>
                  </a:lnTo>
                  <a:lnTo>
                    <a:pt x="6251" y="6407"/>
                  </a:lnTo>
                  <a:cubicBezTo>
                    <a:pt x="6191" y="6466"/>
                    <a:pt x="6132" y="6538"/>
                    <a:pt x="6072" y="6609"/>
                  </a:cubicBezTo>
                  <a:cubicBezTo>
                    <a:pt x="5917" y="6788"/>
                    <a:pt x="5941" y="6752"/>
                    <a:pt x="5787" y="7026"/>
                  </a:cubicBezTo>
                  <a:cubicBezTo>
                    <a:pt x="5715" y="7180"/>
                    <a:pt x="5679" y="7169"/>
                    <a:pt x="5584" y="7538"/>
                  </a:cubicBezTo>
                  <a:cubicBezTo>
                    <a:pt x="5584" y="7550"/>
                    <a:pt x="5477" y="7776"/>
                    <a:pt x="5477" y="8181"/>
                  </a:cubicBezTo>
                  <a:cubicBezTo>
                    <a:pt x="5477" y="8502"/>
                    <a:pt x="5536" y="8835"/>
                    <a:pt x="5667" y="9133"/>
                  </a:cubicBezTo>
                  <a:cubicBezTo>
                    <a:pt x="5703" y="9181"/>
                    <a:pt x="5727" y="9228"/>
                    <a:pt x="5763" y="9288"/>
                  </a:cubicBezTo>
                  <a:cubicBezTo>
                    <a:pt x="5917" y="9621"/>
                    <a:pt x="5906" y="9562"/>
                    <a:pt x="6037" y="9728"/>
                  </a:cubicBezTo>
                  <a:cubicBezTo>
                    <a:pt x="6096" y="9776"/>
                    <a:pt x="6144" y="9859"/>
                    <a:pt x="6203" y="9919"/>
                  </a:cubicBezTo>
                  <a:lnTo>
                    <a:pt x="6239" y="9943"/>
                  </a:lnTo>
                  <a:cubicBezTo>
                    <a:pt x="6144" y="10145"/>
                    <a:pt x="5953" y="10276"/>
                    <a:pt x="5727" y="10276"/>
                  </a:cubicBezTo>
                  <a:lnTo>
                    <a:pt x="4548" y="10276"/>
                  </a:lnTo>
                  <a:cubicBezTo>
                    <a:pt x="4465" y="10276"/>
                    <a:pt x="4370" y="10347"/>
                    <a:pt x="4370" y="10455"/>
                  </a:cubicBezTo>
                  <a:cubicBezTo>
                    <a:pt x="4370" y="10538"/>
                    <a:pt x="4453" y="10633"/>
                    <a:pt x="4548" y="10633"/>
                  </a:cubicBezTo>
                  <a:lnTo>
                    <a:pt x="5727" y="10633"/>
                  </a:lnTo>
                  <a:cubicBezTo>
                    <a:pt x="6060" y="10633"/>
                    <a:pt x="6358" y="10455"/>
                    <a:pt x="6501" y="10169"/>
                  </a:cubicBezTo>
                  <a:cubicBezTo>
                    <a:pt x="6931" y="10472"/>
                    <a:pt x="7425" y="10620"/>
                    <a:pt x="7915" y="10620"/>
                  </a:cubicBezTo>
                  <a:cubicBezTo>
                    <a:pt x="8523" y="10620"/>
                    <a:pt x="9123" y="10391"/>
                    <a:pt x="9585" y="9943"/>
                  </a:cubicBezTo>
                  <a:cubicBezTo>
                    <a:pt x="9606" y="9943"/>
                    <a:pt x="9627" y="9944"/>
                    <a:pt x="9648" y="9944"/>
                  </a:cubicBezTo>
                  <a:cubicBezTo>
                    <a:pt x="10702" y="9944"/>
                    <a:pt x="11549" y="9076"/>
                    <a:pt x="11549" y="8026"/>
                  </a:cubicBezTo>
                  <a:lnTo>
                    <a:pt x="11549" y="4847"/>
                  </a:lnTo>
                  <a:cubicBezTo>
                    <a:pt x="11561" y="3966"/>
                    <a:pt x="10978" y="3192"/>
                    <a:pt x="10144" y="2966"/>
                  </a:cubicBezTo>
                  <a:cubicBezTo>
                    <a:pt x="10132" y="2962"/>
                    <a:pt x="10118" y="2960"/>
                    <a:pt x="10105" y="2960"/>
                  </a:cubicBezTo>
                  <a:cubicBezTo>
                    <a:pt x="10031" y="2960"/>
                    <a:pt x="9952" y="3014"/>
                    <a:pt x="9942" y="3085"/>
                  </a:cubicBezTo>
                  <a:cubicBezTo>
                    <a:pt x="9906" y="3180"/>
                    <a:pt x="9966" y="3275"/>
                    <a:pt x="10061" y="3299"/>
                  </a:cubicBezTo>
                  <a:cubicBezTo>
                    <a:pt x="10740" y="3490"/>
                    <a:pt x="11204" y="4109"/>
                    <a:pt x="11204" y="4811"/>
                  </a:cubicBezTo>
                  <a:lnTo>
                    <a:pt x="11204" y="6228"/>
                  </a:lnTo>
                  <a:lnTo>
                    <a:pt x="9394" y="6228"/>
                  </a:lnTo>
                  <a:cubicBezTo>
                    <a:pt x="9251" y="6121"/>
                    <a:pt x="9275" y="6133"/>
                    <a:pt x="9120" y="6061"/>
                  </a:cubicBezTo>
                  <a:cubicBezTo>
                    <a:pt x="8882" y="5930"/>
                    <a:pt x="8894" y="5942"/>
                    <a:pt x="8704" y="5871"/>
                  </a:cubicBezTo>
                  <a:cubicBezTo>
                    <a:pt x="8465" y="5776"/>
                    <a:pt x="8454" y="5776"/>
                    <a:pt x="8239" y="5752"/>
                  </a:cubicBezTo>
                  <a:cubicBezTo>
                    <a:pt x="8180" y="5728"/>
                    <a:pt x="8120" y="5716"/>
                    <a:pt x="8061" y="5716"/>
                  </a:cubicBezTo>
                  <a:lnTo>
                    <a:pt x="8061" y="4799"/>
                  </a:lnTo>
                  <a:cubicBezTo>
                    <a:pt x="8061" y="4037"/>
                    <a:pt x="8620" y="3382"/>
                    <a:pt x="9358" y="3251"/>
                  </a:cubicBezTo>
                  <a:cubicBezTo>
                    <a:pt x="9454" y="3228"/>
                    <a:pt x="9525" y="3144"/>
                    <a:pt x="9513" y="3037"/>
                  </a:cubicBezTo>
                  <a:cubicBezTo>
                    <a:pt x="9491" y="2960"/>
                    <a:pt x="9418" y="2893"/>
                    <a:pt x="9322" y="2893"/>
                  </a:cubicBezTo>
                  <a:cubicBezTo>
                    <a:pt x="9315" y="2893"/>
                    <a:pt x="9307" y="2893"/>
                    <a:pt x="9299" y="2894"/>
                  </a:cubicBezTo>
                  <a:cubicBezTo>
                    <a:pt x="8382" y="3061"/>
                    <a:pt x="7727" y="3847"/>
                    <a:pt x="7727" y="4787"/>
                  </a:cubicBezTo>
                  <a:lnTo>
                    <a:pt x="7727" y="5716"/>
                  </a:lnTo>
                  <a:cubicBezTo>
                    <a:pt x="7322" y="5752"/>
                    <a:pt x="6965" y="5871"/>
                    <a:pt x="6632" y="6073"/>
                  </a:cubicBezTo>
                  <a:lnTo>
                    <a:pt x="6632" y="3549"/>
                  </a:lnTo>
                  <a:cubicBezTo>
                    <a:pt x="6632" y="3037"/>
                    <a:pt x="6239" y="2632"/>
                    <a:pt x="5727" y="2632"/>
                  </a:cubicBezTo>
                  <a:lnTo>
                    <a:pt x="5203" y="2632"/>
                  </a:lnTo>
                  <a:lnTo>
                    <a:pt x="5203" y="2311"/>
                  </a:lnTo>
                  <a:lnTo>
                    <a:pt x="5763" y="2311"/>
                  </a:lnTo>
                  <a:cubicBezTo>
                    <a:pt x="5846" y="2311"/>
                    <a:pt x="5941" y="2239"/>
                    <a:pt x="5941" y="2132"/>
                  </a:cubicBezTo>
                  <a:lnTo>
                    <a:pt x="5941" y="180"/>
                  </a:lnTo>
                  <a:cubicBezTo>
                    <a:pt x="5941" y="96"/>
                    <a:pt x="5858" y="1"/>
                    <a:pt x="5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94" name="Google Shape;10394;p59"/>
          <p:cNvGrpSpPr/>
          <p:nvPr/>
        </p:nvGrpSpPr>
        <p:grpSpPr>
          <a:xfrm>
            <a:off x="7542031" y="2011835"/>
            <a:ext cx="369072" cy="280037"/>
            <a:chOff x="7542031" y="2011835"/>
            <a:chExt cx="369072" cy="280037"/>
          </a:xfrm>
        </p:grpSpPr>
        <p:sp>
          <p:nvSpPr>
            <p:cNvPr id="10395" name="Google Shape;10395;p59"/>
            <p:cNvSpPr/>
            <p:nvPr/>
          </p:nvSpPr>
          <p:spPr>
            <a:xfrm>
              <a:off x="7542413" y="2281615"/>
              <a:ext cx="368308" cy="10257"/>
            </a:xfrm>
            <a:custGeom>
              <a:avLst/>
              <a:gdLst/>
              <a:ahLst/>
              <a:cxnLst/>
              <a:rect l="l" t="t" r="r" b="b"/>
              <a:pathLst>
                <a:path w="1156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1395" y="322"/>
                  </a:lnTo>
                  <a:cubicBezTo>
                    <a:pt x="11490" y="322"/>
                    <a:pt x="11561" y="250"/>
                    <a:pt x="11561" y="155"/>
                  </a:cubicBezTo>
                  <a:cubicBezTo>
                    <a:pt x="11561" y="72"/>
                    <a:pt x="11490" y="0"/>
                    <a:pt x="11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6" name="Google Shape;10396;p59"/>
            <p:cNvSpPr/>
            <p:nvPr/>
          </p:nvSpPr>
          <p:spPr>
            <a:xfrm>
              <a:off x="7542031" y="2117753"/>
              <a:ext cx="369072" cy="108753"/>
            </a:xfrm>
            <a:custGeom>
              <a:avLst/>
              <a:gdLst/>
              <a:ahLst/>
              <a:cxnLst/>
              <a:rect l="l" t="t" r="r" b="b"/>
              <a:pathLst>
                <a:path w="11586" h="3414" extrusionOk="0">
                  <a:moveTo>
                    <a:pt x="191" y="1"/>
                  </a:moveTo>
                  <a:cubicBezTo>
                    <a:pt x="96" y="1"/>
                    <a:pt x="24" y="72"/>
                    <a:pt x="24" y="167"/>
                  </a:cubicBezTo>
                  <a:cubicBezTo>
                    <a:pt x="24" y="263"/>
                    <a:pt x="96" y="334"/>
                    <a:pt x="191" y="334"/>
                  </a:cubicBezTo>
                  <a:lnTo>
                    <a:pt x="3298" y="334"/>
                  </a:lnTo>
                  <a:cubicBezTo>
                    <a:pt x="3501" y="334"/>
                    <a:pt x="3656" y="525"/>
                    <a:pt x="3608" y="715"/>
                  </a:cubicBezTo>
                  <a:cubicBezTo>
                    <a:pt x="3584" y="858"/>
                    <a:pt x="3560" y="1001"/>
                    <a:pt x="3560" y="1156"/>
                  </a:cubicBezTo>
                  <a:cubicBezTo>
                    <a:pt x="3417" y="953"/>
                    <a:pt x="3298" y="775"/>
                    <a:pt x="3013" y="775"/>
                  </a:cubicBezTo>
                  <a:cubicBezTo>
                    <a:pt x="2584" y="775"/>
                    <a:pt x="2524" y="1227"/>
                    <a:pt x="2298" y="1227"/>
                  </a:cubicBezTo>
                  <a:cubicBezTo>
                    <a:pt x="2084" y="1227"/>
                    <a:pt x="2036" y="775"/>
                    <a:pt x="1584" y="775"/>
                  </a:cubicBezTo>
                  <a:cubicBezTo>
                    <a:pt x="1143" y="775"/>
                    <a:pt x="1096" y="1227"/>
                    <a:pt x="870" y="1227"/>
                  </a:cubicBezTo>
                  <a:cubicBezTo>
                    <a:pt x="655" y="1227"/>
                    <a:pt x="608" y="775"/>
                    <a:pt x="155" y="775"/>
                  </a:cubicBezTo>
                  <a:cubicBezTo>
                    <a:pt x="72" y="775"/>
                    <a:pt x="0" y="858"/>
                    <a:pt x="0" y="941"/>
                  </a:cubicBezTo>
                  <a:cubicBezTo>
                    <a:pt x="0" y="1037"/>
                    <a:pt x="72" y="1108"/>
                    <a:pt x="155" y="1108"/>
                  </a:cubicBezTo>
                  <a:cubicBezTo>
                    <a:pt x="250" y="1108"/>
                    <a:pt x="298" y="1156"/>
                    <a:pt x="381" y="1275"/>
                  </a:cubicBezTo>
                  <a:cubicBezTo>
                    <a:pt x="489" y="1394"/>
                    <a:pt x="608" y="1572"/>
                    <a:pt x="870" y="1572"/>
                  </a:cubicBezTo>
                  <a:cubicBezTo>
                    <a:pt x="1310" y="1572"/>
                    <a:pt x="1370" y="1120"/>
                    <a:pt x="1584" y="1120"/>
                  </a:cubicBezTo>
                  <a:cubicBezTo>
                    <a:pt x="1810" y="1120"/>
                    <a:pt x="1858" y="1572"/>
                    <a:pt x="2298" y="1572"/>
                  </a:cubicBezTo>
                  <a:cubicBezTo>
                    <a:pt x="2751" y="1572"/>
                    <a:pt x="2798" y="1120"/>
                    <a:pt x="3013" y="1120"/>
                  </a:cubicBezTo>
                  <a:cubicBezTo>
                    <a:pt x="3227" y="1120"/>
                    <a:pt x="3251" y="1465"/>
                    <a:pt x="3596" y="1549"/>
                  </a:cubicBezTo>
                  <a:cubicBezTo>
                    <a:pt x="3788" y="2713"/>
                    <a:pt x="4782" y="3414"/>
                    <a:pt x="5807" y="3414"/>
                  </a:cubicBezTo>
                  <a:cubicBezTo>
                    <a:pt x="6375" y="3414"/>
                    <a:pt x="6952" y="3199"/>
                    <a:pt x="7406" y="2727"/>
                  </a:cubicBezTo>
                  <a:cubicBezTo>
                    <a:pt x="7739" y="2406"/>
                    <a:pt x="7930" y="1989"/>
                    <a:pt x="8001" y="1549"/>
                  </a:cubicBezTo>
                  <a:cubicBezTo>
                    <a:pt x="8335" y="1465"/>
                    <a:pt x="8370" y="1120"/>
                    <a:pt x="8573" y="1120"/>
                  </a:cubicBezTo>
                  <a:cubicBezTo>
                    <a:pt x="8787" y="1120"/>
                    <a:pt x="8835" y="1572"/>
                    <a:pt x="9287" y="1572"/>
                  </a:cubicBezTo>
                  <a:cubicBezTo>
                    <a:pt x="9728" y="1572"/>
                    <a:pt x="9775" y="1120"/>
                    <a:pt x="10002" y="1120"/>
                  </a:cubicBezTo>
                  <a:cubicBezTo>
                    <a:pt x="10216" y="1120"/>
                    <a:pt x="10264" y="1572"/>
                    <a:pt x="10716" y="1572"/>
                  </a:cubicBezTo>
                  <a:cubicBezTo>
                    <a:pt x="11157" y="1572"/>
                    <a:pt x="11204" y="1120"/>
                    <a:pt x="11430" y="1120"/>
                  </a:cubicBezTo>
                  <a:cubicBezTo>
                    <a:pt x="11514" y="1120"/>
                    <a:pt x="11585" y="1048"/>
                    <a:pt x="11585" y="953"/>
                  </a:cubicBezTo>
                  <a:cubicBezTo>
                    <a:pt x="11585" y="870"/>
                    <a:pt x="11514" y="798"/>
                    <a:pt x="11430" y="798"/>
                  </a:cubicBezTo>
                  <a:cubicBezTo>
                    <a:pt x="10990" y="798"/>
                    <a:pt x="10930" y="1239"/>
                    <a:pt x="10716" y="1239"/>
                  </a:cubicBezTo>
                  <a:cubicBezTo>
                    <a:pt x="10490" y="1239"/>
                    <a:pt x="10442" y="798"/>
                    <a:pt x="10002" y="798"/>
                  </a:cubicBezTo>
                  <a:cubicBezTo>
                    <a:pt x="9561" y="798"/>
                    <a:pt x="9502" y="1239"/>
                    <a:pt x="9287" y="1239"/>
                  </a:cubicBezTo>
                  <a:cubicBezTo>
                    <a:pt x="9061" y="1239"/>
                    <a:pt x="9013" y="798"/>
                    <a:pt x="8573" y="798"/>
                  </a:cubicBezTo>
                  <a:cubicBezTo>
                    <a:pt x="8287" y="798"/>
                    <a:pt x="8168" y="977"/>
                    <a:pt x="8037" y="1132"/>
                  </a:cubicBezTo>
                  <a:cubicBezTo>
                    <a:pt x="8037" y="1001"/>
                    <a:pt x="8013" y="858"/>
                    <a:pt x="7989" y="715"/>
                  </a:cubicBezTo>
                  <a:cubicBezTo>
                    <a:pt x="7942" y="525"/>
                    <a:pt x="8097" y="334"/>
                    <a:pt x="8299" y="334"/>
                  </a:cubicBezTo>
                  <a:lnTo>
                    <a:pt x="11407" y="334"/>
                  </a:lnTo>
                  <a:cubicBezTo>
                    <a:pt x="11502" y="334"/>
                    <a:pt x="11573" y="263"/>
                    <a:pt x="11573" y="167"/>
                  </a:cubicBezTo>
                  <a:cubicBezTo>
                    <a:pt x="11573" y="72"/>
                    <a:pt x="11502" y="1"/>
                    <a:pt x="11407" y="1"/>
                  </a:cubicBezTo>
                  <a:lnTo>
                    <a:pt x="8299" y="1"/>
                  </a:lnTo>
                  <a:cubicBezTo>
                    <a:pt x="8109" y="1"/>
                    <a:pt x="7918" y="96"/>
                    <a:pt x="7799" y="239"/>
                  </a:cubicBezTo>
                  <a:cubicBezTo>
                    <a:pt x="7680" y="394"/>
                    <a:pt x="7620" y="596"/>
                    <a:pt x="7656" y="787"/>
                  </a:cubicBezTo>
                  <a:cubicBezTo>
                    <a:pt x="7935" y="2081"/>
                    <a:pt x="6886" y="3086"/>
                    <a:pt x="5777" y="3086"/>
                  </a:cubicBezTo>
                  <a:cubicBezTo>
                    <a:pt x="5325" y="3086"/>
                    <a:pt x="4863" y="2919"/>
                    <a:pt x="4477" y="2537"/>
                  </a:cubicBezTo>
                  <a:cubicBezTo>
                    <a:pt x="4001" y="2060"/>
                    <a:pt x="3822" y="1406"/>
                    <a:pt x="3953" y="787"/>
                  </a:cubicBezTo>
                  <a:cubicBezTo>
                    <a:pt x="4037" y="394"/>
                    <a:pt x="3727" y="1"/>
                    <a:pt x="3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7" name="Google Shape;10397;p59"/>
            <p:cNvSpPr/>
            <p:nvPr/>
          </p:nvSpPr>
          <p:spPr>
            <a:xfrm>
              <a:off x="7636099" y="2216376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43" y="0"/>
                    <a:pt x="0" y="143"/>
                    <a:pt x="0" y="298"/>
                  </a:cubicBezTo>
                  <a:cubicBezTo>
                    <a:pt x="0" y="465"/>
                    <a:pt x="143" y="596"/>
                    <a:pt x="298" y="596"/>
                  </a:cubicBezTo>
                  <a:cubicBezTo>
                    <a:pt x="464" y="596"/>
                    <a:pt x="595" y="465"/>
                    <a:pt x="595" y="298"/>
                  </a:cubicBezTo>
                  <a:cubicBezTo>
                    <a:pt x="595" y="143"/>
                    <a:pt x="464" y="24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8" name="Google Shape;10398;p59"/>
            <p:cNvSpPr/>
            <p:nvPr/>
          </p:nvSpPr>
          <p:spPr>
            <a:xfrm>
              <a:off x="7559105" y="2240268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31" y="0"/>
                    <a:pt x="0" y="131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53" y="596"/>
                    <a:pt x="595" y="465"/>
                    <a:pt x="595" y="298"/>
                  </a:cubicBezTo>
                  <a:cubicBezTo>
                    <a:pt x="595" y="143"/>
                    <a:pt x="453" y="12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9" name="Google Shape;10399;p59"/>
            <p:cNvSpPr/>
            <p:nvPr/>
          </p:nvSpPr>
          <p:spPr>
            <a:xfrm>
              <a:off x="7582614" y="2194365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298" y="1"/>
                  </a:moveTo>
                  <a:cubicBezTo>
                    <a:pt x="131" y="1"/>
                    <a:pt x="0" y="132"/>
                    <a:pt x="0" y="298"/>
                  </a:cubicBezTo>
                  <a:cubicBezTo>
                    <a:pt x="0" y="453"/>
                    <a:pt x="131" y="596"/>
                    <a:pt x="298" y="596"/>
                  </a:cubicBezTo>
                  <a:cubicBezTo>
                    <a:pt x="465" y="596"/>
                    <a:pt x="596" y="453"/>
                    <a:pt x="596" y="298"/>
                  </a:cubicBezTo>
                  <a:cubicBezTo>
                    <a:pt x="596" y="132"/>
                    <a:pt x="465" y="13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0" name="Google Shape;10400;p59"/>
            <p:cNvSpPr/>
            <p:nvPr/>
          </p:nvSpPr>
          <p:spPr>
            <a:xfrm>
              <a:off x="7798400" y="2216376"/>
              <a:ext cx="19017" cy="18986"/>
            </a:xfrm>
            <a:custGeom>
              <a:avLst/>
              <a:gdLst/>
              <a:ahLst/>
              <a:cxnLst/>
              <a:rect l="l" t="t" r="r" b="b"/>
              <a:pathLst>
                <a:path w="597" h="596" extrusionOk="0">
                  <a:moveTo>
                    <a:pt x="299" y="0"/>
                  </a:moveTo>
                  <a:cubicBezTo>
                    <a:pt x="132" y="0"/>
                    <a:pt x="1" y="143"/>
                    <a:pt x="1" y="298"/>
                  </a:cubicBezTo>
                  <a:cubicBezTo>
                    <a:pt x="1" y="465"/>
                    <a:pt x="132" y="596"/>
                    <a:pt x="299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43"/>
                    <a:pt x="465" y="24"/>
                    <a:pt x="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1" name="Google Shape;10401;p59"/>
            <p:cNvSpPr/>
            <p:nvPr/>
          </p:nvSpPr>
          <p:spPr>
            <a:xfrm>
              <a:off x="7875043" y="2240268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43" y="0"/>
                    <a:pt x="0" y="131"/>
                    <a:pt x="0" y="298"/>
                  </a:cubicBezTo>
                  <a:cubicBezTo>
                    <a:pt x="0" y="465"/>
                    <a:pt x="143" y="596"/>
                    <a:pt x="298" y="596"/>
                  </a:cubicBezTo>
                  <a:cubicBezTo>
                    <a:pt x="464" y="596"/>
                    <a:pt x="595" y="465"/>
                    <a:pt x="595" y="298"/>
                  </a:cubicBezTo>
                  <a:cubicBezTo>
                    <a:pt x="595" y="143"/>
                    <a:pt x="464" y="12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2" name="Google Shape;10402;p59"/>
            <p:cNvSpPr/>
            <p:nvPr/>
          </p:nvSpPr>
          <p:spPr>
            <a:xfrm>
              <a:off x="7851502" y="2194365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9" y="1"/>
                  </a:moveTo>
                  <a:cubicBezTo>
                    <a:pt x="132" y="1"/>
                    <a:pt x="1" y="132"/>
                    <a:pt x="1" y="298"/>
                  </a:cubicBezTo>
                  <a:cubicBezTo>
                    <a:pt x="1" y="453"/>
                    <a:pt x="132" y="596"/>
                    <a:pt x="299" y="596"/>
                  </a:cubicBezTo>
                  <a:cubicBezTo>
                    <a:pt x="465" y="596"/>
                    <a:pt x="596" y="453"/>
                    <a:pt x="596" y="298"/>
                  </a:cubicBezTo>
                  <a:cubicBezTo>
                    <a:pt x="596" y="132"/>
                    <a:pt x="465" y="13"/>
                    <a:pt x="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3" name="Google Shape;10403;p59"/>
            <p:cNvSpPr/>
            <p:nvPr/>
          </p:nvSpPr>
          <p:spPr>
            <a:xfrm>
              <a:off x="7680090" y="2011835"/>
              <a:ext cx="106205" cy="189028"/>
            </a:xfrm>
            <a:custGeom>
              <a:avLst/>
              <a:gdLst/>
              <a:ahLst/>
              <a:cxnLst/>
              <a:rect l="l" t="t" r="r" b="b"/>
              <a:pathLst>
                <a:path w="3334" h="5934" extrusionOk="0">
                  <a:moveTo>
                    <a:pt x="1448" y="1"/>
                  </a:moveTo>
                  <a:cubicBezTo>
                    <a:pt x="1340" y="1"/>
                    <a:pt x="1233" y="69"/>
                    <a:pt x="1215" y="206"/>
                  </a:cubicBezTo>
                  <a:lnTo>
                    <a:pt x="857" y="2421"/>
                  </a:lnTo>
                  <a:cubicBezTo>
                    <a:pt x="774" y="2838"/>
                    <a:pt x="596" y="3254"/>
                    <a:pt x="322" y="3611"/>
                  </a:cubicBezTo>
                  <a:cubicBezTo>
                    <a:pt x="107" y="3885"/>
                    <a:pt x="0" y="4207"/>
                    <a:pt x="24" y="4552"/>
                  </a:cubicBezTo>
                  <a:cubicBezTo>
                    <a:pt x="36" y="4921"/>
                    <a:pt x="179" y="5266"/>
                    <a:pt x="453" y="5516"/>
                  </a:cubicBezTo>
                  <a:cubicBezTo>
                    <a:pt x="738" y="5790"/>
                    <a:pt x="1096" y="5933"/>
                    <a:pt x="1465" y="5933"/>
                  </a:cubicBezTo>
                  <a:cubicBezTo>
                    <a:pt x="2655" y="5933"/>
                    <a:pt x="3334" y="4540"/>
                    <a:pt x="2584" y="3600"/>
                  </a:cubicBezTo>
                  <a:cubicBezTo>
                    <a:pt x="2370" y="3350"/>
                    <a:pt x="2227" y="3064"/>
                    <a:pt x="2131" y="2754"/>
                  </a:cubicBezTo>
                  <a:cubicBezTo>
                    <a:pt x="2112" y="2678"/>
                    <a:pt x="2048" y="2625"/>
                    <a:pt x="1980" y="2625"/>
                  </a:cubicBezTo>
                  <a:cubicBezTo>
                    <a:pt x="1963" y="2625"/>
                    <a:pt x="1946" y="2628"/>
                    <a:pt x="1929" y="2635"/>
                  </a:cubicBezTo>
                  <a:cubicBezTo>
                    <a:pt x="1834" y="2659"/>
                    <a:pt x="1786" y="2754"/>
                    <a:pt x="1810" y="2838"/>
                  </a:cubicBezTo>
                  <a:cubicBezTo>
                    <a:pt x="2096" y="3790"/>
                    <a:pt x="2548" y="3802"/>
                    <a:pt x="2548" y="4493"/>
                  </a:cubicBezTo>
                  <a:cubicBezTo>
                    <a:pt x="2548" y="5092"/>
                    <a:pt x="2072" y="5576"/>
                    <a:pt x="1463" y="5576"/>
                  </a:cubicBezTo>
                  <a:cubicBezTo>
                    <a:pt x="1456" y="5576"/>
                    <a:pt x="1448" y="5576"/>
                    <a:pt x="1441" y="5576"/>
                  </a:cubicBezTo>
                  <a:cubicBezTo>
                    <a:pt x="548" y="5564"/>
                    <a:pt x="36" y="4516"/>
                    <a:pt x="584" y="3802"/>
                  </a:cubicBezTo>
                  <a:cubicBezTo>
                    <a:pt x="893" y="3409"/>
                    <a:pt x="1108" y="2945"/>
                    <a:pt x="1179" y="2468"/>
                  </a:cubicBezTo>
                  <a:lnTo>
                    <a:pt x="1453" y="849"/>
                  </a:lnTo>
                  <a:lnTo>
                    <a:pt x="1631" y="1945"/>
                  </a:lnTo>
                  <a:cubicBezTo>
                    <a:pt x="1642" y="2033"/>
                    <a:pt x="1725" y="2101"/>
                    <a:pt x="1803" y="2101"/>
                  </a:cubicBezTo>
                  <a:cubicBezTo>
                    <a:pt x="1810" y="2101"/>
                    <a:pt x="1816" y="2100"/>
                    <a:pt x="1822" y="2099"/>
                  </a:cubicBezTo>
                  <a:cubicBezTo>
                    <a:pt x="1905" y="2076"/>
                    <a:pt x="1989" y="1992"/>
                    <a:pt x="1965" y="1897"/>
                  </a:cubicBezTo>
                  <a:lnTo>
                    <a:pt x="1691" y="206"/>
                  </a:lnTo>
                  <a:cubicBezTo>
                    <a:pt x="1667" y="69"/>
                    <a:pt x="1557" y="1"/>
                    <a:pt x="14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04" name="Google Shape;10404;p59"/>
          <p:cNvGrpSpPr/>
          <p:nvPr/>
        </p:nvGrpSpPr>
        <p:grpSpPr>
          <a:xfrm>
            <a:off x="8010427" y="3348503"/>
            <a:ext cx="278795" cy="351615"/>
            <a:chOff x="8010427" y="3348503"/>
            <a:chExt cx="278795" cy="351615"/>
          </a:xfrm>
        </p:grpSpPr>
        <p:sp>
          <p:nvSpPr>
            <p:cNvPr id="10405" name="Google Shape;10405;p59"/>
            <p:cNvSpPr/>
            <p:nvPr/>
          </p:nvSpPr>
          <p:spPr>
            <a:xfrm>
              <a:off x="8010427" y="3348503"/>
              <a:ext cx="278795" cy="351615"/>
            </a:xfrm>
            <a:custGeom>
              <a:avLst/>
              <a:gdLst/>
              <a:ahLst/>
              <a:cxnLst/>
              <a:rect l="l" t="t" r="r" b="b"/>
              <a:pathLst>
                <a:path w="8752" h="11038" extrusionOk="0">
                  <a:moveTo>
                    <a:pt x="6216" y="322"/>
                  </a:moveTo>
                  <a:cubicBezTo>
                    <a:pt x="6323" y="322"/>
                    <a:pt x="6406" y="405"/>
                    <a:pt x="6406" y="512"/>
                  </a:cubicBezTo>
                  <a:lnTo>
                    <a:pt x="6406" y="1215"/>
                  </a:lnTo>
                  <a:cubicBezTo>
                    <a:pt x="6406" y="1310"/>
                    <a:pt x="6323" y="1405"/>
                    <a:pt x="6216" y="1405"/>
                  </a:cubicBezTo>
                  <a:lnTo>
                    <a:pt x="5311" y="1405"/>
                  </a:lnTo>
                  <a:cubicBezTo>
                    <a:pt x="5216" y="1405"/>
                    <a:pt x="5144" y="1477"/>
                    <a:pt x="5144" y="1572"/>
                  </a:cubicBezTo>
                  <a:cubicBezTo>
                    <a:pt x="5144" y="1893"/>
                    <a:pt x="4882" y="2144"/>
                    <a:pt x="4561" y="2144"/>
                  </a:cubicBezTo>
                  <a:lnTo>
                    <a:pt x="4203" y="2144"/>
                  </a:lnTo>
                  <a:cubicBezTo>
                    <a:pt x="3882" y="2144"/>
                    <a:pt x="3632" y="1882"/>
                    <a:pt x="3632" y="1572"/>
                  </a:cubicBezTo>
                  <a:cubicBezTo>
                    <a:pt x="3632" y="1477"/>
                    <a:pt x="3549" y="1405"/>
                    <a:pt x="3465" y="1405"/>
                  </a:cubicBezTo>
                  <a:lnTo>
                    <a:pt x="2560" y="1405"/>
                  </a:lnTo>
                  <a:cubicBezTo>
                    <a:pt x="2453" y="1405"/>
                    <a:pt x="2358" y="1310"/>
                    <a:pt x="2358" y="1215"/>
                  </a:cubicBezTo>
                  <a:lnTo>
                    <a:pt x="2346" y="512"/>
                  </a:lnTo>
                  <a:cubicBezTo>
                    <a:pt x="2346" y="405"/>
                    <a:pt x="2441" y="322"/>
                    <a:pt x="2537" y="322"/>
                  </a:cubicBezTo>
                  <a:close/>
                  <a:moveTo>
                    <a:pt x="2525" y="0"/>
                  </a:moveTo>
                  <a:cubicBezTo>
                    <a:pt x="2239" y="0"/>
                    <a:pt x="2025" y="227"/>
                    <a:pt x="2025" y="512"/>
                  </a:cubicBezTo>
                  <a:lnTo>
                    <a:pt x="632" y="512"/>
                  </a:lnTo>
                  <a:cubicBezTo>
                    <a:pt x="274" y="512"/>
                    <a:pt x="1" y="798"/>
                    <a:pt x="1" y="1143"/>
                  </a:cubicBezTo>
                  <a:lnTo>
                    <a:pt x="1" y="7656"/>
                  </a:lnTo>
                  <a:cubicBezTo>
                    <a:pt x="1" y="7739"/>
                    <a:pt x="72" y="7823"/>
                    <a:pt x="155" y="7823"/>
                  </a:cubicBezTo>
                  <a:cubicBezTo>
                    <a:pt x="251" y="7823"/>
                    <a:pt x="322" y="7739"/>
                    <a:pt x="322" y="7656"/>
                  </a:cubicBezTo>
                  <a:lnTo>
                    <a:pt x="322" y="1143"/>
                  </a:lnTo>
                  <a:cubicBezTo>
                    <a:pt x="322" y="965"/>
                    <a:pt x="477" y="822"/>
                    <a:pt x="655" y="822"/>
                  </a:cubicBezTo>
                  <a:lnTo>
                    <a:pt x="1036" y="822"/>
                  </a:lnTo>
                  <a:lnTo>
                    <a:pt x="1036" y="9918"/>
                  </a:lnTo>
                  <a:cubicBezTo>
                    <a:pt x="1036" y="10002"/>
                    <a:pt x="1108" y="10085"/>
                    <a:pt x="1203" y="10085"/>
                  </a:cubicBezTo>
                  <a:lnTo>
                    <a:pt x="7573" y="10085"/>
                  </a:lnTo>
                  <a:cubicBezTo>
                    <a:pt x="7656" y="10085"/>
                    <a:pt x="7728" y="10002"/>
                    <a:pt x="7728" y="9918"/>
                  </a:cubicBezTo>
                  <a:lnTo>
                    <a:pt x="7728" y="822"/>
                  </a:lnTo>
                  <a:lnTo>
                    <a:pt x="8121" y="822"/>
                  </a:lnTo>
                  <a:cubicBezTo>
                    <a:pt x="8299" y="822"/>
                    <a:pt x="8442" y="965"/>
                    <a:pt x="8442" y="1143"/>
                  </a:cubicBezTo>
                  <a:lnTo>
                    <a:pt x="8442" y="10395"/>
                  </a:lnTo>
                  <a:cubicBezTo>
                    <a:pt x="8442" y="10573"/>
                    <a:pt x="8299" y="10716"/>
                    <a:pt x="8121" y="10716"/>
                  </a:cubicBezTo>
                  <a:lnTo>
                    <a:pt x="667" y="10716"/>
                  </a:lnTo>
                  <a:cubicBezTo>
                    <a:pt x="489" y="10716"/>
                    <a:pt x="334" y="10573"/>
                    <a:pt x="334" y="10395"/>
                  </a:cubicBezTo>
                  <a:lnTo>
                    <a:pt x="334" y="8418"/>
                  </a:lnTo>
                  <a:cubicBezTo>
                    <a:pt x="334" y="8323"/>
                    <a:pt x="263" y="8251"/>
                    <a:pt x="167" y="8251"/>
                  </a:cubicBezTo>
                  <a:cubicBezTo>
                    <a:pt x="84" y="8251"/>
                    <a:pt x="12" y="8323"/>
                    <a:pt x="12" y="8418"/>
                  </a:cubicBezTo>
                  <a:lnTo>
                    <a:pt x="12" y="10395"/>
                  </a:lnTo>
                  <a:cubicBezTo>
                    <a:pt x="12" y="10752"/>
                    <a:pt x="298" y="11037"/>
                    <a:pt x="644" y="11037"/>
                  </a:cubicBezTo>
                  <a:lnTo>
                    <a:pt x="8109" y="11037"/>
                  </a:lnTo>
                  <a:cubicBezTo>
                    <a:pt x="8466" y="11037"/>
                    <a:pt x="8740" y="10752"/>
                    <a:pt x="8740" y="10395"/>
                  </a:cubicBezTo>
                  <a:lnTo>
                    <a:pt x="8740" y="1143"/>
                  </a:lnTo>
                  <a:cubicBezTo>
                    <a:pt x="8752" y="810"/>
                    <a:pt x="8454" y="512"/>
                    <a:pt x="8109" y="512"/>
                  </a:cubicBezTo>
                  <a:lnTo>
                    <a:pt x="7299" y="512"/>
                  </a:lnTo>
                  <a:cubicBezTo>
                    <a:pt x="7216" y="512"/>
                    <a:pt x="7144" y="584"/>
                    <a:pt x="7144" y="679"/>
                  </a:cubicBezTo>
                  <a:cubicBezTo>
                    <a:pt x="7144" y="762"/>
                    <a:pt x="7216" y="834"/>
                    <a:pt x="7299" y="834"/>
                  </a:cubicBezTo>
                  <a:lnTo>
                    <a:pt x="7406" y="834"/>
                  </a:lnTo>
                  <a:lnTo>
                    <a:pt x="7406" y="9764"/>
                  </a:lnTo>
                  <a:lnTo>
                    <a:pt x="1370" y="9764"/>
                  </a:lnTo>
                  <a:lnTo>
                    <a:pt x="1370" y="834"/>
                  </a:lnTo>
                  <a:lnTo>
                    <a:pt x="2037" y="834"/>
                  </a:lnTo>
                  <a:lnTo>
                    <a:pt x="2037" y="1215"/>
                  </a:lnTo>
                  <a:cubicBezTo>
                    <a:pt x="2037" y="1489"/>
                    <a:pt x="2263" y="1715"/>
                    <a:pt x="2537" y="1715"/>
                  </a:cubicBezTo>
                  <a:lnTo>
                    <a:pt x="3299" y="1715"/>
                  </a:lnTo>
                  <a:cubicBezTo>
                    <a:pt x="3370" y="2132"/>
                    <a:pt x="3751" y="2465"/>
                    <a:pt x="4192" y="2465"/>
                  </a:cubicBezTo>
                  <a:lnTo>
                    <a:pt x="4549" y="2465"/>
                  </a:lnTo>
                  <a:cubicBezTo>
                    <a:pt x="5001" y="2465"/>
                    <a:pt x="5370" y="2132"/>
                    <a:pt x="5442" y="1715"/>
                  </a:cubicBezTo>
                  <a:lnTo>
                    <a:pt x="6204" y="1715"/>
                  </a:lnTo>
                  <a:cubicBezTo>
                    <a:pt x="6489" y="1715"/>
                    <a:pt x="6704" y="1489"/>
                    <a:pt x="6704" y="1215"/>
                  </a:cubicBezTo>
                  <a:lnTo>
                    <a:pt x="6704" y="512"/>
                  </a:lnTo>
                  <a:cubicBezTo>
                    <a:pt x="6704" y="227"/>
                    <a:pt x="6489" y="0"/>
                    <a:pt x="6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6" name="Google Shape;10406;p59"/>
            <p:cNvSpPr/>
            <p:nvPr/>
          </p:nvSpPr>
          <p:spPr>
            <a:xfrm>
              <a:off x="8078692" y="3438653"/>
              <a:ext cx="142264" cy="100216"/>
            </a:xfrm>
            <a:custGeom>
              <a:avLst/>
              <a:gdLst/>
              <a:ahLst/>
              <a:cxnLst/>
              <a:rect l="l" t="t" r="r" b="b"/>
              <a:pathLst>
                <a:path w="4466" h="3146" extrusionOk="0">
                  <a:moveTo>
                    <a:pt x="2742" y="1"/>
                  </a:moveTo>
                  <a:cubicBezTo>
                    <a:pt x="2676" y="1"/>
                    <a:pt x="2609" y="43"/>
                    <a:pt x="2584" y="123"/>
                  </a:cubicBezTo>
                  <a:lnTo>
                    <a:pt x="1989" y="2433"/>
                  </a:lnTo>
                  <a:lnTo>
                    <a:pt x="1429" y="778"/>
                  </a:lnTo>
                  <a:cubicBezTo>
                    <a:pt x="1403" y="705"/>
                    <a:pt x="1335" y="665"/>
                    <a:pt x="1268" y="665"/>
                  </a:cubicBezTo>
                  <a:cubicBezTo>
                    <a:pt x="1216" y="665"/>
                    <a:pt x="1163" y="690"/>
                    <a:pt x="1132" y="742"/>
                  </a:cubicBezTo>
                  <a:lnTo>
                    <a:pt x="656" y="1600"/>
                  </a:lnTo>
                  <a:lnTo>
                    <a:pt x="155" y="1600"/>
                  </a:lnTo>
                  <a:cubicBezTo>
                    <a:pt x="72" y="1600"/>
                    <a:pt x="1" y="1671"/>
                    <a:pt x="1" y="1754"/>
                  </a:cubicBezTo>
                  <a:cubicBezTo>
                    <a:pt x="1" y="1850"/>
                    <a:pt x="72" y="1921"/>
                    <a:pt x="155" y="1921"/>
                  </a:cubicBezTo>
                  <a:lnTo>
                    <a:pt x="739" y="1921"/>
                  </a:lnTo>
                  <a:cubicBezTo>
                    <a:pt x="798" y="1921"/>
                    <a:pt x="846" y="1897"/>
                    <a:pt x="894" y="1838"/>
                  </a:cubicBezTo>
                  <a:lnTo>
                    <a:pt x="1227" y="1219"/>
                  </a:lnTo>
                  <a:lnTo>
                    <a:pt x="1858" y="3040"/>
                  </a:lnTo>
                  <a:cubicBezTo>
                    <a:pt x="1887" y="3110"/>
                    <a:pt x="1951" y="3146"/>
                    <a:pt x="2013" y="3146"/>
                  </a:cubicBezTo>
                  <a:cubicBezTo>
                    <a:pt x="2079" y="3146"/>
                    <a:pt x="2143" y="3107"/>
                    <a:pt x="2168" y="3028"/>
                  </a:cubicBezTo>
                  <a:lnTo>
                    <a:pt x="2763" y="683"/>
                  </a:lnTo>
                  <a:lnTo>
                    <a:pt x="3168" y="1802"/>
                  </a:lnTo>
                  <a:cubicBezTo>
                    <a:pt x="3192" y="1861"/>
                    <a:pt x="3251" y="1909"/>
                    <a:pt x="3311" y="1909"/>
                  </a:cubicBezTo>
                  <a:lnTo>
                    <a:pt x="4287" y="1909"/>
                  </a:lnTo>
                  <a:cubicBezTo>
                    <a:pt x="4370" y="1909"/>
                    <a:pt x="4442" y="1838"/>
                    <a:pt x="4442" y="1742"/>
                  </a:cubicBezTo>
                  <a:cubicBezTo>
                    <a:pt x="4466" y="1671"/>
                    <a:pt x="4382" y="1600"/>
                    <a:pt x="4299" y="1600"/>
                  </a:cubicBezTo>
                  <a:lnTo>
                    <a:pt x="3454" y="1600"/>
                  </a:lnTo>
                  <a:lnTo>
                    <a:pt x="2894" y="111"/>
                  </a:lnTo>
                  <a:cubicBezTo>
                    <a:pt x="2865" y="37"/>
                    <a:pt x="2804" y="1"/>
                    <a:pt x="27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7" name="Google Shape;10407;p59"/>
            <p:cNvSpPr/>
            <p:nvPr/>
          </p:nvSpPr>
          <p:spPr>
            <a:xfrm>
              <a:off x="8079074" y="3574928"/>
              <a:ext cx="141882" cy="10257"/>
            </a:xfrm>
            <a:custGeom>
              <a:avLst/>
              <a:gdLst/>
              <a:ahLst/>
              <a:cxnLst/>
              <a:rect l="l" t="t" r="r" b="b"/>
              <a:pathLst>
                <a:path w="4454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4287" y="322"/>
                  </a:lnTo>
                  <a:cubicBezTo>
                    <a:pt x="4370" y="322"/>
                    <a:pt x="4454" y="250"/>
                    <a:pt x="4454" y="155"/>
                  </a:cubicBezTo>
                  <a:cubicBezTo>
                    <a:pt x="4454" y="72"/>
                    <a:pt x="4370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8" name="Google Shape;10408;p59"/>
            <p:cNvSpPr/>
            <p:nvPr/>
          </p:nvSpPr>
          <p:spPr>
            <a:xfrm>
              <a:off x="8079074" y="3619685"/>
              <a:ext cx="141882" cy="10640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7" y="334"/>
                  </a:cubicBezTo>
                  <a:lnTo>
                    <a:pt x="4287" y="334"/>
                  </a:lnTo>
                  <a:cubicBezTo>
                    <a:pt x="4370" y="334"/>
                    <a:pt x="4454" y="262"/>
                    <a:pt x="4454" y="167"/>
                  </a:cubicBezTo>
                  <a:cubicBezTo>
                    <a:pt x="4454" y="84"/>
                    <a:pt x="4370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09" name="Google Shape;10409;p59"/>
          <p:cNvSpPr/>
          <p:nvPr/>
        </p:nvSpPr>
        <p:spPr>
          <a:xfrm>
            <a:off x="7615138" y="3348917"/>
            <a:ext cx="223304" cy="351201"/>
          </a:xfrm>
          <a:custGeom>
            <a:avLst/>
            <a:gdLst/>
            <a:ahLst/>
            <a:cxnLst/>
            <a:rect l="l" t="t" r="r" b="b"/>
            <a:pathLst>
              <a:path w="7010" h="11025" extrusionOk="0">
                <a:moveTo>
                  <a:pt x="6315" y="319"/>
                </a:moveTo>
                <a:cubicBezTo>
                  <a:pt x="6422" y="319"/>
                  <a:pt x="6507" y="389"/>
                  <a:pt x="6540" y="499"/>
                </a:cubicBezTo>
                <a:cubicBezTo>
                  <a:pt x="6552" y="618"/>
                  <a:pt x="6480" y="726"/>
                  <a:pt x="6361" y="749"/>
                </a:cubicBezTo>
                <a:cubicBezTo>
                  <a:pt x="5944" y="821"/>
                  <a:pt x="5456" y="857"/>
                  <a:pt x="5040" y="880"/>
                </a:cubicBezTo>
                <a:cubicBezTo>
                  <a:pt x="5075" y="821"/>
                  <a:pt x="5123" y="761"/>
                  <a:pt x="5159" y="666"/>
                </a:cubicBezTo>
                <a:lnTo>
                  <a:pt x="5159" y="583"/>
                </a:lnTo>
                <a:cubicBezTo>
                  <a:pt x="5159" y="547"/>
                  <a:pt x="5171" y="499"/>
                  <a:pt x="5159" y="452"/>
                </a:cubicBezTo>
                <a:cubicBezTo>
                  <a:pt x="5528" y="428"/>
                  <a:pt x="5909" y="380"/>
                  <a:pt x="6290" y="321"/>
                </a:cubicBezTo>
                <a:cubicBezTo>
                  <a:pt x="6298" y="320"/>
                  <a:pt x="6307" y="319"/>
                  <a:pt x="6315" y="319"/>
                </a:cubicBezTo>
                <a:close/>
                <a:moveTo>
                  <a:pt x="4631" y="317"/>
                </a:moveTo>
                <a:cubicBezTo>
                  <a:pt x="4808" y="317"/>
                  <a:pt x="4912" y="511"/>
                  <a:pt x="4801" y="654"/>
                </a:cubicBezTo>
                <a:cubicBezTo>
                  <a:pt x="4766" y="702"/>
                  <a:pt x="4706" y="737"/>
                  <a:pt x="4671" y="749"/>
                </a:cubicBezTo>
                <a:cubicBezTo>
                  <a:pt x="4230" y="821"/>
                  <a:pt x="3254" y="928"/>
                  <a:pt x="2658" y="928"/>
                </a:cubicBezTo>
                <a:cubicBezTo>
                  <a:pt x="2015" y="928"/>
                  <a:pt x="1134" y="833"/>
                  <a:pt x="646" y="749"/>
                </a:cubicBezTo>
                <a:cubicBezTo>
                  <a:pt x="527" y="726"/>
                  <a:pt x="456" y="618"/>
                  <a:pt x="480" y="499"/>
                </a:cubicBezTo>
                <a:cubicBezTo>
                  <a:pt x="503" y="392"/>
                  <a:pt x="587" y="321"/>
                  <a:pt x="694" y="321"/>
                </a:cubicBezTo>
                <a:cubicBezTo>
                  <a:pt x="781" y="321"/>
                  <a:pt x="1514" y="490"/>
                  <a:pt x="2639" y="490"/>
                </a:cubicBezTo>
                <a:cubicBezTo>
                  <a:pt x="3201" y="490"/>
                  <a:pt x="3861" y="448"/>
                  <a:pt x="4587" y="321"/>
                </a:cubicBezTo>
                <a:cubicBezTo>
                  <a:pt x="4602" y="318"/>
                  <a:pt x="4617" y="317"/>
                  <a:pt x="4631" y="317"/>
                </a:cubicBezTo>
                <a:close/>
                <a:moveTo>
                  <a:pt x="1456" y="1178"/>
                </a:moveTo>
                <a:cubicBezTo>
                  <a:pt x="1962" y="1228"/>
                  <a:pt x="2377" y="1242"/>
                  <a:pt x="2698" y="1242"/>
                </a:cubicBezTo>
                <a:cubicBezTo>
                  <a:pt x="3149" y="1242"/>
                  <a:pt x="3415" y="1214"/>
                  <a:pt x="3492" y="1214"/>
                </a:cubicBezTo>
                <a:cubicBezTo>
                  <a:pt x="3551" y="1220"/>
                  <a:pt x="3611" y="1220"/>
                  <a:pt x="3670" y="1220"/>
                </a:cubicBezTo>
                <a:cubicBezTo>
                  <a:pt x="3730" y="1220"/>
                  <a:pt x="3789" y="1220"/>
                  <a:pt x="3849" y="1226"/>
                </a:cubicBezTo>
                <a:lnTo>
                  <a:pt x="3849" y="2226"/>
                </a:lnTo>
                <a:lnTo>
                  <a:pt x="1456" y="2226"/>
                </a:lnTo>
                <a:lnTo>
                  <a:pt x="1456" y="1178"/>
                </a:lnTo>
                <a:close/>
                <a:moveTo>
                  <a:pt x="5540" y="1178"/>
                </a:moveTo>
                <a:lnTo>
                  <a:pt x="5540" y="2226"/>
                </a:lnTo>
                <a:lnTo>
                  <a:pt x="4170" y="2226"/>
                </a:lnTo>
                <a:lnTo>
                  <a:pt x="4170" y="1238"/>
                </a:lnTo>
                <a:cubicBezTo>
                  <a:pt x="4270" y="1243"/>
                  <a:pt x="4373" y="1245"/>
                  <a:pt x="4479" y="1245"/>
                </a:cubicBezTo>
                <a:cubicBezTo>
                  <a:pt x="4854" y="1245"/>
                  <a:pt x="5251" y="1215"/>
                  <a:pt x="5540" y="1178"/>
                </a:cubicBezTo>
                <a:close/>
                <a:moveTo>
                  <a:pt x="3861" y="2547"/>
                </a:moveTo>
                <a:lnTo>
                  <a:pt x="3861" y="3083"/>
                </a:lnTo>
                <a:lnTo>
                  <a:pt x="1468" y="3083"/>
                </a:lnTo>
                <a:lnTo>
                  <a:pt x="1468" y="2547"/>
                </a:lnTo>
                <a:close/>
                <a:moveTo>
                  <a:pt x="5540" y="2547"/>
                </a:moveTo>
                <a:lnTo>
                  <a:pt x="5540" y="3083"/>
                </a:lnTo>
                <a:lnTo>
                  <a:pt x="4170" y="3083"/>
                </a:lnTo>
                <a:lnTo>
                  <a:pt x="4170" y="2547"/>
                </a:lnTo>
                <a:close/>
                <a:moveTo>
                  <a:pt x="5540" y="3404"/>
                </a:moveTo>
                <a:lnTo>
                  <a:pt x="5540" y="5214"/>
                </a:lnTo>
                <a:cubicBezTo>
                  <a:pt x="5540" y="5929"/>
                  <a:pt x="4956" y="6417"/>
                  <a:pt x="4335" y="6417"/>
                </a:cubicBezTo>
                <a:cubicBezTo>
                  <a:pt x="4139" y="6417"/>
                  <a:pt x="3940" y="6368"/>
                  <a:pt x="3754" y="6262"/>
                </a:cubicBezTo>
                <a:cubicBezTo>
                  <a:pt x="3992" y="6000"/>
                  <a:pt x="4170" y="5607"/>
                  <a:pt x="4170" y="5214"/>
                </a:cubicBezTo>
                <a:lnTo>
                  <a:pt x="4170" y="3404"/>
                </a:lnTo>
                <a:close/>
                <a:moveTo>
                  <a:pt x="2777" y="6738"/>
                </a:moveTo>
                <a:lnTo>
                  <a:pt x="2777" y="10096"/>
                </a:lnTo>
                <a:lnTo>
                  <a:pt x="2551" y="10096"/>
                </a:lnTo>
                <a:lnTo>
                  <a:pt x="2551" y="6738"/>
                </a:lnTo>
                <a:close/>
                <a:moveTo>
                  <a:pt x="2980" y="10429"/>
                </a:moveTo>
                <a:lnTo>
                  <a:pt x="3087" y="10703"/>
                </a:lnTo>
                <a:lnTo>
                  <a:pt x="2242" y="10703"/>
                </a:lnTo>
                <a:lnTo>
                  <a:pt x="2349" y="10429"/>
                </a:lnTo>
                <a:close/>
                <a:moveTo>
                  <a:pt x="4682" y="10429"/>
                </a:moveTo>
                <a:lnTo>
                  <a:pt x="4790" y="10703"/>
                </a:lnTo>
                <a:lnTo>
                  <a:pt x="3956" y="10703"/>
                </a:lnTo>
                <a:lnTo>
                  <a:pt x="4051" y="10429"/>
                </a:lnTo>
                <a:close/>
                <a:moveTo>
                  <a:pt x="6341" y="0"/>
                </a:moveTo>
                <a:cubicBezTo>
                  <a:pt x="6305" y="0"/>
                  <a:pt x="6268" y="4"/>
                  <a:pt x="6230" y="11"/>
                </a:cubicBezTo>
                <a:cubicBezTo>
                  <a:pt x="5814" y="83"/>
                  <a:pt x="5397" y="130"/>
                  <a:pt x="4980" y="154"/>
                </a:cubicBezTo>
                <a:cubicBezTo>
                  <a:pt x="4882" y="66"/>
                  <a:pt x="4752" y="2"/>
                  <a:pt x="4616" y="2"/>
                </a:cubicBezTo>
                <a:cubicBezTo>
                  <a:pt x="4587" y="2"/>
                  <a:pt x="4557" y="5"/>
                  <a:pt x="4528" y="11"/>
                </a:cubicBezTo>
                <a:cubicBezTo>
                  <a:pt x="3903" y="118"/>
                  <a:pt x="3277" y="172"/>
                  <a:pt x="2652" y="172"/>
                </a:cubicBezTo>
                <a:cubicBezTo>
                  <a:pt x="2027" y="172"/>
                  <a:pt x="1402" y="118"/>
                  <a:pt x="777" y="11"/>
                </a:cubicBezTo>
                <a:cubicBezTo>
                  <a:pt x="741" y="4"/>
                  <a:pt x="706" y="0"/>
                  <a:pt x="672" y="0"/>
                </a:cubicBezTo>
                <a:cubicBezTo>
                  <a:pt x="274" y="0"/>
                  <a:pt x="0" y="483"/>
                  <a:pt x="241" y="845"/>
                </a:cubicBezTo>
                <a:cubicBezTo>
                  <a:pt x="420" y="1095"/>
                  <a:pt x="658" y="1059"/>
                  <a:pt x="1134" y="1142"/>
                </a:cubicBezTo>
                <a:lnTo>
                  <a:pt x="1134" y="4024"/>
                </a:lnTo>
                <a:cubicBezTo>
                  <a:pt x="1134" y="4119"/>
                  <a:pt x="1218" y="4190"/>
                  <a:pt x="1301" y="4190"/>
                </a:cubicBezTo>
                <a:cubicBezTo>
                  <a:pt x="1396" y="4190"/>
                  <a:pt x="1468" y="4119"/>
                  <a:pt x="1468" y="4024"/>
                </a:cubicBezTo>
                <a:lnTo>
                  <a:pt x="1468" y="3416"/>
                </a:lnTo>
                <a:lnTo>
                  <a:pt x="3861" y="3416"/>
                </a:lnTo>
                <a:cubicBezTo>
                  <a:pt x="3849" y="5452"/>
                  <a:pt x="3885" y="5274"/>
                  <a:pt x="3801" y="5583"/>
                </a:cubicBezTo>
                <a:cubicBezTo>
                  <a:pt x="3620" y="6164"/>
                  <a:pt x="3154" y="6426"/>
                  <a:pt x="2686" y="6426"/>
                </a:cubicBezTo>
                <a:cubicBezTo>
                  <a:pt x="2079" y="6426"/>
                  <a:pt x="1468" y="5986"/>
                  <a:pt x="1468" y="5226"/>
                </a:cubicBezTo>
                <a:lnTo>
                  <a:pt x="1468" y="4893"/>
                </a:lnTo>
                <a:cubicBezTo>
                  <a:pt x="1468" y="4798"/>
                  <a:pt x="1384" y="4726"/>
                  <a:pt x="1301" y="4726"/>
                </a:cubicBezTo>
                <a:cubicBezTo>
                  <a:pt x="1206" y="4726"/>
                  <a:pt x="1134" y="4798"/>
                  <a:pt x="1134" y="4893"/>
                </a:cubicBezTo>
                <a:lnTo>
                  <a:pt x="1134" y="5214"/>
                </a:lnTo>
                <a:cubicBezTo>
                  <a:pt x="1134" y="5881"/>
                  <a:pt x="1575" y="6476"/>
                  <a:pt x="2218" y="6679"/>
                </a:cubicBezTo>
                <a:lnTo>
                  <a:pt x="2218" y="10096"/>
                </a:lnTo>
                <a:cubicBezTo>
                  <a:pt x="2146" y="10096"/>
                  <a:pt x="2087" y="10143"/>
                  <a:pt x="2075" y="10203"/>
                </a:cubicBezTo>
                <a:lnTo>
                  <a:pt x="1861" y="10810"/>
                </a:lnTo>
                <a:cubicBezTo>
                  <a:pt x="1837" y="10917"/>
                  <a:pt x="1908" y="11024"/>
                  <a:pt x="2015" y="11024"/>
                </a:cubicBezTo>
                <a:lnTo>
                  <a:pt x="3313" y="11024"/>
                </a:lnTo>
                <a:cubicBezTo>
                  <a:pt x="3408" y="11024"/>
                  <a:pt x="3504" y="10917"/>
                  <a:pt x="3456" y="10810"/>
                </a:cubicBezTo>
                <a:lnTo>
                  <a:pt x="3254" y="10203"/>
                </a:lnTo>
                <a:cubicBezTo>
                  <a:pt x="3230" y="10143"/>
                  <a:pt x="3158" y="10096"/>
                  <a:pt x="3099" y="10096"/>
                </a:cubicBezTo>
                <a:lnTo>
                  <a:pt x="3099" y="6679"/>
                </a:lnTo>
                <a:cubicBezTo>
                  <a:pt x="3254" y="6631"/>
                  <a:pt x="3385" y="6572"/>
                  <a:pt x="3516" y="6476"/>
                </a:cubicBezTo>
                <a:cubicBezTo>
                  <a:pt x="3647" y="6572"/>
                  <a:pt x="3789" y="6631"/>
                  <a:pt x="3932" y="6679"/>
                </a:cubicBezTo>
                <a:lnTo>
                  <a:pt x="3932" y="10096"/>
                </a:lnTo>
                <a:cubicBezTo>
                  <a:pt x="3861" y="10096"/>
                  <a:pt x="3801" y="10143"/>
                  <a:pt x="3789" y="10203"/>
                </a:cubicBezTo>
                <a:lnTo>
                  <a:pt x="3575" y="10810"/>
                </a:lnTo>
                <a:cubicBezTo>
                  <a:pt x="3528" y="10917"/>
                  <a:pt x="3623" y="11024"/>
                  <a:pt x="3730" y="11024"/>
                </a:cubicBezTo>
                <a:lnTo>
                  <a:pt x="5016" y="11024"/>
                </a:lnTo>
                <a:cubicBezTo>
                  <a:pt x="5123" y="11024"/>
                  <a:pt x="5218" y="10917"/>
                  <a:pt x="5171" y="10810"/>
                </a:cubicBezTo>
                <a:lnTo>
                  <a:pt x="4956" y="10203"/>
                </a:lnTo>
                <a:cubicBezTo>
                  <a:pt x="4921" y="10096"/>
                  <a:pt x="4813" y="10096"/>
                  <a:pt x="4813" y="10096"/>
                </a:cubicBezTo>
                <a:lnTo>
                  <a:pt x="4813" y="8429"/>
                </a:lnTo>
                <a:cubicBezTo>
                  <a:pt x="4813" y="8346"/>
                  <a:pt x="4742" y="8262"/>
                  <a:pt x="4647" y="8262"/>
                </a:cubicBezTo>
                <a:cubicBezTo>
                  <a:pt x="4563" y="8262"/>
                  <a:pt x="4480" y="8346"/>
                  <a:pt x="4480" y="8429"/>
                </a:cubicBezTo>
                <a:lnTo>
                  <a:pt x="4480" y="10096"/>
                </a:lnTo>
                <a:lnTo>
                  <a:pt x="4266" y="10096"/>
                </a:lnTo>
                <a:lnTo>
                  <a:pt x="4266" y="6738"/>
                </a:lnTo>
                <a:lnTo>
                  <a:pt x="4480" y="6738"/>
                </a:lnTo>
                <a:lnTo>
                  <a:pt x="4480" y="7643"/>
                </a:lnTo>
                <a:cubicBezTo>
                  <a:pt x="4480" y="7726"/>
                  <a:pt x="4563" y="7810"/>
                  <a:pt x="4647" y="7810"/>
                </a:cubicBezTo>
                <a:cubicBezTo>
                  <a:pt x="4742" y="7810"/>
                  <a:pt x="4813" y="7726"/>
                  <a:pt x="4813" y="7643"/>
                </a:cubicBezTo>
                <a:lnTo>
                  <a:pt x="4813" y="6679"/>
                </a:lnTo>
                <a:cubicBezTo>
                  <a:pt x="5456" y="6476"/>
                  <a:pt x="5897" y="5881"/>
                  <a:pt x="5897" y="5214"/>
                </a:cubicBezTo>
                <a:lnTo>
                  <a:pt x="5897" y="1118"/>
                </a:lnTo>
                <a:cubicBezTo>
                  <a:pt x="6373" y="1059"/>
                  <a:pt x="6611" y="1083"/>
                  <a:pt x="6790" y="821"/>
                </a:cubicBezTo>
                <a:cubicBezTo>
                  <a:pt x="7009" y="481"/>
                  <a:pt x="6754" y="0"/>
                  <a:pt x="634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10" name="Google Shape;10410;p59"/>
          <p:cNvGrpSpPr/>
          <p:nvPr/>
        </p:nvGrpSpPr>
        <p:grpSpPr>
          <a:xfrm>
            <a:off x="7141900" y="3349204"/>
            <a:ext cx="281057" cy="351010"/>
            <a:chOff x="7141900" y="3349204"/>
            <a:chExt cx="281057" cy="351010"/>
          </a:xfrm>
        </p:grpSpPr>
        <p:sp>
          <p:nvSpPr>
            <p:cNvPr id="10411" name="Google Shape;10411;p59"/>
            <p:cNvSpPr/>
            <p:nvPr/>
          </p:nvSpPr>
          <p:spPr>
            <a:xfrm>
              <a:off x="7191944" y="3636186"/>
              <a:ext cx="66418" cy="37111"/>
            </a:xfrm>
            <a:custGeom>
              <a:avLst/>
              <a:gdLst/>
              <a:ahLst/>
              <a:cxnLst/>
              <a:rect l="l" t="t" r="r" b="b"/>
              <a:pathLst>
                <a:path w="2085" h="1165" extrusionOk="0">
                  <a:moveTo>
                    <a:pt x="594" y="0"/>
                  </a:moveTo>
                  <a:cubicBezTo>
                    <a:pt x="326" y="0"/>
                    <a:pt x="141" y="66"/>
                    <a:pt x="132" y="66"/>
                  </a:cubicBezTo>
                  <a:cubicBezTo>
                    <a:pt x="49" y="90"/>
                    <a:pt x="1" y="185"/>
                    <a:pt x="25" y="268"/>
                  </a:cubicBezTo>
                  <a:cubicBezTo>
                    <a:pt x="52" y="342"/>
                    <a:pt x="116" y="387"/>
                    <a:pt x="182" y="387"/>
                  </a:cubicBezTo>
                  <a:cubicBezTo>
                    <a:pt x="201" y="387"/>
                    <a:pt x="220" y="383"/>
                    <a:pt x="239" y="375"/>
                  </a:cubicBezTo>
                  <a:cubicBezTo>
                    <a:pt x="253" y="371"/>
                    <a:pt x="394" y="325"/>
                    <a:pt x="594" y="325"/>
                  </a:cubicBezTo>
                  <a:cubicBezTo>
                    <a:pt x="924" y="325"/>
                    <a:pt x="1415" y="448"/>
                    <a:pt x="1763" y="1078"/>
                  </a:cubicBezTo>
                  <a:cubicBezTo>
                    <a:pt x="1778" y="1138"/>
                    <a:pt x="1826" y="1165"/>
                    <a:pt x="1880" y="1165"/>
                  </a:cubicBezTo>
                  <a:cubicBezTo>
                    <a:pt x="1912" y="1165"/>
                    <a:pt x="1946" y="1155"/>
                    <a:pt x="1977" y="1137"/>
                  </a:cubicBezTo>
                  <a:cubicBezTo>
                    <a:pt x="2049" y="1090"/>
                    <a:pt x="2084" y="994"/>
                    <a:pt x="2037" y="911"/>
                  </a:cubicBezTo>
                  <a:cubicBezTo>
                    <a:pt x="1680" y="280"/>
                    <a:pt x="1192" y="78"/>
                    <a:pt x="834" y="18"/>
                  </a:cubicBezTo>
                  <a:cubicBezTo>
                    <a:pt x="749" y="5"/>
                    <a:pt x="668" y="0"/>
                    <a:pt x="5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2" name="Google Shape;10412;p59"/>
            <p:cNvSpPr/>
            <p:nvPr/>
          </p:nvSpPr>
          <p:spPr>
            <a:xfrm>
              <a:off x="7311432" y="3636886"/>
              <a:ext cx="66386" cy="36538"/>
            </a:xfrm>
            <a:custGeom>
              <a:avLst/>
              <a:gdLst/>
              <a:ahLst/>
              <a:cxnLst/>
              <a:rect l="l" t="t" r="r" b="b"/>
              <a:pathLst>
                <a:path w="2084" h="1147" extrusionOk="0">
                  <a:moveTo>
                    <a:pt x="1506" y="0"/>
                  </a:moveTo>
                  <a:cubicBezTo>
                    <a:pt x="1427" y="0"/>
                    <a:pt x="1341" y="6"/>
                    <a:pt x="1251" y="20"/>
                  </a:cubicBezTo>
                  <a:cubicBezTo>
                    <a:pt x="893" y="56"/>
                    <a:pt x="405" y="258"/>
                    <a:pt x="48" y="913"/>
                  </a:cubicBezTo>
                  <a:cubicBezTo>
                    <a:pt x="0" y="984"/>
                    <a:pt x="36" y="1092"/>
                    <a:pt x="108" y="1127"/>
                  </a:cubicBezTo>
                  <a:cubicBezTo>
                    <a:pt x="132" y="1140"/>
                    <a:pt x="161" y="1146"/>
                    <a:pt x="190" y="1146"/>
                  </a:cubicBezTo>
                  <a:cubicBezTo>
                    <a:pt x="244" y="1146"/>
                    <a:pt x="298" y="1122"/>
                    <a:pt x="322" y="1068"/>
                  </a:cubicBezTo>
                  <a:cubicBezTo>
                    <a:pt x="666" y="445"/>
                    <a:pt x="1145" y="318"/>
                    <a:pt x="1474" y="318"/>
                  </a:cubicBezTo>
                  <a:cubicBezTo>
                    <a:pt x="1680" y="318"/>
                    <a:pt x="1827" y="368"/>
                    <a:pt x="1846" y="377"/>
                  </a:cubicBezTo>
                  <a:cubicBezTo>
                    <a:pt x="1862" y="381"/>
                    <a:pt x="1879" y="383"/>
                    <a:pt x="1894" y="383"/>
                  </a:cubicBezTo>
                  <a:cubicBezTo>
                    <a:pt x="1969" y="383"/>
                    <a:pt x="2031" y="339"/>
                    <a:pt x="2060" y="270"/>
                  </a:cubicBezTo>
                  <a:cubicBezTo>
                    <a:pt x="2084" y="175"/>
                    <a:pt x="2036" y="91"/>
                    <a:pt x="1953" y="56"/>
                  </a:cubicBezTo>
                  <a:cubicBezTo>
                    <a:pt x="1935" y="56"/>
                    <a:pt x="1758" y="0"/>
                    <a:pt x="15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3" name="Google Shape;10413;p59"/>
            <p:cNvSpPr/>
            <p:nvPr/>
          </p:nvSpPr>
          <p:spPr>
            <a:xfrm>
              <a:off x="7141900" y="3349204"/>
              <a:ext cx="281057" cy="351010"/>
            </a:xfrm>
            <a:custGeom>
              <a:avLst/>
              <a:gdLst/>
              <a:ahLst/>
              <a:cxnLst/>
              <a:rect l="l" t="t" r="r" b="b"/>
              <a:pathLst>
                <a:path w="8823" h="11019" extrusionOk="0">
                  <a:moveTo>
                    <a:pt x="4492" y="1"/>
                  </a:moveTo>
                  <a:cubicBezTo>
                    <a:pt x="3595" y="1"/>
                    <a:pt x="2879" y="679"/>
                    <a:pt x="2774" y="1550"/>
                  </a:cubicBezTo>
                  <a:lnTo>
                    <a:pt x="2512" y="3955"/>
                  </a:lnTo>
                  <a:cubicBezTo>
                    <a:pt x="2512" y="4050"/>
                    <a:pt x="2572" y="4122"/>
                    <a:pt x="2655" y="4134"/>
                  </a:cubicBezTo>
                  <a:cubicBezTo>
                    <a:pt x="2751" y="4134"/>
                    <a:pt x="2822" y="4074"/>
                    <a:pt x="2834" y="3991"/>
                  </a:cubicBezTo>
                  <a:lnTo>
                    <a:pt x="3108" y="1574"/>
                  </a:lnTo>
                  <a:cubicBezTo>
                    <a:pt x="3179" y="859"/>
                    <a:pt x="3775" y="312"/>
                    <a:pt x="4489" y="312"/>
                  </a:cubicBezTo>
                  <a:cubicBezTo>
                    <a:pt x="5239" y="312"/>
                    <a:pt x="5811" y="871"/>
                    <a:pt x="5894" y="1574"/>
                  </a:cubicBezTo>
                  <a:lnTo>
                    <a:pt x="6382" y="5896"/>
                  </a:lnTo>
                  <a:cubicBezTo>
                    <a:pt x="6406" y="6170"/>
                    <a:pt x="6584" y="6396"/>
                    <a:pt x="6846" y="6503"/>
                  </a:cubicBezTo>
                  <a:cubicBezTo>
                    <a:pt x="7894" y="6908"/>
                    <a:pt x="8430" y="8170"/>
                    <a:pt x="7858" y="9134"/>
                  </a:cubicBezTo>
                  <a:cubicBezTo>
                    <a:pt x="7585" y="9587"/>
                    <a:pt x="7168" y="9837"/>
                    <a:pt x="6561" y="9908"/>
                  </a:cubicBezTo>
                  <a:cubicBezTo>
                    <a:pt x="6322" y="9944"/>
                    <a:pt x="6132" y="10027"/>
                    <a:pt x="5977" y="10194"/>
                  </a:cubicBezTo>
                  <a:cubicBezTo>
                    <a:pt x="5668" y="10521"/>
                    <a:pt x="5072" y="10685"/>
                    <a:pt x="4478" y="10685"/>
                  </a:cubicBezTo>
                  <a:cubicBezTo>
                    <a:pt x="3885" y="10685"/>
                    <a:pt x="3292" y="10521"/>
                    <a:pt x="2989" y="10194"/>
                  </a:cubicBezTo>
                  <a:cubicBezTo>
                    <a:pt x="2834" y="10039"/>
                    <a:pt x="2632" y="9944"/>
                    <a:pt x="2405" y="9908"/>
                  </a:cubicBezTo>
                  <a:cubicBezTo>
                    <a:pt x="1798" y="9837"/>
                    <a:pt x="1381" y="9587"/>
                    <a:pt x="1108" y="9134"/>
                  </a:cubicBezTo>
                  <a:cubicBezTo>
                    <a:pt x="548" y="8170"/>
                    <a:pt x="1072" y="6908"/>
                    <a:pt x="2120" y="6503"/>
                  </a:cubicBezTo>
                  <a:cubicBezTo>
                    <a:pt x="2382" y="6396"/>
                    <a:pt x="2560" y="6158"/>
                    <a:pt x="2584" y="5896"/>
                  </a:cubicBezTo>
                  <a:lnTo>
                    <a:pt x="2703" y="4824"/>
                  </a:lnTo>
                  <a:cubicBezTo>
                    <a:pt x="2703" y="4729"/>
                    <a:pt x="2643" y="4658"/>
                    <a:pt x="2560" y="4646"/>
                  </a:cubicBezTo>
                  <a:cubicBezTo>
                    <a:pt x="2465" y="4646"/>
                    <a:pt x="2393" y="4705"/>
                    <a:pt x="2382" y="4789"/>
                  </a:cubicBezTo>
                  <a:lnTo>
                    <a:pt x="2262" y="5860"/>
                  </a:lnTo>
                  <a:cubicBezTo>
                    <a:pt x="2239" y="6027"/>
                    <a:pt x="2155" y="6146"/>
                    <a:pt x="2001" y="6205"/>
                  </a:cubicBezTo>
                  <a:cubicBezTo>
                    <a:pt x="0" y="6979"/>
                    <a:pt x="60" y="9956"/>
                    <a:pt x="2382" y="10242"/>
                  </a:cubicBezTo>
                  <a:cubicBezTo>
                    <a:pt x="2524" y="10253"/>
                    <a:pt x="2655" y="10313"/>
                    <a:pt x="2751" y="10420"/>
                  </a:cubicBezTo>
                  <a:cubicBezTo>
                    <a:pt x="3120" y="10819"/>
                    <a:pt x="3801" y="11018"/>
                    <a:pt x="4483" y="11018"/>
                  </a:cubicBezTo>
                  <a:cubicBezTo>
                    <a:pt x="5165" y="11018"/>
                    <a:pt x="5846" y="10819"/>
                    <a:pt x="6215" y="10420"/>
                  </a:cubicBezTo>
                  <a:cubicBezTo>
                    <a:pt x="6311" y="10325"/>
                    <a:pt x="6442" y="10253"/>
                    <a:pt x="6584" y="10242"/>
                  </a:cubicBezTo>
                  <a:cubicBezTo>
                    <a:pt x="8287" y="10039"/>
                    <a:pt x="8823" y="8348"/>
                    <a:pt x="8097" y="7158"/>
                  </a:cubicBezTo>
                  <a:cubicBezTo>
                    <a:pt x="7811" y="6705"/>
                    <a:pt x="7442" y="6384"/>
                    <a:pt x="6965" y="6205"/>
                  </a:cubicBezTo>
                  <a:cubicBezTo>
                    <a:pt x="6823" y="6146"/>
                    <a:pt x="6727" y="6027"/>
                    <a:pt x="6703" y="5860"/>
                  </a:cubicBezTo>
                  <a:lnTo>
                    <a:pt x="6215" y="1550"/>
                  </a:lnTo>
                  <a:cubicBezTo>
                    <a:pt x="6108" y="693"/>
                    <a:pt x="5418" y="26"/>
                    <a:pt x="4560" y="2"/>
                  </a:cubicBezTo>
                  <a:cubicBezTo>
                    <a:pt x="4537" y="1"/>
                    <a:pt x="4514" y="1"/>
                    <a:pt x="44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14" name="Google Shape;10414;p59"/>
          <p:cNvGrpSpPr/>
          <p:nvPr/>
        </p:nvGrpSpPr>
        <p:grpSpPr>
          <a:xfrm>
            <a:off x="5314188" y="3350032"/>
            <a:ext cx="363752" cy="353113"/>
            <a:chOff x="5314188" y="3350032"/>
            <a:chExt cx="363752" cy="353113"/>
          </a:xfrm>
        </p:grpSpPr>
        <p:sp>
          <p:nvSpPr>
            <p:cNvPr id="10415" name="Google Shape;10415;p59"/>
            <p:cNvSpPr/>
            <p:nvPr/>
          </p:nvSpPr>
          <p:spPr>
            <a:xfrm>
              <a:off x="5314188" y="3350032"/>
              <a:ext cx="363752" cy="353113"/>
            </a:xfrm>
            <a:custGeom>
              <a:avLst/>
              <a:gdLst/>
              <a:ahLst/>
              <a:cxnLst/>
              <a:rect l="l" t="t" r="r" b="b"/>
              <a:pathLst>
                <a:path w="11419" h="11085" extrusionOk="0">
                  <a:moveTo>
                    <a:pt x="8334" y="2667"/>
                  </a:moveTo>
                  <a:cubicBezTo>
                    <a:pt x="8394" y="2667"/>
                    <a:pt x="8453" y="2727"/>
                    <a:pt x="8453" y="2786"/>
                  </a:cubicBezTo>
                  <a:lnTo>
                    <a:pt x="8453" y="2869"/>
                  </a:lnTo>
                  <a:cubicBezTo>
                    <a:pt x="8453" y="2929"/>
                    <a:pt x="8394" y="2988"/>
                    <a:pt x="8334" y="2988"/>
                  </a:cubicBezTo>
                  <a:lnTo>
                    <a:pt x="6846" y="2988"/>
                  </a:lnTo>
                  <a:cubicBezTo>
                    <a:pt x="6787" y="2988"/>
                    <a:pt x="6727" y="2953"/>
                    <a:pt x="6727" y="2869"/>
                  </a:cubicBezTo>
                  <a:lnTo>
                    <a:pt x="6727" y="2786"/>
                  </a:lnTo>
                  <a:cubicBezTo>
                    <a:pt x="6727" y="2727"/>
                    <a:pt x="6787" y="2667"/>
                    <a:pt x="6846" y="2667"/>
                  </a:cubicBezTo>
                  <a:close/>
                  <a:moveTo>
                    <a:pt x="9608" y="3810"/>
                  </a:moveTo>
                  <a:cubicBezTo>
                    <a:pt x="10501" y="3810"/>
                    <a:pt x="10990" y="4858"/>
                    <a:pt x="10442" y="5536"/>
                  </a:cubicBezTo>
                  <a:cubicBezTo>
                    <a:pt x="10406" y="5530"/>
                    <a:pt x="10394" y="5530"/>
                    <a:pt x="10202" y="5530"/>
                  </a:cubicBezTo>
                  <a:cubicBezTo>
                    <a:pt x="10010" y="5530"/>
                    <a:pt x="9638" y="5530"/>
                    <a:pt x="8882" y="5525"/>
                  </a:cubicBezTo>
                  <a:cubicBezTo>
                    <a:pt x="8846" y="5525"/>
                    <a:pt x="8823" y="5525"/>
                    <a:pt x="8799" y="5536"/>
                  </a:cubicBezTo>
                  <a:cubicBezTo>
                    <a:pt x="8239" y="4858"/>
                    <a:pt x="8715" y="3810"/>
                    <a:pt x="9608" y="3810"/>
                  </a:cubicBezTo>
                  <a:close/>
                  <a:moveTo>
                    <a:pt x="4370" y="441"/>
                  </a:moveTo>
                  <a:lnTo>
                    <a:pt x="4953" y="464"/>
                  </a:lnTo>
                  <a:cubicBezTo>
                    <a:pt x="5382" y="464"/>
                    <a:pt x="5739" y="822"/>
                    <a:pt x="5739" y="1250"/>
                  </a:cubicBezTo>
                  <a:lnTo>
                    <a:pt x="5739" y="4941"/>
                  </a:lnTo>
                  <a:cubicBezTo>
                    <a:pt x="5739" y="5370"/>
                    <a:pt x="5382" y="5727"/>
                    <a:pt x="4953" y="5727"/>
                  </a:cubicBezTo>
                  <a:lnTo>
                    <a:pt x="4370" y="5727"/>
                  </a:lnTo>
                  <a:cubicBezTo>
                    <a:pt x="4382" y="5667"/>
                    <a:pt x="4405" y="5620"/>
                    <a:pt x="4405" y="5560"/>
                  </a:cubicBezTo>
                  <a:cubicBezTo>
                    <a:pt x="4393" y="381"/>
                    <a:pt x="4417" y="607"/>
                    <a:pt x="4370" y="441"/>
                  </a:cubicBezTo>
                  <a:close/>
                  <a:moveTo>
                    <a:pt x="10358" y="5870"/>
                  </a:moveTo>
                  <a:cubicBezTo>
                    <a:pt x="10418" y="5870"/>
                    <a:pt x="10478" y="5929"/>
                    <a:pt x="10478" y="5989"/>
                  </a:cubicBezTo>
                  <a:lnTo>
                    <a:pt x="10478" y="6072"/>
                  </a:lnTo>
                  <a:cubicBezTo>
                    <a:pt x="10478" y="6132"/>
                    <a:pt x="10418" y="6191"/>
                    <a:pt x="10358" y="6191"/>
                  </a:cubicBezTo>
                  <a:lnTo>
                    <a:pt x="8870" y="6191"/>
                  </a:lnTo>
                  <a:cubicBezTo>
                    <a:pt x="8811" y="6191"/>
                    <a:pt x="8751" y="6132"/>
                    <a:pt x="8751" y="6072"/>
                  </a:cubicBezTo>
                  <a:lnTo>
                    <a:pt x="8751" y="5989"/>
                  </a:lnTo>
                  <a:cubicBezTo>
                    <a:pt x="8751" y="5929"/>
                    <a:pt x="8811" y="5870"/>
                    <a:pt x="8870" y="5870"/>
                  </a:cubicBezTo>
                  <a:close/>
                  <a:moveTo>
                    <a:pt x="7584" y="0"/>
                  </a:moveTo>
                  <a:cubicBezTo>
                    <a:pt x="6918" y="0"/>
                    <a:pt x="6370" y="643"/>
                    <a:pt x="6370" y="1441"/>
                  </a:cubicBezTo>
                  <a:cubicBezTo>
                    <a:pt x="6370" y="1715"/>
                    <a:pt x="6441" y="2143"/>
                    <a:pt x="6584" y="2441"/>
                  </a:cubicBezTo>
                  <a:cubicBezTo>
                    <a:pt x="6489" y="2512"/>
                    <a:pt x="6406" y="2643"/>
                    <a:pt x="6406" y="2786"/>
                  </a:cubicBezTo>
                  <a:lnTo>
                    <a:pt x="6406" y="2869"/>
                  </a:lnTo>
                  <a:cubicBezTo>
                    <a:pt x="6406" y="3108"/>
                    <a:pt x="6608" y="3322"/>
                    <a:pt x="6858" y="3322"/>
                  </a:cubicBezTo>
                  <a:lnTo>
                    <a:pt x="7441" y="3322"/>
                  </a:lnTo>
                  <a:lnTo>
                    <a:pt x="7441" y="7953"/>
                  </a:lnTo>
                  <a:cubicBezTo>
                    <a:pt x="7441" y="8465"/>
                    <a:pt x="7025" y="8882"/>
                    <a:pt x="6501" y="8882"/>
                  </a:cubicBezTo>
                  <a:lnTo>
                    <a:pt x="5656" y="8882"/>
                  </a:lnTo>
                  <a:cubicBezTo>
                    <a:pt x="5132" y="8882"/>
                    <a:pt x="4715" y="8465"/>
                    <a:pt x="4715" y="7953"/>
                  </a:cubicBezTo>
                  <a:lnTo>
                    <a:pt x="4715" y="6060"/>
                  </a:lnTo>
                  <a:lnTo>
                    <a:pt x="4977" y="6060"/>
                  </a:lnTo>
                  <a:cubicBezTo>
                    <a:pt x="5596" y="6060"/>
                    <a:pt x="6096" y="5548"/>
                    <a:pt x="6096" y="4941"/>
                  </a:cubicBezTo>
                  <a:lnTo>
                    <a:pt x="6096" y="1250"/>
                  </a:lnTo>
                  <a:cubicBezTo>
                    <a:pt x="6096" y="643"/>
                    <a:pt x="5596" y="131"/>
                    <a:pt x="4977" y="131"/>
                  </a:cubicBezTo>
                  <a:lnTo>
                    <a:pt x="4167" y="131"/>
                  </a:lnTo>
                  <a:cubicBezTo>
                    <a:pt x="4060" y="60"/>
                    <a:pt x="3953" y="12"/>
                    <a:pt x="3822" y="12"/>
                  </a:cubicBezTo>
                  <a:lnTo>
                    <a:pt x="2334" y="12"/>
                  </a:lnTo>
                  <a:cubicBezTo>
                    <a:pt x="2250" y="12"/>
                    <a:pt x="2167" y="95"/>
                    <a:pt x="2167" y="179"/>
                  </a:cubicBezTo>
                  <a:cubicBezTo>
                    <a:pt x="2167" y="274"/>
                    <a:pt x="2250" y="345"/>
                    <a:pt x="2334" y="345"/>
                  </a:cubicBezTo>
                  <a:lnTo>
                    <a:pt x="3822" y="345"/>
                  </a:lnTo>
                  <a:cubicBezTo>
                    <a:pt x="4001" y="345"/>
                    <a:pt x="4120" y="488"/>
                    <a:pt x="4120" y="643"/>
                  </a:cubicBezTo>
                  <a:cubicBezTo>
                    <a:pt x="4108" y="6108"/>
                    <a:pt x="4143" y="5596"/>
                    <a:pt x="4072" y="5715"/>
                  </a:cubicBezTo>
                  <a:cubicBezTo>
                    <a:pt x="4012" y="5822"/>
                    <a:pt x="3917" y="5882"/>
                    <a:pt x="3822" y="5882"/>
                  </a:cubicBezTo>
                  <a:lnTo>
                    <a:pt x="1107" y="5882"/>
                  </a:lnTo>
                  <a:cubicBezTo>
                    <a:pt x="679" y="5882"/>
                    <a:pt x="322" y="5525"/>
                    <a:pt x="322" y="5096"/>
                  </a:cubicBezTo>
                  <a:lnTo>
                    <a:pt x="322" y="1167"/>
                  </a:lnTo>
                  <a:cubicBezTo>
                    <a:pt x="322" y="726"/>
                    <a:pt x="679" y="369"/>
                    <a:pt x="1107" y="369"/>
                  </a:cubicBezTo>
                  <a:lnTo>
                    <a:pt x="1524" y="369"/>
                  </a:lnTo>
                  <a:cubicBezTo>
                    <a:pt x="1619" y="369"/>
                    <a:pt x="1691" y="298"/>
                    <a:pt x="1691" y="214"/>
                  </a:cubicBezTo>
                  <a:cubicBezTo>
                    <a:pt x="1691" y="119"/>
                    <a:pt x="1619" y="48"/>
                    <a:pt x="1524" y="48"/>
                  </a:cubicBezTo>
                  <a:lnTo>
                    <a:pt x="1107" y="48"/>
                  </a:lnTo>
                  <a:cubicBezTo>
                    <a:pt x="500" y="48"/>
                    <a:pt x="0" y="548"/>
                    <a:pt x="0" y="1167"/>
                  </a:cubicBezTo>
                  <a:lnTo>
                    <a:pt x="0" y="5108"/>
                  </a:lnTo>
                  <a:cubicBezTo>
                    <a:pt x="0" y="5715"/>
                    <a:pt x="500" y="6227"/>
                    <a:pt x="1107" y="6227"/>
                  </a:cubicBezTo>
                  <a:lnTo>
                    <a:pt x="2048" y="6227"/>
                  </a:lnTo>
                  <a:lnTo>
                    <a:pt x="2048" y="9275"/>
                  </a:lnTo>
                  <a:cubicBezTo>
                    <a:pt x="2048" y="10275"/>
                    <a:pt x="2869" y="11085"/>
                    <a:pt x="3870" y="11085"/>
                  </a:cubicBezTo>
                  <a:lnTo>
                    <a:pt x="7977" y="11085"/>
                  </a:lnTo>
                  <a:cubicBezTo>
                    <a:pt x="8965" y="11085"/>
                    <a:pt x="9787" y="10275"/>
                    <a:pt x="9787" y="9275"/>
                  </a:cubicBezTo>
                  <a:lnTo>
                    <a:pt x="9787" y="6548"/>
                  </a:lnTo>
                  <a:lnTo>
                    <a:pt x="10370" y="6548"/>
                  </a:lnTo>
                  <a:cubicBezTo>
                    <a:pt x="10609" y="6548"/>
                    <a:pt x="10811" y="6358"/>
                    <a:pt x="10811" y="6108"/>
                  </a:cubicBezTo>
                  <a:cubicBezTo>
                    <a:pt x="10811" y="6048"/>
                    <a:pt x="10847" y="5929"/>
                    <a:pt x="10728" y="5763"/>
                  </a:cubicBezTo>
                  <a:cubicBezTo>
                    <a:pt x="11418" y="4810"/>
                    <a:pt x="10763" y="3500"/>
                    <a:pt x="9608" y="3500"/>
                  </a:cubicBezTo>
                  <a:cubicBezTo>
                    <a:pt x="8465" y="3500"/>
                    <a:pt x="7811" y="4810"/>
                    <a:pt x="8525" y="5727"/>
                  </a:cubicBezTo>
                  <a:cubicBezTo>
                    <a:pt x="8406" y="5894"/>
                    <a:pt x="8442" y="6025"/>
                    <a:pt x="8442" y="6072"/>
                  </a:cubicBezTo>
                  <a:cubicBezTo>
                    <a:pt x="8442" y="6310"/>
                    <a:pt x="8632" y="6525"/>
                    <a:pt x="8882" y="6525"/>
                  </a:cubicBezTo>
                  <a:lnTo>
                    <a:pt x="9466" y="6525"/>
                  </a:lnTo>
                  <a:lnTo>
                    <a:pt x="9466" y="9239"/>
                  </a:lnTo>
                  <a:cubicBezTo>
                    <a:pt x="9466" y="10061"/>
                    <a:pt x="8799" y="10728"/>
                    <a:pt x="7977" y="10728"/>
                  </a:cubicBezTo>
                  <a:lnTo>
                    <a:pt x="3858" y="10728"/>
                  </a:lnTo>
                  <a:cubicBezTo>
                    <a:pt x="3036" y="10728"/>
                    <a:pt x="2369" y="10061"/>
                    <a:pt x="2369" y="9239"/>
                  </a:cubicBezTo>
                  <a:lnTo>
                    <a:pt x="2369" y="6191"/>
                  </a:lnTo>
                  <a:lnTo>
                    <a:pt x="3810" y="6191"/>
                  </a:lnTo>
                  <a:cubicBezTo>
                    <a:pt x="3941" y="6191"/>
                    <a:pt x="4060" y="6132"/>
                    <a:pt x="4155" y="6072"/>
                  </a:cubicBezTo>
                  <a:lnTo>
                    <a:pt x="4370" y="6072"/>
                  </a:lnTo>
                  <a:lnTo>
                    <a:pt x="4370" y="7965"/>
                  </a:lnTo>
                  <a:cubicBezTo>
                    <a:pt x="4370" y="8668"/>
                    <a:pt x="4941" y="9227"/>
                    <a:pt x="5644" y="9227"/>
                  </a:cubicBezTo>
                  <a:lnTo>
                    <a:pt x="6489" y="9227"/>
                  </a:lnTo>
                  <a:cubicBezTo>
                    <a:pt x="7191" y="9227"/>
                    <a:pt x="7751" y="8668"/>
                    <a:pt x="7751" y="7965"/>
                  </a:cubicBezTo>
                  <a:lnTo>
                    <a:pt x="7751" y="3334"/>
                  </a:lnTo>
                  <a:lnTo>
                    <a:pt x="8334" y="3334"/>
                  </a:lnTo>
                  <a:cubicBezTo>
                    <a:pt x="8573" y="3334"/>
                    <a:pt x="8775" y="3143"/>
                    <a:pt x="8775" y="2893"/>
                  </a:cubicBezTo>
                  <a:lnTo>
                    <a:pt x="8775" y="2798"/>
                  </a:lnTo>
                  <a:cubicBezTo>
                    <a:pt x="8775" y="2667"/>
                    <a:pt x="8704" y="2548"/>
                    <a:pt x="8596" y="2453"/>
                  </a:cubicBezTo>
                  <a:cubicBezTo>
                    <a:pt x="8692" y="2262"/>
                    <a:pt x="8751" y="2036"/>
                    <a:pt x="8763" y="1905"/>
                  </a:cubicBezTo>
                  <a:cubicBezTo>
                    <a:pt x="8775" y="1810"/>
                    <a:pt x="8715" y="1726"/>
                    <a:pt x="8632" y="1715"/>
                  </a:cubicBezTo>
                  <a:cubicBezTo>
                    <a:pt x="8622" y="1713"/>
                    <a:pt x="8613" y="1713"/>
                    <a:pt x="8604" y="1713"/>
                  </a:cubicBezTo>
                  <a:cubicBezTo>
                    <a:pt x="8521" y="1713"/>
                    <a:pt x="8452" y="1760"/>
                    <a:pt x="8442" y="1845"/>
                  </a:cubicBezTo>
                  <a:cubicBezTo>
                    <a:pt x="8394" y="2048"/>
                    <a:pt x="8346" y="2238"/>
                    <a:pt x="8275" y="2346"/>
                  </a:cubicBezTo>
                  <a:lnTo>
                    <a:pt x="6870" y="2346"/>
                  </a:lnTo>
                  <a:cubicBezTo>
                    <a:pt x="6751" y="2143"/>
                    <a:pt x="6679" y="1726"/>
                    <a:pt x="6679" y="1441"/>
                  </a:cubicBezTo>
                  <a:cubicBezTo>
                    <a:pt x="6679" y="833"/>
                    <a:pt x="7084" y="321"/>
                    <a:pt x="7584" y="321"/>
                  </a:cubicBezTo>
                  <a:cubicBezTo>
                    <a:pt x="7989" y="321"/>
                    <a:pt x="8346" y="655"/>
                    <a:pt x="8453" y="1131"/>
                  </a:cubicBezTo>
                  <a:cubicBezTo>
                    <a:pt x="8464" y="1202"/>
                    <a:pt x="8534" y="1255"/>
                    <a:pt x="8606" y="1255"/>
                  </a:cubicBezTo>
                  <a:cubicBezTo>
                    <a:pt x="8619" y="1255"/>
                    <a:pt x="8631" y="1254"/>
                    <a:pt x="8644" y="1250"/>
                  </a:cubicBezTo>
                  <a:cubicBezTo>
                    <a:pt x="8727" y="1238"/>
                    <a:pt x="8799" y="1143"/>
                    <a:pt x="8763" y="1060"/>
                  </a:cubicBezTo>
                  <a:cubicBezTo>
                    <a:pt x="8608" y="429"/>
                    <a:pt x="8132" y="0"/>
                    <a:pt x="7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6" name="Google Shape;10416;p59"/>
            <p:cNvSpPr/>
            <p:nvPr/>
          </p:nvSpPr>
          <p:spPr>
            <a:xfrm>
              <a:off x="5615313" y="3481243"/>
              <a:ext cx="10289" cy="26567"/>
            </a:xfrm>
            <a:custGeom>
              <a:avLst/>
              <a:gdLst/>
              <a:ahLst/>
              <a:cxnLst/>
              <a:rect l="l" t="t" r="r" b="b"/>
              <a:pathLst>
                <a:path w="323" h="834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679"/>
                  </a:lnTo>
                  <a:cubicBezTo>
                    <a:pt x="13" y="763"/>
                    <a:pt x="84" y="834"/>
                    <a:pt x="155" y="834"/>
                  </a:cubicBezTo>
                  <a:cubicBezTo>
                    <a:pt x="251" y="834"/>
                    <a:pt x="322" y="763"/>
                    <a:pt x="322" y="679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17" name="Google Shape;10417;p59"/>
          <p:cNvGrpSpPr/>
          <p:nvPr/>
        </p:nvGrpSpPr>
        <p:grpSpPr>
          <a:xfrm>
            <a:off x="6203579" y="3348981"/>
            <a:ext cx="351615" cy="350373"/>
            <a:chOff x="6203579" y="3348981"/>
            <a:chExt cx="351615" cy="350373"/>
          </a:xfrm>
        </p:grpSpPr>
        <p:sp>
          <p:nvSpPr>
            <p:cNvPr id="10418" name="Google Shape;10418;p59"/>
            <p:cNvSpPr/>
            <p:nvPr/>
          </p:nvSpPr>
          <p:spPr>
            <a:xfrm>
              <a:off x="6377667" y="3404249"/>
              <a:ext cx="93686" cy="58072"/>
            </a:xfrm>
            <a:custGeom>
              <a:avLst/>
              <a:gdLst/>
              <a:ahLst/>
              <a:cxnLst/>
              <a:rect l="l" t="t" r="r" b="b"/>
              <a:pathLst>
                <a:path w="2941" h="1823" extrusionOk="0">
                  <a:moveTo>
                    <a:pt x="644" y="0"/>
                  </a:moveTo>
                  <a:cubicBezTo>
                    <a:pt x="467" y="0"/>
                    <a:pt x="288" y="39"/>
                    <a:pt x="119" y="120"/>
                  </a:cubicBezTo>
                  <a:cubicBezTo>
                    <a:pt x="36" y="155"/>
                    <a:pt x="0" y="251"/>
                    <a:pt x="36" y="322"/>
                  </a:cubicBezTo>
                  <a:cubicBezTo>
                    <a:pt x="70" y="374"/>
                    <a:pt x="129" y="413"/>
                    <a:pt x="186" y="413"/>
                  </a:cubicBezTo>
                  <a:cubicBezTo>
                    <a:pt x="208" y="413"/>
                    <a:pt x="230" y="407"/>
                    <a:pt x="250" y="394"/>
                  </a:cubicBezTo>
                  <a:cubicBezTo>
                    <a:pt x="370" y="337"/>
                    <a:pt x="498" y="310"/>
                    <a:pt x="625" y="310"/>
                  </a:cubicBezTo>
                  <a:cubicBezTo>
                    <a:pt x="950" y="310"/>
                    <a:pt x="1269" y="487"/>
                    <a:pt x="1441" y="786"/>
                  </a:cubicBezTo>
                  <a:cubicBezTo>
                    <a:pt x="1215" y="1036"/>
                    <a:pt x="1143" y="1406"/>
                    <a:pt x="1286" y="1739"/>
                  </a:cubicBezTo>
                  <a:cubicBezTo>
                    <a:pt x="1322" y="1798"/>
                    <a:pt x="1381" y="1822"/>
                    <a:pt x="1441" y="1822"/>
                  </a:cubicBezTo>
                  <a:cubicBezTo>
                    <a:pt x="1560" y="1822"/>
                    <a:pt x="1631" y="1703"/>
                    <a:pt x="1584" y="1608"/>
                  </a:cubicBezTo>
                  <a:cubicBezTo>
                    <a:pt x="1453" y="1322"/>
                    <a:pt x="1572" y="989"/>
                    <a:pt x="1858" y="858"/>
                  </a:cubicBezTo>
                  <a:cubicBezTo>
                    <a:pt x="1936" y="822"/>
                    <a:pt x="2017" y="805"/>
                    <a:pt x="2096" y="805"/>
                  </a:cubicBezTo>
                  <a:cubicBezTo>
                    <a:pt x="2305" y="805"/>
                    <a:pt x="2501" y="924"/>
                    <a:pt x="2596" y="1132"/>
                  </a:cubicBezTo>
                  <a:cubicBezTo>
                    <a:pt x="2631" y="1193"/>
                    <a:pt x="2699" y="1229"/>
                    <a:pt x="2760" y="1229"/>
                  </a:cubicBezTo>
                  <a:cubicBezTo>
                    <a:pt x="2782" y="1229"/>
                    <a:pt x="2803" y="1224"/>
                    <a:pt x="2822" y="1215"/>
                  </a:cubicBezTo>
                  <a:cubicBezTo>
                    <a:pt x="2893" y="1167"/>
                    <a:pt x="2941" y="1084"/>
                    <a:pt x="2893" y="1013"/>
                  </a:cubicBezTo>
                  <a:cubicBezTo>
                    <a:pt x="2757" y="696"/>
                    <a:pt x="2448" y="503"/>
                    <a:pt x="2108" y="503"/>
                  </a:cubicBezTo>
                  <a:cubicBezTo>
                    <a:pt x="1975" y="503"/>
                    <a:pt x="1837" y="532"/>
                    <a:pt x="1703" y="596"/>
                  </a:cubicBezTo>
                  <a:cubicBezTo>
                    <a:pt x="1476" y="218"/>
                    <a:pt x="1066" y="0"/>
                    <a:pt x="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9" name="Google Shape;10419;p59"/>
            <p:cNvSpPr/>
            <p:nvPr/>
          </p:nvSpPr>
          <p:spPr>
            <a:xfrm>
              <a:off x="6260090" y="3449611"/>
              <a:ext cx="76643" cy="44947"/>
            </a:xfrm>
            <a:custGeom>
              <a:avLst/>
              <a:gdLst/>
              <a:ahLst/>
              <a:cxnLst/>
              <a:rect l="l" t="t" r="r" b="b"/>
              <a:pathLst>
                <a:path w="2406" h="1411" extrusionOk="0">
                  <a:moveTo>
                    <a:pt x="1868" y="0"/>
                  </a:moveTo>
                  <a:cubicBezTo>
                    <a:pt x="1523" y="0"/>
                    <a:pt x="1190" y="178"/>
                    <a:pt x="1012" y="541"/>
                  </a:cubicBezTo>
                  <a:cubicBezTo>
                    <a:pt x="891" y="501"/>
                    <a:pt x="765" y="480"/>
                    <a:pt x="638" y="480"/>
                  </a:cubicBezTo>
                  <a:cubicBezTo>
                    <a:pt x="466" y="480"/>
                    <a:pt x="291" y="518"/>
                    <a:pt x="119" y="601"/>
                  </a:cubicBezTo>
                  <a:cubicBezTo>
                    <a:pt x="36" y="636"/>
                    <a:pt x="0" y="732"/>
                    <a:pt x="36" y="803"/>
                  </a:cubicBezTo>
                  <a:cubicBezTo>
                    <a:pt x="70" y="855"/>
                    <a:pt x="129" y="894"/>
                    <a:pt x="186" y="894"/>
                  </a:cubicBezTo>
                  <a:cubicBezTo>
                    <a:pt x="209" y="894"/>
                    <a:pt x="230" y="888"/>
                    <a:pt x="250" y="875"/>
                  </a:cubicBezTo>
                  <a:cubicBezTo>
                    <a:pt x="375" y="820"/>
                    <a:pt x="506" y="794"/>
                    <a:pt x="636" y="794"/>
                  </a:cubicBezTo>
                  <a:cubicBezTo>
                    <a:pt x="990" y="794"/>
                    <a:pt x="1332" y="987"/>
                    <a:pt x="1489" y="1327"/>
                  </a:cubicBezTo>
                  <a:cubicBezTo>
                    <a:pt x="1512" y="1386"/>
                    <a:pt x="1572" y="1410"/>
                    <a:pt x="1631" y="1410"/>
                  </a:cubicBezTo>
                  <a:cubicBezTo>
                    <a:pt x="1750" y="1410"/>
                    <a:pt x="1822" y="1291"/>
                    <a:pt x="1786" y="1196"/>
                  </a:cubicBezTo>
                  <a:cubicBezTo>
                    <a:pt x="1679" y="970"/>
                    <a:pt x="1500" y="779"/>
                    <a:pt x="1310" y="660"/>
                  </a:cubicBezTo>
                  <a:cubicBezTo>
                    <a:pt x="1435" y="426"/>
                    <a:pt x="1654" y="315"/>
                    <a:pt x="1877" y="315"/>
                  </a:cubicBezTo>
                  <a:cubicBezTo>
                    <a:pt x="1971" y="315"/>
                    <a:pt x="2067" y="335"/>
                    <a:pt x="2155" y="374"/>
                  </a:cubicBezTo>
                  <a:cubicBezTo>
                    <a:pt x="2175" y="388"/>
                    <a:pt x="2198" y="394"/>
                    <a:pt x="2221" y="394"/>
                  </a:cubicBezTo>
                  <a:cubicBezTo>
                    <a:pt x="2280" y="394"/>
                    <a:pt x="2341" y="355"/>
                    <a:pt x="2358" y="303"/>
                  </a:cubicBezTo>
                  <a:cubicBezTo>
                    <a:pt x="2405" y="220"/>
                    <a:pt x="2358" y="124"/>
                    <a:pt x="2286" y="89"/>
                  </a:cubicBezTo>
                  <a:cubicBezTo>
                    <a:pt x="2151" y="30"/>
                    <a:pt x="2009" y="0"/>
                    <a:pt x="18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0" name="Google Shape;10420;p59"/>
            <p:cNvSpPr/>
            <p:nvPr/>
          </p:nvSpPr>
          <p:spPr>
            <a:xfrm>
              <a:off x="6415574" y="3498349"/>
              <a:ext cx="49343" cy="21598"/>
            </a:xfrm>
            <a:custGeom>
              <a:avLst/>
              <a:gdLst/>
              <a:ahLst/>
              <a:cxnLst/>
              <a:rect l="l" t="t" r="r" b="b"/>
              <a:pathLst>
                <a:path w="1549" h="678" extrusionOk="0">
                  <a:moveTo>
                    <a:pt x="642" y="1"/>
                  </a:moveTo>
                  <a:cubicBezTo>
                    <a:pt x="446" y="1"/>
                    <a:pt x="250" y="58"/>
                    <a:pt x="84" y="178"/>
                  </a:cubicBezTo>
                  <a:cubicBezTo>
                    <a:pt x="13" y="237"/>
                    <a:pt x="1" y="333"/>
                    <a:pt x="37" y="404"/>
                  </a:cubicBezTo>
                  <a:cubicBezTo>
                    <a:pt x="75" y="450"/>
                    <a:pt x="128" y="477"/>
                    <a:pt x="180" y="477"/>
                  </a:cubicBezTo>
                  <a:cubicBezTo>
                    <a:pt x="209" y="477"/>
                    <a:pt x="237" y="469"/>
                    <a:pt x="263" y="452"/>
                  </a:cubicBezTo>
                  <a:cubicBezTo>
                    <a:pt x="382" y="366"/>
                    <a:pt x="521" y="324"/>
                    <a:pt x="659" y="324"/>
                  </a:cubicBezTo>
                  <a:cubicBezTo>
                    <a:pt x="865" y="324"/>
                    <a:pt x="1068" y="417"/>
                    <a:pt x="1203" y="595"/>
                  </a:cubicBezTo>
                  <a:cubicBezTo>
                    <a:pt x="1227" y="642"/>
                    <a:pt x="1275" y="678"/>
                    <a:pt x="1334" y="678"/>
                  </a:cubicBezTo>
                  <a:cubicBezTo>
                    <a:pt x="1465" y="678"/>
                    <a:pt x="1549" y="523"/>
                    <a:pt x="1465" y="416"/>
                  </a:cubicBezTo>
                  <a:cubicBezTo>
                    <a:pt x="1268" y="146"/>
                    <a:pt x="954" y="1"/>
                    <a:pt x="6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1" name="Google Shape;10421;p59"/>
            <p:cNvSpPr/>
            <p:nvPr/>
          </p:nvSpPr>
          <p:spPr>
            <a:xfrm>
              <a:off x="6344283" y="3473247"/>
              <a:ext cx="41380" cy="32301"/>
            </a:xfrm>
            <a:custGeom>
              <a:avLst/>
              <a:gdLst/>
              <a:ahLst/>
              <a:cxnLst/>
              <a:rect l="l" t="t" r="r" b="b"/>
              <a:pathLst>
                <a:path w="1299" h="1014" extrusionOk="0">
                  <a:moveTo>
                    <a:pt x="1122" y="0"/>
                  </a:moveTo>
                  <a:cubicBezTo>
                    <a:pt x="1048" y="0"/>
                    <a:pt x="986" y="56"/>
                    <a:pt x="953" y="133"/>
                  </a:cubicBezTo>
                  <a:cubicBezTo>
                    <a:pt x="899" y="455"/>
                    <a:pt x="612" y="701"/>
                    <a:pt x="293" y="701"/>
                  </a:cubicBezTo>
                  <a:cubicBezTo>
                    <a:pt x="259" y="701"/>
                    <a:pt x="225" y="698"/>
                    <a:pt x="191" y="692"/>
                  </a:cubicBezTo>
                  <a:cubicBezTo>
                    <a:pt x="178" y="689"/>
                    <a:pt x="166" y="687"/>
                    <a:pt x="155" y="687"/>
                  </a:cubicBezTo>
                  <a:cubicBezTo>
                    <a:pt x="87" y="687"/>
                    <a:pt x="33" y="742"/>
                    <a:pt x="12" y="823"/>
                  </a:cubicBezTo>
                  <a:cubicBezTo>
                    <a:pt x="0" y="906"/>
                    <a:pt x="60" y="990"/>
                    <a:pt x="155" y="1002"/>
                  </a:cubicBezTo>
                  <a:cubicBezTo>
                    <a:pt x="215" y="1014"/>
                    <a:pt x="250" y="1014"/>
                    <a:pt x="310" y="1014"/>
                  </a:cubicBezTo>
                  <a:cubicBezTo>
                    <a:pt x="774" y="1014"/>
                    <a:pt x="1203" y="668"/>
                    <a:pt x="1286" y="180"/>
                  </a:cubicBezTo>
                  <a:cubicBezTo>
                    <a:pt x="1298" y="97"/>
                    <a:pt x="1239" y="13"/>
                    <a:pt x="1143" y="2"/>
                  </a:cubicBezTo>
                  <a:cubicBezTo>
                    <a:pt x="1136" y="1"/>
                    <a:pt x="1129" y="0"/>
                    <a:pt x="11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2" name="Google Shape;10422;p59"/>
            <p:cNvSpPr/>
            <p:nvPr/>
          </p:nvSpPr>
          <p:spPr>
            <a:xfrm>
              <a:off x="6203579" y="3348981"/>
              <a:ext cx="351615" cy="350373"/>
            </a:xfrm>
            <a:custGeom>
              <a:avLst/>
              <a:gdLst/>
              <a:ahLst/>
              <a:cxnLst/>
              <a:rect l="l" t="t" r="r" b="b"/>
              <a:pathLst>
                <a:path w="11038" h="10999" extrusionOk="0">
                  <a:moveTo>
                    <a:pt x="4995" y="1"/>
                  </a:moveTo>
                  <a:cubicBezTo>
                    <a:pt x="4687" y="1"/>
                    <a:pt x="4370" y="111"/>
                    <a:pt x="4132" y="331"/>
                  </a:cubicBezTo>
                  <a:cubicBezTo>
                    <a:pt x="3987" y="258"/>
                    <a:pt x="3828" y="224"/>
                    <a:pt x="3666" y="224"/>
                  </a:cubicBezTo>
                  <a:cubicBezTo>
                    <a:pt x="3298" y="224"/>
                    <a:pt x="2919" y="402"/>
                    <a:pt x="2679" y="700"/>
                  </a:cubicBezTo>
                  <a:cubicBezTo>
                    <a:pt x="2642" y="695"/>
                    <a:pt x="2604" y="692"/>
                    <a:pt x="2566" y="692"/>
                  </a:cubicBezTo>
                  <a:cubicBezTo>
                    <a:pt x="2064" y="692"/>
                    <a:pt x="1551" y="1122"/>
                    <a:pt x="1429" y="1676"/>
                  </a:cubicBezTo>
                  <a:cubicBezTo>
                    <a:pt x="881" y="1795"/>
                    <a:pt x="488" y="2462"/>
                    <a:pt x="643" y="3081"/>
                  </a:cubicBezTo>
                  <a:cubicBezTo>
                    <a:pt x="84" y="3379"/>
                    <a:pt x="0" y="4248"/>
                    <a:pt x="441" y="4784"/>
                  </a:cubicBezTo>
                  <a:cubicBezTo>
                    <a:pt x="336" y="5477"/>
                    <a:pt x="852" y="6142"/>
                    <a:pt x="1432" y="6142"/>
                  </a:cubicBezTo>
                  <a:cubicBezTo>
                    <a:pt x="1510" y="6142"/>
                    <a:pt x="1589" y="6130"/>
                    <a:pt x="1667" y="6105"/>
                  </a:cubicBezTo>
                  <a:cubicBezTo>
                    <a:pt x="1827" y="6308"/>
                    <a:pt x="2150" y="6444"/>
                    <a:pt x="2456" y="6444"/>
                  </a:cubicBezTo>
                  <a:cubicBezTo>
                    <a:pt x="2491" y="6444"/>
                    <a:pt x="2526" y="6442"/>
                    <a:pt x="2560" y="6439"/>
                  </a:cubicBezTo>
                  <a:cubicBezTo>
                    <a:pt x="3002" y="7378"/>
                    <a:pt x="3681" y="7769"/>
                    <a:pt x="4568" y="7769"/>
                  </a:cubicBezTo>
                  <a:cubicBezTo>
                    <a:pt x="4805" y="7769"/>
                    <a:pt x="5056" y="7741"/>
                    <a:pt x="5322" y="7689"/>
                  </a:cubicBezTo>
                  <a:cubicBezTo>
                    <a:pt x="5429" y="8070"/>
                    <a:pt x="5715" y="8534"/>
                    <a:pt x="6382" y="8915"/>
                  </a:cubicBezTo>
                  <a:cubicBezTo>
                    <a:pt x="7454" y="9534"/>
                    <a:pt x="7965" y="10022"/>
                    <a:pt x="8037" y="10487"/>
                  </a:cubicBezTo>
                  <a:cubicBezTo>
                    <a:pt x="8085" y="10796"/>
                    <a:pt x="8346" y="10999"/>
                    <a:pt x="8644" y="10999"/>
                  </a:cubicBezTo>
                  <a:cubicBezTo>
                    <a:pt x="9049" y="10999"/>
                    <a:pt x="9323" y="10630"/>
                    <a:pt x="9251" y="10260"/>
                  </a:cubicBezTo>
                  <a:lnTo>
                    <a:pt x="8835" y="8355"/>
                  </a:lnTo>
                  <a:cubicBezTo>
                    <a:pt x="9275" y="8260"/>
                    <a:pt x="9573" y="7927"/>
                    <a:pt x="9620" y="7593"/>
                  </a:cubicBezTo>
                  <a:cubicBezTo>
                    <a:pt x="9656" y="7308"/>
                    <a:pt x="9763" y="7177"/>
                    <a:pt x="9644" y="6867"/>
                  </a:cubicBezTo>
                  <a:cubicBezTo>
                    <a:pt x="10299" y="6808"/>
                    <a:pt x="10752" y="6081"/>
                    <a:pt x="10609" y="5427"/>
                  </a:cubicBezTo>
                  <a:cubicBezTo>
                    <a:pt x="11025" y="5034"/>
                    <a:pt x="11037" y="4212"/>
                    <a:pt x="10585" y="3831"/>
                  </a:cubicBezTo>
                  <a:cubicBezTo>
                    <a:pt x="10656" y="3307"/>
                    <a:pt x="10323" y="2760"/>
                    <a:pt x="9823" y="2545"/>
                  </a:cubicBezTo>
                  <a:cubicBezTo>
                    <a:pt x="9835" y="2355"/>
                    <a:pt x="9787" y="2164"/>
                    <a:pt x="9704" y="1974"/>
                  </a:cubicBezTo>
                  <a:cubicBezTo>
                    <a:pt x="9673" y="1919"/>
                    <a:pt x="9616" y="1890"/>
                    <a:pt x="9560" y="1890"/>
                  </a:cubicBezTo>
                  <a:cubicBezTo>
                    <a:pt x="9531" y="1890"/>
                    <a:pt x="9502" y="1898"/>
                    <a:pt x="9478" y="1914"/>
                  </a:cubicBezTo>
                  <a:cubicBezTo>
                    <a:pt x="9406" y="1950"/>
                    <a:pt x="9370" y="2057"/>
                    <a:pt x="9418" y="2129"/>
                  </a:cubicBezTo>
                  <a:cubicBezTo>
                    <a:pt x="9513" y="2295"/>
                    <a:pt x="9537" y="2474"/>
                    <a:pt x="9489" y="2605"/>
                  </a:cubicBezTo>
                  <a:cubicBezTo>
                    <a:pt x="9466" y="2700"/>
                    <a:pt x="9525" y="2783"/>
                    <a:pt x="9609" y="2819"/>
                  </a:cubicBezTo>
                  <a:cubicBezTo>
                    <a:pt x="10061" y="2926"/>
                    <a:pt x="10371" y="3438"/>
                    <a:pt x="10251" y="3855"/>
                  </a:cubicBezTo>
                  <a:cubicBezTo>
                    <a:pt x="10240" y="3938"/>
                    <a:pt x="10263" y="4010"/>
                    <a:pt x="10323" y="4034"/>
                  </a:cubicBezTo>
                  <a:cubicBezTo>
                    <a:pt x="10609" y="4212"/>
                    <a:pt x="10716" y="4724"/>
                    <a:pt x="10490" y="5105"/>
                  </a:cubicBezTo>
                  <a:cubicBezTo>
                    <a:pt x="10418" y="4950"/>
                    <a:pt x="10299" y="4748"/>
                    <a:pt x="10085" y="4557"/>
                  </a:cubicBezTo>
                  <a:cubicBezTo>
                    <a:pt x="10051" y="4529"/>
                    <a:pt x="10014" y="4514"/>
                    <a:pt x="9978" y="4514"/>
                  </a:cubicBezTo>
                  <a:cubicBezTo>
                    <a:pt x="9939" y="4514"/>
                    <a:pt x="9902" y="4532"/>
                    <a:pt x="9870" y="4569"/>
                  </a:cubicBezTo>
                  <a:cubicBezTo>
                    <a:pt x="9799" y="4653"/>
                    <a:pt x="9799" y="4736"/>
                    <a:pt x="9882" y="4796"/>
                  </a:cubicBezTo>
                  <a:cubicBezTo>
                    <a:pt x="10085" y="4974"/>
                    <a:pt x="10216" y="5200"/>
                    <a:pt x="10287" y="5462"/>
                  </a:cubicBezTo>
                  <a:lnTo>
                    <a:pt x="10287" y="5498"/>
                  </a:lnTo>
                  <a:cubicBezTo>
                    <a:pt x="10463" y="6016"/>
                    <a:pt x="10035" y="6624"/>
                    <a:pt x="9592" y="6624"/>
                  </a:cubicBezTo>
                  <a:cubicBezTo>
                    <a:pt x="9526" y="6624"/>
                    <a:pt x="9459" y="6611"/>
                    <a:pt x="9394" y="6581"/>
                  </a:cubicBezTo>
                  <a:lnTo>
                    <a:pt x="9359" y="6581"/>
                  </a:lnTo>
                  <a:cubicBezTo>
                    <a:pt x="9251" y="6510"/>
                    <a:pt x="9120" y="6462"/>
                    <a:pt x="8989" y="6462"/>
                  </a:cubicBezTo>
                  <a:lnTo>
                    <a:pt x="8180" y="6462"/>
                  </a:lnTo>
                  <a:cubicBezTo>
                    <a:pt x="8096" y="6462"/>
                    <a:pt x="8013" y="6534"/>
                    <a:pt x="8013" y="6629"/>
                  </a:cubicBezTo>
                  <a:cubicBezTo>
                    <a:pt x="8013" y="6712"/>
                    <a:pt x="8096" y="6796"/>
                    <a:pt x="8180" y="6796"/>
                  </a:cubicBezTo>
                  <a:lnTo>
                    <a:pt x="8989" y="6796"/>
                  </a:lnTo>
                  <a:cubicBezTo>
                    <a:pt x="9251" y="6796"/>
                    <a:pt x="9442" y="7046"/>
                    <a:pt x="9370" y="7296"/>
                  </a:cubicBezTo>
                  <a:cubicBezTo>
                    <a:pt x="9370" y="7308"/>
                    <a:pt x="9359" y="7367"/>
                    <a:pt x="9311" y="7605"/>
                  </a:cubicBezTo>
                  <a:cubicBezTo>
                    <a:pt x="9228" y="7927"/>
                    <a:pt x="8942" y="8141"/>
                    <a:pt x="8632" y="8141"/>
                  </a:cubicBezTo>
                  <a:lnTo>
                    <a:pt x="7596" y="8141"/>
                  </a:lnTo>
                  <a:cubicBezTo>
                    <a:pt x="7275" y="8141"/>
                    <a:pt x="6989" y="7927"/>
                    <a:pt x="6918" y="7605"/>
                  </a:cubicBezTo>
                  <a:cubicBezTo>
                    <a:pt x="6870" y="7355"/>
                    <a:pt x="6858" y="7296"/>
                    <a:pt x="6858" y="7296"/>
                  </a:cubicBezTo>
                  <a:cubicBezTo>
                    <a:pt x="6799" y="7046"/>
                    <a:pt x="6977" y="6796"/>
                    <a:pt x="7239" y="6796"/>
                  </a:cubicBezTo>
                  <a:lnTo>
                    <a:pt x="7501" y="6796"/>
                  </a:lnTo>
                  <a:cubicBezTo>
                    <a:pt x="7584" y="6796"/>
                    <a:pt x="7656" y="6712"/>
                    <a:pt x="7656" y="6629"/>
                  </a:cubicBezTo>
                  <a:cubicBezTo>
                    <a:pt x="7656" y="6534"/>
                    <a:pt x="7584" y="6462"/>
                    <a:pt x="7501" y="6462"/>
                  </a:cubicBezTo>
                  <a:lnTo>
                    <a:pt x="7239" y="6462"/>
                  </a:lnTo>
                  <a:cubicBezTo>
                    <a:pt x="6763" y="6462"/>
                    <a:pt x="6430" y="6915"/>
                    <a:pt x="6549" y="7355"/>
                  </a:cubicBezTo>
                  <a:cubicBezTo>
                    <a:pt x="6584" y="7593"/>
                    <a:pt x="6608" y="7665"/>
                    <a:pt x="6608" y="7665"/>
                  </a:cubicBezTo>
                  <a:cubicBezTo>
                    <a:pt x="6727" y="8129"/>
                    <a:pt x="7144" y="8439"/>
                    <a:pt x="7596" y="8439"/>
                  </a:cubicBezTo>
                  <a:lnTo>
                    <a:pt x="8525" y="8439"/>
                  </a:lnTo>
                  <a:lnTo>
                    <a:pt x="8942" y="10380"/>
                  </a:lnTo>
                  <a:cubicBezTo>
                    <a:pt x="8954" y="10463"/>
                    <a:pt x="8942" y="10558"/>
                    <a:pt x="8882" y="10630"/>
                  </a:cubicBezTo>
                  <a:cubicBezTo>
                    <a:pt x="8818" y="10703"/>
                    <a:pt x="8733" y="10737"/>
                    <a:pt x="8650" y="10737"/>
                  </a:cubicBezTo>
                  <a:cubicBezTo>
                    <a:pt x="8517" y="10737"/>
                    <a:pt x="8388" y="10648"/>
                    <a:pt x="8358" y="10487"/>
                  </a:cubicBezTo>
                  <a:cubicBezTo>
                    <a:pt x="8275" y="9903"/>
                    <a:pt x="7739" y="9368"/>
                    <a:pt x="6561" y="8677"/>
                  </a:cubicBezTo>
                  <a:cubicBezTo>
                    <a:pt x="5751" y="8225"/>
                    <a:pt x="5513" y="7570"/>
                    <a:pt x="5620" y="6998"/>
                  </a:cubicBezTo>
                  <a:lnTo>
                    <a:pt x="5620" y="6998"/>
                  </a:lnTo>
                  <a:cubicBezTo>
                    <a:pt x="5918" y="7129"/>
                    <a:pt x="5870" y="7272"/>
                    <a:pt x="6025" y="7272"/>
                  </a:cubicBezTo>
                  <a:cubicBezTo>
                    <a:pt x="6156" y="7272"/>
                    <a:pt x="6227" y="7117"/>
                    <a:pt x="6156" y="7010"/>
                  </a:cubicBezTo>
                  <a:cubicBezTo>
                    <a:pt x="6025" y="6820"/>
                    <a:pt x="5834" y="6712"/>
                    <a:pt x="5620" y="6653"/>
                  </a:cubicBezTo>
                  <a:lnTo>
                    <a:pt x="5584" y="6617"/>
                  </a:lnTo>
                  <a:cubicBezTo>
                    <a:pt x="5560" y="6605"/>
                    <a:pt x="5537" y="6599"/>
                    <a:pt x="5516" y="6599"/>
                  </a:cubicBezTo>
                  <a:cubicBezTo>
                    <a:pt x="5495" y="6599"/>
                    <a:pt x="5477" y="6605"/>
                    <a:pt x="5465" y="6617"/>
                  </a:cubicBezTo>
                  <a:cubicBezTo>
                    <a:pt x="5422" y="6610"/>
                    <a:pt x="5377" y="6607"/>
                    <a:pt x="5333" y="6607"/>
                  </a:cubicBezTo>
                  <a:cubicBezTo>
                    <a:pt x="5145" y="6607"/>
                    <a:pt x="4950" y="6666"/>
                    <a:pt x="4787" y="6772"/>
                  </a:cubicBezTo>
                  <a:cubicBezTo>
                    <a:pt x="4715" y="6831"/>
                    <a:pt x="4703" y="6927"/>
                    <a:pt x="4751" y="6998"/>
                  </a:cubicBezTo>
                  <a:cubicBezTo>
                    <a:pt x="4789" y="7044"/>
                    <a:pt x="4838" y="7071"/>
                    <a:pt x="4886" y="7071"/>
                  </a:cubicBezTo>
                  <a:cubicBezTo>
                    <a:pt x="4913" y="7071"/>
                    <a:pt x="4940" y="7063"/>
                    <a:pt x="4965" y="7046"/>
                  </a:cubicBezTo>
                  <a:cubicBezTo>
                    <a:pt x="5072" y="6974"/>
                    <a:pt x="5191" y="6939"/>
                    <a:pt x="5310" y="6939"/>
                  </a:cubicBezTo>
                  <a:cubicBezTo>
                    <a:pt x="5298" y="7058"/>
                    <a:pt x="5287" y="7224"/>
                    <a:pt x="5298" y="7403"/>
                  </a:cubicBezTo>
                  <a:cubicBezTo>
                    <a:pt x="5049" y="7450"/>
                    <a:pt x="4820" y="7475"/>
                    <a:pt x="4609" y="7475"/>
                  </a:cubicBezTo>
                  <a:cubicBezTo>
                    <a:pt x="3761" y="7475"/>
                    <a:pt x="3208" y="7082"/>
                    <a:pt x="2846" y="6224"/>
                  </a:cubicBezTo>
                  <a:cubicBezTo>
                    <a:pt x="2798" y="6058"/>
                    <a:pt x="2762" y="5796"/>
                    <a:pt x="2798" y="5688"/>
                  </a:cubicBezTo>
                  <a:cubicBezTo>
                    <a:pt x="2822" y="5605"/>
                    <a:pt x="2786" y="5510"/>
                    <a:pt x="2691" y="5486"/>
                  </a:cubicBezTo>
                  <a:cubicBezTo>
                    <a:pt x="2672" y="5478"/>
                    <a:pt x="2652" y="5474"/>
                    <a:pt x="2633" y="5474"/>
                  </a:cubicBezTo>
                  <a:cubicBezTo>
                    <a:pt x="2568" y="5474"/>
                    <a:pt x="2507" y="5517"/>
                    <a:pt x="2489" y="5581"/>
                  </a:cubicBezTo>
                  <a:cubicBezTo>
                    <a:pt x="2429" y="5748"/>
                    <a:pt x="2453" y="5974"/>
                    <a:pt x="2489" y="6141"/>
                  </a:cubicBezTo>
                  <a:cubicBezTo>
                    <a:pt x="2469" y="6142"/>
                    <a:pt x="2450" y="6143"/>
                    <a:pt x="2431" y="6143"/>
                  </a:cubicBezTo>
                  <a:cubicBezTo>
                    <a:pt x="2141" y="6143"/>
                    <a:pt x="1950" y="5980"/>
                    <a:pt x="1905" y="5879"/>
                  </a:cubicBezTo>
                  <a:cubicBezTo>
                    <a:pt x="1893" y="5843"/>
                    <a:pt x="1858" y="5808"/>
                    <a:pt x="1810" y="5796"/>
                  </a:cubicBezTo>
                  <a:cubicBezTo>
                    <a:pt x="1789" y="5787"/>
                    <a:pt x="1771" y="5783"/>
                    <a:pt x="1753" y="5783"/>
                  </a:cubicBezTo>
                  <a:cubicBezTo>
                    <a:pt x="1701" y="5783"/>
                    <a:pt x="1658" y="5816"/>
                    <a:pt x="1596" y="5843"/>
                  </a:cubicBezTo>
                  <a:cubicBezTo>
                    <a:pt x="1552" y="5855"/>
                    <a:pt x="1509" y="5861"/>
                    <a:pt x="1466" y="5861"/>
                  </a:cubicBezTo>
                  <a:cubicBezTo>
                    <a:pt x="1050" y="5861"/>
                    <a:pt x="679" y="5315"/>
                    <a:pt x="798" y="4807"/>
                  </a:cubicBezTo>
                  <a:cubicBezTo>
                    <a:pt x="846" y="4653"/>
                    <a:pt x="643" y="4653"/>
                    <a:pt x="536" y="4260"/>
                  </a:cubicBezTo>
                  <a:cubicBezTo>
                    <a:pt x="417" y="3855"/>
                    <a:pt x="584" y="3462"/>
                    <a:pt x="893" y="3367"/>
                  </a:cubicBezTo>
                  <a:cubicBezTo>
                    <a:pt x="977" y="3343"/>
                    <a:pt x="1036" y="3248"/>
                    <a:pt x="1000" y="3164"/>
                  </a:cubicBezTo>
                  <a:cubicBezTo>
                    <a:pt x="798" y="2664"/>
                    <a:pt x="1131" y="2045"/>
                    <a:pt x="1596" y="2009"/>
                  </a:cubicBezTo>
                  <a:cubicBezTo>
                    <a:pt x="1667" y="2009"/>
                    <a:pt x="1739" y="1950"/>
                    <a:pt x="1739" y="1867"/>
                  </a:cubicBezTo>
                  <a:cubicBezTo>
                    <a:pt x="1781" y="1436"/>
                    <a:pt x="2175" y="1060"/>
                    <a:pt x="2570" y="1060"/>
                  </a:cubicBezTo>
                  <a:cubicBezTo>
                    <a:pt x="2623" y="1060"/>
                    <a:pt x="2675" y="1067"/>
                    <a:pt x="2727" y="1081"/>
                  </a:cubicBezTo>
                  <a:cubicBezTo>
                    <a:pt x="2736" y="1082"/>
                    <a:pt x="2745" y="1083"/>
                    <a:pt x="2754" y="1083"/>
                  </a:cubicBezTo>
                  <a:cubicBezTo>
                    <a:pt x="2816" y="1083"/>
                    <a:pt x="2874" y="1049"/>
                    <a:pt x="2905" y="997"/>
                  </a:cubicBezTo>
                  <a:cubicBezTo>
                    <a:pt x="3065" y="744"/>
                    <a:pt x="3387" y="579"/>
                    <a:pt x="3692" y="579"/>
                  </a:cubicBezTo>
                  <a:cubicBezTo>
                    <a:pt x="3773" y="579"/>
                    <a:pt x="3854" y="591"/>
                    <a:pt x="3929" y="616"/>
                  </a:cubicBezTo>
                  <a:cubicBezTo>
                    <a:pt x="3870" y="700"/>
                    <a:pt x="3810" y="819"/>
                    <a:pt x="3810" y="962"/>
                  </a:cubicBezTo>
                  <a:cubicBezTo>
                    <a:pt x="3774" y="962"/>
                    <a:pt x="3739" y="974"/>
                    <a:pt x="3703" y="974"/>
                  </a:cubicBezTo>
                  <a:cubicBezTo>
                    <a:pt x="3465" y="1045"/>
                    <a:pt x="3298" y="1212"/>
                    <a:pt x="3298" y="1212"/>
                  </a:cubicBezTo>
                  <a:cubicBezTo>
                    <a:pt x="3239" y="1271"/>
                    <a:pt x="3239" y="1378"/>
                    <a:pt x="3298" y="1438"/>
                  </a:cubicBezTo>
                  <a:cubicBezTo>
                    <a:pt x="3328" y="1468"/>
                    <a:pt x="3370" y="1483"/>
                    <a:pt x="3411" y="1483"/>
                  </a:cubicBezTo>
                  <a:cubicBezTo>
                    <a:pt x="3453" y="1483"/>
                    <a:pt x="3495" y="1468"/>
                    <a:pt x="3524" y="1438"/>
                  </a:cubicBezTo>
                  <a:cubicBezTo>
                    <a:pt x="3532" y="1422"/>
                    <a:pt x="3715" y="1247"/>
                    <a:pt x="3964" y="1247"/>
                  </a:cubicBezTo>
                  <a:cubicBezTo>
                    <a:pt x="4094" y="1247"/>
                    <a:pt x="4243" y="1295"/>
                    <a:pt x="4394" y="1438"/>
                  </a:cubicBezTo>
                  <a:cubicBezTo>
                    <a:pt x="4417" y="1462"/>
                    <a:pt x="4465" y="1474"/>
                    <a:pt x="4513" y="1474"/>
                  </a:cubicBezTo>
                  <a:cubicBezTo>
                    <a:pt x="4656" y="1474"/>
                    <a:pt x="4715" y="1295"/>
                    <a:pt x="4632" y="1200"/>
                  </a:cubicBezTo>
                  <a:cubicBezTo>
                    <a:pt x="4465" y="1033"/>
                    <a:pt x="4286" y="962"/>
                    <a:pt x="4132" y="926"/>
                  </a:cubicBezTo>
                  <a:cubicBezTo>
                    <a:pt x="4155" y="819"/>
                    <a:pt x="4251" y="688"/>
                    <a:pt x="4298" y="664"/>
                  </a:cubicBezTo>
                  <a:lnTo>
                    <a:pt x="4298" y="640"/>
                  </a:lnTo>
                  <a:cubicBezTo>
                    <a:pt x="4502" y="424"/>
                    <a:pt x="4770" y="329"/>
                    <a:pt x="5016" y="329"/>
                  </a:cubicBezTo>
                  <a:cubicBezTo>
                    <a:pt x="5257" y="329"/>
                    <a:pt x="5478" y="421"/>
                    <a:pt x="5596" y="581"/>
                  </a:cubicBezTo>
                  <a:cubicBezTo>
                    <a:pt x="5620" y="628"/>
                    <a:pt x="5668" y="640"/>
                    <a:pt x="5715" y="664"/>
                  </a:cubicBezTo>
                  <a:cubicBezTo>
                    <a:pt x="5763" y="664"/>
                    <a:pt x="5799" y="640"/>
                    <a:pt x="5834" y="616"/>
                  </a:cubicBezTo>
                  <a:cubicBezTo>
                    <a:pt x="5984" y="476"/>
                    <a:pt x="6190" y="411"/>
                    <a:pt x="6397" y="411"/>
                  </a:cubicBezTo>
                  <a:cubicBezTo>
                    <a:pt x="6700" y="411"/>
                    <a:pt x="7005" y="552"/>
                    <a:pt x="7132" y="807"/>
                  </a:cubicBezTo>
                  <a:cubicBezTo>
                    <a:pt x="7153" y="869"/>
                    <a:pt x="7210" y="904"/>
                    <a:pt x="7287" y="904"/>
                  </a:cubicBezTo>
                  <a:cubicBezTo>
                    <a:pt x="7299" y="904"/>
                    <a:pt x="7310" y="904"/>
                    <a:pt x="7323" y="902"/>
                  </a:cubicBezTo>
                  <a:cubicBezTo>
                    <a:pt x="7391" y="883"/>
                    <a:pt x="7462" y="874"/>
                    <a:pt x="7533" y="874"/>
                  </a:cubicBezTo>
                  <a:cubicBezTo>
                    <a:pt x="7908" y="874"/>
                    <a:pt x="8292" y="1123"/>
                    <a:pt x="8382" y="1474"/>
                  </a:cubicBezTo>
                  <a:cubicBezTo>
                    <a:pt x="8392" y="1544"/>
                    <a:pt x="8445" y="1598"/>
                    <a:pt x="8519" y="1598"/>
                  </a:cubicBezTo>
                  <a:cubicBezTo>
                    <a:pt x="8533" y="1598"/>
                    <a:pt x="8546" y="1596"/>
                    <a:pt x="8561" y="1593"/>
                  </a:cubicBezTo>
                  <a:cubicBezTo>
                    <a:pt x="8578" y="1591"/>
                    <a:pt x="8595" y="1590"/>
                    <a:pt x="8612" y="1590"/>
                  </a:cubicBezTo>
                  <a:cubicBezTo>
                    <a:pt x="8726" y="1590"/>
                    <a:pt x="8843" y="1624"/>
                    <a:pt x="8978" y="1676"/>
                  </a:cubicBezTo>
                  <a:cubicBezTo>
                    <a:pt x="8994" y="1682"/>
                    <a:pt x="9013" y="1685"/>
                    <a:pt x="9033" y="1685"/>
                  </a:cubicBezTo>
                  <a:cubicBezTo>
                    <a:pt x="9095" y="1685"/>
                    <a:pt x="9162" y="1654"/>
                    <a:pt x="9180" y="1581"/>
                  </a:cubicBezTo>
                  <a:cubicBezTo>
                    <a:pt x="9216" y="1497"/>
                    <a:pt x="9180" y="1402"/>
                    <a:pt x="9097" y="1378"/>
                  </a:cubicBezTo>
                  <a:cubicBezTo>
                    <a:pt x="8942" y="1319"/>
                    <a:pt x="8799" y="1271"/>
                    <a:pt x="8644" y="1271"/>
                  </a:cubicBezTo>
                  <a:cubicBezTo>
                    <a:pt x="8472" y="841"/>
                    <a:pt x="7989" y="547"/>
                    <a:pt x="7502" y="547"/>
                  </a:cubicBezTo>
                  <a:cubicBezTo>
                    <a:pt x="7450" y="547"/>
                    <a:pt x="7398" y="550"/>
                    <a:pt x="7346" y="557"/>
                  </a:cubicBezTo>
                  <a:cubicBezTo>
                    <a:pt x="7145" y="251"/>
                    <a:pt x="6767" y="81"/>
                    <a:pt x="6386" y="81"/>
                  </a:cubicBezTo>
                  <a:cubicBezTo>
                    <a:pt x="6159" y="81"/>
                    <a:pt x="5931" y="142"/>
                    <a:pt x="5739" y="271"/>
                  </a:cubicBezTo>
                  <a:cubicBezTo>
                    <a:pt x="5542" y="91"/>
                    <a:pt x="5272" y="1"/>
                    <a:pt x="49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23" name="Google Shape;10423;p59"/>
          <p:cNvGrpSpPr/>
          <p:nvPr/>
        </p:nvGrpSpPr>
        <p:grpSpPr>
          <a:xfrm>
            <a:off x="5829984" y="3350032"/>
            <a:ext cx="220755" cy="352348"/>
            <a:chOff x="5829984" y="3350032"/>
            <a:chExt cx="220755" cy="352348"/>
          </a:xfrm>
        </p:grpSpPr>
        <p:sp>
          <p:nvSpPr>
            <p:cNvPr id="10424" name="Google Shape;10424;p59"/>
            <p:cNvSpPr/>
            <p:nvPr/>
          </p:nvSpPr>
          <p:spPr>
            <a:xfrm>
              <a:off x="5829984" y="3350032"/>
              <a:ext cx="220755" cy="352348"/>
            </a:xfrm>
            <a:custGeom>
              <a:avLst/>
              <a:gdLst/>
              <a:ahLst/>
              <a:cxnLst/>
              <a:rect l="l" t="t" r="r" b="b"/>
              <a:pathLst>
                <a:path w="6930" h="11061" extrusionOk="0">
                  <a:moveTo>
                    <a:pt x="1989" y="333"/>
                  </a:moveTo>
                  <a:lnTo>
                    <a:pt x="1989" y="2060"/>
                  </a:lnTo>
                  <a:lnTo>
                    <a:pt x="1072" y="2060"/>
                  </a:lnTo>
                  <a:lnTo>
                    <a:pt x="1072" y="333"/>
                  </a:lnTo>
                  <a:close/>
                  <a:moveTo>
                    <a:pt x="3299" y="333"/>
                  </a:moveTo>
                  <a:lnTo>
                    <a:pt x="3299" y="2060"/>
                  </a:lnTo>
                  <a:lnTo>
                    <a:pt x="2322" y="2060"/>
                  </a:lnTo>
                  <a:lnTo>
                    <a:pt x="2322" y="333"/>
                  </a:lnTo>
                  <a:close/>
                  <a:moveTo>
                    <a:pt x="4608" y="333"/>
                  </a:moveTo>
                  <a:lnTo>
                    <a:pt x="4608" y="2060"/>
                  </a:lnTo>
                  <a:lnTo>
                    <a:pt x="3632" y="2060"/>
                  </a:lnTo>
                  <a:lnTo>
                    <a:pt x="3632" y="333"/>
                  </a:lnTo>
                  <a:close/>
                  <a:moveTo>
                    <a:pt x="5108" y="2381"/>
                  </a:moveTo>
                  <a:lnTo>
                    <a:pt x="5108" y="2774"/>
                  </a:lnTo>
                  <a:lnTo>
                    <a:pt x="1810" y="2774"/>
                  </a:lnTo>
                  <a:lnTo>
                    <a:pt x="1810" y="2381"/>
                  </a:lnTo>
                  <a:close/>
                  <a:moveTo>
                    <a:pt x="6085" y="3084"/>
                  </a:moveTo>
                  <a:cubicBezTo>
                    <a:pt x="6370" y="3084"/>
                    <a:pt x="6609" y="3322"/>
                    <a:pt x="6609" y="3608"/>
                  </a:cubicBezTo>
                  <a:lnTo>
                    <a:pt x="6609" y="10216"/>
                  </a:lnTo>
                  <a:cubicBezTo>
                    <a:pt x="6609" y="10489"/>
                    <a:pt x="6370" y="10728"/>
                    <a:pt x="6085" y="10728"/>
                  </a:cubicBezTo>
                  <a:lnTo>
                    <a:pt x="846" y="10728"/>
                  </a:lnTo>
                  <a:cubicBezTo>
                    <a:pt x="560" y="10728"/>
                    <a:pt x="322" y="10489"/>
                    <a:pt x="322" y="10216"/>
                  </a:cubicBezTo>
                  <a:lnTo>
                    <a:pt x="322" y="3608"/>
                  </a:lnTo>
                  <a:cubicBezTo>
                    <a:pt x="322" y="3322"/>
                    <a:pt x="560" y="3084"/>
                    <a:pt x="846" y="3084"/>
                  </a:cubicBezTo>
                  <a:close/>
                  <a:moveTo>
                    <a:pt x="905" y="0"/>
                  </a:moveTo>
                  <a:cubicBezTo>
                    <a:pt x="822" y="0"/>
                    <a:pt x="739" y="71"/>
                    <a:pt x="739" y="167"/>
                  </a:cubicBezTo>
                  <a:lnTo>
                    <a:pt x="739" y="2215"/>
                  </a:lnTo>
                  <a:cubicBezTo>
                    <a:pt x="739" y="2310"/>
                    <a:pt x="822" y="2381"/>
                    <a:pt x="905" y="2381"/>
                  </a:cubicBezTo>
                  <a:lnTo>
                    <a:pt x="1501" y="2381"/>
                  </a:lnTo>
                  <a:lnTo>
                    <a:pt x="1501" y="2762"/>
                  </a:lnTo>
                  <a:lnTo>
                    <a:pt x="846" y="2762"/>
                  </a:lnTo>
                  <a:cubicBezTo>
                    <a:pt x="382" y="2762"/>
                    <a:pt x="1" y="3143"/>
                    <a:pt x="1" y="3620"/>
                  </a:cubicBezTo>
                  <a:lnTo>
                    <a:pt x="1" y="10216"/>
                  </a:lnTo>
                  <a:cubicBezTo>
                    <a:pt x="1" y="10668"/>
                    <a:pt x="370" y="11061"/>
                    <a:pt x="846" y="11061"/>
                  </a:cubicBezTo>
                  <a:lnTo>
                    <a:pt x="6085" y="11061"/>
                  </a:lnTo>
                  <a:cubicBezTo>
                    <a:pt x="6549" y="11061"/>
                    <a:pt x="6930" y="10692"/>
                    <a:pt x="6930" y="10216"/>
                  </a:cubicBezTo>
                  <a:lnTo>
                    <a:pt x="6930" y="3608"/>
                  </a:lnTo>
                  <a:cubicBezTo>
                    <a:pt x="6930" y="3143"/>
                    <a:pt x="6549" y="2774"/>
                    <a:pt x="6085" y="2774"/>
                  </a:cubicBezTo>
                  <a:lnTo>
                    <a:pt x="5430" y="2774"/>
                  </a:lnTo>
                  <a:lnTo>
                    <a:pt x="5430" y="2381"/>
                  </a:lnTo>
                  <a:lnTo>
                    <a:pt x="6025" y="2381"/>
                  </a:lnTo>
                  <a:cubicBezTo>
                    <a:pt x="6108" y="2381"/>
                    <a:pt x="6192" y="2310"/>
                    <a:pt x="6192" y="2215"/>
                  </a:cubicBezTo>
                  <a:lnTo>
                    <a:pt x="6192" y="1191"/>
                  </a:lnTo>
                  <a:cubicBezTo>
                    <a:pt x="6192" y="1095"/>
                    <a:pt x="6108" y="1024"/>
                    <a:pt x="6025" y="1024"/>
                  </a:cubicBezTo>
                  <a:cubicBezTo>
                    <a:pt x="5942" y="1024"/>
                    <a:pt x="5858" y="1095"/>
                    <a:pt x="5858" y="1191"/>
                  </a:cubicBezTo>
                  <a:lnTo>
                    <a:pt x="5858" y="2048"/>
                  </a:lnTo>
                  <a:lnTo>
                    <a:pt x="4942" y="2048"/>
                  </a:lnTo>
                  <a:lnTo>
                    <a:pt x="4942" y="321"/>
                  </a:lnTo>
                  <a:lnTo>
                    <a:pt x="5858" y="321"/>
                  </a:lnTo>
                  <a:lnTo>
                    <a:pt x="5858" y="524"/>
                  </a:lnTo>
                  <a:cubicBezTo>
                    <a:pt x="5858" y="607"/>
                    <a:pt x="5942" y="679"/>
                    <a:pt x="6025" y="679"/>
                  </a:cubicBezTo>
                  <a:cubicBezTo>
                    <a:pt x="6108" y="679"/>
                    <a:pt x="6192" y="607"/>
                    <a:pt x="6192" y="524"/>
                  </a:cubicBezTo>
                  <a:lnTo>
                    <a:pt x="6192" y="167"/>
                  </a:lnTo>
                  <a:cubicBezTo>
                    <a:pt x="6192" y="71"/>
                    <a:pt x="6108" y="0"/>
                    <a:pt x="6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5" name="Google Shape;10425;p59"/>
            <p:cNvSpPr/>
            <p:nvPr/>
          </p:nvSpPr>
          <p:spPr>
            <a:xfrm>
              <a:off x="5912297" y="3541927"/>
              <a:ext cx="56160" cy="56160"/>
            </a:xfrm>
            <a:custGeom>
              <a:avLst/>
              <a:gdLst/>
              <a:ahLst/>
              <a:cxnLst/>
              <a:rect l="l" t="t" r="r" b="b"/>
              <a:pathLst>
                <a:path w="1763" h="1763" extrusionOk="0">
                  <a:moveTo>
                    <a:pt x="881" y="1"/>
                  </a:moveTo>
                  <a:cubicBezTo>
                    <a:pt x="798" y="1"/>
                    <a:pt x="715" y="72"/>
                    <a:pt x="715" y="167"/>
                  </a:cubicBezTo>
                  <a:lnTo>
                    <a:pt x="715" y="715"/>
                  </a:lnTo>
                  <a:lnTo>
                    <a:pt x="167" y="715"/>
                  </a:lnTo>
                  <a:cubicBezTo>
                    <a:pt x="84" y="715"/>
                    <a:pt x="0" y="798"/>
                    <a:pt x="0" y="882"/>
                  </a:cubicBezTo>
                  <a:cubicBezTo>
                    <a:pt x="0" y="977"/>
                    <a:pt x="84" y="1048"/>
                    <a:pt x="167" y="1048"/>
                  </a:cubicBezTo>
                  <a:lnTo>
                    <a:pt x="715" y="1048"/>
                  </a:lnTo>
                  <a:lnTo>
                    <a:pt x="715" y="1596"/>
                  </a:lnTo>
                  <a:cubicBezTo>
                    <a:pt x="715" y="1691"/>
                    <a:pt x="798" y="1763"/>
                    <a:pt x="881" y="1763"/>
                  </a:cubicBezTo>
                  <a:cubicBezTo>
                    <a:pt x="965" y="1763"/>
                    <a:pt x="1048" y="1691"/>
                    <a:pt x="1048" y="1596"/>
                  </a:cubicBezTo>
                  <a:lnTo>
                    <a:pt x="1048" y="1048"/>
                  </a:lnTo>
                  <a:lnTo>
                    <a:pt x="1596" y="1048"/>
                  </a:lnTo>
                  <a:cubicBezTo>
                    <a:pt x="1679" y="1048"/>
                    <a:pt x="1762" y="977"/>
                    <a:pt x="1762" y="882"/>
                  </a:cubicBezTo>
                  <a:cubicBezTo>
                    <a:pt x="1762" y="798"/>
                    <a:pt x="1679" y="715"/>
                    <a:pt x="1596" y="715"/>
                  </a:cubicBezTo>
                  <a:lnTo>
                    <a:pt x="1048" y="715"/>
                  </a:lnTo>
                  <a:lnTo>
                    <a:pt x="1048" y="167"/>
                  </a:lnTo>
                  <a:cubicBezTo>
                    <a:pt x="1048" y="72"/>
                    <a:pt x="965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6" name="Google Shape;10426;p59"/>
            <p:cNvSpPr/>
            <p:nvPr/>
          </p:nvSpPr>
          <p:spPr>
            <a:xfrm>
              <a:off x="5885730" y="3515391"/>
              <a:ext cx="109263" cy="109263"/>
            </a:xfrm>
            <a:custGeom>
              <a:avLst/>
              <a:gdLst/>
              <a:ahLst/>
              <a:cxnLst/>
              <a:rect l="l" t="t" r="r" b="b"/>
              <a:pathLst>
                <a:path w="3430" h="3430" extrusionOk="0">
                  <a:moveTo>
                    <a:pt x="1715" y="345"/>
                  </a:moveTo>
                  <a:cubicBezTo>
                    <a:pt x="2477" y="345"/>
                    <a:pt x="3096" y="976"/>
                    <a:pt x="3096" y="1727"/>
                  </a:cubicBezTo>
                  <a:cubicBezTo>
                    <a:pt x="3096" y="2489"/>
                    <a:pt x="2477" y="3120"/>
                    <a:pt x="1715" y="3120"/>
                  </a:cubicBezTo>
                  <a:cubicBezTo>
                    <a:pt x="953" y="3120"/>
                    <a:pt x="334" y="2489"/>
                    <a:pt x="334" y="1727"/>
                  </a:cubicBezTo>
                  <a:cubicBezTo>
                    <a:pt x="334" y="976"/>
                    <a:pt x="953" y="345"/>
                    <a:pt x="1715" y="345"/>
                  </a:cubicBezTo>
                  <a:close/>
                  <a:moveTo>
                    <a:pt x="1715" y="0"/>
                  </a:moveTo>
                  <a:cubicBezTo>
                    <a:pt x="775" y="0"/>
                    <a:pt x="1" y="762"/>
                    <a:pt x="1" y="1715"/>
                  </a:cubicBezTo>
                  <a:cubicBezTo>
                    <a:pt x="1" y="2667"/>
                    <a:pt x="775" y="3429"/>
                    <a:pt x="1715" y="3429"/>
                  </a:cubicBezTo>
                  <a:cubicBezTo>
                    <a:pt x="2656" y="3429"/>
                    <a:pt x="3430" y="2667"/>
                    <a:pt x="3430" y="1715"/>
                  </a:cubicBezTo>
                  <a:cubicBezTo>
                    <a:pt x="3430" y="774"/>
                    <a:pt x="2668" y="0"/>
                    <a:pt x="1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7" name="Google Shape;10427;p59"/>
            <p:cNvSpPr/>
            <p:nvPr/>
          </p:nvSpPr>
          <p:spPr>
            <a:xfrm>
              <a:off x="5862986" y="3476305"/>
              <a:ext cx="154783" cy="188167"/>
            </a:xfrm>
            <a:custGeom>
              <a:avLst/>
              <a:gdLst/>
              <a:ahLst/>
              <a:cxnLst/>
              <a:rect l="l" t="t" r="r" b="b"/>
              <a:pathLst>
                <a:path w="4859" h="5907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5740"/>
                  </a:lnTo>
                  <a:cubicBezTo>
                    <a:pt x="0" y="5835"/>
                    <a:pt x="84" y="5906"/>
                    <a:pt x="167" y="5906"/>
                  </a:cubicBezTo>
                  <a:lnTo>
                    <a:pt x="4691" y="5906"/>
                  </a:lnTo>
                  <a:cubicBezTo>
                    <a:pt x="4787" y="5906"/>
                    <a:pt x="4858" y="5835"/>
                    <a:pt x="4858" y="5740"/>
                  </a:cubicBezTo>
                  <a:lnTo>
                    <a:pt x="4858" y="156"/>
                  </a:lnTo>
                  <a:cubicBezTo>
                    <a:pt x="4858" y="72"/>
                    <a:pt x="4775" y="1"/>
                    <a:pt x="4691" y="1"/>
                  </a:cubicBezTo>
                  <a:lnTo>
                    <a:pt x="1715" y="1"/>
                  </a:lnTo>
                  <a:cubicBezTo>
                    <a:pt x="1632" y="1"/>
                    <a:pt x="1548" y="72"/>
                    <a:pt x="1548" y="156"/>
                  </a:cubicBezTo>
                  <a:cubicBezTo>
                    <a:pt x="1548" y="251"/>
                    <a:pt x="1632" y="322"/>
                    <a:pt x="1715" y="322"/>
                  </a:cubicBezTo>
                  <a:lnTo>
                    <a:pt x="4525" y="322"/>
                  </a:lnTo>
                  <a:lnTo>
                    <a:pt x="4525" y="5597"/>
                  </a:lnTo>
                  <a:lnTo>
                    <a:pt x="334" y="5597"/>
                  </a:lnTo>
                  <a:lnTo>
                    <a:pt x="334" y="322"/>
                  </a:lnTo>
                  <a:lnTo>
                    <a:pt x="881" y="322"/>
                  </a:lnTo>
                  <a:cubicBezTo>
                    <a:pt x="977" y="322"/>
                    <a:pt x="1048" y="251"/>
                    <a:pt x="1048" y="156"/>
                  </a:cubicBezTo>
                  <a:cubicBezTo>
                    <a:pt x="1048" y="72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28" name="Google Shape;10428;p59"/>
          <p:cNvGrpSpPr/>
          <p:nvPr/>
        </p:nvGrpSpPr>
        <p:grpSpPr>
          <a:xfrm>
            <a:off x="4882170" y="3349841"/>
            <a:ext cx="358464" cy="352316"/>
            <a:chOff x="4882170" y="3349841"/>
            <a:chExt cx="358464" cy="352316"/>
          </a:xfrm>
        </p:grpSpPr>
        <p:sp>
          <p:nvSpPr>
            <p:cNvPr id="10429" name="Google Shape;10429;p59"/>
            <p:cNvSpPr/>
            <p:nvPr/>
          </p:nvSpPr>
          <p:spPr>
            <a:xfrm>
              <a:off x="5024403" y="3395521"/>
              <a:ext cx="174119" cy="166156"/>
            </a:xfrm>
            <a:custGeom>
              <a:avLst/>
              <a:gdLst/>
              <a:ahLst/>
              <a:cxnLst/>
              <a:rect l="l" t="t" r="r" b="b"/>
              <a:pathLst>
                <a:path w="5466" h="5216" extrusionOk="0">
                  <a:moveTo>
                    <a:pt x="4647" y="1"/>
                  </a:moveTo>
                  <a:cubicBezTo>
                    <a:pt x="4489" y="1"/>
                    <a:pt x="4335" y="60"/>
                    <a:pt x="4215" y="179"/>
                  </a:cubicBezTo>
                  <a:lnTo>
                    <a:pt x="239" y="4156"/>
                  </a:lnTo>
                  <a:cubicBezTo>
                    <a:pt x="1" y="4394"/>
                    <a:pt x="1" y="4799"/>
                    <a:pt x="239" y="5037"/>
                  </a:cubicBezTo>
                  <a:cubicBezTo>
                    <a:pt x="358" y="5156"/>
                    <a:pt x="519" y="5216"/>
                    <a:pt x="679" y="5216"/>
                  </a:cubicBezTo>
                  <a:cubicBezTo>
                    <a:pt x="840" y="5216"/>
                    <a:pt x="1001" y="5156"/>
                    <a:pt x="1120" y="5037"/>
                  </a:cubicBezTo>
                  <a:lnTo>
                    <a:pt x="4501" y="1656"/>
                  </a:lnTo>
                  <a:cubicBezTo>
                    <a:pt x="4561" y="1596"/>
                    <a:pt x="4561" y="1489"/>
                    <a:pt x="4501" y="1430"/>
                  </a:cubicBezTo>
                  <a:cubicBezTo>
                    <a:pt x="4471" y="1400"/>
                    <a:pt x="4430" y="1385"/>
                    <a:pt x="4388" y="1385"/>
                  </a:cubicBezTo>
                  <a:cubicBezTo>
                    <a:pt x="4346" y="1385"/>
                    <a:pt x="4305" y="1400"/>
                    <a:pt x="4275" y="1430"/>
                  </a:cubicBezTo>
                  <a:lnTo>
                    <a:pt x="894" y="4811"/>
                  </a:lnTo>
                  <a:cubicBezTo>
                    <a:pt x="834" y="4870"/>
                    <a:pt x="757" y="4900"/>
                    <a:pt x="681" y="4900"/>
                  </a:cubicBezTo>
                  <a:cubicBezTo>
                    <a:pt x="605" y="4900"/>
                    <a:pt x="530" y="4870"/>
                    <a:pt x="477" y="4811"/>
                  </a:cubicBezTo>
                  <a:cubicBezTo>
                    <a:pt x="358" y="4692"/>
                    <a:pt x="358" y="4501"/>
                    <a:pt x="477" y="4394"/>
                  </a:cubicBezTo>
                  <a:lnTo>
                    <a:pt x="4454" y="417"/>
                  </a:lnTo>
                  <a:cubicBezTo>
                    <a:pt x="4512" y="359"/>
                    <a:pt x="4585" y="333"/>
                    <a:pt x="4657" y="333"/>
                  </a:cubicBezTo>
                  <a:cubicBezTo>
                    <a:pt x="4807" y="333"/>
                    <a:pt x="4954" y="447"/>
                    <a:pt x="4954" y="632"/>
                  </a:cubicBezTo>
                  <a:cubicBezTo>
                    <a:pt x="4954" y="703"/>
                    <a:pt x="4930" y="775"/>
                    <a:pt x="4870" y="834"/>
                  </a:cubicBezTo>
                  <a:cubicBezTo>
                    <a:pt x="4811" y="894"/>
                    <a:pt x="4811" y="1001"/>
                    <a:pt x="4870" y="1060"/>
                  </a:cubicBezTo>
                  <a:cubicBezTo>
                    <a:pt x="4903" y="1094"/>
                    <a:pt x="4940" y="1108"/>
                    <a:pt x="4977" y="1108"/>
                  </a:cubicBezTo>
                  <a:cubicBezTo>
                    <a:pt x="5208" y="1108"/>
                    <a:pt x="5465" y="538"/>
                    <a:pt x="5097" y="179"/>
                  </a:cubicBezTo>
                  <a:cubicBezTo>
                    <a:pt x="4966" y="60"/>
                    <a:pt x="4805" y="1"/>
                    <a:pt x="46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0" name="Google Shape;10430;p59"/>
            <p:cNvSpPr/>
            <p:nvPr/>
          </p:nvSpPr>
          <p:spPr>
            <a:xfrm>
              <a:off x="4882170" y="3349841"/>
              <a:ext cx="358464" cy="352316"/>
            </a:xfrm>
            <a:custGeom>
              <a:avLst/>
              <a:gdLst/>
              <a:ahLst/>
              <a:cxnLst/>
              <a:rect l="l" t="t" r="r" b="b"/>
              <a:pathLst>
                <a:path w="11253" h="11060" extrusionOk="0">
                  <a:moveTo>
                    <a:pt x="8809" y="364"/>
                  </a:moveTo>
                  <a:cubicBezTo>
                    <a:pt x="8973" y="364"/>
                    <a:pt x="9138" y="421"/>
                    <a:pt x="9276" y="530"/>
                  </a:cubicBezTo>
                  <a:lnTo>
                    <a:pt x="10585" y="1840"/>
                  </a:lnTo>
                  <a:cubicBezTo>
                    <a:pt x="10895" y="2078"/>
                    <a:pt x="10895" y="2518"/>
                    <a:pt x="10633" y="2804"/>
                  </a:cubicBezTo>
                  <a:cubicBezTo>
                    <a:pt x="7276" y="6150"/>
                    <a:pt x="7395" y="6054"/>
                    <a:pt x="7192" y="6233"/>
                  </a:cubicBezTo>
                  <a:cubicBezTo>
                    <a:pt x="6609" y="6745"/>
                    <a:pt x="6002" y="7102"/>
                    <a:pt x="5287" y="7376"/>
                  </a:cubicBezTo>
                  <a:cubicBezTo>
                    <a:pt x="5144" y="7432"/>
                    <a:pt x="5001" y="7458"/>
                    <a:pt x="4863" y="7458"/>
                  </a:cubicBezTo>
                  <a:cubicBezTo>
                    <a:pt x="4096" y="7458"/>
                    <a:pt x="3484" y="6663"/>
                    <a:pt x="3787" y="5876"/>
                  </a:cubicBezTo>
                  <a:cubicBezTo>
                    <a:pt x="3799" y="5828"/>
                    <a:pt x="4061" y="5042"/>
                    <a:pt x="4704" y="4233"/>
                  </a:cubicBezTo>
                  <a:lnTo>
                    <a:pt x="4978" y="4507"/>
                  </a:lnTo>
                  <a:cubicBezTo>
                    <a:pt x="5007" y="4536"/>
                    <a:pt x="5046" y="4551"/>
                    <a:pt x="5085" y="4551"/>
                  </a:cubicBezTo>
                  <a:cubicBezTo>
                    <a:pt x="5123" y="4551"/>
                    <a:pt x="5162" y="4536"/>
                    <a:pt x="5192" y="4507"/>
                  </a:cubicBezTo>
                  <a:cubicBezTo>
                    <a:pt x="5251" y="4447"/>
                    <a:pt x="5251" y="4340"/>
                    <a:pt x="5192" y="4280"/>
                  </a:cubicBezTo>
                  <a:lnTo>
                    <a:pt x="4918" y="3995"/>
                  </a:lnTo>
                  <a:cubicBezTo>
                    <a:pt x="5073" y="3816"/>
                    <a:pt x="5180" y="3709"/>
                    <a:pt x="5287" y="3614"/>
                  </a:cubicBezTo>
                  <a:lnTo>
                    <a:pt x="5573" y="3887"/>
                  </a:lnTo>
                  <a:cubicBezTo>
                    <a:pt x="5603" y="3917"/>
                    <a:pt x="5641" y="3932"/>
                    <a:pt x="5680" y="3932"/>
                  </a:cubicBezTo>
                  <a:cubicBezTo>
                    <a:pt x="5719" y="3932"/>
                    <a:pt x="5757" y="3917"/>
                    <a:pt x="5787" y="3887"/>
                  </a:cubicBezTo>
                  <a:cubicBezTo>
                    <a:pt x="5847" y="3828"/>
                    <a:pt x="5847" y="3733"/>
                    <a:pt x="5787" y="3673"/>
                  </a:cubicBezTo>
                  <a:lnTo>
                    <a:pt x="5513" y="3387"/>
                  </a:lnTo>
                  <a:lnTo>
                    <a:pt x="5894" y="2994"/>
                  </a:lnTo>
                  <a:lnTo>
                    <a:pt x="6180" y="3280"/>
                  </a:lnTo>
                  <a:cubicBezTo>
                    <a:pt x="6210" y="3310"/>
                    <a:pt x="6252" y="3325"/>
                    <a:pt x="6293" y="3325"/>
                  </a:cubicBezTo>
                  <a:cubicBezTo>
                    <a:pt x="6335" y="3325"/>
                    <a:pt x="6377" y="3310"/>
                    <a:pt x="6406" y="3280"/>
                  </a:cubicBezTo>
                  <a:cubicBezTo>
                    <a:pt x="6466" y="3221"/>
                    <a:pt x="6466" y="3114"/>
                    <a:pt x="6406" y="3054"/>
                  </a:cubicBezTo>
                  <a:lnTo>
                    <a:pt x="6121" y="2780"/>
                  </a:lnTo>
                  <a:lnTo>
                    <a:pt x="6502" y="2387"/>
                  </a:lnTo>
                  <a:lnTo>
                    <a:pt x="6787" y="2673"/>
                  </a:lnTo>
                  <a:cubicBezTo>
                    <a:pt x="6817" y="2703"/>
                    <a:pt x="6859" y="2718"/>
                    <a:pt x="6900" y="2718"/>
                  </a:cubicBezTo>
                  <a:cubicBezTo>
                    <a:pt x="6942" y="2718"/>
                    <a:pt x="6984" y="2703"/>
                    <a:pt x="7014" y="2673"/>
                  </a:cubicBezTo>
                  <a:cubicBezTo>
                    <a:pt x="7073" y="2613"/>
                    <a:pt x="7073" y="2506"/>
                    <a:pt x="7014" y="2447"/>
                  </a:cubicBezTo>
                  <a:lnTo>
                    <a:pt x="6728" y="2161"/>
                  </a:lnTo>
                  <a:lnTo>
                    <a:pt x="7109" y="1780"/>
                  </a:lnTo>
                  <a:lnTo>
                    <a:pt x="7395" y="2054"/>
                  </a:lnTo>
                  <a:cubicBezTo>
                    <a:pt x="7424" y="2084"/>
                    <a:pt x="7466" y="2099"/>
                    <a:pt x="7508" y="2099"/>
                  </a:cubicBezTo>
                  <a:cubicBezTo>
                    <a:pt x="7549" y="2099"/>
                    <a:pt x="7591" y="2084"/>
                    <a:pt x="7621" y="2054"/>
                  </a:cubicBezTo>
                  <a:cubicBezTo>
                    <a:pt x="7680" y="1994"/>
                    <a:pt x="7680" y="1899"/>
                    <a:pt x="7621" y="1840"/>
                  </a:cubicBezTo>
                  <a:lnTo>
                    <a:pt x="7335" y="1554"/>
                  </a:lnTo>
                  <a:lnTo>
                    <a:pt x="7728" y="1161"/>
                  </a:lnTo>
                  <a:lnTo>
                    <a:pt x="8002" y="1447"/>
                  </a:lnTo>
                  <a:cubicBezTo>
                    <a:pt x="8038" y="1476"/>
                    <a:pt x="8079" y="1491"/>
                    <a:pt x="8119" y="1491"/>
                  </a:cubicBezTo>
                  <a:cubicBezTo>
                    <a:pt x="8160" y="1491"/>
                    <a:pt x="8198" y="1476"/>
                    <a:pt x="8228" y="1447"/>
                  </a:cubicBezTo>
                  <a:cubicBezTo>
                    <a:pt x="8288" y="1387"/>
                    <a:pt x="8288" y="1280"/>
                    <a:pt x="8228" y="1220"/>
                  </a:cubicBezTo>
                  <a:lnTo>
                    <a:pt x="7942" y="947"/>
                  </a:lnTo>
                  <a:lnTo>
                    <a:pt x="8323" y="566"/>
                  </a:lnTo>
                  <a:cubicBezTo>
                    <a:pt x="8459" y="430"/>
                    <a:pt x="8633" y="364"/>
                    <a:pt x="8809" y="364"/>
                  </a:cubicBezTo>
                  <a:close/>
                  <a:moveTo>
                    <a:pt x="1180" y="9245"/>
                  </a:moveTo>
                  <a:lnTo>
                    <a:pt x="1918" y="9995"/>
                  </a:lnTo>
                  <a:lnTo>
                    <a:pt x="1322" y="10591"/>
                  </a:lnTo>
                  <a:cubicBezTo>
                    <a:pt x="1227" y="10698"/>
                    <a:pt x="1108" y="10734"/>
                    <a:pt x="953" y="10734"/>
                  </a:cubicBezTo>
                  <a:cubicBezTo>
                    <a:pt x="477" y="10734"/>
                    <a:pt x="251" y="10174"/>
                    <a:pt x="584" y="9841"/>
                  </a:cubicBezTo>
                  <a:lnTo>
                    <a:pt x="1180" y="9245"/>
                  </a:lnTo>
                  <a:close/>
                  <a:moveTo>
                    <a:pt x="8855" y="0"/>
                  </a:moveTo>
                  <a:cubicBezTo>
                    <a:pt x="8591" y="0"/>
                    <a:pt x="8329" y="101"/>
                    <a:pt x="8133" y="304"/>
                  </a:cubicBezTo>
                  <a:cubicBezTo>
                    <a:pt x="4716" y="3709"/>
                    <a:pt x="4882" y="3530"/>
                    <a:pt x="4692" y="3756"/>
                  </a:cubicBezTo>
                  <a:cubicBezTo>
                    <a:pt x="3394" y="5185"/>
                    <a:pt x="3692" y="5876"/>
                    <a:pt x="2656" y="7221"/>
                  </a:cubicBezTo>
                  <a:cubicBezTo>
                    <a:pt x="2596" y="7305"/>
                    <a:pt x="2608" y="7400"/>
                    <a:pt x="2680" y="7447"/>
                  </a:cubicBezTo>
                  <a:cubicBezTo>
                    <a:pt x="2711" y="7473"/>
                    <a:pt x="2748" y="7486"/>
                    <a:pt x="2785" y="7486"/>
                  </a:cubicBezTo>
                  <a:cubicBezTo>
                    <a:pt x="2833" y="7486"/>
                    <a:pt x="2879" y="7464"/>
                    <a:pt x="2906" y="7424"/>
                  </a:cubicBezTo>
                  <a:cubicBezTo>
                    <a:pt x="3096" y="7162"/>
                    <a:pt x="3263" y="6912"/>
                    <a:pt x="3406" y="6638"/>
                  </a:cubicBezTo>
                  <a:cubicBezTo>
                    <a:pt x="3549" y="7174"/>
                    <a:pt x="3966" y="7614"/>
                    <a:pt x="4501" y="7733"/>
                  </a:cubicBezTo>
                  <a:cubicBezTo>
                    <a:pt x="3382" y="8352"/>
                    <a:pt x="2894" y="9043"/>
                    <a:pt x="2120" y="9757"/>
                  </a:cubicBezTo>
                  <a:lnTo>
                    <a:pt x="1370" y="9007"/>
                  </a:lnTo>
                  <a:lnTo>
                    <a:pt x="2334" y="8043"/>
                  </a:lnTo>
                  <a:cubicBezTo>
                    <a:pt x="2394" y="7983"/>
                    <a:pt x="2394" y="7876"/>
                    <a:pt x="2334" y="7817"/>
                  </a:cubicBezTo>
                  <a:cubicBezTo>
                    <a:pt x="2305" y="7787"/>
                    <a:pt x="2266" y="7772"/>
                    <a:pt x="2227" y="7772"/>
                  </a:cubicBezTo>
                  <a:cubicBezTo>
                    <a:pt x="2189" y="7772"/>
                    <a:pt x="2150" y="7787"/>
                    <a:pt x="2120" y="7817"/>
                  </a:cubicBezTo>
                  <a:lnTo>
                    <a:pt x="334" y="9602"/>
                  </a:lnTo>
                  <a:cubicBezTo>
                    <a:pt x="1" y="9936"/>
                    <a:pt x="1" y="10472"/>
                    <a:pt x="334" y="10805"/>
                  </a:cubicBezTo>
                  <a:cubicBezTo>
                    <a:pt x="494" y="10976"/>
                    <a:pt x="705" y="11059"/>
                    <a:pt x="921" y="11059"/>
                  </a:cubicBezTo>
                  <a:cubicBezTo>
                    <a:pt x="1140" y="11059"/>
                    <a:pt x="1363" y="10973"/>
                    <a:pt x="1537" y="10805"/>
                  </a:cubicBezTo>
                  <a:lnTo>
                    <a:pt x="3323" y="9019"/>
                  </a:lnTo>
                  <a:cubicBezTo>
                    <a:pt x="4335" y="8019"/>
                    <a:pt x="5287" y="7745"/>
                    <a:pt x="5716" y="7531"/>
                  </a:cubicBezTo>
                  <a:cubicBezTo>
                    <a:pt x="6430" y="7221"/>
                    <a:pt x="7061" y="6793"/>
                    <a:pt x="7621" y="6233"/>
                  </a:cubicBezTo>
                  <a:lnTo>
                    <a:pt x="10824" y="3030"/>
                  </a:lnTo>
                  <a:cubicBezTo>
                    <a:pt x="11252" y="2625"/>
                    <a:pt x="11252" y="1971"/>
                    <a:pt x="10847" y="1566"/>
                  </a:cubicBezTo>
                  <a:lnTo>
                    <a:pt x="9585" y="304"/>
                  </a:lnTo>
                  <a:cubicBezTo>
                    <a:pt x="9383" y="101"/>
                    <a:pt x="9118" y="0"/>
                    <a:pt x="88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31" name="Google Shape;10431;p59"/>
          <p:cNvSpPr/>
          <p:nvPr/>
        </p:nvSpPr>
        <p:spPr>
          <a:xfrm>
            <a:off x="3955221" y="2893008"/>
            <a:ext cx="358464" cy="356808"/>
          </a:xfrm>
          <a:custGeom>
            <a:avLst/>
            <a:gdLst/>
            <a:ahLst/>
            <a:cxnLst/>
            <a:rect l="l" t="t" r="r" b="b"/>
            <a:pathLst>
              <a:path w="11253" h="11201" extrusionOk="0">
                <a:moveTo>
                  <a:pt x="9133" y="0"/>
                </a:moveTo>
                <a:cubicBezTo>
                  <a:pt x="8990" y="0"/>
                  <a:pt x="8847" y="60"/>
                  <a:pt x="8740" y="167"/>
                </a:cubicBezTo>
                <a:lnTo>
                  <a:pt x="322" y="8584"/>
                </a:lnTo>
                <a:cubicBezTo>
                  <a:pt x="1" y="8894"/>
                  <a:pt x="1" y="9263"/>
                  <a:pt x="215" y="9465"/>
                </a:cubicBezTo>
                <a:lnTo>
                  <a:pt x="1787" y="11049"/>
                </a:lnTo>
                <a:cubicBezTo>
                  <a:pt x="1894" y="11150"/>
                  <a:pt x="2037" y="11201"/>
                  <a:pt x="2178" y="11201"/>
                </a:cubicBezTo>
                <a:cubicBezTo>
                  <a:pt x="2320" y="11201"/>
                  <a:pt x="2460" y="11150"/>
                  <a:pt x="2561" y="11049"/>
                </a:cubicBezTo>
                <a:lnTo>
                  <a:pt x="9371" y="4239"/>
                </a:lnTo>
                <a:cubicBezTo>
                  <a:pt x="9431" y="4179"/>
                  <a:pt x="9431" y="4084"/>
                  <a:pt x="9371" y="4001"/>
                </a:cubicBezTo>
                <a:cubicBezTo>
                  <a:pt x="9341" y="3971"/>
                  <a:pt x="9300" y="3956"/>
                  <a:pt x="9257" y="3956"/>
                </a:cubicBezTo>
                <a:cubicBezTo>
                  <a:pt x="9213" y="3956"/>
                  <a:pt x="9169" y="3971"/>
                  <a:pt x="9133" y="4001"/>
                </a:cubicBezTo>
                <a:lnTo>
                  <a:pt x="2323" y="10811"/>
                </a:lnTo>
                <a:cubicBezTo>
                  <a:pt x="2281" y="10853"/>
                  <a:pt x="2227" y="10873"/>
                  <a:pt x="2172" y="10873"/>
                </a:cubicBezTo>
                <a:cubicBezTo>
                  <a:pt x="2117" y="10873"/>
                  <a:pt x="2061" y="10853"/>
                  <a:pt x="2013" y="10811"/>
                </a:cubicBezTo>
                <a:lnTo>
                  <a:pt x="453" y="9227"/>
                </a:lnTo>
                <a:cubicBezTo>
                  <a:pt x="358" y="9144"/>
                  <a:pt x="358" y="9001"/>
                  <a:pt x="453" y="8918"/>
                </a:cubicBezTo>
                <a:lnTo>
                  <a:pt x="703" y="8656"/>
                </a:lnTo>
                <a:lnTo>
                  <a:pt x="1096" y="9049"/>
                </a:lnTo>
                <a:cubicBezTo>
                  <a:pt x="1126" y="9079"/>
                  <a:pt x="1165" y="9093"/>
                  <a:pt x="1206" y="9093"/>
                </a:cubicBezTo>
                <a:cubicBezTo>
                  <a:pt x="1248" y="9093"/>
                  <a:pt x="1293" y="9079"/>
                  <a:pt x="1334" y="9049"/>
                </a:cubicBezTo>
                <a:cubicBezTo>
                  <a:pt x="1394" y="8989"/>
                  <a:pt x="1394" y="8882"/>
                  <a:pt x="1334" y="8811"/>
                </a:cubicBezTo>
                <a:lnTo>
                  <a:pt x="942" y="8418"/>
                </a:lnTo>
                <a:lnTo>
                  <a:pt x="1477" y="7882"/>
                </a:lnTo>
                <a:lnTo>
                  <a:pt x="1870" y="8275"/>
                </a:lnTo>
                <a:cubicBezTo>
                  <a:pt x="1900" y="8305"/>
                  <a:pt x="1939" y="8319"/>
                  <a:pt x="1980" y="8319"/>
                </a:cubicBezTo>
                <a:cubicBezTo>
                  <a:pt x="2022" y="8319"/>
                  <a:pt x="2067" y="8305"/>
                  <a:pt x="2108" y="8275"/>
                </a:cubicBezTo>
                <a:cubicBezTo>
                  <a:pt x="2168" y="8215"/>
                  <a:pt x="2168" y="8108"/>
                  <a:pt x="2108" y="8037"/>
                </a:cubicBezTo>
                <a:lnTo>
                  <a:pt x="1715" y="7644"/>
                </a:lnTo>
                <a:lnTo>
                  <a:pt x="2251" y="7108"/>
                </a:lnTo>
                <a:lnTo>
                  <a:pt x="2858" y="7727"/>
                </a:lnTo>
                <a:cubicBezTo>
                  <a:pt x="2888" y="7757"/>
                  <a:pt x="2930" y="7772"/>
                  <a:pt x="2973" y="7772"/>
                </a:cubicBezTo>
                <a:cubicBezTo>
                  <a:pt x="3016" y="7772"/>
                  <a:pt x="3061" y="7757"/>
                  <a:pt x="3097" y="7727"/>
                </a:cubicBezTo>
                <a:cubicBezTo>
                  <a:pt x="3156" y="7668"/>
                  <a:pt x="3156" y="7560"/>
                  <a:pt x="3097" y="7489"/>
                </a:cubicBezTo>
                <a:lnTo>
                  <a:pt x="2489" y="6870"/>
                </a:lnTo>
                <a:lnTo>
                  <a:pt x="3025" y="6334"/>
                </a:lnTo>
                <a:lnTo>
                  <a:pt x="3418" y="6727"/>
                </a:lnTo>
                <a:cubicBezTo>
                  <a:pt x="3448" y="6757"/>
                  <a:pt x="3487" y="6772"/>
                  <a:pt x="3528" y="6772"/>
                </a:cubicBezTo>
                <a:cubicBezTo>
                  <a:pt x="3570" y="6772"/>
                  <a:pt x="3614" y="6757"/>
                  <a:pt x="3656" y="6727"/>
                </a:cubicBezTo>
                <a:cubicBezTo>
                  <a:pt x="3716" y="6668"/>
                  <a:pt x="3716" y="6560"/>
                  <a:pt x="3656" y="6489"/>
                </a:cubicBezTo>
                <a:lnTo>
                  <a:pt x="3263" y="6096"/>
                </a:lnTo>
                <a:lnTo>
                  <a:pt x="3799" y="5560"/>
                </a:lnTo>
                <a:lnTo>
                  <a:pt x="4192" y="5953"/>
                </a:lnTo>
                <a:cubicBezTo>
                  <a:pt x="4222" y="5983"/>
                  <a:pt x="4260" y="5998"/>
                  <a:pt x="4302" y="5998"/>
                </a:cubicBezTo>
                <a:cubicBezTo>
                  <a:pt x="4344" y="5998"/>
                  <a:pt x="4388" y="5983"/>
                  <a:pt x="4430" y="5953"/>
                </a:cubicBezTo>
                <a:cubicBezTo>
                  <a:pt x="4490" y="5894"/>
                  <a:pt x="4490" y="5786"/>
                  <a:pt x="4430" y="5715"/>
                </a:cubicBezTo>
                <a:lnTo>
                  <a:pt x="4037" y="5322"/>
                </a:lnTo>
                <a:lnTo>
                  <a:pt x="4573" y="4786"/>
                </a:lnTo>
                <a:lnTo>
                  <a:pt x="4966" y="5179"/>
                </a:lnTo>
                <a:cubicBezTo>
                  <a:pt x="4996" y="5209"/>
                  <a:pt x="5034" y="5224"/>
                  <a:pt x="5076" y="5224"/>
                </a:cubicBezTo>
                <a:cubicBezTo>
                  <a:pt x="5118" y="5224"/>
                  <a:pt x="5162" y="5209"/>
                  <a:pt x="5204" y="5179"/>
                </a:cubicBezTo>
                <a:cubicBezTo>
                  <a:pt x="5264" y="5120"/>
                  <a:pt x="5264" y="5013"/>
                  <a:pt x="5204" y="4941"/>
                </a:cubicBezTo>
                <a:lnTo>
                  <a:pt x="4811" y="4548"/>
                </a:lnTo>
                <a:lnTo>
                  <a:pt x="5347" y="4012"/>
                </a:lnTo>
                <a:lnTo>
                  <a:pt x="5954" y="4632"/>
                </a:lnTo>
                <a:cubicBezTo>
                  <a:pt x="5984" y="4661"/>
                  <a:pt x="6026" y="4676"/>
                  <a:pt x="6069" y="4676"/>
                </a:cubicBezTo>
                <a:cubicBezTo>
                  <a:pt x="6112" y="4676"/>
                  <a:pt x="6156" y="4661"/>
                  <a:pt x="6192" y="4632"/>
                </a:cubicBezTo>
                <a:cubicBezTo>
                  <a:pt x="6252" y="4572"/>
                  <a:pt x="6252" y="4465"/>
                  <a:pt x="6192" y="4393"/>
                </a:cubicBezTo>
                <a:lnTo>
                  <a:pt x="5585" y="3774"/>
                </a:lnTo>
                <a:lnTo>
                  <a:pt x="6121" y="3239"/>
                </a:lnTo>
                <a:lnTo>
                  <a:pt x="6514" y="3631"/>
                </a:lnTo>
                <a:cubicBezTo>
                  <a:pt x="6543" y="3661"/>
                  <a:pt x="6582" y="3676"/>
                  <a:pt x="6624" y="3676"/>
                </a:cubicBezTo>
                <a:cubicBezTo>
                  <a:pt x="6665" y="3676"/>
                  <a:pt x="6710" y="3661"/>
                  <a:pt x="6752" y="3631"/>
                </a:cubicBezTo>
                <a:cubicBezTo>
                  <a:pt x="6811" y="3572"/>
                  <a:pt x="6811" y="3465"/>
                  <a:pt x="6752" y="3393"/>
                </a:cubicBezTo>
                <a:lnTo>
                  <a:pt x="6359" y="3000"/>
                </a:lnTo>
                <a:lnTo>
                  <a:pt x="6895" y="2465"/>
                </a:lnTo>
                <a:lnTo>
                  <a:pt x="7288" y="2858"/>
                </a:lnTo>
                <a:cubicBezTo>
                  <a:pt x="7317" y="2887"/>
                  <a:pt x="7356" y="2902"/>
                  <a:pt x="7398" y="2902"/>
                </a:cubicBezTo>
                <a:cubicBezTo>
                  <a:pt x="7439" y="2902"/>
                  <a:pt x="7484" y="2887"/>
                  <a:pt x="7526" y="2858"/>
                </a:cubicBezTo>
                <a:cubicBezTo>
                  <a:pt x="7585" y="2798"/>
                  <a:pt x="7585" y="2691"/>
                  <a:pt x="7526" y="2619"/>
                </a:cubicBezTo>
                <a:lnTo>
                  <a:pt x="7133" y="2226"/>
                </a:lnTo>
                <a:lnTo>
                  <a:pt x="7669" y="1691"/>
                </a:lnTo>
                <a:lnTo>
                  <a:pt x="8061" y="2084"/>
                </a:lnTo>
                <a:cubicBezTo>
                  <a:pt x="8091" y="2113"/>
                  <a:pt x="8130" y="2128"/>
                  <a:pt x="8172" y="2128"/>
                </a:cubicBezTo>
                <a:cubicBezTo>
                  <a:pt x="8213" y="2128"/>
                  <a:pt x="8258" y="2113"/>
                  <a:pt x="8300" y="2084"/>
                </a:cubicBezTo>
                <a:cubicBezTo>
                  <a:pt x="8359" y="2024"/>
                  <a:pt x="8359" y="1917"/>
                  <a:pt x="8300" y="1845"/>
                </a:cubicBezTo>
                <a:lnTo>
                  <a:pt x="7907" y="1453"/>
                </a:lnTo>
                <a:lnTo>
                  <a:pt x="8442" y="917"/>
                </a:lnTo>
                <a:lnTo>
                  <a:pt x="9050" y="1536"/>
                </a:lnTo>
                <a:cubicBezTo>
                  <a:pt x="9079" y="1566"/>
                  <a:pt x="9121" y="1581"/>
                  <a:pt x="9164" y="1581"/>
                </a:cubicBezTo>
                <a:cubicBezTo>
                  <a:pt x="9207" y="1581"/>
                  <a:pt x="9252" y="1566"/>
                  <a:pt x="9288" y="1536"/>
                </a:cubicBezTo>
                <a:cubicBezTo>
                  <a:pt x="9371" y="1476"/>
                  <a:pt x="9347" y="1369"/>
                  <a:pt x="9288" y="1298"/>
                </a:cubicBezTo>
                <a:lnTo>
                  <a:pt x="8681" y="679"/>
                </a:lnTo>
                <a:lnTo>
                  <a:pt x="8966" y="405"/>
                </a:lnTo>
                <a:cubicBezTo>
                  <a:pt x="9008" y="357"/>
                  <a:pt x="9065" y="333"/>
                  <a:pt x="9121" y="333"/>
                </a:cubicBezTo>
                <a:cubicBezTo>
                  <a:pt x="9178" y="333"/>
                  <a:pt x="9234" y="357"/>
                  <a:pt x="9276" y="405"/>
                </a:cubicBezTo>
                <a:lnTo>
                  <a:pt x="10859" y="1976"/>
                </a:lnTo>
                <a:cubicBezTo>
                  <a:pt x="10895" y="2024"/>
                  <a:pt x="10919" y="2072"/>
                  <a:pt x="10919" y="2131"/>
                </a:cubicBezTo>
                <a:cubicBezTo>
                  <a:pt x="10919" y="2191"/>
                  <a:pt x="10883" y="2250"/>
                  <a:pt x="10859" y="2274"/>
                </a:cubicBezTo>
                <a:lnTo>
                  <a:pt x="9705" y="3417"/>
                </a:lnTo>
                <a:cubicBezTo>
                  <a:pt x="9645" y="3477"/>
                  <a:pt x="9645" y="3584"/>
                  <a:pt x="9705" y="3655"/>
                </a:cubicBezTo>
                <a:cubicBezTo>
                  <a:pt x="9734" y="3685"/>
                  <a:pt x="9776" y="3700"/>
                  <a:pt x="9819" y="3700"/>
                </a:cubicBezTo>
                <a:cubicBezTo>
                  <a:pt x="9862" y="3700"/>
                  <a:pt x="9907" y="3685"/>
                  <a:pt x="9943" y="3655"/>
                </a:cubicBezTo>
                <a:lnTo>
                  <a:pt x="11098" y="2512"/>
                </a:lnTo>
                <a:cubicBezTo>
                  <a:pt x="11193" y="2405"/>
                  <a:pt x="11252" y="2274"/>
                  <a:pt x="11252" y="2131"/>
                </a:cubicBezTo>
                <a:cubicBezTo>
                  <a:pt x="11252" y="1976"/>
                  <a:pt x="11193" y="1845"/>
                  <a:pt x="11098" y="1738"/>
                </a:cubicBezTo>
                <a:lnTo>
                  <a:pt x="9514" y="167"/>
                </a:lnTo>
                <a:cubicBezTo>
                  <a:pt x="9407" y="60"/>
                  <a:pt x="9264" y="0"/>
                  <a:pt x="913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32" name="Google Shape;10432;p59"/>
          <p:cNvSpPr/>
          <p:nvPr/>
        </p:nvSpPr>
        <p:spPr>
          <a:xfrm>
            <a:off x="3499727" y="2442228"/>
            <a:ext cx="380444" cy="310077"/>
          </a:xfrm>
          <a:custGeom>
            <a:avLst/>
            <a:gdLst/>
            <a:ahLst/>
            <a:cxnLst/>
            <a:rect l="l" t="t" r="r" b="b"/>
            <a:pathLst>
              <a:path w="11943" h="9734" extrusionOk="0">
                <a:moveTo>
                  <a:pt x="11585" y="2638"/>
                </a:moveTo>
                <a:lnTo>
                  <a:pt x="11585" y="3066"/>
                </a:lnTo>
                <a:lnTo>
                  <a:pt x="9121" y="4007"/>
                </a:lnTo>
                <a:lnTo>
                  <a:pt x="9121" y="3566"/>
                </a:lnTo>
                <a:lnTo>
                  <a:pt x="11585" y="2638"/>
                </a:lnTo>
                <a:close/>
                <a:moveTo>
                  <a:pt x="370" y="2638"/>
                </a:moveTo>
                <a:lnTo>
                  <a:pt x="5787" y="4697"/>
                </a:lnTo>
                <a:lnTo>
                  <a:pt x="5787" y="5138"/>
                </a:lnTo>
                <a:lnTo>
                  <a:pt x="370" y="3066"/>
                </a:lnTo>
                <a:lnTo>
                  <a:pt x="370" y="2638"/>
                </a:lnTo>
                <a:close/>
                <a:moveTo>
                  <a:pt x="8764" y="3709"/>
                </a:moveTo>
                <a:lnTo>
                  <a:pt x="8764" y="4138"/>
                </a:lnTo>
                <a:lnTo>
                  <a:pt x="6144" y="5138"/>
                </a:lnTo>
                <a:lnTo>
                  <a:pt x="6144" y="4697"/>
                </a:lnTo>
                <a:lnTo>
                  <a:pt x="8764" y="3709"/>
                </a:lnTo>
                <a:close/>
                <a:moveTo>
                  <a:pt x="9657" y="4162"/>
                </a:moveTo>
                <a:lnTo>
                  <a:pt x="9657" y="6745"/>
                </a:lnTo>
                <a:cubicBezTo>
                  <a:pt x="9478" y="6876"/>
                  <a:pt x="9299" y="6995"/>
                  <a:pt x="9121" y="7114"/>
                </a:cubicBezTo>
                <a:lnTo>
                  <a:pt x="9121" y="4376"/>
                </a:lnTo>
                <a:lnTo>
                  <a:pt x="9657" y="4162"/>
                </a:lnTo>
                <a:close/>
                <a:moveTo>
                  <a:pt x="8961" y="8757"/>
                </a:moveTo>
                <a:cubicBezTo>
                  <a:pt x="9131" y="8757"/>
                  <a:pt x="9264" y="8907"/>
                  <a:pt x="9264" y="9079"/>
                </a:cubicBezTo>
                <a:cubicBezTo>
                  <a:pt x="9264" y="9258"/>
                  <a:pt x="9109" y="9389"/>
                  <a:pt x="8942" y="9389"/>
                </a:cubicBezTo>
                <a:cubicBezTo>
                  <a:pt x="8764" y="9389"/>
                  <a:pt x="8633" y="9246"/>
                  <a:pt x="8633" y="9079"/>
                </a:cubicBezTo>
                <a:cubicBezTo>
                  <a:pt x="8633" y="8900"/>
                  <a:pt x="8787" y="8757"/>
                  <a:pt x="8942" y="8757"/>
                </a:cubicBezTo>
                <a:cubicBezTo>
                  <a:pt x="8949" y="8757"/>
                  <a:pt x="8955" y="8757"/>
                  <a:pt x="8961" y="8757"/>
                </a:cubicBezTo>
                <a:close/>
                <a:moveTo>
                  <a:pt x="5949" y="0"/>
                </a:moveTo>
                <a:cubicBezTo>
                  <a:pt x="5930" y="0"/>
                  <a:pt x="5912" y="6"/>
                  <a:pt x="5894" y="18"/>
                </a:cubicBezTo>
                <a:lnTo>
                  <a:pt x="120" y="2221"/>
                </a:lnTo>
                <a:cubicBezTo>
                  <a:pt x="48" y="2245"/>
                  <a:pt x="1" y="2304"/>
                  <a:pt x="1" y="2376"/>
                </a:cubicBezTo>
                <a:lnTo>
                  <a:pt x="1" y="3185"/>
                </a:lnTo>
                <a:cubicBezTo>
                  <a:pt x="1" y="3257"/>
                  <a:pt x="48" y="3316"/>
                  <a:pt x="120" y="3352"/>
                </a:cubicBezTo>
                <a:lnTo>
                  <a:pt x="1917" y="4031"/>
                </a:lnTo>
                <a:lnTo>
                  <a:pt x="1917" y="4638"/>
                </a:lnTo>
                <a:cubicBezTo>
                  <a:pt x="1917" y="4745"/>
                  <a:pt x="2001" y="4817"/>
                  <a:pt x="2096" y="4817"/>
                </a:cubicBezTo>
                <a:cubicBezTo>
                  <a:pt x="2203" y="4817"/>
                  <a:pt x="2275" y="4745"/>
                  <a:pt x="2275" y="4638"/>
                </a:cubicBezTo>
                <a:lnTo>
                  <a:pt x="2275" y="4186"/>
                </a:lnTo>
                <a:lnTo>
                  <a:pt x="5894" y="5567"/>
                </a:lnTo>
                <a:cubicBezTo>
                  <a:pt x="5906" y="5579"/>
                  <a:pt x="5942" y="5579"/>
                  <a:pt x="5954" y="5579"/>
                </a:cubicBezTo>
                <a:cubicBezTo>
                  <a:pt x="5966" y="5579"/>
                  <a:pt x="6001" y="5579"/>
                  <a:pt x="6013" y="5567"/>
                </a:cubicBezTo>
                <a:lnTo>
                  <a:pt x="8740" y="4519"/>
                </a:lnTo>
                <a:lnTo>
                  <a:pt x="8740" y="7317"/>
                </a:lnTo>
                <a:cubicBezTo>
                  <a:pt x="7871" y="7769"/>
                  <a:pt x="6918" y="8007"/>
                  <a:pt x="5942" y="8007"/>
                </a:cubicBezTo>
                <a:cubicBezTo>
                  <a:pt x="4620" y="8007"/>
                  <a:pt x="3310" y="7555"/>
                  <a:pt x="2263" y="6745"/>
                </a:cubicBezTo>
                <a:lnTo>
                  <a:pt x="2263" y="5352"/>
                </a:lnTo>
                <a:cubicBezTo>
                  <a:pt x="2263" y="5257"/>
                  <a:pt x="2191" y="5174"/>
                  <a:pt x="2084" y="5174"/>
                </a:cubicBezTo>
                <a:cubicBezTo>
                  <a:pt x="1977" y="5174"/>
                  <a:pt x="1906" y="5257"/>
                  <a:pt x="1906" y="5352"/>
                </a:cubicBezTo>
                <a:lnTo>
                  <a:pt x="1906" y="6817"/>
                </a:lnTo>
                <a:cubicBezTo>
                  <a:pt x="1906" y="6876"/>
                  <a:pt x="1941" y="6924"/>
                  <a:pt x="1965" y="6948"/>
                </a:cubicBezTo>
                <a:cubicBezTo>
                  <a:pt x="3084" y="7841"/>
                  <a:pt x="4501" y="8353"/>
                  <a:pt x="5942" y="8353"/>
                </a:cubicBezTo>
                <a:cubicBezTo>
                  <a:pt x="6906" y="8353"/>
                  <a:pt x="7859" y="8126"/>
                  <a:pt x="8740" y="7698"/>
                </a:cubicBezTo>
                <a:lnTo>
                  <a:pt x="8740" y="8412"/>
                </a:lnTo>
                <a:cubicBezTo>
                  <a:pt x="8454" y="8484"/>
                  <a:pt x="8252" y="8746"/>
                  <a:pt x="8252" y="9067"/>
                </a:cubicBezTo>
                <a:cubicBezTo>
                  <a:pt x="8252" y="9436"/>
                  <a:pt x="8549" y="9734"/>
                  <a:pt x="8918" y="9734"/>
                </a:cubicBezTo>
                <a:cubicBezTo>
                  <a:pt x="9287" y="9734"/>
                  <a:pt x="9585" y="9436"/>
                  <a:pt x="9585" y="9067"/>
                </a:cubicBezTo>
                <a:cubicBezTo>
                  <a:pt x="9585" y="8746"/>
                  <a:pt x="9383" y="8496"/>
                  <a:pt x="9097" y="8412"/>
                </a:cubicBezTo>
                <a:lnTo>
                  <a:pt x="9097" y="7495"/>
                </a:lnTo>
                <a:cubicBezTo>
                  <a:pt x="9383" y="7341"/>
                  <a:pt x="9657" y="7138"/>
                  <a:pt x="9918" y="6936"/>
                </a:cubicBezTo>
                <a:cubicBezTo>
                  <a:pt x="9954" y="6900"/>
                  <a:pt x="9978" y="6841"/>
                  <a:pt x="9978" y="6805"/>
                </a:cubicBezTo>
                <a:lnTo>
                  <a:pt x="9978" y="4019"/>
                </a:lnTo>
                <a:lnTo>
                  <a:pt x="11776" y="3328"/>
                </a:lnTo>
                <a:cubicBezTo>
                  <a:pt x="11847" y="3304"/>
                  <a:pt x="11895" y="3245"/>
                  <a:pt x="11895" y="3173"/>
                </a:cubicBezTo>
                <a:lnTo>
                  <a:pt x="11895" y="2364"/>
                </a:lnTo>
                <a:cubicBezTo>
                  <a:pt x="11943" y="2304"/>
                  <a:pt x="11895" y="2245"/>
                  <a:pt x="11823" y="2221"/>
                </a:cubicBezTo>
                <a:lnTo>
                  <a:pt x="8049" y="792"/>
                </a:lnTo>
                <a:cubicBezTo>
                  <a:pt x="8030" y="784"/>
                  <a:pt x="8010" y="780"/>
                  <a:pt x="7989" y="780"/>
                </a:cubicBezTo>
                <a:cubicBezTo>
                  <a:pt x="7921" y="780"/>
                  <a:pt x="7853" y="823"/>
                  <a:pt x="7835" y="887"/>
                </a:cubicBezTo>
                <a:cubicBezTo>
                  <a:pt x="7799" y="983"/>
                  <a:pt x="7847" y="1090"/>
                  <a:pt x="7930" y="1114"/>
                </a:cubicBezTo>
                <a:lnTo>
                  <a:pt x="11264" y="2376"/>
                </a:lnTo>
                <a:lnTo>
                  <a:pt x="8966" y="3257"/>
                </a:lnTo>
                <a:lnTo>
                  <a:pt x="6061" y="1947"/>
                </a:lnTo>
                <a:cubicBezTo>
                  <a:pt x="6035" y="1934"/>
                  <a:pt x="6010" y="1928"/>
                  <a:pt x="5985" y="1928"/>
                </a:cubicBezTo>
                <a:cubicBezTo>
                  <a:pt x="5918" y="1928"/>
                  <a:pt x="5858" y="1973"/>
                  <a:pt x="5823" y="2042"/>
                </a:cubicBezTo>
                <a:cubicBezTo>
                  <a:pt x="5775" y="2126"/>
                  <a:pt x="5823" y="2233"/>
                  <a:pt x="5906" y="2281"/>
                </a:cubicBezTo>
                <a:lnTo>
                  <a:pt x="8490" y="3435"/>
                </a:lnTo>
                <a:lnTo>
                  <a:pt x="5966" y="4388"/>
                </a:lnTo>
                <a:lnTo>
                  <a:pt x="691" y="2376"/>
                </a:lnTo>
                <a:lnTo>
                  <a:pt x="5966" y="376"/>
                </a:lnTo>
                <a:lnTo>
                  <a:pt x="7263" y="864"/>
                </a:lnTo>
                <a:cubicBezTo>
                  <a:pt x="7282" y="868"/>
                  <a:pt x="7301" y="871"/>
                  <a:pt x="7320" y="871"/>
                </a:cubicBezTo>
                <a:cubicBezTo>
                  <a:pt x="7394" y="871"/>
                  <a:pt x="7461" y="833"/>
                  <a:pt x="7490" y="757"/>
                </a:cubicBezTo>
                <a:cubicBezTo>
                  <a:pt x="7513" y="673"/>
                  <a:pt x="7478" y="566"/>
                  <a:pt x="7382" y="530"/>
                </a:cubicBezTo>
                <a:lnTo>
                  <a:pt x="6013" y="18"/>
                </a:lnTo>
                <a:cubicBezTo>
                  <a:pt x="5989" y="6"/>
                  <a:pt x="5969" y="0"/>
                  <a:pt x="594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33" name="Google Shape;10433;p59"/>
          <p:cNvGrpSpPr/>
          <p:nvPr/>
        </p:nvGrpSpPr>
        <p:grpSpPr>
          <a:xfrm>
            <a:off x="3044965" y="2435220"/>
            <a:ext cx="400194" cy="324316"/>
            <a:chOff x="3044965" y="2435220"/>
            <a:chExt cx="400194" cy="324316"/>
          </a:xfrm>
        </p:grpSpPr>
        <p:sp>
          <p:nvSpPr>
            <p:cNvPr id="10434" name="Google Shape;10434;p59"/>
            <p:cNvSpPr/>
            <p:nvPr/>
          </p:nvSpPr>
          <p:spPr>
            <a:xfrm>
              <a:off x="3105649" y="2649413"/>
              <a:ext cx="68329" cy="66864"/>
            </a:xfrm>
            <a:custGeom>
              <a:avLst/>
              <a:gdLst/>
              <a:ahLst/>
              <a:cxnLst/>
              <a:rect l="l" t="t" r="r" b="b"/>
              <a:pathLst>
                <a:path w="2145" h="2099" extrusionOk="0">
                  <a:moveTo>
                    <a:pt x="1924" y="0"/>
                  </a:moveTo>
                  <a:cubicBezTo>
                    <a:pt x="1867" y="0"/>
                    <a:pt x="1811" y="21"/>
                    <a:pt x="1775" y="63"/>
                  </a:cubicBezTo>
                  <a:lnTo>
                    <a:pt x="84" y="1753"/>
                  </a:lnTo>
                  <a:cubicBezTo>
                    <a:pt x="1" y="1825"/>
                    <a:pt x="1" y="1956"/>
                    <a:pt x="84" y="2039"/>
                  </a:cubicBezTo>
                  <a:cubicBezTo>
                    <a:pt x="120" y="2087"/>
                    <a:pt x="168" y="2099"/>
                    <a:pt x="227" y="2099"/>
                  </a:cubicBezTo>
                  <a:cubicBezTo>
                    <a:pt x="275" y="2099"/>
                    <a:pt x="334" y="2075"/>
                    <a:pt x="382" y="2039"/>
                  </a:cubicBezTo>
                  <a:lnTo>
                    <a:pt x="2073" y="337"/>
                  </a:lnTo>
                  <a:cubicBezTo>
                    <a:pt x="2144" y="265"/>
                    <a:pt x="2144" y="134"/>
                    <a:pt x="2073" y="63"/>
                  </a:cubicBezTo>
                  <a:cubicBezTo>
                    <a:pt x="2037" y="21"/>
                    <a:pt x="1980" y="0"/>
                    <a:pt x="19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5" name="Google Shape;10435;p59"/>
            <p:cNvSpPr/>
            <p:nvPr/>
          </p:nvSpPr>
          <p:spPr>
            <a:xfrm>
              <a:off x="3297193" y="2649413"/>
              <a:ext cx="68297" cy="66864"/>
            </a:xfrm>
            <a:custGeom>
              <a:avLst/>
              <a:gdLst/>
              <a:ahLst/>
              <a:cxnLst/>
              <a:rect l="l" t="t" r="r" b="b"/>
              <a:pathLst>
                <a:path w="2144" h="2099" extrusionOk="0">
                  <a:moveTo>
                    <a:pt x="1919" y="0"/>
                  </a:moveTo>
                  <a:cubicBezTo>
                    <a:pt x="1864" y="0"/>
                    <a:pt x="1810" y="21"/>
                    <a:pt x="1775" y="63"/>
                  </a:cubicBezTo>
                  <a:lnTo>
                    <a:pt x="84" y="1753"/>
                  </a:lnTo>
                  <a:cubicBezTo>
                    <a:pt x="1" y="1825"/>
                    <a:pt x="1" y="1956"/>
                    <a:pt x="84" y="2039"/>
                  </a:cubicBezTo>
                  <a:cubicBezTo>
                    <a:pt x="120" y="2087"/>
                    <a:pt x="167" y="2099"/>
                    <a:pt x="227" y="2099"/>
                  </a:cubicBezTo>
                  <a:cubicBezTo>
                    <a:pt x="286" y="2099"/>
                    <a:pt x="334" y="2075"/>
                    <a:pt x="382" y="2039"/>
                  </a:cubicBezTo>
                  <a:lnTo>
                    <a:pt x="2072" y="337"/>
                  </a:lnTo>
                  <a:cubicBezTo>
                    <a:pt x="2144" y="265"/>
                    <a:pt x="2144" y="134"/>
                    <a:pt x="2072" y="63"/>
                  </a:cubicBezTo>
                  <a:cubicBezTo>
                    <a:pt x="2031" y="21"/>
                    <a:pt x="1974" y="0"/>
                    <a:pt x="19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6" name="Google Shape;10436;p59"/>
            <p:cNvSpPr/>
            <p:nvPr/>
          </p:nvSpPr>
          <p:spPr>
            <a:xfrm>
              <a:off x="3044965" y="2435220"/>
              <a:ext cx="400194" cy="324316"/>
            </a:xfrm>
            <a:custGeom>
              <a:avLst/>
              <a:gdLst/>
              <a:ahLst/>
              <a:cxnLst/>
              <a:rect l="l" t="t" r="r" b="b"/>
              <a:pathLst>
                <a:path w="12563" h="10181" extrusionOk="0">
                  <a:moveTo>
                    <a:pt x="822" y="7358"/>
                  </a:moveTo>
                  <a:cubicBezTo>
                    <a:pt x="787" y="7465"/>
                    <a:pt x="787" y="7573"/>
                    <a:pt x="787" y="7680"/>
                  </a:cubicBezTo>
                  <a:cubicBezTo>
                    <a:pt x="787" y="7751"/>
                    <a:pt x="787" y="7823"/>
                    <a:pt x="811" y="7918"/>
                  </a:cubicBezTo>
                  <a:lnTo>
                    <a:pt x="632" y="7918"/>
                  </a:lnTo>
                  <a:cubicBezTo>
                    <a:pt x="525" y="7918"/>
                    <a:pt x="418" y="7823"/>
                    <a:pt x="418" y="7704"/>
                  </a:cubicBezTo>
                  <a:lnTo>
                    <a:pt x="418" y="7573"/>
                  </a:lnTo>
                  <a:cubicBezTo>
                    <a:pt x="418" y="7465"/>
                    <a:pt x="513" y="7358"/>
                    <a:pt x="632" y="7358"/>
                  </a:cubicBezTo>
                  <a:close/>
                  <a:moveTo>
                    <a:pt x="11955" y="7358"/>
                  </a:moveTo>
                  <a:cubicBezTo>
                    <a:pt x="12062" y="7358"/>
                    <a:pt x="12157" y="7454"/>
                    <a:pt x="12157" y="7573"/>
                  </a:cubicBezTo>
                  <a:lnTo>
                    <a:pt x="12169" y="7704"/>
                  </a:lnTo>
                  <a:cubicBezTo>
                    <a:pt x="12169" y="7811"/>
                    <a:pt x="12074" y="7918"/>
                    <a:pt x="11955" y="7918"/>
                  </a:cubicBezTo>
                  <a:lnTo>
                    <a:pt x="11776" y="7918"/>
                  </a:lnTo>
                  <a:cubicBezTo>
                    <a:pt x="11776" y="7835"/>
                    <a:pt x="11788" y="7763"/>
                    <a:pt x="11788" y="7668"/>
                  </a:cubicBezTo>
                  <a:cubicBezTo>
                    <a:pt x="11788" y="7573"/>
                    <a:pt x="11776" y="7465"/>
                    <a:pt x="11764" y="7358"/>
                  </a:cubicBezTo>
                  <a:close/>
                  <a:moveTo>
                    <a:pt x="3299" y="6263"/>
                  </a:moveTo>
                  <a:cubicBezTo>
                    <a:pt x="3918" y="6263"/>
                    <a:pt x="4466" y="6441"/>
                    <a:pt x="4859" y="6739"/>
                  </a:cubicBezTo>
                  <a:lnTo>
                    <a:pt x="4442" y="7156"/>
                  </a:lnTo>
                  <a:cubicBezTo>
                    <a:pt x="4371" y="7227"/>
                    <a:pt x="4371" y="7358"/>
                    <a:pt x="4442" y="7442"/>
                  </a:cubicBezTo>
                  <a:cubicBezTo>
                    <a:pt x="4490" y="7477"/>
                    <a:pt x="4525" y="7501"/>
                    <a:pt x="4585" y="7501"/>
                  </a:cubicBezTo>
                  <a:cubicBezTo>
                    <a:pt x="4644" y="7501"/>
                    <a:pt x="4692" y="7477"/>
                    <a:pt x="4740" y="7442"/>
                  </a:cubicBezTo>
                  <a:lnTo>
                    <a:pt x="5156" y="7025"/>
                  </a:lnTo>
                  <a:cubicBezTo>
                    <a:pt x="5299" y="7215"/>
                    <a:pt x="5394" y="7442"/>
                    <a:pt x="5394" y="7692"/>
                  </a:cubicBezTo>
                  <a:cubicBezTo>
                    <a:pt x="5383" y="8835"/>
                    <a:pt x="4442" y="9775"/>
                    <a:pt x="3275" y="9775"/>
                  </a:cubicBezTo>
                  <a:cubicBezTo>
                    <a:pt x="3013" y="9775"/>
                    <a:pt x="2763" y="9728"/>
                    <a:pt x="2525" y="9620"/>
                  </a:cubicBezTo>
                  <a:lnTo>
                    <a:pt x="4156" y="7989"/>
                  </a:lnTo>
                  <a:cubicBezTo>
                    <a:pt x="4228" y="7918"/>
                    <a:pt x="4228" y="7775"/>
                    <a:pt x="4156" y="7704"/>
                  </a:cubicBezTo>
                  <a:cubicBezTo>
                    <a:pt x="4121" y="7668"/>
                    <a:pt x="4070" y="7650"/>
                    <a:pt x="4018" y="7650"/>
                  </a:cubicBezTo>
                  <a:cubicBezTo>
                    <a:pt x="3966" y="7650"/>
                    <a:pt x="3912" y="7668"/>
                    <a:pt x="3870" y="7704"/>
                  </a:cubicBezTo>
                  <a:lnTo>
                    <a:pt x="2144" y="9430"/>
                  </a:lnTo>
                  <a:cubicBezTo>
                    <a:pt x="1573" y="9061"/>
                    <a:pt x="1192" y="8406"/>
                    <a:pt x="1192" y="7680"/>
                  </a:cubicBezTo>
                  <a:cubicBezTo>
                    <a:pt x="1192" y="6882"/>
                    <a:pt x="2132" y="6263"/>
                    <a:pt x="3299" y="6263"/>
                  </a:cubicBezTo>
                  <a:close/>
                  <a:moveTo>
                    <a:pt x="9324" y="6275"/>
                  </a:moveTo>
                  <a:cubicBezTo>
                    <a:pt x="9943" y="6275"/>
                    <a:pt x="10502" y="6453"/>
                    <a:pt x="10883" y="6751"/>
                  </a:cubicBezTo>
                  <a:lnTo>
                    <a:pt x="10467" y="7168"/>
                  </a:lnTo>
                  <a:cubicBezTo>
                    <a:pt x="10395" y="7239"/>
                    <a:pt x="10395" y="7370"/>
                    <a:pt x="10467" y="7454"/>
                  </a:cubicBezTo>
                  <a:cubicBezTo>
                    <a:pt x="10514" y="7489"/>
                    <a:pt x="10562" y="7513"/>
                    <a:pt x="10621" y="7513"/>
                  </a:cubicBezTo>
                  <a:cubicBezTo>
                    <a:pt x="10657" y="7513"/>
                    <a:pt x="10717" y="7489"/>
                    <a:pt x="10764" y="7454"/>
                  </a:cubicBezTo>
                  <a:lnTo>
                    <a:pt x="11181" y="7037"/>
                  </a:lnTo>
                  <a:cubicBezTo>
                    <a:pt x="11336" y="7227"/>
                    <a:pt x="11419" y="7454"/>
                    <a:pt x="11419" y="7704"/>
                  </a:cubicBezTo>
                  <a:cubicBezTo>
                    <a:pt x="11407" y="8835"/>
                    <a:pt x="10467" y="9775"/>
                    <a:pt x="9312" y="9775"/>
                  </a:cubicBezTo>
                  <a:cubicBezTo>
                    <a:pt x="9038" y="9775"/>
                    <a:pt x="8788" y="9728"/>
                    <a:pt x="8550" y="9620"/>
                  </a:cubicBezTo>
                  <a:lnTo>
                    <a:pt x="10181" y="7989"/>
                  </a:lnTo>
                  <a:cubicBezTo>
                    <a:pt x="10264" y="7918"/>
                    <a:pt x="10264" y="7775"/>
                    <a:pt x="10181" y="7704"/>
                  </a:cubicBezTo>
                  <a:cubicBezTo>
                    <a:pt x="10145" y="7668"/>
                    <a:pt x="10094" y="7650"/>
                    <a:pt x="10044" y="7650"/>
                  </a:cubicBezTo>
                  <a:cubicBezTo>
                    <a:pt x="9993" y="7650"/>
                    <a:pt x="9943" y="7668"/>
                    <a:pt x="9907" y="7704"/>
                  </a:cubicBezTo>
                  <a:lnTo>
                    <a:pt x="8181" y="9442"/>
                  </a:lnTo>
                  <a:cubicBezTo>
                    <a:pt x="7597" y="9073"/>
                    <a:pt x="7228" y="8418"/>
                    <a:pt x="7228" y="7692"/>
                  </a:cubicBezTo>
                  <a:cubicBezTo>
                    <a:pt x="7228" y="6894"/>
                    <a:pt x="8157" y="6275"/>
                    <a:pt x="9324" y="6275"/>
                  </a:cubicBezTo>
                  <a:close/>
                  <a:moveTo>
                    <a:pt x="2751" y="0"/>
                  </a:moveTo>
                  <a:cubicBezTo>
                    <a:pt x="2239" y="0"/>
                    <a:pt x="1787" y="345"/>
                    <a:pt x="1656" y="857"/>
                  </a:cubicBezTo>
                  <a:lnTo>
                    <a:pt x="13" y="7418"/>
                  </a:lnTo>
                  <a:cubicBezTo>
                    <a:pt x="1" y="7465"/>
                    <a:pt x="1" y="7513"/>
                    <a:pt x="1" y="7573"/>
                  </a:cubicBezTo>
                  <a:lnTo>
                    <a:pt x="1" y="7704"/>
                  </a:lnTo>
                  <a:cubicBezTo>
                    <a:pt x="1" y="8037"/>
                    <a:pt x="275" y="8311"/>
                    <a:pt x="608" y="8311"/>
                  </a:cubicBezTo>
                  <a:lnTo>
                    <a:pt x="846" y="8311"/>
                  </a:lnTo>
                  <a:cubicBezTo>
                    <a:pt x="1037" y="8989"/>
                    <a:pt x="1465" y="9537"/>
                    <a:pt x="2037" y="9859"/>
                  </a:cubicBezTo>
                  <a:cubicBezTo>
                    <a:pt x="2061" y="9859"/>
                    <a:pt x="2061" y="9882"/>
                    <a:pt x="2073" y="9882"/>
                  </a:cubicBezTo>
                  <a:cubicBezTo>
                    <a:pt x="2430" y="10073"/>
                    <a:pt x="2835" y="10180"/>
                    <a:pt x="3263" y="10180"/>
                  </a:cubicBezTo>
                  <a:cubicBezTo>
                    <a:pt x="4609" y="10180"/>
                    <a:pt x="5704" y="9108"/>
                    <a:pt x="5764" y="7763"/>
                  </a:cubicBezTo>
                  <a:cubicBezTo>
                    <a:pt x="5918" y="7656"/>
                    <a:pt x="6097" y="7596"/>
                    <a:pt x="6287" y="7596"/>
                  </a:cubicBezTo>
                  <a:cubicBezTo>
                    <a:pt x="6478" y="7596"/>
                    <a:pt x="6657" y="7656"/>
                    <a:pt x="6811" y="7763"/>
                  </a:cubicBezTo>
                  <a:cubicBezTo>
                    <a:pt x="6835" y="8656"/>
                    <a:pt x="7347" y="9430"/>
                    <a:pt x="8085" y="9847"/>
                  </a:cubicBezTo>
                  <a:cubicBezTo>
                    <a:pt x="8097" y="9847"/>
                    <a:pt x="8097" y="9859"/>
                    <a:pt x="8121" y="9859"/>
                  </a:cubicBezTo>
                  <a:cubicBezTo>
                    <a:pt x="8478" y="10061"/>
                    <a:pt x="8871" y="10156"/>
                    <a:pt x="9312" y="10156"/>
                  </a:cubicBezTo>
                  <a:cubicBezTo>
                    <a:pt x="10467" y="10156"/>
                    <a:pt x="11455" y="9370"/>
                    <a:pt x="11717" y="8299"/>
                  </a:cubicBezTo>
                  <a:lnTo>
                    <a:pt x="11955" y="8299"/>
                  </a:lnTo>
                  <a:cubicBezTo>
                    <a:pt x="12288" y="8299"/>
                    <a:pt x="12562" y="8037"/>
                    <a:pt x="12562" y="7692"/>
                  </a:cubicBezTo>
                  <a:lnTo>
                    <a:pt x="12562" y="7561"/>
                  </a:lnTo>
                  <a:cubicBezTo>
                    <a:pt x="12562" y="7525"/>
                    <a:pt x="12562" y="7465"/>
                    <a:pt x="12550" y="7418"/>
                  </a:cubicBezTo>
                  <a:lnTo>
                    <a:pt x="10919" y="857"/>
                  </a:lnTo>
                  <a:cubicBezTo>
                    <a:pt x="10800" y="357"/>
                    <a:pt x="10336" y="0"/>
                    <a:pt x="9812" y="0"/>
                  </a:cubicBezTo>
                  <a:cubicBezTo>
                    <a:pt x="9705" y="0"/>
                    <a:pt x="9621" y="84"/>
                    <a:pt x="9621" y="191"/>
                  </a:cubicBezTo>
                  <a:cubicBezTo>
                    <a:pt x="9621" y="298"/>
                    <a:pt x="9705" y="381"/>
                    <a:pt x="9812" y="381"/>
                  </a:cubicBezTo>
                  <a:cubicBezTo>
                    <a:pt x="10157" y="381"/>
                    <a:pt x="10443" y="607"/>
                    <a:pt x="10526" y="929"/>
                  </a:cubicBezTo>
                  <a:lnTo>
                    <a:pt x="12014" y="6942"/>
                  </a:lnTo>
                  <a:lnTo>
                    <a:pt x="11598" y="6942"/>
                  </a:lnTo>
                  <a:cubicBezTo>
                    <a:pt x="11467" y="6727"/>
                    <a:pt x="11288" y="6525"/>
                    <a:pt x="11038" y="6346"/>
                  </a:cubicBezTo>
                  <a:cubicBezTo>
                    <a:pt x="10574" y="6025"/>
                    <a:pt x="9943" y="5846"/>
                    <a:pt x="9288" y="5846"/>
                  </a:cubicBezTo>
                  <a:cubicBezTo>
                    <a:pt x="8633" y="5846"/>
                    <a:pt x="8026" y="6025"/>
                    <a:pt x="7550" y="6346"/>
                  </a:cubicBezTo>
                  <a:cubicBezTo>
                    <a:pt x="7180" y="6620"/>
                    <a:pt x="6918" y="6942"/>
                    <a:pt x="6835" y="7299"/>
                  </a:cubicBezTo>
                  <a:cubicBezTo>
                    <a:pt x="6668" y="7215"/>
                    <a:pt x="6478" y="7168"/>
                    <a:pt x="6287" y="7168"/>
                  </a:cubicBezTo>
                  <a:cubicBezTo>
                    <a:pt x="6097" y="7168"/>
                    <a:pt x="5895" y="7215"/>
                    <a:pt x="5728" y="7299"/>
                  </a:cubicBezTo>
                  <a:cubicBezTo>
                    <a:pt x="5645" y="6942"/>
                    <a:pt x="5394" y="6596"/>
                    <a:pt x="5025" y="6346"/>
                  </a:cubicBezTo>
                  <a:cubicBezTo>
                    <a:pt x="4561" y="6025"/>
                    <a:pt x="3930" y="5846"/>
                    <a:pt x="3275" y="5846"/>
                  </a:cubicBezTo>
                  <a:cubicBezTo>
                    <a:pt x="2620" y="5846"/>
                    <a:pt x="2013" y="6025"/>
                    <a:pt x="1537" y="6346"/>
                  </a:cubicBezTo>
                  <a:cubicBezTo>
                    <a:pt x="1299" y="6525"/>
                    <a:pt x="1108" y="6727"/>
                    <a:pt x="965" y="6942"/>
                  </a:cubicBezTo>
                  <a:lnTo>
                    <a:pt x="549" y="6942"/>
                  </a:lnTo>
                  <a:lnTo>
                    <a:pt x="2037" y="929"/>
                  </a:lnTo>
                  <a:cubicBezTo>
                    <a:pt x="2120" y="607"/>
                    <a:pt x="2418" y="381"/>
                    <a:pt x="2751" y="381"/>
                  </a:cubicBezTo>
                  <a:cubicBezTo>
                    <a:pt x="2858" y="381"/>
                    <a:pt x="2954" y="298"/>
                    <a:pt x="2954" y="191"/>
                  </a:cubicBezTo>
                  <a:cubicBezTo>
                    <a:pt x="2954" y="84"/>
                    <a:pt x="2858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37" name="Google Shape;10437;p59"/>
          <p:cNvGrpSpPr/>
          <p:nvPr/>
        </p:nvGrpSpPr>
        <p:grpSpPr>
          <a:xfrm>
            <a:off x="4878379" y="2473892"/>
            <a:ext cx="367161" cy="287523"/>
            <a:chOff x="4878379" y="2473892"/>
            <a:chExt cx="367161" cy="287523"/>
          </a:xfrm>
        </p:grpSpPr>
        <p:sp>
          <p:nvSpPr>
            <p:cNvPr id="10438" name="Google Shape;10438;p59"/>
            <p:cNvSpPr/>
            <p:nvPr/>
          </p:nvSpPr>
          <p:spPr>
            <a:xfrm>
              <a:off x="5110889" y="2554676"/>
              <a:ext cx="75496" cy="71355"/>
            </a:xfrm>
            <a:custGeom>
              <a:avLst/>
              <a:gdLst/>
              <a:ahLst/>
              <a:cxnLst/>
              <a:rect l="l" t="t" r="r" b="b"/>
              <a:pathLst>
                <a:path w="2370" h="2240" extrusionOk="0">
                  <a:moveTo>
                    <a:pt x="1250" y="322"/>
                  </a:moveTo>
                  <a:lnTo>
                    <a:pt x="2048" y="1263"/>
                  </a:lnTo>
                  <a:lnTo>
                    <a:pt x="2048" y="1918"/>
                  </a:lnTo>
                  <a:lnTo>
                    <a:pt x="322" y="1918"/>
                  </a:lnTo>
                  <a:lnTo>
                    <a:pt x="322" y="322"/>
                  </a:lnTo>
                  <a:close/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2084"/>
                  </a:lnTo>
                  <a:cubicBezTo>
                    <a:pt x="0" y="2168"/>
                    <a:pt x="72" y="2239"/>
                    <a:pt x="155" y="2239"/>
                  </a:cubicBezTo>
                  <a:lnTo>
                    <a:pt x="2215" y="2239"/>
                  </a:lnTo>
                  <a:cubicBezTo>
                    <a:pt x="2298" y="2239"/>
                    <a:pt x="2370" y="2168"/>
                    <a:pt x="2370" y="2084"/>
                  </a:cubicBezTo>
                  <a:lnTo>
                    <a:pt x="2370" y="1191"/>
                  </a:lnTo>
                  <a:cubicBezTo>
                    <a:pt x="2370" y="1084"/>
                    <a:pt x="2358" y="1132"/>
                    <a:pt x="1441" y="36"/>
                  </a:cubicBezTo>
                  <a:cubicBezTo>
                    <a:pt x="1429" y="13"/>
                    <a:pt x="1381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9" name="Google Shape;10439;p59"/>
            <p:cNvSpPr/>
            <p:nvPr/>
          </p:nvSpPr>
          <p:spPr>
            <a:xfrm>
              <a:off x="4958049" y="2691972"/>
              <a:ext cx="45521" cy="45553"/>
            </a:xfrm>
            <a:custGeom>
              <a:avLst/>
              <a:gdLst/>
              <a:ahLst/>
              <a:cxnLst/>
              <a:rect l="l" t="t" r="r" b="b"/>
              <a:pathLst>
                <a:path w="1429" h="1430" extrusionOk="0">
                  <a:moveTo>
                    <a:pt x="714" y="358"/>
                  </a:moveTo>
                  <a:cubicBezTo>
                    <a:pt x="929" y="358"/>
                    <a:pt x="1084" y="525"/>
                    <a:pt x="1084" y="727"/>
                  </a:cubicBezTo>
                  <a:cubicBezTo>
                    <a:pt x="1084" y="941"/>
                    <a:pt x="929" y="1108"/>
                    <a:pt x="714" y="1108"/>
                  </a:cubicBezTo>
                  <a:cubicBezTo>
                    <a:pt x="512" y="1108"/>
                    <a:pt x="345" y="941"/>
                    <a:pt x="345" y="727"/>
                  </a:cubicBezTo>
                  <a:cubicBezTo>
                    <a:pt x="345" y="525"/>
                    <a:pt x="512" y="358"/>
                    <a:pt x="714" y="358"/>
                  </a:cubicBezTo>
                  <a:close/>
                  <a:moveTo>
                    <a:pt x="714" y="1"/>
                  </a:moveTo>
                  <a:cubicBezTo>
                    <a:pt x="310" y="1"/>
                    <a:pt x="0" y="334"/>
                    <a:pt x="0" y="715"/>
                  </a:cubicBezTo>
                  <a:cubicBezTo>
                    <a:pt x="0" y="1108"/>
                    <a:pt x="333" y="1429"/>
                    <a:pt x="714" y="1429"/>
                  </a:cubicBezTo>
                  <a:cubicBezTo>
                    <a:pt x="1107" y="1429"/>
                    <a:pt x="1429" y="1108"/>
                    <a:pt x="1429" y="715"/>
                  </a:cubicBezTo>
                  <a:cubicBezTo>
                    <a:pt x="1429" y="334"/>
                    <a:pt x="1119" y="1"/>
                    <a:pt x="7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0" name="Google Shape;10440;p59"/>
            <p:cNvSpPr/>
            <p:nvPr/>
          </p:nvSpPr>
          <p:spPr>
            <a:xfrm>
              <a:off x="5130225" y="2691972"/>
              <a:ext cx="45553" cy="45553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15" y="358"/>
                  </a:moveTo>
                  <a:cubicBezTo>
                    <a:pt x="917" y="358"/>
                    <a:pt x="1084" y="525"/>
                    <a:pt x="1084" y="727"/>
                  </a:cubicBezTo>
                  <a:cubicBezTo>
                    <a:pt x="1084" y="929"/>
                    <a:pt x="917" y="1108"/>
                    <a:pt x="715" y="1108"/>
                  </a:cubicBezTo>
                  <a:cubicBezTo>
                    <a:pt x="501" y="1108"/>
                    <a:pt x="346" y="941"/>
                    <a:pt x="346" y="727"/>
                  </a:cubicBezTo>
                  <a:cubicBezTo>
                    <a:pt x="346" y="525"/>
                    <a:pt x="501" y="358"/>
                    <a:pt x="715" y="358"/>
                  </a:cubicBezTo>
                  <a:close/>
                  <a:moveTo>
                    <a:pt x="715" y="1"/>
                  </a:moveTo>
                  <a:cubicBezTo>
                    <a:pt x="310" y="1"/>
                    <a:pt x="1" y="334"/>
                    <a:pt x="1" y="715"/>
                  </a:cubicBezTo>
                  <a:cubicBezTo>
                    <a:pt x="1" y="1108"/>
                    <a:pt x="322" y="1429"/>
                    <a:pt x="715" y="1429"/>
                  </a:cubicBezTo>
                  <a:cubicBezTo>
                    <a:pt x="1096" y="1429"/>
                    <a:pt x="1429" y="1108"/>
                    <a:pt x="1429" y="715"/>
                  </a:cubicBezTo>
                  <a:cubicBezTo>
                    <a:pt x="1429" y="334"/>
                    <a:pt x="1120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1" name="Google Shape;10441;p59"/>
            <p:cNvSpPr/>
            <p:nvPr/>
          </p:nvSpPr>
          <p:spPr>
            <a:xfrm>
              <a:off x="4930717" y="2523586"/>
              <a:ext cx="100917" cy="100534"/>
            </a:xfrm>
            <a:custGeom>
              <a:avLst/>
              <a:gdLst/>
              <a:ahLst/>
              <a:cxnLst/>
              <a:rect l="l" t="t" r="r" b="b"/>
              <a:pathLst>
                <a:path w="3168" h="3156" extrusionOk="0">
                  <a:moveTo>
                    <a:pt x="1763" y="346"/>
                  </a:moveTo>
                  <a:cubicBezTo>
                    <a:pt x="1811" y="346"/>
                    <a:pt x="1858" y="393"/>
                    <a:pt x="1858" y="441"/>
                  </a:cubicBezTo>
                  <a:lnTo>
                    <a:pt x="1858" y="1120"/>
                  </a:lnTo>
                  <a:cubicBezTo>
                    <a:pt x="1858" y="1215"/>
                    <a:pt x="1930" y="1286"/>
                    <a:pt x="2013" y="1286"/>
                  </a:cubicBezTo>
                  <a:lnTo>
                    <a:pt x="2704" y="1286"/>
                  </a:lnTo>
                  <a:cubicBezTo>
                    <a:pt x="2751" y="1286"/>
                    <a:pt x="2787" y="1334"/>
                    <a:pt x="2787" y="1370"/>
                  </a:cubicBezTo>
                  <a:lnTo>
                    <a:pt x="2787" y="1774"/>
                  </a:lnTo>
                  <a:cubicBezTo>
                    <a:pt x="2787" y="1822"/>
                    <a:pt x="2751" y="1870"/>
                    <a:pt x="2704" y="1870"/>
                  </a:cubicBezTo>
                  <a:lnTo>
                    <a:pt x="2013" y="1870"/>
                  </a:lnTo>
                  <a:cubicBezTo>
                    <a:pt x="1930" y="1870"/>
                    <a:pt x="1858" y="1941"/>
                    <a:pt x="1858" y="2024"/>
                  </a:cubicBezTo>
                  <a:lnTo>
                    <a:pt x="1858" y="2715"/>
                  </a:lnTo>
                  <a:cubicBezTo>
                    <a:pt x="1858" y="2763"/>
                    <a:pt x="1811" y="2798"/>
                    <a:pt x="1763" y="2798"/>
                  </a:cubicBezTo>
                  <a:lnTo>
                    <a:pt x="1358" y="2798"/>
                  </a:lnTo>
                  <a:cubicBezTo>
                    <a:pt x="1322" y="2798"/>
                    <a:pt x="1275" y="2763"/>
                    <a:pt x="1275" y="2715"/>
                  </a:cubicBezTo>
                  <a:lnTo>
                    <a:pt x="1275" y="2024"/>
                  </a:lnTo>
                  <a:cubicBezTo>
                    <a:pt x="1275" y="1941"/>
                    <a:pt x="1203" y="1870"/>
                    <a:pt x="1108" y="1870"/>
                  </a:cubicBezTo>
                  <a:lnTo>
                    <a:pt x="429" y="1870"/>
                  </a:lnTo>
                  <a:cubicBezTo>
                    <a:pt x="382" y="1870"/>
                    <a:pt x="334" y="1822"/>
                    <a:pt x="334" y="1774"/>
                  </a:cubicBezTo>
                  <a:lnTo>
                    <a:pt x="334" y="1370"/>
                  </a:lnTo>
                  <a:cubicBezTo>
                    <a:pt x="334" y="1334"/>
                    <a:pt x="382" y="1286"/>
                    <a:pt x="429" y="1286"/>
                  </a:cubicBezTo>
                  <a:lnTo>
                    <a:pt x="1108" y="1286"/>
                  </a:lnTo>
                  <a:cubicBezTo>
                    <a:pt x="1203" y="1286"/>
                    <a:pt x="1275" y="1215"/>
                    <a:pt x="1275" y="1120"/>
                  </a:cubicBezTo>
                  <a:lnTo>
                    <a:pt x="1275" y="441"/>
                  </a:lnTo>
                  <a:cubicBezTo>
                    <a:pt x="1275" y="393"/>
                    <a:pt x="1322" y="346"/>
                    <a:pt x="1358" y="346"/>
                  </a:cubicBezTo>
                  <a:close/>
                  <a:moveTo>
                    <a:pt x="1394" y="0"/>
                  </a:moveTo>
                  <a:cubicBezTo>
                    <a:pt x="1156" y="0"/>
                    <a:pt x="965" y="203"/>
                    <a:pt x="965" y="441"/>
                  </a:cubicBezTo>
                  <a:lnTo>
                    <a:pt x="965" y="953"/>
                  </a:lnTo>
                  <a:lnTo>
                    <a:pt x="441" y="953"/>
                  </a:lnTo>
                  <a:cubicBezTo>
                    <a:pt x="203" y="953"/>
                    <a:pt x="13" y="1155"/>
                    <a:pt x="13" y="1393"/>
                  </a:cubicBezTo>
                  <a:lnTo>
                    <a:pt x="13" y="1786"/>
                  </a:lnTo>
                  <a:cubicBezTo>
                    <a:pt x="1" y="2013"/>
                    <a:pt x="191" y="2203"/>
                    <a:pt x="429" y="2203"/>
                  </a:cubicBezTo>
                  <a:lnTo>
                    <a:pt x="953" y="2203"/>
                  </a:lnTo>
                  <a:lnTo>
                    <a:pt x="953" y="2727"/>
                  </a:lnTo>
                  <a:cubicBezTo>
                    <a:pt x="953" y="2965"/>
                    <a:pt x="1144" y="3156"/>
                    <a:pt x="1382" y="3156"/>
                  </a:cubicBezTo>
                  <a:lnTo>
                    <a:pt x="1787" y="3156"/>
                  </a:lnTo>
                  <a:cubicBezTo>
                    <a:pt x="2025" y="3156"/>
                    <a:pt x="2215" y="2965"/>
                    <a:pt x="2215" y="2727"/>
                  </a:cubicBezTo>
                  <a:lnTo>
                    <a:pt x="2215" y="2203"/>
                  </a:lnTo>
                  <a:lnTo>
                    <a:pt x="2739" y="2203"/>
                  </a:lnTo>
                  <a:cubicBezTo>
                    <a:pt x="2977" y="2203"/>
                    <a:pt x="3168" y="2013"/>
                    <a:pt x="3168" y="1774"/>
                  </a:cubicBezTo>
                  <a:lnTo>
                    <a:pt x="3168" y="1370"/>
                  </a:lnTo>
                  <a:cubicBezTo>
                    <a:pt x="3168" y="1131"/>
                    <a:pt x="2977" y="941"/>
                    <a:pt x="2739" y="941"/>
                  </a:cubicBezTo>
                  <a:lnTo>
                    <a:pt x="2227" y="941"/>
                  </a:lnTo>
                  <a:lnTo>
                    <a:pt x="2227" y="441"/>
                  </a:lnTo>
                  <a:cubicBezTo>
                    <a:pt x="2227" y="203"/>
                    <a:pt x="2037" y="0"/>
                    <a:pt x="1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2" name="Google Shape;10442;p59"/>
            <p:cNvSpPr/>
            <p:nvPr/>
          </p:nvSpPr>
          <p:spPr>
            <a:xfrm>
              <a:off x="4878379" y="2473892"/>
              <a:ext cx="367161" cy="287523"/>
            </a:xfrm>
            <a:custGeom>
              <a:avLst/>
              <a:gdLst/>
              <a:ahLst/>
              <a:cxnLst/>
              <a:rect l="l" t="t" r="r" b="b"/>
              <a:pathLst>
                <a:path w="11526" h="9026" extrusionOk="0">
                  <a:moveTo>
                    <a:pt x="7966" y="346"/>
                  </a:moveTo>
                  <a:cubicBezTo>
                    <a:pt x="8228" y="346"/>
                    <a:pt x="8454" y="572"/>
                    <a:pt x="8454" y="834"/>
                  </a:cubicBezTo>
                  <a:lnTo>
                    <a:pt x="8454" y="1203"/>
                  </a:lnTo>
                  <a:lnTo>
                    <a:pt x="7478" y="1203"/>
                  </a:lnTo>
                  <a:lnTo>
                    <a:pt x="7478" y="834"/>
                  </a:lnTo>
                  <a:cubicBezTo>
                    <a:pt x="7478" y="572"/>
                    <a:pt x="7692" y="346"/>
                    <a:pt x="7966" y="346"/>
                  </a:cubicBezTo>
                  <a:close/>
                  <a:moveTo>
                    <a:pt x="8645" y="1548"/>
                  </a:moveTo>
                  <a:lnTo>
                    <a:pt x="8645" y="1703"/>
                  </a:lnTo>
                  <a:lnTo>
                    <a:pt x="7275" y="1703"/>
                  </a:lnTo>
                  <a:lnTo>
                    <a:pt x="7275" y="1548"/>
                  </a:lnTo>
                  <a:close/>
                  <a:moveTo>
                    <a:pt x="6132" y="5894"/>
                  </a:moveTo>
                  <a:lnTo>
                    <a:pt x="6132" y="7192"/>
                  </a:lnTo>
                  <a:lnTo>
                    <a:pt x="4644" y="7192"/>
                  </a:lnTo>
                  <a:cubicBezTo>
                    <a:pt x="4644" y="7180"/>
                    <a:pt x="4632" y="7156"/>
                    <a:pt x="4632" y="7144"/>
                  </a:cubicBezTo>
                  <a:cubicBezTo>
                    <a:pt x="4420" y="6454"/>
                    <a:pt x="3830" y="6114"/>
                    <a:pt x="3240" y="6114"/>
                  </a:cubicBezTo>
                  <a:cubicBezTo>
                    <a:pt x="2639" y="6114"/>
                    <a:pt x="2038" y="6466"/>
                    <a:pt x="1834" y="7156"/>
                  </a:cubicBezTo>
                  <a:cubicBezTo>
                    <a:pt x="1834" y="7180"/>
                    <a:pt x="1822" y="7192"/>
                    <a:pt x="1822" y="7204"/>
                  </a:cubicBezTo>
                  <a:lnTo>
                    <a:pt x="691" y="7204"/>
                  </a:lnTo>
                  <a:cubicBezTo>
                    <a:pt x="489" y="7204"/>
                    <a:pt x="334" y="7061"/>
                    <a:pt x="334" y="6847"/>
                  </a:cubicBezTo>
                  <a:lnTo>
                    <a:pt x="334" y="5894"/>
                  </a:lnTo>
                  <a:close/>
                  <a:moveTo>
                    <a:pt x="11181" y="5906"/>
                  </a:moveTo>
                  <a:lnTo>
                    <a:pt x="11181" y="6847"/>
                  </a:lnTo>
                  <a:cubicBezTo>
                    <a:pt x="11181" y="7037"/>
                    <a:pt x="11026" y="7204"/>
                    <a:pt x="10824" y="7204"/>
                  </a:cubicBezTo>
                  <a:lnTo>
                    <a:pt x="10038" y="7204"/>
                  </a:lnTo>
                  <a:cubicBezTo>
                    <a:pt x="10038" y="7192"/>
                    <a:pt x="10014" y="7180"/>
                    <a:pt x="10014" y="7156"/>
                  </a:cubicBezTo>
                  <a:cubicBezTo>
                    <a:pt x="9823" y="6525"/>
                    <a:pt x="9228" y="6109"/>
                    <a:pt x="8621" y="6109"/>
                  </a:cubicBezTo>
                  <a:cubicBezTo>
                    <a:pt x="8026" y="6109"/>
                    <a:pt x="7430" y="6490"/>
                    <a:pt x="7216" y="7156"/>
                  </a:cubicBezTo>
                  <a:cubicBezTo>
                    <a:pt x="7216" y="7180"/>
                    <a:pt x="7204" y="7192"/>
                    <a:pt x="7204" y="7204"/>
                  </a:cubicBezTo>
                  <a:lnTo>
                    <a:pt x="6466" y="7204"/>
                  </a:lnTo>
                  <a:lnTo>
                    <a:pt x="6466" y="5906"/>
                  </a:lnTo>
                  <a:close/>
                  <a:moveTo>
                    <a:pt x="3215" y="6466"/>
                  </a:moveTo>
                  <a:cubicBezTo>
                    <a:pt x="3823" y="6466"/>
                    <a:pt x="4335" y="6978"/>
                    <a:pt x="4335" y="7573"/>
                  </a:cubicBezTo>
                  <a:cubicBezTo>
                    <a:pt x="4335" y="8192"/>
                    <a:pt x="3835" y="8692"/>
                    <a:pt x="3215" y="8692"/>
                  </a:cubicBezTo>
                  <a:cubicBezTo>
                    <a:pt x="2596" y="8692"/>
                    <a:pt x="2096" y="8192"/>
                    <a:pt x="2096" y="7573"/>
                  </a:cubicBezTo>
                  <a:cubicBezTo>
                    <a:pt x="2096" y="6978"/>
                    <a:pt x="2608" y="6466"/>
                    <a:pt x="3215" y="6466"/>
                  </a:cubicBezTo>
                  <a:close/>
                  <a:moveTo>
                    <a:pt x="8621" y="6466"/>
                  </a:moveTo>
                  <a:cubicBezTo>
                    <a:pt x="9240" y="6466"/>
                    <a:pt x="9740" y="6978"/>
                    <a:pt x="9740" y="7573"/>
                  </a:cubicBezTo>
                  <a:cubicBezTo>
                    <a:pt x="9740" y="8192"/>
                    <a:pt x="9240" y="8692"/>
                    <a:pt x="8621" y="8692"/>
                  </a:cubicBezTo>
                  <a:cubicBezTo>
                    <a:pt x="7990" y="8692"/>
                    <a:pt x="7502" y="8192"/>
                    <a:pt x="7502" y="7573"/>
                  </a:cubicBezTo>
                  <a:cubicBezTo>
                    <a:pt x="7502" y="6966"/>
                    <a:pt x="8014" y="6466"/>
                    <a:pt x="8621" y="6466"/>
                  </a:cubicBezTo>
                  <a:close/>
                  <a:moveTo>
                    <a:pt x="7966" y="1"/>
                  </a:moveTo>
                  <a:cubicBezTo>
                    <a:pt x="7502" y="1"/>
                    <a:pt x="7133" y="370"/>
                    <a:pt x="7133" y="834"/>
                  </a:cubicBezTo>
                  <a:lnTo>
                    <a:pt x="7133" y="1203"/>
                  </a:lnTo>
                  <a:lnTo>
                    <a:pt x="7097" y="1203"/>
                  </a:lnTo>
                  <a:cubicBezTo>
                    <a:pt x="7014" y="1203"/>
                    <a:pt x="6942" y="1275"/>
                    <a:pt x="6942" y="1370"/>
                  </a:cubicBezTo>
                  <a:lnTo>
                    <a:pt x="6942" y="1679"/>
                  </a:lnTo>
                  <a:lnTo>
                    <a:pt x="6466" y="1679"/>
                  </a:lnTo>
                  <a:lnTo>
                    <a:pt x="6466" y="1072"/>
                  </a:lnTo>
                  <a:cubicBezTo>
                    <a:pt x="6466" y="703"/>
                    <a:pt x="6144" y="382"/>
                    <a:pt x="5775" y="382"/>
                  </a:cubicBezTo>
                  <a:lnTo>
                    <a:pt x="2311" y="382"/>
                  </a:lnTo>
                  <a:cubicBezTo>
                    <a:pt x="2215" y="382"/>
                    <a:pt x="2144" y="465"/>
                    <a:pt x="2144" y="548"/>
                  </a:cubicBezTo>
                  <a:cubicBezTo>
                    <a:pt x="2144" y="644"/>
                    <a:pt x="2215" y="715"/>
                    <a:pt x="2311" y="715"/>
                  </a:cubicBezTo>
                  <a:lnTo>
                    <a:pt x="5775" y="715"/>
                  </a:lnTo>
                  <a:cubicBezTo>
                    <a:pt x="5966" y="715"/>
                    <a:pt x="6132" y="870"/>
                    <a:pt x="6132" y="1072"/>
                  </a:cubicBezTo>
                  <a:lnTo>
                    <a:pt x="6132" y="5573"/>
                  </a:lnTo>
                  <a:lnTo>
                    <a:pt x="334" y="5573"/>
                  </a:lnTo>
                  <a:lnTo>
                    <a:pt x="334" y="1072"/>
                  </a:lnTo>
                  <a:cubicBezTo>
                    <a:pt x="334" y="882"/>
                    <a:pt x="477" y="715"/>
                    <a:pt x="691" y="715"/>
                  </a:cubicBezTo>
                  <a:lnTo>
                    <a:pt x="1477" y="715"/>
                  </a:lnTo>
                  <a:cubicBezTo>
                    <a:pt x="1560" y="715"/>
                    <a:pt x="1644" y="644"/>
                    <a:pt x="1644" y="548"/>
                  </a:cubicBezTo>
                  <a:cubicBezTo>
                    <a:pt x="1644" y="465"/>
                    <a:pt x="1560" y="394"/>
                    <a:pt x="1477" y="394"/>
                  </a:cubicBezTo>
                  <a:lnTo>
                    <a:pt x="691" y="394"/>
                  </a:lnTo>
                  <a:cubicBezTo>
                    <a:pt x="310" y="394"/>
                    <a:pt x="1" y="703"/>
                    <a:pt x="1" y="1072"/>
                  </a:cubicBezTo>
                  <a:lnTo>
                    <a:pt x="1" y="6847"/>
                  </a:lnTo>
                  <a:cubicBezTo>
                    <a:pt x="1" y="7216"/>
                    <a:pt x="310" y="7537"/>
                    <a:pt x="691" y="7537"/>
                  </a:cubicBezTo>
                  <a:lnTo>
                    <a:pt x="1775" y="7537"/>
                  </a:lnTo>
                  <a:cubicBezTo>
                    <a:pt x="1763" y="8371"/>
                    <a:pt x="2442" y="9026"/>
                    <a:pt x="3227" y="9026"/>
                  </a:cubicBezTo>
                  <a:cubicBezTo>
                    <a:pt x="4025" y="9026"/>
                    <a:pt x="4704" y="8383"/>
                    <a:pt x="4692" y="7537"/>
                  </a:cubicBezTo>
                  <a:lnTo>
                    <a:pt x="7180" y="7537"/>
                  </a:lnTo>
                  <a:cubicBezTo>
                    <a:pt x="7156" y="8371"/>
                    <a:pt x="7847" y="9026"/>
                    <a:pt x="8633" y="9026"/>
                  </a:cubicBezTo>
                  <a:cubicBezTo>
                    <a:pt x="9419" y="9026"/>
                    <a:pt x="10109" y="8383"/>
                    <a:pt x="10097" y="7537"/>
                  </a:cubicBezTo>
                  <a:lnTo>
                    <a:pt x="10835" y="7537"/>
                  </a:lnTo>
                  <a:cubicBezTo>
                    <a:pt x="11205" y="7537"/>
                    <a:pt x="11526" y="7216"/>
                    <a:pt x="11526" y="6847"/>
                  </a:cubicBezTo>
                  <a:lnTo>
                    <a:pt x="11502" y="4299"/>
                  </a:lnTo>
                  <a:cubicBezTo>
                    <a:pt x="11502" y="4084"/>
                    <a:pt x="11431" y="3870"/>
                    <a:pt x="11276" y="3692"/>
                  </a:cubicBezTo>
                  <a:lnTo>
                    <a:pt x="10657" y="2989"/>
                  </a:lnTo>
                  <a:cubicBezTo>
                    <a:pt x="10626" y="2952"/>
                    <a:pt x="10582" y="2934"/>
                    <a:pt x="10536" y="2934"/>
                  </a:cubicBezTo>
                  <a:cubicBezTo>
                    <a:pt x="10495" y="2934"/>
                    <a:pt x="10453" y="2949"/>
                    <a:pt x="10419" y="2977"/>
                  </a:cubicBezTo>
                  <a:cubicBezTo>
                    <a:pt x="10347" y="3037"/>
                    <a:pt x="10347" y="3144"/>
                    <a:pt x="10407" y="3215"/>
                  </a:cubicBezTo>
                  <a:lnTo>
                    <a:pt x="11026" y="3918"/>
                  </a:lnTo>
                  <a:cubicBezTo>
                    <a:pt x="11121" y="4025"/>
                    <a:pt x="11181" y="4156"/>
                    <a:pt x="11181" y="4287"/>
                  </a:cubicBezTo>
                  <a:lnTo>
                    <a:pt x="11181" y="5549"/>
                  </a:lnTo>
                  <a:lnTo>
                    <a:pt x="6466" y="5549"/>
                  </a:lnTo>
                  <a:lnTo>
                    <a:pt x="6466" y="2013"/>
                  </a:lnTo>
                  <a:lnTo>
                    <a:pt x="9097" y="2013"/>
                  </a:lnTo>
                  <a:cubicBezTo>
                    <a:pt x="9264" y="2013"/>
                    <a:pt x="9407" y="2084"/>
                    <a:pt x="9514" y="2203"/>
                  </a:cubicBezTo>
                  <a:lnTo>
                    <a:pt x="9812" y="2549"/>
                  </a:lnTo>
                  <a:cubicBezTo>
                    <a:pt x="9843" y="2586"/>
                    <a:pt x="9887" y="2604"/>
                    <a:pt x="9932" y="2604"/>
                  </a:cubicBezTo>
                  <a:cubicBezTo>
                    <a:pt x="9973" y="2604"/>
                    <a:pt x="10016" y="2589"/>
                    <a:pt x="10050" y="2560"/>
                  </a:cubicBezTo>
                  <a:cubicBezTo>
                    <a:pt x="10121" y="2501"/>
                    <a:pt x="10121" y="2394"/>
                    <a:pt x="10062" y="2322"/>
                  </a:cubicBezTo>
                  <a:lnTo>
                    <a:pt x="9764" y="1977"/>
                  </a:lnTo>
                  <a:cubicBezTo>
                    <a:pt x="9532" y="1709"/>
                    <a:pt x="9226" y="1676"/>
                    <a:pt x="9077" y="1676"/>
                  </a:cubicBezTo>
                  <a:cubicBezTo>
                    <a:pt x="9028" y="1676"/>
                    <a:pt x="8996" y="1679"/>
                    <a:pt x="8990" y="1679"/>
                  </a:cubicBezTo>
                  <a:lnTo>
                    <a:pt x="8990" y="1370"/>
                  </a:lnTo>
                  <a:cubicBezTo>
                    <a:pt x="8990" y="1275"/>
                    <a:pt x="8919" y="1203"/>
                    <a:pt x="8823" y="1203"/>
                  </a:cubicBezTo>
                  <a:lnTo>
                    <a:pt x="8799" y="1203"/>
                  </a:lnTo>
                  <a:lnTo>
                    <a:pt x="8799" y="834"/>
                  </a:lnTo>
                  <a:cubicBezTo>
                    <a:pt x="8799" y="370"/>
                    <a:pt x="8418" y="1"/>
                    <a:pt x="7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43" name="Google Shape;10443;p59"/>
          <p:cNvGrpSpPr/>
          <p:nvPr/>
        </p:nvGrpSpPr>
        <p:grpSpPr>
          <a:xfrm>
            <a:off x="1325719" y="2887689"/>
            <a:ext cx="290581" cy="372481"/>
            <a:chOff x="1325719" y="2887689"/>
            <a:chExt cx="290581" cy="372481"/>
          </a:xfrm>
        </p:grpSpPr>
        <p:sp>
          <p:nvSpPr>
            <p:cNvPr id="10444" name="Google Shape;10444;p59"/>
            <p:cNvSpPr/>
            <p:nvPr/>
          </p:nvSpPr>
          <p:spPr>
            <a:xfrm>
              <a:off x="1424724" y="3106533"/>
              <a:ext cx="37971" cy="37939"/>
            </a:xfrm>
            <a:custGeom>
              <a:avLst/>
              <a:gdLst/>
              <a:ahLst/>
              <a:cxnLst/>
              <a:rect l="l" t="t" r="r" b="b"/>
              <a:pathLst>
                <a:path w="1192" h="1191" extrusionOk="0">
                  <a:moveTo>
                    <a:pt x="596" y="334"/>
                  </a:moveTo>
                  <a:cubicBezTo>
                    <a:pt x="727" y="334"/>
                    <a:pt x="846" y="453"/>
                    <a:pt x="846" y="596"/>
                  </a:cubicBezTo>
                  <a:cubicBezTo>
                    <a:pt x="846" y="727"/>
                    <a:pt x="727" y="846"/>
                    <a:pt x="596" y="846"/>
                  </a:cubicBezTo>
                  <a:cubicBezTo>
                    <a:pt x="453" y="846"/>
                    <a:pt x="346" y="738"/>
                    <a:pt x="346" y="596"/>
                  </a:cubicBezTo>
                  <a:cubicBezTo>
                    <a:pt x="346" y="453"/>
                    <a:pt x="465" y="334"/>
                    <a:pt x="596" y="334"/>
                  </a:cubicBezTo>
                  <a:close/>
                  <a:moveTo>
                    <a:pt x="596" y="0"/>
                  </a:moveTo>
                  <a:cubicBezTo>
                    <a:pt x="262" y="0"/>
                    <a:pt x="0" y="262"/>
                    <a:pt x="0" y="596"/>
                  </a:cubicBezTo>
                  <a:cubicBezTo>
                    <a:pt x="0" y="917"/>
                    <a:pt x="262" y="1191"/>
                    <a:pt x="596" y="1191"/>
                  </a:cubicBezTo>
                  <a:cubicBezTo>
                    <a:pt x="917" y="1191"/>
                    <a:pt x="1191" y="917"/>
                    <a:pt x="1191" y="596"/>
                  </a:cubicBezTo>
                  <a:cubicBezTo>
                    <a:pt x="1191" y="262"/>
                    <a:pt x="917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5" name="Google Shape;10445;p59"/>
            <p:cNvSpPr/>
            <p:nvPr/>
          </p:nvSpPr>
          <p:spPr>
            <a:xfrm>
              <a:off x="1325719" y="2887689"/>
              <a:ext cx="290581" cy="372481"/>
            </a:xfrm>
            <a:custGeom>
              <a:avLst/>
              <a:gdLst/>
              <a:ahLst/>
              <a:cxnLst/>
              <a:rect l="l" t="t" r="r" b="b"/>
              <a:pathLst>
                <a:path w="9122" h="11693" extrusionOk="0">
                  <a:moveTo>
                    <a:pt x="5037" y="3620"/>
                  </a:moveTo>
                  <a:cubicBezTo>
                    <a:pt x="5847" y="3656"/>
                    <a:pt x="6502" y="4310"/>
                    <a:pt x="6502" y="5120"/>
                  </a:cubicBezTo>
                  <a:lnTo>
                    <a:pt x="6502" y="11299"/>
                  </a:lnTo>
                  <a:lnTo>
                    <a:pt x="5037" y="11299"/>
                  </a:lnTo>
                  <a:lnTo>
                    <a:pt x="5037" y="3620"/>
                  </a:lnTo>
                  <a:close/>
                  <a:moveTo>
                    <a:pt x="930" y="0"/>
                  </a:moveTo>
                  <a:cubicBezTo>
                    <a:pt x="418" y="0"/>
                    <a:pt x="1" y="417"/>
                    <a:pt x="1" y="941"/>
                  </a:cubicBezTo>
                  <a:lnTo>
                    <a:pt x="1" y="2703"/>
                  </a:lnTo>
                  <a:cubicBezTo>
                    <a:pt x="1" y="3084"/>
                    <a:pt x="180" y="3441"/>
                    <a:pt x="489" y="3667"/>
                  </a:cubicBezTo>
                  <a:cubicBezTo>
                    <a:pt x="953" y="3989"/>
                    <a:pt x="1275" y="4941"/>
                    <a:pt x="1275" y="5989"/>
                  </a:cubicBezTo>
                  <a:cubicBezTo>
                    <a:pt x="1275" y="7025"/>
                    <a:pt x="953" y="7978"/>
                    <a:pt x="489" y="8311"/>
                  </a:cubicBezTo>
                  <a:cubicBezTo>
                    <a:pt x="180" y="8537"/>
                    <a:pt x="1" y="8894"/>
                    <a:pt x="1" y="9275"/>
                  </a:cubicBezTo>
                  <a:lnTo>
                    <a:pt x="1" y="10752"/>
                  </a:lnTo>
                  <a:cubicBezTo>
                    <a:pt x="1" y="11276"/>
                    <a:pt x="418" y="11692"/>
                    <a:pt x="930" y="11692"/>
                  </a:cubicBezTo>
                  <a:lnTo>
                    <a:pt x="8181" y="11692"/>
                  </a:lnTo>
                  <a:cubicBezTo>
                    <a:pt x="8704" y="11692"/>
                    <a:pt x="9121" y="11276"/>
                    <a:pt x="9121" y="10752"/>
                  </a:cubicBezTo>
                  <a:lnTo>
                    <a:pt x="9121" y="9275"/>
                  </a:lnTo>
                  <a:cubicBezTo>
                    <a:pt x="9121" y="8894"/>
                    <a:pt x="8943" y="8537"/>
                    <a:pt x="8633" y="8311"/>
                  </a:cubicBezTo>
                  <a:cubicBezTo>
                    <a:pt x="8169" y="7978"/>
                    <a:pt x="7835" y="7025"/>
                    <a:pt x="7835" y="5989"/>
                  </a:cubicBezTo>
                  <a:cubicBezTo>
                    <a:pt x="7835" y="4941"/>
                    <a:pt x="8169" y="3989"/>
                    <a:pt x="8633" y="3667"/>
                  </a:cubicBezTo>
                  <a:cubicBezTo>
                    <a:pt x="8943" y="3441"/>
                    <a:pt x="9121" y="3084"/>
                    <a:pt x="9121" y="2703"/>
                  </a:cubicBezTo>
                  <a:lnTo>
                    <a:pt x="9121" y="1786"/>
                  </a:lnTo>
                  <a:cubicBezTo>
                    <a:pt x="9121" y="1703"/>
                    <a:pt x="9050" y="1620"/>
                    <a:pt x="8954" y="1620"/>
                  </a:cubicBezTo>
                  <a:cubicBezTo>
                    <a:pt x="8871" y="1620"/>
                    <a:pt x="8788" y="1703"/>
                    <a:pt x="8788" y="1786"/>
                  </a:cubicBezTo>
                  <a:lnTo>
                    <a:pt x="8788" y="2703"/>
                  </a:lnTo>
                  <a:cubicBezTo>
                    <a:pt x="8788" y="2965"/>
                    <a:pt x="8657" y="3215"/>
                    <a:pt x="8431" y="3382"/>
                  </a:cubicBezTo>
                  <a:cubicBezTo>
                    <a:pt x="7204" y="4263"/>
                    <a:pt x="7204" y="7680"/>
                    <a:pt x="8431" y="8573"/>
                  </a:cubicBezTo>
                  <a:cubicBezTo>
                    <a:pt x="8657" y="8740"/>
                    <a:pt x="8788" y="8990"/>
                    <a:pt x="8788" y="9263"/>
                  </a:cubicBezTo>
                  <a:lnTo>
                    <a:pt x="8788" y="10740"/>
                  </a:lnTo>
                  <a:cubicBezTo>
                    <a:pt x="8788" y="11061"/>
                    <a:pt x="8526" y="11335"/>
                    <a:pt x="8192" y="11335"/>
                  </a:cubicBezTo>
                  <a:lnTo>
                    <a:pt x="6859" y="11335"/>
                  </a:lnTo>
                  <a:lnTo>
                    <a:pt x="6859" y="5156"/>
                  </a:lnTo>
                  <a:cubicBezTo>
                    <a:pt x="6859" y="4144"/>
                    <a:pt x="6025" y="3310"/>
                    <a:pt x="5013" y="3310"/>
                  </a:cubicBezTo>
                  <a:lnTo>
                    <a:pt x="3001" y="3310"/>
                  </a:lnTo>
                  <a:cubicBezTo>
                    <a:pt x="2596" y="3310"/>
                    <a:pt x="2275" y="3632"/>
                    <a:pt x="2275" y="4037"/>
                  </a:cubicBezTo>
                  <a:lnTo>
                    <a:pt x="2275" y="9918"/>
                  </a:lnTo>
                  <a:cubicBezTo>
                    <a:pt x="2275" y="10002"/>
                    <a:pt x="2346" y="10085"/>
                    <a:pt x="2442" y="10085"/>
                  </a:cubicBezTo>
                  <a:cubicBezTo>
                    <a:pt x="2525" y="10085"/>
                    <a:pt x="2596" y="10002"/>
                    <a:pt x="2596" y="9918"/>
                  </a:cubicBezTo>
                  <a:lnTo>
                    <a:pt x="2596" y="4037"/>
                  </a:lnTo>
                  <a:cubicBezTo>
                    <a:pt x="2596" y="3834"/>
                    <a:pt x="2775" y="3656"/>
                    <a:pt x="2989" y="3656"/>
                  </a:cubicBezTo>
                  <a:lnTo>
                    <a:pt x="4704" y="3656"/>
                  </a:lnTo>
                  <a:lnTo>
                    <a:pt x="4704" y="11335"/>
                  </a:lnTo>
                  <a:lnTo>
                    <a:pt x="2620" y="11335"/>
                  </a:lnTo>
                  <a:lnTo>
                    <a:pt x="2620" y="10549"/>
                  </a:lnTo>
                  <a:cubicBezTo>
                    <a:pt x="2620" y="10466"/>
                    <a:pt x="2537" y="10394"/>
                    <a:pt x="2454" y="10394"/>
                  </a:cubicBezTo>
                  <a:cubicBezTo>
                    <a:pt x="2358" y="10394"/>
                    <a:pt x="2287" y="10466"/>
                    <a:pt x="2287" y="10549"/>
                  </a:cubicBezTo>
                  <a:lnTo>
                    <a:pt x="2287" y="11335"/>
                  </a:lnTo>
                  <a:lnTo>
                    <a:pt x="942" y="11335"/>
                  </a:lnTo>
                  <a:cubicBezTo>
                    <a:pt x="620" y="11335"/>
                    <a:pt x="346" y="11061"/>
                    <a:pt x="346" y="10740"/>
                  </a:cubicBezTo>
                  <a:lnTo>
                    <a:pt x="346" y="9263"/>
                  </a:lnTo>
                  <a:cubicBezTo>
                    <a:pt x="346" y="8990"/>
                    <a:pt x="489" y="8740"/>
                    <a:pt x="703" y="8573"/>
                  </a:cubicBezTo>
                  <a:cubicBezTo>
                    <a:pt x="1942" y="7704"/>
                    <a:pt x="1942" y="4275"/>
                    <a:pt x="703" y="3382"/>
                  </a:cubicBezTo>
                  <a:cubicBezTo>
                    <a:pt x="489" y="3215"/>
                    <a:pt x="346" y="2965"/>
                    <a:pt x="346" y="2703"/>
                  </a:cubicBezTo>
                  <a:lnTo>
                    <a:pt x="346" y="941"/>
                  </a:lnTo>
                  <a:cubicBezTo>
                    <a:pt x="346" y="619"/>
                    <a:pt x="620" y="346"/>
                    <a:pt x="942" y="346"/>
                  </a:cubicBezTo>
                  <a:lnTo>
                    <a:pt x="8192" y="346"/>
                  </a:lnTo>
                  <a:cubicBezTo>
                    <a:pt x="8526" y="346"/>
                    <a:pt x="8788" y="619"/>
                    <a:pt x="8788" y="941"/>
                  </a:cubicBezTo>
                  <a:lnTo>
                    <a:pt x="8788" y="1131"/>
                  </a:lnTo>
                  <a:cubicBezTo>
                    <a:pt x="8776" y="1227"/>
                    <a:pt x="8847" y="1298"/>
                    <a:pt x="8954" y="1298"/>
                  </a:cubicBezTo>
                  <a:cubicBezTo>
                    <a:pt x="9050" y="1298"/>
                    <a:pt x="9121" y="1227"/>
                    <a:pt x="9121" y="1131"/>
                  </a:cubicBezTo>
                  <a:lnTo>
                    <a:pt x="9121" y="941"/>
                  </a:lnTo>
                  <a:cubicBezTo>
                    <a:pt x="9121" y="417"/>
                    <a:pt x="8704" y="0"/>
                    <a:pt x="8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46" name="Google Shape;10446;p59"/>
          <p:cNvSpPr/>
          <p:nvPr/>
        </p:nvSpPr>
        <p:spPr>
          <a:xfrm>
            <a:off x="1819153" y="2882369"/>
            <a:ext cx="191194" cy="382738"/>
          </a:xfrm>
          <a:custGeom>
            <a:avLst/>
            <a:gdLst/>
            <a:ahLst/>
            <a:cxnLst/>
            <a:rect l="l" t="t" r="r" b="b"/>
            <a:pathLst>
              <a:path w="6002" h="12015" extrusionOk="0">
                <a:moveTo>
                  <a:pt x="906" y="1"/>
                </a:moveTo>
                <a:cubicBezTo>
                  <a:pt x="406" y="1"/>
                  <a:pt x="1" y="405"/>
                  <a:pt x="1" y="917"/>
                </a:cubicBezTo>
                <a:lnTo>
                  <a:pt x="1" y="1251"/>
                </a:lnTo>
                <a:cubicBezTo>
                  <a:pt x="1" y="1763"/>
                  <a:pt x="394" y="2168"/>
                  <a:pt x="906" y="2168"/>
                </a:cubicBezTo>
                <a:lnTo>
                  <a:pt x="906" y="8633"/>
                </a:lnTo>
                <a:cubicBezTo>
                  <a:pt x="906" y="8728"/>
                  <a:pt x="977" y="8823"/>
                  <a:pt x="1084" y="8823"/>
                </a:cubicBezTo>
                <a:cubicBezTo>
                  <a:pt x="1192" y="8823"/>
                  <a:pt x="1263" y="8740"/>
                  <a:pt x="1263" y="8633"/>
                </a:cubicBezTo>
                <a:lnTo>
                  <a:pt x="1263" y="2168"/>
                </a:lnTo>
                <a:lnTo>
                  <a:pt x="4704" y="2168"/>
                </a:lnTo>
                <a:lnTo>
                  <a:pt x="4704" y="2668"/>
                </a:lnTo>
                <a:lnTo>
                  <a:pt x="3823" y="2668"/>
                </a:lnTo>
                <a:cubicBezTo>
                  <a:pt x="3740" y="2668"/>
                  <a:pt x="3644" y="2739"/>
                  <a:pt x="3644" y="2846"/>
                </a:cubicBezTo>
                <a:cubicBezTo>
                  <a:pt x="3644" y="2941"/>
                  <a:pt x="3716" y="3025"/>
                  <a:pt x="3823" y="3025"/>
                </a:cubicBezTo>
                <a:lnTo>
                  <a:pt x="4704" y="3025"/>
                </a:lnTo>
                <a:lnTo>
                  <a:pt x="4704" y="3906"/>
                </a:lnTo>
                <a:lnTo>
                  <a:pt x="3823" y="3906"/>
                </a:lnTo>
                <a:cubicBezTo>
                  <a:pt x="3740" y="3906"/>
                  <a:pt x="3644" y="3977"/>
                  <a:pt x="3644" y="4084"/>
                </a:cubicBezTo>
                <a:cubicBezTo>
                  <a:pt x="3644" y="4180"/>
                  <a:pt x="3716" y="4263"/>
                  <a:pt x="3823" y="4263"/>
                </a:cubicBezTo>
                <a:lnTo>
                  <a:pt x="4704" y="4263"/>
                </a:lnTo>
                <a:lnTo>
                  <a:pt x="4704" y="5144"/>
                </a:lnTo>
                <a:lnTo>
                  <a:pt x="3823" y="5144"/>
                </a:lnTo>
                <a:cubicBezTo>
                  <a:pt x="3740" y="5144"/>
                  <a:pt x="3644" y="5216"/>
                  <a:pt x="3644" y="5323"/>
                </a:cubicBezTo>
                <a:cubicBezTo>
                  <a:pt x="3644" y="5406"/>
                  <a:pt x="3716" y="5501"/>
                  <a:pt x="3823" y="5501"/>
                </a:cubicBezTo>
                <a:lnTo>
                  <a:pt x="4704" y="5501"/>
                </a:lnTo>
                <a:lnTo>
                  <a:pt x="4704" y="6382"/>
                </a:lnTo>
                <a:lnTo>
                  <a:pt x="3823" y="6382"/>
                </a:lnTo>
                <a:cubicBezTo>
                  <a:pt x="3740" y="6382"/>
                  <a:pt x="3644" y="6454"/>
                  <a:pt x="3644" y="6561"/>
                </a:cubicBezTo>
                <a:cubicBezTo>
                  <a:pt x="3644" y="6644"/>
                  <a:pt x="3716" y="6740"/>
                  <a:pt x="3823" y="6740"/>
                </a:cubicBezTo>
                <a:lnTo>
                  <a:pt x="4704" y="6740"/>
                </a:lnTo>
                <a:lnTo>
                  <a:pt x="4704" y="7609"/>
                </a:lnTo>
                <a:lnTo>
                  <a:pt x="3823" y="7609"/>
                </a:lnTo>
                <a:cubicBezTo>
                  <a:pt x="3740" y="7609"/>
                  <a:pt x="3644" y="7692"/>
                  <a:pt x="3644" y="7787"/>
                </a:cubicBezTo>
                <a:cubicBezTo>
                  <a:pt x="3644" y="7883"/>
                  <a:pt x="3716" y="7966"/>
                  <a:pt x="3823" y="7966"/>
                </a:cubicBezTo>
                <a:lnTo>
                  <a:pt x="4704" y="7966"/>
                </a:lnTo>
                <a:lnTo>
                  <a:pt x="4704" y="8847"/>
                </a:lnTo>
                <a:lnTo>
                  <a:pt x="3823" y="8847"/>
                </a:lnTo>
                <a:cubicBezTo>
                  <a:pt x="3740" y="8847"/>
                  <a:pt x="3644" y="8918"/>
                  <a:pt x="3644" y="9026"/>
                </a:cubicBezTo>
                <a:cubicBezTo>
                  <a:pt x="3644" y="9121"/>
                  <a:pt x="3716" y="9204"/>
                  <a:pt x="3823" y="9204"/>
                </a:cubicBezTo>
                <a:lnTo>
                  <a:pt x="4704" y="9204"/>
                </a:lnTo>
                <a:lnTo>
                  <a:pt x="4704" y="9954"/>
                </a:lnTo>
                <a:cubicBezTo>
                  <a:pt x="4704" y="10907"/>
                  <a:pt x="3930" y="11657"/>
                  <a:pt x="2989" y="11657"/>
                </a:cubicBezTo>
                <a:cubicBezTo>
                  <a:pt x="2037" y="11657"/>
                  <a:pt x="1275" y="10883"/>
                  <a:pt x="1275" y="9954"/>
                </a:cubicBezTo>
                <a:lnTo>
                  <a:pt x="1275" y="9371"/>
                </a:lnTo>
                <a:cubicBezTo>
                  <a:pt x="1275" y="9276"/>
                  <a:pt x="1203" y="9192"/>
                  <a:pt x="1096" y="9192"/>
                </a:cubicBezTo>
                <a:cubicBezTo>
                  <a:pt x="1001" y="9192"/>
                  <a:pt x="918" y="9264"/>
                  <a:pt x="918" y="9371"/>
                </a:cubicBezTo>
                <a:lnTo>
                  <a:pt x="918" y="9954"/>
                </a:lnTo>
                <a:cubicBezTo>
                  <a:pt x="918" y="11097"/>
                  <a:pt x="1846" y="12014"/>
                  <a:pt x="2989" y="12014"/>
                </a:cubicBezTo>
                <a:cubicBezTo>
                  <a:pt x="4132" y="12014"/>
                  <a:pt x="5061" y="11097"/>
                  <a:pt x="5061" y="9954"/>
                </a:cubicBezTo>
                <a:lnTo>
                  <a:pt x="5061" y="2227"/>
                </a:lnTo>
                <a:lnTo>
                  <a:pt x="5085" y="2227"/>
                </a:lnTo>
                <a:cubicBezTo>
                  <a:pt x="5597" y="2227"/>
                  <a:pt x="5990" y="1822"/>
                  <a:pt x="5990" y="1322"/>
                </a:cubicBezTo>
                <a:lnTo>
                  <a:pt x="5990" y="929"/>
                </a:lnTo>
                <a:cubicBezTo>
                  <a:pt x="6002" y="429"/>
                  <a:pt x="5597" y="24"/>
                  <a:pt x="5085" y="24"/>
                </a:cubicBezTo>
                <a:lnTo>
                  <a:pt x="4525" y="24"/>
                </a:lnTo>
                <a:cubicBezTo>
                  <a:pt x="4430" y="24"/>
                  <a:pt x="4347" y="96"/>
                  <a:pt x="4347" y="203"/>
                </a:cubicBezTo>
                <a:cubicBezTo>
                  <a:pt x="4347" y="286"/>
                  <a:pt x="4418" y="382"/>
                  <a:pt x="4525" y="382"/>
                </a:cubicBezTo>
                <a:lnTo>
                  <a:pt x="5085" y="382"/>
                </a:lnTo>
                <a:cubicBezTo>
                  <a:pt x="5406" y="382"/>
                  <a:pt x="5656" y="632"/>
                  <a:pt x="5656" y="941"/>
                </a:cubicBezTo>
                <a:lnTo>
                  <a:pt x="5656" y="1287"/>
                </a:lnTo>
                <a:cubicBezTo>
                  <a:pt x="5656" y="1596"/>
                  <a:pt x="5406" y="1846"/>
                  <a:pt x="5085" y="1846"/>
                </a:cubicBezTo>
                <a:lnTo>
                  <a:pt x="906" y="1846"/>
                </a:lnTo>
                <a:cubicBezTo>
                  <a:pt x="596" y="1846"/>
                  <a:pt x="334" y="1596"/>
                  <a:pt x="334" y="1287"/>
                </a:cubicBezTo>
                <a:lnTo>
                  <a:pt x="334" y="929"/>
                </a:lnTo>
                <a:cubicBezTo>
                  <a:pt x="334" y="620"/>
                  <a:pt x="596" y="370"/>
                  <a:pt x="906" y="370"/>
                </a:cubicBezTo>
                <a:lnTo>
                  <a:pt x="3870" y="370"/>
                </a:lnTo>
                <a:cubicBezTo>
                  <a:pt x="3954" y="370"/>
                  <a:pt x="4049" y="286"/>
                  <a:pt x="4049" y="191"/>
                </a:cubicBezTo>
                <a:cubicBezTo>
                  <a:pt x="4049" y="96"/>
                  <a:pt x="3966" y="1"/>
                  <a:pt x="3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47" name="Google Shape;10447;p59"/>
          <p:cNvGrpSpPr/>
          <p:nvPr/>
        </p:nvGrpSpPr>
        <p:grpSpPr>
          <a:xfrm>
            <a:off x="3510335" y="2892499"/>
            <a:ext cx="360726" cy="361204"/>
            <a:chOff x="3510335" y="2892499"/>
            <a:chExt cx="360726" cy="361204"/>
          </a:xfrm>
        </p:grpSpPr>
        <p:sp>
          <p:nvSpPr>
            <p:cNvPr id="10448" name="Google Shape;10448;p59"/>
            <p:cNvSpPr/>
            <p:nvPr/>
          </p:nvSpPr>
          <p:spPr>
            <a:xfrm>
              <a:off x="3511864" y="2892499"/>
              <a:ext cx="359197" cy="358751"/>
            </a:xfrm>
            <a:custGeom>
              <a:avLst/>
              <a:gdLst/>
              <a:ahLst/>
              <a:cxnLst/>
              <a:rect l="l" t="t" r="r" b="b"/>
              <a:pathLst>
                <a:path w="11276" h="11262" extrusionOk="0">
                  <a:moveTo>
                    <a:pt x="2035" y="8898"/>
                  </a:moveTo>
                  <a:cubicBezTo>
                    <a:pt x="2132" y="8898"/>
                    <a:pt x="2227" y="8934"/>
                    <a:pt x="2298" y="9005"/>
                  </a:cubicBezTo>
                  <a:cubicBezTo>
                    <a:pt x="2453" y="9160"/>
                    <a:pt x="2453" y="9398"/>
                    <a:pt x="2298" y="9541"/>
                  </a:cubicBezTo>
                  <a:cubicBezTo>
                    <a:pt x="2227" y="9618"/>
                    <a:pt x="2132" y="9657"/>
                    <a:pt x="2035" y="9657"/>
                  </a:cubicBezTo>
                  <a:cubicBezTo>
                    <a:pt x="1938" y="9657"/>
                    <a:pt x="1840" y="9618"/>
                    <a:pt x="1763" y="9541"/>
                  </a:cubicBezTo>
                  <a:cubicBezTo>
                    <a:pt x="1620" y="9398"/>
                    <a:pt x="1620" y="9160"/>
                    <a:pt x="1763" y="9005"/>
                  </a:cubicBezTo>
                  <a:cubicBezTo>
                    <a:pt x="1840" y="8934"/>
                    <a:pt x="1938" y="8898"/>
                    <a:pt x="2035" y="8898"/>
                  </a:cubicBezTo>
                  <a:close/>
                  <a:moveTo>
                    <a:pt x="10477" y="1"/>
                  </a:moveTo>
                  <a:cubicBezTo>
                    <a:pt x="10261" y="1"/>
                    <a:pt x="10042" y="82"/>
                    <a:pt x="9871" y="254"/>
                  </a:cubicBezTo>
                  <a:lnTo>
                    <a:pt x="6882" y="3243"/>
                  </a:lnTo>
                  <a:cubicBezTo>
                    <a:pt x="6716" y="3196"/>
                    <a:pt x="6544" y="3172"/>
                    <a:pt x="6368" y="3172"/>
                  </a:cubicBezTo>
                  <a:cubicBezTo>
                    <a:pt x="6053" y="3172"/>
                    <a:pt x="5727" y="3249"/>
                    <a:pt x="5406" y="3409"/>
                  </a:cubicBezTo>
                  <a:cubicBezTo>
                    <a:pt x="5204" y="3516"/>
                    <a:pt x="4668" y="3766"/>
                    <a:pt x="4013" y="4040"/>
                  </a:cubicBezTo>
                  <a:cubicBezTo>
                    <a:pt x="3906" y="4076"/>
                    <a:pt x="3858" y="4195"/>
                    <a:pt x="3906" y="4290"/>
                  </a:cubicBezTo>
                  <a:cubicBezTo>
                    <a:pt x="3942" y="4371"/>
                    <a:pt x="4017" y="4411"/>
                    <a:pt x="4088" y="4411"/>
                  </a:cubicBezTo>
                  <a:cubicBezTo>
                    <a:pt x="4112" y="4411"/>
                    <a:pt x="4135" y="4406"/>
                    <a:pt x="4156" y="4398"/>
                  </a:cubicBezTo>
                  <a:cubicBezTo>
                    <a:pt x="4834" y="4124"/>
                    <a:pt x="5382" y="3862"/>
                    <a:pt x="5585" y="3755"/>
                  </a:cubicBezTo>
                  <a:cubicBezTo>
                    <a:pt x="5849" y="3621"/>
                    <a:pt x="6112" y="3561"/>
                    <a:pt x="6358" y="3561"/>
                  </a:cubicBezTo>
                  <a:cubicBezTo>
                    <a:pt x="7385" y="3561"/>
                    <a:pt x="8130" y="4607"/>
                    <a:pt x="7573" y="5731"/>
                  </a:cubicBezTo>
                  <a:cubicBezTo>
                    <a:pt x="7418" y="6029"/>
                    <a:pt x="6930" y="7053"/>
                    <a:pt x="6573" y="8100"/>
                  </a:cubicBezTo>
                  <a:cubicBezTo>
                    <a:pt x="6454" y="8469"/>
                    <a:pt x="6358" y="8803"/>
                    <a:pt x="6299" y="9100"/>
                  </a:cubicBezTo>
                  <a:lnTo>
                    <a:pt x="2227" y="5017"/>
                  </a:lnTo>
                  <a:cubicBezTo>
                    <a:pt x="2572" y="4945"/>
                    <a:pt x="2965" y="4838"/>
                    <a:pt x="3418" y="4671"/>
                  </a:cubicBezTo>
                  <a:cubicBezTo>
                    <a:pt x="3525" y="4648"/>
                    <a:pt x="3584" y="4528"/>
                    <a:pt x="3537" y="4421"/>
                  </a:cubicBezTo>
                  <a:cubicBezTo>
                    <a:pt x="3509" y="4340"/>
                    <a:pt x="3434" y="4286"/>
                    <a:pt x="3352" y="4286"/>
                  </a:cubicBezTo>
                  <a:cubicBezTo>
                    <a:pt x="3326" y="4286"/>
                    <a:pt x="3300" y="4291"/>
                    <a:pt x="3275" y="4302"/>
                  </a:cubicBezTo>
                  <a:cubicBezTo>
                    <a:pt x="2656" y="4517"/>
                    <a:pt x="2203" y="4636"/>
                    <a:pt x="1870" y="4671"/>
                  </a:cubicBezTo>
                  <a:lnTo>
                    <a:pt x="1453" y="4255"/>
                  </a:lnTo>
                  <a:cubicBezTo>
                    <a:pt x="1298" y="4100"/>
                    <a:pt x="1090" y="4022"/>
                    <a:pt x="880" y="4022"/>
                  </a:cubicBezTo>
                  <a:cubicBezTo>
                    <a:pt x="670" y="4022"/>
                    <a:pt x="459" y="4100"/>
                    <a:pt x="298" y="4255"/>
                  </a:cubicBezTo>
                  <a:cubicBezTo>
                    <a:pt x="84" y="4481"/>
                    <a:pt x="1" y="4826"/>
                    <a:pt x="120" y="5136"/>
                  </a:cubicBezTo>
                  <a:cubicBezTo>
                    <a:pt x="157" y="5219"/>
                    <a:pt x="230" y="5266"/>
                    <a:pt x="311" y="5266"/>
                  </a:cubicBezTo>
                  <a:cubicBezTo>
                    <a:pt x="334" y="5266"/>
                    <a:pt x="358" y="5263"/>
                    <a:pt x="382" y="5255"/>
                  </a:cubicBezTo>
                  <a:cubicBezTo>
                    <a:pt x="489" y="5207"/>
                    <a:pt x="524" y="5112"/>
                    <a:pt x="501" y="5005"/>
                  </a:cubicBezTo>
                  <a:cubicBezTo>
                    <a:pt x="379" y="4700"/>
                    <a:pt x="626" y="4433"/>
                    <a:pt x="894" y="4433"/>
                  </a:cubicBezTo>
                  <a:cubicBezTo>
                    <a:pt x="992" y="4433"/>
                    <a:pt x="1093" y="4469"/>
                    <a:pt x="1179" y="4552"/>
                  </a:cubicBezTo>
                  <a:lnTo>
                    <a:pt x="6799" y="10172"/>
                  </a:lnTo>
                  <a:cubicBezTo>
                    <a:pt x="6954" y="10327"/>
                    <a:pt x="6954" y="10601"/>
                    <a:pt x="6799" y="10744"/>
                  </a:cubicBezTo>
                  <a:cubicBezTo>
                    <a:pt x="6716" y="10827"/>
                    <a:pt x="6606" y="10869"/>
                    <a:pt x="6498" y="10869"/>
                  </a:cubicBezTo>
                  <a:cubicBezTo>
                    <a:pt x="6391" y="10869"/>
                    <a:pt x="6287" y="10827"/>
                    <a:pt x="6216" y="10744"/>
                  </a:cubicBezTo>
                  <a:lnTo>
                    <a:pt x="989" y="5529"/>
                  </a:lnTo>
                  <a:cubicBezTo>
                    <a:pt x="953" y="5487"/>
                    <a:pt x="902" y="5466"/>
                    <a:pt x="850" y="5466"/>
                  </a:cubicBezTo>
                  <a:cubicBezTo>
                    <a:pt x="798" y="5466"/>
                    <a:pt x="745" y="5487"/>
                    <a:pt x="703" y="5529"/>
                  </a:cubicBezTo>
                  <a:cubicBezTo>
                    <a:pt x="632" y="5600"/>
                    <a:pt x="632" y="5731"/>
                    <a:pt x="703" y="5802"/>
                  </a:cubicBezTo>
                  <a:lnTo>
                    <a:pt x="2977" y="8088"/>
                  </a:lnTo>
                  <a:lnTo>
                    <a:pt x="2441" y="8624"/>
                  </a:lnTo>
                  <a:cubicBezTo>
                    <a:pt x="2319" y="8551"/>
                    <a:pt x="2182" y="8513"/>
                    <a:pt x="2046" y="8513"/>
                  </a:cubicBezTo>
                  <a:cubicBezTo>
                    <a:pt x="1852" y="8513"/>
                    <a:pt x="1660" y="8589"/>
                    <a:pt x="1513" y="8743"/>
                  </a:cubicBezTo>
                  <a:cubicBezTo>
                    <a:pt x="1215" y="9041"/>
                    <a:pt x="1215" y="9541"/>
                    <a:pt x="1513" y="9839"/>
                  </a:cubicBezTo>
                  <a:cubicBezTo>
                    <a:pt x="1661" y="9987"/>
                    <a:pt x="1861" y="10062"/>
                    <a:pt x="2060" y="10062"/>
                  </a:cubicBezTo>
                  <a:cubicBezTo>
                    <a:pt x="2260" y="10062"/>
                    <a:pt x="2459" y="9987"/>
                    <a:pt x="2608" y="9839"/>
                  </a:cubicBezTo>
                  <a:cubicBezTo>
                    <a:pt x="2870" y="9589"/>
                    <a:pt x="2906" y="9196"/>
                    <a:pt x="2727" y="8898"/>
                  </a:cubicBezTo>
                  <a:lnTo>
                    <a:pt x="3263" y="8362"/>
                  </a:lnTo>
                  <a:lnTo>
                    <a:pt x="5930" y="11029"/>
                  </a:lnTo>
                  <a:cubicBezTo>
                    <a:pt x="6085" y="11184"/>
                    <a:pt x="6293" y="11261"/>
                    <a:pt x="6501" y="11261"/>
                  </a:cubicBezTo>
                  <a:cubicBezTo>
                    <a:pt x="6710" y="11261"/>
                    <a:pt x="6918" y="11184"/>
                    <a:pt x="7073" y="11029"/>
                  </a:cubicBezTo>
                  <a:cubicBezTo>
                    <a:pt x="7359" y="10696"/>
                    <a:pt x="7359" y="10184"/>
                    <a:pt x="7049" y="9874"/>
                  </a:cubicBezTo>
                  <a:lnTo>
                    <a:pt x="6632" y="9458"/>
                  </a:lnTo>
                  <a:cubicBezTo>
                    <a:pt x="6751" y="8529"/>
                    <a:pt x="7299" y="7136"/>
                    <a:pt x="7906" y="5910"/>
                  </a:cubicBezTo>
                  <a:cubicBezTo>
                    <a:pt x="8168" y="5421"/>
                    <a:pt x="8204" y="4898"/>
                    <a:pt x="8073" y="4433"/>
                  </a:cubicBezTo>
                  <a:lnTo>
                    <a:pt x="11109" y="1397"/>
                  </a:lnTo>
                  <a:cubicBezTo>
                    <a:pt x="11181" y="1314"/>
                    <a:pt x="11169" y="1195"/>
                    <a:pt x="11097" y="1123"/>
                  </a:cubicBezTo>
                  <a:cubicBezTo>
                    <a:pt x="11055" y="1086"/>
                    <a:pt x="11008" y="1070"/>
                    <a:pt x="10963" y="1070"/>
                  </a:cubicBezTo>
                  <a:cubicBezTo>
                    <a:pt x="10906" y="1070"/>
                    <a:pt x="10851" y="1095"/>
                    <a:pt x="10811" y="1135"/>
                  </a:cubicBezTo>
                  <a:cubicBezTo>
                    <a:pt x="10800" y="1147"/>
                    <a:pt x="10990" y="969"/>
                    <a:pt x="7906" y="4040"/>
                  </a:cubicBezTo>
                  <a:cubicBezTo>
                    <a:pt x="7763" y="3778"/>
                    <a:pt x="7537" y="3564"/>
                    <a:pt x="7275" y="3409"/>
                  </a:cubicBezTo>
                  <a:lnTo>
                    <a:pt x="10157" y="528"/>
                  </a:lnTo>
                  <a:cubicBezTo>
                    <a:pt x="10248" y="437"/>
                    <a:pt x="10365" y="393"/>
                    <a:pt x="10480" y="393"/>
                  </a:cubicBezTo>
                  <a:cubicBezTo>
                    <a:pt x="10636" y="393"/>
                    <a:pt x="10789" y="473"/>
                    <a:pt x="10871" y="623"/>
                  </a:cubicBezTo>
                  <a:cubicBezTo>
                    <a:pt x="10912" y="690"/>
                    <a:pt x="10983" y="733"/>
                    <a:pt x="11054" y="733"/>
                  </a:cubicBezTo>
                  <a:cubicBezTo>
                    <a:pt x="11085" y="733"/>
                    <a:pt x="11116" y="725"/>
                    <a:pt x="11145" y="707"/>
                  </a:cubicBezTo>
                  <a:cubicBezTo>
                    <a:pt x="11228" y="647"/>
                    <a:pt x="11276" y="528"/>
                    <a:pt x="11216" y="433"/>
                  </a:cubicBezTo>
                  <a:cubicBezTo>
                    <a:pt x="11058" y="152"/>
                    <a:pt x="10770" y="1"/>
                    <a:pt x="10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9" name="Google Shape;10449;p59"/>
            <p:cNvSpPr/>
            <p:nvPr/>
          </p:nvSpPr>
          <p:spPr>
            <a:xfrm>
              <a:off x="3510335" y="2959936"/>
              <a:ext cx="176413" cy="43291"/>
            </a:xfrm>
            <a:custGeom>
              <a:avLst/>
              <a:gdLst/>
              <a:ahLst/>
              <a:cxnLst/>
              <a:rect l="l" t="t" r="r" b="b"/>
              <a:pathLst>
                <a:path w="5538" h="1359" extrusionOk="0">
                  <a:moveTo>
                    <a:pt x="3439" y="0"/>
                  </a:moveTo>
                  <a:cubicBezTo>
                    <a:pt x="2239" y="0"/>
                    <a:pt x="999" y="350"/>
                    <a:pt x="96" y="995"/>
                  </a:cubicBezTo>
                  <a:cubicBezTo>
                    <a:pt x="13" y="1054"/>
                    <a:pt x="1" y="1185"/>
                    <a:pt x="60" y="1280"/>
                  </a:cubicBezTo>
                  <a:cubicBezTo>
                    <a:pt x="96" y="1330"/>
                    <a:pt x="156" y="1358"/>
                    <a:pt x="217" y="1358"/>
                  </a:cubicBezTo>
                  <a:cubicBezTo>
                    <a:pt x="259" y="1358"/>
                    <a:pt x="300" y="1345"/>
                    <a:pt x="334" y="1316"/>
                  </a:cubicBezTo>
                  <a:cubicBezTo>
                    <a:pt x="965" y="876"/>
                    <a:pt x="1787" y="578"/>
                    <a:pt x="2656" y="459"/>
                  </a:cubicBezTo>
                  <a:cubicBezTo>
                    <a:pt x="2927" y="424"/>
                    <a:pt x="3196" y="407"/>
                    <a:pt x="3459" y="407"/>
                  </a:cubicBezTo>
                  <a:cubicBezTo>
                    <a:pt x="4099" y="407"/>
                    <a:pt x="4708" y="510"/>
                    <a:pt x="5240" y="721"/>
                  </a:cubicBezTo>
                  <a:cubicBezTo>
                    <a:pt x="5258" y="729"/>
                    <a:pt x="5279" y="733"/>
                    <a:pt x="5300" y="733"/>
                  </a:cubicBezTo>
                  <a:cubicBezTo>
                    <a:pt x="5373" y="733"/>
                    <a:pt x="5453" y="687"/>
                    <a:pt x="5490" y="614"/>
                  </a:cubicBezTo>
                  <a:cubicBezTo>
                    <a:pt x="5537" y="506"/>
                    <a:pt x="5478" y="387"/>
                    <a:pt x="5383" y="352"/>
                  </a:cubicBezTo>
                  <a:cubicBezTo>
                    <a:pt x="4795" y="114"/>
                    <a:pt x="4123" y="0"/>
                    <a:pt x="34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0" name="Google Shape;10450;p59"/>
            <p:cNvSpPr/>
            <p:nvPr/>
          </p:nvSpPr>
          <p:spPr>
            <a:xfrm>
              <a:off x="3530435" y="2920213"/>
              <a:ext cx="133918" cy="35072"/>
            </a:xfrm>
            <a:custGeom>
              <a:avLst/>
              <a:gdLst/>
              <a:ahLst/>
              <a:cxnLst/>
              <a:rect l="l" t="t" r="r" b="b"/>
              <a:pathLst>
                <a:path w="4204" h="1101" extrusionOk="0">
                  <a:moveTo>
                    <a:pt x="2585" y="0"/>
                  </a:moveTo>
                  <a:cubicBezTo>
                    <a:pt x="1695" y="0"/>
                    <a:pt x="780" y="258"/>
                    <a:pt x="108" y="741"/>
                  </a:cubicBezTo>
                  <a:cubicBezTo>
                    <a:pt x="13" y="801"/>
                    <a:pt x="1" y="932"/>
                    <a:pt x="60" y="1027"/>
                  </a:cubicBezTo>
                  <a:cubicBezTo>
                    <a:pt x="95" y="1076"/>
                    <a:pt x="158" y="1100"/>
                    <a:pt x="221" y="1100"/>
                  </a:cubicBezTo>
                  <a:cubicBezTo>
                    <a:pt x="266" y="1100"/>
                    <a:pt x="311" y="1088"/>
                    <a:pt x="346" y="1063"/>
                  </a:cubicBezTo>
                  <a:cubicBezTo>
                    <a:pt x="955" y="637"/>
                    <a:pt x="1801" y="405"/>
                    <a:pt x="2613" y="405"/>
                  </a:cubicBezTo>
                  <a:cubicBezTo>
                    <a:pt x="3071" y="405"/>
                    <a:pt x="3519" y="479"/>
                    <a:pt x="3906" y="634"/>
                  </a:cubicBezTo>
                  <a:cubicBezTo>
                    <a:pt x="3925" y="642"/>
                    <a:pt x="3945" y="646"/>
                    <a:pt x="3966" y="646"/>
                  </a:cubicBezTo>
                  <a:cubicBezTo>
                    <a:pt x="4039" y="646"/>
                    <a:pt x="4119" y="599"/>
                    <a:pt x="4156" y="515"/>
                  </a:cubicBezTo>
                  <a:cubicBezTo>
                    <a:pt x="4204" y="408"/>
                    <a:pt x="4144" y="289"/>
                    <a:pt x="4049" y="265"/>
                  </a:cubicBezTo>
                  <a:cubicBezTo>
                    <a:pt x="3604" y="86"/>
                    <a:pt x="3099" y="0"/>
                    <a:pt x="2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1" name="Google Shape;10451;p59"/>
            <p:cNvSpPr/>
            <p:nvPr/>
          </p:nvSpPr>
          <p:spPr>
            <a:xfrm>
              <a:off x="3761416" y="3078787"/>
              <a:ext cx="53134" cy="174916"/>
            </a:xfrm>
            <a:custGeom>
              <a:avLst/>
              <a:gdLst/>
              <a:ahLst/>
              <a:cxnLst/>
              <a:rect l="l" t="t" r="r" b="b"/>
              <a:pathLst>
                <a:path w="1668" h="5491" extrusionOk="0">
                  <a:moveTo>
                    <a:pt x="830" y="1"/>
                  </a:moveTo>
                  <a:cubicBezTo>
                    <a:pt x="807" y="1"/>
                    <a:pt x="784" y="5"/>
                    <a:pt x="763" y="14"/>
                  </a:cubicBezTo>
                  <a:cubicBezTo>
                    <a:pt x="656" y="62"/>
                    <a:pt x="608" y="181"/>
                    <a:pt x="656" y="276"/>
                  </a:cubicBezTo>
                  <a:cubicBezTo>
                    <a:pt x="953" y="1002"/>
                    <a:pt x="1061" y="1919"/>
                    <a:pt x="918" y="2848"/>
                  </a:cubicBezTo>
                  <a:cubicBezTo>
                    <a:pt x="799" y="3717"/>
                    <a:pt x="501" y="4550"/>
                    <a:pt x="60" y="5169"/>
                  </a:cubicBezTo>
                  <a:cubicBezTo>
                    <a:pt x="1" y="5253"/>
                    <a:pt x="13" y="5372"/>
                    <a:pt x="108" y="5443"/>
                  </a:cubicBezTo>
                  <a:cubicBezTo>
                    <a:pt x="136" y="5476"/>
                    <a:pt x="174" y="5491"/>
                    <a:pt x="213" y="5491"/>
                  </a:cubicBezTo>
                  <a:cubicBezTo>
                    <a:pt x="272" y="5491"/>
                    <a:pt x="334" y="5458"/>
                    <a:pt x="370" y="5407"/>
                  </a:cubicBezTo>
                  <a:cubicBezTo>
                    <a:pt x="1370" y="3991"/>
                    <a:pt x="1668" y="1740"/>
                    <a:pt x="1013" y="121"/>
                  </a:cubicBezTo>
                  <a:cubicBezTo>
                    <a:pt x="977" y="41"/>
                    <a:pt x="901" y="1"/>
                    <a:pt x="8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2" name="Google Shape;10452;p59"/>
            <p:cNvSpPr/>
            <p:nvPr/>
          </p:nvSpPr>
          <p:spPr>
            <a:xfrm>
              <a:off x="3809230" y="3100990"/>
              <a:ext cx="42877" cy="132326"/>
            </a:xfrm>
            <a:custGeom>
              <a:avLst/>
              <a:gdLst/>
              <a:ahLst/>
              <a:cxnLst/>
              <a:rect l="l" t="t" r="r" b="b"/>
              <a:pathLst>
                <a:path w="1346" h="4154" extrusionOk="0">
                  <a:moveTo>
                    <a:pt x="674" y="1"/>
                  </a:moveTo>
                  <a:cubicBezTo>
                    <a:pt x="647" y="1"/>
                    <a:pt x="620" y="7"/>
                    <a:pt x="595" y="19"/>
                  </a:cubicBezTo>
                  <a:cubicBezTo>
                    <a:pt x="488" y="67"/>
                    <a:pt x="452" y="186"/>
                    <a:pt x="488" y="269"/>
                  </a:cubicBezTo>
                  <a:cubicBezTo>
                    <a:pt x="929" y="1365"/>
                    <a:pt x="750" y="2877"/>
                    <a:pt x="60" y="3829"/>
                  </a:cubicBezTo>
                  <a:cubicBezTo>
                    <a:pt x="0" y="3925"/>
                    <a:pt x="24" y="4044"/>
                    <a:pt x="107" y="4115"/>
                  </a:cubicBezTo>
                  <a:cubicBezTo>
                    <a:pt x="134" y="4142"/>
                    <a:pt x="170" y="4153"/>
                    <a:pt x="209" y="4153"/>
                  </a:cubicBezTo>
                  <a:cubicBezTo>
                    <a:pt x="273" y="4153"/>
                    <a:pt x="344" y="4120"/>
                    <a:pt x="381" y="4068"/>
                  </a:cubicBezTo>
                  <a:cubicBezTo>
                    <a:pt x="1119" y="3008"/>
                    <a:pt x="1345" y="1341"/>
                    <a:pt x="857" y="127"/>
                  </a:cubicBezTo>
                  <a:cubicBezTo>
                    <a:pt x="822" y="48"/>
                    <a:pt x="748" y="1"/>
                    <a:pt x="6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53" name="Google Shape;10453;p59"/>
          <p:cNvGrpSpPr/>
          <p:nvPr/>
        </p:nvGrpSpPr>
        <p:grpSpPr>
          <a:xfrm>
            <a:off x="3086313" y="2877049"/>
            <a:ext cx="320143" cy="392581"/>
            <a:chOff x="3086313" y="2877049"/>
            <a:chExt cx="320143" cy="392581"/>
          </a:xfrm>
        </p:grpSpPr>
        <p:sp>
          <p:nvSpPr>
            <p:cNvPr id="10454" name="Google Shape;10454;p59"/>
            <p:cNvSpPr/>
            <p:nvPr/>
          </p:nvSpPr>
          <p:spPr>
            <a:xfrm>
              <a:off x="3125749" y="2915371"/>
              <a:ext cx="240505" cy="354259"/>
            </a:xfrm>
            <a:custGeom>
              <a:avLst/>
              <a:gdLst/>
              <a:ahLst/>
              <a:cxnLst/>
              <a:rect l="l" t="t" r="r" b="b"/>
              <a:pathLst>
                <a:path w="7550" h="11121" extrusionOk="0">
                  <a:moveTo>
                    <a:pt x="3775" y="2929"/>
                  </a:moveTo>
                  <a:lnTo>
                    <a:pt x="3918" y="3120"/>
                  </a:lnTo>
                  <a:cubicBezTo>
                    <a:pt x="3871" y="3144"/>
                    <a:pt x="3823" y="3144"/>
                    <a:pt x="3775" y="3144"/>
                  </a:cubicBezTo>
                  <a:cubicBezTo>
                    <a:pt x="3740" y="3132"/>
                    <a:pt x="3692" y="3120"/>
                    <a:pt x="3644" y="3120"/>
                  </a:cubicBezTo>
                  <a:lnTo>
                    <a:pt x="3775" y="2929"/>
                  </a:lnTo>
                  <a:close/>
                  <a:moveTo>
                    <a:pt x="4168" y="3501"/>
                  </a:moveTo>
                  <a:lnTo>
                    <a:pt x="4299" y="3703"/>
                  </a:lnTo>
                  <a:cubicBezTo>
                    <a:pt x="4126" y="3751"/>
                    <a:pt x="3948" y="3775"/>
                    <a:pt x="3769" y="3775"/>
                  </a:cubicBezTo>
                  <a:cubicBezTo>
                    <a:pt x="3591" y="3775"/>
                    <a:pt x="3412" y="3751"/>
                    <a:pt x="3239" y="3703"/>
                  </a:cubicBezTo>
                  <a:lnTo>
                    <a:pt x="3382" y="3501"/>
                  </a:lnTo>
                  <a:cubicBezTo>
                    <a:pt x="3513" y="3560"/>
                    <a:pt x="3644" y="3572"/>
                    <a:pt x="3775" y="3572"/>
                  </a:cubicBezTo>
                  <a:cubicBezTo>
                    <a:pt x="3918" y="3572"/>
                    <a:pt x="4049" y="3537"/>
                    <a:pt x="4168" y="3501"/>
                  </a:cubicBezTo>
                  <a:close/>
                  <a:moveTo>
                    <a:pt x="3120" y="4132"/>
                  </a:moveTo>
                  <a:cubicBezTo>
                    <a:pt x="3275" y="4180"/>
                    <a:pt x="3418" y="4191"/>
                    <a:pt x="3561" y="4215"/>
                  </a:cubicBezTo>
                  <a:lnTo>
                    <a:pt x="3561" y="8109"/>
                  </a:lnTo>
                  <a:lnTo>
                    <a:pt x="3120" y="8109"/>
                  </a:lnTo>
                  <a:lnTo>
                    <a:pt x="3120" y="4132"/>
                  </a:lnTo>
                  <a:close/>
                  <a:moveTo>
                    <a:pt x="4430" y="4132"/>
                  </a:moveTo>
                  <a:lnTo>
                    <a:pt x="4430" y="8109"/>
                  </a:lnTo>
                  <a:lnTo>
                    <a:pt x="4001" y="8109"/>
                  </a:lnTo>
                  <a:lnTo>
                    <a:pt x="4001" y="4215"/>
                  </a:lnTo>
                  <a:cubicBezTo>
                    <a:pt x="4156" y="4191"/>
                    <a:pt x="4287" y="4180"/>
                    <a:pt x="4430" y="4132"/>
                  </a:cubicBezTo>
                  <a:close/>
                  <a:moveTo>
                    <a:pt x="3799" y="441"/>
                  </a:moveTo>
                  <a:cubicBezTo>
                    <a:pt x="4668" y="441"/>
                    <a:pt x="5490" y="786"/>
                    <a:pt x="6121" y="1394"/>
                  </a:cubicBezTo>
                  <a:cubicBezTo>
                    <a:pt x="6752" y="2025"/>
                    <a:pt x="7097" y="2858"/>
                    <a:pt x="7097" y="3751"/>
                  </a:cubicBezTo>
                  <a:cubicBezTo>
                    <a:pt x="7097" y="4620"/>
                    <a:pt x="6752" y="5442"/>
                    <a:pt x="6157" y="6073"/>
                  </a:cubicBezTo>
                  <a:cubicBezTo>
                    <a:pt x="5609" y="6632"/>
                    <a:pt x="5299" y="7347"/>
                    <a:pt x="5240" y="8109"/>
                  </a:cubicBezTo>
                  <a:lnTo>
                    <a:pt x="4883" y="8109"/>
                  </a:lnTo>
                  <a:lnTo>
                    <a:pt x="4883" y="3822"/>
                  </a:lnTo>
                  <a:cubicBezTo>
                    <a:pt x="4883" y="3775"/>
                    <a:pt x="4871" y="3739"/>
                    <a:pt x="4835" y="3703"/>
                  </a:cubicBezTo>
                  <a:lnTo>
                    <a:pt x="3978" y="2406"/>
                  </a:lnTo>
                  <a:cubicBezTo>
                    <a:pt x="3930" y="2346"/>
                    <a:pt x="3871" y="2310"/>
                    <a:pt x="3799" y="2310"/>
                  </a:cubicBezTo>
                  <a:cubicBezTo>
                    <a:pt x="3716" y="2310"/>
                    <a:pt x="3644" y="2334"/>
                    <a:pt x="3620" y="2406"/>
                  </a:cubicBezTo>
                  <a:lnTo>
                    <a:pt x="2751" y="3703"/>
                  </a:lnTo>
                  <a:cubicBezTo>
                    <a:pt x="2728" y="3739"/>
                    <a:pt x="2704" y="3775"/>
                    <a:pt x="2704" y="3822"/>
                  </a:cubicBezTo>
                  <a:lnTo>
                    <a:pt x="2704" y="8109"/>
                  </a:lnTo>
                  <a:lnTo>
                    <a:pt x="2347" y="8109"/>
                  </a:lnTo>
                  <a:cubicBezTo>
                    <a:pt x="2287" y="7347"/>
                    <a:pt x="1977" y="6632"/>
                    <a:pt x="1430" y="6073"/>
                  </a:cubicBezTo>
                  <a:cubicBezTo>
                    <a:pt x="834" y="5465"/>
                    <a:pt x="501" y="4656"/>
                    <a:pt x="489" y="3810"/>
                  </a:cubicBezTo>
                  <a:cubicBezTo>
                    <a:pt x="477" y="2929"/>
                    <a:pt x="823" y="2096"/>
                    <a:pt x="1430" y="1453"/>
                  </a:cubicBezTo>
                  <a:cubicBezTo>
                    <a:pt x="2049" y="822"/>
                    <a:pt x="2870" y="453"/>
                    <a:pt x="3751" y="441"/>
                  </a:cubicBezTo>
                  <a:close/>
                  <a:moveTo>
                    <a:pt x="5228" y="8561"/>
                  </a:moveTo>
                  <a:lnTo>
                    <a:pt x="5228" y="8835"/>
                  </a:lnTo>
                  <a:lnTo>
                    <a:pt x="5228" y="8883"/>
                  </a:lnTo>
                  <a:lnTo>
                    <a:pt x="2335" y="8883"/>
                  </a:lnTo>
                  <a:lnTo>
                    <a:pt x="2335" y="8835"/>
                  </a:lnTo>
                  <a:lnTo>
                    <a:pt x="2335" y="8561"/>
                  </a:lnTo>
                  <a:close/>
                  <a:moveTo>
                    <a:pt x="5121" y="9311"/>
                  </a:moveTo>
                  <a:cubicBezTo>
                    <a:pt x="4942" y="9752"/>
                    <a:pt x="4525" y="10026"/>
                    <a:pt x="4037" y="10026"/>
                  </a:cubicBezTo>
                  <a:lnTo>
                    <a:pt x="3525" y="10026"/>
                  </a:lnTo>
                  <a:cubicBezTo>
                    <a:pt x="3037" y="10026"/>
                    <a:pt x="2620" y="9728"/>
                    <a:pt x="2442" y="9311"/>
                  </a:cubicBezTo>
                  <a:close/>
                  <a:moveTo>
                    <a:pt x="4049" y="10478"/>
                  </a:moveTo>
                  <a:cubicBezTo>
                    <a:pt x="4061" y="10478"/>
                    <a:pt x="4109" y="10478"/>
                    <a:pt x="4132" y="10490"/>
                  </a:cubicBezTo>
                  <a:cubicBezTo>
                    <a:pt x="4132" y="10597"/>
                    <a:pt x="4049" y="10668"/>
                    <a:pt x="3954" y="10668"/>
                  </a:cubicBezTo>
                  <a:lnTo>
                    <a:pt x="3620" y="10668"/>
                  </a:lnTo>
                  <a:cubicBezTo>
                    <a:pt x="3513" y="10668"/>
                    <a:pt x="3442" y="10585"/>
                    <a:pt x="3442" y="10490"/>
                  </a:cubicBezTo>
                  <a:lnTo>
                    <a:pt x="3442" y="10478"/>
                  </a:lnTo>
                  <a:close/>
                  <a:moveTo>
                    <a:pt x="3762" y="0"/>
                  </a:moveTo>
                  <a:cubicBezTo>
                    <a:pt x="3746" y="0"/>
                    <a:pt x="3731" y="0"/>
                    <a:pt x="3716" y="0"/>
                  </a:cubicBezTo>
                  <a:cubicBezTo>
                    <a:pt x="1656" y="24"/>
                    <a:pt x="1" y="1739"/>
                    <a:pt x="13" y="3810"/>
                  </a:cubicBezTo>
                  <a:cubicBezTo>
                    <a:pt x="25" y="4775"/>
                    <a:pt x="406" y="5680"/>
                    <a:pt x="1073" y="6370"/>
                  </a:cubicBezTo>
                  <a:cubicBezTo>
                    <a:pt x="1596" y="6906"/>
                    <a:pt x="1870" y="7609"/>
                    <a:pt x="1870" y="8335"/>
                  </a:cubicBezTo>
                  <a:lnTo>
                    <a:pt x="1870" y="8835"/>
                  </a:lnTo>
                  <a:cubicBezTo>
                    <a:pt x="1870" y="9549"/>
                    <a:pt x="2335" y="10168"/>
                    <a:pt x="2966" y="10383"/>
                  </a:cubicBezTo>
                  <a:lnTo>
                    <a:pt x="2966" y="10490"/>
                  </a:lnTo>
                  <a:cubicBezTo>
                    <a:pt x="2966" y="10835"/>
                    <a:pt x="3239" y="11121"/>
                    <a:pt x="3585" y="11121"/>
                  </a:cubicBezTo>
                  <a:lnTo>
                    <a:pt x="3930" y="11121"/>
                  </a:lnTo>
                  <a:cubicBezTo>
                    <a:pt x="4275" y="11121"/>
                    <a:pt x="4549" y="10835"/>
                    <a:pt x="4549" y="10490"/>
                  </a:cubicBezTo>
                  <a:lnTo>
                    <a:pt x="4549" y="10383"/>
                  </a:lnTo>
                  <a:cubicBezTo>
                    <a:pt x="5192" y="10168"/>
                    <a:pt x="5645" y="9549"/>
                    <a:pt x="5645" y="8835"/>
                  </a:cubicBezTo>
                  <a:lnTo>
                    <a:pt x="5645" y="8335"/>
                  </a:lnTo>
                  <a:cubicBezTo>
                    <a:pt x="5645" y="7609"/>
                    <a:pt x="5918" y="6918"/>
                    <a:pt x="6442" y="6382"/>
                  </a:cubicBezTo>
                  <a:cubicBezTo>
                    <a:pt x="7133" y="5680"/>
                    <a:pt x="7502" y="4751"/>
                    <a:pt x="7502" y="3763"/>
                  </a:cubicBezTo>
                  <a:cubicBezTo>
                    <a:pt x="7550" y="2751"/>
                    <a:pt x="7145" y="1798"/>
                    <a:pt x="6418" y="1084"/>
                  </a:cubicBezTo>
                  <a:cubicBezTo>
                    <a:pt x="5715" y="380"/>
                    <a:pt x="4757" y="0"/>
                    <a:pt x="3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5" name="Google Shape;10455;p59"/>
            <p:cNvSpPr/>
            <p:nvPr/>
          </p:nvSpPr>
          <p:spPr>
            <a:xfrm>
              <a:off x="3263076" y="2942511"/>
              <a:ext cx="79287" cy="99579"/>
            </a:xfrm>
            <a:custGeom>
              <a:avLst/>
              <a:gdLst/>
              <a:ahLst/>
              <a:cxnLst/>
              <a:rect l="l" t="t" r="r" b="b"/>
              <a:pathLst>
                <a:path w="2489" h="3126" extrusionOk="0">
                  <a:moveTo>
                    <a:pt x="246" y="1"/>
                  </a:moveTo>
                  <a:cubicBezTo>
                    <a:pt x="146" y="1"/>
                    <a:pt x="56" y="59"/>
                    <a:pt x="36" y="161"/>
                  </a:cubicBezTo>
                  <a:cubicBezTo>
                    <a:pt x="0" y="280"/>
                    <a:pt x="60" y="399"/>
                    <a:pt x="179" y="422"/>
                  </a:cubicBezTo>
                  <a:cubicBezTo>
                    <a:pt x="1286" y="744"/>
                    <a:pt x="2048" y="1768"/>
                    <a:pt x="2048" y="2899"/>
                  </a:cubicBezTo>
                  <a:cubicBezTo>
                    <a:pt x="2048" y="3018"/>
                    <a:pt x="2143" y="3125"/>
                    <a:pt x="2262" y="3125"/>
                  </a:cubicBezTo>
                  <a:cubicBezTo>
                    <a:pt x="2381" y="3125"/>
                    <a:pt x="2488" y="3018"/>
                    <a:pt x="2488" y="2899"/>
                  </a:cubicBezTo>
                  <a:cubicBezTo>
                    <a:pt x="2488" y="1577"/>
                    <a:pt x="1595" y="387"/>
                    <a:pt x="298" y="6"/>
                  </a:cubicBezTo>
                  <a:cubicBezTo>
                    <a:pt x="280" y="2"/>
                    <a:pt x="263" y="1"/>
                    <a:pt x="2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6" name="Google Shape;10456;p59"/>
            <p:cNvSpPr/>
            <p:nvPr/>
          </p:nvSpPr>
          <p:spPr>
            <a:xfrm>
              <a:off x="3237656" y="2939262"/>
              <a:ext cx="20897" cy="14462"/>
            </a:xfrm>
            <a:custGeom>
              <a:avLst/>
              <a:gdLst/>
              <a:ahLst/>
              <a:cxnLst/>
              <a:rect l="l" t="t" r="r" b="b"/>
              <a:pathLst>
                <a:path w="656" h="454" extrusionOk="0">
                  <a:moveTo>
                    <a:pt x="227" y="1"/>
                  </a:moveTo>
                  <a:cubicBezTo>
                    <a:pt x="107" y="1"/>
                    <a:pt x="0" y="108"/>
                    <a:pt x="0" y="227"/>
                  </a:cubicBezTo>
                  <a:cubicBezTo>
                    <a:pt x="0" y="346"/>
                    <a:pt x="107" y="453"/>
                    <a:pt x="227" y="453"/>
                  </a:cubicBezTo>
                  <a:lnTo>
                    <a:pt x="417" y="453"/>
                  </a:lnTo>
                  <a:cubicBezTo>
                    <a:pt x="536" y="453"/>
                    <a:pt x="619" y="358"/>
                    <a:pt x="643" y="251"/>
                  </a:cubicBezTo>
                  <a:cubicBezTo>
                    <a:pt x="655" y="108"/>
                    <a:pt x="560" y="1"/>
                    <a:pt x="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7" name="Google Shape;10457;p59"/>
            <p:cNvSpPr/>
            <p:nvPr/>
          </p:nvSpPr>
          <p:spPr>
            <a:xfrm>
              <a:off x="3379888" y="3029539"/>
              <a:ext cx="26567" cy="14048"/>
            </a:xfrm>
            <a:custGeom>
              <a:avLst/>
              <a:gdLst/>
              <a:ahLst/>
              <a:cxnLst/>
              <a:rect l="l" t="t" r="r" b="b"/>
              <a:pathLst>
                <a:path w="834" h="441" extrusionOk="0">
                  <a:moveTo>
                    <a:pt x="226" y="0"/>
                  </a:moveTo>
                  <a:cubicBezTo>
                    <a:pt x="107" y="0"/>
                    <a:pt x="0" y="107"/>
                    <a:pt x="0" y="226"/>
                  </a:cubicBezTo>
                  <a:cubicBezTo>
                    <a:pt x="0" y="346"/>
                    <a:pt x="107" y="441"/>
                    <a:pt x="226" y="441"/>
                  </a:cubicBezTo>
                  <a:lnTo>
                    <a:pt x="607" y="441"/>
                  </a:lnTo>
                  <a:cubicBezTo>
                    <a:pt x="726" y="441"/>
                    <a:pt x="834" y="346"/>
                    <a:pt x="834" y="226"/>
                  </a:cubicBezTo>
                  <a:cubicBezTo>
                    <a:pt x="822" y="107"/>
                    <a:pt x="726" y="0"/>
                    <a:pt x="6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8" name="Google Shape;10458;p59"/>
            <p:cNvSpPr/>
            <p:nvPr/>
          </p:nvSpPr>
          <p:spPr>
            <a:xfrm>
              <a:off x="3086313" y="3029539"/>
              <a:ext cx="26599" cy="14048"/>
            </a:xfrm>
            <a:custGeom>
              <a:avLst/>
              <a:gdLst/>
              <a:ahLst/>
              <a:cxnLst/>
              <a:rect l="l" t="t" r="r" b="b"/>
              <a:pathLst>
                <a:path w="835" h="441" extrusionOk="0">
                  <a:moveTo>
                    <a:pt x="227" y="0"/>
                  </a:moveTo>
                  <a:cubicBezTo>
                    <a:pt x="108" y="0"/>
                    <a:pt x="1" y="107"/>
                    <a:pt x="1" y="226"/>
                  </a:cubicBezTo>
                  <a:cubicBezTo>
                    <a:pt x="1" y="346"/>
                    <a:pt x="108" y="441"/>
                    <a:pt x="227" y="441"/>
                  </a:cubicBezTo>
                  <a:lnTo>
                    <a:pt x="608" y="441"/>
                  </a:lnTo>
                  <a:cubicBezTo>
                    <a:pt x="727" y="441"/>
                    <a:pt x="834" y="346"/>
                    <a:pt x="834" y="226"/>
                  </a:cubicBezTo>
                  <a:cubicBezTo>
                    <a:pt x="834" y="107"/>
                    <a:pt x="727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9" name="Google Shape;10459;p59"/>
            <p:cNvSpPr/>
            <p:nvPr/>
          </p:nvSpPr>
          <p:spPr>
            <a:xfrm>
              <a:off x="3359788" y="2953469"/>
              <a:ext cx="26567" cy="20355"/>
            </a:xfrm>
            <a:custGeom>
              <a:avLst/>
              <a:gdLst/>
              <a:ahLst/>
              <a:cxnLst/>
              <a:rect l="l" t="t" r="r" b="b"/>
              <a:pathLst>
                <a:path w="834" h="639" extrusionOk="0">
                  <a:moveTo>
                    <a:pt x="594" y="0"/>
                  </a:moveTo>
                  <a:cubicBezTo>
                    <a:pt x="555" y="0"/>
                    <a:pt x="514" y="13"/>
                    <a:pt x="476" y="43"/>
                  </a:cubicBezTo>
                  <a:lnTo>
                    <a:pt x="155" y="233"/>
                  </a:lnTo>
                  <a:cubicBezTo>
                    <a:pt x="48" y="293"/>
                    <a:pt x="0" y="424"/>
                    <a:pt x="83" y="531"/>
                  </a:cubicBezTo>
                  <a:cubicBezTo>
                    <a:pt x="119" y="602"/>
                    <a:pt x="203" y="638"/>
                    <a:pt x="274" y="638"/>
                  </a:cubicBezTo>
                  <a:cubicBezTo>
                    <a:pt x="310" y="638"/>
                    <a:pt x="345" y="614"/>
                    <a:pt x="381" y="602"/>
                  </a:cubicBezTo>
                  <a:lnTo>
                    <a:pt x="703" y="412"/>
                  </a:lnTo>
                  <a:cubicBezTo>
                    <a:pt x="810" y="352"/>
                    <a:pt x="834" y="221"/>
                    <a:pt x="774" y="114"/>
                  </a:cubicBezTo>
                  <a:cubicBezTo>
                    <a:pt x="735" y="45"/>
                    <a:pt x="667" y="0"/>
                    <a:pt x="5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0" name="Google Shape;10460;p59"/>
            <p:cNvSpPr/>
            <p:nvPr/>
          </p:nvSpPr>
          <p:spPr>
            <a:xfrm>
              <a:off x="3106413" y="3100034"/>
              <a:ext cx="26599" cy="20164"/>
            </a:xfrm>
            <a:custGeom>
              <a:avLst/>
              <a:gdLst/>
              <a:ahLst/>
              <a:cxnLst/>
              <a:rect l="l" t="t" r="r" b="b"/>
              <a:pathLst>
                <a:path w="835" h="633" extrusionOk="0">
                  <a:moveTo>
                    <a:pt x="590" y="0"/>
                  </a:moveTo>
                  <a:cubicBezTo>
                    <a:pt x="550" y="0"/>
                    <a:pt x="511" y="12"/>
                    <a:pt x="477" y="38"/>
                  </a:cubicBezTo>
                  <a:lnTo>
                    <a:pt x="144" y="228"/>
                  </a:lnTo>
                  <a:cubicBezTo>
                    <a:pt x="36" y="288"/>
                    <a:pt x="1" y="419"/>
                    <a:pt x="72" y="526"/>
                  </a:cubicBezTo>
                  <a:cubicBezTo>
                    <a:pt x="108" y="597"/>
                    <a:pt x="191" y="633"/>
                    <a:pt x="263" y="633"/>
                  </a:cubicBezTo>
                  <a:cubicBezTo>
                    <a:pt x="310" y="633"/>
                    <a:pt x="334" y="609"/>
                    <a:pt x="370" y="597"/>
                  </a:cubicBezTo>
                  <a:lnTo>
                    <a:pt x="691" y="407"/>
                  </a:lnTo>
                  <a:cubicBezTo>
                    <a:pt x="787" y="347"/>
                    <a:pt x="834" y="216"/>
                    <a:pt x="775" y="109"/>
                  </a:cubicBezTo>
                  <a:cubicBezTo>
                    <a:pt x="736" y="40"/>
                    <a:pt x="663" y="0"/>
                    <a:pt x="5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1" name="Google Shape;10461;p59"/>
            <p:cNvSpPr/>
            <p:nvPr/>
          </p:nvSpPr>
          <p:spPr>
            <a:xfrm>
              <a:off x="3308565" y="2897277"/>
              <a:ext cx="22044" cy="24178"/>
            </a:xfrm>
            <a:custGeom>
              <a:avLst/>
              <a:gdLst/>
              <a:ahLst/>
              <a:cxnLst/>
              <a:rect l="l" t="t" r="r" b="b"/>
              <a:pathLst>
                <a:path w="692" h="759" extrusionOk="0">
                  <a:moveTo>
                    <a:pt x="441" y="1"/>
                  </a:moveTo>
                  <a:cubicBezTo>
                    <a:pt x="369" y="1"/>
                    <a:pt x="301" y="35"/>
                    <a:pt x="263" y="104"/>
                  </a:cubicBezTo>
                  <a:lnTo>
                    <a:pt x="60" y="438"/>
                  </a:lnTo>
                  <a:cubicBezTo>
                    <a:pt x="1" y="533"/>
                    <a:pt x="37" y="676"/>
                    <a:pt x="144" y="735"/>
                  </a:cubicBezTo>
                  <a:cubicBezTo>
                    <a:pt x="167" y="747"/>
                    <a:pt x="215" y="759"/>
                    <a:pt x="239" y="759"/>
                  </a:cubicBezTo>
                  <a:cubicBezTo>
                    <a:pt x="322" y="759"/>
                    <a:pt x="394" y="711"/>
                    <a:pt x="441" y="652"/>
                  </a:cubicBezTo>
                  <a:lnTo>
                    <a:pt x="632" y="330"/>
                  </a:lnTo>
                  <a:cubicBezTo>
                    <a:pt x="691" y="223"/>
                    <a:pt x="656" y="92"/>
                    <a:pt x="560" y="33"/>
                  </a:cubicBezTo>
                  <a:cubicBezTo>
                    <a:pt x="522" y="11"/>
                    <a:pt x="481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2" name="Google Shape;10462;p59"/>
            <p:cNvSpPr/>
            <p:nvPr/>
          </p:nvSpPr>
          <p:spPr>
            <a:xfrm>
              <a:off x="3239153" y="2877049"/>
              <a:ext cx="14080" cy="26599"/>
            </a:xfrm>
            <a:custGeom>
              <a:avLst/>
              <a:gdLst/>
              <a:ahLst/>
              <a:cxnLst/>
              <a:rect l="l" t="t" r="r" b="b"/>
              <a:pathLst>
                <a:path w="442" h="835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lnTo>
                    <a:pt x="1" y="608"/>
                  </a:lnTo>
                  <a:cubicBezTo>
                    <a:pt x="1" y="727"/>
                    <a:pt x="96" y="834"/>
                    <a:pt x="215" y="834"/>
                  </a:cubicBezTo>
                  <a:cubicBezTo>
                    <a:pt x="334" y="834"/>
                    <a:pt x="441" y="727"/>
                    <a:pt x="441" y="608"/>
                  </a:cubicBezTo>
                  <a:lnTo>
                    <a:pt x="441" y="215"/>
                  </a:lnTo>
                  <a:cubicBezTo>
                    <a:pt x="441" y="96"/>
                    <a:pt x="358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3" name="Google Shape;10463;p59"/>
            <p:cNvSpPr/>
            <p:nvPr/>
          </p:nvSpPr>
          <p:spPr>
            <a:xfrm>
              <a:off x="3161809" y="2897500"/>
              <a:ext cx="22394" cy="24337"/>
            </a:xfrm>
            <a:custGeom>
              <a:avLst/>
              <a:gdLst/>
              <a:ahLst/>
              <a:cxnLst/>
              <a:rect l="l" t="t" r="r" b="b"/>
              <a:pathLst>
                <a:path w="703" h="764" extrusionOk="0">
                  <a:moveTo>
                    <a:pt x="262" y="0"/>
                  </a:moveTo>
                  <a:cubicBezTo>
                    <a:pt x="222" y="0"/>
                    <a:pt x="181" y="12"/>
                    <a:pt x="143" y="38"/>
                  </a:cubicBezTo>
                  <a:cubicBezTo>
                    <a:pt x="48" y="97"/>
                    <a:pt x="0" y="228"/>
                    <a:pt x="72" y="335"/>
                  </a:cubicBezTo>
                  <a:lnTo>
                    <a:pt x="262" y="669"/>
                  </a:lnTo>
                  <a:cubicBezTo>
                    <a:pt x="310" y="740"/>
                    <a:pt x="381" y="764"/>
                    <a:pt x="464" y="764"/>
                  </a:cubicBezTo>
                  <a:cubicBezTo>
                    <a:pt x="500" y="764"/>
                    <a:pt x="536" y="752"/>
                    <a:pt x="560" y="740"/>
                  </a:cubicBezTo>
                  <a:cubicBezTo>
                    <a:pt x="667" y="681"/>
                    <a:pt x="703" y="550"/>
                    <a:pt x="643" y="442"/>
                  </a:cubicBezTo>
                  <a:lnTo>
                    <a:pt x="441" y="109"/>
                  </a:lnTo>
                  <a:cubicBezTo>
                    <a:pt x="402" y="40"/>
                    <a:pt x="334" y="0"/>
                    <a:pt x="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4" name="Google Shape;10464;p59"/>
            <p:cNvSpPr/>
            <p:nvPr/>
          </p:nvSpPr>
          <p:spPr>
            <a:xfrm>
              <a:off x="3106413" y="2953151"/>
              <a:ext cx="26599" cy="19909"/>
            </a:xfrm>
            <a:custGeom>
              <a:avLst/>
              <a:gdLst/>
              <a:ahLst/>
              <a:cxnLst/>
              <a:rect l="l" t="t" r="r" b="b"/>
              <a:pathLst>
                <a:path w="835" h="625" extrusionOk="0">
                  <a:moveTo>
                    <a:pt x="246" y="0"/>
                  </a:moveTo>
                  <a:cubicBezTo>
                    <a:pt x="168" y="0"/>
                    <a:pt x="92" y="40"/>
                    <a:pt x="60" y="112"/>
                  </a:cubicBezTo>
                  <a:cubicBezTo>
                    <a:pt x="1" y="208"/>
                    <a:pt x="25" y="350"/>
                    <a:pt x="132" y="410"/>
                  </a:cubicBezTo>
                  <a:lnTo>
                    <a:pt x="453" y="600"/>
                  </a:lnTo>
                  <a:cubicBezTo>
                    <a:pt x="489" y="612"/>
                    <a:pt x="537" y="624"/>
                    <a:pt x="560" y="624"/>
                  </a:cubicBezTo>
                  <a:cubicBezTo>
                    <a:pt x="632" y="624"/>
                    <a:pt x="715" y="589"/>
                    <a:pt x="751" y="529"/>
                  </a:cubicBezTo>
                  <a:cubicBezTo>
                    <a:pt x="834" y="422"/>
                    <a:pt x="787" y="291"/>
                    <a:pt x="679" y="231"/>
                  </a:cubicBezTo>
                  <a:lnTo>
                    <a:pt x="358" y="29"/>
                  </a:lnTo>
                  <a:cubicBezTo>
                    <a:pt x="323" y="10"/>
                    <a:pt x="284" y="0"/>
                    <a:pt x="2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5" name="Google Shape;10465;p59"/>
            <p:cNvSpPr/>
            <p:nvPr/>
          </p:nvSpPr>
          <p:spPr>
            <a:xfrm>
              <a:off x="3360520" y="3099811"/>
              <a:ext cx="25834" cy="20005"/>
            </a:xfrm>
            <a:custGeom>
              <a:avLst/>
              <a:gdLst/>
              <a:ahLst/>
              <a:cxnLst/>
              <a:rect l="l" t="t" r="r" b="b"/>
              <a:pathLst>
                <a:path w="811" h="628" extrusionOk="0">
                  <a:moveTo>
                    <a:pt x="239" y="1"/>
                  </a:moveTo>
                  <a:cubicBezTo>
                    <a:pt x="167" y="1"/>
                    <a:pt x="99" y="35"/>
                    <a:pt x="60" y="104"/>
                  </a:cubicBezTo>
                  <a:cubicBezTo>
                    <a:pt x="1" y="211"/>
                    <a:pt x="25" y="342"/>
                    <a:pt x="132" y="402"/>
                  </a:cubicBezTo>
                  <a:lnTo>
                    <a:pt x="453" y="592"/>
                  </a:lnTo>
                  <a:cubicBezTo>
                    <a:pt x="489" y="604"/>
                    <a:pt x="537" y="628"/>
                    <a:pt x="561" y="628"/>
                  </a:cubicBezTo>
                  <a:cubicBezTo>
                    <a:pt x="632" y="628"/>
                    <a:pt x="715" y="580"/>
                    <a:pt x="751" y="521"/>
                  </a:cubicBezTo>
                  <a:cubicBezTo>
                    <a:pt x="811" y="426"/>
                    <a:pt x="787" y="283"/>
                    <a:pt x="680" y="223"/>
                  </a:cubicBezTo>
                  <a:lnTo>
                    <a:pt x="358" y="33"/>
                  </a:lnTo>
                  <a:cubicBezTo>
                    <a:pt x="320" y="11"/>
                    <a:pt x="279" y="1"/>
                    <a:pt x="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66" name="Google Shape;10466;p59"/>
          <p:cNvSpPr/>
          <p:nvPr/>
        </p:nvSpPr>
        <p:spPr>
          <a:xfrm>
            <a:off x="2253814" y="2894123"/>
            <a:ext cx="210530" cy="357700"/>
          </a:xfrm>
          <a:custGeom>
            <a:avLst/>
            <a:gdLst/>
            <a:ahLst/>
            <a:cxnLst/>
            <a:rect l="l" t="t" r="r" b="b"/>
            <a:pathLst>
              <a:path w="6609" h="11229" extrusionOk="0">
                <a:moveTo>
                  <a:pt x="3310" y="1941"/>
                </a:moveTo>
                <a:cubicBezTo>
                  <a:pt x="3632" y="1941"/>
                  <a:pt x="3918" y="2227"/>
                  <a:pt x="3918" y="2572"/>
                </a:cubicBezTo>
                <a:lnTo>
                  <a:pt x="3918" y="2882"/>
                </a:lnTo>
                <a:cubicBezTo>
                  <a:pt x="3918" y="3037"/>
                  <a:pt x="3799" y="3156"/>
                  <a:pt x="3644" y="3156"/>
                </a:cubicBezTo>
                <a:lnTo>
                  <a:pt x="2953" y="3156"/>
                </a:lnTo>
                <a:cubicBezTo>
                  <a:pt x="2798" y="3156"/>
                  <a:pt x="2679" y="3037"/>
                  <a:pt x="2679" y="2882"/>
                </a:cubicBezTo>
                <a:lnTo>
                  <a:pt x="2679" y="2572"/>
                </a:lnTo>
                <a:cubicBezTo>
                  <a:pt x="2679" y="2227"/>
                  <a:pt x="2965" y="1941"/>
                  <a:pt x="3310" y="1941"/>
                </a:cubicBezTo>
                <a:close/>
                <a:moveTo>
                  <a:pt x="3918" y="10371"/>
                </a:moveTo>
                <a:lnTo>
                  <a:pt x="3918" y="10633"/>
                </a:lnTo>
                <a:lnTo>
                  <a:pt x="3906" y="10633"/>
                </a:lnTo>
                <a:cubicBezTo>
                  <a:pt x="3906" y="10788"/>
                  <a:pt x="3787" y="10907"/>
                  <a:pt x="3632" y="10907"/>
                </a:cubicBezTo>
                <a:lnTo>
                  <a:pt x="2929" y="10907"/>
                </a:lnTo>
                <a:cubicBezTo>
                  <a:pt x="2787" y="10907"/>
                  <a:pt x="2668" y="10788"/>
                  <a:pt x="2668" y="10633"/>
                </a:cubicBezTo>
                <a:lnTo>
                  <a:pt x="2668" y="10371"/>
                </a:lnTo>
                <a:close/>
                <a:moveTo>
                  <a:pt x="2572" y="1"/>
                </a:moveTo>
                <a:cubicBezTo>
                  <a:pt x="1144" y="1"/>
                  <a:pt x="1" y="1156"/>
                  <a:pt x="1" y="2572"/>
                </a:cubicBezTo>
                <a:lnTo>
                  <a:pt x="1" y="2751"/>
                </a:lnTo>
                <a:cubicBezTo>
                  <a:pt x="1" y="2834"/>
                  <a:pt x="72" y="2918"/>
                  <a:pt x="167" y="2918"/>
                </a:cubicBezTo>
                <a:cubicBezTo>
                  <a:pt x="251" y="2918"/>
                  <a:pt x="334" y="2834"/>
                  <a:pt x="334" y="2751"/>
                </a:cubicBezTo>
                <a:lnTo>
                  <a:pt x="334" y="2572"/>
                </a:lnTo>
                <a:cubicBezTo>
                  <a:pt x="334" y="1334"/>
                  <a:pt x="1346" y="322"/>
                  <a:pt x="2572" y="322"/>
                </a:cubicBezTo>
                <a:lnTo>
                  <a:pt x="3132" y="322"/>
                </a:lnTo>
                <a:lnTo>
                  <a:pt x="3132" y="1632"/>
                </a:lnTo>
                <a:cubicBezTo>
                  <a:pt x="2679" y="1703"/>
                  <a:pt x="2334" y="2096"/>
                  <a:pt x="2334" y="2572"/>
                </a:cubicBezTo>
                <a:lnTo>
                  <a:pt x="2334" y="2882"/>
                </a:lnTo>
                <a:cubicBezTo>
                  <a:pt x="2334" y="3204"/>
                  <a:pt x="2608" y="3489"/>
                  <a:pt x="2953" y="3489"/>
                </a:cubicBezTo>
                <a:lnTo>
                  <a:pt x="3644" y="3489"/>
                </a:lnTo>
                <a:cubicBezTo>
                  <a:pt x="3977" y="3489"/>
                  <a:pt x="4263" y="3227"/>
                  <a:pt x="4263" y="2882"/>
                </a:cubicBezTo>
                <a:lnTo>
                  <a:pt x="4263" y="2572"/>
                </a:lnTo>
                <a:cubicBezTo>
                  <a:pt x="4263" y="2108"/>
                  <a:pt x="3918" y="1703"/>
                  <a:pt x="3465" y="1632"/>
                </a:cubicBezTo>
                <a:lnTo>
                  <a:pt x="3465" y="322"/>
                </a:lnTo>
                <a:lnTo>
                  <a:pt x="4025" y="322"/>
                </a:lnTo>
                <a:cubicBezTo>
                  <a:pt x="5251" y="322"/>
                  <a:pt x="6263" y="1334"/>
                  <a:pt x="6263" y="2572"/>
                </a:cubicBezTo>
                <a:lnTo>
                  <a:pt x="6263" y="3632"/>
                </a:lnTo>
                <a:lnTo>
                  <a:pt x="5882" y="3632"/>
                </a:lnTo>
                <a:cubicBezTo>
                  <a:pt x="5549" y="3632"/>
                  <a:pt x="5275" y="3894"/>
                  <a:pt x="5275" y="4239"/>
                </a:cubicBezTo>
                <a:lnTo>
                  <a:pt x="5275" y="4430"/>
                </a:lnTo>
                <a:cubicBezTo>
                  <a:pt x="5275" y="4525"/>
                  <a:pt x="5346" y="4597"/>
                  <a:pt x="5430" y="4597"/>
                </a:cubicBezTo>
                <a:cubicBezTo>
                  <a:pt x="5525" y="4597"/>
                  <a:pt x="5596" y="4525"/>
                  <a:pt x="5596" y="4430"/>
                </a:cubicBezTo>
                <a:lnTo>
                  <a:pt x="5596" y="4239"/>
                </a:lnTo>
                <a:cubicBezTo>
                  <a:pt x="5596" y="4085"/>
                  <a:pt x="5716" y="3966"/>
                  <a:pt x="5870" y="3966"/>
                </a:cubicBezTo>
                <a:lnTo>
                  <a:pt x="6251" y="3966"/>
                </a:lnTo>
                <a:lnTo>
                  <a:pt x="6251" y="7264"/>
                </a:lnTo>
                <a:lnTo>
                  <a:pt x="5870" y="7264"/>
                </a:lnTo>
                <a:cubicBezTo>
                  <a:pt x="5716" y="7264"/>
                  <a:pt x="5596" y="7144"/>
                  <a:pt x="5596" y="6990"/>
                </a:cubicBezTo>
                <a:lnTo>
                  <a:pt x="5596" y="5216"/>
                </a:lnTo>
                <a:cubicBezTo>
                  <a:pt x="5596" y="5132"/>
                  <a:pt x="5525" y="5061"/>
                  <a:pt x="5430" y="5061"/>
                </a:cubicBezTo>
                <a:cubicBezTo>
                  <a:pt x="5346" y="5061"/>
                  <a:pt x="5275" y="5132"/>
                  <a:pt x="5275" y="5216"/>
                </a:cubicBezTo>
                <a:lnTo>
                  <a:pt x="5275" y="6990"/>
                </a:lnTo>
                <a:cubicBezTo>
                  <a:pt x="5275" y="7323"/>
                  <a:pt x="5537" y="7597"/>
                  <a:pt x="5882" y="7597"/>
                </a:cubicBezTo>
                <a:lnTo>
                  <a:pt x="6263" y="7597"/>
                </a:lnTo>
                <a:lnTo>
                  <a:pt x="6263" y="8228"/>
                </a:lnTo>
                <a:cubicBezTo>
                  <a:pt x="6263" y="9228"/>
                  <a:pt x="5454" y="10038"/>
                  <a:pt x="4453" y="10038"/>
                </a:cubicBezTo>
                <a:lnTo>
                  <a:pt x="2144" y="10038"/>
                </a:lnTo>
                <a:cubicBezTo>
                  <a:pt x="1144" y="10038"/>
                  <a:pt x="334" y="9228"/>
                  <a:pt x="334" y="8228"/>
                </a:cubicBezTo>
                <a:lnTo>
                  <a:pt x="334" y="7597"/>
                </a:lnTo>
                <a:lnTo>
                  <a:pt x="715" y="7597"/>
                </a:lnTo>
                <a:cubicBezTo>
                  <a:pt x="1048" y="7597"/>
                  <a:pt x="1322" y="7335"/>
                  <a:pt x="1322" y="6990"/>
                </a:cubicBezTo>
                <a:lnTo>
                  <a:pt x="1322" y="6811"/>
                </a:lnTo>
                <a:cubicBezTo>
                  <a:pt x="1322" y="6728"/>
                  <a:pt x="1251" y="6644"/>
                  <a:pt x="1167" y="6644"/>
                </a:cubicBezTo>
                <a:cubicBezTo>
                  <a:pt x="1072" y="6644"/>
                  <a:pt x="1001" y="6728"/>
                  <a:pt x="1001" y="6811"/>
                </a:cubicBezTo>
                <a:lnTo>
                  <a:pt x="1001" y="6990"/>
                </a:lnTo>
                <a:cubicBezTo>
                  <a:pt x="1001" y="7144"/>
                  <a:pt x="882" y="7264"/>
                  <a:pt x="727" y="7264"/>
                </a:cubicBezTo>
                <a:lnTo>
                  <a:pt x="346" y="7264"/>
                </a:lnTo>
                <a:lnTo>
                  <a:pt x="346" y="3966"/>
                </a:lnTo>
                <a:lnTo>
                  <a:pt x="727" y="3966"/>
                </a:lnTo>
                <a:cubicBezTo>
                  <a:pt x="882" y="3966"/>
                  <a:pt x="1001" y="4085"/>
                  <a:pt x="1001" y="4239"/>
                </a:cubicBezTo>
                <a:lnTo>
                  <a:pt x="1001" y="6037"/>
                </a:lnTo>
                <a:cubicBezTo>
                  <a:pt x="1001" y="6132"/>
                  <a:pt x="1072" y="6204"/>
                  <a:pt x="1167" y="6204"/>
                </a:cubicBezTo>
                <a:cubicBezTo>
                  <a:pt x="1251" y="6204"/>
                  <a:pt x="1322" y="6132"/>
                  <a:pt x="1322" y="6037"/>
                </a:cubicBezTo>
                <a:lnTo>
                  <a:pt x="1322" y="4239"/>
                </a:lnTo>
                <a:cubicBezTo>
                  <a:pt x="1322" y="3906"/>
                  <a:pt x="1060" y="3620"/>
                  <a:pt x="715" y="3620"/>
                </a:cubicBezTo>
                <a:lnTo>
                  <a:pt x="334" y="3620"/>
                </a:lnTo>
                <a:lnTo>
                  <a:pt x="334" y="3501"/>
                </a:lnTo>
                <a:cubicBezTo>
                  <a:pt x="334" y="3418"/>
                  <a:pt x="251" y="3346"/>
                  <a:pt x="167" y="3346"/>
                </a:cubicBezTo>
                <a:cubicBezTo>
                  <a:pt x="72" y="3346"/>
                  <a:pt x="1" y="3418"/>
                  <a:pt x="1" y="3501"/>
                </a:cubicBezTo>
                <a:lnTo>
                  <a:pt x="1" y="8216"/>
                </a:lnTo>
                <a:cubicBezTo>
                  <a:pt x="1" y="9383"/>
                  <a:pt x="953" y="10347"/>
                  <a:pt x="2144" y="10347"/>
                </a:cubicBezTo>
                <a:lnTo>
                  <a:pt x="2334" y="10347"/>
                </a:lnTo>
                <a:lnTo>
                  <a:pt x="2334" y="10621"/>
                </a:lnTo>
                <a:cubicBezTo>
                  <a:pt x="2334" y="10943"/>
                  <a:pt x="2608" y="11228"/>
                  <a:pt x="2953" y="11228"/>
                </a:cubicBezTo>
                <a:lnTo>
                  <a:pt x="3644" y="11228"/>
                </a:lnTo>
                <a:cubicBezTo>
                  <a:pt x="3977" y="11228"/>
                  <a:pt x="4263" y="10966"/>
                  <a:pt x="4263" y="10621"/>
                </a:cubicBezTo>
                <a:lnTo>
                  <a:pt x="4263" y="10347"/>
                </a:lnTo>
                <a:lnTo>
                  <a:pt x="4465" y="10347"/>
                </a:lnTo>
                <a:cubicBezTo>
                  <a:pt x="5644" y="10347"/>
                  <a:pt x="6608" y="9407"/>
                  <a:pt x="6608" y="8216"/>
                </a:cubicBezTo>
                <a:lnTo>
                  <a:pt x="6608" y="2572"/>
                </a:lnTo>
                <a:cubicBezTo>
                  <a:pt x="6585" y="1156"/>
                  <a:pt x="5418" y="1"/>
                  <a:pt x="40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67" name="Google Shape;10467;p59"/>
          <p:cNvGrpSpPr/>
          <p:nvPr/>
        </p:nvGrpSpPr>
        <p:grpSpPr>
          <a:xfrm>
            <a:off x="861113" y="2885746"/>
            <a:ext cx="333809" cy="373277"/>
            <a:chOff x="861113" y="2885746"/>
            <a:chExt cx="333809" cy="373277"/>
          </a:xfrm>
        </p:grpSpPr>
        <p:sp>
          <p:nvSpPr>
            <p:cNvPr id="10468" name="Google Shape;10468;p59"/>
            <p:cNvSpPr/>
            <p:nvPr/>
          </p:nvSpPr>
          <p:spPr>
            <a:xfrm>
              <a:off x="861113" y="2981533"/>
              <a:ext cx="315970" cy="277489"/>
            </a:xfrm>
            <a:custGeom>
              <a:avLst/>
              <a:gdLst/>
              <a:ahLst/>
              <a:cxnLst/>
              <a:rect l="l" t="t" r="r" b="b"/>
              <a:pathLst>
                <a:path w="9919" h="8711" extrusionOk="0">
                  <a:moveTo>
                    <a:pt x="3015" y="0"/>
                  </a:moveTo>
                  <a:cubicBezTo>
                    <a:pt x="2777" y="0"/>
                    <a:pt x="2558" y="27"/>
                    <a:pt x="2358" y="79"/>
                  </a:cubicBezTo>
                  <a:cubicBezTo>
                    <a:pt x="1739" y="245"/>
                    <a:pt x="1156" y="638"/>
                    <a:pt x="739" y="1210"/>
                  </a:cubicBezTo>
                  <a:cubicBezTo>
                    <a:pt x="251" y="1864"/>
                    <a:pt x="1" y="2698"/>
                    <a:pt x="1" y="3615"/>
                  </a:cubicBezTo>
                  <a:cubicBezTo>
                    <a:pt x="1" y="4567"/>
                    <a:pt x="429" y="5841"/>
                    <a:pt x="1132" y="6889"/>
                  </a:cubicBezTo>
                  <a:cubicBezTo>
                    <a:pt x="1882" y="8056"/>
                    <a:pt x="2763" y="8711"/>
                    <a:pt x="3549" y="8711"/>
                  </a:cubicBezTo>
                  <a:cubicBezTo>
                    <a:pt x="3870" y="8711"/>
                    <a:pt x="4180" y="8663"/>
                    <a:pt x="4478" y="8580"/>
                  </a:cubicBezTo>
                  <a:cubicBezTo>
                    <a:pt x="4632" y="8532"/>
                    <a:pt x="4796" y="8508"/>
                    <a:pt x="4960" y="8508"/>
                  </a:cubicBezTo>
                  <a:cubicBezTo>
                    <a:pt x="5123" y="8508"/>
                    <a:pt x="5287" y="8532"/>
                    <a:pt x="5442" y="8580"/>
                  </a:cubicBezTo>
                  <a:cubicBezTo>
                    <a:pt x="5740" y="8663"/>
                    <a:pt x="6049" y="8711"/>
                    <a:pt x="6371" y="8711"/>
                  </a:cubicBezTo>
                  <a:cubicBezTo>
                    <a:pt x="7156" y="8711"/>
                    <a:pt x="8026" y="8044"/>
                    <a:pt x="8788" y="6889"/>
                  </a:cubicBezTo>
                  <a:cubicBezTo>
                    <a:pt x="9490" y="5841"/>
                    <a:pt x="9919" y="4567"/>
                    <a:pt x="9919" y="3615"/>
                  </a:cubicBezTo>
                  <a:cubicBezTo>
                    <a:pt x="9847" y="2948"/>
                    <a:pt x="9716" y="2317"/>
                    <a:pt x="9431" y="1757"/>
                  </a:cubicBezTo>
                  <a:cubicBezTo>
                    <a:pt x="9398" y="1685"/>
                    <a:pt x="9334" y="1651"/>
                    <a:pt x="9266" y="1651"/>
                  </a:cubicBezTo>
                  <a:cubicBezTo>
                    <a:pt x="9233" y="1651"/>
                    <a:pt x="9199" y="1658"/>
                    <a:pt x="9169" y="1674"/>
                  </a:cubicBezTo>
                  <a:cubicBezTo>
                    <a:pt x="9061" y="1710"/>
                    <a:pt x="9026" y="1841"/>
                    <a:pt x="9073" y="1936"/>
                  </a:cubicBezTo>
                  <a:cubicBezTo>
                    <a:pt x="9323" y="2448"/>
                    <a:pt x="9442" y="3007"/>
                    <a:pt x="9442" y="3638"/>
                  </a:cubicBezTo>
                  <a:cubicBezTo>
                    <a:pt x="9442" y="4508"/>
                    <a:pt x="9050" y="5686"/>
                    <a:pt x="8395" y="6698"/>
                  </a:cubicBezTo>
                  <a:cubicBezTo>
                    <a:pt x="7716" y="7722"/>
                    <a:pt x="6942" y="8341"/>
                    <a:pt x="6311" y="8341"/>
                  </a:cubicBezTo>
                  <a:cubicBezTo>
                    <a:pt x="6037" y="8341"/>
                    <a:pt x="5751" y="8294"/>
                    <a:pt x="5501" y="8222"/>
                  </a:cubicBezTo>
                  <a:cubicBezTo>
                    <a:pt x="5311" y="8163"/>
                    <a:pt x="5112" y="8133"/>
                    <a:pt x="4911" y="8133"/>
                  </a:cubicBezTo>
                  <a:cubicBezTo>
                    <a:pt x="4710" y="8133"/>
                    <a:pt x="4507" y="8163"/>
                    <a:pt x="4311" y="8222"/>
                  </a:cubicBezTo>
                  <a:cubicBezTo>
                    <a:pt x="4061" y="8294"/>
                    <a:pt x="3775" y="8341"/>
                    <a:pt x="3513" y="8341"/>
                  </a:cubicBezTo>
                  <a:cubicBezTo>
                    <a:pt x="2870" y="8341"/>
                    <a:pt x="2096" y="7722"/>
                    <a:pt x="1430" y="6698"/>
                  </a:cubicBezTo>
                  <a:cubicBezTo>
                    <a:pt x="775" y="5698"/>
                    <a:pt x="370" y="4531"/>
                    <a:pt x="370" y="3638"/>
                  </a:cubicBezTo>
                  <a:cubicBezTo>
                    <a:pt x="370" y="2805"/>
                    <a:pt x="608" y="2043"/>
                    <a:pt x="1037" y="1460"/>
                  </a:cubicBezTo>
                  <a:cubicBezTo>
                    <a:pt x="1406" y="971"/>
                    <a:pt x="1918" y="614"/>
                    <a:pt x="2453" y="460"/>
                  </a:cubicBezTo>
                  <a:cubicBezTo>
                    <a:pt x="2603" y="422"/>
                    <a:pt x="2774" y="403"/>
                    <a:pt x="2963" y="403"/>
                  </a:cubicBezTo>
                  <a:cubicBezTo>
                    <a:pt x="3256" y="403"/>
                    <a:pt x="3592" y="449"/>
                    <a:pt x="3954" y="543"/>
                  </a:cubicBezTo>
                  <a:cubicBezTo>
                    <a:pt x="4013" y="555"/>
                    <a:pt x="4085" y="567"/>
                    <a:pt x="4144" y="579"/>
                  </a:cubicBezTo>
                  <a:cubicBezTo>
                    <a:pt x="4160" y="582"/>
                    <a:pt x="4176" y="584"/>
                    <a:pt x="4191" y="584"/>
                  </a:cubicBezTo>
                  <a:cubicBezTo>
                    <a:pt x="4281" y="584"/>
                    <a:pt x="4362" y="527"/>
                    <a:pt x="4382" y="436"/>
                  </a:cubicBezTo>
                  <a:cubicBezTo>
                    <a:pt x="4406" y="329"/>
                    <a:pt x="4347" y="221"/>
                    <a:pt x="4239" y="198"/>
                  </a:cubicBezTo>
                  <a:lnTo>
                    <a:pt x="4061" y="150"/>
                  </a:lnTo>
                  <a:cubicBezTo>
                    <a:pt x="3680" y="48"/>
                    <a:pt x="3331" y="0"/>
                    <a:pt x="30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9" name="Google Shape;10469;p59"/>
            <p:cNvSpPr/>
            <p:nvPr/>
          </p:nvSpPr>
          <p:spPr>
            <a:xfrm>
              <a:off x="1024976" y="2981756"/>
              <a:ext cx="125572" cy="45903"/>
            </a:xfrm>
            <a:custGeom>
              <a:avLst/>
              <a:gdLst/>
              <a:ahLst/>
              <a:cxnLst/>
              <a:rect l="l" t="t" r="r" b="b"/>
              <a:pathLst>
                <a:path w="3942" h="1441" extrusionOk="0">
                  <a:moveTo>
                    <a:pt x="1709" y="1"/>
                  </a:moveTo>
                  <a:cubicBezTo>
                    <a:pt x="1383" y="1"/>
                    <a:pt x="1022" y="51"/>
                    <a:pt x="631" y="143"/>
                  </a:cubicBezTo>
                  <a:cubicBezTo>
                    <a:pt x="477" y="191"/>
                    <a:pt x="334" y="202"/>
                    <a:pt x="191" y="238"/>
                  </a:cubicBezTo>
                  <a:cubicBezTo>
                    <a:pt x="96" y="250"/>
                    <a:pt x="0" y="357"/>
                    <a:pt x="12" y="464"/>
                  </a:cubicBezTo>
                  <a:cubicBezTo>
                    <a:pt x="35" y="554"/>
                    <a:pt x="121" y="644"/>
                    <a:pt x="220" y="644"/>
                  </a:cubicBezTo>
                  <a:cubicBezTo>
                    <a:pt x="226" y="644"/>
                    <a:pt x="232" y="644"/>
                    <a:pt x="238" y="643"/>
                  </a:cubicBezTo>
                  <a:cubicBezTo>
                    <a:pt x="405" y="619"/>
                    <a:pt x="572" y="583"/>
                    <a:pt x="727" y="548"/>
                  </a:cubicBezTo>
                  <a:cubicBezTo>
                    <a:pt x="1087" y="461"/>
                    <a:pt x="1417" y="414"/>
                    <a:pt x="1711" y="414"/>
                  </a:cubicBezTo>
                  <a:cubicBezTo>
                    <a:pt x="1903" y="414"/>
                    <a:pt x="2079" y="434"/>
                    <a:pt x="2239" y="476"/>
                  </a:cubicBezTo>
                  <a:cubicBezTo>
                    <a:pt x="2727" y="607"/>
                    <a:pt x="3203" y="917"/>
                    <a:pt x="3572" y="1369"/>
                  </a:cubicBezTo>
                  <a:cubicBezTo>
                    <a:pt x="3620" y="1417"/>
                    <a:pt x="3679" y="1441"/>
                    <a:pt x="3727" y="1441"/>
                  </a:cubicBezTo>
                  <a:cubicBezTo>
                    <a:pt x="3763" y="1441"/>
                    <a:pt x="3810" y="1429"/>
                    <a:pt x="3846" y="1393"/>
                  </a:cubicBezTo>
                  <a:cubicBezTo>
                    <a:pt x="3929" y="1322"/>
                    <a:pt x="3941" y="1191"/>
                    <a:pt x="3870" y="1095"/>
                  </a:cubicBezTo>
                  <a:cubicBezTo>
                    <a:pt x="3453" y="595"/>
                    <a:pt x="2905" y="226"/>
                    <a:pt x="2322" y="72"/>
                  </a:cubicBezTo>
                  <a:cubicBezTo>
                    <a:pt x="2135" y="23"/>
                    <a:pt x="1930" y="1"/>
                    <a:pt x="17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0" name="Google Shape;10470;p59"/>
            <p:cNvSpPr/>
            <p:nvPr/>
          </p:nvSpPr>
          <p:spPr>
            <a:xfrm>
              <a:off x="979455" y="2885746"/>
              <a:ext cx="215467" cy="145705"/>
            </a:xfrm>
            <a:custGeom>
              <a:avLst/>
              <a:gdLst/>
              <a:ahLst/>
              <a:cxnLst/>
              <a:rect l="l" t="t" r="r" b="b"/>
              <a:pathLst>
                <a:path w="6764" h="4574" extrusionOk="0">
                  <a:moveTo>
                    <a:pt x="4097" y="0"/>
                  </a:moveTo>
                  <a:cubicBezTo>
                    <a:pt x="3959" y="0"/>
                    <a:pt x="3824" y="9"/>
                    <a:pt x="3691" y="26"/>
                  </a:cubicBezTo>
                  <a:cubicBezTo>
                    <a:pt x="3049" y="61"/>
                    <a:pt x="2489" y="419"/>
                    <a:pt x="2060" y="1014"/>
                  </a:cubicBezTo>
                  <a:cubicBezTo>
                    <a:pt x="1775" y="1407"/>
                    <a:pt x="1620" y="1776"/>
                    <a:pt x="1596" y="1883"/>
                  </a:cubicBezTo>
                  <a:lnTo>
                    <a:pt x="1072" y="2681"/>
                  </a:lnTo>
                  <a:cubicBezTo>
                    <a:pt x="929" y="2240"/>
                    <a:pt x="774" y="1954"/>
                    <a:pt x="763" y="1943"/>
                  </a:cubicBezTo>
                  <a:cubicBezTo>
                    <a:pt x="728" y="1866"/>
                    <a:pt x="652" y="1832"/>
                    <a:pt x="576" y="1832"/>
                  </a:cubicBezTo>
                  <a:cubicBezTo>
                    <a:pt x="546" y="1832"/>
                    <a:pt x="516" y="1837"/>
                    <a:pt x="489" y="1847"/>
                  </a:cubicBezTo>
                  <a:cubicBezTo>
                    <a:pt x="405" y="1895"/>
                    <a:pt x="358" y="2026"/>
                    <a:pt x="405" y="2121"/>
                  </a:cubicBezTo>
                  <a:cubicBezTo>
                    <a:pt x="405" y="2133"/>
                    <a:pt x="870" y="3014"/>
                    <a:pt x="965" y="4157"/>
                  </a:cubicBezTo>
                  <a:cubicBezTo>
                    <a:pt x="822" y="4145"/>
                    <a:pt x="667" y="4098"/>
                    <a:pt x="572" y="4050"/>
                  </a:cubicBezTo>
                  <a:cubicBezTo>
                    <a:pt x="429" y="3990"/>
                    <a:pt x="393" y="3931"/>
                    <a:pt x="393" y="3919"/>
                  </a:cubicBezTo>
                  <a:cubicBezTo>
                    <a:pt x="393" y="3812"/>
                    <a:pt x="298" y="3728"/>
                    <a:pt x="191" y="3728"/>
                  </a:cubicBezTo>
                  <a:cubicBezTo>
                    <a:pt x="96" y="3728"/>
                    <a:pt x="1" y="3812"/>
                    <a:pt x="1" y="3919"/>
                  </a:cubicBezTo>
                  <a:cubicBezTo>
                    <a:pt x="1" y="4038"/>
                    <a:pt x="60" y="4264"/>
                    <a:pt x="405" y="4419"/>
                  </a:cubicBezTo>
                  <a:cubicBezTo>
                    <a:pt x="608" y="4514"/>
                    <a:pt x="893" y="4574"/>
                    <a:pt x="1191" y="4574"/>
                  </a:cubicBezTo>
                  <a:cubicBezTo>
                    <a:pt x="1489" y="4574"/>
                    <a:pt x="1763" y="4514"/>
                    <a:pt x="1977" y="4419"/>
                  </a:cubicBezTo>
                  <a:cubicBezTo>
                    <a:pt x="2334" y="4264"/>
                    <a:pt x="2382" y="4038"/>
                    <a:pt x="2382" y="3919"/>
                  </a:cubicBezTo>
                  <a:cubicBezTo>
                    <a:pt x="2382" y="3812"/>
                    <a:pt x="2298" y="3728"/>
                    <a:pt x="2191" y="3728"/>
                  </a:cubicBezTo>
                  <a:cubicBezTo>
                    <a:pt x="2084" y="3728"/>
                    <a:pt x="2001" y="3812"/>
                    <a:pt x="2001" y="3919"/>
                  </a:cubicBezTo>
                  <a:cubicBezTo>
                    <a:pt x="2001" y="3931"/>
                    <a:pt x="1953" y="3990"/>
                    <a:pt x="1822" y="4050"/>
                  </a:cubicBezTo>
                  <a:cubicBezTo>
                    <a:pt x="1703" y="4109"/>
                    <a:pt x="1548" y="4145"/>
                    <a:pt x="1382" y="4157"/>
                  </a:cubicBezTo>
                  <a:cubicBezTo>
                    <a:pt x="1358" y="3800"/>
                    <a:pt x="1298" y="3467"/>
                    <a:pt x="1239" y="3169"/>
                  </a:cubicBezTo>
                  <a:lnTo>
                    <a:pt x="1917" y="2133"/>
                  </a:lnTo>
                  <a:cubicBezTo>
                    <a:pt x="1953" y="2133"/>
                    <a:pt x="1977" y="2145"/>
                    <a:pt x="2060" y="2169"/>
                  </a:cubicBezTo>
                  <a:cubicBezTo>
                    <a:pt x="2179" y="2204"/>
                    <a:pt x="2334" y="2300"/>
                    <a:pt x="2513" y="2407"/>
                  </a:cubicBezTo>
                  <a:cubicBezTo>
                    <a:pt x="2989" y="2669"/>
                    <a:pt x="3584" y="3014"/>
                    <a:pt x="4263" y="3014"/>
                  </a:cubicBezTo>
                  <a:cubicBezTo>
                    <a:pt x="4477" y="3014"/>
                    <a:pt x="4715" y="2966"/>
                    <a:pt x="4954" y="2883"/>
                  </a:cubicBezTo>
                  <a:cubicBezTo>
                    <a:pt x="6466" y="2300"/>
                    <a:pt x="6739" y="407"/>
                    <a:pt x="6763" y="323"/>
                  </a:cubicBezTo>
                  <a:cubicBezTo>
                    <a:pt x="6763" y="288"/>
                    <a:pt x="6716" y="216"/>
                    <a:pt x="6656" y="168"/>
                  </a:cubicBezTo>
                  <a:cubicBezTo>
                    <a:pt x="6626" y="145"/>
                    <a:pt x="6588" y="133"/>
                    <a:pt x="6547" y="133"/>
                  </a:cubicBezTo>
                  <a:cubicBezTo>
                    <a:pt x="6507" y="133"/>
                    <a:pt x="6466" y="145"/>
                    <a:pt x="6430" y="168"/>
                  </a:cubicBezTo>
                  <a:cubicBezTo>
                    <a:pt x="6301" y="255"/>
                    <a:pt x="6164" y="287"/>
                    <a:pt x="6009" y="287"/>
                  </a:cubicBezTo>
                  <a:cubicBezTo>
                    <a:pt x="5820" y="287"/>
                    <a:pt x="5602" y="239"/>
                    <a:pt x="5335" y="180"/>
                  </a:cubicBezTo>
                  <a:cubicBezTo>
                    <a:pt x="5287" y="168"/>
                    <a:pt x="5239" y="168"/>
                    <a:pt x="5192" y="157"/>
                  </a:cubicBezTo>
                  <a:cubicBezTo>
                    <a:pt x="5175" y="150"/>
                    <a:pt x="5158" y="147"/>
                    <a:pt x="5140" y="147"/>
                  </a:cubicBezTo>
                  <a:cubicBezTo>
                    <a:pt x="5061" y="147"/>
                    <a:pt x="4983" y="211"/>
                    <a:pt x="4954" y="299"/>
                  </a:cubicBezTo>
                  <a:cubicBezTo>
                    <a:pt x="4930" y="407"/>
                    <a:pt x="5001" y="514"/>
                    <a:pt x="5108" y="538"/>
                  </a:cubicBezTo>
                  <a:cubicBezTo>
                    <a:pt x="5156" y="561"/>
                    <a:pt x="5192" y="561"/>
                    <a:pt x="5239" y="573"/>
                  </a:cubicBezTo>
                  <a:cubicBezTo>
                    <a:pt x="5512" y="626"/>
                    <a:pt x="5765" y="679"/>
                    <a:pt x="6003" y="679"/>
                  </a:cubicBezTo>
                  <a:cubicBezTo>
                    <a:pt x="6088" y="679"/>
                    <a:pt x="6170" y="672"/>
                    <a:pt x="6251" y="657"/>
                  </a:cubicBezTo>
                  <a:lnTo>
                    <a:pt x="6251" y="657"/>
                  </a:lnTo>
                  <a:cubicBezTo>
                    <a:pt x="6108" y="1192"/>
                    <a:pt x="5704" y="2193"/>
                    <a:pt x="4799" y="2550"/>
                  </a:cubicBezTo>
                  <a:cubicBezTo>
                    <a:pt x="4613" y="2621"/>
                    <a:pt x="4429" y="2651"/>
                    <a:pt x="4249" y="2651"/>
                  </a:cubicBezTo>
                  <a:cubicBezTo>
                    <a:pt x="3679" y="2651"/>
                    <a:pt x="3144" y="2348"/>
                    <a:pt x="2691" y="2085"/>
                  </a:cubicBezTo>
                  <a:cubicBezTo>
                    <a:pt x="2453" y="1954"/>
                    <a:pt x="2251" y="1835"/>
                    <a:pt x="2072" y="1776"/>
                  </a:cubicBezTo>
                  <a:cubicBezTo>
                    <a:pt x="2275" y="1335"/>
                    <a:pt x="2798" y="502"/>
                    <a:pt x="3727" y="419"/>
                  </a:cubicBezTo>
                  <a:cubicBezTo>
                    <a:pt x="3823" y="414"/>
                    <a:pt x="3921" y="411"/>
                    <a:pt x="4019" y="411"/>
                  </a:cubicBezTo>
                  <a:cubicBezTo>
                    <a:pt x="4190" y="411"/>
                    <a:pt x="4363" y="420"/>
                    <a:pt x="4537" y="442"/>
                  </a:cubicBezTo>
                  <a:cubicBezTo>
                    <a:pt x="4545" y="443"/>
                    <a:pt x="4552" y="444"/>
                    <a:pt x="4560" y="444"/>
                  </a:cubicBezTo>
                  <a:cubicBezTo>
                    <a:pt x="4659" y="444"/>
                    <a:pt x="4752" y="374"/>
                    <a:pt x="4763" y="264"/>
                  </a:cubicBezTo>
                  <a:cubicBezTo>
                    <a:pt x="4775" y="157"/>
                    <a:pt x="4703" y="49"/>
                    <a:pt x="4584" y="38"/>
                  </a:cubicBezTo>
                  <a:cubicBezTo>
                    <a:pt x="4419" y="12"/>
                    <a:pt x="4256" y="0"/>
                    <a:pt x="40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71" name="Google Shape;10471;p59"/>
          <p:cNvSpPr/>
          <p:nvPr/>
        </p:nvSpPr>
        <p:spPr>
          <a:xfrm>
            <a:off x="2616005" y="2886542"/>
            <a:ext cx="371366" cy="372353"/>
          </a:xfrm>
          <a:custGeom>
            <a:avLst/>
            <a:gdLst/>
            <a:ahLst/>
            <a:cxnLst/>
            <a:rect l="l" t="t" r="r" b="b"/>
            <a:pathLst>
              <a:path w="11658" h="11689" extrusionOk="0">
                <a:moveTo>
                  <a:pt x="10514" y="382"/>
                </a:moveTo>
                <a:cubicBezTo>
                  <a:pt x="10657" y="382"/>
                  <a:pt x="10812" y="441"/>
                  <a:pt x="10907" y="548"/>
                </a:cubicBezTo>
                <a:lnTo>
                  <a:pt x="11181" y="810"/>
                </a:lnTo>
                <a:cubicBezTo>
                  <a:pt x="11288" y="917"/>
                  <a:pt x="11348" y="1072"/>
                  <a:pt x="11348" y="1215"/>
                </a:cubicBezTo>
                <a:cubicBezTo>
                  <a:pt x="11348" y="1370"/>
                  <a:pt x="11288" y="1513"/>
                  <a:pt x="11181" y="1620"/>
                </a:cubicBezTo>
                <a:lnTo>
                  <a:pt x="10240" y="2560"/>
                </a:lnTo>
                <a:lnTo>
                  <a:pt x="9169" y="1489"/>
                </a:lnTo>
                <a:lnTo>
                  <a:pt x="10109" y="548"/>
                </a:lnTo>
                <a:cubicBezTo>
                  <a:pt x="10217" y="441"/>
                  <a:pt x="10359" y="382"/>
                  <a:pt x="10514" y="382"/>
                </a:cubicBezTo>
                <a:close/>
                <a:moveTo>
                  <a:pt x="8919" y="1715"/>
                </a:moveTo>
                <a:lnTo>
                  <a:pt x="9990" y="2799"/>
                </a:lnTo>
                <a:lnTo>
                  <a:pt x="6954" y="5823"/>
                </a:lnTo>
                <a:lnTo>
                  <a:pt x="5883" y="4751"/>
                </a:lnTo>
                <a:lnTo>
                  <a:pt x="8919" y="1715"/>
                </a:lnTo>
                <a:close/>
                <a:moveTo>
                  <a:pt x="1966" y="8668"/>
                </a:moveTo>
                <a:lnTo>
                  <a:pt x="3037" y="9740"/>
                </a:lnTo>
                <a:lnTo>
                  <a:pt x="2370" y="10419"/>
                </a:lnTo>
                <a:cubicBezTo>
                  <a:pt x="2335" y="10454"/>
                  <a:pt x="2281" y="10472"/>
                  <a:pt x="2227" y="10472"/>
                </a:cubicBezTo>
                <a:cubicBezTo>
                  <a:pt x="2174" y="10472"/>
                  <a:pt x="2120" y="10454"/>
                  <a:pt x="2085" y="10419"/>
                </a:cubicBezTo>
                <a:lnTo>
                  <a:pt x="1299" y="9621"/>
                </a:lnTo>
                <a:cubicBezTo>
                  <a:pt x="1215" y="9549"/>
                  <a:pt x="1215" y="9418"/>
                  <a:pt x="1299" y="9347"/>
                </a:cubicBezTo>
                <a:lnTo>
                  <a:pt x="1966" y="8668"/>
                </a:lnTo>
                <a:close/>
                <a:moveTo>
                  <a:pt x="1311" y="10133"/>
                </a:moveTo>
                <a:lnTo>
                  <a:pt x="1596" y="10407"/>
                </a:lnTo>
                <a:lnTo>
                  <a:pt x="1061" y="10942"/>
                </a:lnTo>
                <a:cubicBezTo>
                  <a:pt x="1019" y="10984"/>
                  <a:pt x="965" y="11005"/>
                  <a:pt x="913" y="11005"/>
                </a:cubicBezTo>
                <a:cubicBezTo>
                  <a:pt x="861" y="11005"/>
                  <a:pt x="811" y="10984"/>
                  <a:pt x="775" y="10942"/>
                </a:cubicBezTo>
                <a:cubicBezTo>
                  <a:pt x="703" y="10859"/>
                  <a:pt x="703" y="10740"/>
                  <a:pt x="775" y="10669"/>
                </a:cubicBezTo>
                <a:lnTo>
                  <a:pt x="1311" y="10133"/>
                </a:lnTo>
                <a:close/>
                <a:moveTo>
                  <a:pt x="10467" y="1"/>
                </a:moveTo>
                <a:cubicBezTo>
                  <a:pt x="10228" y="1"/>
                  <a:pt x="9990" y="84"/>
                  <a:pt x="9812" y="263"/>
                </a:cubicBezTo>
                <a:lnTo>
                  <a:pt x="8871" y="1203"/>
                </a:lnTo>
                <a:lnTo>
                  <a:pt x="8728" y="1048"/>
                </a:lnTo>
                <a:cubicBezTo>
                  <a:pt x="8687" y="1013"/>
                  <a:pt x="8642" y="995"/>
                  <a:pt x="8597" y="995"/>
                </a:cubicBezTo>
                <a:cubicBezTo>
                  <a:pt x="8553" y="995"/>
                  <a:pt x="8508" y="1013"/>
                  <a:pt x="8466" y="1048"/>
                </a:cubicBezTo>
                <a:cubicBezTo>
                  <a:pt x="8395" y="1120"/>
                  <a:pt x="8395" y="1227"/>
                  <a:pt x="8466" y="1310"/>
                </a:cubicBezTo>
                <a:lnTo>
                  <a:pt x="8621" y="1453"/>
                </a:lnTo>
                <a:lnTo>
                  <a:pt x="5037" y="5037"/>
                </a:lnTo>
                <a:cubicBezTo>
                  <a:pt x="4954" y="5120"/>
                  <a:pt x="4954" y="5216"/>
                  <a:pt x="5037" y="5299"/>
                </a:cubicBezTo>
                <a:cubicBezTo>
                  <a:pt x="5073" y="5335"/>
                  <a:pt x="5118" y="5352"/>
                  <a:pt x="5162" y="5352"/>
                </a:cubicBezTo>
                <a:cubicBezTo>
                  <a:pt x="5207" y="5352"/>
                  <a:pt x="5252" y="5335"/>
                  <a:pt x="5287" y="5299"/>
                </a:cubicBezTo>
                <a:lnTo>
                  <a:pt x="5597" y="4977"/>
                </a:lnTo>
                <a:lnTo>
                  <a:pt x="6668" y="6049"/>
                </a:lnTo>
                <a:cubicBezTo>
                  <a:pt x="6299" y="6525"/>
                  <a:pt x="6073" y="6978"/>
                  <a:pt x="5883" y="7382"/>
                </a:cubicBezTo>
                <a:cubicBezTo>
                  <a:pt x="5430" y="8287"/>
                  <a:pt x="5097" y="9002"/>
                  <a:pt x="3275" y="9526"/>
                </a:cubicBezTo>
                <a:lnTo>
                  <a:pt x="2156" y="8406"/>
                </a:lnTo>
                <a:lnTo>
                  <a:pt x="4597" y="5966"/>
                </a:lnTo>
                <a:cubicBezTo>
                  <a:pt x="4680" y="5894"/>
                  <a:pt x="4680" y="5787"/>
                  <a:pt x="4597" y="5716"/>
                </a:cubicBezTo>
                <a:cubicBezTo>
                  <a:pt x="4561" y="5674"/>
                  <a:pt x="4516" y="5653"/>
                  <a:pt x="4472" y="5653"/>
                </a:cubicBezTo>
                <a:cubicBezTo>
                  <a:pt x="4427" y="5653"/>
                  <a:pt x="4382" y="5674"/>
                  <a:pt x="4347" y="5716"/>
                </a:cubicBezTo>
                <a:lnTo>
                  <a:pt x="989" y="9073"/>
                </a:lnTo>
                <a:cubicBezTo>
                  <a:pt x="775" y="9287"/>
                  <a:pt x="775" y="9645"/>
                  <a:pt x="989" y="9847"/>
                </a:cubicBezTo>
                <a:lnTo>
                  <a:pt x="1001" y="9859"/>
                </a:lnTo>
                <a:lnTo>
                  <a:pt x="465" y="10395"/>
                </a:lnTo>
                <a:cubicBezTo>
                  <a:pt x="299" y="10561"/>
                  <a:pt x="251" y="10811"/>
                  <a:pt x="358" y="11026"/>
                </a:cubicBezTo>
                <a:lnTo>
                  <a:pt x="1" y="11383"/>
                </a:lnTo>
                <a:cubicBezTo>
                  <a:pt x="1" y="11454"/>
                  <a:pt x="1" y="11562"/>
                  <a:pt x="61" y="11633"/>
                </a:cubicBezTo>
                <a:cubicBezTo>
                  <a:pt x="92" y="11670"/>
                  <a:pt x="139" y="11688"/>
                  <a:pt x="187" y="11688"/>
                </a:cubicBezTo>
                <a:cubicBezTo>
                  <a:pt x="232" y="11688"/>
                  <a:pt x="276" y="11673"/>
                  <a:pt x="311" y="11645"/>
                </a:cubicBezTo>
                <a:lnTo>
                  <a:pt x="668" y="11288"/>
                </a:lnTo>
                <a:cubicBezTo>
                  <a:pt x="745" y="11326"/>
                  <a:pt x="827" y="11345"/>
                  <a:pt x="908" y="11345"/>
                </a:cubicBezTo>
                <a:cubicBezTo>
                  <a:pt x="1052" y="11345"/>
                  <a:pt x="1192" y="11287"/>
                  <a:pt x="1299" y="11181"/>
                </a:cubicBezTo>
                <a:lnTo>
                  <a:pt x="1835" y="10645"/>
                </a:lnTo>
                <a:cubicBezTo>
                  <a:pt x="1942" y="10752"/>
                  <a:pt x="2073" y="10811"/>
                  <a:pt x="2204" y="10811"/>
                </a:cubicBezTo>
                <a:cubicBezTo>
                  <a:pt x="2358" y="10811"/>
                  <a:pt x="2501" y="10752"/>
                  <a:pt x="2608" y="10645"/>
                </a:cubicBezTo>
                <a:lnTo>
                  <a:pt x="3370" y="9895"/>
                </a:lnTo>
                <a:cubicBezTo>
                  <a:pt x="5371" y="9335"/>
                  <a:pt x="5776" y="8502"/>
                  <a:pt x="6240" y="7549"/>
                </a:cubicBezTo>
                <a:cubicBezTo>
                  <a:pt x="6442" y="7121"/>
                  <a:pt x="6668" y="6656"/>
                  <a:pt x="7073" y="6180"/>
                </a:cubicBezTo>
                <a:lnTo>
                  <a:pt x="10228" y="3025"/>
                </a:lnTo>
                <a:lnTo>
                  <a:pt x="10526" y="3322"/>
                </a:lnTo>
                <a:lnTo>
                  <a:pt x="8407" y="5442"/>
                </a:lnTo>
                <a:cubicBezTo>
                  <a:pt x="8347" y="5501"/>
                  <a:pt x="8335" y="5608"/>
                  <a:pt x="8395" y="5680"/>
                </a:cubicBezTo>
                <a:cubicBezTo>
                  <a:pt x="8426" y="5717"/>
                  <a:pt x="8473" y="5735"/>
                  <a:pt x="8522" y="5735"/>
                </a:cubicBezTo>
                <a:cubicBezTo>
                  <a:pt x="8566" y="5735"/>
                  <a:pt x="8611" y="5720"/>
                  <a:pt x="8645" y="5692"/>
                </a:cubicBezTo>
                <a:lnTo>
                  <a:pt x="10883" y="3465"/>
                </a:lnTo>
                <a:cubicBezTo>
                  <a:pt x="10955" y="3382"/>
                  <a:pt x="10955" y="3287"/>
                  <a:pt x="10883" y="3203"/>
                </a:cubicBezTo>
                <a:lnTo>
                  <a:pt x="10455" y="2775"/>
                </a:lnTo>
                <a:lnTo>
                  <a:pt x="11383" y="1834"/>
                </a:lnTo>
                <a:cubicBezTo>
                  <a:pt x="11562" y="1656"/>
                  <a:pt x="11657" y="1441"/>
                  <a:pt x="11657" y="1179"/>
                </a:cubicBezTo>
                <a:cubicBezTo>
                  <a:pt x="11657" y="929"/>
                  <a:pt x="11562" y="703"/>
                  <a:pt x="11383" y="524"/>
                </a:cubicBezTo>
                <a:lnTo>
                  <a:pt x="11121" y="263"/>
                </a:lnTo>
                <a:cubicBezTo>
                  <a:pt x="10943" y="84"/>
                  <a:pt x="10717" y="1"/>
                  <a:pt x="1046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72" name="Google Shape;10472;p59"/>
          <p:cNvSpPr/>
          <p:nvPr/>
        </p:nvSpPr>
        <p:spPr>
          <a:xfrm>
            <a:off x="2160129" y="1516235"/>
            <a:ext cx="399780" cy="341740"/>
          </a:xfrm>
          <a:custGeom>
            <a:avLst/>
            <a:gdLst/>
            <a:ahLst/>
            <a:cxnLst/>
            <a:rect l="l" t="t" r="r" b="b"/>
            <a:pathLst>
              <a:path w="12550" h="10728" extrusionOk="0">
                <a:moveTo>
                  <a:pt x="6298" y="369"/>
                </a:moveTo>
                <a:cubicBezTo>
                  <a:pt x="6306" y="369"/>
                  <a:pt x="6315" y="369"/>
                  <a:pt x="6323" y="370"/>
                </a:cubicBezTo>
                <a:cubicBezTo>
                  <a:pt x="6442" y="393"/>
                  <a:pt x="6525" y="477"/>
                  <a:pt x="6525" y="596"/>
                </a:cubicBezTo>
                <a:cubicBezTo>
                  <a:pt x="6525" y="727"/>
                  <a:pt x="6430" y="834"/>
                  <a:pt x="6287" y="834"/>
                </a:cubicBezTo>
                <a:cubicBezTo>
                  <a:pt x="6156" y="834"/>
                  <a:pt x="6049" y="727"/>
                  <a:pt x="6049" y="596"/>
                </a:cubicBezTo>
                <a:cubicBezTo>
                  <a:pt x="6049" y="482"/>
                  <a:pt x="6136" y="369"/>
                  <a:pt x="6298" y="369"/>
                </a:cubicBezTo>
                <a:close/>
                <a:moveTo>
                  <a:pt x="6871" y="727"/>
                </a:moveTo>
                <a:lnTo>
                  <a:pt x="8668" y="2513"/>
                </a:lnTo>
                <a:lnTo>
                  <a:pt x="3906" y="2513"/>
                </a:lnTo>
                <a:lnTo>
                  <a:pt x="5716" y="727"/>
                </a:lnTo>
                <a:cubicBezTo>
                  <a:pt x="5775" y="1001"/>
                  <a:pt x="6013" y="1191"/>
                  <a:pt x="6287" y="1191"/>
                </a:cubicBezTo>
                <a:cubicBezTo>
                  <a:pt x="6573" y="1191"/>
                  <a:pt x="6811" y="1001"/>
                  <a:pt x="6871" y="727"/>
                </a:cubicBezTo>
                <a:close/>
                <a:moveTo>
                  <a:pt x="3573" y="8787"/>
                </a:moveTo>
                <a:cubicBezTo>
                  <a:pt x="5216" y="8787"/>
                  <a:pt x="5097" y="8787"/>
                  <a:pt x="5156" y="8799"/>
                </a:cubicBezTo>
                <a:cubicBezTo>
                  <a:pt x="5275" y="8823"/>
                  <a:pt x="5370" y="8942"/>
                  <a:pt x="5370" y="9061"/>
                </a:cubicBezTo>
                <a:lnTo>
                  <a:pt x="5370" y="9513"/>
                </a:lnTo>
                <a:lnTo>
                  <a:pt x="3287" y="9513"/>
                </a:lnTo>
                <a:cubicBezTo>
                  <a:pt x="3275" y="9049"/>
                  <a:pt x="3275" y="9049"/>
                  <a:pt x="3287" y="9002"/>
                </a:cubicBezTo>
                <a:cubicBezTo>
                  <a:pt x="3334" y="8859"/>
                  <a:pt x="3430" y="8787"/>
                  <a:pt x="3573" y="8787"/>
                </a:cubicBezTo>
                <a:close/>
                <a:moveTo>
                  <a:pt x="10651" y="2885"/>
                </a:moveTo>
                <a:cubicBezTo>
                  <a:pt x="11916" y="2885"/>
                  <a:pt x="11740" y="2894"/>
                  <a:pt x="11740" y="2929"/>
                </a:cubicBezTo>
                <a:cubicBezTo>
                  <a:pt x="11729" y="9255"/>
                  <a:pt x="11779" y="9516"/>
                  <a:pt x="11713" y="9516"/>
                </a:cubicBezTo>
                <a:cubicBezTo>
                  <a:pt x="11707" y="9516"/>
                  <a:pt x="11700" y="9513"/>
                  <a:pt x="11693" y="9513"/>
                </a:cubicBezTo>
                <a:lnTo>
                  <a:pt x="5739" y="9513"/>
                </a:lnTo>
                <a:lnTo>
                  <a:pt x="5739" y="9144"/>
                </a:lnTo>
                <a:lnTo>
                  <a:pt x="11193" y="9144"/>
                </a:lnTo>
                <a:cubicBezTo>
                  <a:pt x="11288" y="9144"/>
                  <a:pt x="11371" y="9049"/>
                  <a:pt x="11371" y="8966"/>
                </a:cubicBezTo>
                <a:lnTo>
                  <a:pt x="11371" y="3441"/>
                </a:lnTo>
                <a:cubicBezTo>
                  <a:pt x="11371" y="3334"/>
                  <a:pt x="11276" y="3263"/>
                  <a:pt x="11193" y="3263"/>
                </a:cubicBezTo>
                <a:lnTo>
                  <a:pt x="3346" y="3263"/>
                </a:lnTo>
                <a:cubicBezTo>
                  <a:pt x="3239" y="3263"/>
                  <a:pt x="3168" y="3346"/>
                  <a:pt x="3168" y="3441"/>
                </a:cubicBezTo>
                <a:cubicBezTo>
                  <a:pt x="3168" y="3537"/>
                  <a:pt x="3251" y="3620"/>
                  <a:pt x="3346" y="3620"/>
                </a:cubicBezTo>
                <a:lnTo>
                  <a:pt x="10990" y="3620"/>
                </a:lnTo>
                <a:lnTo>
                  <a:pt x="10990" y="8775"/>
                </a:lnTo>
                <a:lnTo>
                  <a:pt x="5656" y="8775"/>
                </a:lnTo>
                <a:cubicBezTo>
                  <a:pt x="5561" y="8585"/>
                  <a:pt x="5370" y="8454"/>
                  <a:pt x="5156" y="8430"/>
                </a:cubicBezTo>
                <a:cubicBezTo>
                  <a:pt x="5128" y="8422"/>
                  <a:pt x="4938" y="8419"/>
                  <a:pt x="4696" y="8419"/>
                </a:cubicBezTo>
                <a:cubicBezTo>
                  <a:pt x="4212" y="8419"/>
                  <a:pt x="3521" y="8430"/>
                  <a:pt x="3513" y="8430"/>
                </a:cubicBezTo>
                <a:cubicBezTo>
                  <a:pt x="3287" y="8442"/>
                  <a:pt x="3072" y="8573"/>
                  <a:pt x="2977" y="8775"/>
                </a:cubicBezTo>
                <a:lnTo>
                  <a:pt x="1608" y="8775"/>
                </a:lnTo>
                <a:lnTo>
                  <a:pt x="1608" y="3620"/>
                </a:lnTo>
                <a:lnTo>
                  <a:pt x="2656" y="3620"/>
                </a:lnTo>
                <a:cubicBezTo>
                  <a:pt x="2763" y="3620"/>
                  <a:pt x="2834" y="3525"/>
                  <a:pt x="2834" y="3441"/>
                </a:cubicBezTo>
                <a:cubicBezTo>
                  <a:pt x="2834" y="3334"/>
                  <a:pt x="2751" y="3263"/>
                  <a:pt x="2656" y="3263"/>
                </a:cubicBezTo>
                <a:lnTo>
                  <a:pt x="1429" y="3263"/>
                </a:lnTo>
                <a:cubicBezTo>
                  <a:pt x="1322" y="3263"/>
                  <a:pt x="1251" y="3346"/>
                  <a:pt x="1251" y="3441"/>
                </a:cubicBezTo>
                <a:lnTo>
                  <a:pt x="1251" y="8966"/>
                </a:lnTo>
                <a:cubicBezTo>
                  <a:pt x="1251" y="9061"/>
                  <a:pt x="1334" y="9144"/>
                  <a:pt x="1429" y="9144"/>
                </a:cubicBezTo>
                <a:lnTo>
                  <a:pt x="2918" y="9144"/>
                </a:lnTo>
                <a:lnTo>
                  <a:pt x="2918" y="9513"/>
                </a:lnTo>
                <a:lnTo>
                  <a:pt x="917" y="9513"/>
                </a:lnTo>
                <a:cubicBezTo>
                  <a:pt x="894" y="9513"/>
                  <a:pt x="870" y="9490"/>
                  <a:pt x="870" y="9466"/>
                </a:cubicBezTo>
                <a:cubicBezTo>
                  <a:pt x="892" y="3144"/>
                  <a:pt x="843" y="2892"/>
                  <a:pt x="900" y="2892"/>
                </a:cubicBezTo>
                <a:cubicBezTo>
                  <a:pt x="905" y="2892"/>
                  <a:pt x="911" y="2894"/>
                  <a:pt x="917" y="2894"/>
                </a:cubicBezTo>
                <a:cubicBezTo>
                  <a:pt x="6680" y="2894"/>
                  <a:pt x="9386" y="2885"/>
                  <a:pt x="10651" y="2885"/>
                </a:cubicBezTo>
                <a:close/>
                <a:moveTo>
                  <a:pt x="6277" y="0"/>
                </a:moveTo>
                <a:cubicBezTo>
                  <a:pt x="6049" y="0"/>
                  <a:pt x="5823" y="84"/>
                  <a:pt x="5656" y="250"/>
                </a:cubicBezTo>
                <a:lnTo>
                  <a:pt x="3370" y="2513"/>
                </a:lnTo>
                <a:lnTo>
                  <a:pt x="894" y="2513"/>
                </a:lnTo>
                <a:cubicBezTo>
                  <a:pt x="667" y="2513"/>
                  <a:pt x="477" y="2691"/>
                  <a:pt x="477" y="2929"/>
                </a:cubicBezTo>
                <a:lnTo>
                  <a:pt x="477" y="9513"/>
                </a:lnTo>
                <a:lnTo>
                  <a:pt x="417" y="9513"/>
                </a:lnTo>
                <a:cubicBezTo>
                  <a:pt x="191" y="9513"/>
                  <a:pt x="1" y="9692"/>
                  <a:pt x="1" y="9930"/>
                </a:cubicBezTo>
                <a:lnTo>
                  <a:pt x="1" y="10311"/>
                </a:lnTo>
                <a:cubicBezTo>
                  <a:pt x="1" y="10537"/>
                  <a:pt x="179" y="10728"/>
                  <a:pt x="417" y="10728"/>
                </a:cubicBezTo>
                <a:lnTo>
                  <a:pt x="7811" y="10728"/>
                </a:lnTo>
                <a:cubicBezTo>
                  <a:pt x="7918" y="10728"/>
                  <a:pt x="7990" y="10645"/>
                  <a:pt x="7990" y="10549"/>
                </a:cubicBezTo>
                <a:cubicBezTo>
                  <a:pt x="7990" y="10454"/>
                  <a:pt x="7895" y="10371"/>
                  <a:pt x="7811" y="10371"/>
                </a:cubicBezTo>
                <a:cubicBezTo>
                  <a:pt x="7049" y="10370"/>
                  <a:pt x="6364" y="10369"/>
                  <a:pt x="5749" y="10369"/>
                </a:cubicBezTo>
                <a:cubicBezTo>
                  <a:pt x="2782" y="10369"/>
                  <a:pt x="1447" y="10380"/>
                  <a:pt x="848" y="10380"/>
                </a:cubicBezTo>
                <a:cubicBezTo>
                  <a:pt x="301" y="10380"/>
                  <a:pt x="370" y="10371"/>
                  <a:pt x="370" y="10335"/>
                </a:cubicBezTo>
                <a:lnTo>
                  <a:pt x="370" y="9942"/>
                </a:lnTo>
                <a:cubicBezTo>
                  <a:pt x="370" y="9904"/>
                  <a:pt x="221" y="9896"/>
                  <a:pt x="1247" y="9896"/>
                </a:cubicBezTo>
                <a:cubicBezTo>
                  <a:pt x="2032" y="9896"/>
                  <a:pt x="3502" y="9901"/>
                  <a:pt x="6250" y="9901"/>
                </a:cubicBezTo>
                <a:cubicBezTo>
                  <a:pt x="7776" y="9901"/>
                  <a:pt x="9695" y="9899"/>
                  <a:pt x="12109" y="9894"/>
                </a:cubicBezTo>
                <a:cubicBezTo>
                  <a:pt x="12145" y="9894"/>
                  <a:pt x="12157" y="9918"/>
                  <a:pt x="12157" y="9942"/>
                </a:cubicBezTo>
                <a:lnTo>
                  <a:pt x="12157" y="10335"/>
                </a:lnTo>
                <a:cubicBezTo>
                  <a:pt x="12157" y="10359"/>
                  <a:pt x="12145" y="10371"/>
                  <a:pt x="12109" y="10371"/>
                </a:cubicBezTo>
                <a:lnTo>
                  <a:pt x="8478" y="10371"/>
                </a:lnTo>
                <a:cubicBezTo>
                  <a:pt x="8371" y="10371"/>
                  <a:pt x="8299" y="10466"/>
                  <a:pt x="8299" y="10549"/>
                </a:cubicBezTo>
                <a:cubicBezTo>
                  <a:pt x="8299" y="10656"/>
                  <a:pt x="8395" y="10728"/>
                  <a:pt x="8478" y="10728"/>
                </a:cubicBezTo>
                <a:lnTo>
                  <a:pt x="12145" y="10728"/>
                </a:lnTo>
                <a:cubicBezTo>
                  <a:pt x="12359" y="10728"/>
                  <a:pt x="12550" y="10549"/>
                  <a:pt x="12550" y="10311"/>
                </a:cubicBezTo>
                <a:lnTo>
                  <a:pt x="12550" y="9930"/>
                </a:lnTo>
                <a:cubicBezTo>
                  <a:pt x="12550" y="9704"/>
                  <a:pt x="12383" y="9513"/>
                  <a:pt x="12145" y="9513"/>
                </a:cubicBezTo>
                <a:lnTo>
                  <a:pt x="12086" y="9513"/>
                </a:lnTo>
                <a:lnTo>
                  <a:pt x="12086" y="2929"/>
                </a:lnTo>
                <a:cubicBezTo>
                  <a:pt x="12086" y="2715"/>
                  <a:pt x="11907" y="2513"/>
                  <a:pt x="11669" y="2513"/>
                </a:cubicBezTo>
                <a:lnTo>
                  <a:pt x="9180" y="2513"/>
                </a:lnTo>
                <a:lnTo>
                  <a:pt x="6906" y="250"/>
                </a:lnTo>
                <a:cubicBezTo>
                  <a:pt x="6734" y="84"/>
                  <a:pt x="6504" y="0"/>
                  <a:pt x="627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73" name="Google Shape;10473;p59"/>
          <p:cNvGrpSpPr/>
          <p:nvPr/>
        </p:nvGrpSpPr>
        <p:grpSpPr>
          <a:xfrm>
            <a:off x="1297654" y="1504481"/>
            <a:ext cx="349354" cy="362223"/>
            <a:chOff x="1297654" y="1504481"/>
            <a:chExt cx="349354" cy="362223"/>
          </a:xfrm>
        </p:grpSpPr>
        <p:sp>
          <p:nvSpPr>
            <p:cNvPr id="10474" name="Google Shape;10474;p59"/>
            <p:cNvSpPr/>
            <p:nvPr/>
          </p:nvSpPr>
          <p:spPr>
            <a:xfrm>
              <a:off x="1297654" y="1504481"/>
              <a:ext cx="349354" cy="362223"/>
            </a:xfrm>
            <a:custGeom>
              <a:avLst/>
              <a:gdLst/>
              <a:ahLst/>
              <a:cxnLst/>
              <a:rect l="l" t="t" r="r" b="b"/>
              <a:pathLst>
                <a:path w="10967" h="11371" extrusionOk="0">
                  <a:moveTo>
                    <a:pt x="6252" y="381"/>
                  </a:moveTo>
                  <a:cubicBezTo>
                    <a:pt x="6799" y="381"/>
                    <a:pt x="7335" y="679"/>
                    <a:pt x="7621" y="1155"/>
                  </a:cubicBezTo>
                  <a:cubicBezTo>
                    <a:pt x="7704" y="1274"/>
                    <a:pt x="7811" y="1655"/>
                    <a:pt x="8240" y="1786"/>
                  </a:cubicBezTo>
                  <a:cubicBezTo>
                    <a:pt x="8157" y="1858"/>
                    <a:pt x="7978" y="2036"/>
                    <a:pt x="7919" y="2108"/>
                  </a:cubicBezTo>
                  <a:cubicBezTo>
                    <a:pt x="7454" y="1870"/>
                    <a:pt x="7335" y="1501"/>
                    <a:pt x="7252" y="1381"/>
                  </a:cubicBezTo>
                  <a:cubicBezTo>
                    <a:pt x="7037" y="1036"/>
                    <a:pt x="6656" y="822"/>
                    <a:pt x="6252" y="822"/>
                  </a:cubicBezTo>
                  <a:lnTo>
                    <a:pt x="4644" y="822"/>
                  </a:lnTo>
                  <a:cubicBezTo>
                    <a:pt x="4239" y="822"/>
                    <a:pt x="3847" y="1036"/>
                    <a:pt x="3644" y="1381"/>
                  </a:cubicBezTo>
                  <a:cubicBezTo>
                    <a:pt x="3537" y="1512"/>
                    <a:pt x="3442" y="1846"/>
                    <a:pt x="3049" y="2072"/>
                  </a:cubicBezTo>
                  <a:lnTo>
                    <a:pt x="3025" y="2036"/>
                  </a:lnTo>
                  <a:lnTo>
                    <a:pt x="2870" y="1893"/>
                  </a:lnTo>
                  <a:cubicBezTo>
                    <a:pt x="2823" y="1846"/>
                    <a:pt x="2763" y="1798"/>
                    <a:pt x="2704" y="1751"/>
                  </a:cubicBezTo>
                  <a:cubicBezTo>
                    <a:pt x="3085" y="1608"/>
                    <a:pt x="3168" y="1310"/>
                    <a:pt x="3275" y="1155"/>
                  </a:cubicBezTo>
                  <a:cubicBezTo>
                    <a:pt x="3549" y="679"/>
                    <a:pt x="4073" y="381"/>
                    <a:pt x="4644" y="381"/>
                  </a:cubicBezTo>
                  <a:close/>
                  <a:moveTo>
                    <a:pt x="2620" y="3703"/>
                  </a:moveTo>
                  <a:lnTo>
                    <a:pt x="2823" y="3894"/>
                  </a:lnTo>
                  <a:cubicBezTo>
                    <a:pt x="2727" y="3989"/>
                    <a:pt x="2632" y="4096"/>
                    <a:pt x="2549" y="4191"/>
                  </a:cubicBezTo>
                  <a:lnTo>
                    <a:pt x="2334" y="3989"/>
                  </a:lnTo>
                  <a:lnTo>
                    <a:pt x="2620" y="3703"/>
                  </a:lnTo>
                  <a:close/>
                  <a:moveTo>
                    <a:pt x="8383" y="3703"/>
                  </a:moveTo>
                  <a:lnTo>
                    <a:pt x="8657" y="3989"/>
                  </a:lnTo>
                  <a:lnTo>
                    <a:pt x="8454" y="4191"/>
                  </a:lnTo>
                  <a:cubicBezTo>
                    <a:pt x="8383" y="4120"/>
                    <a:pt x="8276" y="4001"/>
                    <a:pt x="8169" y="3894"/>
                  </a:cubicBezTo>
                  <a:lnTo>
                    <a:pt x="8383" y="3703"/>
                  </a:lnTo>
                  <a:close/>
                  <a:moveTo>
                    <a:pt x="1727" y="1774"/>
                  </a:moveTo>
                  <a:cubicBezTo>
                    <a:pt x="2394" y="1774"/>
                    <a:pt x="2704" y="2251"/>
                    <a:pt x="2763" y="2286"/>
                  </a:cubicBezTo>
                  <a:cubicBezTo>
                    <a:pt x="2930" y="2453"/>
                    <a:pt x="2977" y="2691"/>
                    <a:pt x="2882" y="2905"/>
                  </a:cubicBezTo>
                  <a:cubicBezTo>
                    <a:pt x="2846" y="3013"/>
                    <a:pt x="2882" y="2965"/>
                    <a:pt x="1763" y="4072"/>
                  </a:cubicBezTo>
                  <a:cubicBezTo>
                    <a:pt x="1656" y="4185"/>
                    <a:pt x="1516" y="4242"/>
                    <a:pt x="1375" y="4242"/>
                  </a:cubicBezTo>
                  <a:cubicBezTo>
                    <a:pt x="1233" y="4242"/>
                    <a:pt x="1090" y="4185"/>
                    <a:pt x="977" y="4072"/>
                  </a:cubicBezTo>
                  <a:lnTo>
                    <a:pt x="834" y="3929"/>
                  </a:lnTo>
                  <a:cubicBezTo>
                    <a:pt x="37" y="3144"/>
                    <a:pt x="572" y="1774"/>
                    <a:pt x="1727" y="1774"/>
                  </a:cubicBezTo>
                  <a:close/>
                  <a:moveTo>
                    <a:pt x="6228" y="1155"/>
                  </a:moveTo>
                  <a:cubicBezTo>
                    <a:pt x="6514" y="1155"/>
                    <a:pt x="6799" y="1310"/>
                    <a:pt x="6930" y="1560"/>
                  </a:cubicBezTo>
                  <a:cubicBezTo>
                    <a:pt x="7026" y="1679"/>
                    <a:pt x="7180" y="2143"/>
                    <a:pt x="7740" y="2429"/>
                  </a:cubicBezTo>
                  <a:cubicBezTo>
                    <a:pt x="7645" y="2727"/>
                    <a:pt x="7716" y="3060"/>
                    <a:pt x="7954" y="3298"/>
                  </a:cubicBezTo>
                  <a:lnTo>
                    <a:pt x="8109" y="3453"/>
                  </a:lnTo>
                  <a:lnTo>
                    <a:pt x="7883" y="3679"/>
                  </a:lnTo>
                  <a:cubicBezTo>
                    <a:pt x="7190" y="3137"/>
                    <a:pt x="6339" y="2857"/>
                    <a:pt x="5480" y="2857"/>
                  </a:cubicBezTo>
                  <a:cubicBezTo>
                    <a:pt x="4980" y="2857"/>
                    <a:pt x="4478" y="2951"/>
                    <a:pt x="4001" y="3144"/>
                  </a:cubicBezTo>
                  <a:cubicBezTo>
                    <a:pt x="3906" y="3167"/>
                    <a:pt x="3870" y="3275"/>
                    <a:pt x="3906" y="3358"/>
                  </a:cubicBezTo>
                  <a:cubicBezTo>
                    <a:pt x="3933" y="3429"/>
                    <a:pt x="3999" y="3467"/>
                    <a:pt x="4065" y="3467"/>
                  </a:cubicBezTo>
                  <a:cubicBezTo>
                    <a:pt x="4088" y="3467"/>
                    <a:pt x="4111" y="3462"/>
                    <a:pt x="4132" y="3453"/>
                  </a:cubicBezTo>
                  <a:cubicBezTo>
                    <a:pt x="4579" y="3277"/>
                    <a:pt x="5034" y="3195"/>
                    <a:pt x="5479" y="3195"/>
                  </a:cubicBezTo>
                  <a:cubicBezTo>
                    <a:pt x="7404" y="3195"/>
                    <a:pt x="9133" y="4736"/>
                    <a:pt x="9133" y="6835"/>
                  </a:cubicBezTo>
                  <a:cubicBezTo>
                    <a:pt x="9133" y="8925"/>
                    <a:pt x="7411" y="10462"/>
                    <a:pt x="5498" y="10462"/>
                  </a:cubicBezTo>
                  <a:cubicBezTo>
                    <a:pt x="5047" y="10462"/>
                    <a:pt x="4585" y="10376"/>
                    <a:pt x="4132" y="10192"/>
                  </a:cubicBezTo>
                  <a:cubicBezTo>
                    <a:pt x="1442" y="9097"/>
                    <a:pt x="1049" y="5346"/>
                    <a:pt x="3585" y="3763"/>
                  </a:cubicBezTo>
                  <a:cubicBezTo>
                    <a:pt x="3656" y="3715"/>
                    <a:pt x="3692" y="3620"/>
                    <a:pt x="3644" y="3525"/>
                  </a:cubicBezTo>
                  <a:cubicBezTo>
                    <a:pt x="3611" y="3476"/>
                    <a:pt x="3551" y="3443"/>
                    <a:pt x="3489" y="3443"/>
                  </a:cubicBezTo>
                  <a:cubicBezTo>
                    <a:pt x="3461" y="3443"/>
                    <a:pt x="3432" y="3450"/>
                    <a:pt x="3406" y="3465"/>
                  </a:cubicBezTo>
                  <a:cubicBezTo>
                    <a:pt x="3299" y="3536"/>
                    <a:pt x="3192" y="3596"/>
                    <a:pt x="3096" y="3691"/>
                  </a:cubicBezTo>
                  <a:lnTo>
                    <a:pt x="2870" y="3465"/>
                  </a:lnTo>
                  <a:cubicBezTo>
                    <a:pt x="2942" y="3382"/>
                    <a:pt x="3287" y="3167"/>
                    <a:pt x="3287" y="2679"/>
                  </a:cubicBezTo>
                  <a:cubicBezTo>
                    <a:pt x="3287" y="2572"/>
                    <a:pt x="3275" y="2465"/>
                    <a:pt x="3227" y="2370"/>
                  </a:cubicBezTo>
                  <a:cubicBezTo>
                    <a:pt x="3704" y="2084"/>
                    <a:pt x="3835" y="1691"/>
                    <a:pt x="3930" y="1560"/>
                  </a:cubicBezTo>
                  <a:cubicBezTo>
                    <a:pt x="4073" y="1310"/>
                    <a:pt x="4347" y="1155"/>
                    <a:pt x="4620" y="1155"/>
                  </a:cubicBezTo>
                  <a:close/>
                  <a:moveTo>
                    <a:pt x="2811" y="9752"/>
                  </a:moveTo>
                  <a:cubicBezTo>
                    <a:pt x="3037" y="9954"/>
                    <a:pt x="3287" y="10133"/>
                    <a:pt x="3549" y="10287"/>
                  </a:cubicBezTo>
                  <a:lnTo>
                    <a:pt x="2906" y="10942"/>
                  </a:lnTo>
                  <a:cubicBezTo>
                    <a:pt x="2817" y="11031"/>
                    <a:pt x="2701" y="11076"/>
                    <a:pt x="2585" y="11076"/>
                  </a:cubicBezTo>
                  <a:cubicBezTo>
                    <a:pt x="2468" y="11076"/>
                    <a:pt x="2352" y="11031"/>
                    <a:pt x="2263" y="10942"/>
                  </a:cubicBezTo>
                  <a:cubicBezTo>
                    <a:pt x="2084" y="10764"/>
                    <a:pt x="2084" y="10478"/>
                    <a:pt x="2263" y="10299"/>
                  </a:cubicBezTo>
                  <a:lnTo>
                    <a:pt x="2811" y="9752"/>
                  </a:lnTo>
                  <a:close/>
                  <a:moveTo>
                    <a:pt x="8204" y="9752"/>
                  </a:moveTo>
                  <a:lnTo>
                    <a:pt x="8752" y="10299"/>
                  </a:lnTo>
                  <a:cubicBezTo>
                    <a:pt x="8931" y="10478"/>
                    <a:pt x="8931" y="10764"/>
                    <a:pt x="8752" y="10942"/>
                  </a:cubicBezTo>
                  <a:cubicBezTo>
                    <a:pt x="8663" y="11031"/>
                    <a:pt x="8547" y="11076"/>
                    <a:pt x="8430" y="11076"/>
                  </a:cubicBezTo>
                  <a:cubicBezTo>
                    <a:pt x="8314" y="11076"/>
                    <a:pt x="8198" y="11031"/>
                    <a:pt x="8109" y="10942"/>
                  </a:cubicBezTo>
                  <a:lnTo>
                    <a:pt x="7454" y="10287"/>
                  </a:lnTo>
                  <a:cubicBezTo>
                    <a:pt x="7740" y="10121"/>
                    <a:pt x="7978" y="9954"/>
                    <a:pt x="8204" y="9752"/>
                  </a:cubicBezTo>
                  <a:close/>
                  <a:moveTo>
                    <a:pt x="4644" y="0"/>
                  </a:moveTo>
                  <a:cubicBezTo>
                    <a:pt x="3978" y="0"/>
                    <a:pt x="3335" y="358"/>
                    <a:pt x="2989" y="929"/>
                  </a:cubicBezTo>
                  <a:lnTo>
                    <a:pt x="2858" y="1167"/>
                  </a:lnTo>
                  <a:cubicBezTo>
                    <a:pt x="2693" y="1433"/>
                    <a:pt x="2436" y="1452"/>
                    <a:pt x="2316" y="1452"/>
                  </a:cubicBezTo>
                  <a:cubicBezTo>
                    <a:pt x="2296" y="1452"/>
                    <a:pt x="2280" y="1451"/>
                    <a:pt x="2269" y="1451"/>
                  </a:cubicBezTo>
                  <a:cubicBezTo>
                    <a:pt x="2260" y="1451"/>
                    <a:pt x="2254" y="1452"/>
                    <a:pt x="2251" y="1453"/>
                  </a:cubicBezTo>
                  <a:cubicBezTo>
                    <a:pt x="2091" y="1402"/>
                    <a:pt x="1925" y="1376"/>
                    <a:pt x="1760" y="1376"/>
                  </a:cubicBezTo>
                  <a:cubicBezTo>
                    <a:pt x="1350" y="1376"/>
                    <a:pt x="943" y="1535"/>
                    <a:pt x="620" y="1858"/>
                  </a:cubicBezTo>
                  <a:cubicBezTo>
                    <a:pt x="1" y="2477"/>
                    <a:pt x="1" y="3489"/>
                    <a:pt x="620" y="4132"/>
                  </a:cubicBezTo>
                  <a:cubicBezTo>
                    <a:pt x="715" y="4191"/>
                    <a:pt x="918" y="4537"/>
                    <a:pt x="1394" y="4537"/>
                  </a:cubicBezTo>
                  <a:cubicBezTo>
                    <a:pt x="1846" y="4537"/>
                    <a:pt x="2073" y="4227"/>
                    <a:pt x="2108" y="4191"/>
                  </a:cubicBezTo>
                  <a:lnTo>
                    <a:pt x="2334" y="4418"/>
                  </a:lnTo>
                  <a:cubicBezTo>
                    <a:pt x="1144" y="6025"/>
                    <a:pt x="1370" y="8192"/>
                    <a:pt x="2585" y="9466"/>
                  </a:cubicBezTo>
                  <a:lnTo>
                    <a:pt x="2037" y="10013"/>
                  </a:lnTo>
                  <a:cubicBezTo>
                    <a:pt x="1549" y="10502"/>
                    <a:pt x="1894" y="11371"/>
                    <a:pt x="2608" y="11371"/>
                  </a:cubicBezTo>
                  <a:cubicBezTo>
                    <a:pt x="2811" y="11371"/>
                    <a:pt x="3001" y="11287"/>
                    <a:pt x="3168" y="11133"/>
                  </a:cubicBezTo>
                  <a:lnTo>
                    <a:pt x="3894" y="10394"/>
                  </a:lnTo>
                  <a:cubicBezTo>
                    <a:pt x="4403" y="10628"/>
                    <a:pt x="4958" y="10747"/>
                    <a:pt x="5518" y="10747"/>
                  </a:cubicBezTo>
                  <a:cubicBezTo>
                    <a:pt x="6071" y="10747"/>
                    <a:pt x="6630" y="10631"/>
                    <a:pt x="7157" y="10394"/>
                  </a:cubicBezTo>
                  <a:lnTo>
                    <a:pt x="7883" y="11133"/>
                  </a:lnTo>
                  <a:cubicBezTo>
                    <a:pt x="8038" y="11276"/>
                    <a:pt x="8240" y="11371"/>
                    <a:pt x="8454" y="11371"/>
                  </a:cubicBezTo>
                  <a:cubicBezTo>
                    <a:pt x="9157" y="11371"/>
                    <a:pt x="9514" y="10514"/>
                    <a:pt x="9014" y="10013"/>
                  </a:cubicBezTo>
                  <a:lnTo>
                    <a:pt x="8466" y="9466"/>
                  </a:lnTo>
                  <a:cubicBezTo>
                    <a:pt x="9752" y="8061"/>
                    <a:pt x="9871" y="5953"/>
                    <a:pt x="8716" y="4418"/>
                  </a:cubicBezTo>
                  <a:lnTo>
                    <a:pt x="8942" y="4191"/>
                  </a:lnTo>
                  <a:cubicBezTo>
                    <a:pt x="8990" y="4239"/>
                    <a:pt x="9192" y="4537"/>
                    <a:pt x="9657" y="4537"/>
                  </a:cubicBezTo>
                  <a:cubicBezTo>
                    <a:pt x="9895" y="4537"/>
                    <a:pt x="10121" y="4441"/>
                    <a:pt x="10288" y="4287"/>
                  </a:cubicBezTo>
                  <a:cubicBezTo>
                    <a:pt x="10300" y="4251"/>
                    <a:pt x="10967" y="3775"/>
                    <a:pt x="10859" y="2858"/>
                  </a:cubicBezTo>
                  <a:cubicBezTo>
                    <a:pt x="10848" y="2770"/>
                    <a:pt x="10786" y="2702"/>
                    <a:pt x="10701" y="2702"/>
                  </a:cubicBezTo>
                  <a:cubicBezTo>
                    <a:pt x="10695" y="2702"/>
                    <a:pt x="10688" y="2702"/>
                    <a:pt x="10681" y="2703"/>
                  </a:cubicBezTo>
                  <a:cubicBezTo>
                    <a:pt x="10597" y="2727"/>
                    <a:pt x="10526" y="2798"/>
                    <a:pt x="10538" y="2882"/>
                  </a:cubicBezTo>
                  <a:cubicBezTo>
                    <a:pt x="10609" y="3632"/>
                    <a:pt x="10074" y="4001"/>
                    <a:pt x="10026" y="4060"/>
                  </a:cubicBezTo>
                  <a:cubicBezTo>
                    <a:pt x="9922" y="4164"/>
                    <a:pt x="9777" y="4221"/>
                    <a:pt x="9630" y="4221"/>
                  </a:cubicBezTo>
                  <a:cubicBezTo>
                    <a:pt x="9491" y="4221"/>
                    <a:pt x="9350" y="4170"/>
                    <a:pt x="9240" y="4060"/>
                  </a:cubicBezTo>
                  <a:lnTo>
                    <a:pt x="8228" y="3048"/>
                  </a:lnTo>
                  <a:cubicBezTo>
                    <a:pt x="8002" y="2822"/>
                    <a:pt x="8026" y="2477"/>
                    <a:pt x="8228" y="2263"/>
                  </a:cubicBezTo>
                  <a:cubicBezTo>
                    <a:pt x="8300" y="2203"/>
                    <a:pt x="8621" y="1739"/>
                    <a:pt x="9276" y="1739"/>
                  </a:cubicBezTo>
                  <a:cubicBezTo>
                    <a:pt x="9716" y="1739"/>
                    <a:pt x="10109" y="1965"/>
                    <a:pt x="10324" y="2298"/>
                  </a:cubicBezTo>
                  <a:cubicBezTo>
                    <a:pt x="10353" y="2350"/>
                    <a:pt x="10406" y="2379"/>
                    <a:pt x="10462" y="2379"/>
                  </a:cubicBezTo>
                  <a:cubicBezTo>
                    <a:pt x="10495" y="2379"/>
                    <a:pt x="10530" y="2368"/>
                    <a:pt x="10562" y="2346"/>
                  </a:cubicBezTo>
                  <a:cubicBezTo>
                    <a:pt x="10645" y="2298"/>
                    <a:pt x="10669" y="2203"/>
                    <a:pt x="10609" y="2108"/>
                  </a:cubicBezTo>
                  <a:cubicBezTo>
                    <a:pt x="10297" y="1640"/>
                    <a:pt x="9787" y="1384"/>
                    <a:pt x="9254" y="1384"/>
                  </a:cubicBezTo>
                  <a:cubicBezTo>
                    <a:pt x="9095" y="1384"/>
                    <a:pt x="8934" y="1406"/>
                    <a:pt x="8776" y="1453"/>
                  </a:cubicBezTo>
                  <a:lnTo>
                    <a:pt x="8526" y="1453"/>
                  </a:lnTo>
                  <a:cubicBezTo>
                    <a:pt x="8335" y="1453"/>
                    <a:pt x="8145" y="1358"/>
                    <a:pt x="8038" y="1167"/>
                  </a:cubicBezTo>
                  <a:lnTo>
                    <a:pt x="7907" y="929"/>
                  </a:lnTo>
                  <a:cubicBezTo>
                    <a:pt x="7561" y="358"/>
                    <a:pt x="6918" y="0"/>
                    <a:pt x="62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5" name="Google Shape;10475;p59"/>
            <p:cNvSpPr/>
            <p:nvPr/>
          </p:nvSpPr>
          <p:spPr>
            <a:xfrm>
              <a:off x="1354930" y="1618713"/>
              <a:ext cx="224960" cy="206516"/>
            </a:xfrm>
            <a:custGeom>
              <a:avLst/>
              <a:gdLst/>
              <a:ahLst/>
              <a:cxnLst/>
              <a:rect l="l" t="t" r="r" b="b"/>
              <a:pathLst>
                <a:path w="7062" h="6483" extrusionOk="0">
                  <a:moveTo>
                    <a:pt x="3753" y="1"/>
                  </a:moveTo>
                  <a:cubicBezTo>
                    <a:pt x="2094" y="1"/>
                    <a:pt x="465" y="1260"/>
                    <a:pt x="465" y="3249"/>
                  </a:cubicBezTo>
                  <a:cubicBezTo>
                    <a:pt x="465" y="5198"/>
                    <a:pt x="2076" y="6483"/>
                    <a:pt x="3742" y="6483"/>
                  </a:cubicBezTo>
                  <a:cubicBezTo>
                    <a:pt x="4589" y="6483"/>
                    <a:pt x="5450" y="6150"/>
                    <a:pt x="6121" y="5404"/>
                  </a:cubicBezTo>
                  <a:cubicBezTo>
                    <a:pt x="6347" y="5165"/>
                    <a:pt x="6513" y="4880"/>
                    <a:pt x="6656" y="4582"/>
                  </a:cubicBezTo>
                  <a:cubicBezTo>
                    <a:pt x="6704" y="4487"/>
                    <a:pt x="6656" y="4403"/>
                    <a:pt x="6561" y="4356"/>
                  </a:cubicBezTo>
                  <a:cubicBezTo>
                    <a:pt x="6540" y="4347"/>
                    <a:pt x="6518" y="4342"/>
                    <a:pt x="6496" y="4342"/>
                  </a:cubicBezTo>
                  <a:cubicBezTo>
                    <a:pt x="6433" y="4342"/>
                    <a:pt x="6373" y="4380"/>
                    <a:pt x="6347" y="4451"/>
                  </a:cubicBezTo>
                  <a:cubicBezTo>
                    <a:pt x="5882" y="5463"/>
                    <a:pt x="4858" y="6142"/>
                    <a:pt x="3704" y="6142"/>
                  </a:cubicBezTo>
                  <a:cubicBezTo>
                    <a:pt x="1358" y="6142"/>
                    <a:pt x="1" y="3499"/>
                    <a:pt x="1322" y="1594"/>
                  </a:cubicBezTo>
                  <a:cubicBezTo>
                    <a:pt x="1903" y="762"/>
                    <a:pt x="2811" y="339"/>
                    <a:pt x="3721" y="339"/>
                  </a:cubicBezTo>
                  <a:cubicBezTo>
                    <a:pt x="4621" y="339"/>
                    <a:pt x="5522" y="753"/>
                    <a:pt x="6109" y="1594"/>
                  </a:cubicBezTo>
                  <a:cubicBezTo>
                    <a:pt x="6561" y="2260"/>
                    <a:pt x="6716" y="3082"/>
                    <a:pt x="6549" y="3844"/>
                  </a:cubicBezTo>
                  <a:cubicBezTo>
                    <a:pt x="6537" y="3927"/>
                    <a:pt x="6597" y="4022"/>
                    <a:pt x="6680" y="4034"/>
                  </a:cubicBezTo>
                  <a:cubicBezTo>
                    <a:pt x="6688" y="4035"/>
                    <a:pt x="6696" y="4036"/>
                    <a:pt x="6704" y="4036"/>
                  </a:cubicBezTo>
                  <a:cubicBezTo>
                    <a:pt x="6789" y="4036"/>
                    <a:pt x="6861" y="3980"/>
                    <a:pt x="6883" y="3903"/>
                  </a:cubicBezTo>
                  <a:cubicBezTo>
                    <a:pt x="7061" y="3046"/>
                    <a:pt x="6894" y="2141"/>
                    <a:pt x="6359" y="1379"/>
                  </a:cubicBezTo>
                  <a:cubicBezTo>
                    <a:pt x="5689" y="426"/>
                    <a:pt x="4716" y="1"/>
                    <a:pt x="37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6" name="Google Shape;10476;p59"/>
            <p:cNvSpPr/>
            <p:nvPr/>
          </p:nvSpPr>
          <p:spPr>
            <a:xfrm>
              <a:off x="1453553" y="1643305"/>
              <a:ext cx="73235" cy="141436"/>
            </a:xfrm>
            <a:custGeom>
              <a:avLst/>
              <a:gdLst/>
              <a:ahLst/>
              <a:cxnLst/>
              <a:rect l="l" t="t" r="r" b="b"/>
              <a:pathLst>
                <a:path w="2299" h="4440" extrusionOk="0">
                  <a:moveTo>
                    <a:pt x="572" y="345"/>
                  </a:moveTo>
                  <a:cubicBezTo>
                    <a:pt x="703" y="345"/>
                    <a:pt x="810" y="441"/>
                    <a:pt x="810" y="583"/>
                  </a:cubicBezTo>
                  <a:lnTo>
                    <a:pt x="810" y="2191"/>
                  </a:lnTo>
                  <a:cubicBezTo>
                    <a:pt x="727" y="2155"/>
                    <a:pt x="640" y="2137"/>
                    <a:pt x="555" y="2137"/>
                  </a:cubicBezTo>
                  <a:cubicBezTo>
                    <a:pt x="471" y="2137"/>
                    <a:pt x="387" y="2155"/>
                    <a:pt x="310" y="2191"/>
                  </a:cubicBezTo>
                  <a:lnTo>
                    <a:pt x="310" y="583"/>
                  </a:lnTo>
                  <a:lnTo>
                    <a:pt x="334" y="583"/>
                  </a:lnTo>
                  <a:cubicBezTo>
                    <a:pt x="334" y="452"/>
                    <a:pt x="429" y="345"/>
                    <a:pt x="572" y="345"/>
                  </a:cubicBezTo>
                  <a:close/>
                  <a:moveTo>
                    <a:pt x="610" y="2488"/>
                  </a:moveTo>
                  <a:cubicBezTo>
                    <a:pt x="726" y="2488"/>
                    <a:pt x="736" y="2510"/>
                    <a:pt x="1905" y="3703"/>
                  </a:cubicBezTo>
                  <a:cubicBezTo>
                    <a:pt x="1977" y="3798"/>
                    <a:pt x="1977" y="3941"/>
                    <a:pt x="1893" y="4036"/>
                  </a:cubicBezTo>
                  <a:cubicBezTo>
                    <a:pt x="1846" y="4078"/>
                    <a:pt x="1783" y="4099"/>
                    <a:pt x="1721" y="4099"/>
                  </a:cubicBezTo>
                  <a:cubicBezTo>
                    <a:pt x="1658" y="4099"/>
                    <a:pt x="1596" y="4078"/>
                    <a:pt x="1548" y="4036"/>
                  </a:cubicBezTo>
                  <a:lnTo>
                    <a:pt x="417" y="2905"/>
                  </a:lnTo>
                  <a:cubicBezTo>
                    <a:pt x="274" y="2750"/>
                    <a:pt x="369" y="2488"/>
                    <a:pt x="596" y="2488"/>
                  </a:cubicBezTo>
                  <a:cubicBezTo>
                    <a:pt x="600" y="2488"/>
                    <a:pt x="605" y="2488"/>
                    <a:pt x="610" y="2488"/>
                  </a:cubicBezTo>
                  <a:close/>
                  <a:moveTo>
                    <a:pt x="584" y="0"/>
                  </a:moveTo>
                  <a:cubicBezTo>
                    <a:pt x="250" y="0"/>
                    <a:pt x="0" y="274"/>
                    <a:pt x="0" y="583"/>
                  </a:cubicBezTo>
                  <a:lnTo>
                    <a:pt x="0" y="2715"/>
                  </a:lnTo>
                  <a:cubicBezTo>
                    <a:pt x="0" y="2858"/>
                    <a:pt x="60" y="3024"/>
                    <a:pt x="167" y="3131"/>
                  </a:cubicBezTo>
                  <a:cubicBezTo>
                    <a:pt x="1322" y="4262"/>
                    <a:pt x="1310" y="4334"/>
                    <a:pt x="1524" y="4405"/>
                  </a:cubicBezTo>
                  <a:cubicBezTo>
                    <a:pt x="1589" y="4428"/>
                    <a:pt x="1655" y="4439"/>
                    <a:pt x="1720" y="4439"/>
                  </a:cubicBezTo>
                  <a:cubicBezTo>
                    <a:pt x="2023" y="4439"/>
                    <a:pt x="2298" y="4201"/>
                    <a:pt x="2298" y="3858"/>
                  </a:cubicBezTo>
                  <a:cubicBezTo>
                    <a:pt x="2298" y="3703"/>
                    <a:pt x="2227" y="3572"/>
                    <a:pt x="2132" y="3453"/>
                  </a:cubicBezTo>
                  <a:lnTo>
                    <a:pt x="1167" y="2488"/>
                  </a:lnTo>
                  <a:lnTo>
                    <a:pt x="1167" y="583"/>
                  </a:lnTo>
                  <a:cubicBezTo>
                    <a:pt x="1167" y="250"/>
                    <a:pt x="893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77" name="Google Shape;10477;p59"/>
          <p:cNvSpPr/>
          <p:nvPr/>
        </p:nvSpPr>
        <p:spPr>
          <a:xfrm>
            <a:off x="3945378" y="1530729"/>
            <a:ext cx="381209" cy="312466"/>
          </a:xfrm>
          <a:custGeom>
            <a:avLst/>
            <a:gdLst/>
            <a:ahLst/>
            <a:cxnLst/>
            <a:rect l="l" t="t" r="r" b="b"/>
            <a:pathLst>
              <a:path w="11967" h="9809" extrusionOk="0">
                <a:moveTo>
                  <a:pt x="8309" y="358"/>
                </a:moveTo>
                <a:cubicBezTo>
                  <a:pt x="8940" y="358"/>
                  <a:pt x="9663" y="469"/>
                  <a:pt x="10418" y="796"/>
                </a:cubicBezTo>
                <a:lnTo>
                  <a:pt x="10418" y="7796"/>
                </a:lnTo>
                <a:cubicBezTo>
                  <a:pt x="9723" y="7513"/>
                  <a:pt x="8997" y="7381"/>
                  <a:pt x="8289" y="7381"/>
                </a:cubicBezTo>
                <a:cubicBezTo>
                  <a:pt x="7542" y="7381"/>
                  <a:pt x="6816" y="7527"/>
                  <a:pt x="6168" y="7796"/>
                </a:cubicBezTo>
                <a:lnTo>
                  <a:pt x="6168" y="796"/>
                </a:lnTo>
                <a:cubicBezTo>
                  <a:pt x="6430" y="676"/>
                  <a:pt x="7238" y="358"/>
                  <a:pt x="8309" y="358"/>
                </a:cubicBezTo>
                <a:close/>
                <a:moveTo>
                  <a:pt x="3700" y="358"/>
                </a:moveTo>
                <a:cubicBezTo>
                  <a:pt x="4458" y="358"/>
                  <a:pt x="5191" y="513"/>
                  <a:pt x="5823" y="796"/>
                </a:cubicBezTo>
                <a:cubicBezTo>
                  <a:pt x="5811" y="1677"/>
                  <a:pt x="5811" y="6761"/>
                  <a:pt x="5811" y="7796"/>
                </a:cubicBezTo>
                <a:cubicBezTo>
                  <a:pt x="5418" y="7642"/>
                  <a:pt x="4656" y="7392"/>
                  <a:pt x="3668" y="7392"/>
                </a:cubicBezTo>
                <a:cubicBezTo>
                  <a:pt x="2929" y="7392"/>
                  <a:pt x="2215" y="7523"/>
                  <a:pt x="1548" y="7808"/>
                </a:cubicBezTo>
                <a:lnTo>
                  <a:pt x="1548" y="3867"/>
                </a:lnTo>
                <a:cubicBezTo>
                  <a:pt x="1548" y="3760"/>
                  <a:pt x="1477" y="3689"/>
                  <a:pt x="1370" y="3689"/>
                </a:cubicBezTo>
                <a:cubicBezTo>
                  <a:pt x="1262" y="3689"/>
                  <a:pt x="1191" y="3760"/>
                  <a:pt x="1191" y="3867"/>
                </a:cubicBezTo>
                <a:lnTo>
                  <a:pt x="1191" y="7987"/>
                </a:lnTo>
                <a:cubicBezTo>
                  <a:pt x="1191" y="8118"/>
                  <a:pt x="1298" y="8225"/>
                  <a:pt x="1429" y="8225"/>
                </a:cubicBezTo>
                <a:cubicBezTo>
                  <a:pt x="1465" y="8225"/>
                  <a:pt x="1489" y="8225"/>
                  <a:pt x="1524" y="8213"/>
                </a:cubicBezTo>
                <a:cubicBezTo>
                  <a:pt x="2203" y="7916"/>
                  <a:pt x="2917" y="7761"/>
                  <a:pt x="3656" y="7761"/>
                </a:cubicBezTo>
                <a:cubicBezTo>
                  <a:pt x="4715" y="7761"/>
                  <a:pt x="5537" y="8070"/>
                  <a:pt x="5799" y="8189"/>
                </a:cubicBezTo>
                <a:lnTo>
                  <a:pt x="5799" y="8606"/>
                </a:lnTo>
                <a:lnTo>
                  <a:pt x="417" y="8606"/>
                </a:lnTo>
                <a:cubicBezTo>
                  <a:pt x="381" y="8606"/>
                  <a:pt x="358" y="8582"/>
                  <a:pt x="358" y="8547"/>
                </a:cubicBezTo>
                <a:lnTo>
                  <a:pt x="358" y="1248"/>
                </a:lnTo>
                <a:cubicBezTo>
                  <a:pt x="358" y="1212"/>
                  <a:pt x="381" y="1188"/>
                  <a:pt x="417" y="1188"/>
                </a:cubicBezTo>
                <a:lnTo>
                  <a:pt x="1203" y="1188"/>
                </a:lnTo>
                <a:lnTo>
                  <a:pt x="1203" y="3153"/>
                </a:lnTo>
                <a:cubicBezTo>
                  <a:pt x="1203" y="3248"/>
                  <a:pt x="1274" y="3332"/>
                  <a:pt x="1382" y="3332"/>
                </a:cubicBezTo>
                <a:cubicBezTo>
                  <a:pt x="1489" y="3332"/>
                  <a:pt x="1560" y="3248"/>
                  <a:pt x="1560" y="3153"/>
                </a:cubicBezTo>
                <a:lnTo>
                  <a:pt x="1560" y="796"/>
                </a:lnTo>
                <a:cubicBezTo>
                  <a:pt x="2253" y="495"/>
                  <a:pt x="2987" y="358"/>
                  <a:pt x="3700" y="358"/>
                </a:cubicBezTo>
                <a:close/>
                <a:moveTo>
                  <a:pt x="6608" y="7987"/>
                </a:moveTo>
                <a:lnTo>
                  <a:pt x="6608" y="9249"/>
                </a:lnTo>
                <a:lnTo>
                  <a:pt x="6501" y="9166"/>
                </a:lnTo>
                <a:cubicBezTo>
                  <a:pt x="6471" y="9136"/>
                  <a:pt x="6430" y="9121"/>
                  <a:pt x="6390" y="9121"/>
                </a:cubicBezTo>
                <a:cubicBezTo>
                  <a:pt x="6349" y="9121"/>
                  <a:pt x="6311" y="9136"/>
                  <a:pt x="6287" y="9166"/>
                </a:cubicBezTo>
                <a:lnTo>
                  <a:pt x="6168" y="9261"/>
                </a:lnTo>
                <a:lnTo>
                  <a:pt x="6168" y="8166"/>
                </a:lnTo>
                <a:cubicBezTo>
                  <a:pt x="6251" y="8118"/>
                  <a:pt x="6418" y="8058"/>
                  <a:pt x="6608" y="7987"/>
                </a:cubicBezTo>
                <a:close/>
                <a:moveTo>
                  <a:pt x="8273" y="0"/>
                </a:moveTo>
                <a:cubicBezTo>
                  <a:pt x="7438" y="0"/>
                  <a:pt x="6643" y="178"/>
                  <a:pt x="5989" y="486"/>
                </a:cubicBezTo>
                <a:cubicBezTo>
                  <a:pt x="5715" y="367"/>
                  <a:pt x="4858" y="10"/>
                  <a:pt x="3668" y="10"/>
                </a:cubicBezTo>
                <a:cubicBezTo>
                  <a:pt x="2858" y="10"/>
                  <a:pt x="2072" y="176"/>
                  <a:pt x="1322" y="510"/>
                </a:cubicBezTo>
                <a:cubicBezTo>
                  <a:pt x="1143" y="593"/>
                  <a:pt x="1191" y="796"/>
                  <a:pt x="1191" y="843"/>
                </a:cubicBezTo>
                <a:lnTo>
                  <a:pt x="405" y="843"/>
                </a:lnTo>
                <a:cubicBezTo>
                  <a:pt x="179" y="843"/>
                  <a:pt x="0" y="1022"/>
                  <a:pt x="0" y="1248"/>
                </a:cubicBezTo>
                <a:lnTo>
                  <a:pt x="0" y="8535"/>
                </a:lnTo>
                <a:cubicBezTo>
                  <a:pt x="0" y="8761"/>
                  <a:pt x="179" y="8939"/>
                  <a:pt x="405" y="8939"/>
                </a:cubicBezTo>
                <a:lnTo>
                  <a:pt x="5811" y="8939"/>
                </a:lnTo>
                <a:lnTo>
                  <a:pt x="5811" y="9630"/>
                </a:lnTo>
                <a:cubicBezTo>
                  <a:pt x="5811" y="9740"/>
                  <a:pt x="5889" y="9808"/>
                  <a:pt x="5977" y="9808"/>
                </a:cubicBezTo>
                <a:cubicBezTo>
                  <a:pt x="6013" y="9808"/>
                  <a:pt x="6050" y="9797"/>
                  <a:pt x="6084" y="9773"/>
                </a:cubicBezTo>
                <a:lnTo>
                  <a:pt x="6382" y="9535"/>
                </a:lnTo>
                <a:cubicBezTo>
                  <a:pt x="6656" y="9737"/>
                  <a:pt x="6668" y="9809"/>
                  <a:pt x="6787" y="9809"/>
                </a:cubicBezTo>
                <a:cubicBezTo>
                  <a:pt x="6894" y="9809"/>
                  <a:pt x="6966" y="9737"/>
                  <a:pt x="6966" y="9630"/>
                </a:cubicBezTo>
                <a:lnTo>
                  <a:pt x="6966" y="8939"/>
                </a:lnTo>
                <a:lnTo>
                  <a:pt x="9335" y="8939"/>
                </a:lnTo>
                <a:cubicBezTo>
                  <a:pt x="9442" y="8939"/>
                  <a:pt x="9513" y="8856"/>
                  <a:pt x="9513" y="8761"/>
                </a:cubicBezTo>
                <a:cubicBezTo>
                  <a:pt x="9513" y="8654"/>
                  <a:pt x="9442" y="8582"/>
                  <a:pt x="9335" y="8582"/>
                </a:cubicBezTo>
                <a:lnTo>
                  <a:pt x="6966" y="8582"/>
                </a:lnTo>
                <a:lnTo>
                  <a:pt x="6966" y="7892"/>
                </a:lnTo>
                <a:cubicBezTo>
                  <a:pt x="7400" y="7783"/>
                  <a:pt x="7847" y="7728"/>
                  <a:pt x="8295" y="7728"/>
                </a:cubicBezTo>
                <a:cubicBezTo>
                  <a:pt x="9025" y="7728"/>
                  <a:pt x="9760" y="7875"/>
                  <a:pt x="10454" y="8177"/>
                </a:cubicBezTo>
                <a:cubicBezTo>
                  <a:pt x="10483" y="8192"/>
                  <a:pt x="10514" y="8199"/>
                  <a:pt x="10544" y="8199"/>
                </a:cubicBezTo>
                <a:cubicBezTo>
                  <a:pt x="10662" y="8199"/>
                  <a:pt x="10776" y="8096"/>
                  <a:pt x="10776" y="7963"/>
                </a:cubicBezTo>
                <a:lnTo>
                  <a:pt x="10776" y="1177"/>
                </a:lnTo>
                <a:lnTo>
                  <a:pt x="11561" y="1177"/>
                </a:lnTo>
                <a:cubicBezTo>
                  <a:pt x="11597" y="1177"/>
                  <a:pt x="11621" y="1212"/>
                  <a:pt x="11621" y="1236"/>
                </a:cubicBezTo>
                <a:lnTo>
                  <a:pt x="11621" y="8535"/>
                </a:lnTo>
                <a:cubicBezTo>
                  <a:pt x="11621" y="8570"/>
                  <a:pt x="11597" y="8594"/>
                  <a:pt x="11561" y="8594"/>
                </a:cubicBezTo>
                <a:lnTo>
                  <a:pt x="10049" y="8594"/>
                </a:lnTo>
                <a:cubicBezTo>
                  <a:pt x="9942" y="8594"/>
                  <a:pt x="9871" y="8666"/>
                  <a:pt x="9871" y="8773"/>
                </a:cubicBezTo>
                <a:cubicBezTo>
                  <a:pt x="9871" y="8880"/>
                  <a:pt x="9942" y="8951"/>
                  <a:pt x="10049" y="8951"/>
                </a:cubicBezTo>
                <a:lnTo>
                  <a:pt x="11561" y="8951"/>
                </a:lnTo>
                <a:cubicBezTo>
                  <a:pt x="11788" y="8951"/>
                  <a:pt x="11966" y="8773"/>
                  <a:pt x="11966" y="8547"/>
                </a:cubicBezTo>
                <a:lnTo>
                  <a:pt x="11966" y="1236"/>
                </a:lnTo>
                <a:cubicBezTo>
                  <a:pt x="11954" y="998"/>
                  <a:pt x="11776" y="831"/>
                  <a:pt x="11549" y="831"/>
                </a:cubicBezTo>
                <a:lnTo>
                  <a:pt x="10764" y="831"/>
                </a:lnTo>
                <a:cubicBezTo>
                  <a:pt x="10752" y="784"/>
                  <a:pt x="10811" y="581"/>
                  <a:pt x="10633" y="498"/>
                </a:cubicBezTo>
                <a:cubicBezTo>
                  <a:pt x="9864" y="154"/>
                  <a:pt x="9051" y="0"/>
                  <a:pt x="827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78" name="Google Shape;10478;p59"/>
          <p:cNvGrpSpPr/>
          <p:nvPr/>
        </p:nvGrpSpPr>
        <p:grpSpPr>
          <a:xfrm>
            <a:off x="852385" y="1510916"/>
            <a:ext cx="353145" cy="351998"/>
            <a:chOff x="852385" y="1510916"/>
            <a:chExt cx="353145" cy="351998"/>
          </a:xfrm>
        </p:grpSpPr>
        <p:sp>
          <p:nvSpPr>
            <p:cNvPr id="10479" name="Google Shape;10479;p59"/>
            <p:cNvSpPr/>
            <p:nvPr/>
          </p:nvSpPr>
          <p:spPr>
            <a:xfrm>
              <a:off x="852385" y="1510916"/>
              <a:ext cx="353145" cy="187785"/>
            </a:xfrm>
            <a:custGeom>
              <a:avLst/>
              <a:gdLst/>
              <a:ahLst/>
              <a:cxnLst/>
              <a:rect l="l" t="t" r="r" b="b"/>
              <a:pathLst>
                <a:path w="11086" h="5895" extrusionOk="0">
                  <a:moveTo>
                    <a:pt x="6145" y="334"/>
                  </a:moveTo>
                  <a:lnTo>
                    <a:pt x="6145" y="703"/>
                  </a:lnTo>
                  <a:lnTo>
                    <a:pt x="4942" y="703"/>
                  </a:lnTo>
                  <a:lnTo>
                    <a:pt x="4942" y="334"/>
                  </a:lnTo>
                  <a:close/>
                  <a:moveTo>
                    <a:pt x="10764" y="1025"/>
                  </a:moveTo>
                  <a:lnTo>
                    <a:pt x="10764" y="1596"/>
                  </a:lnTo>
                  <a:lnTo>
                    <a:pt x="346" y="1596"/>
                  </a:lnTo>
                  <a:lnTo>
                    <a:pt x="346" y="1025"/>
                  </a:lnTo>
                  <a:close/>
                  <a:moveTo>
                    <a:pt x="4775" y="1"/>
                  </a:moveTo>
                  <a:cubicBezTo>
                    <a:pt x="4692" y="1"/>
                    <a:pt x="4621" y="84"/>
                    <a:pt x="4621" y="167"/>
                  </a:cubicBezTo>
                  <a:lnTo>
                    <a:pt x="4621" y="703"/>
                  </a:lnTo>
                  <a:lnTo>
                    <a:pt x="168" y="703"/>
                  </a:lnTo>
                  <a:cubicBezTo>
                    <a:pt x="72" y="703"/>
                    <a:pt x="1" y="775"/>
                    <a:pt x="1" y="870"/>
                  </a:cubicBezTo>
                  <a:lnTo>
                    <a:pt x="1" y="1751"/>
                  </a:lnTo>
                  <a:cubicBezTo>
                    <a:pt x="1" y="1834"/>
                    <a:pt x="72" y="1906"/>
                    <a:pt x="168" y="1906"/>
                  </a:cubicBezTo>
                  <a:lnTo>
                    <a:pt x="656" y="1906"/>
                  </a:lnTo>
                  <a:lnTo>
                    <a:pt x="656" y="2620"/>
                  </a:lnTo>
                  <a:cubicBezTo>
                    <a:pt x="656" y="2715"/>
                    <a:pt x="727" y="2787"/>
                    <a:pt x="822" y="2787"/>
                  </a:cubicBezTo>
                  <a:cubicBezTo>
                    <a:pt x="906" y="2787"/>
                    <a:pt x="989" y="2715"/>
                    <a:pt x="989" y="2620"/>
                  </a:cubicBezTo>
                  <a:lnTo>
                    <a:pt x="989" y="1906"/>
                  </a:lnTo>
                  <a:lnTo>
                    <a:pt x="10109" y="1906"/>
                  </a:lnTo>
                  <a:lnTo>
                    <a:pt x="10109" y="5740"/>
                  </a:lnTo>
                  <a:cubicBezTo>
                    <a:pt x="10109" y="5823"/>
                    <a:pt x="10181" y="5894"/>
                    <a:pt x="10276" y="5894"/>
                  </a:cubicBezTo>
                  <a:cubicBezTo>
                    <a:pt x="10359" y="5894"/>
                    <a:pt x="10431" y="5823"/>
                    <a:pt x="10431" y="5740"/>
                  </a:cubicBezTo>
                  <a:lnTo>
                    <a:pt x="10431" y="1918"/>
                  </a:lnTo>
                  <a:lnTo>
                    <a:pt x="10931" y="1918"/>
                  </a:lnTo>
                  <a:cubicBezTo>
                    <a:pt x="11014" y="1918"/>
                    <a:pt x="11086" y="1846"/>
                    <a:pt x="11086" y="1763"/>
                  </a:cubicBezTo>
                  <a:lnTo>
                    <a:pt x="11086" y="882"/>
                  </a:lnTo>
                  <a:cubicBezTo>
                    <a:pt x="11086" y="775"/>
                    <a:pt x="11014" y="703"/>
                    <a:pt x="10931" y="703"/>
                  </a:cubicBezTo>
                  <a:lnTo>
                    <a:pt x="6478" y="703"/>
                  </a:lnTo>
                  <a:lnTo>
                    <a:pt x="6478" y="167"/>
                  </a:lnTo>
                  <a:cubicBezTo>
                    <a:pt x="6478" y="84"/>
                    <a:pt x="6406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0" name="Google Shape;10480;p59"/>
            <p:cNvSpPr/>
            <p:nvPr/>
          </p:nvSpPr>
          <p:spPr>
            <a:xfrm>
              <a:off x="852385" y="1609921"/>
              <a:ext cx="353145" cy="252992"/>
            </a:xfrm>
            <a:custGeom>
              <a:avLst/>
              <a:gdLst/>
              <a:ahLst/>
              <a:cxnLst/>
              <a:rect l="l" t="t" r="r" b="b"/>
              <a:pathLst>
                <a:path w="11086" h="7942" extrusionOk="0">
                  <a:moveTo>
                    <a:pt x="10764" y="4382"/>
                  </a:moveTo>
                  <a:lnTo>
                    <a:pt x="10764" y="4953"/>
                  </a:lnTo>
                  <a:lnTo>
                    <a:pt x="346" y="4953"/>
                  </a:lnTo>
                  <a:lnTo>
                    <a:pt x="346" y="4382"/>
                  </a:lnTo>
                  <a:close/>
                  <a:moveTo>
                    <a:pt x="6406" y="5275"/>
                  </a:moveTo>
                  <a:lnTo>
                    <a:pt x="6895" y="6168"/>
                  </a:lnTo>
                  <a:lnTo>
                    <a:pt x="4228" y="6168"/>
                  </a:lnTo>
                  <a:lnTo>
                    <a:pt x="4716" y="5275"/>
                  </a:lnTo>
                  <a:close/>
                  <a:moveTo>
                    <a:pt x="4335" y="5275"/>
                  </a:moveTo>
                  <a:lnTo>
                    <a:pt x="3049" y="7608"/>
                  </a:lnTo>
                  <a:lnTo>
                    <a:pt x="2573" y="7608"/>
                  </a:lnTo>
                  <a:lnTo>
                    <a:pt x="3859" y="5275"/>
                  </a:lnTo>
                  <a:close/>
                  <a:moveTo>
                    <a:pt x="7240" y="5275"/>
                  </a:moveTo>
                  <a:lnTo>
                    <a:pt x="8514" y="7608"/>
                  </a:lnTo>
                  <a:lnTo>
                    <a:pt x="8038" y="7608"/>
                  </a:lnTo>
                  <a:lnTo>
                    <a:pt x="6764" y="5275"/>
                  </a:lnTo>
                  <a:close/>
                  <a:moveTo>
                    <a:pt x="822" y="0"/>
                  </a:moveTo>
                  <a:cubicBezTo>
                    <a:pt x="727" y="0"/>
                    <a:pt x="656" y="84"/>
                    <a:pt x="656" y="167"/>
                  </a:cubicBezTo>
                  <a:lnTo>
                    <a:pt x="656" y="4072"/>
                  </a:lnTo>
                  <a:lnTo>
                    <a:pt x="168" y="4072"/>
                  </a:lnTo>
                  <a:cubicBezTo>
                    <a:pt x="72" y="4072"/>
                    <a:pt x="1" y="4144"/>
                    <a:pt x="1" y="4239"/>
                  </a:cubicBezTo>
                  <a:lnTo>
                    <a:pt x="1" y="5108"/>
                  </a:lnTo>
                  <a:cubicBezTo>
                    <a:pt x="1" y="5203"/>
                    <a:pt x="72" y="5275"/>
                    <a:pt x="168" y="5275"/>
                  </a:cubicBezTo>
                  <a:lnTo>
                    <a:pt x="3489" y="5275"/>
                  </a:lnTo>
                  <a:lnTo>
                    <a:pt x="2144" y="7704"/>
                  </a:lnTo>
                  <a:cubicBezTo>
                    <a:pt x="2120" y="7751"/>
                    <a:pt x="2120" y="7811"/>
                    <a:pt x="2144" y="7870"/>
                  </a:cubicBezTo>
                  <a:cubicBezTo>
                    <a:pt x="2180" y="7906"/>
                    <a:pt x="2239" y="7942"/>
                    <a:pt x="2275" y="7942"/>
                  </a:cubicBezTo>
                  <a:lnTo>
                    <a:pt x="3132" y="7942"/>
                  </a:lnTo>
                  <a:cubicBezTo>
                    <a:pt x="3192" y="7942"/>
                    <a:pt x="3251" y="7906"/>
                    <a:pt x="3275" y="7846"/>
                  </a:cubicBezTo>
                  <a:lnTo>
                    <a:pt x="3644" y="7168"/>
                  </a:lnTo>
                  <a:lnTo>
                    <a:pt x="4644" y="7168"/>
                  </a:lnTo>
                  <a:cubicBezTo>
                    <a:pt x="4728" y="7168"/>
                    <a:pt x="4811" y="7096"/>
                    <a:pt x="4811" y="7001"/>
                  </a:cubicBezTo>
                  <a:cubicBezTo>
                    <a:pt x="4811" y="6906"/>
                    <a:pt x="4728" y="6834"/>
                    <a:pt x="4644" y="6834"/>
                  </a:cubicBezTo>
                  <a:lnTo>
                    <a:pt x="3823" y="6834"/>
                  </a:lnTo>
                  <a:lnTo>
                    <a:pt x="4037" y="6465"/>
                  </a:lnTo>
                  <a:lnTo>
                    <a:pt x="7061" y="6465"/>
                  </a:lnTo>
                  <a:lnTo>
                    <a:pt x="7252" y="6834"/>
                  </a:lnTo>
                  <a:lnTo>
                    <a:pt x="5299" y="6834"/>
                  </a:lnTo>
                  <a:cubicBezTo>
                    <a:pt x="5216" y="6834"/>
                    <a:pt x="5133" y="6906"/>
                    <a:pt x="5133" y="7001"/>
                  </a:cubicBezTo>
                  <a:cubicBezTo>
                    <a:pt x="5133" y="7096"/>
                    <a:pt x="5216" y="7168"/>
                    <a:pt x="5299" y="7168"/>
                  </a:cubicBezTo>
                  <a:lnTo>
                    <a:pt x="7430" y="7168"/>
                  </a:lnTo>
                  <a:lnTo>
                    <a:pt x="7800" y="7846"/>
                  </a:lnTo>
                  <a:cubicBezTo>
                    <a:pt x="7835" y="7894"/>
                    <a:pt x="7895" y="7942"/>
                    <a:pt x="7954" y="7942"/>
                  </a:cubicBezTo>
                  <a:lnTo>
                    <a:pt x="8800" y="7942"/>
                  </a:lnTo>
                  <a:cubicBezTo>
                    <a:pt x="8859" y="7942"/>
                    <a:pt x="8907" y="7906"/>
                    <a:pt x="8931" y="7870"/>
                  </a:cubicBezTo>
                  <a:cubicBezTo>
                    <a:pt x="8966" y="7823"/>
                    <a:pt x="8966" y="7763"/>
                    <a:pt x="8931" y="7704"/>
                  </a:cubicBezTo>
                  <a:lnTo>
                    <a:pt x="7597" y="5275"/>
                  </a:lnTo>
                  <a:lnTo>
                    <a:pt x="10931" y="5275"/>
                  </a:lnTo>
                  <a:cubicBezTo>
                    <a:pt x="11014" y="5275"/>
                    <a:pt x="11086" y="5203"/>
                    <a:pt x="11086" y="5108"/>
                  </a:cubicBezTo>
                  <a:lnTo>
                    <a:pt x="11086" y="4239"/>
                  </a:lnTo>
                  <a:cubicBezTo>
                    <a:pt x="11086" y="4144"/>
                    <a:pt x="11014" y="4072"/>
                    <a:pt x="10931" y="4072"/>
                  </a:cubicBezTo>
                  <a:lnTo>
                    <a:pt x="10431" y="4072"/>
                  </a:lnTo>
                  <a:lnTo>
                    <a:pt x="10431" y="3263"/>
                  </a:lnTo>
                  <a:cubicBezTo>
                    <a:pt x="10431" y="3179"/>
                    <a:pt x="10359" y="3108"/>
                    <a:pt x="10276" y="3108"/>
                  </a:cubicBezTo>
                  <a:cubicBezTo>
                    <a:pt x="10181" y="3108"/>
                    <a:pt x="10109" y="3179"/>
                    <a:pt x="10109" y="3263"/>
                  </a:cubicBezTo>
                  <a:lnTo>
                    <a:pt x="10109" y="4072"/>
                  </a:lnTo>
                  <a:lnTo>
                    <a:pt x="989" y="4072"/>
                  </a:lnTo>
                  <a:lnTo>
                    <a:pt x="989" y="167"/>
                  </a:lnTo>
                  <a:cubicBezTo>
                    <a:pt x="989" y="84"/>
                    <a:pt x="906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1" name="Google Shape;10481;p59"/>
            <p:cNvSpPr/>
            <p:nvPr/>
          </p:nvSpPr>
          <p:spPr>
            <a:xfrm>
              <a:off x="928264" y="1584501"/>
              <a:ext cx="198775" cy="140735"/>
            </a:xfrm>
            <a:custGeom>
              <a:avLst/>
              <a:gdLst/>
              <a:ahLst/>
              <a:cxnLst/>
              <a:rect l="l" t="t" r="r" b="b"/>
              <a:pathLst>
                <a:path w="6240" h="4418" extrusionOk="0">
                  <a:moveTo>
                    <a:pt x="5608" y="322"/>
                  </a:moveTo>
                  <a:cubicBezTo>
                    <a:pt x="5787" y="322"/>
                    <a:pt x="5929" y="465"/>
                    <a:pt x="5929" y="643"/>
                  </a:cubicBezTo>
                  <a:cubicBezTo>
                    <a:pt x="5929" y="798"/>
                    <a:pt x="5775" y="953"/>
                    <a:pt x="5608" y="953"/>
                  </a:cubicBezTo>
                  <a:cubicBezTo>
                    <a:pt x="5453" y="953"/>
                    <a:pt x="5298" y="822"/>
                    <a:pt x="5298" y="643"/>
                  </a:cubicBezTo>
                  <a:cubicBezTo>
                    <a:pt x="5298" y="477"/>
                    <a:pt x="5429" y="322"/>
                    <a:pt x="5608" y="322"/>
                  </a:cubicBezTo>
                  <a:close/>
                  <a:moveTo>
                    <a:pt x="2131" y="1334"/>
                  </a:moveTo>
                  <a:cubicBezTo>
                    <a:pt x="2310" y="1334"/>
                    <a:pt x="2441" y="1477"/>
                    <a:pt x="2441" y="1656"/>
                  </a:cubicBezTo>
                  <a:cubicBezTo>
                    <a:pt x="2441" y="1834"/>
                    <a:pt x="2310" y="1965"/>
                    <a:pt x="2131" y="1965"/>
                  </a:cubicBezTo>
                  <a:cubicBezTo>
                    <a:pt x="1965" y="1965"/>
                    <a:pt x="1822" y="1834"/>
                    <a:pt x="1822" y="1656"/>
                  </a:cubicBezTo>
                  <a:cubicBezTo>
                    <a:pt x="1822" y="1489"/>
                    <a:pt x="1953" y="1334"/>
                    <a:pt x="2131" y="1334"/>
                  </a:cubicBezTo>
                  <a:close/>
                  <a:moveTo>
                    <a:pt x="4036" y="2429"/>
                  </a:moveTo>
                  <a:cubicBezTo>
                    <a:pt x="4215" y="2429"/>
                    <a:pt x="4346" y="2560"/>
                    <a:pt x="4346" y="2739"/>
                  </a:cubicBezTo>
                  <a:cubicBezTo>
                    <a:pt x="4346" y="2918"/>
                    <a:pt x="4203" y="3049"/>
                    <a:pt x="4036" y="3049"/>
                  </a:cubicBezTo>
                  <a:cubicBezTo>
                    <a:pt x="3870" y="3049"/>
                    <a:pt x="3727" y="2918"/>
                    <a:pt x="3727" y="2739"/>
                  </a:cubicBezTo>
                  <a:cubicBezTo>
                    <a:pt x="3727" y="2572"/>
                    <a:pt x="3858" y="2429"/>
                    <a:pt x="4036" y="2429"/>
                  </a:cubicBezTo>
                  <a:close/>
                  <a:moveTo>
                    <a:pt x="595" y="3501"/>
                  </a:moveTo>
                  <a:cubicBezTo>
                    <a:pt x="774" y="3501"/>
                    <a:pt x="905" y="3632"/>
                    <a:pt x="905" y="3811"/>
                  </a:cubicBezTo>
                  <a:cubicBezTo>
                    <a:pt x="905" y="3989"/>
                    <a:pt x="762" y="4120"/>
                    <a:pt x="595" y="4120"/>
                  </a:cubicBezTo>
                  <a:cubicBezTo>
                    <a:pt x="429" y="4120"/>
                    <a:pt x="286" y="3989"/>
                    <a:pt x="286" y="3811"/>
                  </a:cubicBezTo>
                  <a:cubicBezTo>
                    <a:pt x="286" y="3644"/>
                    <a:pt x="417" y="3501"/>
                    <a:pt x="595" y="3501"/>
                  </a:cubicBezTo>
                  <a:close/>
                  <a:moveTo>
                    <a:pt x="5608" y="1"/>
                  </a:moveTo>
                  <a:cubicBezTo>
                    <a:pt x="5275" y="1"/>
                    <a:pt x="4989" y="286"/>
                    <a:pt x="4989" y="632"/>
                  </a:cubicBezTo>
                  <a:cubicBezTo>
                    <a:pt x="4989" y="786"/>
                    <a:pt x="5048" y="941"/>
                    <a:pt x="5156" y="1048"/>
                  </a:cubicBezTo>
                  <a:lnTo>
                    <a:pt x="4239" y="2132"/>
                  </a:lnTo>
                  <a:cubicBezTo>
                    <a:pt x="4179" y="2120"/>
                    <a:pt x="4108" y="2096"/>
                    <a:pt x="4048" y="2096"/>
                  </a:cubicBezTo>
                  <a:cubicBezTo>
                    <a:pt x="3858" y="2096"/>
                    <a:pt x="3679" y="2191"/>
                    <a:pt x="3560" y="2334"/>
                  </a:cubicBezTo>
                  <a:lnTo>
                    <a:pt x="2739" y="1882"/>
                  </a:lnTo>
                  <a:cubicBezTo>
                    <a:pt x="2774" y="1798"/>
                    <a:pt x="2786" y="1727"/>
                    <a:pt x="2786" y="1656"/>
                  </a:cubicBezTo>
                  <a:cubicBezTo>
                    <a:pt x="2786" y="1310"/>
                    <a:pt x="2500" y="1024"/>
                    <a:pt x="2155" y="1024"/>
                  </a:cubicBezTo>
                  <a:cubicBezTo>
                    <a:pt x="1822" y="1024"/>
                    <a:pt x="1536" y="1310"/>
                    <a:pt x="1536" y="1656"/>
                  </a:cubicBezTo>
                  <a:cubicBezTo>
                    <a:pt x="1536" y="1822"/>
                    <a:pt x="1596" y="1953"/>
                    <a:pt x="1703" y="2072"/>
                  </a:cubicBezTo>
                  <a:lnTo>
                    <a:pt x="834" y="3203"/>
                  </a:lnTo>
                  <a:cubicBezTo>
                    <a:pt x="774" y="3191"/>
                    <a:pt x="703" y="3168"/>
                    <a:pt x="631" y="3168"/>
                  </a:cubicBezTo>
                  <a:cubicBezTo>
                    <a:pt x="286" y="3168"/>
                    <a:pt x="0" y="3453"/>
                    <a:pt x="0" y="3799"/>
                  </a:cubicBezTo>
                  <a:cubicBezTo>
                    <a:pt x="0" y="4144"/>
                    <a:pt x="286" y="4418"/>
                    <a:pt x="631" y="4418"/>
                  </a:cubicBezTo>
                  <a:cubicBezTo>
                    <a:pt x="965" y="4418"/>
                    <a:pt x="1250" y="4144"/>
                    <a:pt x="1250" y="3799"/>
                  </a:cubicBezTo>
                  <a:cubicBezTo>
                    <a:pt x="1250" y="3632"/>
                    <a:pt x="1191" y="3501"/>
                    <a:pt x="1084" y="3382"/>
                  </a:cubicBezTo>
                  <a:lnTo>
                    <a:pt x="1953" y="2251"/>
                  </a:lnTo>
                  <a:cubicBezTo>
                    <a:pt x="2012" y="2263"/>
                    <a:pt x="2084" y="2275"/>
                    <a:pt x="2155" y="2275"/>
                  </a:cubicBezTo>
                  <a:cubicBezTo>
                    <a:pt x="2310" y="2275"/>
                    <a:pt x="2441" y="2215"/>
                    <a:pt x="2560" y="2144"/>
                  </a:cubicBezTo>
                  <a:lnTo>
                    <a:pt x="3441" y="2632"/>
                  </a:lnTo>
                  <a:cubicBezTo>
                    <a:pt x="3441" y="2668"/>
                    <a:pt x="3429" y="2691"/>
                    <a:pt x="3429" y="2739"/>
                  </a:cubicBezTo>
                  <a:cubicBezTo>
                    <a:pt x="3429" y="3084"/>
                    <a:pt x="3703" y="3370"/>
                    <a:pt x="4048" y="3370"/>
                  </a:cubicBezTo>
                  <a:cubicBezTo>
                    <a:pt x="4394" y="3370"/>
                    <a:pt x="4679" y="3084"/>
                    <a:pt x="4679" y="2739"/>
                  </a:cubicBezTo>
                  <a:cubicBezTo>
                    <a:pt x="4679" y="2572"/>
                    <a:pt x="4620" y="2429"/>
                    <a:pt x="4513" y="2322"/>
                  </a:cubicBezTo>
                  <a:lnTo>
                    <a:pt x="5418" y="1239"/>
                  </a:lnTo>
                  <a:cubicBezTo>
                    <a:pt x="5477" y="1251"/>
                    <a:pt x="5548" y="1263"/>
                    <a:pt x="5608" y="1263"/>
                  </a:cubicBezTo>
                  <a:cubicBezTo>
                    <a:pt x="5953" y="1263"/>
                    <a:pt x="6239" y="989"/>
                    <a:pt x="6239" y="643"/>
                  </a:cubicBezTo>
                  <a:cubicBezTo>
                    <a:pt x="6239" y="286"/>
                    <a:pt x="5953" y="1"/>
                    <a:pt x="5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82" name="Google Shape;10482;p59"/>
          <p:cNvGrpSpPr/>
          <p:nvPr/>
        </p:nvGrpSpPr>
        <p:grpSpPr>
          <a:xfrm>
            <a:off x="1745217" y="1515471"/>
            <a:ext cx="343269" cy="342505"/>
            <a:chOff x="1745217" y="1515471"/>
            <a:chExt cx="343269" cy="342505"/>
          </a:xfrm>
        </p:grpSpPr>
        <p:sp>
          <p:nvSpPr>
            <p:cNvPr id="10483" name="Google Shape;10483;p59"/>
            <p:cNvSpPr/>
            <p:nvPr/>
          </p:nvSpPr>
          <p:spPr>
            <a:xfrm>
              <a:off x="1854448" y="1647096"/>
              <a:ext cx="22012" cy="21630"/>
            </a:xfrm>
            <a:custGeom>
              <a:avLst/>
              <a:gdLst/>
              <a:ahLst/>
              <a:cxnLst/>
              <a:rect l="l" t="t" r="r" b="b"/>
              <a:pathLst>
                <a:path w="691" h="679" extrusionOk="0">
                  <a:moveTo>
                    <a:pt x="346" y="0"/>
                  </a:moveTo>
                  <a:cubicBezTo>
                    <a:pt x="155" y="0"/>
                    <a:pt x="0" y="155"/>
                    <a:pt x="0" y="345"/>
                  </a:cubicBezTo>
                  <a:cubicBezTo>
                    <a:pt x="0" y="536"/>
                    <a:pt x="155" y="679"/>
                    <a:pt x="346" y="679"/>
                  </a:cubicBezTo>
                  <a:cubicBezTo>
                    <a:pt x="536" y="679"/>
                    <a:pt x="691" y="536"/>
                    <a:pt x="691" y="345"/>
                  </a:cubicBezTo>
                  <a:cubicBezTo>
                    <a:pt x="691" y="155"/>
                    <a:pt x="536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4" name="Google Shape;10484;p59"/>
            <p:cNvSpPr/>
            <p:nvPr/>
          </p:nvSpPr>
          <p:spPr>
            <a:xfrm>
              <a:off x="1906021" y="1647096"/>
              <a:ext cx="21661" cy="21630"/>
            </a:xfrm>
            <a:custGeom>
              <a:avLst/>
              <a:gdLst/>
              <a:ahLst/>
              <a:cxnLst/>
              <a:rect l="l" t="t" r="r" b="b"/>
              <a:pathLst>
                <a:path w="680" h="679" extrusionOk="0">
                  <a:moveTo>
                    <a:pt x="334" y="0"/>
                  </a:moveTo>
                  <a:cubicBezTo>
                    <a:pt x="143" y="0"/>
                    <a:pt x="0" y="155"/>
                    <a:pt x="0" y="345"/>
                  </a:cubicBezTo>
                  <a:cubicBezTo>
                    <a:pt x="0" y="536"/>
                    <a:pt x="143" y="679"/>
                    <a:pt x="334" y="679"/>
                  </a:cubicBezTo>
                  <a:cubicBezTo>
                    <a:pt x="524" y="679"/>
                    <a:pt x="679" y="536"/>
                    <a:pt x="679" y="345"/>
                  </a:cubicBezTo>
                  <a:cubicBezTo>
                    <a:pt x="679" y="155"/>
                    <a:pt x="524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5" name="Google Shape;10485;p59"/>
            <p:cNvSpPr/>
            <p:nvPr/>
          </p:nvSpPr>
          <p:spPr>
            <a:xfrm>
              <a:off x="1956830" y="1647096"/>
              <a:ext cx="22044" cy="21630"/>
            </a:xfrm>
            <a:custGeom>
              <a:avLst/>
              <a:gdLst/>
              <a:ahLst/>
              <a:cxnLst/>
              <a:rect l="l" t="t" r="r" b="b"/>
              <a:pathLst>
                <a:path w="692" h="679" extrusionOk="0">
                  <a:moveTo>
                    <a:pt x="346" y="0"/>
                  </a:moveTo>
                  <a:cubicBezTo>
                    <a:pt x="156" y="0"/>
                    <a:pt x="1" y="155"/>
                    <a:pt x="1" y="345"/>
                  </a:cubicBezTo>
                  <a:cubicBezTo>
                    <a:pt x="1" y="536"/>
                    <a:pt x="156" y="679"/>
                    <a:pt x="346" y="679"/>
                  </a:cubicBezTo>
                  <a:cubicBezTo>
                    <a:pt x="537" y="679"/>
                    <a:pt x="691" y="536"/>
                    <a:pt x="691" y="345"/>
                  </a:cubicBezTo>
                  <a:cubicBezTo>
                    <a:pt x="691" y="155"/>
                    <a:pt x="537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6" name="Google Shape;10486;p59"/>
            <p:cNvSpPr/>
            <p:nvPr/>
          </p:nvSpPr>
          <p:spPr>
            <a:xfrm>
              <a:off x="1745217" y="1515471"/>
              <a:ext cx="343269" cy="342505"/>
            </a:xfrm>
            <a:custGeom>
              <a:avLst/>
              <a:gdLst/>
              <a:ahLst/>
              <a:cxnLst/>
              <a:rect l="l" t="t" r="r" b="b"/>
              <a:pathLst>
                <a:path w="10776" h="10752" extrusionOk="0">
                  <a:moveTo>
                    <a:pt x="5382" y="1"/>
                  </a:moveTo>
                  <a:cubicBezTo>
                    <a:pt x="3953" y="1"/>
                    <a:pt x="2608" y="453"/>
                    <a:pt x="1596" y="1286"/>
                  </a:cubicBezTo>
                  <a:cubicBezTo>
                    <a:pt x="560" y="2144"/>
                    <a:pt x="0" y="3251"/>
                    <a:pt x="0" y="4465"/>
                  </a:cubicBezTo>
                  <a:cubicBezTo>
                    <a:pt x="0" y="5513"/>
                    <a:pt x="465" y="6561"/>
                    <a:pt x="1274" y="7359"/>
                  </a:cubicBezTo>
                  <a:cubicBezTo>
                    <a:pt x="2072" y="8121"/>
                    <a:pt x="3120" y="8645"/>
                    <a:pt x="4298" y="8835"/>
                  </a:cubicBezTo>
                  <a:cubicBezTo>
                    <a:pt x="4310" y="9442"/>
                    <a:pt x="4108" y="10014"/>
                    <a:pt x="3703" y="10478"/>
                  </a:cubicBezTo>
                  <a:cubicBezTo>
                    <a:pt x="3655" y="10514"/>
                    <a:pt x="3644" y="10597"/>
                    <a:pt x="3679" y="10657"/>
                  </a:cubicBezTo>
                  <a:cubicBezTo>
                    <a:pt x="3703" y="10704"/>
                    <a:pt x="3763" y="10752"/>
                    <a:pt x="3834" y="10752"/>
                  </a:cubicBezTo>
                  <a:cubicBezTo>
                    <a:pt x="5025" y="10752"/>
                    <a:pt x="6084" y="9966"/>
                    <a:pt x="6442" y="8835"/>
                  </a:cubicBezTo>
                  <a:cubicBezTo>
                    <a:pt x="7406" y="8668"/>
                    <a:pt x="8287" y="8299"/>
                    <a:pt x="9013" y="7752"/>
                  </a:cubicBezTo>
                  <a:cubicBezTo>
                    <a:pt x="9097" y="7692"/>
                    <a:pt x="9109" y="7585"/>
                    <a:pt x="9049" y="7513"/>
                  </a:cubicBezTo>
                  <a:cubicBezTo>
                    <a:pt x="9014" y="7465"/>
                    <a:pt x="8963" y="7441"/>
                    <a:pt x="8913" y="7441"/>
                  </a:cubicBezTo>
                  <a:cubicBezTo>
                    <a:pt x="8877" y="7441"/>
                    <a:pt x="8841" y="7453"/>
                    <a:pt x="8811" y="7478"/>
                  </a:cubicBezTo>
                  <a:cubicBezTo>
                    <a:pt x="8096" y="8014"/>
                    <a:pt x="7215" y="8371"/>
                    <a:pt x="6275" y="8502"/>
                  </a:cubicBezTo>
                  <a:cubicBezTo>
                    <a:pt x="6203" y="8525"/>
                    <a:pt x="6156" y="8561"/>
                    <a:pt x="6132" y="8621"/>
                  </a:cubicBezTo>
                  <a:cubicBezTo>
                    <a:pt x="5894" y="9549"/>
                    <a:pt x="5120" y="10216"/>
                    <a:pt x="4215" y="10371"/>
                  </a:cubicBezTo>
                  <a:cubicBezTo>
                    <a:pt x="4537" y="9859"/>
                    <a:pt x="4703" y="9264"/>
                    <a:pt x="4644" y="8656"/>
                  </a:cubicBezTo>
                  <a:cubicBezTo>
                    <a:pt x="4644" y="8585"/>
                    <a:pt x="4572" y="8502"/>
                    <a:pt x="4489" y="8490"/>
                  </a:cubicBezTo>
                  <a:cubicBezTo>
                    <a:pt x="2084" y="8144"/>
                    <a:pt x="346" y="6442"/>
                    <a:pt x="346" y="4430"/>
                  </a:cubicBezTo>
                  <a:cubicBezTo>
                    <a:pt x="346" y="2156"/>
                    <a:pt x="2608" y="310"/>
                    <a:pt x="5382" y="310"/>
                  </a:cubicBezTo>
                  <a:cubicBezTo>
                    <a:pt x="8168" y="310"/>
                    <a:pt x="10430" y="2156"/>
                    <a:pt x="10430" y="4430"/>
                  </a:cubicBezTo>
                  <a:cubicBezTo>
                    <a:pt x="10430" y="5370"/>
                    <a:pt x="10025" y="6287"/>
                    <a:pt x="9311" y="7013"/>
                  </a:cubicBezTo>
                  <a:cubicBezTo>
                    <a:pt x="9251" y="7097"/>
                    <a:pt x="9251" y="7192"/>
                    <a:pt x="9311" y="7252"/>
                  </a:cubicBezTo>
                  <a:cubicBezTo>
                    <a:pt x="9353" y="7281"/>
                    <a:pt x="9397" y="7296"/>
                    <a:pt x="9439" y="7296"/>
                  </a:cubicBezTo>
                  <a:cubicBezTo>
                    <a:pt x="9481" y="7296"/>
                    <a:pt x="9519" y="7281"/>
                    <a:pt x="9549" y="7252"/>
                  </a:cubicBezTo>
                  <a:cubicBezTo>
                    <a:pt x="10347" y="6466"/>
                    <a:pt x="10775" y="5454"/>
                    <a:pt x="10775" y="4430"/>
                  </a:cubicBezTo>
                  <a:cubicBezTo>
                    <a:pt x="10775" y="3263"/>
                    <a:pt x="10204" y="2144"/>
                    <a:pt x="9180" y="1286"/>
                  </a:cubicBezTo>
                  <a:cubicBezTo>
                    <a:pt x="8168" y="453"/>
                    <a:pt x="6811" y="1"/>
                    <a:pt x="5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87" name="Google Shape;10487;p59"/>
          <p:cNvSpPr/>
          <p:nvPr/>
        </p:nvSpPr>
        <p:spPr>
          <a:xfrm>
            <a:off x="3509220" y="1505437"/>
            <a:ext cx="365632" cy="363561"/>
          </a:xfrm>
          <a:custGeom>
            <a:avLst/>
            <a:gdLst/>
            <a:ahLst/>
            <a:cxnLst/>
            <a:rect l="l" t="t" r="r" b="b"/>
            <a:pathLst>
              <a:path w="11478" h="11413" extrusionOk="0">
                <a:moveTo>
                  <a:pt x="1401" y="515"/>
                </a:moveTo>
                <a:cubicBezTo>
                  <a:pt x="1616" y="515"/>
                  <a:pt x="1834" y="595"/>
                  <a:pt x="2000" y="756"/>
                </a:cubicBezTo>
                <a:lnTo>
                  <a:pt x="2548" y="1304"/>
                </a:lnTo>
                <a:lnTo>
                  <a:pt x="1358" y="2494"/>
                </a:lnTo>
                <a:lnTo>
                  <a:pt x="810" y="1947"/>
                </a:lnTo>
                <a:cubicBezTo>
                  <a:pt x="476" y="1625"/>
                  <a:pt x="476" y="1078"/>
                  <a:pt x="810" y="756"/>
                </a:cubicBezTo>
                <a:cubicBezTo>
                  <a:pt x="971" y="595"/>
                  <a:pt x="1185" y="515"/>
                  <a:pt x="1401" y="515"/>
                </a:cubicBezTo>
                <a:close/>
                <a:moveTo>
                  <a:pt x="2798" y="1566"/>
                </a:moveTo>
                <a:lnTo>
                  <a:pt x="3251" y="2006"/>
                </a:lnTo>
                <a:lnTo>
                  <a:pt x="2655" y="2602"/>
                </a:lnTo>
                <a:lnTo>
                  <a:pt x="2060" y="3197"/>
                </a:lnTo>
                <a:lnTo>
                  <a:pt x="1608" y="2756"/>
                </a:lnTo>
                <a:lnTo>
                  <a:pt x="2798" y="1566"/>
                </a:lnTo>
                <a:close/>
                <a:moveTo>
                  <a:pt x="10132" y="9031"/>
                </a:moveTo>
                <a:lnTo>
                  <a:pt x="10811" y="10757"/>
                </a:lnTo>
                <a:lnTo>
                  <a:pt x="9085" y="10091"/>
                </a:lnTo>
                <a:lnTo>
                  <a:pt x="10132" y="9031"/>
                </a:lnTo>
                <a:close/>
                <a:moveTo>
                  <a:pt x="4036" y="5685"/>
                </a:moveTo>
                <a:lnTo>
                  <a:pt x="5763" y="7412"/>
                </a:lnTo>
                <a:lnTo>
                  <a:pt x="5418" y="7757"/>
                </a:lnTo>
                <a:lnTo>
                  <a:pt x="5001" y="7340"/>
                </a:lnTo>
                <a:cubicBezTo>
                  <a:pt x="4965" y="7299"/>
                  <a:pt x="4920" y="7278"/>
                  <a:pt x="4876" y="7278"/>
                </a:cubicBezTo>
                <a:cubicBezTo>
                  <a:pt x="4831" y="7278"/>
                  <a:pt x="4787" y="7299"/>
                  <a:pt x="4751" y="7340"/>
                </a:cubicBezTo>
                <a:cubicBezTo>
                  <a:pt x="4679" y="7412"/>
                  <a:pt x="4679" y="7519"/>
                  <a:pt x="4751" y="7590"/>
                </a:cubicBezTo>
                <a:lnTo>
                  <a:pt x="5168" y="8007"/>
                </a:lnTo>
                <a:lnTo>
                  <a:pt x="4763" y="8412"/>
                </a:lnTo>
                <a:lnTo>
                  <a:pt x="3822" y="7471"/>
                </a:lnTo>
                <a:cubicBezTo>
                  <a:pt x="3786" y="7436"/>
                  <a:pt x="3742" y="7418"/>
                  <a:pt x="3697" y="7418"/>
                </a:cubicBezTo>
                <a:cubicBezTo>
                  <a:pt x="3652" y="7418"/>
                  <a:pt x="3608" y="7436"/>
                  <a:pt x="3572" y="7471"/>
                </a:cubicBezTo>
                <a:cubicBezTo>
                  <a:pt x="3501" y="7543"/>
                  <a:pt x="3501" y="7650"/>
                  <a:pt x="3572" y="7721"/>
                </a:cubicBezTo>
                <a:lnTo>
                  <a:pt x="4513" y="8662"/>
                </a:lnTo>
                <a:lnTo>
                  <a:pt x="4108" y="9067"/>
                </a:lnTo>
                <a:lnTo>
                  <a:pt x="3691" y="8638"/>
                </a:lnTo>
                <a:cubicBezTo>
                  <a:pt x="3655" y="8602"/>
                  <a:pt x="3611" y="8584"/>
                  <a:pt x="3566" y="8584"/>
                </a:cubicBezTo>
                <a:cubicBezTo>
                  <a:pt x="3521" y="8584"/>
                  <a:pt x="3477" y="8602"/>
                  <a:pt x="3441" y="8638"/>
                </a:cubicBezTo>
                <a:cubicBezTo>
                  <a:pt x="3358" y="8721"/>
                  <a:pt x="3358" y="8817"/>
                  <a:pt x="3441" y="8900"/>
                </a:cubicBezTo>
                <a:lnTo>
                  <a:pt x="3858" y="9317"/>
                </a:lnTo>
                <a:lnTo>
                  <a:pt x="3453" y="9710"/>
                </a:lnTo>
                <a:lnTo>
                  <a:pt x="3036" y="9293"/>
                </a:lnTo>
                <a:cubicBezTo>
                  <a:pt x="3001" y="9257"/>
                  <a:pt x="2956" y="9239"/>
                  <a:pt x="2911" y="9239"/>
                </a:cubicBezTo>
                <a:cubicBezTo>
                  <a:pt x="2867" y="9239"/>
                  <a:pt x="2822" y="9257"/>
                  <a:pt x="2786" y="9293"/>
                </a:cubicBezTo>
                <a:cubicBezTo>
                  <a:pt x="2703" y="9376"/>
                  <a:pt x="2703" y="9471"/>
                  <a:pt x="2786" y="9555"/>
                </a:cubicBezTo>
                <a:lnTo>
                  <a:pt x="3203" y="9972"/>
                </a:lnTo>
                <a:lnTo>
                  <a:pt x="2798" y="10364"/>
                </a:lnTo>
                <a:lnTo>
                  <a:pt x="1858" y="9436"/>
                </a:lnTo>
                <a:cubicBezTo>
                  <a:pt x="1822" y="9394"/>
                  <a:pt x="1777" y="9373"/>
                  <a:pt x="1733" y="9373"/>
                </a:cubicBezTo>
                <a:cubicBezTo>
                  <a:pt x="1688" y="9373"/>
                  <a:pt x="1643" y="9394"/>
                  <a:pt x="1608" y="9436"/>
                </a:cubicBezTo>
                <a:cubicBezTo>
                  <a:pt x="1536" y="9507"/>
                  <a:pt x="1536" y="9614"/>
                  <a:pt x="1608" y="9686"/>
                </a:cubicBezTo>
                <a:lnTo>
                  <a:pt x="2548" y="10626"/>
                </a:lnTo>
                <a:lnTo>
                  <a:pt x="2191" y="10984"/>
                </a:lnTo>
                <a:cubicBezTo>
                  <a:pt x="2155" y="11007"/>
                  <a:pt x="2096" y="11043"/>
                  <a:pt x="2048" y="11043"/>
                </a:cubicBezTo>
                <a:cubicBezTo>
                  <a:pt x="2012" y="11043"/>
                  <a:pt x="1953" y="11019"/>
                  <a:pt x="1917" y="10984"/>
                </a:cubicBezTo>
                <a:lnTo>
                  <a:pt x="465" y="9519"/>
                </a:lnTo>
                <a:cubicBezTo>
                  <a:pt x="381" y="9448"/>
                  <a:pt x="381" y="9329"/>
                  <a:pt x="465" y="9257"/>
                </a:cubicBezTo>
                <a:lnTo>
                  <a:pt x="4036" y="5685"/>
                </a:lnTo>
                <a:close/>
                <a:moveTo>
                  <a:pt x="9428" y="0"/>
                </a:moveTo>
                <a:cubicBezTo>
                  <a:pt x="9290" y="0"/>
                  <a:pt x="9150" y="54"/>
                  <a:pt x="9037" y="161"/>
                </a:cubicBezTo>
                <a:lnTo>
                  <a:pt x="6299" y="2899"/>
                </a:lnTo>
                <a:cubicBezTo>
                  <a:pt x="6227" y="2971"/>
                  <a:pt x="6227" y="3078"/>
                  <a:pt x="6299" y="3149"/>
                </a:cubicBezTo>
                <a:cubicBezTo>
                  <a:pt x="6334" y="3185"/>
                  <a:pt x="6379" y="3203"/>
                  <a:pt x="6424" y="3203"/>
                </a:cubicBezTo>
                <a:cubicBezTo>
                  <a:pt x="6468" y="3203"/>
                  <a:pt x="6513" y="3185"/>
                  <a:pt x="6549" y="3149"/>
                </a:cubicBezTo>
                <a:lnTo>
                  <a:pt x="9287" y="411"/>
                </a:lnTo>
                <a:cubicBezTo>
                  <a:pt x="9323" y="387"/>
                  <a:pt x="9382" y="351"/>
                  <a:pt x="9418" y="351"/>
                </a:cubicBezTo>
                <a:cubicBezTo>
                  <a:pt x="9466" y="351"/>
                  <a:pt x="9525" y="363"/>
                  <a:pt x="9561" y="411"/>
                </a:cubicBezTo>
                <a:lnTo>
                  <a:pt x="11013" y="1875"/>
                </a:lnTo>
                <a:cubicBezTo>
                  <a:pt x="11049" y="1899"/>
                  <a:pt x="11073" y="1959"/>
                  <a:pt x="11073" y="2006"/>
                </a:cubicBezTo>
                <a:cubicBezTo>
                  <a:pt x="11073" y="2054"/>
                  <a:pt x="11061" y="2113"/>
                  <a:pt x="11013" y="2137"/>
                </a:cubicBezTo>
                <a:lnTo>
                  <a:pt x="10656" y="2494"/>
                </a:lnTo>
                <a:lnTo>
                  <a:pt x="9716" y="1554"/>
                </a:lnTo>
                <a:cubicBezTo>
                  <a:pt x="9680" y="1518"/>
                  <a:pt x="9635" y="1500"/>
                  <a:pt x="9591" y="1500"/>
                </a:cubicBezTo>
                <a:cubicBezTo>
                  <a:pt x="9546" y="1500"/>
                  <a:pt x="9501" y="1518"/>
                  <a:pt x="9466" y="1554"/>
                </a:cubicBezTo>
                <a:cubicBezTo>
                  <a:pt x="9394" y="1637"/>
                  <a:pt x="9394" y="1732"/>
                  <a:pt x="9466" y="1816"/>
                </a:cubicBezTo>
                <a:lnTo>
                  <a:pt x="10406" y="2744"/>
                </a:lnTo>
                <a:lnTo>
                  <a:pt x="10001" y="3149"/>
                </a:lnTo>
                <a:lnTo>
                  <a:pt x="9585" y="2733"/>
                </a:lnTo>
                <a:cubicBezTo>
                  <a:pt x="9549" y="2697"/>
                  <a:pt x="9504" y="2679"/>
                  <a:pt x="9460" y="2679"/>
                </a:cubicBezTo>
                <a:cubicBezTo>
                  <a:pt x="9415" y="2679"/>
                  <a:pt x="9370" y="2697"/>
                  <a:pt x="9335" y="2733"/>
                </a:cubicBezTo>
                <a:cubicBezTo>
                  <a:pt x="9263" y="2804"/>
                  <a:pt x="9263" y="2911"/>
                  <a:pt x="9335" y="2983"/>
                </a:cubicBezTo>
                <a:lnTo>
                  <a:pt x="9751" y="3399"/>
                </a:lnTo>
                <a:lnTo>
                  <a:pt x="9347" y="3804"/>
                </a:lnTo>
                <a:lnTo>
                  <a:pt x="8930" y="3387"/>
                </a:lnTo>
                <a:cubicBezTo>
                  <a:pt x="8894" y="3352"/>
                  <a:pt x="8850" y="3334"/>
                  <a:pt x="8805" y="3334"/>
                </a:cubicBezTo>
                <a:cubicBezTo>
                  <a:pt x="8760" y="3334"/>
                  <a:pt x="8716" y="3352"/>
                  <a:pt x="8680" y="3387"/>
                </a:cubicBezTo>
                <a:cubicBezTo>
                  <a:pt x="8597" y="3459"/>
                  <a:pt x="8597" y="3566"/>
                  <a:pt x="8680" y="3637"/>
                </a:cubicBezTo>
                <a:lnTo>
                  <a:pt x="9097" y="4054"/>
                </a:lnTo>
                <a:lnTo>
                  <a:pt x="8692" y="4459"/>
                </a:lnTo>
                <a:lnTo>
                  <a:pt x="7751" y="3518"/>
                </a:lnTo>
                <a:cubicBezTo>
                  <a:pt x="7715" y="3483"/>
                  <a:pt x="7671" y="3465"/>
                  <a:pt x="7626" y="3465"/>
                </a:cubicBezTo>
                <a:cubicBezTo>
                  <a:pt x="7581" y="3465"/>
                  <a:pt x="7537" y="3483"/>
                  <a:pt x="7501" y="3518"/>
                </a:cubicBezTo>
                <a:cubicBezTo>
                  <a:pt x="7430" y="3602"/>
                  <a:pt x="7430" y="3697"/>
                  <a:pt x="7501" y="3780"/>
                </a:cubicBezTo>
                <a:lnTo>
                  <a:pt x="8442" y="4709"/>
                </a:lnTo>
                <a:lnTo>
                  <a:pt x="8037" y="5114"/>
                </a:lnTo>
                <a:lnTo>
                  <a:pt x="7620" y="4697"/>
                </a:lnTo>
                <a:cubicBezTo>
                  <a:pt x="7584" y="4661"/>
                  <a:pt x="7540" y="4644"/>
                  <a:pt x="7495" y="4644"/>
                </a:cubicBezTo>
                <a:cubicBezTo>
                  <a:pt x="7451" y="4644"/>
                  <a:pt x="7406" y="4661"/>
                  <a:pt x="7370" y="4697"/>
                </a:cubicBezTo>
                <a:cubicBezTo>
                  <a:pt x="7287" y="4769"/>
                  <a:pt x="7287" y="4876"/>
                  <a:pt x="7370" y="4947"/>
                </a:cubicBezTo>
                <a:lnTo>
                  <a:pt x="7787" y="5364"/>
                </a:lnTo>
                <a:lnTo>
                  <a:pt x="7442" y="5709"/>
                </a:lnTo>
                <a:lnTo>
                  <a:pt x="5715" y="3983"/>
                </a:lnTo>
                <a:lnTo>
                  <a:pt x="6037" y="3661"/>
                </a:lnTo>
                <a:cubicBezTo>
                  <a:pt x="6120" y="3578"/>
                  <a:pt x="6120" y="3483"/>
                  <a:pt x="6037" y="3399"/>
                </a:cubicBezTo>
                <a:cubicBezTo>
                  <a:pt x="6001" y="3364"/>
                  <a:pt x="5956" y="3346"/>
                  <a:pt x="5912" y="3346"/>
                </a:cubicBezTo>
                <a:cubicBezTo>
                  <a:pt x="5867" y="3346"/>
                  <a:pt x="5822" y="3364"/>
                  <a:pt x="5787" y="3399"/>
                </a:cubicBezTo>
                <a:lnTo>
                  <a:pt x="5465" y="3733"/>
                </a:lnTo>
                <a:lnTo>
                  <a:pt x="2239" y="506"/>
                </a:lnTo>
                <a:cubicBezTo>
                  <a:pt x="2012" y="280"/>
                  <a:pt x="1715" y="161"/>
                  <a:pt x="1381" y="161"/>
                </a:cubicBezTo>
                <a:cubicBezTo>
                  <a:pt x="1072" y="161"/>
                  <a:pt x="762" y="280"/>
                  <a:pt x="536" y="506"/>
                </a:cubicBezTo>
                <a:cubicBezTo>
                  <a:pt x="310" y="732"/>
                  <a:pt x="191" y="1030"/>
                  <a:pt x="191" y="1351"/>
                </a:cubicBezTo>
                <a:cubicBezTo>
                  <a:pt x="191" y="1661"/>
                  <a:pt x="310" y="1971"/>
                  <a:pt x="536" y="2197"/>
                </a:cubicBezTo>
                <a:lnTo>
                  <a:pt x="3774" y="5447"/>
                </a:lnTo>
                <a:lnTo>
                  <a:pt x="203" y="9019"/>
                </a:lnTo>
                <a:cubicBezTo>
                  <a:pt x="0" y="9221"/>
                  <a:pt x="0" y="9567"/>
                  <a:pt x="203" y="9793"/>
                </a:cubicBezTo>
                <a:lnTo>
                  <a:pt x="1667" y="11246"/>
                </a:lnTo>
                <a:cubicBezTo>
                  <a:pt x="1774" y="11353"/>
                  <a:pt x="1905" y="11412"/>
                  <a:pt x="2048" y="11412"/>
                </a:cubicBezTo>
                <a:cubicBezTo>
                  <a:pt x="2203" y="11412"/>
                  <a:pt x="2334" y="11353"/>
                  <a:pt x="2441" y="11246"/>
                </a:cubicBezTo>
                <a:lnTo>
                  <a:pt x="6013" y="7674"/>
                </a:lnTo>
                <a:lnTo>
                  <a:pt x="6263" y="7924"/>
                </a:lnTo>
                <a:cubicBezTo>
                  <a:pt x="6299" y="7965"/>
                  <a:pt x="6343" y="7986"/>
                  <a:pt x="6389" y="7986"/>
                </a:cubicBezTo>
                <a:cubicBezTo>
                  <a:pt x="6436" y="7986"/>
                  <a:pt x="6483" y="7965"/>
                  <a:pt x="6525" y="7924"/>
                </a:cubicBezTo>
                <a:cubicBezTo>
                  <a:pt x="6596" y="7852"/>
                  <a:pt x="6596" y="7745"/>
                  <a:pt x="6525" y="7674"/>
                </a:cubicBezTo>
                <a:lnTo>
                  <a:pt x="6168" y="7316"/>
                </a:lnTo>
                <a:cubicBezTo>
                  <a:pt x="6168" y="7305"/>
                  <a:pt x="6144" y="7305"/>
                  <a:pt x="6132" y="7293"/>
                </a:cubicBezTo>
                <a:lnTo>
                  <a:pt x="6096" y="7257"/>
                </a:lnTo>
                <a:lnTo>
                  <a:pt x="2310" y="3471"/>
                </a:lnTo>
                <a:lnTo>
                  <a:pt x="2786" y="2995"/>
                </a:lnTo>
                <a:lnTo>
                  <a:pt x="3084" y="3292"/>
                </a:lnTo>
                <a:cubicBezTo>
                  <a:pt x="3108" y="3316"/>
                  <a:pt x="3155" y="3328"/>
                  <a:pt x="3203" y="3328"/>
                </a:cubicBezTo>
                <a:cubicBezTo>
                  <a:pt x="3239" y="3328"/>
                  <a:pt x="3286" y="3316"/>
                  <a:pt x="3322" y="3292"/>
                </a:cubicBezTo>
                <a:cubicBezTo>
                  <a:pt x="3393" y="3209"/>
                  <a:pt x="3393" y="3114"/>
                  <a:pt x="3322" y="3030"/>
                </a:cubicBezTo>
                <a:lnTo>
                  <a:pt x="3024" y="2733"/>
                </a:lnTo>
                <a:lnTo>
                  <a:pt x="3501" y="2256"/>
                </a:lnTo>
                <a:lnTo>
                  <a:pt x="5358" y="4126"/>
                </a:lnTo>
                <a:lnTo>
                  <a:pt x="7311" y="6066"/>
                </a:lnTo>
                <a:lnTo>
                  <a:pt x="7323" y="6090"/>
                </a:lnTo>
                <a:lnTo>
                  <a:pt x="7334" y="6102"/>
                </a:lnTo>
                <a:lnTo>
                  <a:pt x="9942" y="8710"/>
                </a:lnTo>
                <a:lnTo>
                  <a:pt x="9466" y="9186"/>
                </a:lnTo>
                <a:lnTo>
                  <a:pt x="6846" y="6554"/>
                </a:lnTo>
                <a:lnTo>
                  <a:pt x="5810" y="5519"/>
                </a:lnTo>
                <a:lnTo>
                  <a:pt x="3965" y="3673"/>
                </a:lnTo>
                <a:cubicBezTo>
                  <a:pt x="3923" y="3637"/>
                  <a:pt x="3879" y="3620"/>
                  <a:pt x="3834" y="3620"/>
                </a:cubicBezTo>
                <a:cubicBezTo>
                  <a:pt x="3789" y="3620"/>
                  <a:pt x="3745" y="3637"/>
                  <a:pt x="3703" y="3673"/>
                </a:cubicBezTo>
                <a:cubicBezTo>
                  <a:pt x="3632" y="3745"/>
                  <a:pt x="3632" y="3852"/>
                  <a:pt x="3703" y="3923"/>
                </a:cubicBezTo>
                <a:lnTo>
                  <a:pt x="9239" y="9460"/>
                </a:lnTo>
                <a:lnTo>
                  <a:pt x="8763" y="9936"/>
                </a:lnTo>
                <a:lnTo>
                  <a:pt x="7096" y="8269"/>
                </a:lnTo>
                <a:cubicBezTo>
                  <a:pt x="7061" y="8233"/>
                  <a:pt x="7016" y="8215"/>
                  <a:pt x="6971" y="8215"/>
                </a:cubicBezTo>
                <a:cubicBezTo>
                  <a:pt x="6927" y="8215"/>
                  <a:pt x="6882" y="8233"/>
                  <a:pt x="6846" y="8269"/>
                </a:cubicBezTo>
                <a:cubicBezTo>
                  <a:pt x="6775" y="8340"/>
                  <a:pt x="6775" y="8448"/>
                  <a:pt x="6846" y="8519"/>
                </a:cubicBezTo>
                <a:lnTo>
                  <a:pt x="8632" y="10305"/>
                </a:lnTo>
                <a:cubicBezTo>
                  <a:pt x="8644" y="10329"/>
                  <a:pt x="8680" y="10341"/>
                  <a:pt x="8692" y="10353"/>
                </a:cubicBezTo>
                <a:lnTo>
                  <a:pt x="10799" y="11174"/>
                </a:lnTo>
                <a:cubicBezTo>
                  <a:pt x="10835" y="11186"/>
                  <a:pt x="10883" y="11186"/>
                  <a:pt x="10906" y="11186"/>
                </a:cubicBezTo>
                <a:cubicBezTo>
                  <a:pt x="10990" y="11186"/>
                  <a:pt x="11061" y="11162"/>
                  <a:pt x="11121" y="11103"/>
                </a:cubicBezTo>
                <a:cubicBezTo>
                  <a:pt x="11192" y="11019"/>
                  <a:pt x="11228" y="10900"/>
                  <a:pt x="11180" y="10805"/>
                </a:cubicBezTo>
                <a:lnTo>
                  <a:pt x="10359" y="8686"/>
                </a:lnTo>
                <a:cubicBezTo>
                  <a:pt x="10347" y="8662"/>
                  <a:pt x="10323" y="8638"/>
                  <a:pt x="10311" y="8626"/>
                </a:cubicBezTo>
                <a:lnTo>
                  <a:pt x="7692" y="6007"/>
                </a:lnTo>
                <a:lnTo>
                  <a:pt x="11264" y="2435"/>
                </a:lnTo>
                <a:cubicBezTo>
                  <a:pt x="11478" y="2185"/>
                  <a:pt x="11478" y="1840"/>
                  <a:pt x="11264" y="1625"/>
                </a:cubicBezTo>
                <a:lnTo>
                  <a:pt x="9811" y="161"/>
                </a:lnTo>
                <a:cubicBezTo>
                  <a:pt x="9704" y="54"/>
                  <a:pt x="9567" y="0"/>
                  <a:pt x="942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88" name="Google Shape;10488;p59"/>
          <p:cNvGrpSpPr/>
          <p:nvPr/>
        </p:nvGrpSpPr>
        <p:grpSpPr>
          <a:xfrm>
            <a:off x="3042703" y="1529137"/>
            <a:ext cx="411535" cy="315587"/>
            <a:chOff x="3042703" y="1529137"/>
            <a:chExt cx="411535" cy="315587"/>
          </a:xfrm>
        </p:grpSpPr>
        <p:sp>
          <p:nvSpPr>
            <p:cNvPr id="10489" name="Google Shape;10489;p59"/>
            <p:cNvSpPr/>
            <p:nvPr/>
          </p:nvSpPr>
          <p:spPr>
            <a:xfrm>
              <a:off x="3042703" y="1529137"/>
              <a:ext cx="411535" cy="315587"/>
            </a:xfrm>
            <a:custGeom>
              <a:avLst/>
              <a:gdLst/>
              <a:ahLst/>
              <a:cxnLst/>
              <a:rect l="l" t="t" r="r" b="b"/>
              <a:pathLst>
                <a:path w="12919" h="9907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lnTo>
                    <a:pt x="1" y="9716"/>
                  </a:lnTo>
                  <a:cubicBezTo>
                    <a:pt x="1" y="9823"/>
                    <a:pt x="96" y="9906"/>
                    <a:pt x="191" y="9906"/>
                  </a:cubicBezTo>
                  <a:lnTo>
                    <a:pt x="2394" y="9906"/>
                  </a:lnTo>
                  <a:cubicBezTo>
                    <a:pt x="2501" y="9906"/>
                    <a:pt x="2584" y="9823"/>
                    <a:pt x="2584" y="9716"/>
                  </a:cubicBezTo>
                  <a:cubicBezTo>
                    <a:pt x="2584" y="9609"/>
                    <a:pt x="2501" y="9525"/>
                    <a:pt x="2394" y="9525"/>
                  </a:cubicBezTo>
                  <a:lnTo>
                    <a:pt x="382" y="9525"/>
                  </a:lnTo>
                  <a:lnTo>
                    <a:pt x="382" y="7989"/>
                  </a:lnTo>
                  <a:lnTo>
                    <a:pt x="8287" y="7989"/>
                  </a:lnTo>
                  <a:cubicBezTo>
                    <a:pt x="8394" y="7989"/>
                    <a:pt x="8478" y="7894"/>
                    <a:pt x="8478" y="7799"/>
                  </a:cubicBezTo>
                  <a:cubicBezTo>
                    <a:pt x="8478" y="7692"/>
                    <a:pt x="8394" y="7596"/>
                    <a:pt x="8287" y="7596"/>
                  </a:cubicBezTo>
                  <a:lnTo>
                    <a:pt x="382" y="7596"/>
                  </a:lnTo>
                  <a:lnTo>
                    <a:pt x="382" y="2167"/>
                  </a:lnTo>
                  <a:lnTo>
                    <a:pt x="12550" y="2167"/>
                  </a:lnTo>
                  <a:lnTo>
                    <a:pt x="12550" y="7596"/>
                  </a:lnTo>
                  <a:lnTo>
                    <a:pt x="9287" y="7596"/>
                  </a:lnTo>
                  <a:cubicBezTo>
                    <a:pt x="9180" y="7596"/>
                    <a:pt x="9097" y="7692"/>
                    <a:pt x="9097" y="7799"/>
                  </a:cubicBezTo>
                  <a:cubicBezTo>
                    <a:pt x="9097" y="7894"/>
                    <a:pt x="9180" y="7989"/>
                    <a:pt x="9287" y="7989"/>
                  </a:cubicBezTo>
                  <a:lnTo>
                    <a:pt x="12538" y="7989"/>
                  </a:lnTo>
                  <a:lnTo>
                    <a:pt x="12538" y="9525"/>
                  </a:lnTo>
                  <a:lnTo>
                    <a:pt x="3251" y="9525"/>
                  </a:lnTo>
                  <a:cubicBezTo>
                    <a:pt x="3144" y="9525"/>
                    <a:pt x="3049" y="9609"/>
                    <a:pt x="3049" y="9716"/>
                  </a:cubicBezTo>
                  <a:cubicBezTo>
                    <a:pt x="3049" y="9823"/>
                    <a:pt x="3144" y="9906"/>
                    <a:pt x="3251" y="9906"/>
                  </a:cubicBezTo>
                  <a:lnTo>
                    <a:pt x="12728" y="9906"/>
                  </a:lnTo>
                  <a:cubicBezTo>
                    <a:pt x="12835" y="9906"/>
                    <a:pt x="12919" y="9823"/>
                    <a:pt x="12919" y="9716"/>
                  </a:cubicBezTo>
                  <a:lnTo>
                    <a:pt x="12919" y="191"/>
                  </a:lnTo>
                  <a:cubicBezTo>
                    <a:pt x="12907" y="84"/>
                    <a:pt x="12835" y="0"/>
                    <a:pt x="12728" y="0"/>
                  </a:cubicBezTo>
                  <a:lnTo>
                    <a:pt x="6859" y="0"/>
                  </a:lnTo>
                  <a:cubicBezTo>
                    <a:pt x="6763" y="0"/>
                    <a:pt x="6668" y="84"/>
                    <a:pt x="6668" y="191"/>
                  </a:cubicBezTo>
                  <a:cubicBezTo>
                    <a:pt x="6668" y="298"/>
                    <a:pt x="6763" y="381"/>
                    <a:pt x="6859" y="381"/>
                  </a:cubicBezTo>
                  <a:lnTo>
                    <a:pt x="12538" y="381"/>
                  </a:lnTo>
                  <a:lnTo>
                    <a:pt x="12538" y="1810"/>
                  </a:lnTo>
                  <a:lnTo>
                    <a:pt x="370" y="1810"/>
                  </a:lnTo>
                  <a:lnTo>
                    <a:pt x="370" y="381"/>
                  </a:lnTo>
                  <a:lnTo>
                    <a:pt x="6001" y="381"/>
                  </a:lnTo>
                  <a:cubicBezTo>
                    <a:pt x="6108" y="381"/>
                    <a:pt x="6192" y="298"/>
                    <a:pt x="6192" y="191"/>
                  </a:cubicBezTo>
                  <a:cubicBezTo>
                    <a:pt x="6192" y="84"/>
                    <a:pt x="6097" y="0"/>
                    <a:pt x="6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0" name="Google Shape;10490;p59"/>
            <p:cNvSpPr/>
            <p:nvPr/>
          </p:nvSpPr>
          <p:spPr>
            <a:xfrm>
              <a:off x="3077967" y="1557965"/>
              <a:ext cx="12169" cy="12551"/>
            </a:xfrm>
            <a:custGeom>
              <a:avLst/>
              <a:gdLst/>
              <a:ahLst/>
              <a:cxnLst/>
              <a:rect l="l" t="t" r="r" b="b"/>
              <a:pathLst>
                <a:path w="382" h="394" extrusionOk="0">
                  <a:moveTo>
                    <a:pt x="191" y="0"/>
                  </a:moveTo>
                  <a:cubicBezTo>
                    <a:pt x="84" y="0"/>
                    <a:pt x="1" y="95"/>
                    <a:pt x="1" y="191"/>
                  </a:cubicBezTo>
                  <a:cubicBezTo>
                    <a:pt x="1" y="298"/>
                    <a:pt x="84" y="393"/>
                    <a:pt x="191" y="393"/>
                  </a:cubicBezTo>
                  <a:cubicBezTo>
                    <a:pt x="298" y="393"/>
                    <a:pt x="382" y="298"/>
                    <a:pt x="382" y="191"/>
                  </a:cubicBezTo>
                  <a:cubicBezTo>
                    <a:pt x="382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1" name="Google Shape;10491;p59"/>
            <p:cNvSpPr/>
            <p:nvPr/>
          </p:nvSpPr>
          <p:spPr>
            <a:xfrm>
              <a:off x="3099978" y="1557965"/>
              <a:ext cx="12551" cy="12551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203" y="0"/>
                  </a:moveTo>
                  <a:cubicBezTo>
                    <a:pt x="96" y="0"/>
                    <a:pt x="0" y="95"/>
                    <a:pt x="0" y="191"/>
                  </a:cubicBezTo>
                  <a:cubicBezTo>
                    <a:pt x="0" y="298"/>
                    <a:pt x="96" y="393"/>
                    <a:pt x="203" y="393"/>
                  </a:cubicBezTo>
                  <a:cubicBezTo>
                    <a:pt x="298" y="393"/>
                    <a:pt x="393" y="298"/>
                    <a:pt x="393" y="191"/>
                  </a:cubicBezTo>
                  <a:cubicBezTo>
                    <a:pt x="393" y="95"/>
                    <a:pt x="298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2" name="Google Shape;10492;p59"/>
            <p:cNvSpPr/>
            <p:nvPr/>
          </p:nvSpPr>
          <p:spPr>
            <a:xfrm>
              <a:off x="3122341" y="1557965"/>
              <a:ext cx="12551" cy="12551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191" y="0"/>
                  </a:moveTo>
                  <a:cubicBezTo>
                    <a:pt x="96" y="0"/>
                    <a:pt x="1" y="95"/>
                    <a:pt x="1" y="191"/>
                  </a:cubicBezTo>
                  <a:cubicBezTo>
                    <a:pt x="1" y="298"/>
                    <a:pt x="96" y="393"/>
                    <a:pt x="191" y="393"/>
                  </a:cubicBezTo>
                  <a:cubicBezTo>
                    <a:pt x="298" y="393"/>
                    <a:pt x="394" y="298"/>
                    <a:pt x="394" y="191"/>
                  </a:cubicBezTo>
                  <a:cubicBezTo>
                    <a:pt x="394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3" name="Google Shape;10493;p59"/>
            <p:cNvSpPr/>
            <p:nvPr/>
          </p:nvSpPr>
          <p:spPr>
            <a:xfrm>
              <a:off x="3342331" y="1557965"/>
              <a:ext cx="79669" cy="12551"/>
            </a:xfrm>
            <a:custGeom>
              <a:avLst/>
              <a:gdLst/>
              <a:ahLst/>
              <a:cxnLst/>
              <a:rect l="l" t="t" r="r" b="b"/>
              <a:pathLst>
                <a:path w="2501" h="394" extrusionOk="0">
                  <a:moveTo>
                    <a:pt x="191" y="0"/>
                  </a:moveTo>
                  <a:cubicBezTo>
                    <a:pt x="84" y="0"/>
                    <a:pt x="0" y="95"/>
                    <a:pt x="0" y="191"/>
                  </a:cubicBezTo>
                  <a:cubicBezTo>
                    <a:pt x="0" y="298"/>
                    <a:pt x="96" y="393"/>
                    <a:pt x="191" y="393"/>
                  </a:cubicBezTo>
                  <a:lnTo>
                    <a:pt x="2310" y="393"/>
                  </a:lnTo>
                  <a:cubicBezTo>
                    <a:pt x="2417" y="393"/>
                    <a:pt x="2501" y="298"/>
                    <a:pt x="2501" y="191"/>
                  </a:cubicBezTo>
                  <a:cubicBezTo>
                    <a:pt x="2501" y="95"/>
                    <a:pt x="2417" y="0"/>
                    <a:pt x="2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4" name="Google Shape;10494;p59"/>
            <p:cNvSpPr/>
            <p:nvPr/>
          </p:nvSpPr>
          <p:spPr>
            <a:xfrm>
              <a:off x="3306303" y="1557965"/>
              <a:ext cx="26949" cy="12551"/>
            </a:xfrm>
            <a:custGeom>
              <a:avLst/>
              <a:gdLst/>
              <a:ahLst/>
              <a:cxnLst/>
              <a:rect l="l" t="t" r="r" b="b"/>
              <a:pathLst>
                <a:path w="846" h="394" extrusionOk="0">
                  <a:moveTo>
                    <a:pt x="191" y="0"/>
                  </a:moveTo>
                  <a:cubicBezTo>
                    <a:pt x="96" y="0"/>
                    <a:pt x="0" y="95"/>
                    <a:pt x="0" y="191"/>
                  </a:cubicBezTo>
                  <a:cubicBezTo>
                    <a:pt x="0" y="298"/>
                    <a:pt x="96" y="393"/>
                    <a:pt x="191" y="393"/>
                  </a:cubicBezTo>
                  <a:lnTo>
                    <a:pt x="655" y="393"/>
                  </a:lnTo>
                  <a:cubicBezTo>
                    <a:pt x="762" y="393"/>
                    <a:pt x="846" y="298"/>
                    <a:pt x="846" y="191"/>
                  </a:cubicBezTo>
                  <a:cubicBezTo>
                    <a:pt x="846" y="95"/>
                    <a:pt x="762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5" name="Google Shape;10495;p59"/>
            <p:cNvSpPr/>
            <p:nvPr/>
          </p:nvSpPr>
          <p:spPr>
            <a:xfrm>
              <a:off x="3165217" y="1622822"/>
              <a:ext cx="166888" cy="121750"/>
            </a:xfrm>
            <a:custGeom>
              <a:avLst/>
              <a:gdLst/>
              <a:ahLst/>
              <a:cxnLst/>
              <a:rect l="l" t="t" r="r" b="b"/>
              <a:pathLst>
                <a:path w="5239" h="3822" extrusionOk="0">
                  <a:moveTo>
                    <a:pt x="4048" y="381"/>
                  </a:moveTo>
                  <a:cubicBezTo>
                    <a:pt x="4489" y="381"/>
                    <a:pt x="4846" y="738"/>
                    <a:pt x="4846" y="1179"/>
                  </a:cubicBezTo>
                  <a:lnTo>
                    <a:pt x="4846" y="2655"/>
                  </a:lnTo>
                  <a:cubicBezTo>
                    <a:pt x="4846" y="3096"/>
                    <a:pt x="4489" y="3453"/>
                    <a:pt x="4048" y="3453"/>
                  </a:cubicBezTo>
                  <a:lnTo>
                    <a:pt x="1155" y="3453"/>
                  </a:lnTo>
                  <a:cubicBezTo>
                    <a:pt x="715" y="3453"/>
                    <a:pt x="357" y="3096"/>
                    <a:pt x="357" y="2655"/>
                  </a:cubicBezTo>
                  <a:lnTo>
                    <a:pt x="357" y="1179"/>
                  </a:lnTo>
                  <a:cubicBezTo>
                    <a:pt x="357" y="738"/>
                    <a:pt x="715" y="381"/>
                    <a:pt x="1155" y="381"/>
                  </a:cubicBezTo>
                  <a:close/>
                  <a:moveTo>
                    <a:pt x="1167" y="0"/>
                  </a:moveTo>
                  <a:cubicBezTo>
                    <a:pt x="512" y="0"/>
                    <a:pt x="0" y="536"/>
                    <a:pt x="0" y="1179"/>
                  </a:cubicBezTo>
                  <a:lnTo>
                    <a:pt x="0" y="2655"/>
                  </a:lnTo>
                  <a:cubicBezTo>
                    <a:pt x="0" y="3310"/>
                    <a:pt x="536" y="3822"/>
                    <a:pt x="1167" y="3822"/>
                  </a:cubicBezTo>
                  <a:lnTo>
                    <a:pt x="4060" y="3822"/>
                  </a:lnTo>
                  <a:cubicBezTo>
                    <a:pt x="4715" y="3822"/>
                    <a:pt x="5239" y="3286"/>
                    <a:pt x="5239" y="2655"/>
                  </a:cubicBezTo>
                  <a:lnTo>
                    <a:pt x="5239" y="1179"/>
                  </a:lnTo>
                  <a:cubicBezTo>
                    <a:pt x="5239" y="524"/>
                    <a:pt x="4703" y="0"/>
                    <a:pt x="4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6" name="Google Shape;10496;p59"/>
            <p:cNvSpPr/>
            <p:nvPr/>
          </p:nvSpPr>
          <p:spPr>
            <a:xfrm>
              <a:off x="3222843" y="1657226"/>
              <a:ext cx="54281" cy="53612"/>
            </a:xfrm>
            <a:custGeom>
              <a:avLst/>
              <a:gdLst/>
              <a:ahLst/>
              <a:cxnLst/>
              <a:rect l="l" t="t" r="r" b="b"/>
              <a:pathLst>
                <a:path w="1704" h="1683" extrusionOk="0">
                  <a:moveTo>
                    <a:pt x="394" y="396"/>
                  </a:moveTo>
                  <a:lnTo>
                    <a:pt x="1287" y="849"/>
                  </a:lnTo>
                  <a:lnTo>
                    <a:pt x="394" y="1278"/>
                  </a:lnTo>
                  <a:lnTo>
                    <a:pt x="394" y="396"/>
                  </a:lnTo>
                  <a:close/>
                  <a:moveTo>
                    <a:pt x="358" y="0"/>
                  </a:moveTo>
                  <a:cubicBezTo>
                    <a:pt x="293" y="0"/>
                    <a:pt x="227" y="18"/>
                    <a:pt x="168" y="51"/>
                  </a:cubicBezTo>
                  <a:cubicBezTo>
                    <a:pt x="61" y="111"/>
                    <a:pt x="1" y="230"/>
                    <a:pt x="1" y="349"/>
                  </a:cubicBezTo>
                  <a:lnTo>
                    <a:pt x="1" y="1325"/>
                  </a:lnTo>
                  <a:cubicBezTo>
                    <a:pt x="1" y="1444"/>
                    <a:pt x="61" y="1563"/>
                    <a:pt x="168" y="1623"/>
                  </a:cubicBezTo>
                  <a:cubicBezTo>
                    <a:pt x="227" y="1647"/>
                    <a:pt x="287" y="1682"/>
                    <a:pt x="358" y="1682"/>
                  </a:cubicBezTo>
                  <a:cubicBezTo>
                    <a:pt x="418" y="1682"/>
                    <a:pt x="465" y="1659"/>
                    <a:pt x="513" y="1647"/>
                  </a:cubicBezTo>
                  <a:lnTo>
                    <a:pt x="1489" y="1170"/>
                  </a:lnTo>
                  <a:cubicBezTo>
                    <a:pt x="1608" y="1111"/>
                    <a:pt x="1680" y="992"/>
                    <a:pt x="1680" y="861"/>
                  </a:cubicBezTo>
                  <a:cubicBezTo>
                    <a:pt x="1704" y="706"/>
                    <a:pt x="1620" y="575"/>
                    <a:pt x="1489" y="516"/>
                  </a:cubicBezTo>
                  <a:lnTo>
                    <a:pt x="513" y="39"/>
                  </a:lnTo>
                  <a:cubicBezTo>
                    <a:pt x="465" y="12"/>
                    <a:pt x="412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7" name="Google Shape;10497;p59"/>
            <p:cNvSpPr/>
            <p:nvPr/>
          </p:nvSpPr>
          <p:spPr>
            <a:xfrm>
              <a:off x="3087459" y="1800700"/>
              <a:ext cx="160454" cy="12519"/>
            </a:xfrm>
            <a:custGeom>
              <a:avLst/>
              <a:gdLst/>
              <a:ahLst/>
              <a:cxnLst/>
              <a:rect l="l" t="t" r="r" b="b"/>
              <a:pathLst>
                <a:path w="5037" h="393" extrusionOk="0">
                  <a:moveTo>
                    <a:pt x="191" y="0"/>
                  </a:moveTo>
                  <a:cubicBezTo>
                    <a:pt x="84" y="0"/>
                    <a:pt x="0" y="95"/>
                    <a:pt x="0" y="191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4846" y="393"/>
                  </a:lnTo>
                  <a:cubicBezTo>
                    <a:pt x="4953" y="393"/>
                    <a:pt x="5037" y="298"/>
                    <a:pt x="5037" y="191"/>
                  </a:cubicBezTo>
                  <a:cubicBezTo>
                    <a:pt x="5037" y="95"/>
                    <a:pt x="4953" y="0"/>
                    <a:pt x="4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8" name="Google Shape;10498;p59"/>
            <p:cNvSpPr/>
            <p:nvPr/>
          </p:nvSpPr>
          <p:spPr>
            <a:xfrm>
              <a:off x="3368866" y="1800318"/>
              <a:ext cx="43673" cy="12169"/>
            </a:xfrm>
            <a:custGeom>
              <a:avLst/>
              <a:gdLst/>
              <a:ahLst/>
              <a:cxnLst/>
              <a:rect l="l" t="t" r="r" b="b"/>
              <a:pathLst>
                <a:path w="1371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1180" y="381"/>
                  </a:lnTo>
                  <a:cubicBezTo>
                    <a:pt x="1287" y="381"/>
                    <a:pt x="1370" y="298"/>
                    <a:pt x="1370" y="191"/>
                  </a:cubicBezTo>
                  <a:cubicBezTo>
                    <a:pt x="1370" y="84"/>
                    <a:pt x="1287" y="0"/>
                    <a:pt x="1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99" name="Google Shape;10499;p59"/>
          <p:cNvGrpSpPr/>
          <p:nvPr/>
        </p:nvGrpSpPr>
        <p:grpSpPr>
          <a:xfrm>
            <a:off x="2629289" y="1544682"/>
            <a:ext cx="350501" cy="284497"/>
            <a:chOff x="2629289" y="1544682"/>
            <a:chExt cx="350501" cy="284497"/>
          </a:xfrm>
        </p:grpSpPr>
        <p:sp>
          <p:nvSpPr>
            <p:cNvPr id="10500" name="Google Shape;10500;p59"/>
            <p:cNvSpPr/>
            <p:nvPr/>
          </p:nvSpPr>
          <p:spPr>
            <a:xfrm>
              <a:off x="2835614" y="1818507"/>
              <a:ext cx="10289" cy="10671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251" y="334"/>
                    <a:pt x="322" y="263"/>
                    <a:pt x="322" y="167"/>
                  </a:cubicBezTo>
                  <a:cubicBezTo>
                    <a:pt x="322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1" name="Google Shape;10501;p59"/>
            <p:cNvSpPr/>
            <p:nvPr/>
          </p:nvSpPr>
          <p:spPr>
            <a:xfrm>
              <a:off x="2629289" y="1544682"/>
              <a:ext cx="318614" cy="284497"/>
            </a:xfrm>
            <a:custGeom>
              <a:avLst/>
              <a:gdLst/>
              <a:ahLst/>
              <a:cxnLst/>
              <a:rect l="l" t="t" r="r" b="b"/>
              <a:pathLst>
                <a:path w="10002" h="8931" extrusionOk="0">
                  <a:moveTo>
                    <a:pt x="6978" y="334"/>
                  </a:moveTo>
                  <a:cubicBezTo>
                    <a:pt x="7049" y="334"/>
                    <a:pt x="7109" y="358"/>
                    <a:pt x="7168" y="405"/>
                  </a:cubicBezTo>
                  <a:cubicBezTo>
                    <a:pt x="7228" y="453"/>
                    <a:pt x="8085" y="1310"/>
                    <a:pt x="8764" y="2001"/>
                  </a:cubicBezTo>
                  <a:cubicBezTo>
                    <a:pt x="9216" y="2441"/>
                    <a:pt x="9597" y="2810"/>
                    <a:pt x="9621" y="2846"/>
                  </a:cubicBezTo>
                  <a:cubicBezTo>
                    <a:pt x="9657" y="2894"/>
                    <a:pt x="9692" y="2965"/>
                    <a:pt x="9692" y="3036"/>
                  </a:cubicBezTo>
                  <a:cubicBezTo>
                    <a:pt x="9692" y="3108"/>
                    <a:pt x="9657" y="3167"/>
                    <a:pt x="9621" y="3227"/>
                  </a:cubicBezTo>
                  <a:lnTo>
                    <a:pt x="6549" y="6299"/>
                  </a:lnTo>
                  <a:lnTo>
                    <a:pt x="3727" y="3489"/>
                  </a:lnTo>
                  <a:lnTo>
                    <a:pt x="6787" y="405"/>
                  </a:lnTo>
                  <a:cubicBezTo>
                    <a:pt x="6835" y="358"/>
                    <a:pt x="6906" y="334"/>
                    <a:pt x="6978" y="334"/>
                  </a:cubicBezTo>
                  <a:close/>
                  <a:moveTo>
                    <a:pt x="6978" y="0"/>
                  </a:moveTo>
                  <a:cubicBezTo>
                    <a:pt x="6906" y="0"/>
                    <a:pt x="6835" y="12"/>
                    <a:pt x="6752" y="48"/>
                  </a:cubicBezTo>
                  <a:cubicBezTo>
                    <a:pt x="6680" y="72"/>
                    <a:pt x="6621" y="119"/>
                    <a:pt x="6561" y="179"/>
                  </a:cubicBezTo>
                  <a:lnTo>
                    <a:pt x="3382" y="3358"/>
                  </a:lnTo>
                  <a:lnTo>
                    <a:pt x="179" y="6561"/>
                  </a:lnTo>
                  <a:cubicBezTo>
                    <a:pt x="120" y="6620"/>
                    <a:pt x="72" y="6680"/>
                    <a:pt x="48" y="6751"/>
                  </a:cubicBezTo>
                  <a:cubicBezTo>
                    <a:pt x="13" y="6835"/>
                    <a:pt x="1" y="6906"/>
                    <a:pt x="1" y="6977"/>
                  </a:cubicBezTo>
                  <a:cubicBezTo>
                    <a:pt x="1" y="7049"/>
                    <a:pt x="13" y="7132"/>
                    <a:pt x="48" y="7204"/>
                  </a:cubicBezTo>
                  <a:cubicBezTo>
                    <a:pt x="72" y="7275"/>
                    <a:pt x="120" y="7335"/>
                    <a:pt x="179" y="7394"/>
                  </a:cubicBezTo>
                  <a:lnTo>
                    <a:pt x="1477" y="8692"/>
                  </a:lnTo>
                  <a:cubicBezTo>
                    <a:pt x="1549" y="8763"/>
                    <a:pt x="1644" y="8823"/>
                    <a:pt x="1739" y="8871"/>
                  </a:cubicBezTo>
                  <a:cubicBezTo>
                    <a:pt x="1846" y="8918"/>
                    <a:pt x="1953" y="8930"/>
                    <a:pt x="2049" y="8930"/>
                  </a:cubicBezTo>
                  <a:lnTo>
                    <a:pt x="6013" y="8930"/>
                  </a:lnTo>
                  <a:cubicBezTo>
                    <a:pt x="6109" y="8930"/>
                    <a:pt x="6180" y="8859"/>
                    <a:pt x="6180" y="8763"/>
                  </a:cubicBezTo>
                  <a:cubicBezTo>
                    <a:pt x="6180" y="8680"/>
                    <a:pt x="6073" y="8597"/>
                    <a:pt x="6001" y="8597"/>
                  </a:cubicBezTo>
                  <a:lnTo>
                    <a:pt x="2025" y="8597"/>
                  </a:lnTo>
                  <a:cubicBezTo>
                    <a:pt x="1894" y="8597"/>
                    <a:pt x="1775" y="8561"/>
                    <a:pt x="1679" y="8454"/>
                  </a:cubicBezTo>
                  <a:lnTo>
                    <a:pt x="394" y="7156"/>
                  </a:lnTo>
                  <a:cubicBezTo>
                    <a:pt x="346" y="7108"/>
                    <a:pt x="310" y="7037"/>
                    <a:pt x="310" y="6966"/>
                  </a:cubicBezTo>
                  <a:cubicBezTo>
                    <a:pt x="310" y="6894"/>
                    <a:pt x="346" y="6835"/>
                    <a:pt x="394" y="6775"/>
                  </a:cubicBezTo>
                  <a:lnTo>
                    <a:pt x="3477" y="3679"/>
                  </a:lnTo>
                  <a:lnTo>
                    <a:pt x="6299" y="6489"/>
                  </a:lnTo>
                  <a:lnTo>
                    <a:pt x="4787" y="7989"/>
                  </a:lnTo>
                  <a:cubicBezTo>
                    <a:pt x="4763" y="8025"/>
                    <a:pt x="4751" y="8061"/>
                    <a:pt x="4751" y="8109"/>
                  </a:cubicBezTo>
                  <a:cubicBezTo>
                    <a:pt x="4751" y="8156"/>
                    <a:pt x="4763" y="8204"/>
                    <a:pt x="4787" y="8228"/>
                  </a:cubicBezTo>
                  <a:cubicBezTo>
                    <a:pt x="4823" y="8263"/>
                    <a:pt x="4870" y="8275"/>
                    <a:pt x="4906" y="8275"/>
                  </a:cubicBezTo>
                  <a:cubicBezTo>
                    <a:pt x="4954" y="8275"/>
                    <a:pt x="5001" y="8263"/>
                    <a:pt x="5025" y="8228"/>
                  </a:cubicBezTo>
                  <a:lnTo>
                    <a:pt x="9823" y="3441"/>
                  </a:lnTo>
                  <a:cubicBezTo>
                    <a:pt x="9883" y="3382"/>
                    <a:pt x="9931" y="3322"/>
                    <a:pt x="9954" y="3239"/>
                  </a:cubicBezTo>
                  <a:cubicBezTo>
                    <a:pt x="9990" y="3167"/>
                    <a:pt x="10002" y="3096"/>
                    <a:pt x="10002" y="3025"/>
                  </a:cubicBezTo>
                  <a:cubicBezTo>
                    <a:pt x="10002" y="2941"/>
                    <a:pt x="9990" y="2870"/>
                    <a:pt x="9954" y="2798"/>
                  </a:cubicBezTo>
                  <a:cubicBezTo>
                    <a:pt x="9931" y="2727"/>
                    <a:pt x="9883" y="2667"/>
                    <a:pt x="9823" y="2608"/>
                  </a:cubicBezTo>
                  <a:lnTo>
                    <a:pt x="8156" y="941"/>
                  </a:lnTo>
                  <a:lnTo>
                    <a:pt x="7394" y="179"/>
                  </a:lnTo>
                  <a:cubicBezTo>
                    <a:pt x="7335" y="119"/>
                    <a:pt x="7275" y="72"/>
                    <a:pt x="7204" y="48"/>
                  </a:cubicBezTo>
                  <a:cubicBezTo>
                    <a:pt x="7133" y="12"/>
                    <a:pt x="7049" y="0"/>
                    <a:pt x="69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2" name="Google Shape;10502;p59"/>
            <p:cNvSpPr/>
            <p:nvPr/>
          </p:nvSpPr>
          <p:spPr>
            <a:xfrm>
              <a:off x="2876962" y="1818507"/>
              <a:ext cx="30740" cy="10671"/>
            </a:xfrm>
            <a:custGeom>
              <a:avLst/>
              <a:gdLst/>
              <a:ahLst/>
              <a:cxnLst/>
              <a:rect l="l" t="t" r="r" b="b"/>
              <a:pathLst>
                <a:path w="965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798" y="334"/>
                  </a:lnTo>
                  <a:cubicBezTo>
                    <a:pt x="893" y="334"/>
                    <a:pt x="965" y="263"/>
                    <a:pt x="965" y="167"/>
                  </a:cubicBezTo>
                  <a:cubicBezTo>
                    <a:pt x="965" y="84"/>
                    <a:pt x="893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3" name="Google Shape;10503;p59"/>
            <p:cNvSpPr/>
            <p:nvPr/>
          </p:nvSpPr>
          <p:spPr>
            <a:xfrm>
              <a:off x="2969118" y="1818507"/>
              <a:ext cx="10671" cy="10671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251" y="334"/>
                    <a:pt x="334" y="263"/>
                    <a:pt x="334" y="167"/>
                  </a:cubicBez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4" name="Google Shape;10504;p59"/>
            <p:cNvSpPr/>
            <p:nvPr/>
          </p:nvSpPr>
          <p:spPr>
            <a:xfrm>
              <a:off x="2916780" y="1818507"/>
              <a:ext cx="34563" cy="10671"/>
            </a:xfrm>
            <a:custGeom>
              <a:avLst/>
              <a:gdLst/>
              <a:ahLst/>
              <a:cxnLst/>
              <a:rect l="l" t="t" r="r" b="b"/>
              <a:pathLst>
                <a:path w="1085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917" y="334"/>
                  </a:lnTo>
                  <a:cubicBezTo>
                    <a:pt x="1013" y="334"/>
                    <a:pt x="1084" y="263"/>
                    <a:pt x="1084" y="167"/>
                  </a:cubicBezTo>
                  <a:cubicBezTo>
                    <a:pt x="1084" y="84"/>
                    <a:pt x="1001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05" name="Google Shape;10505;p59"/>
          <p:cNvGrpSpPr/>
          <p:nvPr/>
        </p:nvGrpSpPr>
        <p:grpSpPr>
          <a:xfrm>
            <a:off x="5305077" y="1502633"/>
            <a:ext cx="367893" cy="365218"/>
            <a:chOff x="5305077" y="1502633"/>
            <a:chExt cx="367893" cy="365218"/>
          </a:xfrm>
        </p:grpSpPr>
        <p:sp>
          <p:nvSpPr>
            <p:cNvPr id="10506" name="Google Shape;10506;p59"/>
            <p:cNvSpPr/>
            <p:nvPr/>
          </p:nvSpPr>
          <p:spPr>
            <a:xfrm>
              <a:off x="5305077" y="1502633"/>
              <a:ext cx="261338" cy="365218"/>
            </a:xfrm>
            <a:custGeom>
              <a:avLst/>
              <a:gdLst/>
              <a:ahLst/>
              <a:cxnLst/>
              <a:rect l="l" t="t" r="r" b="b"/>
              <a:pathLst>
                <a:path w="8204" h="11465" extrusionOk="0">
                  <a:moveTo>
                    <a:pt x="8028" y="0"/>
                  </a:moveTo>
                  <a:cubicBezTo>
                    <a:pt x="8011" y="0"/>
                    <a:pt x="7994" y="4"/>
                    <a:pt x="7977" y="11"/>
                  </a:cubicBezTo>
                  <a:cubicBezTo>
                    <a:pt x="7096" y="213"/>
                    <a:pt x="6596" y="1106"/>
                    <a:pt x="6858" y="1975"/>
                  </a:cubicBezTo>
                  <a:cubicBezTo>
                    <a:pt x="6930" y="2201"/>
                    <a:pt x="6870" y="2451"/>
                    <a:pt x="6704" y="2630"/>
                  </a:cubicBezTo>
                  <a:lnTo>
                    <a:pt x="2667" y="6666"/>
                  </a:lnTo>
                  <a:cubicBezTo>
                    <a:pt x="2542" y="6791"/>
                    <a:pt x="2382" y="6858"/>
                    <a:pt x="2219" y="6858"/>
                  </a:cubicBezTo>
                  <a:cubicBezTo>
                    <a:pt x="2150" y="6858"/>
                    <a:pt x="2080" y="6846"/>
                    <a:pt x="2012" y="6821"/>
                  </a:cubicBezTo>
                  <a:cubicBezTo>
                    <a:pt x="1858" y="6772"/>
                    <a:pt x="1703" y="6748"/>
                    <a:pt x="1551" y="6748"/>
                  </a:cubicBezTo>
                  <a:cubicBezTo>
                    <a:pt x="750" y="6748"/>
                    <a:pt x="32" y="7393"/>
                    <a:pt x="12" y="8274"/>
                  </a:cubicBezTo>
                  <a:cubicBezTo>
                    <a:pt x="1" y="9165"/>
                    <a:pt x="724" y="9837"/>
                    <a:pt x="1551" y="9837"/>
                  </a:cubicBezTo>
                  <a:cubicBezTo>
                    <a:pt x="1585" y="9837"/>
                    <a:pt x="1620" y="9836"/>
                    <a:pt x="1655" y="9833"/>
                  </a:cubicBezTo>
                  <a:lnTo>
                    <a:pt x="1655" y="9833"/>
                  </a:lnTo>
                  <a:cubicBezTo>
                    <a:pt x="1596" y="10691"/>
                    <a:pt x="2262" y="11464"/>
                    <a:pt x="3179" y="11464"/>
                  </a:cubicBezTo>
                  <a:cubicBezTo>
                    <a:pt x="4251" y="11464"/>
                    <a:pt x="4965" y="10441"/>
                    <a:pt x="4656" y="9476"/>
                  </a:cubicBezTo>
                  <a:cubicBezTo>
                    <a:pt x="4584" y="9250"/>
                    <a:pt x="4644" y="9000"/>
                    <a:pt x="4822" y="8821"/>
                  </a:cubicBezTo>
                  <a:lnTo>
                    <a:pt x="5703" y="7940"/>
                  </a:lnTo>
                  <a:cubicBezTo>
                    <a:pt x="5763" y="7881"/>
                    <a:pt x="5763" y="7762"/>
                    <a:pt x="5703" y="7702"/>
                  </a:cubicBezTo>
                  <a:cubicBezTo>
                    <a:pt x="5671" y="7637"/>
                    <a:pt x="5624" y="7608"/>
                    <a:pt x="5577" y="7608"/>
                  </a:cubicBezTo>
                  <a:cubicBezTo>
                    <a:pt x="5538" y="7608"/>
                    <a:pt x="5498" y="7628"/>
                    <a:pt x="5465" y="7666"/>
                  </a:cubicBezTo>
                  <a:lnTo>
                    <a:pt x="4584" y="8536"/>
                  </a:lnTo>
                  <a:cubicBezTo>
                    <a:pt x="4322" y="8809"/>
                    <a:pt x="4227" y="9178"/>
                    <a:pt x="4346" y="9536"/>
                  </a:cubicBezTo>
                  <a:cubicBezTo>
                    <a:pt x="4584" y="10298"/>
                    <a:pt x="4048" y="11083"/>
                    <a:pt x="3215" y="11095"/>
                  </a:cubicBezTo>
                  <a:cubicBezTo>
                    <a:pt x="3209" y="11095"/>
                    <a:pt x="3202" y="11096"/>
                    <a:pt x="3196" y="11096"/>
                  </a:cubicBezTo>
                  <a:cubicBezTo>
                    <a:pt x="2408" y="11096"/>
                    <a:pt x="1859" y="10363"/>
                    <a:pt x="2024" y="9643"/>
                  </a:cubicBezTo>
                  <a:cubicBezTo>
                    <a:pt x="2057" y="9535"/>
                    <a:pt x="1972" y="9437"/>
                    <a:pt x="1867" y="9437"/>
                  </a:cubicBezTo>
                  <a:cubicBezTo>
                    <a:pt x="1856" y="9437"/>
                    <a:pt x="1845" y="9438"/>
                    <a:pt x="1834" y="9440"/>
                  </a:cubicBezTo>
                  <a:cubicBezTo>
                    <a:pt x="1743" y="9461"/>
                    <a:pt x="1652" y="9470"/>
                    <a:pt x="1563" y="9470"/>
                  </a:cubicBezTo>
                  <a:cubicBezTo>
                    <a:pt x="918" y="9470"/>
                    <a:pt x="357" y="8961"/>
                    <a:pt x="357" y="8250"/>
                  </a:cubicBezTo>
                  <a:cubicBezTo>
                    <a:pt x="367" y="7551"/>
                    <a:pt x="929" y="7062"/>
                    <a:pt x="1553" y="7062"/>
                  </a:cubicBezTo>
                  <a:cubicBezTo>
                    <a:pt x="1673" y="7062"/>
                    <a:pt x="1796" y="7080"/>
                    <a:pt x="1917" y="7119"/>
                  </a:cubicBezTo>
                  <a:cubicBezTo>
                    <a:pt x="2019" y="7149"/>
                    <a:pt x="2122" y="7164"/>
                    <a:pt x="2224" y="7164"/>
                  </a:cubicBezTo>
                  <a:cubicBezTo>
                    <a:pt x="2481" y="7164"/>
                    <a:pt x="2730" y="7068"/>
                    <a:pt x="2917" y="6881"/>
                  </a:cubicBezTo>
                  <a:lnTo>
                    <a:pt x="6954" y="2856"/>
                  </a:lnTo>
                  <a:cubicBezTo>
                    <a:pt x="7215" y="2582"/>
                    <a:pt x="7311" y="2213"/>
                    <a:pt x="7192" y="1856"/>
                  </a:cubicBezTo>
                  <a:cubicBezTo>
                    <a:pt x="6977" y="1201"/>
                    <a:pt x="7370" y="487"/>
                    <a:pt x="8049" y="320"/>
                  </a:cubicBezTo>
                  <a:cubicBezTo>
                    <a:pt x="8144" y="308"/>
                    <a:pt x="8204" y="213"/>
                    <a:pt x="8168" y="130"/>
                  </a:cubicBezTo>
                  <a:cubicBezTo>
                    <a:pt x="8158" y="54"/>
                    <a:pt x="8096" y="0"/>
                    <a:pt x="80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7" name="Google Shape;10507;p59"/>
            <p:cNvSpPr/>
            <p:nvPr/>
          </p:nvSpPr>
          <p:spPr>
            <a:xfrm>
              <a:off x="5495092" y="1503111"/>
              <a:ext cx="177878" cy="233147"/>
            </a:xfrm>
            <a:custGeom>
              <a:avLst/>
              <a:gdLst/>
              <a:ahLst/>
              <a:cxnLst/>
              <a:rect l="l" t="t" r="r" b="b"/>
              <a:pathLst>
                <a:path w="5584" h="7319" extrusionOk="0">
                  <a:moveTo>
                    <a:pt x="2913" y="0"/>
                  </a:moveTo>
                  <a:cubicBezTo>
                    <a:pt x="2845" y="0"/>
                    <a:pt x="2777" y="37"/>
                    <a:pt x="2739" y="103"/>
                  </a:cubicBezTo>
                  <a:cubicBezTo>
                    <a:pt x="2715" y="186"/>
                    <a:pt x="2751" y="281"/>
                    <a:pt x="2834" y="317"/>
                  </a:cubicBezTo>
                  <a:cubicBezTo>
                    <a:pt x="3370" y="531"/>
                    <a:pt x="3691" y="1115"/>
                    <a:pt x="3560" y="1710"/>
                  </a:cubicBezTo>
                  <a:cubicBezTo>
                    <a:pt x="3528" y="1817"/>
                    <a:pt x="3611" y="1904"/>
                    <a:pt x="3714" y="1904"/>
                  </a:cubicBezTo>
                  <a:cubicBezTo>
                    <a:pt x="3726" y="1904"/>
                    <a:pt x="3738" y="1903"/>
                    <a:pt x="3751" y="1901"/>
                  </a:cubicBezTo>
                  <a:cubicBezTo>
                    <a:pt x="3842" y="1879"/>
                    <a:pt x="3935" y="1869"/>
                    <a:pt x="4028" y="1869"/>
                  </a:cubicBezTo>
                  <a:cubicBezTo>
                    <a:pt x="4342" y="1869"/>
                    <a:pt x="4649" y="1992"/>
                    <a:pt x="4870" y="2222"/>
                  </a:cubicBezTo>
                  <a:cubicBezTo>
                    <a:pt x="5346" y="2698"/>
                    <a:pt x="5334" y="3496"/>
                    <a:pt x="4858" y="3949"/>
                  </a:cubicBezTo>
                  <a:cubicBezTo>
                    <a:pt x="4632" y="4166"/>
                    <a:pt x="4323" y="4282"/>
                    <a:pt x="4010" y="4282"/>
                  </a:cubicBezTo>
                  <a:cubicBezTo>
                    <a:pt x="3895" y="4282"/>
                    <a:pt x="3779" y="4266"/>
                    <a:pt x="3667" y="4234"/>
                  </a:cubicBezTo>
                  <a:cubicBezTo>
                    <a:pt x="3570" y="4205"/>
                    <a:pt x="3470" y="4191"/>
                    <a:pt x="3372" y="4191"/>
                  </a:cubicBezTo>
                  <a:cubicBezTo>
                    <a:pt x="3111" y="4191"/>
                    <a:pt x="2858" y="4291"/>
                    <a:pt x="2667" y="4472"/>
                  </a:cubicBezTo>
                  <a:lnTo>
                    <a:pt x="107" y="7032"/>
                  </a:lnTo>
                  <a:cubicBezTo>
                    <a:pt x="0" y="7139"/>
                    <a:pt x="72" y="7318"/>
                    <a:pt x="227" y="7318"/>
                  </a:cubicBezTo>
                  <a:cubicBezTo>
                    <a:pt x="229" y="7318"/>
                    <a:pt x="231" y="7318"/>
                    <a:pt x="233" y="7318"/>
                  </a:cubicBezTo>
                  <a:cubicBezTo>
                    <a:pt x="354" y="7318"/>
                    <a:pt x="274" y="7295"/>
                    <a:pt x="2905" y="4711"/>
                  </a:cubicBezTo>
                  <a:cubicBezTo>
                    <a:pt x="3035" y="4581"/>
                    <a:pt x="3201" y="4514"/>
                    <a:pt x="3369" y="4514"/>
                  </a:cubicBezTo>
                  <a:cubicBezTo>
                    <a:pt x="3434" y="4514"/>
                    <a:pt x="3498" y="4524"/>
                    <a:pt x="3560" y="4544"/>
                  </a:cubicBezTo>
                  <a:cubicBezTo>
                    <a:pt x="3719" y="4597"/>
                    <a:pt x="3879" y="4622"/>
                    <a:pt x="4035" y="4622"/>
                  </a:cubicBezTo>
                  <a:cubicBezTo>
                    <a:pt x="4831" y="4622"/>
                    <a:pt x="5541" y="3979"/>
                    <a:pt x="5561" y="3103"/>
                  </a:cubicBezTo>
                  <a:cubicBezTo>
                    <a:pt x="5583" y="2207"/>
                    <a:pt x="4872" y="1538"/>
                    <a:pt x="4053" y="1538"/>
                  </a:cubicBezTo>
                  <a:cubicBezTo>
                    <a:pt x="4012" y="1538"/>
                    <a:pt x="3971" y="1540"/>
                    <a:pt x="3929" y="1544"/>
                  </a:cubicBezTo>
                  <a:cubicBezTo>
                    <a:pt x="3977" y="877"/>
                    <a:pt x="3572" y="246"/>
                    <a:pt x="2965" y="8"/>
                  </a:cubicBezTo>
                  <a:cubicBezTo>
                    <a:pt x="2948" y="3"/>
                    <a:pt x="2930" y="0"/>
                    <a:pt x="29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08" name="Google Shape;10508;p59"/>
          <p:cNvGrpSpPr/>
          <p:nvPr/>
        </p:nvGrpSpPr>
        <p:grpSpPr>
          <a:xfrm>
            <a:off x="7100170" y="1500117"/>
            <a:ext cx="368308" cy="367033"/>
            <a:chOff x="7100170" y="1500117"/>
            <a:chExt cx="368308" cy="367033"/>
          </a:xfrm>
        </p:grpSpPr>
        <p:sp>
          <p:nvSpPr>
            <p:cNvPr id="10509" name="Google Shape;10509;p59"/>
            <p:cNvSpPr/>
            <p:nvPr/>
          </p:nvSpPr>
          <p:spPr>
            <a:xfrm>
              <a:off x="7328698" y="1501041"/>
              <a:ext cx="139780" cy="97126"/>
            </a:xfrm>
            <a:custGeom>
              <a:avLst/>
              <a:gdLst/>
              <a:ahLst/>
              <a:cxnLst/>
              <a:rect l="l" t="t" r="r" b="b"/>
              <a:pathLst>
                <a:path w="4388" h="3049" extrusionOk="0">
                  <a:moveTo>
                    <a:pt x="1894" y="0"/>
                  </a:moveTo>
                  <a:cubicBezTo>
                    <a:pt x="1861" y="0"/>
                    <a:pt x="1826" y="8"/>
                    <a:pt x="1792" y="25"/>
                  </a:cubicBezTo>
                  <a:cubicBezTo>
                    <a:pt x="1066" y="501"/>
                    <a:pt x="208" y="1728"/>
                    <a:pt x="30" y="2871"/>
                  </a:cubicBezTo>
                  <a:cubicBezTo>
                    <a:pt x="0" y="2960"/>
                    <a:pt x="86" y="3049"/>
                    <a:pt x="184" y="3049"/>
                  </a:cubicBezTo>
                  <a:cubicBezTo>
                    <a:pt x="204" y="3049"/>
                    <a:pt x="224" y="3045"/>
                    <a:pt x="244" y="3037"/>
                  </a:cubicBezTo>
                  <a:cubicBezTo>
                    <a:pt x="1459" y="2549"/>
                    <a:pt x="2768" y="2216"/>
                    <a:pt x="4114" y="2097"/>
                  </a:cubicBezTo>
                  <a:lnTo>
                    <a:pt x="4221" y="2097"/>
                  </a:lnTo>
                  <a:cubicBezTo>
                    <a:pt x="4316" y="2097"/>
                    <a:pt x="4388" y="2025"/>
                    <a:pt x="4388" y="1930"/>
                  </a:cubicBezTo>
                  <a:cubicBezTo>
                    <a:pt x="4388" y="1847"/>
                    <a:pt x="4316" y="1775"/>
                    <a:pt x="4221" y="1775"/>
                  </a:cubicBezTo>
                  <a:cubicBezTo>
                    <a:pt x="3506" y="1787"/>
                    <a:pt x="1875" y="2085"/>
                    <a:pt x="423" y="2632"/>
                  </a:cubicBezTo>
                  <a:cubicBezTo>
                    <a:pt x="709" y="1573"/>
                    <a:pt x="1494" y="656"/>
                    <a:pt x="1994" y="311"/>
                  </a:cubicBezTo>
                  <a:cubicBezTo>
                    <a:pt x="2066" y="263"/>
                    <a:pt x="2090" y="168"/>
                    <a:pt x="2030" y="73"/>
                  </a:cubicBezTo>
                  <a:cubicBezTo>
                    <a:pt x="2007" y="26"/>
                    <a:pt x="1954" y="0"/>
                    <a:pt x="1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0" name="Google Shape;10510;p59"/>
            <p:cNvSpPr/>
            <p:nvPr/>
          </p:nvSpPr>
          <p:spPr>
            <a:xfrm>
              <a:off x="7100170" y="1500117"/>
              <a:ext cx="192691" cy="307942"/>
            </a:xfrm>
            <a:custGeom>
              <a:avLst/>
              <a:gdLst/>
              <a:ahLst/>
              <a:cxnLst/>
              <a:rect l="l" t="t" r="r" b="b"/>
              <a:pathLst>
                <a:path w="6049" h="9667" extrusionOk="0">
                  <a:moveTo>
                    <a:pt x="4144" y="5007"/>
                  </a:moveTo>
                  <a:lnTo>
                    <a:pt x="4144" y="5007"/>
                  </a:lnTo>
                  <a:cubicBezTo>
                    <a:pt x="4025" y="5221"/>
                    <a:pt x="4001" y="5317"/>
                    <a:pt x="4013" y="5674"/>
                  </a:cubicBezTo>
                  <a:cubicBezTo>
                    <a:pt x="4025" y="5995"/>
                    <a:pt x="4013" y="6043"/>
                    <a:pt x="3727" y="6281"/>
                  </a:cubicBezTo>
                  <a:cubicBezTo>
                    <a:pt x="3513" y="6460"/>
                    <a:pt x="3453" y="6531"/>
                    <a:pt x="3299" y="6852"/>
                  </a:cubicBezTo>
                  <a:cubicBezTo>
                    <a:pt x="3168" y="7162"/>
                    <a:pt x="3132" y="7186"/>
                    <a:pt x="2763" y="7281"/>
                  </a:cubicBezTo>
                  <a:cubicBezTo>
                    <a:pt x="2477" y="7341"/>
                    <a:pt x="2382" y="7388"/>
                    <a:pt x="2096" y="7626"/>
                  </a:cubicBezTo>
                  <a:cubicBezTo>
                    <a:pt x="2001" y="7698"/>
                    <a:pt x="1917" y="7781"/>
                    <a:pt x="1846" y="7805"/>
                  </a:cubicBezTo>
                  <a:cubicBezTo>
                    <a:pt x="1757" y="7831"/>
                    <a:pt x="1702" y="7841"/>
                    <a:pt x="1660" y="7841"/>
                  </a:cubicBezTo>
                  <a:cubicBezTo>
                    <a:pt x="1607" y="7841"/>
                    <a:pt x="1573" y="7825"/>
                    <a:pt x="1513" y="7805"/>
                  </a:cubicBezTo>
                  <a:cubicBezTo>
                    <a:pt x="1751" y="7483"/>
                    <a:pt x="1977" y="7162"/>
                    <a:pt x="2227" y="6864"/>
                  </a:cubicBezTo>
                  <a:cubicBezTo>
                    <a:pt x="2822" y="6174"/>
                    <a:pt x="3465" y="5555"/>
                    <a:pt x="4144" y="5007"/>
                  </a:cubicBezTo>
                  <a:close/>
                  <a:moveTo>
                    <a:pt x="5864" y="0"/>
                  </a:moveTo>
                  <a:cubicBezTo>
                    <a:pt x="5808" y="0"/>
                    <a:pt x="5754" y="31"/>
                    <a:pt x="5716" y="78"/>
                  </a:cubicBezTo>
                  <a:cubicBezTo>
                    <a:pt x="4858" y="1257"/>
                    <a:pt x="4549" y="2697"/>
                    <a:pt x="4668" y="4174"/>
                  </a:cubicBezTo>
                  <a:cubicBezTo>
                    <a:pt x="2715" y="5543"/>
                    <a:pt x="1144" y="7400"/>
                    <a:pt x="36" y="9424"/>
                  </a:cubicBezTo>
                  <a:cubicBezTo>
                    <a:pt x="1" y="9496"/>
                    <a:pt x="24" y="9603"/>
                    <a:pt x="96" y="9650"/>
                  </a:cubicBezTo>
                  <a:cubicBezTo>
                    <a:pt x="122" y="9661"/>
                    <a:pt x="149" y="9667"/>
                    <a:pt x="175" y="9667"/>
                  </a:cubicBezTo>
                  <a:cubicBezTo>
                    <a:pt x="234" y="9667"/>
                    <a:pt x="289" y="9640"/>
                    <a:pt x="322" y="9591"/>
                  </a:cubicBezTo>
                  <a:cubicBezTo>
                    <a:pt x="608" y="9067"/>
                    <a:pt x="917" y="8579"/>
                    <a:pt x="1251" y="8103"/>
                  </a:cubicBezTo>
                  <a:cubicBezTo>
                    <a:pt x="1424" y="8111"/>
                    <a:pt x="1483" y="8176"/>
                    <a:pt x="1641" y="8176"/>
                  </a:cubicBezTo>
                  <a:cubicBezTo>
                    <a:pt x="1711" y="8176"/>
                    <a:pt x="1801" y="8163"/>
                    <a:pt x="1929" y="8126"/>
                  </a:cubicBezTo>
                  <a:cubicBezTo>
                    <a:pt x="2179" y="8055"/>
                    <a:pt x="2358" y="7805"/>
                    <a:pt x="2584" y="7686"/>
                  </a:cubicBezTo>
                  <a:cubicBezTo>
                    <a:pt x="2644" y="7650"/>
                    <a:pt x="2739" y="7626"/>
                    <a:pt x="2834" y="7603"/>
                  </a:cubicBezTo>
                  <a:cubicBezTo>
                    <a:pt x="3311" y="7507"/>
                    <a:pt x="3430" y="7388"/>
                    <a:pt x="3608" y="6983"/>
                  </a:cubicBezTo>
                  <a:cubicBezTo>
                    <a:pt x="3727" y="6710"/>
                    <a:pt x="3763" y="6698"/>
                    <a:pt x="3942" y="6531"/>
                  </a:cubicBezTo>
                  <a:cubicBezTo>
                    <a:pt x="4323" y="6221"/>
                    <a:pt x="4370" y="6079"/>
                    <a:pt x="4358" y="5662"/>
                  </a:cubicBezTo>
                  <a:cubicBezTo>
                    <a:pt x="4346" y="5364"/>
                    <a:pt x="4358" y="5317"/>
                    <a:pt x="4477" y="5090"/>
                  </a:cubicBezTo>
                  <a:cubicBezTo>
                    <a:pt x="4549" y="4959"/>
                    <a:pt x="4620" y="4793"/>
                    <a:pt x="4644" y="4614"/>
                  </a:cubicBezTo>
                  <a:lnTo>
                    <a:pt x="4954" y="4388"/>
                  </a:lnTo>
                  <a:cubicBezTo>
                    <a:pt x="5001" y="4364"/>
                    <a:pt x="5025" y="4305"/>
                    <a:pt x="5025" y="4245"/>
                  </a:cubicBezTo>
                  <a:cubicBezTo>
                    <a:pt x="4894" y="2840"/>
                    <a:pt x="5180" y="1435"/>
                    <a:pt x="5989" y="268"/>
                  </a:cubicBezTo>
                  <a:cubicBezTo>
                    <a:pt x="6049" y="197"/>
                    <a:pt x="6025" y="90"/>
                    <a:pt x="5954" y="30"/>
                  </a:cubicBezTo>
                  <a:cubicBezTo>
                    <a:pt x="5924" y="9"/>
                    <a:pt x="5894" y="0"/>
                    <a:pt x="58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1" name="Google Shape;10511;p59"/>
            <p:cNvSpPr/>
            <p:nvPr/>
          </p:nvSpPr>
          <p:spPr>
            <a:xfrm>
              <a:off x="7160089" y="1766170"/>
              <a:ext cx="19017" cy="18986"/>
            </a:xfrm>
            <a:custGeom>
              <a:avLst/>
              <a:gdLst/>
              <a:ahLst/>
              <a:cxnLst/>
              <a:rect l="l" t="t" r="r" b="b"/>
              <a:pathLst>
                <a:path w="597" h="596" extrusionOk="0">
                  <a:moveTo>
                    <a:pt x="298" y="1"/>
                  </a:moveTo>
                  <a:cubicBezTo>
                    <a:pt x="144" y="1"/>
                    <a:pt x="1" y="132"/>
                    <a:pt x="1" y="298"/>
                  </a:cubicBezTo>
                  <a:cubicBezTo>
                    <a:pt x="1" y="465"/>
                    <a:pt x="144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2" name="Google Shape;10512;p59"/>
            <p:cNvSpPr/>
            <p:nvPr/>
          </p:nvSpPr>
          <p:spPr>
            <a:xfrm>
              <a:off x="7295505" y="1540031"/>
              <a:ext cx="18986" cy="19081"/>
            </a:xfrm>
            <a:custGeom>
              <a:avLst/>
              <a:gdLst/>
              <a:ahLst/>
              <a:cxnLst/>
              <a:rect l="l" t="t" r="r" b="b"/>
              <a:pathLst>
                <a:path w="596" h="599" extrusionOk="0">
                  <a:moveTo>
                    <a:pt x="332" y="1"/>
                  </a:moveTo>
                  <a:cubicBezTo>
                    <a:pt x="321" y="1"/>
                    <a:pt x="309" y="2"/>
                    <a:pt x="298" y="4"/>
                  </a:cubicBezTo>
                  <a:cubicBezTo>
                    <a:pt x="131" y="4"/>
                    <a:pt x="0" y="134"/>
                    <a:pt x="0" y="301"/>
                  </a:cubicBezTo>
                  <a:cubicBezTo>
                    <a:pt x="0" y="456"/>
                    <a:pt x="131" y="599"/>
                    <a:pt x="298" y="599"/>
                  </a:cubicBezTo>
                  <a:cubicBezTo>
                    <a:pt x="453" y="599"/>
                    <a:pt x="596" y="456"/>
                    <a:pt x="596" y="301"/>
                  </a:cubicBezTo>
                  <a:cubicBezTo>
                    <a:pt x="596" y="136"/>
                    <a:pt x="473" y="1"/>
                    <a:pt x="3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3" name="Google Shape;10513;p59"/>
            <p:cNvSpPr/>
            <p:nvPr/>
          </p:nvSpPr>
          <p:spPr>
            <a:xfrm>
              <a:off x="7337968" y="1631519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8" y="1"/>
                  </a:moveTo>
                  <a:cubicBezTo>
                    <a:pt x="132" y="1"/>
                    <a:pt x="1" y="132"/>
                    <a:pt x="1" y="299"/>
                  </a:cubicBezTo>
                  <a:cubicBezTo>
                    <a:pt x="1" y="465"/>
                    <a:pt x="132" y="596"/>
                    <a:pt x="298" y="596"/>
                  </a:cubicBezTo>
                  <a:cubicBezTo>
                    <a:pt x="465" y="596"/>
                    <a:pt x="596" y="465"/>
                    <a:pt x="596" y="299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4" name="Google Shape;10514;p59"/>
            <p:cNvSpPr/>
            <p:nvPr/>
          </p:nvSpPr>
          <p:spPr>
            <a:xfrm>
              <a:off x="7275404" y="1612947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1"/>
                  </a:moveTo>
                  <a:cubicBezTo>
                    <a:pt x="131" y="1"/>
                    <a:pt x="0" y="131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1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5" name="Google Shape;10515;p59"/>
            <p:cNvSpPr/>
            <p:nvPr/>
          </p:nvSpPr>
          <p:spPr>
            <a:xfrm>
              <a:off x="7248837" y="1688029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8" y="1"/>
                  </a:moveTo>
                  <a:cubicBezTo>
                    <a:pt x="132" y="1"/>
                    <a:pt x="1" y="132"/>
                    <a:pt x="1" y="299"/>
                  </a:cubicBezTo>
                  <a:cubicBezTo>
                    <a:pt x="1" y="453"/>
                    <a:pt x="132" y="596"/>
                    <a:pt x="298" y="596"/>
                  </a:cubicBezTo>
                  <a:cubicBezTo>
                    <a:pt x="465" y="596"/>
                    <a:pt x="596" y="453"/>
                    <a:pt x="596" y="299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6" name="Google Shape;10516;p59"/>
            <p:cNvSpPr/>
            <p:nvPr/>
          </p:nvSpPr>
          <p:spPr>
            <a:xfrm>
              <a:off x="7413464" y="1587527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298" y="1"/>
                  </a:moveTo>
                  <a:cubicBezTo>
                    <a:pt x="131" y="1"/>
                    <a:pt x="0" y="132"/>
                    <a:pt x="0" y="298"/>
                  </a:cubicBezTo>
                  <a:cubicBezTo>
                    <a:pt x="0" y="453"/>
                    <a:pt x="131" y="596"/>
                    <a:pt x="298" y="596"/>
                  </a:cubicBezTo>
                  <a:cubicBezTo>
                    <a:pt x="464" y="596"/>
                    <a:pt x="595" y="453"/>
                    <a:pt x="595" y="298"/>
                  </a:cubicBezTo>
                  <a:cubicBezTo>
                    <a:pt x="595" y="132"/>
                    <a:pt x="464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7" name="Google Shape;10517;p59"/>
            <p:cNvSpPr/>
            <p:nvPr/>
          </p:nvSpPr>
          <p:spPr>
            <a:xfrm>
              <a:off x="7114218" y="1832906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317" y="0"/>
                  </a:moveTo>
                  <a:cubicBezTo>
                    <a:pt x="311" y="0"/>
                    <a:pt x="304" y="1"/>
                    <a:pt x="298" y="1"/>
                  </a:cubicBezTo>
                  <a:cubicBezTo>
                    <a:pt x="131" y="1"/>
                    <a:pt x="0" y="132"/>
                    <a:pt x="0" y="299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4" y="596"/>
                    <a:pt x="595" y="465"/>
                    <a:pt x="595" y="299"/>
                  </a:cubicBezTo>
                  <a:cubicBezTo>
                    <a:pt x="595" y="139"/>
                    <a:pt x="474" y="0"/>
                    <a:pt x="3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8" name="Google Shape;10518;p59"/>
            <p:cNvSpPr/>
            <p:nvPr/>
          </p:nvSpPr>
          <p:spPr>
            <a:xfrm>
              <a:off x="7128999" y="1785506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319" y="0"/>
                  </a:moveTo>
                  <a:cubicBezTo>
                    <a:pt x="312" y="0"/>
                    <a:pt x="305" y="0"/>
                    <a:pt x="298" y="1"/>
                  </a:cubicBezTo>
                  <a:cubicBezTo>
                    <a:pt x="131" y="1"/>
                    <a:pt x="0" y="132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27"/>
                    <a:pt x="476" y="0"/>
                    <a:pt x="3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9" name="Google Shape;10519;p59"/>
            <p:cNvSpPr/>
            <p:nvPr/>
          </p:nvSpPr>
          <p:spPr>
            <a:xfrm>
              <a:off x="7148335" y="1815481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32" y="0"/>
                    <a:pt x="1" y="131"/>
                    <a:pt x="1" y="298"/>
                  </a:cubicBezTo>
                  <a:cubicBezTo>
                    <a:pt x="1" y="465"/>
                    <a:pt x="132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1"/>
                    <a:pt x="465" y="0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0" name="Google Shape;10520;p59"/>
            <p:cNvSpPr/>
            <p:nvPr/>
          </p:nvSpPr>
          <p:spPr>
            <a:xfrm>
              <a:off x="7158592" y="1661494"/>
              <a:ext cx="208236" cy="205656"/>
            </a:xfrm>
            <a:custGeom>
              <a:avLst/>
              <a:gdLst/>
              <a:ahLst/>
              <a:cxnLst/>
              <a:rect l="l" t="t" r="r" b="b"/>
              <a:pathLst>
                <a:path w="6537" h="6456" extrusionOk="0">
                  <a:moveTo>
                    <a:pt x="2893" y="2275"/>
                  </a:moveTo>
                  <a:cubicBezTo>
                    <a:pt x="2131" y="3001"/>
                    <a:pt x="1512" y="3763"/>
                    <a:pt x="917" y="4703"/>
                  </a:cubicBezTo>
                  <a:cubicBezTo>
                    <a:pt x="905" y="4656"/>
                    <a:pt x="905" y="4596"/>
                    <a:pt x="929" y="4442"/>
                  </a:cubicBezTo>
                  <a:cubicBezTo>
                    <a:pt x="941" y="4370"/>
                    <a:pt x="1036" y="4287"/>
                    <a:pt x="1107" y="4191"/>
                  </a:cubicBezTo>
                  <a:cubicBezTo>
                    <a:pt x="1357" y="3906"/>
                    <a:pt x="1393" y="3822"/>
                    <a:pt x="1453" y="3525"/>
                  </a:cubicBezTo>
                  <a:cubicBezTo>
                    <a:pt x="1524" y="3168"/>
                    <a:pt x="1572" y="3120"/>
                    <a:pt x="1881" y="2989"/>
                  </a:cubicBezTo>
                  <a:cubicBezTo>
                    <a:pt x="2191" y="2858"/>
                    <a:pt x="2274" y="2775"/>
                    <a:pt x="2453" y="2560"/>
                  </a:cubicBezTo>
                  <a:cubicBezTo>
                    <a:pt x="2643" y="2322"/>
                    <a:pt x="2703" y="2275"/>
                    <a:pt x="2893" y="2275"/>
                  </a:cubicBezTo>
                  <a:close/>
                  <a:moveTo>
                    <a:pt x="6351" y="0"/>
                  </a:moveTo>
                  <a:cubicBezTo>
                    <a:pt x="6331" y="0"/>
                    <a:pt x="6309" y="4"/>
                    <a:pt x="6287" y="12"/>
                  </a:cubicBezTo>
                  <a:cubicBezTo>
                    <a:pt x="5144" y="453"/>
                    <a:pt x="4191" y="1072"/>
                    <a:pt x="3251" y="1917"/>
                  </a:cubicBezTo>
                  <a:cubicBezTo>
                    <a:pt x="3154" y="1917"/>
                    <a:pt x="3059" y="1911"/>
                    <a:pt x="2965" y="1911"/>
                  </a:cubicBezTo>
                  <a:cubicBezTo>
                    <a:pt x="2841" y="1911"/>
                    <a:pt x="2718" y="1923"/>
                    <a:pt x="2596" y="1977"/>
                  </a:cubicBezTo>
                  <a:cubicBezTo>
                    <a:pt x="2310" y="2108"/>
                    <a:pt x="2179" y="2406"/>
                    <a:pt x="2012" y="2525"/>
                  </a:cubicBezTo>
                  <a:cubicBezTo>
                    <a:pt x="1941" y="2584"/>
                    <a:pt x="1846" y="2620"/>
                    <a:pt x="1750" y="2656"/>
                  </a:cubicBezTo>
                  <a:cubicBezTo>
                    <a:pt x="1346" y="2834"/>
                    <a:pt x="1238" y="2941"/>
                    <a:pt x="1119" y="3430"/>
                  </a:cubicBezTo>
                  <a:cubicBezTo>
                    <a:pt x="1072" y="3668"/>
                    <a:pt x="1060" y="3715"/>
                    <a:pt x="857" y="3953"/>
                  </a:cubicBezTo>
                  <a:cubicBezTo>
                    <a:pt x="750" y="4072"/>
                    <a:pt x="643" y="4191"/>
                    <a:pt x="595" y="4334"/>
                  </a:cubicBezTo>
                  <a:cubicBezTo>
                    <a:pt x="464" y="4799"/>
                    <a:pt x="643" y="4775"/>
                    <a:pt x="631" y="5073"/>
                  </a:cubicBezTo>
                  <a:cubicBezTo>
                    <a:pt x="631" y="5084"/>
                    <a:pt x="643" y="5084"/>
                    <a:pt x="643" y="5096"/>
                  </a:cubicBezTo>
                  <a:cubicBezTo>
                    <a:pt x="381" y="5549"/>
                    <a:pt x="179" y="5942"/>
                    <a:pt x="48" y="6216"/>
                  </a:cubicBezTo>
                  <a:cubicBezTo>
                    <a:pt x="0" y="6299"/>
                    <a:pt x="48" y="6394"/>
                    <a:pt x="143" y="6442"/>
                  </a:cubicBezTo>
                  <a:cubicBezTo>
                    <a:pt x="164" y="6451"/>
                    <a:pt x="186" y="6455"/>
                    <a:pt x="208" y="6455"/>
                  </a:cubicBezTo>
                  <a:cubicBezTo>
                    <a:pt x="271" y="6455"/>
                    <a:pt x="331" y="6417"/>
                    <a:pt x="357" y="6347"/>
                  </a:cubicBezTo>
                  <a:cubicBezTo>
                    <a:pt x="643" y="5739"/>
                    <a:pt x="1274" y="4549"/>
                    <a:pt x="2322" y="3322"/>
                  </a:cubicBezTo>
                  <a:cubicBezTo>
                    <a:pt x="3620" y="1834"/>
                    <a:pt x="4846" y="929"/>
                    <a:pt x="6406" y="322"/>
                  </a:cubicBezTo>
                  <a:cubicBezTo>
                    <a:pt x="6489" y="286"/>
                    <a:pt x="6537" y="191"/>
                    <a:pt x="6489" y="96"/>
                  </a:cubicBezTo>
                  <a:cubicBezTo>
                    <a:pt x="6471" y="41"/>
                    <a:pt x="6418" y="0"/>
                    <a:pt x="63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1" name="Google Shape;10521;p59"/>
            <p:cNvSpPr/>
            <p:nvPr/>
          </p:nvSpPr>
          <p:spPr>
            <a:xfrm>
              <a:off x="7374696" y="1635660"/>
              <a:ext cx="93781" cy="28478"/>
            </a:xfrm>
            <a:custGeom>
              <a:avLst/>
              <a:gdLst/>
              <a:ahLst/>
              <a:cxnLst/>
              <a:rect l="l" t="t" r="r" b="b"/>
              <a:pathLst>
                <a:path w="2944" h="894" extrusionOk="0">
                  <a:moveTo>
                    <a:pt x="2772" y="1"/>
                  </a:moveTo>
                  <a:cubicBezTo>
                    <a:pt x="2765" y="1"/>
                    <a:pt x="2759" y="1"/>
                    <a:pt x="2753" y="2"/>
                  </a:cubicBezTo>
                  <a:cubicBezTo>
                    <a:pt x="1860" y="97"/>
                    <a:pt x="991" y="288"/>
                    <a:pt x="193" y="573"/>
                  </a:cubicBezTo>
                  <a:cubicBezTo>
                    <a:pt x="1" y="638"/>
                    <a:pt x="67" y="894"/>
                    <a:pt x="230" y="894"/>
                  </a:cubicBezTo>
                  <a:cubicBezTo>
                    <a:pt x="248" y="894"/>
                    <a:pt x="268" y="890"/>
                    <a:pt x="288" y="883"/>
                  </a:cubicBezTo>
                  <a:cubicBezTo>
                    <a:pt x="1086" y="609"/>
                    <a:pt x="1920" y="419"/>
                    <a:pt x="2777" y="335"/>
                  </a:cubicBezTo>
                  <a:cubicBezTo>
                    <a:pt x="2872" y="311"/>
                    <a:pt x="2944" y="240"/>
                    <a:pt x="2932" y="157"/>
                  </a:cubicBezTo>
                  <a:cubicBezTo>
                    <a:pt x="2932" y="68"/>
                    <a:pt x="2850" y="1"/>
                    <a:pt x="27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22" name="Google Shape;10522;p59"/>
          <p:cNvSpPr/>
          <p:nvPr/>
        </p:nvSpPr>
        <p:spPr>
          <a:xfrm>
            <a:off x="7539642" y="1500180"/>
            <a:ext cx="372958" cy="366747"/>
          </a:xfrm>
          <a:custGeom>
            <a:avLst/>
            <a:gdLst/>
            <a:ahLst/>
            <a:cxnLst/>
            <a:rect l="l" t="t" r="r" b="b"/>
            <a:pathLst>
              <a:path w="11708" h="11513" extrusionOk="0">
                <a:moveTo>
                  <a:pt x="5700" y="3058"/>
                </a:moveTo>
                <a:cubicBezTo>
                  <a:pt x="5722" y="3058"/>
                  <a:pt x="5743" y="3064"/>
                  <a:pt x="5755" y="3076"/>
                </a:cubicBezTo>
                <a:lnTo>
                  <a:pt x="8565" y="5898"/>
                </a:lnTo>
                <a:cubicBezTo>
                  <a:pt x="8612" y="5910"/>
                  <a:pt x="8612" y="5969"/>
                  <a:pt x="8588" y="6017"/>
                </a:cubicBezTo>
                <a:cubicBezTo>
                  <a:pt x="8207" y="6374"/>
                  <a:pt x="8231" y="6398"/>
                  <a:pt x="8172" y="6398"/>
                </a:cubicBezTo>
                <a:cubicBezTo>
                  <a:pt x="8112" y="6398"/>
                  <a:pt x="8112" y="6350"/>
                  <a:pt x="7850" y="6136"/>
                </a:cubicBezTo>
                <a:cubicBezTo>
                  <a:pt x="5112" y="3398"/>
                  <a:pt x="5255" y="3552"/>
                  <a:pt x="5255" y="3493"/>
                </a:cubicBezTo>
                <a:cubicBezTo>
                  <a:pt x="5255" y="3433"/>
                  <a:pt x="5278" y="3433"/>
                  <a:pt x="5636" y="3076"/>
                </a:cubicBezTo>
                <a:cubicBezTo>
                  <a:pt x="5653" y="3064"/>
                  <a:pt x="5677" y="3058"/>
                  <a:pt x="5700" y="3058"/>
                </a:cubicBezTo>
                <a:close/>
                <a:moveTo>
                  <a:pt x="10869" y="1"/>
                </a:moveTo>
                <a:cubicBezTo>
                  <a:pt x="10688" y="1"/>
                  <a:pt x="10504" y="64"/>
                  <a:pt x="10350" y="195"/>
                </a:cubicBezTo>
                <a:lnTo>
                  <a:pt x="9184" y="1219"/>
                </a:lnTo>
                <a:cubicBezTo>
                  <a:pt x="9100" y="1278"/>
                  <a:pt x="9100" y="1385"/>
                  <a:pt x="9160" y="1457"/>
                </a:cubicBezTo>
                <a:cubicBezTo>
                  <a:pt x="9191" y="1494"/>
                  <a:pt x="9235" y="1512"/>
                  <a:pt x="9280" y="1512"/>
                </a:cubicBezTo>
                <a:cubicBezTo>
                  <a:pt x="9322" y="1512"/>
                  <a:pt x="9364" y="1497"/>
                  <a:pt x="9398" y="1469"/>
                </a:cubicBezTo>
                <a:lnTo>
                  <a:pt x="10577" y="445"/>
                </a:lnTo>
                <a:cubicBezTo>
                  <a:pt x="10664" y="375"/>
                  <a:pt x="10769" y="339"/>
                  <a:pt x="10872" y="339"/>
                </a:cubicBezTo>
                <a:cubicBezTo>
                  <a:pt x="10980" y="339"/>
                  <a:pt x="11087" y="378"/>
                  <a:pt x="11172" y="457"/>
                </a:cubicBezTo>
                <a:cubicBezTo>
                  <a:pt x="11339" y="623"/>
                  <a:pt x="11339" y="874"/>
                  <a:pt x="11184" y="1052"/>
                </a:cubicBezTo>
                <a:lnTo>
                  <a:pt x="7933" y="4767"/>
                </a:lnTo>
                <a:lnTo>
                  <a:pt x="6874" y="3707"/>
                </a:lnTo>
                <a:lnTo>
                  <a:pt x="8767" y="2040"/>
                </a:lnTo>
                <a:cubicBezTo>
                  <a:pt x="8838" y="1981"/>
                  <a:pt x="8838" y="1874"/>
                  <a:pt x="8779" y="1802"/>
                </a:cubicBezTo>
                <a:cubicBezTo>
                  <a:pt x="8747" y="1757"/>
                  <a:pt x="8700" y="1736"/>
                  <a:pt x="8653" y="1736"/>
                </a:cubicBezTo>
                <a:cubicBezTo>
                  <a:pt x="8614" y="1736"/>
                  <a:pt x="8573" y="1751"/>
                  <a:pt x="8541" y="1778"/>
                </a:cubicBezTo>
                <a:lnTo>
                  <a:pt x="6636" y="3469"/>
                </a:lnTo>
                <a:lnTo>
                  <a:pt x="5993" y="2826"/>
                </a:lnTo>
                <a:cubicBezTo>
                  <a:pt x="5909" y="2743"/>
                  <a:pt x="5802" y="2701"/>
                  <a:pt x="5695" y="2701"/>
                </a:cubicBezTo>
                <a:cubicBezTo>
                  <a:pt x="5588" y="2701"/>
                  <a:pt x="5481" y="2743"/>
                  <a:pt x="5397" y="2826"/>
                </a:cubicBezTo>
                <a:lnTo>
                  <a:pt x="5040" y="3183"/>
                </a:lnTo>
                <a:cubicBezTo>
                  <a:pt x="4921" y="3302"/>
                  <a:pt x="4874" y="3481"/>
                  <a:pt x="4957" y="3660"/>
                </a:cubicBezTo>
                <a:cubicBezTo>
                  <a:pt x="4800" y="3641"/>
                  <a:pt x="4644" y="3631"/>
                  <a:pt x="4488" y="3631"/>
                </a:cubicBezTo>
                <a:cubicBezTo>
                  <a:pt x="2121" y="3631"/>
                  <a:pt x="1" y="5783"/>
                  <a:pt x="135" y="8208"/>
                </a:cubicBezTo>
                <a:cubicBezTo>
                  <a:pt x="147" y="8672"/>
                  <a:pt x="337" y="9101"/>
                  <a:pt x="671" y="9422"/>
                </a:cubicBezTo>
                <a:lnTo>
                  <a:pt x="2218" y="10970"/>
                </a:lnTo>
                <a:cubicBezTo>
                  <a:pt x="2620" y="11372"/>
                  <a:pt x="3076" y="11512"/>
                  <a:pt x="3595" y="11512"/>
                </a:cubicBezTo>
                <a:cubicBezTo>
                  <a:pt x="3768" y="11512"/>
                  <a:pt x="3948" y="11497"/>
                  <a:pt x="4135" y="11470"/>
                </a:cubicBezTo>
                <a:cubicBezTo>
                  <a:pt x="4219" y="11458"/>
                  <a:pt x="4278" y="11387"/>
                  <a:pt x="4278" y="11280"/>
                </a:cubicBezTo>
                <a:cubicBezTo>
                  <a:pt x="4266" y="11184"/>
                  <a:pt x="4195" y="11125"/>
                  <a:pt x="4088" y="11125"/>
                </a:cubicBezTo>
                <a:cubicBezTo>
                  <a:pt x="3923" y="11149"/>
                  <a:pt x="3764" y="11164"/>
                  <a:pt x="3613" y="11164"/>
                </a:cubicBezTo>
                <a:cubicBezTo>
                  <a:pt x="3175" y="11164"/>
                  <a:pt x="2793" y="11044"/>
                  <a:pt x="2457" y="10708"/>
                </a:cubicBezTo>
                <a:lnTo>
                  <a:pt x="909" y="9160"/>
                </a:lnTo>
                <a:cubicBezTo>
                  <a:pt x="635" y="8898"/>
                  <a:pt x="468" y="8541"/>
                  <a:pt x="456" y="8184"/>
                </a:cubicBezTo>
                <a:cubicBezTo>
                  <a:pt x="351" y="5941"/>
                  <a:pt x="2322" y="3959"/>
                  <a:pt x="4468" y="3959"/>
                </a:cubicBezTo>
                <a:cubicBezTo>
                  <a:pt x="4749" y="3959"/>
                  <a:pt x="5032" y="3993"/>
                  <a:pt x="5314" y="4064"/>
                </a:cubicBezTo>
                <a:lnTo>
                  <a:pt x="7576" y="6327"/>
                </a:lnTo>
                <a:cubicBezTo>
                  <a:pt x="8029" y="8196"/>
                  <a:pt x="6838" y="10220"/>
                  <a:pt x="4969" y="10934"/>
                </a:cubicBezTo>
                <a:cubicBezTo>
                  <a:pt x="4874" y="10970"/>
                  <a:pt x="4838" y="11065"/>
                  <a:pt x="4862" y="11160"/>
                </a:cubicBezTo>
                <a:cubicBezTo>
                  <a:pt x="4891" y="11229"/>
                  <a:pt x="4961" y="11274"/>
                  <a:pt x="5038" y="11274"/>
                </a:cubicBezTo>
                <a:cubicBezTo>
                  <a:pt x="5055" y="11274"/>
                  <a:pt x="5071" y="11272"/>
                  <a:pt x="5088" y="11268"/>
                </a:cubicBezTo>
                <a:cubicBezTo>
                  <a:pt x="6945" y="10553"/>
                  <a:pt x="8195" y="8624"/>
                  <a:pt x="7969" y="6696"/>
                </a:cubicBezTo>
                <a:lnTo>
                  <a:pt x="7969" y="6696"/>
                </a:lnTo>
                <a:cubicBezTo>
                  <a:pt x="8027" y="6722"/>
                  <a:pt x="8084" y="6735"/>
                  <a:pt x="8140" y="6735"/>
                </a:cubicBezTo>
                <a:cubicBezTo>
                  <a:pt x="8257" y="6735"/>
                  <a:pt x="8365" y="6681"/>
                  <a:pt x="8445" y="6600"/>
                </a:cubicBezTo>
                <a:lnTo>
                  <a:pt x="8803" y="6243"/>
                </a:lnTo>
                <a:cubicBezTo>
                  <a:pt x="8969" y="6088"/>
                  <a:pt x="8969" y="5815"/>
                  <a:pt x="8803" y="5648"/>
                </a:cubicBezTo>
                <a:lnTo>
                  <a:pt x="8172" y="5017"/>
                </a:lnTo>
                <a:lnTo>
                  <a:pt x="11446" y="1290"/>
                </a:lnTo>
                <a:cubicBezTo>
                  <a:pt x="11708" y="981"/>
                  <a:pt x="11696" y="516"/>
                  <a:pt x="11410" y="219"/>
                </a:cubicBezTo>
                <a:cubicBezTo>
                  <a:pt x="11261" y="76"/>
                  <a:pt x="11067" y="1"/>
                  <a:pt x="1086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23" name="Google Shape;10523;p59"/>
          <p:cNvGrpSpPr/>
          <p:nvPr/>
        </p:nvGrpSpPr>
        <p:grpSpPr>
          <a:xfrm>
            <a:off x="6649231" y="1500021"/>
            <a:ext cx="390287" cy="367065"/>
            <a:chOff x="6649231" y="1500021"/>
            <a:chExt cx="390287" cy="367065"/>
          </a:xfrm>
        </p:grpSpPr>
        <p:sp>
          <p:nvSpPr>
            <p:cNvPr id="10524" name="Google Shape;10524;p59"/>
            <p:cNvSpPr/>
            <p:nvPr/>
          </p:nvSpPr>
          <p:spPr>
            <a:xfrm>
              <a:off x="6649231" y="1500021"/>
              <a:ext cx="390287" cy="367065"/>
            </a:xfrm>
            <a:custGeom>
              <a:avLst/>
              <a:gdLst/>
              <a:ahLst/>
              <a:cxnLst/>
              <a:rect l="l" t="t" r="r" b="b"/>
              <a:pathLst>
                <a:path w="12252" h="11523" extrusionOk="0">
                  <a:moveTo>
                    <a:pt x="2393" y="6022"/>
                  </a:moveTo>
                  <a:lnTo>
                    <a:pt x="5775" y="9391"/>
                  </a:lnTo>
                  <a:lnTo>
                    <a:pt x="4691" y="10487"/>
                  </a:lnTo>
                  <a:cubicBezTo>
                    <a:pt x="4221" y="10951"/>
                    <a:pt x="3611" y="11183"/>
                    <a:pt x="3000" y="11183"/>
                  </a:cubicBezTo>
                  <a:cubicBezTo>
                    <a:pt x="2390" y="11183"/>
                    <a:pt x="1780" y="10951"/>
                    <a:pt x="1310" y="10487"/>
                  </a:cubicBezTo>
                  <a:cubicBezTo>
                    <a:pt x="369" y="9546"/>
                    <a:pt x="369" y="8046"/>
                    <a:pt x="1310" y="7105"/>
                  </a:cubicBezTo>
                  <a:lnTo>
                    <a:pt x="2393" y="6022"/>
                  </a:lnTo>
                  <a:close/>
                  <a:moveTo>
                    <a:pt x="3000" y="331"/>
                  </a:moveTo>
                  <a:cubicBezTo>
                    <a:pt x="3608" y="331"/>
                    <a:pt x="4203" y="557"/>
                    <a:pt x="4667" y="1021"/>
                  </a:cubicBezTo>
                  <a:lnTo>
                    <a:pt x="10763" y="7105"/>
                  </a:lnTo>
                  <a:cubicBezTo>
                    <a:pt x="11680" y="8046"/>
                    <a:pt x="11680" y="9546"/>
                    <a:pt x="10763" y="10463"/>
                  </a:cubicBezTo>
                  <a:lnTo>
                    <a:pt x="10728" y="10499"/>
                  </a:lnTo>
                  <a:cubicBezTo>
                    <a:pt x="10263" y="10957"/>
                    <a:pt x="9656" y="11186"/>
                    <a:pt x="9050" y="11186"/>
                  </a:cubicBezTo>
                  <a:cubicBezTo>
                    <a:pt x="8445" y="11186"/>
                    <a:pt x="7840" y="10957"/>
                    <a:pt x="7382" y="10499"/>
                  </a:cubicBezTo>
                  <a:lnTo>
                    <a:pt x="1286" y="4415"/>
                  </a:lnTo>
                  <a:cubicBezTo>
                    <a:pt x="369" y="3486"/>
                    <a:pt x="369" y="1986"/>
                    <a:pt x="1286" y="1057"/>
                  </a:cubicBezTo>
                  <a:cubicBezTo>
                    <a:pt x="1310" y="1045"/>
                    <a:pt x="1929" y="331"/>
                    <a:pt x="3000" y="331"/>
                  </a:cubicBezTo>
                  <a:close/>
                  <a:moveTo>
                    <a:pt x="2999" y="0"/>
                  </a:moveTo>
                  <a:cubicBezTo>
                    <a:pt x="2307" y="0"/>
                    <a:pt x="1613" y="265"/>
                    <a:pt x="1084" y="795"/>
                  </a:cubicBezTo>
                  <a:lnTo>
                    <a:pt x="1060" y="819"/>
                  </a:lnTo>
                  <a:cubicBezTo>
                    <a:pt x="0" y="1879"/>
                    <a:pt x="0" y="3593"/>
                    <a:pt x="1060" y="4641"/>
                  </a:cubicBezTo>
                  <a:lnTo>
                    <a:pt x="2167" y="5760"/>
                  </a:lnTo>
                  <a:lnTo>
                    <a:pt x="1084" y="6855"/>
                  </a:lnTo>
                  <a:cubicBezTo>
                    <a:pt x="24" y="7903"/>
                    <a:pt x="24" y="9653"/>
                    <a:pt x="1084" y="10701"/>
                  </a:cubicBezTo>
                  <a:cubicBezTo>
                    <a:pt x="1613" y="11231"/>
                    <a:pt x="2313" y="11496"/>
                    <a:pt x="3012" y="11496"/>
                  </a:cubicBezTo>
                  <a:cubicBezTo>
                    <a:pt x="3712" y="11496"/>
                    <a:pt x="4411" y="11231"/>
                    <a:pt x="4941" y="10701"/>
                  </a:cubicBezTo>
                  <a:lnTo>
                    <a:pt x="6025" y="9618"/>
                  </a:lnTo>
                  <a:lnTo>
                    <a:pt x="7144" y="10737"/>
                  </a:lnTo>
                  <a:cubicBezTo>
                    <a:pt x="7674" y="11261"/>
                    <a:pt x="8364" y="11523"/>
                    <a:pt x="9055" y="11523"/>
                  </a:cubicBezTo>
                  <a:cubicBezTo>
                    <a:pt x="9745" y="11523"/>
                    <a:pt x="10436" y="11261"/>
                    <a:pt x="10966" y="10737"/>
                  </a:cubicBezTo>
                  <a:lnTo>
                    <a:pt x="11001" y="10701"/>
                  </a:lnTo>
                  <a:cubicBezTo>
                    <a:pt x="12037" y="9653"/>
                    <a:pt x="12037" y="7939"/>
                    <a:pt x="11001" y="6879"/>
                  </a:cubicBezTo>
                  <a:lnTo>
                    <a:pt x="6263" y="2141"/>
                  </a:lnTo>
                  <a:lnTo>
                    <a:pt x="7370" y="1045"/>
                  </a:lnTo>
                  <a:cubicBezTo>
                    <a:pt x="7811" y="593"/>
                    <a:pt x="8418" y="343"/>
                    <a:pt x="9049" y="343"/>
                  </a:cubicBezTo>
                  <a:cubicBezTo>
                    <a:pt x="11156" y="343"/>
                    <a:pt x="12252" y="2914"/>
                    <a:pt x="10728" y="4427"/>
                  </a:cubicBezTo>
                  <a:lnTo>
                    <a:pt x="9989" y="5165"/>
                  </a:lnTo>
                  <a:cubicBezTo>
                    <a:pt x="9882" y="5272"/>
                    <a:pt x="9954" y="5451"/>
                    <a:pt x="10108" y="5451"/>
                  </a:cubicBezTo>
                  <a:cubicBezTo>
                    <a:pt x="10228" y="5451"/>
                    <a:pt x="10204" y="5391"/>
                    <a:pt x="10966" y="4641"/>
                  </a:cubicBezTo>
                  <a:cubicBezTo>
                    <a:pt x="11490" y="4129"/>
                    <a:pt x="11775" y="3450"/>
                    <a:pt x="11775" y="2724"/>
                  </a:cubicBezTo>
                  <a:cubicBezTo>
                    <a:pt x="11775" y="1224"/>
                    <a:pt x="10549" y="9"/>
                    <a:pt x="9049" y="9"/>
                  </a:cubicBezTo>
                  <a:cubicBezTo>
                    <a:pt x="8323" y="9"/>
                    <a:pt x="7632" y="283"/>
                    <a:pt x="7132" y="807"/>
                  </a:cubicBezTo>
                  <a:lnTo>
                    <a:pt x="6025" y="1914"/>
                  </a:lnTo>
                  <a:lnTo>
                    <a:pt x="4905" y="795"/>
                  </a:lnTo>
                  <a:cubicBezTo>
                    <a:pt x="4382" y="265"/>
                    <a:pt x="3691" y="0"/>
                    <a:pt x="29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5" name="Google Shape;10525;p59"/>
            <p:cNvSpPr/>
            <p:nvPr/>
          </p:nvSpPr>
          <p:spPr>
            <a:xfrm>
              <a:off x="6759194" y="1602435"/>
              <a:ext cx="161983" cy="161409"/>
            </a:xfrm>
            <a:custGeom>
              <a:avLst/>
              <a:gdLst/>
              <a:ahLst/>
              <a:cxnLst/>
              <a:rect l="l" t="t" r="r" b="b"/>
              <a:pathLst>
                <a:path w="5085" h="5067" extrusionOk="0">
                  <a:moveTo>
                    <a:pt x="2192" y="0"/>
                  </a:moveTo>
                  <a:cubicBezTo>
                    <a:pt x="2147" y="0"/>
                    <a:pt x="2102" y="15"/>
                    <a:pt x="2073" y="45"/>
                  </a:cubicBezTo>
                  <a:lnTo>
                    <a:pt x="60" y="2057"/>
                  </a:lnTo>
                  <a:cubicBezTo>
                    <a:pt x="1" y="2116"/>
                    <a:pt x="1" y="2236"/>
                    <a:pt x="60" y="2295"/>
                  </a:cubicBezTo>
                  <a:lnTo>
                    <a:pt x="501" y="2747"/>
                  </a:lnTo>
                  <a:cubicBezTo>
                    <a:pt x="531" y="2771"/>
                    <a:pt x="575" y="2783"/>
                    <a:pt x="620" y="2783"/>
                  </a:cubicBezTo>
                  <a:cubicBezTo>
                    <a:pt x="665" y="2783"/>
                    <a:pt x="709" y="2771"/>
                    <a:pt x="739" y="2747"/>
                  </a:cubicBezTo>
                  <a:cubicBezTo>
                    <a:pt x="799" y="2688"/>
                    <a:pt x="799" y="2569"/>
                    <a:pt x="739" y="2497"/>
                  </a:cubicBezTo>
                  <a:lnTo>
                    <a:pt x="418" y="2176"/>
                  </a:lnTo>
                  <a:lnTo>
                    <a:pt x="2192" y="402"/>
                  </a:lnTo>
                  <a:lnTo>
                    <a:pt x="4668" y="2890"/>
                  </a:lnTo>
                  <a:lnTo>
                    <a:pt x="2906" y="4664"/>
                  </a:lnTo>
                  <a:lnTo>
                    <a:pt x="1322" y="3081"/>
                  </a:lnTo>
                  <a:cubicBezTo>
                    <a:pt x="1293" y="3051"/>
                    <a:pt x="1248" y="3036"/>
                    <a:pt x="1203" y="3036"/>
                  </a:cubicBezTo>
                  <a:cubicBezTo>
                    <a:pt x="1159" y="3036"/>
                    <a:pt x="1114" y="3051"/>
                    <a:pt x="1084" y="3081"/>
                  </a:cubicBezTo>
                  <a:cubicBezTo>
                    <a:pt x="1025" y="3140"/>
                    <a:pt x="1025" y="3259"/>
                    <a:pt x="1084" y="3319"/>
                  </a:cubicBezTo>
                  <a:lnTo>
                    <a:pt x="2787" y="5022"/>
                  </a:lnTo>
                  <a:cubicBezTo>
                    <a:pt x="2817" y="5051"/>
                    <a:pt x="2861" y="5066"/>
                    <a:pt x="2906" y="5066"/>
                  </a:cubicBezTo>
                  <a:cubicBezTo>
                    <a:pt x="2951" y="5066"/>
                    <a:pt x="2995" y="5051"/>
                    <a:pt x="3025" y="5022"/>
                  </a:cubicBezTo>
                  <a:lnTo>
                    <a:pt x="5025" y="3009"/>
                  </a:lnTo>
                  <a:cubicBezTo>
                    <a:pt x="5085" y="2938"/>
                    <a:pt x="5085" y="2831"/>
                    <a:pt x="5025" y="2771"/>
                  </a:cubicBezTo>
                  <a:lnTo>
                    <a:pt x="2311" y="45"/>
                  </a:lnTo>
                  <a:cubicBezTo>
                    <a:pt x="2281" y="15"/>
                    <a:pt x="2236" y="0"/>
                    <a:pt x="2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6" name="Google Shape;10526;p59"/>
            <p:cNvSpPr/>
            <p:nvPr/>
          </p:nvSpPr>
          <p:spPr>
            <a:xfrm>
              <a:off x="6718229" y="1625179"/>
              <a:ext cx="15227" cy="14239"/>
            </a:xfrm>
            <a:custGeom>
              <a:avLst/>
              <a:gdLst/>
              <a:ahLst/>
              <a:cxnLst/>
              <a:rect l="l" t="t" r="r" b="b"/>
              <a:pathLst>
                <a:path w="478" h="447" extrusionOk="0">
                  <a:moveTo>
                    <a:pt x="180" y="0"/>
                  </a:moveTo>
                  <a:cubicBezTo>
                    <a:pt x="135" y="0"/>
                    <a:pt x="90" y="15"/>
                    <a:pt x="61" y="45"/>
                  </a:cubicBezTo>
                  <a:cubicBezTo>
                    <a:pt x="1" y="105"/>
                    <a:pt x="1" y="224"/>
                    <a:pt x="61" y="283"/>
                  </a:cubicBezTo>
                  <a:lnTo>
                    <a:pt x="180" y="402"/>
                  </a:lnTo>
                  <a:cubicBezTo>
                    <a:pt x="209" y="432"/>
                    <a:pt x="254" y="447"/>
                    <a:pt x="299" y="447"/>
                  </a:cubicBezTo>
                  <a:cubicBezTo>
                    <a:pt x="343" y="447"/>
                    <a:pt x="388" y="432"/>
                    <a:pt x="418" y="402"/>
                  </a:cubicBezTo>
                  <a:cubicBezTo>
                    <a:pt x="477" y="343"/>
                    <a:pt x="477" y="224"/>
                    <a:pt x="418" y="164"/>
                  </a:cubicBezTo>
                  <a:lnTo>
                    <a:pt x="299" y="45"/>
                  </a:ln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7" name="Google Shape;10527;p59"/>
            <p:cNvSpPr/>
            <p:nvPr/>
          </p:nvSpPr>
          <p:spPr>
            <a:xfrm>
              <a:off x="6712176" y="1588005"/>
              <a:ext cx="16533" cy="14048"/>
            </a:xfrm>
            <a:custGeom>
              <a:avLst/>
              <a:gdLst/>
              <a:ahLst/>
              <a:cxnLst/>
              <a:rect l="l" t="t" r="r" b="b"/>
              <a:pathLst>
                <a:path w="519" h="441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0" y="93"/>
                    <a:pt x="0" y="224"/>
                    <a:pt x="60" y="283"/>
                  </a:cubicBezTo>
                  <a:cubicBezTo>
                    <a:pt x="155" y="355"/>
                    <a:pt x="191" y="438"/>
                    <a:pt x="298" y="438"/>
                  </a:cubicBezTo>
                  <a:cubicBezTo>
                    <a:pt x="307" y="440"/>
                    <a:pt x="315" y="440"/>
                    <a:pt x="323" y="440"/>
                  </a:cubicBezTo>
                  <a:cubicBezTo>
                    <a:pt x="460" y="440"/>
                    <a:pt x="518" y="254"/>
                    <a:pt x="417" y="164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8" name="Google Shape;10528;p59"/>
            <p:cNvSpPr/>
            <p:nvPr/>
          </p:nvSpPr>
          <p:spPr>
            <a:xfrm>
              <a:off x="6744796" y="1555003"/>
              <a:ext cx="16628" cy="14367"/>
            </a:xfrm>
            <a:custGeom>
              <a:avLst/>
              <a:gdLst/>
              <a:ahLst/>
              <a:cxnLst/>
              <a:rect l="l" t="t" r="r" b="b"/>
              <a:pathLst>
                <a:path w="522" h="451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0" y="105"/>
                    <a:pt x="0" y="224"/>
                    <a:pt x="60" y="284"/>
                  </a:cubicBezTo>
                  <a:cubicBezTo>
                    <a:pt x="155" y="367"/>
                    <a:pt x="203" y="450"/>
                    <a:pt x="298" y="450"/>
                  </a:cubicBezTo>
                  <a:cubicBezTo>
                    <a:pt x="303" y="451"/>
                    <a:pt x="307" y="451"/>
                    <a:pt x="312" y="451"/>
                  </a:cubicBezTo>
                  <a:cubicBezTo>
                    <a:pt x="457" y="451"/>
                    <a:pt x="521" y="268"/>
                    <a:pt x="417" y="165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9" name="Google Shape;10529;p59"/>
            <p:cNvSpPr/>
            <p:nvPr/>
          </p:nvSpPr>
          <p:spPr>
            <a:xfrm>
              <a:off x="6750115" y="1593707"/>
              <a:ext cx="15577" cy="13952"/>
            </a:xfrm>
            <a:custGeom>
              <a:avLst/>
              <a:gdLst/>
              <a:ahLst/>
              <a:cxnLst/>
              <a:rect l="l" t="t" r="r" b="b"/>
              <a:pathLst>
                <a:path w="489" h="438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93"/>
                    <a:pt x="0" y="212"/>
                    <a:pt x="60" y="283"/>
                  </a:cubicBezTo>
                  <a:cubicBezTo>
                    <a:pt x="155" y="354"/>
                    <a:pt x="191" y="438"/>
                    <a:pt x="298" y="438"/>
                  </a:cubicBezTo>
                  <a:cubicBezTo>
                    <a:pt x="345" y="438"/>
                    <a:pt x="393" y="426"/>
                    <a:pt x="417" y="402"/>
                  </a:cubicBezTo>
                  <a:cubicBezTo>
                    <a:pt x="488" y="319"/>
                    <a:pt x="488" y="212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0" name="Google Shape;10530;p59"/>
            <p:cNvSpPr/>
            <p:nvPr/>
          </p:nvSpPr>
          <p:spPr>
            <a:xfrm>
              <a:off x="6782353" y="1561852"/>
              <a:ext cx="16692" cy="14335"/>
            </a:xfrm>
            <a:custGeom>
              <a:avLst/>
              <a:gdLst/>
              <a:ahLst/>
              <a:cxnLst/>
              <a:rect l="l" t="t" r="r" b="b"/>
              <a:pathLst>
                <a:path w="524" h="450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155" y="354"/>
                    <a:pt x="179" y="450"/>
                    <a:pt x="298" y="450"/>
                  </a:cubicBezTo>
                  <a:cubicBezTo>
                    <a:pt x="453" y="450"/>
                    <a:pt x="524" y="271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1" name="Google Shape;10531;p59"/>
            <p:cNvSpPr/>
            <p:nvPr/>
          </p:nvSpPr>
          <p:spPr>
            <a:xfrm>
              <a:off x="6884735" y="1791686"/>
              <a:ext cx="15227" cy="14239"/>
            </a:xfrm>
            <a:custGeom>
              <a:avLst/>
              <a:gdLst/>
              <a:ahLst/>
              <a:cxnLst/>
              <a:rect l="l" t="t" r="r" b="b"/>
              <a:pathLst>
                <a:path w="478" h="447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4"/>
                    <a:pt x="60" y="283"/>
                  </a:cubicBezTo>
                  <a:lnTo>
                    <a:pt x="179" y="402"/>
                  </a:lnTo>
                  <a:cubicBezTo>
                    <a:pt x="209" y="432"/>
                    <a:pt x="254" y="447"/>
                    <a:pt x="298" y="447"/>
                  </a:cubicBezTo>
                  <a:cubicBezTo>
                    <a:pt x="343" y="447"/>
                    <a:pt x="388" y="432"/>
                    <a:pt x="418" y="402"/>
                  </a:cubicBezTo>
                  <a:cubicBezTo>
                    <a:pt x="477" y="343"/>
                    <a:pt x="477" y="224"/>
                    <a:pt x="418" y="164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2" name="Google Shape;10532;p59"/>
            <p:cNvSpPr/>
            <p:nvPr/>
          </p:nvSpPr>
          <p:spPr>
            <a:xfrm>
              <a:off x="6922292" y="1797738"/>
              <a:ext cx="15195" cy="14271"/>
            </a:xfrm>
            <a:custGeom>
              <a:avLst/>
              <a:gdLst/>
              <a:ahLst/>
              <a:cxnLst/>
              <a:rect l="l" t="t" r="r" b="b"/>
              <a:pathLst>
                <a:path w="477" h="448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1" y="105"/>
                    <a:pt x="1" y="224"/>
                    <a:pt x="60" y="284"/>
                  </a:cubicBezTo>
                  <a:lnTo>
                    <a:pt x="179" y="403"/>
                  </a:lnTo>
                  <a:cubicBezTo>
                    <a:pt x="209" y="432"/>
                    <a:pt x="254" y="447"/>
                    <a:pt x="298" y="447"/>
                  </a:cubicBezTo>
                  <a:cubicBezTo>
                    <a:pt x="343" y="447"/>
                    <a:pt x="387" y="432"/>
                    <a:pt x="417" y="403"/>
                  </a:cubicBezTo>
                  <a:cubicBezTo>
                    <a:pt x="477" y="343"/>
                    <a:pt x="477" y="224"/>
                    <a:pt x="417" y="165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3" name="Google Shape;10533;p59"/>
            <p:cNvSpPr/>
            <p:nvPr/>
          </p:nvSpPr>
          <p:spPr>
            <a:xfrm>
              <a:off x="6954911" y="1765118"/>
              <a:ext cx="15195" cy="14271"/>
            </a:xfrm>
            <a:custGeom>
              <a:avLst/>
              <a:gdLst/>
              <a:ahLst/>
              <a:cxnLst/>
              <a:rect l="l" t="t" r="r" b="b"/>
              <a:pathLst>
                <a:path w="477" h="448" extrusionOk="0">
                  <a:moveTo>
                    <a:pt x="179" y="1"/>
                  </a:moveTo>
                  <a:cubicBezTo>
                    <a:pt x="134" y="1"/>
                    <a:pt x="90" y="16"/>
                    <a:pt x="60" y="46"/>
                  </a:cubicBezTo>
                  <a:cubicBezTo>
                    <a:pt x="0" y="105"/>
                    <a:pt x="0" y="224"/>
                    <a:pt x="60" y="284"/>
                  </a:cubicBezTo>
                  <a:lnTo>
                    <a:pt x="179" y="403"/>
                  </a:lnTo>
                  <a:cubicBezTo>
                    <a:pt x="209" y="432"/>
                    <a:pt x="253" y="447"/>
                    <a:pt x="298" y="447"/>
                  </a:cubicBezTo>
                  <a:cubicBezTo>
                    <a:pt x="343" y="447"/>
                    <a:pt x="387" y="432"/>
                    <a:pt x="417" y="403"/>
                  </a:cubicBezTo>
                  <a:cubicBezTo>
                    <a:pt x="477" y="343"/>
                    <a:pt x="477" y="224"/>
                    <a:pt x="417" y="165"/>
                  </a:cubicBezTo>
                  <a:lnTo>
                    <a:pt x="298" y="46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4" name="Google Shape;10534;p59"/>
            <p:cNvSpPr/>
            <p:nvPr/>
          </p:nvSpPr>
          <p:spPr>
            <a:xfrm>
              <a:off x="6916590" y="1759831"/>
              <a:ext cx="16724" cy="14335"/>
            </a:xfrm>
            <a:custGeom>
              <a:avLst/>
              <a:gdLst/>
              <a:ahLst/>
              <a:cxnLst/>
              <a:rect l="l" t="t" r="r" b="b"/>
              <a:pathLst>
                <a:path w="525" h="450" extrusionOk="0">
                  <a:moveTo>
                    <a:pt x="180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cubicBezTo>
                    <a:pt x="144" y="366"/>
                    <a:pt x="191" y="450"/>
                    <a:pt x="299" y="450"/>
                  </a:cubicBezTo>
                  <a:cubicBezTo>
                    <a:pt x="441" y="450"/>
                    <a:pt x="525" y="271"/>
                    <a:pt x="418" y="164"/>
                  </a:cubicBezTo>
                  <a:lnTo>
                    <a:pt x="299" y="45"/>
                  </a:ln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5" name="Google Shape;10535;p59"/>
            <p:cNvSpPr/>
            <p:nvPr/>
          </p:nvSpPr>
          <p:spPr>
            <a:xfrm>
              <a:off x="6948477" y="1727593"/>
              <a:ext cx="16979" cy="14367"/>
            </a:xfrm>
            <a:custGeom>
              <a:avLst/>
              <a:gdLst/>
              <a:ahLst/>
              <a:cxnLst/>
              <a:rect l="l" t="t" r="r" b="b"/>
              <a:pathLst>
                <a:path w="533" h="451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143" y="366"/>
                    <a:pt x="191" y="450"/>
                    <a:pt x="298" y="450"/>
                  </a:cubicBezTo>
                  <a:cubicBezTo>
                    <a:pt x="302" y="450"/>
                    <a:pt x="306" y="450"/>
                    <a:pt x="310" y="450"/>
                  </a:cubicBezTo>
                  <a:cubicBezTo>
                    <a:pt x="446" y="450"/>
                    <a:pt x="532" y="268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36" name="Google Shape;10536;p59"/>
          <p:cNvGrpSpPr/>
          <p:nvPr/>
        </p:nvGrpSpPr>
        <p:grpSpPr>
          <a:xfrm>
            <a:off x="5746938" y="1543503"/>
            <a:ext cx="387261" cy="280356"/>
            <a:chOff x="5746938" y="1543503"/>
            <a:chExt cx="387261" cy="280356"/>
          </a:xfrm>
        </p:grpSpPr>
        <p:sp>
          <p:nvSpPr>
            <p:cNvPr id="10537" name="Google Shape;10537;p59"/>
            <p:cNvSpPr/>
            <p:nvPr/>
          </p:nvSpPr>
          <p:spPr>
            <a:xfrm>
              <a:off x="5746938" y="1543503"/>
              <a:ext cx="186256" cy="279591"/>
            </a:xfrm>
            <a:custGeom>
              <a:avLst/>
              <a:gdLst/>
              <a:ahLst/>
              <a:cxnLst/>
              <a:rect l="l" t="t" r="r" b="b"/>
              <a:pathLst>
                <a:path w="5847" h="8777" extrusionOk="0">
                  <a:moveTo>
                    <a:pt x="2712" y="1"/>
                  </a:moveTo>
                  <a:cubicBezTo>
                    <a:pt x="2459" y="1"/>
                    <a:pt x="2198" y="57"/>
                    <a:pt x="1941" y="180"/>
                  </a:cubicBezTo>
                  <a:cubicBezTo>
                    <a:pt x="1846" y="228"/>
                    <a:pt x="1822" y="335"/>
                    <a:pt x="1857" y="406"/>
                  </a:cubicBezTo>
                  <a:cubicBezTo>
                    <a:pt x="1889" y="470"/>
                    <a:pt x="1947" y="502"/>
                    <a:pt x="2004" y="502"/>
                  </a:cubicBezTo>
                  <a:cubicBezTo>
                    <a:pt x="2032" y="502"/>
                    <a:pt x="2060" y="494"/>
                    <a:pt x="2084" y="478"/>
                  </a:cubicBezTo>
                  <a:cubicBezTo>
                    <a:pt x="2292" y="377"/>
                    <a:pt x="2506" y="331"/>
                    <a:pt x="2712" y="331"/>
                  </a:cubicBezTo>
                  <a:cubicBezTo>
                    <a:pt x="3746" y="331"/>
                    <a:pt x="4616" y="1478"/>
                    <a:pt x="3882" y="2609"/>
                  </a:cubicBezTo>
                  <a:cubicBezTo>
                    <a:pt x="3751" y="2823"/>
                    <a:pt x="3751" y="3085"/>
                    <a:pt x="3882" y="3312"/>
                  </a:cubicBezTo>
                  <a:cubicBezTo>
                    <a:pt x="3989" y="3490"/>
                    <a:pt x="3989" y="3728"/>
                    <a:pt x="3882" y="3907"/>
                  </a:cubicBezTo>
                  <a:cubicBezTo>
                    <a:pt x="3751" y="4109"/>
                    <a:pt x="3739" y="4383"/>
                    <a:pt x="3905" y="4633"/>
                  </a:cubicBezTo>
                  <a:cubicBezTo>
                    <a:pt x="4108" y="4967"/>
                    <a:pt x="4203" y="5359"/>
                    <a:pt x="4108" y="5752"/>
                  </a:cubicBezTo>
                  <a:cubicBezTo>
                    <a:pt x="3962" y="6482"/>
                    <a:pt x="3341" y="6887"/>
                    <a:pt x="2712" y="6887"/>
                  </a:cubicBezTo>
                  <a:cubicBezTo>
                    <a:pt x="2264" y="6887"/>
                    <a:pt x="1811" y="6682"/>
                    <a:pt x="1524" y="6241"/>
                  </a:cubicBezTo>
                  <a:cubicBezTo>
                    <a:pt x="393" y="4562"/>
                    <a:pt x="357" y="2704"/>
                    <a:pt x="1524" y="954"/>
                  </a:cubicBezTo>
                  <a:cubicBezTo>
                    <a:pt x="1560" y="883"/>
                    <a:pt x="1548" y="776"/>
                    <a:pt x="1476" y="716"/>
                  </a:cubicBezTo>
                  <a:cubicBezTo>
                    <a:pt x="1451" y="703"/>
                    <a:pt x="1421" y="697"/>
                    <a:pt x="1390" y="697"/>
                  </a:cubicBezTo>
                  <a:cubicBezTo>
                    <a:pt x="1334" y="697"/>
                    <a:pt x="1276" y="718"/>
                    <a:pt x="1238" y="764"/>
                  </a:cubicBezTo>
                  <a:cubicBezTo>
                    <a:pt x="48" y="2562"/>
                    <a:pt x="0" y="4562"/>
                    <a:pt x="1238" y="6419"/>
                  </a:cubicBezTo>
                  <a:cubicBezTo>
                    <a:pt x="1594" y="6958"/>
                    <a:pt x="2149" y="7209"/>
                    <a:pt x="2700" y="7209"/>
                  </a:cubicBezTo>
                  <a:cubicBezTo>
                    <a:pt x="3477" y="7209"/>
                    <a:pt x="4246" y="6710"/>
                    <a:pt x="4441" y="5812"/>
                  </a:cubicBezTo>
                  <a:cubicBezTo>
                    <a:pt x="4524" y="5348"/>
                    <a:pt x="4453" y="4871"/>
                    <a:pt x="4167" y="4407"/>
                  </a:cubicBezTo>
                  <a:cubicBezTo>
                    <a:pt x="4108" y="4312"/>
                    <a:pt x="4108" y="4169"/>
                    <a:pt x="4167" y="4074"/>
                  </a:cubicBezTo>
                  <a:cubicBezTo>
                    <a:pt x="4215" y="3990"/>
                    <a:pt x="4239" y="3919"/>
                    <a:pt x="4274" y="3847"/>
                  </a:cubicBezTo>
                  <a:lnTo>
                    <a:pt x="4477" y="3847"/>
                  </a:lnTo>
                  <a:cubicBezTo>
                    <a:pt x="5060" y="3847"/>
                    <a:pt x="5525" y="4312"/>
                    <a:pt x="5525" y="4883"/>
                  </a:cubicBezTo>
                  <a:lnTo>
                    <a:pt x="5525" y="8610"/>
                  </a:lnTo>
                  <a:cubicBezTo>
                    <a:pt x="5525" y="8693"/>
                    <a:pt x="5596" y="8777"/>
                    <a:pt x="5691" y="8777"/>
                  </a:cubicBezTo>
                  <a:cubicBezTo>
                    <a:pt x="5775" y="8777"/>
                    <a:pt x="5846" y="8693"/>
                    <a:pt x="5846" y="8610"/>
                  </a:cubicBezTo>
                  <a:lnTo>
                    <a:pt x="5846" y="4883"/>
                  </a:lnTo>
                  <a:cubicBezTo>
                    <a:pt x="5834" y="4240"/>
                    <a:pt x="5346" y="3681"/>
                    <a:pt x="4703" y="3550"/>
                  </a:cubicBezTo>
                  <a:cubicBezTo>
                    <a:pt x="5120" y="3419"/>
                    <a:pt x="5429" y="2966"/>
                    <a:pt x="5429" y="2454"/>
                  </a:cubicBezTo>
                  <a:lnTo>
                    <a:pt x="5429" y="2228"/>
                  </a:lnTo>
                  <a:cubicBezTo>
                    <a:pt x="5429" y="2133"/>
                    <a:pt x="5358" y="2061"/>
                    <a:pt x="5275" y="2061"/>
                  </a:cubicBezTo>
                  <a:cubicBezTo>
                    <a:pt x="5179" y="2061"/>
                    <a:pt x="5108" y="2133"/>
                    <a:pt x="5108" y="2228"/>
                  </a:cubicBezTo>
                  <a:lnTo>
                    <a:pt x="5108" y="2454"/>
                  </a:lnTo>
                  <a:cubicBezTo>
                    <a:pt x="5108" y="2895"/>
                    <a:pt x="4810" y="3264"/>
                    <a:pt x="4453" y="3264"/>
                  </a:cubicBezTo>
                  <a:lnTo>
                    <a:pt x="4215" y="3264"/>
                  </a:lnTo>
                  <a:cubicBezTo>
                    <a:pt x="4203" y="3228"/>
                    <a:pt x="4179" y="3181"/>
                    <a:pt x="4167" y="3145"/>
                  </a:cubicBezTo>
                  <a:cubicBezTo>
                    <a:pt x="4108" y="3050"/>
                    <a:pt x="4096" y="2907"/>
                    <a:pt x="4167" y="2812"/>
                  </a:cubicBezTo>
                  <a:cubicBezTo>
                    <a:pt x="5052" y="1439"/>
                    <a:pt x="3994" y="1"/>
                    <a:pt x="27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8" name="Google Shape;10538;p59"/>
            <p:cNvSpPr/>
            <p:nvPr/>
          </p:nvSpPr>
          <p:spPr>
            <a:xfrm>
              <a:off x="5949090" y="1543949"/>
              <a:ext cx="185109" cy="279910"/>
            </a:xfrm>
            <a:custGeom>
              <a:avLst/>
              <a:gdLst/>
              <a:ahLst/>
              <a:cxnLst/>
              <a:rect l="l" t="t" r="r" b="b"/>
              <a:pathLst>
                <a:path w="5811" h="8787" extrusionOk="0">
                  <a:moveTo>
                    <a:pt x="3104" y="0"/>
                  </a:moveTo>
                  <a:cubicBezTo>
                    <a:pt x="1830" y="0"/>
                    <a:pt x="786" y="1434"/>
                    <a:pt x="1667" y="2809"/>
                  </a:cubicBezTo>
                  <a:cubicBezTo>
                    <a:pt x="1727" y="2917"/>
                    <a:pt x="1727" y="3048"/>
                    <a:pt x="1667" y="3155"/>
                  </a:cubicBezTo>
                  <a:cubicBezTo>
                    <a:pt x="1643" y="3179"/>
                    <a:pt x="1631" y="3226"/>
                    <a:pt x="1619" y="3274"/>
                  </a:cubicBezTo>
                  <a:lnTo>
                    <a:pt x="1381" y="3274"/>
                  </a:lnTo>
                  <a:cubicBezTo>
                    <a:pt x="1024" y="3274"/>
                    <a:pt x="726" y="2893"/>
                    <a:pt x="726" y="2452"/>
                  </a:cubicBezTo>
                  <a:lnTo>
                    <a:pt x="726" y="2226"/>
                  </a:lnTo>
                  <a:cubicBezTo>
                    <a:pt x="726" y="2143"/>
                    <a:pt x="655" y="2059"/>
                    <a:pt x="560" y="2059"/>
                  </a:cubicBezTo>
                  <a:cubicBezTo>
                    <a:pt x="476" y="2059"/>
                    <a:pt x="393" y="2143"/>
                    <a:pt x="393" y="2226"/>
                  </a:cubicBezTo>
                  <a:lnTo>
                    <a:pt x="393" y="2452"/>
                  </a:lnTo>
                  <a:cubicBezTo>
                    <a:pt x="393" y="2976"/>
                    <a:pt x="714" y="3417"/>
                    <a:pt x="1131" y="3548"/>
                  </a:cubicBezTo>
                  <a:cubicBezTo>
                    <a:pt x="488" y="3667"/>
                    <a:pt x="0" y="4238"/>
                    <a:pt x="0" y="4905"/>
                  </a:cubicBezTo>
                  <a:lnTo>
                    <a:pt x="0" y="8632"/>
                  </a:lnTo>
                  <a:cubicBezTo>
                    <a:pt x="0" y="8715"/>
                    <a:pt x="72" y="8786"/>
                    <a:pt x="155" y="8786"/>
                  </a:cubicBezTo>
                  <a:cubicBezTo>
                    <a:pt x="250" y="8786"/>
                    <a:pt x="322" y="8715"/>
                    <a:pt x="322" y="8632"/>
                  </a:cubicBezTo>
                  <a:lnTo>
                    <a:pt x="322" y="4905"/>
                  </a:lnTo>
                  <a:cubicBezTo>
                    <a:pt x="322" y="4322"/>
                    <a:pt x="786" y="3869"/>
                    <a:pt x="1369" y="3869"/>
                  </a:cubicBezTo>
                  <a:lnTo>
                    <a:pt x="1572" y="3869"/>
                  </a:lnTo>
                  <a:cubicBezTo>
                    <a:pt x="1584" y="3941"/>
                    <a:pt x="1631" y="4024"/>
                    <a:pt x="1679" y="4083"/>
                  </a:cubicBezTo>
                  <a:cubicBezTo>
                    <a:pt x="1738" y="4191"/>
                    <a:pt x="1750" y="4322"/>
                    <a:pt x="1667" y="4464"/>
                  </a:cubicBezTo>
                  <a:cubicBezTo>
                    <a:pt x="893" y="5631"/>
                    <a:pt x="1679" y="7227"/>
                    <a:pt x="3120" y="7227"/>
                  </a:cubicBezTo>
                  <a:cubicBezTo>
                    <a:pt x="3715" y="7227"/>
                    <a:pt x="4263" y="6929"/>
                    <a:pt x="4596" y="6441"/>
                  </a:cubicBezTo>
                  <a:cubicBezTo>
                    <a:pt x="5787" y="4643"/>
                    <a:pt x="5810" y="2643"/>
                    <a:pt x="4584" y="785"/>
                  </a:cubicBezTo>
                  <a:cubicBezTo>
                    <a:pt x="4553" y="739"/>
                    <a:pt x="4497" y="708"/>
                    <a:pt x="4439" y="708"/>
                  </a:cubicBezTo>
                  <a:cubicBezTo>
                    <a:pt x="4407" y="708"/>
                    <a:pt x="4375" y="717"/>
                    <a:pt x="4346" y="738"/>
                  </a:cubicBezTo>
                  <a:cubicBezTo>
                    <a:pt x="4263" y="785"/>
                    <a:pt x="4239" y="881"/>
                    <a:pt x="4298" y="976"/>
                  </a:cubicBezTo>
                  <a:cubicBezTo>
                    <a:pt x="5429" y="2667"/>
                    <a:pt x="5441" y="4524"/>
                    <a:pt x="4298" y="6262"/>
                  </a:cubicBezTo>
                  <a:cubicBezTo>
                    <a:pt x="4024" y="6667"/>
                    <a:pt x="3584" y="6905"/>
                    <a:pt x="3108" y="6905"/>
                  </a:cubicBezTo>
                  <a:cubicBezTo>
                    <a:pt x="1988" y="6905"/>
                    <a:pt x="1274" y="5667"/>
                    <a:pt x="1941" y="4619"/>
                  </a:cubicBezTo>
                  <a:cubicBezTo>
                    <a:pt x="2084" y="4417"/>
                    <a:pt x="2084" y="4131"/>
                    <a:pt x="1941" y="3905"/>
                  </a:cubicBezTo>
                  <a:cubicBezTo>
                    <a:pt x="1846" y="3726"/>
                    <a:pt x="1846" y="3488"/>
                    <a:pt x="1941" y="3310"/>
                  </a:cubicBezTo>
                  <a:cubicBezTo>
                    <a:pt x="2084" y="3095"/>
                    <a:pt x="2084" y="2821"/>
                    <a:pt x="1941" y="2619"/>
                  </a:cubicBezTo>
                  <a:cubicBezTo>
                    <a:pt x="1229" y="1492"/>
                    <a:pt x="2069" y="332"/>
                    <a:pt x="3103" y="332"/>
                  </a:cubicBezTo>
                  <a:cubicBezTo>
                    <a:pt x="3315" y="332"/>
                    <a:pt x="3534" y="381"/>
                    <a:pt x="3751" y="488"/>
                  </a:cubicBezTo>
                  <a:cubicBezTo>
                    <a:pt x="3774" y="501"/>
                    <a:pt x="3798" y="507"/>
                    <a:pt x="3822" y="507"/>
                  </a:cubicBezTo>
                  <a:cubicBezTo>
                    <a:pt x="3882" y="507"/>
                    <a:pt x="3939" y="468"/>
                    <a:pt x="3965" y="416"/>
                  </a:cubicBezTo>
                  <a:cubicBezTo>
                    <a:pt x="4013" y="321"/>
                    <a:pt x="3965" y="238"/>
                    <a:pt x="3893" y="190"/>
                  </a:cubicBezTo>
                  <a:cubicBezTo>
                    <a:pt x="3630" y="59"/>
                    <a:pt x="3362" y="0"/>
                    <a:pt x="31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39" name="Google Shape;10539;p59"/>
          <p:cNvGrpSpPr/>
          <p:nvPr/>
        </p:nvGrpSpPr>
        <p:grpSpPr>
          <a:xfrm>
            <a:off x="6196730" y="1525346"/>
            <a:ext cx="369072" cy="317467"/>
            <a:chOff x="6196730" y="1525346"/>
            <a:chExt cx="369072" cy="317467"/>
          </a:xfrm>
        </p:grpSpPr>
        <p:sp>
          <p:nvSpPr>
            <p:cNvPr id="10540" name="Google Shape;10540;p59"/>
            <p:cNvSpPr/>
            <p:nvPr/>
          </p:nvSpPr>
          <p:spPr>
            <a:xfrm>
              <a:off x="6285478" y="1697140"/>
              <a:ext cx="193870" cy="145673"/>
            </a:xfrm>
            <a:custGeom>
              <a:avLst/>
              <a:gdLst/>
              <a:ahLst/>
              <a:cxnLst/>
              <a:rect l="l" t="t" r="r" b="b"/>
              <a:pathLst>
                <a:path w="6086" h="4573" extrusionOk="0">
                  <a:moveTo>
                    <a:pt x="2972" y="1"/>
                  </a:moveTo>
                  <a:cubicBezTo>
                    <a:pt x="2790" y="1"/>
                    <a:pt x="2608" y="72"/>
                    <a:pt x="2477" y="215"/>
                  </a:cubicBezTo>
                  <a:cubicBezTo>
                    <a:pt x="1580" y="1144"/>
                    <a:pt x="674" y="1192"/>
                    <a:pt x="471" y="1192"/>
                  </a:cubicBezTo>
                  <a:cubicBezTo>
                    <a:pt x="447" y="1192"/>
                    <a:pt x="433" y="1191"/>
                    <a:pt x="430" y="1191"/>
                  </a:cubicBezTo>
                  <a:cubicBezTo>
                    <a:pt x="346" y="1191"/>
                    <a:pt x="275" y="1275"/>
                    <a:pt x="275" y="1358"/>
                  </a:cubicBezTo>
                  <a:cubicBezTo>
                    <a:pt x="275" y="1453"/>
                    <a:pt x="346" y="1525"/>
                    <a:pt x="430" y="1525"/>
                  </a:cubicBezTo>
                  <a:cubicBezTo>
                    <a:pt x="430" y="1525"/>
                    <a:pt x="608" y="1525"/>
                    <a:pt x="846" y="1501"/>
                  </a:cubicBezTo>
                  <a:lnTo>
                    <a:pt x="846" y="1501"/>
                  </a:lnTo>
                  <a:cubicBezTo>
                    <a:pt x="822" y="1691"/>
                    <a:pt x="751" y="1953"/>
                    <a:pt x="465" y="2037"/>
                  </a:cubicBezTo>
                  <a:cubicBezTo>
                    <a:pt x="268" y="2070"/>
                    <a:pt x="303" y="2365"/>
                    <a:pt x="486" y="2365"/>
                  </a:cubicBezTo>
                  <a:cubicBezTo>
                    <a:pt x="502" y="2365"/>
                    <a:pt x="519" y="2363"/>
                    <a:pt x="537" y="2358"/>
                  </a:cubicBezTo>
                  <a:cubicBezTo>
                    <a:pt x="1025" y="2239"/>
                    <a:pt x="1180" y="1751"/>
                    <a:pt x="1203" y="1418"/>
                  </a:cubicBezTo>
                  <a:cubicBezTo>
                    <a:pt x="1346" y="1382"/>
                    <a:pt x="1489" y="1334"/>
                    <a:pt x="1620" y="1275"/>
                  </a:cubicBezTo>
                  <a:cubicBezTo>
                    <a:pt x="1620" y="1275"/>
                    <a:pt x="1906" y="1120"/>
                    <a:pt x="1954" y="1096"/>
                  </a:cubicBezTo>
                  <a:cubicBezTo>
                    <a:pt x="2044" y="2566"/>
                    <a:pt x="2059" y="2743"/>
                    <a:pt x="2061" y="2760"/>
                  </a:cubicBezTo>
                  <a:lnTo>
                    <a:pt x="2061" y="2760"/>
                  </a:lnTo>
                  <a:cubicBezTo>
                    <a:pt x="2061" y="2760"/>
                    <a:pt x="2061" y="2761"/>
                    <a:pt x="2061" y="2763"/>
                  </a:cubicBezTo>
                  <a:cubicBezTo>
                    <a:pt x="2120" y="3549"/>
                    <a:pt x="1501" y="4239"/>
                    <a:pt x="703" y="4239"/>
                  </a:cubicBezTo>
                  <a:lnTo>
                    <a:pt x="168" y="4239"/>
                  </a:lnTo>
                  <a:cubicBezTo>
                    <a:pt x="72" y="4239"/>
                    <a:pt x="1" y="4311"/>
                    <a:pt x="1" y="4394"/>
                  </a:cubicBezTo>
                  <a:cubicBezTo>
                    <a:pt x="1" y="4489"/>
                    <a:pt x="72" y="4561"/>
                    <a:pt x="168" y="4561"/>
                  </a:cubicBezTo>
                  <a:lnTo>
                    <a:pt x="703" y="4561"/>
                  </a:lnTo>
                  <a:cubicBezTo>
                    <a:pt x="1680" y="4561"/>
                    <a:pt x="2477" y="3715"/>
                    <a:pt x="2394" y="2727"/>
                  </a:cubicBezTo>
                  <a:lnTo>
                    <a:pt x="2275" y="858"/>
                  </a:lnTo>
                  <a:cubicBezTo>
                    <a:pt x="2442" y="739"/>
                    <a:pt x="2597" y="608"/>
                    <a:pt x="2739" y="441"/>
                  </a:cubicBezTo>
                  <a:cubicBezTo>
                    <a:pt x="2799" y="370"/>
                    <a:pt x="2906" y="334"/>
                    <a:pt x="2989" y="334"/>
                  </a:cubicBezTo>
                  <a:cubicBezTo>
                    <a:pt x="3228" y="334"/>
                    <a:pt x="3216" y="489"/>
                    <a:pt x="3740" y="882"/>
                  </a:cubicBezTo>
                  <a:lnTo>
                    <a:pt x="3620" y="2751"/>
                  </a:lnTo>
                  <a:cubicBezTo>
                    <a:pt x="3573" y="3215"/>
                    <a:pt x="3740" y="3680"/>
                    <a:pt x="4061" y="4025"/>
                  </a:cubicBezTo>
                  <a:cubicBezTo>
                    <a:pt x="4382" y="4370"/>
                    <a:pt x="4835" y="4573"/>
                    <a:pt x="5311" y="4573"/>
                  </a:cubicBezTo>
                  <a:lnTo>
                    <a:pt x="5930" y="4573"/>
                  </a:lnTo>
                  <a:cubicBezTo>
                    <a:pt x="6014" y="4573"/>
                    <a:pt x="6085" y="4501"/>
                    <a:pt x="6085" y="4406"/>
                  </a:cubicBezTo>
                  <a:cubicBezTo>
                    <a:pt x="6049" y="4311"/>
                    <a:pt x="5966" y="4239"/>
                    <a:pt x="5883" y="4239"/>
                  </a:cubicBezTo>
                  <a:lnTo>
                    <a:pt x="5275" y="4239"/>
                  </a:lnTo>
                  <a:cubicBezTo>
                    <a:pt x="4883" y="4239"/>
                    <a:pt x="4525" y="4085"/>
                    <a:pt x="4275" y="3799"/>
                  </a:cubicBezTo>
                  <a:cubicBezTo>
                    <a:pt x="4025" y="3537"/>
                    <a:pt x="3906" y="3192"/>
                    <a:pt x="3918" y="2763"/>
                  </a:cubicBezTo>
                  <a:lnTo>
                    <a:pt x="4025" y="1108"/>
                  </a:lnTo>
                  <a:lnTo>
                    <a:pt x="4204" y="1203"/>
                  </a:lnTo>
                  <a:cubicBezTo>
                    <a:pt x="4335" y="1275"/>
                    <a:pt x="4478" y="1346"/>
                    <a:pt x="4716" y="1406"/>
                  </a:cubicBezTo>
                  <a:cubicBezTo>
                    <a:pt x="4740" y="1727"/>
                    <a:pt x="4883" y="2239"/>
                    <a:pt x="5394" y="2346"/>
                  </a:cubicBezTo>
                  <a:cubicBezTo>
                    <a:pt x="5409" y="2349"/>
                    <a:pt x="5422" y="2351"/>
                    <a:pt x="5435" y="2351"/>
                  </a:cubicBezTo>
                  <a:cubicBezTo>
                    <a:pt x="5616" y="2351"/>
                    <a:pt x="5655" y="2057"/>
                    <a:pt x="5466" y="2013"/>
                  </a:cubicBezTo>
                  <a:cubicBezTo>
                    <a:pt x="5180" y="1953"/>
                    <a:pt x="5097" y="1679"/>
                    <a:pt x="5073" y="1477"/>
                  </a:cubicBezTo>
                  <a:lnTo>
                    <a:pt x="5073" y="1477"/>
                  </a:lnTo>
                  <a:cubicBezTo>
                    <a:pt x="5311" y="1525"/>
                    <a:pt x="5514" y="1525"/>
                    <a:pt x="5514" y="1525"/>
                  </a:cubicBezTo>
                  <a:cubicBezTo>
                    <a:pt x="5597" y="1525"/>
                    <a:pt x="5668" y="1453"/>
                    <a:pt x="5668" y="1358"/>
                  </a:cubicBezTo>
                  <a:cubicBezTo>
                    <a:pt x="5668" y="1275"/>
                    <a:pt x="5597" y="1191"/>
                    <a:pt x="5514" y="1191"/>
                  </a:cubicBezTo>
                  <a:cubicBezTo>
                    <a:pt x="4752" y="1179"/>
                    <a:pt x="4025" y="798"/>
                    <a:pt x="3466" y="215"/>
                  </a:cubicBezTo>
                  <a:cubicBezTo>
                    <a:pt x="3335" y="72"/>
                    <a:pt x="3153" y="1"/>
                    <a:pt x="29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1" name="Google Shape;10541;p59"/>
            <p:cNvSpPr/>
            <p:nvPr/>
          </p:nvSpPr>
          <p:spPr>
            <a:xfrm>
              <a:off x="6391301" y="1525346"/>
              <a:ext cx="174502" cy="317467"/>
            </a:xfrm>
            <a:custGeom>
              <a:avLst/>
              <a:gdLst/>
              <a:ahLst/>
              <a:cxnLst/>
              <a:rect l="l" t="t" r="r" b="b"/>
              <a:pathLst>
                <a:path w="5478" h="9966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941"/>
                  </a:lnTo>
                  <a:cubicBezTo>
                    <a:pt x="1" y="4120"/>
                    <a:pt x="37" y="4310"/>
                    <a:pt x="144" y="4465"/>
                  </a:cubicBezTo>
                  <a:cubicBezTo>
                    <a:pt x="263" y="4656"/>
                    <a:pt x="441" y="4894"/>
                    <a:pt x="560" y="5025"/>
                  </a:cubicBezTo>
                  <a:cubicBezTo>
                    <a:pt x="822" y="5322"/>
                    <a:pt x="1072" y="5501"/>
                    <a:pt x="1322" y="5656"/>
                  </a:cubicBezTo>
                  <a:cubicBezTo>
                    <a:pt x="1334" y="5656"/>
                    <a:pt x="1334" y="5668"/>
                    <a:pt x="1346" y="5668"/>
                  </a:cubicBezTo>
                  <a:cubicBezTo>
                    <a:pt x="1346" y="5668"/>
                    <a:pt x="1394" y="5679"/>
                    <a:pt x="1418" y="5703"/>
                  </a:cubicBezTo>
                  <a:cubicBezTo>
                    <a:pt x="1644" y="5822"/>
                    <a:pt x="1965" y="5906"/>
                    <a:pt x="2227" y="5906"/>
                  </a:cubicBezTo>
                  <a:cubicBezTo>
                    <a:pt x="2263" y="5906"/>
                    <a:pt x="2275" y="5894"/>
                    <a:pt x="2287" y="5882"/>
                  </a:cubicBezTo>
                  <a:cubicBezTo>
                    <a:pt x="2311" y="5882"/>
                    <a:pt x="2334" y="5882"/>
                    <a:pt x="2346" y="5858"/>
                  </a:cubicBezTo>
                  <a:cubicBezTo>
                    <a:pt x="2453" y="5763"/>
                    <a:pt x="2382" y="5584"/>
                    <a:pt x="2227" y="5584"/>
                  </a:cubicBezTo>
                  <a:cubicBezTo>
                    <a:pt x="2156" y="5584"/>
                    <a:pt x="2072" y="5560"/>
                    <a:pt x="1989" y="5548"/>
                  </a:cubicBezTo>
                  <a:cubicBezTo>
                    <a:pt x="2144" y="5441"/>
                    <a:pt x="2311" y="5263"/>
                    <a:pt x="2382" y="4989"/>
                  </a:cubicBezTo>
                  <a:cubicBezTo>
                    <a:pt x="2406" y="4894"/>
                    <a:pt x="2346" y="4810"/>
                    <a:pt x="2263" y="4775"/>
                  </a:cubicBezTo>
                  <a:cubicBezTo>
                    <a:pt x="2249" y="4771"/>
                    <a:pt x="2234" y="4769"/>
                    <a:pt x="2221" y="4769"/>
                  </a:cubicBezTo>
                  <a:cubicBezTo>
                    <a:pt x="2144" y="4769"/>
                    <a:pt x="2079" y="4823"/>
                    <a:pt x="2049" y="4894"/>
                  </a:cubicBezTo>
                  <a:cubicBezTo>
                    <a:pt x="1953" y="5310"/>
                    <a:pt x="1608" y="5370"/>
                    <a:pt x="1513" y="5382"/>
                  </a:cubicBezTo>
                  <a:cubicBezTo>
                    <a:pt x="1275" y="5251"/>
                    <a:pt x="1060" y="5072"/>
                    <a:pt x="882" y="4882"/>
                  </a:cubicBezTo>
                  <a:lnTo>
                    <a:pt x="941" y="4072"/>
                  </a:lnTo>
                  <a:cubicBezTo>
                    <a:pt x="977" y="3584"/>
                    <a:pt x="1846" y="3167"/>
                    <a:pt x="2382" y="3167"/>
                  </a:cubicBezTo>
                  <a:cubicBezTo>
                    <a:pt x="2573" y="3167"/>
                    <a:pt x="2763" y="3227"/>
                    <a:pt x="2930" y="3334"/>
                  </a:cubicBezTo>
                  <a:cubicBezTo>
                    <a:pt x="4430" y="4334"/>
                    <a:pt x="4763" y="6739"/>
                    <a:pt x="5109" y="9299"/>
                  </a:cubicBezTo>
                  <a:lnTo>
                    <a:pt x="5109" y="9347"/>
                  </a:lnTo>
                  <a:cubicBezTo>
                    <a:pt x="5120" y="9418"/>
                    <a:pt x="5085" y="9489"/>
                    <a:pt x="5049" y="9549"/>
                  </a:cubicBezTo>
                  <a:cubicBezTo>
                    <a:pt x="5001" y="9608"/>
                    <a:pt x="4930" y="9644"/>
                    <a:pt x="4847" y="9644"/>
                  </a:cubicBezTo>
                  <a:lnTo>
                    <a:pt x="3346" y="9644"/>
                  </a:lnTo>
                  <a:cubicBezTo>
                    <a:pt x="3263" y="9644"/>
                    <a:pt x="3180" y="9716"/>
                    <a:pt x="3180" y="9811"/>
                  </a:cubicBezTo>
                  <a:cubicBezTo>
                    <a:pt x="3180" y="9894"/>
                    <a:pt x="3263" y="9966"/>
                    <a:pt x="3346" y="9966"/>
                  </a:cubicBezTo>
                  <a:lnTo>
                    <a:pt x="4847" y="9966"/>
                  </a:lnTo>
                  <a:cubicBezTo>
                    <a:pt x="5025" y="9966"/>
                    <a:pt x="5192" y="9894"/>
                    <a:pt x="5311" y="9763"/>
                  </a:cubicBezTo>
                  <a:cubicBezTo>
                    <a:pt x="5430" y="9632"/>
                    <a:pt x="5478" y="9454"/>
                    <a:pt x="5466" y="9287"/>
                  </a:cubicBezTo>
                  <a:lnTo>
                    <a:pt x="5382" y="9239"/>
                  </a:lnTo>
                  <a:cubicBezTo>
                    <a:pt x="5025" y="6608"/>
                    <a:pt x="4704" y="4120"/>
                    <a:pt x="3061" y="3036"/>
                  </a:cubicBezTo>
                  <a:cubicBezTo>
                    <a:pt x="2846" y="2881"/>
                    <a:pt x="2584" y="2810"/>
                    <a:pt x="2334" y="2810"/>
                  </a:cubicBezTo>
                  <a:cubicBezTo>
                    <a:pt x="1668" y="2810"/>
                    <a:pt x="620" y="3322"/>
                    <a:pt x="560" y="4036"/>
                  </a:cubicBezTo>
                  <a:lnTo>
                    <a:pt x="537" y="4477"/>
                  </a:lnTo>
                  <a:cubicBezTo>
                    <a:pt x="418" y="4298"/>
                    <a:pt x="322" y="4167"/>
                    <a:pt x="322" y="3953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2" name="Google Shape;10542;p59"/>
            <p:cNvSpPr/>
            <p:nvPr/>
          </p:nvSpPr>
          <p:spPr>
            <a:xfrm>
              <a:off x="6196730" y="1525346"/>
              <a:ext cx="172622" cy="317467"/>
            </a:xfrm>
            <a:custGeom>
              <a:avLst/>
              <a:gdLst/>
              <a:ahLst/>
              <a:cxnLst/>
              <a:rect l="l" t="t" r="r" b="b"/>
              <a:pathLst>
                <a:path w="5419" h="9966" extrusionOk="0">
                  <a:moveTo>
                    <a:pt x="5252" y="0"/>
                  </a:moveTo>
                  <a:cubicBezTo>
                    <a:pt x="5168" y="0"/>
                    <a:pt x="5097" y="72"/>
                    <a:pt x="5097" y="155"/>
                  </a:cubicBezTo>
                  <a:lnTo>
                    <a:pt x="5097" y="3953"/>
                  </a:lnTo>
                  <a:cubicBezTo>
                    <a:pt x="5097" y="4227"/>
                    <a:pt x="4942" y="4370"/>
                    <a:pt x="4906" y="4429"/>
                  </a:cubicBezTo>
                  <a:lnTo>
                    <a:pt x="4871" y="4024"/>
                  </a:lnTo>
                  <a:cubicBezTo>
                    <a:pt x="4811" y="3310"/>
                    <a:pt x="3763" y="2810"/>
                    <a:pt x="3097" y="2810"/>
                  </a:cubicBezTo>
                  <a:cubicBezTo>
                    <a:pt x="2835" y="2810"/>
                    <a:pt x="2573" y="2881"/>
                    <a:pt x="2370" y="3036"/>
                  </a:cubicBezTo>
                  <a:cubicBezTo>
                    <a:pt x="632" y="4179"/>
                    <a:pt x="346" y="7037"/>
                    <a:pt x="49" y="9287"/>
                  </a:cubicBezTo>
                  <a:cubicBezTo>
                    <a:pt x="1" y="9644"/>
                    <a:pt x="287" y="9966"/>
                    <a:pt x="644" y="9966"/>
                  </a:cubicBezTo>
                  <a:lnTo>
                    <a:pt x="1977" y="9966"/>
                  </a:lnTo>
                  <a:cubicBezTo>
                    <a:pt x="2073" y="9966"/>
                    <a:pt x="2144" y="9894"/>
                    <a:pt x="2144" y="9799"/>
                  </a:cubicBezTo>
                  <a:cubicBezTo>
                    <a:pt x="2144" y="9716"/>
                    <a:pt x="2073" y="9644"/>
                    <a:pt x="1977" y="9644"/>
                  </a:cubicBezTo>
                  <a:lnTo>
                    <a:pt x="644" y="9644"/>
                  </a:lnTo>
                  <a:cubicBezTo>
                    <a:pt x="572" y="9644"/>
                    <a:pt x="489" y="9608"/>
                    <a:pt x="453" y="9549"/>
                  </a:cubicBezTo>
                  <a:cubicBezTo>
                    <a:pt x="346" y="9442"/>
                    <a:pt x="394" y="9311"/>
                    <a:pt x="394" y="9299"/>
                  </a:cubicBezTo>
                  <a:cubicBezTo>
                    <a:pt x="691" y="6727"/>
                    <a:pt x="1013" y="4310"/>
                    <a:pt x="2525" y="3322"/>
                  </a:cubicBezTo>
                  <a:cubicBezTo>
                    <a:pt x="2680" y="3215"/>
                    <a:pt x="2858" y="3155"/>
                    <a:pt x="3073" y="3155"/>
                  </a:cubicBezTo>
                  <a:cubicBezTo>
                    <a:pt x="3597" y="3155"/>
                    <a:pt x="4466" y="3572"/>
                    <a:pt x="4513" y="4060"/>
                  </a:cubicBezTo>
                  <a:lnTo>
                    <a:pt x="4573" y="4846"/>
                  </a:lnTo>
                  <a:lnTo>
                    <a:pt x="4394" y="5025"/>
                  </a:lnTo>
                  <a:cubicBezTo>
                    <a:pt x="4251" y="5167"/>
                    <a:pt x="4323" y="5132"/>
                    <a:pt x="4049" y="5310"/>
                  </a:cubicBezTo>
                  <a:lnTo>
                    <a:pt x="3918" y="5406"/>
                  </a:lnTo>
                  <a:cubicBezTo>
                    <a:pt x="3859" y="5406"/>
                    <a:pt x="3489" y="5346"/>
                    <a:pt x="3370" y="4906"/>
                  </a:cubicBezTo>
                  <a:cubicBezTo>
                    <a:pt x="3340" y="4835"/>
                    <a:pt x="3275" y="4781"/>
                    <a:pt x="3198" y="4781"/>
                  </a:cubicBezTo>
                  <a:cubicBezTo>
                    <a:pt x="3185" y="4781"/>
                    <a:pt x="3170" y="4783"/>
                    <a:pt x="3156" y="4786"/>
                  </a:cubicBezTo>
                  <a:cubicBezTo>
                    <a:pt x="3073" y="4822"/>
                    <a:pt x="3013" y="4906"/>
                    <a:pt x="3037" y="5001"/>
                  </a:cubicBezTo>
                  <a:cubicBezTo>
                    <a:pt x="3120" y="5275"/>
                    <a:pt x="3275" y="5465"/>
                    <a:pt x="3430" y="5560"/>
                  </a:cubicBezTo>
                  <a:cubicBezTo>
                    <a:pt x="3358" y="5584"/>
                    <a:pt x="3275" y="5596"/>
                    <a:pt x="3204" y="5596"/>
                  </a:cubicBezTo>
                  <a:cubicBezTo>
                    <a:pt x="3061" y="5596"/>
                    <a:pt x="2977" y="5775"/>
                    <a:pt x="3085" y="5870"/>
                  </a:cubicBezTo>
                  <a:cubicBezTo>
                    <a:pt x="3097" y="5894"/>
                    <a:pt x="3120" y="5894"/>
                    <a:pt x="3132" y="5894"/>
                  </a:cubicBezTo>
                  <a:cubicBezTo>
                    <a:pt x="3156" y="5906"/>
                    <a:pt x="3168" y="5918"/>
                    <a:pt x="3204" y="5918"/>
                  </a:cubicBezTo>
                  <a:cubicBezTo>
                    <a:pt x="3454" y="5918"/>
                    <a:pt x="3859" y="5799"/>
                    <a:pt x="4061" y="5691"/>
                  </a:cubicBezTo>
                  <a:cubicBezTo>
                    <a:pt x="4573" y="5429"/>
                    <a:pt x="5002" y="4917"/>
                    <a:pt x="5275" y="4477"/>
                  </a:cubicBezTo>
                  <a:cubicBezTo>
                    <a:pt x="5359" y="4322"/>
                    <a:pt x="5418" y="4132"/>
                    <a:pt x="5418" y="3953"/>
                  </a:cubicBezTo>
                  <a:lnTo>
                    <a:pt x="5418" y="155"/>
                  </a:lnTo>
                  <a:cubicBezTo>
                    <a:pt x="5418" y="72"/>
                    <a:pt x="5347" y="0"/>
                    <a:pt x="52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43" name="Google Shape;10543;p59"/>
          <p:cNvGrpSpPr/>
          <p:nvPr/>
        </p:nvGrpSpPr>
        <p:grpSpPr>
          <a:xfrm>
            <a:off x="4940592" y="1500690"/>
            <a:ext cx="246558" cy="367161"/>
            <a:chOff x="4940592" y="1500690"/>
            <a:chExt cx="246558" cy="367161"/>
          </a:xfrm>
        </p:grpSpPr>
        <p:sp>
          <p:nvSpPr>
            <p:cNvPr id="10544" name="Google Shape;10544;p59"/>
            <p:cNvSpPr/>
            <p:nvPr/>
          </p:nvSpPr>
          <p:spPr>
            <a:xfrm>
              <a:off x="4961075" y="1766934"/>
              <a:ext cx="44024" cy="74732"/>
            </a:xfrm>
            <a:custGeom>
              <a:avLst/>
              <a:gdLst/>
              <a:ahLst/>
              <a:cxnLst/>
              <a:rect l="l" t="t" r="r" b="b"/>
              <a:pathLst>
                <a:path w="1382" h="2346" extrusionOk="0">
                  <a:moveTo>
                    <a:pt x="679" y="334"/>
                  </a:moveTo>
                  <a:cubicBezTo>
                    <a:pt x="869" y="334"/>
                    <a:pt x="1036" y="501"/>
                    <a:pt x="1036" y="691"/>
                  </a:cubicBezTo>
                  <a:lnTo>
                    <a:pt x="1036" y="1655"/>
                  </a:lnTo>
                  <a:cubicBezTo>
                    <a:pt x="1036" y="1846"/>
                    <a:pt x="869" y="2013"/>
                    <a:pt x="679" y="2013"/>
                  </a:cubicBezTo>
                  <a:cubicBezTo>
                    <a:pt x="488" y="2013"/>
                    <a:pt x="322" y="1846"/>
                    <a:pt x="322" y="1655"/>
                  </a:cubicBezTo>
                  <a:lnTo>
                    <a:pt x="322" y="691"/>
                  </a:lnTo>
                  <a:cubicBezTo>
                    <a:pt x="322" y="501"/>
                    <a:pt x="488" y="334"/>
                    <a:pt x="679" y="334"/>
                  </a:cubicBezTo>
                  <a:close/>
                  <a:moveTo>
                    <a:pt x="679" y="0"/>
                  </a:moveTo>
                  <a:cubicBezTo>
                    <a:pt x="298" y="0"/>
                    <a:pt x="0" y="322"/>
                    <a:pt x="0" y="691"/>
                  </a:cubicBezTo>
                  <a:lnTo>
                    <a:pt x="0" y="1655"/>
                  </a:lnTo>
                  <a:cubicBezTo>
                    <a:pt x="0" y="2048"/>
                    <a:pt x="310" y="2346"/>
                    <a:pt x="679" y="2346"/>
                  </a:cubicBezTo>
                  <a:cubicBezTo>
                    <a:pt x="1048" y="2346"/>
                    <a:pt x="1358" y="2024"/>
                    <a:pt x="1358" y="1655"/>
                  </a:cubicBezTo>
                  <a:lnTo>
                    <a:pt x="1358" y="691"/>
                  </a:lnTo>
                  <a:cubicBezTo>
                    <a:pt x="1381" y="322"/>
                    <a:pt x="1072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5" name="Google Shape;10545;p59"/>
            <p:cNvSpPr/>
            <p:nvPr/>
          </p:nvSpPr>
          <p:spPr>
            <a:xfrm>
              <a:off x="5009240" y="1623937"/>
              <a:ext cx="37207" cy="36824"/>
            </a:xfrm>
            <a:custGeom>
              <a:avLst/>
              <a:gdLst/>
              <a:ahLst/>
              <a:cxnLst/>
              <a:rect l="l" t="t" r="r" b="b"/>
              <a:pathLst>
                <a:path w="1168" h="1156" extrusionOk="0">
                  <a:moveTo>
                    <a:pt x="584" y="334"/>
                  </a:moveTo>
                  <a:cubicBezTo>
                    <a:pt x="715" y="334"/>
                    <a:pt x="822" y="441"/>
                    <a:pt x="822" y="584"/>
                  </a:cubicBezTo>
                  <a:cubicBezTo>
                    <a:pt x="822" y="715"/>
                    <a:pt x="715" y="822"/>
                    <a:pt x="584" y="822"/>
                  </a:cubicBezTo>
                  <a:cubicBezTo>
                    <a:pt x="441" y="822"/>
                    <a:pt x="346" y="715"/>
                    <a:pt x="346" y="584"/>
                  </a:cubicBezTo>
                  <a:cubicBezTo>
                    <a:pt x="346" y="441"/>
                    <a:pt x="453" y="334"/>
                    <a:pt x="584" y="334"/>
                  </a:cubicBezTo>
                  <a:close/>
                  <a:moveTo>
                    <a:pt x="584" y="1"/>
                  </a:moveTo>
                  <a:cubicBezTo>
                    <a:pt x="274" y="1"/>
                    <a:pt x="0" y="251"/>
                    <a:pt x="0" y="584"/>
                  </a:cubicBezTo>
                  <a:cubicBezTo>
                    <a:pt x="0" y="906"/>
                    <a:pt x="250" y="1156"/>
                    <a:pt x="584" y="1156"/>
                  </a:cubicBezTo>
                  <a:cubicBezTo>
                    <a:pt x="893" y="1156"/>
                    <a:pt x="1167" y="906"/>
                    <a:pt x="1167" y="584"/>
                  </a:cubicBezTo>
                  <a:cubicBezTo>
                    <a:pt x="1167" y="251"/>
                    <a:pt x="893" y="1"/>
                    <a:pt x="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6" name="Google Shape;10546;p59"/>
            <p:cNvSpPr/>
            <p:nvPr/>
          </p:nvSpPr>
          <p:spPr>
            <a:xfrm>
              <a:off x="5110125" y="1785123"/>
              <a:ext cx="50458" cy="50108"/>
            </a:xfrm>
            <a:custGeom>
              <a:avLst/>
              <a:gdLst/>
              <a:ahLst/>
              <a:cxnLst/>
              <a:rect l="l" t="t" r="r" b="b"/>
              <a:pathLst>
                <a:path w="1584" h="1573" extrusionOk="0">
                  <a:moveTo>
                    <a:pt x="798" y="322"/>
                  </a:moveTo>
                  <a:cubicBezTo>
                    <a:pt x="1048" y="322"/>
                    <a:pt x="1239" y="537"/>
                    <a:pt x="1239" y="775"/>
                  </a:cubicBezTo>
                  <a:cubicBezTo>
                    <a:pt x="1239" y="1025"/>
                    <a:pt x="1024" y="1215"/>
                    <a:pt x="798" y="1215"/>
                  </a:cubicBezTo>
                  <a:cubicBezTo>
                    <a:pt x="560" y="1215"/>
                    <a:pt x="346" y="1013"/>
                    <a:pt x="346" y="775"/>
                  </a:cubicBezTo>
                  <a:cubicBezTo>
                    <a:pt x="346" y="537"/>
                    <a:pt x="536" y="322"/>
                    <a:pt x="798" y="322"/>
                  </a:cubicBezTo>
                  <a:close/>
                  <a:moveTo>
                    <a:pt x="798" y="1"/>
                  </a:moveTo>
                  <a:cubicBezTo>
                    <a:pt x="358" y="1"/>
                    <a:pt x="0" y="358"/>
                    <a:pt x="0" y="787"/>
                  </a:cubicBezTo>
                  <a:cubicBezTo>
                    <a:pt x="0" y="1215"/>
                    <a:pt x="358" y="1573"/>
                    <a:pt x="798" y="1573"/>
                  </a:cubicBezTo>
                  <a:cubicBezTo>
                    <a:pt x="1227" y="1573"/>
                    <a:pt x="1584" y="1215"/>
                    <a:pt x="1584" y="787"/>
                  </a:cubicBezTo>
                  <a:cubicBezTo>
                    <a:pt x="1584" y="358"/>
                    <a:pt x="1227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7" name="Google Shape;10547;p59"/>
            <p:cNvSpPr/>
            <p:nvPr/>
          </p:nvSpPr>
          <p:spPr>
            <a:xfrm>
              <a:off x="4940592" y="1500690"/>
              <a:ext cx="246558" cy="367161"/>
            </a:xfrm>
            <a:custGeom>
              <a:avLst/>
              <a:gdLst/>
              <a:ahLst/>
              <a:cxnLst/>
              <a:rect l="l" t="t" r="r" b="b"/>
              <a:pathLst>
                <a:path w="7740" h="11526" extrusionOk="0">
                  <a:moveTo>
                    <a:pt x="2441" y="322"/>
                  </a:moveTo>
                  <a:cubicBezTo>
                    <a:pt x="2703" y="322"/>
                    <a:pt x="2929" y="548"/>
                    <a:pt x="2929" y="822"/>
                  </a:cubicBezTo>
                  <a:lnTo>
                    <a:pt x="2929" y="3167"/>
                  </a:lnTo>
                  <a:cubicBezTo>
                    <a:pt x="2865" y="3156"/>
                    <a:pt x="2800" y="3151"/>
                    <a:pt x="2735" y="3151"/>
                  </a:cubicBezTo>
                  <a:cubicBezTo>
                    <a:pt x="2454" y="3151"/>
                    <a:pt x="2180" y="3251"/>
                    <a:pt x="1977" y="3405"/>
                  </a:cubicBezTo>
                  <a:cubicBezTo>
                    <a:pt x="1977" y="3405"/>
                    <a:pt x="1965" y="3405"/>
                    <a:pt x="1941" y="3417"/>
                  </a:cubicBezTo>
                  <a:lnTo>
                    <a:pt x="1941" y="822"/>
                  </a:lnTo>
                  <a:lnTo>
                    <a:pt x="1953" y="822"/>
                  </a:lnTo>
                  <a:cubicBezTo>
                    <a:pt x="1953" y="548"/>
                    <a:pt x="2167" y="322"/>
                    <a:pt x="2441" y="322"/>
                  </a:cubicBezTo>
                  <a:close/>
                  <a:moveTo>
                    <a:pt x="2477" y="0"/>
                  </a:moveTo>
                  <a:cubicBezTo>
                    <a:pt x="2024" y="0"/>
                    <a:pt x="1643" y="369"/>
                    <a:pt x="1643" y="834"/>
                  </a:cubicBezTo>
                  <a:lnTo>
                    <a:pt x="1643" y="3822"/>
                  </a:lnTo>
                  <a:cubicBezTo>
                    <a:pt x="1382" y="4287"/>
                    <a:pt x="1441" y="4822"/>
                    <a:pt x="1727" y="5203"/>
                  </a:cubicBezTo>
                  <a:lnTo>
                    <a:pt x="1727" y="7620"/>
                  </a:lnTo>
                  <a:cubicBezTo>
                    <a:pt x="1608" y="7585"/>
                    <a:pt x="1489" y="7573"/>
                    <a:pt x="1370" y="7573"/>
                  </a:cubicBezTo>
                  <a:cubicBezTo>
                    <a:pt x="608" y="7573"/>
                    <a:pt x="0" y="8180"/>
                    <a:pt x="0" y="8942"/>
                  </a:cubicBezTo>
                  <a:lnTo>
                    <a:pt x="0" y="10156"/>
                  </a:lnTo>
                  <a:cubicBezTo>
                    <a:pt x="0" y="10918"/>
                    <a:pt x="608" y="11525"/>
                    <a:pt x="1370" y="11525"/>
                  </a:cubicBezTo>
                  <a:cubicBezTo>
                    <a:pt x="2120" y="11525"/>
                    <a:pt x="2739" y="10918"/>
                    <a:pt x="2739" y="10156"/>
                  </a:cubicBezTo>
                  <a:lnTo>
                    <a:pt x="2739" y="5739"/>
                  </a:lnTo>
                  <a:cubicBezTo>
                    <a:pt x="2834" y="5739"/>
                    <a:pt x="2858" y="5727"/>
                    <a:pt x="2941" y="5715"/>
                  </a:cubicBezTo>
                  <a:lnTo>
                    <a:pt x="3572" y="7227"/>
                  </a:lnTo>
                  <a:cubicBezTo>
                    <a:pt x="3590" y="7298"/>
                    <a:pt x="3654" y="7336"/>
                    <a:pt x="3720" y="7336"/>
                  </a:cubicBezTo>
                  <a:cubicBezTo>
                    <a:pt x="3742" y="7336"/>
                    <a:pt x="3765" y="7332"/>
                    <a:pt x="3787" y="7323"/>
                  </a:cubicBezTo>
                  <a:cubicBezTo>
                    <a:pt x="3882" y="7287"/>
                    <a:pt x="3929" y="7180"/>
                    <a:pt x="3882" y="7096"/>
                  </a:cubicBezTo>
                  <a:lnTo>
                    <a:pt x="3287" y="5632"/>
                  </a:lnTo>
                  <a:cubicBezTo>
                    <a:pt x="3346" y="5608"/>
                    <a:pt x="3406" y="5560"/>
                    <a:pt x="3465" y="5537"/>
                  </a:cubicBezTo>
                  <a:cubicBezTo>
                    <a:pt x="3465" y="5537"/>
                    <a:pt x="3572" y="5477"/>
                    <a:pt x="3584" y="5477"/>
                  </a:cubicBezTo>
                  <a:lnTo>
                    <a:pt x="5001" y="8918"/>
                  </a:lnTo>
                  <a:cubicBezTo>
                    <a:pt x="5021" y="8984"/>
                    <a:pt x="5077" y="9017"/>
                    <a:pt x="5138" y="9017"/>
                  </a:cubicBezTo>
                  <a:cubicBezTo>
                    <a:pt x="5187" y="9017"/>
                    <a:pt x="5238" y="8996"/>
                    <a:pt x="5275" y="8954"/>
                  </a:cubicBezTo>
                  <a:cubicBezTo>
                    <a:pt x="5497" y="8710"/>
                    <a:pt x="5812" y="8558"/>
                    <a:pt x="6143" y="8558"/>
                  </a:cubicBezTo>
                  <a:cubicBezTo>
                    <a:pt x="6167" y="8558"/>
                    <a:pt x="6191" y="8559"/>
                    <a:pt x="6215" y="8561"/>
                  </a:cubicBezTo>
                  <a:cubicBezTo>
                    <a:pt x="7239" y="8585"/>
                    <a:pt x="7739" y="9835"/>
                    <a:pt x="7025" y="10561"/>
                  </a:cubicBezTo>
                  <a:cubicBezTo>
                    <a:pt x="6788" y="10803"/>
                    <a:pt x="6485" y="10915"/>
                    <a:pt x="6187" y="10915"/>
                  </a:cubicBezTo>
                  <a:cubicBezTo>
                    <a:pt x="5679" y="10915"/>
                    <a:pt x="5184" y="10588"/>
                    <a:pt x="5049" y="10025"/>
                  </a:cubicBezTo>
                  <a:cubicBezTo>
                    <a:pt x="4858" y="9359"/>
                    <a:pt x="4632" y="8859"/>
                    <a:pt x="4239" y="7930"/>
                  </a:cubicBezTo>
                  <a:cubicBezTo>
                    <a:pt x="4212" y="7859"/>
                    <a:pt x="4153" y="7821"/>
                    <a:pt x="4085" y="7821"/>
                  </a:cubicBezTo>
                  <a:cubicBezTo>
                    <a:pt x="4061" y="7821"/>
                    <a:pt x="4037" y="7825"/>
                    <a:pt x="4013" y="7835"/>
                  </a:cubicBezTo>
                  <a:cubicBezTo>
                    <a:pt x="3929" y="7870"/>
                    <a:pt x="3882" y="7977"/>
                    <a:pt x="3929" y="8061"/>
                  </a:cubicBezTo>
                  <a:cubicBezTo>
                    <a:pt x="4299" y="9001"/>
                    <a:pt x="4549" y="9490"/>
                    <a:pt x="4715" y="10121"/>
                  </a:cubicBezTo>
                  <a:cubicBezTo>
                    <a:pt x="4894" y="10787"/>
                    <a:pt x="5489" y="11252"/>
                    <a:pt x="6192" y="11252"/>
                  </a:cubicBezTo>
                  <a:cubicBezTo>
                    <a:pt x="7037" y="11252"/>
                    <a:pt x="7728" y="10549"/>
                    <a:pt x="7704" y="9704"/>
                  </a:cubicBezTo>
                  <a:cubicBezTo>
                    <a:pt x="7645" y="8808"/>
                    <a:pt x="6884" y="8194"/>
                    <a:pt x="6094" y="8194"/>
                  </a:cubicBezTo>
                  <a:cubicBezTo>
                    <a:pt x="5771" y="8194"/>
                    <a:pt x="5443" y="8297"/>
                    <a:pt x="5156" y="8525"/>
                  </a:cubicBezTo>
                  <a:lnTo>
                    <a:pt x="3787" y="5179"/>
                  </a:lnTo>
                  <a:cubicBezTo>
                    <a:pt x="3870" y="5072"/>
                    <a:pt x="3929" y="4953"/>
                    <a:pt x="3965" y="4822"/>
                  </a:cubicBezTo>
                  <a:lnTo>
                    <a:pt x="4834" y="3953"/>
                  </a:lnTo>
                  <a:cubicBezTo>
                    <a:pt x="4894" y="3894"/>
                    <a:pt x="4894" y="3775"/>
                    <a:pt x="4834" y="3715"/>
                  </a:cubicBezTo>
                  <a:cubicBezTo>
                    <a:pt x="4805" y="3685"/>
                    <a:pt x="4760" y="3670"/>
                    <a:pt x="4715" y="3670"/>
                  </a:cubicBezTo>
                  <a:cubicBezTo>
                    <a:pt x="4671" y="3670"/>
                    <a:pt x="4626" y="3685"/>
                    <a:pt x="4596" y="3715"/>
                  </a:cubicBezTo>
                  <a:cubicBezTo>
                    <a:pt x="3644" y="4668"/>
                    <a:pt x="3668" y="4608"/>
                    <a:pt x="3656" y="4703"/>
                  </a:cubicBezTo>
                  <a:cubicBezTo>
                    <a:pt x="3620" y="4882"/>
                    <a:pt x="3513" y="5013"/>
                    <a:pt x="3394" y="5132"/>
                  </a:cubicBezTo>
                  <a:cubicBezTo>
                    <a:pt x="3298" y="5227"/>
                    <a:pt x="3287" y="5239"/>
                    <a:pt x="3144" y="5310"/>
                  </a:cubicBezTo>
                  <a:cubicBezTo>
                    <a:pt x="3096" y="5322"/>
                    <a:pt x="3060" y="5358"/>
                    <a:pt x="3025" y="5370"/>
                  </a:cubicBezTo>
                  <a:cubicBezTo>
                    <a:pt x="2931" y="5399"/>
                    <a:pt x="2846" y="5415"/>
                    <a:pt x="2756" y="5415"/>
                  </a:cubicBezTo>
                  <a:cubicBezTo>
                    <a:pt x="2698" y="5415"/>
                    <a:pt x="2638" y="5408"/>
                    <a:pt x="2572" y="5394"/>
                  </a:cubicBezTo>
                  <a:cubicBezTo>
                    <a:pt x="2564" y="5393"/>
                    <a:pt x="2557" y="5392"/>
                    <a:pt x="2549" y="5392"/>
                  </a:cubicBezTo>
                  <a:cubicBezTo>
                    <a:pt x="2453" y="5392"/>
                    <a:pt x="2382" y="5461"/>
                    <a:pt x="2382" y="5560"/>
                  </a:cubicBezTo>
                  <a:lnTo>
                    <a:pt x="2382" y="10156"/>
                  </a:lnTo>
                  <a:cubicBezTo>
                    <a:pt x="2382" y="10728"/>
                    <a:pt x="1917" y="11192"/>
                    <a:pt x="1358" y="11192"/>
                  </a:cubicBezTo>
                  <a:cubicBezTo>
                    <a:pt x="786" y="11192"/>
                    <a:pt x="322" y="10728"/>
                    <a:pt x="322" y="10156"/>
                  </a:cubicBezTo>
                  <a:lnTo>
                    <a:pt x="322" y="8942"/>
                  </a:lnTo>
                  <a:cubicBezTo>
                    <a:pt x="322" y="8340"/>
                    <a:pt x="826" y="7902"/>
                    <a:pt x="1372" y="7902"/>
                  </a:cubicBezTo>
                  <a:cubicBezTo>
                    <a:pt x="1518" y="7902"/>
                    <a:pt x="1667" y="7933"/>
                    <a:pt x="1810" y="8001"/>
                  </a:cubicBezTo>
                  <a:cubicBezTo>
                    <a:pt x="1835" y="8015"/>
                    <a:pt x="1860" y="8021"/>
                    <a:pt x="1885" y="8021"/>
                  </a:cubicBezTo>
                  <a:cubicBezTo>
                    <a:pt x="1970" y="8021"/>
                    <a:pt x="2048" y="7950"/>
                    <a:pt x="2048" y="7858"/>
                  </a:cubicBezTo>
                  <a:cubicBezTo>
                    <a:pt x="2036" y="5049"/>
                    <a:pt x="2084" y="5132"/>
                    <a:pt x="2024" y="5049"/>
                  </a:cubicBezTo>
                  <a:cubicBezTo>
                    <a:pt x="1504" y="4390"/>
                    <a:pt x="2016" y="3495"/>
                    <a:pt x="2766" y="3495"/>
                  </a:cubicBezTo>
                  <a:cubicBezTo>
                    <a:pt x="2857" y="3495"/>
                    <a:pt x="2952" y="3508"/>
                    <a:pt x="3048" y="3536"/>
                  </a:cubicBezTo>
                  <a:cubicBezTo>
                    <a:pt x="3096" y="3560"/>
                    <a:pt x="3156" y="3572"/>
                    <a:pt x="3191" y="3596"/>
                  </a:cubicBezTo>
                  <a:cubicBezTo>
                    <a:pt x="3216" y="3608"/>
                    <a:pt x="3243" y="3614"/>
                    <a:pt x="3268" y="3614"/>
                  </a:cubicBezTo>
                  <a:cubicBezTo>
                    <a:pt x="3316" y="3614"/>
                    <a:pt x="3363" y="3595"/>
                    <a:pt x="3394" y="3572"/>
                  </a:cubicBezTo>
                  <a:lnTo>
                    <a:pt x="5370" y="1584"/>
                  </a:lnTo>
                  <a:cubicBezTo>
                    <a:pt x="5465" y="1489"/>
                    <a:pt x="5590" y="1441"/>
                    <a:pt x="5717" y="1441"/>
                  </a:cubicBezTo>
                  <a:cubicBezTo>
                    <a:pt x="5843" y="1441"/>
                    <a:pt x="5971" y="1489"/>
                    <a:pt x="6073" y="1584"/>
                  </a:cubicBezTo>
                  <a:cubicBezTo>
                    <a:pt x="6263" y="1786"/>
                    <a:pt x="6263" y="2096"/>
                    <a:pt x="6073" y="2286"/>
                  </a:cubicBezTo>
                  <a:lnTo>
                    <a:pt x="5156" y="3191"/>
                  </a:lnTo>
                  <a:cubicBezTo>
                    <a:pt x="5096" y="3251"/>
                    <a:pt x="5096" y="3370"/>
                    <a:pt x="5156" y="3429"/>
                  </a:cubicBezTo>
                  <a:cubicBezTo>
                    <a:pt x="5192" y="3459"/>
                    <a:pt x="5239" y="3474"/>
                    <a:pt x="5284" y="3474"/>
                  </a:cubicBezTo>
                  <a:cubicBezTo>
                    <a:pt x="5328" y="3474"/>
                    <a:pt x="5370" y="3459"/>
                    <a:pt x="5394" y="3429"/>
                  </a:cubicBezTo>
                  <a:lnTo>
                    <a:pt x="6311" y="2524"/>
                  </a:lnTo>
                  <a:cubicBezTo>
                    <a:pt x="6823" y="2001"/>
                    <a:pt x="6454" y="1108"/>
                    <a:pt x="5727" y="1108"/>
                  </a:cubicBezTo>
                  <a:cubicBezTo>
                    <a:pt x="5501" y="1108"/>
                    <a:pt x="5299" y="1203"/>
                    <a:pt x="5144" y="1346"/>
                  </a:cubicBezTo>
                  <a:lnTo>
                    <a:pt x="3310" y="3179"/>
                  </a:lnTo>
                  <a:lnTo>
                    <a:pt x="3310" y="834"/>
                  </a:lnTo>
                  <a:cubicBezTo>
                    <a:pt x="3310" y="369"/>
                    <a:pt x="2941" y="0"/>
                    <a:pt x="2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48" name="Google Shape;10548;p59"/>
          <p:cNvGrpSpPr/>
          <p:nvPr/>
        </p:nvGrpSpPr>
        <p:grpSpPr>
          <a:xfrm>
            <a:off x="7964906" y="1499894"/>
            <a:ext cx="380858" cy="367575"/>
            <a:chOff x="7964906" y="1499894"/>
            <a:chExt cx="380858" cy="367575"/>
          </a:xfrm>
        </p:grpSpPr>
        <p:sp>
          <p:nvSpPr>
            <p:cNvPr id="10549" name="Google Shape;10549;p59"/>
            <p:cNvSpPr/>
            <p:nvPr/>
          </p:nvSpPr>
          <p:spPr>
            <a:xfrm>
              <a:off x="7964906" y="1501359"/>
              <a:ext cx="377099" cy="365600"/>
            </a:xfrm>
            <a:custGeom>
              <a:avLst/>
              <a:gdLst/>
              <a:ahLst/>
              <a:cxnLst/>
              <a:rect l="l" t="t" r="r" b="b"/>
              <a:pathLst>
                <a:path w="11838" h="11477" extrusionOk="0">
                  <a:moveTo>
                    <a:pt x="6668" y="4170"/>
                  </a:moveTo>
                  <a:cubicBezTo>
                    <a:pt x="6859" y="4468"/>
                    <a:pt x="7085" y="4694"/>
                    <a:pt x="7359" y="4873"/>
                  </a:cubicBezTo>
                  <a:cubicBezTo>
                    <a:pt x="7383" y="4873"/>
                    <a:pt x="7383" y="4885"/>
                    <a:pt x="7395" y="4885"/>
                  </a:cubicBezTo>
                  <a:cubicBezTo>
                    <a:pt x="6978" y="5289"/>
                    <a:pt x="6990" y="5325"/>
                    <a:pt x="6930" y="5325"/>
                  </a:cubicBezTo>
                  <a:cubicBezTo>
                    <a:pt x="6871" y="5325"/>
                    <a:pt x="6906" y="5301"/>
                    <a:pt x="6252" y="4670"/>
                  </a:cubicBezTo>
                  <a:cubicBezTo>
                    <a:pt x="6228" y="4647"/>
                    <a:pt x="6228" y="4635"/>
                    <a:pt x="6228" y="4623"/>
                  </a:cubicBezTo>
                  <a:cubicBezTo>
                    <a:pt x="6228" y="4575"/>
                    <a:pt x="6264" y="4575"/>
                    <a:pt x="6668" y="4170"/>
                  </a:cubicBezTo>
                  <a:close/>
                  <a:moveTo>
                    <a:pt x="6144" y="5039"/>
                  </a:moveTo>
                  <a:lnTo>
                    <a:pt x="6514" y="5409"/>
                  </a:lnTo>
                  <a:cubicBezTo>
                    <a:pt x="6287" y="5611"/>
                    <a:pt x="5918" y="6075"/>
                    <a:pt x="5609" y="6968"/>
                  </a:cubicBezTo>
                  <a:cubicBezTo>
                    <a:pt x="5171" y="8200"/>
                    <a:pt x="4345" y="8864"/>
                    <a:pt x="3268" y="8864"/>
                  </a:cubicBezTo>
                  <a:cubicBezTo>
                    <a:pt x="3231" y="8864"/>
                    <a:pt x="3194" y="8863"/>
                    <a:pt x="3156" y="8861"/>
                  </a:cubicBezTo>
                  <a:cubicBezTo>
                    <a:pt x="3133" y="8860"/>
                    <a:pt x="3110" y="8860"/>
                    <a:pt x="3087" y="8860"/>
                  </a:cubicBezTo>
                  <a:cubicBezTo>
                    <a:pt x="1839" y="8860"/>
                    <a:pt x="1004" y="10112"/>
                    <a:pt x="549" y="10778"/>
                  </a:cubicBezTo>
                  <a:cubicBezTo>
                    <a:pt x="501" y="10850"/>
                    <a:pt x="453" y="10933"/>
                    <a:pt x="418" y="10993"/>
                  </a:cubicBezTo>
                  <a:cubicBezTo>
                    <a:pt x="489" y="10612"/>
                    <a:pt x="739" y="9814"/>
                    <a:pt x="1287" y="9171"/>
                  </a:cubicBezTo>
                  <a:cubicBezTo>
                    <a:pt x="1727" y="8671"/>
                    <a:pt x="2275" y="8349"/>
                    <a:pt x="2942" y="8349"/>
                  </a:cubicBezTo>
                  <a:cubicBezTo>
                    <a:pt x="4049" y="8349"/>
                    <a:pt x="4728" y="7861"/>
                    <a:pt x="5109" y="6790"/>
                  </a:cubicBezTo>
                  <a:cubicBezTo>
                    <a:pt x="5454" y="5825"/>
                    <a:pt x="5871" y="5301"/>
                    <a:pt x="6144" y="5039"/>
                  </a:cubicBezTo>
                  <a:close/>
                  <a:moveTo>
                    <a:pt x="10008" y="0"/>
                  </a:moveTo>
                  <a:cubicBezTo>
                    <a:pt x="9561" y="0"/>
                    <a:pt x="9041" y="122"/>
                    <a:pt x="8478" y="372"/>
                  </a:cubicBezTo>
                  <a:cubicBezTo>
                    <a:pt x="8395" y="420"/>
                    <a:pt x="8359" y="515"/>
                    <a:pt x="8395" y="598"/>
                  </a:cubicBezTo>
                  <a:cubicBezTo>
                    <a:pt x="8422" y="671"/>
                    <a:pt x="8484" y="702"/>
                    <a:pt x="8549" y="702"/>
                  </a:cubicBezTo>
                  <a:cubicBezTo>
                    <a:pt x="8569" y="702"/>
                    <a:pt x="8589" y="699"/>
                    <a:pt x="8609" y="694"/>
                  </a:cubicBezTo>
                  <a:cubicBezTo>
                    <a:pt x="9121" y="466"/>
                    <a:pt x="9607" y="352"/>
                    <a:pt x="10014" y="352"/>
                  </a:cubicBezTo>
                  <a:cubicBezTo>
                    <a:pt x="10394" y="352"/>
                    <a:pt x="10706" y="451"/>
                    <a:pt x="10907" y="646"/>
                  </a:cubicBezTo>
                  <a:cubicBezTo>
                    <a:pt x="11645" y="1384"/>
                    <a:pt x="10907" y="3325"/>
                    <a:pt x="10014" y="4206"/>
                  </a:cubicBezTo>
                  <a:cubicBezTo>
                    <a:pt x="9543" y="4677"/>
                    <a:pt x="9023" y="4874"/>
                    <a:pt x="8537" y="4874"/>
                  </a:cubicBezTo>
                  <a:cubicBezTo>
                    <a:pt x="6872" y="4874"/>
                    <a:pt x="5593" y="2566"/>
                    <a:pt x="7942" y="1027"/>
                  </a:cubicBezTo>
                  <a:cubicBezTo>
                    <a:pt x="8014" y="991"/>
                    <a:pt x="8049" y="884"/>
                    <a:pt x="7990" y="789"/>
                  </a:cubicBezTo>
                  <a:cubicBezTo>
                    <a:pt x="7961" y="745"/>
                    <a:pt x="7910" y="719"/>
                    <a:pt x="7855" y="719"/>
                  </a:cubicBezTo>
                  <a:cubicBezTo>
                    <a:pt x="7820" y="719"/>
                    <a:pt x="7784" y="730"/>
                    <a:pt x="7752" y="753"/>
                  </a:cubicBezTo>
                  <a:cubicBezTo>
                    <a:pt x="6335" y="1670"/>
                    <a:pt x="6073" y="2872"/>
                    <a:pt x="6490" y="3849"/>
                  </a:cubicBezTo>
                  <a:lnTo>
                    <a:pt x="5990" y="4337"/>
                  </a:lnTo>
                  <a:cubicBezTo>
                    <a:pt x="5894" y="4444"/>
                    <a:pt x="5847" y="4623"/>
                    <a:pt x="5918" y="4777"/>
                  </a:cubicBezTo>
                  <a:cubicBezTo>
                    <a:pt x="5621" y="5063"/>
                    <a:pt x="5156" y="5635"/>
                    <a:pt x="4787" y="6671"/>
                  </a:cubicBezTo>
                  <a:cubicBezTo>
                    <a:pt x="4430" y="7635"/>
                    <a:pt x="3847" y="7992"/>
                    <a:pt x="2930" y="8016"/>
                  </a:cubicBezTo>
                  <a:cubicBezTo>
                    <a:pt x="1370" y="8016"/>
                    <a:pt x="572" y="9504"/>
                    <a:pt x="310" y="10135"/>
                  </a:cubicBezTo>
                  <a:cubicBezTo>
                    <a:pt x="203" y="10397"/>
                    <a:pt x="132" y="10647"/>
                    <a:pt x="72" y="10873"/>
                  </a:cubicBezTo>
                  <a:cubicBezTo>
                    <a:pt x="1" y="11231"/>
                    <a:pt x="13" y="11326"/>
                    <a:pt x="215" y="11445"/>
                  </a:cubicBezTo>
                  <a:cubicBezTo>
                    <a:pt x="253" y="11467"/>
                    <a:pt x="289" y="11476"/>
                    <a:pt x="323" y="11476"/>
                  </a:cubicBezTo>
                  <a:cubicBezTo>
                    <a:pt x="419" y="11476"/>
                    <a:pt x="502" y="11402"/>
                    <a:pt x="572" y="11314"/>
                  </a:cubicBezTo>
                  <a:cubicBezTo>
                    <a:pt x="912" y="10893"/>
                    <a:pt x="1769" y="9205"/>
                    <a:pt x="3065" y="9205"/>
                  </a:cubicBezTo>
                  <a:cubicBezTo>
                    <a:pt x="3087" y="9205"/>
                    <a:pt x="3110" y="9206"/>
                    <a:pt x="3132" y="9207"/>
                  </a:cubicBezTo>
                  <a:cubicBezTo>
                    <a:pt x="3160" y="9207"/>
                    <a:pt x="3187" y="9208"/>
                    <a:pt x="3215" y="9208"/>
                  </a:cubicBezTo>
                  <a:cubicBezTo>
                    <a:pt x="4529" y="9208"/>
                    <a:pt x="5463" y="8371"/>
                    <a:pt x="5918" y="7099"/>
                  </a:cubicBezTo>
                  <a:cubicBezTo>
                    <a:pt x="6252" y="6194"/>
                    <a:pt x="6621" y="5778"/>
                    <a:pt x="6787" y="5635"/>
                  </a:cubicBezTo>
                  <a:cubicBezTo>
                    <a:pt x="6833" y="5652"/>
                    <a:pt x="6879" y="5661"/>
                    <a:pt x="6924" y="5661"/>
                  </a:cubicBezTo>
                  <a:cubicBezTo>
                    <a:pt x="7030" y="5661"/>
                    <a:pt x="7129" y="5615"/>
                    <a:pt x="7204" y="5539"/>
                  </a:cubicBezTo>
                  <a:lnTo>
                    <a:pt x="7692" y="5051"/>
                  </a:lnTo>
                  <a:cubicBezTo>
                    <a:pt x="7967" y="5171"/>
                    <a:pt x="8246" y="5226"/>
                    <a:pt x="8521" y="5226"/>
                  </a:cubicBezTo>
                  <a:cubicBezTo>
                    <a:pt x="9152" y="5226"/>
                    <a:pt x="9763" y="4933"/>
                    <a:pt x="10252" y="4444"/>
                  </a:cubicBezTo>
                  <a:cubicBezTo>
                    <a:pt x="10752" y="3932"/>
                    <a:pt x="11205" y="3146"/>
                    <a:pt x="11407" y="2396"/>
                  </a:cubicBezTo>
                  <a:cubicBezTo>
                    <a:pt x="11838" y="837"/>
                    <a:pt x="11177" y="0"/>
                    <a:pt x="100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0" name="Google Shape;10550;p59"/>
            <p:cNvSpPr/>
            <p:nvPr/>
          </p:nvSpPr>
          <p:spPr>
            <a:xfrm>
              <a:off x="7965288" y="1499894"/>
              <a:ext cx="202948" cy="193870"/>
            </a:xfrm>
            <a:custGeom>
              <a:avLst/>
              <a:gdLst/>
              <a:ahLst/>
              <a:cxnLst/>
              <a:rect l="l" t="t" r="r" b="b"/>
              <a:pathLst>
                <a:path w="6371" h="6086" extrusionOk="0">
                  <a:moveTo>
                    <a:pt x="5278" y="341"/>
                  </a:moveTo>
                  <a:cubicBezTo>
                    <a:pt x="5440" y="341"/>
                    <a:pt x="5578" y="379"/>
                    <a:pt x="5668" y="466"/>
                  </a:cubicBezTo>
                  <a:cubicBezTo>
                    <a:pt x="6073" y="871"/>
                    <a:pt x="5442" y="2514"/>
                    <a:pt x="4513" y="2526"/>
                  </a:cubicBezTo>
                  <a:cubicBezTo>
                    <a:pt x="4509" y="2526"/>
                    <a:pt x="4504" y="2526"/>
                    <a:pt x="4500" y="2526"/>
                  </a:cubicBezTo>
                  <a:cubicBezTo>
                    <a:pt x="3826" y="2526"/>
                    <a:pt x="3220" y="1652"/>
                    <a:pt x="3942" y="930"/>
                  </a:cubicBezTo>
                  <a:cubicBezTo>
                    <a:pt x="4276" y="595"/>
                    <a:pt x="4858" y="341"/>
                    <a:pt x="5278" y="341"/>
                  </a:cubicBezTo>
                  <a:close/>
                  <a:moveTo>
                    <a:pt x="3525" y="2359"/>
                  </a:moveTo>
                  <a:cubicBezTo>
                    <a:pt x="3596" y="2466"/>
                    <a:pt x="3692" y="2549"/>
                    <a:pt x="3775" y="2609"/>
                  </a:cubicBezTo>
                  <a:lnTo>
                    <a:pt x="3680" y="2716"/>
                  </a:lnTo>
                  <a:lnTo>
                    <a:pt x="3418" y="2466"/>
                  </a:lnTo>
                  <a:lnTo>
                    <a:pt x="3525" y="2359"/>
                  </a:lnTo>
                  <a:close/>
                  <a:moveTo>
                    <a:pt x="5223" y="1"/>
                  </a:moveTo>
                  <a:cubicBezTo>
                    <a:pt x="4679" y="1"/>
                    <a:pt x="4024" y="324"/>
                    <a:pt x="3656" y="692"/>
                  </a:cubicBezTo>
                  <a:cubicBezTo>
                    <a:pt x="3287" y="1061"/>
                    <a:pt x="3120" y="1561"/>
                    <a:pt x="3311" y="2049"/>
                  </a:cubicBezTo>
                  <a:cubicBezTo>
                    <a:pt x="3132" y="2240"/>
                    <a:pt x="2977" y="2299"/>
                    <a:pt x="3037" y="2537"/>
                  </a:cubicBezTo>
                  <a:cubicBezTo>
                    <a:pt x="2299" y="3288"/>
                    <a:pt x="2620" y="4133"/>
                    <a:pt x="1572" y="4145"/>
                  </a:cubicBezTo>
                  <a:cubicBezTo>
                    <a:pt x="715" y="4145"/>
                    <a:pt x="298" y="4954"/>
                    <a:pt x="144" y="5288"/>
                  </a:cubicBezTo>
                  <a:cubicBezTo>
                    <a:pt x="84" y="5431"/>
                    <a:pt x="36" y="5562"/>
                    <a:pt x="25" y="5681"/>
                  </a:cubicBezTo>
                  <a:cubicBezTo>
                    <a:pt x="1" y="5824"/>
                    <a:pt x="1" y="5931"/>
                    <a:pt x="60" y="6002"/>
                  </a:cubicBezTo>
                  <a:cubicBezTo>
                    <a:pt x="144" y="6050"/>
                    <a:pt x="203" y="6086"/>
                    <a:pt x="263" y="6086"/>
                  </a:cubicBezTo>
                  <a:cubicBezTo>
                    <a:pt x="406" y="6086"/>
                    <a:pt x="501" y="5919"/>
                    <a:pt x="584" y="5788"/>
                  </a:cubicBezTo>
                  <a:cubicBezTo>
                    <a:pt x="781" y="5476"/>
                    <a:pt x="1168" y="4905"/>
                    <a:pt x="1670" y="4905"/>
                  </a:cubicBezTo>
                  <a:cubicBezTo>
                    <a:pt x="1685" y="4905"/>
                    <a:pt x="1700" y="4906"/>
                    <a:pt x="1715" y="4907"/>
                  </a:cubicBezTo>
                  <a:cubicBezTo>
                    <a:pt x="1735" y="4908"/>
                    <a:pt x="1755" y="4908"/>
                    <a:pt x="1775" y="4908"/>
                  </a:cubicBezTo>
                  <a:cubicBezTo>
                    <a:pt x="2074" y="4908"/>
                    <a:pt x="2350" y="4824"/>
                    <a:pt x="2584" y="4657"/>
                  </a:cubicBezTo>
                  <a:cubicBezTo>
                    <a:pt x="2668" y="4597"/>
                    <a:pt x="2680" y="4490"/>
                    <a:pt x="2632" y="4419"/>
                  </a:cubicBezTo>
                  <a:cubicBezTo>
                    <a:pt x="2603" y="4367"/>
                    <a:pt x="2546" y="4343"/>
                    <a:pt x="2491" y="4343"/>
                  </a:cubicBezTo>
                  <a:cubicBezTo>
                    <a:pt x="2456" y="4343"/>
                    <a:pt x="2421" y="4353"/>
                    <a:pt x="2394" y="4371"/>
                  </a:cubicBezTo>
                  <a:cubicBezTo>
                    <a:pt x="2203" y="4502"/>
                    <a:pt x="1977" y="4562"/>
                    <a:pt x="1727" y="4562"/>
                  </a:cubicBezTo>
                  <a:cubicBezTo>
                    <a:pt x="1718" y="4561"/>
                    <a:pt x="1710" y="4561"/>
                    <a:pt x="1701" y="4561"/>
                  </a:cubicBezTo>
                  <a:cubicBezTo>
                    <a:pt x="1225" y="4561"/>
                    <a:pt x="853" y="4877"/>
                    <a:pt x="596" y="5204"/>
                  </a:cubicBezTo>
                  <a:cubicBezTo>
                    <a:pt x="792" y="4813"/>
                    <a:pt x="1132" y="4477"/>
                    <a:pt x="1564" y="4477"/>
                  </a:cubicBezTo>
                  <a:cubicBezTo>
                    <a:pt x="1579" y="4477"/>
                    <a:pt x="1593" y="4477"/>
                    <a:pt x="1608" y="4478"/>
                  </a:cubicBezTo>
                  <a:cubicBezTo>
                    <a:pt x="2203" y="4478"/>
                    <a:pt x="2584" y="4192"/>
                    <a:pt x="2799" y="3609"/>
                  </a:cubicBezTo>
                  <a:cubicBezTo>
                    <a:pt x="2942" y="3192"/>
                    <a:pt x="3120" y="2942"/>
                    <a:pt x="3263" y="2788"/>
                  </a:cubicBezTo>
                  <a:lnTo>
                    <a:pt x="3334" y="2871"/>
                  </a:lnTo>
                  <a:cubicBezTo>
                    <a:pt x="3001" y="3228"/>
                    <a:pt x="2930" y="3645"/>
                    <a:pt x="2787" y="3907"/>
                  </a:cubicBezTo>
                  <a:cubicBezTo>
                    <a:pt x="2739" y="3978"/>
                    <a:pt x="2763" y="4085"/>
                    <a:pt x="2846" y="4133"/>
                  </a:cubicBezTo>
                  <a:cubicBezTo>
                    <a:pt x="2869" y="4148"/>
                    <a:pt x="2895" y="4155"/>
                    <a:pt x="2921" y="4155"/>
                  </a:cubicBezTo>
                  <a:cubicBezTo>
                    <a:pt x="2978" y="4155"/>
                    <a:pt x="3036" y="4122"/>
                    <a:pt x="3061" y="4073"/>
                  </a:cubicBezTo>
                  <a:cubicBezTo>
                    <a:pt x="3227" y="3764"/>
                    <a:pt x="3299" y="3359"/>
                    <a:pt x="3596" y="3061"/>
                  </a:cubicBezTo>
                  <a:cubicBezTo>
                    <a:pt x="3608" y="3061"/>
                    <a:pt x="3608" y="3073"/>
                    <a:pt x="3632" y="3073"/>
                  </a:cubicBezTo>
                  <a:cubicBezTo>
                    <a:pt x="3811" y="3073"/>
                    <a:pt x="3870" y="2930"/>
                    <a:pt x="4049" y="2776"/>
                  </a:cubicBezTo>
                  <a:cubicBezTo>
                    <a:pt x="4183" y="2825"/>
                    <a:pt x="4318" y="2848"/>
                    <a:pt x="4450" y="2848"/>
                  </a:cubicBezTo>
                  <a:cubicBezTo>
                    <a:pt x="4797" y="2848"/>
                    <a:pt x="5127" y="2689"/>
                    <a:pt x="5394" y="2430"/>
                  </a:cubicBezTo>
                  <a:cubicBezTo>
                    <a:pt x="5930" y="1895"/>
                    <a:pt x="6371" y="752"/>
                    <a:pt x="5859" y="228"/>
                  </a:cubicBezTo>
                  <a:cubicBezTo>
                    <a:pt x="5695" y="68"/>
                    <a:pt x="5470" y="1"/>
                    <a:pt x="52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1" name="Google Shape;10551;p59"/>
            <p:cNvSpPr/>
            <p:nvPr/>
          </p:nvSpPr>
          <p:spPr>
            <a:xfrm>
              <a:off x="8137879" y="1673440"/>
              <a:ext cx="207886" cy="194029"/>
            </a:xfrm>
            <a:custGeom>
              <a:avLst/>
              <a:gdLst/>
              <a:ahLst/>
              <a:cxnLst/>
              <a:rect l="l" t="t" r="r" b="b"/>
              <a:pathLst>
                <a:path w="6526" h="6091" extrusionOk="0">
                  <a:moveTo>
                    <a:pt x="5242" y="346"/>
                  </a:moveTo>
                  <a:cubicBezTo>
                    <a:pt x="5404" y="346"/>
                    <a:pt x="5542" y="384"/>
                    <a:pt x="5632" y="471"/>
                  </a:cubicBezTo>
                  <a:cubicBezTo>
                    <a:pt x="5953" y="792"/>
                    <a:pt x="5656" y="1733"/>
                    <a:pt x="5179" y="2197"/>
                  </a:cubicBezTo>
                  <a:cubicBezTo>
                    <a:pt x="4947" y="2429"/>
                    <a:pt x="4696" y="2526"/>
                    <a:pt x="4464" y="2526"/>
                  </a:cubicBezTo>
                  <a:cubicBezTo>
                    <a:pt x="3754" y="2526"/>
                    <a:pt x="3218" y="1626"/>
                    <a:pt x="3917" y="935"/>
                  </a:cubicBezTo>
                  <a:cubicBezTo>
                    <a:pt x="4243" y="601"/>
                    <a:pt x="4823" y="346"/>
                    <a:pt x="5242" y="346"/>
                  </a:cubicBezTo>
                  <a:close/>
                  <a:moveTo>
                    <a:pt x="3512" y="2364"/>
                  </a:moveTo>
                  <a:cubicBezTo>
                    <a:pt x="3572" y="2447"/>
                    <a:pt x="3655" y="2543"/>
                    <a:pt x="3762" y="2614"/>
                  </a:cubicBezTo>
                  <a:lnTo>
                    <a:pt x="3655" y="2721"/>
                  </a:lnTo>
                  <a:lnTo>
                    <a:pt x="3405" y="2459"/>
                  </a:lnTo>
                  <a:lnTo>
                    <a:pt x="3512" y="2364"/>
                  </a:lnTo>
                  <a:close/>
                  <a:moveTo>
                    <a:pt x="5245" y="0"/>
                  </a:moveTo>
                  <a:cubicBezTo>
                    <a:pt x="4702" y="0"/>
                    <a:pt x="4047" y="329"/>
                    <a:pt x="3679" y="697"/>
                  </a:cubicBezTo>
                  <a:cubicBezTo>
                    <a:pt x="3298" y="1066"/>
                    <a:pt x="3143" y="1554"/>
                    <a:pt x="3334" y="2042"/>
                  </a:cubicBezTo>
                  <a:cubicBezTo>
                    <a:pt x="3155" y="2245"/>
                    <a:pt x="2989" y="2304"/>
                    <a:pt x="3048" y="2543"/>
                  </a:cubicBezTo>
                  <a:cubicBezTo>
                    <a:pt x="2322" y="3281"/>
                    <a:pt x="2631" y="4126"/>
                    <a:pt x="1596" y="4150"/>
                  </a:cubicBezTo>
                  <a:cubicBezTo>
                    <a:pt x="726" y="4150"/>
                    <a:pt x="310" y="4948"/>
                    <a:pt x="167" y="5293"/>
                  </a:cubicBezTo>
                  <a:cubicBezTo>
                    <a:pt x="107" y="5424"/>
                    <a:pt x="60" y="5555"/>
                    <a:pt x="48" y="5674"/>
                  </a:cubicBezTo>
                  <a:cubicBezTo>
                    <a:pt x="0" y="5852"/>
                    <a:pt x="0" y="5972"/>
                    <a:pt x="167" y="6067"/>
                  </a:cubicBezTo>
                  <a:cubicBezTo>
                    <a:pt x="193" y="6083"/>
                    <a:pt x="220" y="6091"/>
                    <a:pt x="248" y="6091"/>
                  </a:cubicBezTo>
                  <a:cubicBezTo>
                    <a:pt x="319" y="6091"/>
                    <a:pt x="389" y="6040"/>
                    <a:pt x="441" y="5972"/>
                  </a:cubicBezTo>
                  <a:cubicBezTo>
                    <a:pt x="616" y="5762"/>
                    <a:pt x="1054" y="4923"/>
                    <a:pt x="1654" y="4923"/>
                  </a:cubicBezTo>
                  <a:cubicBezTo>
                    <a:pt x="1666" y="4923"/>
                    <a:pt x="1678" y="4923"/>
                    <a:pt x="1691" y="4924"/>
                  </a:cubicBezTo>
                  <a:cubicBezTo>
                    <a:pt x="1709" y="4924"/>
                    <a:pt x="1728" y="4925"/>
                    <a:pt x="1746" y="4925"/>
                  </a:cubicBezTo>
                  <a:cubicBezTo>
                    <a:pt x="2059" y="4925"/>
                    <a:pt x="2348" y="4830"/>
                    <a:pt x="2584" y="4662"/>
                  </a:cubicBezTo>
                  <a:cubicBezTo>
                    <a:pt x="2667" y="4602"/>
                    <a:pt x="2679" y="4507"/>
                    <a:pt x="2631" y="4424"/>
                  </a:cubicBezTo>
                  <a:cubicBezTo>
                    <a:pt x="2596" y="4381"/>
                    <a:pt x="2543" y="4359"/>
                    <a:pt x="2491" y="4359"/>
                  </a:cubicBezTo>
                  <a:cubicBezTo>
                    <a:pt x="2456" y="4359"/>
                    <a:pt x="2422" y="4369"/>
                    <a:pt x="2393" y="4388"/>
                  </a:cubicBezTo>
                  <a:cubicBezTo>
                    <a:pt x="2216" y="4510"/>
                    <a:pt x="1999" y="4580"/>
                    <a:pt x="1769" y="4580"/>
                  </a:cubicBezTo>
                  <a:cubicBezTo>
                    <a:pt x="1751" y="4580"/>
                    <a:pt x="1733" y="4579"/>
                    <a:pt x="1715" y="4578"/>
                  </a:cubicBezTo>
                  <a:cubicBezTo>
                    <a:pt x="1706" y="4578"/>
                    <a:pt x="1697" y="4578"/>
                    <a:pt x="1688" y="4578"/>
                  </a:cubicBezTo>
                  <a:cubicBezTo>
                    <a:pt x="1201" y="4578"/>
                    <a:pt x="841" y="4894"/>
                    <a:pt x="583" y="5221"/>
                  </a:cubicBezTo>
                  <a:cubicBezTo>
                    <a:pt x="782" y="4823"/>
                    <a:pt x="1131" y="4483"/>
                    <a:pt x="1573" y="4483"/>
                  </a:cubicBezTo>
                  <a:cubicBezTo>
                    <a:pt x="1580" y="4483"/>
                    <a:pt x="1588" y="4483"/>
                    <a:pt x="1596" y="4483"/>
                  </a:cubicBezTo>
                  <a:cubicBezTo>
                    <a:pt x="2191" y="4483"/>
                    <a:pt x="2572" y="4209"/>
                    <a:pt x="2786" y="3626"/>
                  </a:cubicBezTo>
                  <a:cubicBezTo>
                    <a:pt x="2929" y="3209"/>
                    <a:pt x="3108" y="2959"/>
                    <a:pt x="3239" y="2804"/>
                  </a:cubicBezTo>
                  <a:lnTo>
                    <a:pt x="3322" y="2876"/>
                  </a:lnTo>
                  <a:cubicBezTo>
                    <a:pt x="2989" y="3257"/>
                    <a:pt x="2917" y="3650"/>
                    <a:pt x="2750" y="3947"/>
                  </a:cubicBezTo>
                  <a:cubicBezTo>
                    <a:pt x="2703" y="4031"/>
                    <a:pt x="2739" y="4126"/>
                    <a:pt x="2810" y="4174"/>
                  </a:cubicBezTo>
                  <a:cubicBezTo>
                    <a:pt x="2832" y="4189"/>
                    <a:pt x="2858" y="4195"/>
                    <a:pt x="2885" y="4195"/>
                  </a:cubicBezTo>
                  <a:cubicBezTo>
                    <a:pt x="2943" y="4195"/>
                    <a:pt x="3003" y="4163"/>
                    <a:pt x="3036" y="4114"/>
                  </a:cubicBezTo>
                  <a:cubicBezTo>
                    <a:pt x="3215" y="3793"/>
                    <a:pt x="3286" y="3376"/>
                    <a:pt x="3584" y="3078"/>
                  </a:cubicBezTo>
                  <a:cubicBezTo>
                    <a:pt x="3596" y="3078"/>
                    <a:pt x="3596" y="3090"/>
                    <a:pt x="3620" y="3090"/>
                  </a:cubicBezTo>
                  <a:cubicBezTo>
                    <a:pt x="3798" y="3090"/>
                    <a:pt x="3858" y="2935"/>
                    <a:pt x="4036" y="2793"/>
                  </a:cubicBezTo>
                  <a:cubicBezTo>
                    <a:pt x="4179" y="2844"/>
                    <a:pt x="4319" y="2868"/>
                    <a:pt x="4454" y="2868"/>
                  </a:cubicBezTo>
                  <a:cubicBezTo>
                    <a:pt x="5689" y="2868"/>
                    <a:pt x="6526" y="887"/>
                    <a:pt x="5882" y="233"/>
                  </a:cubicBezTo>
                  <a:cubicBezTo>
                    <a:pt x="5718" y="69"/>
                    <a:pt x="5493" y="0"/>
                    <a:pt x="52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52" name="Google Shape;10552;p59"/>
          <p:cNvSpPr/>
          <p:nvPr/>
        </p:nvSpPr>
        <p:spPr>
          <a:xfrm>
            <a:off x="5779557" y="2902087"/>
            <a:ext cx="322787" cy="355788"/>
          </a:xfrm>
          <a:custGeom>
            <a:avLst/>
            <a:gdLst/>
            <a:ahLst/>
            <a:cxnLst/>
            <a:rect l="l" t="t" r="r" b="b"/>
            <a:pathLst>
              <a:path w="10133" h="11169" extrusionOk="0">
                <a:moveTo>
                  <a:pt x="5513" y="358"/>
                </a:moveTo>
                <a:cubicBezTo>
                  <a:pt x="5632" y="358"/>
                  <a:pt x="5751" y="394"/>
                  <a:pt x="5822" y="489"/>
                </a:cubicBezTo>
                <a:cubicBezTo>
                  <a:pt x="5894" y="572"/>
                  <a:pt x="5941" y="691"/>
                  <a:pt x="5929" y="810"/>
                </a:cubicBezTo>
                <a:lnTo>
                  <a:pt x="5882" y="1215"/>
                </a:lnTo>
                <a:lnTo>
                  <a:pt x="2417" y="1215"/>
                </a:lnTo>
                <a:cubicBezTo>
                  <a:pt x="2322" y="1215"/>
                  <a:pt x="2250" y="1287"/>
                  <a:pt x="2250" y="1382"/>
                </a:cubicBezTo>
                <a:cubicBezTo>
                  <a:pt x="2250" y="1465"/>
                  <a:pt x="2322" y="1549"/>
                  <a:pt x="2417" y="1549"/>
                </a:cubicBezTo>
                <a:lnTo>
                  <a:pt x="5846" y="1549"/>
                </a:lnTo>
                <a:lnTo>
                  <a:pt x="5810" y="1989"/>
                </a:lnTo>
                <a:lnTo>
                  <a:pt x="5227" y="1989"/>
                </a:lnTo>
                <a:cubicBezTo>
                  <a:pt x="5132" y="1989"/>
                  <a:pt x="5060" y="2061"/>
                  <a:pt x="5060" y="2156"/>
                </a:cubicBezTo>
                <a:cubicBezTo>
                  <a:pt x="5060" y="2251"/>
                  <a:pt x="5132" y="2322"/>
                  <a:pt x="5227" y="2322"/>
                </a:cubicBezTo>
                <a:lnTo>
                  <a:pt x="5763" y="2322"/>
                </a:lnTo>
                <a:lnTo>
                  <a:pt x="5715" y="2763"/>
                </a:lnTo>
                <a:lnTo>
                  <a:pt x="4572" y="2763"/>
                </a:lnTo>
                <a:cubicBezTo>
                  <a:pt x="4477" y="2763"/>
                  <a:pt x="4405" y="2846"/>
                  <a:pt x="4405" y="2930"/>
                </a:cubicBezTo>
                <a:cubicBezTo>
                  <a:pt x="4405" y="3025"/>
                  <a:pt x="4477" y="3096"/>
                  <a:pt x="4572" y="3096"/>
                </a:cubicBezTo>
                <a:lnTo>
                  <a:pt x="5691" y="3096"/>
                </a:lnTo>
                <a:lnTo>
                  <a:pt x="5644" y="3537"/>
                </a:lnTo>
                <a:lnTo>
                  <a:pt x="5239" y="3537"/>
                </a:lnTo>
                <a:cubicBezTo>
                  <a:pt x="5155" y="3537"/>
                  <a:pt x="5072" y="3620"/>
                  <a:pt x="5072" y="3704"/>
                </a:cubicBezTo>
                <a:cubicBezTo>
                  <a:pt x="5072" y="3799"/>
                  <a:pt x="5155" y="3870"/>
                  <a:pt x="5239" y="3870"/>
                </a:cubicBezTo>
                <a:lnTo>
                  <a:pt x="5608" y="3870"/>
                </a:lnTo>
                <a:lnTo>
                  <a:pt x="5572" y="4311"/>
                </a:lnTo>
                <a:lnTo>
                  <a:pt x="4572" y="4311"/>
                </a:lnTo>
                <a:cubicBezTo>
                  <a:pt x="4477" y="4311"/>
                  <a:pt x="4405" y="4394"/>
                  <a:pt x="4405" y="4478"/>
                </a:cubicBezTo>
                <a:cubicBezTo>
                  <a:pt x="4405" y="4573"/>
                  <a:pt x="4477" y="4644"/>
                  <a:pt x="4572" y="4644"/>
                </a:cubicBezTo>
                <a:lnTo>
                  <a:pt x="5525" y="4644"/>
                </a:lnTo>
                <a:lnTo>
                  <a:pt x="5465" y="5311"/>
                </a:lnTo>
                <a:cubicBezTo>
                  <a:pt x="5429" y="5585"/>
                  <a:pt x="5298" y="5954"/>
                  <a:pt x="4441" y="5954"/>
                </a:cubicBezTo>
                <a:lnTo>
                  <a:pt x="1738" y="5954"/>
                </a:lnTo>
                <a:cubicBezTo>
                  <a:pt x="929" y="5930"/>
                  <a:pt x="798" y="5585"/>
                  <a:pt x="762" y="5299"/>
                </a:cubicBezTo>
                <a:lnTo>
                  <a:pt x="393" y="1549"/>
                </a:lnTo>
                <a:lnTo>
                  <a:pt x="1512" y="1549"/>
                </a:lnTo>
                <a:cubicBezTo>
                  <a:pt x="1595" y="1549"/>
                  <a:pt x="1667" y="1465"/>
                  <a:pt x="1667" y="1382"/>
                </a:cubicBezTo>
                <a:cubicBezTo>
                  <a:pt x="1667" y="1287"/>
                  <a:pt x="1595" y="1215"/>
                  <a:pt x="1512" y="1215"/>
                </a:cubicBezTo>
                <a:lnTo>
                  <a:pt x="357" y="1215"/>
                </a:lnTo>
                <a:lnTo>
                  <a:pt x="321" y="810"/>
                </a:lnTo>
                <a:cubicBezTo>
                  <a:pt x="298" y="691"/>
                  <a:pt x="345" y="572"/>
                  <a:pt x="417" y="489"/>
                </a:cubicBezTo>
                <a:cubicBezTo>
                  <a:pt x="500" y="394"/>
                  <a:pt x="619" y="358"/>
                  <a:pt x="738" y="358"/>
                </a:cubicBezTo>
                <a:close/>
                <a:moveTo>
                  <a:pt x="4370" y="6263"/>
                </a:moveTo>
                <a:lnTo>
                  <a:pt x="4370" y="6549"/>
                </a:lnTo>
                <a:cubicBezTo>
                  <a:pt x="4370" y="6716"/>
                  <a:pt x="4227" y="6859"/>
                  <a:pt x="4048" y="6859"/>
                </a:cubicBezTo>
                <a:lnTo>
                  <a:pt x="2203" y="6859"/>
                </a:lnTo>
                <a:cubicBezTo>
                  <a:pt x="2060" y="6859"/>
                  <a:pt x="1905" y="6716"/>
                  <a:pt x="1905" y="6549"/>
                </a:cubicBezTo>
                <a:lnTo>
                  <a:pt x="1905" y="6263"/>
                </a:lnTo>
                <a:close/>
                <a:moveTo>
                  <a:pt x="762" y="1"/>
                </a:moveTo>
                <a:cubicBezTo>
                  <a:pt x="548" y="1"/>
                  <a:pt x="345" y="84"/>
                  <a:pt x="214" y="251"/>
                </a:cubicBezTo>
                <a:cubicBezTo>
                  <a:pt x="60" y="417"/>
                  <a:pt x="0" y="620"/>
                  <a:pt x="24" y="834"/>
                </a:cubicBezTo>
                <a:lnTo>
                  <a:pt x="464" y="5311"/>
                </a:lnTo>
                <a:cubicBezTo>
                  <a:pt x="512" y="5716"/>
                  <a:pt x="738" y="6168"/>
                  <a:pt x="1607" y="6252"/>
                </a:cubicBezTo>
                <a:lnTo>
                  <a:pt x="1607" y="6525"/>
                </a:lnTo>
                <a:cubicBezTo>
                  <a:pt x="1607" y="6871"/>
                  <a:pt x="1893" y="7168"/>
                  <a:pt x="2250" y="7168"/>
                </a:cubicBezTo>
                <a:lnTo>
                  <a:pt x="3012" y="7168"/>
                </a:lnTo>
                <a:lnTo>
                  <a:pt x="3012" y="8966"/>
                </a:lnTo>
                <a:cubicBezTo>
                  <a:pt x="3012" y="10181"/>
                  <a:pt x="3989" y="11169"/>
                  <a:pt x="5215" y="11169"/>
                </a:cubicBezTo>
                <a:lnTo>
                  <a:pt x="7203" y="11169"/>
                </a:lnTo>
                <a:cubicBezTo>
                  <a:pt x="8406" y="11169"/>
                  <a:pt x="9406" y="10192"/>
                  <a:pt x="9406" y="8966"/>
                </a:cubicBezTo>
                <a:lnTo>
                  <a:pt x="9406" y="5668"/>
                </a:lnTo>
                <a:lnTo>
                  <a:pt x="9680" y="5668"/>
                </a:lnTo>
                <a:cubicBezTo>
                  <a:pt x="9930" y="5668"/>
                  <a:pt x="10132" y="5454"/>
                  <a:pt x="10132" y="5204"/>
                </a:cubicBezTo>
                <a:lnTo>
                  <a:pt x="10132" y="2894"/>
                </a:lnTo>
                <a:cubicBezTo>
                  <a:pt x="10073" y="2656"/>
                  <a:pt x="9882" y="2453"/>
                  <a:pt x="9632" y="2453"/>
                </a:cubicBezTo>
                <a:lnTo>
                  <a:pt x="9406" y="2453"/>
                </a:lnTo>
                <a:lnTo>
                  <a:pt x="9406" y="1763"/>
                </a:lnTo>
                <a:cubicBezTo>
                  <a:pt x="9406" y="1680"/>
                  <a:pt x="9335" y="1608"/>
                  <a:pt x="9251" y="1608"/>
                </a:cubicBezTo>
                <a:cubicBezTo>
                  <a:pt x="9156" y="1608"/>
                  <a:pt x="9084" y="1680"/>
                  <a:pt x="9084" y="1763"/>
                </a:cubicBezTo>
                <a:lnTo>
                  <a:pt x="9084" y="2453"/>
                </a:lnTo>
                <a:lnTo>
                  <a:pt x="8858" y="2453"/>
                </a:lnTo>
                <a:cubicBezTo>
                  <a:pt x="8608" y="2453"/>
                  <a:pt x="8394" y="2656"/>
                  <a:pt x="8394" y="2918"/>
                </a:cubicBezTo>
                <a:lnTo>
                  <a:pt x="8394" y="3549"/>
                </a:lnTo>
                <a:cubicBezTo>
                  <a:pt x="8394" y="3644"/>
                  <a:pt x="8477" y="3716"/>
                  <a:pt x="8561" y="3716"/>
                </a:cubicBezTo>
                <a:cubicBezTo>
                  <a:pt x="8656" y="3716"/>
                  <a:pt x="8727" y="3644"/>
                  <a:pt x="8727" y="3549"/>
                </a:cubicBezTo>
                <a:lnTo>
                  <a:pt x="8727" y="2918"/>
                </a:lnTo>
                <a:cubicBezTo>
                  <a:pt x="8727" y="2846"/>
                  <a:pt x="8787" y="2787"/>
                  <a:pt x="8858" y="2787"/>
                </a:cubicBezTo>
                <a:lnTo>
                  <a:pt x="9632" y="2787"/>
                </a:lnTo>
                <a:cubicBezTo>
                  <a:pt x="9704" y="2787"/>
                  <a:pt x="9763" y="2846"/>
                  <a:pt x="9763" y="2918"/>
                </a:cubicBezTo>
                <a:lnTo>
                  <a:pt x="9763" y="5228"/>
                </a:lnTo>
                <a:cubicBezTo>
                  <a:pt x="9763" y="5299"/>
                  <a:pt x="9704" y="5359"/>
                  <a:pt x="9632" y="5359"/>
                </a:cubicBezTo>
                <a:lnTo>
                  <a:pt x="8858" y="5359"/>
                </a:lnTo>
                <a:cubicBezTo>
                  <a:pt x="8787" y="5359"/>
                  <a:pt x="8727" y="5299"/>
                  <a:pt x="8727" y="5228"/>
                </a:cubicBezTo>
                <a:lnTo>
                  <a:pt x="8727" y="4251"/>
                </a:lnTo>
                <a:cubicBezTo>
                  <a:pt x="8727" y="4168"/>
                  <a:pt x="8656" y="4097"/>
                  <a:pt x="8561" y="4097"/>
                </a:cubicBezTo>
                <a:cubicBezTo>
                  <a:pt x="8477" y="4097"/>
                  <a:pt x="8394" y="4168"/>
                  <a:pt x="8394" y="4251"/>
                </a:cubicBezTo>
                <a:lnTo>
                  <a:pt x="8394" y="5228"/>
                </a:lnTo>
                <a:cubicBezTo>
                  <a:pt x="8394" y="5478"/>
                  <a:pt x="8608" y="5680"/>
                  <a:pt x="8858" y="5680"/>
                </a:cubicBezTo>
                <a:lnTo>
                  <a:pt x="9049" y="5680"/>
                </a:lnTo>
                <a:lnTo>
                  <a:pt x="9049" y="8990"/>
                </a:lnTo>
                <a:cubicBezTo>
                  <a:pt x="9049" y="10014"/>
                  <a:pt x="8215" y="10859"/>
                  <a:pt x="7179" y="10859"/>
                </a:cubicBezTo>
                <a:lnTo>
                  <a:pt x="5179" y="10859"/>
                </a:lnTo>
                <a:cubicBezTo>
                  <a:pt x="4155" y="10859"/>
                  <a:pt x="3310" y="10026"/>
                  <a:pt x="3310" y="8990"/>
                </a:cubicBezTo>
                <a:lnTo>
                  <a:pt x="3310" y="7192"/>
                </a:lnTo>
                <a:lnTo>
                  <a:pt x="4072" y="7192"/>
                </a:lnTo>
                <a:cubicBezTo>
                  <a:pt x="4405" y="7192"/>
                  <a:pt x="4703" y="6906"/>
                  <a:pt x="4703" y="6549"/>
                </a:cubicBezTo>
                <a:lnTo>
                  <a:pt x="4703" y="6263"/>
                </a:lnTo>
                <a:cubicBezTo>
                  <a:pt x="5572" y="6204"/>
                  <a:pt x="5810" y="5728"/>
                  <a:pt x="5858" y="5323"/>
                </a:cubicBezTo>
                <a:lnTo>
                  <a:pt x="5941" y="4478"/>
                </a:lnTo>
                <a:lnTo>
                  <a:pt x="6013" y="3704"/>
                </a:lnTo>
                <a:lnTo>
                  <a:pt x="6096" y="2930"/>
                </a:lnTo>
                <a:lnTo>
                  <a:pt x="6239" y="1382"/>
                </a:lnTo>
                <a:lnTo>
                  <a:pt x="6298" y="834"/>
                </a:lnTo>
                <a:cubicBezTo>
                  <a:pt x="6310" y="620"/>
                  <a:pt x="6251" y="417"/>
                  <a:pt x="6108" y="251"/>
                </a:cubicBezTo>
                <a:cubicBezTo>
                  <a:pt x="5953" y="84"/>
                  <a:pt x="5763" y="1"/>
                  <a:pt x="556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53" name="Google Shape;10553;p59"/>
          <p:cNvGrpSpPr/>
          <p:nvPr/>
        </p:nvGrpSpPr>
        <p:grpSpPr>
          <a:xfrm>
            <a:off x="8007400" y="2902278"/>
            <a:ext cx="285230" cy="355597"/>
            <a:chOff x="8007400" y="2902278"/>
            <a:chExt cx="285230" cy="355597"/>
          </a:xfrm>
        </p:grpSpPr>
        <p:sp>
          <p:nvSpPr>
            <p:cNvPr id="10554" name="Google Shape;10554;p59"/>
            <p:cNvSpPr/>
            <p:nvPr/>
          </p:nvSpPr>
          <p:spPr>
            <a:xfrm>
              <a:off x="8134820" y="3165305"/>
              <a:ext cx="39851" cy="39851"/>
            </a:xfrm>
            <a:custGeom>
              <a:avLst/>
              <a:gdLst/>
              <a:ahLst/>
              <a:cxnLst/>
              <a:rect l="l" t="t" r="r" b="b"/>
              <a:pathLst>
                <a:path w="1251" h="1251" extrusionOk="0">
                  <a:moveTo>
                    <a:pt x="632" y="310"/>
                  </a:moveTo>
                  <a:cubicBezTo>
                    <a:pt x="799" y="310"/>
                    <a:pt x="930" y="441"/>
                    <a:pt x="930" y="608"/>
                  </a:cubicBezTo>
                  <a:cubicBezTo>
                    <a:pt x="930" y="775"/>
                    <a:pt x="799" y="906"/>
                    <a:pt x="632" y="906"/>
                  </a:cubicBezTo>
                  <a:cubicBezTo>
                    <a:pt x="465" y="906"/>
                    <a:pt x="334" y="775"/>
                    <a:pt x="334" y="608"/>
                  </a:cubicBezTo>
                  <a:cubicBezTo>
                    <a:pt x="334" y="441"/>
                    <a:pt x="465" y="310"/>
                    <a:pt x="632" y="310"/>
                  </a:cubicBezTo>
                  <a:close/>
                  <a:moveTo>
                    <a:pt x="632" y="1"/>
                  </a:moveTo>
                  <a:cubicBezTo>
                    <a:pt x="287" y="1"/>
                    <a:pt x="1" y="275"/>
                    <a:pt x="1" y="620"/>
                  </a:cubicBezTo>
                  <a:cubicBezTo>
                    <a:pt x="1" y="965"/>
                    <a:pt x="287" y="1251"/>
                    <a:pt x="632" y="1251"/>
                  </a:cubicBezTo>
                  <a:cubicBezTo>
                    <a:pt x="977" y="1251"/>
                    <a:pt x="1251" y="965"/>
                    <a:pt x="1251" y="620"/>
                  </a:cubicBezTo>
                  <a:cubicBezTo>
                    <a:pt x="1251" y="275"/>
                    <a:pt x="977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5" name="Google Shape;10555;p59"/>
            <p:cNvSpPr/>
            <p:nvPr/>
          </p:nvSpPr>
          <p:spPr>
            <a:xfrm>
              <a:off x="8007400" y="2902278"/>
              <a:ext cx="285230" cy="355597"/>
            </a:xfrm>
            <a:custGeom>
              <a:avLst/>
              <a:gdLst/>
              <a:ahLst/>
              <a:cxnLst/>
              <a:rect l="l" t="t" r="r" b="b"/>
              <a:pathLst>
                <a:path w="8954" h="11163" extrusionOk="0">
                  <a:moveTo>
                    <a:pt x="6528" y="337"/>
                  </a:moveTo>
                  <a:cubicBezTo>
                    <a:pt x="6549" y="337"/>
                    <a:pt x="6573" y="346"/>
                    <a:pt x="6596" y="364"/>
                  </a:cubicBezTo>
                  <a:lnTo>
                    <a:pt x="7632" y="1412"/>
                  </a:lnTo>
                  <a:cubicBezTo>
                    <a:pt x="7668" y="1435"/>
                    <a:pt x="7668" y="1483"/>
                    <a:pt x="7632" y="1519"/>
                  </a:cubicBezTo>
                  <a:lnTo>
                    <a:pt x="7489" y="1674"/>
                  </a:lnTo>
                  <a:cubicBezTo>
                    <a:pt x="7472" y="1691"/>
                    <a:pt x="7454" y="1700"/>
                    <a:pt x="7434" y="1700"/>
                  </a:cubicBezTo>
                  <a:cubicBezTo>
                    <a:pt x="7415" y="1700"/>
                    <a:pt x="7394" y="1691"/>
                    <a:pt x="7370" y="1674"/>
                  </a:cubicBezTo>
                  <a:lnTo>
                    <a:pt x="6323" y="626"/>
                  </a:lnTo>
                  <a:cubicBezTo>
                    <a:pt x="6299" y="590"/>
                    <a:pt x="6299" y="542"/>
                    <a:pt x="6323" y="519"/>
                  </a:cubicBezTo>
                  <a:lnTo>
                    <a:pt x="6477" y="364"/>
                  </a:lnTo>
                  <a:cubicBezTo>
                    <a:pt x="6489" y="346"/>
                    <a:pt x="6507" y="337"/>
                    <a:pt x="6528" y="337"/>
                  </a:cubicBezTo>
                  <a:close/>
                  <a:moveTo>
                    <a:pt x="6299" y="1066"/>
                  </a:moveTo>
                  <a:lnTo>
                    <a:pt x="7001" y="1769"/>
                  </a:lnTo>
                  <a:lnTo>
                    <a:pt x="6346" y="2424"/>
                  </a:lnTo>
                  <a:lnTo>
                    <a:pt x="5644" y="1721"/>
                  </a:lnTo>
                  <a:lnTo>
                    <a:pt x="6299" y="1066"/>
                  </a:lnTo>
                  <a:close/>
                  <a:moveTo>
                    <a:pt x="2155" y="4698"/>
                  </a:moveTo>
                  <a:lnTo>
                    <a:pt x="2453" y="4995"/>
                  </a:lnTo>
                  <a:lnTo>
                    <a:pt x="2215" y="5198"/>
                  </a:lnTo>
                  <a:cubicBezTo>
                    <a:pt x="2203" y="5216"/>
                    <a:pt x="2182" y="5225"/>
                    <a:pt x="2160" y="5225"/>
                  </a:cubicBezTo>
                  <a:cubicBezTo>
                    <a:pt x="2137" y="5225"/>
                    <a:pt x="2114" y="5216"/>
                    <a:pt x="2096" y="5198"/>
                  </a:cubicBezTo>
                  <a:lnTo>
                    <a:pt x="1941" y="5031"/>
                  </a:lnTo>
                  <a:cubicBezTo>
                    <a:pt x="1905" y="5007"/>
                    <a:pt x="1905" y="4948"/>
                    <a:pt x="1941" y="4924"/>
                  </a:cubicBezTo>
                  <a:lnTo>
                    <a:pt x="2155" y="4698"/>
                  </a:lnTo>
                  <a:close/>
                  <a:moveTo>
                    <a:pt x="2408" y="3865"/>
                  </a:moveTo>
                  <a:cubicBezTo>
                    <a:pt x="2416" y="3865"/>
                    <a:pt x="2422" y="3869"/>
                    <a:pt x="2429" y="3876"/>
                  </a:cubicBezTo>
                  <a:lnTo>
                    <a:pt x="2572" y="4031"/>
                  </a:lnTo>
                  <a:cubicBezTo>
                    <a:pt x="4203" y="5662"/>
                    <a:pt x="4144" y="5579"/>
                    <a:pt x="4108" y="5603"/>
                  </a:cubicBezTo>
                  <a:lnTo>
                    <a:pt x="3846" y="5876"/>
                  </a:lnTo>
                  <a:cubicBezTo>
                    <a:pt x="3842" y="5879"/>
                    <a:pt x="3839" y="5883"/>
                    <a:pt x="3835" y="5883"/>
                  </a:cubicBezTo>
                  <a:cubicBezTo>
                    <a:pt x="3804" y="5883"/>
                    <a:pt x="3678" y="5722"/>
                    <a:pt x="2120" y="4174"/>
                  </a:cubicBezTo>
                  <a:cubicBezTo>
                    <a:pt x="2096" y="4162"/>
                    <a:pt x="2096" y="4138"/>
                    <a:pt x="2120" y="4138"/>
                  </a:cubicBezTo>
                  <a:cubicBezTo>
                    <a:pt x="2328" y="3930"/>
                    <a:pt x="2378" y="3865"/>
                    <a:pt x="2408" y="3865"/>
                  </a:cubicBezTo>
                  <a:close/>
                  <a:moveTo>
                    <a:pt x="3025" y="5579"/>
                  </a:moveTo>
                  <a:lnTo>
                    <a:pt x="3322" y="5876"/>
                  </a:lnTo>
                  <a:lnTo>
                    <a:pt x="3084" y="6079"/>
                  </a:lnTo>
                  <a:cubicBezTo>
                    <a:pt x="3066" y="6097"/>
                    <a:pt x="3042" y="6106"/>
                    <a:pt x="3020" y="6106"/>
                  </a:cubicBezTo>
                  <a:cubicBezTo>
                    <a:pt x="2998" y="6106"/>
                    <a:pt x="2977" y="6097"/>
                    <a:pt x="2965" y="6079"/>
                  </a:cubicBezTo>
                  <a:lnTo>
                    <a:pt x="2798" y="5912"/>
                  </a:lnTo>
                  <a:cubicBezTo>
                    <a:pt x="2774" y="5888"/>
                    <a:pt x="2774" y="5829"/>
                    <a:pt x="2798" y="5793"/>
                  </a:cubicBezTo>
                  <a:lnTo>
                    <a:pt x="3025" y="5579"/>
                  </a:lnTo>
                  <a:close/>
                  <a:moveTo>
                    <a:pt x="3025" y="6936"/>
                  </a:moveTo>
                  <a:cubicBezTo>
                    <a:pt x="3072" y="6936"/>
                    <a:pt x="3096" y="6972"/>
                    <a:pt x="3096" y="7019"/>
                  </a:cubicBezTo>
                  <a:lnTo>
                    <a:pt x="3096" y="7269"/>
                  </a:lnTo>
                  <a:cubicBezTo>
                    <a:pt x="3096" y="7317"/>
                    <a:pt x="3072" y="7341"/>
                    <a:pt x="3025" y="7341"/>
                  </a:cubicBezTo>
                  <a:lnTo>
                    <a:pt x="405" y="7341"/>
                  </a:lnTo>
                  <a:cubicBezTo>
                    <a:pt x="369" y="7341"/>
                    <a:pt x="334" y="7305"/>
                    <a:pt x="334" y="7269"/>
                  </a:cubicBezTo>
                  <a:lnTo>
                    <a:pt x="334" y="7019"/>
                  </a:lnTo>
                  <a:cubicBezTo>
                    <a:pt x="334" y="6972"/>
                    <a:pt x="358" y="6936"/>
                    <a:pt x="405" y="6936"/>
                  </a:cubicBezTo>
                  <a:close/>
                  <a:moveTo>
                    <a:pt x="1834" y="7674"/>
                  </a:moveTo>
                  <a:cubicBezTo>
                    <a:pt x="2060" y="7960"/>
                    <a:pt x="2322" y="8210"/>
                    <a:pt x="2632" y="8401"/>
                  </a:cubicBezTo>
                  <a:cubicBezTo>
                    <a:pt x="2608" y="8448"/>
                    <a:pt x="2572" y="8496"/>
                    <a:pt x="2548" y="8520"/>
                  </a:cubicBezTo>
                  <a:cubicBezTo>
                    <a:pt x="2489" y="8591"/>
                    <a:pt x="2441" y="8663"/>
                    <a:pt x="2393" y="8746"/>
                  </a:cubicBezTo>
                  <a:cubicBezTo>
                    <a:pt x="2382" y="8770"/>
                    <a:pt x="2334" y="8805"/>
                    <a:pt x="2322" y="8853"/>
                  </a:cubicBezTo>
                  <a:cubicBezTo>
                    <a:pt x="1846" y="8555"/>
                    <a:pt x="1465" y="8151"/>
                    <a:pt x="1167" y="7674"/>
                  </a:cubicBezTo>
                  <a:close/>
                  <a:moveTo>
                    <a:pt x="4632" y="7793"/>
                  </a:moveTo>
                  <a:cubicBezTo>
                    <a:pt x="5870" y="7793"/>
                    <a:pt x="6846" y="8793"/>
                    <a:pt x="6918" y="9936"/>
                  </a:cubicBezTo>
                  <a:lnTo>
                    <a:pt x="2334" y="9936"/>
                  </a:lnTo>
                  <a:cubicBezTo>
                    <a:pt x="2417" y="8770"/>
                    <a:pt x="3406" y="7793"/>
                    <a:pt x="4632" y="7793"/>
                  </a:cubicBezTo>
                  <a:close/>
                  <a:moveTo>
                    <a:pt x="6525" y="1"/>
                  </a:moveTo>
                  <a:cubicBezTo>
                    <a:pt x="6421" y="1"/>
                    <a:pt x="6317" y="42"/>
                    <a:pt x="6239" y="126"/>
                  </a:cubicBezTo>
                  <a:lnTo>
                    <a:pt x="6084" y="269"/>
                  </a:lnTo>
                  <a:cubicBezTo>
                    <a:pt x="5942" y="423"/>
                    <a:pt x="5942" y="662"/>
                    <a:pt x="6073" y="804"/>
                  </a:cubicBezTo>
                  <a:lnTo>
                    <a:pt x="5406" y="1483"/>
                  </a:lnTo>
                  <a:lnTo>
                    <a:pt x="5251" y="1328"/>
                  </a:lnTo>
                  <a:cubicBezTo>
                    <a:pt x="5221" y="1299"/>
                    <a:pt x="5180" y="1284"/>
                    <a:pt x="5136" y="1284"/>
                  </a:cubicBezTo>
                  <a:cubicBezTo>
                    <a:pt x="5093" y="1284"/>
                    <a:pt x="5049" y="1299"/>
                    <a:pt x="5013" y="1328"/>
                  </a:cubicBezTo>
                  <a:lnTo>
                    <a:pt x="3977" y="2376"/>
                  </a:lnTo>
                  <a:cubicBezTo>
                    <a:pt x="3917" y="2436"/>
                    <a:pt x="3917" y="2531"/>
                    <a:pt x="3977" y="2614"/>
                  </a:cubicBezTo>
                  <a:cubicBezTo>
                    <a:pt x="4007" y="2644"/>
                    <a:pt x="4045" y="2659"/>
                    <a:pt x="4087" y="2659"/>
                  </a:cubicBezTo>
                  <a:cubicBezTo>
                    <a:pt x="4129" y="2659"/>
                    <a:pt x="4173" y="2644"/>
                    <a:pt x="4215" y="2614"/>
                  </a:cubicBezTo>
                  <a:lnTo>
                    <a:pt x="5132" y="1685"/>
                  </a:lnTo>
                  <a:lnTo>
                    <a:pt x="6299" y="2852"/>
                  </a:lnTo>
                  <a:lnTo>
                    <a:pt x="4060" y="5079"/>
                  </a:lnTo>
                  <a:lnTo>
                    <a:pt x="2905" y="3924"/>
                  </a:lnTo>
                  <a:lnTo>
                    <a:pt x="3739" y="3090"/>
                  </a:lnTo>
                  <a:cubicBezTo>
                    <a:pt x="3798" y="3031"/>
                    <a:pt x="3798" y="2924"/>
                    <a:pt x="3739" y="2864"/>
                  </a:cubicBezTo>
                  <a:cubicBezTo>
                    <a:pt x="3709" y="2834"/>
                    <a:pt x="3667" y="2820"/>
                    <a:pt x="3624" y="2820"/>
                  </a:cubicBezTo>
                  <a:cubicBezTo>
                    <a:pt x="3581" y="2820"/>
                    <a:pt x="3536" y="2834"/>
                    <a:pt x="3501" y="2864"/>
                  </a:cubicBezTo>
                  <a:lnTo>
                    <a:pt x="2667" y="3698"/>
                  </a:lnTo>
                  <a:lnTo>
                    <a:pt x="2632" y="3662"/>
                  </a:lnTo>
                  <a:cubicBezTo>
                    <a:pt x="2566" y="3596"/>
                    <a:pt x="2477" y="3564"/>
                    <a:pt x="2388" y="3564"/>
                  </a:cubicBezTo>
                  <a:cubicBezTo>
                    <a:pt x="2298" y="3564"/>
                    <a:pt x="2209" y="3596"/>
                    <a:pt x="2143" y="3662"/>
                  </a:cubicBezTo>
                  <a:lnTo>
                    <a:pt x="1870" y="3936"/>
                  </a:lnTo>
                  <a:cubicBezTo>
                    <a:pt x="1739" y="4067"/>
                    <a:pt x="1739" y="4293"/>
                    <a:pt x="1870" y="4424"/>
                  </a:cubicBezTo>
                  <a:lnTo>
                    <a:pt x="1905" y="4460"/>
                  </a:lnTo>
                  <a:cubicBezTo>
                    <a:pt x="1751" y="4638"/>
                    <a:pt x="1548" y="4722"/>
                    <a:pt x="1548" y="4972"/>
                  </a:cubicBezTo>
                  <a:cubicBezTo>
                    <a:pt x="1548" y="5079"/>
                    <a:pt x="1596" y="5186"/>
                    <a:pt x="1667" y="5269"/>
                  </a:cubicBezTo>
                  <a:cubicBezTo>
                    <a:pt x="1786" y="5376"/>
                    <a:pt x="1870" y="5555"/>
                    <a:pt x="2132" y="5555"/>
                  </a:cubicBezTo>
                  <a:cubicBezTo>
                    <a:pt x="2382" y="5555"/>
                    <a:pt x="2465" y="5353"/>
                    <a:pt x="2644" y="5198"/>
                  </a:cubicBezTo>
                  <a:lnTo>
                    <a:pt x="2763" y="5317"/>
                  </a:lnTo>
                  <a:cubicBezTo>
                    <a:pt x="2620" y="5495"/>
                    <a:pt x="2405" y="5591"/>
                    <a:pt x="2405" y="5841"/>
                  </a:cubicBezTo>
                  <a:cubicBezTo>
                    <a:pt x="2405" y="6079"/>
                    <a:pt x="2608" y="6186"/>
                    <a:pt x="2691" y="6305"/>
                  </a:cubicBezTo>
                  <a:cubicBezTo>
                    <a:pt x="2763" y="6377"/>
                    <a:pt x="2870" y="6424"/>
                    <a:pt x="2989" y="6424"/>
                  </a:cubicBezTo>
                  <a:cubicBezTo>
                    <a:pt x="3239" y="6424"/>
                    <a:pt x="3334" y="6210"/>
                    <a:pt x="3513" y="6067"/>
                  </a:cubicBezTo>
                  <a:cubicBezTo>
                    <a:pt x="3525" y="6079"/>
                    <a:pt x="3620" y="6198"/>
                    <a:pt x="3798" y="6198"/>
                  </a:cubicBezTo>
                  <a:cubicBezTo>
                    <a:pt x="3882" y="6198"/>
                    <a:pt x="3977" y="6162"/>
                    <a:pt x="4048" y="6091"/>
                  </a:cubicBezTo>
                  <a:lnTo>
                    <a:pt x="4310" y="5829"/>
                  </a:lnTo>
                  <a:cubicBezTo>
                    <a:pt x="4453" y="5686"/>
                    <a:pt x="4453" y="5472"/>
                    <a:pt x="4310" y="5329"/>
                  </a:cubicBezTo>
                  <a:lnTo>
                    <a:pt x="4287" y="5305"/>
                  </a:lnTo>
                  <a:lnTo>
                    <a:pt x="6239" y="3352"/>
                  </a:lnTo>
                  <a:cubicBezTo>
                    <a:pt x="6930" y="3924"/>
                    <a:pt x="7335" y="4733"/>
                    <a:pt x="7335" y="5626"/>
                  </a:cubicBezTo>
                  <a:cubicBezTo>
                    <a:pt x="7335" y="6555"/>
                    <a:pt x="6906" y="7412"/>
                    <a:pt x="6156" y="7984"/>
                  </a:cubicBezTo>
                  <a:cubicBezTo>
                    <a:pt x="5690" y="7638"/>
                    <a:pt x="5153" y="7470"/>
                    <a:pt x="4619" y="7470"/>
                  </a:cubicBezTo>
                  <a:cubicBezTo>
                    <a:pt x="3993" y="7470"/>
                    <a:pt x="3371" y="7701"/>
                    <a:pt x="2870" y="8151"/>
                  </a:cubicBezTo>
                  <a:cubicBezTo>
                    <a:pt x="2644" y="8008"/>
                    <a:pt x="2453" y="7853"/>
                    <a:pt x="2274" y="7650"/>
                  </a:cubicBezTo>
                  <a:lnTo>
                    <a:pt x="3025" y="7650"/>
                  </a:lnTo>
                  <a:cubicBezTo>
                    <a:pt x="3239" y="7650"/>
                    <a:pt x="3417" y="7472"/>
                    <a:pt x="3417" y="7258"/>
                  </a:cubicBezTo>
                  <a:lnTo>
                    <a:pt x="3417" y="6996"/>
                  </a:lnTo>
                  <a:cubicBezTo>
                    <a:pt x="3417" y="6781"/>
                    <a:pt x="3239" y="6603"/>
                    <a:pt x="3025" y="6603"/>
                  </a:cubicBezTo>
                  <a:lnTo>
                    <a:pt x="405" y="6603"/>
                  </a:lnTo>
                  <a:cubicBezTo>
                    <a:pt x="179" y="6603"/>
                    <a:pt x="0" y="6781"/>
                    <a:pt x="0" y="6996"/>
                  </a:cubicBezTo>
                  <a:lnTo>
                    <a:pt x="0" y="7258"/>
                  </a:lnTo>
                  <a:cubicBezTo>
                    <a:pt x="0" y="7472"/>
                    <a:pt x="179" y="7650"/>
                    <a:pt x="405" y="7650"/>
                  </a:cubicBezTo>
                  <a:lnTo>
                    <a:pt x="774" y="7650"/>
                  </a:lnTo>
                  <a:cubicBezTo>
                    <a:pt x="1036" y="8162"/>
                    <a:pt x="1548" y="8722"/>
                    <a:pt x="2191" y="9127"/>
                  </a:cubicBezTo>
                  <a:cubicBezTo>
                    <a:pt x="2084" y="9377"/>
                    <a:pt x="2036" y="9651"/>
                    <a:pt x="2012" y="9936"/>
                  </a:cubicBezTo>
                  <a:lnTo>
                    <a:pt x="846" y="9936"/>
                  </a:lnTo>
                  <a:cubicBezTo>
                    <a:pt x="774" y="9936"/>
                    <a:pt x="715" y="9972"/>
                    <a:pt x="703" y="10032"/>
                  </a:cubicBezTo>
                  <a:lnTo>
                    <a:pt x="346" y="10948"/>
                  </a:lnTo>
                  <a:cubicBezTo>
                    <a:pt x="298" y="11044"/>
                    <a:pt x="381" y="11163"/>
                    <a:pt x="488" y="11163"/>
                  </a:cubicBezTo>
                  <a:lnTo>
                    <a:pt x="1393" y="11163"/>
                  </a:lnTo>
                  <a:cubicBezTo>
                    <a:pt x="1489" y="11163"/>
                    <a:pt x="1560" y="11091"/>
                    <a:pt x="1560" y="11008"/>
                  </a:cubicBezTo>
                  <a:cubicBezTo>
                    <a:pt x="1560" y="10913"/>
                    <a:pt x="1489" y="10841"/>
                    <a:pt x="1393" y="10841"/>
                  </a:cubicBezTo>
                  <a:lnTo>
                    <a:pt x="739" y="10841"/>
                  </a:lnTo>
                  <a:lnTo>
                    <a:pt x="965" y="10258"/>
                  </a:lnTo>
                  <a:lnTo>
                    <a:pt x="8299" y="10258"/>
                  </a:lnTo>
                  <a:lnTo>
                    <a:pt x="8525" y="10841"/>
                  </a:lnTo>
                  <a:lnTo>
                    <a:pt x="2167" y="10841"/>
                  </a:lnTo>
                  <a:cubicBezTo>
                    <a:pt x="2084" y="10841"/>
                    <a:pt x="2012" y="10913"/>
                    <a:pt x="2012" y="11008"/>
                  </a:cubicBezTo>
                  <a:cubicBezTo>
                    <a:pt x="2012" y="11091"/>
                    <a:pt x="2084" y="11163"/>
                    <a:pt x="2167" y="11163"/>
                  </a:cubicBezTo>
                  <a:lnTo>
                    <a:pt x="8763" y="11163"/>
                  </a:lnTo>
                  <a:cubicBezTo>
                    <a:pt x="8882" y="11163"/>
                    <a:pt x="8954" y="11044"/>
                    <a:pt x="8918" y="10948"/>
                  </a:cubicBezTo>
                  <a:lnTo>
                    <a:pt x="8561" y="10044"/>
                  </a:lnTo>
                  <a:cubicBezTo>
                    <a:pt x="8525" y="9984"/>
                    <a:pt x="8466" y="9936"/>
                    <a:pt x="8406" y="9936"/>
                  </a:cubicBezTo>
                  <a:lnTo>
                    <a:pt x="7251" y="9936"/>
                  </a:lnTo>
                  <a:cubicBezTo>
                    <a:pt x="7216" y="9555"/>
                    <a:pt x="7132" y="9198"/>
                    <a:pt x="6965" y="8889"/>
                  </a:cubicBezTo>
                  <a:cubicBezTo>
                    <a:pt x="7847" y="8210"/>
                    <a:pt x="8430" y="7174"/>
                    <a:pt x="8525" y="6067"/>
                  </a:cubicBezTo>
                  <a:cubicBezTo>
                    <a:pt x="8537" y="5972"/>
                    <a:pt x="8466" y="5900"/>
                    <a:pt x="8382" y="5888"/>
                  </a:cubicBezTo>
                  <a:cubicBezTo>
                    <a:pt x="8371" y="5886"/>
                    <a:pt x="8360" y="5884"/>
                    <a:pt x="8350" y="5884"/>
                  </a:cubicBezTo>
                  <a:cubicBezTo>
                    <a:pt x="8271" y="5884"/>
                    <a:pt x="8214" y="5958"/>
                    <a:pt x="8204" y="6031"/>
                  </a:cubicBezTo>
                  <a:cubicBezTo>
                    <a:pt x="8097" y="7043"/>
                    <a:pt x="7597" y="7972"/>
                    <a:pt x="6799" y="8603"/>
                  </a:cubicBezTo>
                  <a:cubicBezTo>
                    <a:pt x="6751" y="8543"/>
                    <a:pt x="6715" y="8508"/>
                    <a:pt x="6668" y="8460"/>
                  </a:cubicBezTo>
                  <a:cubicBezTo>
                    <a:pt x="6608" y="8389"/>
                    <a:pt x="6537" y="8293"/>
                    <a:pt x="6454" y="8222"/>
                  </a:cubicBezTo>
                  <a:lnTo>
                    <a:pt x="6430" y="8186"/>
                  </a:lnTo>
                  <a:cubicBezTo>
                    <a:pt x="8037" y="6912"/>
                    <a:pt x="8097" y="4460"/>
                    <a:pt x="6477" y="3114"/>
                  </a:cubicBezTo>
                  <a:lnTo>
                    <a:pt x="6632" y="2948"/>
                  </a:lnTo>
                  <a:cubicBezTo>
                    <a:pt x="6692" y="2888"/>
                    <a:pt x="6692" y="2793"/>
                    <a:pt x="6632" y="2733"/>
                  </a:cubicBezTo>
                  <a:lnTo>
                    <a:pt x="6561" y="2650"/>
                  </a:lnTo>
                  <a:lnTo>
                    <a:pt x="6656" y="2567"/>
                  </a:lnTo>
                  <a:cubicBezTo>
                    <a:pt x="7013" y="2793"/>
                    <a:pt x="7489" y="3305"/>
                    <a:pt x="7799" y="3900"/>
                  </a:cubicBezTo>
                  <a:cubicBezTo>
                    <a:pt x="8037" y="4352"/>
                    <a:pt x="8168" y="4876"/>
                    <a:pt x="8216" y="5376"/>
                  </a:cubicBezTo>
                  <a:cubicBezTo>
                    <a:pt x="8216" y="5465"/>
                    <a:pt x="8287" y="5532"/>
                    <a:pt x="8373" y="5532"/>
                  </a:cubicBezTo>
                  <a:cubicBezTo>
                    <a:pt x="8380" y="5532"/>
                    <a:pt x="8387" y="5532"/>
                    <a:pt x="8394" y="5531"/>
                  </a:cubicBezTo>
                  <a:cubicBezTo>
                    <a:pt x="8478" y="5531"/>
                    <a:pt x="8561" y="5436"/>
                    <a:pt x="8537" y="5353"/>
                  </a:cubicBezTo>
                  <a:cubicBezTo>
                    <a:pt x="8454" y="4138"/>
                    <a:pt x="7858" y="3055"/>
                    <a:pt x="6894" y="2328"/>
                  </a:cubicBezTo>
                  <a:lnTo>
                    <a:pt x="7251" y="1971"/>
                  </a:lnTo>
                  <a:cubicBezTo>
                    <a:pt x="7317" y="2002"/>
                    <a:pt x="7384" y="2017"/>
                    <a:pt x="7446" y="2017"/>
                  </a:cubicBezTo>
                  <a:cubicBezTo>
                    <a:pt x="7551" y="2017"/>
                    <a:pt x="7644" y="1975"/>
                    <a:pt x="7704" y="1900"/>
                  </a:cubicBezTo>
                  <a:lnTo>
                    <a:pt x="7858" y="1745"/>
                  </a:lnTo>
                  <a:cubicBezTo>
                    <a:pt x="8025" y="1578"/>
                    <a:pt x="8025" y="1328"/>
                    <a:pt x="7858" y="1162"/>
                  </a:cubicBezTo>
                  <a:lnTo>
                    <a:pt x="6811" y="126"/>
                  </a:lnTo>
                  <a:cubicBezTo>
                    <a:pt x="6733" y="42"/>
                    <a:pt x="6629" y="1"/>
                    <a:pt x="6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56" name="Google Shape;10556;p59"/>
          <p:cNvGrpSpPr/>
          <p:nvPr/>
        </p:nvGrpSpPr>
        <p:grpSpPr>
          <a:xfrm>
            <a:off x="6219124" y="2902788"/>
            <a:ext cx="318231" cy="355470"/>
            <a:chOff x="6219124" y="2902788"/>
            <a:chExt cx="318231" cy="355470"/>
          </a:xfrm>
        </p:grpSpPr>
        <p:sp>
          <p:nvSpPr>
            <p:cNvPr id="10557" name="Google Shape;10557;p59"/>
            <p:cNvSpPr/>
            <p:nvPr/>
          </p:nvSpPr>
          <p:spPr>
            <a:xfrm>
              <a:off x="6219124" y="2990994"/>
              <a:ext cx="140353" cy="267263"/>
            </a:xfrm>
            <a:custGeom>
              <a:avLst/>
              <a:gdLst/>
              <a:ahLst/>
              <a:cxnLst/>
              <a:rect l="l" t="t" r="r" b="b"/>
              <a:pathLst>
                <a:path w="4406" h="8390" extrusionOk="0">
                  <a:moveTo>
                    <a:pt x="1303" y="0"/>
                  </a:moveTo>
                  <a:cubicBezTo>
                    <a:pt x="1243" y="0"/>
                    <a:pt x="1178" y="40"/>
                    <a:pt x="1143" y="91"/>
                  </a:cubicBezTo>
                  <a:cubicBezTo>
                    <a:pt x="858" y="686"/>
                    <a:pt x="715" y="1329"/>
                    <a:pt x="715" y="1984"/>
                  </a:cubicBezTo>
                  <a:cubicBezTo>
                    <a:pt x="715" y="2222"/>
                    <a:pt x="774" y="2627"/>
                    <a:pt x="786" y="2758"/>
                  </a:cubicBezTo>
                  <a:lnTo>
                    <a:pt x="191" y="3806"/>
                  </a:lnTo>
                  <a:cubicBezTo>
                    <a:pt x="0" y="4127"/>
                    <a:pt x="143" y="4544"/>
                    <a:pt x="500" y="4699"/>
                  </a:cubicBezTo>
                  <a:lnTo>
                    <a:pt x="1143" y="4961"/>
                  </a:lnTo>
                  <a:lnTo>
                    <a:pt x="1143" y="6104"/>
                  </a:lnTo>
                  <a:cubicBezTo>
                    <a:pt x="1143" y="6628"/>
                    <a:pt x="1572" y="7056"/>
                    <a:pt x="2096" y="7056"/>
                  </a:cubicBezTo>
                  <a:lnTo>
                    <a:pt x="2965" y="7056"/>
                  </a:lnTo>
                  <a:lnTo>
                    <a:pt x="2965" y="8223"/>
                  </a:lnTo>
                  <a:cubicBezTo>
                    <a:pt x="2965" y="8306"/>
                    <a:pt x="3036" y="8390"/>
                    <a:pt x="3120" y="8390"/>
                  </a:cubicBezTo>
                  <a:cubicBezTo>
                    <a:pt x="3215" y="8390"/>
                    <a:pt x="3286" y="8306"/>
                    <a:pt x="3286" y="8223"/>
                  </a:cubicBezTo>
                  <a:lnTo>
                    <a:pt x="3286" y="7044"/>
                  </a:lnTo>
                  <a:cubicBezTo>
                    <a:pt x="3525" y="7032"/>
                    <a:pt x="4001" y="6937"/>
                    <a:pt x="4334" y="6663"/>
                  </a:cubicBezTo>
                  <a:cubicBezTo>
                    <a:pt x="4406" y="6604"/>
                    <a:pt x="4406" y="6497"/>
                    <a:pt x="4346" y="6437"/>
                  </a:cubicBezTo>
                  <a:cubicBezTo>
                    <a:pt x="4320" y="6398"/>
                    <a:pt x="4279" y="6380"/>
                    <a:pt x="4234" y="6380"/>
                  </a:cubicBezTo>
                  <a:cubicBezTo>
                    <a:pt x="4197" y="6380"/>
                    <a:pt x="4157" y="6392"/>
                    <a:pt x="4120" y="6413"/>
                  </a:cubicBezTo>
                  <a:cubicBezTo>
                    <a:pt x="3763" y="6735"/>
                    <a:pt x="3144" y="6735"/>
                    <a:pt x="3132" y="6735"/>
                  </a:cubicBezTo>
                  <a:lnTo>
                    <a:pt x="2096" y="6735"/>
                  </a:lnTo>
                  <a:cubicBezTo>
                    <a:pt x="1762" y="6735"/>
                    <a:pt x="1477" y="6449"/>
                    <a:pt x="1477" y="6104"/>
                  </a:cubicBezTo>
                  <a:lnTo>
                    <a:pt x="1477" y="4854"/>
                  </a:lnTo>
                  <a:cubicBezTo>
                    <a:pt x="1477" y="4782"/>
                    <a:pt x="1429" y="4723"/>
                    <a:pt x="1370" y="4711"/>
                  </a:cubicBezTo>
                  <a:lnTo>
                    <a:pt x="619" y="4389"/>
                  </a:lnTo>
                  <a:cubicBezTo>
                    <a:pt x="465" y="4318"/>
                    <a:pt x="381" y="4127"/>
                    <a:pt x="477" y="3961"/>
                  </a:cubicBezTo>
                  <a:cubicBezTo>
                    <a:pt x="1120" y="2818"/>
                    <a:pt x="1131" y="2865"/>
                    <a:pt x="1120" y="2770"/>
                  </a:cubicBezTo>
                  <a:cubicBezTo>
                    <a:pt x="1120" y="2770"/>
                    <a:pt x="1036" y="2246"/>
                    <a:pt x="1036" y="1984"/>
                  </a:cubicBezTo>
                  <a:cubicBezTo>
                    <a:pt x="1036" y="1377"/>
                    <a:pt x="1179" y="782"/>
                    <a:pt x="1441" y="246"/>
                  </a:cubicBezTo>
                  <a:cubicBezTo>
                    <a:pt x="1489" y="163"/>
                    <a:pt x="1441" y="67"/>
                    <a:pt x="1370" y="20"/>
                  </a:cubicBezTo>
                  <a:cubicBezTo>
                    <a:pt x="1350" y="6"/>
                    <a:pt x="1327" y="0"/>
                    <a:pt x="13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8" name="Google Shape;10558;p59"/>
            <p:cNvSpPr/>
            <p:nvPr/>
          </p:nvSpPr>
          <p:spPr>
            <a:xfrm>
              <a:off x="6268054" y="2902788"/>
              <a:ext cx="269302" cy="354705"/>
            </a:xfrm>
            <a:custGeom>
              <a:avLst/>
              <a:gdLst/>
              <a:ahLst/>
              <a:cxnLst/>
              <a:rect l="l" t="t" r="r" b="b"/>
              <a:pathLst>
                <a:path w="8454" h="11135" extrusionOk="0">
                  <a:moveTo>
                    <a:pt x="8246" y="1"/>
                  </a:moveTo>
                  <a:cubicBezTo>
                    <a:pt x="8218" y="1"/>
                    <a:pt x="8187" y="9"/>
                    <a:pt x="8156" y="26"/>
                  </a:cubicBezTo>
                  <a:lnTo>
                    <a:pt x="5930" y="1098"/>
                  </a:lnTo>
                  <a:cubicBezTo>
                    <a:pt x="5192" y="610"/>
                    <a:pt x="4366" y="377"/>
                    <a:pt x="3549" y="377"/>
                  </a:cubicBezTo>
                  <a:cubicBezTo>
                    <a:pt x="2216" y="377"/>
                    <a:pt x="909" y="997"/>
                    <a:pt x="60" y="2134"/>
                  </a:cubicBezTo>
                  <a:cubicBezTo>
                    <a:pt x="0" y="2205"/>
                    <a:pt x="12" y="2312"/>
                    <a:pt x="84" y="2360"/>
                  </a:cubicBezTo>
                  <a:cubicBezTo>
                    <a:pt x="113" y="2385"/>
                    <a:pt x="149" y="2397"/>
                    <a:pt x="185" y="2397"/>
                  </a:cubicBezTo>
                  <a:cubicBezTo>
                    <a:pt x="234" y="2397"/>
                    <a:pt x="282" y="2373"/>
                    <a:pt x="310" y="2324"/>
                  </a:cubicBezTo>
                  <a:cubicBezTo>
                    <a:pt x="1125" y="1233"/>
                    <a:pt x="2334" y="704"/>
                    <a:pt x="3540" y="704"/>
                  </a:cubicBezTo>
                  <a:cubicBezTo>
                    <a:pt x="4255" y="704"/>
                    <a:pt x="4967" y="890"/>
                    <a:pt x="5596" y="1253"/>
                  </a:cubicBezTo>
                  <a:lnTo>
                    <a:pt x="5596" y="1277"/>
                  </a:lnTo>
                  <a:cubicBezTo>
                    <a:pt x="5513" y="1336"/>
                    <a:pt x="5513" y="1396"/>
                    <a:pt x="5513" y="1396"/>
                  </a:cubicBezTo>
                  <a:cubicBezTo>
                    <a:pt x="5513" y="1396"/>
                    <a:pt x="5501" y="1479"/>
                    <a:pt x="5596" y="1538"/>
                  </a:cubicBezTo>
                  <a:lnTo>
                    <a:pt x="6370" y="2050"/>
                  </a:lnTo>
                  <a:lnTo>
                    <a:pt x="4989" y="3253"/>
                  </a:lnTo>
                  <a:cubicBezTo>
                    <a:pt x="4906" y="3324"/>
                    <a:pt x="4906" y="3455"/>
                    <a:pt x="5025" y="3515"/>
                  </a:cubicBezTo>
                  <a:cubicBezTo>
                    <a:pt x="5046" y="3524"/>
                    <a:pt x="5059" y="3531"/>
                    <a:pt x="5082" y="3531"/>
                  </a:cubicBezTo>
                  <a:cubicBezTo>
                    <a:pt x="5175" y="3531"/>
                    <a:pt x="5438" y="3414"/>
                    <a:pt x="7120" y="2860"/>
                  </a:cubicBezTo>
                  <a:lnTo>
                    <a:pt x="7120" y="2860"/>
                  </a:lnTo>
                  <a:cubicBezTo>
                    <a:pt x="7989" y="4515"/>
                    <a:pt x="7632" y="6611"/>
                    <a:pt x="6108" y="7849"/>
                  </a:cubicBezTo>
                  <a:cubicBezTo>
                    <a:pt x="5775" y="8135"/>
                    <a:pt x="5584" y="8551"/>
                    <a:pt x="5584" y="8992"/>
                  </a:cubicBezTo>
                  <a:lnTo>
                    <a:pt x="5584" y="10980"/>
                  </a:lnTo>
                  <a:cubicBezTo>
                    <a:pt x="5584" y="11063"/>
                    <a:pt x="5656" y="11135"/>
                    <a:pt x="5739" y="11135"/>
                  </a:cubicBezTo>
                  <a:cubicBezTo>
                    <a:pt x="5834" y="11135"/>
                    <a:pt x="5906" y="11063"/>
                    <a:pt x="5906" y="10980"/>
                  </a:cubicBezTo>
                  <a:lnTo>
                    <a:pt x="5906" y="8992"/>
                  </a:lnTo>
                  <a:cubicBezTo>
                    <a:pt x="5906" y="8635"/>
                    <a:pt x="6049" y="8313"/>
                    <a:pt x="6322" y="8099"/>
                  </a:cubicBezTo>
                  <a:cubicBezTo>
                    <a:pt x="7870" y="6825"/>
                    <a:pt x="8394" y="4634"/>
                    <a:pt x="7442" y="2765"/>
                  </a:cubicBezTo>
                  <a:lnTo>
                    <a:pt x="8347" y="2467"/>
                  </a:lnTo>
                  <a:cubicBezTo>
                    <a:pt x="8406" y="2443"/>
                    <a:pt x="8454" y="2384"/>
                    <a:pt x="8454" y="2324"/>
                  </a:cubicBezTo>
                  <a:cubicBezTo>
                    <a:pt x="8454" y="2265"/>
                    <a:pt x="8418" y="2205"/>
                    <a:pt x="8382" y="2181"/>
                  </a:cubicBezTo>
                  <a:lnTo>
                    <a:pt x="8085" y="1955"/>
                  </a:lnTo>
                  <a:cubicBezTo>
                    <a:pt x="8050" y="1930"/>
                    <a:pt x="8013" y="1918"/>
                    <a:pt x="7979" y="1918"/>
                  </a:cubicBezTo>
                  <a:cubicBezTo>
                    <a:pt x="7930" y="1918"/>
                    <a:pt x="7886" y="1942"/>
                    <a:pt x="7858" y="1991"/>
                  </a:cubicBezTo>
                  <a:cubicBezTo>
                    <a:pt x="7799" y="2062"/>
                    <a:pt x="7811" y="2170"/>
                    <a:pt x="7882" y="2205"/>
                  </a:cubicBezTo>
                  <a:lnTo>
                    <a:pt x="7930" y="2241"/>
                  </a:lnTo>
                  <a:lnTo>
                    <a:pt x="7144" y="2503"/>
                  </a:lnTo>
                  <a:lnTo>
                    <a:pt x="5822" y="2955"/>
                  </a:lnTo>
                  <a:lnTo>
                    <a:pt x="5822" y="2955"/>
                  </a:lnTo>
                  <a:lnTo>
                    <a:pt x="6751" y="2134"/>
                  </a:lnTo>
                  <a:cubicBezTo>
                    <a:pt x="6834" y="2062"/>
                    <a:pt x="6834" y="1931"/>
                    <a:pt x="6739" y="1872"/>
                  </a:cubicBezTo>
                  <a:lnTo>
                    <a:pt x="6025" y="1408"/>
                  </a:lnTo>
                  <a:lnTo>
                    <a:pt x="7692" y="598"/>
                  </a:lnTo>
                  <a:lnTo>
                    <a:pt x="7692" y="598"/>
                  </a:lnTo>
                  <a:cubicBezTo>
                    <a:pt x="7096" y="1419"/>
                    <a:pt x="7037" y="1408"/>
                    <a:pt x="7049" y="1527"/>
                  </a:cubicBezTo>
                  <a:cubicBezTo>
                    <a:pt x="7073" y="1634"/>
                    <a:pt x="7156" y="1658"/>
                    <a:pt x="7323" y="1777"/>
                  </a:cubicBezTo>
                  <a:cubicBezTo>
                    <a:pt x="7353" y="1802"/>
                    <a:pt x="7391" y="1815"/>
                    <a:pt x="7428" y="1815"/>
                  </a:cubicBezTo>
                  <a:cubicBezTo>
                    <a:pt x="7476" y="1815"/>
                    <a:pt x="7522" y="1793"/>
                    <a:pt x="7549" y="1753"/>
                  </a:cubicBezTo>
                  <a:cubicBezTo>
                    <a:pt x="7608" y="1669"/>
                    <a:pt x="7585" y="1574"/>
                    <a:pt x="7513" y="1527"/>
                  </a:cubicBezTo>
                  <a:lnTo>
                    <a:pt x="7454" y="1479"/>
                  </a:lnTo>
                  <a:lnTo>
                    <a:pt x="8358" y="265"/>
                  </a:lnTo>
                  <a:cubicBezTo>
                    <a:pt x="8446" y="148"/>
                    <a:pt x="8367" y="1"/>
                    <a:pt x="82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9" name="Google Shape;10559;p59"/>
            <p:cNvSpPr/>
            <p:nvPr/>
          </p:nvSpPr>
          <p:spPr>
            <a:xfrm>
              <a:off x="6407993" y="2995773"/>
              <a:ext cx="31505" cy="37207"/>
            </a:xfrm>
            <a:custGeom>
              <a:avLst/>
              <a:gdLst/>
              <a:ahLst/>
              <a:cxnLst/>
              <a:rect l="l" t="t" r="r" b="b"/>
              <a:pathLst>
                <a:path w="989" h="1168" extrusionOk="0">
                  <a:moveTo>
                    <a:pt x="179" y="1"/>
                  </a:moveTo>
                  <a:cubicBezTo>
                    <a:pt x="84" y="1"/>
                    <a:pt x="13" y="84"/>
                    <a:pt x="13" y="167"/>
                  </a:cubicBezTo>
                  <a:cubicBezTo>
                    <a:pt x="1" y="763"/>
                    <a:pt x="263" y="1120"/>
                    <a:pt x="798" y="1167"/>
                  </a:cubicBezTo>
                  <a:cubicBezTo>
                    <a:pt x="894" y="1167"/>
                    <a:pt x="965" y="1108"/>
                    <a:pt x="977" y="1013"/>
                  </a:cubicBezTo>
                  <a:cubicBezTo>
                    <a:pt x="989" y="905"/>
                    <a:pt x="917" y="822"/>
                    <a:pt x="834" y="822"/>
                  </a:cubicBezTo>
                  <a:cubicBezTo>
                    <a:pt x="596" y="810"/>
                    <a:pt x="322" y="703"/>
                    <a:pt x="334" y="167"/>
                  </a:cubicBezTo>
                  <a:cubicBezTo>
                    <a:pt x="334" y="84"/>
                    <a:pt x="26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60" name="Google Shape;10560;p59"/>
          <p:cNvGrpSpPr/>
          <p:nvPr/>
        </p:nvGrpSpPr>
        <p:grpSpPr>
          <a:xfrm>
            <a:off x="4969421" y="2902852"/>
            <a:ext cx="185109" cy="355406"/>
            <a:chOff x="4969421" y="2902852"/>
            <a:chExt cx="185109" cy="355406"/>
          </a:xfrm>
        </p:grpSpPr>
        <p:sp>
          <p:nvSpPr>
            <p:cNvPr id="10561" name="Google Shape;10561;p59"/>
            <p:cNvSpPr/>
            <p:nvPr/>
          </p:nvSpPr>
          <p:spPr>
            <a:xfrm>
              <a:off x="5022906" y="3084138"/>
              <a:ext cx="16310" cy="15959"/>
            </a:xfrm>
            <a:custGeom>
              <a:avLst/>
              <a:gdLst/>
              <a:ahLst/>
              <a:cxnLst/>
              <a:rect l="l" t="t" r="r" b="b"/>
              <a:pathLst>
                <a:path w="512" h="501" extrusionOk="0">
                  <a:moveTo>
                    <a:pt x="262" y="1"/>
                  </a:moveTo>
                  <a:cubicBezTo>
                    <a:pt x="119" y="1"/>
                    <a:pt x="0" y="120"/>
                    <a:pt x="0" y="251"/>
                  </a:cubicBezTo>
                  <a:cubicBezTo>
                    <a:pt x="0" y="406"/>
                    <a:pt x="119" y="501"/>
                    <a:pt x="262" y="501"/>
                  </a:cubicBezTo>
                  <a:cubicBezTo>
                    <a:pt x="393" y="501"/>
                    <a:pt x="512" y="382"/>
                    <a:pt x="512" y="251"/>
                  </a:cubicBezTo>
                  <a:cubicBezTo>
                    <a:pt x="512" y="120"/>
                    <a:pt x="405" y="13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2" name="Google Shape;10562;p59"/>
            <p:cNvSpPr/>
            <p:nvPr/>
          </p:nvSpPr>
          <p:spPr>
            <a:xfrm>
              <a:off x="5086998" y="3107265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21" y="0"/>
                  </a:moveTo>
                  <a:cubicBezTo>
                    <a:pt x="215" y="0"/>
                    <a:pt x="209" y="0"/>
                    <a:pt x="203" y="1"/>
                  </a:cubicBezTo>
                  <a:cubicBezTo>
                    <a:pt x="84" y="1"/>
                    <a:pt x="0" y="96"/>
                    <a:pt x="0" y="215"/>
                  </a:cubicBezTo>
                  <a:cubicBezTo>
                    <a:pt x="0" y="334"/>
                    <a:pt x="84" y="418"/>
                    <a:pt x="203" y="418"/>
                  </a:cubicBezTo>
                  <a:cubicBezTo>
                    <a:pt x="334" y="418"/>
                    <a:pt x="417" y="334"/>
                    <a:pt x="417" y="215"/>
                  </a:cubicBezTo>
                  <a:cubicBezTo>
                    <a:pt x="417" y="92"/>
                    <a:pt x="322" y="0"/>
                    <a:pt x="2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3" name="Google Shape;10563;p59"/>
            <p:cNvSpPr/>
            <p:nvPr/>
          </p:nvSpPr>
          <p:spPr>
            <a:xfrm>
              <a:off x="5039566" y="3205092"/>
              <a:ext cx="13315" cy="13347"/>
            </a:xfrm>
            <a:custGeom>
              <a:avLst/>
              <a:gdLst/>
              <a:ahLst/>
              <a:cxnLst/>
              <a:rect l="l" t="t" r="r" b="b"/>
              <a:pathLst>
                <a:path w="418" h="419" extrusionOk="0">
                  <a:moveTo>
                    <a:pt x="225" y="1"/>
                  </a:moveTo>
                  <a:cubicBezTo>
                    <a:pt x="218" y="1"/>
                    <a:pt x="211" y="1"/>
                    <a:pt x="203" y="2"/>
                  </a:cubicBezTo>
                  <a:cubicBezTo>
                    <a:pt x="84" y="2"/>
                    <a:pt x="1" y="85"/>
                    <a:pt x="1" y="204"/>
                  </a:cubicBezTo>
                  <a:cubicBezTo>
                    <a:pt x="1" y="323"/>
                    <a:pt x="84" y="419"/>
                    <a:pt x="203" y="419"/>
                  </a:cubicBezTo>
                  <a:cubicBezTo>
                    <a:pt x="334" y="419"/>
                    <a:pt x="418" y="323"/>
                    <a:pt x="418" y="204"/>
                  </a:cubicBezTo>
                  <a:cubicBezTo>
                    <a:pt x="418" y="92"/>
                    <a:pt x="343" y="1"/>
                    <a:pt x="2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4" name="Google Shape;10564;p59"/>
            <p:cNvSpPr/>
            <p:nvPr/>
          </p:nvSpPr>
          <p:spPr>
            <a:xfrm>
              <a:off x="5086998" y="3175530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19" y="0"/>
                  </a:moveTo>
                  <a:cubicBezTo>
                    <a:pt x="214" y="0"/>
                    <a:pt x="208" y="1"/>
                    <a:pt x="203" y="1"/>
                  </a:cubicBezTo>
                  <a:cubicBezTo>
                    <a:pt x="84" y="1"/>
                    <a:pt x="0" y="96"/>
                    <a:pt x="0" y="215"/>
                  </a:cubicBezTo>
                  <a:cubicBezTo>
                    <a:pt x="0" y="323"/>
                    <a:pt x="84" y="418"/>
                    <a:pt x="203" y="418"/>
                  </a:cubicBezTo>
                  <a:cubicBezTo>
                    <a:pt x="334" y="418"/>
                    <a:pt x="417" y="323"/>
                    <a:pt x="417" y="215"/>
                  </a:cubicBezTo>
                  <a:cubicBezTo>
                    <a:pt x="417" y="103"/>
                    <a:pt x="320" y="0"/>
                    <a:pt x="2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5" name="Google Shape;10565;p59"/>
            <p:cNvSpPr/>
            <p:nvPr/>
          </p:nvSpPr>
          <p:spPr>
            <a:xfrm>
              <a:off x="5033131" y="3137623"/>
              <a:ext cx="17106" cy="17106"/>
            </a:xfrm>
            <a:custGeom>
              <a:avLst/>
              <a:gdLst/>
              <a:ahLst/>
              <a:cxnLst/>
              <a:rect l="l" t="t" r="r" b="b"/>
              <a:pathLst>
                <a:path w="537" h="537" extrusionOk="0">
                  <a:moveTo>
                    <a:pt x="262" y="1"/>
                  </a:moveTo>
                  <a:cubicBezTo>
                    <a:pt x="120" y="1"/>
                    <a:pt x="1" y="120"/>
                    <a:pt x="1" y="274"/>
                  </a:cubicBezTo>
                  <a:cubicBezTo>
                    <a:pt x="1" y="417"/>
                    <a:pt x="120" y="536"/>
                    <a:pt x="262" y="536"/>
                  </a:cubicBezTo>
                  <a:cubicBezTo>
                    <a:pt x="417" y="536"/>
                    <a:pt x="536" y="417"/>
                    <a:pt x="536" y="274"/>
                  </a:cubicBezTo>
                  <a:cubicBezTo>
                    <a:pt x="536" y="120"/>
                    <a:pt x="417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6" name="Google Shape;10566;p59"/>
            <p:cNvSpPr/>
            <p:nvPr/>
          </p:nvSpPr>
          <p:spPr>
            <a:xfrm>
              <a:off x="4969421" y="2902852"/>
              <a:ext cx="185109" cy="355406"/>
            </a:xfrm>
            <a:custGeom>
              <a:avLst/>
              <a:gdLst/>
              <a:ahLst/>
              <a:cxnLst/>
              <a:rect l="l" t="t" r="r" b="b"/>
              <a:pathLst>
                <a:path w="5811" h="11157" extrusionOk="0">
                  <a:moveTo>
                    <a:pt x="1916" y="4904"/>
                  </a:moveTo>
                  <a:cubicBezTo>
                    <a:pt x="2183" y="4904"/>
                    <a:pt x="2490" y="4967"/>
                    <a:pt x="2810" y="5156"/>
                  </a:cubicBezTo>
                  <a:cubicBezTo>
                    <a:pt x="3108" y="5335"/>
                    <a:pt x="3426" y="5421"/>
                    <a:pt x="3748" y="5421"/>
                  </a:cubicBezTo>
                  <a:cubicBezTo>
                    <a:pt x="4069" y="5421"/>
                    <a:pt x="4394" y="5335"/>
                    <a:pt x="4703" y="5168"/>
                  </a:cubicBezTo>
                  <a:lnTo>
                    <a:pt x="4703" y="9025"/>
                  </a:lnTo>
                  <a:cubicBezTo>
                    <a:pt x="4703" y="10026"/>
                    <a:pt x="3906" y="10823"/>
                    <a:pt x="2905" y="10823"/>
                  </a:cubicBezTo>
                  <a:cubicBezTo>
                    <a:pt x="1905" y="10823"/>
                    <a:pt x="1108" y="10026"/>
                    <a:pt x="1108" y="9025"/>
                  </a:cubicBezTo>
                  <a:lnTo>
                    <a:pt x="1108" y="5108"/>
                  </a:lnTo>
                  <a:cubicBezTo>
                    <a:pt x="1228" y="5038"/>
                    <a:pt x="1528" y="4904"/>
                    <a:pt x="1916" y="4904"/>
                  </a:cubicBezTo>
                  <a:close/>
                  <a:moveTo>
                    <a:pt x="512" y="1"/>
                  </a:moveTo>
                  <a:cubicBezTo>
                    <a:pt x="226" y="1"/>
                    <a:pt x="0" y="227"/>
                    <a:pt x="0" y="513"/>
                  </a:cubicBezTo>
                  <a:lnTo>
                    <a:pt x="0" y="834"/>
                  </a:lnTo>
                  <a:cubicBezTo>
                    <a:pt x="0" y="1120"/>
                    <a:pt x="226" y="1346"/>
                    <a:pt x="512" y="1346"/>
                  </a:cubicBezTo>
                  <a:lnTo>
                    <a:pt x="774" y="1346"/>
                  </a:lnTo>
                  <a:lnTo>
                    <a:pt x="774" y="9025"/>
                  </a:lnTo>
                  <a:cubicBezTo>
                    <a:pt x="774" y="10204"/>
                    <a:pt x="1727" y="11157"/>
                    <a:pt x="2905" y="11157"/>
                  </a:cubicBezTo>
                  <a:cubicBezTo>
                    <a:pt x="4084" y="11157"/>
                    <a:pt x="5037" y="10204"/>
                    <a:pt x="5037" y="9025"/>
                  </a:cubicBezTo>
                  <a:lnTo>
                    <a:pt x="5037" y="3441"/>
                  </a:lnTo>
                  <a:cubicBezTo>
                    <a:pt x="5037" y="3358"/>
                    <a:pt x="4953" y="3275"/>
                    <a:pt x="4870" y="3275"/>
                  </a:cubicBezTo>
                  <a:cubicBezTo>
                    <a:pt x="4775" y="3275"/>
                    <a:pt x="4703" y="3358"/>
                    <a:pt x="4703" y="3441"/>
                  </a:cubicBezTo>
                  <a:lnTo>
                    <a:pt x="4703" y="4787"/>
                  </a:lnTo>
                  <a:cubicBezTo>
                    <a:pt x="4571" y="4873"/>
                    <a:pt x="4209" y="5081"/>
                    <a:pt x="3757" y="5081"/>
                  </a:cubicBezTo>
                  <a:cubicBezTo>
                    <a:pt x="3519" y="5081"/>
                    <a:pt x="3256" y="5023"/>
                    <a:pt x="2989" y="4858"/>
                  </a:cubicBezTo>
                  <a:cubicBezTo>
                    <a:pt x="2617" y="4633"/>
                    <a:pt x="2259" y="4557"/>
                    <a:pt x="1945" y="4557"/>
                  </a:cubicBezTo>
                  <a:cubicBezTo>
                    <a:pt x="1596" y="4557"/>
                    <a:pt x="1302" y="4651"/>
                    <a:pt x="1108" y="4739"/>
                  </a:cubicBezTo>
                  <a:lnTo>
                    <a:pt x="1108" y="1334"/>
                  </a:lnTo>
                  <a:lnTo>
                    <a:pt x="4703" y="1334"/>
                  </a:lnTo>
                  <a:lnTo>
                    <a:pt x="4703" y="2560"/>
                  </a:lnTo>
                  <a:cubicBezTo>
                    <a:pt x="4703" y="2656"/>
                    <a:pt x="4775" y="2727"/>
                    <a:pt x="4870" y="2727"/>
                  </a:cubicBezTo>
                  <a:cubicBezTo>
                    <a:pt x="4953" y="2727"/>
                    <a:pt x="5037" y="2656"/>
                    <a:pt x="5037" y="2560"/>
                  </a:cubicBezTo>
                  <a:lnTo>
                    <a:pt x="5037" y="1334"/>
                  </a:lnTo>
                  <a:lnTo>
                    <a:pt x="5299" y="1334"/>
                  </a:lnTo>
                  <a:cubicBezTo>
                    <a:pt x="5584" y="1334"/>
                    <a:pt x="5811" y="1108"/>
                    <a:pt x="5811" y="822"/>
                  </a:cubicBezTo>
                  <a:lnTo>
                    <a:pt x="5811" y="501"/>
                  </a:lnTo>
                  <a:cubicBezTo>
                    <a:pt x="5787" y="227"/>
                    <a:pt x="5549" y="1"/>
                    <a:pt x="5287" y="1"/>
                  </a:cubicBezTo>
                  <a:lnTo>
                    <a:pt x="1822" y="1"/>
                  </a:lnTo>
                  <a:cubicBezTo>
                    <a:pt x="1727" y="1"/>
                    <a:pt x="1655" y="84"/>
                    <a:pt x="1655" y="167"/>
                  </a:cubicBezTo>
                  <a:cubicBezTo>
                    <a:pt x="1655" y="263"/>
                    <a:pt x="1727" y="334"/>
                    <a:pt x="1822" y="334"/>
                  </a:cubicBezTo>
                  <a:lnTo>
                    <a:pt x="5287" y="334"/>
                  </a:lnTo>
                  <a:cubicBezTo>
                    <a:pt x="5394" y="334"/>
                    <a:pt x="5465" y="405"/>
                    <a:pt x="5465" y="513"/>
                  </a:cubicBezTo>
                  <a:lnTo>
                    <a:pt x="5465" y="834"/>
                  </a:lnTo>
                  <a:cubicBezTo>
                    <a:pt x="5465" y="941"/>
                    <a:pt x="5394" y="1013"/>
                    <a:pt x="5287" y="1013"/>
                  </a:cubicBezTo>
                  <a:lnTo>
                    <a:pt x="512" y="1013"/>
                  </a:lnTo>
                  <a:cubicBezTo>
                    <a:pt x="405" y="1013"/>
                    <a:pt x="334" y="941"/>
                    <a:pt x="334" y="834"/>
                  </a:cubicBezTo>
                  <a:lnTo>
                    <a:pt x="334" y="513"/>
                  </a:lnTo>
                  <a:cubicBezTo>
                    <a:pt x="334" y="405"/>
                    <a:pt x="405" y="334"/>
                    <a:pt x="512" y="334"/>
                  </a:cubicBezTo>
                  <a:lnTo>
                    <a:pt x="941" y="334"/>
                  </a:lnTo>
                  <a:cubicBezTo>
                    <a:pt x="1024" y="334"/>
                    <a:pt x="1108" y="263"/>
                    <a:pt x="1108" y="167"/>
                  </a:cubicBezTo>
                  <a:cubicBezTo>
                    <a:pt x="1108" y="84"/>
                    <a:pt x="1024" y="1"/>
                    <a:pt x="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67" name="Google Shape;10567;p59"/>
          <p:cNvSpPr/>
          <p:nvPr/>
        </p:nvSpPr>
        <p:spPr>
          <a:xfrm>
            <a:off x="7574555" y="2903043"/>
            <a:ext cx="303387" cy="355597"/>
          </a:xfrm>
          <a:custGeom>
            <a:avLst/>
            <a:gdLst/>
            <a:ahLst/>
            <a:cxnLst/>
            <a:rect l="l" t="t" r="r" b="b"/>
            <a:pathLst>
              <a:path w="9524" h="11163" extrusionOk="0">
                <a:moveTo>
                  <a:pt x="4791" y="3888"/>
                </a:moveTo>
                <a:cubicBezTo>
                  <a:pt x="5165" y="3888"/>
                  <a:pt x="5540" y="3936"/>
                  <a:pt x="5909" y="4031"/>
                </a:cubicBezTo>
                <a:lnTo>
                  <a:pt x="5909" y="4543"/>
                </a:lnTo>
                <a:cubicBezTo>
                  <a:pt x="5540" y="4442"/>
                  <a:pt x="5168" y="4391"/>
                  <a:pt x="4796" y="4391"/>
                </a:cubicBezTo>
                <a:cubicBezTo>
                  <a:pt x="4423" y="4391"/>
                  <a:pt x="4051" y="4442"/>
                  <a:pt x="3682" y="4543"/>
                </a:cubicBezTo>
                <a:lnTo>
                  <a:pt x="3682" y="4031"/>
                </a:lnTo>
                <a:cubicBezTo>
                  <a:pt x="4045" y="3936"/>
                  <a:pt x="4418" y="3888"/>
                  <a:pt x="4791" y="3888"/>
                </a:cubicBezTo>
                <a:close/>
                <a:moveTo>
                  <a:pt x="4778" y="4724"/>
                </a:moveTo>
                <a:cubicBezTo>
                  <a:pt x="5150" y="4724"/>
                  <a:pt x="5522" y="4775"/>
                  <a:pt x="5897" y="4876"/>
                </a:cubicBezTo>
                <a:lnTo>
                  <a:pt x="5897" y="5305"/>
                </a:lnTo>
                <a:cubicBezTo>
                  <a:pt x="5522" y="5210"/>
                  <a:pt x="5150" y="5162"/>
                  <a:pt x="4778" y="5162"/>
                </a:cubicBezTo>
                <a:cubicBezTo>
                  <a:pt x="4406" y="5162"/>
                  <a:pt x="4034" y="5210"/>
                  <a:pt x="3659" y="5305"/>
                </a:cubicBezTo>
                <a:lnTo>
                  <a:pt x="3659" y="4876"/>
                </a:lnTo>
                <a:cubicBezTo>
                  <a:pt x="4034" y="4775"/>
                  <a:pt x="4406" y="4724"/>
                  <a:pt x="4778" y="4724"/>
                </a:cubicBezTo>
                <a:close/>
                <a:moveTo>
                  <a:pt x="4778" y="5492"/>
                </a:moveTo>
                <a:cubicBezTo>
                  <a:pt x="5132" y="5492"/>
                  <a:pt x="5486" y="5537"/>
                  <a:pt x="5837" y="5626"/>
                </a:cubicBezTo>
                <a:cubicBezTo>
                  <a:pt x="5778" y="5698"/>
                  <a:pt x="5706" y="5769"/>
                  <a:pt x="5611" y="5852"/>
                </a:cubicBezTo>
                <a:cubicBezTo>
                  <a:pt x="5325" y="6091"/>
                  <a:pt x="5052" y="6186"/>
                  <a:pt x="4778" y="6186"/>
                </a:cubicBezTo>
                <a:cubicBezTo>
                  <a:pt x="4516" y="6186"/>
                  <a:pt x="4230" y="6067"/>
                  <a:pt x="3944" y="5852"/>
                </a:cubicBezTo>
                <a:lnTo>
                  <a:pt x="3932" y="5829"/>
                </a:lnTo>
                <a:cubicBezTo>
                  <a:pt x="3861" y="5769"/>
                  <a:pt x="3801" y="5698"/>
                  <a:pt x="3718" y="5626"/>
                </a:cubicBezTo>
                <a:cubicBezTo>
                  <a:pt x="4069" y="5537"/>
                  <a:pt x="4423" y="5492"/>
                  <a:pt x="4778" y="5492"/>
                </a:cubicBezTo>
                <a:close/>
                <a:moveTo>
                  <a:pt x="4803" y="9277"/>
                </a:moveTo>
                <a:cubicBezTo>
                  <a:pt x="5172" y="9277"/>
                  <a:pt x="5538" y="9411"/>
                  <a:pt x="5909" y="9674"/>
                </a:cubicBezTo>
                <a:lnTo>
                  <a:pt x="5909" y="9901"/>
                </a:lnTo>
                <a:cubicBezTo>
                  <a:pt x="5540" y="9799"/>
                  <a:pt x="5168" y="9749"/>
                  <a:pt x="4796" y="9749"/>
                </a:cubicBezTo>
                <a:cubicBezTo>
                  <a:pt x="4423" y="9749"/>
                  <a:pt x="4051" y="9799"/>
                  <a:pt x="3682" y="9901"/>
                </a:cubicBezTo>
                <a:lnTo>
                  <a:pt x="3682" y="9674"/>
                </a:lnTo>
                <a:cubicBezTo>
                  <a:pt x="4067" y="9408"/>
                  <a:pt x="4437" y="9277"/>
                  <a:pt x="4803" y="9277"/>
                </a:cubicBezTo>
                <a:close/>
                <a:moveTo>
                  <a:pt x="4778" y="10070"/>
                </a:moveTo>
                <a:cubicBezTo>
                  <a:pt x="5150" y="10070"/>
                  <a:pt x="5522" y="10121"/>
                  <a:pt x="5897" y="10222"/>
                </a:cubicBezTo>
                <a:lnTo>
                  <a:pt x="5897" y="10329"/>
                </a:lnTo>
                <a:cubicBezTo>
                  <a:pt x="5909" y="10591"/>
                  <a:pt x="5683" y="10817"/>
                  <a:pt x="5409" y="10817"/>
                </a:cubicBezTo>
                <a:lnTo>
                  <a:pt x="4159" y="10817"/>
                </a:lnTo>
                <a:cubicBezTo>
                  <a:pt x="3885" y="10817"/>
                  <a:pt x="3659" y="10591"/>
                  <a:pt x="3659" y="10329"/>
                </a:cubicBezTo>
                <a:lnTo>
                  <a:pt x="3659" y="10222"/>
                </a:lnTo>
                <a:cubicBezTo>
                  <a:pt x="4034" y="10121"/>
                  <a:pt x="4406" y="10070"/>
                  <a:pt x="4778" y="10070"/>
                </a:cubicBezTo>
                <a:close/>
                <a:moveTo>
                  <a:pt x="6668" y="0"/>
                </a:moveTo>
                <a:cubicBezTo>
                  <a:pt x="6280" y="0"/>
                  <a:pt x="6026" y="240"/>
                  <a:pt x="5956" y="280"/>
                </a:cubicBezTo>
                <a:cubicBezTo>
                  <a:pt x="5599" y="513"/>
                  <a:pt x="5188" y="629"/>
                  <a:pt x="4778" y="629"/>
                </a:cubicBezTo>
                <a:cubicBezTo>
                  <a:pt x="4367" y="629"/>
                  <a:pt x="3956" y="513"/>
                  <a:pt x="3599" y="280"/>
                </a:cubicBezTo>
                <a:lnTo>
                  <a:pt x="3408" y="161"/>
                </a:lnTo>
                <a:cubicBezTo>
                  <a:pt x="3245" y="55"/>
                  <a:pt x="3064" y="5"/>
                  <a:pt x="2885" y="5"/>
                </a:cubicBezTo>
                <a:cubicBezTo>
                  <a:pt x="2545" y="5"/>
                  <a:pt x="2215" y="186"/>
                  <a:pt x="2027" y="507"/>
                </a:cubicBezTo>
                <a:lnTo>
                  <a:pt x="1599" y="1292"/>
                </a:lnTo>
                <a:cubicBezTo>
                  <a:pt x="1337" y="1769"/>
                  <a:pt x="1503" y="2352"/>
                  <a:pt x="1980" y="2602"/>
                </a:cubicBezTo>
                <a:lnTo>
                  <a:pt x="2944" y="3138"/>
                </a:lnTo>
                <a:cubicBezTo>
                  <a:pt x="3182" y="3269"/>
                  <a:pt x="3325" y="3507"/>
                  <a:pt x="3325" y="3781"/>
                </a:cubicBezTo>
                <a:lnTo>
                  <a:pt x="3325" y="5162"/>
                </a:lnTo>
                <a:cubicBezTo>
                  <a:pt x="3063" y="4805"/>
                  <a:pt x="2813" y="4376"/>
                  <a:pt x="2551" y="3840"/>
                </a:cubicBezTo>
                <a:cubicBezTo>
                  <a:pt x="2299" y="3327"/>
                  <a:pt x="1836" y="3098"/>
                  <a:pt x="1377" y="3098"/>
                </a:cubicBezTo>
                <a:cubicBezTo>
                  <a:pt x="685" y="3098"/>
                  <a:pt x="1" y="3616"/>
                  <a:pt x="51" y="4459"/>
                </a:cubicBezTo>
                <a:cubicBezTo>
                  <a:pt x="51" y="4507"/>
                  <a:pt x="51" y="4543"/>
                  <a:pt x="63" y="4578"/>
                </a:cubicBezTo>
                <a:cubicBezTo>
                  <a:pt x="134" y="5198"/>
                  <a:pt x="218" y="5817"/>
                  <a:pt x="325" y="6388"/>
                </a:cubicBezTo>
                <a:cubicBezTo>
                  <a:pt x="336" y="6464"/>
                  <a:pt x="416" y="6521"/>
                  <a:pt x="494" y="6521"/>
                </a:cubicBezTo>
                <a:cubicBezTo>
                  <a:pt x="501" y="6521"/>
                  <a:pt x="508" y="6520"/>
                  <a:pt x="515" y="6519"/>
                </a:cubicBezTo>
                <a:cubicBezTo>
                  <a:pt x="611" y="6495"/>
                  <a:pt x="670" y="6412"/>
                  <a:pt x="658" y="6329"/>
                </a:cubicBezTo>
                <a:cubicBezTo>
                  <a:pt x="551" y="5769"/>
                  <a:pt x="468" y="5150"/>
                  <a:pt x="384" y="4543"/>
                </a:cubicBezTo>
                <a:lnTo>
                  <a:pt x="384" y="4448"/>
                </a:lnTo>
                <a:cubicBezTo>
                  <a:pt x="349" y="3807"/>
                  <a:pt x="862" y="3421"/>
                  <a:pt x="1380" y="3421"/>
                </a:cubicBezTo>
                <a:cubicBezTo>
                  <a:pt x="1729" y="3421"/>
                  <a:pt x="2079" y="3595"/>
                  <a:pt x="2265" y="3983"/>
                </a:cubicBezTo>
                <a:cubicBezTo>
                  <a:pt x="3081" y="5674"/>
                  <a:pt x="3926" y="6519"/>
                  <a:pt x="4772" y="6519"/>
                </a:cubicBezTo>
                <a:cubicBezTo>
                  <a:pt x="5617" y="6519"/>
                  <a:pt x="6462" y="5674"/>
                  <a:pt x="7278" y="3983"/>
                </a:cubicBezTo>
                <a:cubicBezTo>
                  <a:pt x="7466" y="3603"/>
                  <a:pt x="7818" y="3428"/>
                  <a:pt x="8167" y="3428"/>
                </a:cubicBezTo>
                <a:cubicBezTo>
                  <a:pt x="8703" y="3428"/>
                  <a:pt x="9229" y="3841"/>
                  <a:pt x="9135" y="4555"/>
                </a:cubicBezTo>
                <a:cubicBezTo>
                  <a:pt x="9004" y="5757"/>
                  <a:pt x="8623" y="8198"/>
                  <a:pt x="8052" y="9258"/>
                </a:cubicBezTo>
                <a:cubicBezTo>
                  <a:pt x="7840" y="9638"/>
                  <a:pt x="7443" y="9848"/>
                  <a:pt x="7039" y="9848"/>
                </a:cubicBezTo>
                <a:cubicBezTo>
                  <a:pt x="6786" y="9848"/>
                  <a:pt x="6529" y="9765"/>
                  <a:pt x="6314" y="9591"/>
                </a:cubicBezTo>
                <a:cubicBezTo>
                  <a:pt x="6254" y="9555"/>
                  <a:pt x="5921" y="9329"/>
                  <a:pt x="5861" y="9281"/>
                </a:cubicBezTo>
                <a:cubicBezTo>
                  <a:pt x="5493" y="9072"/>
                  <a:pt x="5125" y="8962"/>
                  <a:pt x="4752" y="8962"/>
                </a:cubicBezTo>
                <a:cubicBezTo>
                  <a:pt x="4340" y="8962"/>
                  <a:pt x="3923" y="9096"/>
                  <a:pt x="3492" y="9377"/>
                </a:cubicBezTo>
                <a:cubicBezTo>
                  <a:pt x="3480" y="9389"/>
                  <a:pt x="3230" y="9567"/>
                  <a:pt x="3218" y="9579"/>
                </a:cubicBezTo>
                <a:cubicBezTo>
                  <a:pt x="2982" y="9768"/>
                  <a:pt x="2715" y="9875"/>
                  <a:pt x="2442" y="9875"/>
                </a:cubicBezTo>
                <a:cubicBezTo>
                  <a:pt x="2372" y="9875"/>
                  <a:pt x="2301" y="9868"/>
                  <a:pt x="2230" y="9853"/>
                </a:cubicBezTo>
                <a:cubicBezTo>
                  <a:pt x="1908" y="9793"/>
                  <a:pt x="1634" y="9579"/>
                  <a:pt x="1456" y="9258"/>
                </a:cubicBezTo>
                <a:cubicBezTo>
                  <a:pt x="1444" y="9222"/>
                  <a:pt x="1432" y="9198"/>
                  <a:pt x="1408" y="9174"/>
                </a:cubicBezTo>
                <a:cubicBezTo>
                  <a:pt x="1194" y="8686"/>
                  <a:pt x="980" y="8007"/>
                  <a:pt x="789" y="7174"/>
                </a:cubicBezTo>
                <a:cubicBezTo>
                  <a:pt x="780" y="7098"/>
                  <a:pt x="717" y="7044"/>
                  <a:pt x="649" y="7044"/>
                </a:cubicBezTo>
                <a:cubicBezTo>
                  <a:pt x="632" y="7044"/>
                  <a:pt x="615" y="7048"/>
                  <a:pt x="599" y="7055"/>
                </a:cubicBezTo>
                <a:cubicBezTo>
                  <a:pt x="503" y="7067"/>
                  <a:pt x="444" y="7150"/>
                  <a:pt x="480" y="7245"/>
                </a:cubicBezTo>
                <a:cubicBezTo>
                  <a:pt x="670" y="8127"/>
                  <a:pt x="884" y="8817"/>
                  <a:pt x="1134" y="9329"/>
                </a:cubicBezTo>
                <a:lnTo>
                  <a:pt x="1182" y="9412"/>
                </a:lnTo>
                <a:cubicBezTo>
                  <a:pt x="1396" y="9817"/>
                  <a:pt x="1742" y="10091"/>
                  <a:pt x="2170" y="10174"/>
                </a:cubicBezTo>
                <a:cubicBezTo>
                  <a:pt x="2265" y="10186"/>
                  <a:pt x="2349" y="10210"/>
                  <a:pt x="2444" y="10210"/>
                </a:cubicBezTo>
                <a:cubicBezTo>
                  <a:pt x="2742" y="10210"/>
                  <a:pt x="3039" y="10103"/>
                  <a:pt x="3301" y="9924"/>
                </a:cubicBezTo>
                <a:lnTo>
                  <a:pt x="3301" y="10341"/>
                </a:lnTo>
                <a:cubicBezTo>
                  <a:pt x="3301" y="10805"/>
                  <a:pt x="3670" y="11163"/>
                  <a:pt x="4123" y="11163"/>
                </a:cubicBezTo>
                <a:lnTo>
                  <a:pt x="5373" y="11163"/>
                </a:lnTo>
                <a:cubicBezTo>
                  <a:pt x="5837" y="11163"/>
                  <a:pt x="6195" y="10782"/>
                  <a:pt x="6195" y="10341"/>
                </a:cubicBezTo>
                <a:lnTo>
                  <a:pt x="6195" y="9924"/>
                </a:lnTo>
                <a:cubicBezTo>
                  <a:pt x="6454" y="10105"/>
                  <a:pt x="6745" y="10191"/>
                  <a:pt x="7032" y="10191"/>
                </a:cubicBezTo>
                <a:cubicBezTo>
                  <a:pt x="7576" y="10191"/>
                  <a:pt x="8104" y="9883"/>
                  <a:pt x="8361" y="9329"/>
                </a:cubicBezTo>
                <a:cubicBezTo>
                  <a:pt x="9016" y="7912"/>
                  <a:pt x="9421" y="5067"/>
                  <a:pt x="9445" y="4495"/>
                </a:cubicBezTo>
                <a:cubicBezTo>
                  <a:pt x="9524" y="3627"/>
                  <a:pt x="8846" y="3100"/>
                  <a:pt x="8157" y="3100"/>
                </a:cubicBezTo>
                <a:cubicBezTo>
                  <a:pt x="7702" y="3100"/>
                  <a:pt x="7243" y="3329"/>
                  <a:pt x="6992" y="3840"/>
                </a:cubicBezTo>
                <a:cubicBezTo>
                  <a:pt x="6742" y="4376"/>
                  <a:pt x="6480" y="4805"/>
                  <a:pt x="6218" y="5162"/>
                </a:cubicBezTo>
                <a:lnTo>
                  <a:pt x="6218" y="3781"/>
                </a:lnTo>
                <a:cubicBezTo>
                  <a:pt x="6218" y="3507"/>
                  <a:pt x="6373" y="3269"/>
                  <a:pt x="6599" y="3138"/>
                </a:cubicBezTo>
                <a:lnTo>
                  <a:pt x="7564" y="2602"/>
                </a:lnTo>
                <a:cubicBezTo>
                  <a:pt x="8040" y="2352"/>
                  <a:pt x="8207" y="1757"/>
                  <a:pt x="7945" y="1292"/>
                </a:cubicBezTo>
                <a:lnTo>
                  <a:pt x="7885" y="1173"/>
                </a:lnTo>
                <a:cubicBezTo>
                  <a:pt x="7853" y="1124"/>
                  <a:pt x="7797" y="1092"/>
                  <a:pt x="7739" y="1092"/>
                </a:cubicBezTo>
                <a:cubicBezTo>
                  <a:pt x="7712" y="1092"/>
                  <a:pt x="7685" y="1099"/>
                  <a:pt x="7659" y="1114"/>
                </a:cubicBezTo>
                <a:cubicBezTo>
                  <a:pt x="7588" y="1161"/>
                  <a:pt x="7564" y="1269"/>
                  <a:pt x="7599" y="1340"/>
                </a:cubicBezTo>
                <a:lnTo>
                  <a:pt x="7659" y="1459"/>
                </a:lnTo>
                <a:cubicBezTo>
                  <a:pt x="7826" y="1769"/>
                  <a:pt x="7730" y="2162"/>
                  <a:pt x="7409" y="2340"/>
                </a:cubicBezTo>
                <a:lnTo>
                  <a:pt x="6445" y="2876"/>
                </a:lnTo>
                <a:cubicBezTo>
                  <a:pt x="6135" y="3054"/>
                  <a:pt x="5933" y="3364"/>
                  <a:pt x="5909" y="3721"/>
                </a:cubicBezTo>
                <a:cubicBezTo>
                  <a:pt x="5534" y="3626"/>
                  <a:pt x="5159" y="3578"/>
                  <a:pt x="4782" y="3578"/>
                </a:cubicBezTo>
                <a:cubicBezTo>
                  <a:pt x="4406" y="3578"/>
                  <a:pt x="4028" y="3626"/>
                  <a:pt x="3647" y="3721"/>
                </a:cubicBezTo>
                <a:cubicBezTo>
                  <a:pt x="3611" y="3364"/>
                  <a:pt x="3420" y="3031"/>
                  <a:pt x="3111" y="2876"/>
                </a:cubicBezTo>
                <a:lnTo>
                  <a:pt x="2146" y="2340"/>
                </a:lnTo>
                <a:cubicBezTo>
                  <a:pt x="1837" y="2173"/>
                  <a:pt x="1706" y="1769"/>
                  <a:pt x="1884" y="1459"/>
                </a:cubicBezTo>
                <a:lnTo>
                  <a:pt x="2325" y="673"/>
                </a:lnTo>
                <a:cubicBezTo>
                  <a:pt x="2441" y="457"/>
                  <a:pt x="2657" y="336"/>
                  <a:pt x="2879" y="336"/>
                </a:cubicBezTo>
                <a:cubicBezTo>
                  <a:pt x="2999" y="336"/>
                  <a:pt x="3121" y="372"/>
                  <a:pt x="3230" y="447"/>
                </a:cubicBezTo>
                <a:cubicBezTo>
                  <a:pt x="3337" y="495"/>
                  <a:pt x="3873" y="971"/>
                  <a:pt x="4778" y="971"/>
                </a:cubicBezTo>
                <a:cubicBezTo>
                  <a:pt x="5683" y="971"/>
                  <a:pt x="6218" y="495"/>
                  <a:pt x="6326" y="447"/>
                </a:cubicBezTo>
                <a:cubicBezTo>
                  <a:pt x="6434" y="372"/>
                  <a:pt x="6556" y="336"/>
                  <a:pt x="6677" y="336"/>
                </a:cubicBezTo>
                <a:cubicBezTo>
                  <a:pt x="6899" y="336"/>
                  <a:pt x="7115" y="457"/>
                  <a:pt x="7230" y="673"/>
                </a:cubicBezTo>
                <a:cubicBezTo>
                  <a:pt x="7263" y="723"/>
                  <a:pt x="7325" y="749"/>
                  <a:pt x="7383" y="749"/>
                </a:cubicBezTo>
                <a:cubicBezTo>
                  <a:pt x="7409" y="749"/>
                  <a:pt x="7434" y="744"/>
                  <a:pt x="7457" y="733"/>
                </a:cubicBezTo>
                <a:cubicBezTo>
                  <a:pt x="7528" y="685"/>
                  <a:pt x="7564" y="578"/>
                  <a:pt x="7516" y="507"/>
                </a:cubicBezTo>
                <a:cubicBezTo>
                  <a:pt x="7385" y="268"/>
                  <a:pt x="7159" y="102"/>
                  <a:pt x="6909" y="30"/>
                </a:cubicBezTo>
                <a:cubicBezTo>
                  <a:pt x="6824" y="9"/>
                  <a:pt x="6744" y="0"/>
                  <a:pt x="666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68" name="Google Shape;10568;p59"/>
          <p:cNvSpPr/>
          <p:nvPr/>
        </p:nvSpPr>
        <p:spPr>
          <a:xfrm>
            <a:off x="7121800" y="2902852"/>
            <a:ext cx="318231" cy="354642"/>
          </a:xfrm>
          <a:custGeom>
            <a:avLst/>
            <a:gdLst/>
            <a:ahLst/>
            <a:cxnLst/>
            <a:rect l="l" t="t" r="r" b="b"/>
            <a:pathLst>
              <a:path w="9990" h="11133" extrusionOk="0">
                <a:moveTo>
                  <a:pt x="3096" y="1"/>
                </a:moveTo>
                <a:cubicBezTo>
                  <a:pt x="1358" y="36"/>
                  <a:pt x="0" y="1656"/>
                  <a:pt x="346" y="3418"/>
                </a:cubicBezTo>
                <a:cubicBezTo>
                  <a:pt x="356" y="3494"/>
                  <a:pt x="437" y="3550"/>
                  <a:pt x="514" y="3550"/>
                </a:cubicBezTo>
                <a:cubicBezTo>
                  <a:pt x="522" y="3550"/>
                  <a:pt x="529" y="3550"/>
                  <a:pt x="536" y="3549"/>
                </a:cubicBezTo>
                <a:cubicBezTo>
                  <a:pt x="631" y="3525"/>
                  <a:pt x="691" y="3441"/>
                  <a:pt x="667" y="3358"/>
                </a:cubicBezTo>
                <a:cubicBezTo>
                  <a:pt x="369" y="1810"/>
                  <a:pt x="1560" y="358"/>
                  <a:pt x="3108" y="334"/>
                </a:cubicBezTo>
                <a:cubicBezTo>
                  <a:pt x="3128" y="333"/>
                  <a:pt x="3148" y="333"/>
                  <a:pt x="3168" y="333"/>
                </a:cubicBezTo>
                <a:cubicBezTo>
                  <a:pt x="3671" y="333"/>
                  <a:pt x="4160" y="476"/>
                  <a:pt x="4572" y="763"/>
                </a:cubicBezTo>
                <a:cubicBezTo>
                  <a:pt x="4745" y="876"/>
                  <a:pt x="4935" y="932"/>
                  <a:pt x="5124" y="932"/>
                </a:cubicBezTo>
                <a:cubicBezTo>
                  <a:pt x="5313" y="932"/>
                  <a:pt x="5501" y="876"/>
                  <a:pt x="5668" y="763"/>
                </a:cubicBezTo>
                <a:cubicBezTo>
                  <a:pt x="6113" y="465"/>
                  <a:pt x="6597" y="331"/>
                  <a:pt x="7070" y="331"/>
                </a:cubicBezTo>
                <a:cubicBezTo>
                  <a:pt x="8393" y="331"/>
                  <a:pt x="9624" y="1384"/>
                  <a:pt x="9632" y="2858"/>
                </a:cubicBezTo>
                <a:cubicBezTo>
                  <a:pt x="9632" y="3477"/>
                  <a:pt x="9406" y="4073"/>
                  <a:pt x="9025" y="4525"/>
                </a:cubicBezTo>
                <a:cubicBezTo>
                  <a:pt x="8370" y="5287"/>
                  <a:pt x="8013" y="6228"/>
                  <a:pt x="8013" y="7192"/>
                </a:cubicBezTo>
                <a:lnTo>
                  <a:pt x="8013" y="8966"/>
                </a:lnTo>
                <a:cubicBezTo>
                  <a:pt x="8013" y="9930"/>
                  <a:pt x="7263" y="10716"/>
                  <a:pt x="6322" y="10811"/>
                </a:cubicBezTo>
                <a:lnTo>
                  <a:pt x="6322" y="8573"/>
                </a:lnTo>
                <a:cubicBezTo>
                  <a:pt x="6322" y="7918"/>
                  <a:pt x="5787" y="7382"/>
                  <a:pt x="5132" y="7382"/>
                </a:cubicBezTo>
                <a:cubicBezTo>
                  <a:pt x="4477" y="7382"/>
                  <a:pt x="3941" y="7918"/>
                  <a:pt x="3941" y="8573"/>
                </a:cubicBezTo>
                <a:lnTo>
                  <a:pt x="3941" y="10811"/>
                </a:lnTo>
                <a:cubicBezTo>
                  <a:pt x="3013" y="10716"/>
                  <a:pt x="2262" y="9930"/>
                  <a:pt x="2262" y="8966"/>
                </a:cubicBezTo>
                <a:lnTo>
                  <a:pt x="2262" y="7192"/>
                </a:lnTo>
                <a:cubicBezTo>
                  <a:pt x="2262" y="6228"/>
                  <a:pt x="1905" y="5275"/>
                  <a:pt x="1250" y="4525"/>
                </a:cubicBezTo>
                <a:cubicBezTo>
                  <a:pt x="1131" y="4394"/>
                  <a:pt x="1048" y="4263"/>
                  <a:pt x="953" y="4096"/>
                </a:cubicBezTo>
                <a:cubicBezTo>
                  <a:pt x="920" y="4047"/>
                  <a:pt x="865" y="4015"/>
                  <a:pt x="807" y="4015"/>
                </a:cubicBezTo>
                <a:cubicBezTo>
                  <a:pt x="780" y="4015"/>
                  <a:pt x="753" y="4022"/>
                  <a:pt x="727" y="4037"/>
                </a:cubicBezTo>
                <a:cubicBezTo>
                  <a:pt x="655" y="4084"/>
                  <a:pt x="631" y="4192"/>
                  <a:pt x="667" y="4263"/>
                </a:cubicBezTo>
                <a:cubicBezTo>
                  <a:pt x="762" y="4430"/>
                  <a:pt x="881" y="4584"/>
                  <a:pt x="1012" y="4739"/>
                </a:cubicBezTo>
                <a:cubicBezTo>
                  <a:pt x="1608" y="5442"/>
                  <a:pt x="1953" y="6299"/>
                  <a:pt x="1953" y="7192"/>
                </a:cubicBezTo>
                <a:lnTo>
                  <a:pt x="1953" y="8966"/>
                </a:lnTo>
                <a:cubicBezTo>
                  <a:pt x="1953" y="10168"/>
                  <a:pt x="2929" y="11133"/>
                  <a:pt x="4120" y="11133"/>
                </a:cubicBezTo>
                <a:cubicBezTo>
                  <a:pt x="4215" y="11133"/>
                  <a:pt x="4286" y="11061"/>
                  <a:pt x="4286" y="10978"/>
                </a:cubicBezTo>
                <a:lnTo>
                  <a:pt x="4286" y="8561"/>
                </a:lnTo>
                <a:cubicBezTo>
                  <a:pt x="4286" y="8085"/>
                  <a:pt x="4679" y="7704"/>
                  <a:pt x="5156" y="7704"/>
                </a:cubicBezTo>
                <a:cubicBezTo>
                  <a:pt x="5632" y="7704"/>
                  <a:pt x="6013" y="8085"/>
                  <a:pt x="6013" y="8561"/>
                </a:cubicBezTo>
                <a:lnTo>
                  <a:pt x="6013" y="10978"/>
                </a:lnTo>
                <a:cubicBezTo>
                  <a:pt x="6013" y="11061"/>
                  <a:pt x="6084" y="11133"/>
                  <a:pt x="6180" y="11133"/>
                </a:cubicBezTo>
                <a:cubicBezTo>
                  <a:pt x="7382" y="11133"/>
                  <a:pt x="8347" y="10157"/>
                  <a:pt x="8347" y="8966"/>
                </a:cubicBezTo>
                <a:lnTo>
                  <a:pt x="8347" y="7192"/>
                </a:lnTo>
                <a:cubicBezTo>
                  <a:pt x="8347" y="6299"/>
                  <a:pt x="8680" y="5442"/>
                  <a:pt x="9287" y="4739"/>
                </a:cubicBezTo>
                <a:cubicBezTo>
                  <a:pt x="9740" y="4215"/>
                  <a:pt x="9990" y="3549"/>
                  <a:pt x="9990" y="2858"/>
                </a:cubicBezTo>
                <a:cubicBezTo>
                  <a:pt x="9955" y="1194"/>
                  <a:pt x="8560" y="7"/>
                  <a:pt x="7072" y="7"/>
                </a:cubicBezTo>
                <a:cubicBezTo>
                  <a:pt x="6537" y="7"/>
                  <a:pt x="5990" y="161"/>
                  <a:pt x="5489" y="501"/>
                </a:cubicBezTo>
                <a:cubicBezTo>
                  <a:pt x="5382" y="572"/>
                  <a:pt x="5257" y="608"/>
                  <a:pt x="5129" y="608"/>
                </a:cubicBezTo>
                <a:cubicBezTo>
                  <a:pt x="5001" y="608"/>
                  <a:pt x="4870" y="572"/>
                  <a:pt x="4751" y="501"/>
                </a:cubicBezTo>
                <a:cubicBezTo>
                  <a:pt x="4263" y="167"/>
                  <a:pt x="3691" y="1"/>
                  <a:pt x="309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69" name="Google Shape;10569;p59"/>
          <p:cNvGrpSpPr/>
          <p:nvPr/>
        </p:nvGrpSpPr>
        <p:grpSpPr>
          <a:xfrm>
            <a:off x="6685259" y="2902852"/>
            <a:ext cx="311414" cy="355406"/>
            <a:chOff x="6685259" y="2902852"/>
            <a:chExt cx="311414" cy="355406"/>
          </a:xfrm>
        </p:grpSpPr>
        <p:sp>
          <p:nvSpPr>
            <p:cNvPr id="10570" name="Google Shape;10570;p59"/>
            <p:cNvSpPr/>
            <p:nvPr/>
          </p:nvSpPr>
          <p:spPr>
            <a:xfrm>
              <a:off x="6835805" y="3045466"/>
              <a:ext cx="10671" cy="155134"/>
            </a:xfrm>
            <a:custGeom>
              <a:avLst/>
              <a:gdLst/>
              <a:ahLst/>
              <a:cxnLst/>
              <a:rect l="l" t="t" r="r" b="b"/>
              <a:pathLst>
                <a:path w="335" h="4870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4703"/>
                  </a:lnTo>
                  <a:cubicBezTo>
                    <a:pt x="1" y="4799"/>
                    <a:pt x="84" y="4870"/>
                    <a:pt x="168" y="4870"/>
                  </a:cubicBezTo>
                  <a:cubicBezTo>
                    <a:pt x="263" y="4870"/>
                    <a:pt x="334" y="4799"/>
                    <a:pt x="334" y="4703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1" name="Google Shape;10571;p59"/>
            <p:cNvSpPr/>
            <p:nvPr/>
          </p:nvSpPr>
          <p:spPr>
            <a:xfrm>
              <a:off x="6765661" y="2938497"/>
              <a:ext cx="149846" cy="63774"/>
            </a:xfrm>
            <a:custGeom>
              <a:avLst/>
              <a:gdLst/>
              <a:ahLst/>
              <a:cxnLst/>
              <a:rect l="l" t="t" r="r" b="b"/>
              <a:pathLst>
                <a:path w="4704" h="2002" extrusionOk="0">
                  <a:moveTo>
                    <a:pt x="572" y="1"/>
                  </a:moveTo>
                  <a:cubicBezTo>
                    <a:pt x="262" y="1"/>
                    <a:pt x="0" y="251"/>
                    <a:pt x="0" y="572"/>
                  </a:cubicBezTo>
                  <a:lnTo>
                    <a:pt x="0" y="1430"/>
                  </a:lnTo>
                  <a:cubicBezTo>
                    <a:pt x="0" y="1739"/>
                    <a:pt x="262" y="2001"/>
                    <a:pt x="572" y="2001"/>
                  </a:cubicBezTo>
                  <a:lnTo>
                    <a:pt x="2679" y="2001"/>
                  </a:lnTo>
                  <a:cubicBezTo>
                    <a:pt x="2774" y="2001"/>
                    <a:pt x="2846" y="1918"/>
                    <a:pt x="2846" y="1834"/>
                  </a:cubicBezTo>
                  <a:cubicBezTo>
                    <a:pt x="2846" y="1739"/>
                    <a:pt x="2774" y="1668"/>
                    <a:pt x="2679" y="1668"/>
                  </a:cubicBezTo>
                  <a:lnTo>
                    <a:pt x="572" y="1668"/>
                  </a:lnTo>
                  <a:cubicBezTo>
                    <a:pt x="441" y="1668"/>
                    <a:pt x="334" y="1560"/>
                    <a:pt x="334" y="1430"/>
                  </a:cubicBezTo>
                  <a:lnTo>
                    <a:pt x="334" y="572"/>
                  </a:lnTo>
                  <a:cubicBezTo>
                    <a:pt x="334" y="429"/>
                    <a:pt x="441" y="322"/>
                    <a:pt x="572" y="322"/>
                  </a:cubicBezTo>
                  <a:lnTo>
                    <a:pt x="4144" y="322"/>
                  </a:lnTo>
                  <a:cubicBezTo>
                    <a:pt x="4275" y="322"/>
                    <a:pt x="4382" y="429"/>
                    <a:pt x="4382" y="572"/>
                  </a:cubicBezTo>
                  <a:lnTo>
                    <a:pt x="4382" y="1430"/>
                  </a:lnTo>
                  <a:cubicBezTo>
                    <a:pt x="4394" y="1549"/>
                    <a:pt x="4275" y="1668"/>
                    <a:pt x="4144" y="1668"/>
                  </a:cubicBezTo>
                  <a:lnTo>
                    <a:pt x="3513" y="1668"/>
                  </a:lnTo>
                  <a:cubicBezTo>
                    <a:pt x="3429" y="1668"/>
                    <a:pt x="3358" y="1739"/>
                    <a:pt x="3358" y="1834"/>
                  </a:cubicBezTo>
                  <a:cubicBezTo>
                    <a:pt x="3358" y="1918"/>
                    <a:pt x="3429" y="2001"/>
                    <a:pt x="3513" y="2001"/>
                  </a:cubicBezTo>
                  <a:lnTo>
                    <a:pt x="4144" y="2001"/>
                  </a:lnTo>
                  <a:cubicBezTo>
                    <a:pt x="4453" y="2001"/>
                    <a:pt x="4703" y="1739"/>
                    <a:pt x="4703" y="1430"/>
                  </a:cubicBezTo>
                  <a:lnTo>
                    <a:pt x="4703" y="572"/>
                  </a:lnTo>
                  <a:cubicBezTo>
                    <a:pt x="4703" y="251"/>
                    <a:pt x="4453" y="1"/>
                    <a:pt x="4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2" name="Google Shape;10572;p59"/>
            <p:cNvSpPr/>
            <p:nvPr/>
          </p:nvSpPr>
          <p:spPr>
            <a:xfrm>
              <a:off x="6685259" y="2902852"/>
              <a:ext cx="311414" cy="355406"/>
            </a:xfrm>
            <a:custGeom>
              <a:avLst/>
              <a:gdLst/>
              <a:ahLst/>
              <a:cxnLst/>
              <a:rect l="l" t="t" r="r" b="b"/>
              <a:pathLst>
                <a:path w="9776" h="11157" extrusionOk="0">
                  <a:moveTo>
                    <a:pt x="3227" y="1"/>
                  </a:moveTo>
                  <a:cubicBezTo>
                    <a:pt x="2227" y="1"/>
                    <a:pt x="1810" y="774"/>
                    <a:pt x="1667" y="894"/>
                  </a:cubicBezTo>
                  <a:lnTo>
                    <a:pt x="822" y="894"/>
                  </a:lnTo>
                  <a:cubicBezTo>
                    <a:pt x="369" y="894"/>
                    <a:pt x="0" y="1275"/>
                    <a:pt x="0" y="1715"/>
                  </a:cubicBezTo>
                  <a:lnTo>
                    <a:pt x="0" y="4287"/>
                  </a:lnTo>
                  <a:cubicBezTo>
                    <a:pt x="0" y="4382"/>
                    <a:pt x="72" y="4454"/>
                    <a:pt x="155" y="4454"/>
                  </a:cubicBezTo>
                  <a:cubicBezTo>
                    <a:pt x="250" y="4454"/>
                    <a:pt x="322" y="4382"/>
                    <a:pt x="322" y="4287"/>
                  </a:cubicBezTo>
                  <a:lnTo>
                    <a:pt x="322" y="1715"/>
                  </a:lnTo>
                  <a:cubicBezTo>
                    <a:pt x="322" y="1453"/>
                    <a:pt x="548" y="1227"/>
                    <a:pt x="810" y="1227"/>
                  </a:cubicBezTo>
                  <a:lnTo>
                    <a:pt x="1738" y="1227"/>
                  </a:lnTo>
                  <a:cubicBezTo>
                    <a:pt x="1786" y="1227"/>
                    <a:pt x="1822" y="1215"/>
                    <a:pt x="1858" y="1167"/>
                  </a:cubicBezTo>
                  <a:lnTo>
                    <a:pt x="2167" y="810"/>
                  </a:lnTo>
                  <a:cubicBezTo>
                    <a:pt x="2441" y="513"/>
                    <a:pt x="2822" y="334"/>
                    <a:pt x="3227" y="334"/>
                  </a:cubicBezTo>
                  <a:lnTo>
                    <a:pt x="6525" y="334"/>
                  </a:lnTo>
                  <a:cubicBezTo>
                    <a:pt x="6930" y="334"/>
                    <a:pt x="7322" y="513"/>
                    <a:pt x="7584" y="810"/>
                  </a:cubicBezTo>
                  <a:lnTo>
                    <a:pt x="7894" y="1167"/>
                  </a:lnTo>
                  <a:cubicBezTo>
                    <a:pt x="7930" y="1191"/>
                    <a:pt x="7977" y="1227"/>
                    <a:pt x="8013" y="1227"/>
                  </a:cubicBezTo>
                  <a:lnTo>
                    <a:pt x="8942" y="1227"/>
                  </a:lnTo>
                  <a:cubicBezTo>
                    <a:pt x="9204" y="1227"/>
                    <a:pt x="9430" y="1453"/>
                    <a:pt x="9430" y="1715"/>
                  </a:cubicBezTo>
                  <a:lnTo>
                    <a:pt x="9430" y="10335"/>
                  </a:lnTo>
                  <a:cubicBezTo>
                    <a:pt x="9430" y="10597"/>
                    <a:pt x="9204" y="10823"/>
                    <a:pt x="8942" y="10823"/>
                  </a:cubicBezTo>
                  <a:lnTo>
                    <a:pt x="7632" y="10823"/>
                  </a:lnTo>
                  <a:lnTo>
                    <a:pt x="7632" y="9823"/>
                  </a:lnTo>
                  <a:cubicBezTo>
                    <a:pt x="7632" y="9740"/>
                    <a:pt x="7561" y="9657"/>
                    <a:pt x="7465" y="9657"/>
                  </a:cubicBezTo>
                  <a:cubicBezTo>
                    <a:pt x="7382" y="9657"/>
                    <a:pt x="7299" y="9740"/>
                    <a:pt x="7299" y="9823"/>
                  </a:cubicBezTo>
                  <a:lnTo>
                    <a:pt x="7299" y="10823"/>
                  </a:lnTo>
                  <a:lnTo>
                    <a:pt x="2453" y="10823"/>
                  </a:lnTo>
                  <a:lnTo>
                    <a:pt x="2453" y="9823"/>
                  </a:lnTo>
                  <a:cubicBezTo>
                    <a:pt x="2453" y="9740"/>
                    <a:pt x="2381" y="9657"/>
                    <a:pt x="2286" y="9657"/>
                  </a:cubicBezTo>
                  <a:cubicBezTo>
                    <a:pt x="2203" y="9657"/>
                    <a:pt x="2119" y="9740"/>
                    <a:pt x="2119" y="9823"/>
                  </a:cubicBezTo>
                  <a:lnTo>
                    <a:pt x="2119" y="10823"/>
                  </a:lnTo>
                  <a:lnTo>
                    <a:pt x="822" y="10823"/>
                  </a:lnTo>
                  <a:cubicBezTo>
                    <a:pt x="548" y="10823"/>
                    <a:pt x="322" y="10597"/>
                    <a:pt x="322" y="10335"/>
                  </a:cubicBezTo>
                  <a:lnTo>
                    <a:pt x="322" y="5227"/>
                  </a:lnTo>
                  <a:cubicBezTo>
                    <a:pt x="322" y="5144"/>
                    <a:pt x="250" y="5061"/>
                    <a:pt x="167" y="5061"/>
                  </a:cubicBezTo>
                  <a:cubicBezTo>
                    <a:pt x="72" y="5061"/>
                    <a:pt x="0" y="5144"/>
                    <a:pt x="0" y="5227"/>
                  </a:cubicBezTo>
                  <a:lnTo>
                    <a:pt x="0" y="10335"/>
                  </a:lnTo>
                  <a:cubicBezTo>
                    <a:pt x="0" y="10776"/>
                    <a:pt x="369" y="11157"/>
                    <a:pt x="822" y="11157"/>
                  </a:cubicBezTo>
                  <a:lnTo>
                    <a:pt x="8942" y="11157"/>
                  </a:lnTo>
                  <a:cubicBezTo>
                    <a:pt x="9394" y="11157"/>
                    <a:pt x="9763" y="10776"/>
                    <a:pt x="9763" y="10335"/>
                  </a:cubicBezTo>
                  <a:lnTo>
                    <a:pt x="9763" y="1715"/>
                  </a:lnTo>
                  <a:cubicBezTo>
                    <a:pt x="9775" y="1275"/>
                    <a:pt x="9406" y="894"/>
                    <a:pt x="8942" y="894"/>
                  </a:cubicBezTo>
                  <a:lnTo>
                    <a:pt x="8096" y="894"/>
                  </a:lnTo>
                  <a:cubicBezTo>
                    <a:pt x="7965" y="774"/>
                    <a:pt x="7525" y="1"/>
                    <a:pt x="6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73" name="Google Shape;10573;p59"/>
          <p:cNvGrpSpPr/>
          <p:nvPr/>
        </p:nvGrpSpPr>
        <p:grpSpPr>
          <a:xfrm>
            <a:off x="5309250" y="2903170"/>
            <a:ext cx="359579" cy="355852"/>
            <a:chOff x="5309250" y="2903170"/>
            <a:chExt cx="359579" cy="355852"/>
          </a:xfrm>
        </p:grpSpPr>
        <p:sp>
          <p:nvSpPr>
            <p:cNvPr id="10574" name="Google Shape;10574;p59"/>
            <p:cNvSpPr/>
            <p:nvPr/>
          </p:nvSpPr>
          <p:spPr>
            <a:xfrm>
              <a:off x="5410517" y="3006317"/>
              <a:ext cx="77854" cy="76452"/>
            </a:xfrm>
            <a:custGeom>
              <a:avLst/>
              <a:gdLst/>
              <a:ahLst/>
              <a:cxnLst/>
              <a:rect l="l" t="t" r="r" b="b"/>
              <a:pathLst>
                <a:path w="2444" h="2400" extrusionOk="0">
                  <a:moveTo>
                    <a:pt x="1345" y="315"/>
                  </a:moveTo>
                  <a:cubicBezTo>
                    <a:pt x="1450" y="315"/>
                    <a:pt x="1549" y="346"/>
                    <a:pt x="1631" y="420"/>
                  </a:cubicBezTo>
                  <a:cubicBezTo>
                    <a:pt x="1905" y="634"/>
                    <a:pt x="2060" y="1206"/>
                    <a:pt x="2096" y="1622"/>
                  </a:cubicBezTo>
                  <a:cubicBezTo>
                    <a:pt x="2104" y="1923"/>
                    <a:pt x="1755" y="2071"/>
                    <a:pt x="1406" y="2071"/>
                  </a:cubicBezTo>
                  <a:cubicBezTo>
                    <a:pt x="1257" y="2071"/>
                    <a:pt x="1109" y="2045"/>
                    <a:pt x="988" y="1991"/>
                  </a:cubicBezTo>
                  <a:cubicBezTo>
                    <a:pt x="560" y="1801"/>
                    <a:pt x="381" y="1313"/>
                    <a:pt x="560" y="872"/>
                  </a:cubicBezTo>
                  <a:cubicBezTo>
                    <a:pt x="693" y="580"/>
                    <a:pt x="1042" y="315"/>
                    <a:pt x="1345" y="315"/>
                  </a:cubicBezTo>
                  <a:close/>
                  <a:moveTo>
                    <a:pt x="1344" y="1"/>
                  </a:moveTo>
                  <a:cubicBezTo>
                    <a:pt x="906" y="1"/>
                    <a:pt x="447" y="320"/>
                    <a:pt x="262" y="741"/>
                  </a:cubicBezTo>
                  <a:cubicBezTo>
                    <a:pt x="0" y="1336"/>
                    <a:pt x="262" y="2027"/>
                    <a:pt x="857" y="2289"/>
                  </a:cubicBezTo>
                  <a:cubicBezTo>
                    <a:pt x="1022" y="2363"/>
                    <a:pt x="1214" y="2400"/>
                    <a:pt x="1407" y="2400"/>
                  </a:cubicBezTo>
                  <a:cubicBezTo>
                    <a:pt x="1925" y="2400"/>
                    <a:pt x="2443" y="2134"/>
                    <a:pt x="2417" y="1622"/>
                  </a:cubicBezTo>
                  <a:cubicBezTo>
                    <a:pt x="2405" y="1134"/>
                    <a:pt x="2203" y="479"/>
                    <a:pt x="1858" y="182"/>
                  </a:cubicBezTo>
                  <a:cubicBezTo>
                    <a:pt x="1704" y="56"/>
                    <a:pt x="1526" y="1"/>
                    <a:pt x="13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5" name="Google Shape;10575;p59"/>
            <p:cNvSpPr/>
            <p:nvPr/>
          </p:nvSpPr>
          <p:spPr>
            <a:xfrm>
              <a:off x="5309250" y="2903170"/>
              <a:ext cx="359579" cy="355852"/>
            </a:xfrm>
            <a:custGeom>
              <a:avLst/>
              <a:gdLst/>
              <a:ahLst/>
              <a:cxnLst/>
              <a:rect l="l" t="t" r="r" b="b"/>
              <a:pathLst>
                <a:path w="11288" h="11171" extrusionOk="0">
                  <a:moveTo>
                    <a:pt x="3691" y="336"/>
                  </a:moveTo>
                  <a:cubicBezTo>
                    <a:pt x="3775" y="336"/>
                    <a:pt x="3846" y="383"/>
                    <a:pt x="3870" y="455"/>
                  </a:cubicBezTo>
                  <a:lnTo>
                    <a:pt x="4084" y="991"/>
                  </a:lnTo>
                  <a:cubicBezTo>
                    <a:pt x="3953" y="1003"/>
                    <a:pt x="3846" y="1050"/>
                    <a:pt x="3739" y="1122"/>
                  </a:cubicBezTo>
                  <a:lnTo>
                    <a:pt x="3536" y="586"/>
                  </a:lnTo>
                  <a:cubicBezTo>
                    <a:pt x="3489" y="455"/>
                    <a:pt x="3572" y="336"/>
                    <a:pt x="3691" y="336"/>
                  </a:cubicBezTo>
                  <a:close/>
                  <a:moveTo>
                    <a:pt x="7834" y="436"/>
                  </a:moveTo>
                  <a:cubicBezTo>
                    <a:pt x="7859" y="436"/>
                    <a:pt x="7883" y="442"/>
                    <a:pt x="7906" y="455"/>
                  </a:cubicBezTo>
                  <a:cubicBezTo>
                    <a:pt x="7989" y="503"/>
                    <a:pt x="8037" y="598"/>
                    <a:pt x="7989" y="693"/>
                  </a:cubicBezTo>
                  <a:lnTo>
                    <a:pt x="7763" y="1217"/>
                  </a:lnTo>
                  <a:cubicBezTo>
                    <a:pt x="7668" y="1134"/>
                    <a:pt x="7561" y="1086"/>
                    <a:pt x="7418" y="1062"/>
                  </a:cubicBezTo>
                  <a:lnTo>
                    <a:pt x="7668" y="538"/>
                  </a:lnTo>
                  <a:cubicBezTo>
                    <a:pt x="7702" y="478"/>
                    <a:pt x="7769" y="436"/>
                    <a:pt x="7834" y="436"/>
                  </a:cubicBezTo>
                  <a:close/>
                  <a:moveTo>
                    <a:pt x="698" y="3177"/>
                  </a:moveTo>
                  <a:cubicBezTo>
                    <a:pt x="775" y="3177"/>
                    <a:pt x="883" y="3247"/>
                    <a:pt x="1298" y="3431"/>
                  </a:cubicBezTo>
                  <a:cubicBezTo>
                    <a:pt x="1250" y="3479"/>
                    <a:pt x="1227" y="3539"/>
                    <a:pt x="1191" y="3586"/>
                  </a:cubicBezTo>
                  <a:cubicBezTo>
                    <a:pt x="1191" y="3586"/>
                    <a:pt x="1167" y="3658"/>
                    <a:pt x="1155" y="3765"/>
                  </a:cubicBezTo>
                  <a:lnTo>
                    <a:pt x="631" y="3527"/>
                  </a:lnTo>
                  <a:cubicBezTo>
                    <a:pt x="477" y="3479"/>
                    <a:pt x="477" y="3253"/>
                    <a:pt x="631" y="3193"/>
                  </a:cubicBezTo>
                  <a:cubicBezTo>
                    <a:pt x="655" y="3183"/>
                    <a:pt x="675" y="3177"/>
                    <a:pt x="698" y="3177"/>
                  </a:cubicBezTo>
                  <a:close/>
                  <a:moveTo>
                    <a:pt x="10679" y="3437"/>
                  </a:moveTo>
                  <a:cubicBezTo>
                    <a:pt x="10755" y="3437"/>
                    <a:pt x="10841" y="3482"/>
                    <a:pt x="10871" y="3551"/>
                  </a:cubicBezTo>
                  <a:cubicBezTo>
                    <a:pt x="10906" y="3646"/>
                    <a:pt x="10847" y="3765"/>
                    <a:pt x="10764" y="3789"/>
                  </a:cubicBezTo>
                  <a:lnTo>
                    <a:pt x="10228" y="4003"/>
                  </a:lnTo>
                  <a:cubicBezTo>
                    <a:pt x="10216" y="3848"/>
                    <a:pt x="10168" y="3741"/>
                    <a:pt x="10097" y="3658"/>
                  </a:cubicBezTo>
                  <a:lnTo>
                    <a:pt x="10633" y="3443"/>
                  </a:lnTo>
                  <a:cubicBezTo>
                    <a:pt x="10647" y="3439"/>
                    <a:pt x="10663" y="3437"/>
                    <a:pt x="10679" y="3437"/>
                  </a:cubicBezTo>
                  <a:close/>
                  <a:moveTo>
                    <a:pt x="1060" y="7134"/>
                  </a:moveTo>
                  <a:cubicBezTo>
                    <a:pt x="1072" y="7265"/>
                    <a:pt x="1119" y="7372"/>
                    <a:pt x="1191" y="7480"/>
                  </a:cubicBezTo>
                  <a:lnTo>
                    <a:pt x="655" y="7682"/>
                  </a:lnTo>
                  <a:cubicBezTo>
                    <a:pt x="635" y="7694"/>
                    <a:pt x="612" y="7699"/>
                    <a:pt x="589" y="7699"/>
                  </a:cubicBezTo>
                  <a:cubicBezTo>
                    <a:pt x="518" y="7699"/>
                    <a:pt x="444" y="7650"/>
                    <a:pt x="417" y="7587"/>
                  </a:cubicBezTo>
                  <a:cubicBezTo>
                    <a:pt x="381" y="7492"/>
                    <a:pt x="429" y="7372"/>
                    <a:pt x="524" y="7349"/>
                  </a:cubicBezTo>
                  <a:lnTo>
                    <a:pt x="1060" y="7134"/>
                  </a:lnTo>
                  <a:close/>
                  <a:moveTo>
                    <a:pt x="10144" y="7361"/>
                  </a:moveTo>
                  <a:lnTo>
                    <a:pt x="10656" y="7599"/>
                  </a:lnTo>
                  <a:cubicBezTo>
                    <a:pt x="10811" y="7658"/>
                    <a:pt x="10811" y="7884"/>
                    <a:pt x="10656" y="7944"/>
                  </a:cubicBezTo>
                  <a:cubicBezTo>
                    <a:pt x="10637" y="7950"/>
                    <a:pt x="10619" y="7953"/>
                    <a:pt x="10601" y="7953"/>
                  </a:cubicBezTo>
                  <a:cubicBezTo>
                    <a:pt x="10506" y="7953"/>
                    <a:pt x="10398" y="7875"/>
                    <a:pt x="9990" y="7706"/>
                  </a:cubicBezTo>
                  <a:cubicBezTo>
                    <a:pt x="10061" y="7611"/>
                    <a:pt x="10121" y="7515"/>
                    <a:pt x="10144" y="7361"/>
                  </a:cubicBezTo>
                  <a:close/>
                  <a:moveTo>
                    <a:pt x="3536" y="9920"/>
                  </a:moveTo>
                  <a:cubicBezTo>
                    <a:pt x="3620" y="9992"/>
                    <a:pt x="3727" y="10051"/>
                    <a:pt x="3870" y="10063"/>
                  </a:cubicBezTo>
                  <a:lnTo>
                    <a:pt x="3620" y="10587"/>
                  </a:lnTo>
                  <a:cubicBezTo>
                    <a:pt x="3584" y="10658"/>
                    <a:pt x="3522" y="10696"/>
                    <a:pt x="3454" y="10696"/>
                  </a:cubicBezTo>
                  <a:cubicBezTo>
                    <a:pt x="3430" y="10696"/>
                    <a:pt x="3406" y="10691"/>
                    <a:pt x="3382" y="10682"/>
                  </a:cubicBezTo>
                  <a:cubicBezTo>
                    <a:pt x="3298" y="10635"/>
                    <a:pt x="3251" y="10528"/>
                    <a:pt x="3298" y="10444"/>
                  </a:cubicBezTo>
                  <a:lnTo>
                    <a:pt x="3536" y="9920"/>
                  </a:lnTo>
                  <a:close/>
                  <a:moveTo>
                    <a:pt x="7549" y="10016"/>
                  </a:moveTo>
                  <a:cubicBezTo>
                    <a:pt x="7727" y="10528"/>
                    <a:pt x="7799" y="10575"/>
                    <a:pt x="7763" y="10694"/>
                  </a:cubicBezTo>
                  <a:cubicBezTo>
                    <a:pt x="7728" y="10770"/>
                    <a:pt x="7659" y="10809"/>
                    <a:pt x="7590" y="10809"/>
                  </a:cubicBezTo>
                  <a:cubicBezTo>
                    <a:pt x="7519" y="10809"/>
                    <a:pt x="7448" y="10767"/>
                    <a:pt x="7418" y="10682"/>
                  </a:cubicBezTo>
                  <a:lnTo>
                    <a:pt x="7204" y="10147"/>
                  </a:lnTo>
                  <a:cubicBezTo>
                    <a:pt x="7346" y="10123"/>
                    <a:pt x="7442" y="10087"/>
                    <a:pt x="7549" y="10016"/>
                  </a:cubicBezTo>
                  <a:close/>
                  <a:moveTo>
                    <a:pt x="3696" y="1"/>
                  </a:moveTo>
                  <a:cubicBezTo>
                    <a:pt x="3631" y="1"/>
                    <a:pt x="3565" y="13"/>
                    <a:pt x="3501" y="38"/>
                  </a:cubicBezTo>
                  <a:cubicBezTo>
                    <a:pt x="3239" y="145"/>
                    <a:pt x="3096" y="443"/>
                    <a:pt x="3203" y="705"/>
                  </a:cubicBezTo>
                  <a:lnTo>
                    <a:pt x="3477" y="1407"/>
                  </a:lnTo>
                  <a:cubicBezTo>
                    <a:pt x="3239" y="1753"/>
                    <a:pt x="3203" y="1765"/>
                    <a:pt x="2846" y="1824"/>
                  </a:cubicBezTo>
                  <a:cubicBezTo>
                    <a:pt x="2655" y="1848"/>
                    <a:pt x="2429" y="1896"/>
                    <a:pt x="2286" y="2050"/>
                  </a:cubicBezTo>
                  <a:cubicBezTo>
                    <a:pt x="2012" y="2300"/>
                    <a:pt x="2060" y="2741"/>
                    <a:pt x="1929" y="2955"/>
                  </a:cubicBezTo>
                  <a:cubicBezTo>
                    <a:pt x="1870" y="3027"/>
                    <a:pt x="1762" y="3098"/>
                    <a:pt x="1643" y="3181"/>
                  </a:cubicBezTo>
                  <a:cubicBezTo>
                    <a:pt x="1631" y="3193"/>
                    <a:pt x="1608" y="3205"/>
                    <a:pt x="1584" y="3217"/>
                  </a:cubicBezTo>
                  <a:lnTo>
                    <a:pt x="893" y="2920"/>
                  </a:lnTo>
                  <a:cubicBezTo>
                    <a:pt x="830" y="2888"/>
                    <a:pt x="761" y="2873"/>
                    <a:pt x="692" y="2873"/>
                  </a:cubicBezTo>
                  <a:cubicBezTo>
                    <a:pt x="630" y="2873"/>
                    <a:pt x="568" y="2885"/>
                    <a:pt x="512" y="2908"/>
                  </a:cubicBezTo>
                  <a:cubicBezTo>
                    <a:pt x="84" y="3074"/>
                    <a:pt x="60" y="3670"/>
                    <a:pt x="477" y="3860"/>
                  </a:cubicBezTo>
                  <a:lnTo>
                    <a:pt x="1167" y="4158"/>
                  </a:lnTo>
                  <a:cubicBezTo>
                    <a:pt x="1239" y="4563"/>
                    <a:pt x="1239" y="4586"/>
                    <a:pt x="1012" y="4920"/>
                  </a:cubicBezTo>
                  <a:cubicBezTo>
                    <a:pt x="893" y="5086"/>
                    <a:pt x="774" y="5265"/>
                    <a:pt x="774" y="5467"/>
                  </a:cubicBezTo>
                  <a:cubicBezTo>
                    <a:pt x="762" y="5825"/>
                    <a:pt x="1119" y="6122"/>
                    <a:pt x="1167" y="6360"/>
                  </a:cubicBezTo>
                  <a:cubicBezTo>
                    <a:pt x="1179" y="6479"/>
                    <a:pt x="1155" y="6646"/>
                    <a:pt x="1108" y="6777"/>
                  </a:cubicBezTo>
                  <a:lnTo>
                    <a:pt x="405" y="7051"/>
                  </a:lnTo>
                  <a:cubicBezTo>
                    <a:pt x="143" y="7146"/>
                    <a:pt x="0" y="7444"/>
                    <a:pt x="107" y="7718"/>
                  </a:cubicBezTo>
                  <a:cubicBezTo>
                    <a:pt x="190" y="7920"/>
                    <a:pt x="386" y="8051"/>
                    <a:pt x="592" y="8051"/>
                  </a:cubicBezTo>
                  <a:cubicBezTo>
                    <a:pt x="653" y="8051"/>
                    <a:pt x="714" y="8040"/>
                    <a:pt x="774" y="8015"/>
                  </a:cubicBezTo>
                  <a:lnTo>
                    <a:pt x="1477" y="7742"/>
                  </a:lnTo>
                  <a:cubicBezTo>
                    <a:pt x="1822" y="7980"/>
                    <a:pt x="1834" y="8015"/>
                    <a:pt x="1893" y="8373"/>
                  </a:cubicBezTo>
                  <a:cubicBezTo>
                    <a:pt x="1989" y="8932"/>
                    <a:pt x="2131" y="9075"/>
                    <a:pt x="2667" y="9194"/>
                  </a:cubicBezTo>
                  <a:cubicBezTo>
                    <a:pt x="3036" y="9277"/>
                    <a:pt x="3060" y="9289"/>
                    <a:pt x="3274" y="9647"/>
                  </a:cubicBezTo>
                  <a:lnTo>
                    <a:pt x="2977" y="10337"/>
                  </a:lnTo>
                  <a:cubicBezTo>
                    <a:pt x="2815" y="10691"/>
                    <a:pt x="3091" y="11053"/>
                    <a:pt x="3439" y="11053"/>
                  </a:cubicBezTo>
                  <a:cubicBezTo>
                    <a:pt x="3502" y="11053"/>
                    <a:pt x="3567" y="11041"/>
                    <a:pt x="3632" y="11016"/>
                  </a:cubicBezTo>
                  <a:cubicBezTo>
                    <a:pt x="3775" y="10980"/>
                    <a:pt x="3858" y="10873"/>
                    <a:pt x="3917" y="10754"/>
                  </a:cubicBezTo>
                  <a:lnTo>
                    <a:pt x="4215" y="10063"/>
                  </a:lnTo>
                  <a:cubicBezTo>
                    <a:pt x="4361" y="10038"/>
                    <a:pt x="4457" y="10021"/>
                    <a:pt x="4536" y="10021"/>
                  </a:cubicBezTo>
                  <a:cubicBezTo>
                    <a:pt x="4677" y="10021"/>
                    <a:pt x="4764" y="10073"/>
                    <a:pt x="4977" y="10218"/>
                  </a:cubicBezTo>
                  <a:cubicBezTo>
                    <a:pt x="5204" y="10377"/>
                    <a:pt x="5367" y="10458"/>
                    <a:pt x="5538" y="10458"/>
                  </a:cubicBezTo>
                  <a:cubicBezTo>
                    <a:pt x="5699" y="10458"/>
                    <a:pt x="5865" y="10386"/>
                    <a:pt x="6096" y="10242"/>
                  </a:cubicBezTo>
                  <a:cubicBezTo>
                    <a:pt x="6280" y="10126"/>
                    <a:pt x="6363" y="10080"/>
                    <a:pt x="6476" y="10080"/>
                  </a:cubicBezTo>
                  <a:cubicBezTo>
                    <a:pt x="6560" y="10080"/>
                    <a:pt x="6661" y="10106"/>
                    <a:pt x="6834" y="10147"/>
                  </a:cubicBezTo>
                  <a:lnTo>
                    <a:pt x="7108" y="10837"/>
                  </a:lnTo>
                  <a:cubicBezTo>
                    <a:pt x="7180" y="11051"/>
                    <a:pt x="7370" y="11171"/>
                    <a:pt x="7585" y="11171"/>
                  </a:cubicBezTo>
                  <a:cubicBezTo>
                    <a:pt x="7942" y="11171"/>
                    <a:pt x="8192" y="10813"/>
                    <a:pt x="8061" y="10468"/>
                  </a:cubicBezTo>
                  <a:lnTo>
                    <a:pt x="7787" y="9766"/>
                  </a:lnTo>
                  <a:cubicBezTo>
                    <a:pt x="8025" y="9432"/>
                    <a:pt x="8061" y="9408"/>
                    <a:pt x="8418" y="9349"/>
                  </a:cubicBezTo>
                  <a:cubicBezTo>
                    <a:pt x="8978" y="9266"/>
                    <a:pt x="9109" y="9111"/>
                    <a:pt x="9228" y="8575"/>
                  </a:cubicBezTo>
                  <a:cubicBezTo>
                    <a:pt x="9323" y="8206"/>
                    <a:pt x="9335" y="8194"/>
                    <a:pt x="9692" y="7968"/>
                  </a:cubicBezTo>
                  <a:cubicBezTo>
                    <a:pt x="10198" y="8180"/>
                    <a:pt x="10406" y="8313"/>
                    <a:pt x="10595" y="8313"/>
                  </a:cubicBezTo>
                  <a:cubicBezTo>
                    <a:pt x="10650" y="8313"/>
                    <a:pt x="10704" y="8302"/>
                    <a:pt x="10764" y="8277"/>
                  </a:cubicBezTo>
                  <a:cubicBezTo>
                    <a:pt x="11192" y="8075"/>
                    <a:pt x="11216" y="7480"/>
                    <a:pt x="10799" y="7301"/>
                  </a:cubicBezTo>
                  <a:lnTo>
                    <a:pt x="10109" y="7003"/>
                  </a:lnTo>
                  <a:cubicBezTo>
                    <a:pt x="10037" y="6599"/>
                    <a:pt x="10037" y="6575"/>
                    <a:pt x="10263" y="6241"/>
                  </a:cubicBezTo>
                  <a:cubicBezTo>
                    <a:pt x="10573" y="5801"/>
                    <a:pt x="10597" y="5622"/>
                    <a:pt x="10287" y="5134"/>
                  </a:cubicBezTo>
                  <a:cubicBezTo>
                    <a:pt x="10085" y="4801"/>
                    <a:pt x="10097" y="4789"/>
                    <a:pt x="10180" y="4384"/>
                  </a:cubicBezTo>
                  <a:lnTo>
                    <a:pt x="10883" y="4122"/>
                  </a:lnTo>
                  <a:cubicBezTo>
                    <a:pt x="11156" y="4015"/>
                    <a:pt x="11287" y="3717"/>
                    <a:pt x="11180" y="3443"/>
                  </a:cubicBezTo>
                  <a:cubicBezTo>
                    <a:pt x="11097" y="3239"/>
                    <a:pt x="10898" y="3115"/>
                    <a:pt x="10690" y="3115"/>
                  </a:cubicBezTo>
                  <a:cubicBezTo>
                    <a:pt x="10631" y="3115"/>
                    <a:pt x="10571" y="3125"/>
                    <a:pt x="10513" y="3146"/>
                  </a:cubicBezTo>
                  <a:lnTo>
                    <a:pt x="9811" y="3420"/>
                  </a:lnTo>
                  <a:cubicBezTo>
                    <a:pt x="9466" y="3181"/>
                    <a:pt x="9454" y="3146"/>
                    <a:pt x="9394" y="2789"/>
                  </a:cubicBezTo>
                  <a:cubicBezTo>
                    <a:pt x="9311" y="2229"/>
                    <a:pt x="9156" y="2086"/>
                    <a:pt x="8620" y="1979"/>
                  </a:cubicBezTo>
                  <a:cubicBezTo>
                    <a:pt x="8251" y="1884"/>
                    <a:pt x="8239" y="1872"/>
                    <a:pt x="8013" y="1515"/>
                  </a:cubicBezTo>
                  <a:lnTo>
                    <a:pt x="8311" y="824"/>
                  </a:lnTo>
                  <a:cubicBezTo>
                    <a:pt x="8430" y="574"/>
                    <a:pt x="8311" y="264"/>
                    <a:pt x="8037" y="157"/>
                  </a:cubicBezTo>
                  <a:cubicBezTo>
                    <a:pt x="7971" y="126"/>
                    <a:pt x="7901" y="111"/>
                    <a:pt x="7831" y="111"/>
                  </a:cubicBezTo>
                  <a:cubicBezTo>
                    <a:pt x="7638" y="111"/>
                    <a:pt x="7449" y="226"/>
                    <a:pt x="7370" y="419"/>
                  </a:cubicBezTo>
                  <a:lnTo>
                    <a:pt x="7073" y="1110"/>
                  </a:lnTo>
                  <a:cubicBezTo>
                    <a:pt x="6927" y="1135"/>
                    <a:pt x="6831" y="1152"/>
                    <a:pt x="6751" y="1152"/>
                  </a:cubicBezTo>
                  <a:cubicBezTo>
                    <a:pt x="6611" y="1152"/>
                    <a:pt x="6524" y="1100"/>
                    <a:pt x="6311" y="955"/>
                  </a:cubicBezTo>
                  <a:lnTo>
                    <a:pt x="6180" y="872"/>
                  </a:lnTo>
                  <a:cubicBezTo>
                    <a:pt x="6152" y="853"/>
                    <a:pt x="6119" y="844"/>
                    <a:pt x="6087" y="844"/>
                  </a:cubicBezTo>
                  <a:cubicBezTo>
                    <a:pt x="6034" y="844"/>
                    <a:pt x="5983" y="868"/>
                    <a:pt x="5953" y="919"/>
                  </a:cubicBezTo>
                  <a:cubicBezTo>
                    <a:pt x="5918" y="991"/>
                    <a:pt x="5930" y="1098"/>
                    <a:pt x="6001" y="1134"/>
                  </a:cubicBezTo>
                  <a:lnTo>
                    <a:pt x="6132" y="1229"/>
                  </a:lnTo>
                  <a:cubicBezTo>
                    <a:pt x="6389" y="1406"/>
                    <a:pt x="6533" y="1474"/>
                    <a:pt x="6731" y="1474"/>
                  </a:cubicBezTo>
                  <a:cubicBezTo>
                    <a:pt x="6826" y="1474"/>
                    <a:pt x="6933" y="1458"/>
                    <a:pt x="7073" y="1431"/>
                  </a:cubicBezTo>
                  <a:cubicBezTo>
                    <a:pt x="7189" y="1411"/>
                    <a:pt x="7278" y="1397"/>
                    <a:pt x="7350" y="1397"/>
                  </a:cubicBezTo>
                  <a:cubicBezTo>
                    <a:pt x="7531" y="1397"/>
                    <a:pt x="7614" y="1481"/>
                    <a:pt x="7775" y="1753"/>
                  </a:cubicBezTo>
                  <a:cubicBezTo>
                    <a:pt x="8013" y="2122"/>
                    <a:pt x="8120" y="2193"/>
                    <a:pt x="8561" y="2300"/>
                  </a:cubicBezTo>
                  <a:cubicBezTo>
                    <a:pt x="8966" y="2384"/>
                    <a:pt x="9013" y="2419"/>
                    <a:pt x="9085" y="2848"/>
                  </a:cubicBezTo>
                  <a:cubicBezTo>
                    <a:pt x="9109" y="3015"/>
                    <a:pt x="9144" y="3181"/>
                    <a:pt x="9228" y="3324"/>
                  </a:cubicBezTo>
                  <a:cubicBezTo>
                    <a:pt x="9370" y="3551"/>
                    <a:pt x="9621" y="3658"/>
                    <a:pt x="9799" y="3812"/>
                  </a:cubicBezTo>
                  <a:cubicBezTo>
                    <a:pt x="9882" y="3908"/>
                    <a:pt x="9906" y="3932"/>
                    <a:pt x="9906" y="3955"/>
                  </a:cubicBezTo>
                  <a:cubicBezTo>
                    <a:pt x="9906" y="3955"/>
                    <a:pt x="9930" y="4015"/>
                    <a:pt x="9906" y="4193"/>
                  </a:cubicBezTo>
                  <a:cubicBezTo>
                    <a:pt x="9859" y="4444"/>
                    <a:pt x="9787" y="4634"/>
                    <a:pt x="9823" y="4860"/>
                  </a:cubicBezTo>
                  <a:cubicBezTo>
                    <a:pt x="9882" y="5194"/>
                    <a:pt x="10216" y="5467"/>
                    <a:pt x="10204" y="5694"/>
                  </a:cubicBezTo>
                  <a:cubicBezTo>
                    <a:pt x="10204" y="5920"/>
                    <a:pt x="9859" y="6170"/>
                    <a:pt x="9787" y="6515"/>
                  </a:cubicBezTo>
                  <a:cubicBezTo>
                    <a:pt x="9704" y="6813"/>
                    <a:pt x="9906" y="7241"/>
                    <a:pt x="9811" y="7420"/>
                  </a:cubicBezTo>
                  <a:cubicBezTo>
                    <a:pt x="9728" y="7611"/>
                    <a:pt x="9275" y="7777"/>
                    <a:pt x="9109" y="8015"/>
                  </a:cubicBezTo>
                  <a:cubicBezTo>
                    <a:pt x="8918" y="8277"/>
                    <a:pt x="8954" y="8718"/>
                    <a:pt x="8787" y="8873"/>
                  </a:cubicBezTo>
                  <a:cubicBezTo>
                    <a:pt x="8620" y="9027"/>
                    <a:pt x="8192" y="8980"/>
                    <a:pt x="7906" y="9158"/>
                  </a:cubicBezTo>
                  <a:cubicBezTo>
                    <a:pt x="7644" y="9325"/>
                    <a:pt x="7477" y="9754"/>
                    <a:pt x="7287" y="9825"/>
                  </a:cubicBezTo>
                  <a:cubicBezTo>
                    <a:pt x="7254" y="9840"/>
                    <a:pt x="7210" y="9846"/>
                    <a:pt x="7163" y="9846"/>
                  </a:cubicBezTo>
                  <a:cubicBezTo>
                    <a:pt x="7058" y="9846"/>
                    <a:pt x="6936" y="9818"/>
                    <a:pt x="6870" y="9801"/>
                  </a:cubicBezTo>
                  <a:cubicBezTo>
                    <a:pt x="6712" y="9764"/>
                    <a:pt x="6595" y="9744"/>
                    <a:pt x="6493" y="9744"/>
                  </a:cubicBezTo>
                  <a:cubicBezTo>
                    <a:pt x="6304" y="9744"/>
                    <a:pt x="6170" y="9813"/>
                    <a:pt x="5930" y="9968"/>
                  </a:cubicBezTo>
                  <a:cubicBezTo>
                    <a:pt x="5756" y="10072"/>
                    <a:pt x="5655" y="10126"/>
                    <a:pt x="5557" y="10126"/>
                  </a:cubicBezTo>
                  <a:cubicBezTo>
                    <a:pt x="5453" y="10126"/>
                    <a:pt x="5351" y="10066"/>
                    <a:pt x="5168" y="9944"/>
                  </a:cubicBezTo>
                  <a:cubicBezTo>
                    <a:pt x="4918" y="9767"/>
                    <a:pt x="4777" y="9704"/>
                    <a:pt x="4576" y="9704"/>
                  </a:cubicBezTo>
                  <a:cubicBezTo>
                    <a:pt x="4480" y="9704"/>
                    <a:pt x="4370" y="9719"/>
                    <a:pt x="4227" y="9742"/>
                  </a:cubicBezTo>
                  <a:cubicBezTo>
                    <a:pt x="4095" y="9764"/>
                    <a:pt x="4008" y="9771"/>
                    <a:pt x="3947" y="9771"/>
                  </a:cubicBezTo>
                  <a:cubicBezTo>
                    <a:pt x="3843" y="9771"/>
                    <a:pt x="3821" y="9749"/>
                    <a:pt x="3798" y="9742"/>
                  </a:cubicBezTo>
                  <a:cubicBezTo>
                    <a:pt x="3608" y="9647"/>
                    <a:pt x="3453" y="9218"/>
                    <a:pt x="3203" y="9039"/>
                  </a:cubicBezTo>
                  <a:cubicBezTo>
                    <a:pt x="2941" y="8849"/>
                    <a:pt x="2501" y="8873"/>
                    <a:pt x="2346" y="8718"/>
                  </a:cubicBezTo>
                  <a:cubicBezTo>
                    <a:pt x="2191" y="8551"/>
                    <a:pt x="2239" y="8123"/>
                    <a:pt x="2060" y="7837"/>
                  </a:cubicBezTo>
                  <a:cubicBezTo>
                    <a:pt x="1941" y="7646"/>
                    <a:pt x="1750" y="7551"/>
                    <a:pt x="1548" y="7384"/>
                  </a:cubicBezTo>
                  <a:cubicBezTo>
                    <a:pt x="1417" y="7265"/>
                    <a:pt x="1393" y="7206"/>
                    <a:pt x="1393" y="7206"/>
                  </a:cubicBezTo>
                  <a:cubicBezTo>
                    <a:pt x="1310" y="7015"/>
                    <a:pt x="1524" y="6599"/>
                    <a:pt x="1465" y="6301"/>
                  </a:cubicBezTo>
                  <a:cubicBezTo>
                    <a:pt x="1405" y="5979"/>
                    <a:pt x="1072" y="5694"/>
                    <a:pt x="1096" y="5467"/>
                  </a:cubicBezTo>
                  <a:cubicBezTo>
                    <a:pt x="1096" y="5241"/>
                    <a:pt x="1429" y="4991"/>
                    <a:pt x="1512" y="4646"/>
                  </a:cubicBezTo>
                  <a:cubicBezTo>
                    <a:pt x="1584" y="4336"/>
                    <a:pt x="1393" y="3932"/>
                    <a:pt x="1477" y="3741"/>
                  </a:cubicBezTo>
                  <a:cubicBezTo>
                    <a:pt x="1572" y="3551"/>
                    <a:pt x="2001" y="3396"/>
                    <a:pt x="2179" y="3146"/>
                  </a:cubicBezTo>
                  <a:cubicBezTo>
                    <a:pt x="2370" y="2884"/>
                    <a:pt x="2346" y="2443"/>
                    <a:pt x="2501" y="2288"/>
                  </a:cubicBezTo>
                  <a:cubicBezTo>
                    <a:pt x="2667" y="2134"/>
                    <a:pt x="3096" y="2181"/>
                    <a:pt x="3382" y="2003"/>
                  </a:cubicBezTo>
                  <a:cubicBezTo>
                    <a:pt x="3608" y="1872"/>
                    <a:pt x="3715" y="1610"/>
                    <a:pt x="3870" y="1431"/>
                  </a:cubicBezTo>
                  <a:cubicBezTo>
                    <a:pt x="3944" y="1357"/>
                    <a:pt x="3995" y="1320"/>
                    <a:pt x="4116" y="1320"/>
                  </a:cubicBezTo>
                  <a:cubicBezTo>
                    <a:pt x="4189" y="1320"/>
                    <a:pt x="4287" y="1333"/>
                    <a:pt x="4429" y="1360"/>
                  </a:cubicBezTo>
                  <a:cubicBezTo>
                    <a:pt x="4543" y="1395"/>
                    <a:pt x="4662" y="1417"/>
                    <a:pt x="4784" y="1417"/>
                  </a:cubicBezTo>
                  <a:cubicBezTo>
                    <a:pt x="4828" y="1417"/>
                    <a:pt x="4873" y="1414"/>
                    <a:pt x="4918" y="1407"/>
                  </a:cubicBezTo>
                  <a:cubicBezTo>
                    <a:pt x="5144" y="1360"/>
                    <a:pt x="5322" y="1217"/>
                    <a:pt x="5513" y="1110"/>
                  </a:cubicBezTo>
                  <a:cubicBezTo>
                    <a:pt x="5584" y="1062"/>
                    <a:pt x="5620" y="955"/>
                    <a:pt x="5572" y="884"/>
                  </a:cubicBezTo>
                  <a:cubicBezTo>
                    <a:pt x="5540" y="835"/>
                    <a:pt x="5479" y="802"/>
                    <a:pt x="5421" y="802"/>
                  </a:cubicBezTo>
                  <a:cubicBezTo>
                    <a:pt x="5395" y="802"/>
                    <a:pt x="5369" y="809"/>
                    <a:pt x="5346" y="824"/>
                  </a:cubicBezTo>
                  <a:cubicBezTo>
                    <a:pt x="5023" y="1010"/>
                    <a:pt x="4963" y="1086"/>
                    <a:pt x="4794" y="1086"/>
                  </a:cubicBezTo>
                  <a:cubicBezTo>
                    <a:pt x="4714" y="1086"/>
                    <a:pt x="4610" y="1069"/>
                    <a:pt x="4441" y="1038"/>
                  </a:cubicBezTo>
                  <a:lnTo>
                    <a:pt x="4167" y="336"/>
                  </a:lnTo>
                  <a:cubicBezTo>
                    <a:pt x="4095" y="127"/>
                    <a:pt x="3904" y="1"/>
                    <a:pt x="36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6" name="Google Shape;10576;p59"/>
            <p:cNvSpPr/>
            <p:nvPr/>
          </p:nvSpPr>
          <p:spPr>
            <a:xfrm>
              <a:off x="5466263" y="3032979"/>
              <a:ext cx="127101" cy="146214"/>
            </a:xfrm>
            <a:custGeom>
              <a:avLst/>
              <a:gdLst/>
              <a:ahLst/>
              <a:cxnLst/>
              <a:rect l="l" t="t" r="r" b="b"/>
              <a:pathLst>
                <a:path w="3990" h="4590" extrusionOk="0">
                  <a:moveTo>
                    <a:pt x="2681" y="1"/>
                  </a:moveTo>
                  <a:cubicBezTo>
                    <a:pt x="2422" y="1"/>
                    <a:pt x="2181" y="137"/>
                    <a:pt x="2120" y="428"/>
                  </a:cubicBezTo>
                  <a:cubicBezTo>
                    <a:pt x="2036" y="773"/>
                    <a:pt x="1941" y="1095"/>
                    <a:pt x="1786" y="1392"/>
                  </a:cubicBezTo>
                  <a:cubicBezTo>
                    <a:pt x="1739" y="1476"/>
                    <a:pt x="1786" y="1571"/>
                    <a:pt x="1858" y="1619"/>
                  </a:cubicBezTo>
                  <a:cubicBezTo>
                    <a:pt x="1881" y="1632"/>
                    <a:pt x="1905" y="1638"/>
                    <a:pt x="1929" y="1638"/>
                  </a:cubicBezTo>
                  <a:cubicBezTo>
                    <a:pt x="1991" y="1638"/>
                    <a:pt x="2050" y="1599"/>
                    <a:pt x="2084" y="1547"/>
                  </a:cubicBezTo>
                  <a:cubicBezTo>
                    <a:pt x="2251" y="1214"/>
                    <a:pt x="2358" y="880"/>
                    <a:pt x="2441" y="499"/>
                  </a:cubicBezTo>
                  <a:cubicBezTo>
                    <a:pt x="2466" y="387"/>
                    <a:pt x="2563" y="336"/>
                    <a:pt x="2676" y="336"/>
                  </a:cubicBezTo>
                  <a:cubicBezTo>
                    <a:pt x="2836" y="336"/>
                    <a:pt x="3028" y="439"/>
                    <a:pt x="3084" y="607"/>
                  </a:cubicBezTo>
                  <a:cubicBezTo>
                    <a:pt x="3287" y="1214"/>
                    <a:pt x="3632" y="2214"/>
                    <a:pt x="3072" y="3095"/>
                  </a:cubicBezTo>
                  <a:cubicBezTo>
                    <a:pt x="2512" y="3947"/>
                    <a:pt x="1615" y="4265"/>
                    <a:pt x="1007" y="4265"/>
                  </a:cubicBezTo>
                  <a:cubicBezTo>
                    <a:pt x="672" y="4265"/>
                    <a:pt x="425" y="4168"/>
                    <a:pt x="370" y="4012"/>
                  </a:cubicBezTo>
                  <a:cubicBezTo>
                    <a:pt x="334" y="3881"/>
                    <a:pt x="417" y="3678"/>
                    <a:pt x="643" y="3440"/>
                  </a:cubicBezTo>
                  <a:cubicBezTo>
                    <a:pt x="1060" y="2964"/>
                    <a:pt x="1405" y="2583"/>
                    <a:pt x="1679" y="2190"/>
                  </a:cubicBezTo>
                  <a:cubicBezTo>
                    <a:pt x="1739" y="2107"/>
                    <a:pt x="1715" y="2012"/>
                    <a:pt x="1644" y="1964"/>
                  </a:cubicBezTo>
                  <a:cubicBezTo>
                    <a:pt x="1611" y="1946"/>
                    <a:pt x="1576" y="1936"/>
                    <a:pt x="1542" y="1936"/>
                  </a:cubicBezTo>
                  <a:cubicBezTo>
                    <a:pt x="1488" y="1936"/>
                    <a:pt x="1439" y="1960"/>
                    <a:pt x="1417" y="2012"/>
                  </a:cubicBezTo>
                  <a:cubicBezTo>
                    <a:pt x="1143" y="2393"/>
                    <a:pt x="810" y="2762"/>
                    <a:pt x="405" y="3202"/>
                  </a:cubicBezTo>
                  <a:cubicBezTo>
                    <a:pt x="0" y="3607"/>
                    <a:pt x="0" y="3928"/>
                    <a:pt x="60" y="4119"/>
                  </a:cubicBezTo>
                  <a:cubicBezTo>
                    <a:pt x="171" y="4424"/>
                    <a:pt x="546" y="4589"/>
                    <a:pt x="1019" y="4589"/>
                  </a:cubicBezTo>
                  <a:cubicBezTo>
                    <a:pt x="1763" y="4589"/>
                    <a:pt x="2752" y="4179"/>
                    <a:pt x="3334" y="3262"/>
                  </a:cubicBezTo>
                  <a:cubicBezTo>
                    <a:pt x="3989" y="2250"/>
                    <a:pt x="3608" y="1095"/>
                    <a:pt x="3394" y="488"/>
                  </a:cubicBezTo>
                  <a:cubicBezTo>
                    <a:pt x="3287" y="172"/>
                    <a:pt x="2973" y="1"/>
                    <a:pt x="26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77" name="Google Shape;10577;p59"/>
          <p:cNvGrpSpPr/>
          <p:nvPr/>
        </p:nvGrpSpPr>
        <p:grpSpPr>
          <a:xfrm>
            <a:off x="2199565" y="2421172"/>
            <a:ext cx="312179" cy="353431"/>
            <a:chOff x="2199565" y="2421172"/>
            <a:chExt cx="312179" cy="353431"/>
          </a:xfrm>
        </p:grpSpPr>
        <p:sp>
          <p:nvSpPr>
            <p:cNvPr id="10578" name="Google Shape;10578;p59"/>
            <p:cNvSpPr/>
            <p:nvPr/>
          </p:nvSpPr>
          <p:spPr>
            <a:xfrm>
              <a:off x="2199565" y="2421172"/>
              <a:ext cx="312179" cy="353431"/>
            </a:xfrm>
            <a:custGeom>
              <a:avLst/>
              <a:gdLst/>
              <a:ahLst/>
              <a:cxnLst/>
              <a:rect l="l" t="t" r="r" b="b"/>
              <a:pathLst>
                <a:path w="9800" h="11095" extrusionOk="0">
                  <a:moveTo>
                    <a:pt x="5156" y="322"/>
                  </a:moveTo>
                  <a:cubicBezTo>
                    <a:pt x="5228" y="322"/>
                    <a:pt x="5311" y="370"/>
                    <a:pt x="5311" y="465"/>
                  </a:cubicBezTo>
                  <a:lnTo>
                    <a:pt x="5311" y="858"/>
                  </a:lnTo>
                  <a:cubicBezTo>
                    <a:pt x="5202" y="822"/>
                    <a:pt x="5100" y="806"/>
                    <a:pt x="4999" y="806"/>
                  </a:cubicBezTo>
                  <a:cubicBezTo>
                    <a:pt x="4968" y="806"/>
                    <a:pt x="4937" y="807"/>
                    <a:pt x="4906" y="810"/>
                  </a:cubicBezTo>
                  <a:cubicBezTo>
                    <a:pt x="4775" y="810"/>
                    <a:pt x="4656" y="822"/>
                    <a:pt x="4549" y="858"/>
                  </a:cubicBezTo>
                  <a:lnTo>
                    <a:pt x="4549" y="465"/>
                  </a:lnTo>
                  <a:cubicBezTo>
                    <a:pt x="4549" y="394"/>
                    <a:pt x="4609" y="322"/>
                    <a:pt x="4692" y="322"/>
                  </a:cubicBezTo>
                  <a:close/>
                  <a:moveTo>
                    <a:pt x="4906" y="1132"/>
                  </a:moveTo>
                  <a:cubicBezTo>
                    <a:pt x="5502" y="1132"/>
                    <a:pt x="6002" y="1608"/>
                    <a:pt x="6002" y="2227"/>
                  </a:cubicBezTo>
                  <a:cubicBezTo>
                    <a:pt x="6002" y="2838"/>
                    <a:pt x="5504" y="3302"/>
                    <a:pt x="4927" y="3302"/>
                  </a:cubicBezTo>
                  <a:cubicBezTo>
                    <a:pt x="4807" y="3302"/>
                    <a:pt x="4684" y="3282"/>
                    <a:pt x="4561" y="3239"/>
                  </a:cubicBezTo>
                  <a:cubicBezTo>
                    <a:pt x="4144" y="3084"/>
                    <a:pt x="3847" y="2680"/>
                    <a:pt x="3847" y="2227"/>
                  </a:cubicBezTo>
                  <a:cubicBezTo>
                    <a:pt x="3835" y="1632"/>
                    <a:pt x="4311" y="1132"/>
                    <a:pt x="4906" y="1132"/>
                  </a:cubicBezTo>
                  <a:close/>
                  <a:moveTo>
                    <a:pt x="4978" y="3620"/>
                  </a:moveTo>
                  <a:lnTo>
                    <a:pt x="6061" y="6251"/>
                  </a:lnTo>
                  <a:lnTo>
                    <a:pt x="5621" y="6251"/>
                  </a:lnTo>
                  <a:cubicBezTo>
                    <a:pt x="5621" y="5918"/>
                    <a:pt x="5335" y="5644"/>
                    <a:pt x="4990" y="5644"/>
                  </a:cubicBezTo>
                  <a:lnTo>
                    <a:pt x="4847" y="5644"/>
                  </a:lnTo>
                  <a:cubicBezTo>
                    <a:pt x="4501" y="5644"/>
                    <a:pt x="4216" y="5918"/>
                    <a:pt x="4216" y="6251"/>
                  </a:cubicBezTo>
                  <a:lnTo>
                    <a:pt x="3775" y="6251"/>
                  </a:lnTo>
                  <a:lnTo>
                    <a:pt x="4859" y="3620"/>
                  </a:lnTo>
                  <a:close/>
                  <a:moveTo>
                    <a:pt x="1406" y="6573"/>
                  </a:moveTo>
                  <a:lnTo>
                    <a:pt x="1323" y="6740"/>
                  </a:lnTo>
                  <a:lnTo>
                    <a:pt x="430" y="6740"/>
                  </a:lnTo>
                  <a:cubicBezTo>
                    <a:pt x="423" y="6741"/>
                    <a:pt x="417" y="6742"/>
                    <a:pt x="411" y="6742"/>
                  </a:cubicBezTo>
                  <a:cubicBezTo>
                    <a:pt x="370" y="6742"/>
                    <a:pt x="334" y="6708"/>
                    <a:pt x="334" y="6656"/>
                  </a:cubicBezTo>
                  <a:cubicBezTo>
                    <a:pt x="334" y="6609"/>
                    <a:pt x="382" y="6573"/>
                    <a:pt x="430" y="6573"/>
                  </a:cubicBezTo>
                  <a:close/>
                  <a:moveTo>
                    <a:pt x="6204" y="6573"/>
                  </a:moveTo>
                  <a:lnTo>
                    <a:pt x="6276" y="6752"/>
                  </a:lnTo>
                  <a:lnTo>
                    <a:pt x="5621" y="6752"/>
                  </a:lnTo>
                  <a:lnTo>
                    <a:pt x="5621" y="6573"/>
                  </a:lnTo>
                  <a:close/>
                  <a:moveTo>
                    <a:pt x="9419" y="6573"/>
                  </a:moveTo>
                  <a:cubicBezTo>
                    <a:pt x="9454" y="6573"/>
                    <a:pt x="9502" y="6609"/>
                    <a:pt x="9502" y="6656"/>
                  </a:cubicBezTo>
                  <a:cubicBezTo>
                    <a:pt x="9502" y="6716"/>
                    <a:pt x="9454" y="6752"/>
                    <a:pt x="9419" y="6752"/>
                  </a:cubicBezTo>
                  <a:lnTo>
                    <a:pt x="8526" y="6752"/>
                  </a:lnTo>
                  <a:cubicBezTo>
                    <a:pt x="8526" y="6752"/>
                    <a:pt x="8451" y="6592"/>
                    <a:pt x="8434" y="6573"/>
                  </a:cubicBezTo>
                  <a:close/>
                  <a:moveTo>
                    <a:pt x="4216" y="6585"/>
                  </a:moveTo>
                  <a:lnTo>
                    <a:pt x="4216" y="6763"/>
                  </a:lnTo>
                  <a:lnTo>
                    <a:pt x="3573" y="6763"/>
                  </a:lnTo>
                  <a:lnTo>
                    <a:pt x="3644" y="6585"/>
                  </a:lnTo>
                  <a:close/>
                  <a:moveTo>
                    <a:pt x="4990" y="5954"/>
                  </a:moveTo>
                  <a:cubicBezTo>
                    <a:pt x="5156" y="5954"/>
                    <a:pt x="5287" y="6097"/>
                    <a:pt x="5287" y="6251"/>
                  </a:cubicBezTo>
                  <a:lnTo>
                    <a:pt x="5287" y="7061"/>
                  </a:lnTo>
                  <a:cubicBezTo>
                    <a:pt x="5287" y="7228"/>
                    <a:pt x="5156" y="7359"/>
                    <a:pt x="4990" y="7359"/>
                  </a:cubicBezTo>
                  <a:lnTo>
                    <a:pt x="4847" y="7359"/>
                  </a:lnTo>
                  <a:cubicBezTo>
                    <a:pt x="4680" y="7359"/>
                    <a:pt x="4549" y="7228"/>
                    <a:pt x="4549" y="7061"/>
                  </a:cubicBezTo>
                  <a:lnTo>
                    <a:pt x="4549" y="6251"/>
                  </a:lnTo>
                  <a:cubicBezTo>
                    <a:pt x="4549" y="6097"/>
                    <a:pt x="4680" y="5954"/>
                    <a:pt x="4847" y="5954"/>
                  </a:cubicBezTo>
                  <a:close/>
                  <a:moveTo>
                    <a:pt x="1299" y="10157"/>
                  </a:moveTo>
                  <a:lnTo>
                    <a:pt x="1477" y="10228"/>
                  </a:lnTo>
                  <a:lnTo>
                    <a:pt x="1287" y="10454"/>
                  </a:lnTo>
                  <a:lnTo>
                    <a:pt x="1299" y="10157"/>
                  </a:lnTo>
                  <a:close/>
                  <a:moveTo>
                    <a:pt x="8538" y="10157"/>
                  </a:moveTo>
                  <a:lnTo>
                    <a:pt x="8550" y="10454"/>
                  </a:lnTo>
                  <a:lnTo>
                    <a:pt x="8359" y="10228"/>
                  </a:lnTo>
                  <a:lnTo>
                    <a:pt x="8538" y="10157"/>
                  </a:lnTo>
                  <a:close/>
                  <a:moveTo>
                    <a:pt x="4680" y="1"/>
                  </a:moveTo>
                  <a:cubicBezTo>
                    <a:pt x="4430" y="1"/>
                    <a:pt x="4204" y="215"/>
                    <a:pt x="4204" y="477"/>
                  </a:cubicBezTo>
                  <a:lnTo>
                    <a:pt x="4204" y="1001"/>
                  </a:lnTo>
                  <a:cubicBezTo>
                    <a:pt x="3716" y="1287"/>
                    <a:pt x="3418" y="1870"/>
                    <a:pt x="3525" y="2441"/>
                  </a:cubicBezTo>
                  <a:lnTo>
                    <a:pt x="3108" y="3263"/>
                  </a:lnTo>
                  <a:cubicBezTo>
                    <a:pt x="3061" y="3334"/>
                    <a:pt x="3085" y="3442"/>
                    <a:pt x="3180" y="3489"/>
                  </a:cubicBezTo>
                  <a:cubicBezTo>
                    <a:pt x="3202" y="3504"/>
                    <a:pt x="3227" y="3511"/>
                    <a:pt x="3253" y="3511"/>
                  </a:cubicBezTo>
                  <a:cubicBezTo>
                    <a:pt x="3311" y="3511"/>
                    <a:pt x="3373" y="3476"/>
                    <a:pt x="3406" y="3418"/>
                  </a:cubicBezTo>
                  <a:lnTo>
                    <a:pt x="3680" y="2858"/>
                  </a:lnTo>
                  <a:cubicBezTo>
                    <a:pt x="3859" y="3203"/>
                    <a:pt x="4168" y="3453"/>
                    <a:pt x="4549" y="3561"/>
                  </a:cubicBezTo>
                  <a:cubicBezTo>
                    <a:pt x="4442" y="3811"/>
                    <a:pt x="2287" y="9073"/>
                    <a:pt x="1930" y="9919"/>
                  </a:cubicBezTo>
                  <a:cubicBezTo>
                    <a:pt x="1900" y="9968"/>
                    <a:pt x="1845" y="9993"/>
                    <a:pt x="1794" y="9993"/>
                  </a:cubicBezTo>
                  <a:cubicBezTo>
                    <a:pt x="1783" y="9993"/>
                    <a:pt x="1773" y="9992"/>
                    <a:pt x="1763" y="9990"/>
                  </a:cubicBezTo>
                  <a:lnTo>
                    <a:pt x="1168" y="9752"/>
                  </a:lnTo>
                  <a:cubicBezTo>
                    <a:pt x="1120" y="9740"/>
                    <a:pt x="1096" y="9692"/>
                    <a:pt x="1096" y="9645"/>
                  </a:cubicBezTo>
                  <a:cubicBezTo>
                    <a:pt x="882" y="7990"/>
                    <a:pt x="1632" y="6906"/>
                    <a:pt x="1692" y="6763"/>
                  </a:cubicBezTo>
                  <a:cubicBezTo>
                    <a:pt x="1846" y="6430"/>
                    <a:pt x="2847" y="4501"/>
                    <a:pt x="3120" y="3977"/>
                  </a:cubicBezTo>
                  <a:cubicBezTo>
                    <a:pt x="3156" y="3906"/>
                    <a:pt x="3132" y="3799"/>
                    <a:pt x="3037" y="3751"/>
                  </a:cubicBezTo>
                  <a:cubicBezTo>
                    <a:pt x="3016" y="3741"/>
                    <a:pt x="2992" y="3735"/>
                    <a:pt x="2968" y="3735"/>
                  </a:cubicBezTo>
                  <a:cubicBezTo>
                    <a:pt x="2909" y="3735"/>
                    <a:pt x="2848" y="3767"/>
                    <a:pt x="2823" y="3834"/>
                  </a:cubicBezTo>
                  <a:lnTo>
                    <a:pt x="1573" y="6251"/>
                  </a:lnTo>
                  <a:lnTo>
                    <a:pt x="430" y="6251"/>
                  </a:lnTo>
                  <a:cubicBezTo>
                    <a:pt x="203" y="6251"/>
                    <a:pt x="1" y="6430"/>
                    <a:pt x="1" y="6668"/>
                  </a:cubicBezTo>
                  <a:cubicBezTo>
                    <a:pt x="1" y="6894"/>
                    <a:pt x="180" y="7085"/>
                    <a:pt x="430" y="7085"/>
                  </a:cubicBezTo>
                  <a:lnTo>
                    <a:pt x="1156" y="7085"/>
                  </a:lnTo>
                  <a:cubicBezTo>
                    <a:pt x="775" y="7906"/>
                    <a:pt x="644" y="8799"/>
                    <a:pt x="751" y="9704"/>
                  </a:cubicBezTo>
                  <a:cubicBezTo>
                    <a:pt x="763" y="9847"/>
                    <a:pt x="858" y="9978"/>
                    <a:pt x="977" y="10038"/>
                  </a:cubicBezTo>
                  <a:lnTo>
                    <a:pt x="930" y="10919"/>
                  </a:lnTo>
                  <a:cubicBezTo>
                    <a:pt x="930" y="11017"/>
                    <a:pt x="1014" y="11081"/>
                    <a:pt x="1101" y="11081"/>
                  </a:cubicBezTo>
                  <a:cubicBezTo>
                    <a:pt x="1141" y="11081"/>
                    <a:pt x="1182" y="11068"/>
                    <a:pt x="1215" y="11038"/>
                  </a:cubicBezTo>
                  <a:lnTo>
                    <a:pt x="1823" y="10347"/>
                  </a:lnTo>
                  <a:cubicBezTo>
                    <a:pt x="1989" y="10335"/>
                    <a:pt x="2132" y="10228"/>
                    <a:pt x="2215" y="10061"/>
                  </a:cubicBezTo>
                  <a:lnTo>
                    <a:pt x="3430" y="7109"/>
                  </a:lnTo>
                  <a:lnTo>
                    <a:pt x="4204" y="7109"/>
                  </a:lnTo>
                  <a:cubicBezTo>
                    <a:pt x="4204" y="7442"/>
                    <a:pt x="4490" y="7716"/>
                    <a:pt x="4823" y="7716"/>
                  </a:cubicBezTo>
                  <a:lnTo>
                    <a:pt x="4978" y="7716"/>
                  </a:lnTo>
                  <a:cubicBezTo>
                    <a:pt x="5323" y="7716"/>
                    <a:pt x="5597" y="7442"/>
                    <a:pt x="5597" y="7109"/>
                  </a:cubicBezTo>
                  <a:lnTo>
                    <a:pt x="6371" y="7109"/>
                  </a:lnTo>
                  <a:lnTo>
                    <a:pt x="7014" y="8668"/>
                  </a:lnTo>
                  <a:cubicBezTo>
                    <a:pt x="7040" y="8730"/>
                    <a:pt x="7099" y="8766"/>
                    <a:pt x="7161" y="8766"/>
                  </a:cubicBezTo>
                  <a:cubicBezTo>
                    <a:pt x="7184" y="8766"/>
                    <a:pt x="7206" y="8761"/>
                    <a:pt x="7228" y="8752"/>
                  </a:cubicBezTo>
                  <a:cubicBezTo>
                    <a:pt x="7311" y="8728"/>
                    <a:pt x="7347" y="8621"/>
                    <a:pt x="7311" y="8549"/>
                  </a:cubicBezTo>
                  <a:cubicBezTo>
                    <a:pt x="7192" y="8252"/>
                    <a:pt x="5394" y="3870"/>
                    <a:pt x="5275" y="3608"/>
                  </a:cubicBezTo>
                  <a:cubicBezTo>
                    <a:pt x="5644" y="3501"/>
                    <a:pt x="5954" y="3251"/>
                    <a:pt x="6133" y="2906"/>
                  </a:cubicBezTo>
                  <a:cubicBezTo>
                    <a:pt x="6168" y="2953"/>
                    <a:pt x="8145" y="6811"/>
                    <a:pt x="8264" y="7061"/>
                  </a:cubicBezTo>
                  <a:cubicBezTo>
                    <a:pt x="8681" y="7859"/>
                    <a:pt x="8847" y="8776"/>
                    <a:pt x="8728" y="9680"/>
                  </a:cubicBezTo>
                  <a:cubicBezTo>
                    <a:pt x="8728" y="9728"/>
                    <a:pt x="8692" y="9764"/>
                    <a:pt x="8657" y="9788"/>
                  </a:cubicBezTo>
                  <a:lnTo>
                    <a:pt x="8061" y="10026"/>
                  </a:lnTo>
                  <a:cubicBezTo>
                    <a:pt x="8047" y="10031"/>
                    <a:pt x="8032" y="10034"/>
                    <a:pt x="8017" y="10034"/>
                  </a:cubicBezTo>
                  <a:cubicBezTo>
                    <a:pt x="7969" y="10034"/>
                    <a:pt x="7922" y="10005"/>
                    <a:pt x="7895" y="9942"/>
                  </a:cubicBezTo>
                  <a:lnTo>
                    <a:pt x="7573" y="9145"/>
                  </a:lnTo>
                  <a:cubicBezTo>
                    <a:pt x="7546" y="9072"/>
                    <a:pt x="7477" y="9041"/>
                    <a:pt x="7414" y="9041"/>
                  </a:cubicBezTo>
                  <a:cubicBezTo>
                    <a:pt x="7395" y="9041"/>
                    <a:pt x="7376" y="9044"/>
                    <a:pt x="7359" y="9049"/>
                  </a:cubicBezTo>
                  <a:cubicBezTo>
                    <a:pt x="7276" y="9085"/>
                    <a:pt x="7240" y="9192"/>
                    <a:pt x="7276" y="9264"/>
                  </a:cubicBezTo>
                  <a:lnTo>
                    <a:pt x="7597" y="10061"/>
                  </a:lnTo>
                  <a:cubicBezTo>
                    <a:pt x="7657" y="10228"/>
                    <a:pt x="7823" y="10335"/>
                    <a:pt x="7990" y="10347"/>
                  </a:cubicBezTo>
                  <a:lnTo>
                    <a:pt x="8597" y="11038"/>
                  </a:lnTo>
                  <a:cubicBezTo>
                    <a:pt x="8632" y="11077"/>
                    <a:pt x="8676" y="11094"/>
                    <a:pt x="8717" y="11094"/>
                  </a:cubicBezTo>
                  <a:cubicBezTo>
                    <a:pt x="8803" y="11094"/>
                    <a:pt x="8883" y="11023"/>
                    <a:pt x="8883" y="10919"/>
                  </a:cubicBezTo>
                  <a:lnTo>
                    <a:pt x="8835" y="10038"/>
                  </a:lnTo>
                  <a:cubicBezTo>
                    <a:pt x="8954" y="9966"/>
                    <a:pt x="9038" y="9847"/>
                    <a:pt x="9062" y="9704"/>
                  </a:cubicBezTo>
                  <a:cubicBezTo>
                    <a:pt x="9181" y="8811"/>
                    <a:pt x="9038" y="7906"/>
                    <a:pt x="8657" y="7085"/>
                  </a:cubicBezTo>
                  <a:lnTo>
                    <a:pt x="9383" y="7085"/>
                  </a:lnTo>
                  <a:cubicBezTo>
                    <a:pt x="9609" y="7085"/>
                    <a:pt x="9800" y="6906"/>
                    <a:pt x="9800" y="6668"/>
                  </a:cubicBezTo>
                  <a:cubicBezTo>
                    <a:pt x="9800" y="6430"/>
                    <a:pt x="9633" y="6251"/>
                    <a:pt x="9419" y="6251"/>
                  </a:cubicBezTo>
                  <a:lnTo>
                    <a:pt x="8264" y="6251"/>
                  </a:lnTo>
                  <a:lnTo>
                    <a:pt x="6299" y="2441"/>
                  </a:lnTo>
                  <a:cubicBezTo>
                    <a:pt x="6395" y="1846"/>
                    <a:pt x="6109" y="1287"/>
                    <a:pt x="5621" y="1001"/>
                  </a:cubicBezTo>
                  <a:lnTo>
                    <a:pt x="5621" y="477"/>
                  </a:lnTo>
                  <a:cubicBezTo>
                    <a:pt x="5621" y="227"/>
                    <a:pt x="5406" y="1"/>
                    <a:pt x="5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9" name="Google Shape;10579;p59"/>
            <p:cNvSpPr/>
            <p:nvPr/>
          </p:nvSpPr>
          <p:spPr>
            <a:xfrm>
              <a:off x="2335745" y="2471248"/>
              <a:ext cx="40997" cy="40615"/>
            </a:xfrm>
            <a:custGeom>
              <a:avLst/>
              <a:gdLst/>
              <a:ahLst/>
              <a:cxnLst/>
              <a:rect l="l" t="t" r="r" b="b"/>
              <a:pathLst>
                <a:path w="1287" h="1275" extrusionOk="0">
                  <a:moveTo>
                    <a:pt x="643" y="322"/>
                  </a:moveTo>
                  <a:cubicBezTo>
                    <a:pt x="822" y="322"/>
                    <a:pt x="953" y="477"/>
                    <a:pt x="953" y="631"/>
                  </a:cubicBezTo>
                  <a:cubicBezTo>
                    <a:pt x="953" y="798"/>
                    <a:pt x="810" y="953"/>
                    <a:pt x="643" y="953"/>
                  </a:cubicBezTo>
                  <a:cubicBezTo>
                    <a:pt x="477" y="953"/>
                    <a:pt x="334" y="798"/>
                    <a:pt x="334" y="631"/>
                  </a:cubicBezTo>
                  <a:cubicBezTo>
                    <a:pt x="334" y="477"/>
                    <a:pt x="465" y="322"/>
                    <a:pt x="643" y="322"/>
                  </a:cubicBezTo>
                  <a:close/>
                  <a:moveTo>
                    <a:pt x="643" y="0"/>
                  </a:moveTo>
                  <a:cubicBezTo>
                    <a:pt x="286" y="0"/>
                    <a:pt x="0" y="274"/>
                    <a:pt x="0" y="631"/>
                  </a:cubicBezTo>
                  <a:cubicBezTo>
                    <a:pt x="0" y="989"/>
                    <a:pt x="286" y="1274"/>
                    <a:pt x="643" y="1274"/>
                  </a:cubicBezTo>
                  <a:cubicBezTo>
                    <a:pt x="1000" y="1274"/>
                    <a:pt x="1286" y="989"/>
                    <a:pt x="1286" y="631"/>
                  </a:cubicBezTo>
                  <a:cubicBezTo>
                    <a:pt x="1286" y="274"/>
                    <a:pt x="1000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80" name="Google Shape;10580;p59"/>
          <p:cNvGrpSpPr/>
          <p:nvPr/>
        </p:nvGrpSpPr>
        <p:grpSpPr>
          <a:xfrm>
            <a:off x="1750887" y="2425727"/>
            <a:ext cx="320143" cy="343269"/>
            <a:chOff x="1750887" y="2425727"/>
            <a:chExt cx="320143" cy="343269"/>
          </a:xfrm>
        </p:grpSpPr>
        <p:sp>
          <p:nvSpPr>
            <p:cNvPr id="10581" name="Google Shape;10581;p59"/>
            <p:cNvSpPr/>
            <p:nvPr/>
          </p:nvSpPr>
          <p:spPr>
            <a:xfrm>
              <a:off x="1750887" y="2425727"/>
              <a:ext cx="320143" cy="289052"/>
            </a:xfrm>
            <a:custGeom>
              <a:avLst/>
              <a:gdLst/>
              <a:ahLst/>
              <a:cxnLst/>
              <a:rect l="l" t="t" r="r" b="b"/>
              <a:pathLst>
                <a:path w="10050" h="9074" extrusionOk="0">
                  <a:moveTo>
                    <a:pt x="1668" y="322"/>
                  </a:moveTo>
                  <a:cubicBezTo>
                    <a:pt x="1834" y="322"/>
                    <a:pt x="1953" y="453"/>
                    <a:pt x="1953" y="608"/>
                  </a:cubicBezTo>
                  <a:lnTo>
                    <a:pt x="1953" y="1275"/>
                  </a:lnTo>
                  <a:cubicBezTo>
                    <a:pt x="1953" y="1441"/>
                    <a:pt x="1811" y="1560"/>
                    <a:pt x="1668" y="1560"/>
                  </a:cubicBezTo>
                  <a:cubicBezTo>
                    <a:pt x="1513" y="1560"/>
                    <a:pt x="1382" y="1429"/>
                    <a:pt x="1382" y="1275"/>
                  </a:cubicBezTo>
                  <a:lnTo>
                    <a:pt x="1382" y="929"/>
                  </a:lnTo>
                  <a:lnTo>
                    <a:pt x="1382" y="608"/>
                  </a:lnTo>
                  <a:cubicBezTo>
                    <a:pt x="1370" y="453"/>
                    <a:pt x="1501" y="322"/>
                    <a:pt x="1668" y="322"/>
                  </a:cubicBezTo>
                  <a:close/>
                  <a:moveTo>
                    <a:pt x="3918" y="322"/>
                  </a:moveTo>
                  <a:cubicBezTo>
                    <a:pt x="4061" y="322"/>
                    <a:pt x="4192" y="453"/>
                    <a:pt x="4192" y="608"/>
                  </a:cubicBezTo>
                  <a:lnTo>
                    <a:pt x="4192" y="1275"/>
                  </a:lnTo>
                  <a:cubicBezTo>
                    <a:pt x="4192" y="1441"/>
                    <a:pt x="4061" y="1560"/>
                    <a:pt x="3918" y="1560"/>
                  </a:cubicBezTo>
                  <a:cubicBezTo>
                    <a:pt x="3763" y="1560"/>
                    <a:pt x="3632" y="1429"/>
                    <a:pt x="3632" y="1275"/>
                  </a:cubicBezTo>
                  <a:lnTo>
                    <a:pt x="3632" y="608"/>
                  </a:lnTo>
                  <a:cubicBezTo>
                    <a:pt x="3632" y="441"/>
                    <a:pt x="3763" y="322"/>
                    <a:pt x="3918" y="322"/>
                  </a:cubicBezTo>
                  <a:close/>
                  <a:moveTo>
                    <a:pt x="6180" y="322"/>
                  </a:moveTo>
                  <a:cubicBezTo>
                    <a:pt x="6323" y="322"/>
                    <a:pt x="6454" y="453"/>
                    <a:pt x="6454" y="608"/>
                  </a:cubicBezTo>
                  <a:lnTo>
                    <a:pt x="6454" y="1275"/>
                  </a:lnTo>
                  <a:cubicBezTo>
                    <a:pt x="6454" y="1441"/>
                    <a:pt x="6323" y="1560"/>
                    <a:pt x="6180" y="1560"/>
                  </a:cubicBezTo>
                  <a:cubicBezTo>
                    <a:pt x="6025" y="1560"/>
                    <a:pt x="5894" y="1429"/>
                    <a:pt x="5894" y="1275"/>
                  </a:cubicBezTo>
                  <a:lnTo>
                    <a:pt x="5894" y="608"/>
                  </a:lnTo>
                  <a:cubicBezTo>
                    <a:pt x="5894" y="441"/>
                    <a:pt x="6025" y="322"/>
                    <a:pt x="6180" y="322"/>
                  </a:cubicBezTo>
                  <a:close/>
                  <a:moveTo>
                    <a:pt x="8419" y="322"/>
                  </a:moveTo>
                  <a:cubicBezTo>
                    <a:pt x="8573" y="322"/>
                    <a:pt x="8704" y="453"/>
                    <a:pt x="8704" y="608"/>
                  </a:cubicBezTo>
                  <a:lnTo>
                    <a:pt x="8704" y="929"/>
                  </a:lnTo>
                  <a:lnTo>
                    <a:pt x="8704" y="1275"/>
                  </a:lnTo>
                  <a:cubicBezTo>
                    <a:pt x="8704" y="1441"/>
                    <a:pt x="8573" y="1560"/>
                    <a:pt x="8419" y="1560"/>
                  </a:cubicBezTo>
                  <a:cubicBezTo>
                    <a:pt x="8276" y="1560"/>
                    <a:pt x="8145" y="1429"/>
                    <a:pt x="8145" y="1275"/>
                  </a:cubicBezTo>
                  <a:lnTo>
                    <a:pt x="8145" y="608"/>
                  </a:lnTo>
                  <a:cubicBezTo>
                    <a:pt x="8145" y="441"/>
                    <a:pt x="8276" y="322"/>
                    <a:pt x="8419" y="322"/>
                  </a:cubicBezTo>
                  <a:close/>
                  <a:moveTo>
                    <a:pt x="9526" y="1096"/>
                  </a:moveTo>
                  <a:cubicBezTo>
                    <a:pt x="9669" y="1096"/>
                    <a:pt x="9788" y="1215"/>
                    <a:pt x="9788" y="1370"/>
                  </a:cubicBezTo>
                  <a:lnTo>
                    <a:pt x="9788" y="2525"/>
                  </a:lnTo>
                  <a:lnTo>
                    <a:pt x="370" y="2525"/>
                  </a:lnTo>
                  <a:lnTo>
                    <a:pt x="370" y="1370"/>
                  </a:lnTo>
                  <a:cubicBezTo>
                    <a:pt x="370" y="1215"/>
                    <a:pt x="489" y="1096"/>
                    <a:pt x="644" y="1096"/>
                  </a:cubicBezTo>
                  <a:lnTo>
                    <a:pt x="1060" y="1096"/>
                  </a:lnTo>
                  <a:lnTo>
                    <a:pt x="1060" y="1275"/>
                  </a:lnTo>
                  <a:cubicBezTo>
                    <a:pt x="1060" y="1596"/>
                    <a:pt x="1322" y="1882"/>
                    <a:pt x="1668" y="1882"/>
                  </a:cubicBezTo>
                  <a:cubicBezTo>
                    <a:pt x="1989" y="1882"/>
                    <a:pt x="2275" y="1620"/>
                    <a:pt x="2275" y="1275"/>
                  </a:cubicBezTo>
                  <a:lnTo>
                    <a:pt x="2275" y="1096"/>
                  </a:lnTo>
                  <a:lnTo>
                    <a:pt x="3335" y="1096"/>
                  </a:lnTo>
                  <a:lnTo>
                    <a:pt x="3335" y="1275"/>
                  </a:lnTo>
                  <a:cubicBezTo>
                    <a:pt x="3335" y="1596"/>
                    <a:pt x="3597" y="1882"/>
                    <a:pt x="3942" y="1882"/>
                  </a:cubicBezTo>
                  <a:cubicBezTo>
                    <a:pt x="4287" y="1882"/>
                    <a:pt x="4549" y="1620"/>
                    <a:pt x="4549" y="1275"/>
                  </a:cubicBezTo>
                  <a:lnTo>
                    <a:pt x="4549" y="1096"/>
                  </a:lnTo>
                  <a:lnTo>
                    <a:pt x="5609" y="1096"/>
                  </a:lnTo>
                  <a:lnTo>
                    <a:pt x="5609" y="1275"/>
                  </a:lnTo>
                  <a:cubicBezTo>
                    <a:pt x="5609" y="1596"/>
                    <a:pt x="5883" y="1882"/>
                    <a:pt x="6216" y="1882"/>
                  </a:cubicBezTo>
                  <a:cubicBezTo>
                    <a:pt x="6561" y="1882"/>
                    <a:pt x="6835" y="1620"/>
                    <a:pt x="6835" y="1275"/>
                  </a:cubicBezTo>
                  <a:lnTo>
                    <a:pt x="6835" y="1096"/>
                  </a:lnTo>
                  <a:lnTo>
                    <a:pt x="7883" y="1096"/>
                  </a:lnTo>
                  <a:lnTo>
                    <a:pt x="7883" y="1275"/>
                  </a:lnTo>
                  <a:cubicBezTo>
                    <a:pt x="7883" y="1596"/>
                    <a:pt x="8157" y="1882"/>
                    <a:pt x="8502" y="1882"/>
                  </a:cubicBezTo>
                  <a:cubicBezTo>
                    <a:pt x="8823" y="1882"/>
                    <a:pt x="9109" y="1620"/>
                    <a:pt x="9109" y="1275"/>
                  </a:cubicBezTo>
                  <a:lnTo>
                    <a:pt x="9109" y="1096"/>
                  </a:lnTo>
                  <a:close/>
                  <a:moveTo>
                    <a:pt x="1608" y="1"/>
                  </a:moveTo>
                  <a:cubicBezTo>
                    <a:pt x="1275" y="1"/>
                    <a:pt x="989" y="262"/>
                    <a:pt x="989" y="608"/>
                  </a:cubicBezTo>
                  <a:lnTo>
                    <a:pt x="989" y="786"/>
                  </a:lnTo>
                  <a:lnTo>
                    <a:pt x="572" y="786"/>
                  </a:lnTo>
                  <a:cubicBezTo>
                    <a:pt x="251" y="786"/>
                    <a:pt x="1" y="1048"/>
                    <a:pt x="1" y="1370"/>
                  </a:cubicBezTo>
                  <a:lnTo>
                    <a:pt x="1" y="3584"/>
                  </a:lnTo>
                  <a:cubicBezTo>
                    <a:pt x="1" y="3668"/>
                    <a:pt x="72" y="3751"/>
                    <a:pt x="156" y="3751"/>
                  </a:cubicBezTo>
                  <a:cubicBezTo>
                    <a:pt x="251" y="3751"/>
                    <a:pt x="322" y="3668"/>
                    <a:pt x="322" y="3584"/>
                  </a:cubicBezTo>
                  <a:lnTo>
                    <a:pt x="322" y="2834"/>
                  </a:lnTo>
                  <a:lnTo>
                    <a:pt x="9681" y="2834"/>
                  </a:lnTo>
                  <a:lnTo>
                    <a:pt x="9681" y="8906"/>
                  </a:lnTo>
                  <a:cubicBezTo>
                    <a:pt x="9681" y="9002"/>
                    <a:pt x="9764" y="9073"/>
                    <a:pt x="9847" y="9073"/>
                  </a:cubicBezTo>
                  <a:cubicBezTo>
                    <a:pt x="9943" y="9073"/>
                    <a:pt x="10014" y="9002"/>
                    <a:pt x="10014" y="8906"/>
                  </a:cubicBezTo>
                  <a:lnTo>
                    <a:pt x="10014" y="1346"/>
                  </a:lnTo>
                  <a:cubicBezTo>
                    <a:pt x="10050" y="1036"/>
                    <a:pt x="9776" y="786"/>
                    <a:pt x="9466" y="786"/>
                  </a:cubicBezTo>
                  <a:lnTo>
                    <a:pt x="9050" y="786"/>
                  </a:lnTo>
                  <a:lnTo>
                    <a:pt x="9050" y="608"/>
                  </a:lnTo>
                  <a:cubicBezTo>
                    <a:pt x="9050" y="274"/>
                    <a:pt x="8776" y="1"/>
                    <a:pt x="8430" y="1"/>
                  </a:cubicBezTo>
                  <a:cubicBezTo>
                    <a:pt x="8109" y="1"/>
                    <a:pt x="7823" y="262"/>
                    <a:pt x="7823" y="608"/>
                  </a:cubicBezTo>
                  <a:lnTo>
                    <a:pt x="7823" y="786"/>
                  </a:lnTo>
                  <a:lnTo>
                    <a:pt x="6764" y="786"/>
                  </a:lnTo>
                  <a:lnTo>
                    <a:pt x="6764" y="608"/>
                  </a:lnTo>
                  <a:cubicBezTo>
                    <a:pt x="6764" y="274"/>
                    <a:pt x="6502" y="1"/>
                    <a:pt x="6156" y="1"/>
                  </a:cubicBezTo>
                  <a:cubicBezTo>
                    <a:pt x="5811" y="1"/>
                    <a:pt x="5549" y="262"/>
                    <a:pt x="5549" y="608"/>
                  </a:cubicBezTo>
                  <a:lnTo>
                    <a:pt x="5549" y="786"/>
                  </a:lnTo>
                  <a:lnTo>
                    <a:pt x="4489" y="786"/>
                  </a:lnTo>
                  <a:lnTo>
                    <a:pt x="4489" y="608"/>
                  </a:lnTo>
                  <a:cubicBezTo>
                    <a:pt x="4489" y="274"/>
                    <a:pt x="4228" y="1"/>
                    <a:pt x="3882" y="1"/>
                  </a:cubicBezTo>
                  <a:cubicBezTo>
                    <a:pt x="3549" y="1"/>
                    <a:pt x="3275" y="262"/>
                    <a:pt x="3275" y="608"/>
                  </a:cubicBezTo>
                  <a:lnTo>
                    <a:pt x="3275" y="786"/>
                  </a:lnTo>
                  <a:lnTo>
                    <a:pt x="2215" y="786"/>
                  </a:lnTo>
                  <a:lnTo>
                    <a:pt x="2215" y="608"/>
                  </a:lnTo>
                  <a:cubicBezTo>
                    <a:pt x="2215" y="274"/>
                    <a:pt x="1942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2" name="Google Shape;10582;p59"/>
            <p:cNvSpPr/>
            <p:nvPr/>
          </p:nvSpPr>
          <p:spPr>
            <a:xfrm>
              <a:off x="1751652" y="2558467"/>
              <a:ext cx="319378" cy="210530"/>
            </a:xfrm>
            <a:custGeom>
              <a:avLst/>
              <a:gdLst/>
              <a:ahLst/>
              <a:cxnLst/>
              <a:rect l="l" t="t" r="r" b="b"/>
              <a:pathLst>
                <a:path w="10026" h="6609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6025"/>
                  </a:lnTo>
                  <a:cubicBezTo>
                    <a:pt x="1" y="6347"/>
                    <a:pt x="274" y="6609"/>
                    <a:pt x="584" y="6609"/>
                  </a:cubicBezTo>
                  <a:lnTo>
                    <a:pt x="9407" y="6609"/>
                  </a:lnTo>
                  <a:cubicBezTo>
                    <a:pt x="9740" y="6609"/>
                    <a:pt x="9990" y="6335"/>
                    <a:pt x="9990" y="6025"/>
                  </a:cubicBezTo>
                  <a:lnTo>
                    <a:pt x="9990" y="5501"/>
                  </a:lnTo>
                  <a:cubicBezTo>
                    <a:pt x="10026" y="5418"/>
                    <a:pt x="9942" y="5335"/>
                    <a:pt x="9859" y="5335"/>
                  </a:cubicBezTo>
                  <a:cubicBezTo>
                    <a:pt x="9764" y="5335"/>
                    <a:pt x="9692" y="5418"/>
                    <a:pt x="9692" y="5501"/>
                  </a:cubicBezTo>
                  <a:lnTo>
                    <a:pt x="9692" y="6025"/>
                  </a:lnTo>
                  <a:cubicBezTo>
                    <a:pt x="9692" y="6168"/>
                    <a:pt x="9573" y="6287"/>
                    <a:pt x="9430" y="6287"/>
                  </a:cubicBezTo>
                  <a:lnTo>
                    <a:pt x="596" y="6287"/>
                  </a:lnTo>
                  <a:cubicBezTo>
                    <a:pt x="453" y="6287"/>
                    <a:pt x="334" y="6168"/>
                    <a:pt x="334" y="6025"/>
                  </a:cubicBezTo>
                  <a:lnTo>
                    <a:pt x="334" y="156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83" name="Google Shape;10583;p59"/>
          <p:cNvGrpSpPr/>
          <p:nvPr/>
        </p:nvGrpSpPr>
        <p:grpSpPr>
          <a:xfrm>
            <a:off x="1298037" y="2425727"/>
            <a:ext cx="338364" cy="342887"/>
            <a:chOff x="1298037" y="2425727"/>
            <a:chExt cx="338364" cy="342887"/>
          </a:xfrm>
        </p:grpSpPr>
        <p:sp>
          <p:nvSpPr>
            <p:cNvPr id="10584" name="Google Shape;10584;p59"/>
            <p:cNvSpPr/>
            <p:nvPr/>
          </p:nvSpPr>
          <p:spPr>
            <a:xfrm>
              <a:off x="1339384" y="2471631"/>
              <a:ext cx="256050" cy="136180"/>
            </a:xfrm>
            <a:custGeom>
              <a:avLst/>
              <a:gdLst/>
              <a:ahLst/>
              <a:cxnLst/>
              <a:rect l="l" t="t" r="r" b="b"/>
              <a:pathLst>
                <a:path w="8038" h="4275" extrusionOk="0">
                  <a:moveTo>
                    <a:pt x="7704" y="1477"/>
                  </a:moveTo>
                  <a:lnTo>
                    <a:pt x="7704" y="3501"/>
                  </a:lnTo>
                  <a:cubicBezTo>
                    <a:pt x="7704" y="3751"/>
                    <a:pt x="7513" y="3941"/>
                    <a:pt x="7263" y="3941"/>
                  </a:cubicBezTo>
                  <a:lnTo>
                    <a:pt x="774" y="3941"/>
                  </a:lnTo>
                  <a:cubicBezTo>
                    <a:pt x="524" y="3941"/>
                    <a:pt x="322" y="3751"/>
                    <a:pt x="322" y="3501"/>
                  </a:cubicBezTo>
                  <a:lnTo>
                    <a:pt x="322" y="1477"/>
                  </a:lnTo>
                  <a:close/>
                  <a:moveTo>
                    <a:pt x="774" y="0"/>
                  </a:moveTo>
                  <a:cubicBezTo>
                    <a:pt x="346" y="0"/>
                    <a:pt x="1" y="345"/>
                    <a:pt x="1" y="774"/>
                  </a:cubicBezTo>
                  <a:lnTo>
                    <a:pt x="1" y="3501"/>
                  </a:lnTo>
                  <a:cubicBezTo>
                    <a:pt x="1" y="3929"/>
                    <a:pt x="346" y="4275"/>
                    <a:pt x="774" y="4275"/>
                  </a:cubicBezTo>
                  <a:lnTo>
                    <a:pt x="7263" y="4275"/>
                  </a:lnTo>
                  <a:cubicBezTo>
                    <a:pt x="7692" y="4275"/>
                    <a:pt x="8037" y="3929"/>
                    <a:pt x="8037" y="3501"/>
                  </a:cubicBezTo>
                  <a:lnTo>
                    <a:pt x="8037" y="774"/>
                  </a:lnTo>
                  <a:cubicBezTo>
                    <a:pt x="8025" y="345"/>
                    <a:pt x="7680" y="0"/>
                    <a:pt x="7263" y="0"/>
                  </a:cubicBezTo>
                  <a:lnTo>
                    <a:pt x="5787" y="0"/>
                  </a:lnTo>
                  <a:cubicBezTo>
                    <a:pt x="5704" y="0"/>
                    <a:pt x="5620" y="72"/>
                    <a:pt x="5620" y="167"/>
                  </a:cubicBezTo>
                  <a:cubicBezTo>
                    <a:pt x="5620" y="250"/>
                    <a:pt x="5704" y="322"/>
                    <a:pt x="5787" y="322"/>
                  </a:cubicBezTo>
                  <a:lnTo>
                    <a:pt x="7263" y="322"/>
                  </a:lnTo>
                  <a:cubicBezTo>
                    <a:pt x="7513" y="322"/>
                    <a:pt x="7704" y="524"/>
                    <a:pt x="7704" y="774"/>
                  </a:cubicBezTo>
                  <a:lnTo>
                    <a:pt x="7704" y="1155"/>
                  </a:lnTo>
                  <a:lnTo>
                    <a:pt x="322" y="1155"/>
                  </a:lnTo>
                  <a:lnTo>
                    <a:pt x="322" y="774"/>
                  </a:lnTo>
                  <a:cubicBezTo>
                    <a:pt x="322" y="524"/>
                    <a:pt x="524" y="322"/>
                    <a:pt x="774" y="322"/>
                  </a:cubicBezTo>
                  <a:lnTo>
                    <a:pt x="5049" y="322"/>
                  </a:lnTo>
                  <a:cubicBezTo>
                    <a:pt x="5132" y="322"/>
                    <a:pt x="5204" y="250"/>
                    <a:pt x="5204" y="167"/>
                  </a:cubicBezTo>
                  <a:cubicBezTo>
                    <a:pt x="5204" y="72"/>
                    <a:pt x="5132" y="0"/>
                    <a:pt x="5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5" name="Google Shape;10585;p59"/>
            <p:cNvSpPr/>
            <p:nvPr/>
          </p:nvSpPr>
          <p:spPr>
            <a:xfrm>
              <a:off x="1341646" y="2618036"/>
              <a:ext cx="50490" cy="50458"/>
            </a:xfrm>
            <a:custGeom>
              <a:avLst/>
              <a:gdLst/>
              <a:ahLst/>
              <a:cxnLst/>
              <a:rect l="l" t="t" r="r" b="b"/>
              <a:pathLst>
                <a:path w="1585" h="1584" extrusionOk="0">
                  <a:moveTo>
                    <a:pt x="787" y="321"/>
                  </a:moveTo>
                  <a:cubicBezTo>
                    <a:pt x="1049" y="321"/>
                    <a:pt x="1251" y="536"/>
                    <a:pt x="1251" y="786"/>
                  </a:cubicBezTo>
                  <a:cubicBezTo>
                    <a:pt x="1251" y="1048"/>
                    <a:pt x="1049" y="1250"/>
                    <a:pt x="787" y="1250"/>
                  </a:cubicBezTo>
                  <a:cubicBezTo>
                    <a:pt x="537" y="1250"/>
                    <a:pt x="334" y="1048"/>
                    <a:pt x="334" y="786"/>
                  </a:cubicBezTo>
                  <a:cubicBezTo>
                    <a:pt x="334" y="536"/>
                    <a:pt x="537" y="321"/>
                    <a:pt x="787" y="321"/>
                  </a:cubicBezTo>
                  <a:close/>
                  <a:moveTo>
                    <a:pt x="787" y="0"/>
                  </a:moveTo>
                  <a:cubicBezTo>
                    <a:pt x="358" y="0"/>
                    <a:pt x="1" y="357"/>
                    <a:pt x="1" y="786"/>
                  </a:cubicBezTo>
                  <a:cubicBezTo>
                    <a:pt x="1" y="1226"/>
                    <a:pt x="358" y="1584"/>
                    <a:pt x="787" y="1584"/>
                  </a:cubicBezTo>
                  <a:cubicBezTo>
                    <a:pt x="1227" y="1584"/>
                    <a:pt x="1585" y="1226"/>
                    <a:pt x="1585" y="786"/>
                  </a:cubicBezTo>
                  <a:cubicBezTo>
                    <a:pt x="1585" y="357"/>
                    <a:pt x="1227" y="0"/>
                    <a:pt x="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6" name="Google Shape;10586;p59"/>
            <p:cNvSpPr/>
            <p:nvPr/>
          </p:nvSpPr>
          <p:spPr>
            <a:xfrm>
              <a:off x="1542301" y="2618036"/>
              <a:ext cx="50076" cy="50458"/>
            </a:xfrm>
            <a:custGeom>
              <a:avLst/>
              <a:gdLst/>
              <a:ahLst/>
              <a:cxnLst/>
              <a:rect l="l" t="t" r="r" b="b"/>
              <a:pathLst>
                <a:path w="1572" h="1584" extrusionOk="0">
                  <a:moveTo>
                    <a:pt x="786" y="321"/>
                  </a:moveTo>
                  <a:cubicBezTo>
                    <a:pt x="1036" y="321"/>
                    <a:pt x="1251" y="536"/>
                    <a:pt x="1251" y="786"/>
                  </a:cubicBezTo>
                  <a:cubicBezTo>
                    <a:pt x="1251" y="1048"/>
                    <a:pt x="1036" y="1250"/>
                    <a:pt x="786" y="1250"/>
                  </a:cubicBezTo>
                  <a:cubicBezTo>
                    <a:pt x="536" y="1250"/>
                    <a:pt x="322" y="1048"/>
                    <a:pt x="322" y="786"/>
                  </a:cubicBezTo>
                  <a:cubicBezTo>
                    <a:pt x="322" y="536"/>
                    <a:pt x="536" y="321"/>
                    <a:pt x="786" y="321"/>
                  </a:cubicBezTo>
                  <a:close/>
                  <a:moveTo>
                    <a:pt x="786" y="0"/>
                  </a:moveTo>
                  <a:cubicBezTo>
                    <a:pt x="358" y="0"/>
                    <a:pt x="0" y="357"/>
                    <a:pt x="0" y="786"/>
                  </a:cubicBezTo>
                  <a:cubicBezTo>
                    <a:pt x="0" y="1226"/>
                    <a:pt x="358" y="1584"/>
                    <a:pt x="786" y="1584"/>
                  </a:cubicBezTo>
                  <a:cubicBezTo>
                    <a:pt x="1215" y="1584"/>
                    <a:pt x="1572" y="1226"/>
                    <a:pt x="1572" y="786"/>
                  </a:cubicBezTo>
                  <a:cubicBezTo>
                    <a:pt x="1572" y="357"/>
                    <a:pt x="1215" y="0"/>
                    <a:pt x="7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7" name="Google Shape;10587;p59"/>
            <p:cNvSpPr/>
            <p:nvPr/>
          </p:nvSpPr>
          <p:spPr>
            <a:xfrm>
              <a:off x="1298037" y="2425727"/>
              <a:ext cx="338364" cy="342887"/>
            </a:xfrm>
            <a:custGeom>
              <a:avLst/>
              <a:gdLst/>
              <a:ahLst/>
              <a:cxnLst/>
              <a:rect l="l" t="t" r="r" b="b"/>
              <a:pathLst>
                <a:path w="10622" h="10764" extrusionOk="0">
                  <a:moveTo>
                    <a:pt x="715" y="2525"/>
                  </a:moveTo>
                  <a:lnTo>
                    <a:pt x="715" y="4644"/>
                  </a:lnTo>
                  <a:lnTo>
                    <a:pt x="560" y="4644"/>
                  </a:lnTo>
                  <a:lnTo>
                    <a:pt x="560" y="4656"/>
                  </a:lnTo>
                  <a:cubicBezTo>
                    <a:pt x="429" y="4656"/>
                    <a:pt x="322" y="4549"/>
                    <a:pt x="322" y="4418"/>
                  </a:cubicBezTo>
                  <a:lnTo>
                    <a:pt x="322" y="2763"/>
                  </a:lnTo>
                  <a:cubicBezTo>
                    <a:pt x="322" y="2632"/>
                    <a:pt x="429" y="2525"/>
                    <a:pt x="560" y="2525"/>
                  </a:cubicBezTo>
                  <a:close/>
                  <a:moveTo>
                    <a:pt x="10050" y="2537"/>
                  </a:moveTo>
                  <a:cubicBezTo>
                    <a:pt x="10181" y="2537"/>
                    <a:pt x="10288" y="2644"/>
                    <a:pt x="10288" y="2775"/>
                  </a:cubicBezTo>
                  <a:lnTo>
                    <a:pt x="10288" y="4418"/>
                  </a:lnTo>
                  <a:cubicBezTo>
                    <a:pt x="10288" y="4549"/>
                    <a:pt x="10181" y="4656"/>
                    <a:pt x="10050" y="4656"/>
                  </a:cubicBezTo>
                  <a:lnTo>
                    <a:pt x="9895" y="4656"/>
                  </a:lnTo>
                  <a:lnTo>
                    <a:pt x="9895" y="2537"/>
                  </a:lnTo>
                  <a:close/>
                  <a:moveTo>
                    <a:pt x="6418" y="6263"/>
                  </a:moveTo>
                  <a:cubicBezTo>
                    <a:pt x="6680" y="6263"/>
                    <a:pt x="6906" y="6489"/>
                    <a:pt x="6906" y="6751"/>
                  </a:cubicBezTo>
                  <a:lnTo>
                    <a:pt x="6906" y="7930"/>
                  </a:lnTo>
                  <a:lnTo>
                    <a:pt x="3727" y="7930"/>
                  </a:lnTo>
                  <a:lnTo>
                    <a:pt x="3727" y="6751"/>
                  </a:lnTo>
                  <a:cubicBezTo>
                    <a:pt x="3727" y="6489"/>
                    <a:pt x="3942" y="6263"/>
                    <a:pt x="4216" y="6263"/>
                  </a:cubicBezTo>
                  <a:close/>
                  <a:moveTo>
                    <a:pt x="8347" y="334"/>
                  </a:moveTo>
                  <a:cubicBezTo>
                    <a:pt x="9026" y="334"/>
                    <a:pt x="9561" y="870"/>
                    <a:pt x="9561" y="1536"/>
                  </a:cubicBezTo>
                  <a:lnTo>
                    <a:pt x="9561" y="2382"/>
                  </a:lnTo>
                  <a:lnTo>
                    <a:pt x="9561" y="4811"/>
                  </a:lnTo>
                  <a:lnTo>
                    <a:pt x="9561" y="7930"/>
                  </a:lnTo>
                  <a:lnTo>
                    <a:pt x="7204" y="7930"/>
                  </a:lnTo>
                  <a:lnTo>
                    <a:pt x="7204" y="6751"/>
                  </a:lnTo>
                  <a:cubicBezTo>
                    <a:pt x="7204" y="6299"/>
                    <a:pt x="6847" y="5930"/>
                    <a:pt x="6383" y="5930"/>
                  </a:cubicBezTo>
                  <a:lnTo>
                    <a:pt x="4180" y="5930"/>
                  </a:lnTo>
                  <a:cubicBezTo>
                    <a:pt x="3739" y="5930"/>
                    <a:pt x="3370" y="6287"/>
                    <a:pt x="3370" y="6751"/>
                  </a:cubicBezTo>
                  <a:lnTo>
                    <a:pt x="3370" y="7930"/>
                  </a:lnTo>
                  <a:lnTo>
                    <a:pt x="3215" y="7930"/>
                  </a:lnTo>
                  <a:cubicBezTo>
                    <a:pt x="3120" y="7930"/>
                    <a:pt x="3049" y="8002"/>
                    <a:pt x="3049" y="8085"/>
                  </a:cubicBezTo>
                  <a:cubicBezTo>
                    <a:pt x="3049" y="8180"/>
                    <a:pt x="3120" y="8252"/>
                    <a:pt x="3215" y="8252"/>
                  </a:cubicBezTo>
                  <a:lnTo>
                    <a:pt x="9931" y="8252"/>
                  </a:lnTo>
                  <a:cubicBezTo>
                    <a:pt x="9990" y="8252"/>
                    <a:pt x="10050" y="8299"/>
                    <a:pt x="10050" y="8371"/>
                  </a:cubicBezTo>
                  <a:lnTo>
                    <a:pt x="10050" y="9323"/>
                  </a:lnTo>
                  <a:cubicBezTo>
                    <a:pt x="10050" y="9383"/>
                    <a:pt x="10002" y="9442"/>
                    <a:pt x="9931" y="9442"/>
                  </a:cubicBezTo>
                  <a:lnTo>
                    <a:pt x="763" y="9442"/>
                  </a:lnTo>
                  <a:cubicBezTo>
                    <a:pt x="703" y="9442"/>
                    <a:pt x="644" y="9406"/>
                    <a:pt x="644" y="9323"/>
                  </a:cubicBezTo>
                  <a:lnTo>
                    <a:pt x="644" y="8371"/>
                  </a:lnTo>
                  <a:cubicBezTo>
                    <a:pt x="644" y="8311"/>
                    <a:pt x="691" y="8252"/>
                    <a:pt x="763" y="8252"/>
                  </a:cubicBezTo>
                  <a:lnTo>
                    <a:pt x="2477" y="8252"/>
                  </a:lnTo>
                  <a:cubicBezTo>
                    <a:pt x="2561" y="8252"/>
                    <a:pt x="2632" y="8180"/>
                    <a:pt x="2632" y="8085"/>
                  </a:cubicBezTo>
                  <a:cubicBezTo>
                    <a:pt x="2632" y="8002"/>
                    <a:pt x="2561" y="7930"/>
                    <a:pt x="2477" y="7930"/>
                  </a:cubicBezTo>
                  <a:lnTo>
                    <a:pt x="1013" y="7930"/>
                  </a:lnTo>
                  <a:lnTo>
                    <a:pt x="1013" y="4811"/>
                  </a:lnTo>
                  <a:lnTo>
                    <a:pt x="1013" y="2382"/>
                  </a:lnTo>
                  <a:lnTo>
                    <a:pt x="1013" y="1536"/>
                  </a:lnTo>
                  <a:cubicBezTo>
                    <a:pt x="1013" y="870"/>
                    <a:pt x="1549" y="334"/>
                    <a:pt x="2215" y="334"/>
                  </a:cubicBezTo>
                  <a:close/>
                  <a:moveTo>
                    <a:pt x="6906" y="9740"/>
                  </a:moveTo>
                  <a:cubicBezTo>
                    <a:pt x="6859" y="9835"/>
                    <a:pt x="6775" y="9883"/>
                    <a:pt x="6668" y="9883"/>
                  </a:cubicBezTo>
                  <a:lnTo>
                    <a:pt x="3930" y="9883"/>
                  </a:lnTo>
                  <a:cubicBezTo>
                    <a:pt x="3823" y="9883"/>
                    <a:pt x="3739" y="9835"/>
                    <a:pt x="3692" y="9740"/>
                  </a:cubicBezTo>
                  <a:close/>
                  <a:moveTo>
                    <a:pt x="2751" y="9764"/>
                  </a:moveTo>
                  <a:lnTo>
                    <a:pt x="2751" y="10311"/>
                  </a:lnTo>
                  <a:cubicBezTo>
                    <a:pt x="2751" y="10383"/>
                    <a:pt x="2692" y="10454"/>
                    <a:pt x="2608" y="10454"/>
                  </a:cubicBezTo>
                  <a:lnTo>
                    <a:pt x="1430" y="10454"/>
                  </a:lnTo>
                  <a:cubicBezTo>
                    <a:pt x="1346" y="10454"/>
                    <a:pt x="1287" y="10383"/>
                    <a:pt x="1287" y="10311"/>
                  </a:cubicBezTo>
                  <a:lnTo>
                    <a:pt x="1287" y="9764"/>
                  </a:lnTo>
                  <a:close/>
                  <a:moveTo>
                    <a:pt x="9442" y="9764"/>
                  </a:moveTo>
                  <a:lnTo>
                    <a:pt x="9442" y="10311"/>
                  </a:lnTo>
                  <a:cubicBezTo>
                    <a:pt x="9442" y="10395"/>
                    <a:pt x="9359" y="10454"/>
                    <a:pt x="9288" y="10454"/>
                  </a:cubicBezTo>
                  <a:lnTo>
                    <a:pt x="8109" y="10454"/>
                  </a:lnTo>
                  <a:cubicBezTo>
                    <a:pt x="8026" y="10454"/>
                    <a:pt x="7966" y="10383"/>
                    <a:pt x="7966" y="10311"/>
                  </a:cubicBezTo>
                  <a:lnTo>
                    <a:pt x="7966" y="9764"/>
                  </a:lnTo>
                  <a:close/>
                  <a:moveTo>
                    <a:pt x="2239" y="1"/>
                  </a:moveTo>
                  <a:cubicBezTo>
                    <a:pt x="1382" y="1"/>
                    <a:pt x="703" y="679"/>
                    <a:pt x="703" y="1525"/>
                  </a:cubicBezTo>
                  <a:lnTo>
                    <a:pt x="703" y="2215"/>
                  </a:lnTo>
                  <a:lnTo>
                    <a:pt x="548" y="2215"/>
                  </a:lnTo>
                  <a:cubicBezTo>
                    <a:pt x="239" y="2215"/>
                    <a:pt x="1" y="2465"/>
                    <a:pt x="1" y="2763"/>
                  </a:cubicBezTo>
                  <a:lnTo>
                    <a:pt x="1" y="4418"/>
                  </a:lnTo>
                  <a:cubicBezTo>
                    <a:pt x="1" y="4727"/>
                    <a:pt x="251" y="4965"/>
                    <a:pt x="548" y="4965"/>
                  </a:cubicBezTo>
                  <a:lnTo>
                    <a:pt x="703" y="4965"/>
                  </a:lnTo>
                  <a:lnTo>
                    <a:pt x="703" y="7930"/>
                  </a:lnTo>
                  <a:cubicBezTo>
                    <a:pt x="489" y="7954"/>
                    <a:pt x="346" y="8133"/>
                    <a:pt x="346" y="8359"/>
                  </a:cubicBezTo>
                  <a:lnTo>
                    <a:pt x="346" y="9311"/>
                  </a:lnTo>
                  <a:cubicBezTo>
                    <a:pt x="346" y="9549"/>
                    <a:pt x="537" y="9740"/>
                    <a:pt x="775" y="9740"/>
                  </a:cubicBezTo>
                  <a:lnTo>
                    <a:pt x="953" y="9740"/>
                  </a:lnTo>
                  <a:lnTo>
                    <a:pt x="953" y="10288"/>
                  </a:lnTo>
                  <a:cubicBezTo>
                    <a:pt x="953" y="10549"/>
                    <a:pt x="1156" y="10764"/>
                    <a:pt x="1430" y="10764"/>
                  </a:cubicBezTo>
                  <a:lnTo>
                    <a:pt x="2608" y="10764"/>
                  </a:lnTo>
                  <a:cubicBezTo>
                    <a:pt x="2858" y="10764"/>
                    <a:pt x="3084" y="10561"/>
                    <a:pt x="3084" y="10299"/>
                  </a:cubicBezTo>
                  <a:lnTo>
                    <a:pt x="3084" y="9740"/>
                  </a:lnTo>
                  <a:lnTo>
                    <a:pt x="3346" y="9740"/>
                  </a:lnTo>
                  <a:cubicBezTo>
                    <a:pt x="3418" y="10002"/>
                    <a:pt x="3668" y="10192"/>
                    <a:pt x="3942" y="10192"/>
                  </a:cubicBezTo>
                  <a:lnTo>
                    <a:pt x="6680" y="10192"/>
                  </a:lnTo>
                  <a:cubicBezTo>
                    <a:pt x="6966" y="10192"/>
                    <a:pt x="7204" y="10002"/>
                    <a:pt x="7275" y="9740"/>
                  </a:cubicBezTo>
                  <a:lnTo>
                    <a:pt x="7645" y="9740"/>
                  </a:lnTo>
                  <a:lnTo>
                    <a:pt x="7645" y="10299"/>
                  </a:lnTo>
                  <a:cubicBezTo>
                    <a:pt x="7645" y="10549"/>
                    <a:pt x="7859" y="10764"/>
                    <a:pt x="8121" y="10764"/>
                  </a:cubicBezTo>
                  <a:lnTo>
                    <a:pt x="9300" y="10764"/>
                  </a:lnTo>
                  <a:cubicBezTo>
                    <a:pt x="9550" y="10764"/>
                    <a:pt x="9776" y="10561"/>
                    <a:pt x="9776" y="10299"/>
                  </a:cubicBezTo>
                  <a:lnTo>
                    <a:pt x="9776" y="9740"/>
                  </a:lnTo>
                  <a:lnTo>
                    <a:pt x="9954" y="9740"/>
                  </a:lnTo>
                  <a:cubicBezTo>
                    <a:pt x="10193" y="9740"/>
                    <a:pt x="10383" y="9549"/>
                    <a:pt x="10383" y="9311"/>
                  </a:cubicBezTo>
                  <a:lnTo>
                    <a:pt x="10383" y="8359"/>
                  </a:lnTo>
                  <a:cubicBezTo>
                    <a:pt x="10383" y="8121"/>
                    <a:pt x="10193" y="7930"/>
                    <a:pt x="9954" y="7930"/>
                  </a:cubicBezTo>
                  <a:lnTo>
                    <a:pt x="9931" y="7930"/>
                  </a:lnTo>
                  <a:lnTo>
                    <a:pt x="9931" y="4965"/>
                  </a:lnTo>
                  <a:lnTo>
                    <a:pt x="10073" y="4965"/>
                  </a:lnTo>
                  <a:cubicBezTo>
                    <a:pt x="10383" y="4965"/>
                    <a:pt x="10621" y="4715"/>
                    <a:pt x="10621" y="4418"/>
                  </a:cubicBezTo>
                  <a:lnTo>
                    <a:pt x="10621" y="2763"/>
                  </a:lnTo>
                  <a:cubicBezTo>
                    <a:pt x="10609" y="2465"/>
                    <a:pt x="10359" y="2215"/>
                    <a:pt x="10050" y="2215"/>
                  </a:cubicBezTo>
                  <a:lnTo>
                    <a:pt x="9895" y="2215"/>
                  </a:lnTo>
                  <a:lnTo>
                    <a:pt x="9895" y="1525"/>
                  </a:lnTo>
                  <a:cubicBezTo>
                    <a:pt x="9895" y="679"/>
                    <a:pt x="9216" y="1"/>
                    <a:pt x="83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88" name="Google Shape;10588;p59"/>
          <p:cNvSpPr/>
          <p:nvPr/>
        </p:nvSpPr>
        <p:spPr>
          <a:xfrm>
            <a:off x="848977" y="2418528"/>
            <a:ext cx="347060" cy="357286"/>
          </a:xfrm>
          <a:custGeom>
            <a:avLst/>
            <a:gdLst/>
            <a:ahLst/>
            <a:cxnLst/>
            <a:rect l="l" t="t" r="r" b="b"/>
            <a:pathLst>
              <a:path w="10895" h="11216" extrusionOk="0">
                <a:moveTo>
                  <a:pt x="5454" y="322"/>
                </a:moveTo>
                <a:cubicBezTo>
                  <a:pt x="5740" y="322"/>
                  <a:pt x="5954" y="548"/>
                  <a:pt x="5954" y="834"/>
                </a:cubicBezTo>
                <a:cubicBezTo>
                  <a:pt x="5954" y="1012"/>
                  <a:pt x="5871" y="1155"/>
                  <a:pt x="5716" y="1250"/>
                </a:cubicBezTo>
                <a:lnTo>
                  <a:pt x="5704" y="1262"/>
                </a:lnTo>
                <a:lnTo>
                  <a:pt x="5692" y="1262"/>
                </a:lnTo>
                <a:cubicBezTo>
                  <a:pt x="5680" y="1262"/>
                  <a:pt x="5680" y="1274"/>
                  <a:pt x="5656" y="1274"/>
                </a:cubicBezTo>
                <a:lnTo>
                  <a:pt x="5644" y="1274"/>
                </a:lnTo>
                <a:cubicBezTo>
                  <a:pt x="5644" y="1274"/>
                  <a:pt x="5632" y="1274"/>
                  <a:pt x="5632" y="1298"/>
                </a:cubicBezTo>
                <a:lnTo>
                  <a:pt x="5621" y="1298"/>
                </a:lnTo>
                <a:cubicBezTo>
                  <a:pt x="5597" y="1298"/>
                  <a:pt x="5597" y="1298"/>
                  <a:pt x="5585" y="1310"/>
                </a:cubicBezTo>
                <a:lnTo>
                  <a:pt x="5263" y="1310"/>
                </a:lnTo>
                <a:cubicBezTo>
                  <a:pt x="5240" y="1310"/>
                  <a:pt x="5240" y="1310"/>
                  <a:pt x="5228" y="1298"/>
                </a:cubicBezTo>
                <a:lnTo>
                  <a:pt x="5216" y="1298"/>
                </a:lnTo>
                <a:cubicBezTo>
                  <a:pt x="5216" y="1298"/>
                  <a:pt x="5204" y="1298"/>
                  <a:pt x="5204" y="1274"/>
                </a:cubicBezTo>
                <a:lnTo>
                  <a:pt x="5180" y="1274"/>
                </a:lnTo>
                <a:cubicBezTo>
                  <a:pt x="5168" y="1274"/>
                  <a:pt x="5168" y="1262"/>
                  <a:pt x="5156" y="1262"/>
                </a:cubicBezTo>
                <a:lnTo>
                  <a:pt x="5144" y="1262"/>
                </a:lnTo>
                <a:cubicBezTo>
                  <a:pt x="5144" y="1262"/>
                  <a:pt x="5120" y="1262"/>
                  <a:pt x="5120" y="1250"/>
                </a:cubicBezTo>
                <a:cubicBezTo>
                  <a:pt x="4989" y="1155"/>
                  <a:pt x="4882" y="1012"/>
                  <a:pt x="4882" y="834"/>
                </a:cubicBezTo>
                <a:cubicBezTo>
                  <a:pt x="4942" y="548"/>
                  <a:pt x="5168" y="322"/>
                  <a:pt x="5454" y="322"/>
                </a:cubicBezTo>
                <a:close/>
                <a:moveTo>
                  <a:pt x="5644" y="1631"/>
                </a:moveTo>
                <a:lnTo>
                  <a:pt x="5644" y="1834"/>
                </a:lnTo>
                <a:lnTo>
                  <a:pt x="5240" y="1834"/>
                </a:lnTo>
                <a:lnTo>
                  <a:pt x="5240" y="1631"/>
                </a:lnTo>
                <a:lnTo>
                  <a:pt x="5263" y="1631"/>
                </a:lnTo>
                <a:cubicBezTo>
                  <a:pt x="5275" y="1631"/>
                  <a:pt x="5287" y="1631"/>
                  <a:pt x="5287" y="1655"/>
                </a:cubicBezTo>
                <a:lnTo>
                  <a:pt x="5632" y="1655"/>
                </a:lnTo>
                <a:cubicBezTo>
                  <a:pt x="5621" y="1631"/>
                  <a:pt x="5632" y="1631"/>
                  <a:pt x="5644" y="1631"/>
                </a:cubicBezTo>
                <a:close/>
                <a:moveTo>
                  <a:pt x="7002" y="2143"/>
                </a:moveTo>
                <a:cubicBezTo>
                  <a:pt x="7418" y="2143"/>
                  <a:pt x="7799" y="2310"/>
                  <a:pt x="8085" y="2584"/>
                </a:cubicBezTo>
                <a:cubicBezTo>
                  <a:pt x="8335" y="2858"/>
                  <a:pt x="8680" y="3001"/>
                  <a:pt x="9050" y="3001"/>
                </a:cubicBezTo>
                <a:lnTo>
                  <a:pt x="10514" y="3001"/>
                </a:lnTo>
                <a:lnTo>
                  <a:pt x="10514" y="3334"/>
                </a:lnTo>
                <a:lnTo>
                  <a:pt x="9050" y="3334"/>
                </a:lnTo>
                <a:lnTo>
                  <a:pt x="9050" y="3346"/>
                </a:lnTo>
                <a:cubicBezTo>
                  <a:pt x="8597" y="3346"/>
                  <a:pt x="8180" y="3167"/>
                  <a:pt x="7859" y="2846"/>
                </a:cubicBezTo>
                <a:cubicBezTo>
                  <a:pt x="7645" y="2608"/>
                  <a:pt x="7323" y="2465"/>
                  <a:pt x="7002" y="2465"/>
                </a:cubicBezTo>
                <a:lnTo>
                  <a:pt x="3942" y="2465"/>
                </a:lnTo>
                <a:cubicBezTo>
                  <a:pt x="3573" y="2465"/>
                  <a:pt x="3227" y="2620"/>
                  <a:pt x="2977" y="2882"/>
                </a:cubicBezTo>
                <a:cubicBezTo>
                  <a:pt x="2715" y="3167"/>
                  <a:pt x="2311" y="3334"/>
                  <a:pt x="1894" y="3334"/>
                </a:cubicBezTo>
                <a:lnTo>
                  <a:pt x="370" y="3334"/>
                </a:lnTo>
                <a:lnTo>
                  <a:pt x="370" y="3001"/>
                </a:lnTo>
                <a:lnTo>
                  <a:pt x="1834" y="3001"/>
                </a:lnTo>
                <a:cubicBezTo>
                  <a:pt x="2203" y="3001"/>
                  <a:pt x="2549" y="2858"/>
                  <a:pt x="2799" y="2584"/>
                </a:cubicBezTo>
                <a:cubicBezTo>
                  <a:pt x="3073" y="2310"/>
                  <a:pt x="3477" y="2143"/>
                  <a:pt x="3894" y="2143"/>
                </a:cubicBezTo>
                <a:close/>
                <a:moveTo>
                  <a:pt x="1525" y="3894"/>
                </a:moveTo>
                <a:lnTo>
                  <a:pt x="2644" y="6382"/>
                </a:lnTo>
                <a:lnTo>
                  <a:pt x="406" y="6382"/>
                </a:lnTo>
                <a:lnTo>
                  <a:pt x="1525" y="3894"/>
                </a:lnTo>
                <a:close/>
                <a:moveTo>
                  <a:pt x="9371" y="3894"/>
                </a:moveTo>
                <a:lnTo>
                  <a:pt x="10478" y="6382"/>
                </a:lnTo>
                <a:lnTo>
                  <a:pt x="8252" y="6382"/>
                </a:lnTo>
                <a:lnTo>
                  <a:pt x="9371" y="3894"/>
                </a:lnTo>
                <a:close/>
                <a:moveTo>
                  <a:pt x="2739" y="6692"/>
                </a:moveTo>
                <a:cubicBezTo>
                  <a:pt x="2727" y="7335"/>
                  <a:pt x="2227" y="7847"/>
                  <a:pt x="1596" y="7847"/>
                </a:cubicBezTo>
                <a:lnTo>
                  <a:pt x="1477" y="7847"/>
                </a:lnTo>
                <a:cubicBezTo>
                  <a:pt x="858" y="7847"/>
                  <a:pt x="334" y="7335"/>
                  <a:pt x="334" y="6692"/>
                </a:cubicBezTo>
                <a:close/>
                <a:moveTo>
                  <a:pt x="10574" y="6692"/>
                </a:moveTo>
                <a:cubicBezTo>
                  <a:pt x="10574" y="7335"/>
                  <a:pt x="10050" y="7847"/>
                  <a:pt x="9431" y="7847"/>
                </a:cubicBezTo>
                <a:lnTo>
                  <a:pt x="9300" y="7847"/>
                </a:lnTo>
                <a:cubicBezTo>
                  <a:pt x="8680" y="7847"/>
                  <a:pt x="8157" y="7335"/>
                  <a:pt x="8157" y="6692"/>
                </a:cubicBezTo>
                <a:close/>
                <a:moveTo>
                  <a:pt x="7645" y="9585"/>
                </a:moveTo>
                <a:cubicBezTo>
                  <a:pt x="7728" y="9585"/>
                  <a:pt x="7811" y="9656"/>
                  <a:pt x="7811" y="9763"/>
                </a:cubicBezTo>
                <a:lnTo>
                  <a:pt x="7811" y="10049"/>
                </a:lnTo>
                <a:lnTo>
                  <a:pt x="4418" y="10049"/>
                </a:lnTo>
                <a:cubicBezTo>
                  <a:pt x="4335" y="10049"/>
                  <a:pt x="4263" y="10121"/>
                  <a:pt x="4263" y="10204"/>
                </a:cubicBezTo>
                <a:cubicBezTo>
                  <a:pt x="4263" y="10299"/>
                  <a:pt x="4335" y="10371"/>
                  <a:pt x="4418" y="10371"/>
                </a:cubicBezTo>
                <a:lnTo>
                  <a:pt x="8407" y="10371"/>
                </a:lnTo>
                <a:cubicBezTo>
                  <a:pt x="8514" y="10371"/>
                  <a:pt x="8585" y="10442"/>
                  <a:pt x="8585" y="10549"/>
                </a:cubicBezTo>
                <a:lnTo>
                  <a:pt x="8585" y="10906"/>
                </a:lnTo>
                <a:lnTo>
                  <a:pt x="2275" y="10906"/>
                </a:lnTo>
                <a:lnTo>
                  <a:pt x="2275" y="10549"/>
                </a:lnTo>
                <a:cubicBezTo>
                  <a:pt x="2275" y="10442"/>
                  <a:pt x="2358" y="10371"/>
                  <a:pt x="2453" y="10371"/>
                </a:cubicBezTo>
                <a:lnTo>
                  <a:pt x="3382" y="10371"/>
                </a:lnTo>
                <a:cubicBezTo>
                  <a:pt x="3465" y="10371"/>
                  <a:pt x="3549" y="10299"/>
                  <a:pt x="3549" y="10204"/>
                </a:cubicBezTo>
                <a:cubicBezTo>
                  <a:pt x="3549" y="10121"/>
                  <a:pt x="3465" y="10049"/>
                  <a:pt x="3382" y="10049"/>
                </a:cubicBezTo>
                <a:lnTo>
                  <a:pt x="3073" y="10049"/>
                </a:lnTo>
                <a:lnTo>
                  <a:pt x="3073" y="9763"/>
                </a:lnTo>
                <a:cubicBezTo>
                  <a:pt x="3073" y="9668"/>
                  <a:pt x="3144" y="9585"/>
                  <a:pt x="3251" y="9585"/>
                </a:cubicBezTo>
                <a:close/>
                <a:moveTo>
                  <a:pt x="5454" y="0"/>
                </a:moveTo>
                <a:cubicBezTo>
                  <a:pt x="4989" y="0"/>
                  <a:pt x="4632" y="369"/>
                  <a:pt x="4632" y="822"/>
                </a:cubicBezTo>
                <a:cubicBezTo>
                  <a:pt x="4632" y="1072"/>
                  <a:pt x="4751" y="1298"/>
                  <a:pt x="4930" y="1453"/>
                </a:cubicBezTo>
                <a:lnTo>
                  <a:pt x="4930" y="1810"/>
                </a:lnTo>
                <a:lnTo>
                  <a:pt x="3894" y="1810"/>
                </a:lnTo>
                <a:cubicBezTo>
                  <a:pt x="3382" y="1810"/>
                  <a:pt x="2906" y="2024"/>
                  <a:pt x="2584" y="2370"/>
                </a:cubicBezTo>
                <a:cubicBezTo>
                  <a:pt x="2382" y="2572"/>
                  <a:pt x="2120" y="2691"/>
                  <a:pt x="1834" y="2691"/>
                </a:cubicBezTo>
                <a:lnTo>
                  <a:pt x="346" y="2691"/>
                </a:lnTo>
                <a:cubicBezTo>
                  <a:pt x="179" y="2691"/>
                  <a:pt x="48" y="2822"/>
                  <a:pt x="48" y="2989"/>
                </a:cubicBezTo>
                <a:lnTo>
                  <a:pt x="48" y="3382"/>
                </a:lnTo>
                <a:cubicBezTo>
                  <a:pt x="48" y="3536"/>
                  <a:pt x="179" y="3679"/>
                  <a:pt x="346" y="3679"/>
                </a:cubicBezTo>
                <a:lnTo>
                  <a:pt x="1263" y="3679"/>
                </a:lnTo>
                <a:lnTo>
                  <a:pt x="1" y="6477"/>
                </a:lnTo>
                <a:lnTo>
                  <a:pt x="1" y="6489"/>
                </a:lnTo>
                <a:lnTo>
                  <a:pt x="1" y="6501"/>
                </a:lnTo>
                <a:lnTo>
                  <a:pt x="1" y="6513"/>
                </a:lnTo>
                <a:lnTo>
                  <a:pt x="1" y="6537"/>
                </a:lnTo>
                <a:lnTo>
                  <a:pt x="1" y="6692"/>
                </a:lnTo>
                <a:cubicBezTo>
                  <a:pt x="1" y="7501"/>
                  <a:pt x="656" y="8168"/>
                  <a:pt x="1477" y="8168"/>
                </a:cubicBezTo>
                <a:lnTo>
                  <a:pt x="1596" y="8168"/>
                </a:lnTo>
                <a:cubicBezTo>
                  <a:pt x="2406" y="8168"/>
                  <a:pt x="3073" y="7513"/>
                  <a:pt x="3073" y="6692"/>
                </a:cubicBezTo>
                <a:lnTo>
                  <a:pt x="3073" y="6537"/>
                </a:lnTo>
                <a:lnTo>
                  <a:pt x="3073" y="6513"/>
                </a:lnTo>
                <a:lnTo>
                  <a:pt x="3073" y="6501"/>
                </a:lnTo>
                <a:lnTo>
                  <a:pt x="3073" y="6489"/>
                </a:lnTo>
                <a:lnTo>
                  <a:pt x="3073" y="6477"/>
                </a:lnTo>
                <a:lnTo>
                  <a:pt x="1811" y="3679"/>
                </a:lnTo>
                <a:lnTo>
                  <a:pt x="1930" y="3679"/>
                </a:lnTo>
                <a:cubicBezTo>
                  <a:pt x="2430" y="3679"/>
                  <a:pt x="2906" y="3465"/>
                  <a:pt x="3239" y="3120"/>
                </a:cubicBezTo>
                <a:cubicBezTo>
                  <a:pt x="3430" y="2917"/>
                  <a:pt x="3692" y="2798"/>
                  <a:pt x="3977" y="2798"/>
                </a:cubicBezTo>
                <a:lnTo>
                  <a:pt x="4942" y="2798"/>
                </a:lnTo>
                <a:lnTo>
                  <a:pt x="4942" y="9251"/>
                </a:lnTo>
                <a:lnTo>
                  <a:pt x="3275" y="9251"/>
                </a:lnTo>
                <a:cubicBezTo>
                  <a:pt x="3013" y="9251"/>
                  <a:pt x="2787" y="9478"/>
                  <a:pt x="2787" y="9752"/>
                </a:cubicBezTo>
                <a:lnTo>
                  <a:pt x="2787" y="10025"/>
                </a:lnTo>
                <a:lnTo>
                  <a:pt x="2501" y="10025"/>
                </a:lnTo>
                <a:cubicBezTo>
                  <a:pt x="2227" y="10025"/>
                  <a:pt x="2001" y="10252"/>
                  <a:pt x="2001" y="10537"/>
                </a:cubicBezTo>
                <a:lnTo>
                  <a:pt x="2001" y="11061"/>
                </a:lnTo>
                <a:cubicBezTo>
                  <a:pt x="2001" y="11145"/>
                  <a:pt x="2072" y="11216"/>
                  <a:pt x="2168" y="11216"/>
                </a:cubicBezTo>
                <a:lnTo>
                  <a:pt x="8799" y="11216"/>
                </a:lnTo>
                <a:cubicBezTo>
                  <a:pt x="8895" y="11216"/>
                  <a:pt x="8966" y="11145"/>
                  <a:pt x="8966" y="11061"/>
                </a:cubicBezTo>
                <a:lnTo>
                  <a:pt x="8966" y="10537"/>
                </a:lnTo>
                <a:cubicBezTo>
                  <a:pt x="8966" y="10252"/>
                  <a:pt x="8740" y="10025"/>
                  <a:pt x="8454" y="10025"/>
                </a:cubicBezTo>
                <a:lnTo>
                  <a:pt x="8180" y="10025"/>
                </a:lnTo>
                <a:lnTo>
                  <a:pt x="8180" y="9752"/>
                </a:lnTo>
                <a:cubicBezTo>
                  <a:pt x="8180" y="9478"/>
                  <a:pt x="7954" y="9251"/>
                  <a:pt x="7680" y="9251"/>
                </a:cubicBezTo>
                <a:lnTo>
                  <a:pt x="5978" y="9251"/>
                </a:lnTo>
                <a:lnTo>
                  <a:pt x="5978" y="4572"/>
                </a:lnTo>
                <a:cubicBezTo>
                  <a:pt x="5978" y="4477"/>
                  <a:pt x="5894" y="4406"/>
                  <a:pt x="5811" y="4406"/>
                </a:cubicBezTo>
                <a:cubicBezTo>
                  <a:pt x="5716" y="4406"/>
                  <a:pt x="5644" y="4477"/>
                  <a:pt x="5644" y="4572"/>
                </a:cubicBezTo>
                <a:lnTo>
                  <a:pt x="5644" y="9251"/>
                </a:lnTo>
                <a:lnTo>
                  <a:pt x="5240" y="9251"/>
                </a:lnTo>
                <a:lnTo>
                  <a:pt x="5240" y="2798"/>
                </a:lnTo>
                <a:lnTo>
                  <a:pt x="5644" y="2798"/>
                </a:lnTo>
                <a:lnTo>
                  <a:pt x="5644" y="3536"/>
                </a:lnTo>
                <a:cubicBezTo>
                  <a:pt x="5644" y="3632"/>
                  <a:pt x="5716" y="3703"/>
                  <a:pt x="5811" y="3703"/>
                </a:cubicBezTo>
                <a:cubicBezTo>
                  <a:pt x="5894" y="3703"/>
                  <a:pt x="5978" y="3632"/>
                  <a:pt x="5978" y="3536"/>
                </a:cubicBezTo>
                <a:lnTo>
                  <a:pt x="5978" y="2798"/>
                </a:lnTo>
                <a:lnTo>
                  <a:pt x="7002" y="2798"/>
                </a:lnTo>
                <a:cubicBezTo>
                  <a:pt x="7240" y="2798"/>
                  <a:pt x="7466" y="2905"/>
                  <a:pt x="7621" y="3060"/>
                </a:cubicBezTo>
                <a:cubicBezTo>
                  <a:pt x="8002" y="3453"/>
                  <a:pt x="8502" y="3679"/>
                  <a:pt x="9050" y="3679"/>
                </a:cubicBezTo>
                <a:lnTo>
                  <a:pt x="9097" y="3679"/>
                </a:lnTo>
                <a:lnTo>
                  <a:pt x="7835" y="6477"/>
                </a:lnTo>
                <a:lnTo>
                  <a:pt x="7835" y="6489"/>
                </a:lnTo>
                <a:lnTo>
                  <a:pt x="7835" y="6501"/>
                </a:lnTo>
                <a:lnTo>
                  <a:pt x="7835" y="6513"/>
                </a:lnTo>
                <a:lnTo>
                  <a:pt x="7835" y="6537"/>
                </a:lnTo>
                <a:lnTo>
                  <a:pt x="7835" y="6692"/>
                </a:lnTo>
                <a:cubicBezTo>
                  <a:pt x="7835" y="7501"/>
                  <a:pt x="8490" y="8168"/>
                  <a:pt x="9311" y="8168"/>
                </a:cubicBezTo>
                <a:lnTo>
                  <a:pt x="9431" y="8168"/>
                </a:lnTo>
                <a:cubicBezTo>
                  <a:pt x="10228" y="8168"/>
                  <a:pt x="10895" y="7513"/>
                  <a:pt x="10895" y="6692"/>
                </a:cubicBezTo>
                <a:lnTo>
                  <a:pt x="10895" y="6537"/>
                </a:lnTo>
                <a:lnTo>
                  <a:pt x="10895" y="6513"/>
                </a:lnTo>
                <a:lnTo>
                  <a:pt x="10895" y="6501"/>
                </a:lnTo>
                <a:lnTo>
                  <a:pt x="10895" y="6489"/>
                </a:lnTo>
                <a:lnTo>
                  <a:pt x="10895" y="6465"/>
                </a:lnTo>
                <a:lnTo>
                  <a:pt x="9633" y="3667"/>
                </a:lnTo>
                <a:lnTo>
                  <a:pt x="10562" y="3667"/>
                </a:lnTo>
                <a:cubicBezTo>
                  <a:pt x="10716" y="3667"/>
                  <a:pt x="10859" y="3536"/>
                  <a:pt x="10859" y="3370"/>
                </a:cubicBezTo>
                <a:lnTo>
                  <a:pt x="10859" y="2989"/>
                </a:lnTo>
                <a:cubicBezTo>
                  <a:pt x="10859" y="2822"/>
                  <a:pt x="10716" y="2691"/>
                  <a:pt x="10562" y="2691"/>
                </a:cubicBezTo>
                <a:lnTo>
                  <a:pt x="9073" y="2691"/>
                </a:lnTo>
                <a:cubicBezTo>
                  <a:pt x="8788" y="2691"/>
                  <a:pt x="8514" y="2572"/>
                  <a:pt x="8323" y="2370"/>
                </a:cubicBezTo>
                <a:cubicBezTo>
                  <a:pt x="8002" y="2012"/>
                  <a:pt x="7502" y="1810"/>
                  <a:pt x="7014" y="1810"/>
                </a:cubicBezTo>
                <a:lnTo>
                  <a:pt x="5978" y="1810"/>
                </a:lnTo>
                <a:lnTo>
                  <a:pt x="5978" y="1453"/>
                </a:lnTo>
                <a:cubicBezTo>
                  <a:pt x="6156" y="1310"/>
                  <a:pt x="6275" y="1072"/>
                  <a:pt x="6275" y="822"/>
                </a:cubicBezTo>
                <a:cubicBezTo>
                  <a:pt x="6275" y="358"/>
                  <a:pt x="5894" y="0"/>
                  <a:pt x="545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89" name="Google Shape;10589;p59"/>
          <p:cNvGrpSpPr/>
          <p:nvPr/>
        </p:nvGrpSpPr>
        <p:grpSpPr>
          <a:xfrm>
            <a:off x="3974207" y="2429009"/>
            <a:ext cx="320143" cy="338491"/>
            <a:chOff x="3974207" y="2429009"/>
            <a:chExt cx="320143" cy="338491"/>
          </a:xfrm>
        </p:grpSpPr>
        <p:sp>
          <p:nvSpPr>
            <p:cNvPr id="10590" name="Google Shape;10590;p59"/>
            <p:cNvSpPr/>
            <p:nvPr/>
          </p:nvSpPr>
          <p:spPr>
            <a:xfrm>
              <a:off x="3974207" y="2429009"/>
              <a:ext cx="320143" cy="338491"/>
            </a:xfrm>
            <a:custGeom>
              <a:avLst/>
              <a:gdLst/>
              <a:ahLst/>
              <a:cxnLst/>
              <a:rect l="l" t="t" r="r" b="b"/>
              <a:pathLst>
                <a:path w="10050" h="10626" extrusionOk="0">
                  <a:moveTo>
                    <a:pt x="9390" y="0"/>
                  </a:moveTo>
                  <a:cubicBezTo>
                    <a:pt x="9344" y="0"/>
                    <a:pt x="9298" y="6"/>
                    <a:pt x="9251" y="17"/>
                  </a:cubicBezTo>
                  <a:lnTo>
                    <a:pt x="3132" y="1100"/>
                  </a:lnTo>
                  <a:cubicBezTo>
                    <a:pt x="2798" y="1160"/>
                    <a:pt x="2560" y="1445"/>
                    <a:pt x="2560" y="1779"/>
                  </a:cubicBezTo>
                  <a:lnTo>
                    <a:pt x="2560" y="6803"/>
                  </a:lnTo>
                  <a:cubicBezTo>
                    <a:pt x="2358" y="6744"/>
                    <a:pt x="2143" y="6708"/>
                    <a:pt x="1929" y="6708"/>
                  </a:cubicBezTo>
                  <a:cubicBezTo>
                    <a:pt x="1417" y="6720"/>
                    <a:pt x="941" y="6934"/>
                    <a:pt x="584" y="7291"/>
                  </a:cubicBezTo>
                  <a:cubicBezTo>
                    <a:pt x="226" y="7649"/>
                    <a:pt x="24" y="8125"/>
                    <a:pt x="24" y="8625"/>
                  </a:cubicBezTo>
                  <a:cubicBezTo>
                    <a:pt x="0" y="9161"/>
                    <a:pt x="215" y="9649"/>
                    <a:pt x="584" y="10042"/>
                  </a:cubicBezTo>
                  <a:cubicBezTo>
                    <a:pt x="953" y="10411"/>
                    <a:pt x="1453" y="10625"/>
                    <a:pt x="1965" y="10625"/>
                  </a:cubicBezTo>
                  <a:lnTo>
                    <a:pt x="2001" y="10625"/>
                  </a:lnTo>
                  <a:cubicBezTo>
                    <a:pt x="3060" y="10613"/>
                    <a:pt x="3917" y="9732"/>
                    <a:pt x="3917" y="8649"/>
                  </a:cubicBezTo>
                  <a:lnTo>
                    <a:pt x="3917" y="4684"/>
                  </a:lnTo>
                  <a:cubicBezTo>
                    <a:pt x="3917" y="4577"/>
                    <a:pt x="3834" y="4493"/>
                    <a:pt x="3727" y="4493"/>
                  </a:cubicBezTo>
                  <a:cubicBezTo>
                    <a:pt x="3620" y="4493"/>
                    <a:pt x="3536" y="4577"/>
                    <a:pt x="3536" y="4684"/>
                  </a:cubicBezTo>
                  <a:lnTo>
                    <a:pt x="3536" y="8613"/>
                  </a:lnTo>
                  <a:cubicBezTo>
                    <a:pt x="3536" y="9482"/>
                    <a:pt x="2834" y="10196"/>
                    <a:pt x="1989" y="10208"/>
                  </a:cubicBezTo>
                  <a:lnTo>
                    <a:pt x="1953" y="10208"/>
                  </a:lnTo>
                  <a:cubicBezTo>
                    <a:pt x="1536" y="10208"/>
                    <a:pt x="1131" y="10042"/>
                    <a:pt x="834" y="9744"/>
                  </a:cubicBezTo>
                  <a:cubicBezTo>
                    <a:pt x="536" y="9446"/>
                    <a:pt x="381" y="9030"/>
                    <a:pt x="381" y="8613"/>
                  </a:cubicBezTo>
                  <a:cubicBezTo>
                    <a:pt x="393" y="7779"/>
                    <a:pt x="1072" y="7089"/>
                    <a:pt x="1905" y="7065"/>
                  </a:cubicBezTo>
                  <a:cubicBezTo>
                    <a:pt x="2167" y="7065"/>
                    <a:pt x="2417" y="7113"/>
                    <a:pt x="2643" y="7232"/>
                  </a:cubicBezTo>
                  <a:cubicBezTo>
                    <a:pt x="2670" y="7242"/>
                    <a:pt x="2699" y="7248"/>
                    <a:pt x="2728" y="7248"/>
                  </a:cubicBezTo>
                  <a:cubicBezTo>
                    <a:pt x="2762" y="7248"/>
                    <a:pt x="2796" y="7240"/>
                    <a:pt x="2822" y="7220"/>
                  </a:cubicBezTo>
                  <a:cubicBezTo>
                    <a:pt x="2882" y="7184"/>
                    <a:pt x="2905" y="7125"/>
                    <a:pt x="2905" y="7053"/>
                  </a:cubicBezTo>
                  <a:lnTo>
                    <a:pt x="2905" y="1767"/>
                  </a:lnTo>
                  <a:cubicBezTo>
                    <a:pt x="2905" y="1624"/>
                    <a:pt x="3013" y="1481"/>
                    <a:pt x="3155" y="1457"/>
                  </a:cubicBezTo>
                  <a:lnTo>
                    <a:pt x="9275" y="374"/>
                  </a:lnTo>
                  <a:cubicBezTo>
                    <a:pt x="9296" y="369"/>
                    <a:pt x="9315" y="366"/>
                    <a:pt x="9335" y="366"/>
                  </a:cubicBezTo>
                  <a:cubicBezTo>
                    <a:pt x="9406" y="366"/>
                    <a:pt x="9469" y="398"/>
                    <a:pt x="9525" y="445"/>
                  </a:cubicBezTo>
                  <a:cubicBezTo>
                    <a:pt x="9609" y="505"/>
                    <a:pt x="9644" y="588"/>
                    <a:pt x="9644" y="683"/>
                  </a:cubicBezTo>
                  <a:lnTo>
                    <a:pt x="9644" y="2767"/>
                  </a:lnTo>
                  <a:cubicBezTo>
                    <a:pt x="9644" y="2874"/>
                    <a:pt x="9740" y="2957"/>
                    <a:pt x="9847" y="2957"/>
                  </a:cubicBezTo>
                  <a:cubicBezTo>
                    <a:pt x="9942" y="2957"/>
                    <a:pt x="10037" y="2874"/>
                    <a:pt x="10037" y="2767"/>
                  </a:cubicBezTo>
                  <a:lnTo>
                    <a:pt x="10037" y="683"/>
                  </a:lnTo>
                  <a:cubicBezTo>
                    <a:pt x="10049" y="469"/>
                    <a:pt x="9966" y="279"/>
                    <a:pt x="9811" y="159"/>
                  </a:cubicBezTo>
                  <a:cubicBezTo>
                    <a:pt x="9683" y="59"/>
                    <a:pt x="9541" y="0"/>
                    <a:pt x="93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1" name="Google Shape;10591;p59"/>
            <p:cNvSpPr/>
            <p:nvPr/>
          </p:nvSpPr>
          <p:spPr>
            <a:xfrm>
              <a:off x="4086846" y="2479977"/>
              <a:ext cx="207503" cy="245793"/>
            </a:xfrm>
            <a:custGeom>
              <a:avLst/>
              <a:gdLst/>
              <a:ahLst/>
              <a:cxnLst/>
              <a:rect l="l" t="t" r="r" b="b"/>
              <a:pathLst>
                <a:path w="6514" h="7716" extrusionOk="0">
                  <a:moveTo>
                    <a:pt x="5299" y="0"/>
                  </a:moveTo>
                  <a:lnTo>
                    <a:pt x="143" y="905"/>
                  </a:lnTo>
                  <a:cubicBezTo>
                    <a:pt x="60" y="929"/>
                    <a:pt x="0" y="1000"/>
                    <a:pt x="0" y="1084"/>
                  </a:cubicBezTo>
                  <a:lnTo>
                    <a:pt x="0" y="2131"/>
                  </a:lnTo>
                  <a:cubicBezTo>
                    <a:pt x="0" y="2239"/>
                    <a:pt x="84" y="2322"/>
                    <a:pt x="191" y="2322"/>
                  </a:cubicBezTo>
                  <a:cubicBezTo>
                    <a:pt x="298" y="2322"/>
                    <a:pt x="381" y="2239"/>
                    <a:pt x="381" y="2131"/>
                  </a:cubicBezTo>
                  <a:lnTo>
                    <a:pt x="381" y="1250"/>
                  </a:lnTo>
                  <a:lnTo>
                    <a:pt x="5156" y="405"/>
                  </a:lnTo>
                  <a:lnTo>
                    <a:pt x="5156" y="3882"/>
                  </a:lnTo>
                  <a:cubicBezTo>
                    <a:pt x="4953" y="3834"/>
                    <a:pt x="4739" y="3798"/>
                    <a:pt x="4525" y="3798"/>
                  </a:cubicBezTo>
                  <a:cubicBezTo>
                    <a:pt x="4013" y="3810"/>
                    <a:pt x="3537" y="4024"/>
                    <a:pt x="3179" y="4382"/>
                  </a:cubicBezTo>
                  <a:cubicBezTo>
                    <a:pt x="2822" y="4739"/>
                    <a:pt x="2620" y="5215"/>
                    <a:pt x="2620" y="5715"/>
                  </a:cubicBezTo>
                  <a:cubicBezTo>
                    <a:pt x="2596" y="6251"/>
                    <a:pt x="2810" y="6739"/>
                    <a:pt x="3179" y="7132"/>
                  </a:cubicBezTo>
                  <a:cubicBezTo>
                    <a:pt x="3548" y="7501"/>
                    <a:pt x="4037" y="7715"/>
                    <a:pt x="4561" y="7715"/>
                  </a:cubicBezTo>
                  <a:lnTo>
                    <a:pt x="4596" y="7715"/>
                  </a:lnTo>
                  <a:cubicBezTo>
                    <a:pt x="5656" y="7692"/>
                    <a:pt x="6513" y="6822"/>
                    <a:pt x="6513" y="5727"/>
                  </a:cubicBezTo>
                  <a:lnTo>
                    <a:pt x="6513" y="2024"/>
                  </a:lnTo>
                  <a:cubicBezTo>
                    <a:pt x="6513" y="1941"/>
                    <a:pt x="6442" y="1846"/>
                    <a:pt x="6335" y="1846"/>
                  </a:cubicBezTo>
                  <a:cubicBezTo>
                    <a:pt x="6227" y="1846"/>
                    <a:pt x="6144" y="1941"/>
                    <a:pt x="6144" y="2048"/>
                  </a:cubicBezTo>
                  <a:lnTo>
                    <a:pt x="6144" y="5751"/>
                  </a:lnTo>
                  <a:cubicBezTo>
                    <a:pt x="6144" y="6608"/>
                    <a:pt x="5442" y="7322"/>
                    <a:pt x="4596" y="7346"/>
                  </a:cubicBezTo>
                  <a:lnTo>
                    <a:pt x="4561" y="7346"/>
                  </a:lnTo>
                  <a:cubicBezTo>
                    <a:pt x="4144" y="7346"/>
                    <a:pt x="3751" y="7180"/>
                    <a:pt x="3453" y="6882"/>
                  </a:cubicBezTo>
                  <a:cubicBezTo>
                    <a:pt x="3156" y="6584"/>
                    <a:pt x="2989" y="6168"/>
                    <a:pt x="2989" y="5751"/>
                  </a:cubicBezTo>
                  <a:cubicBezTo>
                    <a:pt x="3001" y="4917"/>
                    <a:pt x="3691" y="4227"/>
                    <a:pt x="4525" y="4203"/>
                  </a:cubicBezTo>
                  <a:cubicBezTo>
                    <a:pt x="4775" y="4203"/>
                    <a:pt x="5025" y="4251"/>
                    <a:pt x="5251" y="4370"/>
                  </a:cubicBezTo>
                  <a:cubicBezTo>
                    <a:pt x="5276" y="4380"/>
                    <a:pt x="5302" y="4385"/>
                    <a:pt x="5329" y="4385"/>
                  </a:cubicBezTo>
                  <a:cubicBezTo>
                    <a:pt x="5366" y="4385"/>
                    <a:pt x="5402" y="4374"/>
                    <a:pt x="5430" y="4346"/>
                  </a:cubicBezTo>
                  <a:cubicBezTo>
                    <a:pt x="5489" y="4322"/>
                    <a:pt x="5513" y="4263"/>
                    <a:pt x="5513" y="4179"/>
                  </a:cubicBezTo>
                  <a:lnTo>
                    <a:pt x="5513" y="191"/>
                  </a:lnTo>
                  <a:cubicBezTo>
                    <a:pt x="5513" y="131"/>
                    <a:pt x="5489" y="95"/>
                    <a:pt x="5442" y="48"/>
                  </a:cubicBezTo>
                  <a:cubicBezTo>
                    <a:pt x="5394" y="12"/>
                    <a:pt x="5334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92" name="Google Shape;10592;p59"/>
          <p:cNvGrpSpPr/>
          <p:nvPr/>
        </p:nvGrpSpPr>
        <p:grpSpPr>
          <a:xfrm>
            <a:off x="2623237" y="2431047"/>
            <a:ext cx="355024" cy="332630"/>
            <a:chOff x="2623237" y="2431047"/>
            <a:chExt cx="355024" cy="332630"/>
          </a:xfrm>
        </p:grpSpPr>
        <p:sp>
          <p:nvSpPr>
            <p:cNvPr id="10593" name="Google Shape;10593;p59"/>
            <p:cNvSpPr/>
            <p:nvPr/>
          </p:nvSpPr>
          <p:spPr>
            <a:xfrm>
              <a:off x="2655856" y="2604370"/>
              <a:ext cx="48579" cy="64506"/>
            </a:xfrm>
            <a:custGeom>
              <a:avLst/>
              <a:gdLst/>
              <a:ahLst/>
              <a:cxnLst/>
              <a:rect l="l" t="t" r="r" b="b"/>
              <a:pathLst>
                <a:path w="1525" h="2025" extrusionOk="0">
                  <a:moveTo>
                    <a:pt x="762" y="346"/>
                  </a:moveTo>
                  <a:cubicBezTo>
                    <a:pt x="1000" y="346"/>
                    <a:pt x="1191" y="536"/>
                    <a:pt x="1191" y="774"/>
                  </a:cubicBezTo>
                  <a:lnTo>
                    <a:pt x="1191" y="1715"/>
                  </a:lnTo>
                  <a:lnTo>
                    <a:pt x="345" y="1715"/>
                  </a:lnTo>
                  <a:lnTo>
                    <a:pt x="345" y="774"/>
                  </a:lnTo>
                  <a:lnTo>
                    <a:pt x="334" y="774"/>
                  </a:lnTo>
                  <a:cubicBezTo>
                    <a:pt x="334" y="536"/>
                    <a:pt x="524" y="346"/>
                    <a:pt x="762" y="346"/>
                  </a:cubicBezTo>
                  <a:close/>
                  <a:moveTo>
                    <a:pt x="762" y="0"/>
                  </a:moveTo>
                  <a:cubicBezTo>
                    <a:pt x="345" y="0"/>
                    <a:pt x="0" y="346"/>
                    <a:pt x="0" y="762"/>
                  </a:cubicBezTo>
                  <a:lnTo>
                    <a:pt x="0" y="1858"/>
                  </a:lnTo>
                  <a:cubicBezTo>
                    <a:pt x="0" y="1953"/>
                    <a:pt x="72" y="2024"/>
                    <a:pt x="167" y="2024"/>
                  </a:cubicBezTo>
                  <a:lnTo>
                    <a:pt x="1357" y="2024"/>
                  </a:lnTo>
                  <a:cubicBezTo>
                    <a:pt x="1441" y="2024"/>
                    <a:pt x="1524" y="1953"/>
                    <a:pt x="1524" y="1858"/>
                  </a:cubicBezTo>
                  <a:lnTo>
                    <a:pt x="1524" y="762"/>
                  </a:lnTo>
                  <a:cubicBezTo>
                    <a:pt x="1524" y="346"/>
                    <a:pt x="1179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4" name="Google Shape;10594;p59"/>
            <p:cNvSpPr/>
            <p:nvPr/>
          </p:nvSpPr>
          <p:spPr>
            <a:xfrm>
              <a:off x="2623237" y="2431047"/>
              <a:ext cx="355024" cy="332630"/>
            </a:xfrm>
            <a:custGeom>
              <a:avLst/>
              <a:gdLst/>
              <a:ahLst/>
              <a:cxnLst/>
              <a:rect l="l" t="t" r="r" b="b"/>
              <a:pathLst>
                <a:path w="11145" h="10442" extrusionOk="0">
                  <a:moveTo>
                    <a:pt x="8692" y="2608"/>
                  </a:moveTo>
                  <a:cubicBezTo>
                    <a:pt x="8716" y="2608"/>
                    <a:pt x="8751" y="2643"/>
                    <a:pt x="8751" y="2667"/>
                  </a:cubicBezTo>
                  <a:lnTo>
                    <a:pt x="8751" y="3024"/>
                  </a:lnTo>
                  <a:cubicBezTo>
                    <a:pt x="8751" y="3060"/>
                    <a:pt x="8716" y="3084"/>
                    <a:pt x="8692" y="3084"/>
                  </a:cubicBezTo>
                  <a:lnTo>
                    <a:pt x="2453" y="3084"/>
                  </a:lnTo>
                  <a:cubicBezTo>
                    <a:pt x="2441" y="3084"/>
                    <a:pt x="2405" y="3060"/>
                    <a:pt x="2405" y="3024"/>
                  </a:cubicBezTo>
                  <a:lnTo>
                    <a:pt x="2405" y="2667"/>
                  </a:lnTo>
                  <a:cubicBezTo>
                    <a:pt x="2405" y="2643"/>
                    <a:pt x="2441" y="2608"/>
                    <a:pt x="2465" y="2608"/>
                  </a:cubicBezTo>
                  <a:close/>
                  <a:moveTo>
                    <a:pt x="8096" y="3405"/>
                  </a:moveTo>
                  <a:lnTo>
                    <a:pt x="8096" y="3834"/>
                  </a:lnTo>
                  <a:lnTo>
                    <a:pt x="7977" y="3953"/>
                  </a:lnTo>
                  <a:lnTo>
                    <a:pt x="7227" y="3953"/>
                  </a:lnTo>
                  <a:lnTo>
                    <a:pt x="7108" y="3834"/>
                  </a:lnTo>
                  <a:lnTo>
                    <a:pt x="7108" y="3405"/>
                  </a:lnTo>
                  <a:close/>
                  <a:moveTo>
                    <a:pt x="4048" y="3417"/>
                  </a:moveTo>
                  <a:lnTo>
                    <a:pt x="4048" y="3846"/>
                  </a:lnTo>
                  <a:lnTo>
                    <a:pt x="3929" y="3965"/>
                  </a:lnTo>
                  <a:lnTo>
                    <a:pt x="3179" y="3965"/>
                  </a:lnTo>
                  <a:lnTo>
                    <a:pt x="3060" y="3846"/>
                  </a:lnTo>
                  <a:lnTo>
                    <a:pt x="3060" y="3417"/>
                  </a:lnTo>
                  <a:close/>
                  <a:moveTo>
                    <a:pt x="2739" y="3417"/>
                  </a:moveTo>
                  <a:lnTo>
                    <a:pt x="2739" y="3905"/>
                  </a:lnTo>
                  <a:cubicBezTo>
                    <a:pt x="2739" y="3953"/>
                    <a:pt x="2751" y="4001"/>
                    <a:pt x="2774" y="4025"/>
                  </a:cubicBezTo>
                  <a:lnTo>
                    <a:pt x="2941" y="4191"/>
                  </a:lnTo>
                  <a:lnTo>
                    <a:pt x="2941" y="4667"/>
                  </a:lnTo>
                  <a:lnTo>
                    <a:pt x="357" y="4667"/>
                  </a:lnTo>
                  <a:lnTo>
                    <a:pt x="476" y="3453"/>
                  </a:lnTo>
                  <a:cubicBezTo>
                    <a:pt x="476" y="3429"/>
                    <a:pt x="500" y="3417"/>
                    <a:pt x="536" y="3417"/>
                  </a:cubicBezTo>
                  <a:close/>
                  <a:moveTo>
                    <a:pt x="10621" y="3417"/>
                  </a:moveTo>
                  <a:cubicBezTo>
                    <a:pt x="10656" y="3417"/>
                    <a:pt x="10668" y="3429"/>
                    <a:pt x="10680" y="3453"/>
                  </a:cubicBezTo>
                  <a:lnTo>
                    <a:pt x="10799" y="4667"/>
                  </a:lnTo>
                  <a:lnTo>
                    <a:pt x="8204" y="4667"/>
                  </a:lnTo>
                  <a:lnTo>
                    <a:pt x="8204" y="4191"/>
                  </a:lnTo>
                  <a:lnTo>
                    <a:pt x="8382" y="4025"/>
                  </a:lnTo>
                  <a:cubicBezTo>
                    <a:pt x="8406" y="4001"/>
                    <a:pt x="8418" y="3953"/>
                    <a:pt x="8418" y="3905"/>
                  </a:cubicBezTo>
                  <a:lnTo>
                    <a:pt x="8418" y="3417"/>
                  </a:lnTo>
                  <a:close/>
                  <a:moveTo>
                    <a:pt x="3834" y="4298"/>
                  </a:moveTo>
                  <a:lnTo>
                    <a:pt x="3834" y="7644"/>
                  </a:lnTo>
                  <a:lnTo>
                    <a:pt x="3286" y="7644"/>
                  </a:lnTo>
                  <a:lnTo>
                    <a:pt x="3286" y="4298"/>
                  </a:lnTo>
                  <a:close/>
                  <a:moveTo>
                    <a:pt x="7870" y="4298"/>
                  </a:moveTo>
                  <a:lnTo>
                    <a:pt x="7870" y="7644"/>
                  </a:lnTo>
                  <a:lnTo>
                    <a:pt x="7323" y="7644"/>
                  </a:lnTo>
                  <a:lnTo>
                    <a:pt x="7323" y="4298"/>
                  </a:lnTo>
                  <a:close/>
                  <a:moveTo>
                    <a:pt x="5563" y="6230"/>
                  </a:moveTo>
                  <a:cubicBezTo>
                    <a:pt x="5617" y="6230"/>
                    <a:pt x="5674" y="6245"/>
                    <a:pt x="5727" y="6275"/>
                  </a:cubicBezTo>
                  <a:lnTo>
                    <a:pt x="6013" y="6465"/>
                  </a:lnTo>
                  <a:cubicBezTo>
                    <a:pt x="6084" y="6513"/>
                    <a:pt x="6132" y="6596"/>
                    <a:pt x="6132" y="6692"/>
                  </a:cubicBezTo>
                  <a:lnTo>
                    <a:pt x="6132" y="8525"/>
                  </a:lnTo>
                  <a:lnTo>
                    <a:pt x="5013" y="8525"/>
                  </a:lnTo>
                  <a:lnTo>
                    <a:pt x="5013" y="6692"/>
                  </a:lnTo>
                  <a:cubicBezTo>
                    <a:pt x="5013" y="6596"/>
                    <a:pt x="5060" y="6513"/>
                    <a:pt x="5132" y="6465"/>
                  </a:cubicBezTo>
                  <a:lnTo>
                    <a:pt x="5418" y="6275"/>
                  </a:lnTo>
                  <a:cubicBezTo>
                    <a:pt x="5459" y="6245"/>
                    <a:pt x="5510" y="6230"/>
                    <a:pt x="5563" y="6230"/>
                  </a:cubicBezTo>
                  <a:close/>
                  <a:moveTo>
                    <a:pt x="3929" y="7989"/>
                  </a:moveTo>
                  <a:lnTo>
                    <a:pt x="4048" y="8108"/>
                  </a:lnTo>
                  <a:lnTo>
                    <a:pt x="4048" y="8537"/>
                  </a:lnTo>
                  <a:lnTo>
                    <a:pt x="3060" y="8537"/>
                  </a:lnTo>
                  <a:lnTo>
                    <a:pt x="3060" y="8108"/>
                  </a:lnTo>
                  <a:lnTo>
                    <a:pt x="3179" y="7989"/>
                  </a:lnTo>
                  <a:close/>
                  <a:moveTo>
                    <a:pt x="7954" y="7989"/>
                  </a:moveTo>
                  <a:lnTo>
                    <a:pt x="8073" y="8108"/>
                  </a:lnTo>
                  <a:lnTo>
                    <a:pt x="8073" y="8537"/>
                  </a:lnTo>
                  <a:lnTo>
                    <a:pt x="7096" y="8537"/>
                  </a:lnTo>
                  <a:lnTo>
                    <a:pt x="7096" y="8525"/>
                  </a:lnTo>
                  <a:lnTo>
                    <a:pt x="7096" y="8108"/>
                  </a:lnTo>
                  <a:lnTo>
                    <a:pt x="7215" y="7989"/>
                  </a:lnTo>
                  <a:close/>
                  <a:moveTo>
                    <a:pt x="6787" y="3429"/>
                  </a:moveTo>
                  <a:lnTo>
                    <a:pt x="6787" y="3917"/>
                  </a:lnTo>
                  <a:cubicBezTo>
                    <a:pt x="6787" y="3965"/>
                    <a:pt x="6799" y="4013"/>
                    <a:pt x="6834" y="4036"/>
                  </a:cubicBezTo>
                  <a:lnTo>
                    <a:pt x="7013" y="4215"/>
                  </a:lnTo>
                  <a:lnTo>
                    <a:pt x="7013" y="7763"/>
                  </a:lnTo>
                  <a:lnTo>
                    <a:pt x="6834" y="7942"/>
                  </a:lnTo>
                  <a:cubicBezTo>
                    <a:pt x="6799" y="7966"/>
                    <a:pt x="6787" y="8013"/>
                    <a:pt x="6787" y="8061"/>
                  </a:cubicBezTo>
                  <a:lnTo>
                    <a:pt x="6787" y="8549"/>
                  </a:lnTo>
                  <a:lnTo>
                    <a:pt x="6477" y="8525"/>
                  </a:lnTo>
                  <a:lnTo>
                    <a:pt x="6477" y="6692"/>
                  </a:lnTo>
                  <a:cubicBezTo>
                    <a:pt x="6477" y="6501"/>
                    <a:pt x="6370" y="6299"/>
                    <a:pt x="6203" y="6180"/>
                  </a:cubicBezTo>
                  <a:lnTo>
                    <a:pt x="5918" y="5989"/>
                  </a:lnTo>
                  <a:cubicBezTo>
                    <a:pt x="5816" y="5924"/>
                    <a:pt x="5703" y="5891"/>
                    <a:pt x="5589" y="5891"/>
                  </a:cubicBezTo>
                  <a:cubicBezTo>
                    <a:pt x="5474" y="5891"/>
                    <a:pt x="5358" y="5924"/>
                    <a:pt x="5251" y="5989"/>
                  </a:cubicBezTo>
                  <a:lnTo>
                    <a:pt x="4965" y="6180"/>
                  </a:lnTo>
                  <a:cubicBezTo>
                    <a:pt x="4810" y="6299"/>
                    <a:pt x="4703" y="6477"/>
                    <a:pt x="4703" y="6692"/>
                  </a:cubicBezTo>
                  <a:lnTo>
                    <a:pt x="4703" y="8525"/>
                  </a:lnTo>
                  <a:lnTo>
                    <a:pt x="4394" y="8525"/>
                  </a:lnTo>
                  <a:lnTo>
                    <a:pt x="4394" y="8025"/>
                  </a:lnTo>
                  <a:cubicBezTo>
                    <a:pt x="4394" y="7989"/>
                    <a:pt x="4370" y="7942"/>
                    <a:pt x="4346" y="7906"/>
                  </a:cubicBezTo>
                  <a:lnTo>
                    <a:pt x="4167" y="7751"/>
                  </a:lnTo>
                  <a:lnTo>
                    <a:pt x="4167" y="4203"/>
                  </a:lnTo>
                  <a:lnTo>
                    <a:pt x="4346" y="4036"/>
                  </a:lnTo>
                  <a:cubicBezTo>
                    <a:pt x="4370" y="4013"/>
                    <a:pt x="4394" y="3965"/>
                    <a:pt x="4394" y="3917"/>
                  </a:cubicBezTo>
                  <a:lnTo>
                    <a:pt x="4394" y="3429"/>
                  </a:lnTo>
                  <a:close/>
                  <a:moveTo>
                    <a:pt x="8525" y="8847"/>
                  </a:moveTo>
                  <a:lnTo>
                    <a:pt x="8525" y="9311"/>
                  </a:lnTo>
                  <a:lnTo>
                    <a:pt x="2631" y="9311"/>
                  </a:lnTo>
                  <a:lnTo>
                    <a:pt x="2631" y="8847"/>
                  </a:lnTo>
                  <a:close/>
                  <a:moveTo>
                    <a:pt x="1858" y="9632"/>
                  </a:moveTo>
                  <a:lnTo>
                    <a:pt x="1858" y="10097"/>
                  </a:lnTo>
                  <a:lnTo>
                    <a:pt x="607" y="10097"/>
                  </a:lnTo>
                  <a:lnTo>
                    <a:pt x="607" y="9632"/>
                  </a:lnTo>
                  <a:close/>
                  <a:moveTo>
                    <a:pt x="8978" y="9632"/>
                  </a:moveTo>
                  <a:lnTo>
                    <a:pt x="8978" y="10097"/>
                  </a:lnTo>
                  <a:lnTo>
                    <a:pt x="2203" y="10097"/>
                  </a:lnTo>
                  <a:lnTo>
                    <a:pt x="2203" y="9632"/>
                  </a:lnTo>
                  <a:close/>
                  <a:moveTo>
                    <a:pt x="10549" y="9632"/>
                  </a:moveTo>
                  <a:lnTo>
                    <a:pt x="10549" y="10097"/>
                  </a:lnTo>
                  <a:lnTo>
                    <a:pt x="9299" y="10097"/>
                  </a:lnTo>
                  <a:lnTo>
                    <a:pt x="9299" y="9632"/>
                  </a:lnTo>
                  <a:close/>
                  <a:moveTo>
                    <a:pt x="5566" y="0"/>
                  </a:moveTo>
                  <a:cubicBezTo>
                    <a:pt x="5531" y="0"/>
                    <a:pt x="5495" y="12"/>
                    <a:pt x="5465" y="36"/>
                  </a:cubicBezTo>
                  <a:lnTo>
                    <a:pt x="4417" y="857"/>
                  </a:lnTo>
                  <a:cubicBezTo>
                    <a:pt x="4346" y="917"/>
                    <a:pt x="4334" y="1024"/>
                    <a:pt x="4394" y="1096"/>
                  </a:cubicBezTo>
                  <a:cubicBezTo>
                    <a:pt x="4427" y="1136"/>
                    <a:pt x="4473" y="1158"/>
                    <a:pt x="4521" y="1158"/>
                  </a:cubicBezTo>
                  <a:cubicBezTo>
                    <a:pt x="4557" y="1158"/>
                    <a:pt x="4596" y="1145"/>
                    <a:pt x="4632" y="1119"/>
                  </a:cubicBezTo>
                  <a:lnTo>
                    <a:pt x="5560" y="393"/>
                  </a:lnTo>
                  <a:lnTo>
                    <a:pt x="8025" y="2298"/>
                  </a:lnTo>
                  <a:lnTo>
                    <a:pt x="3143" y="2298"/>
                  </a:lnTo>
                  <a:lnTo>
                    <a:pt x="4036" y="1596"/>
                  </a:lnTo>
                  <a:cubicBezTo>
                    <a:pt x="4108" y="1536"/>
                    <a:pt x="4120" y="1441"/>
                    <a:pt x="4060" y="1358"/>
                  </a:cubicBezTo>
                  <a:cubicBezTo>
                    <a:pt x="4026" y="1317"/>
                    <a:pt x="3977" y="1296"/>
                    <a:pt x="3928" y="1296"/>
                  </a:cubicBezTo>
                  <a:cubicBezTo>
                    <a:pt x="3891" y="1296"/>
                    <a:pt x="3853" y="1308"/>
                    <a:pt x="3822" y="1334"/>
                  </a:cubicBezTo>
                  <a:lnTo>
                    <a:pt x="2584" y="2298"/>
                  </a:lnTo>
                  <a:lnTo>
                    <a:pt x="2453" y="2298"/>
                  </a:lnTo>
                  <a:cubicBezTo>
                    <a:pt x="2250" y="2298"/>
                    <a:pt x="2072" y="2477"/>
                    <a:pt x="2072" y="2691"/>
                  </a:cubicBezTo>
                  <a:lnTo>
                    <a:pt x="2072" y="3048"/>
                  </a:lnTo>
                  <a:lnTo>
                    <a:pt x="2072" y="3108"/>
                  </a:lnTo>
                  <a:lnTo>
                    <a:pt x="524" y="3108"/>
                  </a:lnTo>
                  <a:cubicBezTo>
                    <a:pt x="322" y="3108"/>
                    <a:pt x="167" y="3251"/>
                    <a:pt x="131" y="3441"/>
                  </a:cubicBezTo>
                  <a:lnTo>
                    <a:pt x="0" y="4834"/>
                  </a:lnTo>
                  <a:cubicBezTo>
                    <a:pt x="0" y="4870"/>
                    <a:pt x="12" y="4918"/>
                    <a:pt x="48" y="4953"/>
                  </a:cubicBezTo>
                  <a:cubicBezTo>
                    <a:pt x="72" y="4977"/>
                    <a:pt x="119" y="5013"/>
                    <a:pt x="167" y="5013"/>
                  </a:cubicBezTo>
                  <a:lnTo>
                    <a:pt x="262" y="5013"/>
                  </a:lnTo>
                  <a:lnTo>
                    <a:pt x="262" y="5822"/>
                  </a:lnTo>
                  <a:cubicBezTo>
                    <a:pt x="262" y="5918"/>
                    <a:pt x="345" y="5989"/>
                    <a:pt x="429" y="5989"/>
                  </a:cubicBezTo>
                  <a:cubicBezTo>
                    <a:pt x="524" y="5989"/>
                    <a:pt x="596" y="5918"/>
                    <a:pt x="596" y="5822"/>
                  </a:cubicBezTo>
                  <a:lnTo>
                    <a:pt x="596" y="5013"/>
                  </a:lnTo>
                  <a:lnTo>
                    <a:pt x="2965" y="5013"/>
                  </a:lnTo>
                  <a:lnTo>
                    <a:pt x="2965" y="7763"/>
                  </a:lnTo>
                  <a:lnTo>
                    <a:pt x="2798" y="7930"/>
                  </a:lnTo>
                  <a:cubicBezTo>
                    <a:pt x="2762" y="7954"/>
                    <a:pt x="2751" y="8001"/>
                    <a:pt x="2751" y="8049"/>
                  </a:cubicBezTo>
                  <a:lnTo>
                    <a:pt x="2751" y="8537"/>
                  </a:lnTo>
                  <a:lnTo>
                    <a:pt x="2489" y="8537"/>
                  </a:lnTo>
                  <a:cubicBezTo>
                    <a:pt x="2393" y="8537"/>
                    <a:pt x="2322" y="8608"/>
                    <a:pt x="2322" y="8704"/>
                  </a:cubicBezTo>
                  <a:lnTo>
                    <a:pt x="2322" y="9323"/>
                  </a:lnTo>
                  <a:lnTo>
                    <a:pt x="643" y="9323"/>
                  </a:lnTo>
                  <a:lnTo>
                    <a:pt x="643" y="6584"/>
                  </a:lnTo>
                  <a:cubicBezTo>
                    <a:pt x="643" y="6501"/>
                    <a:pt x="560" y="6418"/>
                    <a:pt x="476" y="6418"/>
                  </a:cubicBezTo>
                  <a:cubicBezTo>
                    <a:pt x="381" y="6418"/>
                    <a:pt x="310" y="6501"/>
                    <a:pt x="310" y="6584"/>
                  </a:cubicBezTo>
                  <a:lnTo>
                    <a:pt x="310" y="10275"/>
                  </a:lnTo>
                  <a:cubicBezTo>
                    <a:pt x="310" y="10371"/>
                    <a:pt x="381" y="10442"/>
                    <a:pt x="476" y="10442"/>
                  </a:cubicBezTo>
                  <a:lnTo>
                    <a:pt x="10740" y="10442"/>
                  </a:lnTo>
                  <a:cubicBezTo>
                    <a:pt x="10835" y="10442"/>
                    <a:pt x="10906" y="10371"/>
                    <a:pt x="10906" y="10275"/>
                  </a:cubicBezTo>
                  <a:lnTo>
                    <a:pt x="10906" y="8347"/>
                  </a:lnTo>
                  <a:cubicBezTo>
                    <a:pt x="10906" y="8251"/>
                    <a:pt x="10835" y="8180"/>
                    <a:pt x="10740" y="8180"/>
                  </a:cubicBezTo>
                  <a:cubicBezTo>
                    <a:pt x="10656" y="8180"/>
                    <a:pt x="10585" y="8251"/>
                    <a:pt x="10585" y="8347"/>
                  </a:cubicBezTo>
                  <a:lnTo>
                    <a:pt x="10585" y="9323"/>
                  </a:lnTo>
                  <a:lnTo>
                    <a:pt x="8894" y="9323"/>
                  </a:lnTo>
                  <a:lnTo>
                    <a:pt x="8894" y="8704"/>
                  </a:lnTo>
                  <a:cubicBezTo>
                    <a:pt x="8894" y="8608"/>
                    <a:pt x="8823" y="8537"/>
                    <a:pt x="8739" y="8537"/>
                  </a:cubicBezTo>
                  <a:lnTo>
                    <a:pt x="8466" y="8537"/>
                  </a:lnTo>
                  <a:lnTo>
                    <a:pt x="8466" y="8049"/>
                  </a:lnTo>
                  <a:cubicBezTo>
                    <a:pt x="8466" y="8001"/>
                    <a:pt x="8454" y="7954"/>
                    <a:pt x="8418" y="7930"/>
                  </a:cubicBezTo>
                  <a:lnTo>
                    <a:pt x="8239" y="7763"/>
                  </a:lnTo>
                  <a:lnTo>
                    <a:pt x="8239" y="5013"/>
                  </a:lnTo>
                  <a:lnTo>
                    <a:pt x="10549" y="5013"/>
                  </a:lnTo>
                  <a:lnTo>
                    <a:pt x="10549" y="7585"/>
                  </a:lnTo>
                  <a:cubicBezTo>
                    <a:pt x="10549" y="7668"/>
                    <a:pt x="10621" y="7751"/>
                    <a:pt x="10716" y="7751"/>
                  </a:cubicBezTo>
                  <a:cubicBezTo>
                    <a:pt x="10799" y="7751"/>
                    <a:pt x="10883" y="7668"/>
                    <a:pt x="10883" y="7585"/>
                  </a:cubicBezTo>
                  <a:lnTo>
                    <a:pt x="10883" y="5013"/>
                  </a:lnTo>
                  <a:lnTo>
                    <a:pt x="10978" y="5013"/>
                  </a:lnTo>
                  <a:cubicBezTo>
                    <a:pt x="11025" y="5013"/>
                    <a:pt x="11073" y="4989"/>
                    <a:pt x="11097" y="4953"/>
                  </a:cubicBezTo>
                  <a:cubicBezTo>
                    <a:pt x="11133" y="4906"/>
                    <a:pt x="11144" y="4858"/>
                    <a:pt x="11133" y="4810"/>
                  </a:cubicBezTo>
                  <a:lnTo>
                    <a:pt x="11002" y="3429"/>
                  </a:lnTo>
                  <a:cubicBezTo>
                    <a:pt x="10978" y="3239"/>
                    <a:pt x="10811" y="3084"/>
                    <a:pt x="10609" y="3084"/>
                  </a:cubicBezTo>
                  <a:lnTo>
                    <a:pt x="9061" y="3084"/>
                  </a:lnTo>
                  <a:lnTo>
                    <a:pt x="9061" y="3024"/>
                  </a:lnTo>
                  <a:lnTo>
                    <a:pt x="9061" y="2667"/>
                  </a:lnTo>
                  <a:cubicBezTo>
                    <a:pt x="9061" y="2465"/>
                    <a:pt x="8882" y="2286"/>
                    <a:pt x="8680" y="2286"/>
                  </a:cubicBezTo>
                  <a:lnTo>
                    <a:pt x="8537" y="2286"/>
                  </a:lnTo>
                  <a:lnTo>
                    <a:pt x="5668" y="36"/>
                  </a:lnTo>
                  <a:cubicBezTo>
                    <a:pt x="5638" y="12"/>
                    <a:pt x="5602" y="0"/>
                    <a:pt x="55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5" name="Google Shape;10595;p59"/>
            <p:cNvSpPr/>
            <p:nvPr/>
          </p:nvSpPr>
          <p:spPr>
            <a:xfrm>
              <a:off x="2897827" y="2604753"/>
              <a:ext cx="48197" cy="64506"/>
            </a:xfrm>
            <a:custGeom>
              <a:avLst/>
              <a:gdLst/>
              <a:ahLst/>
              <a:cxnLst/>
              <a:rect l="l" t="t" r="r" b="b"/>
              <a:pathLst>
                <a:path w="1513" h="2025" extrusionOk="0">
                  <a:moveTo>
                    <a:pt x="762" y="334"/>
                  </a:moveTo>
                  <a:cubicBezTo>
                    <a:pt x="989" y="334"/>
                    <a:pt x="1191" y="524"/>
                    <a:pt x="1191" y="762"/>
                  </a:cubicBezTo>
                  <a:lnTo>
                    <a:pt x="1191" y="1703"/>
                  </a:lnTo>
                  <a:lnTo>
                    <a:pt x="334" y="1703"/>
                  </a:lnTo>
                  <a:lnTo>
                    <a:pt x="334" y="762"/>
                  </a:lnTo>
                  <a:cubicBezTo>
                    <a:pt x="334" y="524"/>
                    <a:pt x="524" y="334"/>
                    <a:pt x="762" y="334"/>
                  </a:cubicBezTo>
                  <a:close/>
                  <a:moveTo>
                    <a:pt x="750" y="0"/>
                  </a:moveTo>
                  <a:cubicBezTo>
                    <a:pt x="334" y="0"/>
                    <a:pt x="0" y="346"/>
                    <a:pt x="0" y="762"/>
                  </a:cubicBezTo>
                  <a:lnTo>
                    <a:pt x="0" y="1858"/>
                  </a:lnTo>
                  <a:cubicBezTo>
                    <a:pt x="0" y="1953"/>
                    <a:pt x="72" y="2024"/>
                    <a:pt x="155" y="2024"/>
                  </a:cubicBezTo>
                  <a:lnTo>
                    <a:pt x="1346" y="2024"/>
                  </a:lnTo>
                  <a:cubicBezTo>
                    <a:pt x="1441" y="2024"/>
                    <a:pt x="1512" y="1953"/>
                    <a:pt x="1512" y="1858"/>
                  </a:cubicBezTo>
                  <a:lnTo>
                    <a:pt x="1512" y="762"/>
                  </a:lnTo>
                  <a:cubicBezTo>
                    <a:pt x="1512" y="346"/>
                    <a:pt x="1167" y="0"/>
                    <a:pt x="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6" name="Google Shape;10596;p59"/>
            <p:cNvSpPr/>
            <p:nvPr/>
          </p:nvSpPr>
          <p:spPr>
            <a:xfrm>
              <a:off x="2775695" y="2551650"/>
              <a:ext cx="51223" cy="51223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310"/>
                  </a:moveTo>
                  <a:cubicBezTo>
                    <a:pt x="1060" y="310"/>
                    <a:pt x="1286" y="524"/>
                    <a:pt x="1286" y="786"/>
                  </a:cubicBezTo>
                  <a:cubicBezTo>
                    <a:pt x="1263" y="1060"/>
                    <a:pt x="1060" y="1262"/>
                    <a:pt x="810" y="1262"/>
                  </a:cubicBezTo>
                  <a:cubicBezTo>
                    <a:pt x="560" y="1262"/>
                    <a:pt x="334" y="1060"/>
                    <a:pt x="334" y="786"/>
                  </a:cubicBezTo>
                  <a:cubicBezTo>
                    <a:pt x="334" y="536"/>
                    <a:pt x="536" y="310"/>
                    <a:pt x="810" y="310"/>
                  </a:cubicBezTo>
                  <a:close/>
                  <a:moveTo>
                    <a:pt x="810" y="0"/>
                  </a:moveTo>
                  <a:cubicBezTo>
                    <a:pt x="358" y="0"/>
                    <a:pt x="1" y="358"/>
                    <a:pt x="1" y="810"/>
                  </a:cubicBezTo>
                  <a:cubicBezTo>
                    <a:pt x="1" y="1251"/>
                    <a:pt x="358" y="1608"/>
                    <a:pt x="810" y="1608"/>
                  </a:cubicBezTo>
                  <a:cubicBezTo>
                    <a:pt x="1251" y="1608"/>
                    <a:pt x="1608" y="1251"/>
                    <a:pt x="1608" y="810"/>
                  </a:cubicBezTo>
                  <a:cubicBezTo>
                    <a:pt x="1596" y="358"/>
                    <a:pt x="1239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97" name="Google Shape;10597;p59"/>
          <p:cNvGrpSpPr/>
          <p:nvPr/>
        </p:nvGrpSpPr>
        <p:grpSpPr>
          <a:xfrm>
            <a:off x="6657194" y="2434073"/>
            <a:ext cx="375507" cy="367925"/>
            <a:chOff x="6657194" y="2434073"/>
            <a:chExt cx="375507" cy="367925"/>
          </a:xfrm>
        </p:grpSpPr>
        <p:sp>
          <p:nvSpPr>
            <p:cNvPr id="10598" name="Google Shape;10598;p59"/>
            <p:cNvSpPr/>
            <p:nvPr/>
          </p:nvSpPr>
          <p:spPr>
            <a:xfrm>
              <a:off x="6657194" y="2434073"/>
              <a:ext cx="190780" cy="367925"/>
            </a:xfrm>
            <a:custGeom>
              <a:avLst/>
              <a:gdLst/>
              <a:ahLst/>
              <a:cxnLst/>
              <a:rect l="l" t="t" r="r" b="b"/>
              <a:pathLst>
                <a:path w="5989" h="11550" extrusionOk="0">
                  <a:moveTo>
                    <a:pt x="3024" y="346"/>
                  </a:moveTo>
                  <a:cubicBezTo>
                    <a:pt x="4465" y="346"/>
                    <a:pt x="5644" y="1524"/>
                    <a:pt x="5644" y="2965"/>
                  </a:cubicBezTo>
                  <a:lnTo>
                    <a:pt x="5644" y="5596"/>
                  </a:lnTo>
                  <a:lnTo>
                    <a:pt x="2977" y="5596"/>
                  </a:lnTo>
                  <a:cubicBezTo>
                    <a:pt x="2893" y="5596"/>
                    <a:pt x="2810" y="5668"/>
                    <a:pt x="2810" y="5763"/>
                  </a:cubicBezTo>
                  <a:cubicBezTo>
                    <a:pt x="2810" y="5846"/>
                    <a:pt x="2893" y="5930"/>
                    <a:pt x="2977" y="5930"/>
                  </a:cubicBezTo>
                  <a:lnTo>
                    <a:pt x="5644" y="5930"/>
                  </a:lnTo>
                  <a:lnTo>
                    <a:pt x="5644" y="8561"/>
                  </a:lnTo>
                  <a:cubicBezTo>
                    <a:pt x="5644" y="10002"/>
                    <a:pt x="4465" y="11180"/>
                    <a:pt x="3024" y="11180"/>
                  </a:cubicBezTo>
                  <a:lnTo>
                    <a:pt x="2965" y="11180"/>
                  </a:lnTo>
                  <a:cubicBezTo>
                    <a:pt x="1524" y="11180"/>
                    <a:pt x="345" y="10002"/>
                    <a:pt x="345" y="8561"/>
                  </a:cubicBezTo>
                  <a:lnTo>
                    <a:pt x="345" y="5930"/>
                  </a:lnTo>
                  <a:lnTo>
                    <a:pt x="2119" y="5930"/>
                  </a:lnTo>
                  <a:cubicBezTo>
                    <a:pt x="2203" y="5930"/>
                    <a:pt x="2274" y="5846"/>
                    <a:pt x="2274" y="5763"/>
                  </a:cubicBezTo>
                  <a:cubicBezTo>
                    <a:pt x="2274" y="5668"/>
                    <a:pt x="2203" y="5596"/>
                    <a:pt x="2119" y="5596"/>
                  </a:cubicBezTo>
                  <a:lnTo>
                    <a:pt x="345" y="5596"/>
                  </a:lnTo>
                  <a:lnTo>
                    <a:pt x="345" y="2965"/>
                  </a:lnTo>
                  <a:cubicBezTo>
                    <a:pt x="345" y="1524"/>
                    <a:pt x="1524" y="346"/>
                    <a:pt x="2965" y="346"/>
                  </a:cubicBezTo>
                  <a:close/>
                  <a:moveTo>
                    <a:pt x="2965" y="0"/>
                  </a:moveTo>
                  <a:cubicBezTo>
                    <a:pt x="1322" y="0"/>
                    <a:pt x="0" y="1322"/>
                    <a:pt x="0" y="2965"/>
                  </a:cubicBezTo>
                  <a:lnTo>
                    <a:pt x="0" y="8585"/>
                  </a:lnTo>
                  <a:cubicBezTo>
                    <a:pt x="0" y="10228"/>
                    <a:pt x="1322" y="11550"/>
                    <a:pt x="2965" y="11550"/>
                  </a:cubicBezTo>
                  <a:lnTo>
                    <a:pt x="3024" y="11550"/>
                  </a:lnTo>
                  <a:cubicBezTo>
                    <a:pt x="4655" y="11550"/>
                    <a:pt x="5989" y="10228"/>
                    <a:pt x="5989" y="8585"/>
                  </a:cubicBezTo>
                  <a:lnTo>
                    <a:pt x="5989" y="2953"/>
                  </a:lnTo>
                  <a:cubicBezTo>
                    <a:pt x="5965" y="1322"/>
                    <a:pt x="4644" y="0"/>
                    <a:pt x="3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9" name="Google Shape;10599;p59"/>
            <p:cNvSpPr/>
            <p:nvPr/>
          </p:nvSpPr>
          <p:spPr>
            <a:xfrm>
              <a:off x="6854409" y="2464399"/>
              <a:ext cx="178292" cy="162365"/>
            </a:xfrm>
            <a:custGeom>
              <a:avLst/>
              <a:gdLst/>
              <a:ahLst/>
              <a:cxnLst/>
              <a:rect l="l" t="t" r="r" b="b"/>
              <a:pathLst>
                <a:path w="5597" h="5097" extrusionOk="0">
                  <a:moveTo>
                    <a:pt x="2807" y="346"/>
                  </a:moveTo>
                  <a:cubicBezTo>
                    <a:pt x="3371" y="346"/>
                    <a:pt x="3933" y="564"/>
                    <a:pt x="4358" y="1001"/>
                  </a:cubicBezTo>
                  <a:cubicBezTo>
                    <a:pt x="5180" y="1835"/>
                    <a:pt x="5227" y="3132"/>
                    <a:pt x="4477" y="3990"/>
                  </a:cubicBezTo>
                  <a:lnTo>
                    <a:pt x="3441" y="2954"/>
                  </a:lnTo>
                  <a:cubicBezTo>
                    <a:pt x="3411" y="2924"/>
                    <a:pt x="3367" y="2909"/>
                    <a:pt x="3322" y="2909"/>
                  </a:cubicBezTo>
                  <a:cubicBezTo>
                    <a:pt x="3278" y="2909"/>
                    <a:pt x="3233" y="2924"/>
                    <a:pt x="3203" y="2954"/>
                  </a:cubicBezTo>
                  <a:cubicBezTo>
                    <a:pt x="3144" y="3013"/>
                    <a:pt x="3144" y="3132"/>
                    <a:pt x="3203" y="3192"/>
                  </a:cubicBezTo>
                  <a:lnTo>
                    <a:pt x="4239" y="4228"/>
                  </a:lnTo>
                  <a:cubicBezTo>
                    <a:pt x="3831" y="4584"/>
                    <a:pt x="3321" y="4763"/>
                    <a:pt x="2810" y="4763"/>
                  </a:cubicBezTo>
                  <a:cubicBezTo>
                    <a:pt x="2246" y="4763"/>
                    <a:pt x="1681" y="4546"/>
                    <a:pt x="1250" y="4109"/>
                  </a:cubicBezTo>
                  <a:cubicBezTo>
                    <a:pt x="417" y="3287"/>
                    <a:pt x="393" y="1977"/>
                    <a:pt x="1131" y="1120"/>
                  </a:cubicBezTo>
                  <a:lnTo>
                    <a:pt x="1131" y="1120"/>
                  </a:lnTo>
                  <a:lnTo>
                    <a:pt x="2679" y="2668"/>
                  </a:lnTo>
                  <a:cubicBezTo>
                    <a:pt x="2709" y="2698"/>
                    <a:pt x="2754" y="2713"/>
                    <a:pt x="2798" y="2713"/>
                  </a:cubicBezTo>
                  <a:cubicBezTo>
                    <a:pt x="2843" y="2713"/>
                    <a:pt x="2888" y="2698"/>
                    <a:pt x="2917" y="2668"/>
                  </a:cubicBezTo>
                  <a:cubicBezTo>
                    <a:pt x="2977" y="2608"/>
                    <a:pt x="2977" y="2489"/>
                    <a:pt x="2917" y="2430"/>
                  </a:cubicBezTo>
                  <a:lnTo>
                    <a:pt x="1370" y="882"/>
                  </a:lnTo>
                  <a:cubicBezTo>
                    <a:pt x="1783" y="525"/>
                    <a:pt x="2296" y="346"/>
                    <a:pt x="2807" y="346"/>
                  </a:cubicBezTo>
                  <a:close/>
                  <a:moveTo>
                    <a:pt x="2803" y="1"/>
                  </a:moveTo>
                  <a:cubicBezTo>
                    <a:pt x="2152" y="1"/>
                    <a:pt x="1501" y="251"/>
                    <a:pt x="1000" y="751"/>
                  </a:cubicBezTo>
                  <a:cubicBezTo>
                    <a:pt x="0" y="1739"/>
                    <a:pt x="0" y="3347"/>
                    <a:pt x="1000" y="4347"/>
                  </a:cubicBezTo>
                  <a:cubicBezTo>
                    <a:pt x="1501" y="4847"/>
                    <a:pt x="2152" y="5097"/>
                    <a:pt x="2803" y="5097"/>
                  </a:cubicBezTo>
                  <a:cubicBezTo>
                    <a:pt x="3453" y="5097"/>
                    <a:pt x="4102" y="4847"/>
                    <a:pt x="4596" y="4347"/>
                  </a:cubicBezTo>
                  <a:cubicBezTo>
                    <a:pt x="5596" y="3347"/>
                    <a:pt x="5596" y="1739"/>
                    <a:pt x="4596" y="751"/>
                  </a:cubicBezTo>
                  <a:cubicBezTo>
                    <a:pt x="4102" y="251"/>
                    <a:pt x="3453" y="1"/>
                    <a:pt x="28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0" name="Google Shape;10600;p59"/>
            <p:cNvSpPr/>
            <p:nvPr/>
          </p:nvSpPr>
          <p:spPr>
            <a:xfrm>
              <a:off x="6854409" y="2631288"/>
              <a:ext cx="177528" cy="162365"/>
            </a:xfrm>
            <a:custGeom>
              <a:avLst/>
              <a:gdLst/>
              <a:ahLst/>
              <a:cxnLst/>
              <a:rect l="l" t="t" r="r" b="b"/>
              <a:pathLst>
                <a:path w="5573" h="5097" extrusionOk="0">
                  <a:moveTo>
                    <a:pt x="2805" y="338"/>
                  </a:moveTo>
                  <a:cubicBezTo>
                    <a:pt x="3314" y="338"/>
                    <a:pt x="3821" y="515"/>
                    <a:pt x="4227" y="870"/>
                  </a:cubicBezTo>
                  <a:lnTo>
                    <a:pt x="1120" y="3977"/>
                  </a:lnTo>
                  <a:cubicBezTo>
                    <a:pt x="393" y="3108"/>
                    <a:pt x="417" y="1799"/>
                    <a:pt x="1239" y="989"/>
                  </a:cubicBezTo>
                  <a:cubicBezTo>
                    <a:pt x="1671" y="556"/>
                    <a:pt x="2239" y="338"/>
                    <a:pt x="2805" y="338"/>
                  </a:cubicBezTo>
                  <a:close/>
                  <a:moveTo>
                    <a:pt x="2803" y="1"/>
                  </a:moveTo>
                  <a:cubicBezTo>
                    <a:pt x="2152" y="1"/>
                    <a:pt x="1501" y="251"/>
                    <a:pt x="1000" y="751"/>
                  </a:cubicBezTo>
                  <a:cubicBezTo>
                    <a:pt x="0" y="1739"/>
                    <a:pt x="0" y="3346"/>
                    <a:pt x="1000" y="4346"/>
                  </a:cubicBezTo>
                  <a:cubicBezTo>
                    <a:pt x="1501" y="4847"/>
                    <a:pt x="2152" y="5097"/>
                    <a:pt x="2803" y="5097"/>
                  </a:cubicBezTo>
                  <a:cubicBezTo>
                    <a:pt x="3453" y="5097"/>
                    <a:pt x="4102" y="4847"/>
                    <a:pt x="4596" y="4346"/>
                  </a:cubicBezTo>
                  <a:cubicBezTo>
                    <a:pt x="4656" y="4287"/>
                    <a:pt x="4656" y="4168"/>
                    <a:pt x="4596" y="4108"/>
                  </a:cubicBezTo>
                  <a:cubicBezTo>
                    <a:pt x="4566" y="4079"/>
                    <a:pt x="4522" y="4064"/>
                    <a:pt x="4477" y="4064"/>
                  </a:cubicBezTo>
                  <a:cubicBezTo>
                    <a:pt x="4432" y="4064"/>
                    <a:pt x="4388" y="4079"/>
                    <a:pt x="4358" y="4108"/>
                  </a:cubicBezTo>
                  <a:cubicBezTo>
                    <a:pt x="3933" y="4540"/>
                    <a:pt x="3370" y="4754"/>
                    <a:pt x="2806" y="4754"/>
                  </a:cubicBezTo>
                  <a:cubicBezTo>
                    <a:pt x="2295" y="4754"/>
                    <a:pt x="1783" y="4578"/>
                    <a:pt x="1370" y="4227"/>
                  </a:cubicBezTo>
                  <a:lnTo>
                    <a:pt x="2417" y="3180"/>
                  </a:lnTo>
                  <a:lnTo>
                    <a:pt x="4477" y="1120"/>
                  </a:lnTo>
                  <a:cubicBezTo>
                    <a:pt x="5060" y="1799"/>
                    <a:pt x="5180" y="2775"/>
                    <a:pt x="4763" y="3573"/>
                  </a:cubicBezTo>
                  <a:cubicBezTo>
                    <a:pt x="4715" y="3668"/>
                    <a:pt x="4751" y="3751"/>
                    <a:pt x="4834" y="3799"/>
                  </a:cubicBezTo>
                  <a:cubicBezTo>
                    <a:pt x="4863" y="3813"/>
                    <a:pt x="4890" y="3820"/>
                    <a:pt x="4916" y="3820"/>
                  </a:cubicBezTo>
                  <a:cubicBezTo>
                    <a:pt x="4976" y="3820"/>
                    <a:pt x="5027" y="3782"/>
                    <a:pt x="5060" y="3715"/>
                  </a:cubicBezTo>
                  <a:cubicBezTo>
                    <a:pt x="5572" y="2739"/>
                    <a:pt x="5406" y="1537"/>
                    <a:pt x="4596" y="751"/>
                  </a:cubicBezTo>
                  <a:cubicBezTo>
                    <a:pt x="4102" y="251"/>
                    <a:pt x="3453" y="1"/>
                    <a:pt x="28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01" name="Google Shape;10601;p59"/>
          <p:cNvGrpSpPr/>
          <p:nvPr/>
        </p:nvGrpSpPr>
        <p:grpSpPr>
          <a:xfrm>
            <a:off x="7101317" y="2441655"/>
            <a:ext cx="367925" cy="352380"/>
            <a:chOff x="7101317" y="2441655"/>
            <a:chExt cx="367925" cy="352380"/>
          </a:xfrm>
        </p:grpSpPr>
        <p:sp>
          <p:nvSpPr>
            <p:cNvPr id="10602" name="Google Shape;10602;p59"/>
            <p:cNvSpPr/>
            <p:nvPr/>
          </p:nvSpPr>
          <p:spPr>
            <a:xfrm>
              <a:off x="7101317" y="2441655"/>
              <a:ext cx="367925" cy="352380"/>
            </a:xfrm>
            <a:custGeom>
              <a:avLst/>
              <a:gdLst/>
              <a:ahLst/>
              <a:cxnLst/>
              <a:rect l="l" t="t" r="r" b="b"/>
              <a:pathLst>
                <a:path w="11550" h="11062" extrusionOk="0">
                  <a:moveTo>
                    <a:pt x="7061" y="334"/>
                  </a:moveTo>
                  <a:cubicBezTo>
                    <a:pt x="7799" y="334"/>
                    <a:pt x="8406" y="941"/>
                    <a:pt x="8406" y="1679"/>
                  </a:cubicBezTo>
                  <a:lnTo>
                    <a:pt x="8406" y="3108"/>
                  </a:lnTo>
                  <a:lnTo>
                    <a:pt x="7906" y="3108"/>
                  </a:lnTo>
                  <a:lnTo>
                    <a:pt x="7906" y="1679"/>
                  </a:lnTo>
                  <a:cubicBezTo>
                    <a:pt x="7906" y="1227"/>
                    <a:pt x="7537" y="834"/>
                    <a:pt x="7061" y="834"/>
                  </a:cubicBezTo>
                  <a:lnTo>
                    <a:pt x="4465" y="834"/>
                  </a:lnTo>
                  <a:cubicBezTo>
                    <a:pt x="4001" y="834"/>
                    <a:pt x="3620" y="1203"/>
                    <a:pt x="3620" y="1679"/>
                  </a:cubicBezTo>
                  <a:lnTo>
                    <a:pt x="3620" y="2429"/>
                  </a:lnTo>
                  <a:cubicBezTo>
                    <a:pt x="3620" y="2513"/>
                    <a:pt x="3691" y="2596"/>
                    <a:pt x="3786" y="2596"/>
                  </a:cubicBezTo>
                  <a:cubicBezTo>
                    <a:pt x="3870" y="2596"/>
                    <a:pt x="3941" y="2513"/>
                    <a:pt x="3941" y="2429"/>
                  </a:cubicBezTo>
                  <a:lnTo>
                    <a:pt x="3941" y="1679"/>
                  </a:lnTo>
                  <a:cubicBezTo>
                    <a:pt x="3941" y="1406"/>
                    <a:pt x="4167" y="1179"/>
                    <a:pt x="4453" y="1179"/>
                  </a:cubicBezTo>
                  <a:lnTo>
                    <a:pt x="7037" y="1179"/>
                  </a:lnTo>
                  <a:cubicBezTo>
                    <a:pt x="7323" y="1179"/>
                    <a:pt x="7549" y="1406"/>
                    <a:pt x="7549" y="1679"/>
                  </a:cubicBezTo>
                  <a:lnTo>
                    <a:pt x="7549" y="3108"/>
                  </a:lnTo>
                  <a:lnTo>
                    <a:pt x="3108" y="3108"/>
                  </a:lnTo>
                  <a:lnTo>
                    <a:pt x="3120" y="1679"/>
                  </a:lnTo>
                  <a:cubicBezTo>
                    <a:pt x="3120" y="941"/>
                    <a:pt x="3727" y="334"/>
                    <a:pt x="4465" y="334"/>
                  </a:cubicBezTo>
                  <a:close/>
                  <a:moveTo>
                    <a:pt x="8382" y="3453"/>
                  </a:moveTo>
                  <a:cubicBezTo>
                    <a:pt x="9930" y="3453"/>
                    <a:pt x="11180" y="4704"/>
                    <a:pt x="11180" y="6251"/>
                  </a:cubicBezTo>
                  <a:lnTo>
                    <a:pt x="11180" y="9252"/>
                  </a:lnTo>
                  <a:lnTo>
                    <a:pt x="2905" y="9252"/>
                  </a:lnTo>
                  <a:cubicBezTo>
                    <a:pt x="2822" y="9252"/>
                    <a:pt x="2739" y="9335"/>
                    <a:pt x="2739" y="9418"/>
                  </a:cubicBezTo>
                  <a:cubicBezTo>
                    <a:pt x="2739" y="9514"/>
                    <a:pt x="2822" y="9585"/>
                    <a:pt x="2905" y="9585"/>
                  </a:cubicBezTo>
                  <a:lnTo>
                    <a:pt x="11180" y="9585"/>
                  </a:lnTo>
                  <a:lnTo>
                    <a:pt x="11180" y="10288"/>
                  </a:lnTo>
                  <a:cubicBezTo>
                    <a:pt x="11168" y="10538"/>
                    <a:pt x="10942" y="10728"/>
                    <a:pt x="10716" y="10728"/>
                  </a:cubicBezTo>
                  <a:cubicBezTo>
                    <a:pt x="10716" y="10716"/>
                    <a:pt x="822" y="10716"/>
                    <a:pt x="774" y="10716"/>
                  </a:cubicBezTo>
                  <a:cubicBezTo>
                    <a:pt x="536" y="10704"/>
                    <a:pt x="334" y="10490"/>
                    <a:pt x="334" y="10240"/>
                  </a:cubicBezTo>
                  <a:lnTo>
                    <a:pt x="334" y="9585"/>
                  </a:lnTo>
                  <a:lnTo>
                    <a:pt x="2072" y="9585"/>
                  </a:lnTo>
                  <a:cubicBezTo>
                    <a:pt x="2167" y="9585"/>
                    <a:pt x="2239" y="9514"/>
                    <a:pt x="2239" y="9418"/>
                  </a:cubicBezTo>
                  <a:cubicBezTo>
                    <a:pt x="2239" y="9335"/>
                    <a:pt x="2167" y="9252"/>
                    <a:pt x="2072" y="9252"/>
                  </a:cubicBezTo>
                  <a:lnTo>
                    <a:pt x="334" y="9252"/>
                  </a:lnTo>
                  <a:lnTo>
                    <a:pt x="334" y="6251"/>
                  </a:lnTo>
                  <a:cubicBezTo>
                    <a:pt x="334" y="4704"/>
                    <a:pt x="1584" y="3453"/>
                    <a:pt x="3132" y="3453"/>
                  </a:cubicBezTo>
                  <a:close/>
                  <a:moveTo>
                    <a:pt x="4465" y="1"/>
                  </a:moveTo>
                  <a:cubicBezTo>
                    <a:pt x="3536" y="1"/>
                    <a:pt x="2786" y="763"/>
                    <a:pt x="2786" y="1679"/>
                  </a:cubicBezTo>
                  <a:lnTo>
                    <a:pt x="2786" y="3132"/>
                  </a:lnTo>
                  <a:cubicBezTo>
                    <a:pt x="1227" y="3311"/>
                    <a:pt x="0" y="4632"/>
                    <a:pt x="0" y="6239"/>
                  </a:cubicBezTo>
                  <a:lnTo>
                    <a:pt x="0" y="10240"/>
                  </a:lnTo>
                  <a:cubicBezTo>
                    <a:pt x="0" y="10692"/>
                    <a:pt x="357" y="11061"/>
                    <a:pt x="822" y="11061"/>
                  </a:cubicBezTo>
                  <a:lnTo>
                    <a:pt x="10740" y="11061"/>
                  </a:lnTo>
                  <a:cubicBezTo>
                    <a:pt x="11180" y="11061"/>
                    <a:pt x="11549" y="10704"/>
                    <a:pt x="11549" y="10240"/>
                  </a:cubicBezTo>
                  <a:lnTo>
                    <a:pt x="11549" y="6239"/>
                  </a:lnTo>
                  <a:cubicBezTo>
                    <a:pt x="11526" y="4632"/>
                    <a:pt x="10299" y="3287"/>
                    <a:pt x="8739" y="3132"/>
                  </a:cubicBezTo>
                  <a:lnTo>
                    <a:pt x="8739" y="1679"/>
                  </a:lnTo>
                  <a:cubicBezTo>
                    <a:pt x="8739" y="751"/>
                    <a:pt x="7977" y="1"/>
                    <a:pt x="7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3" name="Google Shape;10603;p59"/>
            <p:cNvSpPr/>
            <p:nvPr/>
          </p:nvSpPr>
          <p:spPr>
            <a:xfrm>
              <a:off x="7222302" y="2588443"/>
              <a:ext cx="124426" cy="124043"/>
            </a:xfrm>
            <a:custGeom>
              <a:avLst/>
              <a:gdLst/>
              <a:ahLst/>
              <a:cxnLst/>
              <a:rect l="l" t="t" r="r" b="b"/>
              <a:pathLst>
                <a:path w="3906" h="3894" extrusionOk="0">
                  <a:moveTo>
                    <a:pt x="2441" y="334"/>
                  </a:moveTo>
                  <a:lnTo>
                    <a:pt x="2441" y="1286"/>
                  </a:lnTo>
                  <a:cubicBezTo>
                    <a:pt x="2441" y="1381"/>
                    <a:pt x="2513" y="1453"/>
                    <a:pt x="2608" y="1453"/>
                  </a:cubicBezTo>
                  <a:lnTo>
                    <a:pt x="3560" y="1453"/>
                  </a:lnTo>
                  <a:lnTo>
                    <a:pt x="3560" y="2429"/>
                  </a:lnTo>
                  <a:lnTo>
                    <a:pt x="2608" y="2429"/>
                  </a:lnTo>
                  <a:cubicBezTo>
                    <a:pt x="2513" y="2429"/>
                    <a:pt x="2441" y="2513"/>
                    <a:pt x="2441" y="2596"/>
                  </a:cubicBezTo>
                  <a:lnTo>
                    <a:pt x="2441" y="3548"/>
                  </a:lnTo>
                  <a:lnTo>
                    <a:pt x="1465" y="3548"/>
                  </a:lnTo>
                  <a:lnTo>
                    <a:pt x="1465" y="2596"/>
                  </a:lnTo>
                  <a:cubicBezTo>
                    <a:pt x="1465" y="2513"/>
                    <a:pt x="1382" y="2429"/>
                    <a:pt x="1298" y="2429"/>
                  </a:cubicBezTo>
                  <a:lnTo>
                    <a:pt x="346" y="2429"/>
                  </a:lnTo>
                  <a:lnTo>
                    <a:pt x="346" y="1453"/>
                  </a:lnTo>
                  <a:lnTo>
                    <a:pt x="1298" y="1453"/>
                  </a:lnTo>
                  <a:cubicBezTo>
                    <a:pt x="1382" y="1453"/>
                    <a:pt x="1465" y="1381"/>
                    <a:pt x="1465" y="1286"/>
                  </a:cubicBezTo>
                  <a:lnTo>
                    <a:pt x="1465" y="334"/>
                  </a:lnTo>
                  <a:close/>
                  <a:moveTo>
                    <a:pt x="1298" y="0"/>
                  </a:moveTo>
                  <a:cubicBezTo>
                    <a:pt x="1203" y="0"/>
                    <a:pt x="1131" y="84"/>
                    <a:pt x="1131" y="167"/>
                  </a:cubicBezTo>
                  <a:lnTo>
                    <a:pt x="1131" y="1120"/>
                  </a:lnTo>
                  <a:lnTo>
                    <a:pt x="179" y="1120"/>
                  </a:lnTo>
                  <a:cubicBezTo>
                    <a:pt x="96" y="1120"/>
                    <a:pt x="12" y="1191"/>
                    <a:pt x="12" y="1286"/>
                  </a:cubicBezTo>
                  <a:lnTo>
                    <a:pt x="12" y="2608"/>
                  </a:lnTo>
                  <a:cubicBezTo>
                    <a:pt x="0" y="2703"/>
                    <a:pt x="96" y="2774"/>
                    <a:pt x="179" y="2774"/>
                  </a:cubicBezTo>
                  <a:lnTo>
                    <a:pt x="1131" y="2774"/>
                  </a:lnTo>
                  <a:lnTo>
                    <a:pt x="1131" y="3727"/>
                  </a:lnTo>
                  <a:cubicBezTo>
                    <a:pt x="1131" y="3822"/>
                    <a:pt x="1203" y="3894"/>
                    <a:pt x="1298" y="3894"/>
                  </a:cubicBezTo>
                  <a:lnTo>
                    <a:pt x="2620" y="3894"/>
                  </a:lnTo>
                  <a:cubicBezTo>
                    <a:pt x="2715" y="3894"/>
                    <a:pt x="2786" y="3822"/>
                    <a:pt x="2786" y="3727"/>
                  </a:cubicBezTo>
                  <a:lnTo>
                    <a:pt x="2786" y="2774"/>
                  </a:lnTo>
                  <a:lnTo>
                    <a:pt x="3739" y="2774"/>
                  </a:lnTo>
                  <a:cubicBezTo>
                    <a:pt x="3822" y="2774"/>
                    <a:pt x="3906" y="2703"/>
                    <a:pt x="3906" y="2608"/>
                  </a:cubicBezTo>
                  <a:lnTo>
                    <a:pt x="3906" y="1286"/>
                  </a:lnTo>
                  <a:cubicBezTo>
                    <a:pt x="3906" y="1191"/>
                    <a:pt x="3822" y="1120"/>
                    <a:pt x="3739" y="1120"/>
                  </a:cubicBezTo>
                  <a:lnTo>
                    <a:pt x="2786" y="1120"/>
                  </a:lnTo>
                  <a:lnTo>
                    <a:pt x="2786" y="167"/>
                  </a:lnTo>
                  <a:cubicBezTo>
                    <a:pt x="2786" y="84"/>
                    <a:pt x="2715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04" name="Google Shape;10604;p59"/>
          <p:cNvGrpSpPr/>
          <p:nvPr/>
        </p:nvGrpSpPr>
        <p:grpSpPr>
          <a:xfrm>
            <a:off x="5756399" y="2434456"/>
            <a:ext cx="367925" cy="367161"/>
            <a:chOff x="5756399" y="2434456"/>
            <a:chExt cx="367925" cy="367161"/>
          </a:xfrm>
        </p:grpSpPr>
        <p:sp>
          <p:nvSpPr>
            <p:cNvPr id="10605" name="Google Shape;10605;p59"/>
            <p:cNvSpPr/>
            <p:nvPr/>
          </p:nvSpPr>
          <p:spPr>
            <a:xfrm>
              <a:off x="5864865" y="2563023"/>
              <a:ext cx="39882" cy="68297"/>
            </a:xfrm>
            <a:custGeom>
              <a:avLst/>
              <a:gdLst/>
              <a:ahLst/>
              <a:cxnLst/>
              <a:rect l="l" t="t" r="r" b="b"/>
              <a:pathLst>
                <a:path w="1252" h="2144" extrusionOk="0">
                  <a:moveTo>
                    <a:pt x="918" y="334"/>
                  </a:moveTo>
                  <a:lnTo>
                    <a:pt x="918" y="1822"/>
                  </a:lnTo>
                  <a:lnTo>
                    <a:pt x="334" y="1822"/>
                  </a:lnTo>
                  <a:lnTo>
                    <a:pt x="334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1977"/>
                  </a:lnTo>
                  <a:cubicBezTo>
                    <a:pt x="1" y="2072"/>
                    <a:pt x="84" y="2144"/>
                    <a:pt x="168" y="2144"/>
                  </a:cubicBezTo>
                  <a:lnTo>
                    <a:pt x="1096" y="2144"/>
                  </a:lnTo>
                  <a:cubicBezTo>
                    <a:pt x="1180" y="2144"/>
                    <a:pt x="1251" y="2072"/>
                    <a:pt x="1251" y="1977"/>
                  </a:cubicBezTo>
                  <a:lnTo>
                    <a:pt x="1251" y="167"/>
                  </a:lnTo>
                  <a:cubicBezTo>
                    <a:pt x="1251" y="72"/>
                    <a:pt x="1180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6" name="Google Shape;10606;p59"/>
            <p:cNvSpPr/>
            <p:nvPr/>
          </p:nvSpPr>
          <p:spPr>
            <a:xfrm>
              <a:off x="5920261" y="2563023"/>
              <a:ext cx="40233" cy="68297"/>
            </a:xfrm>
            <a:custGeom>
              <a:avLst/>
              <a:gdLst/>
              <a:ahLst/>
              <a:cxnLst/>
              <a:rect l="l" t="t" r="r" b="b"/>
              <a:pathLst>
                <a:path w="1263" h="2144" extrusionOk="0">
                  <a:moveTo>
                    <a:pt x="929" y="334"/>
                  </a:moveTo>
                  <a:lnTo>
                    <a:pt x="929" y="1822"/>
                  </a:lnTo>
                  <a:lnTo>
                    <a:pt x="346" y="1822"/>
                  </a:lnTo>
                  <a:lnTo>
                    <a:pt x="346" y="334"/>
                  </a:lnTo>
                  <a:close/>
                  <a:moveTo>
                    <a:pt x="167" y="1"/>
                  </a:moveTo>
                  <a:cubicBezTo>
                    <a:pt x="84" y="1"/>
                    <a:pt x="12" y="72"/>
                    <a:pt x="12" y="167"/>
                  </a:cubicBezTo>
                  <a:lnTo>
                    <a:pt x="12" y="1977"/>
                  </a:lnTo>
                  <a:cubicBezTo>
                    <a:pt x="0" y="2072"/>
                    <a:pt x="84" y="2144"/>
                    <a:pt x="167" y="2144"/>
                  </a:cubicBezTo>
                  <a:lnTo>
                    <a:pt x="1096" y="2144"/>
                  </a:lnTo>
                  <a:cubicBezTo>
                    <a:pt x="1179" y="2144"/>
                    <a:pt x="1262" y="2072"/>
                    <a:pt x="1262" y="1977"/>
                  </a:cubicBezTo>
                  <a:lnTo>
                    <a:pt x="1262" y="167"/>
                  </a:lnTo>
                  <a:cubicBezTo>
                    <a:pt x="1262" y="72"/>
                    <a:pt x="1179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7" name="Google Shape;10607;p59"/>
            <p:cNvSpPr/>
            <p:nvPr/>
          </p:nvSpPr>
          <p:spPr>
            <a:xfrm>
              <a:off x="5790165" y="2646451"/>
              <a:ext cx="39851" cy="68329"/>
            </a:xfrm>
            <a:custGeom>
              <a:avLst/>
              <a:gdLst/>
              <a:ahLst/>
              <a:cxnLst/>
              <a:rect l="l" t="t" r="r" b="b"/>
              <a:pathLst>
                <a:path w="1251" h="2145" extrusionOk="0">
                  <a:moveTo>
                    <a:pt x="917" y="334"/>
                  </a:moveTo>
                  <a:lnTo>
                    <a:pt x="917" y="1823"/>
                  </a:lnTo>
                  <a:lnTo>
                    <a:pt x="346" y="1823"/>
                  </a:lnTo>
                  <a:lnTo>
                    <a:pt x="346" y="334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977"/>
                  </a:lnTo>
                  <a:cubicBezTo>
                    <a:pt x="0" y="2073"/>
                    <a:pt x="72" y="2144"/>
                    <a:pt x="167" y="2144"/>
                  </a:cubicBezTo>
                  <a:lnTo>
                    <a:pt x="1084" y="2144"/>
                  </a:lnTo>
                  <a:cubicBezTo>
                    <a:pt x="1179" y="2144"/>
                    <a:pt x="1251" y="2073"/>
                    <a:pt x="1251" y="1977"/>
                  </a:cubicBezTo>
                  <a:lnTo>
                    <a:pt x="1251" y="168"/>
                  </a:lnTo>
                  <a:cubicBezTo>
                    <a:pt x="1251" y="72"/>
                    <a:pt x="11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8" name="Google Shape;10608;p59"/>
            <p:cNvSpPr/>
            <p:nvPr/>
          </p:nvSpPr>
          <p:spPr>
            <a:xfrm>
              <a:off x="6050707" y="2646451"/>
              <a:ext cx="39882" cy="68329"/>
            </a:xfrm>
            <a:custGeom>
              <a:avLst/>
              <a:gdLst/>
              <a:ahLst/>
              <a:cxnLst/>
              <a:rect l="l" t="t" r="r" b="b"/>
              <a:pathLst>
                <a:path w="1252" h="2145" extrusionOk="0">
                  <a:moveTo>
                    <a:pt x="930" y="334"/>
                  </a:moveTo>
                  <a:lnTo>
                    <a:pt x="930" y="1823"/>
                  </a:lnTo>
                  <a:lnTo>
                    <a:pt x="346" y="1823"/>
                  </a:lnTo>
                  <a:lnTo>
                    <a:pt x="346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1977"/>
                  </a:lnTo>
                  <a:cubicBezTo>
                    <a:pt x="1" y="2073"/>
                    <a:pt x="72" y="2144"/>
                    <a:pt x="168" y="2144"/>
                  </a:cubicBezTo>
                  <a:lnTo>
                    <a:pt x="1096" y="2144"/>
                  </a:lnTo>
                  <a:cubicBezTo>
                    <a:pt x="1180" y="2144"/>
                    <a:pt x="1251" y="2073"/>
                    <a:pt x="1251" y="1977"/>
                  </a:cubicBezTo>
                  <a:lnTo>
                    <a:pt x="1251" y="168"/>
                  </a:lnTo>
                  <a:cubicBezTo>
                    <a:pt x="1251" y="72"/>
                    <a:pt x="1180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9" name="Google Shape;10609;p59"/>
            <p:cNvSpPr/>
            <p:nvPr/>
          </p:nvSpPr>
          <p:spPr>
            <a:xfrm>
              <a:off x="5976007" y="2563023"/>
              <a:ext cx="39851" cy="68297"/>
            </a:xfrm>
            <a:custGeom>
              <a:avLst/>
              <a:gdLst/>
              <a:ahLst/>
              <a:cxnLst/>
              <a:rect l="l" t="t" r="r" b="b"/>
              <a:pathLst>
                <a:path w="1251" h="2144" extrusionOk="0">
                  <a:moveTo>
                    <a:pt x="917" y="334"/>
                  </a:moveTo>
                  <a:lnTo>
                    <a:pt x="917" y="1822"/>
                  </a:lnTo>
                  <a:lnTo>
                    <a:pt x="334" y="1822"/>
                  </a:lnTo>
                  <a:lnTo>
                    <a:pt x="334" y="334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977"/>
                  </a:lnTo>
                  <a:cubicBezTo>
                    <a:pt x="0" y="2072"/>
                    <a:pt x="72" y="2144"/>
                    <a:pt x="167" y="2144"/>
                  </a:cubicBezTo>
                  <a:lnTo>
                    <a:pt x="1084" y="2144"/>
                  </a:lnTo>
                  <a:cubicBezTo>
                    <a:pt x="1179" y="2144"/>
                    <a:pt x="1251" y="2072"/>
                    <a:pt x="1251" y="1977"/>
                  </a:cubicBezTo>
                  <a:lnTo>
                    <a:pt x="1251" y="167"/>
                  </a:lnTo>
                  <a:cubicBezTo>
                    <a:pt x="1251" y="72"/>
                    <a:pt x="11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0" name="Google Shape;10610;p59"/>
            <p:cNvSpPr/>
            <p:nvPr/>
          </p:nvSpPr>
          <p:spPr>
            <a:xfrm>
              <a:off x="5919114" y="2453027"/>
              <a:ext cx="42877" cy="43673"/>
            </a:xfrm>
            <a:custGeom>
              <a:avLst/>
              <a:gdLst/>
              <a:ahLst/>
              <a:cxnLst/>
              <a:rect l="l" t="t" r="r" b="b"/>
              <a:pathLst>
                <a:path w="1346" h="1371" extrusionOk="0">
                  <a:moveTo>
                    <a:pt x="679" y="1"/>
                  </a:moveTo>
                  <a:cubicBezTo>
                    <a:pt x="596" y="1"/>
                    <a:pt x="524" y="72"/>
                    <a:pt x="524" y="167"/>
                  </a:cubicBezTo>
                  <a:lnTo>
                    <a:pt x="524" y="525"/>
                  </a:lnTo>
                  <a:lnTo>
                    <a:pt x="167" y="525"/>
                  </a:lnTo>
                  <a:cubicBezTo>
                    <a:pt x="72" y="525"/>
                    <a:pt x="1" y="596"/>
                    <a:pt x="1" y="691"/>
                  </a:cubicBezTo>
                  <a:cubicBezTo>
                    <a:pt x="1" y="775"/>
                    <a:pt x="72" y="846"/>
                    <a:pt x="167" y="846"/>
                  </a:cubicBezTo>
                  <a:lnTo>
                    <a:pt x="524" y="846"/>
                  </a:lnTo>
                  <a:lnTo>
                    <a:pt x="501" y="1203"/>
                  </a:lnTo>
                  <a:cubicBezTo>
                    <a:pt x="501" y="1299"/>
                    <a:pt x="584" y="1370"/>
                    <a:pt x="667" y="1370"/>
                  </a:cubicBezTo>
                  <a:cubicBezTo>
                    <a:pt x="751" y="1370"/>
                    <a:pt x="834" y="1299"/>
                    <a:pt x="834" y="1203"/>
                  </a:cubicBezTo>
                  <a:lnTo>
                    <a:pt x="834" y="846"/>
                  </a:lnTo>
                  <a:lnTo>
                    <a:pt x="1191" y="846"/>
                  </a:lnTo>
                  <a:cubicBezTo>
                    <a:pt x="1274" y="846"/>
                    <a:pt x="1346" y="775"/>
                    <a:pt x="1346" y="691"/>
                  </a:cubicBezTo>
                  <a:cubicBezTo>
                    <a:pt x="1346" y="596"/>
                    <a:pt x="1274" y="525"/>
                    <a:pt x="1191" y="525"/>
                  </a:cubicBezTo>
                  <a:lnTo>
                    <a:pt x="846" y="525"/>
                  </a:lnTo>
                  <a:lnTo>
                    <a:pt x="846" y="167"/>
                  </a:lnTo>
                  <a:cubicBezTo>
                    <a:pt x="846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1" name="Google Shape;10611;p59"/>
            <p:cNvSpPr/>
            <p:nvPr/>
          </p:nvSpPr>
          <p:spPr>
            <a:xfrm>
              <a:off x="5756399" y="2434456"/>
              <a:ext cx="367925" cy="367161"/>
            </a:xfrm>
            <a:custGeom>
              <a:avLst/>
              <a:gdLst/>
              <a:ahLst/>
              <a:cxnLst/>
              <a:rect l="l" t="t" r="r" b="b"/>
              <a:pathLst>
                <a:path w="11550" h="11526" extrusionOk="0">
                  <a:moveTo>
                    <a:pt x="7192" y="334"/>
                  </a:moveTo>
                  <a:lnTo>
                    <a:pt x="7192" y="2215"/>
                  </a:lnTo>
                  <a:lnTo>
                    <a:pt x="6287" y="2215"/>
                  </a:lnTo>
                  <a:cubicBezTo>
                    <a:pt x="6192" y="2215"/>
                    <a:pt x="6121" y="2298"/>
                    <a:pt x="6121" y="2382"/>
                  </a:cubicBezTo>
                  <a:cubicBezTo>
                    <a:pt x="6121" y="2477"/>
                    <a:pt x="6192" y="2548"/>
                    <a:pt x="6287" y="2548"/>
                  </a:cubicBezTo>
                  <a:lnTo>
                    <a:pt x="8859" y="2548"/>
                  </a:lnTo>
                  <a:lnTo>
                    <a:pt x="8859" y="2822"/>
                  </a:lnTo>
                  <a:lnTo>
                    <a:pt x="2692" y="2822"/>
                  </a:lnTo>
                  <a:lnTo>
                    <a:pt x="2692" y="2548"/>
                  </a:lnTo>
                  <a:lnTo>
                    <a:pt x="5335" y="2548"/>
                  </a:lnTo>
                  <a:cubicBezTo>
                    <a:pt x="5418" y="2548"/>
                    <a:pt x="5490" y="2477"/>
                    <a:pt x="5490" y="2382"/>
                  </a:cubicBezTo>
                  <a:cubicBezTo>
                    <a:pt x="5490" y="2298"/>
                    <a:pt x="5418" y="2215"/>
                    <a:pt x="5335" y="2215"/>
                  </a:cubicBezTo>
                  <a:lnTo>
                    <a:pt x="4370" y="2215"/>
                  </a:lnTo>
                  <a:lnTo>
                    <a:pt x="4370" y="334"/>
                  </a:lnTo>
                  <a:close/>
                  <a:moveTo>
                    <a:pt x="2787" y="4287"/>
                  </a:moveTo>
                  <a:lnTo>
                    <a:pt x="2787" y="4560"/>
                  </a:lnTo>
                  <a:lnTo>
                    <a:pt x="346" y="4560"/>
                  </a:lnTo>
                  <a:lnTo>
                    <a:pt x="346" y="4287"/>
                  </a:lnTo>
                  <a:close/>
                  <a:moveTo>
                    <a:pt x="7133" y="8037"/>
                  </a:moveTo>
                  <a:lnTo>
                    <a:pt x="7133" y="10537"/>
                  </a:lnTo>
                  <a:lnTo>
                    <a:pt x="5954" y="10537"/>
                  </a:lnTo>
                  <a:lnTo>
                    <a:pt x="5954" y="8037"/>
                  </a:lnTo>
                  <a:close/>
                  <a:moveTo>
                    <a:pt x="8442" y="3156"/>
                  </a:moveTo>
                  <a:lnTo>
                    <a:pt x="8442" y="10537"/>
                  </a:lnTo>
                  <a:lnTo>
                    <a:pt x="7478" y="10537"/>
                  </a:lnTo>
                  <a:lnTo>
                    <a:pt x="7478" y="7859"/>
                  </a:lnTo>
                  <a:cubicBezTo>
                    <a:pt x="7478" y="7775"/>
                    <a:pt x="7395" y="7704"/>
                    <a:pt x="7311" y="7704"/>
                  </a:cubicBezTo>
                  <a:lnTo>
                    <a:pt x="4287" y="7704"/>
                  </a:lnTo>
                  <a:cubicBezTo>
                    <a:pt x="4204" y="7704"/>
                    <a:pt x="4120" y="7775"/>
                    <a:pt x="4120" y="7859"/>
                  </a:cubicBezTo>
                  <a:lnTo>
                    <a:pt x="4120" y="10537"/>
                  </a:lnTo>
                  <a:lnTo>
                    <a:pt x="3156" y="10537"/>
                  </a:lnTo>
                  <a:lnTo>
                    <a:pt x="3132" y="3156"/>
                  </a:lnTo>
                  <a:close/>
                  <a:moveTo>
                    <a:pt x="5609" y="8061"/>
                  </a:moveTo>
                  <a:lnTo>
                    <a:pt x="5609" y="10561"/>
                  </a:lnTo>
                  <a:lnTo>
                    <a:pt x="4442" y="10561"/>
                  </a:lnTo>
                  <a:lnTo>
                    <a:pt x="4442" y="8061"/>
                  </a:lnTo>
                  <a:close/>
                  <a:moveTo>
                    <a:pt x="10966" y="4906"/>
                  </a:moveTo>
                  <a:lnTo>
                    <a:pt x="10966" y="10561"/>
                  </a:lnTo>
                  <a:lnTo>
                    <a:pt x="8764" y="10561"/>
                  </a:lnTo>
                  <a:lnTo>
                    <a:pt x="8764" y="4906"/>
                  </a:lnTo>
                  <a:close/>
                  <a:moveTo>
                    <a:pt x="11205" y="10883"/>
                  </a:moveTo>
                  <a:lnTo>
                    <a:pt x="11205" y="11180"/>
                  </a:lnTo>
                  <a:lnTo>
                    <a:pt x="334" y="11180"/>
                  </a:lnTo>
                  <a:lnTo>
                    <a:pt x="334" y="10883"/>
                  </a:lnTo>
                  <a:close/>
                  <a:moveTo>
                    <a:pt x="4216" y="0"/>
                  </a:moveTo>
                  <a:cubicBezTo>
                    <a:pt x="4120" y="0"/>
                    <a:pt x="4049" y="72"/>
                    <a:pt x="4049" y="167"/>
                  </a:cubicBezTo>
                  <a:lnTo>
                    <a:pt x="4049" y="2239"/>
                  </a:lnTo>
                  <a:lnTo>
                    <a:pt x="2537" y="2239"/>
                  </a:lnTo>
                  <a:cubicBezTo>
                    <a:pt x="2442" y="2239"/>
                    <a:pt x="2370" y="2310"/>
                    <a:pt x="2370" y="2394"/>
                  </a:cubicBezTo>
                  <a:lnTo>
                    <a:pt x="2370" y="3013"/>
                  </a:lnTo>
                  <a:cubicBezTo>
                    <a:pt x="2370" y="3096"/>
                    <a:pt x="2442" y="3179"/>
                    <a:pt x="2537" y="3179"/>
                  </a:cubicBezTo>
                  <a:lnTo>
                    <a:pt x="2787" y="3179"/>
                  </a:lnTo>
                  <a:lnTo>
                    <a:pt x="2787" y="3965"/>
                  </a:lnTo>
                  <a:lnTo>
                    <a:pt x="167" y="3965"/>
                  </a:lnTo>
                  <a:cubicBezTo>
                    <a:pt x="72" y="3965"/>
                    <a:pt x="1" y="4037"/>
                    <a:pt x="1" y="4132"/>
                  </a:cubicBezTo>
                  <a:lnTo>
                    <a:pt x="1" y="4739"/>
                  </a:lnTo>
                  <a:cubicBezTo>
                    <a:pt x="1" y="4822"/>
                    <a:pt x="72" y="4906"/>
                    <a:pt x="167" y="4906"/>
                  </a:cubicBezTo>
                  <a:lnTo>
                    <a:pt x="239" y="4906"/>
                  </a:lnTo>
                  <a:lnTo>
                    <a:pt x="239" y="6013"/>
                  </a:lnTo>
                  <a:cubicBezTo>
                    <a:pt x="239" y="6108"/>
                    <a:pt x="310" y="6180"/>
                    <a:pt x="406" y="6180"/>
                  </a:cubicBezTo>
                  <a:cubicBezTo>
                    <a:pt x="489" y="6180"/>
                    <a:pt x="572" y="6108"/>
                    <a:pt x="572" y="6013"/>
                  </a:cubicBezTo>
                  <a:lnTo>
                    <a:pt x="572" y="4906"/>
                  </a:lnTo>
                  <a:lnTo>
                    <a:pt x="2763" y="4906"/>
                  </a:lnTo>
                  <a:lnTo>
                    <a:pt x="2763" y="10561"/>
                  </a:lnTo>
                  <a:lnTo>
                    <a:pt x="572" y="10561"/>
                  </a:lnTo>
                  <a:lnTo>
                    <a:pt x="572" y="6870"/>
                  </a:lnTo>
                  <a:cubicBezTo>
                    <a:pt x="572" y="6775"/>
                    <a:pt x="489" y="6704"/>
                    <a:pt x="406" y="6704"/>
                  </a:cubicBezTo>
                  <a:cubicBezTo>
                    <a:pt x="310" y="6704"/>
                    <a:pt x="239" y="6775"/>
                    <a:pt x="239" y="6870"/>
                  </a:cubicBezTo>
                  <a:lnTo>
                    <a:pt x="239" y="10561"/>
                  </a:lnTo>
                  <a:lnTo>
                    <a:pt x="167" y="10561"/>
                  </a:lnTo>
                  <a:cubicBezTo>
                    <a:pt x="72" y="10561"/>
                    <a:pt x="1" y="10633"/>
                    <a:pt x="1" y="10716"/>
                  </a:cubicBezTo>
                  <a:lnTo>
                    <a:pt x="1" y="11359"/>
                  </a:lnTo>
                  <a:cubicBezTo>
                    <a:pt x="1" y="11454"/>
                    <a:pt x="72" y="11526"/>
                    <a:pt x="167" y="11526"/>
                  </a:cubicBezTo>
                  <a:lnTo>
                    <a:pt x="11371" y="11526"/>
                  </a:lnTo>
                  <a:cubicBezTo>
                    <a:pt x="11466" y="11526"/>
                    <a:pt x="11538" y="11454"/>
                    <a:pt x="11538" y="11359"/>
                  </a:cubicBezTo>
                  <a:lnTo>
                    <a:pt x="11538" y="10716"/>
                  </a:lnTo>
                  <a:cubicBezTo>
                    <a:pt x="11538" y="10633"/>
                    <a:pt x="11466" y="10561"/>
                    <a:pt x="11371" y="10561"/>
                  </a:cubicBezTo>
                  <a:lnTo>
                    <a:pt x="11300" y="10561"/>
                  </a:lnTo>
                  <a:lnTo>
                    <a:pt x="11300" y="4906"/>
                  </a:lnTo>
                  <a:lnTo>
                    <a:pt x="11383" y="4906"/>
                  </a:lnTo>
                  <a:cubicBezTo>
                    <a:pt x="11478" y="4906"/>
                    <a:pt x="11550" y="4822"/>
                    <a:pt x="11550" y="4739"/>
                  </a:cubicBezTo>
                  <a:lnTo>
                    <a:pt x="11550" y="4132"/>
                  </a:lnTo>
                  <a:cubicBezTo>
                    <a:pt x="11550" y="4037"/>
                    <a:pt x="11478" y="3965"/>
                    <a:pt x="11383" y="3965"/>
                  </a:cubicBezTo>
                  <a:lnTo>
                    <a:pt x="10359" y="3965"/>
                  </a:lnTo>
                  <a:cubicBezTo>
                    <a:pt x="10276" y="3965"/>
                    <a:pt x="10192" y="4037"/>
                    <a:pt x="10192" y="4132"/>
                  </a:cubicBezTo>
                  <a:cubicBezTo>
                    <a:pt x="10192" y="4215"/>
                    <a:pt x="10276" y="4287"/>
                    <a:pt x="10359" y="4287"/>
                  </a:cubicBezTo>
                  <a:lnTo>
                    <a:pt x="11216" y="4287"/>
                  </a:lnTo>
                  <a:lnTo>
                    <a:pt x="11216" y="4560"/>
                  </a:lnTo>
                  <a:lnTo>
                    <a:pt x="8776" y="4560"/>
                  </a:lnTo>
                  <a:lnTo>
                    <a:pt x="8776" y="4287"/>
                  </a:lnTo>
                  <a:lnTo>
                    <a:pt x="9526" y="4287"/>
                  </a:lnTo>
                  <a:cubicBezTo>
                    <a:pt x="9609" y="4287"/>
                    <a:pt x="9692" y="4215"/>
                    <a:pt x="9692" y="4132"/>
                  </a:cubicBezTo>
                  <a:cubicBezTo>
                    <a:pt x="9692" y="4037"/>
                    <a:pt x="9609" y="3965"/>
                    <a:pt x="9526" y="3965"/>
                  </a:cubicBezTo>
                  <a:lnTo>
                    <a:pt x="8776" y="3965"/>
                  </a:lnTo>
                  <a:lnTo>
                    <a:pt x="8776" y="3179"/>
                  </a:lnTo>
                  <a:lnTo>
                    <a:pt x="9038" y="3179"/>
                  </a:lnTo>
                  <a:cubicBezTo>
                    <a:pt x="9121" y="3179"/>
                    <a:pt x="9192" y="3096"/>
                    <a:pt x="9192" y="3013"/>
                  </a:cubicBezTo>
                  <a:lnTo>
                    <a:pt x="9192" y="2394"/>
                  </a:lnTo>
                  <a:cubicBezTo>
                    <a:pt x="9192" y="2310"/>
                    <a:pt x="9121" y="2239"/>
                    <a:pt x="9038" y="2239"/>
                  </a:cubicBezTo>
                  <a:lnTo>
                    <a:pt x="7525" y="2239"/>
                  </a:lnTo>
                  <a:lnTo>
                    <a:pt x="7525" y="167"/>
                  </a:lnTo>
                  <a:cubicBezTo>
                    <a:pt x="7525" y="72"/>
                    <a:pt x="7454" y="0"/>
                    <a:pt x="73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612" name="Google Shape;10612;p59"/>
          <p:cNvSpPr/>
          <p:nvPr/>
        </p:nvSpPr>
        <p:spPr>
          <a:xfrm>
            <a:off x="5304695" y="2434551"/>
            <a:ext cx="368308" cy="366970"/>
          </a:xfrm>
          <a:custGeom>
            <a:avLst/>
            <a:gdLst/>
            <a:ahLst/>
            <a:cxnLst/>
            <a:rect l="l" t="t" r="r" b="b"/>
            <a:pathLst>
              <a:path w="11562" h="11520" extrusionOk="0">
                <a:moveTo>
                  <a:pt x="9204" y="402"/>
                </a:moveTo>
                <a:lnTo>
                  <a:pt x="11145" y="2343"/>
                </a:lnTo>
                <a:lnTo>
                  <a:pt x="11073" y="2414"/>
                </a:lnTo>
                <a:lnTo>
                  <a:pt x="9132" y="474"/>
                </a:lnTo>
                <a:lnTo>
                  <a:pt x="9204" y="402"/>
                </a:lnTo>
                <a:close/>
                <a:moveTo>
                  <a:pt x="7049" y="1712"/>
                </a:moveTo>
                <a:lnTo>
                  <a:pt x="9823" y="4486"/>
                </a:lnTo>
                <a:lnTo>
                  <a:pt x="9668" y="4629"/>
                </a:lnTo>
                <a:lnTo>
                  <a:pt x="6906" y="1855"/>
                </a:lnTo>
                <a:lnTo>
                  <a:pt x="7049" y="1712"/>
                </a:lnTo>
                <a:close/>
                <a:moveTo>
                  <a:pt x="5025" y="4927"/>
                </a:moveTo>
                <a:lnTo>
                  <a:pt x="5025" y="4927"/>
                </a:lnTo>
                <a:cubicBezTo>
                  <a:pt x="5192" y="5022"/>
                  <a:pt x="5465" y="5224"/>
                  <a:pt x="5703" y="5760"/>
                </a:cubicBezTo>
                <a:cubicBezTo>
                  <a:pt x="5965" y="6367"/>
                  <a:pt x="6323" y="6629"/>
                  <a:pt x="6596" y="6724"/>
                </a:cubicBezTo>
                <a:lnTo>
                  <a:pt x="5489" y="7832"/>
                </a:lnTo>
                <a:cubicBezTo>
                  <a:pt x="5048" y="8272"/>
                  <a:pt x="4462" y="8519"/>
                  <a:pt x="3836" y="8519"/>
                </a:cubicBezTo>
                <a:cubicBezTo>
                  <a:pt x="3768" y="8519"/>
                  <a:pt x="3700" y="8516"/>
                  <a:pt x="3632" y="8510"/>
                </a:cubicBezTo>
                <a:cubicBezTo>
                  <a:pt x="3298" y="8487"/>
                  <a:pt x="3048" y="8237"/>
                  <a:pt x="3025" y="7903"/>
                </a:cubicBezTo>
                <a:cubicBezTo>
                  <a:pt x="2977" y="7308"/>
                  <a:pt x="3156" y="6713"/>
                  <a:pt x="3525" y="6248"/>
                </a:cubicBezTo>
                <a:cubicBezTo>
                  <a:pt x="4358" y="7058"/>
                  <a:pt x="4334" y="7117"/>
                  <a:pt x="4465" y="7117"/>
                </a:cubicBezTo>
                <a:cubicBezTo>
                  <a:pt x="4608" y="7117"/>
                  <a:pt x="4691" y="6939"/>
                  <a:pt x="4584" y="6832"/>
                </a:cubicBezTo>
                <a:lnTo>
                  <a:pt x="3763" y="6010"/>
                </a:lnTo>
                <a:lnTo>
                  <a:pt x="4120" y="5653"/>
                </a:lnTo>
                <a:cubicBezTo>
                  <a:pt x="4477" y="5998"/>
                  <a:pt x="4489" y="6093"/>
                  <a:pt x="4608" y="6093"/>
                </a:cubicBezTo>
                <a:cubicBezTo>
                  <a:pt x="4763" y="6093"/>
                  <a:pt x="4834" y="5915"/>
                  <a:pt x="4727" y="5808"/>
                </a:cubicBezTo>
                <a:lnTo>
                  <a:pt x="4358" y="5439"/>
                </a:lnTo>
                <a:lnTo>
                  <a:pt x="4715" y="5081"/>
                </a:lnTo>
                <a:cubicBezTo>
                  <a:pt x="5072" y="5415"/>
                  <a:pt x="5084" y="5510"/>
                  <a:pt x="5203" y="5510"/>
                </a:cubicBezTo>
                <a:cubicBezTo>
                  <a:pt x="5358" y="5510"/>
                  <a:pt x="5430" y="5331"/>
                  <a:pt x="5322" y="5224"/>
                </a:cubicBezTo>
                <a:lnTo>
                  <a:pt x="5025" y="4927"/>
                </a:lnTo>
                <a:close/>
                <a:moveTo>
                  <a:pt x="2751" y="8248"/>
                </a:moveTo>
                <a:cubicBezTo>
                  <a:pt x="2858" y="8487"/>
                  <a:pt x="3048" y="8677"/>
                  <a:pt x="3287" y="8784"/>
                </a:cubicBezTo>
                <a:cubicBezTo>
                  <a:pt x="3036" y="9022"/>
                  <a:pt x="3001" y="9106"/>
                  <a:pt x="2882" y="9106"/>
                </a:cubicBezTo>
                <a:cubicBezTo>
                  <a:pt x="2763" y="9106"/>
                  <a:pt x="2727" y="9010"/>
                  <a:pt x="2477" y="8784"/>
                </a:cubicBezTo>
                <a:cubicBezTo>
                  <a:pt x="2405" y="8713"/>
                  <a:pt x="2405" y="8594"/>
                  <a:pt x="2477" y="8510"/>
                </a:cubicBezTo>
                <a:lnTo>
                  <a:pt x="2751" y="8248"/>
                </a:lnTo>
                <a:close/>
                <a:moveTo>
                  <a:pt x="9216" y="0"/>
                </a:moveTo>
                <a:cubicBezTo>
                  <a:pt x="9171" y="0"/>
                  <a:pt x="9127" y="15"/>
                  <a:pt x="9097" y="45"/>
                </a:cubicBezTo>
                <a:lnTo>
                  <a:pt x="8775" y="355"/>
                </a:lnTo>
                <a:cubicBezTo>
                  <a:pt x="8716" y="414"/>
                  <a:pt x="8716" y="533"/>
                  <a:pt x="8775" y="593"/>
                </a:cubicBezTo>
                <a:lnTo>
                  <a:pt x="9037" y="855"/>
                </a:lnTo>
                <a:lnTo>
                  <a:pt x="8775" y="1105"/>
                </a:lnTo>
                <a:cubicBezTo>
                  <a:pt x="8716" y="1164"/>
                  <a:pt x="8716" y="1283"/>
                  <a:pt x="8775" y="1343"/>
                </a:cubicBezTo>
                <a:cubicBezTo>
                  <a:pt x="8805" y="1373"/>
                  <a:pt x="8850" y="1387"/>
                  <a:pt x="8894" y="1387"/>
                </a:cubicBezTo>
                <a:cubicBezTo>
                  <a:pt x="8939" y="1387"/>
                  <a:pt x="8984" y="1373"/>
                  <a:pt x="9013" y="1343"/>
                </a:cubicBezTo>
                <a:lnTo>
                  <a:pt x="9275" y="1093"/>
                </a:lnTo>
                <a:lnTo>
                  <a:pt x="10466" y="2283"/>
                </a:lnTo>
                <a:lnTo>
                  <a:pt x="9275" y="3474"/>
                </a:lnTo>
                <a:lnTo>
                  <a:pt x="8085" y="2283"/>
                </a:lnTo>
                <a:lnTo>
                  <a:pt x="8406" y="1950"/>
                </a:lnTo>
                <a:cubicBezTo>
                  <a:pt x="8466" y="1890"/>
                  <a:pt x="8466" y="1771"/>
                  <a:pt x="8406" y="1712"/>
                </a:cubicBezTo>
                <a:cubicBezTo>
                  <a:pt x="8376" y="1682"/>
                  <a:pt x="8332" y="1667"/>
                  <a:pt x="8287" y="1667"/>
                </a:cubicBezTo>
                <a:cubicBezTo>
                  <a:pt x="8242" y="1667"/>
                  <a:pt x="8198" y="1682"/>
                  <a:pt x="8168" y="1712"/>
                </a:cubicBezTo>
                <a:lnTo>
                  <a:pt x="7847" y="2045"/>
                </a:lnTo>
                <a:cubicBezTo>
                  <a:pt x="7168" y="1390"/>
                  <a:pt x="7168" y="1331"/>
                  <a:pt x="7049" y="1331"/>
                </a:cubicBezTo>
                <a:cubicBezTo>
                  <a:pt x="6930" y="1331"/>
                  <a:pt x="6906" y="1414"/>
                  <a:pt x="6549" y="1760"/>
                </a:cubicBezTo>
                <a:cubicBezTo>
                  <a:pt x="6489" y="1819"/>
                  <a:pt x="6489" y="1938"/>
                  <a:pt x="6549" y="1998"/>
                </a:cubicBezTo>
                <a:lnTo>
                  <a:pt x="6918" y="2367"/>
                </a:lnTo>
                <a:lnTo>
                  <a:pt x="3346" y="5939"/>
                </a:lnTo>
                <a:cubicBezTo>
                  <a:pt x="2870" y="6462"/>
                  <a:pt x="2620" y="7165"/>
                  <a:pt x="2644" y="7879"/>
                </a:cubicBezTo>
                <a:lnTo>
                  <a:pt x="2215" y="8308"/>
                </a:lnTo>
                <a:cubicBezTo>
                  <a:pt x="2108" y="8403"/>
                  <a:pt x="2072" y="8534"/>
                  <a:pt x="2072" y="8677"/>
                </a:cubicBezTo>
                <a:cubicBezTo>
                  <a:pt x="2072" y="8915"/>
                  <a:pt x="2227" y="9070"/>
                  <a:pt x="2227" y="9070"/>
                </a:cubicBezTo>
                <a:lnTo>
                  <a:pt x="60" y="11237"/>
                </a:lnTo>
                <a:cubicBezTo>
                  <a:pt x="0" y="11296"/>
                  <a:pt x="0" y="11415"/>
                  <a:pt x="60" y="11475"/>
                </a:cubicBezTo>
                <a:cubicBezTo>
                  <a:pt x="90" y="11505"/>
                  <a:pt x="134" y="11520"/>
                  <a:pt x="179" y="11520"/>
                </a:cubicBezTo>
                <a:cubicBezTo>
                  <a:pt x="224" y="11520"/>
                  <a:pt x="268" y="11505"/>
                  <a:pt x="298" y="11475"/>
                </a:cubicBezTo>
                <a:lnTo>
                  <a:pt x="2465" y="9296"/>
                </a:lnTo>
                <a:lnTo>
                  <a:pt x="2477" y="9320"/>
                </a:lnTo>
                <a:cubicBezTo>
                  <a:pt x="2584" y="9421"/>
                  <a:pt x="2718" y="9472"/>
                  <a:pt x="2852" y="9472"/>
                </a:cubicBezTo>
                <a:cubicBezTo>
                  <a:pt x="2986" y="9472"/>
                  <a:pt x="3120" y="9421"/>
                  <a:pt x="3227" y="9320"/>
                </a:cubicBezTo>
                <a:lnTo>
                  <a:pt x="3656" y="8891"/>
                </a:lnTo>
                <a:cubicBezTo>
                  <a:pt x="3685" y="8892"/>
                  <a:pt x="3715" y="8893"/>
                  <a:pt x="3745" y="8893"/>
                </a:cubicBezTo>
                <a:cubicBezTo>
                  <a:pt x="4485" y="8893"/>
                  <a:pt x="5176" y="8609"/>
                  <a:pt x="5680" y="8094"/>
                </a:cubicBezTo>
                <a:lnTo>
                  <a:pt x="7835" y="5939"/>
                </a:lnTo>
                <a:cubicBezTo>
                  <a:pt x="7906" y="5879"/>
                  <a:pt x="7906" y="5760"/>
                  <a:pt x="7835" y="5700"/>
                </a:cubicBezTo>
                <a:cubicBezTo>
                  <a:pt x="7805" y="5671"/>
                  <a:pt x="7760" y="5656"/>
                  <a:pt x="7717" y="5656"/>
                </a:cubicBezTo>
                <a:cubicBezTo>
                  <a:pt x="7674" y="5656"/>
                  <a:pt x="7632" y="5671"/>
                  <a:pt x="7608" y="5700"/>
                </a:cubicBezTo>
                <a:lnTo>
                  <a:pt x="6811" y="6486"/>
                </a:lnTo>
                <a:cubicBezTo>
                  <a:pt x="6668" y="6462"/>
                  <a:pt x="6275" y="6343"/>
                  <a:pt x="5965" y="5641"/>
                </a:cubicBezTo>
                <a:cubicBezTo>
                  <a:pt x="5680" y="5022"/>
                  <a:pt x="5358" y="4748"/>
                  <a:pt x="5120" y="4629"/>
                </a:cubicBezTo>
                <a:lnTo>
                  <a:pt x="5251" y="4498"/>
                </a:lnTo>
                <a:lnTo>
                  <a:pt x="6073" y="5319"/>
                </a:lnTo>
                <a:cubicBezTo>
                  <a:pt x="6102" y="5349"/>
                  <a:pt x="6147" y="5364"/>
                  <a:pt x="6192" y="5364"/>
                </a:cubicBezTo>
                <a:cubicBezTo>
                  <a:pt x="6236" y="5364"/>
                  <a:pt x="6281" y="5349"/>
                  <a:pt x="6311" y="5319"/>
                </a:cubicBezTo>
                <a:cubicBezTo>
                  <a:pt x="6370" y="5260"/>
                  <a:pt x="6370" y="5141"/>
                  <a:pt x="6311" y="5081"/>
                </a:cubicBezTo>
                <a:lnTo>
                  <a:pt x="5489" y="4260"/>
                </a:lnTo>
                <a:lnTo>
                  <a:pt x="5846" y="3903"/>
                </a:lnTo>
                <a:lnTo>
                  <a:pt x="6215" y="4272"/>
                </a:lnTo>
                <a:cubicBezTo>
                  <a:pt x="6245" y="4301"/>
                  <a:pt x="6290" y="4316"/>
                  <a:pt x="6335" y="4316"/>
                </a:cubicBezTo>
                <a:cubicBezTo>
                  <a:pt x="6379" y="4316"/>
                  <a:pt x="6424" y="4301"/>
                  <a:pt x="6454" y="4272"/>
                </a:cubicBezTo>
                <a:cubicBezTo>
                  <a:pt x="6513" y="4212"/>
                  <a:pt x="6513" y="4093"/>
                  <a:pt x="6454" y="4034"/>
                </a:cubicBezTo>
                <a:lnTo>
                  <a:pt x="6084" y="3665"/>
                </a:lnTo>
                <a:lnTo>
                  <a:pt x="6442" y="3307"/>
                </a:lnTo>
                <a:lnTo>
                  <a:pt x="6811" y="3676"/>
                </a:lnTo>
                <a:cubicBezTo>
                  <a:pt x="6841" y="3706"/>
                  <a:pt x="6885" y="3721"/>
                  <a:pt x="6930" y="3721"/>
                </a:cubicBezTo>
                <a:cubicBezTo>
                  <a:pt x="6974" y="3721"/>
                  <a:pt x="7019" y="3706"/>
                  <a:pt x="7049" y="3676"/>
                </a:cubicBezTo>
                <a:cubicBezTo>
                  <a:pt x="7108" y="3617"/>
                  <a:pt x="7108" y="3498"/>
                  <a:pt x="7049" y="3438"/>
                </a:cubicBezTo>
                <a:lnTo>
                  <a:pt x="6680" y="3069"/>
                </a:lnTo>
                <a:lnTo>
                  <a:pt x="7144" y="2605"/>
                </a:lnTo>
                <a:lnTo>
                  <a:pt x="8906" y="4379"/>
                </a:lnTo>
                <a:lnTo>
                  <a:pt x="8287" y="4998"/>
                </a:lnTo>
                <a:cubicBezTo>
                  <a:pt x="8228" y="5058"/>
                  <a:pt x="8228" y="5177"/>
                  <a:pt x="8287" y="5236"/>
                </a:cubicBezTo>
                <a:cubicBezTo>
                  <a:pt x="8317" y="5266"/>
                  <a:pt x="8362" y="5281"/>
                  <a:pt x="8406" y="5281"/>
                </a:cubicBezTo>
                <a:cubicBezTo>
                  <a:pt x="8451" y="5281"/>
                  <a:pt x="8495" y="5266"/>
                  <a:pt x="8525" y="5236"/>
                </a:cubicBezTo>
                <a:lnTo>
                  <a:pt x="9144" y="4617"/>
                </a:lnTo>
                <a:cubicBezTo>
                  <a:pt x="9502" y="4962"/>
                  <a:pt x="9525" y="5034"/>
                  <a:pt x="9644" y="5034"/>
                </a:cubicBezTo>
                <a:cubicBezTo>
                  <a:pt x="9680" y="5034"/>
                  <a:pt x="9728" y="5010"/>
                  <a:pt x="9764" y="4986"/>
                </a:cubicBezTo>
                <a:cubicBezTo>
                  <a:pt x="10121" y="4617"/>
                  <a:pt x="10192" y="4593"/>
                  <a:pt x="10192" y="4486"/>
                </a:cubicBezTo>
                <a:cubicBezTo>
                  <a:pt x="10192" y="4367"/>
                  <a:pt x="10133" y="4379"/>
                  <a:pt x="9478" y="3688"/>
                </a:cubicBezTo>
                <a:lnTo>
                  <a:pt x="10668" y="2498"/>
                </a:lnTo>
                <a:cubicBezTo>
                  <a:pt x="10907" y="2724"/>
                  <a:pt x="10930" y="2819"/>
                  <a:pt x="11037" y="2819"/>
                </a:cubicBezTo>
                <a:cubicBezTo>
                  <a:pt x="11085" y="2819"/>
                  <a:pt x="11133" y="2795"/>
                  <a:pt x="11157" y="2772"/>
                </a:cubicBezTo>
                <a:lnTo>
                  <a:pt x="11502" y="2462"/>
                </a:lnTo>
                <a:cubicBezTo>
                  <a:pt x="11561" y="2402"/>
                  <a:pt x="11561" y="2283"/>
                  <a:pt x="11502" y="2224"/>
                </a:cubicBezTo>
                <a:lnTo>
                  <a:pt x="9335" y="45"/>
                </a:lnTo>
                <a:cubicBezTo>
                  <a:pt x="9305" y="15"/>
                  <a:pt x="9260" y="0"/>
                  <a:pt x="9216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613" name="Google Shape;10613;p59"/>
          <p:cNvSpPr/>
          <p:nvPr/>
        </p:nvSpPr>
        <p:spPr>
          <a:xfrm>
            <a:off x="7542031" y="2445541"/>
            <a:ext cx="370187" cy="344034"/>
          </a:xfrm>
          <a:custGeom>
            <a:avLst/>
            <a:gdLst/>
            <a:ahLst/>
            <a:cxnLst/>
            <a:rect l="l" t="t" r="r" b="b"/>
            <a:pathLst>
              <a:path w="11621" h="10800" extrusionOk="0">
                <a:moveTo>
                  <a:pt x="9522" y="349"/>
                </a:moveTo>
                <a:cubicBezTo>
                  <a:pt x="9633" y="349"/>
                  <a:pt x="9746" y="391"/>
                  <a:pt x="9835" y="474"/>
                </a:cubicBezTo>
                <a:lnTo>
                  <a:pt x="11097" y="1736"/>
                </a:lnTo>
                <a:cubicBezTo>
                  <a:pt x="11252" y="1891"/>
                  <a:pt x="11252" y="2153"/>
                  <a:pt x="11085" y="2331"/>
                </a:cubicBezTo>
                <a:lnTo>
                  <a:pt x="10299" y="3129"/>
                </a:lnTo>
                <a:lnTo>
                  <a:pt x="8430" y="1260"/>
                </a:lnTo>
                <a:lnTo>
                  <a:pt x="9228" y="474"/>
                </a:lnTo>
                <a:cubicBezTo>
                  <a:pt x="9305" y="391"/>
                  <a:pt x="9412" y="349"/>
                  <a:pt x="9522" y="349"/>
                </a:cubicBezTo>
                <a:close/>
                <a:moveTo>
                  <a:pt x="8216" y="1486"/>
                </a:moveTo>
                <a:lnTo>
                  <a:pt x="10073" y="3343"/>
                </a:lnTo>
                <a:lnTo>
                  <a:pt x="9799" y="3617"/>
                </a:lnTo>
                <a:lnTo>
                  <a:pt x="7942" y="1760"/>
                </a:lnTo>
                <a:lnTo>
                  <a:pt x="8216" y="1486"/>
                </a:lnTo>
                <a:close/>
                <a:moveTo>
                  <a:pt x="9513" y="1"/>
                </a:moveTo>
                <a:cubicBezTo>
                  <a:pt x="9314" y="1"/>
                  <a:pt x="9115" y="75"/>
                  <a:pt x="8966" y="224"/>
                </a:cubicBezTo>
                <a:lnTo>
                  <a:pt x="6977" y="2200"/>
                </a:lnTo>
                <a:cubicBezTo>
                  <a:pt x="6918" y="2260"/>
                  <a:pt x="6918" y="2379"/>
                  <a:pt x="6977" y="2438"/>
                </a:cubicBezTo>
                <a:cubicBezTo>
                  <a:pt x="7007" y="2468"/>
                  <a:pt x="7052" y="2483"/>
                  <a:pt x="7096" y="2483"/>
                </a:cubicBezTo>
                <a:cubicBezTo>
                  <a:pt x="7141" y="2483"/>
                  <a:pt x="7186" y="2468"/>
                  <a:pt x="7216" y="2438"/>
                </a:cubicBezTo>
                <a:lnTo>
                  <a:pt x="7668" y="1974"/>
                </a:lnTo>
                <a:lnTo>
                  <a:pt x="9537" y="3843"/>
                </a:lnTo>
                <a:lnTo>
                  <a:pt x="7120" y="6260"/>
                </a:lnTo>
                <a:cubicBezTo>
                  <a:pt x="7043" y="6344"/>
                  <a:pt x="6933" y="6385"/>
                  <a:pt x="6821" y="6385"/>
                </a:cubicBezTo>
                <a:cubicBezTo>
                  <a:pt x="6710" y="6385"/>
                  <a:pt x="6596" y="6344"/>
                  <a:pt x="6513" y="6260"/>
                </a:cubicBezTo>
                <a:lnTo>
                  <a:pt x="5251" y="4998"/>
                </a:lnTo>
                <a:cubicBezTo>
                  <a:pt x="5084" y="4832"/>
                  <a:pt x="5084" y="4570"/>
                  <a:pt x="5251" y="4391"/>
                </a:cubicBezTo>
                <a:lnTo>
                  <a:pt x="6668" y="2974"/>
                </a:lnTo>
                <a:cubicBezTo>
                  <a:pt x="6727" y="2915"/>
                  <a:pt x="6727" y="2796"/>
                  <a:pt x="6668" y="2736"/>
                </a:cubicBezTo>
                <a:cubicBezTo>
                  <a:pt x="6632" y="2706"/>
                  <a:pt x="6585" y="2691"/>
                  <a:pt x="6540" y="2691"/>
                </a:cubicBezTo>
                <a:cubicBezTo>
                  <a:pt x="6495" y="2691"/>
                  <a:pt x="6454" y="2706"/>
                  <a:pt x="6430" y="2736"/>
                </a:cubicBezTo>
                <a:lnTo>
                  <a:pt x="5013" y="4153"/>
                </a:lnTo>
                <a:cubicBezTo>
                  <a:pt x="4727" y="4439"/>
                  <a:pt x="4715" y="4915"/>
                  <a:pt x="5001" y="5213"/>
                </a:cubicBezTo>
                <a:lnTo>
                  <a:pt x="1679" y="8523"/>
                </a:lnTo>
                <a:cubicBezTo>
                  <a:pt x="1620" y="8582"/>
                  <a:pt x="1620" y="8701"/>
                  <a:pt x="1679" y="8761"/>
                </a:cubicBezTo>
                <a:cubicBezTo>
                  <a:pt x="1709" y="8790"/>
                  <a:pt x="1754" y="8805"/>
                  <a:pt x="1798" y="8805"/>
                </a:cubicBezTo>
                <a:cubicBezTo>
                  <a:pt x="1843" y="8805"/>
                  <a:pt x="1887" y="8790"/>
                  <a:pt x="1917" y="8761"/>
                </a:cubicBezTo>
                <a:lnTo>
                  <a:pt x="5215" y="5463"/>
                </a:lnTo>
                <a:lnTo>
                  <a:pt x="5977" y="6225"/>
                </a:lnTo>
                <a:lnTo>
                  <a:pt x="4977" y="7213"/>
                </a:lnTo>
                <a:cubicBezTo>
                  <a:pt x="4787" y="7415"/>
                  <a:pt x="4680" y="7630"/>
                  <a:pt x="4668" y="7856"/>
                </a:cubicBezTo>
                <a:cubicBezTo>
                  <a:pt x="4581" y="9489"/>
                  <a:pt x="2148" y="10471"/>
                  <a:pt x="955" y="10471"/>
                </a:cubicBezTo>
                <a:cubicBezTo>
                  <a:pt x="678" y="10471"/>
                  <a:pt x="468" y="10418"/>
                  <a:pt x="369" y="10308"/>
                </a:cubicBezTo>
                <a:lnTo>
                  <a:pt x="1334" y="9344"/>
                </a:lnTo>
                <a:cubicBezTo>
                  <a:pt x="1393" y="9285"/>
                  <a:pt x="1393" y="9165"/>
                  <a:pt x="1334" y="9106"/>
                </a:cubicBezTo>
                <a:cubicBezTo>
                  <a:pt x="1304" y="9076"/>
                  <a:pt x="1259" y="9061"/>
                  <a:pt x="1215" y="9061"/>
                </a:cubicBezTo>
                <a:cubicBezTo>
                  <a:pt x="1170" y="9061"/>
                  <a:pt x="1125" y="9076"/>
                  <a:pt x="1096" y="9106"/>
                </a:cubicBezTo>
                <a:lnTo>
                  <a:pt x="60" y="10154"/>
                </a:lnTo>
                <a:cubicBezTo>
                  <a:pt x="12" y="10189"/>
                  <a:pt x="0" y="10249"/>
                  <a:pt x="12" y="10308"/>
                </a:cubicBezTo>
                <a:cubicBezTo>
                  <a:pt x="119" y="10695"/>
                  <a:pt x="578" y="10799"/>
                  <a:pt x="1021" y="10799"/>
                </a:cubicBezTo>
                <a:cubicBezTo>
                  <a:pt x="1124" y="10799"/>
                  <a:pt x="1226" y="10794"/>
                  <a:pt x="1322" y="10785"/>
                </a:cubicBezTo>
                <a:cubicBezTo>
                  <a:pt x="2858" y="10630"/>
                  <a:pt x="4941" y="9499"/>
                  <a:pt x="5013" y="7868"/>
                </a:cubicBezTo>
                <a:cubicBezTo>
                  <a:pt x="5025" y="7558"/>
                  <a:pt x="5299" y="7427"/>
                  <a:pt x="6215" y="6475"/>
                </a:cubicBezTo>
                <a:cubicBezTo>
                  <a:pt x="6227" y="6487"/>
                  <a:pt x="6430" y="6737"/>
                  <a:pt x="6799" y="6737"/>
                </a:cubicBezTo>
                <a:cubicBezTo>
                  <a:pt x="6989" y="6737"/>
                  <a:pt x="7180" y="6665"/>
                  <a:pt x="7335" y="6522"/>
                </a:cubicBezTo>
                <a:lnTo>
                  <a:pt x="11276" y="2569"/>
                </a:lnTo>
                <a:cubicBezTo>
                  <a:pt x="11621" y="2260"/>
                  <a:pt x="11621" y="1784"/>
                  <a:pt x="11323" y="1486"/>
                </a:cubicBezTo>
                <a:lnTo>
                  <a:pt x="10061" y="224"/>
                </a:lnTo>
                <a:cubicBezTo>
                  <a:pt x="9912" y="75"/>
                  <a:pt x="9713" y="1"/>
                  <a:pt x="951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614" name="Google Shape;10614;p59"/>
          <p:cNvGrpSpPr/>
          <p:nvPr/>
        </p:nvGrpSpPr>
        <p:grpSpPr>
          <a:xfrm>
            <a:off x="7964906" y="2434073"/>
            <a:ext cx="373627" cy="367925"/>
            <a:chOff x="7964906" y="2434073"/>
            <a:chExt cx="373627" cy="367925"/>
          </a:xfrm>
        </p:grpSpPr>
        <p:sp>
          <p:nvSpPr>
            <p:cNvPr id="10615" name="Google Shape;10615;p59"/>
            <p:cNvSpPr/>
            <p:nvPr/>
          </p:nvSpPr>
          <p:spPr>
            <a:xfrm>
              <a:off x="8252397" y="2622942"/>
              <a:ext cx="46699" cy="46317"/>
            </a:xfrm>
            <a:custGeom>
              <a:avLst/>
              <a:gdLst/>
              <a:ahLst/>
              <a:cxnLst/>
              <a:rect l="l" t="t" r="r" b="b"/>
              <a:pathLst>
                <a:path w="1466" h="1454" extrusionOk="0">
                  <a:moveTo>
                    <a:pt x="715" y="334"/>
                  </a:moveTo>
                  <a:cubicBezTo>
                    <a:pt x="941" y="358"/>
                    <a:pt x="1108" y="513"/>
                    <a:pt x="1108" y="727"/>
                  </a:cubicBezTo>
                  <a:cubicBezTo>
                    <a:pt x="1108" y="929"/>
                    <a:pt x="929" y="1108"/>
                    <a:pt x="715" y="1108"/>
                  </a:cubicBezTo>
                  <a:cubicBezTo>
                    <a:pt x="513" y="1108"/>
                    <a:pt x="334" y="929"/>
                    <a:pt x="334" y="727"/>
                  </a:cubicBezTo>
                  <a:cubicBezTo>
                    <a:pt x="334" y="513"/>
                    <a:pt x="513" y="334"/>
                    <a:pt x="715" y="334"/>
                  </a:cubicBezTo>
                  <a:close/>
                  <a:moveTo>
                    <a:pt x="739" y="1"/>
                  </a:moveTo>
                  <a:cubicBezTo>
                    <a:pt x="334" y="13"/>
                    <a:pt x="1" y="334"/>
                    <a:pt x="1" y="727"/>
                  </a:cubicBezTo>
                  <a:cubicBezTo>
                    <a:pt x="1" y="1132"/>
                    <a:pt x="334" y="1453"/>
                    <a:pt x="739" y="1453"/>
                  </a:cubicBezTo>
                  <a:cubicBezTo>
                    <a:pt x="1132" y="1453"/>
                    <a:pt x="1465" y="1132"/>
                    <a:pt x="1465" y="727"/>
                  </a:cubicBezTo>
                  <a:cubicBezTo>
                    <a:pt x="1465" y="322"/>
                    <a:pt x="1132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6" name="Google Shape;10616;p59"/>
            <p:cNvSpPr/>
            <p:nvPr/>
          </p:nvSpPr>
          <p:spPr>
            <a:xfrm>
              <a:off x="7964906" y="2434073"/>
              <a:ext cx="373627" cy="367925"/>
            </a:xfrm>
            <a:custGeom>
              <a:avLst/>
              <a:gdLst/>
              <a:ahLst/>
              <a:cxnLst/>
              <a:rect l="l" t="t" r="r" b="b"/>
              <a:pathLst>
                <a:path w="11729" h="11550" extrusionOk="0">
                  <a:moveTo>
                    <a:pt x="2525" y="358"/>
                  </a:moveTo>
                  <a:cubicBezTo>
                    <a:pt x="2835" y="358"/>
                    <a:pt x="3096" y="608"/>
                    <a:pt x="3096" y="929"/>
                  </a:cubicBezTo>
                  <a:lnTo>
                    <a:pt x="3096" y="941"/>
                  </a:lnTo>
                  <a:cubicBezTo>
                    <a:pt x="3096" y="1251"/>
                    <a:pt x="2835" y="1501"/>
                    <a:pt x="2525" y="1501"/>
                  </a:cubicBezTo>
                  <a:lnTo>
                    <a:pt x="2299" y="1501"/>
                  </a:lnTo>
                  <a:cubicBezTo>
                    <a:pt x="2227" y="1501"/>
                    <a:pt x="2168" y="1441"/>
                    <a:pt x="2168" y="1370"/>
                  </a:cubicBezTo>
                  <a:lnTo>
                    <a:pt x="2168" y="489"/>
                  </a:lnTo>
                  <a:cubicBezTo>
                    <a:pt x="2168" y="417"/>
                    <a:pt x="2227" y="358"/>
                    <a:pt x="2299" y="358"/>
                  </a:cubicBezTo>
                  <a:close/>
                  <a:moveTo>
                    <a:pt x="5704" y="358"/>
                  </a:moveTo>
                  <a:cubicBezTo>
                    <a:pt x="5787" y="358"/>
                    <a:pt x="5847" y="417"/>
                    <a:pt x="5847" y="512"/>
                  </a:cubicBezTo>
                  <a:lnTo>
                    <a:pt x="5847" y="1358"/>
                  </a:lnTo>
                  <a:cubicBezTo>
                    <a:pt x="5847" y="1429"/>
                    <a:pt x="5787" y="1501"/>
                    <a:pt x="5704" y="1501"/>
                  </a:cubicBezTo>
                  <a:lnTo>
                    <a:pt x="5490" y="1501"/>
                  </a:lnTo>
                  <a:cubicBezTo>
                    <a:pt x="5180" y="1501"/>
                    <a:pt x="4918" y="1251"/>
                    <a:pt x="4918" y="941"/>
                  </a:cubicBezTo>
                  <a:lnTo>
                    <a:pt x="4918" y="929"/>
                  </a:lnTo>
                  <a:cubicBezTo>
                    <a:pt x="4918" y="608"/>
                    <a:pt x="5180" y="358"/>
                    <a:pt x="5490" y="358"/>
                  </a:cubicBezTo>
                  <a:close/>
                  <a:moveTo>
                    <a:pt x="5478" y="0"/>
                  </a:moveTo>
                  <a:cubicBezTo>
                    <a:pt x="4966" y="0"/>
                    <a:pt x="4561" y="405"/>
                    <a:pt x="4561" y="905"/>
                  </a:cubicBezTo>
                  <a:lnTo>
                    <a:pt x="4561" y="929"/>
                  </a:lnTo>
                  <a:cubicBezTo>
                    <a:pt x="4561" y="1429"/>
                    <a:pt x="4966" y="1834"/>
                    <a:pt x="5478" y="1834"/>
                  </a:cubicBezTo>
                  <a:lnTo>
                    <a:pt x="5692" y="1834"/>
                  </a:lnTo>
                  <a:cubicBezTo>
                    <a:pt x="5966" y="1834"/>
                    <a:pt x="6168" y="1620"/>
                    <a:pt x="6168" y="1358"/>
                  </a:cubicBezTo>
                  <a:lnTo>
                    <a:pt x="6168" y="1084"/>
                  </a:lnTo>
                  <a:lnTo>
                    <a:pt x="6561" y="1084"/>
                  </a:lnTo>
                  <a:cubicBezTo>
                    <a:pt x="6930" y="1084"/>
                    <a:pt x="7228" y="1382"/>
                    <a:pt x="7228" y="1763"/>
                  </a:cubicBezTo>
                  <a:lnTo>
                    <a:pt x="7228" y="2667"/>
                  </a:lnTo>
                  <a:cubicBezTo>
                    <a:pt x="6966" y="2715"/>
                    <a:pt x="6740" y="2918"/>
                    <a:pt x="6692" y="3215"/>
                  </a:cubicBezTo>
                  <a:lnTo>
                    <a:pt x="6466" y="4953"/>
                  </a:lnTo>
                  <a:cubicBezTo>
                    <a:pt x="6383" y="5668"/>
                    <a:pt x="5775" y="6204"/>
                    <a:pt x="5061" y="6204"/>
                  </a:cubicBezTo>
                  <a:lnTo>
                    <a:pt x="4323" y="6204"/>
                  </a:lnTo>
                  <a:cubicBezTo>
                    <a:pt x="4239" y="6204"/>
                    <a:pt x="4168" y="6287"/>
                    <a:pt x="4168" y="6370"/>
                  </a:cubicBezTo>
                  <a:cubicBezTo>
                    <a:pt x="4168" y="6466"/>
                    <a:pt x="4239" y="6537"/>
                    <a:pt x="4323" y="6537"/>
                  </a:cubicBezTo>
                  <a:lnTo>
                    <a:pt x="5061" y="6537"/>
                  </a:lnTo>
                  <a:cubicBezTo>
                    <a:pt x="5954" y="6537"/>
                    <a:pt x="6704" y="5870"/>
                    <a:pt x="6811" y="4989"/>
                  </a:cubicBezTo>
                  <a:lnTo>
                    <a:pt x="7037" y="3251"/>
                  </a:lnTo>
                  <a:cubicBezTo>
                    <a:pt x="7049" y="3093"/>
                    <a:pt x="7189" y="2988"/>
                    <a:pt x="7335" y="2988"/>
                  </a:cubicBezTo>
                  <a:cubicBezTo>
                    <a:pt x="7343" y="2988"/>
                    <a:pt x="7351" y="2988"/>
                    <a:pt x="7359" y="2989"/>
                  </a:cubicBezTo>
                  <a:cubicBezTo>
                    <a:pt x="7526" y="3013"/>
                    <a:pt x="7633" y="3156"/>
                    <a:pt x="7621" y="3322"/>
                  </a:cubicBezTo>
                  <a:lnTo>
                    <a:pt x="7395" y="5061"/>
                  </a:lnTo>
                  <a:cubicBezTo>
                    <a:pt x="7240" y="6239"/>
                    <a:pt x="6252" y="7120"/>
                    <a:pt x="5061" y="7120"/>
                  </a:cubicBezTo>
                  <a:lnTo>
                    <a:pt x="4442" y="7120"/>
                  </a:lnTo>
                  <a:cubicBezTo>
                    <a:pt x="4359" y="7120"/>
                    <a:pt x="4287" y="7192"/>
                    <a:pt x="4287" y="7275"/>
                  </a:cubicBezTo>
                  <a:lnTo>
                    <a:pt x="4287" y="8156"/>
                  </a:lnTo>
                  <a:cubicBezTo>
                    <a:pt x="4287" y="8323"/>
                    <a:pt x="4144" y="8454"/>
                    <a:pt x="3989" y="8454"/>
                  </a:cubicBezTo>
                  <a:cubicBezTo>
                    <a:pt x="3823" y="8454"/>
                    <a:pt x="3692" y="8323"/>
                    <a:pt x="3692" y="8156"/>
                  </a:cubicBezTo>
                  <a:lnTo>
                    <a:pt x="3692" y="7275"/>
                  </a:lnTo>
                  <a:cubicBezTo>
                    <a:pt x="3692" y="7192"/>
                    <a:pt x="3608" y="7120"/>
                    <a:pt x="3525" y="7120"/>
                  </a:cubicBezTo>
                  <a:lnTo>
                    <a:pt x="2918" y="7120"/>
                  </a:lnTo>
                  <a:cubicBezTo>
                    <a:pt x="1727" y="7120"/>
                    <a:pt x="727" y="6227"/>
                    <a:pt x="572" y="5061"/>
                  </a:cubicBezTo>
                  <a:lnTo>
                    <a:pt x="358" y="3322"/>
                  </a:lnTo>
                  <a:cubicBezTo>
                    <a:pt x="334" y="3156"/>
                    <a:pt x="441" y="3013"/>
                    <a:pt x="608" y="2989"/>
                  </a:cubicBezTo>
                  <a:cubicBezTo>
                    <a:pt x="616" y="2988"/>
                    <a:pt x="625" y="2988"/>
                    <a:pt x="633" y="2988"/>
                  </a:cubicBezTo>
                  <a:cubicBezTo>
                    <a:pt x="789" y="2988"/>
                    <a:pt x="918" y="3093"/>
                    <a:pt x="930" y="3251"/>
                  </a:cubicBezTo>
                  <a:lnTo>
                    <a:pt x="1156" y="4989"/>
                  </a:lnTo>
                  <a:cubicBezTo>
                    <a:pt x="1263" y="5882"/>
                    <a:pt x="2025" y="6537"/>
                    <a:pt x="2918" y="6537"/>
                  </a:cubicBezTo>
                  <a:lnTo>
                    <a:pt x="3644" y="6537"/>
                  </a:lnTo>
                  <a:cubicBezTo>
                    <a:pt x="3727" y="6537"/>
                    <a:pt x="3811" y="6466"/>
                    <a:pt x="3811" y="6370"/>
                  </a:cubicBezTo>
                  <a:cubicBezTo>
                    <a:pt x="3811" y="6287"/>
                    <a:pt x="3727" y="6204"/>
                    <a:pt x="3644" y="6204"/>
                  </a:cubicBezTo>
                  <a:lnTo>
                    <a:pt x="2918" y="6204"/>
                  </a:lnTo>
                  <a:cubicBezTo>
                    <a:pt x="2203" y="6204"/>
                    <a:pt x="1584" y="5668"/>
                    <a:pt x="1501" y="4953"/>
                  </a:cubicBezTo>
                  <a:lnTo>
                    <a:pt x="1275" y="3215"/>
                  </a:lnTo>
                  <a:cubicBezTo>
                    <a:pt x="1251" y="2929"/>
                    <a:pt x="1025" y="2727"/>
                    <a:pt x="775" y="2679"/>
                  </a:cubicBezTo>
                  <a:lnTo>
                    <a:pt x="775" y="1775"/>
                  </a:lnTo>
                  <a:cubicBezTo>
                    <a:pt x="775" y="1405"/>
                    <a:pt x="1072" y="1108"/>
                    <a:pt x="1441" y="1108"/>
                  </a:cubicBezTo>
                  <a:lnTo>
                    <a:pt x="1822" y="1108"/>
                  </a:lnTo>
                  <a:lnTo>
                    <a:pt x="1822" y="1370"/>
                  </a:lnTo>
                  <a:cubicBezTo>
                    <a:pt x="1822" y="1644"/>
                    <a:pt x="2037" y="1846"/>
                    <a:pt x="2299" y="1846"/>
                  </a:cubicBezTo>
                  <a:lnTo>
                    <a:pt x="2525" y="1846"/>
                  </a:lnTo>
                  <a:cubicBezTo>
                    <a:pt x="3037" y="1846"/>
                    <a:pt x="3430" y="1441"/>
                    <a:pt x="3430" y="941"/>
                  </a:cubicBezTo>
                  <a:lnTo>
                    <a:pt x="3430" y="929"/>
                  </a:lnTo>
                  <a:cubicBezTo>
                    <a:pt x="3430" y="417"/>
                    <a:pt x="3037" y="12"/>
                    <a:pt x="2525" y="12"/>
                  </a:cubicBezTo>
                  <a:lnTo>
                    <a:pt x="2299" y="12"/>
                  </a:lnTo>
                  <a:cubicBezTo>
                    <a:pt x="2037" y="12"/>
                    <a:pt x="1822" y="227"/>
                    <a:pt x="1822" y="489"/>
                  </a:cubicBezTo>
                  <a:lnTo>
                    <a:pt x="1822" y="762"/>
                  </a:lnTo>
                  <a:lnTo>
                    <a:pt x="1441" y="762"/>
                  </a:lnTo>
                  <a:cubicBezTo>
                    <a:pt x="870" y="762"/>
                    <a:pt x="429" y="1227"/>
                    <a:pt x="429" y="1775"/>
                  </a:cubicBezTo>
                  <a:lnTo>
                    <a:pt x="429" y="2715"/>
                  </a:lnTo>
                  <a:cubicBezTo>
                    <a:pt x="156" y="2810"/>
                    <a:pt x="1" y="3084"/>
                    <a:pt x="25" y="3382"/>
                  </a:cubicBezTo>
                  <a:lnTo>
                    <a:pt x="251" y="5120"/>
                  </a:lnTo>
                  <a:cubicBezTo>
                    <a:pt x="418" y="6466"/>
                    <a:pt x="1561" y="7478"/>
                    <a:pt x="2918" y="7478"/>
                  </a:cubicBezTo>
                  <a:lnTo>
                    <a:pt x="3358" y="7478"/>
                  </a:lnTo>
                  <a:lnTo>
                    <a:pt x="3358" y="8192"/>
                  </a:lnTo>
                  <a:cubicBezTo>
                    <a:pt x="3358" y="8466"/>
                    <a:pt x="3549" y="8728"/>
                    <a:pt x="3823" y="8799"/>
                  </a:cubicBezTo>
                  <a:lnTo>
                    <a:pt x="3823" y="9418"/>
                  </a:lnTo>
                  <a:cubicBezTo>
                    <a:pt x="3823" y="10597"/>
                    <a:pt x="4775" y="11550"/>
                    <a:pt x="5954" y="11550"/>
                  </a:cubicBezTo>
                  <a:lnTo>
                    <a:pt x="7799" y="11550"/>
                  </a:lnTo>
                  <a:cubicBezTo>
                    <a:pt x="8966" y="11550"/>
                    <a:pt x="9919" y="10597"/>
                    <a:pt x="9919" y="9418"/>
                  </a:cubicBezTo>
                  <a:lnTo>
                    <a:pt x="9919" y="8454"/>
                  </a:lnTo>
                  <a:cubicBezTo>
                    <a:pt x="10335" y="8430"/>
                    <a:pt x="10740" y="8252"/>
                    <a:pt x="11038" y="7930"/>
                  </a:cubicBezTo>
                  <a:cubicBezTo>
                    <a:pt x="11633" y="7335"/>
                    <a:pt x="11728" y="6382"/>
                    <a:pt x="11264" y="5668"/>
                  </a:cubicBezTo>
                  <a:cubicBezTo>
                    <a:pt x="11235" y="5624"/>
                    <a:pt x="11184" y="5598"/>
                    <a:pt x="11129" y="5598"/>
                  </a:cubicBezTo>
                  <a:cubicBezTo>
                    <a:pt x="11095" y="5598"/>
                    <a:pt x="11058" y="5609"/>
                    <a:pt x="11026" y="5632"/>
                  </a:cubicBezTo>
                  <a:cubicBezTo>
                    <a:pt x="10955" y="5668"/>
                    <a:pt x="10919" y="5775"/>
                    <a:pt x="10978" y="5870"/>
                  </a:cubicBezTo>
                  <a:cubicBezTo>
                    <a:pt x="11609" y="6799"/>
                    <a:pt x="10966" y="8109"/>
                    <a:pt x="9740" y="8109"/>
                  </a:cubicBezTo>
                  <a:cubicBezTo>
                    <a:pt x="8478" y="8109"/>
                    <a:pt x="7823" y="6549"/>
                    <a:pt x="8728" y="5632"/>
                  </a:cubicBezTo>
                  <a:cubicBezTo>
                    <a:pt x="9013" y="5347"/>
                    <a:pt x="9379" y="5201"/>
                    <a:pt x="9749" y="5201"/>
                  </a:cubicBezTo>
                  <a:cubicBezTo>
                    <a:pt x="10029" y="5201"/>
                    <a:pt x="10311" y="5285"/>
                    <a:pt x="10562" y="5454"/>
                  </a:cubicBezTo>
                  <a:cubicBezTo>
                    <a:pt x="10587" y="5466"/>
                    <a:pt x="10618" y="5473"/>
                    <a:pt x="10649" y="5473"/>
                  </a:cubicBezTo>
                  <a:cubicBezTo>
                    <a:pt x="10704" y="5473"/>
                    <a:pt x="10762" y="5452"/>
                    <a:pt x="10800" y="5406"/>
                  </a:cubicBezTo>
                  <a:cubicBezTo>
                    <a:pt x="10847" y="5334"/>
                    <a:pt x="10836" y="5227"/>
                    <a:pt x="10752" y="5168"/>
                  </a:cubicBezTo>
                  <a:cubicBezTo>
                    <a:pt x="10439" y="4961"/>
                    <a:pt x="10099" y="4867"/>
                    <a:pt x="9768" y="4867"/>
                  </a:cubicBezTo>
                  <a:cubicBezTo>
                    <a:pt x="8839" y="4867"/>
                    <a:pt x="7978" y="5606"/>
                    <a:pt x="7978" y="6668"/>
                  </a:cubicBezTo>
                  <a:cubicBezTo>
                    <a:pt x="7978" y="7609"/>
                    <a:pt x="8692" y="8371"/>
                    <a:pt x="9585" y="8454"/>
                  </a:cubicBezTo>
                  <a:lnTo>
                    <a:pt x="9585" y="9406"/>
                  </a:lnTo>
                  <a:cubicBezTo>
                    <a:pt x="9585" y="10395"/>
                    <a:pt x="8776" y="11192"/>
                    <a:pt x="7799" y="11192"/>
                  </a:cubicBezTo>
                  <a:lnTo>
                    <a:pt x="5954" y="11192"/>
                  </a:lnTo>
                  <a:cubicBezTo>
                    <a:pt x="4966" y="11192"/>
                    <a:pt x="4168" y="10395"/>
                    <a:pt x="4168" y="9406"/>
                  </a:cubicBezTo>
                  <a:lnTo>
                    <a:pt x="4168" y="8787"/>
                  </a:lnTo>
                  <a:cubicBezTo>
                    <a:pt x="4430" y="8704"/>
                    <a:pt x="4620" y="8466"/>
                    <a:pt x="4620" y="8168"/>
                  </a:cubicBezTo>
                  <a:lnTo>
                    <a:pt x="4620" y="7478"/>
                  </a:lnTo>
                  <a:lnTo>
                    <a:pt x="5073" y="7478"/>
                  </a:lnTo>
                  <a:cubicBezTo>
                    <a:pt x="6418" y="7478"/>
                    <a:pt x="7573" y="6466"/>
                    <a:pt x="7740" y="5120"/>
                  </a:cubicBezTo>
                  <a:lnTo>
                    <a:pt x="7954" y="3382"/>
                  </a:lnTo>
                  <a:cubicBezTo>
                    <a:pt x="7990" y="3096"/>
                    <a:pt x="7823" y="2834"/>
                    <a:pt x="7573" y="2727"/>
                  </a:cubicBezTo>
                  <a:lnTo>
                    <a:pt x="7573" y="1763"/>
                  </a:lnTo>
                  <a:cubicBezTo>
                    <a:pt x="7573" y="1191"/>
                    <a:pt x="7109" y="751"/>
                    <a:pt x="6561" y="751"/>
                  </a:cubicBezTo>
                  <a:lnTo>
                    <a:pt x="6168" y="751"/>
                  </a:lnTo>
                  <a:lnTo>
                    <a:pt x="6168" y="477"/>
                  </a:lnTo>
                  <a:cubicBezTo>
                    <a:pt x="6168" y="215"/>
                    <a:pt x="5966" y="0"/>
                    <a:pt x="56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17" name="Google Shape;10617;p59"/>
          <p:cNvGrpSpPr/>
          <p:nvPr/>
        </p:nvGrpSpPr>
        <p:grpSpPr>
          <a:xfrm>
            <a:off x="6194086" y="2437737"/>
            <a:ext cx="369837" cy="360471"/>
            <a:chOff x="6194086" y="2437737"/>
            <a:chExt cx="369837" cy="360471"/>
          </a:xfrm>
        </p:grpSpPr>
        <p:sp>
          <p:nvSpPr>
            <p:cNvPr id="10618" name="Google Shape;10618;p59"/>
            <p:cNvSpPr/>
            <p:nvPr/>
          </p:nvSpPr>
          <p:spPr>
            <a:xfrm>
              <a:off x="6194086" y="2437737"/>
              <a:ext cx="369837" cy="360471"/>
            </a:xfrm>
            <a:custGeom>
              <a:avLst/>
              <a:gdLst/>
              <a:ahLst/>
              <a:cxnLst/>
              <a:rect l="l" t="t" r="r" b="b"/>
              <a:pathLst>
                <a:path w="11610" h="11316" extrusionOk="0">
                  <a:moveTo>
                    <a:pt x="630" y="321"/>
                  </a:moveTo>
                  <a:cubicBezTo>
                    <a:pt x="672" y="321"/>
                    <a:pt x="714" y="334"/>
                    <a:pt x="751" y="362"/>
                  </a:cubicBezTo>
                  <a:lnTo>
                    <a:pt x="1286" y="731"/>
                  </a:lnTo>
                  <a:cubicBezTo>
                    <a:pt x="1251" y="790"/>
                    <a:pt x="1096" y="1028"/>
                    <a:pt x="1036" y="1112"/>
                  </a:cubicBezTo>
                  <a:cubicBezTo>
                    <a:pt x="573" y="774"/>
                    <a:pt x="509" y="732"/>
                    <a:pt x="505" y="732"/>
                  </a:cubicBezTo>
                  <a:lnTo>
                    <a:pt x="505" y="732"/>
                  </a:lnTo>
                  <a:cubicBezTo>
                    <a:pt x="503" y="732"/>
                    <a:pt x="509" y="736"/>
                    <a:pt x="508" y="736"/>
                  </a:cubicBezTo>
                  <a:cubicBezTo>
                    <a:pt x="508" y="736"/>
                    <a:pt x="506" y="735"/>
                    <a:pt x="501" y="731"/>
                  </a:cubicBezTo>
                  <a:cubicBezTo>
                    <a:pt x="405" y="659"/>
                    <a:pt x="370" y="528"/>
                    <a:pt x="441" y="421"/>
                  </a:cubicBezTo>
                  <a:cubicBezTo>
                    <a:pt x="492" y="355"/>
                    <a:pt x="562" y="321"/>
                    <a:pt x="630" y="321"/>
                  </a:cubicBezTo>
                  <a:close/>
                  <a:moveTo>
                    <a:pt x="9192" y="2493"/>
                  </a:moveTo>
                  <a:cubicBezTo>
                    <a:pt x="9347" y="2493"/>
                    <a:pt x="9466" y="2612"/>
                    <a:pt x="9466" y="2755"/>
                  </a:cubicBezTo>
                  <a:lnTo>
                    <a:pt x="9466" y="2779"/>
                  </a:lnTo>
                  <a:cubicBezTo>
                    <a:pt x="9466" y="2922"/>
                    <a:pt x="9347" y="3041"/>
                    <a:pt x="9192" y="3041"/>
                  </a:cubicBezTo>
                  <a:lnTo>
                    <a:pt x="7799" y="3041"/>
                  </a:lnTo>
                  <a:lnTo>
                    <a:pt x="7799" y="2493"/>
                  </a:lnTo>
                  <a:close/>
                  <a:moveTo>
                    <a:pt x="6513" y="2933"/>
                  </a:moveTo>
                  <a:lnTo>
                    <a:pt x="6513" y="3743"/>
                  </a:lnTo>
                  <a:lnTo>
                    <a:pt x="2084" y="3743"/>
                  </a:lnTo>
                  <a:lnTo>
                    <a:pt x="2084" y="2933"/>
                  </a:lnTo>
                  <a:close/>
                  <a:moveTo>
                    <a:pt x="3180" y="5422"/>
                  </a:moveTo>
                  <a:cubicBezTo>
                    <a:pt x="4727" y="5422"/>
                    <a:pt x="5966" y="6672"/>
                    <a:pt x="5966" y="8196"/>
                  </a:cubicBezTo>
                  <a:cubicBezTo>
                    <a:pt x="5954" y="9744"/>
                    <a:pt x="4715" y="10970"/>
                    <a:pt x="3180" y="10970"/>
                  </a:cubicBezTo>
                  <a:cubicBezTo>
                    <a:pt x="1656" y="10970"/>
                    <a:pt x="417" y="9720"/>
                    <a:pt x="417" y="8196"/>
                  </a:cubicBezTo>
                  <a:cubicBezTo>
                    <a:pt x="417" y="6660"/>
                    <a:pt x="1667" y="5422"/>
                    <a:pt x="3180" y="5422"/>
                  </a:cubicBezTo>
                  <a:close/>
                  <a:moveTo>
                    <a:pt x="9240" y="8827"/>
                  </a:moveTo>
                  <a:cubicBezTo>
                    <a:pt x="9823" y="8827"/>
                    <a:pt x="10311" y="9327"/>
                    <a:pt x="10311" y="9899"/>
                  </a:cubicBezTo>
                  <a:cubicBezTo>
                    <a:pt x="10311" y="10494"/>
                    <a:pt x="9835" y="10970"/>
                    <a:pt x="9240" y="10970"/>
                  </a:cubicBezTo>
                  <a:cubicBezTo>
                    <a:pt x="8644" y="10970"/>
                    <a:pt x="8168" y="10482"/>
                    <a:pt x="8168" y="9899"/>
                  </a:cubicBezTo>
                  <a:cubicBezTo>
                    <a:pt x="8168" y="9303"/>
                    <a:pt x="8656" y="8827"/>
                    <a:pt x="9240" y="8827"/>
                  </a:cubicBezTo>
                  <a:close/>
                  <a:moveTo>
                    <a:pt x="651" y="1"/>
                  </a:moveTo>
                  <a:cubicBezTo>
                    <a:pt x="471" y="1"/>
                    <a:pt x="290" y="87"/>
                    <a:pt x="179" y="243"/>
                  </a:cubicBezTo>
                  <a:cubicBezTo>
                    <a:pt x="1" y="493"/>
                    <a:pt x="72" y="850"/>
                    <a:pt x="322" y="1017"/>
                  </a:cubicBezTo>
                  <a:cubicBezTo>
                    <a:pt x="911" y="1399"/>
                    <a:pt x="989" y="1512"/>
                    <a:pt x="1077" y="1512"/>
                  </a:cubicBezTo>
                  <a:cubicBezTo>
                    <a:pt x="1090" y="1512"/>
                    <a:pt x="1104" y="1509"/>
                    <a:pt x="1120" y="1505"/>
                  </a:cubicBezTo>
                  <a:cubicBezTo>
                    <a:pt x="1215" y="1493"/>
                    <a:pt x="1239" y="1386"/>
                    <a:pt x="1322" y="1290"/>
                  </a:cubicBezTo>
                  <a:lnTo>
                    <a:pt x="1739" y="1564"/>
                  </a:lnTo>
                  <a:lnTo>
                    <a:pt x="1739" y="5458"/>
                  </a:lnTo>
                  <a:cubicBezTo>
                    <a:pt x="763" y="5970"/>
                    <a:pt x="72" y="7017"/>
                    <a:pt x="72" y="8208"/>
                  </a:cubicBezTo>
                  <a:cubicBezTo>
                    <a:pt x="72" y="9922"/>
                    <a:pt x="1477" y="11315"/>
                    <a:pt x="3180" y="11315"/>
                  </a:cubicBezTo>
                  <a:cubicBezTo>
                    <a:pt x="5049" y="11315"/>
                    <a:pt x="6501" y="9684"/>
                    <a:pt x="6275" y="7815"/>
                  </a:cubicBezTo>
                  <a:lnTo>
                    <a:pt x="9073" y="7815"/>
                  </a:lnTo>
                  <a:lnTo>
                    <a:pt x="9073" y="8506"/>
                  </a:lnTo>
                  <a:cubicBezTo>
                    <a:pt x="8383" y="8589"/>
                    <a:pt x="7823" y="9184"/>
                    <a:pt x="7823" y="9899"/>
                  </a:cubicBezTo>
                  <a:cubicBezTo>
                    <a:pt x="7823" y="10673"/>
                    <a:pt x="8466" y="11315"/>
                    <a:pt x="9240" y="11315"/>
                  </a:cubicBezTo>
                  <a:cubicBezTo>
                    <a:pt x="9966" y="11315"/>
                    <a:pt x="10561" y="10768"/>
                    <a:pt x="10645" y="10065"/>
                  </a:cubicBezTo>
                  <a:lnTo>
                    <a:pt x="11431" y="10065"/>
                  </a:lnTo>
                  <a:cubicBezTo>
                    <a:pt x="11514" y="10065"/>
                    <a:pt x="11597" y="9994"/>
                    <a:pt x="11597" y="9899"/>
                  </a:cubicBezTo>
                  <a:cubicBezTo>
                    <a:pt x="11609" y="9815"/>
                    <a:pt x="11538" y="9720"/>
                    <a:pt x="11431" y="9720"/>
                  </a:cubicBezTo>
                  <a:lnTo>
                    <a:pt x="10645" y="9720"/>
                  </a:lnTo>
                  <a:cubicBezTo>
                    <a:pt x="10561" y="9089"/>
                    <a:pt x="10049" y="8565"/>
                    <a:pt x="9406" y="8494"/>
                  </a:cubicBezTo>
                  <a:lnTo>
                    <a:pt x="9406" y="6922"/>
                  </a:lnTo>
                  <a:cubicBezTo>
                    <a:pt x="9406" y="6839"/>
                    <a:pt x="9335" y="6767"/>
                    <a:pt x="9240" y="6767"/>
                  </a:cubicBezTo>
                  <a:cubicBezTo>
                    <a:pt x="9156" y="6767"/>
                    <a:pt x="9073" y="6839"/>
                    <a:pt x="9073" y="6922"/>
                  </a:cubicBezTo>
                  <a:lnTo>
                    <a:pt x="9073" y="7482"/>
                  </a:lnTo>
                  <a:lnTo>
                    <a:pt x="6216" y="7482"/>
                  </a:lnTo>
                  <a:cubicBezTo>
                    <a:pt x="5875" y="6064"/>
                    <a:pt x="4598" y="5082"/>
                    <a:pt x="3192" y="5082"/>
                  </a:cubicBezTo>
                  <a:cubicBezTo>
                    <a:pt x="2827" y="5082"/>
                    <a:pt x="2453" y="5148"/>
                    <a:pt x="2084" y="5291"/>
                  </a:cubicBezTo>
                  <a:lnTo>
                    <a:pt x="2084" y="4088"/>
                  </a:lnTo>
                  <a:lnTo>
                    <a:pt x="6859" y="4088"/>
                  </a:lnTo>
                  <a:cubicBezTo>
                    <a:pt x="8037" y="4088"/>
                    <a:pt x="9002" y="5005"/>
                    <a:pt x="9073" y="6184"/>
                  </a:cubicBezTo>
                  <a:cubicBezTo>
                    <a:pt x="9073" y="6267"/>
                    <a:pt x="9168" y="6351"/>
                    <a:pt x="9252" y="6351"/>
                  </a:cubicBezTo>
                  <a:cubicBezTo>
                    <a:pt x="9347" y="6351"/>
                    <a:pt x="9418" y="6255"/>
                    <a:pt x="9418" y="6172"/>
                  </a:cubicBezTo>
                  <a:cubicBezTo>
                    <a:pt x="9347" y="4815"/>
                    <a:pt x="8228" y="3755"/>
                    <a:pt x="6870" y="3755"/>
                  </a:cubicBezTo>
                  <a:lnTo>
                    <a:pt x="6870" y="2957"/>
                  </a:lnTo>
                  <a:lnTo>
                    <a:pt x="7490" y="2957"/>
                  </a:lnTo>
                  <a:lnTo>
                    <a:pt x="7490" y="3231"/>
                  </a:lnTo>
                  <a:cubicBezTo>
                    <a:pt x="7490" y="3326"/>
                    <a:pt x="7561" y="3398"/>
                    <a:pt x="7644" y="3398"/>
                  </a:cubicBezTo>
                  <a:lnTo>
                    <a:pt x="9228" y="3398"/>
                  </a:lnTo>
                  <a:cubicBezTo>
                    <a:pt x="9573" y="3398"/>
                    <a:pt x="9835" y="3136"/>
                    <a:pt x="9835" y="2791"/>
                  </a:cubicBezTo>
                  <a:lnTo>
                    <a:pt x="9835" y="2779"/>
                  </a:lnTo>
                  <a:cubicBezTo>
                    <a:pt x="9835" y="2433"/>
                    <a:pt x="9573" y="2160"/>
                    <a:pt x="9228" y="2160"/>
                  </a:cubicBezTo>
                  <a:lnTo>
                    <a:pt x="7644" y="2160"/>
                  </a:lnTo>
                  <a:cubicBezTo>
                    <a:pt x="7561" y="2160"/>
                    <a:pt x="7490" y="2243"/>
                    <a:pt x="7490" y="2326"/>
                  </a:cubicBezTo>
                  <a:lnTo>
                    <a:pt x="7490" y="2612"/>
                  </a:lnTo>
                  <a:lnTo>
                    <a:pt x="2096" y="2612"/>
                  </a:lnTo>
                  <a:lnTo>
                    <a:pt x="2096" y="1481"/>
                  </a:lnTo>
                  <a:cubicBezTo>
                    <a:pt x="2096" y="1421"/>
                    <a:pt x="2072" y="1374"/>
                    <a:pt x="2025" y="1350"/>
                  </a:cubicBezTo>
                  <a:lnTo>
                    <a:pt x="1536" y="1028"/>
                  </a:lnTo>
                  <a:lnTo>
                    <a:pt x="1679" y="814"/>
                  </a:lnTo>
                  <a:cubicBezTo>
                    <a:pt x="1727" y="731"/>
                    <a:pt x="1715" y="636"/>
                    <a:pt x="1632" y="564"/>
                  </a:cubicBezTo>
                  <a:cubicBezTo>
                    <a:pt x="1050" y="153"/>
                    <a:pt x="969" y="96"/>
                    <a:pt x="966" y="96"/>
                  </a:cubicBezTo>
                  <a:lnTo>
                    <a:pt x="966" y="96"/>
                  </a:lnTo>
                  <a:cubicBezTo>
                    <a:pt x="965" y="96"/>
                    <a:pt x="976" y="104"/>
                    <a:pt x="974" y="104"/>
                  </a:cubicBezTo>
                  <a:cubicBezTo>
                    <a:pt x="973" y="104"/>
                    <a:pt x="971" y="103"/>
                    <a:pt x="965" y="100"/>
                  </a:cubicBezTo>
                  <a:cubicBezTo>
                    <a:pt x="871" y="32"/>
                    <a:pt x="761" y="1"/>
                    <a:pt x="6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9" name="Google Shape;10619;p59"/>
            <p:cNvSpPr/>
            <p:nvPr/>
          </p:nvSpPr>
          <p:spPr>
            <a:xfrm>
              <a:off x="6251362" y="2655721"/>
              <a:ext cx="89927" cy="88621"/>
            </a:xfrm>
            <a:custGeom>
              <a:avLst/>
              <a:gdLst/>
              <a:ahLst/>
              <a:cxnLst/>
              <a:rect l="l" t="t" r="r" b="b"/>
              <a:pathLst>
                <a:path w="2823" h="2782" extrusionOk="0">
                  <a:moveTo>
                    <a:pt x="1032" y="0"/>
                  </a:moveTo>
                  <a:cubicBezTo>
                    <a:pt x="1014" y="0"/>
                    <a:pt x="996" y="3"/>
                    <a:pt x="977" y="8"/>
                  </a:cubicBezTo>
                  <a:cubicBezTo>
                    <a:pt x="381" y="198"/>
                    <a:pt x="0" y="734"/>
                    <a:pt x="0" y="1365"/>
                  </a:cubicBezTo>
                  <a:cubicBezTo>
                    <a:pt x="0" y="2139"/>
                    <a:pt x="643" y="2782"/>
                    <a:pt x="1417" y="2782"/>
                  </a:cubicBezTo>
                  <a:cubicBezTo>
                    <a:pt x="2191" y="2782"/>
                    <a:pt x="2822" y="2139"/>
                    <a:pt x="2822" y="1365"/>
                  </a:cubicBezTo>
                  <a:cubicBezTo>
                    <a:pt x="2798" y="734"/>
                    <a:pt x="2417" y="198"/>
                    <a:pt x="1822" y="8"/>
                  </a:cubicBezTo>
                  <a:cubicBezTo>
                    <a:pt x="1803" y="3"/>
                    <a:pt x="1784" y="0"/>
                    <a:pt x="1767" y="0"/>
                  </a:cubicBezTo>
                  <a:cubicBezTo>
                    <a:pt x="1695" y="0"/>
                    <a:pt x="1636" y="39"/>
                    <a:pt x="1608" y="115"/>
                  </a:cubicBezTo>
                  <a:cubicBezTo>
                    <a:pt x="1572" y="198"/>
                    <a:pt x="1620" y="293"/>
                    <a:pt x="1715" y="317"/>
                  </a:cubicBezTo>
                  <a:cubicBezTo>
                    <a:pt x="2155" y="472"/>
                    <a:pt x="2465" y="865"/>
                    <a:pt x="2465" y="1341"/>
                  </a:cubicBezTo>
                  <a:cubicBezTo>
                    <a:pt x="2465" y="1936"/>
                    <a:pt x="1977" y="2413"/>
                    <a:pt x="1393" y="2413"/>
                  </a:cubicBezTo>
                  <a:cubicBezTo>
                    <a:pt x="822" y="2413"/>
                    <a:pt x="322" y="1925"/>
                    <a:pt x="322" y="1341"/>
                  </a:cubicBezTo>
                  <a:cubicBezTo>
                    <a:pt x="322" y="865"/>
                    <a:pt x="620" y="448"/>
                    <a:pt x="1084" y="317"/>
                  </a:cubicBezTo>
                  <a:cubicBezTo>
                    <a:pt x="1179" y="293"/>
                    <a:pt x="1215" y="198"/>
                    <a:pt x="1191" y="115"/>
                  </a:cubicBezTo>
                  <a:cubicBezTo>
                    <a:pt x="1162" y="39"/>
                    <a:pt x="1103" y="0"/>
                    <a:pt x="10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0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4" name="Google Shape;10624;p60"/>
          <p:cNvSpPr txBox="1">
            <a:spLocks noGrp="1"/>
          </p:cNvSpPr>
          <p:nvPr>
            <p:ph type="title" idx="4294967295"/>
          </p:nvPr>
        </p:nvSpPr>
        <p:spPr>
          <a:xfrm>
            <a:off x="849675" y="94377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usiness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25" name="Google Shape;10625;p60"/>
          <p:cNvSpPr txBox="1">
            <a:spLocks noGrp="1"/>
          </p:cNvSpPr>
          <p:nvPr>
            <p:ph type="title" idx="4294967295"/>
          </p:nvPr>
        </p:nvSpPr>
        <p:spPr>
          <a:xfrm>
            <a:off x="4858400" y="94377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Teamwork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626" name="Google Shape;10626;p60"/>
          <p:cNvGrpSpPr/>
          <p:nvPr/>
        </p:nvGrpSpPr>
        <p:grpSpPr>
          <a:xfrm>
            <a:off x="3541011" y="1508594"/>
            <a:ext cx="350166" cy="349434"/>
            <a:chOff x="3541011" y="1508594"/>
            <a:chExt cx="350166" cy="349434"/>
          </a:xfrm>
        </p:grpSpPr>
        <p:sp>
          <p:nvSpPr>
            <p:cNvPr id="10627" name="Google Shape;10627;p60"/>
            <p:cNvSpPr/>
            <p:nvPr/>
          </p:nvSpPr>
          <p:spPr>
            <a:xfrm>
              <a:off x="3600879" y="1568270"/>
              <a:ext cx="230049" cy="289758"/>
            </a:xfrm>
            <a:custGeom>
              <a:avLst/>
              <a:gdLst/>
              <a:ahLst/>
              <a:cxnLst/>
              <a:rect l="l" t="t" r="r" b="b"/>
              <a:pathLst>
                <a:path w="7228" h="9104" extrusionOk="0">
                  <a:moveTo>
                    <a:pt x="3810" y="3781"/>
                  </a:moveTo>
                  <a:cubicBezTo>
                    <a:pt x="4001" y="3781"/>
                    <a:pt x="4156" y="3936"/>
                    <a:pt x="4156" y="4138"/>
                  </a:cubicBezTo>
                  <a:lnTo>
                    <a:pt x="4156" y="4472"/>
                  </a:lnTo>
                  <a:cubicBezTo>
                    <a:pt x="4144" y="4757"/>
                    <a:pt x="3906" y="4995"/>
                    <a:pt x="3632" y="4995"/>
                  </a:cubicBezTo>
                  <a:cubicBezTo>
                    <a:pt x="3334" y="4995"/>
                    <a:pt x="3108" y="4757"/>
                    <a:pt x="3108" y="4472"/>
                  </a:cubicBezTo>
                  <a:lnTo>
                    <a:pt x="3108" y="4138"/>
                  </a:lnTo>
                  <a:cubicBezTo>
                    <a:pt x="3108" y="3936"/>
                    <a:pt x="3275" y="3781"/>
                    <a:pt x="3465" y="3781"/>
                  </a:cubicBezTo>
                  <a:close/>
                  <a:moveTo>
                    <a:pt x="3787" y="5329"/>
                  </a:moveTo>
                  <a:lnTo>
                    <a:pt x="3787" y="5400"/>
                  </a:lnTo>
                  <a:cubicBezTo>
                    <a:pt x="3810" y="5460"/>
                    <a:pt x="3822" y="5519"/>
                    <a:pt x="3846" y="5567"/>
                  </a:cubicBezTo>
                  <a:lnTo>
                    <a:pt x="3632" y="5781"/>
                  </a:lnTo>
                  <a:lnTo>
                    <a:pt x="3596" y="5781"/>
                  </a:lnTo>
                  <a:lnTo>
                    <a:pt x="3370" y="5567"/>
                  </a:lnTo>
                  <a:cubicBezTo>
                    <a:pt x="3406" y="5519"/>
                    <a:pt x="3417" y="5460"/>
                    <a:pt x="3417" y="5400"/>
                  </a:cubicBezTo>
                  <a:lnTo>
                    <a:pt x="3417" y="5329"/>
                  </a:lnTo>
                  <a:close/>
                  <a:moveTo>
                    <a:pt x="3617" y="361"/>
                  </a:moveTo>
                  <a:cubicBezTo>
                    <a:pt x="4471" y="361"/>
                    <a:pt x="5286" y="670"/>
                    <a:pt x="5918" y="1257"/>
                  </a:cubicBezTo>
                  <a:cubicBezTo>
                    <a:pt x="6573" y="1888"/>
                    <a:pt x="6942" y="2733"/>
                    <a:pt x="6942" y="3638"/>
                  </a:cubicBezTo>
                  <a:cubicBezTo>
                    <a:pt x="6906" y="4281"/>
                    <a:pt x="6692" y="4936"/>
                    <a:pt x="6323" y="5484"/>
                  </a:cubicBezTo>
                  <a:cubicBezTo>
                    <a:pt x="5953" y="6019"/>
                    <a:pt x="5430" y="6436"/>
                    <a:pt x="4822" y="6674"/>
                  </a:cubicBezTo>
                  <a:cubicBezTo>
                    <a:pt x="4620" y="6758"/>
                    <a:pt x="4501" y="6948"/>
                    <a:pt x="4501" y="7139"/>
                  </a:cubicBezTo>
                  <a:lnTo>
                    <a:pt x="4501" y="7591"/>
                  </a:lnTo>
                  <a:cubicBezTo>
                    <a:pt x="4501" y="7662"/>
                    <a:pt x="4489" y="7722"/>
                    <a:pt x="4441" y="7781"/>
                  </a:cubicBezTo>
                  <a:lnTo>
                    <a:pt x="4287" y="8032"/>
                  </a:lnTo>
                  <a:cubicBezTo>
                    <a:pt x="4263" y="8043"/>
                    <a:pt x="4251" y="8079"/>
                    <a:pt x="4251" y="8091"/>
                  </a:cubicBezTo>
                  <a:lnTo>
                    <a:pt x="3025" y="8091"/>
                  </a:lnTo>
                  <a:cubicBezTo>
                    <a:pt x="3013" y="8079"/>
                    <a:pt x="3013" y="8043"/>
                    <a:pt x="3001" y="8032"/>
                  </a:cubicBezTo>
                  <a:lnTo>
                    <a:pt x="2834" y="7781"/>
                  </a:lnTo>
                  <a:cubicBezTo>
                    <a:pt x="2786" y="7722"/>
                    <a:pt x="2775" y="7651"/>
                    <a:pt x="2775" y="7591"/>
                  </a:cubicBezTo>
                  <a:lnTo>
                    <a:pt x="2775" y="6067"/>
                  </a:lnTo>
                  <a:cubicBezTo>
                    <a:pt x="2775" y="5996"/>
                    <a:pt x="2822" y="5936"/>
                    <a:pt x="2882" y="5900"/>
                  </a:cubicBezTo>
                  <a:lnTo>
                    <a:pt x="3167" y="5769"/>
                  </a:lnTo>
                  <a:lnTo>
                    <a:pt x="3417" y="6019"/>
                  </a:lnTo>
                  <a:cubicBezTo>
                    <a:pt x="3477" y="6079"/>
                    <a:pt x="3560" y="6127"/>
                    <a:pt x="3656" y="6127"/>
                  </a:cubicBezTo>
                  <a:cubicBezTo>
                    <a:pt x="3751" y="6127"/>
                    <a:pt x="3834" y="6103"/>
                    <a:pt x="3894" y="6019"/>
                  </a:cubicBezTo>
                  <a:lnTo>
                    <a:pt x="4144" y="5769"/>
                  </a:lnTo>
                  <a:lnTo>
                    <a:pt x="4429" y="5900"/>
                  </a:lnTo>
                  <a:cubicBezTo>
                    <a:pt x="4489" y="5936"/>
                    <a:pt x="4537" y="5996"/>
                    <a:pt x="4537" y="6067"/>
                  </a:cubicBezTo>
                  <a:lnTo>
                    <a:pt x="4537" y="6198"/>
                  </a:lnTo>
                  <a:cubicBezTo>
                    <a:pt x="4537" y="6293"/>
                    <a:pt x="4608" y="6365"/>
                    <a:pt x="4703" y="6365"/>
                  </a:cubicBezTo>
                  <a:cubicBezTo>
                    <a:pt x="4787" y="6365"/>
                    <a:pt x="4858" y="6293"/>
                    <a:pt x="4858" y="6198"/>
                  </a:cubicBezTo>
                  <a:lnTo>
                    <a:pt x="4858" y="6067"/>
                  </a:lnTo>
                  <a:cubicBezTo>
                    <a:pt x="4858" y="5877"/>
                    <a:pt x="4763" y="5698"/>
                    <a:pt x="4584" y="5626"/>
                  </a:cubicBezTo>
                  <a:lnTo>
                    <a:pt x="4179" y="5412"/>
                  </a:lnTo>
                  <a:lnTo>
                    <a:pt x="4179" y="5400"/>
                  </a:lnTo>
                  <a:lnTo>
                    <a:pt x="4179" y="5162"/>
                  </a:lnTo>
                  <a:cubicBezTo>
                    <a:pt x="4382" y="5007"/>
                    <a:pt x="4525" y="4757"/>
                    <a:pt x="4525" y="4472"/>
                  </a:cubicBezTo>
                  <a:lnTo>
                    <a:pt x="4525" y="4138"/>
                  </a:lnTo>
                  <a:cubicBezTo>
                    <a:pt x="4525" y="3757"/>
                    <a:pt x="4227" y="3448"/>
                    <a:pt x="3834" y="3448"/>
                  </a:cubicBezTo>
                  <a:lnTo>
                    <a:pt x="3489" y="3448"/>
                  </a:lnTo>
                  <a:cubicBezTo>
                    <a:pt x="3120" y="3448"/>
                    <a:pt x="2810" y="3745"/>
                    <a:pt x="2810" y="4138"/>
                  </a:cubicBezTo>
                  <a:lnTo>
                    <a:pt x="2810" y="4472"/>
                  </a:lnTo>
                  <a:cubicBezTo>
                    <a:pt x="2810" y="4757"/>
                    <a:pt x="2941" y="4995"/>
                    <a:pt x="3156" y="5162"/>
                  </a:cubicBezTo>
                  <a:lnTo>
                    <a:pt x="3156" y="5400"/>
                  </a:lnTo>
                  <a:lnTo>
                    <a:pt x="3156" y="5412"/>
                  </a:lnTo>
                  <a:lnTo>
                    <a:pt x="2751" y="5626"/>
                  </a:lnTo>
                  <a:cubicBezTo>
                    <a:pt x="2572" y="5710"/>
                    <a:pt x="2465" y="5877"/>
                    <a:pt x="2465" y="6067"/>
                  </a:cubicBezTo>
                  <a:lnTo>
                    <a:pt x="2465" y="6674"/>
                  </a:lnTo>
                  <a:cubicBezTo>
                    <a:pt x="1882" y="6460"/>
                    <a:pt x="1381" y="6055"/>
                    <a:pt x="1012" y="5567"/>
                  </a:cubicBezTo>
                  <a:cubicBezTo>
                    <a:pt x="572" y="4984"/>
                    <a:pt x="369" y="4281"/>
                    <a:pt x="381" y="3567"/>
                  </a:cubicBezTo>
                  <a:cubicBezTo>
                    <a:pt x="393" y="2745"/>
                    <a:pt x="727" y="1959"/>
                    <a:pt x="1310" y="1364"/>
                  </a:cubicBezTo>
                  <a:cubicBezTo>
                    <a:pt x="1882" y="769"/>
                    <a:pt x="2655" y="412"/>
                    <a:pt x="3477" y="364"/>
                  </a:cubicBezTo>
                  <a:cubicBezTo>
                    <a:pt x="3524" y="362"/>
                    <a:pt x="3571" y="361"/>
                    <a:pt x="3617" y="361"/>
                  </a:cubicBezTo>
                  <a:close/>
                  <a:moveTo>
                    <a:pt x="4144" y="8424"/>
                  </a:moveTo>
                  <a:lnTo>
                    <a:pt x="4144" y="8782"/>
                  </a:lnTo>
                  <a:lnTo>
                    <a:pt x="3108" y="8794"/>
                  </a:lnTo>
                  <a:cubicBezTo>
                    <a:pt x="3108" y="8794"/>
                    <a:pt x="3096" y="8794"/>
                    <a:pt x="3096" y="8782"/>
                  </a:cubicBezTo>
                  <a:lnTo>
                    <a:pt x="3096" y="8424"/>
                  </a:lnTo>
                  <a:close/>
                  <a:moveTo>
                    <a:pt x="3635" y="0"/>
                  </a:moveTo>
                  <a:cubicBezTo>
                    <a:pt x="3563" y="0"/>
                    <a:pt x="3490" y="2"/>
                    <a:pt x="3417" y="7"/>
                  </a:cubicBezTo>
                  <a:cubicBezTo>
                    <a:pt x="2513" y="54"/>
                    <a:pt x="1667" y="435"/>
                    <a:pt x="1024" y="1114"/>
                  </a:cubicBezTo>
                  <a:cubicBezTo>
                    <a:pt x="381" y="1769"/>
                    <a:pt x="24" y="2626"/>
                    <a:pt x="12" y="3531"/>
                  </a:cubicBezTo>
                  <a:cubicBezTo>
                    <a:pt x="0" y="4341"/>
                    <a:pt x="238" y="5103"/>
                    <a:pt x="691" y="5734"/>
                  </a:cubicBezTo>
                  <a:cubicBezTo>
                    <a:pt x="1131" y="6317"/>
                    <a:pt x="1739" y="6781"/>
                    <a:pt x="2405" y="7019"/>
                  </a:cubicBezTo>
                  <a:lnTo>
                    <a:pt x="2405" y="7603"/>
                  </a:lnTo>
                  <a:cubicBezTo>
                    <a:pt x="2405" y="7734"/>
                    <a:pt x="2453" y="7865"/>
                    <a:pt x="2524" y="7972"/>
                  </a:cubicBezTo>
                  <a:lnTo>
                    <a:pt x="2691" y="8222"/>
                  </a:lnTo>
                  <a:cubicBezTo>
                    <a:pt x="2739" y="8282"/>
                    <a:pt x="2751" y="8353"/>
                    <a:pt x="2751" y="8413"/>
                  </a:cubicBezTo>
                  <a:lnTo>
                    <a:pt x="2751" y="8770"/>
                  </a:lnTo>
                  <a:cubicBezTo>
                    <a:pt x="2751" y="8948"/>
                    <a:pt x="2894" y="9103"/>
                    <a:pt x="3072" y="9103"/>
                  </a:cubicBezTo>
                  <a:lnTo>
                    <a:pt x="4108" y="9103"/>
                  </a:lnTo>
                  <a:cubicBezTo>
                    <a:pt x="4287" y="9103"/>
                    <a:pt x="4429" y="8948"/>
                    <a:pt x="4429" y="8770"/>
                  </a:cubicBezTo>
                  <a:lnTo>
                    <a:pt x="4429" y="8413"/>
                  </a:lnTo>
                  <a:cubicBezTo>
                    <a:pt x="4429" y="8341"/>
                    <a:pt x="4441" y="8282"/>
                    <a:pt x="4489" y="8222"/>
                  </a:cubicBezTo>
                  <a:lnTo>
                    <a:pt x="4656" y="7972"/>
                  </a:lnTo>
                  <a:cubicBezTo>
                    <a:pt x="4727" y="7865"/>
                    <a:pt x="4775" y="7734"/>
                    <a:pt x="4775" y="7603"/>
                  </a:cubicBezTo>
                  <a:lnTo>
                    <a:pt x="4775" y="7150"/>
                  </a:lnTo>
                  <a:cubicBezTo>
                    <a:pt x="4775" y="7079"/>
                    <a:pt x="4822" y="7008"/>
                    <a:pt x="4894" y="6984"/>
                  </a:cubicBezTo>
                  <a:cubicBezTo>
                    <a:pt x="5561" y="6734"/>
                    <a:pt x="6132" y="6269"/>
                    <a:pt x="6549" y="5698"/>
                  </a:cubicBezTo>
                  <a:cubicBezTo>
                    <a:pt x="6966" y="5079"/>
                    <a:pt x="7180" y="4388"/>
                    <a:pt x="7180" y="3638"/>
                  </a:cubicBezTo>
                  <a:cubicBezTo>
                    <a:pt x="7227" y="2614"/>
                    <a:pt x="6823" y="1674"/>
                    <a:pt x="6096" y="995"/>
                  </a:cubicBezTo>
                  <a:cubicBezTo>
                    <a:pt x="5422" y="354"/>
                    <a:pt x="4564" y="0"/>
                    <a:pt x="36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28" name="Google Shape;10628;p60"/>
            <p:cNvSpPr/>
            <p:nvPr/>
          </p:nvSpPr>
          <p:spPr>
            <a:xfrm>
              <a:off x="3541011" y="1677980"/>
              <a:ext cx="48919" cy="10630"/>
            </a:xfrm>
            <a:custGeom>
              <a:avLst/>
              <a:gdLst/>
              <a:ahLst/>
              <a:cxnLst/>
              <a:rect l="l" t="t" r="r" b="b"/>
              <a:pathLst>
                <a:path w="1537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369" y="334"/>
                  </a:lnTo>
                  <a:cubicBezTo>
                    <a:pt x="1465" y="334"/>
                    <a:pt x="1536" y="251"/>
                    <a:pt x="1536" y="167"/>
                  </a:cubicBezTo>
                  <a:cubicBezTo>
                    <a:pt x="1536" y="72"/>
                    <a:pt x="1465" y="1"/>
                    <a:pt x="13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29" name="Google Shape;10629;p60"/>
            <p:cNvSpPr/>
            <p:nvPr/>
          </p:nvSpPr>
          <p:spPr>
            <a:xfrm>
              <a:off x="3842259" y="1677980"/>
              <a:ext cx="48919" cy="10630"/>
            </a:xfrm>
            <a:custGeom>
              <a:avLst/>
              <a:gdLst/>
              <a:ahLst/>
              <a:cxnLst/>
              <a:rect l="l" t="t" r="r" b="b"/>
              <a:pathLst>
                <a:path w="1537" h="334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72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0" name="Google Shape;10630;p60"/>
            <p:cNvSpPr/>
            <p:nvPr/>
          </p:nvSpPr>
          <p:spPr>
            <a:xfrm>
              <a:off x="3711161" y="1508594"/>
              <a:ext cx="10248" cy="48537"/>
            </a:xfrm>
            <a:custGeom>
              <a:avLst/>
              <a:gdLst/>
              <a:ahLst/>
              <a:cxnLst/>
              <a:rect l="l" t="t" r="r" b="b"/>
              <a:pathLst>
                <a:path w="322" h="1525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1370"/>
                  </a:lnTo>
                  <a:cubicBezTo>
                    <a:pt x="0" y="1453"/>
                    <a:pt x="72" y="1525"/>
                    <a:pt x="167" y="1525"/>
                  </a:cubicBezTo>
                  <a:cubicBezTo>
                    <a:pt x="250" y="1525"/>
                    <a:pt x="322" y="1453"/>
                    <a:pt x="322" y="1370"/>
                  </a:cubicBezTo>
                  <a:lnTo>
                    <a:pt x="322" y="155"/>
                  </a:lnTo>
                  <a:cubicBezTo>
                    <a:pt x="310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1" name="Google Shape;10631;p60"/>
            <p:cNvSpPr/>
            <p:nvPr/>
          </p:nvSpPr>
          <p:spPr>
            <a:xfrm>
              <a:off x="3633470" y="1792018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525" y="1"/>
                  </a:moveTo>
                  <a:cubicBezTo>
                    <a:pt x="470" y="1"/>
                    <a:pt x="413" y="30"/>
                    <a:pt x="381" y="85"/>
                  </a:cubicBezTo>
                  <a:lnTo>
                    <a:pt x="48" y="680"/>
                  </a:lnTo>
                  <a:cubicBezTo>
                    <a:pt x="0" y="751"/>
                    <a:pt x="24" y="859"/>
                    <a:pt x="107" y="894"/>
                  </a:cubicBezTo>
                  <a:cubicBezTo>
                    <a:pt x="131" y="918"/>
                    <a:pt x="167" y="918"/>
                    <a:pt x="179" y="918"/>
                  </a:cubicBezTo>
                  <a:cubicBezTo>
                    <a:pt x="238" y="918"/>
                    <a:pt x="286" y="882"/>
                    <a:pt x="310" y="835"/>
                  </a:cubicBezTo>
                  <a:lnTo>
                    <a:pt x="655" y="240"/>
                  </a:lnTo>
                  <a:cubicBezTo>
                    <a:pt x="715" y="156"/>
                    <a:pt x="679" y="61"/>
                    <a:pt x="608" y="25"/>
                  </a:cubicBezTo>
                  <a:cubicBezTo>
                    <a:pt x="583" y="9"/>
                    <a:pt x="554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2" name="Google Shape;10632;p60"/>
            <p:cNvSpPr/>
            <p:nvPr/>
          </p:nvSpPr>
          <p:spPr>
            <a:xfrm>
              <a:off x="3775962" y="1545195"/>
              <a:ext cx="22757" cy="28995"/>
            </a:xfrm>
            <a:custGeom>
              <a:avLst/>
              <a:gdLst/>
              <a:ahLst/>
              <a:cxnLst/>
              <a:rect l="l" t="t" r="r" b="b"/>
              <a:pathLst>
                <a:path w="715" h="911" extrusionOk="0">
                  <a:moveTo>
                    <a:pt x="534" y="1"/>
                  </a:moveTo>
                  <a:cubicBezTo>
                    <a:pt x="476" y="1"/>
                    <a:pt x="418" y="28"/>
                    <a:pt x="393" y="77"/>
                  </a:cubicBezTo>
                  <a:lnTo>
                    <a:pt x="48" y="672"/>
                  </a:lnTo>
                  <a:cubicBezTo>
                    <a:pt x="0" y="744"/>
                    <a:pt x="36" y="851"/>
                    <a:pt x="107" y="898"/>
                  </a:cubicBezTo>
                  <a:cubicBezTo>
                    <a:pt x="131" y="910"/>
                    <a:pt x="167" y="910"/>
                    <a:pt x="179" y="910"/>
                  </a:cubicBezTo>
                  <a:cubicBezTo>
                    <a:pt x="238" y="910"/>
                    <a:pt x="286" y="887"/>
                    <a:pt x="310" y="839"/>
                  </a:cubicBezTo>
                  <a:lnTo>
                    <a:pt x="655" y="244"/>
                  </a:lnTo>
                  <a:cubicBezTo>
                    <a:pt x="714" y="172"/>
                    <a:pt x="691" y="65"/>
                    <a:pt x="607" y="17"/>
                  </a:cubicBezTo>
                  <a:cubicBezTo>
                    <a:pt x="585" y="6"/>
                    <a:pt x="560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3" name="Google Shape;10633;p60"/>
            <p:cNvSpPr/>
            <p:nvPr/>
          </p:nvSpPr>
          <p:spPr>
            <a:xfrm>
              <a:off x="3577390" y="160149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0" y="33"/>
                    <a:pt x="48" y="82"/>
                  </a:cubicBezTo>
                  <a:cubicBezTo>
                    <a:pt x="0" y="153"/>
                    <a:pt x="36" y="261"/>
                    <a:pt x="107" y="308"/>
                  </a:cubicBezTo>
                  <a:lnTo>
                    <a:pt x="703" y="642"/>
                  </a:lnTo>
                  <a:cubicBezTo>
                    <a:pt x="738" y="665"/>
                    <a:pt x="762" y="665"/>
                    <a:pt x="774" y="665"/>
                  </a:cubicBezTo>
                  <a:cubicBezTo>
                    <a:pt x="834" y="665"/>
                    <a:pt x="881" y="630"/>
                    <a:pt x="917" y="594"/>
                  </a:cubicBezTo>
                  <a:cubicBezTo>
                    <a:pt x="976" y="499"/>
                    <a:pt x="941" y="415"/>
                    <a:pt x="869" y="368"/>
                  </a:cubicBezTo>
                  <a:lnTo>
                    <a:pt x="274" y="22"/>
                  </a:lnTo>
                  <a:cubicBezTo>
                    <a:pt x="252" y="7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4" name="Google Shape;10634;p60"/>
            <p:cNvSpPr/>
            <p:nvPr/>
          </p:nvSpPr>
          <p:spPr>
            <a:xfrm>
              <a:off x="3823703" y="174360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1" y="33"/>
                    <a:pt x="48" y="82"/>
                  </a:cubicBezTo>
                  <a:cubicBezTo>
                    <a:pt x="0" y="153"/>
                    <a:pt x="36" y="260"/>
                    <a:pt x="107" y="308"/>
                  </a:cubicBezTo>
                  <a:lnTo>
                    <a:pt x="703" y="641"/>
                  </a:lnTo>
                  <a:cubicBezTo>
                    <a:pt x="738" y="665"/>
                    <a:pt x="762" y="665"/>
                    <a:pt x="774" y="665"/>
                  </a:cubicBezTo>
                  <a:cubicBezTo>
                    <a:pt x="834" y="665"/>
                    <a:pt x="881" y="629"/>
                    <a:pt x="917" y="594"/>
                  </a:cubicBezTo>
                  <a:cubicBezTo>
                    <a:pt x="977" y="510"/>
                    <a:pt x="953" y="415"/>
                    <a:pt x="869" y="368"/>
                  </a:cubicBezTo>
                  <a:lnTo>
                    <a:pt x="274" y="22"/>
                  </a:lnTo>
                  <a:cubicBezTo>
                    <a:pt x="252" y="7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5" name="Google Shape;10635;p60"/>
            <p:cNvSpPr/>
            <p:nvPr/>
          </p:nvSpPr>
          <p:spPr>
            <a:xfrm>
              <a:off x="3775962" y="1792018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190" y="1"/>
                  </a:moveTo>
                  <a:cubicBezTo>
                    <a:pt x="160" y="1"/>
                    <a:pt x="132" y="9"/>
                    <a:pt x="107" y="25"/>
                  </a:cubicBezTo>
                  <a:cubicBezTo>
                    <a:pt x="36" y="61"/>
                    <a:pt x="0" y="168"/>
                    <a:pt x="48" y="240"/>
                  </a:cubicBezTo>
                  <a:lnTo>
                    <a:pt x="393" y="835"/>
                  </a:lnTo>
                  <a:cubicBezTo>
                    <a:pt x="417" y="882"/>
                    <a:pt x="476" y="918"/>
                    <a:pt x="524" y="918"/>
                  </a:cubicBezTo>
                  <a:cubicBezTo>
                    <a:pt x="548" y="918"/>
                    <a:pt x="583" y="918"/>
                    <a:pt x="595" y="894"/>
                  </a:cubicBezTo>
                  <a:cubicBezTo>
                    <a:pt x="691" y="859"/>
                    <a:pt x="714" y="751"/>
                    <a:pt x="667" y="680"/>
                  </a:cubicBezTo>
                  <a:lnTo>
                    <a:pt x="333" y="85"/>
                  </a:lnTo>
                  <a:cubicBezTo>
                    <a:pt x="302" y="30"/>
                    <a:pt x="245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6" name="Google Shape;10636;p60"/>
            <p:cNvSpPr/>
            <p:nvPr/>
          </p:nvSpPr>
          <p:spPr>
            <a:xfrm>
              <a:off x="3633470" y="1545195"/>
              <a:ext cx="22757" cy="28995"/>
            </a:xfrm>
            <a:custGeom>
              <a:avLst/>
              <a:gdLst/>
              <a:ahLst/>
              <a:cxnLst/>
              <a:rect l="l" t="t" r="r" b="b"/>
              <a:pathLst>
                <a:path w="715" h="911" extrusionOk="0">
                  <a:moveTo>
                    <a:pt x="181" y="1"/>
                  </a:moveTo>
                  <a:cubicBezTo>
                    <a:pt x="155" y="1"/>
                    <a:pt x="130" y="6"/>
                    <a:pt x="107" y="17"/>
                  </a:cubicBezTo>
                  <a:cubicBezTo>
                    <a:pt x="24" y="65"/>
                    <a:pt x="0" y="172"/>
                    <a:pt x="48" y="244"/>
                  </a:cubicBezTo>
                  <a:lnTo>
                    <a:pt x="381" y="839"/>
                  </a:lnTo>
                  <a:cubicBezTo>
                    <a:pt x="417" y="887"/>
                    <a:pt x="477" y="910"/>
                    <a:pt x="524" y="910"/>
                  </a:cubicBezTo>
                  <a:cubicBezTo>
                    <a:pt x="548" y="910"/>
                    <a:pt x="584" y="910"/>
                    <a:pt x="596" y="898"/>
                  </a:cubicBezTo>
                  <a:cubicBezTo>
                    <a:pt x="679" y="851"/>
                    <a:pt x="715" y="744"/>
                    <a:pt x="667" y="672"/>
                  </a:cubicBezTo>
                  <a:lnTo>
                    <a:pt x="322" y="77"/>
                  </a:lnTo>
                  <a:cubicBezTo>
                    <a:pt x="297" y="28"/>
                    <a:pt x="238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7" name="Google Shape;10637;p60"/>
            <p:cNvSpPr/>
            <p:nvPr/>
          </p:nvSpPr>
          <p:spPr>
            <a:xfrm>
              <a:off x="3823703" y="160149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7" y="368"/>
                  </a:lnTo>
                  <a:cubicBezTo>
                    <a:pt x="36" y="415"/>
                    <a:pt x="0" y="511"/>
                    <a:pt x="48" y="594"/>
                  </a:cubicBezTo>
                  <a:cubicBezTo>
                    <a:pt x="84" y="630"/>
                    <a:pt x="143" y="665"/>
                    <a:pt x="179" y="665"/>
                  </a:cubicBezTo>
                  <a:cubicBezTo>
                    <a:pt x="215" y="665"/>
                    <a:pt x="238" y="665"/>
                    <a:pt x="262" y="653"/>
                  </a:cubicBezTo>
                  <a:lnTo>
                    <a:pt x="857" y="308"/>
                  </a:lnTo>
                  <a:cubicBezTo>
                    <a:pt x="953" y="249"/>
                    <a:pt x="977" y="153"/>
                    <a:pt x="929" y="82"/>
                  </a:cubicBezTo>
                  <a:cubicBezTo>
                    <a:pt x="896" y="33"/>
                    <a:pt x="836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8" name="Google Shape;10638;p60"/>
            <p:cNvSpPr/>
            <p:nvPr/>
          </p:nvSpPr>
          <p:spPr>
            <a:xfrm>
              <a:off x="3577390" y="174360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7" y="368"/>
                  </a:lnTo>
                  <a:cubicBezTo>
                    <a:pt x="36" y="415"/>
                    <a:pt x="0" y="510"/>
                    <a:pt x="48" y="594"/>
                  </a:cubicBezTo>
                  <a:cubicBezTo>
                    <a:pt x="84" y="629"/>
                    <a:pt x="143" y="665"/>
                    <a:pt x="179" y="665"/>
                  </a:cubicBezTo>
                  <a:cubicBezTo>
                    <a:pt x="214" y="665"/>
                    <a:pt x="238" y="665"/>
                    <a:pt x="262" y="653"/>
                  </a:cubicBezTo>
                  <a:lnTo>
                    <a:pt x="857" y="308"/>
                  </a:lnTo>
                  <a:cubicBezTo>
                    <a:pt x="941" y="260"/>
                    <a:pt x="976" y="153"/>
                    <a:pt x="929" y="82"/>
                  </a:cubicBezTo>
                  <a:cubicBezTo>
                    <a:pt x="896" y="33"/>
                    <a:pt x="835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9" name="Google Shape;10639;p60"/>
            <p:cNvSpPr/>
            <p:nvPr/>
          </p:nvSpPr>
          <p:spPr>
            <a:xfrm>
              <a:off x="3732358" y="1593032"/>
              <a:ext cx="71294" cy="62255"/>
            </a:xfrm>
            <a:custGeom>
              <a:avLst/>
              <a:gdLst/>
              <a:ahLst/>
              <a:cxnLst/>
              <a:rect l="l" t="t" r="r" b="b"/>
              <a:pathLst>
                <a:path w="2240" h="1956" extrusionOk="0">
                  <a:moveTo>
                    <a:pt x="186" y="1"/>
                  </a:moveTo>
                  <a:cubicBezTo>
                    <a:pt x="103" y="1"/>
                    <a:pt x="34" y="47"/>
                    <a:pt x="13" y="122"/>
                  </a:cubicBezTo>
                  <a:cubicBezTo>
                    <a:pt x="1" y="217"/>
                    <a:pt x="48" y="300"/>
                    <a:pt x="132" y="324"/>
                  </a:cubicBezTo>
                  <a:cubicBezTo>
                    <a:pt x="930" y="527"/>
                    <a:pt x="1584" y="1098"/>
                    <a:pt x="1894" y="1848"/>
                  </a:cubicBezTo>
                  <a:cubicBezTo>
                    <a:pt x="1918" y="1908"/>
                    <a:pt x="1977" y="1955"/>
                    <a:pt x="2037" y="1955"/>
                  </a:cubicBezTo>
                  <a:cubicBezTo>
                    <a:pt x="2061" y="1955"/>
                    <a:pt x="2084" y="1955"/>
                    <a:pt x="2096" y="1943"/>
                  </a:cubicBezTo>
                  <a:cubicBezTo>
                    <a:pt x="2192" y="1908"/>
                    <a:pt x="2239" y="1824"/>
                    <a:pt x="2192" y="1729"/>
                  </a:cubicBezTo>
                  <a:cubicBezTo>
                    <a:pt x="1846" y="884"/>
                    <a:pt x="1108" y="229"/>
                    <a:pt x="215" y="3"/>
                  </a:cubicBezTo>
                  <a:cubicBezTo>
                    <a:pt x="205" y="1"/>
                    <a:pt x="19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40" name="Google Shape;10640;p60"/>
          <p:cNvGrpSpPr/>
          <p:nvPr/>
        </p:nvGrpSpPr>
        <p:grpSpPr>
          <a:xfrm>
            <a:off x="3122257" y="1508594"/>
            <a:ext cx="294850" cy="349434"/>
            <a:chOff x="3122257" y="1508594"/>
            <a:chExt cx="294850" cy="349434"/>
          </a:xfrm>
        </p:grpSpPr>
        <p:sp>
          <p:nvSpPr>
            <p:cNvPr id="10641" name="Google Shape;10641;p60"/>
            <p:cNvSpPr/>
            <p:nvPr/>
          </p:nvSpPr>
          <p:spPr>
            <a:xfrm>
              <a:off x="3226110" y="1659042"/>
              <a:ext cx="87557" cy="29568"/>
            </a:xfrm>
            <a:custGeom>
              <a:avLst/>
              <a:gdLst/>
              <a:ahLst/>
              <a:cxnLst/>
              <a:rect l="l" t="t" r="r" b="b"/>
              <a:pathLst>
                <a:path w="2751" h="929" extrusionOk="0">
                  <a:moveTo>
                    <a:pt x="1099" y="0"/>
                  </a:moveTo>
                  <a:cubicBezTo>
                    <a:pt x="771" y="0"/>
                    <a:pt x="476" y="33"/>
                    <a:pt x="286" y="60"/>
                  </a:cubicBezTo>
                  <a:cubicBezTo>
                    <a:pt x="119" y="96"/>
                    <a:pt x="0" y="227"/>
                    <a:pt x="0" y="393"/>
                  </a:cubicBezTo>
                  <a:lnTo>
                    <a:pt x="0" y="762"/>
                  </a:lnTo>
                  <a:cubicBezTo>
                    <a:pt x="0" y="846"/>
                    <a:pt x="72" y="929"/>
                    <a:pt x="167" y="929"/>
                  </a:cubicBezTo>
                  <a:cubicBezTo>
                    <a:pt x="250" y="929"/>
                    <a:pt x="322" y="846"/>
                    <a:pt x="322" y="762"/>
                  </a:cubicBezTo>
                  <a:lnTo>
                    <a:pt x="322" y="393"/>
                  </a:lnTo>
                  <a:cubicBezTo>
                    <a:pt x="322" y="393"/>
                    <a:pt x="322" y="369"/>
                    <a:pt x="345" y="369"/>
                  </a:cubicBezTo>
                  <a:cubicBezTo>
                    <a:pt x="509" y="350"/>
                    <a:pt x="813" y="315"/>
                    <a:pt x="1144" y="315"/>
                  </a:cubicBezTo>
                  <a:cubicBezTo>
                    <a:pt x="1222" y="315"/>
                    <a:pt x="1302" y="317"/>
                    <a:pt x="1381" y="322"/>
                  </a:cubicBezTo>
                  <a:cubicBezTo>
                    <a:pt x="1893" y="358"/>
                    <a:pt x="2250" y="488"/>
                    <a:pt x="2465" y="703"/>
                  </a:cubicBezTo>
                  <a:cubicBezTo>
                    <a:pt x="2494" y="733"/>
                    <a:pt x="2536" y="747"/>
                    <a:pt x="2578" y="747"/>
                  </a:cubicBezTo>
                  <a:cubicBezTo>
                    <a:pt x="2619" y="747"/>
                    <a:pt x="2661" y="733"/>
                    <a:pt x="2691" y="703"/>
                  </a:cubicBezTo>
                  <a:cubicBezTo>
                    <a:pt x="2750" y="643"/>
                    <a:pt x="2750" y="536"/>
                    <a:pt x="2679" y="477"/>
                  </a:cubicBezTo>
                  <a:cubicBezTo>
                    <a:pt x="2297" y="95"/>
                    <a:pt x="1652" y="0"/>
                    <a:pt x="10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2" name="Google Shape;10642;p60"/>
            <p:cNvSpPr/>
            <p:nvPr/>
          </p:nvSpPr>
          <p:spPr>
            <a:xfrm>
              <a:off x="3171144" y="1612033"/>
              <a:ext cx="196694" cy="245613"/>
            </a:xfrm>
            <a:custGeom>
              <a:avLst/>
              <a:gdLst/>
              <a:ahLst/>
              <a:cxnLst/>
              <a:rect l="l" t="t" r="r" b="b"/>
              <a:pathLst>
                <a:path w="6180" h="7717" extrusionOk="0">
                  <a:moveTo>
                    <a:pt x="4835" y="334"/>
                  </a:moveTo>
                  <a:lnTo>
                    <a:pt x="4835" y="1894"/>
                  </a:lnTo>
                  <a:cubicBezTo>
                    <a:pt x="4835" y="2132"/>
                    <a:pt x="4775" y="2358"/>
                    <a:pt x="4692" y="2561"/>
                  </a:cubicBezTo>
                  <a:cubicBezTo>
                    <a:pt x="4668" y="2585"/>
                    <a:pt x="4668" y="2608"/>
                    <a:pt x="4668" y="2644"/>
                  </a:cubicBezTo>
                  <a:lnTo>
                    <a:pt x="4668" y="3097"/>
                  </a:lnTo>
                  <a:cubicBezTo>
                    <a:pt x="4668" y="3537"/>
                    <a:pt x="4489" y="3930"/>
                    <a:pt x="4180" y="4228"/>
                  </a:cubicBezTo>
                  <a:cubicBezTo>
                    <a:pt x="3900" y="4497"/>
                    <a:pt x="3532" y="4649"/>
                    <a:pt x="3129" y="4649"/>
                  </a:cubicBezTo>
                  <a:cubicBezTo>
                    <a:pt x="3087" y="4649"/>
                    <a:pt x="3044" y="4648"/>
                    <a:pt x="3001" y="4644"/>
                  </a:cubicBezTo>
                  <a:cubicBezTo>
                    <a:pt x="2168" y="4597"/>
                    <a:pt x="1537" y="3894"/>
                    <a:pt x="1537" y="3037"/>
                  </a:cubicBezTo>
                  <a:lnTo>
                    <a:pt x="1537" y="2644"/>
                  </a:lnTo>
                  <a:cubicBezTo>
                    <a:pt x="1537" y="2608"/>
                    <a:pt x="1537" y="2597"/>
                    <a:pt x="1513" y="2561"/>
                  </a:cubicBezTo>
                  <a:cubicBezTo>
                    <a:pt x="1418" y="2358"/>
                    <a:pt x="1370" y="2120"/>
                    <a:pt x="1370" y="1894"/>
                  </a:cubicBezTo>
                  <a:lnTo>
                    <a:pt x="1370" y="1549"/>
                  </a:lnTo>
                  <a:cubicBezTo>
                    <a:pt x="1370" y="882"/>
                    <a:pt x="1918" y="334"/>
                    <a:pt x="2584" y="334"/>
                  </a:cubicBezTo>
                  <a:close/>
                  <a:moveTo>
                    <a:pt x="3954" y="4763"/>
                  </a:moveTo>
                  <a:lnTo>
                    <a:pt x="3954" y="5061"/>
                  </a:lnTo>
                  <a:lnTo>
                    <a:pt x="3096" y="5656"/>
                  </a:lnTo>
                  <a:lnTo>
                    <a:pt x="2215" y="5061"/>
                  </a:lnTo>
                  <a:lnTo>
                    <a:pt x="2215" y="4763"/>
                  </a:lnTo>
                  <a:cubicBezTo>
                    <a:pt x="2441" y="4883"/>
                    <a:pt x="2691" y="4966"/>
                    <a:pt x="2965" y="4978"/>
                  </a:cubicBezTo>
                  <a:lnTo>
                    <a:pt x="3096" y="4978"/>
                  </a:lnTo>
                  <a:cubicBezTo>
                    <a:pt x="3406" y="4978"/>
                    <a:pt x="3704" y="4894"/>
                    <a:pt x="3954" y="4763"/>
                  </a:cubicBezTo>
                  <a:close/>
                  <a:moveTo>
                    <a:pt x="2084" y="5359"/>
                  </a:moveTo>
                  <a:lnTo>
                    <a:pt x="2846" y="5883"/>
                  </a:lnTo>
                  <a:lnTo>
                    <a:pt x="2441" y="6276"/>
                  </a:lnTo>
                  <a:lnTo>
                    <a:pt x="2430" y="6276"/>
                  </a:lnTo>
                  <a:lnTo>
                    <a:pt x="1918" y="5525"/>
                  </a:lnTo>
                  <a:lnTo>
                    <a:pt x="2084" y="5359"/>
                  </a:lnTo>
                  <a:close/>
                  <a:moveTo>
                    <a:pt x="4108" y="5347"/>
                  </a:moveTo>
                  <a:lnTo>
                    <a:pt x="4275" y="5514"/>
                  </a:lnTo>
                  <a:lnTo>
                    <a:pt x="3763" y="6276"/>
                  </a:lnTo>
                  <a:lnTo>
                    <a:pt x="3751" y="6276"/>
                  </a:lnTo>
                  <a:lnTo>
                    <a:pt x="3346" y="5871"/>
                  </a:lnTo>
                  <a:lnTo>
                    <a:pt x="4108" y="5347"/>
                  </a:lnTo>
                  <a:close/>
                  <a:moveTo>
                    <a:pt x="2572" y="1"/>
                  </a:moveTo>
                  <a:cubicBezTo>
                    <a:pt x="1727" y="1"/>
                    <a:pt x="1037" y="692"/>
                    <a:pt x="1037" y="1537"/>
                  </a:cubicBezTo>
                  <a:lnTo>
                    <a:pt x="1037" y="1882"/>
                  </a:lnTo>
                  <a:cubicBezTo>
                    <a:pt x="1037" y="2144"/>
                    <a:pt x="1096" y="2418"/>
                    <a:pt x="1215" y="2668"/>
                  </a:cubicBezTo>
                  <a:lnTo>
                    <a:pt x="1215" y="3025"/>
                  </a:lnTo>
                  <a:cubicBezTo>
                    <a:pt x="1215" y="3620"/>
                    <a:pt x="1489" y="4168"/>
                    <a:pt x="1906" y="4525"/>
                  </a:cubicBezTo>
                  <a:lnTo>
                    <a:pt x="1906" y="5061"/>
                  </a:lnTo>
                  <a:lnTo>
                    <a:pt x="1608" y="5383"/>
                  </a:lnTo>
                  <a:cubicBezTo>
                    <a:pt x="1572" y="5406"/>
                    <a:pt x="1560" y="5454"/>
                    <a:pt x="1560" y="5502"/>
                  </a:cubicBezTo>
                  <a:lnTo>
                    <a:pt x="560" y="5859"/>
                  </a:lnTo>
                  <a:cubicBezTo>
                    <a:pt x="239" y="5978"/>
                    <a:pt x="1" y="6299"/>
                    <a:pt x="1" y="6657"/>
                  </a:cubicBezTo>
                  <a:lnTo>
                    <a:pt x="1" y="7549"/>
                  </a:lnTo>
                  <a:cubicBezTo>
                    <a:pt x="1" y="7645"/>
                    <a:pt x="72" y="7716"/>
                    <a:pt x="167" y="7716"/>
                  </a:cubicBezTo>
                  <a:cubicBezTo>
                    <a:pt x="251" y="7716"/>
                    <a:pt x="322" y="7645"/>
                    <a:pt x="322" y="7549"/>
                  </a:cubicBezTo>
                  <a:lnTo>
                    <a:pt x="322" y="6657"/>
                  </a:lnTo>
                  <a:cubicBezTo>
                    <a:pt x="322" y="6430"/>
                    <a:pt x="465" y="6240"/>
                    <a:pt x="667" y="6168"/>
                  </a:cubicBezTo>
                  <a:lnTo>
                    <a:pt x="1715" y="5775"/>
                  </a:lnTo>
                  <a:lnTo>
                    <a:pt x="2144" y="6430"/>
                  </a:lnTo>
                  <a:cubicBezTo>
                    <a:pt x="2203" y="6526"/>
                    <a:pt x="2287" y="6561"/>
                    <a:pt x="2382" y="6585"/>
                  </a:cubicBezTo>
                  <a:lnTo>
                    <a:pt x="2406" y="6585"/>
                  </a:lnTo>
                  <a:cubicBezTo>
                    <a:pt x="2501" y="6585"/>
                    <a:pt x="2584" y="6549"/>
                    <a:pt x="2644" y="6478"/>
                  </a:cubicBezTo>
                  <a:lnTo>
                    <a:pt x="2918" y="6204"/>
                  </a:lnTo>
                  <a:lnTo>
                    <a:pt x="2918" y="7549"/>
                  </a:lnTo>
                  <a:cubicBezTo>
                    <a:pt x="2918" y="7633"/>
                    <a:pt x="2989" y="7716"/>
                    <a:pt x="3084" y="7716"/>
                  </a:cubicBezTo>
                  <a:cubicBezTo>
                    <a:pt x="3168" y="7716"/>
                    <a:pt x="3239" y="7633"/>
                    <a:pt x="3239" y="7549"/>
                  </a:cubicBezTo>
                  <a:lnTo>
                    <a:pt x="3239" y="6204"/>
                  </a:lnTo>
                  <a:lnTo>
                    <a:pt x="3513" y="6478"/>
                  </a:lnTo>
                  <a:cubicBezTo>
                    <a:pt x="3573" y="6537"/>
                    <a:pt x="3656" y="6585"/>
                    <a:pt x="3751" y="6585"/>
                  </a:cubicBezTo>
                  <a:lnTo>
                    <a:pt x="3775" y="6585"/>
                  </a:lnTo>
                  <a:cubicBezTo>
                    <a:pt x="3882" y="6561"/>
                    <a:pt x="3977" y="6526"/>
                    <a:pt x="4013" y="6430"/>
                  </a:cubicBezTo>
                  <a:lnTo>
                    <a:pt x="4454" y="5775"/>
                  </a:lnTo>
                  <a:lnTo>
                    <a:pt x="5489" y="6168"/>
                  </a:lnTo>
                  <a:cubicBezTo>
                    <a:pt x="5704" y="6240"/>
                    <a:pt x="5835" y="6430"/>
                    <a:pt x="5835" y="6657"/>
                  </a:cubicBezTo>
                  <a:lnTo>
                    <a:pt x="5835" y="7549"/>
                  </a:lnTo>
                  <a:cubicBezTo>
                    <a:pt x="5835" y="7645"/>
                    <a:pt x="5906" y="7716"/>
                    <a:pt x="6001" y="7716"/>
                  </a:cubicBezTo>
                  <a:cubicBezTo>
                    <a:pt x="6085" y="7716"/>
                    <a:pt x="6156" y="7645"/>
                    <a:pt x="6156" y="7549"/>
                  </a:cubicBezTo>
                  <a:lnTo>
                    <a:pt x="6156" y="6657"/>
                  </a:lnTo>
                  <a:cubicBezTo>
                    <a:pt x="6180" y="6311"/>
                    <a:pt x="5954" y="6002"/>
                    <a:pt x="5620" y="5883"/>
                  </a:cubicBezTo>
                  <a:lnTo>
                    <a:pt x="4632" y="5525"/>
                  </a:lnTo>
                  <a:cubicBezTo>
                    <a:pt x="4632" y="5478"/>
                    <a:pt x="4608" y="5442"/>
                    <a:pt x="4585" y="5406"/>
                  </a:cubicBezTo>
                  <a:lnTo>
                    <a:pt x="4287" y="5097"/>
                  </a:lnTo>
                  <a:lnTo>
                    <a:pt x="4287" y="4549"/>
                  </a:lnTo>
                  <a:cubicBezTo>
                    <a:pt x="4311" y="4513"/>
                    <a:pt x="4346" y="4490"/>
                    <a:pt x="4370" y="4466"/>
                  </a:cubicBezTo>
                  <a:cubicBezTo>
                    <a:pt x="4751" y="4109"/>
                    <a:pt x="4966" y="3620"/>
                    <a:pt x="4966" y="3097"/>
                  </a:cubicBezTo>
                  <a:lnTo>
                    <a:pt x="4966" y="2680"/>
                  </a:lnTo>
                  <a:cubicBezTo>
                    <a:pt x="5085" y="2430"/>
                    <a:pt x="5144" y="2180"/>
                    <a:pt x="5144" y="1894"/>
                  </a:cubicBezTo>
                  <a:lnTo>
                    <a:pt x="5144" y="168"/>
                  </a:lnTo>
                  <a:cubicBezTo>
                    <a:pt x="5144" y="72"/>
                    <a:pt x="5073" y="1"/>
                    <a:pt x="4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3" name="Google Shape;10643;p60"/>
            <p:cNvSpPr/>
            <p:nvPr/>
          </p:nvSpPr>
          <p:spPr>
            <a:xfrm>
              <a:off x="3204117" y="1836767"/>
              <a:ext cx="10630" cy="21261"/>
            </a:xfrm>
            <a:custGeom>
              <a:avLst/>
              <a:gdLst/>
              <a:ahLst/>
              <a:cxnLst/>
              <a:rect l="l" t="t" r="r" b="b"/>
              <a:pathLst>
                <a:path w="334" h="668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6"/>
                    <a:pt x="84" y="667"/>
                    <a:pt x="167" y="667"/>
                  </a:cubicBezTo>
                  <a:cubicBezTo>
                    <a:pt x="262" y="667"/>
                    <a:pt x="334" y="596"/>
                    <a:pt x="334" y="500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4" name="Google Shape;10644;p60"/>
            <p:cNvSpPr/>
            <p:nvPr/>
          </p:nvSpPr>
          <p:spPr>
            <a:xfrm>
              <a:off x="3324616" y="1836767"/>
              <a:ext cx="10280" cy="21261"/>
            </a:xfrm>
            <a:custGeom>
              <a:avLst/>
              <a:gdLst/>
              <a:ahLst/>
              <a:cxnLst/>
              <a:rect l="l" t="t" r="r" b="b"/>
              <a:pathLst>
                <a:path w="323" h="668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6"/>
                    <a:pt x="72" y="667"/>
                    <a:pt x="167" y="667"/>
                  </a:cubicBezTo>
                  <a:cubicBezTo>
                    <a:pt x="251" y="667"/>
                    <a:pt x="322" y="596"/>
                    <a:pt x="322" y="500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5" name="Google Shape;10645;p60"/>
            <p:cNvSpPr/>
            <p:nvPr/>
          </p:nvSpPr>
          <p:spPr>
            <a:xfrm>
              <a:off x="3122257" y="1508594"/>
              <a:ext cx="294850" cy="278554"/>
            </a:xfrm>
            <a:custGeom>
              <a:avLst/>
              <a:gdLst/>
              <a:ahLst/>
              <a:cxnLst/>
              <a:rect l="l" t="t" r="r" b="b"/>
              <a:pathLst>
                <a:path w="9264" h="8752" extrusionOk="0">
                  <a:moveTo>
                    <a:pt x="3096" y="584"/>
                  </a:moveTo>
                  <a:lnTo>
                    <a:pt x="3096" y="584"/>
                  </a:lnTo>
                  <a:cubicBezTo>
                    <a:pt x="2858" y="798"/>
                    <a:pt x="2620" y="1060"/>
                    <a:pt x="2430" y="1382"/>
                  </a:cubicBezTo>
                  <a:cubicBezTo>
                    <a:pt x="2299" y="1584"/>
                    <a:pt x="2156" y="1810"/>
                    <a:pt x="2061" y="2048"/>
                  </a:cubicBezTo>
                  <a:lnTo>
                    <a:pt x="1168" y="2048"/>
                  </a:lnTo>
                  <a:cubicBezTo>
                    <a:pt x="1656" y="1394"/>
                    <a:pt x="2322" y="882"/>
                    <a:pt x="3096" y="584"/>
                  </a:cubicBezTo>
                  <a:close/>
                  <a:moveTo>
                    <a:pt x="4466" y="310"/>
                  </a:moveTo>
                  <a:lnTo>
                    <a:pt x="4466" y="2048"/>
                  </a:lnTo>
                  <a:lnTo>
                    <a:pt x="2418" y="2048"/>
                  </a:lnTo>
                  <a:cubicBezTo>
                    <a:pt x="2894" y="1048"/>
                    <a:pt x="3632" y="382"/>
                    <a:pt x="4466" y="310"/>
                  </a:cubicBezTo>
                  <a:close/>
                  <a:moveTo>
                    <a:pt x="4799" y="310"/>
                  </a:moveTo>
                  <a:cubicBezTo>
                    <a:pt x="5644" y="382"/>
                    <a:pt x="6371" y="1048"/>
                    <a:pt x="6847" y="2048"/>
                  </a:cubicBezTo>
                  <a:lnTo>
                    <a:pt x="4799" y="2048"/>
                  </a:lnTo>
                  <a:lnTo>
                    <a:pt x="4799" y="310"/>
                  </a:lnTo>
                  <a:close/>
                  <a:moveTo>
                    <a:pt x="6168" y="608"/>
                  </a:moveTo>
                  <a:cubicBezTo>
                    <a:pt x="6942" y="905"/>
                    <a:pt x="7609" y="1405"/>
                    <a:pt x="8097" y="2060"/>
                  </a:cubicBezTo>
                  <a:lnTo>
                    <a:pt x="7204" y="2060"/>
                  </a:lnTo>
                  <a:cubicBezTo>
                    <a:pt x="7097" y="1810"/>
                    <a:pt x="6966" y="1584"/>
                    <a:pt x="6835" y="1382"/>
                  </a:cubicBezTo>
                  <a:cubicBezTo>
                    <a:pt x="6621" y="1072"/>
                    <a:pt x="6406" y="810"/>
                    <a:pt x="6168" y="608"/>
                  </a:cubicBezTo>
                  <a:close/>
                  <a:moveTo>
                    <a:pt x="1941" y="2382"/>
                  </a:moveTo>
                  <a:cubicBezTo>
                    <a:pt x="1703" y="3013"/>
                    <a:pt x="1560" y="3715"/>
                    <a:pt x="1549" y="4465"/>
                  </a:cubicBezTo>
                  <a:lnTo>
                    <a:pt x="322" y="4465"/>
                  </a:lnTo>
                  <a:cubicBezTo>
                    <a:pt x="358" y="3703"/>
                    <a:pt x="584" y="2989"/>
                    <a:pt x="953" y="2382"/>
                  </a:cubicBezTo>
                  <a:close/>
                  <a:moveTo>
                    <a:pt x="8323" y="2382"/>
                  </a:moveTo>
                  <a:cubicBezTo>
                    <a:pt x="8692" y="2989"/>
                    <a:pt x="8919" y="3703"/>
                    <a:pt x="8942" y="4465"/>
                  </a:cubicBezTo>
                  <a:lnTo>
                    <a:pt x="7728" y="4465"/>
                  </a:lnTo>
                  <a:cubicBezTo>
                    <a:pt x="7692" y="3715"/>
                    <a:pt x="7561" y="3013"/>
                    <a:pt x="7335" y="2382"/>
                  </a:cubicBezTo>
                  <a:close/>
                  <a:moveTo>
                    <a:pt x="1537" y="4787"/>
                  </a:moveTo>
                  <a:cubicBezTo>
                    <a:pt x="1560" y="5466"/>
                    <a:pt x="1668" y="6132"/>
                    <a:pt x="1882" y="6739"/>
                  </a:cubicBezTo>
                  <a:lnTo>
                    <a:pt x="1918" y="6870"/>
                  </a:lnTo>
                  <a:lnTo>
                    <a:pt x="941" y="6870"/>
                  </a:lnTo>
                  <a:cubicBezTo>
                    <a:pt x="572" y="6239"/>
                    <a:pt x="346" y="5525"/>
                    <a:pt x="310" y="4787"/>
                  </a:cubicBezTo>
                  <a:close/>
                  <a:moveTo>
                    <a:pt x="8919" y="4787"/>
                  </a:moveTo>
                  <a:cubicBezTo>
                    <a:pt x="8919" y="5501"/>
                    <a:pt x="8704" y="6204"/>
                    <a:pt x="8347" y="6811"/>
                  </a:cubicBezTo>
                  <a:cubicBezTo>
                    <a:pt x="8335" y="6823"/>
                    <a:pt x="8323" y="6859"/>
                    <a:pt x="8311" y="6870"/>
                  </a:cubicBezTo>
                  <a:lnTo>
                    <a:pt x="7323" y="6870"/>
                  </a:lnTo>
                  <a:lnTo>
                    <a:pt x="7371" y="6739"/>
                  </a:lnTo>
                  <a:cubicBezTo>
                    <a:pt x="7573" y="6120"/>
                    <a:pt x="7680" y="5466"/>
                    <a:pt x="7692" y="4787"/>
                  </a:cubicBezTo>
                  <a:close/>
                  <a:moveTo>
                    <a:pt x="4632" y="1"/>
                  </a:moveTo>
                  <a:cubicBezTo>
                    <a:pt x="3394" y="1"/>
                    <a:pt x="2239" y="477"/>
                    <a:pt x="1358" y="1346"/>
                  </a:cubicBezTo>
                  <a:cubicBezTo>
                    <a:pt x="477" y="2227"/>
                    <a:pt x="1" y="3382"/>
                    <a:pt x="1" y="4620"/>
                  </a:cubicBezTo>
                  <a:cubicBezTo>
                    <a:pt x="1" y="6358"/>
                    <a:pt x="953" y="7930"/>
                    <a:pt x="2501" y="8728"/>
                  </a:cubicBezTo>
                  <a:cubicBezTo>
                    <a:pt x="2537" y="8752"/>
                    <a:pt x="2549" y="8752"/>
                    <a:pt x="2573" y="8752"/>
                  </a:cubicBezTo>
                  <a:cubicBezTo>
                    <a:pt x="2632" y="8752"/>
                    <a:pt x="2692" y="8716"/>
                    <a:pt x="2727" y="8656"/>
                  </a:cubicBezTo>
                  <a:cubicBezTo>
                    <a:pt x="2775" y="8585"/>
                    <a:pt x="2739" y="8478"/>
                    <a:pt x="2656" y="8430"/>
                  </a:cubicBezTo>
                  <a:cubicBezTo>
                    <a:pt x="2061" y="8121"/>
                    <a:pt x="1560" y="7692"/>
                    <a:pt x="1179" y="7180"/>
                  </a:cubicBezTo>
                  <a:lnTo>
                    <a:pt x="2072" y="7180"/>
                  </a:lnTo>
                  <a:cubicBezTo>
                    <a:pt x="2263" y="7632"/>
                    <a:pt x="2513" y="8013"/>
                    <a:pt x="2799" y="8335"/>
                  </a:cubicBezTo>
                  <a:cubicBezTo>
                    <a:pt x="2831" y="8368"/>
                    <a:pt x="2879" y="8386"/>
                    <a:pt x="2924" y="8386"/>
                  </a:cubicBezTo>
                  <a:cubicBezTo>
                    <a:pt x="2962" y="8386"/>
                    <a:pt x="2998" y="8374"/>
                    <a:pt x="3025" y="8347"/>
                  </a:cubicBezTo>
                  <a:cubicBezTo>
                    <a:pt x="3084" y="8287"/>
                    <a:pt x="3096" y="8180"/>
                    <a:pt x="3037" y="8121"/>
                  </a:cubicBezTo>
                  <a:cubicBezTo>
                    <a:pt x="2799" y="7859"/>
                    <a:pt x="2596" y="7537"/>
                    <a:pt x="2430" y="7180"/>
                  </a:cubicBezTo>
                  <a:cubicBezTo>
                    <a:pt x="2501" y="7168"/>
                    <a:pt x="2561" y="7109"/>
                    <a:pt x="2561" y="7025"/>
                  </a:cubicBezTo>
                  <a:cubicBezTo>
                    <a:pt x="2561" y="6930"/>
                    <a:pt x="2489" y="6859"/>
                    <a:pt x="2394" y="6859"/>
                  </a:cubicBezTo>
                  <a:lnTo>
                    <a:pt x="2275" y="6859"/>
                  </a:lnTo>
                  <a:cubicBezTo>
                    <a:pt x="2025" y="6228"/>
                    <a:pt x="1894" y="5513"/>
                    <a:pt x="1882" y="4775"/>
                  </a:cubicBezTo>
                  <a:lnTo>
                    <a:pt x="2061" y="4775"/>
                  </a:lnTo>
                  <a:cubicBezTo>
                    <a:pt x="2144" y="4775"/>
                    <a:pt x="2215" y="4704"/>
                    <a:pt x="2215" y="4608"/>
                  </a:cubicBezTo>
                  <a:cubicBezTo>
                    <a:pt x="2215" y="4513"/>
                    <a:pt x="2144" y="4442"/>
                    <a:pt x="2061" y="4442"/>
                  </a:cubicBezTo>
                  <a:lnTo>
                    <a:pt x="1882" y="4442"/>
                  </a:lnTo>
                  <a:cubicBezTo>
                    <a:pt x="1894" y="3680"/>
                    <a:pt x="2037" y="2965"/>
                    <a:pt x="2275" y="2358"/>
                  </a:cubicBezTo>
                  <a:lnTo>
                    <a:pt x="4478" y="2358"/>
                  </a:lnTo>
                  <a:lnTo>
                    <a:pt x="4478" y="2715"/>
                  </a:lnTo>
                  <a:cubicBezTo>
                    <a:pt x="4478" y="2810"/>
                    <a:pt x="4561" y="2882"/>
                    <a:pt x="4644" y="2882"/>
                  </a:cubicBezTo>
                  <a:cubicBezTo>
                    <a:pt x="4739" y="2882"/>
                    <a:pt x="4811" y="2810"/>
                    <a:pt x="4811" y="2715"/>
                  </a:cubicBezTo>
                  <a:lnTo>
                    <a:pt x="4811" y="2358"/>
                  </a:lnTo>
                  <a:lnTo>
                    <a:pt x="7014" y="2358"/>
                  </a:lnTo>
                  <a:cubicBezTo>
                    <a:pt x="7252" y="2965"/>
                    <a:pt x="7395" y="3680"/>
                    <a:pt x="7418" y="4442"/>
                  </a:cubicBezTo>
                  <a:lnTo>
                    <a:pt x="7204" y="4442"/>
                  </a:lnTo>
                  <a:cubicBezTo>
                    <a:pt x="7121" y="4442"/>
                    <a:pt x="7037" y="4513"/>
                    <a:pt x="7037" y="4608"/>
                  </a:cubicBezTo>
                  <a:cubicBezTo>
                    <a:pt x="7037" y="4704"/>
                    <a:pt x="7121" y="4775"/>
                    <a:pt x="7204" y="4775"/>
                  </a:cubicBezTo>
                  <a:lnTo>
                    <a:pt x="7383" y="4775"/>
                  </a:lnTo>
                  <a:cubicBezTo>
                    <a:pt x="7371" y="5513"/>
                    <a:pt x="7216" y="6228"/>
                    <a:pt x="6978" y="6859"/>
                  </a:cubicBezTo>
                  <a:lnTo>
                    <a:pt x="6859" y="6859"/>
                  </a:lnTo>
                  <a:cubicBezTo>
                    <a:pt x="6775" y="6859"/>
                    <a:pt x="6704" y="6930"/>
                    <a:pt x="6704" y="7025"/>
                  </a:cubicBezTo>
                  <a:cubicBezTo>
                    <a:pt x="6704" y="7109"/>
                    <a:pt x="6764" y="7168"/>
                    <a:pt x="6835" y="7180"/>
                  </a:cubicBezTo>
                  <a:cubicBezTo>
                    <a:pt x="6668" y="7537"/>
                    <a:pt x="6466" y="7859"/>
                    <a:pt x="6228" y="8121"/>
                  </a:cubicBezTo>
                  <a:cubicBezTo>
                    <a:pt x="6168" y="8180"/>
                    <a:pt x="6168" y="8287"/>
                    <a:pt x="6240" y="8347"/>
                  </a:cubicBezTo>
                  <a:cubicBezTo>
                    <a:pt x="6263" y="8371"/>
                    <a:pt x="6311" y="8394"/>
                    <a:pt x="6347" y="8394"/>
                  </a:cubicBezTo>
                  <a:cubicBezTo>
                    <a:pt x="6383" y="8394"/>
                    <a:pt x="6430" y="8371"/>
                    <a:pt x="6466" y="8335"/>
                  </a:cubicBezTo>
                  <a:cubicBezTo>
                    <a:pt x="6740" y="8013"/>
                    <a:pt x="7002" y="7621"/>
                    <a:pt x="7192" y="7180"/>
                  </a:cubicBezTo>
                  <a:lnTo>
                    <a:pt x="8085" y="7180"/>
                  </a:lnTo>
                  <a:cubicBezTo>
                    <a:pt x="7728" y="7656"/>
                    <a:pt x="7299" y="8061"/>
                    <a:pt x="6775" y="8347"/>
                  </a:cubicBezTo>
                  <a:cubicBezTo>
                    <a:pt x="6704" y="8394"/>
                    <a:pt x="6668" y="8490"/>
                    <a:pt x="6716" y="8573"/>
                  </a:cubicBezTo>
                  <a:cubicBezTo>
                    <a:pt x="6749" y="8622"/>
                    <a:pt x="6804" y="8649"/>
                    <a:pt x="6863" y="8649"/>
                  </a:cubicBezTo>
                  <a:cubicBezTo>
                    <a:pt x="6889" y="8649"/>
                    <a:pt x="6916" y="8644"/>
                    <a:pt x="6942" y="8633"/>
                  </a:cubicBezTo>
                  <a:cubicBezTo>
                    <a:pt x="7621" y="8228"/>
                    <a:pt x="8204" y="7644"/>
                    <a:pt x="8621" y="6966"/>
                  </a:cubicBezTo>
                  <a:cubicBezTo>
                    <a:pt x="9038" y="6251"/>
                    <a:pt x="9264" y="5442"/>
                    <a:pt x="9264" y="4608"/>
                  </a:cubicBezTo>
                  <a:cubicBezTo>
                    <a:pt x="9264" y="3382"/>
                    <a:pt x="8788" y="2227"/>
                    <a:pt x="7907" y="1346"/>
                  </a:cubicBezTo>
                  <a:cubicBezTo>
                    <a:pt x="7025" y="477"/>
                    <a:pt x="5871" y="1"/>
                    <a:pt x="4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46" name="Google Shape;10646;p60"/>
          <p:cNvGrpSpPr/>
          <p:nvPr/>
        </p:nvGrpSpPr>
        <p:grpSpPr>
          <a:xfrm>
            <a:off x="910723" y="1508212"/>
            <a:ext cx="251660" cy="350166"/>
            <a:chOff x="910723" y="1508212"/>
            <a:chExt cx="251660" cy="350166"/>
          </a:xfrm>
        </p:grpSpPr>
        <p:sp>
          <p:nvSpPr>
            <p:cNvPr id="10647" name="Google Shape;10647;p60"/>
            <p:cNvSpPr/>
            <p:nvPr/>
          </p:nvSpPr>
          <p:spPr>
            <a:xfrm>
              <a:off x="910723" y="1508212"/>
              <a:ext cx="251660" cy="350166"/>
            </a:xfrm>
            <a:custGeom>
              <a:avLst/>
              <a:gdLst/>
              <a:ahLst/>
              <a:cxnLst/>
              <a:rect l="l" t="t" r="r" b="b"/>
              <a:pathLst>
                <a:path w="7907" h="11002" extrusionOk="0">
                  <a:moveTo>
                    <a:pt x="3942" y="334"/>
                  </a:moveTo>
                  <a:cubicBezTo>
                    <a:pt x="4132" y="334"/>
                    <a:pt x="4299" y="441"/>
                    <a:pt x="4394" y="608"/>
                  </a:cubicBezTo>
                  <a:cubicBezTo>
                    <a:pt x="4418" y="644"/>
                    <a:pt x="4466" y="679"/>
                    <a:pt x="4525" y="679"/>
                  </a:cubicBezTo>
                  <a:lnTo>
                    <a:pt x="5132" y="679"/>
                  </a:lnTo>
                  <a:cubicBezTo>
                    <a:pt x="5240" y="679"/>
                    <a:pt x="5311" y="763"/>
                    <a:pt x="5311" y="858"/>
                  </a:cubicBezTo>
                  <a:lnTo>
                    <a:pt x="5311" y="1382"/>
                  </a:lnTo>
                  <a:lnTo>
                    <a:pt x="2573" y="1382"/>
                  </a:lnTo>
                  <a:lnTo>
                    <a:pt x="2573" y="858"/>
                  </a:lnTo>
                  <a:cubicBezTo>
                    <a:pt x="2573" y="751"/>
                    <a:pt x="2668" y="679"/>
                    <a:pt x="2751" y="679"/>
                  </a:cubicBezTo>
                  <a:lnTo>
                    <a:pt x="3358" y="679"/>
                  </a:lnTo>
                  <a:cubicBezTo>
                    <a:pt x="3418" y="679"/>
                    <a:pt x="3466" y="644"/>
                    <a:pt x="3501" y="608"/>
                  </a:cubicBezTo>
                  <a:cubicBezTo>
                    <a:pt x="3585" y="441"/>
                    <a:pt x="3763" y="334"/>
                    <a:pt x="3942" y="334"/>
                  </a:cubicBezTo>
                  <a:close/>
                  <a:moveTo>
                    <a:pt x="7240" y="1013"/>
                  </a:moveTo>
                  <a:cubicBezTo>
                    <a:pt x="7442" y="1013"/>
                    <a:pt x="7609" y="1179"/>
                    <a:pt x="7609" y="1370"/>
                  </a:cubicBezTo>
                  <a:lnTo>
                    <a:pt x="7609" y="10323"/>
                  </a:lnTo>
                  <a:lnTo>
                    <a:pt x="7585" y="10323"/>
                  </a:lnTo>
                  <a:cubicBezTo>
                    <a:pt x="7585" y="10514"/>
                    <a:pt x="7430" y="10681"/>
                    <a:pt x="7228" y="10681"/>
                  </a:cubicBezTo>
                  <a:lnTo>
                    <a:pt x="691" y="10681"/>
                  </a:lnTo>
                  <a:cubicBezTo>
                    <a:pt x="501" y="10681"/>
                    <a:pt x="334" y="10514"/>
                    <a:pt x="334" y="10323"/>
                  </a:cubicBezTo>
                  <a:lnTo>
                    <a:pt x="334" y="1370"/>
                  </a:lnTo>
                  <a:cubicBezTo>
                    <a:pt x="334" y="1179"/>
                    <a:pt x="501" y="1013"/>
                    <a:pt x="691" y="1013"/>
                  </a:cubicBezTo>
                  <a:lnTo>
                    <a:pt x="2263" y="1013"/>
                  </a:lnTo>
                  <a:lnTo>
                    <a:pt x="2263" y="1537"/>
                  </a:lnTo>
                  <a:cubicBezTo>
                    <a:pt x="2263" y="1632"/>
                    <a:pt x="2335" y="1703"/>
                    <a:pt x="2418" y="1703"/>
                  </a:cubicBezTo>
                  <a:lnTo>
                    <a:pt x="5525" y="1703"/>
                  </a:lnTo>
                  <a:cubicBezTo>
                    <a:pt x="5609" y="1703"/>
                    <a:pt x="5680" y="1632"/>
                    <a:pt x="5680" y="1537"/>
                  </a:cubicBezTo>
                  <a:lnTo>
                    <a:pt x="5680" y="1013"/>
                  </a:lnTo>
                  <a:close/>
                  <a:moveTo>
                    <a:pt x="3954" y="1"/>
                  </a:moveTo>
                  <a:cubicBezTo>
                    <a:pt x="3692" y="1"/>
                    <a:pt x="3442" y="144"/>
                    <a:pt x="3275" y="346"/>
                  </a:cubicBezTo>
                  <a:lnTo>
                    <a:pt x="2751" y="346"/>
                  </a:lnTo>
                  <a:cubicBezTo>
                    <a:pt x="2525" y="346"/>
                    <a:pt x="2335" y="501"/>
                    <a:pt x="2275" y="691"/>
                  </a:cubicBezTo>
                  <a:lnTo>
                    <a:pt x="680" y="691"/>
                  </a:lnTo>
                  <a:cubicBezTo>
                    <a:pt x="310" y="691"/>
                    <a:pt x="1" y="989"/>
                    <a:pt x="1" y="1382"/>
                  </a:cubicBezTo>
                  <a:lnTo>
                    <a:pt x="1" y="10323"/>
                  </a:lnTo>
                  <a:cubicBezTo>
                    <a:pt x="1" y="10692"/>
                    <a:pt x="299" y="11002"/>
                    <a:pt x="680" y="11002"/>
                  </a:cubicBezTo>
                  <a:lnTo>
                    <a:pt x="7216" y="11002"/>
                  </a:lnTo>
                  <a:cubicBezTo>
                    <a:pt x="7585" y="11002"/>
                    <a:pt x="7907" y="10704"/>
                    <a:pt x="7907" y="10323"/>
                  </a:cubicBezTo>
                  <a:lnTo>
                    <a:pt x="7907" y="1382"/>
                  </a:lnTo>
                  <a:cubicBezTo>
                    <a:pt x="7907" y="989"/>
                    <a:pt x="7609" y="691"/>
                    <a:pt x="7228" y="691"/>
                  </a:cubicBezTo>
                  <a:lnTo>
                    <a:pt x="5644" y="691"/>
                  </a:lnTo>
                  <a:cubicBezTo>
                    <a:pt x="5561" y="501"/>
                    <a:pt x="5383" y="346"/>
                    <a:pt x="5168" y="346"/>
                  </a:cubicBezTo>
                  <a:lnTo>
                    <a:pt x="4644" y="346"/>
                  </a:lnTo>
                  <a:cubicBezTo>
                    <a:pt x="4478" y="144"/>
                    <a:pt x="4228" y="1"/>
                    <a:pt x="3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8" name="Google Shape;10648;p60"/>
            <p:cNvSpPr/>
            <p:nvPr/>
          </p:nvSpPr>
          <p:spPr>
            <a:xfrm>
              <a:off x="1031604" y="1530205"/>
              <a:ext cx="10280" cy="10248"/>
            </a:xfrm>
            <a:custGeom>
              <a:avLst/>
              <a:gdLst/>
              <a:ahLst/>
              <a:cxnLst/>
              <a:rect l="l" t="t" r="r" b="b"/>
              <a:pathLst>
                <a:path w="32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cubicBezTo>
                    <a:pt x="251" y="322"/>
                    <a:pt x="322" y="250"/>
                    <a:pt x="322" y="167"/>
                  </a:cubicBez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9" name="Google Shape;10649;p60"/>
            <p:cNvSpPr/>
            <p:nvPr/>
          </p:nvSpPr>
          <p:spPr>
            <a:xfrm>
              <a:off x="932334" y="1551784"/>
              <a:ext cx="208088" cy="273653"/>
            </a:xfrm>
            <a:custGeom>
              <a:avLst/>
              <a:gdLst/>
              <a:ahLst/>
              <a:cxnLst/>
              <a:rect l="l" t="t" r="r" b="b"/>
              <a:pathLst>
                <a:path w="6538" h="8598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lnTo>
                    <a:pt x="1" y="8430"/>
                  </a:lnTo>
                  <a:cubicBezTo>
                    <a:pt x="1" y="8526"/>
                    <a:pt x="72" y="8597"/>
                    <a:pt x="167" y="8597"/>
                  </a:cubicBezTo>
                  <a:lnTo>
                    <a:pt x="6358" y="8597"/>
                  </a:lnTo>
                  <a:cubicBezTo>
                    <a:pt x="6442" y="8597"/>
                    <a:pt x="6525" y="8526"/>
                    <a:pt x="6525" y="8430"/>
                  </a:cubicBezTo>
                  <a:lnTo>
                    <a:pt x="6525" y="168"/>
                  </a:lnTo>
                  <a:cubicBezTo>
                    <a:pt x="6537" y="84"/>
                    <a:pt x="6466" y="13"/>
                    <a:pt x="6370" y="13"/>
                  </a:cubicBezTo>
                  <a:lnTo>
                    <a:pt x="5513" y="13"/>
                  </a:lnTo>
                  <a:cubicBezTo>
                    <a:pt x="5418" y="13"/>
                    <a:pt x="5346" y="84"/>
                    <a:pt x="5346" y="168"/>
                  </a:cubicBezTo>
                  <a:cubicBezTo>
                    <a:pt x="5346" y="263"/>
                    <a:pt x="5418" y="334"/>
                    <a:pt x="5513" y="334"/>
                  </a:cubicBezTo>
                  <a:lnTo>
                    <a:pt x="6204" y="334"/>
                  </a:lnTo>
                  <a:lnTo>
                    <a:pt x="6204" y="8264"/>
                  </a:lnTo>
                  <a:lnTo>
                    <a:pt x="334" y="8264"/>
                  </a:lnTo>
                  <a:lnTo>
                    <a:pt x="334" y="334"/>
                  </a:lnTo>
                  <a:lnTo>
                    <a:pt x="1024" y="334"/>
                  </a:lnTo>
                  <a:cubicBezTo>
                    <a:pt x="1120" y="334"/>
                    <a:pt x="1191" y="263"/>
                    <a:pt x="1191" y="168"/>
                  </a:cubicBezTo>
                  <a:cubicBezTo>
                    <a:pt x="1191" y="84"/>
                    <a:pt x="1120" y="1"/>
                    <a:pt x="1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0" name="Google Shape;10650;p60"/>
            <p:cNvSpPr/>
            <p:nvPr/>
          </p:nvSpPr>
          <p:spPr>
            <a:xfrm>
              <a:off x="965689" y="1661302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5"/>
                  </a:cubicBezTo>
                  <a:cubicBezTo>
                    <a:pt x="703" y="620"/>
                    <a:pt x="608" y="703"/>
                    <a:pt x="500" y="703"/>
                  </a:cubicBezTo>
                  <a:cubicBezTo>
                    <a:pt x="405" y="703"/>
                    <a:pt x="322" y="620"/>
                    <a:pt x="322" y="525"/>
                  </a:cubicBezTo>
                  <a:cubicBezTo>
                    <a:pt x="322" y="417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513"/>
                  </a:cubicBezTo>
                  <a:cubicBezTo>
                    <a:pt x="0" y="787"/>
                    <a:pt x="227" y="1013"/>
                    <a:pt x="500" y="1013"/>
                  </a:cubicBezTo>
                  <a:cubicBezTo>
                    <a:pt x="786" y="1013"/>
                    <a:pt x="1012" y="787"/>
                    <a:pt x="1012" y="513"/>
                  </a:cubicBezTo>
                  <a:cubicBezTo>
                    <a:pt x="1012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1" name="Google Shape;10651;p60"/>
            <p:cNvSpPr/>
            <p:nvPr/>
          </p:nvSpPr>
          <p:spPr>
            <a:xfrm>
              <a:off x="965689" y="1710571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4"/>
                  </a:cubicBezTo>
                  <a:cubicBezTo>
                    <a:pt x="679" y="608"/>
                    <a:pt x="608" y="703"/>
                    <a:pt x="500" y="703"/>
                  </a:cubicBezTo>
                  <a:cubicBezTo>
                    <a:pt x="405" y="703"/>
                    <a:pt x="322" y="608"/>
                    <a:pt x="322" y="524"/>
                  </a:cubicBezTo>
                  <a:cubicBezTo>
                    <a:pt x="322" y="441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513"/>
                  </a:cubicBezTo>
                  <a:cubicBezTo>
                    <a:pt x="0" y="786"/>
                    <a:pt x="227" y="1013"/>
                    <a:pt x="500" y="1013"/>
                  </a:cubicBezTo>
                  <a:cubicBezTo>
                    <a:pt x="786" y="1013"/>
                    <a:pt x="1012" y="786"/>
                    <a:pt x="1012" y="513"/>
                  </a:cubicBezTo>
                  <a:cubicBezTo>
                    <a:pt x="1012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2" name="Google Shape;10652;p60"/>
            <p:cNvSpPr/>
            <p:nvPr/>
          </p:nvSpPr>
          <p:spPr>
            <a:xfrm>
              <a:off x="965689" y="1760604"/>
              <a:ext cx="32241" cy="31859"/>
            </a:xfrm>
            <a:custGeom>
              <a:avLst/>
              <a:gdLst/>
              <a:ahLst/>
              <a:cxnLst/>
              <a:rect l="l" t="t" r="r" b="b"/>
              <a:pathLst>
                <a:path w="1013" h="1001" extrusionOk="0">
                  <a:moveTo>
                    <a:pt x="500" y="322"/>
                  </a:moveTo>
                  <a:cubicBezTo>
                    <a:pt x="608" y="322"/>
                    <a:pt x="679" y="417"/>
                    <a:pt x="679" y="500"/>
                  </a:cubicBezTo>
                  <a:cubicBezTo>
                    <a:pt x="703" y="596"/>
                    <a:pt x="608" y="679"/>
                    <a:pt x="500" y="679"/>
                  </a:cubicBezTo>
                  <a:cubicBezTo>
                    <a:pt x="405" y="679"/>
                    <a:pt x="322" y="584"/>
                    <a:pt x="322" y="500"/>
                  </a:cubicBezTo>
                  <a:cubicBezTo>
                    <a:pt x="322" y="393"/>
                    <a:pt x="417" y="322"/>
                    <a:pt x="500" y="322"/>
                  </a:cubicBezTo>
                  <a:close/>
                  <a:moveTo>
                    <a:pt x="500" y="0"/>
                  </a:moveTo>
                  <a:cubicBezTo>
                    <a:pt x="227" y="0"/>
                    <a:pt x="0" y="215"/>
                    <a:pt x="0" y="500"/>
                  </a:cubicBezTo>
                  <a:cubicBezTo>
                    <a:pt x="0" y="786"/>
                    <a:pt x="227" y="1000"/>
                    <a:pt x="500" y="1000"/>
                  </a:cubicBezTo>
                  <a:cubicBezTo>
                    <a:pt x="786" y="1000"/>
                    <a:pt x="1012" y="786"/>
                    <a:pt x="1012" y="500"/>
                  </a:cubicBezTo>
                  <a:cubicBezTo>
                    <a:pt x="1012" y="215"/>
                    <a:pt x="78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3" name="Google Shape;10653;p60"/>
            <p:cNvSpPr/>
            <p:nvPr/>
          </p:nvSpPr>
          <p:spPr>
            <a:xfrm>
              <a:off x="1009643" y="1661302"/>
              <a:ext cx="59899" cy="10662"/>
            </a:xfrm>
            <a:custGeom>
              <a:avLst/>
              <a:gdLst/>
              <a:ahLst/>
              <a:cxnLst/>
              <a:rect l="l" t="t" r="r" b="b"/>
              <a:pathLst>
                <a:path w="1882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1715" y="334"/>
                  </a:lnTo>
                  <a:cubicBezTo>
                    <a:pt x="1798" y="334"/>
                    <a:pt x="1882" y="263"/>
                    <a:pt x="1882" y="167"/>
                  </a:cubicBezTo>
                  <a:cubicBezTo>
                    <a:pt x="1882" y="72"/>
                    <a:pt x="1798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4" name="Google Shape;10654;p60"/>
            <p:cNvSpPr/>
            <p:nvPr/>
          </p:nvSpPr>
          <p:spPr>
            <a:xfrm>
              <a:off x="1009643" y="1683677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2917" y="334"/>
                  </a:lnTo>
                  <a:cubicBezTo>
                    <a:pt x="3013" y="334"/>
                    <a:pt x="3084" y="250"/>
                    <a:pt x="3084" y="167"/>
                  </a:cubicBezTo>
                  <a:cubicBezTo>
                    <a:pt x="3084" y="72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5" name="Google Shape;10655;p60"/>
            <p:cNvSpPr/>
            <p:nvPr/>
          </p:nvSpPr>
          <p:spPr>
            <a:xfrm>
              <a:off x="1009643" y="1710571"/>
              <a:ext cx="59899" cy="10630"/>
            </a:xfrm>
            <a:custGeom>
              <a:avLst/>
              <a:gdLst/>
              <a:ahLst/>
              <a:cxnLst/>
              <a:rect l="l" t="t" r="r" b="b"/>
              <a:pathLst>
                <a:path w="1882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1715" y="334"/>
                  </a:lnTo>
                  <a:cubicBezTo>
                    <a:pt x="1798" y="334"/>
                    <a:pt x="1882" y="263"/>
                    <a:pt x="1882" y="167"/>
                  </a:cubicBezTo>
                  <a:cubicBezTo>
                    <a:pt x="1882" y="84"/>
                    <a:pt x="1798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6" name="Google Shape;10656;p60"/>
            <p:cNvSpPr/>
            <p:nvPr/>
          </p:nvSpPr>
          <p:spPr>
            <a:xfrm>
              <a:off x="1009643" y="1732946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917" y="333"/>
                  </a:lnTo>
                  <a:cubicBezTo>
                    <a:pt x="3013" y="333"/>
                    <a:pt x="3084" y="250"/>
                    <a:pt x="3084" y="167"/>
                  </a:cubicBezTo>
                  <a:cubicBezTo>
                    <a:pt x="3084" y="71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7" name="Google Shape;10657;p60"/>
            <p:cNvSpPr/>
            <p:nvPr/>
          </p:nvSpPr>
          <p:spPr>
            <a:xfrm>
              <a:off x="1009643" y="1760604"/>
              <a:ext cx="59899" cy="10248"/>
            </a:xfrm>
            <a:custGeom>
              <a:avLst/>
              <a:gdLst/>
              <a:ahLst/>
              <a:cxnLst/>
              <a:rect l="l" t="t" r="r" b="b"/>
              <a:pathLst>
                <a:path w="188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715" y="322"/>
                  </a:lnTo>
                  <a:cubicBezTo>
                    <a:pt x="1798" y="322"/>
                    <a:pt x="1882" y="250"/>
                    <a:pt x="1882" y="155"/>
                  </a:cubicBezTo>
                  <a:cubicBezTo>
                    <a:pt x="1882" y="72"/>
                    <a:pt x="1798" y="0"/>
                    <a:pt x="1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8" name="Google Shape;10658;p60"/>
            <p:cNvSpPr/>
            <p:nvPr/>
          </p:nvSpPr>
          <p:spPr>
            <a:xfrm>
              <a:off x="1009643" y="1782183"/>
              <a:ext cx="98188" cy="10662"/>
            </a:xfrm>
            <a:custGeom>
              <a:avLst/>
              <a:gdLst/>
              <a:ahLst/>
              <a:cxnLst/>
              <a:rect l="l" t="t" r="r" b="b"/>
              <a:pathLst>
                <a:path w="3085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917" y="334"/>
                  </a:lnTo>
                  <a:cubicBezTo>
                    <a:pt x="3013" y="334"/>
                    <a:pt x="3084" y="251"/>
                    <a:pt x="3084" y="168"/>
                  </a:cubicBezTo>
                  <a:cubicBezTo>
                    <a:pt x="3084" y="72"/>
                    <a:pt x="3013" y="1"/>
                    <a:pt x="2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9" name="Google Shape;10659;p60"/>
            <p:cNvSpPr/>
            <p:nvPr/>
          </p:nvSpPr>
          <p:spPr>
            <a:xfrm>
              <a:off x="1009643" y="1579473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917" y="333"/>
                  </a:lnTo>
                  <a:cubicBezTo>
                    <a:pt x="3013" y="333"/>
                    <a:pt x="3084" y="250"/>
                    <a:pt x="3084" y="167"/>
                  </a:cubicBezTo>
                  <a:cubicBezTo>
                    <a:pt x="3084" y="71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0" name="Google Shape;10660;p60"/>
            <p:cNvSpPr/>
            <p:nvPr/>
          </p:nvSpPr>
          <p:spPr>
            <a:xfrm>
              <a:off x="965689" y="1628711"/>
              <a:ext cx="142142" cy="10662"/>
            </a:xfrm>
            <a:custGeom>
              <a:avLst/>
              <a:gdLst/>
              <a:ahLst/>
              <a:cxnLst/>
              <a:rect l="l" t="t" r="r" b="b"/>
              <a:pathLst>
                <a:path w="4466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4298" y="334"/>
                  </a:lnTo>
                  <a:cubicBezTo>
                    <a:pt x="4394" y="334"/>
                    <a:pt x="4465" y="251"/>
                    <a:pt x="4465" y="168"/>
                  </a:cubicBezTo>
                  <a:cubicBezTo>
                    <a:pt x="4465" y="72"/>
                    <a:pt x="4394" y="1"/>
                    <a:pt x="4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1" name="Google Shape;10661;p60"/>
            <p:cNvSpPr/>
            <p:nvPr/>
          </p:nvSpPr>
          <p:spPr>
            <a:xfrm>
              <a:off x="1009643" y="1601434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6" y="251"/>
                    <a:pt x="846" y="155"/>
                  </a:cubicBezTo>
                  <a:cubicBezTo>
                    <a:pt x="846" y="72"/>
                    <a:pt x="76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2" name="Google Shape;10662;p60"/>
            <p:cNvSpPr/>
            <p:nvPr/>
          </p:nvSpPr>
          <p:spPr>
            <a:xfrm>
              <a:off x="1047550" y="1601434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5" y="251"/>
                    <a:pt x="845" y="155"/>
                  </a:cubicBezTo>
                  <a:cubicBezTo>
                    <a:pt x="845" y="72"/>
                    <a:pt x="774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3" name="Google Shape;10663;p60"/>
            <p:cNvSpPr/>
            <p:nvPr/>
          </p:nvSpPr>
          <p:spPr>
            <a:xfrm>
              <a:off x="966071" y="1579473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691" y="310"/>
                  </a:moveTo>
                  <a:lnTo>
                    <a:pt x="691" y="691"/>
                  </a:lnTo>
                  <a:lnTo>
                    <a:pt x="310" y="691"/>
                  </a:lnTo>
                  <a:lnTo>
                    <a:pt x="310" y="310"/>
                  </a:lnTo>
                  <a:close/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845"/>
                  </a:lnTo>
                  <a:cubicBezTo>
                    <a:pt x="0" y="941"/>
                    <a:pt x="72" y="1012"/>
                    <a:pt x="167" y="1012"/>
                  </a:cubicBezTo>
                  <a:lnTo>
                    <a:pt x="846" y="1012"/>
                  </a:lnTo>
                  <a:cubicBezTo>
                    <a:pt x="941" y="1012"/>
                    <a:pt x="1012" y="941"/>
                    <a:pt x="1012" y="845"/>
                  </a:cubicBezTo>
                  <a:lnTo>
                    <a:pt x="1012" y="167"/>
                  </a:lnTo>
                  <a:cubicBezTo>
                    <a:pt x="1000" y="71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64" name="Google Shape;10664;p60"/>
          <p:cNvGrpSpPr/>
          <p:nvPr/>
        </p:nvGrpSpPr>
        <p:grpSpPr>
          <a:xfrm>
            <a:off x="1308631" y="1507830"/>
            <a:ext cx="350166" cy="350198"/>
            <a:chOff x="1308631" y="1507830"/>
            <a:chExt cx="350166" cy="350198"/>
          </a:xfrm>
        </p:grpSpPr>
        <p:sp>
          <p:nvSpPr>
            <p:cNvPr id="10665" name="Google Shape;10665;p60"/>
            <p:cNvSpPr/>
            <p:nvPr/>
          </p:nvSpPr>
          <p:spPr>
            <a:xfrm>
              <a:off x="1308631" y="1507830"/>
              <a:ext cx="350166" cy="350198"/>
            </a:xfrm>
            <a:custGeom>
              <a:avLst/>
              <a:gdLst/>
              <a:ahLst/>
              <a:cxnLst/>
              <a:rect l="l" t="t" r="r" b="b"/>
              <a:pathLst>
                <a:path w="11002" h="11003" extrusionOk="0">
                  <a:moveTo>
                    <a:pt x="6192" y="310"/>
                  </a:moveTo>
                  <a:cubicBezTo>
                    <a:pt x="6192" y="310"/>
                    <a:pt x="6204" y="310"/>
                    <a:pt x="6204" y="334"/>
                  </a:cubicBezTo>
                  <a:lnTo>
                    <a:pt x="6204" y="787"/>
                  </a:lnTo>
                  <a:cubicBezTo>
                    <a:pt x="6204" y="953"/>
                    <a:pt x="6311" y="1084"/>
                    <a:pt x="6477" y="1120"/>
                  </a:cubicBezTo>
                  <a:cubicBezTo>
                    <a:pt x="6989" y="1239"/>
                    <a:pt x="7489" y="1429"/>
                    <a:pt x="7930" y="1715"/>
                  </a:cubicBezTo>
                  <a:cubicBezTo>
                    <a:pt x="7986" y="1751"/>
                    <a:pt x="8048" y="1769"/>
                    <a:pt x="8110" y="1769"/>
                  </a:cubicBezTo>
                  <a:cubicBezTo>
                    <a:pt x="8194" y="1769"/>
                    <a:pt x="8278" y="1736"/>
                    <a:pt x="8347" y="1668"/>
                  </a:cubicBezTo>
                  <a:lnTo>
                    <a:pt x="8680" y="1346"/>
                  </a:lnTo>
                  <a:lnTo>
                    <a:pt x="8692" y="1346"/>
                  </a:lnTo>
                  <a:lnTo>
                    <a:pt x="9656" y="2311"/>
                  </a:lnTo>
                  <a:lnTo>
                    <a:pt x="9656" y="2322"/>
                  </a:lnTo>
                  <a:lnTo>
                    <a:pt x="9335" y="2656"/>
                  </a:lnTo>
                  <a:cubicBezTo>
                    <a:pt x="9228" y="2751"/>
                    <a:pt x="9192" y="2930"/>
                    <a:pt x="9287" y="3073"/>
                  </a:cubicBezTo>
                  <a:cubicBezTo>
                    <a:pt x="9573" y="3513"/>
                    <a:pt x="9775" y="4001"/>
                    <a:pt x="9883" y="4525"/>
                  </a:cubicBezTo>
                  <a:cubicBezTo>
                    <a:pt x="9906" y="4680"/>
                    <a:pt x="10049" y="4799"/>
                    <a:pt x="10204" y="4799"/>
                  </a:cubicBezTo>
                  <a:lnTo>
                    <a:pt x="10668" y="4799"/>
                  </a:lnTo>
                  <a:cubicBezTo>
                    <a:pt x="10668" y="4799"/>
                    <a:pt x="10680" y="4799"/>
                    <a:pt x="10680" y="4811"/>
                  </a:cubicBezTo>
                  <a:lnTo>
                    <a:pt x="10657" y="6216"/>
                  </a:lnTo>
                  <a:lnTo>
                    <a:pt x="10192" y="6216"/>
                  </a:lnTo>
                  <a:cubicBezTo>
                    <a:pt x="10026" y="6216"/>
                    <a:pt x="9895" y="6311"/>
                    <a:pt x="9871" y="6478"/>
                  </a:cubicBezTo>
                  <a:cubicBezTo>
                    <a:pt x="9752" y="7002"/>
                    <a:pt x="9549" y="7490"/>
                    <a:pt x="9275" y="7942"/>
                  </a:cubicBezTo>
                  <a:cubicBezTo>
                    <a:pt x="9180" y="8073"/>
                    <a:pt x="9192" y="8240"/>
                    <a:pt x="9311" y="8359"/>
                  </a:cubicBezTo>
                  <a:lnTo>
                    <a:pt x="9645" y="8680"/>
                  </a:lnTo>
                  <a:lnTo>
                    <a:pt x="9645" y="8692"/>
                  </a:lnTo>
                  <a:lnTo>
                    <a:pt x="8680" y="9669"/>
                  </a:lnTo>
                  <a:lnTo>
                    <a:pt x="8656" y="9669"/>
                  </a:lnTo>
                  <a:lnTo>
                    <a:pt x="8335" y="9335"/>
                  </a:lnTo>
                  <a:cubicBezTo>
                    <a:pt x="8271" y="9272"/>
                    <a:pt x="8183" y="9237"/>
                    <a:pt x="8094" y="9237"/>
                  </a:cubicBezTo>
                  <a:cubicBezTo>
                    <a:pt x="8033" y="9237"/>
                    <a:pt x="7971" y="9254"/>
                    <a:pt x="7918" y="9288"/>
                  </a:cubicBezTo>
                  <a:cubicBezTo>
                    <a:pt x="7466" y="9573"/>
                    <a:pt x="6978" y="9788"/>
                    <a:pt x="6454" y="9883"/>
                  </a:cubicBezTo>
                  <a:cubicBezTo>
                    <a:pt x="6311" y="9919"/>
                    <a:pt x="6192" y="10050"/>
                    <a:pt x="6192" y="10216"/>
                  </a:cubicBezTo>
                  <a:lnTo>
                    <a:pt x="6192" y="10681"/>
                  </a:lnTo>
                  <a:cubicBezTo>
                    <a:pt x="6192" y="10681"/>
                    <a:pt x="6192" y="10693"/>
                    <a:pt x="6168" y="10693"/>
                  </a:cubicBezTo>
                  <a:lnTo>
                    <a:pt x="4811" y="10693"/>
                  </a:lnTo>
                  <a:cubicBezTo>
                    <a:pt x="4811" y="10693"/>
                    <a:pt x="4787" y="10693"/>
                    <a:pt x="4787" y="10681"/>
                  </a:cubicBezTo>
                  <a:lnTo>
                    <a:pt x="4787" y="10216"/>
                  </a:lnTo>
                  <a:cubicBezTo>
                    <a:pt x="4787" y="10050"/>
                    <a:pt x="4692" y="9919"/>
                    <a:pt x="4525" y="9883"/>
                  </a:cubicBezTo>
                  <a:cubicBezTo>
                    <a:pt x="4001" y="9764"/>
                    <a:pt x="3513" y="9573"/>
                    <a:pt x="3060" y="9288"/>
                  </a:cubicBezTo>
                  <a:cubicBezTo>
                    <a:pt x="3001" y="9264"/>
                    <a:pt x="2941" y="9228"/>
                    <a:pt x="2882" y="9228"/>
                  </a:cubicBezTo>
                  <a:cubicBezTo>
                    <a:pt x="2798" y="9228"/>
                    <a:pt x="2715" y="9264"/>
                    <a:pt x="2644" y="9335"/>
                  </a:cubicBezTo>
                  <a:lnTo>
                    <a:pt x="2322" y="9669"/>
                  </a:lnTo>
                  <a:lnTo>
                    <a:pt x="2298" y="9669"/>
                  </a:lnTo>
                  <a:lnTo>
                    <a:pt x="1334" y="8692"/>
                  </a:lnTo>
                  <a:lnTo>
                    <a:pt x="1334" y="8680"/>
                  </a:lnTo>
                  <a:lnTo>
                    <a:pt x="1667" y="8359"/>
                  </a:lnTo>
                  <a:cubicBezTo>
                    <a:pt x="1763" y="8252"/>
                    <a:pt x="1798" y="8073"/>
                    <a:pt x="1703" y="7942"/>
                  </a:cubicBezTo>
                  <a:cubicBezTo>
                    <a:pt x="1429" y="7490"/>
                    <a:pt x="1215" y="7002"/>
                    <a:pt x="1108" y="6478"/>
                  </a:cubicBezTo>
                  <a:cubicBezTo>
                    <a:pt x="1084" y="6335"/>
                    <a:pt x="953" y="6216"/>
                    <a:pt x="786" y="6216"/>
                  </a:cubicBezTo>
                  <a:lnTo>
                    <a:pt x="322" y="6216"/>
                  </a:lnTo>
                  <a:cubicBezTo>
                    <a:pt x="322" y="6216"/>
                    <a:pt x="310" y="6216"/>
                    <a:pt x="310" y="6192"/>
                  </a:cubicBezTo>
                  <a:lnTo>
                    <a:pt x="310" y="4811"/>
                  </a:lnTo>
                  <a:cubicBezTo>
                    <a:pt x="310" y="4811"/>
                    <a:pt x="310" y="4799"/>
                    <a:pt x="322" y="4799"/>
                  </a:cubicBezTo>
                  <a:lnTo>
                    <a:pt x="786" y="4799"/>
                  </a:lnTo>
                  <a:cubicBezTo>
                    <a:pt x="953" y="4799"/>
                    <a:pt x="1084" y="4692"/>
                    <a:pt x="1108" y="4525"/>
                  </a:cubicBezTo>
                  <a:cubicBezTo>
                    <a:pt x="1227" y="4001"/>
                    <a:pt x="1429" y="3513"/>
                    <a:pt x="1703" y="3073"/>
                  </a:cubicBezTo>
                  <a:cubicBezTo>
                    <a:pt x="1798" y="2930"/>
                    <a:pt x="1786" y="2775"/>
                    <a:pt x="1667" y="2656"/>
                  </a:cubicBezTo>
                  <a:lnTo>
                    <a:pt x="1334" y="2322"/>
                  </a:lnTo>
                  <a:lnTo>
                    <a:pt x="1334" y="2311"/>
                  </a:lnTo>
                  <a:lnTo>
                    <a:pt x="2298" y="1346"/>
                  </a:lnTo>
                  <a:lnTo>
                    <a:pt x="2322" y="1346"/>
                  </a:lnTo>
                  <a:lnTo>
                    <a:pt x="2644" y="1668"/>
                  </a:lnTo>
                  <a:cubicBezTo>
                    <a:pt x="2707" y="1731"/>
                    <a:pt x="2796" y="1765"/>
                    <a:pt x="2885" y="1765"/>
                  </a:cubicBezTo>
                  <a:cubicBezTo>
                    <a:pt x="2946" y="1765"/>
                    <a:pt x="3007" y="1749"/>
                    <a:pt x="3060" y="1715"/>
                  </a:cubicBezTo>
                  <a:cubicBezTo>
                    <a:pt x="3513" y="1429"/>
                    <a:pt x="4001" y="1227"/>
                    <a:pt x="4525" y="1120"/>
                  </a:cubicBezTo>
                  <a:cubicBezTo>
                    <a:pt x="4668" y="1084"/>
                    <a:pt x="4787" y="953"/>
                    <a:pt x="4787" y="787"/>
                  </a:cubicBezTo>
                  <a:lnTo>
                    <a:pt x="4787" y="334"/>
                  </a:lnTo>
                  <a:cubicBezTo>
                    <a:pt x="4787" y="334"/>
                    <a:pt x="4787" y="310"/>
                    <a:pt x="4811" y="310"/>
                  </a:cubicBezTo>
                  <a:close/>
                  <a:moveTo>
                    <a:pt x="4811" y="1"/>
                  </a:moveTo>
                  <a:cubicBezTo>
                    <a:pt x="4632" y="1"/>
                    <a:pt x="4477" y="156"/>
                    <a:pt x="4477" y="334"/>
                  </a:cubicBezTo>
                  <a:lnTo>
                    <a:pt x="4477" y="798"/>
                  </a:lnTo>
                  <a:cubicBezTo>
                    <a:pt x="4477" y="798"/>
                    <a:pt x="4477" y="810"/>
                    <a:pt x="4465" y="810"/>
                  </a:cubicBezTo>
                  <a:cubicBezTo>
                    <a:pt x="3918" y="929"/>
                    <a:pt x="3370" y="1156"/>
                    <a:pt x="2906" y="1453"/>
                  </a:cubicBezTo>
                  <a:lnTo>
                    <a:pt x="2882" y="1453"/>
                  </a:lnTo>
                  <a:lnTo>
                    <a:pt x="2560" y="1120"/>
                  </a:lnTo>
                  <a:cubicBezTo>
                    <a:pt x="2495" y="1054"/>
                    <a:pt x="2408" y="1022"/>
                    <a:pt x="2322" y="1022"/>
                  </a:cubicBezTo>
                  <a:cubicBezTo>
                    <a:pt x="2236" y="1022"/>
                    <a:pt x="2150" y="1054"/>
                    <a:pt x="2084" y="1120"/>
                  </a:cubicBezTo>
                  <a:lnTo>
                    <a:pt x="1120" y="2084"/>
                  </a:lnTo>
                  <a:cubicBezTo>
                    <a:pt x="977" y="2215"/>
                    <a:pt x="977" y="2430"/>
                    <a:pt x="1120" y="2561"/>
                  </a:cubicBezTo>
                  <a:lnTo>
                    <a:pt x="1441" y="2894"/>
                  </a:lnTo>
                  <a:lnTo>
                    <a:pt x="1441" y="2906"/>
                  </a:lnTo>
                  <a:cubicBezTo>
                    <a:pt x="1132" y="3382"/>
                    <a:pt x="917" y="3906"/>
                    <a:pt x="798" y="4466"/>
                  </a:cubicBezTo>
                  <a:cubicBezTo>
                    <a:pt x="798" y="4466"/>
                    <a:pt x="798" y="4489"/>
                    <a:pt x="786" y="4489"/>
                  </a:cubicBezTo>
                  <a:lnTo>
                    <a:pt x="322" y="4489"/>
                  </a:lnTo>
                  <a:cubicBezTo>
                    <a:pt x="143" y="4489"/>
                    <a:pt x="0" y="4632"/>
                    <a:pt x="0" y="4811"/>
                  </a:cubicBezTo>
                  <a:lnTo>
                    <a:pt x="0" y="6192"/>
                  </a:lnTo>
                  <a:cubicBezTo>
                    <a:pt x="0" y="6371"/>
                    <a:pt x="143" y="6525"/>
                    <a:pt x="322" y="6525"/>
                  </a:cubicBezTo>
                  <a:lnTo>
                    <a:pt x="786" y="6525"/>
                  </a:lnTo>
                  <a:cubicBezTo>
                    <a:pt x="786" y="6525"/>
                    <a:pt x="798" y="6525"/>
                    <a:pt x="798" y="6537"/>
                  </a:cubicBezTo>
                  <a:cubicBezTo>
                    <a:pt x="917" y="7085"/>
                    <a:pt x="1143" y="7621"/>
                    <a:pt x="1441" y="8097"/>
                  </a:cubicBezTo>
                  <a:lnTo>
                    <a:pt x="1441" y="8121"/>
                  </a:lnTo>
                  <a:lnTo>
                    <a:pt x="1120" y="8442"/>
                  </a:lnTo>
                  <a:cubicBezTo>
                    <a:pt x="977" y="8573"/>
                    <a:pt x="977" y="8788"/>
                    <a:pt x="1120" y="8918"/>
                  </a:cubicBezTo>
                  <a:lnTo>
                    <a:pt x="2084" y="9883"/>
                  </a:lnTo>
                  <a:cubicBezTo>
                    <a:pt x="2150" y="9954"/>
                    <a:pt x="2236" y="9990"/>
                    <a:pt x="2322" y="9990"/>
                  </a:cubicBezTo>
                  <a:cubicBezTo>
                    <a:pt x="2408" y="9990"/>
                    <a:pt x="2495" y="9954"/>
                    <a:pt x="2560" y="9883"/>
                  </a:cubicBezTo>
                  <a:lnTo>
                    <a:pt x="2882" y="9561"/>
                  </a:lnTo>
                  <a:lnTo>
                    <a:pt x="2906" y="9561"/>
                  </a:lnTo>
                  <a:cubicBezTo>
                    <a:pt x="3370" y="9871"/>
                    <a:pt x="3894" y="10085"/>
                    <a:pt x="4465" y="10204"/>
                  </a:cubicBezTo>
                  <a:cubicBezTo>
                    <a:pt x="4465" y="10204"/>
                    <a:pt x="4477" y="10204"/>
                    <a:pt x="4477" y="10216"/>
                  </a:cubicBezTo>
                  <a:lnTo>
                    <a:pt x="4477" y="10681"/>
                  </a:lnTo>
                  <a:cubicBezTo>
                    <a:pt x="4477" y="10859"/>
                    <a:pt x="4632" y="11002"/>
                    <a:pt x="4811" y="11002"/>
                  </a:cubicBezTo>
                  <a:lnTo>
                    <a:pt x="6192" y="11002"/>
                  </a:lnTo>
                  <a:cubicBezTo>
                    <a:pt x="6370" y="11002"/>
                    <a:pt x="6513" y="10859"/>
                    <a:pt x="6513" y="10681"/>
                  </a:cubicBezTo>
                  <a:lnTo>
                    <a:pt x="6513" y="10216"/>
                  </a:lnTo>
                  <a:cubicBezTo>
                    <a:pt x="6513" y="10216"/>
                    <a:pt x="6513" y="10204"/>
                    <a:pt x="6537" y="10204"/>
                  </a:cubicBezTo>
                  <a:cubicBezTo>
                    <a:pt x="7085" y="10085"/>
                    <a:pt x="7620" y="9859"/>
                    <a:pt x="8097" y="9561"/>
                  </a:cubicBezTo>
                  <a:lnTo>
                    <a:pt x="8109" y="9561"/>
                  </a:lnTo>
                  <a:lnTo>
                    <a:pt x="8442" y="9883"/>
                  </a:lnTo>
                  <a:cubicBezTo>
                    <a:pt x="8507" y="9954"/>
                    <a:pt x="8591" y="9990"/>
                    <a:pt x="8676" y="9990"/>
                  </a:cubicBezTo>
                  <a:cubicBezTo>
                    <a:pt x="8760" y="9990"/>
                    <a:pt x="8847" y="9954"/>
                    <a:pt x="8918" y="9883"/>
                  </a:cubicBezTo>
                  <a:lnTo>
                    <a:pt x="9883" y="8918"/>
                  </a:lnTo>
                  <a:cubicBezTo>
                    <a:pt x="10014" y="8788"/>
                    <a:pt x="10014" y="8573"/>
                    <a:pt x="9883" y="8442"/>
                  </a:cubicBezTo>
                  <a:lnTo>
                    <a:pt x="9549" y="8121"/>
                  </a:lnTo>
                  <a:lnTo>
                    <a:pt x="9549" y="8097"/>
                  </a:lnTo>
                  <a:cubicBezTo>
                    <a:pt x="9871" y="7621"/>
                    <a:pt x="10073" y="7109"/>
                    <a:pt x="10192" y="6537"/>
                  </a:cubicBezTo>
                  <a:cubicBezTo>
                    <a:pt x="10192" y="6537"/>
                    <a:pt x="10192" y="6525"/>
                    <a:pt x="10204" y="6525"/>
                  </a:cubicBezTo>
                  <a:lnTo>
                    <a:pt x="10668" y="6525"/>
                  </a:lnTo>
                  <a:cubicBezTo>
                    <a:pt x="10847" y="6525"/>
                    <a:pt x="11002" y="6371"/>
                    <a:pt x="11002" y="6192"/>
                  </a:cubicBezTo>
                  <a:lnTo>
                    <a:pt x="11002" y="4811"/>
                  </a:lnTo>
                  <a:cubicBezTo>
                    <a:pt x="10978" y="4632"/>
                    <a:pt x="10835" y="4489"/>
                    <a:pt x="10657" y="4489"/>
                  </a:cubicBezTo>
                  <a:lnTo>
                    <a:pt x="10192" y="4489"/>
                  </a:lnTo>
                  <a:cubicBezTo>
                    <a:pt x="10192" y="4489"/>
                    <a:pt x="10180" y="4489"/>
                    <a:pt x="10180" y="4466"/>
                  </a:cubicBezTo>
                  <a:cubicBezTo>
                    <a:pt x="10061" y="3918"/>
                    <a:pt x="9835" y="3382"/>
                    <a:pt x="9537" y="2906"/>
                  </a:cubicBezTo>
                  <a:lnTo>
                    <a:pt x="9537" y="2894"/>
                  </a:lnTo>
                  <a:lnTo>
                    <a:pt x="9859" y="2561"/>
                  </a:lnTo>
                  <a:cubicBezTo>
                    <a:pt x="10002" y="2430"/>
                    <a:pt x="10002" y="2215"/>
                    <a:pt x="9859" y="2084"/>
                  </a:cubicBezTo>
                  <a:lnTo>
                    <a:pt x="8894" y="1120"/>
                  </a:lnTo>
                  <a:cubicBezTo>
                    <a:pt x="8829" y="1054"/>
                    <a:pt x="8743" y="1022"/>
                    <a:pt x="8656" y="1022"/>
                  </a:cubicBezTo>
                  <a:cubicBezTo>
                    <a:pt x="8570" y="1022"/>
                    <a:pt x="8484" y="1054"/>
                    <a:pt x="8418" y="1120"/>
                  </a:cubicBezTo>
                  <a:lnTo>
                    <a:pt x="8097" y="1453"/>
                  </a:lnTo>
                  <a:lnTo>
                    <a:pt x="8073" y="1453"/>
                  </a:lnTo>
                  <a:cubicBezTo>
                    <a:pt x="7597" y="1132"/>
                    <a:pt x="7085" y="929"/>
                    <a:pt x="6513" y="810"/>
                  </a:cubicBezTo>
                  <a:cubicBezTo>
                    <a:pt x="6513" y="810"/>
                    <a:pt x="6501" y="810"/>
                    <a:pt x="6501" y="798"/>
                  </a:cubicBezTo>
                  <a:lnTo>
                    <a:pt x="6501" y="334"/>
                  </a:lnTo>
                  <a:cubicBezTo>
                    <a:pt x="6501" y="156"/>
                    <a:pt x="6346" y="1"/>
                    <a:pt x="6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6" name="Google Shape;10666;p60"/>
            <p:cNvSpPr/>
            <p:nvPr/>
          </p:nvSpPr>
          <p:spPr>
            <a:xfrm>
              <a:off x="1373049" y="1574063"/>
              <a:ext cx="181544" cy="179730"/>
            </a:xfrm>
            <a:custGeom>
              <a:avLst/>
              <a:gdLst/>
              <a:ahLst/>
              <a:cxnLst/>
              <a:rect l="l" t="t" r="r" b="b"/>
              <a:pathLst>
                <a:path w="5704" h="5647" extrusionOk="0">
                  <a:moveTo>
                    <a:pt x="3449" y="0"/>
                  </a:moveTo>
                  <a:cubicBezTo>
                    <a:pt x="3399" y="0"/>
                    <a:pt x="3349" y="1"/>
                    <a:pt x="3299" y="3"/>
                  </a:cubicBezTo>
                  <a:cubicBezTo>
                    <a:pt x="2453" y="51"/>
                    <a:pt x="1644" y="408"/>
                    <a:pt x="1036" y="1003"/>
                  </a:cubicBezTo>
                  <a:cubicBezTo>
                    <a:pt x="429" y="1611"/>
                    <a:pt x="84" y="2396"/>
                    <a:pt x="48" y="3266"/>
                  </a:cubicBezTo>
                  <a:cubicBezTo>
                    <a:pt x="1" y="4111"/>
                    <a:pt x="262" y="4933"/>
                    <a:pt x="798" y="5587"/>
                  </a:cubicBezTo>
                  <a:cubicBezTo>
                    <a:pt x="834" y="5635"/>
                    <a:pt x="882" y="5647"/>
                    <a:pt x="917" y="5647"/>
                  </a:cubicBezTo>
                  <a:cubicBezTo>
                    <a:pt x="953" y="5647"/>
                    <a:pt x="1001" y="5635"/>
                    <a:pt x="1024" y="5623"/>
                  </a:cubicBezTo>
                  <a:cubicBezTo>
                    <a:pt x="1096" y="5564"/>
                    <a:pt x="1096" y="5456"/>
                    <a:pt x="1060" y="5397"/>
                  </a:cubicBezTo>
                  <a:cubicBezTo>
                    <a:pt x="584" y="4802"/>
                    <a:pt x="322" y="4051"/>
                    <a:pt x="370" y="3278"/>
                  </a:cubicBezTo>
                  <a:cubicBezTo>
                    <a:pt x="417" y="2504"/>
                    <a:pt x="727" y="1777"/>
                    <a:pt x="1274" y="1242"/>
                  </a:cubicBezTo>
                  <a:cubicBezTo>
                    <a:pt x="1834" y="694"/>
                    <a:pt x="2560" y="384"/>
                    <a:pt x="3322" y="337"/>
                  </a:cubicBezTo>
                  <a:cubicBezTo>
                    <a:pt x="3385" y="333"/>
                    <a:pt x="3447" y="331"/>
                    <a:pt x="3509" y="331"/>
                  </a:cubicBezTo>
                  <a:cubicBezTo>
                    <a:pt x="4215" y="331"/>
                    <a:pt x="4883" y="578"/>
                    <a:pt x="5430" y="1015"/>
                  </a:cubicBezTo>
                  <a:cubicBezTo>
                    <a:pt x="5461" y="1041"/>
                    <a:pt x="5496" y="1053"/>
                    <a:pt x="5531" y="1053"/>
                  </a:cubicBezTo>
                  <a:cubicBezTo>
                    <a:pt x="5577" y="1053"/>
                    <a:pt x="5622" y="1032"/>
                    <a:pt x="5656" y="992"/>
                  </a:cubicBezTo>
                  <a:cubicBezTo>
                    <a:pt x="5704" y="920"/>
                    <a:pt x="5680" y="813"/>
                    <a:pt x="5620" y="765"/>
                  </a:cubicBezTo>
                  <a:cubicBezTo>
                    <a:pt x="5005" y="262"/>
                    <a:pt x="4232" y="0"/>
                    <a:pt x="34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7" name="Google Shape;10667;p60"/>
            <p:cNvSpPr/>
            <p:nvPr/>
          </p:nvSpPr>
          <p:spPr>
            <a:xfrm>
              <a:off x="1411338" y="1606368"/>
              <a:ext cx="182276" cy="186477"/>
            </a:xfrm>
            <a:custGeom>
              <a:avLst/>
              <a:gdLst/>
              <a:ahLst/>
              <a:cxnLst/>
              <a:rect l="l" t="t" r="r" b="b"/>
              <a:pathLst>
                <a:path w="5727" h="5859" extrusionOk="0">
                  <a:moveTo>
                    <a:pt x="3286" y="334"/>
                  </a:moveTo>
                  <a:lnTo>
                    <a:pt x="3286" y="1000"/>
                  </a:lnTo>
                  <a:cubicBezTo>
                    <a:pt x="3286" y="1108"/>
                    <a:pt x="3262" y="1227"/>
                    <a:pt x="3215" y="1310"/>
                  </a:cubicBezTo>
                  <a:lnTo>
                    <a:pt x="3143" y="1477"/>
                  </a:lnTo>
                  <a:cubicBezTo>
                    <a:pt x="3119" y="1501"/>
                    <a:pt x="3119" y="1524"/>
                    <a:pt x="3119" y="1548"/>
                  </a:cubicBezTo>
                  <a:lnTo>
                    <a:pt x="3119" y="1893"/>
                  </a:lnTo>
                  <a:cubicBezTo>
                    <a:pt x="3119" y="2132"/>
                    <a:pt x="3036" y="2358"/>
                    <a:pt x="2858" y="2524"/>
                  </a:cubicBezTo>
                  <a:cubicBezTo>
                    <a:pt x="2691" y="2679"/>
                    <a:pt x="2453" y="2775"/>
                    <a:pt x="2215" y="2775"/>
                  </a:cubicBezTo>
                  <a:cubicBezTo>
                    <a:pt x="1774" y="2763"/>
                    <a:pt x="1381" y="2346"/>
                    <a:pt x="1381" y="1846"/>
                  </a:cubicBezTo>
                  <a:lnTo>
                    <a:pt x="1381" y="1548"/>
                  </a:lnTo>
                  <a:cubicBezTo>
                    <a:pt x="1381" y="1524"/>
                    <a:pt x="1381" y="1501"/>
                    <a:pt x="1369" y="1477"/>
                  </a:cubicBezTo>
                  <a:lnTo>
                    <a:pt x="1262" y="1286"/>
                  </a:lnTo>
                  <a:cubicBezTo>
                    <a:pt x="1238" y="1203"/>
                    <a:pt x="1203" y="1131"/>
                    <a:pt x="1203" y="1048"/>
                  </a:cubicBezTo>
                  <a:lnTo>
                    <a:pt x="1203" y="1024"/>
                  </a:lnTo>
                  <a:cubicBezTo>
                    <a:pt x="1203" y="643"/>
                    <a:pt x="1524" y="334"/>
                    <a:pt x="1905" y="334"/>
                  </a:cubicBezTo>
                  <a:close/>
                  <a:moveTo>
                    <a:pt x="2608" y="3025"/>
                  </a:moveTo>
                  <a:cubicBezTo>
                    <a:pt x="2619" y="3084"/>
                    <a:pt x="2631" y="3132"/>
                    <a:pt x="2655" y="3179"/>
                  </a:cubicBezTo>
                  <a:lnTo>
                    <a:pt x="2512" y="3310"/>
                  </a:lnTo>
                  <a:cubicBezTo>
                    <a:pt x="2441" y="3382"/>
                    <a:pt x="2357" y="3417"/>
                    <a:pt x="2262" y="3417"/>
                  </a:cubicBezTo>
                  <a:cubicBezTo>
                    <a:pt x="2179" y="3417"/>
                    <a:pt x="2084" y="3382"/>
                    <a:pt x="2012" y="3310"/>
                  </a:cubicBezTo>
                  <a:lnTo>
                    <a:pt x="1881" y="3179"/>
                  </a:lnTo>
                  <a:cubicBezTo>
                    <a:pt x="1893" y="3132"/>
                    <a:pt x="1905" y="3084"/>
                    <a:pt x="1905" y="3025"/>
                  </a:cubicBezTo>
                  <a:cubicBezTo>
                    <a:pt x="2012" y="3060"/>
                    <a:pt x="2119" y="3084"/>
                    <a:pt x="2215" y="3084"/>
                  </a:cubicBezTo>
                  <a:lnTo>
                    <a:pt x="2250" y="3084"/>
                  </a:lnTo>
                  <a:cubicBezTo>
                    <a:pt x="2369" y="3084"/>
                    <a:pt x="2488" y="3072"/>
                    <a:pt x="2608" y="3025"/>
                  </a:cubicBezTo>
                  <a:close/>
                  <a:moveTo>
                    <a:pt x="2810" y="3441"/>
                  </a:moveTo>
                  <a:cubicBezTo>
                    <a:pt x="2858" y="3477"/>
                    <a:pt x="2905" y="3489"/>
                    <a:pt x="2941" y="3501"/>
                  </a:cubicBezTo>
                  <a:lnTo>
                    <a:pt x="3524" y="3667"/>
                  </a:lnTo>
                  <a:cubicBezTo>
                    <a:pt x="3679" y="3715"/>
                    <a:pt x="3774" y="3846"/>
                    <a:pt x="3774" y="4013"/>
                  </a:cubicBezTo>
                  <a:lnTo>
                    <a:pt x="3774" y="5108"/>
                  </a:lnTo>
                  <a:lnTo>
                    <a:pt x="3822" y="5108"/>
                  </a:lnTo>
                  <a:cubicBezTo>
                    <a:pt x="3703" y="5180"/>
                    <a:pt x="3584" y="5239"/>
                    <a:pt x="3453" y="5287"/>
                  </a:cubicBezTo>
                  <a:lnTo>
                    <a:pt x="3453" y="4310"/>
                  </a:lnTo>
                  <a:cubicBezTo>
                    <a:pt x="3453" y="4215"/>
                    <a:pt x="3381" y="4144"/>
                    <a:pt x="3286" y="4144"/>
                  </a:cubicBezTo>
                  <a:cubicBezTo>
                    <a:pt x="3203" y="4144"/>
                    <a:pt x="3119" y="4215"/>
                    <a:pt x="3119" y="4310"/>
                  </a:cubicBezTo>
                  <a:lnTo>
                    <a:pt x="3119" y="5394"/>
                  </a:lnTo>
                  <a:cubicBezTo>
                    <a:pt x="2881" y="5465"/>
                    <a:pt x="2655" y="5501"/>
                    <a:pt x="2405" y="5513"/>
                  </a:cubicBezTo>
                  <a:lnTo>
                    <a:pt x="2262" y="5513"/>
                  </a:lnTo>
                  <a:cubicBezTo>
                    <a:pt x="1965" y="5513"/>
                    <a:pt x="1667" y="5465"/>
                    <a:pt x="1381" y="5394"/>
                  </a:cubicBezTo>
                  <a:lnTo>
                    <a:pt x="1381" y="4310"/>
                  </a:lnTo>
                  <a:cubicBezTo>
                    <a:pt x="1381" y="4215"/>
                    <a:pt x="1310" y="4144"/>
                    <a:pt x="1214" y="4144"/>
                  </a:cubicBezTo>
                  <a:cubicBezTo>
                    <a:pt x="1131" y="4144"/>
                    <a:pt x="1060" y="4215"/>
                    <a:pt x="1060" y="4310"/>
                  </a:cubicBezTo>
                  <a:lnTo>
                    <a:pt x="1060" y="5287"/>
                  </a:lnTo>
                  <a:cubicBezTo>
                    <a:pt x="941" y="5227"/>
                    <a:pt x="798" y="5168"/>
                    <a:pt x="679" y="5108"/>
                  </a:cubicBezTo>
                  <a:lnTo>
                    <a:pt x="679" y="4013"/>
                  </a:lnTo>
                  <a:cubicBezTo>
                    <a:pt x="679" y="3846"/>
                    <a:pt x="786" y="3715"/>
                    <a:pt x="941" y="3667"/>
                  </a:cubicBezTo>
                  <a:lnTo>
                    <a:pt x="1512" y="3501"/>
                  </a:lnTo>
                  <a:cubicBezTo>
                    <a:pt x="1560" y="3489"/>
                    <a:pt x="1619" y="3477"/>
                    <a:pt x="1655" y="3441"/>
                  </a:cubicBezTo>
                  <a:lnTo>
                    <a:pt x="1750" y="3548"/>
                  </a:lnTo>
                  <a:cubicBezTo>
                    <a:pt x="1893" y="3679"/>
                    <a:pt x="2072" y="3739"/>
                    <a:pt x="2227" y="3739"/>
                  </a:cubicBezTo>
                  <a:cubicBezTo>
                    <a:pt x="2393" y="3739"/>
                    <a:pt x="2572" y="3679"/>
                    <a:pt x="2703" y="3548"/>
                  </a:cubicBezTo>
                  <a:lnTo>
                    <a:pt x="2810" y="3441"/>
                  </a:lnTo>
                  <a:close/>
                  <a:moveTo>
                    <a:pt x="1893" y="0"/>
                  </a:moveTo>
                  <a:cubicBezTo>
                    <a:pt x="1322" y="0"/>
                    <a:pt x="869" y="465"/>
                    <a:pt x="869" y="1024"/>
                  </a:cubicBezTo>
                  <a:lnTo>
                    <a:pt x="869" y="1048"/>
                  </a:lnTo>
                  <a:cubicBezTo>
                    <a:pt x="869" y="1179"/>
                    <a:pt x="893" y="1310"/>
                    <a:pt x="953" y="1429"/>
                  </a:cubicBezTo>
                  <a:lnTo>
                    <a:pt x="1048" y="1596"/>
                  </a:lnTo>
                  <a:lnTo>
                    <a:pt x="1048" y="1870"/>
                  </a:lnTo>
                  <a:cubicBezTo>
                    <a:pt x="1048" y="2286"/>
                    <a:pt x="1250" y="2655"/>
                    <a:pt x="1560" y="2882"/>
                  </a:cubicBezTo>
                  <a:lnTo>
                    <a:pt x="1560" y="3025"/>
                  </a:lnTo>
                  <a:cubicBezTo>
                    <a:pt x="1560" y="3096"/>
                    <a:pt x="1500" y="3179"/>
                    <a:pt x="1429" y="3203"/>
                  </a:cubicBezTo>
                  <a:lnTo>
                    <a:pt x="845" y="3370"/>
                  </a:lnTo>
                  <a:cubicBezTo>
                    <a:pt x="572" y="3453"/>
                    <a:pt x="357" y="3727"/>
                    <a:pt x="357" y="4025"/>
                  </a:cubicBezTo>
                  <a:lnTo>
                    <a:pt x="357" y="4906"/>
                  </a:lnTo>
                  <a:cubicBezTo>
                    <a:pt x="333" y="4882"/>
                    <a:pt x="310" y="4858"/>
                    <a:pt x="286" y="4846"/>
                  </a:cubicBezTo>
                  <a:cubicBezTo>
                    <a:pt x="255" y="4820"/>
                    <a:pt x="220" y="4808"/>
                    <a:pt x="185" y="4808"/>
                  </a:cubicBezTo>
                  <a:cubicBezTo>
                    <a:pt x="139" y="4808"/>
                    <a:pt x="93" y="4829"/>
                    <a:pt x="60" y="4870"/>
                  </a:cubicBezTo>
                  <a:cubicBezTo>
                    <a:pt x="0" y="4941"/>
                    <a:pt x="12" y="5037"/>
                    <a:pt x="95" y="5096"/>
                  </a:cubicBezTo>
                  <a:cubicBezTo>
                    <a:pt x="703" y="5584"/>
                    <a:pt x="1465" y="5858"/>
                    <a:pt x="2250" y="5858"/>
                  </a:cubicBezTo>
                  <a:lnTo>
                    <a:pt x="2417" y="5858"/>
                  </a:lnTo>
                  <a:cubicBezTo>
                    <a:pt x="3262" y="5811"/>
                    <a:pt x="4060" y="5453"/>
                    <a:pt x="4679" y="4858"/>
                  </a:cubicBezTo>
                  <a:cubicBezTo>
                    <a:pt x="5286" y="4251"/>
                    <a:pt x="5632" y="3453"/>
                    <a:pt x="5667" y="2596"/>
                  </a:cubicBezTo>
                  <a:cubicBezTo>
                    <a:pt x="5727" y="1727"/>
                    <a:pt x="5465" y="905"/>
                    <a:pt x="4929" y="262"/>
                  </a:cubicBezTo>
                  <a:cubicBezTo>
                    <a:pt x="4895" y="215"/>
                    <a:pt x="4846" y="194"/>
                    <a:pt x="4799" y="194"/>
                  </a:cubicBezTo>
                  <a:cubicBezTo>
                    <a:pt x="4763" y="194"/>
                    <a:pt x="4729" y="206"/>
                    <a:pt x="4703" y="227"/>
                  </a:cubicBezTo>
                  <a:cubicBezTo>
                    <a:pt x="4632" y="286"/>
                    <a:pt x="4632" y="393"/>
                    <a:pt x="4679" y="453"/>
                  </a:cubicBezTo>
                  <a:cubicBezTo>
                    <a:pt x="5155" y="1048"/>
                    <a:pt x="5405" y="1786"/>
                    <a:pt x="5358" y="2560"/>
                  </a:cubicBezTo>
                  <a:cubicBezTo>
                    <a:pt x="5310" y="3334"/>
                    <a:pt x="5001" y="4072"/>
                    <a:pt x="4453" y="4608"/>
                  </a:cubicBezTo>
                  <a:cubicBezTo>
                    <a:pt x="4346" y="4703"/>
                    <a:pt x="4239" y="4799"/>
                    <a:pt x="4143" y="4882"/>
                  </a:cubicBezTo>
                  <a:lnTo>
                    <a:pt x="4143" y="4013"/>
                  </a:lnTo>
                  <a:cubicBezTo>
                    <a:pt x="4143" y="3715"/>
                    <a:pt x="3929" y="3441"/>
                    <a:pt x="3643" y="3358"/>
                  </a:cubicBezTo>
                  <a:lnTo>
                    <a:pt x="3072" y="3191"/>
                  </a:lnTo>
                  <a:cubicBezTo>
                    <a:pt x="2989" y="3156"/>
                    <a:pt x="2929" y="3096"/>
                    <a:pt x="2929" y="3013"/>
                  </a:cubicBezTo>
                  <a:lnTo>
                    <a:pt x="2929" y="2882"/>
                  </a:lnTo>
                  <a:cubicBezTo>
                    <a:pt x="2989" y="2834"/>
                    <a:pt x="3036" y="2798"/>
                    <a:pt x="3084" y="2763"/>
                  </a:cubicBezTo>
                  <a:cubicBezTo>
                    <a:pt x="3322" y="2536"/>
                    <a:pt x="3441" y="2227"/>
                    <a:pt x="3441" y="1893"/>
                  </a:cubicBezTo>
                  <a:lnTo>
                    <a:pt x="3441" y="1596"/>
                  </a:lnTo>
                  <a:lnTo>
                    <a:pt x="3500" y="1465"/>
                  </a:lnTo>
                  <a:cubicBezTo>
                    <a:pt x="3572" y="1334"/>
                    <a:pt x="3596" y="1167"/>
                    <a:pt x="3596" y="1000"/>
                  </a:cubicBezTo>
                  <a:lnTo>
                    <a:pt x="3596" y="167"/>
                  </a:lnTo>
                  <a:cubicBezTo>
                    <a:pt x="3596" y="72"/>
                    <a:pt x="3524" y="0"/>
                    <a:pt x="3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8" name="Google Shape;10668;p60"/>
            <p:cNvSpPr/>
            <p:nvPr/>
          </p:nvSpPr>
          <p:spPr>
            <a:xfrm>
              <a:off x="1461721" y="1634026"/>
              <a:ext cx="43986" cy="15564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55" y="322"/>
                  </a:cubicBezTo>
                  <a:cubicBezTo>
                    <a:pt x="334" y="322"/>
                    <a:pt x="858" y="358"/>
                    <a:pt x="1132" y="477"/>
                  </a:cubicBezTo>
                  <a:cubicBezTo>
                    <a:pt x="1155" y="489"/>
                    <a:pt x="1167" y="489"/>
                    <a:pt x="1203" y="489"/>
                  </a:cubicBezTo>
                  <a:cubicBezTo>
                    <a:pt x="1263" y="489"/>
                    <a:pt x="1322" y="465"/>
                    <a:pt x="1346" y="405"/>
                  </a:cubicBezTo>
                  <a:cubicBezTo>
                    <a:pt x="1382" y="322"/>
                    <a:pt x="1346" y="239"/>
                    <a:pt x="1263" y="191"/>
                  </a:cubicBezTo>
                  <a:cubicBezTo>
                    <a:pt x="894" y="1"/>
                    <a:pt x="19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69" name="Google Shape;10669;p60"/>
          <p:cNvGrpSpPr/>
          <p:nvPr/>
        </p:nvGrpSpPr>
        <p:grpSpPr>
          <a:xfrm>
            <a:off x="1756921" y="1509739"/>
            <a:ext cx="345997" cy="345997"/>
            <a:chOff x="1756921" y="1509739"/>
            <a:chExt cx="345997" cy="345997"/>
          </a:xfrm>
        </p:grpSpPr>
        <p:sp>
          <p:nvSpPr>
            <p:cNvPr id="10670" name="Google Shape;10670;p60"/>
            <p:cNvSpPr/>
            <p:nvPr/>
          </p:nvSpPr>
          <p:spPr>
            <a:xfrm>
              <a:off x="1756921" y="1509739"/>
              <a:ext cx="345997" cy="345997"/>
            </a:xfrm>
            <a:custGeom>
              <a:avLst/>
              <a:gdLst/>
              <a:ahLst/>
              <a:cxnLst/>
              <a:rect l="l" t="t" r="r" b="b"/>
              <a:pathLst>
                <a:path w="10871" h="10871" extrusionOk="0">
                  <a:moveTo>
                    <a:pt x="5442" y="0"/>
                  </a:moveTo>
                  <a:cubicBezTo>
                    <a:pt x="3977" y="0"/>
                    <a:pt x="2620" y="572"/>
                    <a:pt x="1596" y="1596"/>
                  </a:cubicBezTo>
                  <a:cubicBezTo>
                    <a:pt x="572" y="2620"/>
                    <a:pt x="1" y="3989"/>
                    <a:pt x="1" y="5441"/>
                  </a:cubicBezTo>
                  <a:cubicBezTo>
                    <a:pt x="1" y="6882"/>
                    <a:pt x="572" y="8251"/>
                    <a:pt x="1596" y="9275"/>
                  </a:cubicBezTo>
                  <a:cubicBezTo>
                    <a:pt x="2620" y="10299"/>
                    <a:pt x="3989" y="10871"/>
                    <a:pt x="5442" y="10871"/>
                  </a:cubicBezTo>
                  <a:cubicBezTo>
                    <a:pt x="6882" y="10871"/>
                    <a:pt x="8252" y="10299"/>
                    <a:pt x="9276" y="9275"/>
                  </a:cubicBezTo>
                  <a:cubicBezTo>
                    <a:pt x="10299" y="8251"/>
                    <a:pt x="10871" y="6882"/>
                    <a:pt x="10871" y="5441"/>
                  </a:cubicBezTo>
                  <a:cubicBezTo>
                    <a:pt x="10871" y="5346"/>
                    <a:pt x="10871" y="5263"/>
                    <a:pt x="10859" y="5156"/>
                  </a:cubicBezTo>
                  <a:cubicBezTo>
                    <a:pt x="10859" y="5060"/>
                    <a:pt x="10788" y="5001"/>
                    <a:pt x="10692" y="5001"/>
                  </a:cubicBezTo>
                  <a:cubicBezTo>
                    <a:pt x="10609" y="5001"/>
                    <a:pt x="10549" y="5084"/>
                    <a:pt x="10549" y="5168"/>
                  </a:cubicBezTo>
                  <a:lnTo>
                    <a:pt x="10549" y="5441"/>
                  </a:lnTo>
                  <a:cubicBezTo>
                    <a:pt x="10549" y="6811"/>
                    <a:pt x="10014" y="8085"/>
                    <a:pt x="9037" y="9049"/>
                  </a:cubicBezTo>
                  <a:cubicBezTo>
                    <a:pt x="8073" y="10025"/>
                    <a:pt x="6787" y="10561"/>
                    <a:pt x="5418" y="10561"/>
                  </a:cubicBezTo>
                  <a:cubicBezTo>
                    <a:pt x="4061" y="10561"/>
                    <a:pt x="2775" y="10025"/>
                    <a:pt x="1810" y="9049"/>
                  </a:cubicBezTo>
                  <a:cubicBezTo>
                    <a:pt x="834" y="8085"/>
                    <a:pt x="298" y="6811"/>
                    <a:pt x="298" y="5441"/>
                  </a:cubicBezTo>
                  <a:cubicBezTo>
                    <a:pt x="298" y="4072"/>
                    <a:pt x="834" y="2786"/>
                    <a:pt x="1810" y="1822"/>
                  </a:cubicBezTo>
                  <a:cubicBezTo>
                    <a:pt x="2775" y="858"/>
                    <a:pt x="4061" y="322"/>
                    <a:pt x="5418" y="322"/>
                  </a:cubicBezTo>
                  <a:cubicBezTo>
                    <a:pt x="6632" y="322"/>
                    <a:pt x="7799" y="750"/>
                    <a:pt x="8728" y="1524"/>
                  </a:cubicBezTo>
                  <a:cubicBezTo>
                    <a:pt x="9633" y="2298"/>
                    <a:pt x="10264" y="3358"/>
                    <a:pt x="10466" y="4513"/>
                  </a:cubicBezTo>
                  <a:cubicBezTo>
                    <a:pt x="10476" y="4594"/>
                    <a:pt x="10547" y="4649"/>
                    <a:pt x="10612" y="4649"/>
                  </a:cubicBezTo>
                  <a:cubicBezTo>
                    <a:pt x="10623" y="4649"/>
                    <a:pt x="10634" y="4647"/>
                    <a:pt x="10645" y="4644"/>
                  </a:cubicBezTo>
                  <a:cubicBezTo>
                    <a:pt x="10740" y="4632"/>
                    <a:pt x="10800" y="4548"/>
                    <a:pt x="10776" y="4465"/>
                  </a:cubicBezTo>
                  <a:cubicBezTo>
                    <a:pt x="10561" y="3239"/>
                    <a:pt x="9907" y="2108"/>
                    <a:pt x="8930" y="1286"/>
                  </a:cubicBezTo>
                  <a:cubicBezTo>
                    <a:pt x="7954" y="465"/>
                    <a:pt x="6716" y="0"/>
                    <a:pt x="5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1" name="Google Shape;10671;p60"/>
            <p:cNvSpPr/>
            <p:nvPr/>
          </p:nvSpPr>
          <p:spPr>
            <a:xfrm>
              <a:off x="1781937" y="1535488"/>
              <a:ext cx="295614" cy="295614"/>
            </a:xfrm>
            <a:custGeom>
              <a:avLst/>
              <a:gdLst/>
              <a:ahLst/>
              <a:cxnLst/>
              <a:rect l="l" t="t" r="r" b="b"/>
              <a:pathLst>
                <a:path w="9288" h="9288" extrusionOk="0">
                  <a:moveTo>
                    <a:pt x="4644" y="1"/>
                  </a:moveTo>
                  <a:cubicBezTo>
                    <a:pt x="3989" y="1"/>
                    <a:pt x="3346" y="132"/>
                    <a:pt x="2751" y="406"/>
                  </a:cubicBezTo>
                  <a:cubicBezTo>
                    <a:pt x="2167" y="656"/>
                    <a:pt x="1667" y="1025"/>
                    <a:pt x="1227" y="1489"/>
                  </a:cubicBezTo>
                  <a:cubicBezTo>
                    <a:pt x="1167" y="1549"/>
                    <a:pt x="1167" y="1656"/>
                    <a:pt x="1251" y="1715"/>
                  </a:cubicBezTo>
                  <a:cubicBezTo>
                    <a:pt x="1278" y="1743"/>
                    <a:pt x="1313" y="1757"/>
                    <a:pt x="1348" y="1757"/>
                  </a:cubicBezTo>
                  <a:cubicBezTo>
                    <a:pt x="1390" y="1757"/>
                    <a:pt x="1433" y="1737"/>
                    <a:pt x="1465" y="1692"/>
                  </a:cubicBezTo>
                  <a:cubicBezTo>
                    <a:pt x="1870" y="1263"/>
                    <a:pt x="2346" y="918"/>
                    <a:pt x="2882" y="680"/>
                  </a:cubicBezTo>
                  <a:cubicBezTo>
                    <a:pt x="3429" y="430"/>
                    <a:pt x="4025" y="310"/>
                    <a:pt x="4644" y="310"/>
                  </a:cubicBezTo>
                  <a:cubicBezTo>
                    <a:pt x="7025" y="310"/>
                    <a:pt x="8966" y="2239"/>
                    <a:pt x="8966" y="4644"/>
                  </a:cubicBezTo>
                  <a:cubicBezTo>
                    <a:pt x="8966" y="7037"/>
                    <a:pt x="7037" y="8978"/>
                    <a:pt x="4644" y="8978"/>
                  </a:cubicBezTo>
                  <a:cubicBezTo>
                    <a:pt x="2263" y="8978"/>
                    <a:pt x="310" y="7037"/>
                    <a:pt x="310" y="4644"/>
                  </a:cubicBezTo>
                  <a:cubicBezTo>
                    <a:pt x="310" y="3799"/>
                    <a:pt x="560" y="2966"/>
                    <a:pt x="1024" y="2263"/>
                  </a:cubicBezTo>
                  <a:cubicBezTo>
                    <a:pt x="1084" y="2192"/>
                    <a:pt x="1072" y="2084"/>
                    <a:pt x="989" y="2037"/>
                  </a:cubicBezTo>
                  <a:cubicBezTo>
                    <a:pt x="963" y="2020"/>
                    <a:pt x="933" y="2012"/>
                    <a:pt x="904" y="2012"/>
                  </a:cubicBezTo>
                  <a:cubicBezTo>
                    <a:pt x="850" y="2012"/>
                    <a:pt x="797" y="2038"/>
                    <a:pt x="774" y="2084"/>
                  </a:cubicBezTo>
                  <a:cubicBezTo>
                    <a:pt x="262" y="2846"/>
                    <a:pt x="0" y="3716"/>
                    <a:pt x="0" y="4644"/>
                  </a:cubicBezTo>
                  <a:cubicBezTo>
                    <a:pt x="0" y="5883"/>
                    <a:pt x="477" y="7049"/>
                    <a:pt x="1346" y="7930"/>
                  </a:cubicBezTo>
                  <a:cubicBezTo>
                    <a:pt x="2227" y="8811"/>
                    <a:pt x="3394" y="9288"/>
                    <a:pt x="4644" y="9288"/>
                  </a:cubicBezTo>
                  <a:cubicBezTo>
                    <a:pt x="5894" y="9288"/>
                    <a:pt x="7049" y="8811"/>
                    <a:pt x="7930" y="7930"/>
                  </a:cubicBezTo>
                  <a:cubicBezTo>
                    <a:pt x="8811" y="7049"/>
                    <a:pt x="9287" y="5894"/>
                    <a:pt x="9287" y="4644"/>
                  </a:cubicBezTo>
                  <a:cubicBezTo>
                    <a:pt x="9287" y="3394"/>
                    <a:pt x="8811" y="2227"/>
                    <a:pt x="7930" y="1346"/>
                  </a:cubicBezTo>
                  <a:cubicBezTo>
                    <a:pt x="7049" y="477"/>
                    <a:pt x="5894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2" name="Google Shape;10672;p60"/>
            <p:cNvSpPr/>
            <p:nvPr/>
          </p:nvSpPr>
          <p:spPr>
            <a:xfrm>
              <a:off x="1806954" y="1677980"/>
              <a:ext cx="17441" cy="10630"/>
            </a:xfrm>
            <a:custGeom>
              <a:avLst/>
              <a:gdLst/>
              <a:ahLst/>
              <a:cxnLst/>
              <a:rect l="l" t="t" r="r" b="b"/>
              <a:pathLst>
                <a:path w="548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381" y="334"/>
                  </a:lnTo>
                  <a:cubicBezTo>
                    <a:pt x="476" y="334"/>
                    <a:pt x="548" y="251"/>
                    <a:pt x="548" y="167"/>
                  </a:cubicBezTo>
                  <a:cubicBezTo>
                    <a:pt x="548" y="72"/>
                    <a:pt x="476" y="1"/>
                    <a:pt x="3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3" name="Google Shape;10673;p60"/>
            <p:cNvSpPr/>
            <p:nvPr/>
          </p:nvSpPr>
          <p:spPr>
            <a:xfrm>
              <a:off x="1924429" y="1560122"/>
              <a:ext cx="128106" cy="128488"/>
            </a:xfrm>
            <a:custGeom>
              <a:avLst/>
              <a:gdLst/>
              <a:ahLst/>
              <a:cxnLst/>
              <a:rect l="l" t="t" r="r" b="b"/>
              <a:pathLst>
                <a:path w="4025" h="4037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870"/>
                  </a:lnTo>
                  <a:cubicBezTo>
                    <a:pt x="0" y="3954"/>
                    <a:pt x="72" y="4037"/>
                    <a:pt x="155" y="4037"/>
                  </a:cubicBezTo>
                  <a:lnTo>
                    <a:pt x="3870" y="4037"/>
                  </a:lnTo>
                  <a:cubicBezTo>
                    <a:pt x="3953" y="4037"/>
                    <a:pt x="4024" y="3954"/>
                    <a:pt x="4024" y="3870"/>
                  </a:cubicBezTo>
                  <a:cubicBezTo>
                    <a:pt x="4024" y="3775"/>
                    <a:pt x="3953" y="3704"/>
                    <a:pt x="3870" y="3704"/>
                  </a:cubicBezTo>
                  <a:lnTo>
                    <a:pt x="322" y="3704"/>
                  </a:ln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4" name="Google Shape;10674;p60"/>
            <p:cNvSpPr/>
            <p:nvPr/>
          </p:nvSpPr>
          <p:spPr>
            <a:xfrm>
              <a:off x="1924811" y="1788644"/>
              <a:ext cx="10630" cy="17823"/>
            </a:xfrm>
            <a:custGeom>
              <a:avLst/>
              <a:gdLst/>
              <a:ahLst/>
              <a:cxnLst/>
              <a:rect l="l" t="t" r="r" b="b"/>
              <a:pathLst>
                <a:path w="334" h="560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lnTo>
                    <a:pt x="0" y="393"/>
                  </a:lnTo>
                  <a:cubicBezTo>
                    <a:pt x="0" y="488"/>
                    <a:pt x="71" y="560"/>
                    <a:pt x="167" y="560"/>
                  </a:cubicBezTo>
                  <a:cubicBezTo>
                    <a:pt x="250" y="560"/>
                    <a:pt x="333" y="488"/>
                    <a:pt x="333" y="393"/>
                  </a:cubicBezTo>
                  <a:lnTo>
                    <a:pt x="333" y="167"/>
                  </a:lnTo>
                  <a:cubicBezTo>
                    <a:pt x="333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5" name="Google Shape;10675;p60"/>
            <p:cNvSpPr/>
            <p:nvPr/>
          </p:nvSpPr>
          <p:spPr>
            <a:xfrm>
              <a:off x="1841423" y="1594719"/>
              <a:ext cx="16328" cy="15086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12"/>
                    <a:pt x="60" y="259"/>
                  </a:cubicBezTo>
                  <a:lnTo>
                    <a:pt x="215" y="426"/>
                  </a:lnTo>
                  <a:cubicBezTo>
                    <a:pt x="239" y="462"/>
                    <a:pt x="286" y="474"/>
                    <a:pt x="334" y="474"/>
                  </a:cubicBezTo>
                  <a:cubicBezTo>
                    <a:pt x="370" y="474"/>
                    <a:pt x="405" y="462"/>
                    <a:pt x="453" y="426"/>
                  </a:cubicBezTo>
                  <a:cubicBezTo>
                    <a:pt x="513" y="366"/>
                    <a:pt x="513" y="259"/>
                    <a:pt x="453" y="212"/>
                  </a:cubicBezTo>
                  <a:lnTo>
                    <a:pt x="286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6" name="Google Shape;10676;p60"/>
            <p:cNvSpPr/>
            <p:nvPr/>
          </p:nvSpPr>
          <p:spPr>
            <a:xfrm>
              <a:off x="2002470" y="1756243"/>
              <a:ext cx="16709" cy="15755"/>
            </a:xfrm>
            <a:custGeom>
              <a:avLst/>
              <a:gdLst/>
              <a:ahLst/>
              <a:cxnLst/>
              <a:rect l="l" t="t" r="r" b="b"/>
              <a:pathLst>
                <a:path w="525" h="495" extrusionOk="0">
                  <a:moveTo>
                    <a:pt x="175" y="0"/>
                  </a:moveTo>
                  <a:cubicBezTo>
                    <a:pt x="132" y="0"/>
                    <a:pt x="90" y="18"/>
                    <a:pt x="60" y="54"/>
                  </a:cubicBezTo>
                  <a:cubicBezTo>
                    <a:pt x="1" y="113"/>
                    <a:pt x="1" y="221"/>
                    <a:pt x="60" y="280"/>
                  </a:cubicBezTo>
                  <a:lnTo>
                    <a:pt x="227" y="447"/>
                  </a:lnTo>
                  <a:cubicBezTo>
                    <a:pt x="251" y="471"/>
                    <a:pt x="298" y="494"/>
                    <a:pt x="346" y="494"/>
                  </a:cubicBezTo>
                  <a:cubicBezTo>
                    <a:pt x="394" y="494"/>
                    <a:pt x="418" y="471"/>
                    <a:pt x="465" y="447"/>
                  </a:cubicBezTo>
                  <a:cubicBezTo>
                    <a:pt x="525" y="387"/>
                    <a:pt x="525" y="280"/>
                    <a:pt x="465" y="221"/>
                  </a:cubicBezTo>
                  <a:lnTo>
                    <a:pt x="298" y="54"/>
                  </a:lnTo>
                  <a:cubicBezTo>
                    <a:pt x="263" y="18"/>
                    <a:pt x="218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7" name="Google Shape;10677;p60"/>
            <p:cNvSpPr/>
            <p:nvPr/>
          </p:nvSpPr>
          <p:spPr>
            <a:xfrm>
              <a:off x="2002470" y="1594719"/>
              <a:ext cx="16328" cy="15086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340" y="0"/>
                  </a:moveTo>
                  <a:cubicBezTo>
                    <a:pt x="298" y="0"/>
                    <a:pt x="257" y="15"/>
                    <a:pt x="227" y="45"/>
                  </a:cubicBezTo>
                  <a:lnTo>
                    <a:pt x="60" y="212"/>
                  </a:lnTo>
                  <a:cubicBezTo>
                    <a:pt x="1" y="259"/>
                    <a:pt x="1" y="366"/>
                    <a:pt x="60" y="426"/>
                  </a:cubicBezTo>
                  <a:cubicBezTo>
                    <a:pt x="96" y="462"/>
                    <a:pt x="132" y="474"/>
                    <a:pt x="179" y="474"/>
                  </a:cubicBezTo>
                  <a:cubicBezTo>
                    <a:pt x="227" y="474"/>
                    <a:pt x="251" y="462"/>
                    <a:pt x="287" y="426"/>
                  </a:cubicBezTo>
                  <a:lnTo>
                    <a:pt x="453" y="259"/>
                  </a:lnTo>
                  <a:cubicBezTo>
                    <a:pt x="513" y="212"/>
                    <a:pt x="513" y="104"/>
                    <a:pt x="453" y="45"/>
                  </a:cubicBezTo>
                  <a:cubicBezTo>
                    <a:pt x="423" y="15"/>
                    <a:pt x="382" y="0"/>
                    <a:pt x="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8" name="Google Shape;10678;p60"/>
            <p:cNvSpPr/>
            <p:nvPr/>
          </p:nvSpPr>
          <p:spPr>
            <a:xfrm>
              <a:off x="1841041" y="1756530"/>
              <a:ext cx="16709" cy="15468"/>
            </a:xfrm>
            <a:custGeom>
              <a:avLst/>
              <a:gdLst/>
              <a:ahLst/>
              <a:cxnLst/>
              <a:rect l="l" t="t" r="r" b="b"/>
              <a:pathLst>
                <a:path w="525" h="486" extrusionOk="0">
                  <a:moveTo>
                    <a:pt x="352" y="0"/>
                  </a:moveTo>
                  <a:cubicBezTo>
                    <a:pt x="310" y="0"/>
                    <a:pt x="269" y="15"/>
                    <a:pt x="239" y="45"/>
                  </a:cubicBezTo>
                  <a:lnTo>
                    <a:pt x="72" y="212"/>
                  </a:lnTo>
                  <a:cubicBezTo>
                    <a:pt x="1" y="271"/>
                    <a:pt x="1" y="354"/>
                    <a:pt x="60" y="438"/>
                  </a:cubicBezTo>
                  <a:cubicBezTo>
                    <a:pt x="84" y="462"/>
                    <a:pt x="132" y="485"/>
                    <a:pt x="179" y="485"/>
                  </a:cubicBezTo>
                  <a:cubicBezTo>
                    <a:pt x="227" y="485"/>
                    <a:pt x="251" y="462"/>
                    <a:pt x="298" y="438"/>
                  </a:cubicBezTo>
                  <a:lnTo>
                    <a:pt x="465" y="271"/>
                  </a:lnTo>
                  <a:cubicBezTo>
                    <a:pt x="525" y="212"/>
                    <a:pt x="525" y="104"/>
                    <a:pt x="465" y="45"/>
                  </a:cubicBezTo>
                  <a:cubicBezTo>
                    <a:pt x="435" y="15"/>
                    <a:pt x="394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9" name="Google Shape;10679;p60"/>
            <p:cNvSpPr/>
            <p:nvPr/>
          </p:nvSpPr>
          <p:spPr>
            <a:xfrm>
              <a:off x="1816025" y="1632084"/>
              <a:ext cx="17855" cy="13336"/>
            </a:xfrm>
            <a:custGeom>
              <a:avLst/>
              <a:gdLst/>
              <a:ahLst/>
              <a:cxnLst/>
              <a:rect l="l" t="t" r="r" b="b"/>
              <a:pathLst>
                <a:path w="561" h="419" extrusionOk="0">
                  <a:moveTo>
                    <a:pt x="173" y="0"/>
                  </a:moveTo>
                  <a:cubicBezTo>
                    <a:pt x="110" y="0"/>
                    <a:pt x="51" y="36"/>
                    <a:pt x="25" y="97"/>
                  </a:cubicBezTo>
                  <a:cubicBezTo>
                    <a:pt x="1" y="181"/>
                    <a:pt x="25" y="276"/>
                    <a:pt x="120" y="312"/>
                  </a:cubicBezTo>
                  <a:lnTo>
                    <a:pt x="322" y="395"/>
                  </a:lnTo>
                  <a:cubicBezTo>
                    <a:pt x="334" y="419"/>
                    <a:pt x="370" y="419"/>
                    <a:pt x="382" y="419"/>
                  </a:cubicBezTo>
                  <a:cubicBezTo>
                    <a:pt x="441" y="419"/>
                    <a:pt x="501" y="383"/>
                    <a:pt x="537" y="312"/>
                  </a:cubicBezTo>
                  <a:cubicBezTo>
                    <a:pt x="561" y="228"/>
                    <a:pt x="513" y="133"/>
                    <a:pt x="441" y="97"/>
                  </a:cubicBezTo>
                  <a:lnTo>
                    <a:pt x="239" y="14"/>
                  </a:lnTo>
                  <a:cubicBezTo>
                    <a:pt x="217" y="5"/>
                    <a:pt x="19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0" name="Google Shape;10680;p60"/>
            <p:cNvSpPr/>
            <p:nvPr/>
          </p:nvSpPr>
          <p:spPr>
            <a:xfrm>
              <a:off x="2026341" y="1721297"/>
              <a:ext cx="17855" cy="13177"/>
            </a:xfrm>
            <a:custGeom>
              <a:avLst/>
              <a:gdLst/>
              <a:ahLst/>
              <a:cxnLst/>
              <a:rect l="l" t="t" r="r" b="b"/>
              <a:pathLst>
                <a:path w="561" h="414" extrusionOk="0">
                  <a:moveTo>
                    <a:pt x="179" y="0"/>
                  </a:moveTo>
                  <a:cubicBezTo>
                    <a:pt x="114" y="0"/>
                    <a:pt x="52" y="31"/>
                    <a:pt x="25" y="104"/>
                  </a:cubicBezTo>
                  <a:cubicBezTo>
                    <a:pt x="1" y="176"/>
                    <a:pt x="25" y="283"/>
                    <a:pt x="120" y="307"/>
                  </a:cubicBezTo>
                  <a:lnTo>
                    <a:pt x="322" y="402"/>
                  </a:lnTo>
                  <a:cubicBezTo>
                    <a:pt x="334" y="414"/>
                    <a:pt x="370" y="414"/>
                    <a:pt x="382" y="414"/>
                  </a:cubicBezTo>
                  <a:cubicBezTo>
                    <a:pt x="441" y="414"/>
                    <a:pt x="501" y="378"/>
                    <a:pt x="537" y="307"/>
                  </a:cubicBezTo>
                  <a:cubicBezTo>
                    <a:pt x="560" y="235"/>
                    <a:pt x="537" y="128"/>
                    <a:pt x="441" y="104"/>
                  </a:cubicBezTo>
                  <a:lnTo>
                    <a:pt x="239" y="9"/>
                  </a:lnTo>
                  <a:cubicBezTo>
                    <a:pt x="219" y="3"/>
                    <a:pt x="199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1" name="Google Shape;10681;p60"/>
            <p:cNvSpPr/>
            <p:nvPr/>
          </p:nvSpPr>
          <p:spPr>
            <a:xfrm>
              <a:off x="1967619" y="1569702"/>
              <a:ext cx="14036" cy="16996"/>
            </a:xfrm>
            <a:custGeom>
              <a:avLst/>
              <a:gdLst/>
              <a:ahLst/>
              <a:cxnLst/>
              <a:rect l="l" t="t" r="r" b="b"/>
              <a:pathLst>
                <a:path w="441" h="534" extrusionOk="0">
                  <a:moveTo>
                    <a:pt x="267" y="1"/>
                  </a:moveTo>
                  <a:cubicBezTo>
                    <a:pt x="204" y="1"/>
                    <a:pt x="138" y="32"/>
                    <a:pt x="119" y="105"/>
                  </a:cubicBezTo>
                  <a:lnTo>
                    <a:pt x="24" y="307"/>
                  </a:lnTo>
                  <a:cubicBezTo>
                    <a:pt x="0" y="378"/>
                    <a:pt x="24" y="486"/>
                    <a:pt x="119" y="521"/>
                  </a:cubicBezTo>
                  <a:cubicBezTo>
                    <a:pt x="131" y="521"/>
                    <a:pt x="155" y="533"/>
                    <a:pt x="179" y="533"/>
                  </a:cubicBezTo>
                  <a:cubicBezTo>
                    <a:pt x="239" y="533"/>
                    <a:pt x="298" y="498"/>
                    <a:pt x="322" y="426"/>
                  </a:cubicBezTo>
                  <a:lnTo>
                    <a:pt x="417" y="224"/>
                  </a:lnTo>
                  <a:cubicBezTo>
                    <a:pt x="441" y="140"/>
                    <a:pt x="417" y="45"/>
                    <a:pt x="322" y="9"/>
                  </a:cubicBezTo>
                  <a:cubicBezTo>
                    <a:pt x="305" y="4"/>
                    <a:pt x="286" y="1"/>
                    <a:pt x="2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2" name="Google Shape;10682;p60"/>
            <p:cNvSpPr/>
            <p:nvPr/>
          </p:nvSpPr>
          <p:spPr>
            <a:xfrm>
              <a:off x="1877802" y="1780019"/>
              <a:ext cx="14450" cy="16996"/>
            </a:xfrm>
            <a:custGeom>
              <a:avLst/>
              <a:gdLst/>
              <a:ahLst/>
              <a:cxnLst/>
              <a:rect l="l" t="t" r="r" b="b"/>
              <a:pathLst>
                <a:path w="454" h="534" extrusionOk="0">
                  <a:moveTo>
                    <a:pt x="279" y="1"/>
                  </a:moveTo>
                  <a:cubicBezTo>
                    <a:pt x="216" y="1"/>
                    <a:pt x="147" y="32"/>
                    <a:pt x="120" y="105"/>
                  </a:cubicBezTo>
                  <a:lnTo>
                    <a:pt x="36" y="307"/>
                  </a:lnTo>
                  <a:cubicBezTo>
                    <a:pt x="1" y="378"/>
                    <a:pt x="48" y="486"/>
                    <a:pt x="120" y="509"/>
                  </a:cubicBezTo>
                  <a:cubicBezTo>
                    <a:pt x="144" y="533"/>
                    <a:pt x="167" y="533"/>
                    <a:pt x="179" y="533"/>
                  </a:cubicBezTo>
                  <a:cubicBezTo>
                    <a:pt x="239" y="533"/>
                    <a:pt x="298" y="497"/>
                    <a:pt x="334" y="426"/>
                  </a:cubicBezTo>
                  <a:lnTo>
                    <a:pt x="417" y="224"/>
                  </a:lnTo>
                  <a:cubicBezTo>
                    <a:pt x="453" y="140"/>
                    <a:pt x="417" y="45"/>
                    <a:pt x="334" y="9"/>
                  </a:cubicBezTo>
                  <a:cubicBezTo>
                    <a:pt x="317" y="4"/>
                    <a:pt x="298" y="1"/>
                    <a:pt x="2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3" name="Google Shape;10683;p60"/>
            <p:cNvSpPr/>
            <p:nvPr/>
          </p:nvSpPr>
          <p:spPr>
            <a:xfrm>
              <a:off x="1879711" y="1568652"/>
              <a:ext cx="14418" cy="16900"/>
            </a:xfrm>
            <a:custGeom>
              <a:avLst/>
              <a:gdLst/>
              <a:ahLst/>
              <a:cxnLst/>
              <a:rect l="l" t="t" r="r" b="b"/>
              <a:pathLst>
                <a:path w="453" h="531" extrusionOk="0">
                  <a:moveTo>
                    <a:pt x="169" y="0"/>
                  </a:moveTo>
                  <a:cubicBezTo>
                    <a:pt x="153" y="0"/>
                    <a:pt x="136" y="2"/>
                    <a:pt x="119" y="7"/>
                  </a:cubicBezTo>
                  <a:cubicBezTo>
                    <a:pt x="48" y="42"/>
                    <a:pt x="0" y="138"/>
                    <a:pt x="36" y="221"/>
                  </a:cubicBezTo>
                  <a:lnTo>
                    <a:pt x="119" y="423"/>
                  </a:lnTo>
                  <a:cubicBezTo>
                    <a:pt x="155" y="495"/>
                    <a:pt x="214" y="531"/>
                    <a:pt x="274" y="531"/>
                  </a:cubicBezTo>
                  <a:cubicBezTo>
                    <a:pt x="286" y="531"/>
                    <a:pt x="322" y="531"/>
                    <a:pt x="334" y="519"/>
                  </a:cubicBezTo>
                  <a:cubicBezTo>
                    <a:pt x="405" y="483"/>
                    <a:pt x="453" y="400"/>
                    <a:pt x="417" y="304"/>
                  </a:cubicBezTo>
                  <a:lnTo>
                    <a:pt x="334" y="102"/>
                  </a:lnTo>
                  <a:cubicBezTo>
                    <a:pt x="304" y="43"/>
                    <a:pt x="243" y="0"/>
                    <a:pt x="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4" name="Google Shape;10684;p60"/>
            <p:cNvSpPr/>
            <p:nvPr/>
          </p:nvSpPr>
          <p:spPr>
            <a:xfrm>
              <a:off x="1965709" y="1780846"/>
              <a:ext cx="14068" cy="16900"/>
            </a:xfrm>
            <a:custGeom>
              <a:avLst/>
              <a:gdLst/>
              <a:ahLst/>
              <a:cxnLst/>
              <a:rect l="l" t="t" r="r" b="b"/>
              <a:pathLst>
                <a:path w="442" h="531" extrusionOk="0">
                  <a:moveTo>
                    <a:pt x="189" y="0"/>
                  </a:moveTo>
                  <a:cubicBezTo>
                    <a:pt x="166" y="0"/>
                    <a:pt x="143" y="6"/>
                    <a:pt x="120" y="19"/>
                  </a:cubicBezTo>
                  <a:cubicBezTo>
                    <a:pt x="37" y="43"/>
                    <a:pt x="1" y="138"/>
                    <a:pt x="25" y="221"/>
                  </a:cubicBezTo>
                  <a:lnTo>
                    <a:pt x="120" y="424"/>
                  </a:lnTo>
                  <a:cubicBezTo>
                    <a:pt x="144" y="483"/>
                    <a:pt x="203" y="531"/>
                    <a:pt x="263" y="531"/>
                  </a:cubicBezTo>
                  <a:cubicBezTo>
                    <a:pt x="275" y="531"/>
                    <a:pt x="310" y="531"/>
                    <a:pt x="322" y="519"/>
                  </a:cubicBezTo>
                  <a:cubicBezTo>
                    <a:pt x="394" y="483"/>
                    <a:pt x="441" y="400"/>
                    <a:pt x="418" y="305"/>
                  </a:cubicBezTo>
                  <a:lnTo>
                    <a:pt x="322" y="102"/>
                  </a:lnTo>
                  <a:cubicBezTo>
                    <a:pt x="305" y="42"/>
                    <a:pt x="250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5" name="Google Shape;10685;p60"/>
            <p:cNvSpPr/>
            <p:nvPr/>
          </p:nvSpPr>
          <p:spPr>
            <a:xfrm>
              <a:off x="2026723" y="1633644"/>
              <a:ext cx="17855" cy="13304"/>
            </a:xfrm>
            <a:custGeom>
              <a:avLst/>
              <a:gdLst/>
              <a:ahLst/>
              <a:cxnLst/>
              <a:rect l="l" t="t" r="r" b="b"/>
              <a:pathLst>
                <a:path w="561" h="418" extrusionOk="0">
                  <a:moveTo>
                    <a:pt x="387" y="0"/>
                  </a:moveTo>
                  <a:cubicBezTo>
                    <a:pt x="366" y="0"/>
                    <a:pt x="345" y="4"/>
                    <a:pt x="322" y="13"/>
                  </a:cubicBezTo>
                  <a:lnTo>
                    <a:pt x="120" y="96"/>
                  </a:lnTo>
                  <a:cubicBezTo>
                    <a:pt x="48" y="132"/>
                    <a:pt x="1" y="215"/>
                    <a:pt x="25" y="310"/>
                  </a:cubicBezTo>
                  <a:cubicBezTo>
                    <a:pt x="60" y="382"/>
                    <a:pt x="120" y="417"/>
                    <a:pt x="179" y="417"/>
                  </a:cubicBezTo>
                  <a:cubicBezTo>
                    <a:pt x="191" y="417"/>
                    <a:pt x="227" y="417"/>
                    <a:pt x="239" y="394"/>
                  </a:cubicBezTo>
                  <a:lnTo>
                    <a:pt x="441" y="310"/>
                  </a:lnTo>
                  <a:cubicBezTo>
                    <a:pt x="513" y="274"/>
                    <a:pt x="560" y="191"/>
                    <a:pt x="537" y="96"/>
                  </a:cubicBezTo>
                  <a:cubicBezTo>
                    <a:pt x="509" y="41"/>
                    <a:pt x="454" y="0"/>
                    <a:pt x="3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6" name="Google Shape;10686;p60"/>
            <p:cNvSpPr/>
            <p:nvPr/>
          </p:nvSpPr>
          <p:spPr>
            <a:xfrm>
              <a:off x="1814911" y="1719419"/>
              <a:ext cx="18205" cy="13177"/>
            </a:xfrm>
            <a:custGeom>
              <a:avLst/>
              <a:gdLst/>
              <a:ahLst/>
              <a:cxnLst/>
              <a:rect l="l" t="t" r="r" b="b"/>
              <a:pathLst>
                <a:path w="572" h="414" extrusionOk="0">
                  <a:moveTo>
                    <a:pt x="382" y="1"/>
                  </a:moveTo>
                  <a:cubicBezTo>
                    <a:pt x="365" y="1"/>
                    <a:pt x="348" y="3"/>
                    <a:pt x="334" y="8"/>
                  </a:cubicBezTo>
                  <a:lnTo>
                    <a:pt x="119" y="104"/>
                  </a:lnTo>
                  <a:cubicBezTo>
                    <a:pt x="48" y="127"/>
                    <a:pt x="0" y="223"/>
                    <a:pt x="36" y="306"/>
                  </a:cubicBezTo>
                  <a:cubicBezTo>
                    <a:pt x="60" y="366"/>
                    <a:pt x="119" y="413"/>
                    <a:pt x="179" y="413"/>
                  </a:cubicBezTo>
                  <a:cubicBezTo>
                    <a:pt x="191" y="413"/>
                    <a:pt x="226" y="413"/>
                    <a:pt x="238" y="389"/>
                  </a:cubicBezTo>
                  <a:lnTo>
                    <a:pt x="453" y="306"/>
                  </a:lnTo>
                  <a:cubicBezTo>
                    <a:pt x="524" y="270"/>
                    <a:pt x="572" y="187"/>
                    <a:pt x="536" y="92"/>
                  </a:cubicBezTo>
                  <a:cubicBezTo>
                    <a:pt x="517" y="35"/>
                    <a:pt x="446" y="1"/>
                    <a:pt x="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87" name="Google Shape;10687;p60"/>
          <p:cNvGrpSpPr/>
          <p:nvPr/>
        </p:nvGrpSpPr>
        <p:grpSpPr>
          <a:xfrm>
            <a:off x="2216956" y="1510503"/>
            <a:ext cx="318721" cy="345615"/>
            <a:chOff x="2216956" y="1510503"/>
            <a:chExt cx="318721" cy="345615"/>
          </a:xfrm>
        </p:grpSpPr>
        <p:sp>
          <p:nvSpPr>
            <p:cNvPr id="10688" name="Google Shape;10688;p60"/>
            <p:cNvSpPr/>
            <p:nvPr/>
          </p:nvSpPr>
          <p:spPr>
            <a:xfrm>
              <a:off x="2386724" y="1510503"/>
              <a:ext cx="142524" cy="151594"/>
            </a:xfrm>
            <a:custGeom>
              <a:avLst/>
              <a:gdLst/>
              <a:ahLst/>
              <a:cxnLst/>
              <a:rect l="l" t="t" r="r" b="b"/>
              <a:pathLst>
                <a:path w="4478" h="4763" extrusionOk="0">
                  <a:moveTo>
                    <a:pt x="2315" y="1"/>
                  </a:moveTo>
                  <a:cubicBezTo>
                    <a:pt x="2179" y="1"/>
                    <a:pt x="2042" y="13"/>
                    <a:pt x="1906" y="36"/>
                  </a:cubicBezTo>
                  <a:cubicBezTo>
                    <a:pt x="1334" y="155"/>
                    <a:pt x="846" y="488"/>
                    <a:pt x="513" y="964"/>
                  </a:cubicBezTo>
                  <a:cubicBezTo>
                    <a:pt x="1" y="1738"/>
                    <a:pt x="25" y="2727"/>
                    <a:pt x="572" y="3465"/>
                  </a:cubicBezTo>
                  <a:lnTo>
                    <a:pt x="537" y="4596"/>
                  </a:lnTo>
                  <a:cubicBezTo>
                    <a:pt x="537" y="4655"/>
                    <a:pt x="560" y="4703"/>
                    <a:pt x="608" y="4727"/>
                  </a:cubicBezTo>
                  <a:cubicBezTo>
                    <a:pt x="632" y="4739"/>
                    <a:pt x="667" y="4763"/>
                    <a:pt x="691" y="4763"/>
                  </a:cubicBezTo>
                  <a:cubicBezTo>
                    <a:pt x="727" y="4763"/>
                    <a:pt x="739" y="4763"/>
                    <a:pt x="775" y="4739"/>
                  </a:cubicBezTo>
                  <a:lnTo>
                    <a:pt x="1799" y="4263"/>
                  </a:lnTo>
                  <a:cubicBezTo>
                    <a:pt x="1980" y="4308"/>
                    <a:pt x="2163" y="4331"/>
                    <a:pt x="2344" y="4331"/>
                  </a:cubicBezTo>
                  <a:cubicBezTo>
                    <a:pt x="3055" y="4331"/>
                    <a:pt x="3734" y="3986"/>
                    <a:pt x="4132" y="3370"/>
                  </a:cubicBezTo>
                  <a:cubicBezTo>
                    <a:pt x="4323" y="3096"/>
                    <a:pt x="4430" y="2774"/>
                    <a:pt x="4477" y="2453"/>
                  </a:cubicBezTo>
                  <a:cubicBezTo>
                    <a:pt x="4477" y="2358"/>
                    <a:pt x="4418" y="2274"/>
                    <a:pt x="4335" y="2262"/>
                  </a:cubicBezTo>
                  <a:cubicBezTo>
                    <a:pt x="4320" y="2259"/>
                    <a:pt x="4307" y="2257"/>
                    <a:pt x="4294" y="2257"/>
                  </a:cubicBezTo>
                  <a:cubicBezTo>
                    <a:pt x="4219" y="2257"/>
                    <a:pt x="4164" y="2312"/>
                    <a:pt x="4144" y="2393"/>
                  </a:cubicBezTo>
                  <a:cubicBezTo>
                    <a:pt x="4120" y="2667"/>
                    <a:pt x="4013" y="2941"/>
                    <a:pt x="3846" y="3179"/>
                  </a:cubicBezTo>
                  <a:cubicBezTo>
                    <a:pt x="3504" y="3697"/>
                    <a:pt x="2932" y="3992"/>
                    <a:pt x="2326" y="3992"/>
                  </a:cubicBezTo>
                  <a:cubicBezTo>
                    <a:pt x="2151" y="3992"/>
                    <a:pt x="1974" y="3968"/>
                    <a:pt x="1799" y="3917"/>
                  </a:cubicBezTo>
                  <a:cubicBezTo>
                    <a:pt x="1789" y="3914"/>
                    <a:pt x="1779" y="3913"/>
                    <a:pt x="1770" y="3913"/>
                  </a:cubicBezTo>
                  <a:cubicBezTo>
                    <a:pt x="1744" y="3913"/>
                    <a:pt x="1718" y="3924"/>
                    <a:pt x="1691" y="3941"/>
                  </a:cubicBezTo>
                  <a:lnTo>
                    <a:pt x="858" y="4322"/>
                  </a:lnTo>
                  <a:lnTo>
                    <a:pt x="906" y="3405"/>
                  </a:lnTo>
                  <a:cubicBezTo>
                    <a:pt x="906" y="3358"/>
                    <a:pt x="894" y="3334"/>
                    <a:pt x="870" y="3298"/>
                  </a:cubicBezTo>
                  <a:cubicBezTo>
                    <a:pt x="370" y="2679"/>
                    <a:pt x="334" y="1798"/>
                    <a:pt x="787" y="1131"/>
                  </a:cubicBezTo>
                  <a:cubicBezTo>
                    <a:pt x="1048" y="714"/>
                    <a:pt x="1489" y="441"/>
                    <a:pt x="1965" y="333"/>
                  </a:cubicBezTo>
                  <a:cubicBezTo>
                    <a:pt x="2084" y="313"/>
                    <a:pt x="2203" y="303"/>
                    <a:pt x="2321" y="303"/>
                  </a:cubicBezTo>
                  <a:cubicBezTo>
                    <a:pt x="2686" y="303"/>
                    <a:pt x="3040" y="403"/>
                    <a:pt x="3346" y="619"/>
                  </a:cubicBezTo>
                  <a:cubicBezTo>
                    <a:pt x="3763" y="905"/>
                    <a:pt x="4049" y="1322"/>
                    <a:pt x="4132" y="1822"/>
                  </a:cubicBezTo>
                  <a:cubicBezTo>
                    <a:pt x="4143" y="1909"/>
                    <a:pt x="4224" y="1966"/>
                    <a:pt x="4292" y="1966"/>
                  </a:cubicBezTo>
                  <a:cubicBezTo>
                    <a:pt x="4298" y="1966"/>
                    <a:pt x="4305" y="1966"/>
                    <a:pt x="4311" y="1965"/>
                  </a:cubicBezTo>
                  <a:cubicBezTo>
                    <a:pt x="4406" y="1941"/>
                    <a:pt x="4466" y="1857"/>
                    <a:pt x="4442" y="1786"/>
                  </a:cubicBezTo>
                  <a:cubicBezTo>
                    <a:pt x="4347" y="1203"/>
                    <a:pt x="4013" y="714"/>
                    <a:pt x="3525" y="369"/>
                  </a:cubicBezTo>
                  <a:cubicBezTo>
                    <a:pt x="3164" y="117"/>
                    <a:pt x="2742" y="1"/>
                    <a:pt x="23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9" name="Google Shape;10689;p60"/>
            <p:cNvSpPr/>
            <p:nvPr/>
          </p:nvSpPr>
          <p:spPr>
            <a:xfrm>
              <a:off x="2423102" y="1541185"/>
              <a:ext cx="77723" cy="77723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084" y="346"/>
                  </a:moveTo>
                  <a:lnTo>
                    <a:pt x="1084" y="1215"/>
                  </a:lnTo>
                  <a:cubicBezTo>
                    <a:pt x="1084" y="1310"/>
                    <a:pt x="1168" y="1382"/>
                    <a:pt x="1251" y="1382"/>
                  </a:cubicBezTo>
                  <a:lnTo>
                    <a:pt x="2132" y="1382"/>
                  </a:lnTo>
                  <a:cubicBezTo>
                    <a:pt x="2037" y="1786"/>
                    <a:pt x="1668" y="2108"/>
                    <a:pt x="1239" y="2108"/>
                  </a:cubicBezTo>
                  <a:cubicBezTo>
                    <a:pt x="751" y="2108"/>
                    <a:pt x="346" y="1715"/>
                    <a:pt x="346" y="1215"/>
                  </a:cubicBezTo>
                  <a:cubicBezTo>
                    <a:pt x="346" y="774"/>
                    <a:pt x="656" y="417"/>
                    <a:pt x="1084" y="346"/>
                  </a:cubicBezTo>
                  <a:close/>
                  <a:moveTo>
                    <a:pt x="1215" y="0"/>
                  </a:moveTo>
                  <a:cubicBezTo>
                    <a:pt x="548" y="0"/>
                    <a:pt x="1" y="548"/>
                    <a:pt x="1" y="1215"/>
                  </a:cubicBezTo>
                  <a:cubicBezTo>
                    <a:pt x="1" y="1894"/>
                    <a:pt x="548" y="2441"/>
                    <a:pt x="1215" y="2441"/>
                  </a:cubicBezTo>
                  <a:cubicBezTo>
                    <a:pt x="1894" y="2441"/>
                    <a:pt x="2442" y="1894"/>
                    <a:pt x="2442" y="1215"/>
                  </a:cubicBezTo>
                  <a:cubicBezTo>
                    <a:pt x="2442" y="1120"/>
                    <a:pt x="2370" y="1060"/>
                    <a:pt x="2275" y="1060"/>
                  </a:cubicBezTo>
                  <a:lnTo>
                    <a:pt x="1382" y="1060"/>
                  </a:lnTo>
                  <a:lnTo>
                    <a:pt x="1382" y="167"/>
                  </a:lnTo>
                  <a:cubicBezTo>
                    <a:pt x="1382" y="72"/>
                    <a:pt x="1310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0" name="Google Shape;10690;p60"/>
            <p:cNvSpPr/>
            <p:nvPr/>
          </p:nvSpPr>
          <p:spPr>
            <a:xfrm>
              <a:off x="2216956" y="1538543"/>
              <a:ext cx="318721" cy="317575"/>
            </a:xfrm>
            <a:custGeom>
              <a:avLst/>
              <a:gdLst/>
              <a:ahLst/>
              <a:cxnLst/>
              <a:rect l="l" t="t" r="r" b="b"/>
              <a:pathLst>
                <a:path w="10014" h="9978" extrusionOk="0">
                  <a:moveTo>
                    <a:pt x="3787" y="1191"/>
                  </a:moveTo>
                  <a:lnTo>
                    <a:pt x="4763" y="2179"/>
                  </a:lnTo>
                  <a:cubicBezTo>
                    <a:pt x="5347" y="2762"/>
                    <a:pt x="5466" y="3667"/>
                    <a:pt x="5037" y="4382"/>
                  </a:cubicBezTo>
                  <a:cubicBezTo>
                    <a:pt x="4989" y="4441"/>
                    <a:pt x="5001" y="4525"/>
                    <a:pt x="5061" y="4572"/>
                  </a:cubicBezTo>
                  <a:lnTo>
                    <a:pt x="5394" y="4906"/>
                  </a:lnTo>
                  <a:cubicBezTo>
                    <a:pt x="5423" y="4934"/>
                    <a:pt x="5465" y="4950"/>
                    <a:pt x="5507" y="4950"/>
                  </a:cubicBezTo>
                  <a:cubicBezTo>
                    <a:pt x="5534" y="4950"/>
                    <a:pt x="5561" y="4943"/>
                    <a:pt x="5585" y="4929"/>
                  </a:cubicBezTo>
                  <a:cubicBezTo>
                    <a:pt x="5873" y="4756"/>
                    <a:pt x="6191" y="4673"/>
                    <a:pt x="6506" y="4673"/>
                  </a:cubicBezTo>
                  <a:cubicBezTo>
                    <a:pt x="6972" y="4673"/>
                    <a:pt x="7432" y="4855"/>
                    <a:pt x="7787" y="5203"/>
                  </a:cubicBezTo>
                  <a:lnTo>
                    <a:pt x="8776" y="6179"/>
                  </a:lnTo>
                  <a:lnTo>
                    <a:pt x="6228" y="8727"/>
                  </a:lnTo>
                  <a:lnTo>
                    <a:pt x="5239" y="7751"/>
                  </a:lnTo>
                  <a:cubicBezTo>
                    <a:pt x="5025" y="7525"/>
                    <a:pt x="4870" y="7251"/>
                    <a:pt x="4787" y="6953"/>
                  </a:cubicBezTo>
                  <a:cubicBezTo>
                    <a:pt x="4644" y="6477"/>
                    <a:pt x="4728" y="5965"/>
                    <a:pt x="4978" y="5548"/>
                  </a:cubicBezTo>
                  <a:cubicBezTo>
                    <a:pt x="5025" y="5489"/>
                    <a:pt x="5001" y="5394"/>
                    <a:pt x="4942" y="5346"/>
                  </a:cubicBezTo>
                  <a:lnTo>
                    <a:pt x="4620" y="5025"/>
                  </a:lnTo>
                  <a:cubicBezTo>
                    <a:pt x="4589" y="4993"/>
                    <a:pt x="4541" y="4977"/>
                    <a:pt x="4495" y="4977"/>
                  </a:cubicBezTo>
                  <a:cubicBezTo>
                    <a:pt x="4472" y="4977"/>
                    <a:pt x="4450" y="4981"/>
                    <a:pt x="4430" y="4989"/>
                  </a:cubicBezTo>
                  <a:cubicBezTo>
                    <a:pt x="4137" y="5164"/>
                    <a:pt x="3815" y="5250"/>
                    <a:pt x="3496" y="5250"/>
                  </a:cubicBezTo>
                  <a:cubicBezTo>
                    <a:pt x="3034" y="5250"/>
                    <a:pt x="2579" y="5072"/>
                    <a:pt x="2227" y="4727"/>
                  </a:cubicBezTo>
                  <a:lnTo>
                    <a:pt x="1239" y="3739"/>
                  </a:lnTo>
                  <a:lnTo>
                    <a:pt x="3787" y="1191"/>
                  </a:lnTo>
                  <a:close/>
                  <a:moveTo>
                    <a:pt x="9288" y="6120"/>
                  </a:moveTo>
                  <a:lnTo>
                    <a:pt x="9633" y="6465"/>
                  </a:lnTo>
                  <a:lnTo>
                    <a:pt x="6513" y="9585"/>
                  </a:lnTo>
                  <a:lnTo>
                    <a:pt x="6168" y="9251"/>
                  </a:lnTo>
                  <a:lnTo>
                    <a:pt x="9109" y="6299"/>
                  </a:lnTo>
                  <a:lnTo>
                    <a:pt x="9288" y="6120"/>
                  </a:lnTo>
                  <a:close/>
                  <a:moveTo>
                    <a:pt x="3525" y="0"/>
                  </a:moveTo>
                  <a:cubicBezTo>
                    <a:pt x="3489" y="0"/>
                    <a:pt x="3442" y="24"/>
                    <a:pt x="3406" y="48"/>
                  </a:cubicBezTo>
                  <a:lnTo>
                    <a:pt x="2180" y="1286"/>
                  </a:lnTo>
                  <a:cubicBezTo>
                    <a:pt x="2120" y="1346"/>
                    <a:pt x="2120" y="1453"/>
                    <a:pt x="2180" y="1512"/>
                  </a:cubicBezTo>
                  <a:cubicBezTo>
                    <a:pt x="2209" y="1542"/>
                    <a:pt x="2248" y="1557"/>
                    <a:pt x="2287" y="1557"/>
                  </a:cubicBezTo>
                  <a:cubicBezTo>
                    <a:pt x="2325" y="1557"/>
                    <a:pt x="2364" y="1542"/>
                    <a:pt x="2394" y="1512"/>
                  </a:cubicBezTo>
                  <a:lnTo>
                    <a:pt x="3525" y="381"/>
                  </a:lnTo>
                  <a:lnTo>
                    <a:pt x="3870" y="715"/>
                  </a:lnTo>
                  <a:lnTo>
                    <a:pt x="3692" y="893"/>
                  </a:lnTo>
                  <a:lnTo>
                    <a:pt x="929" y="3667"/>
                  </a:lnTo>
                  <a:lnTo>
                    <a:pt x="751" y="3846"/>
                  </a:lnTo>
                  <a:lnTo>
                    <a:pt x="406" y="3501"/>
                  </a:lnTo>
                  <a:lnTo>
                    <a:pt x="1953" y="1953"/>
                  </a:lnTo>
                  <a:cubicBezTo>
                    <a:pt x="2013" y="1893"/>
                    <a:pt x="2013" y="1786"/>
                    <a:pt x="1953" y="1727"/>
                  </a:cubicBezTo>
                  <a:cubicBezTo>
                    <a:pt x="1924" y="1697"/>
                    <a:pt x="1882" y="1682"/>
                    <a:pt x="1840" y="1682"/>
                  </a:cubicBezTo>
                  <a:cubicBezTo>
                    <a:pt x="1799" y="1682"/>
                    <a:pt x="1757" y="1697"/>
                    <a:pt x="1727" y="1727"/>
                  </a:cubicBezTo>
                  <a:lnTo>
                    <a:pt x="60" y="3393"/>
                  </a:lnTo>
                  <a:cubicBezTo>
                    <a:pt x="1" y="3453"/>
                    <a:pt x="1" y="3560"/>
                    <a:pt x="60" y="3620"/>
                  </a:cubicBezTo>
                  <a:lnTo>
                    <a:pt x="632" y="4191"/>
                  </a:lnTo>
                  <a:cubicBezTo>
                    <a:pt x="656" y="4215"/>
                    <a:pt x="703" y="4227"/>
                    <a:pt x="751" y="4227"/>
                  </a:cubicBezTo>
                  <a:cubicBezTo>
                    <a:pt x="787" y="4227"/>
                    <a:pt x="834" y="4215"/>
                    <a:pt x="870" y="4191"/>
                  </a:cubicBezTo>
                  <a:lnTo>
                    <a:pt x="1048" y="4013"/>
                  </a:lnTo>
                  <a:lnTo>
                    <a:pt x="2025" y="4989"/>
                  </a:lnTo>
                  <a:cubicBezTo>
                    <a:pt x="2430" y="5394"/>
                    <a:pt x="2971" y="5607"/>
                    <a:pt x="3517" y="5607"/>
                  </a:cubicBezTo>
                  <a:cubicBezTo>
                    <a:pt x="3854" y="5607"/>
                    <a:pt x="4192" y="5526"/>
                    <a:pt x="4501" y="5358"/>
                  </a:cubicBezTo>
                  <a:lnTo>
                    <a:pt x="4644" y="5513"/>
                  </a:lnTo>
                  <a:cubicBezTo>
                    <a:pt x="4394" y="5989"/>
                    <a:pt x="4335" y="6537"/>
                    <a:pt x="4477" y="7061"/>
                  </a:cubicBezTo>
                  <a:cubicBezTo>
                    <a:pt x="4573" y="7406"/>
                    <a:pt x="4763" y="7727"/>
                    <a:pt x="5013" y="7977"/>
                  </a:cubicBezTo>
                  <a:lnTo>
                    <a:pt x="6001" y="8966"/>
                  </a:lnTo>
                  <a:lnTo>
                    <a:pt x="5823" y="9144"/>
                  </a:lnTo>
                  <a:cubicBezTo>
                    <a:pt x="5763" y="9204"/>
                    <a:pt x="5763" y="9311"/>
                    <a:pt x="5823" y="9370"/>
                  </a:cubicBezTo>
                  <a:lnTo>
                    <a:pt x="6394" y="9930"/>
                  </a:lnTo>
                  <a:cubicBezTo>
                    <a:pt x="6418" y="9966"/>
                    <a:pt x="6466" y="9978"/>
                    <a:pt x="6513" y="9978"/>
                  </a:cubicBezTo>
                  <a:cubicBezTo>
                    <a:pt x="6549" y="9978"/>
                    <a:pt x="6585" y="9966"/>
                    <a:pt x="6633" y="9930"/>
                  </a:cubicBezTo>
                  <a:lnTo>
                    <a:pt x="9978" y="6584"/>
                  </a:lnTo>
                  <a:cubicBezTo>
                    <a:pt x="10014" y="6525"/>
                    <a:pt x="10014" y="6418"/>
                    <a:pt x="9966" y="6358"/>
                  </a:cubicBezTo>
                  <a:lnTo>
                    <a:pt x="9395" y="5798"/>
                  </a:lnTo>
                  <a:cubicBezTo>
                    <a:pt x="9365" y="5769"/>
                    <a:pt x="9323" y="5754"/>
                    <a:pt x="9282" y="5754"/>
                  </a:cubicBezTo>
                  <a:cubicBezTo>
                    <a:pt x="9240" y="5754"/>
                    <a:pt x="9198" y="5769"/>
                    <a:pt x="9169" y="5798"/>
                  </a:cubicBezTo>
                  <a:lnTo>
                    <a:pt x="8990" y="5977"/>
                  </a:lnTo>
                  <a:lnTo>
                    <a:pt x="8014" y="4989"/>
                  </a:lnTo>
                  <a:cubicBezTo>
                    <a:pt x="7609" y="4585"/>
                    <a:pt x="7069" y="4375"/>
                    <a:pt x="6524" y="4375"/>
                  </a:cubicBezTo>
                  <a:cubicBezTo>
                    <a:pt x="6186" y="4375"/>
                    <a:pt x="5847" y="4456"/>
                    <a:pt x="5537" y="4620"/>
                  </a:cubicBezTo>
                  <a:lnTo>
                    <a:pt x="5394" y="4465"/>
                  </a:lnTo>
                  <a:cubicBezTo>
                    <a:pt x="5823" y="3655"/>
                    <a:pt x="5668" y="2655"/>
                    <a:pt x="5013" y="2000"/>
                  </a:cubicBezTo>
                  <a:lnTo>
                    <a:pt x="4037" y="1012"/>
                  </a:lnTo>
                  <a:lnTo>
                    <a:pt x="4216" y="834"/>
                  </a:lnTo>
                  <a:cubicBezTo>
                    <a:pt x="4275" y="774"/>
                    <a:pt x="4275" y="679"/>
                    <a:pt x="4216" y="619"/>
                  </a:cubicBezTo>
                  <a:lnTo>
                    <a:pt x="3644" y="48"/>
                  </a:lnTo>
                  <a:cubicBezTo>
                    <a:pt x="3620" y="24"/>
                    <a:pt x="3573" y="0"/>
                    <a:pt x="3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1" name="Google Shape;10691;p60"/>
            <p:cNvSpPr/>
            <p:nvPr/>
          </p:nvSpPr>
          <p:spPr>
            <a:xfrm>
              <a:off x="2275327" y="1662448"/>
              <a:ext cx="100066" cy="39434"/>
            </a:xfrm>
            <a:custGeom>
              <a:avLst/>
              <a:gdLst/>
              <a:ahLst/>
              <a:cxnLst/>
              <a:rect l="l" t="t" r="r" b="b"/>
              <a:pathLst>
                <a:path w="3144" h="1239" extrusionOk="0">
                  <a:moveTo>
                    <a:pt x="2632" y="310"/>
                  </a:moveTo>
                  <a:lnTo>
                    <a:pt x="2560" y="417"/>
                  </a:lnTo>
                  <a:cubicBezTo>
                    <a:pt x="2298" y="739"/>
                    <a:pt x="1953" y="917"/>
                    <a:pt x="1596" y="929"/>
                  </a:cubicBezTo>
                  <a:cubicBezTo>
                    <a:pt x="1239" y="929"/>
                    <a:pt x="905" y="774"/>
                    <a:pt x="643" y="477"/>
                  </a:cubicBezTo>
                  <a:cubicBezTo>
                    <a:pt x="643" y="477"/>
                    <a:pt x="584" y="393"/>
                    <a:pt x="512" y="310"/>
                  </a:cubicBezTo>
                  <a:close/>
                  <a:moveTo>
                    <a:pt x="179" y="0"/>
                  </a:moveTo>
                  <a:cubicBezTo>
                    <a:pt x="119" y="0"/>
                    <a:pt x="60" y="24"/>
                    <a:pt x="36" y="84"/>
                  </a:cubicBezTo>
                  <a:cubicBezTo>
                    <a:pt x="0" y="143"/>
                    <a:pt x="12" y="203"/>
                    <a:pt x="48" y="251"/>
                  </a:cubicBezTo>
                  <a:cubicBezTo>
                    <a:pt x="155" y="370"/>
                    <a:pt x="369" y="667"/>
                    <a:pt x="393" y="667"/>
                  </a:cubicBezTo>
                  <a:cubicBezTo>
                    <a:pt x="703" y="1036"/>
                    <a:pt x="1119" y="1239"/>
                    <a:pt x="1560" y="1239"/>
                  </a:cubicBezTo>
                  <a:lnTo>
                    <a:pt x="1596" y="1239"/>
                  </a:lnTo>
                  <a:cubicBezTo>
                    <a:pt x="2060" y="1215"/>
                    <a:pt x="2489" y="1001"/>
                    <a:pt x="2810" y="596"/>
                  </a:cubicBezTo>
                  <a:lnTo>
                    <a:pt x="3096" y="239"/>
                  </a:lnTo>
                  <a:cubicBezTo>
                    <a:pt x="3132" y="203"/>
                    <a:pt x="3144" y="143"/>
                    <a:pt x="3108" y="84"/>
                  </a:cubicBezTo>
                  <a:cubicBezTo>
                    <a:pt x="3084" y="24"/>
                    <a:pt x="3024" y="0"/>
                    <a:pt x="2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2" name="Google Shape;10692;p60"/>
            <p:cNvSpPr/>
            <p:nvPr/>
          </p:nvSpPr>
          <p:spPr>
            <a:xfrm>
              <a:off x="2371192" y="1745422"/>
              <a:ext cx="101211" cy="60663"/>
            </a:xfrm>
            <a:custGeom>
              <a:avLst/>
              <a:gdLst/>
              <a:ahLst/>
              <a:cxnLst/>
              <a:rect l="l" t="t" r="r" b="b"/>
              <a:pathLst>
                <a:path w="3180" h="1906" extrusionOk="0">
                  <a:moveTo>
                    <a:pt x="155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513"/>
                    <a:pt x="239" y="787"/>
                    <a:pt x="274" y="834"/>
                  </a:cubicBezTo>
                  <a:lnTo>
                    <a:pt x="1298" y="1858"/>
                  </a:lnTo>
                  <a:cubicBezTo>
                    <a:pt x="1334" y="1882"/>
                    <a:pt x="1382" y="1906"/>
                    <a:pt x="1429" y="1906"/>
                  </a:cubicBezTo>
                  <a:cubicBezTo>
                    <a:pt x="1465" y="1906"/>
                    <a:pt x="1501" y="1882"/>
                    <a:pt x="1548" y="1858"/>
                  </a:cubicBezTo>
                  <a:lnTo>
                    <a:pt x="3120" y="275"/>
                  </a:lnTo>
                  <a:cubicBezTo>
                    <a:pt x="3168" y="215"/>
                    <a:pt x="3180" y="156"/>
                    <a:pt x="3156" y="96"/>
                  </a:cubicBezTo>
                  <a:cubicBezTo>
                    <a:pt x="3120" y="37"/>
                    <a:pt x="3060" y="1"/>
                    <a:pt x="3001" y="1"/>
                  </a:cubicBezTo>
                  <a:lnTo>
                    <a:pt x="1584" y="1"/>
                  </a:lnTo>
                  <a:cubicBezTo>
                    <a:pt x="1501" y="1"/>
                    <a:pt x="1429" y="72"/>
                    <a:pt x="1429" y="156"/>
                  </a:cubicBezTo>
                  <a:cubicBezTo>
                    <a:pt x="1429" y="251"/>
                    <a:pt x="1501" y="322"/>
                    <a:pt x="1584" y="322"/>
                  </a:cubicBezTo>
                  <a:lnTo>
                    <a:pt x="2620" y="322"/>
                  </a:lnTo>
                  <a:lnTo>
                    <a:pt x="1429" y="1513"/>
                  </a:lnTo>
                  <a:lnTo>
                    <a:pt x="513" y="608"/>
                  </a:lnTo>
                  <a:cubicBezTo>
                    <a:pt x="501" y="596"/>
                    <a:pt x="393" y="489"/>
                    <a:pt x="358" y="322"/>
                  </a:cubicBezTo>
                  <a:lnTo>
                    <a:pt x="965" y="322"/>
                  </a:lnTo>
                  <a:cubicBezTo>
                    <a:pt x="1048" y="322"/>
                    <a:pt x="1132" y="251"/>
                    <a:pt x="1132" y="156"/>
                  </a:cubicBezTo>
                  <a:cubicBezTo>
                    <a:pt x="1132" y="72"/>
                    <a:pt x="1048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93" name="Google Shape;10693;p60"/>
          <p:cNvGrpSpPr/>
          <p:nvPr/>
        </p:nvGrpSpPr>
        <p:grpSpPr>
          <a:xfrm>
            <a:off x="3988156" y="1568461"/>
            <a:ext cx="349052" cy="230049"/>
            <a:chOff x="3988156" y="1568461"/>
            <a:chExt cx="349052" cy="230049"/>
          </a:xfrm>
        </p:grpSpPr>
        <p:sp>
          <p:nvSpPr>
            <p:cNvPr id="10694" name="Google Shape;10694;p60"/>
            <p:cNvSpPr/>
            <p:nvPr/>
          </p:nvSpPr>
          <p:spPr>
            <a:xfrm>
              <a:off x="3988156" y="1571135"/>
              <a:ext cx="349052" cy="227376"/>
            </a:xfrm>
            <a:custGeom>
              <a:avLst/>
              <a:gdLst/>
              <a:ahLst/>
              <a:cxnLst/>
              <a:rect l="l" t="t" r="r" b="b"/>
              <a:pathLst>
                <a:path w="10967" h="7144" extrusionOk="0">
                  <a:moveTo>
                    <a:pt x="3203" y="322"/>
                  </a:moveTo>
                  <a:cubicBezTo>
                    <a:pt x="3489" y="322"/>
                    <a:pt x="3763" y="429"/>
                    <a:pt x="3977" y="631"/>
                  </a:cubicBezTo>
                  <a:lnTo>
                    <a:pt x="6168" y="2703"/>
                  </a:lnTo>
                  <a:lnTo>
                    <a:pt x="4930" y="2703"/>
                  </a:lnTo>
                  <a:lnTo>
                    <a:pt x="3072" y="322"/>
                  </a:lnTo>
                  <a:close/>
                  <a:moveTo>
                    <a:pt x="9240" y="3012"/>
                  </a:moveTo>
                  <a:cubicBezTo>
                    <a:pt x="9514" y="3036"/>
                    <a:pt x="9752" y="3143"/>
                    <a:pt x="9942" y="3346"/>
                  </a:cubicBezTo>
                  <a:lnTo>
                    <a:pt x="10049" y="3441"/>
                  </a:lnTo>
                  <a:lnTo>
                    <a:pt x="9406" y="3441"/>
                  </a:lnTo>
                  <a:lnTo>
                    <a:pt x="9406" y="3453"/>
                  </a:lnTo>
                  <a:cubicBezTo>
                    <a:pt x="9323" y="3453"/>
                    <a:pt x="9240" y="3370"/>
                    <a:pt x="9240" y="3286"/>
                  </a:cubicBezTo>
                  <a:lnTo>
                    <a:pt x="9240" y="3012"/>
                  </a:lnTo>
                  <a:close/>
                  <a:moveTo>
                    <a:pt x="6894" y="3715"/>
                  </a:moveTo>
                  <a:lnTo>
                    <a:pt x="3977" y="6477"/>
                  </a:lnTo>
                  <a:cubicBezTo>
                    <a:pt x="3763" y="6679"/>
                    <a:pt x="3501" y="6799"/>
                    <a:pt x="3203" y="6799"/>
                  </a:cubicBezTo>
                  <a:lnTo>
                    <a:pt x="3072" y="6799"/>
                  </a:lnTo>
                  <a:lnTo>
                    <a:pt x="5466" y="3715"/>
                  </a:lnTo>
                  <a:close/>
                  <a:moveTo>
                    <a:pt x="2953" y="0"/>
                  </a:moveTo>
                  <a:cubicBezTo>
                    <a:pt x="2846" y="0"/>
                    <a:pt x="2751" y="60"/>
                    <a:pt x="2703" y="143"/>
                  </a:cubicBezTo>
                  <a:cubicBezTo>
                    <a:pt x="2668" y="238"/>
                    <a:pt x="2679" y="333"/>
                    <a:pt x="2739" y="429"/>
                  </a:cubicBezTo>
                  <a:lnTo>
                    <a:pt x="4513" y="2703"/>
                  </a:lnTo>
                  <a:lnTo>
                    <a:pt x="2191" y="2703"/>
                  </a:lnTo>
                  <a:cubicBezTo>
                    <a:pt x="2096" y="2703"/>
                    <a:pt x="2013" y="2655"/>
                    <a:pt x="1953" y="2572"/>
                  </a:cubicBezTo>
                  <a:lnTo>
                    <a:pt x="1239" y="1334"/>
                  </a:lnTo>
                  <a:cubicBezTo>
                    <a:pt x="1132" y="1155"/>
                    <a:pt x="941" y="1048"/>
                    <a:pt x="727" y="1048"/>
                  </a:cubicBezTo>
                  <a:lnTo>
                    <a:pt x="274" y="1048"/>
                  </a:lnTo>
                  <a:cubicBezTo>
                    <a:pt x="120" y="1048"/>
                    <a:pt x="1" y="1167"/>
                    <a:pt x="1" y="1322"/>
                  </a:cubicBezTo>
                  <a:lnTo>
                    <a:pt x="1" y="3834"/>
                  </a:lnTo>
                  <a:cubicBezTo>
                    <a:pt x="1" y="4167"/>
                    <a:pt x="274" y="4429"/>
                    <a:pt x="596" y="4429"/>
                  </a:cubicBezTo>
                  <a:lnTo>
                    <a:pt x="1977" y="4429"/>
                  </a:lnTo>
                  <a:cubicBezTo>
                    <a:pt x="2072" y="4429"/>
                    <a:pt x="2144" y="4358"/>
                    <a:pt x="2144" y="4263"/>
                  </a:cubicBezTo>
                  <a:cubicBezTo>
                    <a:pt x="2144" y="4179"/>
                    <a:pt x="2072" y="4096"/>
                    <a:pt x="1977" y="4096"/>
                  </a:cubicBezTo>
                  <a:lnTo>
                    <a:pt x="596" y="4096"/>
                  </a:lnTo>
                  <a:cubicBezTo>
                    <a:pt x="453" y="4096"/>
                    <a:pt x="310" y="3977"/>
                    <a:pt x="310" y="3822"/>
                  </a:cubicBezTo>
                  <a:lnTo>
                    <a:pt x="310" y="1369"/>
                  </a:lnTo>
                  <a:lnTo>
                    <a:pt x="727" y="1369"/>
                  </a:lnTo>
                  <a:cubicBezTo>
                    <a:pt x="834" y="1369"/>
                    <a:pt x="905" y="1405"/>
                    <a:pt x="965" y="1500"/>
                  </a:cubicBezTo>
                  <a:lnTo>
                    <a:pt x="1679" y="2739"/>
                  </a:lnTo>
                  <a:cubicBezTo>
                    <a:pt x="1786" y="2905"/>
                    <a:pt x="1977" y="3036"/>
                    <a:pt x="2191" y="3036"/>
                  </a:cubicBezTo>
                  <a:lnTo>
                    <a:pt x="8895" y="3036"/>
                  </a:lnTo>
                  <a:lnTo>
                    <a:pt x="8895" y="3298"/>
                  </a:lnTo>
                  <a:cubicBezTo>
                    <a:pt x="8895" y="3572"/>
                    <a:pt x="9109" y="3774"/>
                    <a:pt x="9371" y="3774"/>
                  </a:cubicBezTo>
                  <a:lnTo>
                    <a:pt x="10323" y="3774"/>
                  </a:lnTo>
                  <a:lnTo>
                    <a:pt x="10538" y="3977"/>
                  </a:lnTo>
                  <a:cubicBezTo>
                    <a:pt x="10561" y="4012"/>
                    <a:pt x="10597" y="4060"/>
                    <a:pt x="10597" y="4096"/>
                  </a:cubicBezTo>
                  <a:lnTo>
                    <a:pt x="6930" y="4096"/>
                  </a:lnTo>
                  <a:lnTo>
                    <a:pt x="7382" y="3679"/>
                  </a:lnTo>
                  <a:cubicBezTo>
                    <a:pt x="7430" y="3643"/>
                    <a:pt x="7442" y="3560"/>
                    <a:pt x="7430" y="3501"/>
                  </a:cubicBezTo>
                  <a:cubicBezTo>
                    <a:pt x="7394" y="3453"/>
                    <a:pt x="7335" y="3405"/>
                    <a:pt x="7275" y="3405"/>
                  </a:cubicBezTo>
                  <a:lnTo>
                    <a:pt x="5454" y="3405"/>
                  </a:lnTo>
                  <a:cubicBezTo>
                    <a:pt x="5358" y="3405"/>
                    <a:pt x="5287" y="3453"/>
                    <a:pt x="5239" y="3501"/>
                  </a:cubicBezTo>
                  <a:lnTo>
                    <a:pt x="4775" y="4096"/>
                  </a:lnTo>
                  <a:lnTo>
                    <a:pt x="2739" y="4096"/>
                  </a:lnTo>
                  <a:cubicBezTo>
                    <a:pt x="2656" y="4096"/>
                    <a:pt x="2572" y="4179"/>
                    <a:pt x="2572" y="4263"/>
                  </a:cubicBezTo>
                  <a:cubicBezTo>
                    <a:pt x="2572" y="4358"/>
                    <a:pt x="2656" y="4429"/>
                    <a:pt x="2739" y="4429"/>
                  </a:cubicBezTo>
                  <a:lnTo>
                    <a:pt x="4525" y="4429"/>
                  </a:lnTo>
                  <a:lnTo>
                    <a:pt x="2751" y="6703"/>
                  </a:lnTo>
                  <a:cubicBezTo>
                    <a:pt x="2691" y="6787"/>
                    <a:pt x="2679" y="6906"/>
                    <a:pt x="2727" y="6989"/>
                  </a:cubicBezTo>
                  <a:cubicBezTo>
                    <a:pt x="2763" y="7084"/>
                    <a:pt x="2858" y="7144"/>
                    <a:pt x="2965" y="7144"/>
                  </a:cubicBezTo>
                  <a:lnTo>
                    <a:pt x="3203" y="7144"/>
                  </a:lnTo>
                  <a:cubicBezTo>
                    <a:pt x="3572" y="7144"/>
                    <a:pt x="3930" y="7001"/>
                    <a:pt x="4203" y="6739"/>
                  </a:cubicBezTo>
                  <a:lnTo>
                    <a:pt x="6644" y="4429"/>
                  </a:lnTo>
                  <a:lnTo>
                    <a:pt x="10716" y="4429"/>
                  </a:lnTo>
                  <a:cubicBezTo>
                    <a:pt x="10847" y="4429"/>
                    <a:pt x="10966" y="4322"/>
                    <a:pt x="10966" y="4179"/>
                  </a:cubicBezTo>
                  <a:cubicBezTo>
                    <a:pt x="10954" y="4001"/>
                    <a:pt x="10895" y="3846"/>
                    <a:pt x="10788" y="3751"/>
                  </a:cubicBezTo>
                  <a:lnTo>
                    <a:pt x="10168" y="3120"/>
                  </a:lnTo>
                  <a:cubicBezTo>
                    <a:pt x="9895" y="2858"/>
                    <a:pt x="9526" y="2703"/>
                    <a:pt x="9156" y="2703"/>
                  </a:cubicBezTo>
                  <a:lnTo>
                    <a:pt x="6620" y="2703"/>
                  </a:lnTo>
                  <a:lnTo>
                    <a:pt x="4180" y="393"/>
                  </a:lnTo>
                  <a:cubicBezTo>
                    <a:pt x="3918" y="143"/>
                    <a:pt x="3561" y="0"/>
                    <a:pt x="3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5" name="Google Shape;10695;p60"/>
            <p:cNvSpPr/>
            <p:nvPr/>
          </p:nvSpPr>
          <p:spPr>
            <a:xfrm>
              <a:off x="4188256" y="1568461"/>
              <a:ext cx="146661" cy="61809"/>
            </a:xfrm>
            <a:custGeom>
              <a:avLst/>
              <a:gdLst/>
              <a:ahLst/>
              <a:cxnLst/>
              <a:rect l="l" t="t" r="r" b="b"/>
              <a:pathLst>
                <a:path w="4608" h="1942" extrusionOk="0">
                  <a:moveTo>
                    <a:pt x="2274" y="1"/>
                  </a:moveTo>
                  <a:cubicBezTo>
                    <a:pt x="1726" y="1"/>
                    <a:pt x="1250" y="382"/>
                    <a:pt x="1095" y="882"/>
                  </a:cubicBezTo>
                  <a:cubicBezTo>
                    <a:pt x="1036" y="870"/>
                    <a:pt x="976" y="870"/>
                    <a:pt x="905" y="870"/>
                  </a:cubicBezTo>
                  <a:cubicBezTo>
                    <a:pt x="393" y="870"/>
                    <a:pt x="0" y="1263"/>
                    <a:pt x="0" y="1775"/>
                  </a:cubicBezTo>
                  <a:cubicBezTo>
                    <a:pt x="12" y="1882"/>
                    <a:pt x="83" y="1941"/>
                    <a:pt x="179" y="1941"/>
                  </a:cubicBezTo>
                  <a:lnTo>
                    <a:pt x="2929" y="1941"/>
                  </a:lnTo>
                  <a:cubicBezTo>
                    <a:pt x="3012" y="1941"/>
                    <a:pt x="3096" y="1870"/>
                    <a:pt x="3096" y="1775"/>
                  </a:cubicBezTo>
                  <a:cubicBezTo>
                    <a:pt x="3096" y="1680"/>
                    <a:pt x="3012" y="1608"/>
                    <a:pt x="2929" y="1608"/>
                  </a:cubicBezTo>
                  <a:lnTo>
                    <a:pt x="357" y="1608"/>
                  </a:lnTo>
                  <a:cubicBezTo>
                    <a:pt x="429" y="1358"/>
                    <a:pt x="655" y="1179"/>
                    <a:pt x="917" y="1179"/>
                  </a:cubicBezTo>
                  <a:cubicBezTo>
                    <a:pt x="1012" y="1179"/>
                    <a:pt x="1084" y="1191"/>
                    <a:pt x="1155" y="1239"/>
                  </a:cubicBezTo>
                  <a:cubicBezTo>
                    <a:pt x="1179" y="1245"/>
                    <a:pt x="1206" y="1248"/>
                    <a:pt x="1232" y="1248"/>
                  </a:cubicBezTo>
                  <a:cubicBezTo>
                    <a:pt x="1259" y="1248"/>
                    <a:pt x="1286" y="1245"/>
                    <a:pt x="1310" y="1239"/>
                  </a:cubicBezTo>
                  <a:cubicBezTo>
                    <a:pt x="1345" y="1203"/>
                    <a:pt x="1381" y="1168"/>
                    <a:pt x="1381" y="1120"/>
                  </a:cubicBezTo>
                  <a:cubicBezTo>
                    <a:pt x="1441" y="667"/>
                    <a:pt x="1822" y="334"/>
                    <a:pt x="2274" y="334"/>
                  </a:cubicBezTo>
                  <a:cubicBezTo>
                    <a:pt x="2691" y="334"/>
                    <a:pt x="3048" y="608"/>
                    <a:pt x="3155" y="1001"/>
                  </a:cubicBezTo>
                  <a:cubicBezTo>
                    <a:pt x="3167" y="1048"/>
                    <a:pt x="3191" y="1072"/>
                    <a:pt x="3227" y="1108"/>
                  </a:cubicBezTo>
                  <a:cubicBezTo>
                    <a:pt x="3241" y="1122"/>
                    <a:pt x="3267" y="1128"/>
                    <a:pt x="3296" y="1128"/>
                  </a:cubicBezTo>
                  <a:cubicBezTo>
                    <a:pt x="3316" y="1128"/>
                    <a:pt x="3338" y="1125"/>
                    <a:pt x="3358" y="1120"/>
                  </a:cubicBezTo>
                  <a:cubicBezTo>
                    <a:pt x="3429" y="1084"/>
                    <a:pt x="3512" y="1072"/>
                    <a:pt x="3584" y="1072"/>
                  </a:cubicBezTo>
                  <a:cubicBezTo>
                    <a:pt x="3905" y="1072"/>
                    <a:pt x="4191" y="1310"/>
                    <a:pt x="4262" y="1608"/>
                  </a:cubicBezTo>
                  <a:lnTo>
                    <a:pt x="3667" y="1608"/>
                  </a:lnTo>
                  <a:cubicBezTo>
                    <a:pt x="3584" y="1608"/>
                    <a:pt x="3512" y="1680"/>
                    <a:pt x="3512" y="1775"/>
                  </a:cubicBezTo>
                  <a:cubicBezTo>
                    <a:pt x="3512" y="1870"/>
                    <a:pt x="3584" y="1941"/>
                    <a:pt x="3667" y="1941"/>
                  </a:cubicBezTo>
                  <a:lnTo>
                    <a:pt x="4441" y="1941"/>
                  </a:lnTo>
                  <a:cubicBezTo>
                    <a:pt x="4536" y="1941"/>
                    <a:pt x="4608" y="1870"/>
                    <a:pt x="4608" y="1775"/>
                  </a:cubicBezTo>
                  <a:cubicBezTo>
                    <a:pt x="4608" y="1203"/>
                    <a:pt x="4143" y="751"/>
                    <a:pt x="3584" y="751"/>
                  </a:cubicBezTo>
                  <a:cubicBezTo>
                    <a:pt x="3524" y="751"/>
                    <a:pt x="3465" y="751"/>
                    <a:pt x="3405" y="763"/>
                  </a:cubicBezTo>
                  <a:cubicBezTo>
                    <a:pt x="3227" y="298"/>
                    <a:pt x="2774" y="1"/>
                    <a:pt x="2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6" name="Google Shape;10696;p60"/>
            <p:cNvSpPr/>
            <p:nvPr/>
          </p:nvSpPr>
          <p:spPr>
            <a:xfrm>
              <a:off x="4123805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1" y="84"/>
                    <a:pt x="1" y="203"/>
                  </a:cubicBezTo>
                  <a:cubicBezTo>
                    <a:pt x="1" y="322"/>
                    <a:pt x="84" y="417"/>
                    <a:pt x="203" y="417"/>
                  </a:cubicBezTo>
                  <a:cubicBezTo>
                    <a:pt x="311" y="417"/>
                    <a:pt x="418" y="322"/>
                    <a:pt x="418" y="203"/>
                  </a:cubicBezTo>
                  <a:cubicBezTo>
                    <a:pt x="418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7" name="Google Shape;10697;p60"/>
            <p:cNvSpPr/>
            <p:nvPr/>
          </p:nvSpPr>
          <p:spPr>
            <a:xfrm>
              <a:off x="4096147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18" y="322"/>
                    <a:pt x="418" y="203"/>
                  </a:cubicBezTo>
                  <a:cubicBezTo>
                    <a:pt x="418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8" name="Google Shape;10698;p60"/>
            <p:cNvSpPr/>
            <p:nvPr/>
          </p:nvSpPr>
          <p:spPr>
            <a:xfrm>
              <a:off x="4068871" y="1677598"/>
              <a:ext cx="13686" cy="13304"/>
            </a:xfrm>
            <a:custGeom>
              <a:avLst/>
              <a:gdLst/>
              <a:ahLst/>
              <a:cxnLst/>
              <a:rect l="l" t="t" r="r" b="b"/>
              <a:pathLst>
                <a:path w="430" h="418" extrusionOk="0">
                  <a:moveTo>
                    <a:pt x="215" y="1"/>
                  </a:moveTo>
                  <a:cubicBezTo>
                    <a:pt x="96" y="1"/>
                    <a:pt x="12" y="84"/>
                    <a:pt x="12" y="203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29" y="322"/>
                    <a:pt x="429" y="203"/>
                  </a:cubicBezTo>
                  <a:cubicBezTo>
                    <a:pt x="429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9" name="Google Shape;10699;p60"/>
            <p:cNvSpPr/>
            <p:nvPr/>
          </p:nvSpPr>
          <p:spPr>
            <a:xfrm>
              <a:off x="4041594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96" y="1"/>
                    <a:pt x="0" y="84"/>
                    <a:pt x="0" y="203"/>
                  </a:cubicBezTo>
                  <a:cubicBezTo>
                    <a:pt x="0" y="322"/>
                    <a:pt x="96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0" name="Google Shape;10700;p60"/>
            <p:cNvSpPr/>
            <p:nvPr/>
          </p:nvSpPr>
          <p:spPr>
            <a:xfrm>
              <a:off x="4239402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01" name="Google Shape;10701;p60"/>
          <p:cNvGrpSpPr/>
          <p:nvPr/>
        </p:nvGrpSpPr>
        <p:grpSpPr>
          <a:xfrm>
            <a:off x="2633037" y="1499873"/>
            <a:ext cx="379002" cy="366112"/>
            <a:chOff x="2633037" y="1499873"/>
            <a:chExt cx="379002" cy="366112"/>
          </a:xfrm>
        </p:grpSpPr>
        <p:sp>
          <p:nvSpPr>
            <p:cNvPr id="10702" name="Google Shape;10702;p60"/>
            <p:cNvSpPr/>
            <p:nvPr/>
          </p:nvSpPr>
          <p:spPr>
            <a:xfrm>
              <a:off x="2798635" y="1499873"/>
              <a:ext cx="20497" cy="106145"/>
            </a:xfrm>
            <a:custGeom>
              <a:avLst/>
              <a:gdLst/>
              <a:ahLst/>
              <a:cxnLst/>
              <a:rect l="l" t="t" r="r" b="b"/>
              <a:pathLst>
                <a:path w="644" h="3335" extrusionOk="0">
                  <a:moveTo>
                    <a:pt x="453" y="1"/>
                  </a:moveTo>
                  <a:cubicBezTo>
                    <a:pt x="346" y="1"/>
                    <a:pt x="263" y="96"/>
                    <a:pt x="263" y="191"/>
                  </a:cubicBezTo>
                  <a:cubicBezTo>
                    <a:pt x="263" y="394"/>
                    <a:pt x="215" y="477"/>
                    <a:pt x="156" y="596"/>
                  </a:cubicBezTo>
                  <a:cubicBezTo>
                    <a:pt x="72" y="727"/>
                    <a:pt x="1" y="882"/>
                    <a:pt x="1" y="1179"/>
                  </a:cubicBezTo>
                  <a:cubicBezTo>
                    <a:pt x="1" y="1465"/>
                    <a:pt x="72" y="1620"/>
                    <a:pt x="156" y="1763"/>
                  </a:cubicBezTo>
                  <a:cubicBezTo>
                    <a:pt x="215" y="1882"/>
                    <a:pt x="263" y="1965"/>
                    <a:pt x="263" y="2156"/>
                  </a:cubicBezTo>
                  <a:cubicBezTo>
                    <a:pt x="263" y="2358"/>
                    <a:pt x="215" y="2441"/>
                    <a:pt x="156" y="2561"/>
                  </a:cubicBezTo>
                  <a:cubicBezTo>
                    <a:pt x="72" y="2692"/>
                    <a:pt x="1" y="2846"/>
                    <a:pt x="1" y="3144"/>
                  </a:cubicBezTo>
                  <a:cubicBezTo>
                    <a:pt x="1" y="3239"/>
                    <a:pt x="96" y="3334"/>
                    <a:pt x="191" y="3334"/>
                  </a:cubicBezTo>
                  <a:cubicBezTo>
                    <a:pt x="298" y="3334"/>
                    <a:pt x="394" y="3239"/>
                    <a:pt x="394" y="3144"/>
                  </a:cubicBezTo>
                  <a:cubicBezTo>
                    <a:pt x="394" y="2942"/>
                    <a:pt x="429" y="2858"/>
                    <a:pt x="489" y="2739"/>
                  </a:cubicBezTo>
                  <a:cubicBezTo>
                    <a:pt x="572" y="2608"/>
                    <a:pt x="644" y="2453"/>
                    <a:pt x="644" y="2156"/>
                  </a:cubicBezTo>
                  <a:cubicBezTo>
                    <a:pt x="644" y="1882"/>
                    <a:pt x="572" y="1715"/>
                    <a:pt x="489" y="1584"/>
                  </a:cubicBezTo>
                  <a:cubicBezTo>
                    <a:pt x="429" y="1465"/>
                    <a:pt x="394" y="1370"/>
                    <a:pt x="394" y="1179"/>
                  </a:cubicBezTo>
                  <a:cubicBezTo>
                    <a:pt x="394" y="989"/>
                    <a:pt x="429" y="894"/>
                    <a:pt x="489" y="775"/>
                  </a:cubicBezTo>
                  <a:cubicBezTo>
                    <a:pt x="572" y="644"/>
                    <a:pt x="644" y="489"/>
                    <a:pt x="644" y="191"/>
                  </a:cubicBezTo>
                  <a:cubicBezTo>
                    <a:pt x="644" y="96"/>
                    <a:pt x="549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3" name="Google Shape;10703;p60"/>
            <p:cNvSpPr/>
            <p:nvPr/>
          </p:nvSpPr>
          <p:spPr>
            <a:xfrm>
              <a:off x="2847140" y="1499873"/>
              <a:ext cx="20115" cy="106145"/>
            </a:xfrm>
            <a:custGeom>
              <a:avLst/>
              <a:gdLst/>
              <a:ahLst/>
              <a:cxnLst/>
              <a:rect l="l" t="t" r="r" b="b"/>
              <a:pathLst>
                <a:path w="632" h="3335" extrusionOk="0">
                  <a:moveTo>
                    <a:pt x="441" y="1"/>
                  </a:moveTo>
                  <a:cubicBezTo>
                    <a:pt x="334" y="1"/>
                    <a:pt x="251" y="96"/>
                    <a:pt x="251" y="191"/>
                  </a:cubicBezTo>
                  <a:cubicBezTo>
                    <a:pt x="251" y="394"/>
                    <a:pt x="203" y="477"/>
                    <a:pt x="144" y="596"/>
                  </a:cubicBezTo>
                  <a:cubicBezTo>
                    <a:pt x="72" y="727"/>
                    <a:pt x="1" y="882"/>
                    <a:pt x="1" y="1179"/>
                  </a:cubicBezTo>
                  <a:cubicBezTo>
                    <a:pt x="1" y="1465"/>
                    <a:pt x="72" y="1620"/>
                    <a:pt x="144" y="1763"/>
                  </a:cubicBezTo>
                  <a:cubicBezTo>
                    <a:pt x="203" y="1882"/>
                    <a:pt x="251" y="1965"/>
                    <a:pt x="251" y="2156"/>
                  </a:cubicBezTo>
                  <a:cubicBezTo>
                    <a:pt x="251" y="2358"/>
                    <a:pt x="203" y="2441"/>
                    <a:pt x="144" y="2561"/>
                  </a:cubicBezTo>
                  <a:cubicBezTo>
                    <a:pt x="84" y="2692"/>
                    <a:pt x="1" y="2846"/>
                    <a:pt x="1" y="3144"/>
                  </a:cubicBezTo>
                  <a:cubicBezTo>
                    <a:pt x="1" y="3239"/>
                    <a:pt x="84" y="3334"/>
                    <a:pt x="191" y="3334"/>
                  </a:cubicBezTo>
                  <a:cubicBezTo>
                    <a:pt x="298" y="3334"/>
                    <a:pt x="382" y="3239"/>
                    <a:pt x="382" y="3144"/>
                  </a:cubicBezTo>
                  <a:cubicBezTo>
                    <a:pt x="382" y="2942"/>
                    <a:pt x="429" y="2858"/>
                    <a:pt x="489" y="2739"/>
                  </a:cubicBezTo>
                  <a:cubicBezTo>
                    <a:pt x="560" y="2608"/>
                    <a:pt x="632" y="2453"/>
                    <a:pt x="632" y="2156"/>
                  </a:cubicBezTo>
                  <a:cubicBezTo>
                    <a:pt x="632" y="1882"/>
                    <a:pt x="560" y="1715"/>
                    <a:pt x="489" y="1584"/>
                  </a:cubicBezTo>
                  <a:cubicBezTo>
                    <a:pt x="429" y="1465"/>
                    <a:pt x="382" y="1370"/>
                    <a:pt x="382" y="1179"/>
                  </a:cubicBezTo>
                  <a:cubicBezTo>
                    <a:pt x="382" y="989"/>
                    <a:pt x="429" y="894"/>
                    <a:pt x="489" y="775"/>
                  </a:cubicBezTo>
                  <a:cubicBezTo>
                    <a:pt x="560" y="644"/>
                    <a:pt x="632" y="489"/>
                    <a:pt x="632" y="191"/>
                  </a:cubicBezTo>
                  <a:cubicBezTo>
                    <a:pt x="632" y="96"/>
                    <a:pt x="549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4" name="Google Shape;10704;p60"/>
            <p:cNvSpPr/>
            <p:nvPr/>
          </p:nvSpPr>
          <p:spPr>
            <a:xfrm>
              <a:off x="2652738" y="1825405"/>
              <a:ext cx="359301" cy="40580"/>
            </a:xfrm>
            <a:custGeom>
              <a:avLst/>
              <a:gdLst/>
              <a:ahLst/>
              <a:cxnLst/>
              <a:rect l="l" t="t" r="r" b="b"/>
              <a:pathLst>
                <a:path w="11289" h="1275" extrusionOk="0">
                  <a:moveTo>
                    <a:pt x="10645" y="369"/>
                  </a:moveTo>
                  <a:lnTo>
                    <a:pt x="10538" y="655"/>
                  </a:lnTo>
                  <a:cubicBezTo>
                    <a:pt x="10514" y="774"/>
                    <a:pt x="10359" y="869"/>
                    <a:pt x="10240" y="869"/>
                  </a:cubicBezTo>
                  <a:lnTo>
                    <a:pt x="1108" y="869"/>
                  </a:lnTo>
                  <a:cubicBezTo>
                    <a:pt x="989" y="869"/>
                    <a:pt x="834" y="774"/>
                    <a:pt x="811" y="655"/>
                  </a:cubicBezTo>
                  <a:lnTo>
                    <a:pt x="739" y="369"/>
                  </a:lnTo>
                  <a:close/>
                  <a:moveTo>
                    <a:pt x="191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299" y="381"/>
                  </a:lnTo>
                  <a:lnTo>
                    <a:pt x="406" y="774"/>
                  </a:lnTo>
                  <a:cubicBezTo>
                    <a:pt x="477" y="1060"/>
                    <a:pt x="775" y="1274"/>
                    <a:pt x="1072" y="1274"/>
                  </a:cubicBezTo>
                  <a:lnTo>
                    <a:pt x="10216" y="1274"/>
                  </a:lnTo>
                  <a:cubicBezTo>
                    <a:pt x="10514" y="1274"/>
                    <a:pt x="10812" y="1060"/>
                    <a:pt x="10883" y="774"/>
                  </a:cubicBezTo>
                  <a:lnTo>
                    <a:pt x="10990" y="381"/>
                  </a:lnTo>
                  <a:lnTo>
                    <a:pt x="11098" y="381"/>
                  </a:lnTo>
                  <a:cubicBezTo>
                    <a:pt x="11193" y="381"/>
                    <a:pt x="11288" y="298"/>
                    <a:pt x="11288" y="191"/>
                  </a:cubicBezTo>
                  <a:cubicBezTo>
                    <a:pt x="11288" y="83"/>
                    <a:pt x="11229" y="0"/>
                    <a:pt x="11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5" name="Google Shape;10705;p60"/>
            <p:cNvSpPr/>
            <p:nvPr/>
          </p:nvSpPr>
          <p:spPr>
            <a:xfrm>
              <a:off x="2657289" y="1641983"/>
              <a:ext cx="64833" cy="73935"/>
            </a:xfrm>
            <a:custGeom>
              <a:avLst/>
              <a:gdLst/>
              <a:ahLst/>
              <a:cxnLst/>
              <a:rect l="l" t="t" r="r" b="b"/>
              <a:pathLst>
                <a:path w="2037" h="2323" extrusionOk="0">
                  <a:moveTo>
                    <a:pt x="1584" y="382"/>
                  </a:moveTo>
                  <a:lnTo>
                    <a:pt x="1584" y="1429"/>
                  </a:lnTo>
                  <a:cubicBezTo>
                    <a:pt x="1584" y="1596"/>
                    <a:pt x="1596" y="1751"/>
                    <a:pt x="1620" y="1929"/>
                  </a:cubicBezTo>
                  <a:lnTo>
                    <a:pt x="1596" y="1929"/>
                  </a:lnTo>
                  <a:cubicBezTo>
                    <a:pt x="929" y="1929"/>
                    <a:pt x="382" y="1382"/>
                    <a:pt x="382" y="715"/>
                  </a:cubicBezTo>
                  <a:cubicBezTo>
                    <a:pt x="382" y="596"/>
                    <a:pt x="394" y="489"/>
                    <a:pt x="429" y="382"/>
                  </a:cubicBezTo>
                  <a:close/>
                  <a:moveTo>
                    <a:pt x="298" y="1"/>
                  </a:moveTo>
                  <a:cubicBezTo>
                    <a:pt x="215" y="1"/>
                    <a:pt x="144" y="48"/>
                    <a:pt x="120" y="120"/>
                  </a:cubicBezTo>
                  <a:cubicBezTo>
                    <a:pt x="37" y="310"/>
                    <a:pt x="13" y="513"/>
                    <a:pt x="13" y="703"/>
                  </a:cubicBezTo>
                  <a:cubicBezTo>
                    <a:pt x="1" y="1596"/>
                    <a:pt x="727" y="2322"/>
                    <a:pt x="1608" y="2322"/>
                  </a:cubicBezTo>
                  <a:lnTo>
                    <a:pt x="1846" y="2322"/>
                  </a:lnTo>
                  <a:cubicBezTo>
                    <a:pt x="1906" y="2322"/>
                    <a:pt x="1942" y="2298"/>
                    <a:pt x="1989" y="2251"/>
                  </a:cubicBezTo>
                  <a:cubicBezTo>
                    <a:pt x="2025" y="2203"/>
                    <a:pt x="2037" y="2144"/>
                    <a:pt x="2037" y="2084"/>
                  </a:cubicBezTo>
                  <a:cubicBezTo>
                    <a:pt x="1989" y="1870"/>
                    <a:pt x="1977" y="1656"/>
                    <a:pt x="1977" y="1429"/>
                  </a:cubicBezTo>
                  <a:lnTo>
                    <a:pt x="1977" y="191"/>
                  </a:lnTo>
                  <a:cubicBezTo>
                    <a:pt x="1977" y="84"/>
                    <a:pt x="1882" y="1"/>
                    <a:pt x="1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6" name="Google Shape;10706;p60"/>
            <p:cNvSpPr/>
            <p:nvPr/>
          </p:nvSpPr>
          <p:spPr>
            <a:xfrm>
              <a:off x="2633037" y="1617730"/>
              <a:ext cx="325945" cy="195198"/>
            </a:xfrm>
            <a:custGeom>
              <a:avLst/>
              <a:gdLst/>
              <a:ahLst/>
              <a:cxnLst/>
              <a:rect l="l" t="t" r="r" b="b"/>
              <a:pathLst>
                <a:path w="10241" h="6133" extrusionOk="0">
                  <a:moveTo>
                    <a:pt x="9847" y="393"/>
                  </a:moveTo>
                  <a:lnTo>
                    <a:pt x="9847" y="2203"/>
                  </a:lnTo>
                  <a:cubicBezTo>
                    <a:pt x="9847" y="4168"/>
                    <a:pt x="8252" y="5763"/>
                    <a:pt x="6287" y="5763"/>
                  </a:cubicBezTo>
                  <a:cubicBezTo>
                    <a:pt x="4859" y="5763"/>
                    <a:pt x="3573" y="4918"/>
                    <a:pt x="3013" y="3584"/>
                  </a:cubicBezTo>
                  <a:cubicBezTo>
                    <a:pt x="2989" y="3513"/>
                    <a:pt x="2918" y="3465"/>
                    <a:pt x="2834" y="3465"/>
                  </a:cubicBezTo>
                  <a:lnTo>
                    <a:pt x="2382" y="3465"/>
                  </a:lnTo>
                  <a:cubicBezTo>
                    <a:pt x="1287" y="3465"/>
                    <a:pt x="394" y="2572"/>
                    <a:pt x="394" y="1489"/>
                  </a:cubicBezTo>
                  <a:cubicBezTo>
                    <a:pt x="382" y="1096"/>
                    <a:pt x="489" y="715"/>
                    <a:pt x="703" y="393"/>
                  </a:cubicBezTo>
                  <a:lnTo>
                    <a:pt x="8823" y="393"/>
                  </a:lnTo>
                  <a:lnTo>
                    <a:pt x="8823" y="1215"/>
                  </a:lnTo>
                  <a:cubicBezTo>
                    <a:pt x="8823" y="1310"/>
                    <a:pt x="8919" y="1405"/>
                    <a:pt x="9014" y="1405"/>
                  </a:cubicBezTo>
                  <a:cubicBezTo>
                    <a:pt x="9121" y="1405"/>
                    <a:pt x="9204" y="1310"/>
                    <a:pt x="9204" y="1215"/>
                  </a:cubicBezTo>
                  <a:lnTo>
                    <a:pt x="9204" y="393"/>
                  </a:lnTo>
                  <a:close/>
                  <a:moveTo>
                    <a:pt x="620" y="1"/>
                  </a:moveTo>
                  <a:cubicBezTo>
                    <a:pt x="560" y="1"/>
                    <a:pt x="501" y="36"/>
                    <a:pt x="477" y="84"/>
                  </a:cubicBezTo>
                  <a:cubicBezTo>
                    <a:pt x="179" y="477"/>
                    <a:pt x="25" y="977"/>
                    <a:pt x="25" y="1465"/>
                  </a:cubicBezTo>
                  <a:cubicBezTo>
                    <a:pt x="1" y="2787"/>
                    <a:pt x="1060" y="3846"/>
                    <a:pt x="2370" y="3846"/>
                  </a:cubicBezTo>
                  <a:lnTo>
                    <a:pt x="2704" y="3846"/>
                  </a:lnTo>
                  <a:cubicBezTo>
                    <a:pt x="3346" y="5239"/>
                    <a:pt x="4751" y="6132"/>
                    <a:pt x="6299" y="6132"/>
                  </a:cubicBezTo>
                  <a:cubicBezTo>
                    <a:pt x="8466" y="6132"/>
                    <a:pt x="10240" y="4370"/>
                    <a:pt x="10240" y="2191"/>
                  </a:cubicBezTo>
                  <a:lnTo>
                    <a:pt x="10240" y="203"/>
                  </a:lnTo>
                  <a:cubicBezTo>
                    <a:pt x="10240" y="96"/>
                    <a:pt x="10145" y="1"/>
                    <a:pt x="100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7" name="Google Shape;10707;p60"/>
            <p:cNvSpPr/>
            <p:nvPr/>
          </p:nvSpPr>
          <p:spPr>
            <a:xfrm>
              <a:off x="2826293" y="1674574"/>
              <a:ext cx="99334" cy="106145"/>
            </a:xfrm>
            <a:custGeom>
              <a:avLst/>
              <a:gdLst/>
              <a:ahLst/>
              <a:cxnLst/>
              <a:rect l="l" t="t" r="r" b="b"/>
              <a:pathLst>
                <a:path w="3121" h="3335" extrusionOk="0">
                  <a:moveTo>
                    <a:pt x="2930" y="0"/>
                  </a:moveTo>
                  <a:cubicBezTo>
                    <a:pt x="2823" y="0"/>
                    <a:pt x="2739" y="96"/>
                    <a:pt x="2739" y="203"/>
                  </a:cubicBezTo>
                  <a:lnTo>
                    <a:pt x="2739" y="417"/>
                  </a:lnTo>
                  <a:cubicBezTo>
                    <a:pt x="2739" y="1822"/>
                    <a:pt x="1596" y="2965"/>
                    <a:pt x="191" y="2965"/>
                  </a:cubicBezTo>
                  <a:cubicBezTo>
                    <a:pt x="84" y="2965"/>
                    <a:pt x="1" y="3060"/>
                    <a:pt x="1" y="3156"/>
                  </a:cubicBezTo>
                  <a:cubicBezTo>
                    <a:pt x="1" y="3263"/>
                    <a:pt x="96" y="3334"/>
                    <a:pt x="203" y="3334"/>
                  </a:cubicBezTo>
                  <a:cubicBezTo>
                    <a:pt x="1811" y="3334"/>
                    <a:pt x="3120" y="2025"/>
                    <a:pt x="3120" y="417"/>
                  </a:cubicBezTo>
                  <a:lnTo>
                    <a:pt x="3120" y="203"/>
                  </a:lnTo>
                  <a:cubicBezTo>
                    <a:pt x="3120" y="96"/>
                    <a:pt x="3037" y="0"/>
                    <a:pt x="29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08" name="Google Shape;10708;p60"/>
          <p:cNvGrpSpPr/>
          <p:nvPr/>
        </p:nvGrpSpPr>
        <p:grpSpPr>
          <a:xfrm>
            <a:off x="6675256" y="1516169"/>
            <a:ext cx="327823" cy="357009"/>
            <a:chOff x="6675256" y="1516169"/>
            <a:chExt cx="327823" cy="357009"/>
          </a:xfrm>
        </p:grpSpPr>
        <p:sp>
          <p:nvSpPr>
            <p:cNvPr id="10709" name="Google Shape;10709;p60"/>
            <p:cNvSpPr/>
            <p:nvPr/>
          </p:nvSpPr>
          <p:spPr>
            <a:xfrm>
              <a:off x="6675256" y="1516169"/>
              <a:ext cx="111078" cy="188737"/>
            </a:xfrm>
            <a:custGeom>
              <a:avLst/>
              <a:gdLst/>
              <a:ahLst/>
              <a:cxnLst/>
              <a:rect l="l" t="t" r="r" b="b"/>
              <a:pathLst>
                <a:path w="3490" h="5930" extrusionOk="0">
                  <a:moveTo>
                    <a:pt x="1703" y="334"/>
                  </a:moveTo>
                  <a:cubicBezTo>
                    <a:pt x="2001" y="334"/>
                    <a:pt x="2239" y="548"/>
                    <a:pt x="2239" y="786"/>
                  </a:cubicBezTo>
                  <a:lnTo>
                    <a:pt x="2239" y="810"/>
                  </a:lnTo>
                  <a:cubicBezTo>
                    <a:pt x="2072" y="739"/>
                    <a:pt x="1894" y="715"/>
                    <a:pt x="1703" y="715"/>
                  </a:cubicBezTo>
                  <a:cubicBezTo>
                    <a:pt x="1513" y="715"/>
                    <a:pt x="1334" y="751"/>
                    <a:pt x="1168" y="810"/>
                  </a:cubicBezTo>
                  <a:lnTo>
                    <a:pt x="1168" y="786"/>
                  </a:lnTo>
                  <a:cubicBezTo>
                    <a:pt x="1168" y="536"/>
                    <a:pt x="1406" y="334"/>
                    <a:pt x="1703" y="334"/>
                  </a:cubicBezTo>
                  <a:close/>
                  <a:moveTo>
                    <a:pt x="1680" y="1037"/>
                  </a:moveTo>
                  <a:cubicBezTo>
                    <a:pt x="2263" y="1037"/>
                    <a:pt x="2739" y="1513"/>
                    <a:pt x="2739" y="2096"/>
                  </a:cubicBezTo>
                  <a:cubicBezTo>
                    <a:pt x="2739" y="2215"/>
                    <a:pt x="2727" y="2322"/>
                    <a:pt x="2680" y="2418"/>
                  </a:cubicBezTo>
                  <a:cubicBezTo>
                    <a:pt x="2215" y="1941"/>
                    <a:pt x="1406" y="1763"/>
                    <a:pt x="1358" y="1751"/>
                  </a:cubicBezTo>
                  <a:cubicBezTo>
                    <a:pt x="1346" y="1748"/>
                    <a:pt x="1334" y="1746"/>
                    <a:pt x="1321" y="1746"/>
                  </a:cubicBezTo>
                  <a:cubicBezTo>
                    <a:pt x="1283" y="1746"/>
                    <a:pt x="1245" y="1760"/>
                    <a:pt x="1227" y="1787"/>
                  </a:cubicBezTo>
                  <a:cubicBezTo>
                    <a:pt x="1179" y="1810"/>
                    <a:pt x="1168" y="1858"/>
                    <a:pt x="1168" y="1918"/>
                  </a:cubicBezTo>
                  <a:cubicBezTo>
                    <a:pt x="1168" y="1929"/>
                    <a:pt x="1144" y="2037"/>
                    <a:pt x="1025" y="2156"/>
                  </a:cubicBezTo>
                  <a:cubicBezTo>
                    <a:pt x="965" y="2215"/>
                    <a:pt x="965" y="2322"/>
                    <a:pt x="1025" y="2394"/>
                  </a:cubicBezTo>
                  <a:cubicBezTo>
                    <a:pt x="1053" y="2428"/>
                    <a:pt x="1092" y="2443"/>
                    <a:pt x="1133" y="2443"/>
                  </a:cubicBezTo>
                  <a:cubicBezTo>
                    <a:pt x="1178" y="2443"/>
                    <a:pt x="1225" y="2425"/>
                    <a:pt x="1263" y="2394"/>
                  </a:cubicBezTo>
                  <a:cubicBezTo>
                    <a:pt x="1358" y="2299"/>
                    <a:pt x="1418" y="2215"/>
                    <a:pt x="1441" y="2120"/>
                  </a:cubicBezTo>
                  <a:cubicBezTo>
                    <a:pt x="1727" y="2215"/>
                    <a:pt x="2299" y="2406"/>
                    <a:pt x="2549" y="2775"/>
                  </a:cubicBezTo>
                  <a:cubicBezTo>
                    <a:pt x="2501" y="3192"/>
                    <a:pt x="2132" y="3513"/>
                    <a:pt x="1703" y="3513"/>
                  </a:cubicBezTo>
                  <a:cubicBezTo>
                    <a:pt x="1239" y="3513"/>
                    <a:pt x="870" y="3168"/>
                    <a:pt x="822" y="2715"/>
                  </a:cubicBezTo>
                  <a:cubicBezTo>
                    <a:pt x="822" y="2691"/>
                    <a:pt x="810" y="2680"/>
                    <a:pt x="787" y="2644"/>
                  </a:cubicBezTo>
                  <a:cubicBezTo>
                    <a:pt x="691" y="2477"/>
                    <a:pt x="632" y="2287"/>
                    <a:pt x="632" y="2096"/>
                  </a:cubicBezTo>
                  <a:cubicBezTo>
                    <a:pt x="632" y="1513"/>
                    <a:pt x="1108" y="1037"/>
                    <a:pt x="1680" y="1037"/>
                  </a:cubicBezTo>
                  <a:close/>
                  <a:moveTo>
                    <a:pt x="2061" y="3775"/>
                  </a:moveTo>
                  <a:lnTo>
                    <a:pt x="2061" y="3954"/>
                  </a:lnTo>
                  <a:cubicBezTo>
                    <a:pt x="2061" y="4013"/>
                    <a:pt x="2072" y="4073"/>
                    <a:pt x="2108" y="4120"/>
                  </a:cubicBezTo>
                  <a:lnTo>
                    <a:pt x="1703" y="4501"/>
                  </a:lnTo>
                  <a:lnTo>
                    <a:pt x="1299" y="4120"/>
                  </a:lnTo>
                  <a:cubicBezTo>
                    <a:pt x="1334" y="4073"/>
                    <a:pt x="1346" y="4013"/>
                    <a:pt x="1346" y="3954"/>
                  </a:cubicBezTo>
                  <a:lnTo>
                    <a:pt x="1346" y="3775"/>
                  </a:lnTo>
                  <a:cubicBezTo>
                    <a:pt x="1465" y="3799"/>
                    <a:pt x="1584" y="3834"/>
                    <a:pt x="1703" y="3834"/>
                  </a:cubicBezTo>
                  <a:cubicBezTo>
                    <a:pt x="1822" y="3834"/>
                    <a:pt x="1953" y="3823"/>
                    <a:pt x="2061" y="3775"/>
                  </a:cubicBezTo>
                  <a:close/>
                  <a:moveTo>
                    <a:pt x="1727" y="1"/>
                  </a:moveTo>
                  <a:cubicBezTo>
                    <a:pt x="1251" y="1"/>
                    <a:pt x="870" y="334"/>
                    <a:pt x="870" y="775"/>
                  </a:cubicBezTo>
                  <a:cubicBezTo>
                    <a:pt x="870" y="846"/>
                    <a:pt x="882" y="906"/>
                    <a:pt x="894" y="977"/>
                  </a:cubicBezTo>
                  <a:cubicBezTo>
                    <a:pt x="560" y="1227"/>
                    <a:pt x="346" y="1632"/>
                    <a:pt x="346" y="2096"/>
                  </a:cubicBezTo>
                  <a:cubicBezTo>
                    <a:pt x="346" y="2334"/>
                    <a:pt x="406" y="2572"/>
                    <a:pt x="537" y="2799"/>
                  </a:cubicBezTo>
                  <a:cubicBezTo>
                    <a:pt x="584" y="3132"/>
                    <a:pt x="775" y="3430"/>
                    <a:pt x="1060" y="3632"/>
                  </a:cubicBezTo>
                  <a:lnTo>
                    <a:pt x="1060" y="3954"/>
                  </a:lnTo>
                  <a:lnTo>
                    <a:pt x="1060" y="3965"/>
                  </a:lnTo>
                  <a:lnTo>
                    <a:pt x="394" y="4299"/>
                  </a:lnTo>
                  <a:cubicBezTo>
                    <a:pt x="156" y="4418"/>
                    <a:pt x="1" y="4656"/>
                    <a:pt x="1" y="4906"/>
                  </a:cubicBezTo>
                  <a:lnTo>
                    <a:pt x="1" y="5775"/>
                  </a:lnTo>
                  <a:cubicBezTo>
                    <a:pt x="1" y="5859"/>
                    <a:pt x="84" y="5930"/>
                    <a:pt x="167" y="5930"/>
                  </a:cubicBezTo>
                  <a:cubicBezTo>
                    <a:pt x="263" y="5930"/>
                    <a:pt x="334" y="5859"/>
                    <a:pt x="334" y="5775"/>
                  </a:cubicBezTo>
                  <a:lnTo>
                    <a:pt x="334" y="4906"/>
                  </a:lnTo>
                  <a:cubicBezTo>
                    <a:pt x="334" y="4775"/>
                    <a:pt x="406" y="4644"/>
                    <a:pt x="525" y="4585"/>
                  </a:cubicBezTo>
                  <a:lnTo>
                    <a:pt x="1072" y="4311"/>
                  </a:lnTo>
                  <a:lnTo>
                    <a:pt x="1584" y="4787"/>
                  </a:lnTo>
                  <a:lnTo>
                    <a:pt x="1584" y="5775"/>
                  </a:lnTo>
                  <a:cubicBezTo>
                    <a:pt x="1584" y="5859"/>
                    <a:pt x="1656" y="5930"/>
                    <a:pt x="1751" y="5930"/>
                  </a:cubicBezTo>
                  <a:cubicBezTo>
                    <a:pt x="1834" y="5930"/>
                    <a:pt x="1906" y="5859"/>
                    <a:pt x="1906" y="5775"/>
                  </a:cubicBezTo>
                  <a:lnTo>
                    <a:pt x="1906" y="4787"/>
                  </a:lnTo>
                  <a:lnTo>
                    <a:pt x="2418" y="4311"/>
                  </a:lnTo>
                  <a:lnTo>
                    <a:pt x="2965" y="4585"/>
                  </a:lnTo>
                  <a:cubicBezTo>
                    <a:pt x="3084" y="4644"/>
                    <a:pt x="3156" y="4763"/>
                    <a:pt x="3156" y="4906"/>
                  </a:cubicBezTo>
                  <a:lnTo>
                    <a:pt x="3156" y="5775"/>
                  </a:lnTo>
                  <a:cubicBezTo>
                    <a:pt x="3156" y="5859"/>
                    <a:pt x="3239" y="5930"/>
                    <a:pt x="3323" y="5930"/>
                  </a:cubicBezTo>
                  <a:cubicBezTo>
                    <a:pt x="3406" y="5930"/>
                    <a:pt x="3489" y="5859"/>
                    <a:pt x="3489" y="5775"/>
                  </a:cubicBezTo>
                  <a:lnTo>
                    <a:pt x="3489" y="4906"/>
                  </a:lnTo>
                  <a:cubicBezTo>
                    <a:pt x="3442" y="4656"/>
                    <a:pt x="3299" y="4418"/>
                    <a:pt x="3073" y="4299"/>
                  </a:cubicBezTo>
                  <a:lnTo>
                    <a:pt x="2406" y="3965"/>
                  </a:lnTo>
                  <a:lnTo>
                    <a:pt x="2406" y="3954"/>
                  </a:lnTo>
                  <a:lnTo>
                    <a:pt x="2406" y="3632"/>
                  </a:lnTo>
                  <a:cubicBezTo>
                    <a:pt x="2668" y="3430"/>
                    <a:pt x="2858" y="3132"/>
                    <a:pt x="2918" y="2799"/>
                  </a:cubicBezTo>
                  <a:cubicBezTo>
                    <a:pt x="3037" y="2584"/>
                    <a:pt x="3120" y="2346"/>
                    <a:pt x="3120" y="2096"/>
                  </a:cubicBezTo>
                  <a:cubicBezTo>
                    <a:pt x="3120" y="1632"/>
                    <a:pt x="2894" y="1227"/>
                    <a:pt x="2561" y="977"/>
                  </a:cubicBezTo>
                  <a:cubicBezTo>
                    <a:pt x="2573" y="917"/>
                    <a:pt x="2596" y="846"/>
                    <a:pt x="2596" y="775"/>
                  </a:cubicBezTo>
                  <a:cubicBezTo>
                    <a:pt x="2596" y="334"/>
                    <a:pt x="2203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0" name="Google Shape;10710;p60"/>
            <p:cNvSpPr/>
            <p:nvPr/>
          </p:nvSpPr>
          <p:spPr>
            <a:xfrm>
              <a:off x="6696103" y="1679507"/>
              <a:ext cx="10630" cy="26162"/>
            </a:xfrm>
            <a:custGeom>
              <a:avLst/>
              <a:gdLst/>
              <a:ahLst/>
              <a:cxnLst/>
              <a:rect l="l" t="t" r="r" b="b"/>
              <a:pathLst>
                <a:path w="334" h="822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655"/>
                  </a:lnTo>
                  <a:cubicBezTo>
                    <a:pt x="1" y="738"/>
                    <a:pt x="84" y="822"/>
                    <a:pt x="167" y="822"/>
                  </a:cubicBezTo>
                  <a:cubicBezTo>
                    <a:pt x="263" y="822"/>
                    <a:pt x="334" y="738"/>
                    <a:pt x="334" y="65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1" name="Google Shape;10711;p60"/>
            <p:cNvSpPr/>
            <p:nvPr/>
          </p:nvSpPr>
          <p:spPr>
            <a:xfrm>
              <a:off x="6752183" y="1679507"/>
              <a:ext cx="10280" cy="26162"/>
            </a:xfrm>
            <a:custGeom>
              <a:avLst/>
              <a:gdLst/>
              <a:ahLst/>
              <a:cxnLst/>
              <a:rect l="l" t="t" r="r" b="b"/>
              <a:pathLst>
                <a:path w="323" h="8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655"/>
                  </a:lnTo>
                  <a:cubicBezTo>
                    <a:pt x="1" y="738"/>
                    <a:pt x="72" y="822"/>
                    <a:pt x="167" y="822"/>
                  </a:cubicBezTo>
                  <a:cubicBezTo>
                    <a:pt x="251" y="822"/>
                    <a:pt x="322" y="738"/>
                    <a:pt x="322" y="655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2" name="Google Shape;10712;p60"/>
            <p:cNvSpPr/>
            <p:nvPr/>
          </p:nvSpPr>
          <p:spPr>
            <a:xfrm>
              <a:off x="6919310" y="1734060"/>
              <a:ext cx="45131" cy="15946"/>
            </a:xfrm>
            <a:custGeom>
              <a:avLst/>
              <a:gdLst/>
              <a:ahLst/>
              <a:cxnLst/>
              <a:rect l="l" t="t" r="r" b="b"/>
              <a:pathLst>
                <a:path w="1418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346" y="322"/>
                    <a:pt x="881" y="358"/>
                    <a:pt x="1143" y="489"/>
                  </a:cubicBezTo>
                  <a:cubicBezTo>
                    <a:pt x="1179" y="501"/>
                    <a:pt x="1191" y="501"/>
                    <a:pt x="1227" y="501"/>
                  </a:cubicBezTo>
                  <a:cubicBezTo>
                    <a:pt x="1286" y="501"/>
                    <a:pt x="1346" y="477"/>
                    <a:pt x="1370" y="417"/>
                  </a:cubicBezTo>
                  <a:cubicBezTo>
                    <a:pt x="1417" y="334"/>
                    <a:pt x="1382" y="239"/>
                    <a:pt x="1298" y="191"/>
                  </a:cubicBezTo>
                  <a:cubicBezTo>
                    <a:pt x="905" y="1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3" name="Google Shape;10713;p60"/>
            <p:cNvSpPr/>
            <p:nvPr/>
          </p:nvSpPr>
          <p:spPr>
            <a:xfrm>
              <a:off x="6879907" y="1706020"/>
              <a:ext cx="123172" cy="167158"/>
            </a:xfrm>
            <a:custGeom>
              <a:avLst/>
              <a:gdLst/>
              <a:ahLst/>
              <a:cxnLst/>
              <a:rect l="l" t="t" r="r" b="b"/>
              <a:pathLst>
                <a:path w="3870" h="5252" extrusionOk="0">
                  <a:moveTo>
                    <a:pt x="3001" y="310"/>
                  </a:moveTo>
                  <a:lnTo>
                    <a:pt x="3001" y="989"/>
                  </a:lnTo>
                  <a:cubicBezTo>
                    <a:pt x="3001" y="1096"/>
                    <a:pt x="2965" y="1215"/>
                    <a:pt x="2917" y="1310"/>
                  </a:cubicBezTo>
                  <a:lnTo>
                    <a:pt x="2834" y="1477"/>
                  </a:lnTo>
                  <a:cubicBezTo>
                    <a:pt x="2822" y="1501"/>
                    <a:pt x="2822" y="1513"/>
                    <a:pt x="2822" y="1549"/>
                  </a:cubicBezTo>
                  <a:lnTo>
                    <a:pt x="2822" y="1906"/>
                  </a:lnTo>
                  <a:cubicBezTo>
                    <a:pt x="2822" y="2144"/>
                    <a:pt x="2727" y="2370"/>
                    <a:pt x="2548" y="2537"/>
                  </a:cubicBezTo>
                  <a:cubicBezTo>
                    <a:pt x="2381" y="2727"/>
                    <a:pt x="2167" y="2811"/>
                    <a:pt x="1905" y="2811"/>
                  </a:cubicBezTo>
                  <a:cubicBezTo>
                    <a:pt x="1429" y="2799"/>
                    <a:pt x="1048" y="2382"/>
                    <a:pt x="1048" y="1870"/>
                  </a:cubicBezTo>
                  <a:lnTo>
                    <a:pt x="1048" y="1560"/>
                  </a:lnTo>
                  <a:cubicBezTo>
                    <a:pt x="1048" y="1525"/>
                    <a:pt x="1048" y="1513"/>
                    <a:pt x="1036" y="1489"/>
                  </a:cubicBezTo>
                  <a:lnTo>
                    <a:pt x="929" y="1275"/>
                  </a:lnTo>
                  <a:cubicBezTo>
                    <a:pt x="893" y="1203"/>
                    <a:pt x="869" y="1108"/>
                    <a:pt x="869" y="1037"/>
                  </a:cubicBezTo>
                  <a:lnTo>
                    <a:pt x="869" y="1025"/>
                  </a:lnTo>
                  <a:cubicBezTo>
                    <a:pt x="869" y="632"/>
                    <a:pt x="1179" y="310"/>
                    <a:pt x="1584" y="310"/>
                  </a:cubicBezTo>
                  <a:close/>
                  <a:moveTo>
                    <a:pt x="2310" y="3084"/>
                  </a:moveTo>
                  <a:cubicBezTo>
                    <a:pt x="2310" y="3120"/>
                    <a:pt x="2322" y="3180"/>
                    <a:pt x="2346" y="3227"/>
                  </a:cubicBezTo>
                  <a:lnTo>
                    <a:pt x="2191" y="3358"/>
                  </a:lnTo>
                  <a:cubicBezTo>
                    <a:pt x="2119" y="3430"/>
                    <a:pt x="2024" y="3465"/>
                    <a:pt x="1941" y="3465"/>
                  </a:cubicBezTo>
                  <a:cubicBezTo>
                    <a:pt x="1846" y="3465"/>
                    <a:pt x="1750" y="3418"/>
                    <a:pt x="1679" y="3358"/>
                  </a:cubicBezTo>
                  <a:lnTo>
                    <a:pt x="1548" y="3227"/>
                  </a:lnTo>
                  <a:cubicBezTo>
                    <a:pt x="1560" y="3180"/>
                    <a:pt x="1584" y="3120"/>
                    <a:pt x="1584" y="3084"/>
                  </a:cubicBezTo>
                  <a:cubicBezTo>
                    <a:pt x="1679" y="3108"/>
                    <a:pt x="1786" y="3132"/>
                    <a:pt x="1905" y="3132"/>
                  </a:cubicBezTo>
                  <a:lnTo>
                    <a:pt x="1953" y="3132"/>
                  </a:lnTo>
                  <a:cubicBezTo>
                    <a:pt x="2072" y="3132"/>
                    <a:pt x="2203" y="3120"/>
                    <a:pt x="2310" y="3084"/>
                  </a:cubicBezTo>
                  <a:close/>
                  <a:moveTo>
                    <a:pt x="1584" y="1"/>
                  </a:moveTo>
                  <a:cubicBezTo>
                    <a:pt x="1000" y="1"/>
                    <a:pt x="536" y="465"/>
                    <a:pt x="536" y="1037"/>
                  </a:cubicBezTo>
                  <a:lnTo>
                    <a:pt x="536" y="1060"/>
                  </a:lnTo>
                  <a:cubicBezTo>
                    <a:pt x="536" y="1191"/>
                    <a:pt x="572" y="1322"/>
                    <a:pt x="631" y="1441"/>
                  </a:cubicBezTo>
                  <a:lnTo>
                    <a:pt x="715" y="1608"/>
                  </a:lnTo>
                  <a:lnTo>
                    <a:pt x="715" y="1870"/>
                  </a:lnTo>
                  <a:cubicBezTo>
                    <a:pt x="715" y="2311"/>
                    <a:pt x="929" y="2680"/>
                    <a:pt x="1238" y="2918"/>
                  </a:cubicBezTo>
                  <a:lnTo>
                    <a:pt x="1238" y="3061"/>
                  </a:lnTo>
                  <a:cubicBezTo>
                    <a:pt x="1238" y="3156"/>
                    <a:pt x="1179" y="3227"/>
                    <a:pt x="1107" y="3239"/>
                  </a:cubicBezTo>
                  <a:lnTo>
                    <a:pt x="512" y="3406"/>
                  </a:lnTo>
                  <a:cubicBezTo>
                    <a:pt x="214" y="3501"/>
                    <a:pt x="0" y="3763"/>
                    <a:pt x="0" y="4073"/>
                  </a:cubicBezTo>
                  <a:lnTo>
                    <a:pt x="0" y="5085"/>
                  </a:lnTo>
                  <a:cubicBezTo>
                    <a:pt x="0" y="5180"/>
                    <a:pt x="83" y="5251"/>
                    <a:pt x="167" y="5251"/>
                  </a:cubicBezTo>
                  <a:cubicBezTo>
                    <a:pt x="250" y="5251"/>
                    <a:pt x="334" y="5180"/>
                    <a:pt x="334" y="5085"/>
                  </a:cubicBezTo>
                  <a:lnTo>
                    <a:pt x="334" y="4073"/>
                  </a:lnTo>
                  <a:cubicBezTo>
                    <a:pt x="334" y="3918"/>
                    <a:pt x="429" y="3775"/>
                    <a:pt x="595" y="3739"/>
                  </a:cubicBezTo>
                  <a:lnTo>
                    <a:pt x="1191" y="3573"/>
                  </a:lnTo>
                  <a:cubicBezTo>
                    <a:pt x="1238" y="3561"/>
                    <a:pt x="1298" y="3525"/>
                    <a:pt x="1346" y="3513"/>
                  </a:cubicBezTo>
                  <a:lnTo>
                    <a:pt x="1441" y="3620"/>
                  </a:lnTo>
                  <a:cubicBezTo>
                    <a:pt x="1584" y="3751"/>
                    <a:pt x="1738" y="3823"/>
                    <a:pt x="1941" y="3823"/>
                  </a:cubicBezTo>
                  <a:cubicBezTo>
                    <a:pt x="2131" y="3823"/>
                    <a:pt x="2298" y="3751"/>
                    <a:pt x="2429" y="3620"/>
                  </a:cubicBezTo>
                  <a:lnTo>
                    <a:pt x="2536" y="3513"/>
                  </a:lnTo>
                  <a:cubicBezTo>
                    <a:pt x="2572" y="3537"/>
                    <a:pt x="2620" y="3561"/>
                    <a:pt x="2679" y="3573"/>
                  </a:cubicBezTo>
                  <a:lnTo>
                    <a:pt x="3274" y="3739"/>
                  </a:lnTo>
                  <a:cubicBezTo>
                    <a:pt x="3429" y="3775"/>
                    <a:pt x="3548" y="3930"/>
                    <a:pt x="3548" y="4073"/>
                  </a:cubicBezTo>
                  <a:lnTo>
                    <a:pt x="3548" y="5085"/>
                  </a:lnTo>
                  <a:cubicBezTo>
                    <a:pt x="3548" y="5180"/>
                    <a:pt x="3620" y="5251"/>
                    <a:pt x="3703" y="5251"/>
                  </a:cubicBezTo>
                  <a:cubicBezTo>
                    <a:pt x="3798" y="5251"/>
                    <a:pt x="3870" y="5180"/>
                    <a:pt x="3870" y="5085"/>
                  </a:cubicBezTo>
                  <a:lnTo>
                    <a:pt x="3870" y="4073"/>
                  </a:lnTo>
                  <a:cubicBezTo>
                    <a:pt x="3858" y="3763"/>
                    <a:pt x="3655" y="3501"/>
                    <a:pt x="3358" y="3406"/>
                  </a:cubicBezTo>
                  <a:lnTo>
                    <a:pt x="2762" y="3239"/>
                  </a:lnTo>
                  <a:cubicBezTo>
                    <a:pt x="2679" y="3215"/>
                    <a:pt x="2620" y="3156"/>
                    <a:pt x="2620" y="3061"/>
                  </a:cubicBezTo>
                  <a:lnTo>
                    <a:pt x="2620" y="2930"/>
                  </a:lnTo>
                  <a:cubicBezTo>
                    <a:pt x="2679" y="2882"/>
                    <a:pt x="2727" y="2858"/>
                    <a:pt x="2786" y="2799"/>
                  </a:cubicBezTo>
                  <a:cubicBezTo>
                    <a:pt x="3024" y="2561"/>
                    <a:pt x="3155" y="2263"/>
                    <a:pt x="3155" y="1918"/>
                  </a:cubicBezTo>
                  <a:lnTo>
                    <a:pt x="3155" y="1608"/>
                  </a:lnTo>
                  <a:lnTo>
                    <a:pt x="3215" y="1477"/>
                  </a:lnTo>
                  <a:cubicBezTo>
                    <a:pt x="3298" y="1322"/>
                    <a:pt x="3322" y="1179"/>
                    <a:pt x="3322" y="1013"/>
                  </a:cubicBezTo>
                  <a:lnTo>
                    <a:pt x="3322" y="167"/>
                  </a:lnTo>
                  <a:cubicBezTo>
                    <a:pt x="3322" y="72"/>
                    <a:pt x="3251" y="1"/>
                    <a:pt x="3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4" name="Google Shape;10714;p60"/>
            <p:cNvSpPr/>
            <p:nvPr/>
          </p:nvSpPr>
          <p:spPr>
            <a:xfrm>
              <a:off x="6902632" y="1840173"/>
              <a:ext cx="10630" cy="32623"/>
            </a:xfrm>
            <a:custGeom>
              <a:avLst/>
              <a:gdLst/>
              <a:ahLst/>
              <a:cxnLst/>
              <a:rect l="l" t="t" r="r" b="b"/>
              <a:pathLst>
                <a:path w="334" h="1025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858"/>
                  </a:lnTo>
                  <a:cubicBezTo>
                    <a:pt x="1" y="953"/>
                    <a:pt x="84" y="1024"/>
                    <a:pt x="167" y="1024"/>
                  </a:cubicBezTo>
                  <a:cubicBezTo>
                    <a:pt x="262" y="1024"/>
                    <a:pt x="334" y="953"/>
                    <a:pt x="334" y="858"/>
                  </a:cubicBezTo>
                  <a:lnTo>
                    <a:pt x="334" y="155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5" name="Google Shape;10715;p60"/>
            <p:cNvSpPr/>
            <p:nvPr/>
          </p:nvSpPr>
          <p:spPr>
            <a:xfrm>
              <a:off x="6970075" y="1840173"/>
              <a:ext cx="10280" cy="32623"/>
            </a:xfrm>
            <a:custGeom>
              <a:avLst/>
              <a:gdLst/>
              <a:ahLst/>
              <a:cxnLst/>
              <a:rect l="l" t="t" r="r" b="b"/>
              <a:pathLst>
                <a:path w="323" h="1025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858"/>
                  </a:lnTo>
                  <a:cubicBezTo>
                    <a:pt x="1" y="953"/>
                    <a:pt x="72" y="1024"/>
                    <a:pt x="168" y="1024"/>
                  </a:cubicBezTo>
                  <a:cubicBezTo>
                    <a:pt x="251" y="1024"/>
                    <a:pt x="322" y="953"/>
                    <a:pt x="322" y="858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6" name="Google Shape;10716;p60"/>
            <p:cNvSpPr/>
            <p:nvPr/>
          </p:nvSpPr>
          <p:spPr>
            <a:xfrm>
              <a:off x="6772267" y="1594241"/>
              <a:ext cx="182690" cy="100830"/>
            </a:xfrm>
            <a:custGeom>
              <a:avLst/>
              <a:gdLst/>
              <a:ahLst/>
              <a:cxnLst/>
              <a:rect l="l" t="t" r="r" b="b"/>
              <a:pathLst>
                <a:path w="5740" h="3168" extrusionOk="0">
                  <a:moveTo>
                    <a:pt x="2001" y="0"/>
                  </a:moveTo>
                  <a:cubicBezTo>
                    <a:pt x="1334" y="0"/>
                    <a:pt x="679" y="191"/>
                    <a:pt x="108" y="548"/>
                  </a:cubicBezTo>
                  <a:cubicBezTo>
                    <a:pt x="36" y="596"/>
                    <a:pt x="1" y="691"/>
                    <a:pt x="72" y="774"/>
                  </a:cubicBezTo>
                  <a:cubicBezTo>
                    <a:pt x="95" y="820"/>
                    <a:pt x="148" y="847"/>
                    <a:pt x="202" y="847"/>
                  </a:cubicBezTo>
                  <a:cubicBezTo>
                    <a:pt x="231" y="847"/>
                    <a:pt x="261" y="839"/>
                    <a:pt x="287" y="822"/>
                  </a:cubicBezTo>
                  <a:cubicBezTo>
                    <a:pt x="798" y="489"/>
                    <a:pt x="1394" y="310"/>
                    <a:pt x="2001" y="310"/>
                  </a:cubicBezTo>
                  <a:cubicBezTo>
                    <a:pt x="2763" y="310"/>
                    <a:pt x="3489" y="584"/>
                    <a:pt x="4073" y="1084"/>
                  </a:cubicBezTo>
                  <a:cubicBezTo>
                    <a:pt x="4501" y="1453"/>
                    <a:pt x="4835" y="1953"/>
                    <a:pt x="5013" y="2477"/>
                  </a:cubicBezTo>
                  <a:lnTo>
                    <a:pt x="4739" y="2203"/>
                  </a:lnTo>
                  <a:cubicBezTo>
                    <a:pt x="4710" y="2173"/>
                    <a:pt x="4668" y="2158"/>
                    <a:pt x="4625" y="2158"/>
                  </a:cubicBezTo>
                  <a:cubicBezTo>
                    <a:pt x="4582" y="2158"/>
                    <a:pt x="4537" y="2173"/>
                    <a:pt x="4501" y="2203"/>
                  </a:cubicBezTo>
                  <a:cubicBezTo>
                    <a:pt x="4442" y="2263"/>
                    <a:pt x="4442" y="2370"/>
                    <a:pt x="4501" y="2441"/>
                  </a:cubicBezTo>
                  <a:lnTo>
                    <a:pt x="5168" y="3120"/>
                  </a:lnTo>
                  <a:cubicBezTo>
                    <a:pt x="5204" y="3156"/>
                    <a:pt x="5251" y="3167"/>
                    <a:pt x="5287" y="3167"/>
                  </a:cubicBezTo>
                  <a:lnTo>
                    <a:pt x="5335" y="3167"/>
                  </a:lnTo>
                  <a:cubicBezTo>
                    <a:pt x="5394" y="3156"/>
                    <a:pt x="5442" y="3108"/>
                    <a:pt x="5454" y="3048"/>
                  </a:cubicBezTo>
                  <a:lnTo>
                    <a:pt x="5740" y="2132"/>
                  </a:lnTo>
                  <a:cubicBezTo>
                    <a:pt x="5740" y="2072"/>
                    <a:pt x="5692" y="1977"/>
                    <a:pt x="5609" y="1953"/>
                  </a:cubicBezTo>
                  <a:cubicBezTo>
                    <a:pt x="5589" y="1946"/>
                    <a:pt x="5570" y="1942"/>
                    <a:pt x="5552" y="1942"/>
                  </a:cubicBezTo>
                  <a:cubicBezTo>
                    <a:pt x="5481" y="1942"/>
                    <a:pt x="5423" y="1992"/>
                    <a:pt x="5394" y="2048"/>
                  </a:cubicBezTo>
                  <a:lnTo>
                    <a:pt x="5311" y="2382"/>
                  </a:lnTo>
                  <a:cubicBezTo>
                    <a:pt x="5109" y="1798"/>
                    <a:pt x="4751" y="1262"/>
                    <a:pt x="4275" y="846"/>
                  </a:cubicBezTo>
                  <a:cubicBezTo>
                    <a:pt x="3644" y="298"/>
                    <a:pt x="2834" y="0"/>
                    <a:pt x="2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7" name="Google Shape;10717;p60"/>
            <p:cNvSpPr/>
            <p:nvPr/>
          </p:nvSpPr>
          <p:spPr>
            <a:xfrm>
              <a:off x="6716950" y="1716268"/>
              <a:ext cx="181926" cy="100448"/>
            </a:xfrm>
            <a:custGeom>
              <a:avLst/>
              <a:gdLst/>
              <a:ahLst/>
              <a:cxnLst/>
              <a:rect l="l" t="t" r="r" b="b"/>
              <a:pathLst>
                <a:path w="5716" h="3156" extrusionOk="0">
                  <a:moveTo>
                    <a:pt x="440" y="0"/>
                  </a:moveTo>
                  <a:cubicBezTo>
                    <a:pt x="421" y="0"/>
                    <a:pt x="401" y="4"/>
                    <a:pt x="381" y="12"/>
                  </a:cubicBezTo>
                  <a:cubicBezTo>
                    <a:pt x="322" y="36"/>
                    <a:pt x="274" y="72"/>
                    <a:pt x="262" y="131"/>
                  </a:cubicBezTo>
                  <a:lnTo>
                    <a:pt x="24" y="1060"/>
                  </a:lnTo>
                  <a:cubicBezTo>
                    <a:pt x="0" y="1155"/>
                    <a:pt x="48" y="1238"/>
                    <a:pt x="143" y="1250"/>
                  </a:cubicBezTo>
                  <a:lnTo>
                    <a:pt x="179" y="1250"/>
                  </a:lnTo>
                  <a:cubicBezTo>
                    <a:pt x="262" y="1250"/>
                    <a:pt x="322" y="1203"/>
                    <a:pt x="346" y="1131"/>
                  </a:cubicBezTo>
                  <a:lnTo>
                    <a:pt x="417" y="834"/>
                  </a:lnTo>
                  <a:cubicBezTo>
                    <a:pt x="631" y="1405"/>
                    <a:pt x="977" y="1905"/>
                    <a:pt x="1429" y="2310"/>
                  </a:cubicBezTo>
                  <a:cubicBezTo>
                    <a:pt x="2072" y="2858"/>
                    <a:pt x="2882" y="3155"/>
                    <a:pt x="3715" y="3155"/>
                  </a:cubicBezTo>
                  <a:cubicBezTo>
                    <a:pt x="4382" y="3155"/>
                    <a:pt x="5037" y="2965"/>
                    <a:pt x="5596" y="2608"/>
                  </a:cubicBezTo>
                  <a:cubicBezTo>
                    <a:pt x="5692" y="2560"/>
                    <a:pt x="5715" y="2465"/>
                    <a:pt x="5656" y="2381"/>
                  </a:cubicBezTo>
                  <a:cubicBezTo>
                    <a:pt x="5634" y="2338"/>
                    <a:pt x="5586" y="2312"/>
                    <a:pt x="5535" y="2312"/>
                  </a:cubicBezTo>
                  <a:cubicBezTo>
                    <a:pt x="5503" y="2312"/>
                    <a:pt x="5469" y="2322"/>
                    <a:pt x="5442" y="2346"/>
                  </a:cubicBezTo>
                  <a:cubicBezTo>
                    <a:pt x="4930" y="2667"/>
                    <a:pt x="4334" y="2846"/>
                    <a:pt x="3727" y="2846"/>
                  </a:cubicBezTo>
                  <a:cubicBezTo>
                    <a:pt x="2965" y="2846"/>
                    <a:pt x="2239" y="2572"/>
                    <a:pt x="1655" y="2072"/>
                  </a:cubicBezTo>
                  <a:cubicBezTo>
                    <a:pt x="1227" y="1703"/>
                    <a:pt x="893" y="1203"/>
                    <a:pt x="715" y="679"/>
                  </a:cubicBezTo>
                  <a:lnTo>
                    <a:pt x="715" y="679"/>
                  </a:lnTo>
                  <a:lnTo>
                    <a:pt x="1012" y="953"/>
                  </a:lnTo>
                  <a:cubicBezTo>
                    <a:pt x="1041" y="981"/>
                    <a:pt x="1080" y="996"/>
                    <a:pt x="1121" y="996"/>
                  </a:cubicBezTo>
                  <a:cubicBezTo>
                    <a:pt x="1166" y="996"/>
                    <a:pt x="1213" y="978"/>
                    <a:pt x="1251" y="941"/>
                  </a:cubicBezTo>
                  <a:cubicBezTo>
                    <a:pt x="1310" y="881"/>
                    <a:pt x="1310" y="774"/>
                    <a:pt x="1239" y="703"/>
                  </a:cubicBezTo>
                  <a:lnTo>
                    <a:pt x="536" y="48"/>
                  </a:lnTo>
                  <a:cubicBezTo>
                    <a:pt x="512" y="16"/>
                    <a:pt x="478" y="0"/>
                    <a:pt x="4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18" name="Google Shape;10718;p60"/>
          <p:cNvGrpSpPr/>
          <p:nvPr/>
        </p:nvGrpSpPr>
        <p:grpSpPr>
          <a:xfrm>
            <a:off x="8020159" y="1516551"/>
            <a:ext cx="300897" cy="356627"/>
            <a:chOff x="8020159" y="1516551"/>
            <a:chExt cx="300897" cy="356627"/>
          </a:xfrm>
        </p:grpSpPr>
        <p:sp>
          <p:nvSpPr>
            <p:cNvPr id="10719" name="Google Shape;10719;p60"/>
            <p:cNvSpPr/>
            <p:nvPr/>
          </p:nvSpPr>
          <p:spPr>
            <a:xfrm>
              <a:off x="8126240" y="1669482"/>
              <a:ext cx="88703" cy="30523"/>
            </a:xfrm>
            <a:custGeom>
              <a:avLst/>
              <a:gdLst/>
              <a:ahLst/>
              <a:cxnLst/>
              <a:rect l="l" t="t" r="r" b="b"/>
              <a:pathLst>
                <a:path w="2787" h="959" extrusionOk="0">
                  <a:moveTo>
                    <a:pt x="1144" y="1"/>
                  </a:moveTo>
                  <a:cubicBezTo>
                    <a:pt x="800" y="1"/>
                    <a:pt x="487" y="41"/>
                    <a:pt x="287" y="77"/>
                  </a:cubicBezTo>
                  <a:cubicBezTo>
                    <a:pt x="120" y="101"/>
                    <a:pt x="1" y="244"/>
                    <a:pt x="1" y="411"/>
                  </a:cubicBezTo>
                  <a:lnTo>
                    <a:pt x="1" y="792"/>
                  </a:lnTo>
                  <a:cubicBezTo>
                    <a:pt x="1" y="875"/>
                    <a:pt x="72" y="958"/>
                    <a:pt x="167" y="958"/>
                  </a:cubicBezTo>
                  <a:cubicBezTo>
                    <a:pt x="251" y="958"/>
                    <a:pt x="322" y="875"/>
                    <a:pt x="322" y="792"/>
                  </a:cubicBezTo>
                  <a:lnTo>
                    <a:pt x="322" y="411"/>
                  </a:lnTo>
                  <a:cubicBezTo>
                    <a:pt x="322" y="411"/>
                    <a:pt x="322" y="399"/>
                    <a:pt x="346" y="399"/>
                  </a:cubicBezTo>
                  <a:cubicBezTo>
                    <a:pt x="510" y="379"/>
                    <a:pt x="814" y="344"/>
                    <a:pt x="1164" y="344"/>
                  </a:cubicBezTo>
                  <a:cubicBezTo>
                    <a:pt x="1246" y="344"/>
                    <a:pt x="1331" y="346"/>
                    <a:pt x="1418" y="351"/>
                  </a:cubicBezTo>
                  <a:cubicBezTo>
                    <a:pt x="1918" y="387"/>
                    <a:pt x="2287" y="518"/>
                    <a:pt x="2513" y="744"/>
                  </a:cubicBezTo>
                  <a:cubicBezTo>
                    <a:pt x="2543" y="774"/>
                    <a:pt x="2584" y="789"/>
                    <a:pt x="2628" y="789"/>
                  </a:cubicBezTo>
                  <a:cubicBezTo>
                    <a:pt x="2671" y="789"/>
                    <a:pt x="2715" y="774"/>
                    <a:pt x="2751" y="744"/>
                  </a:cubicBezTo>
                  <a:cubicBezTo>
                    <a:pt x="2787" y="672"/>
                    <a:pt x="2787" y="565"/>
                    <a:pt x="2727" y="494"/>
                  </a:cubicBezTo>
                  <a:cubicBezTo>
                    <a:pt x="2338" y="104"/>
                    <a:pt x="1699" y="1"/>
                    <a:pt x="1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0" name="Google Shape;10720;p60"/>
            <p:cNvSpPr/>
            <p:nvPr/>
          </p:nvSpPr>
          <p:spPr>
            <a:xfrm>
              <a:off x="8069778" y="1621518"/>
              <a:ext cx="200513" cy="251278"/>
            </a:xfrm>
            <a:custGeom>
              <a:avLst/>
              <a:gdLst/>
              <a:ahLst/>
              <a:cxnLst/>
              <a:rect l="l" t="t" r="r" b="b"/>
              <a:pathLst>
                <a:path w="6300" h="7895" extrusionOk="0">
                  <a:moveTo>
                    <a:pt x="4918" y="358"/>
                  </a:moveTo>
                  <a:lnTo>
                    <a:pt x="4918" y="1953"/>
                  </a:lnTo>
                  <a:cubicBezTo>
                    <a:pt x="4918" y="2191"/>
                    <a:pt x="4859" y="2429"/>
                    <a:pt x="4751" y="2644"/>
                  </a:cubicBezTo>
                  <a:cubicBezTo>
                    <a:pt x="4739" y="2656"/>
                    <a:pt x="4739" y="2680"/>
                    <a:pt x="4739" y="2715"/>
                  </a:cubicBezTo>
                  <a:lnTo>
                    <a:pt x="4739" y="3180"/>
                  </a:lnTo>
                  <a:cubicBezTo>
                    <a:pt x="4739" y="3620"/>
                    <a:pt x="4561" y="4037"/>
                    <a:pt x="4227" y="4334"/>
                  </a:cubicBezTo>
                  <a:cubicBezTo>
                    <a:pt x="3935" y="4605"/>
                    <a:pt x="3563" y="4768"/>
                    <a:pt x="3158" y="4768"/>
                  </a:cubicBezTo>
                  <a:cubicBezTo>
                    <a:pt x="3118" y="4768"/>
                    <a:pt x="3077" y="4766"/>
                    <a:pt x="3037" y="4763"/>
                  </a:cubicBezTo>
                  <a:cubicBezTo>
                    <a:pt x="2227" y="4704"/>
                    <a:pt x="1572" y="3977"/>
                    <a:pt x="1572" y="3108"/>
                  </a:cubicBezTo>
                  <a:lnTo>
                    <a:pt x="1572" y="2715"/>
                  </a:lnTo>
                  <a:cubicBezTo>
                    <a:pt x="1572" y="2680"/>
                    <a:pt x="1572" y="2668"/>
                    <a:pt x="1549" y="2644"/>
                  </a:cubicBezTo>
                  <a:cubicBezTo>
                    <a:pt x="1453" y="2418"/>
                    <a:pt x="1394" y="2191"/>
                    <a:pt x="1394" y="1953"/>
                  </a:cubicBezTo>
                  <a:lnTo>
                    <a:pt x="1394" y="1596"/>
                  </a:lnTo>
                  <a:cubicBezTo>
                    <a:pt x="1394" y="905"/>
                    <a:pt x="1941" y="358"/>
                    <a:pt x="2620" y="358"/>
                  </a:cubicBezTo>
                  <a:close/>
                  <a:moveTo>
                    <a:pt x="4049" y="4858"/>
                  </a:moveTo>
                  <a:lnTo>
                    <a:pt x="4049" y="5156"/>
                  </a:lnTo>
                  <a:lnTo>
                    <a:pt x="3156" y="5775"/>
                  </a:lnTo>
                  <a:lnTo>
                    <a:pt x="2263" y="5168"/>
                  </a:lnTo>
                  <a:lnTo>
                    <a:pt x="2263" y="4858"/>
                  </a:lnTo>
                  <a:cubicBezTo>
                    <a:pt x="2489" y="4977"/>
                    <a:pt x="2763" y="5061"/>
                    <a:pt x="3025" y="5073"/>
                  </a:cubicBezTo>
                  <a:lnTo>
                    <a:pt x="3156" y="5073"/>
                  </a:lnTo>
                  <a:cubicBezTo>
                    <a:pt x="3477" y="5073"/>
                    <a:pt x="3775" y="5001"/>
                    <a:pt x="4049" y="4858"/>
                  </a:cubicBezTo>
                  <a:close/>
                  <a:moveTo>
                    <a:pt x="2132" y="5477"/>
                  </a:moveTo>
                  <a:lnTo>
                    <a:pt x="2906" y="6013"/>
                  </a:lnTo>
                  <a:lnTo>
                    <a:pt x="2489" y="6418"/>
                  </a:lnTo>
                  <a:lnTo>
                    <a:pt x="2477" y="6418"/>
                  </a:lnTo>
                  <a:lnTo>
                    <a:pt x="1965" y="5656"/>
                  </a:lnTo>
                  <a:lnTo>
                    <a:pt x="2132" y="5477"/>
                  </a:lnTo>
                  <a:close/>
                  <a:moveTo>
                    <a:pt x="4168" y="5466"/>
                  </a:moveTo>
                  <a:lnTo>
                    <a:pt x="4335" y="5644"/>
                  </a:lnTo>
                  <a:lnTo>
                    <a:pt x="3835" y="6418"/>
                  </a:lnTo>
                  <a:lnTo>
                    <a:pt x="3811" y="6418"/>
                  </a:lnTo>
                  <a:lnTo>
                    <a:pt x="3394" y="6001"/>
                  </a:lnTo>
                  <a:lnTo>
                    <a:pt x="4168" y="5466"/>
                  </a:lnTo>
                  <a:close/>
                  <a:moveTo>
                    <a:pt x="2620" y="1"/>
                  </a:moveTo>
                  <a:cubicBezTo>
                    <a:pt x="1763" y="1"/>
                    <a:pt x="1060" y="703"/>
                    <a:pt x="1060" y="1572"/>
                  </a:cubicBezTo>
                  <a:lnTo>
                    <a:pt x="1060" y="1918"/>
                  </a:lnTo>
                  <a:cubicBezTo>
                    <a:pt x="1060" y="2203"/>
                    <a:pt x="1120" y="2477"/>
                    <a:pt x="1239" y="2727"/>
                  </a:cubicBezTo>
                  <a:lnTo>
                    <a:pt x="1239" y="3096"/>
                  </a:lnTo>
                  <a:cubicBezTo>
                    <a:pt x="1239" y="3703"/>
                    <a:pt x="1513" y="4263"/>
                    <a:pt x="1941" y="4632"/>
                  </a:cubicBezTo>
                  <a:lnTo>
                    <a:pt x="1941" y="5180"/>
                  </a:lnTo>
                  <a:lnTo>
                    <a:pt x="1632" y="5513"/>
                  </a:lnTo>
                  <a:cubicBezTo>
                    <a:pt x="1596" y="5537"/>
                    <a:pt x="1584" y="5585"/>
                    <a:pt x="1584" y="5632"/>
                  </a:cubicBezTo>
                  <a:lnTo>
                    <a:pt x="572" y="6001"/>
                  </a:lnTo>
                  <a:cubicBezTo>
                    <a:pt x="227" y="6120"/>
                    <a:pt x="1" y="6442"/>
                    <a:pt x="1" y="6823"/>
                  </a:cubicBezTo>
                  <a:lnTo>
                    <a:pt x="1" y="7728"/>
                  </a:lnTo>
                  <a:cubicBezTo>
                    <a:pt x="1" y="7823"/>
                    <a:pt x="84" y="7894"/>
                    <a:pt x="167" y="7894"/>
                  </a:cubicBezTo>
                  <a:cubicBezTo>
                    <a:pt x="263" y="7894"/>
                    <a:pt x="334" y="7823"/>
                    <a:pt x="334" y="7728"/>
                  </a:cubicBezTo>
                  <a:lnTo>
                    <a:pt x="334" y="6823"/>
                  </a:lnTo>
                  <a:cubicBezTo>
                    <a:pt x="334" y="6597"/>
                    <a:pt x="477" y="6382"/>
                    <a:pt x="691" y="6311"/>
                  </a:cubicBezTo>
                  <a:lnTo>
                    <a:pt x="1751" y="5930"/>
                  </a:lnTo>
                  <a:lnTo>
                    <a:pt x="2192" y="6597"/>
                  </a:lnTo>
                  <a:cubicBezTo>
                    <a:pt x="2251" y="6680"/>
                    <a:pt x="2346" y="6728"/>
                    <a:pt x="2442" y="6740"/>
                  </a:cubicBezTo>
                  <a:lnTo>
                    <a:pt x="2477" y="6740"/>
                  </a:lnTo>
                  <a:cubicBezTo>
                    <a:pt x="2561" y="6740"/>
                    <a:pt x="2656" y="6716"/>
                    <a:pt x="2715" y="6644"/>
                  </a:cubicBezTo>
                  <a:lnTo>
                    <a:pt x="2977" y="6370"/>
                  </a:lnTo>
                  <a:lnTo>
                    <a:pt x="2977" y="7728"/>
                  </a:lnTo>
                  <a:cubicBezTo>
                    <a:pt x="2977" y="7823"/>
                    <a:pt x="3061" y="7894"/>
                    <a:pt x="3144" y="7894"/>
                  </a:cubicBezTo>
                  <a:cubicBezTo>
                    <a:pt x="3239" y="7894"/>
                    <a:pt x="3311" y="7823"/>
                    <a:pt x="3311" y="7728"/>
                  </a:cubicBezTo>
                  <a:lnTo>
                    <a:pt x="3311" y="6370"/>
                  </a:lnTo>
                  <a:lnTo>
                    <a:pt x="3573" y="6644"/>
                  </a:lnTo>
                  <a:cubicBezTo>
                    <a:pt x="3632" y="6704"/>
                    <a:pt x="3727" y="6740"/>
                    <a:pt x="3811" y="6740"/>
                  </a:cubicBezTo>
                  <a:lnTo>
                    <a:pt x="3846" y="6740"/>
                  </a:lnTo>
                  <a:cubicBezTo>
                    <a:pt x="3954" y="6728"/>
                    <a:pt x="4037" y="6680"/>
                    <a:pt x="4097" y="6597"/>
                  </a:cubicBezTo>
                  <a:lnTo>
                    <a:pt x="4549" y="5930"/>
                  </a:lnTo>
                  <a:lnTo>
                    <a:pt x="5597" y="6311"/>
                  </a:lnTo>
                  <a:cubicBezTo>
                    <a:pt x="5811" y="6382"/>
                    <a:pt x="5954" y="6597"/>
                    <a:pt x="5954" y="6823"/>
                  </a:cubicBezTo>
                  <a:lnTo>
                    <a:pt x="5954" y="7728"/>
                  </a:lnTo>
                  <a:cubicBezTo>
                    <a:pt x="5954" y="7823"/>
                    <a:pt x="6037" y="7894"/>
                    <a:pt x="6121" y="7894"/>
                  </a:cubicBezTo>
                  <a:cubicBezTo>
                    <a:pt x="6204" y="7894"/>
                    <a:pt x="6287" y="7823"/>
                    <a:pt x="6287" y="7728"/>
                  </a:cubicBezTo>
                  <a:lnTo>
                    <a:pt x="6287" y="6823"/>
                  </a:lnTo>
                  <a:cubicBezTo>
                    <a:pt x="6299" y="6466"/>
                    <a:pt x="6073" y="6132"/>
                    <a:pt x="5740" y="6001"/>
                  </a:cubicBezTo>
                  <a:lnTo>
                    <a:pt x="4728" y="5632"/>
                  </a:lnTo>
                  <a:cubicBezTo>
                    <a:pt x="4728" y="5585"/>
                    <a:pt x="4704" y="5537"/>
                    <a:pt x="4680" y="5513"/>
                  </a:cubicBezTo>
                  <a:lnTo>
                    <a:pt x="4370" y="5180"/>
                  </a:lnTo>
                  <a:lnTo>
                    <a:pt x="4370" y="4644"/>
                  </a:lnTo>
                  <a:lnTo>
                    <a:pt x="4454" y="4561"/>
                  </a:lnTo>
                  <a:cubicBezTo>
                    <a:pt x="4847" y="4204"/>
                    <a:pt x="5061" y="3680"/>
                    <a:pt x="5061" y="3156"/>
                  </a:cubicBezTo>
                  <a:lnTo>
                    <a:pt x="5061" y="2727"/>
                  </a:lnTo>
                  <a:cubicBezTo>
                    <a:pt x="5180" y="2477"/>
                    <a:pt x="5240" y="2203"/>
                    <a:pt x="5240" y="1929"/>
                  </a:cubicBezTo>
                  <a:lnTo>
                    <a:pt x="5240" y="167"/>
                  </a:lnTo>
                  <a:cubicBezTo>
                    <a:pt x="5240" y="84"/>
                    <a:pt x="5168" y="1"/>
                    <a:pt x="5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1" name="Google Shape;10721;p60"/>
            <p:cNvSpPr/>
            <p:nvPr/>
          </p:nvSpPr>
          <p:spPr>
            <a:xfrm>
              <a:off x="8103515" y="1851535"/>
              <a:ext cx="10630" cy="21643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3"/>
                  </a:cubicBezTo>
                  <a:lnTo>
                    <a:pt x="334" y="155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2" name="Google Shape;10722;p60"/>
            <p:cNvSpPr/>
            <p:nvPr/>
          </p:nvSpPr>
          <p:spPr>
            <a:xfrm>
              <a:off x="8226306" y="1851535"/>
              <a:ext cx="10248" cy="21643"/>
            </a:xfrm>
            <a:custGeom>
              <a:avLst/>
              <a:gdLst/>
              <a:ahLst/>
              <a:cxnLst/>
              <a:rect l="l" t="t" r="r" b="b"/>
              <a:pathLst>
                <a:path w="322" h="680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1" y="679"/>
                    <a:pt x="167" y="679"/>
                  </a:cubicBezTo>
                  <a:cubicBezTo>
                    <a:pt x="250" y="679"/>
                    <a:pt x="322" y="608"/>
                    <a:pt x="322" y="513"/>
                  </a:cubicBezTo>
                  <a:lnTo>
                    <a:pt x="322" y="155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3" name="Google Shape;10723;p60"/>
            <p:cNvSpPr/>
            <p:nvPr/>
          </p:nvSpPr>
          <p:spPr>
            <a:xfrm>
              <a:off x="8020159" y="1516551"/>
              <a:ext cx="300897" cy="284251"/>
            </a:xfrm>
            <a:custGeom>
              <a:avLst/>
              <a:gdLst/>
              <a:ahLst/>
              <a:cxnLst/>
              <a:rect l="l" t="t" r="r" b="b"/>
              <a:pathLst>
                <a:path w="9454" h="8931" extrusionOk="0">
                  <a:moveTo>
                    <a:pt x="6263" y="596"/>
                  </a:moveTo>
                  <a:lnTo>
                    <a:pt x="6263" y="596"/>
                  </a:lnTo>
                  <a:cubicBezTo>
                    <a:pt x="7060" y="894"/>
                    <a:pt x="7739" y="1406"/>
                    <a:pt x="8227" y="2084"/>
                  </a:cubicBezTo>
                  <a:lnTo>
                    <a:pt x="7322" y="2084"/>
                  </a:lnTo>
                  <a:cubicBezTo>
                    <a:pt x="7215" y="1846"/>
                    <a:pt x="7096" y="1620"/>
                    <a:pt x="6953" y="1394"/>
                  </a:cubicBezTo>
                  <a:cubicBezTo>
                    <a:pt x="6739" y="1084"/>
                    <a:pt x="6525" y="822"/>
                    <a:pt x="6263" y="596"/>
                  </a:cubicBezTo>
                  <a:close/>
                  <a:moveTo>
                    <a:pt x="3143" y="608"/>
                  </a:moveTo>
                  <a:cubicBezTo>
                    <a:pt x="2893" y="822"/>
                    <a:pt x="2667" y="1084"/>
                    <a:pt x="2453" y="1406"/>
                  </a:cubicBezTo>
                  <a:cubicBezTo>
                    <a:pt x="2322" y="1620"/>
                    <a:pt x="2203" y="1846"/>
                    <a:pt x="2084" y="2096"/>
                  </a:cubicBezTo>
                  <a:lnTo>
                    <a:pt x="1179" y="2096"/>
                  </a:lnTo>
                  <a:cubicBezTo>
                    <a:pt x="1667" y="1429"/>
                    <a:pt x="2357" y="905"/>
                    <a:pt x="3143" y="608"/>
                  </a:cubicBezTo>
                  <a:close/>
                  <a:moveTo>
                    <a:pt x="4560" y="322"/>
                  </a:moveTo>
                  <a:lnTo>
                    <a:pt x="4560" y="2096"/>
                  </a:lnTo>
                  <a:lnTo>
                    <a:pt x="2453" y="2096"/>
                  </a:lnTo>
                  <a:cubicBezTo>
                    <a:pt x="2929" y="1084"/>
                    <a:pt x="3691" y="393"/>
                    <a:pt x="4560" y="322"/>
                  </a:cubicBezTo>
                  <a:close/>
                  <a:moveTo>
                    <a:pt x="4882" y="322"/>
                  </a:moveTo>
                  <a:cubicBezTo>
                    <a:pt x="5751" y="393"/>
                    <a:pt x="6489" y="1084"/>
                    <a:pt x="6977" y="2096"/>
                  </a:cubicBezTo>
                  <a:lnTo>
                    <a:pt x="4882" y="2096"/>
                  </a:lnTo>
                  <a:lnTo>
                    <a:pt x="4882" y="322"/>
                  </a:lnTo>
                  <a:close/>
                  <a:moveTo>
                    <a:pt x="1953" y="2418"/>
                  </a:moveTo>
                  <a:cubicBezTo>
                    <a:pt x="1715" y="3084"/>
                    <a:pt x="1584" y="3799"/>
                    <a:pt x="1560" y="4549"/>
                  </a:cubicBezTo>
                  <a:lnTo>
                    <a:pt x="310" y="4549"/>
                  </a:lnTo>
                  <a:cubicBezTo>
                    <a:pt x="345" y="3775"/>
                    <a:pt x="572" y="3049"/>
                    <a:pt x="953" y="2418"/>
                  </a:cubicBezTo>
                  <a:close/>
                  <a:moveTo>
                    <a:pt x="8465" y="2429"/>
                  </a:moveTo>
                  <a:cubicBezTo>
                    <a:pt x="8858" y="3049"/>
                    <a:pt x="9085" y="3775"/>
                    <a:pt x="9108" y="4549"/>
                  </a:cubicBezTo>
                  <a:lnTo>
                    <a:pt x="7858" y="4549"/>
                  </a:lnTo>
                  <a:cubicBezTo>
                    <a:pt x="7846" y="3799"/>
                    <a:pt x="7715" y="3084"/>
                    <a:pt x="7477" y="2429"/>
                  </a:cubicBezTo>
                  <a:close/>
                  <a:moveTo>
                    <a:pt x="1560" y="4882"/>
                  </a:moveTo>
                  <a:cubicBezTo>
                    <a:pt x="1584" y="5585"/>
                    <a:pt x="1703" y="6251"/>
                    <a:pt x="1905" y="6870"/>
                  </a:cubicBezTo>
                  <a:lnTo>
                    <a:pt x="1953" y="7001"/>
                  </a:lnTo>
                  <a:lnTo>
                    <a:pt x="953" y="7001"/>
                  </a:lnTo>
                  <a:cubicBezTo>
                    <a:pt x="572" y="6382"/>
                    <a:pt x="345" y="5656"/>
                    <a:pt x="310" y="4882"/>
                  </a:cubicBezTo>
                  <a:close/>
                  <a:moveTo>
                    <a:pt x="9096" y="4894"/>
                  </a:moveTo>
                  <a:cubicBezTo>
                    <a:pt x="9085" y="5608"/>
                    <a:pt x="8870" y="6323"/>
                    <a:pt x="8501" y="6954"/>
                  </a:cubicBezTo>
                  <a:cubicBezTo>
                    <a:pt x="8489" y="6966"/>
                    <a:pt x="8465" y="6990"/>
                    <a:pt x="8453" y="7001"/>
                  </a:cubicBezTo>
                  <a:lnTo>
                    <a:pt x="7453" y="7001"/>
                  </a:lnTo>
                  <a:lnTo>
                    <a:pt x="7501" y="6870"/>
                  </a:lnTo>
                  <a:cubicBezTo>
                    <a:pt x="7715" y="6251"/>
                    <a:pt x="7834" y="5585"/>
                    <a:pt x="7846" y="4894"/>
                  </a:cubicBezTo>
                  <a:close/>
                  <a:moveTo>
                    <a:pt x="4715" y="1"/>
                  </a:moveTo>
                  <a:cubicBezTo>
                    <a:pt x="3465" y="1"/>
                    <a:pt x="2262" y="489"/>
                    <a:pt x="1381" y="1382"/>
                  </a:cubicBezTo>
                  <a:cubicBezTo>
                    <a:pt x="488" y="2275"/>
                    <a:pt x="0" y="3465"/>
                    <a:pt x="0" y="4715"/>
                  </a:cubicBezTo>
                  <a:cubicBezTo>
                    <a:pt x="0" y="6489"/>
                    <a:pt x="976" y="8097"/>
                    <a:pt x="2548" y="8918"/>
                  </a:cubicBezTo>
                  <a:cubicBezTo>
                    <a:pt x="2572" y="8930"/>
                    <a:pt x="2584" y="8930"/>
                    <a:pt x="2619" y="8930"/>
                  </a:cubicBezTo>
                  <a:cubicBezTo>
                    <a:pt x="2679" y="8930"/>
                    <a:pt x="2738" y="8895"/>
                    <a:pt x="2762" y="8835"/>
                  </a:cubicBezTo>
                  <a:cubicBezTo>
                    <a:pt x="2810" y="8764"/>
                    <a:pt x="2786" y="8656"/>
                    <a:pt x="2691" y="8621"/>
                  </a:cubicBezTo>
                  <a:cubicBezTo>
                    <a:pt x="2084" y="8299"/>
                    <a:pt x="1572" y="7859"/>
                    <a:pt x="1191" y="7335"/>
                  </a:cubicBezTo>
                  <a:lnTo>
                    <a:pt x="2096" y="7335"/>
                  </a:lnTo>
                  <a:cubicBezTo>
                    <a:pt x="2286" y="7775"/>
                    <a:pt x="2548" y="8180"/>
                    <a:pt x="2846" y="8514"/>
                  </a:cubicBezTo>
                  <a:cubicBezTo>
                    <a:pt x="2877" y="8551"/>
                    <a:pt x="2918" y="8569"/>
                    <a:pt x="2961" y="8569"/>
                  </a:cubicBezTo>
                  <a:cubicBezTo>
                    <a:pt x="3002" y="8569"/>
                    <a:pt x="3044" y="8554"/>
                    <a:pt x="3084" y="8525"/>
                  </a:cubicBezTo>
                  <a:cubicBezTo>
                    <a:pt x="3155" y="8466"/>
                    <a:pt x="3155" y="8359"/>
                    <a:pt x="3096" y="8287"/>
                  </a:cubicBezTo>
                  <a:cubicBezTo>
                    <a:pt x="2858" y="8013"/>
                    <a:pt x="2643" y="7692"/>
                    <a:pt x="2465" y="7335"/>
                  </a:cubicBezTo>
                  <a:cubicBezTo>
                    <a:pt x="2548" y="7323"/>
                    <a:pt x="2619" y="7263"/>
                    <a:pt x="2619" y="7168"/>
                  </a:cubicBezTo>
                  <a:cubicBezTo>
                    <a:pt x="2619" y="7085"/>
                    <a:pt x="2548" y="7001"/>
                    <a:pt x="2453" y="7001"/>
                  </a:cubicBezTo>
                  <a:lnTo>
                    <a:pt x="2334" y="7001"/>
                  </a:lnTo>
                  <a:cubicBezTo>
                    <a:pt x="2084" y="6370"/>
                    <a:pt x="1929" y="5632"/>
                    <a:pt x="1917" y="4882"/>
                  </a:cubicBezTo>
                  <a:lnTo>
                    <a:pt x="2096" y="4882"/>
                  </a:lnTo>
                  <a:cubicBezTo>
                    <a:pt x="2191" y="4882"/>
                    <a:pt x="2262" y="4799"/>
                    <a:pt x="2262" y="4715"/>
                  </a:cubicBezTo>
                  <a:cubicBezTo>
                    <a:pt x="2262" y="4620"/>
                    <a:pt x="2191" y="4549"/>
                    <a:pt x="2096" y="4549"/>
                  </a:cubicBezTo>
                  <a:lnTo>
                    <a:pt x="1917" y="4549"/>
                  </a:lnTo>
                  <a:cubicBezTo>
                    <a:pt x="1929" y="3775"/>
                    <a:pt x="2084" y="3049"/>
                    <a:pt x="2334" y="2418"/>
                  </a:cubicBezTo>
                  <a:lnTo>
                    <a:pt x="4572" y="2418"/>
                  </a:lnTo>
                  <a:lnTo>
                    <a:pt x="4572" y="2775"/>
                  </a:lnTo>
                  <a:cubicBezTo>
                    <a:pt x="4572" y="2870"/>
                    <a:pt x="4643" y="2941"/>
                    <a:pt x="4727" y="2941"/>
                  </a:cubicBezTo>
                  <a:cubicBezTo>
                    <a:pt x="4822" y="2941"/>
                    <a:pt x="4894" y="2870"/>
                    <a:pt x="4894" y="2775"/>
                  </a:cubicBezTo>
                  <a:lnTo>
                    <a:pt x="4894" y="2418"/>
                  </a:lnTo>
                  <a:lnTo>
                    <a:pt x="7132" y="2418"/>
                  </a:lnTo>
                  <a:cubicBezTo>
                    <a:pt x="7370" y="3049"/>
                    <a:pt x="7513" y="3775"/>
                    <a:pt x="7549" y="4549"/>
                  </a:cubicBezTo>
                  <a:lnTo>
                    <a:pt x="7370" y="4549"/>
                  </a:lnTo>
                  <a:cubicBezTo>
                    <a:pt x="7275" y="4549"/>
                    <a:pt x="7203" y="4620"/>
                    <a:pt x="7203" y="4715"/>
                  </a:cubicBezTo>
                  <a:cubicBezTo>
                    <a:pt x="7203" y="4799"/>
                    <a:pt x="7275" y="4882"/>
                    <a:pt x="7370" y="4882"/>
                  </a:cubicBezTo>
                  <a:lnTo>
                    <a:pt x="7549" y="4882"/>
                  </a:lnTo>
                  <a:cubicBezTo>
                    <a:pt x="7525" y="5632"/>
                    <a:pt x="7382" y="6370"/>
                    <a:pt x="7132" y="7001"/>
                  </a:cubicBezTo>
                  <a:lnTo>
                    <a:pt x="7013" y="7001"/>
                  </a:lnTo>
                  <a:cubicBezTo>
                    <a:pt x="6918" y="7001"/>
                    <a:pt x="6846" y="7085"/>
                    <a:pt x="6846" y="7168"/>
                  </a:cubicBezTo>
                  <a:cubicBezTo>
                    <a:pt x="6846" y="7263"/>
                    <a:pt x="6906" y="7323"/>
                    <a:pt x="6989" y="7335"/>
                  </a:cubicBezTo>
                  <a:cubicBezTo>
                    <a:pt x="6810" y="7692"/>
                    <a:pt x="6608" y="8025"/>
                    <a:pt x="6370" y="8287"/>
                  </a:cubicBezTo>
                  <a:cubicBezTo>
                    <a:pt x="6310" y="8359"/>
                    <a:pt x="6310" y="8466"/>
                    <a:pt x="6382" y="8525"/>
                  </a:cubicBezTo>
                  <a:cubicBezTo>
                    <a:pt x="6418" y="8549"/>
                    <a:pt x="6453" y="8573"/>
                    <a:pt x="6489" y="8573"/>
                  </a:cubicBezTo>
                  <a:cubicBezTo>
                    <a:pt x="6537" y="8573"/>
                    <a:pt x="6572" y="8549"/>
                    <a:pt x="6608" y="8514"/>
                  </a:cubicBezTo>
                  <a:cubicBezTo>
                    <a:pt x="6894" y="8180"/>
                    <a:pt x="7144" y="7787"/>
                    <a:pt x="7346" y="7335"/>
                  </a:cubicBezTo>
                  <a:lnTo>
                    <a:pt x="8263" y="7335"/>
                  </a:lnTo>
                  <a:cubicBezTo>
                    <a:pt x="7906" y="7811"/>
                    <a:pt x="7441" y="8228"/>
                    <a:pt x="6918" y="8525"/>
                  </a:cubicBezTo>
                  <a:cubicBezTo>
                    <a:pt x="6846" y="8573"/>
                    <a:pt x="6810" y="8680"/>
                    <a:pt x="6858" y="8752"/>
                  </a:cubicBezTo>
                  <a:cubicBezTo>
                    <a:pt x="6891" y="8801"/>
                    <a:pt x="6951" y="8833"/>
                    <a:pt x="7009" y="8833"/>
                  </a:cubicBezTo>
                  <a:cubicBezTo>
                    <a:pt x="7036" y="8833"/>
                    <a:pt x="7062" y="8826"/>
                    <a:pt x="7084" y="8811"/>
                  </a:cubicBezTo>
                  <a:cubicBezTo>
                    <a:pt x="7787" y="8406"/>
                    <a:pt x="8382" y="7811"/>
                    <a:pt x="8799" y="7109"/>
                  </a:cubicBezTo>
                  <a:cubicBezTo>
                    <a:pt x="9227" y="6382"/>
                    <a:pt x="9454" y="5561"/>
                    <a:pt x="9454" y="4715"/>
                  </a:cubicBezTo>
                  <a:cubicBezTo>
                    <a:pt x="9442" y="3453"/>
                    <a:pt x="8942" y="2275"/>
                    <a:pt x="8049" y="1382"/>
                  </a:cubicBezTo>
                  <a:cubicBezTo>
                    <a:pt x="7156" y="489"/>
                    <a:pt x="5965" y="1"/>
                    <a:pt x="4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24" name="Google Shape;10724;p60"/>
          <p:cNvGrpSpPr/>
          <p:nvPr/>
        </p:nvGrpSpPr>
        <p:grpSpPr>
          <a:xfrm>
            <a:off x="5377363" y="1516169"/>
            <a:ext cx="257357" cy="356627"/>
            <a:chOff x="5377363" y="1516169"/>
            <a:chExt cx="257357" cy="356627"/>
          </a:xfrm>
        </p:grpSpPr>
        <p:sp>
          <p:nvSpPr>
            <p:cNvPr id="10725" name="Google Shape;10725;p60"/>
            <p:cNvSpPr/>
            <p:nvPr/>
          </p:nvSpPr>
          <p:spPr>
            <a:xfrm>
              <a:off x="5377363" y="1516169"/>
              <a:ext cx="257357" cy="356627"/>
            </a:xfrm>
            <a:custGeom>
              <a:avLst/>
              <a:gdLst/>
              <a:ahLst/>
              <a:cxnLst/>
              <a:rect l="l" t="t" r="r" b="b"/>
              <a:pathLst>
                <a:path w="8086" h="11205" extrusionOk="0">
                  <a:moveTo>
                    <a:pt x="4073" y="334"/>
                  </a:moveTo>
                  <a:cubicBezTo>
                    <a:pt x="4263" y="334"/>
                    <a:pt x="4430" y="441"/>
                    <a:pt x="4525" y="608"/>
                  </a:cubicBezTo>
                  <a:cubicBezTo>
                    <a:pt x="4561" y="656"/>
                    <a:pt x="4620" y="679"/>
                    <a:pt x="4680" y="679"/>
                  </a:cubicBezTo>
                  <a:lnTo>
                    <a:pt x="5299" y="679"/>
                  </a:lnTo>
                  <a:cubicBezTo>
                    <a:pt x="5406" y="679"/>
                    <a:pt x="5490" y="775"/>
                    <a:pt x="5490" y="870"/>
                  </a:cubicBezTo>
                  <a:lnTo>
                    <a:pt x="5490" y="1406"/>
                  </a:lnTo>
                  <a:lnTo>
                    <a:pt x="2668" y="1406"/>
                  </a:lnTo>
                  <a:lnTo>
                    <a:pt x="2668" y="870"/>
                  </a:lnTo>
                  <a:lnTo>
                    <a:pt x="2644" y="870"/>
                  </a:lnTo>
                  <a:cubicBezTo>
                    <a:pt x="2644" y="775"/>
                    <a:pt x="2727" y="679"/>
                    <a:pt x="2835" y="679"/>
                  </a:cubicBezTo>
                  <a:lnTo>
                    <a:pt x="3454" y="679"/>
                  </a:lnTo>
                  <a:cubicBezTo>
                    <a:pt x="3513" y="679"/>
                    <a:pt x="3573" y="656"/>
                    <a:pt x="3608" y="608"/>
                  </a:cubicBezTo>
                  <a:cubicBezTo>
                    <a:pt x="3716" y="441"/>
                    <a:pt x="3870" y="334"/>
                    <a:pt x="4073" y="334"/>
                  </a:cubicBezTo>
                  <a:close/>
                  <a:moveTo>
                    <a:pt x="7395" y="1037"/>
                  </a:moveTo>
                  <a:cubicBezTo>
                    <a:pt x="7597" y="1037"/>
                    <a:pt x="7764" y="1203"/>
                    <a:pt x="7764" y="1394"/>
                  </a:cubicBezTo>
                  <a:lnTo>
                    <a:pt x="7764" y="10514"/>
                  </a:lnTo>
                  <a:cubicBezTo>
                    <a:pt x="7764" y="10716"/>
                    <a:pt x="7597" y="10871"/>
                    <a:pt x="7395" y="10871"/>
                  </a:cubicBezTo>
                  <a:lnTo>
                    <a:pt x="727" y="10871"/>
                  </a:lnTo>
                  <a:cubicBezTo>
                    <a:pt x="537" y="10871"/>
                    <a:pt x="370" y="10704"/>
                    <a:pt x="370" y="10514"/>
                  </a:cubicBezTo>
                  <a:lnTo>
                    <a:pt x="370" y="1394"/>
                  </a:lnTo>
                  <a:cubicBezTo>
                    <a:pt x="370" y="1203"/>
                    <a:pt x="537" y="1037"/>
                    <a:pt x="727" y="1037"/>
                  </a:cubicBezTo>
                  <a:lnTo>
                    <a:pt x="2323" y="1037"/>
                  </a:lnTo>
                  <a:lnTo>
                    <a:pt x="2323" y="1572"/>
                  </a:lnTo>
                  <a:cubicBezTo>
                    <a:pt x="2323" y="1668"/>
                    <a:pt x="2406" y="1739"/>
                    <a:pt x="2489" y="1739"/>
                  </a:cubicBezTo>
                  <a:lnTo>
                    <a:pt x="5644" y="1739"/>
                  </a:lnTo>
                  <a:cubicBezTo>
                    <a:pt x="5728" y="1739"/>
                    <a:pt x="5811" y="1668"/>
                    <a:pt x="5811" y="1572"/>
                  </a:cubicBezTo>
                  <a:lnTo>
                    <a:pt x="5811" y="1037"/>
                  </a:lnTo>
                  <a:close/>
                  <a:moveTo>
                    <a:pt x="4037" y="1"/>
                  </a:moveTo>
                  <a:cubicBezTo>
                    <a:pt x="3751" y="1"/>
                    <a:pt x="3501" y="132"/>
                    <a:pt x="3335" y="358"/>
                  </a:cubicBezTo>
                  <a:lnTo>
                    <a:pt x="2799" y="358"/>
                  </a:lnTo>
                  <a:cubicBezTo>
                    <a:pt x="2585" y="358"/>
                    <a:pt x="2382" y="501"/>
                    <a:pt x="2311" y="715"/>
                  </a:cubicBezTo>
                  <a:lnTo>
                    <a:pt x="691" y="715"/>
                  </a:lnTo>
                  <a:cubicBezTo>
                    <a:pt x="299" y="715"/>
                    <a:pt x="1" y="1025"/>
                    <a:pt x="1" y="1394"/>
                  </a:cubicBezTo>
                  <a:lnTo>
                    <a:pt x="1" y="10514"/>
                  </a:lnTo>
                  <a:cubicBezTo>
                    <a:pt x="1" y="10907"/>
                    <a:pt x="322" y="11204"/>
                    <a:pt x="691" y="11204"/>
                  </a:cubicBezTo>
                  <a:lnTo>
                    <a:pt x="7359" y="11204"/>
                  </a:lnTo>
                  <a:cubicBezTo>
                    <a:pt x="7740" y="11204"/>
                    <a:pt x="8038" y="10895"/>
                    <a:pt x="8038" y="10514"/>
                  </a:cubicBezTo>
                  <a:lnTo>
                    <a:pt x="8038" y="1394"/>
                  </a:lnTo>
                  <a:cubicBezTo>
                    <a:pt x="8085" y="1025"/>
                    <a:pt x="7776" y="715"/>
                    <a:pt x="7383" y="715"/>
                  </a:cubicBezTo>
                  <a:lnTo>
                    <a:pt x="5763" y="715"/>
                  </a:lnTo>
                  <a:cubicBezTo>
                    <a:pt x="5692" y="501"/>
                    <a:pt x="5490" y="358"/>
                    <a:pt x="5275" y="358"/>
                  </a:cubicBezTo>
                  <a:lnTo>
                    <a:pt x="4740" y="358"/>
                  </a:lnTo>
                  <a:cubicBezTo>
                    <a:pt x="4573" y="132"/>
                    <a:pt x="4323" y="1"/>
                    <a:pt x="4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6" name="Google Shape;10726;p60"/>
            <p:cNvSpPr/>
            <p:nvPr/>
          </p:nvSpPr>
          <p:spPr>
            <a:xfrm>
              <a:off x="5501681" y="1538925"/>
              <a:ext cx="10248" cy="10248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cubicBezTo>
                    <a:pt x="250" y="322"/>
                    <a:pt x="322" y="250"/>
                    <a:pt x="322" y="155"/>
                  </a:cubicBezTo>
                  <a:cubicBezTo>
                    <a:pt x="322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7" name="Google Shape;10727;p60"/>
            <p:cNvSpPr/>
            <p:nvPr/>
          </p:nvSpPr>
          <p:spPr>
            <a:xfrm>
              <a:off x="5401233" y="1560886"/>
              <a:ext cx="211112" cy="278554"/>
            </a:xfrm>
            <a:custGeom>
              <a:avLst/>
              <a:gdLst/>
              <a:ahLst/>
              <a:cxnLst/>
              <a:rect l="l" t="t" r="r" b="b"/>
              <a:pathLst>
                <a:path w="6633" h="8752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8597"/>
                  </a:lnTo>
                  <a:cubicBezTo>
                    <a:pt x="1" y="8680"/>
                    <a:pt x="72" y="8752"/>
                    <a:pt x="156" y="8752"/>
                  </a:cubicBezTo>
                  <a:lnTo>
                    <a:pt x="6466" y="8752"/>
                  </a:lnTo>
                  <a:cubicBezTo>
                    <a:pt x="6561" y="8752"/>
                    <a:pt x="6633" y="8680"/>
                    <a:pt x="6633" y="8597"/>
                  </a:cubicBezTo>
                  <a:lnTo>
                    <a:pt x="6633" y="167"/>
                  </a:lnTo>
                  <a:cubicBezTo>
                    <a:pt x="6633" y="84"/>
                    <a:pt x="6561" y="1"/>
                    <a:pt x="6478" y="1"/>
                  </a:cubicBezTo>
                  <a:lnTo>
                    <a:pt x="5597" y="1"/>
                  </a:lnTo>
                  <a:cubicBezTo>
                    <a:pt x="5502" y="1"/>
                    <a:pt x="5430" y="84"/>
                    <a:pt x="5430" y="167"/>
                  </a:cubicBezTo>
                  <a:cubicBezTo>
                    <a:pt x="5430" y="263"/>
                    <a:pt x="5502" y="334"/>
                    <a:pt x="5597" y="334"/>
                  </a:cubicBezTo>
                  <a:lnTo>
                    <a:pt x="6311" y="334"/>
                  </a:lnTo>
                  <a:lnTo>
                    <a:pt x="6311" y="8430"/>
                  </a:lnTo>
                  <a:lnTo>
                    <a:pt x="322" y="8430"/>
                  </a:lnTo>
                  <a:lnTo>
                    <a:pt x="322" y="334"/>
                  </a:lnTo>
                  <a:lnTo>
                    <a:pt x="1037" y="334"/>
                  </a:lnTo>
                  <a:cubicBezTo>
                    <a:pt x="1132" y="334"/>
                    <a:pt x="1203" y="263"/>
                    <a:pt x="1203" y="167"/>
                  </a:cubicBezTo>
                  <a:cubicBezTo>
                    <a:pt x="1203" y="84"/>
                    <a:pt x="1132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8" name="Google Shape;10728;p60"/>
            <p:cNvSpPr/>
            <p:nvPr/>
          </p:nvSpPr>
          <p:spPr>
            <a:xfrm>
              <a:off x="5434207" y="1672664"/>
              <a:ext cx="33387" cy="33387"/>
            </a:xfrm>
            <a:custGeom>
              <a:avLst/>
              <a:gdLst/>
              <a:ahLst/>
              <a:cxnLst/>
              <a:rect l="l" t="t" r="r" b="b"/>
              <a:pathLst>
                <a:path w="1049" h="1049" extrusionOk="0">
                  <a:moveTo>
                    <a:pt x="525" y="311"/>
                  </a:moveTo>
                  <a:cubicBezTo>
                    <a:pt x="632" y="311"/>
                    <a:pt x="715" y="406"/>
                    <a:pt x="715" y="513"/>
                  </a:cubicBezTo>
                  <a:cubicBezTo>
                    <a:pt x="703" y="608"/>
                    <a:pt x="632" y="703"/>
                    <a:pt x="525" y="703"/>
                  </a:cubicBezTo>
                  <a:cubicBezTo>
                    <a:pt x="418" y="703"/>
                    <a:pt x="334" y="608"/>
                    <a:pt x="334" y="513"/>
                  </a:cubicBezTo>
                  <a:cubicBezTo>
                    <a:pt x="334" y="406"/>
                    <a:pt x="418" y="311"/>
                    <a:pt x="525" y="311"/>
                  </a:cubicBezTo>
                  <a:close/>
                  <a:moveTo>
                    <a:pt x="525" y="1"/>
                  </a:moveTo>
                  <a:cubicBezTo>
                    <a:pt x="239" y="1"/>
                    <a:pt x="1" y="239"/>
                    <a:pt x="1" y="525"/>
                  </a:cubicBezTo>
                  <a:cubicBezTo>
                    <a:pt x="1" y="811"/>
                    <a:pt x="239" y="1049"/>
                    <a:pt x="525" y="1049"/>
                  </a:cubicBezTo>
                  <a:cubicBezTo>
                    <a:pt x="810" y="1049"/>
                    <a:pt x="1049" y="811"/>
                    <a:pt x="1049" y="525"/>
                  </a:cubicBezTo>
                  <a:cubicBezTo>
                    <a:pt x="1049" y="239"/>
                    <a:pt x="81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9" name="Google Shape;10729;p60"/>
            <p:cNvSpPr/>
            <p:nvPr/>
          </p:nvSpPr>
          <p:spPr>
            <a:xfrm>
              <a:off x="5434207" y="172307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10"/>
                  </a:moveTo>
                  <a:cubicBezTo>
                    <a:pt x="632" y="310"/>
                    <a:pt x="715" y="405"/>
                    <a:pt x="715" y="501"/>
                  </a:cubicBezTo>
                  <a:cubicBezTo>
                    <a:pt x="703" y="608"/>
                    <a:pt x="632" y="703"/>
                    <a:pt x="525" y="703"/>
                  </a:cubicBezTo>
                  <a:cubicBezTo>
                    <a:pt x="418" y="703"/>
                    <a:pt x="334" y="608"/>
                    <a:pt x="334" y="501"/>
                  </a:cubicBezTo>
                  <a:cubicBezTo>
                    <a:pt x="334" y="405"/>
                    <a:pt x="418" y="310"/>
                    <a:pt x="525" y="310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0" name="Google Shape;10730;p60"/>
            <p:cNvSpPr/>
            <p:nvPr/>
          </p:nvSpPr>
          <p:spPr>
            <a:xfrm>
              <a:off x="5434207" y="1773112"/>
              <a:ext cx="33387" cy="33355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5" y="310"/>
                  </a:moveTo>
                  <a:cubicBezTo>
                    <a:pt x="632" y="310"/>
                    <a:pt x="715" y="405"/>
                    <a:pt x="715" y="512"/>
                  </a:cubicBezTo>
                  <a:cubicBezTo>
                    <a:pt x="703" y="619"/>
                    <a:pt x="632" y="703"/>
                    <a:pt x="525" y="703"/>
                  </a:cubicBezTo>
                  <a:cubicBezTo>
                    <a:pt x="418" y="703"/>
                    <a:pt x="334" y="607"/>
                    <a:pt x="334" y="512"/>
                  </a:cubicBezTo>
                  <a:cubicBezTo>
                    <a:pt x="334" y="405"/>
                    <a:pt x="418" y="310"/>
                    <a:pt x="525" y="310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810"/>
                    <a:pt x="239" y="1048"/>
                    <a:pt x="525" y="1048"/>
                  </a:cubicBezTo>
                  <a:cubicBezTo>
                    <a:pt x="810" y="1048"/>
                    <a:pt x="1049" y="810"/>
                    <a:pt x="1049" y="524"/>
                  </a:cubicBezTo>
                  <a:cubicBezTo>
                    <a:pt x="1025" y="226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1" name="Google Shape;10731;p60"/>
            <p:cNvSpPr/>
            <p:nvPr/>
          </p:nvSpPr>
          <p:spPr>
            <a:xfrm>
              <a:off x="5478924" y="1672664"/>
              <a:ext cx="60663" cy="10662"/>
            </a:xfrm>
            <a:custGeom>
              <a:avLst/>
              <a:gdLst/>
              <a:ahLst/>
              <a:cxnLst/>
              <a:rect l="l" t="t" r="r" b="b"/>
              <a:pathLst>
                <a:path w="1906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lnTo>
                    <a:pt x="1739" y="334"/>
                  </a:lnTo>
                  <a:cubicBezTo>
                    <a:pt x="1822" y="334"/>
                    <a:pt x="1906" y="263"/>
                    <a:pt x="1906" y="168"/>
                  </a:cubicBezTo>
                  <a:cubicBezTo>
                    <a:pt x="1906" y="84"/>
                    <a:pt x="1846" y="1"/>
                    <a:pt x="1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2" name="Google Shape;10732;p60"/>
            <p:cNvSpPr/>
            <p:nvPr/>
          </p:nvSpPr>
          <p:spPr>
            <a:xfrm>
              <a:off x="5478924" y="1695039"/>
              <a:ext cx="99716" cy="10630"/>
            </a:xfrm>
            <a:custGeom>
              <a:avLst/>
              <a:gdLst/>
              <a:ahLst/>
              <a:cxnLst/>
              <a:rect l="l" t="t" r="r" b="b"/>
              <a:pathLst>
                <a:path w="3133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0"/>
                    <a:pt x="3132" y="167"/>
                  </a:cubicBezTo>
                  <a:cubicBezTo>
                    <a:pt x="3132" y="72"/>
                    <a:pt x="3061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3" name="Google Shape;10733;p60"/>
            <p:cNvSpPr/>
            <p:nvPr/>
          </p:nvSpPr>
          <p:spPr>
            <a:xfrm>
              <a:off x="5478924" y="1723079"/>
              <a:ext cx="60663" cy="10248"/>
            </a:xfrm>
            <a:custGeom>
              <a:avLst/>
              <a:gdLst/>
              <a:ahLst/>
              <a:cxnLst/>
              <a:rect l="l" t="t" r="r" b="b"/>
              <a:pathLst>
                <a:path w="190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739" y="322"/>
                  </a:lnTo>
                  <a:cubicBezTo>
                    <a:pt x="1822" y="322"/>
                    <a:pt x="1906" y="251"/>
                    <a:pt x="1906" y="167"/>
                  </a:cubicBezTo>
                  <a:cubicBezTo>
                    <a:pt x="1906" y="72"/>
                    <a:pt x="1846" y="0"/>
                    <a:pt x="1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4" name="Google Shape;10734;p60"/>
            <p:cNvSpPr/>
            <p:nvPr/>
          </p:nvSpPr>
          <p:spPr>
            <a:xfrm>
              <a:off x="5478924" y="1745422"/>
              <a:ext cx="99716" cy="10280"/>
            </a:xfrm>
            <a:custGeom>
              <a:avLst/>
              <a:gdLst/>
              <a:ahLst/>
              <a:cxnLst/>
              <a:rect l="l" t="t" r="r" b="b"/>
              <a:pathLst>
                <a:path w="3133" h="323" extrusionOk="0">
                  <a:moveTo>
                    <a:pt x="156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977" y="322"/>
                  </a:lnTo>
                  <a:cubicBezTo>
                    <a:pt x="3061" y="322"/>
                    <a:pt x="3132" y="251"/>
                    <a:pt x="3132" y="156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5" name="Google Shape;10735;p60"/>
            <p:cNvSpPr/>
            <p:nvPr/>
          </p:nvSpPr>
          <p:spPr>
            <a:xfrm>
              <a:off x="5478924" y="1773112"/>
              <a:ext cx="60663" cy="10630"/>
            </a:xfrm>
            <a:custGeom>
              <a:avLst/>
              <a:gdLst/>
              <a:ahLst/>
              <a:cxnLst/>
              <a:rect l="l" t="t" r="r" b="b"/>
              <a:pathLst>
                <a:path w="1906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1739" y="333"/>
                  </a:lnTo>
                  <a:cubicBezTo>
                    <a:pt x="1822" y="333"/>
                    <a:pt x="1906" y="262"/>
                    <a:pt x="1906" y="167"/>
                  </a:cubicBezTo>
                  <a:cubicBezTo>
                    <a:pt x="1906" y="83"/>
                    <a:pt x="1846" y="0"/>
                    <a:pt x="1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6" name="Google Shape;10736;p60"/>
            <p:cNvSpPr/>
            <p:nvPr/>
          </p:nvSpPr>
          <p:spPr>
            <a:xfrm>
              <a:off x="5478924" y="1795455"/>
              <a:ext cx="99716" cy="10630"/>
            </a:xfrm>
            <a:custGeom>
              <a:avLst/>
              <a:gdLst/>
              <a:ahLst/>
              <a:cxnLst/>
              <a:rect l="l" t="t" r="r" b="b"/>
              <a:pathLst>
                <a:path w="3133" h="334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1"/>
                    <a:pt x="3132" y="167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7" name="Google Shape;10737;p60"/>
            <p:cNvSpPr/>
            <p:nvPr/>
          </p:nvSpPr>
          <p:spPr>
            <a:xfrm>
              <a:off x="5478924" y="1588926"/>
              <a:ext cx="99716" cy="10662"/>
            </a:xfrm>
            <a:custGeom>
              <a:avLst/>
              <a:gdLst/>
              <a:ahLst/>
              <a:cxnLst/>
              <a:rect l="l" t="t" r="r" b="b"/>
              <a:pathLst>
                <a:path w="313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1"/>
                    <a:pt x="3132" y="167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8" name="Google Shape;10738;p60"/>
            <p:cNvSpPr/>
            <p:nvPr/>
          </p:nvSpPr>
          <p:spPr>
            <a:xfrm>
              <a:off x="5434207" y="1639341"/>
              <a:ext cx="144783" cy="10248"/>
            </a:xfrm>
            <a:custGeom>
              <a:avLst/>
              <a:gdLst/>
              <a:ahLst/>
              <a:cxnLst/>
              <a:rect l="l" t="t" r="r" b="b"/>
              <a:pathLst>
                <a:path w="4549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4382" y="322"/>
                  </a:lnTo>
                  <a:cubicBezTo>
                    <a:pt x="4466" y="322"/>
                    <a:pt x="4537" y="250"/>
                    <a:pt x="4537" y="155"/>
                  </a:cubicBezTo>
                  <a:cubicBezTo>
                    <a:pt x="4549" y="72"/>
                    <a:pt x="4466" y="0"/>
                    <a:pt x="4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9" name="Google Shape;10739;p60"/>
            <p:cNvSpPr/>
            <p:nvPr/>
          </p:nvSpPr>
          <p:spPr>
            <a:xfrm>
              <a:off x="5479306" y="1611301"/>
              <a:ext cx="26926" cy="10248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5" y="322"/>
                    <a:pt x="846" y="250"/>
                    <a:pt x="846" y="167"/>
                  </a:cubicBezTo>
                  <a:cubicBezTo>
                    <a:pt x="846" y="72"/>
                    <a:pt x="775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0" name="Google Shape;10740;p60"/>
            <p:cNvSpPr/>
            <p:nvPr/>
          </p:nvSpPr>
          <p:spPr>
            <a:xfrm>
              <a:off x="5518327" y="1611301"/>
              <a:ext cx="26958" cy="10248"/>
            </a:xfrm>
            <a:custGeom>
              <a:avLst/>
              <a:gdLst/>
              <a:ahLst/>
              <a:cxnLst/>
              <a:rect l="l" t="t" r="r" b="b"/>
              <a:pathLst>
                <a:path w="847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680" y="322"/>
                  </a:lnTo>
                  <a:cubicBezTo>
                    <a:pt x="763" y="322"/>
                    <a:pt x="846" y="250"/>
                    <a:pt x="846" y="167"/>
                  </a:cubicBezTo>
                  <a:cubicBezTo>
                    <a:pt x="846" y="72"/>
                    <a:pt x="763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1" name="Google Shape;10741;p60"/>
            <p:cNvSpPr/>
            <p:nvPr/>
          </p:nvSpPr>
          <p:spPr>
            <a:xfrm>
              <a:off x="5434207" y="1588926"/>
              <a:ext cx="32623" cy="32623"/>
            </a:xfrm>
            <a:custGeom>
              <a:avLst/>
              <a:gdLst/>
              <a:ahLst/>
              <a:cxnLst/>
              <a:rect l="l" t="t" r="r" b="b"/>
              <a:pathLst>
                <a:path w="1025" h="1025" extrusionOk="0">
                  <a:moveTo>
                    <a:pt x="703" y="334"/>
                  </a:moveTo>
                  <a:lnTo>
                    <a:pt x="703" y="703"/>
                  </a:lnTo>
                  <a:lnTo>
                    <a:pt x="334" y="703"/>
                  </a:lnTo>
                  <a:lnTo>
                    <a:pt x="334" y="334"/>
                  </a:lnTo>
                  <a:close/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870"/>
                  </a:lnTo>
                  <a:cubicBezTo>
                    <a:pt x="1" y="953"/>
                    <a:pt x="84" y="1025"/>
                    <a:pt x="167" y="1025"/>
                  </a:cubicBezTo>
                  <a:lnTo>
                    <a:pt x="870" y="1025"/>
                  </a:lnTo>
                  <a:cubicBezTo>
                    <a:pt x="953" y="1025"/>
                    <a:pt x="1025" y="953"/>
                    <a:pt x="1025" y="870"/>
                  </a:cubicBezTo>
                  <a:lnTo>
                    <a:pt x="1025" y="167"/>
                  </a:lnTo>
                  <a:cubicBezTo>
                    <a:pt x="1025" y="72"/>
                    <a:pt x="953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42" name="Google Shape;10742;p60"/>
          <p:cNvGrpSpPr/>
          <p:nvPr/>
        </p:nvGrpSpPr>
        <p:grpSpPr>
          <a:xfrm>
            <a:off x="4880567" y="1535870"/>
            <a:ext cx="356245" cy="317607"/>
            <a:chOff x="4880567" y="1535870"/>
            <a:chExt cx="356245" cy="317607"/>
          </a:xfrm>
        </p:grpSpPr>
        <p:sp>
          <p:nvSpPr>
            <p:cNvPr id="10743" name="Google Shape;10743;p60"/>
            <p:cNvSpPr/>
            <p:nvPr/>
          </p:nvSpPr>
          <p:spPr>
            <a:xfrm>
              <a:off x="5103774" y="1535870"/>
              <a:ext cx="100448" cy="128138"/>
            </a:xfrm>
            <a:custGeom>
              <a:avLst/>
              <a:gdLst/>
              <a:ahLst/>
              <a:cxnLst/>
              <a:rect l="l" t="t" r="r" b="b"/>
              <a:pathLst>
                <a:path w="3156" h="4026" extrusionOk="0">
                  <a:moveTo>
                    <a:pt x="1560" y="334"/>
                  </a:moveTo>
                  <a:cubicBezTo>
                    <a:pt x="2251" y="334"/>
                    <a:pt x="2799" y="882"/>
                    <a:pt x="2799" y="1561"/>
                  </a:cubicBezTo>
                  <a:cubicBezTo>
                    <a:pt x="2799" y="2120"/>
                    <a:pt x="2453" y="2573"/>
                    <a:pt x="1965" y="2739"/>
                  </a:cubicBezTo>
                  <a:lnTo>
                    <a:pt x="2251" y="1608"/>
                  </a:lnTo>
                  <a:cubicBezTo>
                    <a:pt x="2275" y="1513"/>
                    <a:pt x="2215" y="1430"/>
                    <a:pt x="2132" y="1418"/>
                  </a:cubicBezTo>
                  <a:cubicBezTo>
                    <a:pt x="2113" y="1410"/>
                    <a:pt x="2094" y="1407"/>
                    <a:pt x="2076" y="1407"/>
                  </a:cubicBezTo>
                  <a:cubicBezTo>
                    <a:pt x="2006" y="1407"/>
                    <a:pt x="1948" y="1461"/>
                    <a:pt x="1929" y="1537"/>
                  </a:cubicBezTo>
                  <a:lnTo>
                    <a:pt x="1917" y="1584"/>
                  </a:lnTo>
                  <a:lnTo>
                    <a:pt x="1215" y="1584"/>
                  </a:lnTo>
                  <a:lnTo>
                    <a:pt x="1203" y="1537"/>
                  </a:lnTo>
                  <a:cubicBezTo>
                    <a:pt x="1182" y="1453"/>
                    <a:pt x="1106" y="1415"/>
                    <a:pt x="1040" y="1415"/>
                  </a:cubicBezTo>
                  <a:cubicBezTo>
                    <a:pt x="1031" y="1415"/>
                    <a:pt x="1021" y="1416"/>
                    <a:pt x="1013" y="1418"/>
                  </a:cubicBezTo>
                  <a:cubicBezTo>
                    <a:pt x="917" y="1441"/>
                    <a:pt x="882" y="1537"/>
                    <a:pt x="894" y="1608"/>
                  </a:cubicBezTo>
                  <a:lnTo>
                    <a:pt x="1179" y="2739"/>
                  </a:lnTo>
                  <a:cubicBezTo>
                    <a:pt x="679" y="2573"/>
                    <a:pt x="322" y="2120"/>
                    <a:pt x="322" y="1561"/>
                  </a:cubicBezTo>
                  <a:cubicBezTo>
                    <a:pt x="322" y="882"/>
                    <a:pt x="882" y="334"/>
                    <a:pt x="1560" y="334"/>
                  </a:cubicBezTo>
                  <a:close/>
                  <a:moveTo>
                    <a:pt x="1822" y="1906"/>
                  </a:moveTo>
                  <a:lnTo>
                    <a:pt x="1608" y="2799"/>
                  </a:lnTo>
                  <a:lnTo>
                    <a:pt x="1513" y="2799"/>
                  </a:lnTo>
                  <a:lnTo>
                    <a:pt x="1286" y="1906"/>
                  </a:lnTo>
                  <a:close/>
                  <a:moveTo>
                    <a:pt x="1906" y="3096"/>
                  </a:moveTo>
                  <a:lnTo>
                    <a:pt x="1906" y="3501"/>
                  </a:lnTo>
                  <a:lnTo>
                    <a:pt x="1917" y="3501"/>
                  </a:lnTo>
                  <a:lnTo>
                    <a:pt x="1203" y="3513"/>
                  </a:lnTo>
                  <a:cubicBezTo>
                    <a:pt x="1203" y="3513"/>
                    <a:pt x="1191" y="3513"/>
                    <a:pt x="1191" y="3501"/>
                  </a:cubicBezTo>
                  <a:lnTo>
                    <a:pt x="1191" y="3096"/>
                  </a:lnTo>
                  <a:cubicBezTo>
                    <a:pt x="1310" y="3120"/>
                    <a:pt x="1429" y="3144"/>
                    <a:pt x="1548" y="3144"/>
                  </a:cubicBezTo>
                  <a:cubicBezTo>
                    <a:pt x="1667" y="3144"/>
                    <a:pt x="1798" y="3120"/>
                    <a:pt x="1906" y="3096"/>
                  </a:cubicBezTo>
                  <a:close/>
                  <a:moveTo>
                    <a:pt x="1560" y="1"/>
                  </a:moveTo>
                  <a:cubicBezTo>
                    <a:pt x="703" y="1"/>
                    <a:pt x="1" y="703"/>
                    <a:pt x="1" y="1561"/>
                  </a:cubicBezTo>
                  <a:cubicBezTo>
                    <a:pt x="1" y="2180"/>
                    <a:pt x="358" y="2704"/>
                    <a:pt x="882" y="2977"/>
                  </a:cubicBezTo>
                  <a:lnTo>
                    <a:pt x="882" y="3501"/>
                  </a:lnTo>
                  <a:cubicBezTo>
                    <a:pt x="882" y="3692"/>
                    <a:pt x="1024" y="3847"/>
                    <a:pt x="1215" y="3847"/>
                  </a:cubicBezTo>
                  <a:lnTo>
                    <a:pt x="1417" y="3847"/>
                  </a:lnTo>
                  <a:lnTo>
                    <a:pt x="1417" y="3858"/>
                  </a:lnTo>
                  <a:cubicBezTo>
                    <a:pt x="1417" y="3942"/>
                    <a:pt x="1489" y="4025"/>
                    <a:pt x="1572" y="4025"/>
                  </a:cubicBezTo>
                  <a:cubicBezTo>
                    <a:pt x="1667" y="4025"/>
                    <a:pt x="1739" y="3942"/>
                    <a:pt x="1739" y="3858"/>
                  </a:cubicBezTo>
                  <a:lnTo>
                    <a:pt x="1739" y="3847"/>
                  </a:lnTo>
                  <a:lnTo>
                    <a:pt x="1929" y="3847"/>
                  </a:lnTo>
                  <a:cubicBezTo>
                    <a:pt x="2120" y="3847"/>
                    <a:pt x="2275" y="3692"/>
                    <a:pt x="2275" y="3501"/>
                  </a:cubicBezTo>
                  <a:lnTo>
                    <a:pt x="2275" y="2977"/>
                  </a:lnTo>
                  <a:cubicBezTo>
                    <a:pt x="2799" y="2727"/>
                    <a:pt x="3156" y="2192"/>
                    <a:pt x="3156" y="1561"/>
                  </a:cubicBezTo>
                  <a:cubicBezTo>
                    <a:pt x="3120" y="703"/>
                    <a:pt x="2429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4" name="Google Shape;10744;p60"/>
            <p:cNvSpPr/>
            <p:nvPr/>
          </p:nvSpPr>
          <p:spPr>
            <a:xfrm>
              <a:off x="4880567" y="1552929"/>
              <a:ext cx="200895" cy="300547"/>
            </a:xfrm>
            <a:custGeom>
              <a:avLst/>
              <a:gdLst/>
              <a:ahLst/>
              <a:cxnLst/>
              <a:rect l="l" t="t" r="r" b="b"/>
              <a:pathLst>
                <a:path w="6312" h="9443" extrusionOk="0">
                  <a:moveTo>
                    <a:pt x="3144" y="310"/>
                  </a:moveTo>
                  <a:cubicBezTo>
                    <a:pt x="3632" y="310"/>
                    <a:pt x="4037" y="632"/>
                    <a:pt x="4037" y="1025"/>
                  </a:cubicBezTo>
                  <a:cubicBezTo>
                    <a:pt x="3751" y="929"/>
                    <a:pt x="3454" y="870"/>
                    <a:pt x="3144" y="870"/>
                  </a:cubicBezTo>
                  <a:cubicBezTo>
                    <a:pt x="2834" y="870"/>
                    <a:pt x="2537" y="929"/>
                    <a:pt x="2251" y="1025"/>
                  </a:cubicBezTo>
                  <a:cubicBezTo>
                    <a:pt x="2251" y="644"/>
                    <a:pt x="2644" y="310"/>
                    <a:pt x="3144" y="310"/>
                  </a:cubicBezTo>
                  <a:close/>
                  <a:moveTo>
                    <a:pt x="3144" y="1191"/>
                  </a:moveTo>
                  <a:cubicBezTo>
                    <a:pt x="4299" y="1191"/>
                    <a:pt x="5251" y="2144"/>
                    <a:pt x="5251" y="3311"/>
                  </a:cubicBezTo>
                  <a:cubicBezTo>
                    <a:pt x="5251" y="3620"/>
                    <a:pt x="5180" y="3918"/>
                    <a:pt x="5061" y="4203"/>
                  </a:cubicBezTo>
                  <a:lnTo>
                    <a:pt x="5061" y="4049"/>
                  </a:lnTo>
                  <a:cubicBezTo>
                    <a:pt x="5061" y="3858"/>
                    <a:pt x="4978" y="3668"/>
                    <a:pt x="4823" y="3525"/>
                  </a:cubicBezTo>
                  <a:cubicBezTo>
                    <a:pt x="4501" y="3251"/>
                    <a:pt x="3751" y="2739"/>
                    <a:pt x="2453" y="2608"/>
                  </a:cubicBezTo>
                  <a:cubicBezTo>
                    <a:pt x="2447" y="2607"/>
                    <a:pt x="2441" y="2607"/>
                    <a:pt x="2435" y="2607"/>
                  </a:cubicBezTo>
                  <a:cubicBezTo>
                    <a:pt x="2360" y="2607"/>
                    <a:pt x="2297" y="2674"/>
                    <a:pt x="2275" y="2751"/>
                  </a:cubicBezTo>
                  <a:cubicBezTo>
                    <a:pt x="2263" y="2846"/>
                    <a:pt x="2334" y="2918"/>
                    <a:pt x="2430" y="2930"/>
                  </a:cubicBezTo>
                  <a:cubicBezTo>
                    <a:pt x="3632" y="3049"/>
                    <a:pt x="4323" y="3513"/>
                    <a:pt x="4620" y="3763"/>
                  </a:cubicBezTo>
                  <a:cubicBezTo>
                    <a:pt x="4692" y="3822"/>
                    <a:pt x="4728" y="3930"/>
                    <a:pt x="4728" y="4037"/>
                  </a:cubicBezTo>
                  <a:lnTo>
                    <a:pt x="4728" y="4346"/>
                  </a:lnTo>
                  <a:cubicBezTo>
                    <a:pt x="4728" y="5227"/>
                    <a:pt x="4025" y="5942"/>
                    <a:pt x="3144" y="5942"/>
                  </a:cubicBezTo>
                  <a:cubicBezTo>
                    <a:pt x="3137" y="5942"/>
                    <a:pt x="3130" y="5942"/>
                    <a:pt x="3122" y="5942"/>
                  </a:cubicBezTo>
                  <a:cubicBezTo>
                    <a:pt x="2251" y="5942"/>
                    <a:pt x="1549" y="5232"/>
                    <a:pt x="1549" y="4358"/>
                  </a:cubicBezTo>
                  <a:lnTo>
                    <a:pt x="1549" y="4227"/>
                  </a:lnTo>
                  <a:cubicBezTo>
                    <a:pt x="1549" y="4168"/>
                    <a:pt x="1584" y="4108"/>
                    <a:pt x="1644" y="4084"/>
                  </a:cubicBezTo>
                  <a:cubicBezTo>
                    <a:pt x="1846" y="3965"/>
                    <a:pt x="2120" y="3739"/>
                    <a:pt x="2239" y="3370"/>
                  </a:cubicBezTo>
                  <a:cubicBezTo>
                    <a:pt x="2263" y="3275"/>
                    <a:pt x="2215" y="3191"/>
                    <a:pt x="2132" y="3156"/>
                  </a:cubicBezTo>
                  <a:cubicBezTo>
                    <a:pt x="2113" y="3151"/>
                    <a:pt x="2094" y="3149"/>
                    <a:pt x="2077" y="3149"/>
                  </a:cubicBezTo>
                  <a:cubicBezTo>
                    <a:pt x="2005" y="3149"/>
                    <a:pt x="1946" y="3187"/>
                    <a:pt x="1918" y="3263"/>
                  </a:cubicBezTo>
                  <a:cubicBezTo>
                    <a:pt x="1834" y="3525"/>
                    <a:pt x="1620" y="3692"/>
                    <a:pt x="1477" y="3787"/>
                  </a:cubicBezTo>
                  <a:cubicBezTo>
                    <a:pt x="1322" y="3870"/>
                    <a:pt x="1215" y="4037"/>
                    <a:pt x="1215" y="4203"/>
                  </a:cubicBezTo>
                  <a:cubicBezTo>
                    <a:pt x="1084" y="3918"/>
                    <a:pt x="1025" y="3620"/>
                    <a:pt x="1025" y="3311"/>
                  </a:cubicBezTo>
                  <a:cubicBezTo>
                    <a:pt x="1025" y="2144"/>
                    <a:pt x="1977" y="1191"/>
                    <a:pt x="3144" y="1191"/>
                  </a:cubicBezTo>
                  <a:close/>
                  <a:moveTo>
                    <a:pt x="3858" y="6144"/>
                  </a:moveTo>
                  <a:lnTo>
                    <a:pt x="3858" y="6537"/>
                  </a:lnTo>
                  <a:cubicBezTo>
                    <a:pt x="3858" y="6740"/>
                    <a:pt x="3977" y="6918"/>
                    <a:pt x="4168" y="7013"/>
                  </a:cubicBezTo>
                  <a:lnTo>
                    <a:pt x="4406" y="7121"/>
                  </a:lnTo>
                  <a:cubicBezTo>
                    <a:pt x="4156" y="7597"/>
                    <a:pt x="3680" y="7894"/>
                    <a:pt x="3144" y="7894"/>
                  </a:cubicBezTo>
                  <a:cubicBezTo>
                    <a:pt x="2608" y="7894"/>
                    <a:pt x="2132" y="7597"/>
                    <a:pt x="1882" y="7121"/>
                  </a:cubicBezTo>
                  <a:lnTo>
                    <a:pt x="2120" y="7013"/>
                  </a:lnTo>
                  <a:cubicBezTo>
                    <a:pt x="2311" y="6918"/>
                    <a:pt x="2430" y="6740"/>
                    <a:pt x="2430" y="6537"/>
                  </a:cubicBezTo>
                  <a:lnTo>
                    <a:pt x="2430" y="6144"/>
                  </a:lnTo>
                  <a:cubicBezTo>
                    <a:pt x="2644" y="6239"/>
                    <a:pt x="2882" y="6287"/>
                    <a:pt x="3144" y="6287"/>
                  </a:cubicBezTo>
                  <a:cubicBezTo>
                    <a:pt x="3394" y="6287"/>
                    <a:pt x="3632" y="6239"/>
                    <a:pt x="3858" y="6144"/>
                  </a:cubicBezTo>
                  <a:close/>
                  <a:moveTo>
                    <a:pt x="3144" y="1"/>
                  </a:moveTo>
                  <a:cubicBezTo>
                    <a:pt x="2465" y="1"/>
                    <a:pt x="1918" y="465"/>
                    <a:pt x="1918" y="1048"/>
                  </a:cubicBezTo>
                  <a:cubicBezTo>
                    <a:pt x="1918" y="1084"/>
                    <a:pt x="1918" y="1144"/>
                    <a:pt x="1930" y="1191"/>
                  </a:cubicBezTo>
                  <a:cubicBezTo>
                    <a:pt x="1191" y="1608"/>
                    <a:pt x="703" y="2418"/>
                    <a:pt x="703" y="3322"/>
                  </a:cubicBezTo>
                  <a:cubicBezTo>
                    <a:pt x="703" y="3918"/>
                    <a:pt x="918" y="4501"/>
                    <a:pt x="1310" y="4942"/>
                  </a:cubicBezTo>
                  <a:cubicBezTo>
                    <a:pt x="1441" y="5370"/>
                    <a:pt x="1727" y="5739"/>
                    <a:pt x="2096" y="5989"/>
                  </a:cubicBezTo>
                  <a:lnTo>
                    <a:pt x="2096" y="6549"/>
                  </a:lnTo>
                  <a:cubicBezTo>
                    <a:pt x="2096" y="6620"/>
                    <a:pt x="2049" y="6680"/>
                    <a:pt x="1989" y="6716"/>
                  </a:cubicBezTo>
                  <a:lnTo>
                    <a:pt x="525" y="7371"/>
                  </a:lnTo>
                  <a:cubicBezTo>
                    <a:pt x="203" y="7501"/>
                    <a:pt x="1" y="7811"/>
                    <a:pt x="1" y="8156"/>
                  </a:cubicBezTo>
                  <a:lnTo>
                    <a:pt x="1" y="9276"/>
                  </a:lnTo>
                  <a:cubicBezTo>
                    <a:pt x="1" y="9359"/>
                    <a:pt x="72" y="9442"/>
                    <a:pt x="167" y="9442"/>
                  </a:cubicBezTo>
                  <a:cubicBezTo>
                    <a:pt x="251" y="9442"/>
                    <a:pt x="322" y="9359"/>
                    <a:pt x="322" y="9276"/>
                  </a:cubicBezTo>
                  <a:lnTo>
                    <a:pt x="322" y="8156"/>
                  </a:lnTo>
                  <a:cubicBezTo>
                    <a:pt x="322" y="7954"/>
                    <a:pt x="441" y="7752"/>
                    <a:pt x="656" y="7668"/>
                  </a:cubicBezTo>
                  <a:lnTo>
                    <a:pt x="1596" y="7251"/>
                  </a:lnTo>
                  <a:cubicBezTo>
                    <a:pt x="1894" y="7847"/>
                    <a:pt x="2489" y="8216"/>
                    <a:pt x="3156" y="8216"/>
                  </a:cubicBezTo>
                  <a:cubicBezTo>
                    <a:pt x="3823" y="8216"/>
                    <a:pt x="4418" y="7847"/>
                    <a:pt x="4716" y="7251"/>
                  </a:cubicBezTo>
                  <a:lnTo>
                    <a:pt x="5656" y="7668"/>
                  </a:lnTo>
                  <a:cubicBezTo>
                    <a:pt x="5847" y="7752"/>
                    <a:pt x="5978" y="7942"/>
                    <a:pt x="5978" y="8156"/>
                  </a:cubicBezTo>
                  <a:lnTo>
                    <a:pt x="5978" y="9276"/>
                  </a:lnTo>
                  <a:cubicBezTo>
                    <a:pt x="5978" y="9359"/>
                    <a:pt x="6061" y="9442"/>
                    <a:pt x="6144" y="9442"/>
                  </a:cubicBezTo>
                  <a:cubicBezTo>
                    <a:pt x="6240" y="9442"/>
                    <a:pt x="6311" y="9359"/>
                    <a:pt x="6311" y="9276"/>
                  </a:cubicBezTo>
                  <a:lnTo>
                    <a:pt x="6311" y="8156"/>
                  </a:lnTo>
                  <a:cubicBezTo>
                    <a:pt x="6287" y="7811"/>
                    <a:pt x="6073" y="7501"/>
                    <a:pt x="5763" y="7371"/>
                  </a:cubicBezTo>
                  <a:lnTo>
                    <a:pt x="4287" y="6716"/>
                  </a:lnTo>
                  <a:cubicBezTo>
                    <a:pt x="4216" y="6680"/>
                    <a:pt x="4180" y="6609"/>
                    <a:pt x="4180" y="6549"/>
                  </a:cubicBezTo>
                  <a:lnTo>
                    <a:pt x="4180" y="5989"/>
                  </a:lnTo>
                  <a:cubicBezTo>
                    <a:pt x="4549" y="5739"/>
                    <a:pt x="4835" y="5370"/>
                    <a:pt x="4966" y="4942"/>
                  </a:cubicBezTo>
                  <a:cubicBezTo>
                    <a:pt x="5359" y="4501"/>
                    <a:pt x="5585" y="3918"/>
                    <a:pt x="5585" y="3322"/>
                  </a:cubicBezTo>
                  <a:cubicBezTo>
                    <a:pt x="5585" y="2418"/>
                    <a:pt x="5073" y="1608"/>
                    <a:pt x="4347" y="1191"/>
                  </a:cubicBezTo>
                  <a:cubicBezTo>
                    <a:pt x="4358" y="1144"/>
                    <a:pt x="4358" y="1084"/>
                    <a:pt x="4358" y="1048"/>
                  </a:cubicBezTo>
                  <a:cubicBezTo>
                    <a:pt x="4358" y="465"/>
                    <a:pt x="3811" y="1"/>
                    <a:pt x="3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5" name="Google Shape;10745;p60"/>
            <p:cNvSpPr/>
            <p:nvPr/>
          </p:nvSpPr>
          <p:spPr>
            <a:xfrm>
              <a:off x="4919620" y="1820471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70"/>
                  </a:lnTo>
                  <a:cubicBezTo>
                    <a:pt x="0" y="953"/>
                    <a:pt x="72" y="1036"/>
                    <a:pt x="155" y="1036"/>
                  </a:cubicBezTo>
                  <a:cubicBezTo>
                    <a:pt x="250" y="1036"/>
                    <a:pt x="322" y="953"/>
                    <a:pt x="322" y="870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6" name="Google Shape;10746;p60"/>
            <p:cNvSpPr/>
            <p:nvPr/>
          </p:nvSpPr>
          <p:spPr>
            <a:xfrm>
              <a:off x="5031398" y="1820471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70"/>
                  </a:lnTo>
                  <a:cubicBezTo>
                    <a:pt x="0" y="953"/>
                    <a:pt x="72" y="1036"/>
                    <a:pt x="155" y="1036"/>
                  </a:cubicBezTo>
                  <a:cubicBezTo>
                    <a:pt x="250" y="1036"/>
                    <a:pt x="322" y="953"/>
                    <a:pt x="322" y="870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7" name="Google Shape;10747;p60"/>
            <p:cNvSpPr/>
            <p:nvPr/>
          </p:nvSpPr>
          <p:spPr>
            <a:xfrm>
              <a:off x="5070418" y="1552547"/>
              <a:ext cx="166394" cy="173969"/>
            </a:xfrm>
            <a:custGeom>
              <a:avLst/>
              <a:gdLst/>
              <a:ahLst/>
              <a:cxnLst/>
              <a:rect l="l" t="t" r="r" b="b"/>
              <a:pathLst>
                <a:path w="5228" h="5466" extrusionOk="0">
                  <a:moveTo>
                    <a:pt x="691" y="1"/>
                  </a:moveTo>
                  <a:cubicBezTo>
                    <a:pt x="298" y="1"/>
                    <a:pt x="1" y="310"/>
                    <a:pt x="1" y="679"/>
                  </a:cubicBezTo>
                  <a:lnTo>
                    <a:pt x="1" y="3501"/>
                  </a:lnTo>
                  <a:cubicBezTo>
                    <a:pt x="1" y="3882"/>
                    <a:pt x="322" y="4180"/>
                    <a:pt x="691" y="4180"/>
                  </a:cubicBezTo>
                  <a:lnTo>
                    <a:pt x="1001" y="4180"/>
                  </a:lnTo>
                  <a:lnTo>
                    <a:pt x="763" y="5144"/>
                  </a:lnTo>
                  <a:cubicBezTo>
                    <a:pt x="739" y="5251"/>
                    <a:pt x="775" y="5358"/>
                    <a:pt x="870" y="5418"/>
                  </a:cubicBezTo>
                  <a:cubicBezTo>
                    <a:pt x="918" y="5442"/>
                    <a:pt x="953" y="5466"/>
                    <a:pt x="1001" y="5466"/>
                  </a:cubicBezTo>
                  <a:cubicBezTo>
                    <a:pt x="1049" y="5466"/>
                    <a:pt x="1108" y="5442"/>
                    <a:pt x="1156" y="5418"/>
                  </a:cubicBezTo>
                  <a:lnTo>
                    <a:pt x="2846" y="4180"/>
                  </a:lnTo>
                  <a:lnTo>
                    <a:pt x="4549" y="4180"/>
                  </a:lnTo>
                  <a:cubicBezTo>
                    <a:pt x="4930" y="4180"/>
                    <a:pt x="5228" y="3870"/>
                    <a:pt x="5228" y="3501"/>
                  </a:cubicBezTo>
                  <a:lnTo>
                    <a:pt x="5228" y="679"/>
                  </a:lnTo>
                  <a:cubicBezTo>
                    <a:pt x="5228" y="310"/>
                    <a:pt x="4918" y="1"/>
                    <a:pt x="4549" y="1"/>
                  </a:cubicBezTo>
                  <a:cubicBezTo>
                    <a:pt x="4454" y="1"/>
                    <a:pt x="4382" y="72"/>
                    <a:pt x="4382" y="167"/>
                  </a:cubicBezTo>
                  <a:cubicBezTo>
                    <a:pt x="4382" y="251"/>
                    <a:pt x="4454" y="322"/>
                    <a:pt x="4549" y="322"/>
                  </a:cubicBezTo>
                  <a:cubicBezTo>
                    <a:pt x="4739" y="322"/>
                    <a:pt x="4906" y="489"/>
                    <a:pt x="4906" y="679"/>
                  </a:cubicBezTo>
                  <a:lnTo>
                    <a:pt x="4906" y="3489"/>
                  </a:lnTo>
                  <a:cubicBezTo>
                    <a:pt x="4906" y="3692"/>
                    <a:pt x="4739" y="3846"/>
                    <a:pt x="4549" y="3846"/>
                  </a:cubicBezTo>
                  <a:lnTo>
                    <a:pt x="2787" y="3846"/>
                  </a:lnTo>
                  <a:cubicBezTo>
                    <a:pt x="2763" y="3846"/>
                    <a:pt x="2715" y="3870"/>
                    <a:pt x="2704" y="3882"/>
                  </a:cubicBezTo>
                  <a:lnTo>
                    <a:pt x="1132" y="5013"/>
                  </a:lnTo>
                  <a:lnTo>
                    <a:pt x="1370" y="4049"/>
                  </a:lnTo>
                  <a:cubicBezTo>
                    <a:pt x="1394" y="4001"/>
                    <a:pt x="1370" y="3942"/>
                    <a:pt x="1346" y="3918"/>
                  </a:cubicBezTo>
                  <a:cubicBezTo>
                    <a:pt x="1310" y="3870"/>
                    <a:pt x="1275" y="3858"/>
                    <a:pt x="1215" y="3858"/>
                  </a:cubicBezTo>
                  <a:lnTo>
                    <a:pt x="691" y="3858"/>
                  </a:lnTo>
                  <a:cubicBezTo>
                    <a:pt x="501" y="3858"/>
                    <a:pt x="334" y="3692"/>
                    <a:pt x="334" y="3501"/>
                  </a:cubicBezTo>
                  <a:lnTo>
                    <a:pt x="334" y="679"/>
                  </a:lnTo>
                  <a:cubicBezTo>
                    <a:pt x="334" y="489"/>
                    <a:pt x="489" y="322"/>
                    <a:pt x="691" y="322"/>
                  </a:cubicBezTo>
                  <a:cubicBezTo>
                    <a:pt x="775" y="322"/>
                    <a:pt x="846" y="251"/>
                    <a:pt x="846" y="167"/>
                  </a:cubicBezTo>
                  <a:cubicBezTo>
                    <a:pt x="846" y="72"/>
                    <a:pt x="775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48" name="Google Shape;10748;p60"/>
          <p:cNvGrpSpPr/>
          <p:nvPr/>
        </p:nvGrpSpPr>
        <p:grpSpPr>
          <a:xfrm>
            <a:off x="5771483" y="1515787"/>
            <a:ext cx="357359" cy="357391"/>
            <a:chOff x="5771483" y="1515787"/>
            <a:chExt cx="357359" cy="357391"/>
          </a:xfrm>
        </p:grpSpPr>
        <p:sp>
          <p:nvSpPr>
            <p:cNvPr id="10749" name="Google Shape;10749;p60"/>
            <p:cNvSpPr/>
            <p:nvPr/>
          </p:nvSpPr>
          <p:spPr>
            <a:xfrm>
              <a:off x="5771483" y="1515787"/>
              <a:ext cx="357359" cy="357391"/>
            </a:xfrm>
            <a:custGeom>
              <a:avLst/>
              <a:gdLst/>
              <a:ahLst/>
              <a:cxnLst/>
              <a:rect l="l" t="t" r="r" b="b"/>
              <a:pathLst>
                <a:path w="11228" h="11229" extrusionOk="0">
                  <a:moveTo>
                    <a:pt x="6334" y="346"/>
                  </a:moveTo>
                  <a:cubicBezTo>
                    <a:pt x="6334" y="346"/>
                    <a:pt x="6346" y="346"/>
                    <a:pt x="6346" y="358"/>
                  </a:cubicBezTo>
                  <a:lnTo>
                    <a:pt x="6346" y="822"/>
                  </a:lnTo>
                  <a:cubicBezTo>
                    <a:pt x="6346" y="989"/>
                    <a:pt x="6454" y="1120"/>
                    <a:pt x="6608" y="1156"/>
                  </a:cubicBezTo>
                  <a:cubicBezTo>
                    <a:pt x="7132" y="1275"/>
                    <a:pt x="7644" y="1477"/>
                    <a:pt x="8097" y="1763"/>
                  </a:cubicBezTo>
                  <a:cubicBezTo>
                    <a:pt x="8157" y="1798"/>
                    <a:pt x="8225" y="1817"/>
                    <a:pt x="8290" y="1817"/>
                  </a:cubicBezTo>
                  <a:cubicBezTo>
                    <a:pt x="8377" y="1817"/>
                    <a:pt x="8459" y="1784"/>
                    <a:pt x="8513" y="1715"/>
                  </a:cubicBezTo>
                  <a:lnTo>
                    <a:pt x="8847" y="1394"/>
                  </a:lnTo>
                  <a:lnTo>
                    <a:pt x="8859" y="1394"/>
                  </a:lnTo>
                  <a:lnTo>
                    <a:pt x="9859" y="2382"/>
                  </a:lnTo>
                  <a:lnTo>
                    <a:pt x="9859" y="2406"/>
                  </a:lnTo>
                  <a:lnTo>
                    <a:pt x="9525" y="2727"/>
                  </a:lnTo>
                  <a:cubicBezTo>
                    <a:pt x="9406" y="2846"/>
                    <a:pt x="9394" y="3013"/>
                    <a:pt x="9490" y="3144"/>
                  </a:cubicBezTo>
                  <a:cubicBezTo>
                    <a:pt x="9787" y="3608"/>
                    <a:pt x="9978" y="4097"/>
                    <a:pt x="10097" y="4632"/>
                  </a:cubicBezTo>
                  <a:cubicBezTo>
                    <a:pt x="10121" y="4799"/>
                    <a:pt x="10264" y="4906"/>
                    <a:pt x="10418" y="4906"/>
                  </a:cubicBezTo>
                  <a:lnTo>
                    <a:pt x="10883" y="4906"/>
                  </a:lnTo>
                  <a:cubicBezTo>
                    <a:pt x="10883" y="4906"/>
                    <a:pt x="10895" y="4906"/>
                    <a:pt x="10895" y="4918"/>
                  </a:cubicBezTo>
                  <a:lnTo>
                    <a:pt x="10883" y="6335"/>
                  </a:lnTo>
                  <a:lnTo>
                    <a:pt x="10418" y="6335"/>
                  </a:lnTo>
                  <a:cubicBezTo>
                    <a:pt x="10264" y="6335"/>
                    <a:pt x="10121" y="6430"/>
                    <a:pt x="10097" y="6597"/>
                  </a:cubicBezTo>
                  <a:cubicBezTo>
                    <a:pt x="9978" y="7121"/>
                    <a:pt x="9763" y="7621"/>
                    <a:pt x="9490" y="8085"/>
                  </a:cubicBezTo>
                  <a:cubicBezTo>
                    <a:pt x="9394" y="8216"/>
                    <a:pt x="9406" y="8407"/>
                    <a:pt x="9525" y="8502"/>
                  </a:cubicBezTo>
                  <a:lnTo>
                    <a:pt x="9859" y="8835"/>
                  </a:lnTo>
                  <a:lnTo>
                    <a:pt x="9859" y="8847"/>
                  </a:lnTo>
                  <a:lnTo>
                    <a:pt x="8859" y="9847"/>
                  </a:lnTo>
                  <a:lnTo>
                    <a:pt x="8847" y="9847"/>
                  </a:lnTo>
                  <a:lnTo>
                    <a:pt x="8513" y="9514"/>
                  </a:lnTo>
                  <a:cubicBezTo>
                    <a:pt x="8447" y="9448"/>
                    <a:pt x="8370" y="9415"/>
                    <a:pt x="8290" y="9415"/>
                  </a:cubicBezTo>
                  <a:cubicBezTo>
                    <a:pt x="8226" y="9415"/>
                    <a:pt x="8160" y="9436"/>
                    <a:pt x="8097" y="9478"/>
                  </a:cubicBezTo>
                  <a:cubicBezTo>
                    <a:pt x="7644" y="9776"/>
                    <a:pt x="7144" y="9966"/>
                    <a:pt x="6608" y="10085"/>
                  </a:cubicBezTo>
                  <a:cubicBezTo>
                    <a:pt x="6454" y="10109"/>
                    <a:pt x="6346" y="10252"/>
                    <a:pt x="6346" y="10407"/>
                  </a:cubicBezTo>
                  <a:lnTo>
                    <a:pt x="6346" y="10871"/>
                  </a:lnTo>
                  <a:cubicBezTo>
                    <a:pt x="6346" y="10871"/>
                    <a:pt x="6346" y="10883"/>
                    <a:pt x="6334" y="10883"/>
                  </a:cubicBezTo>
                  <a:lnTo>
                    <a:pt x="4930" y="10883"/>
                  </a:lnTo>
                  <a:cubicBezTo>
                    <a:pt x="4930" y="10883"/>
                    <a:pt x="4918" y="10883"/>
                    <a:pt x="4918" y="10871"/>
                  </a:cubicBezTo>
                  <a:lnTo>
                    <a:pt x="4918" y="10407"/>
                  </a:lnTo>
                  <a:cubicBezTo>
                    <a:pt x="4918" y="10252"/>
                    <a:pt x="4810" y="10109"/>
                    <a:pt x="4644" y="10085"/>
                  </a:cubicBezTo>
                  <a:cubicBezTo>
                    <a:pt x="4132" y="9966"/>
                    <a:pt x="3620" y="9752"/>
                    <a:pt x="3156" y="9478"/>
                  </a:cubicBezTo>
                  <a:cubicBezTo>
                    <a:pt x="3096" y="9442"/>
                    <a:pt x="3036" y="9419"/>
                    <a:pt x="2977" y="9419"/>
                  </a:cubicBezTo>
                  <a:cubicBezTo>
                    <a:pt x="2894" y="9419"/>
                    <a:pt x="2798" y="9442"/>
                    <a:pt x="2739" y="9514"/>
                  </a:cubicBezTo>
                  <a:lnTo>
                    <a:pt x="2417" y="9847"/>
                  </a:lnTo>
                  <a:lnTo>
                    <a:pt x="2405" y="9847"/>
                  </a:lnTo>
                  <a:lnTo>
                    <a:pt x="1405" y="8847"/>
                  </a:lnTo>
                  <a:lnTo>
                    <a:pt x="1405" y="8835"/>
                  </a:lnTo>
                  <a:lnTo>
                    <a:pt x="1727" y="8502"/>
                  </a:lnTo>
                  <a:cubicBezTo>
                    <a:pt x="1846" y="8383"/>
                    <a:pt x="1870" y="8228"/>
                    <a:pt x="1774" y="8085"/>
                  </a:cubicBezTo>
                  <a:cubicBezTo>
                    <a:pt x="1477" y="7621"/>
                    <a:pt x="1286" y="7133"/>
                    <a:pt x="1167" y="6597"/>
                  </a:cubicBezTo>
                  <a:cubicBezTo>
                    <a:pt x="1131" y="6430"/>
                    <a:pt x="1000" y="6335"/>
                    <a:pt x="834" y="6335"/>
                  </a:cubicBezTo>
                  <a:lnTo>
                    <a:pt x="381" y="6335"/>
                  </a:lnTo>
                  <a:cubicBezTo>
                    <a:pt x="381" y="6335"/>
                    <a:pt x="358" y="6335"/>
                    <a:pt x="358" y="6311"/>
                  </a:cubicBezTo>
                  <a:lnTo>
                    <a:pt x="358" y="4918"/>
                  </a:lnTo>
                  <a:cubicBezTo>
                    <a:pt x="358" y="4918"/>
                    <a:pt x="358" y="4906"/>
                    <a:pt x="381" y="4906"/>
                  </a:cubicBezTo>
                  <a:lnTo>
                    <a:pt x="834" y="4906"/>
                  </a:lnTo>
                  <a:cubicBezTo>
                    <a:pt x="1000" y="4906"/>
                    <a:pt x="1131" y="4799"/>
                    <a:pt x="1167" y="4632"/>
                  </a:cubicBezTo>
                  <a:cubicBezTo>
                    <a:pt x="1286" y="4108"/>
                    <a:pt x="1489" y="3608"/>
                    <a:pt x="1774" y="3144"/>
                  </a:cubicBezTo>
                  <a:cubicBezTo>
                    <a:pt x="1870" y="3013"/>
                    <a:pt x="1846" y="2834"/>
                    <a:pt x="1727" y="2727"/>
                  </a:cubicBezTo>
                  <a:lnTo>
                    <a:pt x="1405" y="2406"/>
                  </a:lnTo>
                  <a:lnTo>
                    <a:pt x="1405" y="2382"/>
                  </a:lnTo>
                  <a:lnTo>
                    <a:pt x="2405" y="1394"/>
                  </a:lnTo>
                  <a:lnTo>
                    <a:pt x="2417" y="1394"/>
                  </a:lnTo>
                  <a:lnTo>
                    <a:pt x="2739" y="1715"/>
                  </a:lnTo>
                  <a:cubicBezTo>
                    <a:pt x="2807" y="1784"/>
                    <a:pt x="2891" y="1817"/>
                    <a:pt x="2975" y="1817"/>
                  </a:cubicBezTo>
                  <a:cubicBezTo>
                    <a:pt x="3037" y="1817"/>
                    <a:pt x="3100" y="1798"/>
                    <a:pt x="3156" y="1763"/>
                  </a:cubicBezTo>
                  <a:cubicBezTo>
                    <a:pt x="3620" y="1465"/>
                    <a:pt x="4108" y="1275"/>
                    <a:pt x="4644" y="1156"/>
                  </a:cubicBezTo>
                  <a:cubicBezTo>
                    <a:pt x="4810" y="1120"/>
                    <a:pt x="4918" y="989"/>
                    <a:pt x="4918" y="822"/>
                  </a:cubicBezTo>
                  <a:lnTo>
                    <a:pt x="4918" y="358"/>
                  </a:lnTo>
                  <a:cubicBezTo>
                    <a:pt x="4918" y="358"/>
                    <a:pt x="4918" y="346"/>
                    <a:pt x="4930" y="346"/>
                  </a:cubicBezTo>
                  <a:close/>
                  <a:moveTo>
                    <a:pt x="4918" y="1"/>
                  </a:moveTo>
                  <a:cubicBezTo>
                    <a:pt x="4727" y="1"/>
                    <a:pt x="4572" y="156"/>
                    <a:pt x="4572" y="346"/>
                  </a:cubicBezTo>
                  <a:lnTo>
                    <a:pt x="4572" y="810"/>
                  </a:lnTo>
                  <a:cubicBezTo>
                    <a:pt x="4572" y="810"/>
                    <a:pt x="4572" y="822"/>
                    <a:pt x="4560" y="822"/>
                  </a:cubicBezTo>
                  <a:cubicBezTo>
                    <a:pt x="3989" y="941"/>
                    <a:pt x="3453" y="1168"/>
                    <a:pt x="2965" y="1477"/>
                  </a:cubicBezTo>
                  <a:lnTo>
                    <a:pt x="2953" y="1477"/>
                  </a:lnTo>
                  <a:lnTo>
                    <a:pt x="2620" y="1156"/>
                  </a:lnTo>
                  <a:cubicBezTo>
                    <a:pt x="2554" y="1090"/>
                    <a:pt x="2471" y="1057"/>
                    <a:pt x="2386" y="1057"/>
                  </a:cubicBezTo>
                  <a:cubicBezTo>
                    <a:pt x="2301" y="1057"/>
                    <a:pt x="2215" y="1090"/>
                    <a:pt x="2143" y="1156"/>
                  </a:cubicBezTo>
                  <a:lnTo>
                    <a:pt x="1155" y="2144"/>
                  </a:lnTo>
                  <a:cubicBezTo>
                    <a:pt x="1012" y="2287"/>
                    <a:pt x="1012" y="2489"/>
                    <a:pt x="1155" y="2620"/>
                  </a:cubicBezTo>
                  <a:lnTo>
                    <a:pt x="1477" y="2954"/>
                  </a:lnTo>
                  <a:lnTo>
                    <a:pt x="1477" y="2965"/>
                  </a:lnTo>
                  <a:cubicBezTo>
                    <a:pt x="1167" y="3454"/>
                    <a:pt x="941" y="3989"/>
                    <a:pt x="822" y="4561"/>
                  </a:cubicBezTo>
                  <a:cubicBezTo>
                    <a:pt x="822" y="4561"/>
                    <a:pt x="822" y="4573"/>
                    <a:pt x="810" y="4573"/>
                  </a:cubicBezTo>
                  <a:lnTo>
                    <a:pt x="346" y="4573"/>
                  </a:lnTo>
                  <a:cubicBezTo>
                    <a:pt x="155" y="4573"/>
                    <a:pt x="0" y="4728"/>
                    <a:pt x="0" y="4918"/>
                  </a:cubicBezTo>
                  <a:lnTo>
                    <a:pt x="0" y="6311"/>
                  </a:lnTo>
                  <a:cubicBezTo>
                    <a:pt x="0" y="6513"/>
                    <a:pt x="155" y="6656"/>
                    <a:pt x="346" y="6656"/>
                  </a:cubicBezTo>
                  <a:lnTo>
                    <a:pt x="810" y="6656"/>
                  </a:lnTo>
                  <a:cubicBezTo>
                    <a:pt x="810" y="6656"/>
                    <a:pt x="822" y="6656"/>
                    <a:pt x="822" y="6680"/>
                  </a:cubicBezTo>
                  <a:cubicBezTo>
                    <a:pt x="941" y="7240"/>
                    <a:pt x="1167" y="7776"/>
                    <a:pt x="1477" y="8264"/>
                  </a:cubicBezTo>
                  <a:lnTo>
                    <a:pt x="1477" y="8288"/>
                  </a:lnTo>
                  <a:lnTo>
                    <a:pt x="1155" y="8609"/>
                  </a:lnTo>
                  <a:cubicBezTo>
                    <a:pt x="1012" y="8740"/>
                    <a:pt x="1012" y="8954"/>
                    <a:pt x="1155" y="9085"/>
                  </a:cubicBezTo>
                  <a:lnTo>
                    <a:pt x="2143" y="10085"/>
                  </a:lnTo>
                  <a:cubicBezTo>
                    <a:pt x="2215" y="10151"/>
                    <a:pt x="2301" y="10184"/>
                    <a:pt x="2386" y="10184"/>
                  </a:cubicBezTo>
                  <a:cubicBezTo>
                    <a:pt x="2471" y="10184"/>
                    <a:pt x="2554" y="10151"/>
                    <a:pt x="2620" y="10085"/>
                  </a:cubicBezTo>
                  <a:lnTo>
                    <a:pt x="2953" y="9752"/>
                  </a:lnTo>
                  <a:lnTo>
                    <a:pt x="2965" y="9752"/>
                  </a:lnTo>
                  <a:cubicBezTo>
                    <a:pt x="3453" y="10073"/>
                    <a:pt x="3989" y="10288"/>
                    <a:pt x="4560" y="10407"/>
                  </a:cubicBezTo>
                  <a:cubicBezTo>
                    <a:pt x="4560" y="10407"/>
                    <a:pt x="4572" y="10407"/>
                    <a:pt x="4572" y="10431"/>
                  </a:cubicBezTo>
                  <a:lnTo>
                    <a:pt x="4572" y="10883"/>
                  </a:lnTo>
                  <a:cubicBezTo>
                    <a:pt x="4572" y="11085"/>
                    <a:pt x="4727" y="11228"/>
                    <a:pt x="4918" y="11228"/>
                  </a:cubicBezTo>
                  <a:lnTo>
                    <a:pt x="6311" y="11228"/>
                  </a:lnTo>
                  <a:cubicBezTo>
                    <a:pt x="6513" y="11228"/>
                    <a:pt x="6656" y="11085"/>
                    <a:pt x="6656" y="10883"/>
                  </a:cubicBezTo>
                  <a:lnTo>
                    <a:pt x="6656" y="10431"/>
                  </a:lnTo>
                  <a:cubicBezTo>
                    <a:pt x="6656" y="10431"/>
                    <a:pt x="6656" y="10407"/>
                    <a:pt x="6668" y="10407"/>
                  </a:cubicBezTo>
                  <a:cubicBezTo>
                    <a:pt x="7239" y="10288"/>
                    <a:pt x="7775" y="10062"/>
                    <a:pt x="8263" y="9752"/>
                  </a:cubicBezTo>
                  <a:lnTo>
                    <a:pt x="8275" y="9752"/>
                  </a:lnTo>
                  <a:lnTo>
                    <a:pt x="8609" y="10085"/>
                  </a:lnTo>
                  <a:cubicBezTo>
                    <a:pt x="8674" y="10151"/>
                    <a:pt x="8760" y="10184"/>
                    <a:pt x="8847" y="10184"/>
                  </a:cubicBezTo>
                  <a:cubicBezTo>
                    <a:pt x="8933" y="10184"/>
                    <a:pt x="9019" y="10151"/>
                    <a:pt x="9085" y="10085"/>
                  </a:cubicBezTo>
                  <a:lnTo>
                    <a:pt x="10085" y="9085"/>
                  </a:lnTo>
                  <a:cubicBezTo>
                    <a:pt x="10216" y="8954"/>
                    <a:pt x="10216" y="8740"/>
                    <a:pt x="10085" y="8609"/>
                  </a:cubicBezTo>
                  <a:lnTo>
                    <a:pt x="9752" y="8288"/>
                  </a:lnTo>
                  <a:lnTo>
                    <a:pt x="9752" y="8264"/>
                  </a:lnTo>
                  <a:cubicBezTo>
                    <a:pt x="10061" y="7776"/>
                    <a:pt x="10287" y="7240"/>
                    <a:pt x="10406" y="6680"/>
                  </a:cubicBezTo>
                  <a:cubicBezTo>
                    <a:pt x="10406" y="6680"/>
                    <a:pt x="10406" y="6656"/>
                    <a:pt x="10418" y="6656"/>
                  </a:cubicBezTo>
                  <a:lnTo>
                    <a:pt x="10883" y="6656"/>
                  </a:lnTo>
                  <a:cubicBezTo>
                    <a:pt x="11073" y="6656"/>
                    <a:pt x="11228" y="6513"/>
                    <a:pt x="11228" y="6311"/>
                  </a:cubicBezTo>
                  <a:lnTo>
                    <a:pt x="11228" y="4918"/>
                  </a:lnTo>
                  <a:cubicBezTo>
                    <a:pt x="11228" y="4728"/>
                    <a:pt x="11073" y="4573"/>
                    <a:pt x="10883" y="4573"/>
                  </a:cubicBezTo>
                  <a:lnTo>
                    <a:pt x="10418" y="4573"/>
                  </a:lnTo>
                  <a:cubicBezTo>
                    <a:pt x="10418" y="4573"/>
                    <a:pt x="10406" y="4573"/>
                    <a:pt x="10406" y="4561"/>
                  </a:cubicBezTo>
                  <a:cubicBezTo>
                    <a:pt x="10287" y="3989"/>
                    <a:pt x="10061" y="3454"/>
                    <a:pt x="9752" y="2965"/>
                  </a:cubicBezTo>
                  <a:lnTo>
                    <a:pt x="9752" y="2954"/>
                  </a:lnTo>
                  <a:lnTo>
                    <a:pt x="10085" y="2620"/>
                  </a:lnTo>
                  <a:cubicBezTo>
                    <a:pt x="10216" y="2489"/>
                    <a:pt x="10216" y="2287"/>
                    <a:pt x="10085" y="2144"/>
                  </a:cubicBezTo>
                  <a:lnTo>
                    <a:pt x="9085" y="1156"/>
                  </a:lnTo>
                  <a:cubicBezTo>
                    <a:pt x="9019" y="1090"/>
                    <a:pt x="8933" y="1057"/>
                    <a:pt x="8847" y="1057"/>
                  </a:cubicBezTo>
                  <a:cubicBezTo>
                    <a:pt x="8760" y="1057"/>
                    <a:pt x="8674" y="1090"/>
                    <a:pt x="8609" y="1156"/>
                  </a:cubicBezTo>
                  <a:lnTo>
                    <a:pt x="8275" y="1477"/>
                  </a:lnTo>
                  <a:lnTo>
                    <a:pt x="8263" y="1477"/>
                  </a:lnTo>
                  <a:cubicBezTo>
                    <a:pt x="7775" y="1168"/>
                    <a:pt x="7239" y="941"/>
                    <a:pt x="6668" y="822"/>
                  </a:cubicBezTo>
                  <a:cubicBezTo>
                    <a:pt x="6668" y="822"/>
                    <a:pt x="6656" y="822"/>
                    <a:pt x="6656" y="810"/>
                  </a:cubicBezTo>
                  <a:lnTo>
                    <a:pt x="6656" y="346"/>
                  </a:lnTo>
                  <a:cubicBezTo>
                    <a:pt x="6656" y="156"/>
                    <a:pt x="6513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0" name="Google Shape;10750;p60"/>
            <p:cNvSpPr/>
            <p:nvPr/>
          </p:nvSpPr>
          <p:spPr>
            <a:xfrm>
              <a:off x="5837429" y="1583070"/>
              <a:ext cx="185713" cy="183613"/>
            </a:xfrm>
            <a:custGeom>
              <a:avLst/>
              <a:gdLst/>
              <a:ahLst/>
              <a:cxnLst/>
              <a:rect l="l" t="t" r="r" b="b"/>
              <a:pathLst>
                <a:path w="5835" h="5769" extrusionOk="0">
                  <a:moveTo>
                    <a:pt x="3566" y="1"/>
                  </a:moveTo>
                  <a:cubicBezTo>
                    <a:pt x="3505" y="1"/>
                    <a:pt x="3443" y="3"/>
                    <a:pt x="3381" y="6"/>
                  </a:cubicBezTo>
                  <a:cubicBezTo>
                    <a:pt x="2512" y="54"/>
                    <a:pt x="1703" y="411"/>
                    <a:pt x="1072" y="1030"/>
                  </a:cubicBezTo>
                  <a:cubicBezTo>
                    <a:pt x="464" y="1649"/>
                    <a:pt x="95" y="2459"/>
                    <a:pt x="48" y="3340"/>
                  </a:cubicBezTo>
                  <a:cubicBezTo>
                    <a:pt x="0" y="4209"/>
                    <a:pt x="286" y="5054"/>
                    <a:pt x="822" y="5709"/>
                  </a:cubicBezTo>
                  <a:cubicBezTo>
                    <a:pt x="845" y="5757"/>
                    <a:pt x="893" y="5769"/>
                    <a:pt x="953" y="5769"/>
                  </a:cubicBezTo>
                  <a:cubicBezTo>
                    <a:pt x="988" y="5769"/>
                    <a:pt x="1024" y="5745"/>
                    <a:pt x="1060" y="5733"/>
                  </a:cubicBezTo>
                  <a:cubicBezTo>
                    <a:pt x="1131" y="5673"/>
                    <a:pt x="1131" y="5566"/>
                    <a:pt x="1084" y="5495"/>
                  </a:cubicBezTo>
                  <a:cubicBezTo>
                    <a:pt x="595" y="4888"/>
                    <a:pt x="345" y="4126"/>
                    <a:pt x="393" y="3352"/>
                  </a:cubicBezTo>
                  <a:cubicBezTo>
                    <a:pt x="429" y="2566"/>
                    <a:pt x="762" y="1816"/>
                    <a:pt x="1310" y="1268"/>
                  </a:cubicBezTo>
                  <a:cubicBezTo>
                    <a:pt x="1857" y="720"/>
                    <a:pt x="2608" y="399"/>
                    <a:pt x="3393" y="351"/>
                  </a:cubicBezTo>
                  <a:cubicBezTo>
                    <a:pt x="3456" y="348"/>
                    <a:pt x="3518" y="346"/>
                    <a:pt x="3580" y="346"/>
                  </a:cubicBezTo>
                  <a:cubicBezTo>
                    <a:pt x="4291" y="346"/>
                    <a:pt x="4989" y="593"/>
                    <a:pt x="5536" y="1042"/>
                  </a:cubicBezTo>
                  <a:cubicBezTo>
                    <a:pt x="5567" y="1068"/>
                    <a:pt x="5605" y="1080"/>
                    <a:pt x="5642" y="1080"/>
                  </a:cubicBezTo>
                  <a:cubicBezTo>
                    <a:pt x="5692" y="1080"/>
                    <a:pt x="5741" y="1059"/>
                    <a:pt x="5775" y="1018"/>
                  </a:cubicBezTo>
                  <a:cubicBezTo>
                    <a:pt x="5834" y="947"/>
                    <a:pt x="5822" y="840"/>
                    <a:pt x="5751" y="780"/>
                  </a:cubicBezTo>
                  <a:cubicBezTo>
                    <a:pt x="5121" y="283"/>
                    <a:pt x="4358" y="1"/>
                    <a:pt x="35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1" name="Google Shape;10751;p60"/>
            <p:cNvSpPr/>
            <p:nvPr/>
          </p:nvSpPr>
          <p:spPr>
            <a:xfrm>
              <a:off x="5876068" y="1616584"/>
              <a:ext cx="186859" cy="189501"/>
            </a:xfrm>
            <a:custGeom>
              <a:avLst/>
              <a:gdLst/>
              <a:ahLst/>
              <a:cxnLst/>
              <a:rect l="l" t="t" r="r" b="b"/>
              <a:pathLst>
                <a:path w="5871" h="5954" extrusionOk="0">
                  <a:moveTo>
                    <a:pt x="3406" y="322"/>
                  </a:moveTo>
                  <a:lnTo>
                    <a:pt x="3406" y="1013"/>
                  </a:lnTo>
                  <a:cubicBezTo>
                    <a:pt x="3406" y="1108"/>
                    <a:pt x="3370" y="1227"/>
                    <a:pt x="3322" y="1322"/>
                  </a:cubicBezTo>
                  <a:lnTo>
                    <a:pt x="3239" y="1489"/>
                  </a:lnTo>
                  <a:cubicBezTo>
                    <a:pt x="3227" y="1513"/>
                    <a:pt x="3227" y="1525"/>
                    <a:pt x="3227" y="1561"/>
                  </a:cubicBezTo>
                  <a:lnTo>
                    <a:pt x="3227" y="1918"/>
                  </a:lnTo>
                  <a:cubicBezTo>
                    <a:pt x="3227" y="2156"/>
                    <a:pt x="3132" y="2382"/>
                    <a:pt x="2953" y="2561"/>
                  </a:cubicBezTo>
                  <a:cubicBezTo>
                    <a:pt x="2775" y="2715"/>
                    <a:pt x="2548" y="2811"/>
                    <a:pt x="2310" y="2811"/>
                  </a:cubicBezTo>
                  <a:cubicBezTo>
                    <a:pt x="1834" y="2799"/>
                    <a:pt x="1453" y="2370"/>
                    <a:pt x="1453" y="1882"/>
                  </a:cubicBezTo>
                  <a:lnTo>
                    <a:pt x="1453" y="1572"/>
                  </a:lnTo>
                  <a:cubicBezTo>
                    <a:pt x="1453" y="1549"/>
                    <a:pt x="1453" y="1525"/>
                    <a:pt x="1441" y="1501"/>
                  </a:cubicBezTo>
                  <a:lnTo>
                    <a:pt x="1334" y="1287"/>
                  </a:lnTo>
                  <a:cubicBezTo>
                    <a:pt x="1298" y="1215"/>
                    <a:pt x="1274" y="1132"/>
                    <a:pt x="1274" y="1049"/>
                  </a:cubicBezTo>
                  <a:lnTo>
                    <a:pt x="1274" y="1037"/>
                  </a:lnTo>
                  <a:cubicBezTo>
                    <a:pt x="1274" y="644"/>
                    <a:pt x="1584" y="322"/>
                    <a:pt x="1989" y="322"/>
                  </a:cubicBezTo>
                  <a:close/>
                  <a:moveTo>
                    <a:pt x="1989" y="3073"/>
                  </a:moveTo>
                  <a:cubicBezTo>
                    <a:pt x="2084" y="3108"/>
                    <a:pt x="2191" y="3132"/>
                    <a:pt x="2310" y="3132"/>
                  </a:cubicBezTo>
                  <a:lnTo>
                    <a:pt x="2358" y="3132"/>
                  </a:lnTo>
                  <a:cubicBezTo>
                    <a:pt x="2477" y="3132"/>
                    <a:pt x="2608" y="3120"/>
                    <a:pt x="2715" y="3073"/>
                  </a:cubicBezTo>
                  <a:lnTo>
                    <a:pt x="2715" y="3073"/>
                  </a:lnTo>
                  <a:cubicBezTo>
                    <a:pt x="2703" y="3132"/>
                    <a:pt x="2715" y="3180"/>
                    <a:pt x="2727" y="3227"/>
                  </a:cubicBezTo>
                  <a:lnTo>
                    <a:pt x="2596" y="3358"/>
                  </a:lnTo>
                  <a:cubicBezTo>
                    <a:pt x="2525" y="3430"/>
                    <a:pt x="2429" y="3466"/>
                    <a:pt x="2346" y="3466"/>
                  </a:cubicBezTo>
                  <a:cubicBezTo>
                    <a:pt x="2251" y="3466"/>
                    <a:pt x="2144" y="3418"/>
                    <a:pt x="2084" y="3358"/>
                  </a:cubicBezTo>
                  <a:lnTo>
                    <a:pt x="1953" y="3227"/>
                  </a:lnTo>
                  <a:cubicBezTo>
                    <a:pt x="1965" y="3180"/>
                    <a:pt x="1989" y="3120"/>
                    <a:pt x="1989" y="3073"/>
                  </a:cubicBezTo>
                  <a:close/>
                  <a:moveTo>
                    <a:pt x="2953" y="3489"/>
                  </a:moveTo>
                  <a:cubicBezTo>
                    <a:pt x="3001" y="3525"/>
                    <a:pt x="3048" y="3537"/>
                    <a:pt x="3108" y="3549"/>
                  </a:cubicBezTo>
                  <a:lnTo>
                    <a:pt x="3703" y="3716"/>
                  </a:lnTo>
                  <a:cubicBezTo>
                    <a:pt x="3846" y="3763"/>
                    <a:pt x="3965" y="3906"/>
                    <a:pt x="3965" y="4061"/>
                  </a:cubicBezTo>
                  <a:lnTo>
                    <a:pt x="3965" y="5192"/>
                  </a:lnTo>
                  <a:lnTo>
                    <a:pt x="3941" y="5192"/>
                  </a:lnTo>
                  <a:cubicBezTo>
                    <a:pt x="3822" y="5263"/>
                    <a:pt x="3703" y="5323"/>
                    <a:pt x="3560" y="5371"/>
                  </a:cubicBezTo>
                  <a:lnTo>
                    <a:pt x="3560" y="4370"/>
                  </a:lnTo>
                  <a:cubicBezTo>
                    <a:pt x="3560" y="4287"/>
                    <a:pt x="3489" y="4204"/>
                    <a:pt x="3406" y="4204"/>
                  </a:cubicBezTo>
                  <a:cubicBezTo>
                    <a:pt x="3310" y="4204"/>
                    <a:pt x="3239" y="4287"/>
                    <a:pt x="3239" y="4370"/>
                  </a:cubicBezTo>
                  <a:lnTo>
                    <a:pt x="3239" y="5490"/>
                  </a:lnTo>
                  <a:cubicBezTo>
                    <a:pt x="3001" y="5561"/>
                    <a:pt x="2763" y="5597"/>
                    <a:pt x="2513" y="5609"/>
                  </a:cubicBezTo>
                  <a:lnTo>
                    <a:pt x="2346" y="5609"/>
                  </a:lnTo>
                  <a:cubicBezTo>
                    <a:pt x="2048" y="5609"/>
                    <a:pt x="1751" y="5561"/>
                    <a:pt x="1453" y="5478"/>
                  </a:cubicBezTo>
                  <a:lnTo>
                    <a:pt x="1453" y="4359"/>
                  </a:lnTo>
                  <a:cubicBezTo>
                    <a:pt x="1453" y="4263"/>
                    <a:pt x="1382" y="4192"/>
                    <a:pt x="1286" y="4192"/>
                  </a:cubicBezTo>
                  <a:cubicBezTo>
                    <a:pt x="1203" y="4192"/>
                    <a:pt x="1120" y="4263"/>
                    <a:pt x="1120" y="4359"/>
                  </a:cubicBezTo>
                  <a:lnTo>
                    <a:pt x="1120" y="5359"/>
                  </a:lnTo>
                  <a:cubicBezTo>
                    <a:pt x="989" y="5299"/>
                    <a:pt x="870" y="5240"/>
                    <a:pt x="751" y="5180"/>
                  </a:cubicBezTo>
                  <a:lnTo>
                    <a:pt x="751" y="4061"/>
                  </a:lnTo>
                  <a:cubicBezTo>
                    <a:pt x="751" y="3894"/>
                    <a:pt x="858" y="3763"/>
                    <a:pt x="1024" y="3716"/>
                  </a:cubicBezTo>
                  <a:lnTo>
                    <a:pt x="1620" y="3549"/>
                  </a:lnTo>
                  <a:cubicBezTo>
                    <a:pt x="1655" y="3537"/>
                    <a:pt x="1715" y="3513"/>
                    <a:pt x="1763" y="3489"/>
                  </a:cubicBezTo>
                  <a:lnTo>
                    <a:pt x="1870" y="3597"/>
                  </a:lnTo>
                  <a:cubicBezTo>
                    <a:pt x="2001" y="3727"/>
                    <a:pt x="2179" y="3811"/>
                    <a:pt x="2358" y="3811"/>
                  </a:cubicBezTo>
                  <a:cubicBezTo>
                    <a:pt x="2537" y="3811"/>
                    <a:pt x="2715" y="3727"/>
                    <a:pt x="2846" y="3597"/>
                  </a:cubicBezTo>
                  <a:lnTo>
                    <a:pt x="2953" y="3489"/>
                  </a:lnTo>
                  <a:close/>
                  <a:moveTo>
                    <a:pt x="1953" y="1"/>
                  </a:moveTo>
                  <a:cubicBezTo>
                    <a:pt x="1382" y="1"/>
                    <a:pt x="917" y="453"/>
                    <a:pt x="917" y="1037"/>
                  </a:cubicBezTo>
                  <a:lnTo>
                    <a:pt x="917" y="1049"/>
                  </a:lnTo>
                  <a:cubicBezTo>
                    <a:pt x="917" y="1191"/>
                    <a:pt x="941" y="1322"/>
                    <a:pt x="1001" y="1441"/>
                  </a:cubicBezTo>
                  <a:lnTo>
                    <a:pt x="1096" y="1608"/>
                  </a:lnTo>
                  <a:lnTo>
                    <a:pt x="1096" y="1870"/>
                  </a:lnTo>
                  <a:cubicBezTo>
                    <a:pt x="1096" y="2299"/>
                    <a:pt x="1298" y="2680"/>
                    <a:pt x="1620" y="2918"/>
                  </a:cubicBezTo>
                  <a:lnTo>
                    <a:pt x="1620" y="3061"/>
                  </a:lnTo>
                  <a:cubicBezTo>
                    <a:pt x="1620" y="3156"/>
                    <a:pt x="1548" y="3227"/>
                    <a:pt x="1477" y="3239"/>
                  </a:cubicBezTo>
                  <a:lnTo>
                    <a:pt x="882" y="3406"/>
                  </a:lnTo>
                  <a:cubicBezTo>
                    <a:pt x="584" y="3489"/>
                    <a:pt x="381" y="3763"/>
                    <a:pt x="381" y="4073"/>
                  </a:cubicBezTo>
                  <a:lnTo>
                    <a:pt x="381" y="4966"/>
                  </a:lnTo>
                  <a:cubicBezTo>
                    <a:pt x="346" y="4954"/>
                    <a:pt x="334" y="4918"/>
                    <a:pt x="298" y="4906"/>
                  </a:cubicBezTo>
                  <a:cubicBezTo>
                    <a:pt x="268" y="4881"/>
                    <a:pt x="232" y="4869"/>
                    <a:pt x="196" y="4869"/>
                  </a:cubicBezTo>
                  <a:cubicBezTo>
                    <a:pt x="146" y="4869"/>
                    <a:pt x="95" y="4893"/>
                    <a:pt x="60" y="4942"/>
                  </a:cubicBezTo>
                  <a:cubicBezTo>
                    <a:pt x="0" y="5013"/>
                    <a:pt x="24" y="5121"/>
                    <a:pt x="96" y="5180"/>
                  </a:cubicBezTo>
                  <a:cubicBezTo>
                    <a:pt x="727" y="5680"/>
                    <a:pt x="1501" y="5954"/>
                    <a:pt x="2298" y="5954"/>
                  </a:cubicBezTo>
                  <a:lnTo>
                    <a:pt x="2477" y="5954"/>
                  </a:lnTo>
                  <a:cubicBezTo>
                    <a:pt x="3334" y="5906"/>
                    <a:pt x="4156" y="5549"/>
                    <a:pt x="4787" y="4918"/>
                  </a:cubicBezTo>
                  <a:cubicBezTo>
                    <a:pt x="5394" y="4311"/>
                    <a:pt x="5763" y="3489"/>
                    <a:pt x="5811" y="2620"/>
                  </a:cubicBezTo>
                  <a:cubicBezTo>
                    <a:pt x="5870" y="1763"/>
                    <a:pt x="5596" y="918"/>
                    <a:pt x="5049" y="251"/>
                  </a:cubicBezTo>
                  <a:cubicBezTo>
                    <a:pt x="5014" y="209"/>
                    <a:pt x="4967" y="192"/>
                    <a:pt x="4917" y="192"/>
                  </a:cubicBezTo>
                  <a:cubicBezTo>
                    <a:pt x="4882" y="192"/>
                    <a:pt x="4845" y="200"/>
                    <a:pt x="4811" y="215"/>
                  </a:cubicBezTo>
                  <a:cubicBezTo>
                    <a:pt x="4739" y="275"/>
                    <a:pt x="4739" y="382"/>
                    <a:pt x="4787" y="453"/>
                  </a:cubicBezTo>
                  <a:cubicBezTo>
                    <a:pt x="5275" y="1072"/>
                    <a:pt x="5525" y="1822"/>
                    <a:pt x="5489" y="2596"/>
                  </a:cubicBezTo>
                  <a:cubicBezTo>
                    <a:pt x="5442" y="3394"/>
                    <a:pt x="5108" y="4132"/>
                    <a:pt x="4561" y="4680"/>
                  </a:cubicBezTo>
                  <a:cubicBezTo>
                    <a:pt x="4453" y="4787"/>
                    <a:pt x="4358" y="4882"/>
                    <a:pt x="4239" y="4966"/>
                  </a:cubicBezTo>
                  <a:lnTo>
                    <a:pt x="4239" y="4073"/>
                  </a:lnTo>
                  <a:cubicBezTo>
                    <a:pt x="4239" y="3763"/>
                    <a:pt x="4025" y="3489"/>
                    <a:pt x="3727" y="3406"/>
                  </a:cubicBezTo>
                  <a:lnTo>
                    <a:pt x="3132" y="3239"/>
                  </a:lnTo>
                  <a:cubicBezTo>
                    <a:pt x="3060" y="3216"/>
                    <a:pt x="3001" y="3144"/>
                    <a:pt x="3001" y="3061"/>
                  </a:cubicBezTo>
                  <a:lnTo>
                    <a:pt x="3001" y="2930"/>
                  </a:lnTo>
                  <a:cubicBezTo>
                    <a:pt x="3060" y="2882"/>
                    <a:pt x="3108" y="2858"/>
                    <a:pt x="3156" y="2799"/>
                  </a:cubicBezTo>
                  <a:cubicBezTo>
                    <a:pt x="3394" y="2561"/>
                    <a:pt x="3537" y="2263"/>
                    <a:pt x="3537" y="1918"/>
                  </a:cubicBezTo>
                  <a:lnTo>
                    <a:pt x="3537" y="1608"/>
                  </a:lnTo>
                  <a:lnTo>
                    <a:pt x="3596" y="1465"/>
                  </a:lnTo>
                  <a:cubicBezTo>
                    <a:pt x="3668" y="1322"/>
                    <a:pt x="3703" y="1168"/>
                    <a:pt x="3703" y="1013"/>
                  </a:cubicBezTo>
                  <a:lnTo>
                    <a:pt x="3703" y="156"/>
                  </a:lnTo>
                  <a:cubicBezTo>
                    <a:pt x="3703" y="72"/>
                    <a:pt x="3620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2" name="Google Shape;10752;p60"/>
            <p:cNvSpPr/>
            <p:nvPr/>
          </p:nvSpPr>
          <p:spPr>
            <a:xfrm>
              <a:off x="5928360" y="1644624"/>
              <a:ext cx="45131" cy="16328"/>
            </a:xfrm>
            <a:custGeom>
              <a:avLst/>
              <a:gdLst/>
              <a:ahLst/>
              <a:cxnLst/>
              <a:rect l="l" t="t" r="r" b="b"/>
              <a:pathLst>
                <a:path w="1418" h="513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346" y="334"/>
                    <a:pt x="882" y="370"/>
                    <a:pt x="1144" y="501"/>
                  </a:cubicBezTo>
                  <a:cubicBezTo>
                    <a:pt x="1179" y="513"/>
                    <a:pt x="1191" y="513"/>
                    <a:pt x="1227" y="513"/>
                  </a:cubicBezTo>
                  <a:cubicBezTo>
                    <a:pt x="1286" y="513"/>
                    <a:pt x="1346" y="489"/>
                    <a:pt x="1370" y="430"/>
                  </a:cubicBezTo>
                  <a:cubicBezTo>
                    <a:pt x="1417" y="334"/>
                    <a:pt x="1370" y="227"/>
                    <a:pt x="1298" y="203"/>
                  </a:cubicBezTo>
                  <a:cubicBezTo>
                    <a:pt x="905" y="1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53" name="Google Shape;10753;p60"/>
          <p:cNvGrpSpPr/>
          <p:nvPr/>
        </p:nvGrpSpPr>
        <p:grpSpPr>
          <a:xfrm>
            <a:off x="7121669" y="1533610"/>
            <a:ext cx="321362" cy="321362"/>
            <a:chOff x="7121669" y="1533610"/>
            <a:chExt cx="321362" cy="321362"/>
          </a:xfrm>
        </p:grpSpPr>
        <p:sp>
          <p:nvSpPr>
            <p:cNvPr id="10754" name="Google Shape;10754;p60"/>
            <p:cNvSpPr/>
            <p:nvPr/>
          </p:nvSpPr>
          <p:spPr>
            <a:xfrm>
              <a:off x="7121669" y="1600289"/>
              <a:ext cx="142142" cy="192556"/>
            </a:xfrm>
            <a:custGeom>
              <a:avLst/>
              <a:gdLst/>
              <a:ahLst/>
              <a:cxnLst/>
              <a:rect l="l" t="t" r="r" b="b"/>
              <a:pathLst>
                <a:path w="4466" h="6050" extrusionOk="0">
                  <a:moveTo>
                    <a:pt x="2346" y="275"/>
                  </a:moveTo>
                  <a:cubicBezTo>
                    <a:pt x="2929" y="275"/>
                    <a:pt x="3406" y="751"/>
                    <a:pt x="3406" y="1322"/>
                  </a:cubicBezTo>
                  <a:lnTo>
                    <a:pt x="3406" y="1608"/>
                  </a:lnTo>
                  <a:lnTo>
                    <a:pt x="3382" y="1608"/>
                  </a:lnTo>
                  <a:cubicBezTo>
                    <a:pt x="3048" y="1537"/>
                    <a:pt x="2941" y="1108"/>
                    <a:pt x="2941" y="1108"/>
                  </a:cubicBezTo>
                  <a:cubicBezTo>
                    <a:pt x="2929" y="1049"/>
                    <a:pt x="2882" y="1001"/>
                    <a:pt x="2822" y="989"/>
                  </a:cubicBezTo>
                  <a:cubicBezTo>
                    <a:pt x="2809" y="984"/>
                    <a:pt x="2796" y="981"/>
                    <a:pt x="2783" y="981"/>
                  </a:cubicBezTo>
                  <a:cubicBezTo>
                    <a:pt x="2738" y="981"/>
                    <a:pt x="2695" y="1011"/>
                    <a:pt x="2667" y="1049"/>
                  </a:cubicBezTo>
                  <a:cubicBezTo>
                    <a:pt x="2155" y="1608"/>
                    <a:pt x="1262" y="1608"/>
                    <a:pt x="1250" y="1608"/>
                  </a:cubicBezTo>
                  <a:lnTo>
                    <a:pt x="1191" y="1608"/>
                  </a:lnTo>
                  <a:lnTo>
                    <a:pt x="1191" y="1322"/>
                  </a:lnTo>
                  <a:cubicBezTo>
                    <a:pt x="1191" y="751"/>
                    <a:pt x="1667" y="275"/>
                    <a:pt x="2251" y="275"/>
                  </a:cubicBezTo>
                  <a:close/>
                  <a:moveTo>
                    <a:pt x="1096" y="2049"/>
                  </a:moveTo>
                  <a:lnTo>
                    <a:pt x="1096" y="2382"/>
                  </a:lnTo>
                  <a:cubicBezTo>
                    <a:pt x="1060" y="2358"/>
                    <a:pt x="1012" y="2287"/>
                    <a:pt x="1012" y="2215"/>
                  </a:cubicBezTo>
                  <a:cubicBezTo>
                    <a:pt x="1012" y="2144"/>
                    <a:pt x="1036" y="2084"/>
                    <a:pt x="1096" y="2049"/>
                  </a:cubicBezTo>
                  <a:close/>
                  <a:moveTo>
                    <a:pt x="3394" y="2061"/>
                  </a:moveTo>
                  <a:cubicBezTo>
                    <a:pt x="3441" y="2084"/>
                    <a:pt x="3477" y="2144"/>
                    <a:pt x="3477" y="2215"/>
                  </a:cubicBezTo>
                  <a:cubicBezTo>
                    <a:pt x="3477" y="2299"/>
                    <a:pt x="3453" y="2358"/>
                    <a:pt x="3394" y="2382"/>
                  </a:cubicBezTo>
                  <a:lnTo>
                    <a:pt x="3394" y="2061"/>
                  </a:lnTo>
                  <a:close/>
                  <a:moveTo>
                    <a:pt x="2632" y="1442"/>
                  </a:moveTo>
                  <a:cubicBezTo>
                    <a:pt x="2727" y="1608"/>
                    <a:pt x="2858" y="1787"/>
                    <a:pt x="3084" y="1894"/>
                  </a:cubicBezTo>
                  <a:lnTo>
                    <a:pt x="3084" y="2537"/>
                  </a:lnTo>
                  <a:cubicBezTo>
                    <a:pt x="3084" y="2930"/>
                    <a:pt x="2751" y="3263"/>
                    <a:pt x="2346" y="3263"/>
                  </a:cubicBezTo>
                  <a:lnTo>
                    <a:pt x="2155" y="3263"/>
                  </a:lnTo>
                  <a:cubicBezTo>
                    <a:pt x="1739" y="3263"/>
                    <a:pt x="1417" y="2930"/>
                    <a:pt x="1417" y="2537"/>
                  </a:cubicBezTo>
                  <a:lnTo>
                    <a:pt x="1417" y="1918"/>
                  </a:lnTo>
                  <a:cubicBezTo>
                    <a:pt x="1679" y="1894"/>
                    <a:pt x="2227" y="1799"/>
                    <a:pt x="2632" y="1442"/>
                  </a:cubicBezTo>
                  <a:close/>
                  <a:moveTo>
                    <a:pt x="2536" y="3573"/>
                  </a:moveTo>
                  <a:lnTo>
                    <a:pt x="2536" y="3775"/>
                  </a:lnTo>
                  <a:lnTo>
                    <a:pt x="2251" y="4073"/>
                  </a:lnTo>
                  <a:lnTo>
                    <a:pt x="1965" y="3811"/>
                  </a:lnTo>
                  <a:lnTo>
                    <a:pt x="1965" y="3632"/>
                  </a:lnTo>
                  <a:lnTo>
                    <a:pt x="1965" y="3573"/>
                  </a:lnTo>
                  <a:cubicBezTo>
                    <a:pt x="2024" y="3585"/>
                    <a:pt x="2084" y="3585"/>
                    <a:pt x="2155" y="3585"/>
                  </a:cubicBezTo>
                  <a:lnTo>
                    <a:pt x="2346" y="3585"/>
                  </a:lnTo>
                  <a:cubicBezTo>
                    <a:pt x="2405" y="3585"/>
                    <a:pt x="2465" y="3585"/>
                    <a:pt x="2536" y="3573"/>
                  </a:cubicBezTo>
                  <a:close/>
                  <a:moveTo>
                    <a:pt x="2846" y="3906"/>
                  </a:moveTo>
                  <a:lnTo>
                    <a:pt x="2941" y="3989"/>
                  </a:lnTo>
                  <a:lnTo>
                    <a:pt x="2727" y="4454"/>
                  </a:lnTo>
                  <a:lnTo>
                    <a:pt x="2667" y="4406"/>
                  </a:lnTo>
                  <a:lnTo>
                    <a:pt x="2489" y="4275"/>
                  </a:lnTo>
                  <a:lnTo>
                    <a:pt x="2810" y="3930"/>
                  </a:lnTo>
                  <a:lnTo>
                    <a:pt x="2846" y="3906"/>
                  </a:lnTo>
                  <a:close/>
                  <a:moveTo>
                    <a:pt x="1655" y="3918"/>
                  </a:moveTo>
                  <a:cubicBezTo>
                    <a:pt x="1655" y="3942"/>
                    <a:pt x="1667" y="3966"/>
                    <a:pt x="1691" y="3989"/>
                  </a:cubicBezTo>
                  <a:lnTo>
                    <a:pt x="2012" y="4287"/>
                  </a:lnTo>
                  <a:lnTo>
                    <a:pt x="1774" y="4466"/>
                  </a:lnTo>
                  <a:lnTo>
                    <a:pt x="1536" y="3989"/>
                  </a:lnTo>
                  <a:lnTo>
                    <a:pt x="1655" y="3918"/>
                  </a:lnTo>
                  <a:close/>
                  <a:moveTo>
                    <a:pt x="2227" y="4490"/>
                  </a:moveTo>
                  <a:lnTo>
                    <a:pt x="2370" y="4597"/>
                  </a:lnTo>
                  <a:lnTo>
                    <a:pt x="2322" y="4704"/>
                  </a:lnTo>
                  <a:lnTo>
                    <a:pt x="2155" y="4704"/>
                  </a:lnTo>
                  <a:lnTo>
                    <a:pt x="2108" y="4585"/>
                  </a:lnTo>
                  <a:lnTo>
                    <a:pt x="2227" y="4490"/>
                  </a:lnTo>
                  <a:close/>
                  <a:moveTo>
                    <a:pt x="1846" y="4799"/>
                  </a:moveTo>
                  <a:lnTo>
                    <a:pt x="1893" y="4894"/>
                  </a:lnTo>
                  <a:lnTo>
                    <a:pt x="1846" y="5156"/>
                  </a:lnTo>
                  <a:lnTo>
                    <a:pt x="1751" y="4835"/>
                  </a:lnTo>
                  <a:cubicBezTo>
                    <a:pt x="1774" y="4835"/>
                    <a:pt x="1786" y="4823"/>
                    <a:pt x="1798" y="4823"/>
                  </a:cubicBezTo>
                  <a:lnTo>
                    <a:pt x="1846" y="4799"/>
                  </a:lnTo>
                  <a:close/>
                  <a:moveTo>
                    <a:pt x="2632" y="4799"/>
                  </a:moveTo>
                  <a:lnTo>
                    <a:pt x="2679" y="4823"/>
                  </a:lnTo>
                  <a:cubicBezTo>
                    <a:pt x="2691" y="4835"/>
                    <a:pt x="2703" y="4835"/>
                    <a:pt x="2739" y="4847"/>
                  </a:cubicBezTo>
                  <a:lnTo>
                    <a:pt x="2644" y="5156"/>
                  </a:lnTo>
                  <a:lnTo>
                    <a:pt x="2608" y="4882"/>
                  </a:lnTo>
                  <a:lnTo>
                    <a:pt x="2632" y="4799"/>
                  </a:lnTo>
                  <a:close/>
                  <a:moveTo>
                    <a:pt x="2322" y="5037"/>
                  </a:moveTo>
                  <a:lnTo>
                    <a:pt x="2441" y="5728"/>
                  </a:lnTo>
                  <a:lnTo>
                    <a:pt x="2084" y="5728"/>
                  </a:lnTo>
                  <a:lnTo>
                    <a:pt x="2203" y="5037"/>
                  </a:lnTo>
                  <a:close/>
                  <a:moveTo>
                    <a:pt x="3263" y="4156"/>
                  </a:moveTo>
                  <a:lnTo>
                    <a:pt x="3620" y="4299"/>
                  </a:lnTo>
                  <a:lnTo>
                    <a:pt x="3632" y="4299"/>
                  </a:lnTo>
                  <a:cubicBezTo>
                    <a:pt x="3644" y="4323"/>
                    <a:pt x="4156" y="4501"/>
                    <a:pt x="4156" y="5121"/>
                  </a:cubicBezTo>
                  <a:lnTo>
                    <a:pt x="4156" y="5728"/>
                  </a:lnTo>
                  <a:lnTo>
                    <a:pt x="3739" y="5728"/>
                  </a:lnTo>
                  <a:lnTo>
                    <a:pt x="3739" y="5097"/>
                  </a:lnTo>
                  <a:cubicBezTo>
                    <a:pt x="3739" y="5001"/>
                    <a:pt x="3656" y="4930"/>
                    <a:pt x="3572" y="4930"/>
                  </a:cubicBezTo>
                  <a:cubicBezTo>
                    <a:pt x="3477" y="4930"/>
                    <a:pt x="3406" y="5001"/>
                    <a:pt x="3406" y="5097"/>
                  </a:cubicBezTo>
                  <a:lnTo>
                    <a:pt x="3406" y="5728"/>
                  </a:lnTo>
                  <a:lnTo>
                    <a:pt x="2810" y="5728"/>
                  </a:lnTo>
                  <a:lnTo>
                    <a:pt x="3263" y="4156"/>
                  </a:lnTo>
                  <a:close/>
                  <a:moveTo>
                    <a:pt x="2179" y="1"/>
                  </a:moveTo>
                  <a:cubicBezTo>
                    <a:pt x="1429" y="1"/>
                    <a:pt x="810" y="608"/>
                    <a:pt x="810" y="1370"/>
                  </a:cubicBezTo>
                  <a:lnTo>
                    <a:pt x="810" y="1870"/>
                  </a:lnTo>
                  <a:cubicBezTo>
                    <a:pt x="739" y="1965"/>
                    <a:pt x="679" y="2084"/>
                    <a:pt x="679" y="2215"/>
                  </a:cubicBezTo>
                  <a:cubicBezTo>
                    <a:pt x="679" y="2465"/>
                    <a:pt x="858" y="2680"/>
                    <a:pt x="1096" y="2727"/>
                  </a:cubicBezTo>
                  <a:cubicBezTo>
                    <a:pt x="1155" y="3037"/>
                    <a:pt x="1346" y="3299"/>
                    <a:pt x="1631" y="3454"/>
                  </a:cubicBezTo>
                  <a:lnTo>
                    <a:pt x="1631" y="3525"/>
                  </a:lnTo>
                  <a:lnTo>
                    <a:pt x="1274" y="3763"/>
                  </a:lnTo>
                  <a:lnTo>
                    <a:pt x="1262" y="3763"/>
                  </a:lnTo>
                  <a:lnTo>
                    <a:pt x="727" y="3989"/>
                  </a:lnTo>
                  <a:cubicBezTo>
                    <a:pt x="477" y="4073"/>
                    <a:pt x="0" y="4418"/>
                    <a:pt x="0" y="5109"/>
                  </a:cubicBezTo>
                  <a:lnTo>
                    <a:pt x="0" y="5859"/>
                  </a:lnTo>
                  <a:cubicBezTo>
                    <a:pt x="0" y="5954"/>
                    <a:pt x="72" y="6025"/>
                    <a:pt x="155" y="6025"/>
                  </a:cubicBezTo>
                  <a:lnTo>
                    <a:pt x="1203" y="6025"/>
                  </a:lnTo>
                  <a:cubicBezTo>
                    <a:pt x="1286" y="6025"/>
                    <a:pt x="1370" y="5954"/>
                    <a:pt x="1370" y="5859"/>
                  </a:cubicBezTo>
                  <a:cubicBezTo>
                    <a:pt x="1370" y="5775"/>
                    <a:pt x="1286" y="5704"/>
                    <a:pt x="1203" y="5704"/>
                  </a:cubicBezTo>
                  <a:lnTo>
                    <a:pt x="1048" y="5704"/>
                  </a:lnTo>
                  <a:lnTo>
                    <a:pt x="1048" y="5061"/>
                  </a:lnTo>
                  <a:cubicBezTo>
                    <a:pt x="1048" y="4966"/>
                    <a:pt x="977" y="4894"/>
                    <a:pt x="893" y="4894"/>
                  </a:cubicBezTo>
                  <a:cubicBezTo>
                    <a:pt x="798" y="4894"/>
                    <a:pt x="727" y="4966"/>
                    <a:pt x="727" y="5061"/>
                  </a:cubicBezTo>
                  <a:lnTo>
                    <a:pt x="727" y="5704"/>
                  </a:lnTo>
                  <a:lnTo>
                    <a:pt x="310" y="5704"/>
                  </a:lnTo>
                  <a:lnTo>
                    <a:pt x="310" y="5085"/>
                  </a:lnTo>
                  <a:cubicBezTo>
                    <a:pt x="310" y="4454"/>
                    <a:pt x="798" y="4275"/>
                    <a:pt x="834" y="4275"/>
                  </a:cubicBezTo>
                  <a:lnTo>
                    <a:pt x="846" y="4275"/>
                  </a:lnTo>
                  <a:lnTo>
                    <a:pt x="1227" y="4109"/>
                  </a:lnTo>
                  <a:lnTo>
                    <a:pt x="1679" y="5704"/>
                  </a:lnTo>
                  <a:cubicBezTo>
                    <a:pt x="1608" y="5716"/>
                    <a:pt x="1560" y="5775"/>
                    <a:pt x="1560" y="5847"/>
                  </a:cubicBezTo>
                  <a:cubicBezTo>
                    <a:pt x="1560" y="5942"/>
                    <a:pt x="1631" y="6013"/>
                    <a:pt x="1727" y="6013"/>
                  </a:cubicBezTo>
                  <a:lnTo>
                    <a:pt x="1893" y="6049"/>
                  </a:lnTo>
                  <a:lnTo>
                    <a:pt x="4298" y="6049"/>
                  </a:lnTo>
                  <a:cubicBezTo>
                    <a:pt x="4394" y="6049"/>
                    <a:pt x="4465" y="5966"/>
                    <a:pt x="4465" y="5883"/>
                  </a:cubicBezTo>
                  <a:lnTo>
                    <a:pt x="4465" y="5121"/>
                  </a:lnTo>
                  <a:cubicBezTo>
                    <a:pt x="4465" y="4430"/>
                    <a:pt x="3989" y="4097"/>
                    <a:pt x="3727" y="4001"/>
                  </a:cubicBezTo>
                  <a:lnTo>
                    <a:pt x="3203" y="3775"/>
                  </a:lnTo>
                  <a:lnTo>
                    <a:pt x="2834" y="3537"/>
                  </a:lnTo>
                  <a:lnTo>
                    <a:pt x="2834" y="3454"/>
                  </a:lnTo>
                  <a:cubicBezTo>
                    <a:pt x="3108" y="3299"/>
                    <a:pt x="3310" y="3037"/>
                    <a:pt x="3370" y="2727"/>
                  </a:cubicBezTo>
                  <a:cubicBezTo>
                    <a:pt x="3608" y="2680"/>
                    <a:pt x="3787" y="2465"/>
                    <a:pt x="3787" y="2215"/>
                  </a:cubicBezTo>
                  <a:cubicBezTo>
                    <a:pt x="3787" y="2084"/>
                    <a:pt x="3751" y="1965"/>
                    <a:pt x="3656" y="1870"/>
                  </a:cubicBezTo>
                  <a:lnTo>
                    <a:pt x="3656" y="1370"/>
                  </a:lnTo>
                  <a:cubicBezTo>
                    <a:pt x="3656" y="608"/>
                    <a:pt x="3048" y="1"/>
                    <a:pt x="2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5" name="Google Shape;10755;p60"/>
            <p:cNvSpPr/>
            <p:nvPr/>
          </p:nvSpPr>
          <p:spPr>
            <a:xfrm>
              <a:off x="7170938" y="1533610"/>
              <a:ext cx="223206" cy="53852"/>
            </a:xfrm>
            <a:custGeom>
              <a:avLst/>
              <a:gdLst/>
              <a:ahLst/>
              <a:cxnLst/>
              <a:rect l="l" t="t" r="r" b="b"/>
              <a:pathLst>
                <a:path w="7013" h="1692" extrusionOk="0">
                  <a:moveTo>
                    <a:pt x="3512" y="0"/>
                  </a:moveTo>
                  <a:cubicBezTo>
                    <a:pt x="2227" y="0"/>
                    <a:pt x="1000" y="477"/>
                    <a:pt x="72" y="1358"/>
                  </a:cubicBezTo>
                  <a:cubicBezTo>
                    <a:pt x="12" y="1405"/>
                    <a:pt x="0" y="1512"/>
                    <a:pt x="72" y="1572"/>
                  </a:cubicBezTo>
                  <a:cubicBezTo>
                    <a:pt x="92" y="1625"/>
                    <a:pt x="130" y="1649"/>
                    <a:pt x="171" y="1649"/>
                  </a:cubicBezTo>
                  <a:cubicBezTo>
                    <a:pt x="203" y="1649"/>
                    <a:pt x="236" y="1634"/>
                    <a:pt x="262" y="1608"/>
                  </a:cubicBezTo>
                  <a:cubicBezTo>
                    <a:pt x="1143" y="786"/>
                    <a:pt x="2286" y="322"/>
                    <a:pt x="3501" y="322"/>
                  </a:cubicBezTo>
                  <a:cubicBezTo>
                    <a:pt x="4584" y="322"/>
                    <a:pt x="5608" y="691"/>
                    <a:pt x="6453" y="1370"/>
                  </a:cubicBezTo>
                  <a:lnTo>
                    <a:pt x="6203" y="1370"/>
                  </a:lnTo>
                  <a:cubicBezTo>
                    <a:pt x="6120" y="1370"/>
                    <a:pt x="6037" y="1441"/>
                    <a:pt x="6037" y="1536"/>
                  </a:cubicBezTo>
                  <a:cubicBezTo>
                    <a:pt x="6037" y="1620"/>
                    <a:pt x="6120" y="1691"/>
                    <a:pt x="6203" y="1691"/>
                  </a:cubicBezTo>
                  <a:lnTo>
                    <a:pt x="6846" y="1691"/>
                  </a:lnTo>
                  <a:cubicBezTo>
                    <a:pt x="6930" y="1691"/>
                    <a:pt x="7013" y="1620"/>
                    <a:pt x="7013" y="1536"/>
                  </a:cubicBezTo>
                  <a:lnTo>
                    <a:pt x="7013" y="953"/>
                  </a:lnTo>
                  <a:cubicBezTo>
                    <a:pt x="7013" y="858"/>
                    <a:pt x="6930" y="786"/>
                    <a:pt x="6846" y="786"/>
                  </a:cubicBezTo>
                  <a:cubicBezTo>
                    <a:pt x="6751" y="786"/>
                    <a:pt x="6680" y="858"/>
                    <a:pt x="6680" y="953"/>
                  </a:cubicBezTo>
                  <a:lnTo>
                    <a:pt x="6680" y="1131"/>
                  </a:lnTo>
                  <a:cubicBezTo>
                    <a:pt x="5787" y="405"/>
                    <a:pt x="4667" y="0"/>
                    <a:pt x="3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6" name="Google Shape;10756;p60"/>
            <p:cNvSpPr/>
            <p:nvPr/>
          </p:nvSpPr>
          <p:spPr>
            <a:xfrm>
              <a:off x="7175107" y="1804558"/>
              <a:ext cx="215249" cy="50415"/>
            </a:xfrm>
            <a:custGeom>
              <a:avLst/>
              <a:gdLst/>
              <a:ahLst/>
              <a:cxnLst/>
              <a:rect l="l" t="t" r="r" b="b"/>
              <a:pathLst>
                <a:path w="6763" h="158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738"/>
                  </a:lnTo>
                  <a:cubicBezTo>
                    <a:pt x="0" y="834"/>
                    <a:pt x="72" y="905"/>
                    <a:pt x="167" y="905"/>
                  </a:cubicBezTo>
                  <a:cubicBezTo>
                    <a:pt x="250" y="905"/>
                    <a:pt x="333" y="834"/>
                    <a:pt x="333" y="738"/>
                  </a:cubicBezTo>
                  <a:lnTo>
                    <a:pt x="333" y="560"/>
                  </a:lnTo>
                  <a:cubicBezTo>
                    <a:pt x="1203" y="1215"/>
                    <a:pt x="2262" y="1584"/>
                    <a:pt x="3381" y="1584"/>
                  </a:cubicBezTo>
                  <a:cubicBezTo>
                    <a:pt x="4596" y="1584"/>
                    <a:pt x="5775" y="1143"/>
                    <a:pt x="6680" y="357"/>
                  </a:cubicBezTo>
                  <a:cubicBezTo>
                    <a:pt x="6739" y="298"/>
                    <a:pt x="6763" y="191"/>
                    <a:pt x="6691" y="131"/>
                  </a:cubicBezTo>
                  <a:cubicBezTo>
                    <a:pt x="6652" y="92"/>
                    <a:pt x="6609" y="74"/>
                    <a:pt x="6567" y="74"/>
                  </a:cubicBezTo>
                  <a:cubicBezTo>
                    <a:pt x="6532" y="74"/>
                    <a:pt x="6497" y="86"/>
                    <a:pt x="6465" y="107"/>
                  </a:cubicBezTo>
                  <a:cubicBezTo>
                    <a:pt x="5596" y="846"/>
                    <a:pt x="4501" y="1262"/>
                    <a:pt x="3370" y="1262"/>
                  </a:cubicBezTo>
                  <a:cubicBezTo>
                    <a:pt x="2334" y="1262"/>
                    <a:pt x="1346" y="941"/>
                    <a:pt x="536" y="322"/>
                  </a:cubicBezTo>
                  <a:lnTo>
                    <a:pt x="810" y="322"/>
                  </a:lnTo>
                  <a:cubicBezTo>
                    <a:pt x="893" y="322"/>
                    <a:pt x="965" y="250"/>
                    <a:pt x="965" y="167"/>
                  </a:cubicBezTo>
                  <a:cubicBezTo>
                    <a:pt x="965" y="72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7" name="Google Shape;10757;p60"/>
            <p:cNvSpPr/>
            <p:nvPr/>
          </p:nvSpPr>
          <p:spPr>
            <a:xfrm>
              <a:off x="7300539" y="1600289"/>
              <a:ext cx="142492" cy="191793"/>
            </a:xfrm>
            <a:custGeom>
              <a:avLst/>
              <a:gdLst/>
              <a:ahLst/>
              <a:cxnLst/>
              <a:rect l="l" t="t" r="r" b="b"/>
              <a:pathLst>
                <a:path w="4477" h="6026" extrusionOk="0">
                  <a:moveTo>
                    <a:pt x="2358" y="275"/>
                  </a:moveTo>
                  <a:cubicBezTo>
                    <a:pt x="2941" y="275"/>
                    <a:pt x="3417" y="751"/>
                    <a:pt x="3417" y="1322"/>
                  </a:cubicBezTo>
                  <a:lnTo>
                    <a:pt x="3417" y="1608"/>
                  </a:lnTo>
                  <a:lnTo>
                    <a:pt x="3381" y="1608"/>
                  </a:lnTo>
                  <a:cubicBezTo>
                    <a:pt x="3060" y="1537"/>
                    <a:pt x="2953" y="1108"/>
                    <a:pt x="2953" y="1108"/>
                  </a:cubicBezTo>
                  <a:cubicBezTo>
                    <a:pt x="2941" y="1049"/>
                    <a:pt x="2893" y="1001"/>
                    <a:pt x="2834" y="989"/>
                  </a:cubicBezTo>
                  <a:cubicBezTo>
                    <a:pt x="2821" y="984"/>
                    <a:pt x="2808" y="981"/>
                    <a:pt x="2795" y="981"/>
                  </a:cubicBezTo>
                  <a:cubicBezTo>
                    <a:pt x="2749" y="981"/>
                    <a:pt x="2704" y="1011"/>
                    <a:pt x="2667" y="1049"/>
                  </a:cubicBezTo>
                  <a:cubicBezTo>
                    <a:pt x="2167" y="1608"/>
                    <a:pt x="1274" y="1608"/>
                    <a:pt x="1250" y="1608"/>
                  </a:cubicBezTo>
                  <a:lnTo>
                    <a:pt x="1191" y="1608"/>
                  </a:lnTo>
                  <a:lnTo>
                    <a:pt x="1191" y="1322"/>
                  </a:lnTo>
                  <a:cubicBezTo>
                    <a:pt x="1191" y="751"/>
                    <a:pt x="1667" y="275"/>
                    <a:pt x="2250" y="275"/>
                  </a:cubicBezTo>
                  <a:close/>
                  <a:moveTo>
                    <a:pt x="1107" y="2049"/>
                  </a:moveTo>
                  <a:lnTo>
                    <a:pt x="1107" y="2382"/>
                  </a:lnTo>
                  <a:cubicBezTo>
                    <a:pt x="1060" y="2358"/>
                    <a:pt x="1012" y="2287"/>
                    <a:pt x="1012" y="2215"/>
                  </a:cubicBezTo>
                  <a:cubicBezTo>
                    <a:pt x="1012" y="2144"/>
                    <a:pt x="1048" y="2084"/>
                    <a:pt x="1107" y="2049"/>
                  </a:cubicBezTo>
                  <a:close/>
                  <a:moveTo>
                    <a:pt x="3393" y="2061"/>
                  </a:moveTo>
                  <a:cubicBezTo>
                    <a:pt x="3441" y="2084"/>
                    <a:pt x="3489" y="2144"/>
                    <a:pt x="3489" y="2215"/>
                  </a:cubicBezTo>
                  <a:cubicBezTo>
                    <a:pt x="3489" y="2299"/>
                    <a:pt x="3453" y="2358"/>
                    <a:pt x="3393" y="2382"/>
                  </a:cubicBezTo>
                  <a:lnTo>
                    <a:pt x="3393" y="2061"/>
                  </a:lnTo>
                  <a:close/>
                  <a:moveTo>
                    <a:pt x="2643" y="1442"/>
                  </a:moveTo>
                  <a:cubicBezTo>
                    <a:pt x="2727" y="1608"/>
                    <a:pt x="2858" y="1787"/>
                    <a:pt x="3084" y="1894"/>
                  </a:cubicBezTo>
                  <a:lnTo>
                    <a:pt x="3084" y="2537"/>
                  </a:lnTo>
                  <a:cubicBezTo>
                    <a:pt x="3084" y="2930"/>
                    <a:pt x="2762" y="3263"/>
                    <a:pt x="2358" y="3263"/>
                  </a:cubicBezTo>
                  <a:lnTo>
                    <a:pt x="2167" y="3263"/>
                  </a:lnTo>
                  <a:cubicBezTo>
                    <a:pt x="1750" y="3263"/>
                    <a:pt x="1417" y="2930"/>
                    <a:pt x="1417" y="2537"/>
                  </a:cubicBezTo>
                  <a:lnTo>
                    <a:pt x="1417" y="1918"/>
                  </a:lnTo>
                  <a:cubicBezTo>
                    <a:pt x="1691" y="1894"/>
                    <a:pt x="2238" y="1799"/>
                    <a:pt x="2643" y="1442"/>
                  </a:cubicBezTo>
                  <a:close/>
                  <a:moveTo>
                    <a:pt x="2548" y="3573"/>
                  </a:moveTo>
                  <a:lnTo>
                    <a:pt x="2548" y="3775"/>
                  </a:lnTo>
                  <a:lnTo>
                    <a:pt x="2250" y="4073"/>
                  </a:lnTo>
                  <a:lnTo>
                    <a:pt x="1965" y="3811"/>
                  </a:lnTo>
                  <a:lnTo>
                    <a:pt x="1965" y="3632"/>
                  </a:lnTo>
                  <a:lnTo>
                    <a:pt x="1965" y="3573"/>
                  </a:lnTo>
                  <a:cubicBezTo>
                    <a:pt x="2024" y="3585"/>
                    <a:pt x="2084" y="3585"/>
                    <a:pt x="2155" y="3585"/>
                  </a:cubicBezTo>
                  <a:lnTo>
                    <a:pt x="2358" y="3585"/>
                  </a:lnTo>
                  <a:cubicBezTo>
                    <a:pt x="2417" y="3585"/>
                    <a:pt x="2477" y="3585"/>
                    <a:pt x="2548" y="3573"/>
                  </a:cubicBezTo>
                  <a:close/>
                  <a:moveTo>
                    <a:pt x="1667" y="3918"/>
                  </a:moveTo>
                  <a:cubicBezTo>
                    <a:pt x="1667" y="3942"/>
                    <a:pt x="1679" y="3954"/>
                    <a:pt x="1715" y="3989"/>
                  </a:cubicBezTo>
                  <a:lnTo>
                    <a:pt x="2024" y="4287"/>
                  </a:lnTo>
                  <a:lnTo>
                    <a:pt x="1774" y="4454"/>
                  </a:lnTo>
                  <a:lnTo>
                    <a:pt x="1548" y="3989"/>
                  </a:lnTo>
                  <a:lnTo>
                    <a:pt x="1667" y="3918"/>
                  </a:lnTo>
                  <a:close/>
                  <a:moveTo>
                    <a:pt x="2834" y="3918"/>
                  </a:moveTo>
                  <a:lnTo>
                    <a:pt x="2941" y="3989"/>
                  </a:lnTo>
                  <a:lnTo>
                    <a:pt x="2715" y="4454"/>
                  </a:lnTo>
                  <a:lnTo>
                    <a:pt x="2655" y="4406"/>
                  </a:lnTo>
                  <a:lnTo>
                    <a:pt x="2477" y="4275"/>
                  </a:lnTo>
                  <a:lnTo>
                    <a:pt x="2798" y="3942"/>
                  </a:lnTo>
                  <a:lnTo>
                    <a:pt x="2834" y="3918"/>
                  </a:lnTo>
                  <a:close/>
                  <a:moveTo>
                    <a:pt x="2238" y="4501"/>
                  </a:moveTo>
                  <a:lnTo>
                    <a:pt x="2369" y="4585"/>
                  </a:lnTo>
                  <a:lnTo>
                    <a:pt x="2322" y="4692"/>
                  </a:lnTo>
                  <a:lnTo>
                    <a:pt x="2167" y="4692"/>
                  </a:lnTo>
                  <a:lnTo>
                    <a:pt x="2119" y="4585"/>
                  </a:lnTo>
                  <a:lnTo>
                    <a:pt x="2238" y="4501"/>
                  </a:lnTo>
                  <a:close/>
                  <a:moveTo>
                    <a:pt x="1846" y="4799"/>
                  </a:moveTo>
                  <a:lnTo>
                    <a:pt x="1893" y="4894"/>
                  </a:lnTo>
                  <a:lnTo>
                    <a:pt x="1846" y="5156"/>
                  </a:lnTo>
                  <a:lnTo>
                    <a:pt x="1762" y="4835"/>
                  </a:lnTo>
                  <a:cubicBezTo>
                    <a:pt x="1774" y="4835"/>
                    <a:pt x="1786" y="4823"/>
                    <a:pt x="1810" y="4823"/>
                  </a:cubicBezTo>
                  <a:lnTo>
                    <a:pt x="1846" y="4799"/>
                  </a:lnTo>
                  <a:close/>
                  <a:moveTo>
                    <a:pt x="2643" y="4799"/>
                  </a:moveTo>
                  <a:lnTo>
                    <a:pt x="2679" y="4823"/>
                  </a:lnTo>
                  <a:cubicBezTo>
                    <a:pt x="2703" y="4835"/>
                    <a:pt x="2715" y="4835"/>
                    <a:pt x="2739" y="4847"/>
                  </a:cubicBezTo>
                  <a:lnTo>
                    <a:pt x="2655" y="5156"/>
                  </a:lnTo>
                  <a:lnTo>
                    <a:pt x="2608" y="4882"/>
                  </a:lnTo>
                  <a:lnTo>
                    <a:pt x="2643" y="4799"/>
                  </a:lnTo>
                  <a:close/>
                  <a:moveTo>
                    <a:pt x="2322" y="5037"/>
                  </a:moveTo>
                  <a:lnTo>
                    <a:pt x="2441" y="5728"/>
                  </a:lnTo>
                  <a:lnTo>
                    <a:pt x="2084" y="5728"/>
                  </a:lnTo>
                  <a:lnTo>
                    <a:pt x="2203" y="5037"/>
                  </a:lnTo>
                  <a:close/>
                  <a:moveTo>
                    <a:pt x="3262" y="4156"/>
                  </a:moveTo>
                  <a:lnTo>
                    <a:pt x="3620" y="4299"/>
                  </a:lnTo>
                  <a:lnTo>
                    <a:pt x="3631" y="4299"/>
                  </a:lnTo>
                  <a:cubicBezTo>
                    <a:pt x="3655" y="4323"/>
                    <a:pt x="4155" y="4501"/>
                    <a:pt x="4155" y="5121"/>
                  </a:cubicBezTo>
                  <a:lnTo>
                    <a:pt x="4155" y="5728"/>
                  </a:lnTo>
                  <a:lnTo>
                    <a:pt x="3739" y="5728"/>
                  </a:lnTo>
                  <a:lnTo>
                    <a:pt x="3739" y="5097"/>
                  </a:lnTo>
                  <a:cubicBezTo>
                    <a:pt x="3739" y="5001"/>
                    <a:pt x="3667" y="4930"/>
                    <a:pt x="3572" y="4930"/>
                  </a:cubicBezTo>
                  <a:cubicBezTo>
                    <a:pt x="3489" y="4930"/>
                    <a:pt x="3417" y="5001"/>
                    <a:pt x="3417" y="5097"/>
                  </a:cubicBezTo>
                  <a:lnTo>
                    <a:pt x="3417" y="5728"/>
                  </a:lnTo>
                  <a:lnTo>
                    <a:pt x="2822" y="5728"/>
                  </a:lnTo>
                  <a:lnTo>
                    <a:pt x="3262" y="4156"/>
                  </a:lnTo>
                  <a:close/>
                  <a:moveTo>
                    <a:pt x="2191" y="1"/>
                  </a:moveTo>
                  <a:cubicBezTo>
                    <a:pt x="1429" y="1"/>
                    <a:pt x="822" y="608"/>
                    <a:pt x="822" y="1370"/>
                  </a:cubicBezTo>
                  <a:lnTo>
                    <a:pt x="822" y="1870"/>
                  </a:lnTo>
                  <a:cubicBezTo>
                    <a:pt x="750" y="1965"/>
                    <a:pt x="691" y="2084"/>
                    <a:pt x="691" y="2215"/>
                  </a:cubicBezTo>
                  <a:cubicBezTo>
                    <a:pt x="691" y="2465"/>
                    <a:pt x="869" y="2680"/>
                    <a:pt x="1107" y="2727"/>
                  </a:cubicBezTo>
                  <a:cubicBezTo>
                    <a:pt x="1167" y="3037"/>
                    <a:pt x="1357" y="3299"/>
                    <a:pt x="1643" y="3454"/>
                  </a:cubicBezTo>
                  <a:lnTo>
                    <a:pt x="1643" y="3525"/>
                  </a:lnTo>
                  <a:lnTo>
                    <a:pt x="1286" y="3763"/>
                  </a:lnTo>
                  <a:lnTo>
                    <a:pt x="1262" y="3763"/>
                  </a:lnTo>
                  <a:lnTo>
                    <a:pt x="726" y="3989"/>
                  </a:lnTo>
                  <a:cubicBezTo>
                    <a:pt x="476" y="4073"/>
                    <a:pt x="0" y="4418"/>
                    <a:pt x="0" y="5109"/>
                  </a:cubicBezTo>
                  <a:lnTo>
                    <a:pt x="0" y="5859"/>
                  </a:lnTo>
                  <a:cubicBezTo>
                    <a:pt x="0" y="5954"/>
                    <a:pt x="72" y="6025"/>
                    <a:pt x="167" y="6025"/>
                  </a:cubicBezTo>
                  <a:lnTo>
                    <a:pt x="1203" y="6025"/>
                  </a:lnTo>
                  <a:cubicBezTo>
                    <a:pt x="1298" y="6025"/>
                    <a:pt x="1369" y="5954"/>
                    <a:pt x="1369" y="5859"/>
                  </a:cubicBezTo>
                  <a:cubicBezTo>
                    <a:pt x="1369" y="5775"/>
                    <a:pt x="1298" y="5704"/>
                    <a:pt x="1203" y="5704"/>
                  </a:cubicBezTo>
                  <a:lnTo>
                    <a:pt x="1060" y="5704"/>
                  </a:lnTo>
                  <a:lnTo>
                    <a:pt x="1060" y="5061"/>
                  </a:lnTo>
                  <a:cubicBezTo>
                    <a:pt x="1060" y="4966"/>
                    <a:pt x="988" y="4894"/>
                    <a:pt x="893" y="4894"/>
                  </a:cubicBezTo>
                  <a:cubicBezTo>
                    <a:pt x="810" y="4894"/>
                    <a:pt x="726" y="4966"/>
                    <a:pt x="726" y="5061"/>
                  </a:cubicBezTo>
                  <a:lnTo>
                    <a:pt x="726" y="5704"/>
                  </a:lnTo>
                  <a:lnTo>
                    <a:pt x="310" y="5704"/>
                  </a:lnTo>
                  <a:lnTo>
                    <a:pt x="310" y="5085"/>
                  </a:lnTo>
                  <a:cubicBezTo>
                    <a:pt x="310" y="4454"/>
                    <a:pt x="810" y="4275"/>
                    <a:pt x="834" y="4275"/>
                  </a:cubicBezTo>
                  <a:lnTo>
                    <a:pt x="845" y="4275"/>
                  </a:lnTo>
                  <a:lnTo>
                    <a:pt x="1238" y="4109"/>
                  </a:lnTo>
                  <a:lnTo>
                    <a:pt x="1679" y="5704"/>
                  </a:lnTo>
                  <a:cubicBezTo>
                    <a:pt x="1607" y="5716"/>
                    <a:pt x="1560" y="5775"/>
                    <a:pt x="1560" y="5847"/>
                  </a:cubicBezTo>
                  <a:cubicBezTo>
                    <a:pt x="1560" y="5942"/>
                    <a:pt x="1643" y="6013"/>
                    <a:pt x="1726" y="6013"/>
                  </a:cubicBezTo>
                  <a:lnTo>
                    <a:pt x="4322" y="6013"/>
                  </a:lnTo>
                  <a:cubicBezTo>
                    <a:pt x="4405" y="6013"/>
                    <a:pt x="4477" y="5942"/>
                    <a:pt x="4477" y="5847"/>
                  </a:cubicBezTo>
                  <a:lnTo>
                    <a:pt x="4477" y="5085"/>
                  </a:lnTo>
                  <a:cubicBezTo>
                    <a:pt x="4465" y="4442"/>
                    <a:pt x="3989" y="4097"/>
                    <a:pt x="3739" y="4001"/>
                  </a:cubicBezTo>
                  <a:lnTo>
                    <a:pt x="3203" y="3775"/>
                  </a:lnTo>
                  <a:lnTo>
                    <a:pt x="2846" y="3537"/>
                  </a:lnTo>
                  <a:lnTo>
                    <a:pt x="2846" y="3454"/>
                  </a:lnTo>
                  <a:cubicBezTo>
                    <a:pt x="3120" y="3299"/>
                    <a:pt x="3322" y="3037"/>
                    <a:pt x="3381" y="2727"/>
                  </a:cubicBezTo>
                  <a:cubicBezTo>
                    <a:pt x="3620" y="2680"/>
                    <a:pt x="3798" y="2465"/>
                    <a:pt x="3798" y="2215"/>
                  </a:cubicBezTo>
                  <a:cubicBezTo>
                    <a:pt x="3798" y="2084"/>
                    <a:pt x="3751" y="1965"/>
                    <a:pt x="3667" y="1870"/>
                  </a:cubicBezTo>
                  <a:lnTo>
                    <a:pt x="3667" y="1370"/>
                  </a:lnTo>
                  <a:cubicBezTo>
                    <a:pt x="3667" y="608"/>
                    <a:pt x="3048" y="1"/>
                    <a:pt x="2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58" name="Google Shape;10758;p60"/>
          <p:cNvGrpSpPr/>
          <p:nvPr/>
        </p:nvGrpSpPr>
        <p:grpSpPr>
          <a:xfrm>
            <a:off x="7562766" y="1514864"/>
            <a:ext cx="327059" cy="360192"/>
            <a:chOff x="7562766" y="1514864"/>
            <a:chExt cx="327059" cy="360192"/>
          </a:xfrm>
        </p:grpSpPr>
        <p:sp>
          <p:nvSpPr>
            <p:cNvPr id="10759" name="Google Shape;10759;p60"/>
            <p:cNvSpPr/>
            <p:nvPr/>
          </p:nvSpPr>
          <p:spPr>
            <a:xfrm>
              <a:off x="7662418" y="1600289"/>
              <a:ext cx="127724" cy="165248"/>
            </a:xfrm>
            <a:custGeom>
              <a:avLst/>
              <a:gdLst/>
              <a:ahLst/>
              <a:cxnLst/>
              <a:rect l="l" t="t" r="r" b="b"/>
              <a:pathLst>
                <a:path w="4013" h="5192" extrusionOk="0">
                  <a:moveTo>
                    <a:pt x="2001" y="334"/>
                  </a:moveTo>
                  <a:cubicBezTo>
                    <a:pt x="2298" y="334"/>
                    <a:pt x="2548" y="513"/>
                    <a:pt x="2656" y="763"/>
                  </a:cubicBezTo>
                  <a:cubicBezTo>
                    <a:pt x="2679" y="846"/>
                    <a:pt x="2715" y="941"/>
                    <a:pt x="2715" y="1049"/>
                  </a:cubicBezTo>
                  <a:lnTo>
                    <a:pt x="2715" y="1227"/>
                  </a:lnTo>
                  <a:cubicBezTo>
                    <a:pt x="2441" y="1132"/>
                    <a:pt x="2322" y="846"/>
                    <a:pt x="2322" y="834"/>
                  </a:cubicBezTo>
                  <a:cubicBezTo>
                    <a:pt x="2298" y="775"/>
                    <a:pt x="2251" y="727"/>
                    <a:pt x="2179" y="727"/>
                  </a:cubicBezTo>
                  <a:cubicBezTo>
                    <a:pt x="2120" y="727"/>
                    <a:pt x="2060" y="763"/>
                    <a:pt x="2013" y="822"/>
                  </a:cubicBezTo>
                  <a:cubicBezTo>
                    <a:pt x="2013" y="822"/>
                    <a:pt x="1822" y="1180"/>
                    <a:pt x="1286" y="1239"/>
                  </a:cubicBezTo>
                  <a:lnTo>
                    <a:pt x="1286" y="1025"/>
                  </a:lnTo>
                  <a:cubicBezTo>
                    <a:pt x="1298" y="941"/>
                    <a:pt x="1310" y="846"/>
                    <a:pt x="1346" y="763"/>
                  </a:cubicBezTo>
                  <a:cubicBezTo>
                    <a:pt x="1453" y="513"/>
                    <a:pt x="1703" y="334"/>
                    <a:pt x="2001" y="334"/>
                  </a:cubicBezTo>
                  <a:close/>
                  <a:moveTo>
                    <a:pt x="2167" y="1180"/>
                  </a:moveTo>
                  <a:cubicBezTo>
                    <a:pt x="2263" y="1322"/>
                    <a:pt x="2465" y="1501"/>
                    <a:pt x="2727" y="1549"/>
                  </a:cubicBezTo>
                  <a:lnTo>
                    <a:pt x="2727" y="1775"/>
                  </a:lnTo>
                  <a:cubicBezTo>
                    <a:pt x="2727" y="2156"/>
                    <a:pt x="2429" y="2465"/>
                    <a:pt x="2048" y="2489"/>
                  </a:cubicBezTo>
                  <a:lnTo>
                    <a:pt x="1989" y="2489"/>
                  </a:lnTo>
                  <a:cubicBezTo>
                    <a:pt x="1596" y="2489"/>
                    <a:pt x="1298" y="2180"/>
                    <a:pt x="1298" y="1787"/>
                  </a:cubicBezTo>
                  <a:lnTo>
                    <a:pt x="1298" y="1561"/>
                  </a:lnTo>
                  <a:cubicBezTo>
                    <a:pt x="1727" y="1525"/>
                    <a:pt x="2001" y="1346"/>
                    <a:pt x="2167" y="1180"/>
                  </a:cubicBezTo>
                  <a:close/>
                  <a:moveTo>
                    <a:pt x="2215" y="2846"/>
                  </a:moveTo>
                  <a:lnTo>
                    <a:pt x="2132" y="3025"/>
                  </a:lnTo>
                  <a:lnTo>
                    <a:pt x="1906" y="3025"/>
                  </a:lnTo>
                  <a:lnTo>
                    <a:pt x="1810" y="2846"/>
                  </a:lnTo>
                  <a:close/>
                  <a:moveTo>
                    <a:pt x="2084" y="3347"/>
                  </a:moveTo>
                  <a:lnTo>
                    <a:pt x="2287" y="4180"/>
                  </a:lnTo>
                  <a:lnTo>
                    <a:pt x="2013" y="4442"/>
                  </a:lnTo>
                  <a:lnTo>
                    <a:pt x="1751" y="4180"/>
                  </a:lnTo>
                  <a:lnTo>
                    <a:pt x="1929" y="3347"/>
                  </a:lnTo>
                  <a:close/>
                  <a:moveTo>
                    <a:pt x="2572" y="2918"/>
                  </a:moveTo>
                  <a:cubicBezTo>
                    <a:pt x="2810" y="2989"/>
                    <a:pt x="3025" y="3120"/>
                    <a:pt x="3215" y="3311"/>
                  </a:cubicBezTo>
                  <a:cubicBezTo>
                    <a:pt x="3549" y="3620"/>
                    <a:pt x="3727" y="4025"/>
                    <a:pt x="3727" y="4442"/>
                  </a:cubicBezTo>
                  <a:lnTo>
                    <a:pt x="3668" y="4859"/>
                  </a:lnTo>
                  <a:lnTo>
                    <a:pt x="334" y="4859"/>
                  </a:lnTo>
                  <a:lnTo>
                    <a:pt x="334" y="4442"/>
                  </a:lnTo>
                  <a:cubicBezTo>
                    <a:pt x="334" y="4025"/>
                    <a:pt x="513" y="3620"/>
                    <a:pt x="834" y="3311"/>
                  </a:cubicBezTo>
                  <a:cubicBezTo>
                    <a:pt x="1013" y="3132"/>
                    <a:pt x="1239" y="2989"/>
                    <a:pt x="1477" y="2918"/>
                  </a:cubicBezTo>
                  <a:lnTo>
                    <a:pt x="1632" y="3204"/>
                  </a:lnTo>
                  <a:lnTo>
                    <a:pt x="1405" y="4192"/>
                  </a:lnTo>
                  <a:cubicBezTo>
                    <a:pt x="1394" y="4251"/>
                    <a:pt x="1405" y="4311"/>
                    <a:pt x="1453" y="4359"/>
                  </a:cubicBezTo>
                  <a:lnTo>
                    <a:pt x="1906" y="4775"/>
                  </a:lnTo>
                  <a:cubicBezTo>
                    <a:pt x="1941" y="4811"/>
                    <a:pt x="1989" y="4823"/>
                    <a:pt x="2025" y="4823"/>
                  </a:cubicBezTo>
                  <a:cubicBezTo>
                    <a:pt x="2072" y="4823"/>
                    <a:pt x="2096" y="4811"/>
                    <a:pt x="2144" y="4775"/>
                  </a:cubicBezTo>
                  <a:lnTo>
                    <a:pt x="2608" y="4359"/>
                  </a:lnTo>
                  <a:cubicBezTo>
                    <a:pt x="2656" y="4311"/>
                    <a:pt x="2668" y="4251"/>
                    <a:pt x="2656" y="4192"/>
                  </a:cubicBezTo>
                  <a:lnTo>
                    <a:pt x="2429" y="3204"/>
                  </a:lnTo>
                  <a:lnTo>
                    <a:pt x="2572" y="2918"/>
                  </a:lnTo>
                  <a:close/>
                  <a:moveTo>
                    <a:pt x="2001" y="1"/>
                  </a:moveTo>
                  <a:cubicBezTo>
                    <a:pt x="1417" y="1"/>
                    <a:pt x="953" y="465"/>
                    <a:pt x="953" y="1049"/>
                  </a:cubicBezTo>
                  <a:lnTo>
                    <a:pt x="953" y="1418"/>
                  </a:lnTo>
                  <a:lnTo>
                    <a:pt x="953" y="1787"/>
                  </a:lnTo>
                  <a:cubicBezTo>
                    <a:pt x="953" y="2120"/>
                    <a:pt x="1120" y="2418"/>
                    <a:pt x="1358" y="2608"/>
                  </a:cubicBezTo>
                  <a:cubicBezTo>
                    <a:pt x="572" y="2870"/>
                    <a:pt x="1" y="3608"/>
                    <a:pt x="1" y="4442"/>
                  </a:cubicBezTo>
                  <a:lnTo>
                    <a:pt x="1" y="5037"/>
                  </a:lnTo>
                  <a:cubicBezTo>
                    <a:pt x="1" y="5121"/>
                    <a:pt x="84" y="5192"/>
                    <a:pt x="167" y="5192"/>
                  </a:cubicBezTo>
                  <a:lnTo>
                    <a:pt x="3834" y="5192"/>
                  </a:lnTo>
                  <a:cubicBezTo>
                    <a:pt x="3918" y="5192"/>
                    <a:pt x="3989" y="5121"/>
                    <a:pt x="3989" y="5037"/>
                  </a:cubicBezTo>
                  <a:lnTo>
                    <a:pt x="3989" y="4442"/>
                  </a:lnTo>
                  <a:cubicBezTo>
                    <a:pt x="4013" y="3620"/>
                    <a:pt x="3430" y="2882"/>
                    <a:pt x="2644" y="2608"/>
                  </a:cubicBezTo>
                  <a:cubicBezTo>
                    <a:pt x="2882" y="2418"/>
                    <a:pt x="3037" y="2120"/>
                    <a:pt x="3037" y="1787"/>
                  </a:cubicBezTo>
                  <a:lnTo>
                    <a:pt x="3037" y="1418"/>
                  </a:lnTo>
                  <a:lnTo>
                    <a:pt x="3037" y="1049"/>
                  </a:lnTo>
                  <a:cubicBezTo>
                    <a:pt x="3037" y="465"/>
                    <a:pt x="2584" y="1"/>
                    <a:pt x="2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0" name="Google Shape;10760;p60"/>
            <p:cNvSpPr/>
            <p:nvPr/>
          </p:nvSpPr>
          <p:spPr>
            <a:xfrm>
              <a:off x="7599527" y="1548951"/>
              <a:ext cx="258853" cy="154841"/>
            </a:xfrm>
            <a:custGeom>
              <a:avLst/>
              <a:gdLst/>
              <a:ahLst/>
              <a:cxnLst/>
              <a:rect l="l" t="t" r="r" b="b"/>
              <a:pathLst>
                <a:path w="8133" h="4865" extrusionOk="0">
                  <a:moveTo>
                    <a:pt x="3974" y="1"/>
                  </a:moveTo>
                  <a:cubicBezTo>
                    <a:pt x="3947" y="1"/>
                    <a:pt x="3923" y="7"/>
                    <a:pt x="3905" y="18"/>
                  </a:cubicBezTo>
                  <a:cubicBezTo>
                    <a:pt x="3882" y="42"/>
                    <a:pt x="1798" y="1269"/>
                    <a:pt x="238" y="1269"/>
                  </a:cubicBezTo>
                  <a:cubicBezTo>
                    <a:pt x="167" y="1269"/>
                    <a:pt x="95" y="1328"/>
                    <a:pt x="72" y="1411"/>
                  </a:cubicBezTo>
                  <a:cubicBezTo>
                    <a:pt x="72" y="1423"/>
                    <a:pt x="0" y="1912"/>
                    <a:pt x="0" y="2662"/>
                  </a:cubicBezTo>
                  <a:cubicBezTo>
                    <a:pt x="0" y="2745"/>
                    <a:pt x="72" y="2816"/>
                    <a:pt x="167" y="2816"/>
                  </a:cubicBezTo>
                  <a:cubicBezTo>
                    <a:pt x="250" y="2816"/>
                    <a:pt x="333" y="2745"/>
                    <a:pt x="333" y="2662"/>
                  </a:cubicBezTo>
                  <a:cubicBezTo>
                    <a:pt x="333" y="2162"/>
                    <a:pt x="357" y="1781"/>
                    <a:pt x="393" y="1590"/>
                  </a:cubicBezTo>
                  <a:cubicBezTo>
                    <a:pt x="1060" y="1554"/>
                    <a:pt x="1857" y="1352"/>
                    <a:pt x="2786" y="947"/>
                  </a:cubicBezTo>
                  <a:cubicBezTo>
                    <a:pt x="3346" y="697"/>
                    <a:pt x="3798" y="459"/>
                    <a:pt x="3977" y="352"/>
                  </a:cubicBezTo>
                  <a:cubicBezTo>
                    <a:pt x="4155" y="459"/>
                    <a:pt x="4596" y="697"/>
                    <a:pt x="5167" y="947"/>
                  </a:cubicBezTo>
                  <a:cubicBezTo>
                    <a:pt x="6084" y="1352"/>
                    <a:pt x="6894" y="1566"/>
                    <a:pt x="7561" y="1590"/>
                  </a:cubicBezTo>
                  <a:cubicBezTo>
                    <a:pt x="7608" y="2007"/>
                    <a:pt x="7715" y="3281"/>
                    <a:pt x="7394" y="4662"/>
                  </a:cubicBezTo>
                  <a:cubicBezTo>
                    <a:pt x="7382" y="4757"/>
                    <a:pt x="7430" y="4840"/>
                    <a:pt x="7513" y="4864"/>
                  </a:cubicBezTo>
                  <a:lnTo>
                    <a:pt x="7549" y="4864"/>
                  </a:lnTo>
                  <a:cubicBezTo>
                    <a:pt x="7620" y="4864"/>
                    <a:pt x="7692" y="4805"/>
                    <a:pt x="7715" y="4721"/>
                  </a:cubicBezTo>
                  <a:cubicBezTo>
                    <a:pt x="8132" y="3007"/>
                    <a:pt x="7894" y="1483"/>
                    <a:pt x="7894" y="1411"/>
                  </a:cubicBezTo>
                  <a:cubicBezTo>
                    <a:pt x="7870" y="1328"/>
                    <a:pt x="7799" y="1269"/>
                    <a:pt x="7727" y="1269"/>
                  </a:cubicBezTo>
                  <a:cubicBezTo>
                    <a:pt x="6168" y="1269"/>
                    <a:pt x="4096" y="42"/>
                    <a:pt x="4060" y="18"/>
                  </a:cubicBezTo>
                  <a:cubicBezTo>
                    <a:pt x="4030" y="7"/>
                    <a:pt x="4001" y="1"/>
                    <a:pt x="39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1" name="Google Shape;10761;p60"/>
            <p:cNvSpPr/>
            <p:nvPr/>
          </p:nvSpPr>
          <p:spPr>
            <a:xfrm>
              <a:off x="7599909" y="1648380"/>
              <a:ext cx="242175" cy="190679"/>
            </a:xfrm>
            <a:custGeom>
              <a:avLst/>
              <a:gdLst/>
              <a:ahLst/>
              <a:cxnLst/>
              <a:rect l="l" t="t" r="r" b="b"/>
              <a:pathLst>
                <a:path w="7609" h="5991" extrusionOk="0">
                  <a:moveTo>
                    <a:pt x="185" y="1"/>
                  </a:moveTo>
                  <a:cubicBezTo>
                    <a:pt x="179" y="1"/>
                    <a:pt x="173" y="1"/>
                    <a:pt x="167" y="2"/>
                  </a:cubicBezTo>
                  <a:cubicBezTo>
                    <a:pt x="71" y="2"/>
                    <a:pt x="0" y="97"/>
                    <a:pt x="12" y="181"/>
                  </a:cubicBezTo>
                  <a:cubicBezTo>
                    <a:pt x="95" y="1419"/>
                    <a:pt x="369" y="2502"/>
                    <a:pt x="869" y="3419"/>
                  </a:cubicBezTo>
                  <a:cubicBezTo>
                    <a:pt x="1536" y="4669"/>
                    <a:pt x="2560" y="5526"/>
                    <a:pt x="3929" y="5979"/>
                  </a:cubicBezTo>
                  <a:cubicBezTo>
                    <a:pt x="3941" y="5979"/>
                    <a:pt x="3965" y="5991"/>
                    <a:pt x="3989" y="5991"/>
                  </a:cubicBezTo>
                  <a:cubicBezTo>
                    <a:pt x="4001" y="5991"/>
                    <a:pt x="4024" y="5991"/>
                    <a:pt x="4048" y="5979"/>
                  </a:cubicBezTo>
                  <a:cubicBezTo>
                    <a:pt x="4941" y="5681"/>
                    <a:pt x="5691" y="5217"/>
                    <a:pt x="6287" y="4574"/>
                  </a:cubicBezTo>
                  <a:cubicBezTo>
                    <a:pt x="6882" y="3931"/>
                    <a:pt x="7322" y="3133"/>
                    <a:pt x="7608" y="2181"/>
                  </a:cubicBezTo>
                  <a:cubicBezTo>
                    <a:pt x="7608" y="2097"/>
                    <a:pt x="7560" y="2002"/>
                    <a:pt x="7477" y="1966"/>
                  </a:cubicBezTo>
                  <a:cubicBezTo>
                    <a:pt x="7463" y="1963"/>
                    <a:pt x="7448" y="1961"/>
                    <a:pt x="7434" y="1961"/>
                  </a:cubicBezTo>
                  <a:cubicBezTo>
                    <a:pt x="7358" y="1961"/>
                    <a:pt x="7293" y="2013"/>
                    <a:pt x="7263" y="2074"/>
                  </a:cubicBezTo>
                  <a:cubicBezTo>
                    <a:pt x="7001" y="2990"/>
                    <a:pt x="6560" y="3741"/>
                    <a:pt x="6013" y="4336"/>
                  </a:cubicBezTo>
                  <a:cubicBezTo>
                    <a:pt x="5465" y="4919"/>
                    <a:pt x="4774" y="5348"/>
                    <a:pt x="3977" y="5634"/>
                  </a:cubicBezTo>
                  <a:cubicBezTo>
                    <a:pt x="2727" y="5205"/>
                    <a:pt x="1774" y="4395"/>
                    <a:pt x="1143" y="3252"/>
                  </a:cubicBezTo>
                  <a:cubicBezTo>
                    <a:pt x="691" y="2383"/>
                    <a:pt x="417" y="1347"/>
                    <a:pt x="345" y="157"/>
                  </a:cubicBezTo>
                  <a:cubicBezTo>
                    <a:pt x="345" y="68"/>
                    <a:pt x="263" y="1"/>
                    <a:pt x="1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2" name="Google Shape;10762;p60"/>
            <p:cNvSpPr/>
            <p:nvPr/>
          </p:nvSpPr>
          <p:spPr>
            <a:xfrm>
              <a:off x="7562766" y="1514864"/>
              <a:ext cx="327059" cy="360192"/>
            </a:xfrm>
            <a:custGeom>
              <a:avLst/>
              <a:gdLst/>
              <a:ahLst/>
              <a:cxnLst/>
              <a:rect l="l" t="t" r="r" b="b"/>
              <a:pathLst>
                <a:path w="10276" h="11317" extrusionOk="0">
                  <a:moveTo>
                    <a:pt x="5132" y="363"/>
                  </a:moveTo>
                  <a:cubicBezTo>
                    <a:pt x="5334" y="482"/>
                    <a:pt x="5906" y="792"/>
                    <a:pt x="6644" y="1125"/>
                  </a:cubicBezTo>
                  <a:cubicBezTo>
                    <a:pt x="7823" y="1625"/>
                    <a:pt x="8835" y="1899"/>
                    <a:pt x="9668" y="1923"/>
                  </a:cubicBezTo>
                  <a:cubicBezTo>
                    <a:pt x="9728" y="2375"/>
                    <a:pt x="9882" y="3947"/>
                    <a:pt x="9501" y="5673"/>
                  </a:cubicBezTo>
                  <a:cubicBezTo>
                    <a:pt x="9251" y="6888"/>
                    <a:pt x="8823" y="7912"/>
                    <a:pt x="8192" y="8757"/>
                  </a:cubicBezTo>
                  <a:cubicBezTo>
                    <a:pt x="7442" y="9781"/>
                    <a:pt x="6406" y="10531"/>
                    <a:pt x="5132" y="10972"/>
                  </a:cubicBezTo>
                  <a:cubicBezTo>
                    <a:pt x="3846" y="10543"/>
                    <a:pt x="2822" y="9805"/>
                    <a:pt x="2060" y="8769"/>
                  </a:cubicBezTo>
                  <a:cubicBezTo>
                    <a:pt x="1453" y="7936"/>
                    <a:pt x="1012" y="6900"/>
                    <a:pt x="750" y="5709"/>
                  </a:cubicBezTo>
                  <a:cubicBezTo>
                    <a:pt x="393" y="3983"/>
                    <a:pt x="536" y="2387"/>
                    <a:pt x="596" y="1923"/>
                  </a:cubicBezTo>
                  <a:cubicBezTo>
                    <a:pt x="1429" y="1899"/>
                    <a:pt x="2453" y="1625"/>
                    <a:pt x="3608" y="1125"/>
                  </a:cubicBezTo>
                  <a:cubicBezTo>
                    <a:pt x="4346" y="816"/>
                    <a:pt x="4917" y="482"/>
                    <a:pt x="5132" y="363"/>
                  </a:cubicBezTo>
                  <a:close/>
                  <a:moveTo>
                    <a:pt x="5129" y="0"/>
                  </a:moveTo>
                  <a:cubicBezTo>
                    <a:pt x="5102" y="0"/>
                    <a:pt x="5078" y="6"/>
                    <a:pt x="5060" y="18"/>
                  </a:cubicBezTo>
                  <a:cubicBezTo>
                    <a:pt x="5025" y="42"/>
                    <a:pt x="2417" y="1589"/>
                    <a:pt x="453" y="1589"/>
                  </a:cubicBezTo>
                  <a:cubicBezTo>
                    <a:pt x="381" y="1589"/>
                    <a:pt x="310" y="1649"/>
                    <a:pt x="298" y="1720"/>
                  </a:cubicBezTo>
                  <a:cubicBezTo>
                    <a:pt x="274" y="1792"/>
                    <a:pt x="0" y="3637"/>
                    <a:pt x="441" y="5757"/>
                  </a:cubicBezTo>
                  <a:cubicBezTo>
                    <a:pt x="691" y="7007"/>
                    <a:pt x="1155" y="8078"/>
                    <a:pt x="1810" y="8948"/>
                  </a:cubicBezTo>
                  <a:cubicBezTo>
                    <a:pt x="2620" y="10055"/>
                    <a:pt x="3727" y="10841"/>
                    <a:pt x="5096" y="11305"/>
                  </a:cubicBezTo>
                  <a:cubicBezTo>
                    <a:pt x="5120" y="11305"/>
                    <a:pt x="5132" y="11317"/>
                    <a:pt x="5156" y="11317"/>
                  </a:cubicBezTo>
                  <a:cubicBezTo>
                    <a:pt x="5179" y="11317"/>
                    <a:pt x="5191" y="11317"/>
                    <a:pt x="5215" y="11305"/>
                  </a:cubicBezTo>
                  <a:cubicBezTo>
                    <a:pt x="6584" y="10841"/>
                    <a:pt x="7692" y="10055"/>
                    <a:pt x="8513" y="8948"/>
                  </a:cubicBezTo>
                  <a:cubicBezTo>
                    <a:pt x="9144" y="8078"/>
                    <a:pt x="9609" y="6983"/>
                    <a:pt x="9882" y="5757"/>
                  </a:cubicBezTo>
                  <a:cubicBezTo>
                    <a:pt x="10275" y="3637"/>
                    <a:pt x="10001" y="1792"/>
                    <a:pt x="9978" y="1720"/>
                  </a:cubicBezTo>
                  <a:cubicBezTo>
                    <a:pt x="9966" y="1649"/>
                    <a:pt x="9894" y="1589"/>
                    <a:pt x="9823" y="1589"/>
                  </a:cubicBezTo>
                  <a:cubicBezTo>
                    <a:pt x="7858" y="1589"/>
                    <a:pt x="5251" y="42"/>
                    <a:pt x="5215" y="18"/>
                  </a:cubicBezTo>
                  <a:cubicBezTo>
                    <a:pt x="5185" y="6"/>
                    <a:pt x="5156" y="0"/>
                    <a:pt x="51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63" name="Google Shape;10763;p60"/>
          <p:cNvGrpSpPr/>
          <p:nvPr/>
        </p:nvGrpSpPr>
        <p:grpSpPr>
          <a:xfrm>
            <a:off x="6221229" y="1498673"/>
            <a:ext cx="361636" cy="362183"/>
            <a:chOff x="6259175" y="1559008"/>
            <a:chExt cx="271743" cy="272093"/>
          </a:xfrm>
        </p:grpSpPr>
        <p:sp>
          <p:nvSpPr>
            <p:cNvPr id="10764" name="Google Shape;10764;p60"/>
            <p:cNvSpPr/>
            <p:nvPr/>
          </p:nvSpPr>
          <p:spPr>
            <a:xfrm>
              <a:off x="6259175" y="1559008"/>
              <a:ext cx="271743" cy="272093"/>
            </a:xfrm>
            <a:custGeom>
              <a:avLst/>
              <a:gdLst/>
              <a:ahLst/>
              <a:cxnLst/>
              <a:rect l="l" t="t" r="r" b="b"/>
              <a:pathLst>
                <a:path w="8538" h="8549" extrusionOk="0">
                  <a:moveTo>
                    <a:pt x="4263" y="0"/>
                  </a:moveTo>
                  <a:cubicBezTo>
                    <a:pt x="3120" y="0"/>
                    <a:pt x="2049" y="453"/>
                    <a:pt x="1251" y="1250"/>
                  </a:cubicBezTo>
                  <a:cubicBezTo>
                    <a:pt x="441" y="2060"/>
                    <a:pt x="1" y="3131"/>
                    <a:pt x="1" y="4274"/>
                  </a:cubicBezTo>
                  <a:cubicBezTo>
                    <a:pt x="1" y="5417"/>
                    <a:pt x="441" y="6489"/>
                    <a:pt x="1251" y="7299"/>
                  </a:cubicBezTo>
                  <a:cubicBezTo>
                    <a:pt x="2049" y="8096"/>
                    <a:pt x="3120" y="8549"/>
                    <a:pt x="4263" y="8549"/>
                  </a:cubicBezTo>
                  <a:cubicBezTo>
                    <a:pt x="5418" y="8549"/>
                    <a:pt x="6490" y="8096"/>
                    <a:pt x="7287" y="7299"/>
                  </a:cubicBezTo>
                  <a:cubicBezTo>
                    <a:pt x="8097" y="6489"/>
                    <a:pt x="8537" y="5417"/>
                    <a:pt x="8537" y="4274"/>
                  </a:cubicBezTo>
                  <a:cubicBezTo>
                    <a:pt x="8526" y="4179"/>
                    <a:pt x="8526" y="4108"/>
                    <a:pt x="8526" y="4036"/>
                  </a:cubicBezTo>
                  <a:cubicBezTo>
                    <a:pt x="8526" y="3965"/>
                    <a:pt x="8466" y="3917"/>
                    <a:pt x="8383" y="3917"/>
                  </a:cubicBezTo>
                  <a:cubicBezTo>
                    <a:pt x="8311" y="3917"/>
                    <a:pt x="8276" y="3977"/>
                    <a:pt x="8276" y="4048"/>
                  </a:cubicBezTo>
                  <a:lnTo>
                    <a:pt x="8276" y="4274"/>
                  </a:lnTo>
                  <a:cubicBezTo>
                    <a:pt x="8276" y="5346"/>
                    <a:pt x="7859" y="6358"/>
                    <a:pt x="7097" y="7120"/>
                  </a:cubicBezTo>
                  <a:cubicBezTo>
                    <a:pt x="6335" y="7882"/>
                    <a:pt x="5323" y="8287"/>
                    <a:pt x="4251" y="8287"/>
                  </a:cubicBezTo>
                  <a:cubicBezTo>
                    <a:pt x="3180" y="8287"/>
                    <a:pt x="2168" y="7870"/>
                    <a:pt x="1406" y="7120"/>
                  </a:cubicBezTo>
                  <a:cubicBezTo>
                    <a:pt x="656" y="6358"/>
                    <a:pt x="239" y="5346"/>
                    <a:pt x="239" y="4274"/>
                  </a:cubicBezTo>
                  <a:cubicBezTo>
                    <a:pt x="239" y="3203"/>
                    <a:pt x="644" y="2191"/>
                    <a:pt x="1406" y="1429"/>
                  </a:cubicBezTo>
                  <a:cubicBezTo>
                    <a:pt x="2168" y="667"/>
                    <a:pt x="3180" y="250"/>
                    <a:pt x="4251" y="250"/>
                  </a:cubicBezTo>
                  <a:cubicBezTo>
                    <a:pt x="5204" y="250"/>
                    <a:pt x="6121" y="595"/>
                    <a:pt x="6847" y="1203"/>
                  </a:cubicBezTo>
                  <a:cubicBezTo>
                    <a:pt x="7561" y="1822"/>
                    <a:pt x="8049" y="2655"/>
                    <a:pt x="8216" y="3560"/>
                  </a:cubicBezTo>
                  <a:cubicBezTo>
                    <a:pt x="8227" y="3624"/>
                    <a:pt x="8276" y="3669"/>
                    <a:pt x="8337" y="3669"/>
                  </a:cubicBezTo>
                  <a:cubicBezTo>
                    <a:pt x="8344" y="3669"/>
                    <a:pt x="8352" y="3668"/>
                    <a:pt x="8359" y="3667"/>
                  </a:cubicBezTo>
                  <a:cubicBezTo>
                    <a:pt x="8430" y="3643"/>
                    <a:pt x="8478" y="3584"/>
                    <a:pt x="8466" y="3512"/>
                  </a:cubicBezTo>
                  <a:cubicBezTo>
                    <a:pt x="8287" y="2548"/>
                    <a:pt x="7775" y="1655"/>
                    <a:pt x="7025" y="1012"/>
                  </a:cubicBezTo>
                  <a:cubicBezTo>
                    <a:pt x="6251" y="357"/>
                    <a:pt x="5275" y="0"/>
                    <a:pt x="4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5" name="Google Shape;10765;p60"/>
            <p:cNvSpPr/>
            <p:nvPr/>
          </p:nvSpPr>
          <p:spPr>
            <a:xfrm>
              <a:off x="6278145" y="1577946"/>
              <a:ext cx="231927" cy="232309"/>
            </a:xfrm>
            <a:custGeom>
              <a:avLst/>
              <a:gdLst/>
              <a:ahLst/>
              <a:cxnLst/>
              <a:rect l="l" t="t" r="r" b="b"/>
              <a:pathLst>
                <a:path w="7287" h="7299" extrusionOk="0">
                  <a:moveTo>
                    <a:pt x="3643" y="0"/>
                  </a:moveTo>
                  <a:cubicBezTo>
                    <a:pt x="3119" y="0"/>
                    <a:pt x="2631" y="108"/>
                    <a:pt x="2155" y="322"/>
                  </a:cubicBezTo>
                  <a:cubicBezTo>
                    <a:pt x="1703" y="524"/>
                    <a:pt x="1310" y="810"/>
                    <a:pt x="964" y="1179"/>
                  </a:cubicBezTo>
                  <a:cubicBezTo>
                    <a:pt x="917" y="1227"/>
                    <a:pt x="917" y="1310"/>
                    <a:pt x="964" y="1358"/>
                  </a:cubicBezTo>
                  <a:cubicBezTo>
                    <a:pt x="988" y="1382"/>
                    <a:pt x="1021" y="1393"/>
                    <a:pt x="1054" y="1393"/>
                  </a:cubicBezTo>
                  <a:cubicBezTo>
                    <a:pt x="1086" y="1393"/>
                    <a:pt x="1119" y="1382"/>
                    <a:pt x="1143" y="1358"/>
                  </a:cubicBezTo>
                  <a:cubicBezTo>
                    <a:pt x="1453" y="1012"/>
                    <a:pt x="1822" y="750"/>
                    <a:pt x="2262" y="560"/>
                  </a:cubicBezTo>
                  <a:cubicBezTo>
                    <a:pt x="2691" y="358"/>
                    <a:pt x="3167" y="262"/>
                    <a:pt x="3643" y="262"/>
                  </a:cubicBezTo>
                  <a:cubicBezTo>
                    <a:pt x="5513" y="262"/>
                    <a:pt x="7037" y="1774"/>
                    <a:pt x="7037" y="3656"/>
                  </a:cubicBezTo>
                  <a:cubicBezTo>
                    <a:pt x="7037" y="5525"/>
                    <a:pt x="5513" y="7049"/>
                    <a:pt x="3643" y="7049"/>
                  </a:cubicBezTo>
                  <a:cubicBezTo>
                    <a:pt x="1762" y="7049"/>
                    <a:pt x="250" y="5525"/>
                    <a:pt x="250" y="3656"/>
                  </a:cubicBezTo>
                  <a:cubicBezTo>
                    <a:pt x="250" y="2977"/>
                    <a:pt x="441" y="2322"/>
                    <a:pt x="810" y="1774"/>
                  </a:cubicBezTo>
                  <a:cubicBezTo>
                    <a:pt x="857" y="1727"/>
                    <a:pt x="845" y="1655"/>
                    <a:pt x="786" y="1608"/>
                  </a:cubicBezTo>
                  <a:cubicBezTo>
                    <a:pt x="766" y="1596"/>
                    <a:pt x="743" y="1591"/>
                    <a:pt x="721" y="1591"/>
                  </a:cubicBezTo>
                  <a:cubicBezTo>
                    <a:pt x="676" y="1591"/>
                    <a:pt x="631" y="1612"/>
                    <a:pt x="607" y="1643"/>
                  </a:cubicBezTo>
                  <a:cubicBezTo>
                    <a:pt x="202" y="2239"/>
                    <a:pt x="0" y="2941"/>
                    <a:pt x="0" y="3656"/>
                  </a:cubicBezTo>
                  <a:cubicBezTo>
                    <a:pt x="0" y="4632"/>
                    <a:pt x="381" y="5537"/>
                    <a:pt x="1072" y="6227"/>
                  </a:cubicBezTo>
                  <a:cubicBezTo>
                    <a:pt x="1750" y="6906"/>
                    <a:pt x="2679" y="7299"/>
                    <a:pt x="3643" y="7299"/>
                  </a:cubicBezTo>
                  <a:cubicBezTo>
                    <a:pt x="4620" y="7299"/>
                    <a:pt x="5536" y="6906"/>
                    <a:pt x="6215" y="6227"/>
                  </a:cubicBezTo>
                  <a:cubicBezTo>
                    <a:pt x="6894" y="5537"/>
                    <a:pt x="7287" y="4620"/>
                    <a:pt x="7287" y="3656"/>
                  </a:cubicBezTo>
                  <a:cubicBezTo>
                    <a:pt x="7287" y="2679"/>
                    <a:pt x="6906" y="1763"/>
                    <a:pt x="6215" y="1072"/>
                  </a:cubicBezTo>
                  <a:cubicBezTo>
                    <a:pt x="5536" y="393"/>
                    <a:pt x="4608" y="0"/>
                    <a:pt x="3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6" name="Google Shape;10766;p60"/>
            <p:cNvSpPr/>
            <p:nvPr/>
          </p:nvSpPr>
          <p:spPr>
            <a:xfrm>
              <a:off x="6297846" y="1690870"/>
              <a:ext cx="13272" cy="7607"/>
            </a:xfrm>
            <a:custGeom>
              <a:avLst/>
              <a:gdLst/>
              <a:ahLst/>
              <a:cxnLst/>
              <a:rect l="l" t="t" r="r" b="b"/>
              <a:pathLst>
                <a:path w="417" h="239" extrusionOk="0">
                  <a:moveTo>
                    <a:pt x="119" y="0"/>
                  </a:moveTo>
                  <a:cubicBezTo>
                    <a:pt x="48" y="0"/>
                    <a:pt x="0" y="36"/>
                    <a:pt x="0" y="120"/>
                  </a:cubicBezTo>
                  <a:cubicBezTo>
                    <a:pt x="0" y="191"/>
                    <a:pt x="60" y="239"/>
                    <a:pt x="119" y="239"/>
                  </a:cubicBezTo>
                  <a:lnTo>
                    <a:pt x="298" y="239"/>
                  </a:lnTo>
                  <a:cubicBezTo>
                    <a:pt x="369" y="239"/>
                    <a:pt x="417" y="179"/>
                    <a:pt x="417" y="120"/>
                  </a:cubicBezTo>
                  <a:cubicBezTo>
                    <a:pt x="417" y="60"/>
                    <a:pt x="357" y="0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7" name="Google Shape;10767;p60"/>
            <p:cNvSpPr/>
            <p:nvPr/>
          </p:nvSpPr>
          <p:spPr>
            <a:xfrm>
              <a:off x="6390687" y="1598029"/>
              <a:ext cx="100448" cy="100448"/>
            </a:xfrm>
            <a:custGeom>
              <a:avLst/>
              <a:gdLst/>
              <a:ahLst/>
              <a:cxnLst/>
              <a:rect l="l" t="t" r="r" b="b"/>
              <a:pathLst>
                <a:path w="3156" h="3156" extrusionOk="0">
                  <a:moveTo>
                    <a:pt x="119" y="0"/>
                  </a:moveTo>
                  <a:cubicBezTo>
                    <a:pt x="60" y="0"/>
                    <a:pt x="0" y="60"/>
                    <a:pt x="0" y="119"/>
                  </a:cubicBezTo>
                  <a:lnTo>
                    <a:pt x="0" y="3037"/>
                  </a:lnTo>
                  <a:cubicBezTo>
                    <a:pt x="0" y="3108"/>
                    <a:pt x="60" y="3156"/>
                    <a:pt x="119" y="3156"/>
                  </a:cubicBezTo>
                  <a:lnTo>
                    <a:pt x="3036" y="3156"/>
                  </a:lnTo>
                  <a:cubicBezTo>
                    <a:pt x="3108" y="3156"/>
                    <a:pt x="3155" y="3096"/>
                    <a:pt x="3155" y="3037"/>
                  </a:cubicBezTo>
                  <a:cubicBezTo>
                    <a:pt x="3155" y="2977"/>
                    <a:pt x="3096" y="2917"/>
                    <a:pt x="3036" y="2917"/>
                  </a:cubicBezTo>
                  <a:lnTo>
                    <a:pt x="250" y="2917"/>
                  </a:lnTo>
                  <a:lnTo>
                    <a:pt x="250" y="119"/>
                  </a:lnTo>
                  <a:lnTo>
                    <a:pt x="238" y="119"/>
                  </a:lnTo>
                  <a:cubicBezTo>
                    <a:pt x="238" y="48"/>
                    <a:pt x="179" y="0"/>
                    <a:pt x="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8" name="Google Shape;10768;p60"/>
            <p:cNvSpPr/>
            <p:nvPr/>
          </p:nvSpPr>
          <p:spPr>
            <a:xfrm>
              <a:off x="6390305" y="1778013"/>
              <a:ext cx="7607" cy="13304"/>
            </a:xfrm>
            <a:custGeom>
              <a:avLst/>
              <a:gdLst/>
              <a:ahLst/>
              <a:cxnLst/>
              <a:rect l="l" t="t" r="r" b="b"/>
              <a:pathLst>
                <a:path w="239" h="418" extrusionOk="0">
                  <a:moveTo>
                    <a:pt x="119" y="1"/>
                  </a:moveTo>
                  <a:cubicBezTo>
                    <a:pt x="60" y="1"/>
                    <a:pt x="0" y="60"/>
                    <a:pt x="0" y="120"/>
                  </a:cubicBezTo>
                  <a:lnTo>
                    <a:pt x="0" y="299"/>
                  </a:lnTo>
                  <a:cubicBezTo>
                    <a:pt x="0" y="370"/>
                    <a:pt x="60" y="418"/>
                    <a:pt x="119" y="418"/>
                  </a:cubicBezTo>
                  <a:cubicBezTo>
                    <a:pt x="179" y="418"/>
                    <a:pt x="238" y="358"/>
                    <a:pt x="238" y="299"/>
                  </a:cubicBezTo>
                  <a:lnTo>
                    <a:pt x="238" y="120"/>
                  </a:lnTo>
                  <a:cubicBezTo>
                    <a:pt x="238" y="49"/>
                    <a:pt x="179" y="1"/>
                    <a:pt x="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9" name="Google Shape;10769;p60"/>
            <p:cNvSpPr/>
            <p:nvPr/>
          </p:nvSpPr>
          <p:spPr>
            <a:xfrm>
              <a:off x="6324358" y="1624923"/>
              <a:ext cx="12922" cy="11776"/>
            </a:xfrm>
            <a:custGeom>
              <a:avLst/>
              <a:gdLst/>
              <a:ahLst/>
              <a:cxnLst/>
              <a:rect l="l" t="t" r="r" b="b"/>
              <a:pathLst>
                <a:path w="406" h="370" extrusionOk="0">
                  <a:moveTo>
                    <a:pt x="133" y="1"/>
                  </a:moveTo>
                  <a:cubicBezTo>
                    <a:pt x="99" y="1"/>
                    <a:pt x="66" y="13"/>
                    <a:pt x="48" y="36"/>
                  </a:cubicBezTo>
                  <a:cubicBezTo>
                    <a:pt x="1" y="72"/>
                    <a:pt x="1" y="167"/>
                    <a:pt x="48" y="215"/>
                  </a:cubicBezTo>
                  <a:lnTo>
                    <a:pt x="179" y="346"/>
                  </a:lnTo>
                  <a:cubicBezTo>
                    <a:pt x="215" y="370"/>
                    <a:pt x="239" y="370"/>
                    <a:pt x="274" y="370"/>
                  </a:cubicBezTo>
                  <a:cubicBezTo>
                    <a:pt x="298" y="370"/>
                    <a:pt x="334" y="358"/>
                    <a:pt x="358" y="346"/>
                  </a:cubicBezTo>
                  <a:cubicBezTo>
                    <a:pt x="405" y="298"/>
                    <a:pt x="405" y="215"/>
                    <a:pt x="358" y="167"/>
                  </a:cubicBezTo>
                  <a:lnTo>
                    <a:pt x="227" y="36"/>
                  </a:lnTo>
                  <a:cubicBezTo>
                    <a:pt x="203" y="13"/>
                    <a:pt x="167" y="1"/>
                    <a:pt x="1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0" name="Google Shape;10770;p60"/>
            <p:cNvSpPr/>
            <p:nvPr/>
          </p:nvSpPr>
          <p:spPr>
            <a:xfrm>
              <a:off x="6451700" y="1752265"/>
              <a:ext cx="12890" cy="11776"/>
            </a:xfrm>
            <a:custGeom>
              <a:avLst/>
              <a:gdLst/>
              <a:ahLst/>
              <a:cxnLst/>
              <a:rect l="l" t="t" r="r" b="b"/>
              <a:pathLst>
                <a:path w="405" h="370" extrusionOk="0">
                  <a:moveTo>
                    <a:pt x="133" y="0"/>
                  </a:moveTo>
                  <a:cubicBezTo>
                    <a:pt x="101" y="0"/>
                    <a:pt x="72" y="12"/>
                    <a:pt x="48" y="36"/>
                  </a:cubicBezTo>
                  <a:cubicBezTo>
                    <a:pt x="0" y="84"/>
                    <a:pt x="0" y="167"/>
                    <a:pt x="48" y="215"/>
                  </a:cubicBezTo>
                  <a:lnTo>
                    <a:pt x="179" y="346"/>
                  </a:lnTo>
                  <a:cubicBezTo>
                    <a:pt x="214" y="369"/>
                    <a:pt x="238" y="369"/>
                    <a:pt x="274" y="369"/>
                  </a:cubicBezTo>
                  <a:cubicBezTo>
                    <a:pt x="298" y="369"/>
                    <a:pt x="333" y="357"/>
                    <a:pt x="357" y="346"/>
                  </a:cubicBezTo>
                  <a:cubicBezTo>
                    <a:pt x="405" y="298"/>
                    <a:pt x="405" y="215"/>
                    <a:pt x="357" y="167"/>
                  </a:cubicBezTo>
                  <a:lnTo>
                    <a:pt x="226" y="36"/>
                  </a:lnTo>
                  <a:cubicBezTo>
                    <a:pt x="197" y="12"/>
                    <a:pt x="164" y="0"/>
                    <a:pt x="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1" name="Google Shape;10771;p60"/>
            <p:cNvSpPr/>
            <p:nvPr/>
          </p:nvSpPr>
          <p:spPr>
            <a:xfrm>
              <a:off x="6451700" y="1624923"/>
              <a:ext cx="12890" cy="11776"/>
            </a:xfrm>
            <a:custGeom>
              <a:avLst/>
              <a:gdLst/>
              <a:ahLst/>
              <a:cxnLst/>
              <a:rect l="l" t="t" r="r" b="b"/>
              <a:pathLst>
                <a:path w="405" h="370" extrusionOk="0">
                  <a:moveTo>
                    <a:pt x="272" y="1"/>
                  </a:moveTo>
                  <a:cubicBezTo>
                    <a:pt x="238" y="1"/>
                    <a:pt x="202" y="13"/>
                    <a:pt x="179" y="36"/>
                  </a:cubicBezTo>
                  <a:lnTo>
                    <a:pt x="48" y="167"/>
                  </a:lnTo>
                  <a:cubicBezTo>
                    <a:pt x="0" y="215"/>
                    <a:pt x="0" y="298"/>
                    <a:pt x="48" y="346"/>
                  </a:cubicBezTo>
                  <a:cubicBezTo>
                    <a:pt x="83" y="370"/>
                    <a:pt x="107" y="370"/>
                    <a:pt x="143" y="370"/>
                  </a:cubicBezTo>
                  <a:cubicBezTo>
                    <a:pt x="167" y="370"/>
                    <a:pt x="202" y="370"/>
                    <a:pt x="226" y="346"/>
                  </a:cubicBezTo>
                  <a:lnTo>
                    <a:pt x="357" y="215"/>
                  </a:lnTo>
                  <a:cubicBezTo>
                    <a:pt x="405" y="167"/>
                    <a:pt x="405" y="72"/>
                    <a:pt x="357" y="36"/>
                  </a:cubicBezTo>
                  <a:cubicBezTo>
                    <a:pt x="339" y="13"/>
                    <a:pt x="307" y="1"/>
                    <a:pt x="2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2" name="Google Shape;10772;p60"/>
            <p:cNvSpPr/>
            <p:nvPr/>
          </p:nvSpPr>
          <p:spPr>
            <a:xfrm>
              <a:off x="6324358" y="1751883"/>
              <a:ext cx="12922" cy="11776"/>
            </a:xfrm>
            <a:custGeom>
              <a:avLst/>
              <a:gdLst/>
              <a:ahLst/>
              <a:cxnLst/>
              <a:rect l="l" t="t" r="r" b="b"/>
              <a:pathLst>
                <a:path w="406" h="370" extrusionOk="0">
                  <a:moveTo>
                    <a:pt x="268" y="0"/>
                  </a:moveTo>
                  <a:cubicBezTo>
                    <a:pt x="236" y="0"/>
                    <a:pt x="203" y="12"/>
                    <a:pt x="179" y="36"/>
                  </a:cubicBezTo>
                  <a:lnTo>
                    <a:pt x="48" y="167"/>
                  </a:lnTo>
                  <a:cubicBezTo>
                    <a:pt x="1" y="227"/>
                    <a:pt x="1" y="298"/>
                    <a:pt x="48" y="346"/>
                  </a:cubicBezTo>
                  <a:cubicBezTo>
                    <a:pt x="72" y="369"/>
                    <a:pt x="108" y="369"/>
                    <a:pt x="132" y="369"/>
                  </a:cubicBezTo>
                  <a:cubicBezTo>
                    <a:pt x="167" y="369"/>
                    <a:pt x="191" y="358"/>
                    <a:pt x="227" y="346"/>
                  </a:cubicBezTo>
                  <a:lnTo>
                    <a:pt x="358" y="215"/>
                  </a:lnTo>
                  <a:cubicBezTo>
                    <a:pt x="405" y="167"/>
                    <a:pt x="405" y="72"/>
                    <a:pt x="358" y="36"/>
                  </a:cubicBezTo>
                  <a:cubicBezTo>
                    <a:pt x="334" y="12"/>
                    <a:pt x="301" y="0"/>
                    <a:pt x="2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3" name="Google Shape;10773;p60"/>
            <p:cNvSpPr/>
            <p:nvPr/>
          </p:nvSpPr>
          <p:spPr>
            <a:xfrm>
              <a:off x="6304657" y="1653823"/>
              <a:ext cx="14036" cy="10567"/>
            </a:xfrm>
            <a:custGeom>
              <a:avLst/>
              <a:gdLst/>
              <a:ahLst/>
              <a:cxnLst/>
              <a:rect l="l" t="t" r="r" b="b"/>
              <a:pathLst>
                <a:path w="441" h="332" extrusionOk="0">
                  <a:moveTo>
                    <a:pt x="143" y="0"/>
                  </a:moveTo>
                  <a:cubicBezTo>
                    <a:pt x="97" y="0"/>
                    <a:pt x="51" y="25"/>
                    <a:pt x="24" y="69"/>
                  </a:cubicBezTo>
                  <a:cubicBezTo>
                    <a:pt x="0" y="129"/>
                    <a:pt x="24" y="212"/>
                    <a:pt x="84" y="236"/>
                  </a:cubicBezTo>
                  <a:lnTo>
                    <a:pt x="250" y="307"/>
                  </a:lnTo>
                  <a:cubicBezTo>
                    <a:pt x="262" y="307"/>
                    <a:pt x="274" y="331"/>
                    <a:pt x="298" y="331"/>
                  </a:cubicBezTo>
                  <a:cubicBezTo>
                    <a:pt x="334" y="331"/>
                    <a:pt x="381" y="295"/>
                    <a:pt x="417" y="260"/>
                  </a:cubicBezTo>
                  <a:cubicBezTo>
                    <a:pt x="441" y="200"/>
                    <a:pt x="417" y="117"/>
                    <a:pt x="358" y="93"/>
                  </a:cubicBezTo>
                  <a:lnTo>
                    <a:pt x="191" y="10"/>
                  </a:lnTo>
                  <a:cubicBezTo>
                    <a:pt x="176" y="3"/>
                    <a:pt x="159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4" name="Google Shape;10774;p60"/>
            <p:cNvSpPr/>
            <p:nvPr/>
          </p:nvSpPr>
          <p:spPr>
            <a:xfrm>
              <a:off x="6469874" y="1724511"/>
              <a:ext cx="14068" cy="10344"/>
            </a:xfrm>
            <a:custGeom>
              <a:avLst/>
              <a:gdLst/>
              <a:ahLst/>
              <a:cxnLst/>
              <a:rect l="l" t="t" r="r" b="b"/>
              <a:pathLst>
                <a:path w="442" h="325" extrusionOk="0">
                  <a:moveTo>
                    <a:pt x="140" y="1"/>
                  </a:moveTo>
                  <a:cubicBezTo>
                    <a:pt x="95" y="1"/>
                    <a:pt x="50" y="31"/>
                    <a:pt x="24" y="75"/>
                  </a:cubicBezTo>
                  <a:cubicBezTo>
                    <a:pt x="1" y="134"/>
                    <a:pt x="24" y="206"/>
                    <a:pt x="84" y="241"/>
                  </a:cubicBezTo>
                  <a:lnTo>
                    <a:pt x="251" y="313"/>
                  </a:lnTo>
                  <a:cubicBezTo>
                    <a:pt x="263" y="313"/>
                    <a:pt x="286" y="325"/>
                    <a:pt x="298" y="325"/>
                  </a:cubicBezTo>
                  <a:cubicBezTo>
                    <a:pt x="346" y="325"/>
                    <a:pt x="382" y="301"/>
                    <a:pt x="417" y="253"/>
                  </a:cubicBezTo>
                  <a:cubicBezTo>
                    <a:pt x="441" y="194"/>
                    <a:pt x="417" y="122"/>
                    <a:pt x="358" y="86"/>
                  </a:cubicBezTo>
                  <a:lnTo>
                    <a:pt x="191" y="15"/>
                  </a:lnTo>
                  <a:cubicBezTo>
                    <a:pt x="175" y="5"/>
                    <a:pt x="157" y="1"/>
                    <a:pt x="1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5" name="Google Shape;10775;p60"/>
            <p:cNvSpPr/>
            <p:nvPr/>
          </p:nvSpPr>
          <p:spPr>
            <a:xfrm>
              <a:off x="6424392" y="1605158"/>
              <a:ext cx="11394" cy="13368"/>
            </a:xfrm>
            <a:custGeom>
              <a:avLst/>
              <a:gdLst/>
              <a:ahLst/>
              <a:cxnLst/>
              <a:rect l="l" t="t" r="r" b="b"/>
              <a:pathLst>
                <a:path w="358" h="420" extrusionOk="0">
                  <a:moveTo>
                    <a:pt x="212" y="0"/>
                  </a:moveTo>
                  <a:cubicBezTo>
                    <a:pt x="168" y="0"/>
                    <a:pt x="125" y="31"/>
                    <a:pt x="108" y="74"/>
                  </a:cubicBezTo>
                  <a:lnTo>
                    <a:pt x="25" y="229"/>
                  </a:lnTo>
                  <a:cubicBezTo>
                    <a:pt x="1" y="288"/>
                    <a:pt x="25" y="372"/>
                    <a:pt x="84" y="396"/>
                  </a:cubicBezTo>
                  <a:cubicBezTo>
                    <a:pt x="108" y="419"/>
                    <a:pt x="120" y="419"/>
                    <a:pt x="132" y="419"/>
                  </a:cubicBezTo>
                  <a:cubicBezTo>
                    <a:pt x="179" y="419"/>
                    <a:pt x="215" y="384"/>
                    <a:pt x="251" y="336"/>
                  </a:cubicBezTo>
                  <a:lnTo>
                    <a:pt x="322" y="181"/>
                  </a:lnTo>
                  <a:cubicBezTo>
                    <a:pt x="358" y="122"/>
                    <a:pt x="322" y="38"/>
                    <a:pt x="263" y="15"/>
                  </a:cubicBezTo>
                  <a:cubicBezTo>
                    <a:pt x="246" y="5"/>
                    <a:pt x="229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6" name="Google Shape;10776;p60"/>
            <p:cNvSpPr/>
            <p:nvPr/>
          </p:nvSpPr>
          <p:spPr>
            <a:xfrm>
              <a:off x="6353926" y="1770916"/>
              <a:ext cx="11394" cy="13208"/>
            </a:xfrm>
            <a:custGeom>
              <a:avLst/>
              <a:gdLst/>
              <a:ahLst/>
              <a:cxnLst/>
              <a:rect l="l" t="t" r="r" b="b"/>
              <a:pathLst>
                <a:path w="358" h="415" extrusionOk="0">
                  <a:moveTo>
                    <a:pt x="214" y="0"/>
                  </a:moveTo>
                  <a:cubicBezTo>
                    <a:pt x="168" y="0"/>
                    <a:pt x="122" y="25"/>
                    <a:pt x="96" y="69"/>
                  </a:cubicBezTo>
                  <a:lnTo>
                    <a:pt x="24" y="236"/>
                  </a:lnTo>
                  <a:cubicBezTo>
                    <a:pt x="0" y="295"/>
                    <a:pt x="24" y="367"/>
                    <a:pt x="84" y="402"/>
                  </a:cubicBezTo>
                  <a:cubicBezTo>
                    <a:pt x="96" y="402"/>
                    <a:pt x="119" y="414"/>
                    <a:pt x="131" y="414"/>
                  </a:cubicBezTo>
                  <a:cubicBezTo>
                    <a:pt x="179" y="414"/>
                    <a:pt x="215" y="391"/>
                    <a:pt x="250" y="343"/>
                  </a:cubicBezTo>
                  <a:lnTo>
                    <a:pt x="322" y="176"/>
                  </a:lnTo>
                  <a:cubicBezTo>
                    <a:pt x="357" y="117"/>
                    <a:pt x="322" y="45"/>
                    <a:pt x="262" y="10"/>
                  </a:cubicBezTo>
                  <a:cubicBezTo>
                    <a:pt x="247" y="3"/>
                    <a:pt x="231" y="0"/>
                    <a:pt x="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7" name="Google Shape;10777;p60"/>
            <p:cNvSpPr/>
            <p:nvPr/>
          </p:nvSpPr>
          <p:spPr>
            <a:xfrm>
              <a:off x="6355040" y="1604363"/>
              <a:ext cx="11044" cy="13399"/>
            </a:xfrm>
            <a:custGeom>
              <a:avLst/>
              <a:gdLst/>
              <a:ahLst/>
              <a:cxnLst/>
              <a:rect l="l" t="t" r="r" b="b"/>
              <a:pathLst>
                <a:path w="347" h="421" extrusionOk="0">
                  <a:moveTo>
                    <a:pt x="127" y="1"/>
                  </a:moveTo>
                  <a:cubicBezTo>
                    <a:pt x="116" y="1"/>
                    <a:pt x="106" y="2"/>
                    <a:pt x="96" y="4"/>
                  </a:cubicBezTo>
                  <a:cubicBezTo>
                    <a:pt x="37" y="40"/>
                    <a:pt x="1" y="111"/>
                    <a:pt x="25" y="171"/>
                  </a:cubicBezTo>
                  <a:lnTo>
                    <a:pt x="96" y="337"/>
                  </a:lnTo>
                  <a:cubicBezTo>
                    <a:pt x="120" y="397"/>
                    <a:pt x="168" y="421"/>
                    <a:pt x="215" y="421"/>
                  </a:cubicBezTo>
                  <a:cubicBezTo>
                    <a:pt x="227" y="421"/>
                    <a:pt x="239" y="421"/>
                    <a:pt x="263" y="409"/>
                  </a:cubicBezTo>
                  <a:cubicBezTo>
                    <a:pt x="322" y="373"/>
                    <a:pt x="346" y="301"/>
                    <a:pt x="334" y="242"/>
                  </a:cubicBezTo>
                  <a:lnTo>
                    <a:pt x="263" y="75"/>
                  </a:lnTo>
                  <a:cubicBezTo>
                    <a:pt x="233" y="26"/>
                    <a:pt x="179" y="1"/>
                    <a:pt x="1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8" name="Google Shape;10778;p60"/>
            <p:cNvSpPr/>
            <p:nvPr/>
          </p:nvSpPr>
          <p:spPr>
            <a:xfrm>
              <a:off x="6422514" y="1771489"/>
              <a:ext cx="11012" cy="13017"/>
            </a:xfrm>
            <a:custGeom>
              <a:avLst/>
              <a:gdLst/>
              <a:ahLst/>
              <a:cxnLst/>
              <a:rect l="l" t="t" r="r" b="b"/>
              <a:pathLst>
                <a:path w="346" h="409" extrusionOk="0">
                  <a:moveTo>
                    <a:pt x="151" y="1"/>
                  </a:moveTo>
                  <a:cubicBezTo>
                    <a:pt x="130" y="1"/>
                    <a:pt x="107" y="5"/>
                    <a:pt x="84" y="15"/>
                  </a:cubicBezTo>
                  <a:cubicBezTo>
                    <a:pt x="24" y="39"/>
                    <a:pt x="0" y="111"/>
                    <a:pt x="12" y="170"/>
                  </a:cubicBezTo>
                  <a:lnTo>
                    <a:pt x="84" y="337"/>
                  </a:lnTo>
                  <a:cubicBezTo>
                    <a:pt x="107" y="384"/>
                    <a:pt x="143" y="408"/>
                    <a:pt x="203" y="408"/>
                  </a:cubicBezTo>
                  <a:cubicBezTo>
                    <a:pt x="227" y="408"/>
                    <a:pt x="238" y="408"/>
                    <a:pt x="250" y="396"/>
                  </a:cubicBezTo>
                  <a:cubicBezTo>
                    <a:pt x="310" y="373"/>
                    <a:pt x="346" y="289"/>
                    <a:pt x="322" y="230"/>
                  </a:cubicBezTo>
                  <a:lnTo>
                    <a:pt x="250" y="63"/>
                  </a:lnTo>
                  <a:cubicBezTo>
                    <a:pt x="242" y="29"/>
                    <a:pt x="203" y="1"/>
                    <a:pt x="1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9" name="Google Shape;10779;p60"/>
            <p:cNvSpPr/>
            <p:nvPr/>
          </p:nvSpPr>
          <p:spPr>
            <a:xfrm>
              <a:off x="6470637" y="1655541"/>
              <a:ext cx="14036" cy="10726"/>
            </a:xfrm>
            <a:custGeom>
              <a:avLst/>
              <a:gdLst/>
              <a:ahLst/>
              <a:cxnLst/>
              <a:rect l="l" t="t" r="r" b="b"/>
              <a:pathLst>
                <a:path w="441" h="337" extrusionOk="0">
                  <a:moveTo>
                    <a:pt x="293" y="0"/>
                  </a:moveTo>
                  <a:cubicBezTo>
                    <a:pt x="282" y="0"/>
                    <a:pt x="272" y="1"/>
                    <a:pt x="262" y="3"/>
                  </a:cubicBezTo>
                  <a:lnTo>
                    <a:pt x="96" y="75"/>
                  </a:lnTo>
                  <a:cubicBezTo>
                    <a:pt x="36" y="110"/>
                    <a:pt x="0" y="182"/>
                    <a:pt x="24" y="241"/>
                  </a:cubicBezTo>
                  <a:cubicBezTo>
                    <a:pt x="48" y="301"/>
                    <a:pt x="96" y="337"/>
                    <a:pt x="143" y="337"/>
                  </a:cubicBezTo>
                  <a:cubicBezTo>
                    <a:pt x="155" y="337"/>
                    <a:pt x="167" y="337"/>
                    <a:pt x="179" y="313"/>
                  </a:cubicBezTo>
                  <a:lnTo>
                    <a:pt x="346" y="241"/>
                  </a:lnTo>
                  <a:cubicBezTo>
                    <a:pt x="405" y="217"/>
                    <a:pt x="441" y="134"/>
                    <a:pt x="417" y="75"/>
                  </a:cubicBezTo>
                  <a:cubicBezTo>
                    <a:pt x="397" y="25"/>
                    <a:pt x="344" y="0"/>
                    <a:pt x="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0" name="Google Shape;10780;p60"/>
            <p:cNvSpPr/>
            <p:nvPr/>
          </p:nvSpPr>
          <p:spPr>
            <a:xfrm>
              <a:off x="6303893" y="1723175"/>
              <a:ext cx="13686" cy="10153"/>
            </a:xfrm>
            <a:custGeom>
              <a:avLst/>
              <a:gdLst/>
              <a:ahLst/>
              <a:cxnLst/>
              <a:rect l="l" t="t" r="r" b="b"/>
              <a:pathLst>
                <a:path w="430" h="319" extrusionOk="0">
                  <a:moveTo>
                    <a:pt x="317" y="0"/>
                  </a:moveTo>
                  <a:cubicBezTo>
                    <a:pt x="299" y="0"/>
                    <a:pt x="281" y="3"/>
                    <a:pt x="263" y="9"/>
                  </a:cubicBezTo>
                  <a:lnTo>
                    <a:pt x="96" y="81"/>
                  </a:lnTo>
                  <a:cubicBezTo>
                    <a:pt x="36" y="117"/>
                    <a:pt x="1" y="188"/>
                    <a:pt x="24" y="248"/>
                  </a:cubicBezTo>
                  <a:cubicBezTo>
                    <a:pt x="36" y="295"/>
                    <a:pt x="84" y="319"/>
                    <a:pt x="144" y="319"/>
                  </a:cubicBezTo>
                  <a:cubicBezTo>
                    <a:pt x="155" y="319"/>
                    <a:pt x="167" y="319"/>
                    <a:pt x="179" y="307"/>
                  </a:cubicBezTo>
                  <a:lnTo>
                    <a:pt x="346" y="236"/>
                  </a:lnTo>
                  <a:cubicBezTo>
                    <a:pt x="405" y="200"/>
                    <a:pt x="429" y="128"/>
                    <a:pt x="417" y="69"/>
                  </a:cubicBezTo>
                  <a:cubicBezTo>
                    <a:pt x="409" y="25"/>
                    <a:pt x="367" y="0"/>
                    <a:pt x="3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81" name="Google Shape;10781;p60"/>
          <p:cNvGrpSpPr/>
          <p:nvPr/>
        </p:nvGrpSpPr>
        <p:grpSpPr>
          <a:xfrm>
            <a:off x="2661459" y="2015001"/>
            <a:ext cx="322508" cy="273494"/>
            <a:chOff x="2661459" y="2015001"/>
            <a:chExt cx="322508" cy="273494"/>
          </a:xfrm>
        </p:grpSpPr>
        <p:sp>
          <p:nvSpPr>
            <p:cNvPr id="10782" name="Google Shape;10782;p60"/>
            <p:cNvSpPr/>
            <p:nvPr/>
          </p:nvSpPr>
          <p:spPr>
            <a:xfrm>
              <a:off x="2661459" y="2028878"/>
              <a:ext cx="322508" cy="259617"/>
            </a:xfrm>
            <a:custGeom>
              <a:avLst/>
              <a:gdLst/>
              <a:ahLst/>
              <a:cxnLst/>
              <a:rect l="l" t="t" r="r" b="b"/>
              <a:pathLst>
                <a:path w="10133" h="8157" extrusionOk="0">
                  <a:moveTo>
                    <a:pt x="6156" y="2227"/>
                  </a:moveTo>
                  <a:lnTo>
                    <a:pt x="6966" y="2489"/>
                  </a:lnTo>
                  <a:cubicBezTo>
                    <a:pt x="6975" y="2492"/>
                    <a:pt x="6987" y="2494"/>
                    <a:pt x="6999" y="2494"/>
                  </a:cubicBezTo>
                  <a:cubicBezTo>
                    <a:pt x="7032" y="2494"/>
                    <a:pt x="7071" y="2483"/>
                    <a:pt x="7097" y="2465"/>
                  </a:cubicBezTo>
                  <a:lnTo>
                    <a:pt x="7347" y="2263"/>
                  </a:lnTo>
                  <a:lnTo>
                    <a:pt x="9121" y="4585"/>
                  </a:lnTo>
                  <a:lnTo>
                    <a:pt x="8847" y="4799"/>
                  </a:lnTo>
                  <a:cubicBezTo>
                    <a:pt x="8835" y="4787"/>
                    <a:pt x="8811" y="4763"/>
                    <a:pt x="8799" y="4763"/>
                  </a:cubicBezTo>
                  <a:lnTo>
                    <a:pt x="5728" y="3096"/>
                  </a:lnTo>
                  <a:lnTo>
                    <a:pt x="5847" y="2918"/>
                  </a:lnTo>
                  <a:cubicBezTo>
                    <a:pt x="5894" y="2846"/>
                    <a:pt x="5859" y="2763"/>
                    <a:pt x="5799" y="2715"/>
                  </a:cubicBezTo>
                  <a:cubicBezTo>
                    <a:pt x="5776" y="2700"/>
                    <a:pt x="5750" y="2693"/>
                    <a:pt x="5725" y="2693"/>
                  </a:cubicBezTo>
                  <a:cubicBezTo>
                    <a:pt x="5672" y="2693"/>
                    <a:pt x="5621" y="2723"/>
                    <a:pt x="5597" y="2763"/>
                  </a:cubicBezTo>
                  <a:lnTo>
                    <a:pt x="5263" y="3263"/>
                  </a:lnTo>
                  <a:cubicBezTo>
                    <a:pt x="5251" y="3299"/>
                    <a:pt x="5240" y="3311"/>
                    <a:pt x="5240" y="3335"/>
                  </a:cubicBezTo>
                  <a:lnTo>
                    <a:pt x="5240" y="4609"/>
                  </a:lnTo>
                  <a:cubicBezTo>
                    <a:pt x="5240" y="4870"/>
                    <a:pt x="5013" y="5085"/>
                    <a:pt x="4763" y="5085"/>
                  </a:cubicBezTo>
                  <a:cubicBezTo>
                    <a:pt x="4489" y="5085"/>
                    <a:pt x="4287" y="4859"/>
                    <a:pt x="4287" y="4609"/>
                  </a:cubicBezTo>
                  <a:lnTo>
                    <a:pt x="4287" y="3358"/>
                  </a:lnTo>
                  <a:lnTo>
                    <a:pt x="4561" y="2227"/>
                  </a:lnTo>
                  <a:close/>
                  <a:moveTo>
                    <a:pt x="2620" y="1727"/>
                  </a:moveTo>
                  <a:lnTo>
                    <a:pt x="2858" y="1870"/>
                  </a:lnTo>
                  <a:lnTo>
                    <a:pt x="906" y="5228"/>
                  </a:lnTo>
                  <a:lnTo>
                    <a:pt x="668" y="5097"/>
                  </a:lnTo>
                  <a:lnTo>
                    <a:pt x="2620" y="1727"/>
                  </a:lnTo>
                  <a:close/>
                  <a:moveTo>
                    <a:pt x="3108" y="4656"/>
                  </a:moveTo>
                  <a:cubicBezTo>
                    <a:pt x="3215" y="4656"/>
                    <a:pt x="3299" y="4704"/>
                    <a:pt x="3358" y="4799"/>
                  </a:cubicBezTo>
                  <a:cubicBezTo>
                    <a:pt x="3465" y="4942"/>
                    <a:pt x="3442" y="5156"/>
                    <a:pt x="3287" y="5251"/>
                  </a:cubicBezTo>
                  <a:lnTo>
                    <a:pt x="2263" y="6013"/>
                  </a:lnTo>
                  <a:cubicBezTo>
                    <a:pt x="2200" y="6057"/>
                    <a:pt x="2130" y="6079"/>
                    <a:pt x="2062" y="6079"/>
                  </a:cubicBezTo>
                  <a:cubicBezTo>
                    <a:pt x="1964" y="6079"/>
                    <a:pt x="1869" y="6033"/>
                    <a:pt x="1799" y="5942"/>
                  </a:cubicBezTo>
                  <a:cubicBezTo>
                    <a:pt x="1691" y="5799"/>
                    <a:pt x="1727" y="5597"/>
                    <a:pt x="1870" y="5478"/>
                  </a:cubicBezTo>
                  <a:lnTo>
                    <a:pt x="2918" y="4716"/>
                  </a:lnTo>
                  <a:cubicBezTo>
                    <a:pt x="2977" y="4680"/>
                    <a:pt x="3037" y="4656"/>
                    <a:pt x="3108" y="4656"/>
                  </a:cubicBezTo>
                  <a:close/>
                  <a:moveTo>
                    <a:pt x="3739" y="5418"/>
                  </a:moveTo>
                  <a:cubicBezTo>
                    <a:pt x="3823" y="5418"/>
                    <a:pt x="3918" y="5478"/>
                    <a:pt x="3977" y="5549"/>
                  </a:cubicBezTo>
                  <a:cubicBezTo>
                    <a:pt x="4073" y="5704"/>
                    <a:pt x="4049" y="5906"/>
                    <a:pt x="3894" y="6013"/>
                  </a:cubicBezTo>
                  <a:lnTo>
                    <a:pt x="3084" y="6609"/>
                  </a:lnTo>
                  <a:cubicBezTo>
                    <a:pt x="3021" y="6653"/>
                    <a:pt x="2952" y="6675"/>
                    <a:pt x="2885" y="6675"/>
                  </a:cubicBezTo>
                  <a:cubicBezTo>
                    <a:pt x="2788" y="6675"/>
                    <a:pt x="2695" y="6629"/>
                    <a:pt x="2632" y="6537"/>
                  </a:cubicBezTo>
                  <a:cubicBezTo>
                    <a:pt x="2525" y="6394"/>
                    <a:pt x="2561" y="6180"/>
                    <a:pt x="2703" y="6073"/>
                  </a:cubicBezTo>
                  <a:lnTo>
                    <a:pt x="3489" y="5513"/>
                  </a:lnTo>
                  <a:cubicBezTo>
                    <a:pt x="3525" y="5490"/>
                    <a:pt x="3549" y="5466"/>
                    <a:pt x="3585" y="5454"/>
                  </a:cubicBezTo>
                  <a:cubicBezTo>
                    <a:pt x="3632" y="5430"/>
                    <a:pt x="3680" y="5418"/>
                    <a:pt x="3739" y="5418"/>
                  </a:cubicBezTo>
                  <a:close/>
                  <a:moveTo>
                    <a:pt x="4269" y="6177"/>
                  </a:moveTo>
                  <a:cubicBezTo>
                    <a:pt x="4367" y="6177"/>
                    <a:pt x="4461" y="6221"/>
                    <a:pt x="4525" y="6299"/>
                  </a:cubicBezTo>
                  <a:cubicBezTo>
                    <a:pt x="4632" y="6442"/>
                    <a:pt x="4597" y="6656"/>
                    <a:pt x="4454" y="6764"/>
                  </a:cubicBezTo>
                  <a:lnTo>
                    <a:pt x="3882" y="7192"/>
                  </a:lnTo>
                  <a:cubicBezTo>
                    <a:pt x="3823" y="7232"/>
                    <a:pt x="3747" y="7255"/>
                    <a:pt x="3683" y="7255"/>
                  </a:cubicBezTo>
                  <a:cubicBezTo>
                    <a:pt x="3669" y="7255"/>
                    <a:pt x="3656" y="7254"/>
                    <a:pt x="3644" y="7252"/>
                  </a:cubicBezTo>
                  <a:cubicBezTo>
                    <a:pt x="3549" y="7240"/>
                    <a:pt x="3477" y="7192"/>
                    <a:pt x="3442" y="7121"/>
                  </a:cubicBezTo>
                  <a:cubicBezTo>
                    <a:pt x="3335" y="6966"/>
                    <a:pt x="3358" y="6775"/>
                    <a:pt x="3513" y="6656"/>
                  </a:cubicBezTo>
                  <a:lnTo>
                    <a:pt x="4061" y="6252"/>
                  </a:lnTo>
                  <a:lnTo>
                    <a:pt x="4073" y="6240"/>
                  </a:lnTo>
                  <a:cubicBezTo>
                    <a:pt x="4135" y="6197"/>
                    <a:pt x="4203" y="6177"/>
                    <a:pt x="4269" y="6177"/>
                  </a:cubicBezTo>
                  <a:close/>
                  <a:moveTo>
                    <a:pt x="2799" y="2549"/>
                  </a:moveTo>
                  <a:lnTo>
                    <a:pt x="3061" y="2715"/>
                  </a:lnTo>
                  <a:cubicBezTo>
                    <a:pt x="3086" y="2724"/>
                    <a:pt x="3105" y="2732"/>
                    <a:pt x="3127" y="2732"/>
                  </a:cubicBezTo>
                  <a:cubicBezTo>
                    <a:pt x="3136" y="2732"/>
                    <a:pt x="3145" y="2731"/>
                    <a:pt x="3156" y="2727"/>
                  </a:cubicBezTo>
                  <a:lnTo>
                    <a:pt x="3858" y="2656"/>
                  </a:lnTo>
                  <a:lnTo>
                    <a:pt x="4108" y="2751"/>
                  </a:lnTo>
                  <a:lnTo>
                    <a:pt x="3954" y="3335"/>
                  </a:lnTo>
                  <a:lnTo>
                    <a:pt x="3954" y="3370"/>
                  </a:lnTo>
                  <a:lnTo>
                    <a:pt x="3954" y="4632"/>
                  </a:lnTo>
                  <a:cubicBezTo>
                    <a:pt x="3954" y="5061"/>
                    <a:pt x="4299" y="5406"/>
                    <a:pt x="4728" y="5406"/>
                  </a:cubicBezTo>
                  <a:cubicBezTo>
                    <a:pt x="5168" y="5406"/>
                    <a:pt x="5501" y="5061"/>
                    <a:pt x="5501" y="4632"/>
                  </a:cubicBezTo>
                  <a:lnTo>
                    <a:pt x="5501" y="3406"/>
                  </a:lnTo>
                  <a:lnTo>
                    <a:pt x="5537" y="3370"/>
                  </a:lnTo>
                  <a:lnTo>
                    <a:pt x="8621" y="5049"/>
                  </a:lnTo>
                  <a:cubicBezTo>
                    <a:pt x="8811" y="5109"/>
                    <a:pt x="8871" y="5299"/>
                    <a:pt x="8776" y="5466"/>
                  </a:cubicBezTo>
                  <a:cubicBezTo>
                    <a:pt x="8718" y="5573"/>
                    <a:pt x="8609" y="5634"/>
                    <a:pt x="8492" y="5634"/>
                  </a:cubicBezTo>
                  <a:cubicBezTo>
                    <a:pt x="8440" y="5634"/>
                    <a:pt x="8386" y="5622"/>
                    <a:pt x="8335" y="5597"/>
                  </a:cubicBezTo>
                  <a:lnTo>
                    <a:pt x="6621" y="4656"/>
                  </a:lnTo>
                  <a:cubicBezTo>
                    <a:pt x="6599" y="4645"/>
                    <a:pt x="6574" y="4640"/>
                    <a:pt x="6550" y="4640"/>
                  </a:cubicBezTo>
                  <a:cubicBezTo>
                    <a:pt x="6497" y="4640"/>
                    <a:pt x="6447" y="4666"/>
                    <a:pt x="6430" y="4716"/>
                  </a:cubicBezTo>
                  <a:cubicBezTo>
                    <a:pt x="6383" y="4799"/>
                    <a:pt x="6418" y="4882"/>
                    <a:pt x="6490" y="4918"/>
                  </a:cubicBezTo>
                  <a:lnTo>
                    <a:pt x="7918" y="5692"/>
                  </a:lnTo>
                  <a:cubicBezTo>
                    <a:pt x="8085" y="5775"/>
                    <a:pt x="8145" y="5966"/>
                    <a:pt x="8049" y="6133"/>
                  </a:cubicBezTo>
                  <a:cubicBezTo>
                    <a:pt x="7985" y="6245"/>
                    <a:pt x="7877" y="6309"/>
                    <a:pt x="7766" y="6309"/>
                  </a:cubicBezTo>
                  <a:cubicBezTo>
                    <a:pt x="7713" y="6309"/>
                    <a:pt x="7659" y="6294"/>
                    <a:pt x="7609" y="6263"/>
                  </a:cubicBezTo>
                  <a:lnTo>
                    <a:pt x="6144" y="5478"/>
                  </a:lnTo>
                  <a:cubicBezTo>
                    <a:pt x="6122" y="5463"/>
                    <a:pt x="6097" y="5456"/>
                    <a:pt x="6073" y="5456"/>
                  </a:cubicBezTo>
                  <a:cubicBezTo>
                    <a:pt x="6020" y="5456"/>
                    <a:pt x="5970" y="5488"/>
                    <a:pt x="5954" y="5537"/>
                  </a:cubicBezTo>
                  <a:cubicBezTo>
                    <a:pt x="5906" y="5609"/>
                    <a:pt x="5942" y="5704"/>
                    <a:pt x="6013" y="5728"/>
                  </a:cubicBezTo>
                  <a:lnTo>
                    <a:pt x="7192" y="6371"/>
                  </a:lnTo>
                  <a:cubicBezTo>
                    <a:pt x="7347" y="6466"/>
                    <a:pt x="7395" y="6656"/>
                    <a:pt x="7323" y="6823"/>
                  </a:cubicBezTo>
                  <a:cubicBezTo>
                    <a:pt x="7255" y="6925"/>
                    <a:pt x="7139" y="6984"/>
                    <a:pt x="7018" y="6984"/>
                  </a:cubicBezTo>
                  <a:cubicBezTo>
                    <a:pt x="6969" y="6984"/>
                    <a:pt x="6919" y="6975"/>
                    <a:pt x="6871" y="6954"/>
                  </a:cubicBezTo>
                  <a:lnTo>
                    <a:pt x="5644" y="6287"/>
                  </a:lnTo>
                  <a:cubicBezTo>
                    <a:pt x="5616" y="6271"/>
                    <a:pt x="5587" y="6263"/>
                    <a:pt x="5560" y="6263"/>
                  </a:cubicBezTo>
                  <a:cubicBezTo>
                    <a:pt x="5509" y="6263"/>
                    <a:pt x="5465" y="6292"/>
                    <a:pt x="5442" y="6347"/>
                  </a:cubicBezTo>
                  <a:cubicBezTo>
                    <a:pt x="5406" y="6418"/>
                    <a:pt x="5430" y="6502"/>
                    <a:pt x="5501" y="6537"/>
                  </a:cubicBezTo>
                  <a:lnTo>
                    <a:pt x="6454" y="7061"/>
                  </a:lnTo>
                  <a:cubicBezTo>
                    <a:pt x="6609" y="7145"/>
                    <a:pt x="6668" y="7335"/>
                    <a:pt x="6597" y="7502"/>
                  </a:cubicBezTo>
                  <a:cubicBezTo>
                    <a:pt x="6531" y="7609"/>
                    <a:pt x="6419" y="7670"/>
                    <a:pt x="6301" y="7670"/>
                  </a:cubicBezTo>
                  <a:cubicBezTo>
                    <a:pt x="6249" y="7670"/>
                    <a:pt x="6196" y="7658"/>
                    <a:pt x="6144" y="7633"/>
                  </a:cubicBezTo>
                  <a:lnTo>
                    <a:pt x="5478" y="7264"/>
                  </a:lnTo>
                  <a:cubicBezTo>
                    <a:pt x="5478" y="7133"/>
                    <a:pt x="5430" y="7002"/>
                    <a:pt x="5347" y="6883"/>
                  </a:cubicBezTo>
                  <a:cubicBezTo>
                    <a:pt x="5228" y="6728"/>
                    <a:pt x="5061" y="6644"/>
                    <a:pt x="4882" y="6644"/>
                  </a:cubicBezTo>
                  <a:lnTo>
                    <a:pt x="4882" y="6597"/>
                  </a:lnTo>
                  <a:cubicBezTo>
                    <a:pt x="4906" y="6430"/>
                    <a:pt x="4870" y="6263"/>
                    <a:pt x="4763" y="6133"/>
                  </a:cubicBezTo>
                  <a:cubicBezTo>
                    <a:pt x="4644" y="5990"/>
                    <a:pt x="4478" y="5894"/>
                    <a:pt x="4299" y="5894"/>
                  </a:cubicBezTo>
                  <a:lnTo>
                    <a:pt x="4299" y="5847"/>
                  </a:lnTo>
                  <a:cubicBezTo>
                    <a:pt x="4335" y="5692"/>
                    <a:pt x="4287" y="5525"/>
                    <a:pt x="4180" y="5394"/>
                  </a:cubicBezTo>
                  <a:cubicBezTo>
                    <a:pt x="4061" y="5240"/>
                    <a:pt x="3894" y="5156"/>
                    <a:pt x="3716" y="5156"/>
                  </a:cubicBezTo>
                  <a:lnTo>
                    <a:pt x="3716" y="5109"/>
                  </a:lnTo>
                  <a:cubicBezTo>
                    <a:pt x="3751" y="4942"/>
                    <a:pt x="3704" y="4775"/>
                    <a:pt x="3596" y="4644"/>
                  </a:cubicBezTo>
                  <a:cubicBezTo>
                    <a:pt x="3476" y="4488"/>
                    <a:pt x="3297" y="4404"/>
                    <a:pt x="3111" y="4404"/>
                  </a:cubicBezTo>
                  <a:cubicBezTo>
                    <a:pt x="2984" y="4404"/>
                    <a:pt x="2855" y="4443"/>
                    <a:pt x="2739" y="4525"/>
                  </a:cubicBezTo>
                  <a:lnTo>
                    <a:pt x="1715" y="5275"/>
                  </a:lnTo>
                  <a:lnTo>
                    <a:pt x="1334" y="5073"/>
                  </a:lnTo>
                  <a:lnTo>
                    <a:pt x="2799" y="2549"/>
                  </a:lnTo>
                  <a:close/>
                  <a:moveTo>
                    <a:pt x="4855" y="6920"/>
                  </a:moveTo>
                  <a:cubicBezTo>
                    <a:pt x="4953" y="6920"/>
                    <a:pt x="5045" y="6960"/>
                    <a:pt x="5109" y="7037"/>
                  </a:cubicBezTo>
                  <a:cubicBezTo>
                    <a:pt x="5168" y="7133"/>
                    <a:pt x="5192" y="7228"/>
                    <a:pt x="5180" y="7299"/>
                  </a:cubicBezTo>
                  <a:cubicBezTo>
                    <a:pt x="5168" y="7383"/>
                    <a:pt x="5120" y="7466"/>
                    <a:pt x="5049" y="7526"/>
                  </a:cubicBezTo>
                  <a:lnTo>
                    <a:pt x="4704" y="7776"/>
                  </a:lnTo>
                  <a:cubicBezTo>
                    <a:pt x="4643" y="7818"/>
                    <a:pt x="4574" y="7838"/>
                    <a:pt x="4507" y="7838"/>
                  </a:cubicBezTo>
                  <a:cubicBezTo>
                    <a:pt x="4404" y="7838"/>
                    <a:pt x="4304" y="7791"/>
                    <a:pt x="4239" y="7704"/>
                  </a:cubicBezTo>
                  <a:cubicBezTo>
                    <a:pt x="4132" y="7549"/>
                    <a:pt x="4168" y="7347"/>
                    <a:pt x="4311" y="7240"/>
                  </a:cubicBezTo>
                  <a:lnTo>
                    <a:pt x="4644" y="7002"/>
                  </a:lnTo>
                  <a:lnTo>
                    <a:pt x="4656" y="6978"/>
                  </a:lnTo>
                  <a:cubicBezTo>
                    <a:pt x="4719" y="6939"/>
                    <a:pt x="4788" y="6920"/>
                    <a:pt x="4855" y="6920"/>
                  </a:cubicBezTo>
                  <a:close/>
                  <a:moveTo>
                    <a:pt x="172" y="0"/>
                  </a:moveTo>
                  <a:cubicBezTo>
                    <a:pt x="121" y="0"/>
                    <a:pt x="72" y="29"/>
                    <a:pt x="48" y="84"/>
                  </a:cubicBezTo>
                  <a:cubicBezTo>
                    <a:pt x="1" y="156"/>
                    <a:pt x="25" y="239"/>
                    <a:pt x="108" y="287"/>
                  </a:cubicBezTo>
                  <a:lnTo>
                    <a:pt x="2346" y="1584"/>
                  </a:lnTo>
                  <a:lnTo>
                    <a:pt x="406" y="4942"/>
                  </a:lnTo>
                  <a:lnTo>
                    <a:pt x="251" y="4847"/>
                  </a:lnTo>
                  <a:cubicBezTo>
                    <a:pt x="226" y="4830"/>
                    <a:pt x="199" y="4822"/>
                    <a:pt x="172" y="4822"/>
                  </a:cubicBezTo>
                  <a:cubicBezTo>
                    <a:pt x="121" y="4822"/>
                    <a:pt x="72" y="4851"/>
                    <a:pt x="48" y="4906"/>
                  </a:cubicBezTo>
                  <a:cubicBezTo>
                    <a:pt x="1" y="4978"/>
                    <a:pt x="25" y="5061"/>
                    <a:pt x="108" y="5109"/>
                  </a:cubicBezTo>
                  <a:lnTo>
                    <a:pt x="894" y="5549"/>
                  </a:lnTo>
                  <a:cubicBezTo>
                    <a:pt x="919" y="5566"/>
                    <a:pt x="947" y="5574"/>
                    <a:pt x="975" y="5574"/>
                  </a:cubicBezTo>
                  <a:cubicBezTo>
                    <a:pt x="1025" y="5574"/>
                    <a:pt x="1073" y="5548"/>
                    <a:pt x="1096" y="5501"/>
                  </a:cubicBezTo>
                  <a:lnTo>
                    <a:pt x="1215" y="5299"/>
                  </a:lnTo>
                  <a:lnTo>
                    <a:pt x="1525" y="5466"/>
                  </a:lnTo>
                  <a:cubicBezTo>
                    <a:pt x="1430" y="5680"/>
                    <a:pt x="1441" y="5918"/>
                    <a:pt x="1572" y="6121"/>
                  </a:cubicBezTo>
                  <a:cubicBezTo>
                    <a:pt x="1691" y="6287"/>
                    <a:pt x="1882" y="6371"/>
                    <a:pt x="2084" y="6371"/>
                  </a:cubicBezTo>
                  <a:cubicBezTo>
                    <a:pt x="2144" y="6371"/>
                    <a:pt x="2215" y="6359"/>
                    <a:pt x="2275" y="6347"/>
                  </a:cubicBezTo>
                  <a:cubicBezTo>
                    <a:pt x="2275" y="6478"/>
                    <a:pt x="2322" y="6597"/>
                    <a:pt x="2394" y="6716"/>
                  </a:cubicBezTo>
                  <a:cubicBezTo>
                    <a:pt x="2513" y="6883"/>
                    <a:pt x="2703" y="6966"/>
                    <a:pt x="2882" y="6966"/>
                  </a:cubicBezTo>
                  <a:cubicBezTo>
                    <a:pt x="2942" y="6966"/>
                    <a:pt x="3013" y="6954"/>
                    <a:pt x="3073" y="6942"/>
                  </a:cubicBezTo>
                  <a:cubicBezTo>
                    <a:pt x="3073" y="7061"/>
                    <a:pt x="3120" y="7192"/>
                    <a:pt x="3192" y="7299"/>
                  </a:cubicBezTo>
                  <a:cubicBezTo>
                    <a:pt x="3299" y="7430"/>
                    <a:pt x="3430" y="7514"/>
                    <a:pt x="3596" y="7549"/>
                  </a:cubicBezTo>
                  <a:cubicBezTo>
                    <a:pt x="3632" y="7549"/>
                    <a:pt x="3656" y="7561"/>
                    <a:pt x="3704" y="7561"/>
                  </a:cubicBezTo>
                  <a:cubicBezTo>
                    <a:pt x="3763" y="7561"/>
                    <a:pt x="3835" y="7549"/>
                    <a:pt x="3894" y="7537"/>
                  </a:cubicBezTo>
                  <a:cubicBezTo>
                    <a:pt x="3894" y="7668"/>
                    <a:pt x="3942" y="7787"/>
                    <a:pt x="4013" y="7895"/>
                  </a:cubicBezTo>
                  <a:cubicBezTo>
                    <a:pt x="4120" y="8026"/>
                    <a:pt x="4251" y="8109"/>
                    <a:pt x="4418" y="8145"/>
                  </a:cubicBezTo>
                  <a:cubicBezTo>
                    <a:pt x="4442" y="8145"/>
                    <a:pt x="4478" y="8157"/>
                    <a:pt x="4525" y="8157"/>
                  </a:cubicBezTo>
                  <a:cubicBezTo>
                    <a:pt x="4656" y="8157"/>
                    <a:pt x="4775" y="8109"/>
                    <a:pt x="4882" y="8037"/>
                  </a:cubicBezTo>
                  <a:lnTo>
                    <a:pt x="5216" y="7787"/>
                  </a:lnTo>
                  <a:cubicBezTo>
                    <a:pt x="5299" y="7728"/>
                    <a:pt x="5359" y="7668"/>
                    <a:pt x="5394" y="7597"/>
                  </a:cubicBezTo>
                  <a:lnTo>
                    <a:pt x="6013" y="7918"/>
                  </a:lnTo>
                  <a:cubicBezTo>
                    <a:pt x="6097" y="7966"/>
                    <a:pt x="6204" y="7990"/>
                    <a:pt x="6311" y="7990"/>
                  </a:cubicBezTo>
                  <a:cubicBezTo>
                    <a:pt x="6371" y="7990"/>
                    <a:pt x="6430" y="7978"/>
                    <a:pt x="6490" y="7966"/>
                  </a:cubicBezTo>
                  <a:cubicBezTo>
                    <a:pt x="6644" y="7918"/>
                    <a:pt x="6787" y="7811"/>
                    <a:pt x="6859" y="7668"/>
                  </a:cubicBezTo>
                  <a:cubicBezTo>
                    <a:pt x="6918" y="7549"/>
                    <a:pt x="6942" y="7430"/>
                    <a:pt x="6930" y="7299"/>
                  </a:cubicBezTo>
                  <a:cubicBezTo>
                    <a:pt x="6966" y="7299"/>
                    <a:pt x="7002" y="7311"/>
                    <a:pt x="7049" y="7311"/>
                  </a:cubicBezTo>
                  <a:cubicBezTo>
                    <a:pt x="7275" y="7311"/>
                    <a:pt x="7478" y="7192"/>
                    <a:pt x="7597" y="6990"/>
                  </a:cubicBezTo>
                  <a:cubicBezTo>
                    <a:pt x="7656" y="6871"/>
                    <a:pt x="7692" y="6740"/>
                    <a:pt x="7680" y="6609"/>
                  </a:cubicBezTo>
                  <a:cubicBezTo>
                    <a:pt x="7716" y="6609"/>
                    <a:pt x="7752" y="6633"/>
                    <a:pt x="7799" y="6633"/>
                  </a:cubicBezTo>
                  <a:cubicBezTo>
                    <a:pt x="8014" y="6633"/>
                    <a:pt x="8228" y="6514"/>
                    <a:pt x="8347" y="6299"/>
                  </a:cubicBezTo>
                  <a:cubicBezTo>
                    <a:pt x="8407" y="6180"/>
                    <a:pt x="8430" y="6061"/>
                    <a:pt x="8418" y="5930"/>
                  </a:cubicBezTo>
                  <a:cubicBezTo>
                    <a:pt x="8454" y="5930"/>
                    <a:pt x="8490" y="5942"/>
                    <a:pt x="8538" y="5942"/>
                  </a:cubicBezTo>
                  <a:cubicBezTo>
                    <a:pt x="8597" y="5942"/>
                    <a:pt x="8657" y="5930"/>
                    <a:pt x="8716" y="5918"/>
                  </a:cubicBezTo>
                  <a:cubicBezTo>
                    <a:pt x="8883" y="5871"/>
                    <a:pt x="9014" y="5763"/>
                    <a:pt x="9085" y="5621"/>
                  </a:cubicBezTo>
                  <a:cubicBezTo>
                    <a:pt x="9169" y="5466"/>
                    <a:pt x="9192" y="5299"/>
                    <a:pt x="9133" y="5144"/>
                  </a:cubicBezTo>
                  <a:cubicBezTo>
                    <a:pt x="9121" y="5097"/>
                    <a:pt x="9109" y="5061"/>
                    <a:pt x="9085" y="5037"/>
                  </a:cubicBezTo>
                  <a:lnTo>
                    <a:pt x="9347" y="4859"/>
                  </a:lnTo>
                  <a:lnTo>
                    <a:pt x="9478" y="5037"/>
                  </a:lnTo>
                  <a:cubicBezTo>
                    <a:pt x="9506" y="5072"/>
                    <a:pt x="9550" y="5090"/>
                    <a:pt x="9593" y="5090"/>
                  </a:cubicBezTo>
                  <a:cubicBezTo>
                    <a:pt x="9625" y="5090"/>
                    <a:pt x="9656" y="5081"/>
                    <a:pt x="9681" y="5061"/>
                  </a:cubicBezTo>
                  <a:lnTo>
                    <a:pt x="10085" y="4739"/>
                  </a:lnTo>
                  <a:cubicBezTo>
                    <a:pt x="10121" y="4668"/>
                    <a:pt x="10133" y="4573"/>
                    <a:pt x="10085" y="4513"/>
                  </a:cubicBezTo>
                  <a:cubicBezTo>
                    <a:pt x="10065" y="4479"/>
                    <a:pt x="10019" y="4460"/>
                    <a:pt x="9974" y="4460"/>
                  </a:cubicBezTo>
                  <a:cubicBezTo>
                    <a:pt x="9941" y="4460"/>
                    <a:pt x="9908" y="4470"/>
                    <a:pt x="9883" y="4489"/>
                  </a:cubicBezTo>
                  <a:lnTo>
                    <a:pt x="9585" y="4704"/>
                  </a:lnTo>
                  <a:lnTo>
                    <a:pt x="7252" y="1644"/>
                  </a:lnTo>
                  <a:lnTo>
                    <a:pt x="8585" y="775"/>
                  </a:lnTo>
                  <a:cubicBezTo>
                    <a:pt x="8657" y="739"/>
                    <a:pt x="8680" y="644"/>
                    <a:pt x="8633" y="572"/>
                  </a:cubicBezTo>
                  <a:cubicBezTo>
                    <a:pt x="8602" y="526"/>
                    <a:pt x="8556" y="500"/>
                    <a:pt x="8505" y="500"/>
                  </a:cubicBezTo>
                  <a:cubicBezTo>
                    <a:pt x="8478" y="500"/>
                    <a:pt x="8448" y="508"/>
                    <a:pt x="8418" y="525"/>
                  </a:cubicBezTo>
                  <a:lnTo>
                    <a:pt x="6954" y="1477"/>
                  </a:lnTo>
                  <a:cubicBezTo>
                    <a:pt x="6871" y="1525"/>
                    <a:pt x="6859" y="1632"/>
                    <a:pt x="6906" y="1680"/>
                  </a:cubicBezTo>
                  <a:lnTo>
                    <a:pt x="7168" y="2037"/>
                  </a:lnTo>
                  <a:lnTo>
                    <a:pt x="6978" y="2192"/>
                  </a:lnTo>
                  <a:lnTo>
                    <a:pt x="6216" y="1942"/>
                  </a:lnTo>
                  <a:cubicBezTo>
                    <a:pt x="6204" y="1942"/>
                    <a:pt x="6192" y="1918"/>
                    <a:pt x="6180" y="1918"/>
                  </a:cubicBezTo>
                  <a:lnTo>
                    <a:pt x="4430" y="1918"/>
                  </a:lnTo>
                  <a:cubicBezTo>
                    <a:pt x="4358" y="1918"/>
                    <a:pt x="4299" y="1965"/>
                    <a:pt x="4287" y="2037"/>
                  </a:cubicBezTo>
                  <a:lnTo>
                    <a:pt x="4180" y="2430"/>
                  </a:lnTo>
                  <a:lnTo>
                    <a:pt x="3930" y="2323"/>
                  </a:lnTo>
                  <a:cubicBezTo>
                    <a:pt x="3894" y="2311"/>
                    <a:pt x="3882" y="2311"/>
                    <a:pt x="3846" y="2311"/>
                  </a:cubicBezTo>
                  <a:lnTo>
                    <a:pt x="3168" y="2382"/>
                  </a:lnTo>
                  <a:lnTo>
                    <a:pt x="2930" y="2251"/>
                  </a:lnTo>
                  <a:lnTo>
                    <a:pt x="3156" y="1858"/>
                  </a:lnTo>
                  <a:cubicBezTo>
                    <a:pt x="3192" y="1787"/>
                    <a:pt x="3168" y="1703"/>
                    <a:pt x="3096" y="1656"/>
                  </a:cubicBezTo>
                  <a:lnTo>
                    <a:pt x="251" y="25"/>
                  </a:lnTo>
                  <a:cubicBezTo>
                    <a:pt x="226" y="8"/>
                    <a:pt x="199" y="0"/>
                    <a:pt x="1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3" name="Google Shape;10783;p60"/>
            <p:cNvSpPr/>
            <p:nvPr/>
          </p:nvSpPr>
          <p:spPr>
            <a:xfrm>
              <a:off x="2946442" y="2015001"/>
              <a:ext cx="37525" cy="26799"/>
            </a:xfrm>
            <a:custGeom>
              <a:avLst/>
              <a:gdLst/>
              <a:ahLst/>
              <a:cxnLst/>
              <a:rect l="l" t="t" r="r" b="b"/>
              <a:pathLst>
                <a:path w="1179" h="842" extrusionOk="0">
                  <a:moveTo>
                    <a:pt x="1011" y="1"/>
                  </a:moveTo>
                  <a:cubicBezTo>
                    <a:pt x="983" y="1"/>
                    <a:pt x="955" y="7"/>
                    <a:pt x="929" y="20"/>
                  </a:cubicBezTo>
                  <a:lnTo>
                    <a:pt x="96" y="556"/>
                  </a:lnTo>
                  <a:cubicBezTo>
                    <a:pt x="24" y="603"/>
                    <a:pt x="0" y="699"/>
                    <a:pt x="48" y="770"/>
                  </a:cubicBezTo>
                  <a:cubicBezTo>
                    <a:pt x="84" y="818"/>
                    <a:pt x="119" y="842"/>
                    <a:pt x="167" y="842"/>
                  </a:cubicBezTo>
                  <a:cubicBezTo>
                    <a:pt x="203" y="842"/>
                    <a:pt x="226" y="830"/>
                    <a:pt x="238" y="818"/>
                  </a:cubicBezTo>
                  <a:lnTo>
                    <a:pt x="1072" y="282"/>
                  </a:lnTo>
                  <a:cubicBezTo>
                    <a:pt x="1167" y="234"/>
                    <a:pt x="1179" y="127"/>
                    <a:pt x="1131" y="68"/>
                  </a:cubicBezTo>
                  <a:cubicBezTo>
                    <a:pt x="1108" y="22"/>
                    <a:pt x="1061" y="1"/>
                    <a:pt x="10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84" name="Google Shape;10784;p60"/>
          <p:cNvGrpSpPr/>
          <p:nvPr/>
        </p:nvGrpSpPr>
        <p:grpSpPr>
          <a:xfrm>
            <a:off x="6671087" y="2009304"/>
            <a:ext cx="332757" cy="281833"/>
            <a:chOff x="6671087" y="2009304"/>
            <a:chExt cx="332757" cy="281833"/>
          </a:xfrm>
        </p:grpSpPr>
        <p:sp>
          <p:nvSpPr>
            <p:cNvPr id="10785" name="Google Shape;10785;p60"/>
            <p:cNvSpPr/>
            <p:nvPr/>
          </p:nvSpPr>
          <p:spPr>
            <a:xfrm>
              <a:off x="6671087" y="2023658"/>
              <a:ext cx="331993" cy="267478"/>
            </a:xfrm>
            <a:custGeom>
              <a:avLst/>
              <a:gdLst/>
              <a:ahLst/>
              <a:cxnLst/>
              <a:rect l="l" t="t" r="r" b="b"/>
              <a:pathLst>
                <a:path w="10431" h="8404" extrusionOk="0">
                  <a:moveTo>
                    <a:pt x="6359" y="2272"/>
                  </a:moveTo>
                  <a:lnTo>
                    <a:pt x="7192" y="2546"/>
                  </a:lnTo>
                  <a:cubicBezTo>
                    <a:pt x="7203" y="2553"/>
                    <a:pt x="7215" y="2556"/>
                    <a:pt x="7228" y="2556"/>
                  </a:cubicBezTo>
                  <a:cubicBezTo>
                    <a:pt x="7261" y="2556"/>
                    <a:pt x="7298" y="2539"/>
                    <a:pt x="7323" y="2522"/>
                  </a:cubicBezTo>
                  <a:lnTo>
                    <a:pt x="7585" y="2332"/>
                  </a:lnTo>
                  <a:lnTo>
                    <a:pt x="9419" y="4725"/>
                  </a:lnTo>
                  <a:lnTo>
                    <a:pt x="9109" y="4951"/>
                  </a:lnTo>
                  <a:cubicBezTo>
                    <a:pt x="9097" y="4927"/>
                    <a:pt x="9061" y="4915"/>
                    <a:pt x="9050" y="4903"/>
                  </a:cubicBezTo>
                  <a:lnTo>
                    <a:pt x="5882" y="3177"/>
                  </a:lnTo>
                  <a:lnTo>
                    <a:pt x="6002" y="2987"/>
                  </a:lnTo>
                  <a:cubicBezTo>
                    <a:pt x="6049" y="2903"/>
                    <a:pt x="6025" y="2820"/>
                    <a:pt x="5954" y="2772"/>
                  </a:cubicBezTo>
                  <a:cubicBezTo>
                    <a:pt x="5929" y="2755"/>
                    <a:pt x="5900" y="2747"/>
                    <a:pt x="5873" y="2747"/>
                  </a:cubicBezTo>
                  <a:cubicBezTo>
                    <a:pt x="5822" y="2747"/>
                    <a:pt x="5775" y="2774"/>
                    <a:pt x="5752" y="2820"/>
                  </a:cubicBezTo>
                  <a:lnTo>
                    <a:pt x="5418" y="3356"/>
                  </a:lnTo>
                  <a:cubicBezTo>
                    <a:pt x="5406" y="3379"/>
                    <a:pt x="5382" y="3415"/>
                    <a:pt x="5382" y="3427"/>
                  </a:cubicBezTo>
                  <a:lnTo>
                    <a:pt x="5382" y="4725"/>
                  </a:lnTo>
                  <a:cubicBezTo>
                    <a:pt x="5382" y="4987"/>
                    <a:pt x="5168" y="5213"/>
                    <a:pt x="4894" y="5213"/>
                  </a:cubicBezTo>
                  <a:cubicBezTo>
                    <a:pt x="4632" y="5213"/>
                    <a:pt x="4406" y="4987"/>
                    <a:pt x="4406" y="4725"/>
                  </a:cubicBezTo>
                  <a:lnTo>
                    <a:pt x="4406" y="3439"/>
                  </a:lnTo>
                  <a:lnTo>
                    <a:pt x="4704" y="2272"/>
                  </a:lnTo>
                  <a:close/>
                  <a:moveTo>
                    <a:pt x="2692" y="1796"/>
                  </a:moveTo>
                  <a:lnTo>
                    <a:pt x="2930" y="1927"/>
                  </a:lnTo>
                  <a:lnTo>
                    <a:pt x="929" y="5392"/>
                  </a:lnTo>
                  <a:lnTo>
                    <a:pt x="691" y="5261"/>
                  </a:lnTo>
                  <a:lnTo>
                    <a:pt x="2692" y="1796"/>
                  </a:lnTo>
                  <a:close/>
                  <a:moveTo>
                    <a:pt x="3215" y="4844"/>
                  </a:moveTo>
                  <a:cubicBezTo>
                    <a:pt x="3323" y="4844"/>
                    <a:pt x="3406" y="4892"/>
                    <a:pt x="3489" y="4975"/>
                  </a:cubicBezTo>
                  <a:cubicBezTo>
                    <a:pt x="3608" y="5130"/>
                    <a:pt x="3561" y="5344"/>
                    <a:pt x="3406" y="5451"/>
                  </a:cubicBezTo>
                  <a:lnTo>
                    <a:pt x="2323" y="6213"/>
                  </a:lnTo>
                  <a:cubicBezTo>
                    <a:pt x="2266" y="6255"/>
                    <a:pt x="2199" y="6275"/>
                    <a:pt x="2131" y="6275"/>
                  </a:cubicBezTo>
                  <a:cubicBezTo>
                    <a:pt x="2027" y="6275"/>
                    <a:pt x="1923" y="6228"/>
                    <a:pt x="1858" y="6142"/>
                  </a:cubicBezTo>
                  <a:cubicBezTo>
                    <a:pt x="1763" y="5987"/>
                    <a:pt x="1787" y="5785"/>
                    <a:pt x="1942" y="5677"/>
                  </a:cubicBezTo>
                  <a:lnTo>
                    <a:pt x="3025" y="4903"/>
                  </a:lnTo>
                  <a:cubicBezTo>
                    <a:pt x="3085" y="4856"/>
                    <a:pt x="3156" y="4844"/>
                    <a:pt x="3215" y="4844"/>
                  </a:cubicBezTo>
                  <a:close/>
                  <a:moveTo>
                    <a:pt x="3811" y="5606"/>
                  </a:moveTo>
                  <a:cubicBezTo>
                    <a:pt x="3918" y="5606"/>
                    <a:pt x="4001" y="5665"/>
                    <a:pt x="4061" y="5737"/>
                  </a:cubicBezTo>
                  <a:cubicBezTo>
                    <a:pt x="4180" y="5880"/>
                    <a:pt x="4144" y="6106"/>
                    <a:pt x="3989" y="6213"/>
                  </a:cubicBezTo>
                  <a:lnTo>
                    <a:pt x="3156" y="6820"/>
                  </a:lnTo>
                  <a:cubicBezTo>
                    <a:pt x="3100" y="6863"/>
                    <a:pt x="3032" y="6883"/>
                    <a:pt x="2964" y="6883"/>
                  </a:cubicBezTo>
                  <a:cubicBezTo>
                    <a:pt x="2861" y="6883"/>
                    <a:pt x="2756" y="6835"/>
                    <a:pt x="2692" y="6749"/>
                  </a:cubicBezTo>
                  <a:cubicBezTo>
                    <a:pt x="2573" y="6594"/>
                    <a:pt x="2620" y="6380"/>
                    <a:pt x="2775" y="6273"/>
                  </a:cubicBezTo>
                  <a:lnTo>
                    <a:pt x="3573" y="5689"/>
                  </a:lnTo>
                  <a:cubicBezTo>
                    <a:pt x="3608" y="5677"/>
                    <a:pt x="3632" y="5642"/>
                    <a:pt x="3668" y="5630"/>
                  </a:cubicBezTo>
                  <a:cubicBezTo>
                    <a:pt x="3704" y="5618"/>
                    <a:pt x="3763" y="5606"/>
                    <a:pt x="3811" y="5606"/>
                  </a:cubicBezTo>
                  <a:close/>
                  <a:moveTo>
                    <a:pt x="4415" y="6386"/>
                  </a:moveTo>
                  <a:cubicBezTo>
                    <a:pt x="4516" y="6386"/>
                    <a:pt x="4617" y="6431"/>
                    <a:pt x="4680" y="6523"/>
                  </a:cubicBezTo>
                  <a:cubicBezTo>
                    <a:pt x="4799" y="6666"/>
                    <a:pt x="4751" y="6892"/>
                    <a:pt x="4597" y="6999"/>
                  </a:cubicBezTo>
                  <a:lnTo>
                    <a:pt x="4001" y="7416"/>
                  </a:lnTo>
                  <a:cubicBezTo>
                    <a:pt x="3946" y="7462"/>
                    <a:pt x="3883" y="7479"/>
                    <a:pt x="3814" y="7479"/>
                  </a:cubicBezTo>
                  <a:cubicBezTo>
                    <a:pt x="3793" y="7479"/>
                    <a:pt x="3773" y="7478"/>
                    <a:pt x="3751" y="7475"/>
                  </a:cubicBezTo>
                  <a:cubicBezTo>
                    <a:pt x="3668" y="7463"/>
                    <a:pt x="3585" y="7416"/>
                    <a:pt x="3525" y="7344"/>
                  </a:cubicBezTo>
                  <a:cubicBezTo>
                    <a:pt x="3430" y="7189"/>
                    <a:pt x="3454" y="6987"/>
                    <a:pt x="3608" y="6880"/>
                  </a:cubicBezTo>
                  <a:lnTo>
                    <a:pt x="4180" y="6463"/>
                  </a:lnTo>
                  <a:lnTo>
                    <a:pt x="4216" y="6451"/>
                  </a:lnTo>
                  <a:cubicBezTo>
                    <a:pt x="4274" y="6407"/>
                    <a:pt x="4344" y="6386"/>
                    <a:pt x="4415" y="6386"/>
                  </a:cubicBezTo>
                  <a:close/>
                  <a:moveTo>
                    <a:pt x="2894" y="2594"/>
                  </a:moveTo>
                  <a:lnTo>
                    <a:pt x="3168" y="2760"/>
                  </a:lnTo>
                  <a:cubicBezTo>
                    <a:pt x="3193" y="2769"/>
                    <a:pt x="3212" y="2777"/>
                    <a:pt x="3234" y="2777"/>
                  </a:cubicBezTo>
                  <a:cubicBezTo>
                    <a:pt x="3243" y="2777"/>
                    <a:pt x="3253" y="2776"/>
                    <a:pt x="3263" y="2772"/>
                  </a:cubicBezTo>
                  <a:lnTo>
                    <a:pt x="3977" y="2677"/>
                  </a:lnTo>
                  <a:lnTo>
                    <a:pt x="4239" y="2784"/>
                  </a:lnTo>
                  <a:lnTo>
                    <a:pt x="4097" y="3379"/>
                  </a:lnTo>
                  <a:lnTo>
                    <a:pt x="4097" y="3415"/>
                  </a:lnTo>
                  <a:lnTo>
                    <a:pt x="4097" y="4701"/>
                  </a:lnTo>
                  <a:cubicBezTo>
                    <a:pt x="4097" y="5154"/>
                    <a:pt x="4454" y="5511"/>
                    <a:pt x="4894" y="5511"/>
                  </a:cubicBezTo>
                  <a:cubicBezTo>
                    <a:pt x="5347" y="5511"/>
                    <a:pt x="5704" y="5154"/>
                    <a:pt x="5704" y="4701"/>
                  </a:cubicBezTo>
                  <a:lnTo>
                    <a:pt x="5704" y="3439"/>
                  </a:lnTo>
                  <a:lnTo>
                    <a:pt x="5728" y="3391"/>
                  </a:lnTo>
                  <a:lnTo>
                    <a:pt x="8919" y="5118"/>
                  </a:lnTo>
                  <a:cubicBezTo>
                    <a:pt x="9061" y="5261"/>
                    <a:pt x="9121" y="5463"/>
                    <a:pt x="9038" y="5630"/>
                  </a:cubicBezTo>
                  <a:cubicBezTo>
                    <a:pt x="8973" y="5742"/>
                    <a:pt x="8860" y="5806"/>
                    <a:pt x="8742" y="5806"/>
                  </a:cubicBezTo>
                  <a:cubicBezTo>
                    <a:pt x="8685" y="5806"/>
                    <a:pt x="8627" y="5792"/>
                    <a:pt x="8573" y="5761"/>
                  </a:cubicBezTo>
                  <a:lnTo>
                    <a:pt x="6799" y="4796"/>
                  </a:lnTo>
                  <a:cubicBezTo>
                    <a:pt x="6777" y="4781"/>
                    <a:pt x="6753" y="4775"/>
                    <a:pt x="6730" y="4775"/>
                  </a:cubicBezTo>
                  <a:cubicBezTo>
                    <a:pt x="6679" y="4775"/>
                    <a:pt x="6630" y="4807"/>
                    <a:pt x="6597" y="4856"/>
                  </a:cubicBezTo>
                  <a:cubicBezTo>
                    <a:pt x="6549" y="4927"/>
                    <a:pt x="6585" y="5023"/>
                    <a:pt x="6656" y="5058"/>
                  </a:cubicBezTo>
                  <a:lnTo>
                    <a:pt x="8133" y="5868"/>
                  </a:lnTo>
                  <a:cubicBezTo>
                    <a:pt x="8288" y="5951"/>
                    <a:pt x="8347" y="6166"/>
                    <a:pt x="8264" y="6332"/>
                  </a:cubicBezTo>
                  <a:cubicBezTo>
                    <a:pt x="8198" y="6439"/>
                    <a:pt x="8080" y="6501"/>
                    <a:pt x="7959" y="6501"/>
                  </a:cubicBezTo>
                  <a:cubicBezTo>
                    <a:pt x="7905" y="6501"/>
                    <a:pt x="7851" y="6489"/>
                    <a:pt x="7799" y="6463"/>
                  </a:cubicBezTo>
                  <a:lnTo>
                    <a:pt x="6299" y="5642"/>
                  </a:lnTo>
                  <a:cubicBezTo>
                    <a:pt x="6277" y="5627"/>
                    <a:pt x="6252" y="5620"/>
                    <a:pt x="6227" y="5620"/>
                  </a:cubicBezTo>
                  <a:cubicBezTo>
                    <a:pt x="6173" y="5620"/>
                    <a:pt x="6118" y="5652"/>
                    <a:pt x="6085" y="5701"/>
                  </a:cubicBezTo>
                  <a:cubicBezTo>
                    <a:pt x="6049" y="5773"/>
                    <a:pt x="6073" y="5868"/>
                    <a:pt x="6144" y="5916"/>
                  </a:cubicBezTo>
                  <a:lnTo>
                    <a:pt x="7371" y="6570"/>
                  </a:lnTo>
                  <a:cubicBezTo>
                    <a:pt x="7537" y="6654"/>
                    <a:pt x="7597" y="6868"/>
                    <a:pt x="7502" y="7023"/>
                  </a:cubicBezTo>
                  <a:cubicBezTo>
                    <a:pt x="7444" y="7139"/>
                    <a:pt x="7322" y="7203"/>
                    <a:pt x="7197" y="7203"/>
                  </a:cubicBezTo>
                  <a:cubicBezTo>
                    <a:pt x="7143" y="7203"/>
                    <a:pt x="7088" y="7191"/>
                    <a:pt x="7037" y="7166"/>
                  </a:cubicBezTo>
                  <a:lnTo>
                    <a:pt x="5775" y="6463"/>
                  </a:lnTo>
                  <a:cubicBezTo>
                    <a:pt x="5753" y="6448"/>
                    <a:pt x="5728" y="6442"/>
                    <a:pt x="5704" y="6442"/>
                  </a:cubicBezTo>
                  <a:cubicBezTo>
                    <a:pt x="5650" y="6442"/>
                    <a:pt x="5597" y="6474"/>
                    <a:pt x="5573" y="6523"/>
                  </a:cubicBezTo>
                  <a:cubicBezTo>
                    <a:pt x="5525" y="6594"/>
                    <a:pt x="5549" y="6689"/>
                    <a:pt x="5632" y="6725"/>
                  </a:cubicBezTo>
                  <a:lnTo>
                    <a:pt x="6609" y="7261"/>
                  </a:lnTo>
                  <a:cubicBezTo>
                    <a:pt x="6775" y="7356"/>
                    <a:pt x="6835" y="7559"/>
                    <a:pt x="6740" y="7725"/>
                  </a:cubicBezTo>
                  <a:cubicBezTo>
                    <a:pt x="6683" y="7838"/>
                    <a:pt x="6567" y="7902"/>
                    <a:pt x="6450" y="7902"/>
                  </a:cubicBezTo>
                  <a:cubicBezTo>
                    <a:pt x="6394" y="7902"/>
                    <a:pt x="6337" y="7887"/>
                    <a:pt x="6287" y="7856"/>
                  </a:cubicBezTo>
                  <a:lnTo>
                    <a:pt x="5597" y="7487"/>
                  </a:lnTo>
                  <a:cubicBezTo>
                    <a:pt x="5597" y="7344"/>
                    <a:pt x="5549" y="7201"/>
                    <a:pt x="5466" y="7082"/>
                  </a:cubicBezTo>
                  <a:cubicBezTo>
                    <a:pt x="5347" y="6939"/>
                    <a:pt x="5168" y="6844"/>
                    <a:pt x="4990" y="6832"/>
                  </a:cubicBezTo>
                  <a:cubicBezTo>
                    <a:pt x="4990" y="6820"/>
                    <a:pt x="4990" y="6808"/>
                    <a:pt x="5001" y="6785"/>
                  </a:cubicBezTo>
                  <a:cubicBezTo>
                    <a:pt x="5037" y="6606"/>
                    <a:pt x="4990" y="6451"/>
                    <a:pt x="4882" y="6308"/>
                  </a:cubicBezTo>
                  <a:cubicBezTo>
                    <a:pt x="4763" y="6166"/>
                    <a:pt x="4585" y="6070"/>
                    <a:pt x="4406" y="6058"/>
                  </a:cubicBezTo>
                  <a:cubicBezTo>
                    <a:pt x="4406" y="6046"/>
                    <a:pt x="4406" y="6035"/>
                    <a:pt x="4418" y="6011"/>
                  </a:cubicBezTo>
                  <a:cubicBezTo>
                    <a:pt x="4454" y="5832"/>
                    <a:pt x="4406" y="5677"/>
                    <a:pt x="4299" y="5535"/>
                  </a:cubicBezTo>
                  <a:cubicBezTo>
                    <a:pt x="4180" y="5392"/>
                    <a:pt x="4001" y="5296"/>
                    <a:pt x="3823" y="5284"/>
                  </a:cubicBezTo>
                  <a:cubicBezTo>
                    <a:pt x="3823" y="5273"/>
                    <a:pt x="3823" y="5261"/>
                    <a:pt x="3847" y="5237"/>
                  </a:cubicBezTo>
                  <a:cubicBezTo>
                    <a:pt x="3870" y="5058"/>
                    <a:pt x="3823" y="4903"/>
                    <a:pt x="3727" y="4761"/>
                  </a:cubicBezTo>
                  <a:cubicBezTo>
                    <a:pt x="3600" y="4597"/>
                    <a:pt x="3413" y="4515"/>
                    <a:pt x="3222" y="4515"/>
                  </a:cubicBezTo>
                  <a:cubicBezTo>
                    <a:pt x="3093" y="4515"/>
                    <a:pt x="2962" y="4553"/>
                    <a:pt x="2846" y="4630"/>
                  </a:cubicBezTo>
                  <a:lnTo>
                    <a:pt x="1775" y="5404"/>
                  </a:lnTo>
                  <a:lnTo>
                    <a:pt x="1382" y="5201"/>
                  </a:lnTo>
                  <a:lnTo>
                    <a:pt x="2894" y="2594"/>
                  </a:lnTo>
                  <a:close/>
                  <a:moveTo>
                    <a:pt x="5009" y="7159"/>
                  </a:moveTo>
                  <a:cubicBezTo>
                    <a:pt x="5109" y="7159"/>
                    <a:pt x="5207" y="7205"/>
                    <a:pt x="5263" y="7297"/>
                  </a:cubicBezTo>
                  <a:cubicBezTo>
                    <a:pt x="5311" y="7356"/>
                    <a:pt x="5347" y="7451"/>
                    <a:pt x="5335" y="7535"/>
                  </a:cubicBezTo>
                  <a:cubicBezTo>
                    <a:pt x="5311" y="7630"/>
                    <a:pt x="5263" y="7701"/>
                    <a:pt x="5192" y="7761"/>
                  </a:cubicBezTo>
                  <a:lnTo>
                    <a:pt x="4835" y="8011"/>
                  </a:lnTo>
                  <a:cubicBezTo>
                    <a:pt x="4778" y="8053"/>
                    <a:pt x="4711" y="8073"/>
                    <a:pt x="4643" y="8073"/>
                  </a:cubicBezTo>
                  <a:cubicBezTo>
                    <a:pt x="4539" y="8073"/>
                    <a:pt x="4435" y="8026"/>
                    <a:pt x="4370" y="7940"/>
                  </a:cubicBezTo>
                  <a:cubicBezTo>
                    <a:pt x="4275" y="7785"/>
                    <a:pt x="4299" y="7582"/>
                    <a:pt x="4454" y="7475"/>
                  </a:cubicBezTo>
                  <a:lnTo>
                    <a:pt x="4775" y="7237"/>
                  </a:lnTo>
                  <a:lnTo>
                    <a:pt x="4811" y="7225"/>
                  </a:lnTo>
                  <a:cubicBezTo>
                    <a:pt x="4869" y="7181"/>
                    <a:pt x="4940" y="7159"/>
                    <a:pt x="5009" y="7159"/>
                  </a:cubicBezTo>
                  <a:close/>
                  <a:moveTo>
                    <a:pt x="182" y="0"/>
                  </a:moveTo>
                  <a:cubicBezTo>
                    <a:pt x="131" y="0"/>
                    <a:pt x="81" y="32"/>
                    <a:pt x="48" y="81"/>
                  </a:cubicBezTo>
                  <a:cubicBezTo>
                    <a:pt x="1" y="153"/>
                    <a:pt x="25" y="248"/>
                    <a:pt x="108" y="284"/>
                  </a:cubicBezTo>
                  <a:lnTo>
                    <a:pt x="2430" y="1629"/>
                  </a:lnTo>
                  <a:lnTo>
                    <a:pt x="418" y="5094"/>
                  </a:lnTo>
                  <a:lnTo>
                    <a:pt x="251" y="5011"/>
                  </a:lnTo>
                  <a:cubicBezTo>
                    <a:pt x="226" y="4994"/>
                    <a:pt x="200" y="4986"/>
                    <a:pt x="175" y="4986"/>
                  </a:cubicBezTo>
                  <a:cubicBezTo>
                    <a:pt x="126" y="4986"/>
                    <a:pt x="80" y="5015"/>
                    <a:pt x="48" y="5070"/>
                  </a:cubicBezTo>
                  <a:cubicBezTo>
                    <a:pt x="1" y="5142"/>
                    <a:pt x="25" y="5225"/>
                    <a:pt x="108" y="5273"/>
                  </a:cubicBezTo>
                  <a:lnTo>
                    <a:pt x="906" y="5737"/>
                  </a:lnTo>
                  <a:cubicBezTo>
                    <a:pt x="932" y="5752"/>
                    <a:pt x="958" y="5759"/>
                    <a:pt x="983" y="5759"/>
                  </a:cubicBezTo>
                  <a:cubicBezTo>
                    <a:pt x="1038" y="5759"/>
                    <a:pt x="1087" y="5726"/>
                    <a:pt x="1120" y="5677"/>
                  </a:cubicBezTo>
                  <a:lnTo>
                    <a:pt x="1239" y="5463"/>
                  </a:lnTo>
                  <a:lnTo>
                    <a:pt x="1561" y="5642"/>
                  </a:lnTo>
                  <a:cubicBezTo>
                    <a:pt x="1465" y="5856"/>
                    <a:pt x="1465" y="6106"/>
                    <a:pt x="1608" y="6320"/>
                  </a:cubicBezTo>
                  <a:cubicBezTo>
                    <a:pt x="1727" y="6499"/>
                    <a:pt x="1942" y="6582"/>
                    <a:pt x="2132" y="6582"/>
                  </a:cubicBezTo>
                  <a:cubicBezTo>
                    <a:pt x="2192" y="6582"/>
                    <a:pt x="2263" y="6570"/>
                    <a:pt x="2323" y="6558"/>
                  </a:cubicBezTo>
                  <a:cubicBezTo>
                    <a:pt x="2323" y="6689"/>
                    <a:pt x="2370" y="6820"/>
                    <a:pt x="2442" y="6928"/>
                  </a:cubicBezTo>
                  <a:cubicBezTo>
                    <a:pt x="2561" y="7094"/>
                    <a:pt x="2751" y="7178"/>
                    <a:pt x="2965" y="7178"/>
                  </a:cubicBezTo>
                  <a:cubicBezTo>
                    <a:pt x="3025" y="7178"/>
                    <a:pt x="3096" y="7166"/>
                    <a:pt x="3156" y="7154"/>
                  </a:cubicBezTo>
                  <a:cubicBezTo>
                    <a:pt x="3156" y="7285"/>
                    <a:pt x="3204" y="7404"/>
                    <a:pt x="3275" y="7523"/>
                  </a:cubicBezTo>
                  <a:cubicBezTo>
                    <a:pt x="3382" y="7654"/>
                    <a:pt x="3525" y="7749"/>
                    <a:pt x="3692" y="7773"/>
                  </a:cubicBezTo>
                  <a:cubicBezTo>
                    <a:pt x="3716" y="7773"/>
                    <a:pt x="3763" y="7785"/>
                    <a:pt x="3799" y="7785"/>
                  </a:cubicBezTo>
                  <a:cubicBezTo>
                    <a:pt x="3858" y="7785"/>
                    <a:pt x="3930" y="7773"/>
                    <a:pt x="3989" y="7761"/>
                  </a:cubicBezTo>
                  <a:cubicBezTo>
                    <a:pt x="3989" y="7892"/>
                    <a:pt x="4037" y="8011"/>
                    <a:pt x="4108" y="8130"/>
                  </a:cubicBezTo>
                  <a:cubicBezTo>
                    <a:pt x="4216" y="8261"/>
                    <a:pt x="4358" y="8356"/>
                    <a:pt x="4525" y="8380"/>
                  </a:cubicBezTo>
                  <a:cubicBezTo>
                    <a:pt x="4549" y="8380"/>
                    <a:pt x="4597" y="8404"/>
                    <a:pt x="4632" y="8404"/>
                  </a:cubicBezTo>
                  <a:cubicBezTo>
                    <a:pt x="4763" y="8404"/>
                    <a:pt x="4894" y="8356"/>
                    <a:pt x="5001" y="8285"/>
                  </a:cubicBezTo>
                  <a:lnTo>
                    <a:pt x="5359" y="8023"/>
                  </a:lnTo>
                  <a:cubicBezTo>
                    <a:pt x="5430" y="7963"/>
                    <a:pt x="5490" y="7904"/>
                    <a:pt x="5537" y="7820"/>
                  </a:cubicBezTo>
                  <a:lnTo>
                    <a:pt x="6156" y="8166"/>
                  </a:lnTo>
                  <a:cubicBezTo>
                    <a:pt x="6252" y="8201"/>
                    <a:pt x="6359" y="8237"/>
                    <a:pt x="6478" y="8237"/>
                  </a:cubicBezTo>
                  <a:cubicBezTo>
                    <a:pt x="6537" y="8237"/>
                    <a:pt x="6597" y="8225"/>
                    <a:pt x="6656" y="8201"/>
                  </a:cubicBezTo>
                  <a:cubicBezTo>
                    <a:pt x="6811" y="8166"/>
                    <a:pt x="6954" y="8047"/>
                    <a:pt x="7037" y="7892"/>
                  </a:cubicBezTo>
                  <a:cubicBezTo>
                    <a:pt x="7097" y="7773"/>
                    <a:pt x="7133" y="7642"/>
                    <a:pt x="7109" y="7523"/>
                  </a:cubicBezTo>
                  <a:cubicBezTo>
                    <a:pt x="7156" y="7523"/>
                    <a:pt x="7192" y="7535"/>
                    <a:pt x="7228" y="7535"/>
                  </a:cubicBezTo>
                  <a:cubicBezTo>
                    <a:pt x="7454" y="7535"/>
                    <a:pt x="7680" y="7416"/>
                    <a:pt x="7799" y="7213"/>
                  </a:cubicBezTo>
                  <a:cubicBezTo>
                    <a:pt x="7859" y="7094"/>
                    <a:pt x="7883" y="6951"/>
                    <a:pt x="7871" y="6832"/>
                  </a:cubicBezTo>
                  <a:cubicBezTo>
                    <a:pt x="7918" y="6832"/>
                    <a:pt x="7942" y="6856"/>
                    <a:pt x="7990" y="6856"/>
                  </a:cubicBezTo>
                  <a:cubicBezTo>
                    <a:pt x="8216" y="6856"/>
                    <a:pt x="8442" y="6737"/>
                    <a:pt x="8561" y="6523"/>
                  </a:cubicBezTo>
                  <a:cubicBezTo>
                    <a:pt x="8621" y="6404"/>
                    <a:pt x="8645" y="6273"/>
                    <a:pt x="8633" y="6154"/>
                  </a:cubicBezTo>
                  <a:cubicBezTo>
                    <a:pt x="8680" y="6154"/>
                    <a:pt x="8704" y="6166"/>
                    <a:pt x="8752" y="6166"/>
                  </a:cubicBezTo>
                  <a:cubicBezTo>
                    <a:pt x="8811" y="6166"/>
                    <a:pt x="8871" y="6154"/>
                    <a:pt x="8930" y="6142"/>
                  </a:cubicBezTo>
                  <a:cubicBezTo>
                    <a:pt x="9097" y="6094"/>
                    <a:pt x="9228" y="5975"/>
                    <a:pt x="9311" y="5820"/>
                  </a:cubicBezTo>
                  <a:cubicBezTo>
                    <a:pt x="9407" y="5677"/>
                    <a:pt x="9419" y="5499"/>
                    <a:pt x="9359" y="5332"/>
                  </a:cubicBezTo>
                  <a:cubicBezTo>
                    <a:pt x="9347" y="5284"/>
                    <a:pt x="9335" y="5261"/>
                    <a:pt x="9311" y="5213"/>
                  </a:cubicBezTo>
                  <a:lnTo>
                    <a:pt x="9585" y="5023"/>
                  </a:lnTo>
                  <a:lnTo>
                    <a:pt x="9728" y="5201"/>
                  </a:lnTo>
                  <a:cubicBezTo>
                    <a:pt x="9756" y="5236"/>
                    <a:pt x="9804" y="5254"/>
                    <a:pt x="9853" y="5254"/>
                  </a:cubicBezTo>
                  <a:cubicBezTo>
                    <a:pt x="9889" y="5254"/>
                    <a:pt x="9925" y="5245"/>
                    <a:pt x="9954" y="5225"/>
                  </a:cubicBezTo>
                  <a:lnTo>
                    <a:pt x="10371" y="4903"/>
                  </a:lnTo>
                  <a:cubicBezTo>
                    <a:pt x="10431" y="4808"/>
                    <a:pt x="10431" y="4725"/>
                    <a:pt x="10395" y="4653"/>
                  </a:cubicBezTo>
                  <a:cubicBezTo>
                    <a:pt x="10350" y="4616"/>
                    <a:pt x="10300" y="4592"/>
                    <a:pt x="10254" y="4592"/>
                  </a:cubicBezTo>
                  <a:cubicBezTo>
                    <a:pt x="10228" y="4592"/>
                    <a:pt x="10202" y="4600"/>
                    <a:pt x="10181" y="4618"/>
                  </a:cubicBezTo>
                  <a:lnTo>
                    <a:pt x="9883" y="4856"/>
                  </a:lnTo>
                  <a:lnTo>
                    <a:pt x="7454" y="1689"/>
                  </a:lnTo>
                  <a:lnTo>
                    <a:pt x="8835" y="796"/>
                  </a:lnTo>
                  <a:cubicBezTo>
                    <a:pt x="8919" y="748"/>
                    <a:pt x="8930" y="665"/>
                    <a:pt x="8883" y="582"/>
                  </a:cubicBezTo>
                  <a:cubicBezTo>
                    <a:pt x="8854" y="539"/>
                    <a:pt x="8813" y="517"/>
                    <a:pt x="8769" y="517"/>
                  </a:cubicBezTo>
                  <a:cubicBezTo>
                    <a:pt x="8740" y="517"/>
                    <a:pt x="8709" y="527"/>
                    <a:pt x="8680" y="546"/>
                  </a:cubicBezTo>
                  <a:lnTo>
                    <a:pt x="7156" y="1522"/>
                  </a:lnTo>
                  <a:cubicBezTo>
                    <a:pt x="7085" y="1570"/>
                    <a:pt x="7073" y="1677"/>
                    <a:pt x="7109" y="1748"/>
                  </a:cubicBezTo>
                  <a:lnTo>
                    <a:pt x="7395" y="2106"/>
                  </a:lnTo>
                  <a:lnTo>
                    <a:pt x="7204" y="2248"/>
                  </a:lnTo>
                  <a:lnTo>
                    <a:pt x="6418" y="1998"/>
                  </a:lnTo>
                  <a:cubicBezTo>
                    <a:pt x="6406" y="1998"/>
                    <a:pt x="6383" y="1986"/>
                    <a:pt x="6371" y="1986"/>
                  </a:cubicBezTo>
                  <a:lnTo>
                    <a:pt x="4585" y="1986"/>
                  </a:lnTo>
                  <a:cubicBezTo>
                    <a:pt x="4513" y="1986"/>
                    <a:pt x="4454" y="2034"/>
                    <a:pt x="4442" y="2106"/>
                  </a:cubicBezTo>
                  <a:lnTo>
                    <a:pt x="4335" y="2510"/>
                  </a:lnTo>
                  <a:lnTo>
                    <a:pt x="4073" y="2403"/>
                  </a:lnTo>
                  <a:cubicBezTo>
                    <a:pt x="4049" y="2391"/>
                    <a:pt x="4037" y="2391"/>
                    <a:pt x="4001" y="2391"/>
                  </a:cubicBezTo>
                  <a:lnTo>
                    <a:pt x="3287" y="2475"/>
                  </a:lnTo>
                  <a:lnTo>
                    <a:pt x="3049" y="2344"/>
                  </a:lnTo>
                  <a:lnTo>
                    <a:pt x="3275" y="1939"/>
                  </a:lnTo>
                  <a:cubicBezTo>
                    <a:pt x="3323" y="1867"/>
                    <a:pt x="3287" y="1772"/>
                    <a:pt x="3215" y="1736"/>
                  </a:cubicBezTo>
                  <a:lnTo>
                    <a:pt x="251" y="22"/>
                  </a:lnTo>
                  <a:cubicBezTo>
                    <a:pt x="228" y="7"/>
                    <a:pt x="205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6" name="Google Shape;10786;p60"/>
            <p:cNvSpPr/>
            <p:nvPr/>
          </p:nvSpPr>
          <p:spPr>
            <a:xfrm>
              <a:off x="6965173" y="2009304"/>
              <a:ext cx="38670" cy="27181"/>
            </a:xfrm>
            <a:custGeom>
              <a:avLst/>
              <a:gdLst/>
              <a:ahLst/>
              <a:cxnLst/>
              <a:rect l="l" t="t" r="r" b="b"/>
              <a:pathLst>
                <a:path w="1215" h="854" extrusionOk="0">
                  <a:moveTo>
                    <a:pt x="1023" y="1"/>
                  </a:moveTo>
                  <a:cubicBezTo>
                    <a:pt x="995" y="1"/>
                    <a:pt x="966" y="8"/>
                    <a:pt x="941" y="20"/>
                  </a:cubicBezTo>
                  <a:lnTo>
                    <a:pt x="95" y="580"/>
                  </a:lnTo>
                  <a:cubicBezTo>
                    <a:pt x="12" y="616"/>
                    <a:pt x="0" y="711"/>
                    <a:pt x="48" y="782"/>
                  </a:cubicBezTo>
                  <a:cubicBezTo>
                    <a:pt x="83" y="830"/>
                    <a:pt x="119" y="854"/>
                    <a:pt x="179" y="854"/>
                  </a:cubicBezTo>
                  <a:cubicBezTo>
                    <a:pt x="214" y="854"/>
                    <a:pt x="238" y="842"/>
                    <a:pt x="274" y="830"/>
                  </a:cubicBezTo>
                  <a:lnTo>
                    <a:pt x="1119" y="282"/>
                  </a:lnTo>
                  <a:cubicBezTo>
                    <a:pt x="1179" y="235"/>
                    <a:pt x="1214" y="140"/>
                    <a:pt x="1155" y="68"/>
                  </a:cubicBezTo>
                  <a:cubicBezTo>
                    <a:pt x="1124" y="22"/>
                    <a:pt x="1074" y="1"/>
                    <a:pt x="10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787" name="Google Shape;10787;p60"/>
          <p:cNvSpPr/>
          <p:nvPr/>
        </p:nvSpPr>
        <p:spPr>
          <a:xfrm>
            <a:off x="1745940" y="1967132"/>
            <a:ext cx="368371" cy="368340"/>
          </a:xfrm>
          <a:custGeom>
            <a:avLst/>
            <a:gdLst/>
            <a:ahLst/>
            <a:cxnLst/>
            <a:rect l="l" t="t" r="r" b="b"/>
            <a:pathLst>
              <a:path w="11574" h="11573" extrusionOk="0">
                <a:moveTo>
                  <a:pt x="10680" y="333"/>
                </a:moveTo>
                <a:cubicBezTo>
                  <a:pt x="10990" y="333"/>
                  <a:pt x="11228" y="583"/>
                  <a:pt x="11228" y="881"/>
                </a:cubicBezTo>
                <a:lnTo>
                  <a:pt x="11228" y="5620"/>
                </a:lnTo>
                <a:lnTo>
                  <a:pt x="11037" y="5620"/>
                </a:lnTo>
                <a:cubicBezTo>
                  <a:pt x="10954" y="5620"/>
                  <a:pt x="10871" y="5691"/>
                  <a:pt x="10871" y="5787"/>
                </a:cubicBezTo>
                <a:cubicBezTo>
                  <a:pt x="10871" y="5870"/>
                  <a:pt x="10954" y="5953"/>
                  <a:pt x="11037" y="5953"/>
                </a:cubicBezTo>
                <a:lnTo>
                  <a:pt x="11228" y="5953"/>
                </a:lnTo>
                <a:lnTo>
                  <a:pt x="11228" y="10680"/>
                </a:lnTo>
                <a:cubicBezTo>
                  <a:pt x="11228" y="10990"/>
                  <a:pt x="10978" y="11228"/>
                  <a:pt x="10680" y="11228"/>
                </a:cubicBezTo>
                <a:lnTo>
                  <a:pt x="5953" y="11228"/>
                </a:lnTo>
                <a:lnTo>
                  <a:pt x="5953" y="9406"/>
                </a:lnTo>
                <a:cubicBezTo>
                  <a:pt x="5953" y="9108"/>
                  <a:pt x="5715" y="8870"/>
                  <a:pt x="5418" y="8870"/>
                </a:cubicBezTo>
                <a:lnTo>
                  <a:pt x="5060" y="8870"/>
                </a:lnTo>
                <a:cubicBezTo>
                  <a:pt x="4834" y="8870"/>
                  <a:pt x="4644" y="8954"/>
                  <a:pt x="4525" y="9108"/>
                </a:cubicBezTo>
                <a:cubicBezTo>
                  <a:pt x="4358" y="9299"/>
                  <a:pt x="4132" y="9406"/>
                  <a:pt x="3882" y="9406"/>
                </a:cubicBezTo>
                <a:cubicBezTo>
                  <a:pt x="3632" y="9406"/>
                  <a:pt x="3382" y="9287"/>
                  <a:pt x="3239" y="9085"/>
                </a:cubicBezTo>
                <a:cubicBezTo>
                  <a:pt x="3072" y="8894"/>
                  <a:pt x="3013" y="8644"/>
                  <a:pt x="3072" y="8394"/>
                </a:cubicBezTo>
                <a:cubicBezTo>
                  <a:pt x="3132" y="8073"/>
                  <a:pt x="3405" y="7822"/>
                  <a:pt x="3727" y="7751"/>
                </a:cubicBezTo>
                <a:cubicBezTo>
                  <a:pt x="3781" y="7740"/>
                  <a:pt x="3835" y="7735"/>
                  <a:pt x="3889" y="7735"/>
                </a:cubicBezTo>
                <a:cubicBezTo>
                  <a:pt x="4129" y="7735"/>
                  <a:pt x="4357" y="7842"/>
                  <a:pt x="4513" y="8037"/>
                </a:cubicBezTo>
                <a:cubicBezTo>
                  <a:pt x="4656" y="8192"/>
                  <a:pt x="4846" y="8287"/>
                  <a:pt x="5049" y="8287"/>
                </a:cubicBezTo>
                <a:lnTo>
                  <a:pt x="5430" y="8287"/>
                </a:lnTo>
                <a:cubicBezTo>
                  <a:pt x="5727" y="8287"/>
                  <a:pt x="5965" y="8049"/>
                  <a:pt x="5965" y="7751"/>
                </a:cubicBezTo>
                <a:lnTo>
                  <a:pt x="5965" y="5917"/>
                </a:lnTo>
                <a:lnTo>
                  <a:pt x="7799" y="5917"/>
                </a:lnTo>
                <a:cubicBezTo>
                  <a:pt x="7894" y="5917"/>
                  <a:pt x="7989" y="6001"/>
                  <a:pt x="7989" y="6108"/>
                </a:cubicBezTo>
                <a:lnTo>
                  <a:pt x="7989" y="6477"/>
                </a:lnTo>
                <a:cubicBezTo>
                  <a:pt x="7989" y="6584"/>
                  <a:pt x="7942" y="6691"/>
                  <a:pt x="7858" y="6763"/>
                </a:cubicBezTo>
                <a:cubicBezTo>
                  <a:pt x="7525" y="7037"/>
                  <a:pt x="7382" y="7453"/>
                  <a:pt x="7454" y="7882"/>
                </a:cubicBezTo>
                <a:cubicBezTo>
                  <a:pt x="7537" y="8346"/>
                  <a:pt x="7894" y="8704"/>
                  <a:pt x="8347" y="8799"/>
                </a:cubicBezTo>
                <a:cubicBezTo>
                  <a:pt x="8430" y="8823"/>
                  <a:pt x="8513" y="8835"/>
                  <a:pt x="8597" y="8835"/>
                </a:cubicBezTo>
                <a:cubicBezTo>
                  <a:pt x="8870" y="8835"/>
                  <a:pt x="9120" y="8739"/>
                  <a:pt x="9347" y="8561"/>
                </a:cubicBezTo>
                <a:cubicBezTo>
                  <a:pt x="9609" y="8346"/>
                  <a:pt x="9775" y="8013"/>
                  <a:pt x="9775" y="7656"/>
                </a:cubicBezTo>
                <a:cubicBezTo>
                  <a:pt x="9775" y="7311"/>
                  <a:pt x="9621" y="6977"/>
                  <a:pt x="9347" y="6751"/>
                </a:cubicBezTo>
                <a:cubicBezTo>
                  <a:pt x="9263" y="6691"/>
                  <a:pt x="9228" y="6584"/>
                  <a:pt x="9228" y="6465"/>
                </a:cubicBezTo>
                <a:lnTo>
                  <a:pt x="9228" y="6108"/>
                </a:lnTo>
                <a:cubicBezTo>
                  <a:pt x="9228" y="6001"/>
                  <a:pt x="9311" y="5917"/>
                  <a:pt x="9418" y="5917"/>
                </a:cubicBezTo>
                <a:lnTo>
                  <a:pt x="10323" y="5917"/>
                </a:lnTo>
                <a:cubicBezTo>
                  <a:pt x="10418" y="5917"/>
                  <a:pt x="10490" y="5846"/>
                  <a:pt x="10490" y="5751"/>
                </a:cubicBezTo>
                <a:cubicBezTo>
                  <a:pt x="10490" y="5667"/>
                  <a:pt x="10418" y="5584"/>
                  <a:pt x="10323" y="5584"/>
                </a:cubicBezTo>
                <a:lnTo>
                  <a:pt x="9418" y="5584"/>
                </a:lnTo>
                <a:cubicBezTo>
                  <a:pt x="9120" y="5584"/>
                  <a:pt x="8882" y="5822"/>
                  <a:pt x="8882" y="6120"/>
                </a:cubicBezTo>
                <a:lnTo>
                  <a:pt x="8882" y="6477"/>
                </a:lnTo>
                <a:cubicBezTo>
                  <a:pt x="8882" y="6703"/>
                  <a:pt x="8966" y="6894"/>
                  <a:pt x="9120" y="7013"/>
                </a:cubicBezTo>
                <a:cubicBezTo>
                  <a:pt x="9311" y="7180"/>
                  <a:pt x="9418" y="7406"/>
                  <a:pt x="9418" y="7656"/>
                </a:cubicBezTo>
                <a:cubicBezTo>
                  <a:pt x="9418" y="7906"/>
                  <a:pt x="9299" y="8144"/>
                  <a:pt x="9109" y="8299"/>
                </a:cubicBezTo>
                <a:cubicBezTo>
                  <a:pt x="8957" y="8423"/>
                  <a:pt x="8780" y="8488"/>
                  <a:pt x="8595" y="8488"/>
                </a:cubicBezTo>
                <a:cubicBezTo>
                  <a:pt x="8533" y="8488"/>
                  <a:pt x="8469" y="8480"/>
                  <a:pt x="8406" y="8465"/>
                </a:cubicBezTo>
                <a:cubicBezTo>
                  <a:pt x="8097" y="8406"/>
                  <a:pt x="7835" y="8132"/>
                  <a:pt x="7763" y="7811"/>
                </a:cubicBezTo>
                <a:cubicBezTo>
                  <a:pt x="7704" y="7513"/>
                  <a:pt x="7811" y="7215"/>
                  <a:pt x="8049" y="7013"/>
                </a:cubicBezTo>
                <a:cubicBezTo>
                  <a:pt x="8216" y="6882"/>
                  <a:pt x="8299" y="6691"/>
                  <a:pt x="8299" y="6477"/>
                </a:cubicBezTo>
                <a:lnTo>
                  <a:pt x="8299" y="6108"/>
                </a:lnTo>
                <a:cubicBezTo>
                  <a:pt x="8299" y="5810"/>
                  <a:pt x="8061" y="5572"/>
                  <a:pt x="7763" y="5572"/>
                </a:cubicBezTo>
                <a:lnTo>
                  <a:pt x="5953" y="5572"/>
                </a:lnTo>
                <a:lnTo>
                  <a:pt x="5953" y="3739"/>
                </a:lnTo>
                <a:cubicBezTo>
                  <a:pt x="5953" y="3643"/>
                  <a:pt x="6037" y="3548"/>
                  <a:pt x="6144" y="3548"/>
                </a:cubicBezTo>
                <a:lnTo>
                  <a:pt x="6513" y="3548"/>
                </a:lnTo>
                <a:cubicBezTo>
                  <a:pt x="6620" y="3548"/>
                  <a:pt x="6727" y="3596"/>
                  <a:pt x="6799" y="3679"/>
                </a:cubicBezTo>
                <a:cubicBezTo>
                  <a:pt x="7017" y="3956"/>
                  <a:pt x="7342" y="4102"/>
                  <a:pt x="7698" y="4102"/>
                </a:cubicBezTo>
                <a:cubicBezTo>
                  <a:pt x="7770" y="4102"/>
                  <a:pt x="7844" y="4096"/>
                  <a:pt x="7918" y="4084"/>
                </a:cubicBezTo>
                <a:cubicBezTo>
                  <a:pt x="8370" y="4001"/>
                  <a:pt x="8728" y="3643"/>
                  <a:pt x="8835" y="3191"/>
                </a:cubicBezTo>
                <a:cubicBezTo>
                  <a:pt x="8906" y="2834"/>
                  <a:pt x="8823" y="2477"/>
                  <a:pt x="8597" y="2215"/>
                </a:cubicBezTo>
                <a:cubicBezTo>
                  <a:pt x="8370" y="1941"/>
                  <a:pt x="8049" y="1774"/>
                  <a:pt x="7692" y="1774"/>
                </a:cubicBezTo>
                <a:cubicBezTo>
                  <a:pt x="7346" y="1774"/>
                  <a:pt x="7001" y="1929"/>
                  <a:pt x="6775" y="2215"/>
                </a:cubicBezTo>
                <a:cubicBezTo>
                  <a:pt x="6715" y="2286"/>
                  <a:pt x="6620" y="2334"/>
                  <a:pt x="6501" y="2334"/>
                </a:cubicBezTo>
                <a:lnTo>
                  <a:pt x="6144" y="2334"/>
                </a:lnTo>
                <a:cubicBezTo>
                  <a:pt x="6037" y="2334"/>
                  <a:pt x="5941" y="2238"/>
                  <a:pt x="5941" y="2131"/>
                </a:cubicBezTo>
                <a:lnTo>
                  <a:pt x="5941" y="1226"/>
                </a:lnTo>
                <a:cubicBezTo>
                  <a:pt x="5941" y="1143"/>
                  <a:pt x="5870" y="1060"/>
                  <a:pt x="5787" y="1060"/>
                </a:cubicBezTo>
                <a:cubicBezTo>
                  <a:pt x="5691" y="1060"/>
                  <a:pt x="5620" y="1143"/>
                  <a:pt x="5620" y="1226"/>
                </a:cubicBezTo>
                <a:lnTo>
                  <a:pt x="5620" y="2131"/>
                </a:lnTo>
                <a:cubicBezTo>
                  <a:pt x="5620" y="2429"/>
                  <a:pt x="5858" y="2667"/>
                  <a:pt x="6156" y="2667"/>
                </a:cubicBezTo>
                <a:lnTo>
                  <a:pt x="6513" y="2667"/>
                </a:lnTo>
                <a:cubicBezTo>
                  <a:pt x="6739" y="2667"/>
                  <a:pt x="6930" y="2584"/>
                  <a:pt x="7049" y="2429"/>
                </a:cubicBezTo>
                <a:cubicBezTo>
                  <a:pt x="7215" y="2238"/>
                  <a:pt x="7430" y="2131"/>
                  <a:pt x="7692" y="2131"/>
                </a:cubicBezTo>
                <a:cubicBezTo>
                  <a:pt x="7942" y="2131"/>
                  <a:pt x="8180" y="2250"/>
                  <a:pt x="8323" y="2453"/>
                </a:cubicBezTo>
                <a:cubicBezTo>
                  <a:pt x="8489" y="2643"/>
                  <a:pt x="8549" y="2893"/>
                  <a:pt x="8489" y="3143"/>
                </a:cubicBezTo>
                <a:cubicBezTo>
                  <a:pt x="8430" y="3465"/>
                  <a:pt x="8168" y="3715"/>
                  <a:pt x="7835" y="3786"/>
                </a:cubicBezTo>
                <a:cubicBezTo>
                  <a:pt x="7780" y="3797"/>
                  <a:pt x="7726" y="3802"/>
                  <a:pt x="7673" y="3802"/>
                </a:cubicBezTo>
                <a:cubicBezTo>
                  <a:pt x="7432" y="3802"/>
                  <a:pt x="7205" y="3695"/>
                  <a:pt x="7049" y="3501"/>
                </a:cubicBezTo>
                <a:cubicBezTo>
                  <a:pt x="6918" y="3346"/>
                  <a:pt x="6727" y="3250"/>
                  <a:pt x="6513" y="3250"/>
                </a:cubicBezTo>
                <a:lnTo>
                  <a:pt x="6144" y="3250"/>
                </a:lnTo>
                <a:cubicBezTo>
                  <a:pt x="5846" y="3250"/>
                  <a:pt x="5608" y="3489"/>
                  <a:pt x="5608" y="3786"/>
                </a:cubicBezTo>
                <a:lnTo>
                  <a:pt x="5608" y="5620"/>
                </a:lnTo>
                <a:lnTo>
                  <a:pt x="3775" y="5620"/>
                </a:lnTo>
                <a:cubicBezTo>
                  <a:pt x="3667" y="5620"/>
                  <a:pt x="3584" y="5525"/>
                  <a:pt x="3584" y="5429"/>
                </a:cubicBezTo>
                <a:lnTo>
                  <a:pt x="3584" y="5048"/>
                </a:lnTo>
                <a:cubicBezTo>
                  <a:pt x="3584" y="4953"/>
                  <a:pt x="3620" y="4846"/>
                  <a:pt x="3715" y="4774"/>
                </a:cubicBezTo>
                <a:cubicBezTo>
                  <a:pt x="4036" y="4501"/>
                  <a:pt x="4191" y="4084"/>
                  <a:pt x="4120" y="3655"/>
                </a:cubicBezTo>
                <a:cubicBezTo>
                  <a:pt x="4025" y="3191"/>
                  <a:pt x="3667" y="2834"/>
                  <a:pt x="3227" y="2727"/>
                </a:cubicBezTo>
                <a:cubicBezTo>
                  <a:pt x="3148" y="2711"/>
                  <a:pt x="3069" y="2703"/>
                  <a:pt x="2991" y="2703"/>
                </a:cubicBezTo>
                <a:cubicBezTo>
                  <a:pt x="2716" y="2703"/>
                  <a:pt x="2452" y="2798"/>
                  <a:pt x="2239" y="2965"/>
                </a:cubicBezTo>
                <a:cubicBezTo>
                  <a:pt x="1977" y="3191"/>
                  <a:pt x="1810" y="3524"/>
                  <a:pt x="1810" y="3882"/>
                </a:cubicBezTo>
                <a:cubicBezTo>
                  <a:pt x="1810" y="4215"/>
                  <a:pt x="1953" y="4560"/>
                  <a:pt x="2239" y="4786"/>
                </a:cubicBezTo>
                <a:cubicBezTo>
                  <a:pt x="2310" y="4846"/>
                  <a:pt x="2358" y="4953"/>
                  <a:pt x="2358" y="5072"/>
                </a:cubicBezTo>
                <a:lnTo>
                  <a:pt x="2358" y="5429"/>
                </a:lnTo>
                <a:cubicBezTo>
                  <a:pt x="2358" y="5525"/>
                  <a:pt x="2274" y="5620"/>
                  <a:pt x="2167" y="5620"/>
                </a:cubicBezTo>
                <a:lnTo>
                  <a:pt x="334" y="5620"/>
                </a:lnTo>
                <a:lnTo>
                  <a:pt x="334" y="881"/>
                </a:lnTo>
                <a:cubicBezTo>
                  <a:pt x="334" y="572"/>
                  <a:pt x="584" y="333"/>
                  <a:pt x="881" y="333"/>
                </a:cubicBezTo>
                <a:lnTo>
                  <a:pt x="5620" y="333"/>
                </a:lnTo>
                <a:lnTo>
                  <a:pt x="5620" y="524"/>
                </a:lnTo>
                <a:cubicBezTo>
                  <a:pt x="5620" y="619"/>
                  <a:pt x="5691" y="691"/>
                  <a:pt x="5787" y="691"/>
                </a:cubicBezTo>
                <a:cubicBezTo>
                  <a:pt x="5870" y="691"/>
                  <a:pt x="5941" y="619"/>
                  <a:pt x="5941" y="524"/>
                </a:cubicBezTo>
                <a:lnTo>
                  <a:pt x="5941" y="333"/>
                </a:lnTo>
                <a:close/>
                <a:moveTo>
                  <a:pt x="2976" y="3061"/>
                </a:moveTo>
                <a:cubicBezTo>
                  <a:pt x="3040" y="3061"/>
                  <a:pt x="3104" y="3069"/>
                  <a:pt x="3167" y="3084"/>
                </a:cubicBezTo>
                <a:cubicBezTo>
                  <a:pt x="3477" y="3143"/>
                  <a:pt x="3727" y="3417"/>
                  <a:pt x="3810" y="3739"/>
                </a:cubicBezTo>
                <a:cubicBezTo>
                  <a:pt x="3870" y="4036"/>
                  <a:pt x="3763" y="4334"/>
                  <a:pt x="3525" y="4536"/>
                </a:cubicBezTo>
                <a:cubicBezTo>
                  <a:pt x="3358" y="4667"/>
                  <a:pt x="3274" y="4858"/>
                  <a:pt x="3274" y="5072"/>
                </a:cubicBezTo>
                <a:lnTo>
                  <a:pt x="3274" y="5441"/>
                </a:lnTo>
                <a:cubicBezTo>
                  <a:pt x="3274" y="5739"/>
                  <a:pt x="3513" y="5977"/>
                  <a:pt x="3810" y="5977"/>
                </a:cubicBezTo>
                <a:lnTo>
                  <a:pt x="5632" y="5977"/>
                </a:lnTo>
                <a:lnTo>
                  <a:pt x="5632" y="7811"/>
                </a:lnTo>
                <a:cubicBezTo>
                  <a:pt x="5632" y="7918"/>
                  <a:pt x="5549" y="8001"/>
                  <a:pt x="5441" y="8001"/>
                </a:cubicBezTo>
                <a:lnTo>
                  <a:pt x="5072" y="8001"/>
                </a:lnTo>
                <a:cubicBezTo>
                  <a:pt x="4965" y="8001"/>
                  <a:pt x="4858" y="7953"/>
                  <a:pt x="4787" y="7870"/>
                </a:cubicBezTo>
                <a:cubicBezTo>
                  <a:pt x="4569" y="7593"/>
                  <a:pt x="4244" y="7447"/>
                  <a:pt x="3887" y="7447"/>
                </a:cubicBezTo>
                <a:cubicBezTo>
                  <a:pt x="3815" y="7447"/>
                  <a:pt x="3741" y="7453"/>
                  <a:pt x="3667" y="7465"/>
                </a:cubicBezTo>
                <a:cubicBezTo>
                  <a:pt x="3215" y="7561"/>
                  <a:pt x="2858" y="7918"/>
                  <a:pt x="2751" y="8358"/>
                </a:cubicBezTo>
                <a:cubicBezTo>
                  <a:pt x="2679" y="8715"/>
                  <a:pt x="2763" y="9073"/>
                  <a:pt x="2989" y="9346"/>
                </a:cubicBezTo>
                <a:cubicBezTo>
                  <a:pt x="3215" y="9608"/>
                  <a:pt x="3536" y="9775"/>
                  <a:pt x="3894" y="9775"/>
                </a:cubicBezTo>
                <a:cubicBezTo>
                  <a:pt x="4239" y="9775"/>
                  <a:pt x="4584" y="9620"/>
                  <a:pt x="4798" y="9346"/>
                </a:cubicBezTo>
                <a:cubicBezTo>
                  <a:pt x="4858" y="9263"/>
                  <a:pt x="4965" y="9227"/>
                  <a:pt x="5084" y="9227"/>
                </a:cubicBezTo>
                <a:lnTo>
                  <a:pt x="5441" y="9227"/>
                </a:lnTo>
                <a:cubicBezTo>
                  <a:pt x="5549" y="9227"/>
                  <a:pt x="5632" y="9311"/>
                  <a:pt x="5632" y="9418"/>
                </a:cubicBezTo>
                <a:lnTo>
                  <a:pt x="5632" y="11251"/>
                </a:lnTo>
                <a:lnTo>
                  <a:pt x="869" y="11251"/>
                </a:lnTo>
                <a:cubicBezTo>
                  <a:pt x="560" y="11251"/>
                  <a:pt x="322" y="10990"/>
                  <a:pt x="322" y="10692"/>
                </a:cubicBezTo>
                <a:lnTo>
                  <a:pt x="322" y="5965"/>
                </a:lnTo>
                <a:lnTo>
                  <a:pt x="2155" y="5965"/>
                </a:lnTo>
                <a:cubicBezTo>
                  <a:pt x="2453" y="5965"/>
                  <a:pt x="2691" y="5727"/>
                  <a:pt x="2691" y="5429"/>
                </a:cubicBezTo>
                <a:lnTo>
                  <a:pt x="2691" y="5072"/>
                </a:lnTo>
                <a:cubicBezTo>
                  <a:pt x="2691" y="4846"/>
                  <a:pt x="2596" y="4655"/>
                  <a:pt x="2453" y="4536"/>
                </a:cubicBezTo>
                <a:cubicBezTo>
                  <a:pt x="2262" y="4370"/>
                  <a:pt x="2155" y="4143"/>
                  <a:pt x="2155" y="3893"/>
                </a:cubicBezTo>
                <a:cubicBezTo>
                  <a:pt x="2155" y="3643"/>
                  <a:pt x="2274" y="3405"/>
                  <a:pt x="2465" y="3250"/>
                </a:cubicBezTo>
                <a:cubicBezTo>
                  <a:pt x="2607" y="3126"/>
                  <a:pt x="2789" y="3061"/>
                  <a:pt x="2976" y="3061"/>
                </a:cubicBezTo>
                <a:close/>
                <a:moveTo>
                  <a:pt x="893" y="0"/>
                </a:moveTo>
                <a:cubicBezTo>
                  <a:pt x="393" y="0"/>
                  <a:pt x="0" y="393"/>
                  <a:pt x="0" y="893"/>
                </a:cubicBezTo>
                <a:lnTo>
                  <a:pt x="0" y="10680"/>
                </a:lnTo>
                <a:cubicBezTo>
                  <a:pt x="0" y="11168"/>
                  <a:pt x="393" y="11573"/>
                  <a:pt x="893" y="11573"/>
                </a:cubicBezTo>
                <a:lnTo>
                  <a:pt x="10680" y="11573"/>
                </a:lnTo>
                <a:cubicBezTo>
                  <a:pt x="11168" y="11573"/>
                  <a:pt x="11573" y="11168"/>
                  <a:pt x="11573" y="10680"/>
                </a:cubicBezTo>
                <a:lnTo>
                  <a:pt x="11573" y="893"/>
                </a:lnTo>
                <a:cubicBezTo>
                  <a:pt x="11573" y="393"/>
                  <a:pt x="11168" y="0"/>
                  <a:pt x="1068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788" name="Google Shape;10788;p60"/>
          <p:cNvGrpSpPr/>
          <p:nvPr/>
        </p:nvGrpSpPr>
        <p:grpSpPr>
          <a:xfrm>
            <a:off x="2201806" y="1976585"/>
            <a:ext cx="349784" cy="349434"/>
            <a:chOff x="2201806" y="1976585"/>
            <a:chExt cx="349784" cy="349434"/>
          </a:xfrm>
        </p:grpSpPr>
        <p:sp>
          <p:nvSpPr>
            <p:cNvPr id="10789" name="Google Shape;10789;p60"/>
            <p:cNvSpPr/>
            <p:nvPr/>
          </p:nvSpPr>
          <p:spPr>
            <a:xfrm>
              <a:off x="2231755" y="2073373"/>
              <a:ext cx="319835" cy="252647"/>
            </a:xfrm>
            <a:custGeom>
              <a:avLst/>
              <a:gdLst/>
              <a:ahLst/>
              <a:cxnLst/>
              <a:rect l="l" t="t" r="r" b="b"/>
              <a:pathLst>
                <a:path w="10049" h="7938" extrusionOk="0">
                  <a:moveTo>
                    <a:pt x="9368" y="0"/>
                  </a:moveTo>
                  <a:cubicBezTo>
                    <a:pt x="9345" y="0"/>
                    <a:pt x="9322" y="6"/>
                    <a:pt x="9299" y="20"/>
                  </a:cubicBezTo>
                  <a:cubicBezTo>
                    <a:pt x="9227" y="67"/>
                    <a:pt x="9180" y="151"/>
                    <a:pt x="9227" y="234"/>
                  </a:cubicBezTo>
                  <a:cubicBezTo>
                    <a:pt x="9561" y="925"/>
                    <a:pt x="9716" y="1675"/>
                    <a:pt x="9716" y="2449"/>
                  </a:cubicBezTo>
                  <a:cubicBezTo>
                    <a:pt x="9716" y="3830"/>
                    <a:pt x="9180" y="5127"/>
                    <a:pt x="8203" y="6104"/>
                  </a:cubicBezTo>
                  <a:cubicBezTo>
                    <a:pt x="7215" y="7092"/>
                    <a:pt x="5917" y="7628"/>
                    <a:pt x="4536" y="7628"/>
                  </a:cubicBezTo>
                  <a:cubicBezTo>
                    <a:pt x="3715" y="7628"/>
                    <a:pt x="2929" y="7449"/>
                    <a:pt x="2203" y="7080"/>
                  </a:cubicBezTo>
                  <a:cubicBezTo>
                    <a:pt x="1596" y="6759"/>
                    <a:pt x="1060" y="6342"/>
                    <a:pt x="607" y="5830"/>
                  </a:cubicBezTo>
                  <a:lnTo>
                    <a:pt x="607" y="5830"/>
                  </a:lnTo>
                  <a:lnTo>
                    <a:pt x="1250" y="6032"/>
                  </a:lnTo>
                  <a:cubicBezTo>
                    <a:pt x="1272" y="6040"/>
                    <a:pt x="1293" y="6044"/>
                    <a:pt x="1312" y="6044"/>
                  </a:cubicBezTo>
                  <a:cubicBezTo>
                    <a:pt x="1380" y="6044"/>
                    <a:pt x="1434" y="5999"/>
                    <a:pt x="1453" y="5925"/>
                  </a:cubicBezTo>
                  <a:cubicBezTo>
                    <a:pt x="1488" y="5842"/>
                    <a:pt x="1441" y="5747"/>
                    <a:pt x="1357" y="5723"/>
                  </a:cubicBezTo>
                  <a:lnTo>
                    <a:pt x="202" y="5330"/>
                  </a:lnTo>
                  <a:cubicBezTo>
                    <a:pt x="191" y="5327"/>
                    <a:pt x="179" y="5325"/>
                    <a:pt x="167" y="5325"/>
                  </a:cubicBezTo>
                  <a:cubicBezTo>
                    <a:pt x="131" y="5325"/>
                    <a:pt x="95" y="5339"/>
                    <a:pt x="60" y="5366"/>
                  </a:cubicBezTo>
                  <a:cubicBezTo>
                    <a:pt x="12" y="5389"/>
                    <a:pt x="0" y="5449"/>
                    <a:pt x="0" y="5508"/>
                  </a:cubicBezTo>
                  <a:lnTo>
                    <a:pt x="191" y="6854"/>
                  </a:lnTo>
                  <a:cubicBezTo>
                    <a:pt x="214" y="6925"/>
                    <a:pt x="274" y="6985"/>
                    <a:pt x="357" y="6985"/>
                  </a:cubicBezTo>
                  <a:lnTo>
                    <a:pt x="393" y="6985"/>
                  </a:lnTo>
                  <a:cubicBezTo>
                    <a:pt x="476" y="6973"/>
                    <a:pt x="536" y="6890"/>
                    <a:pt x="524" y="6806"/>
                  </a:cubicBezTo>
                  <a:lnTo>
                    <a:pt x="417" y="6068"/>
                  </a:lnTo>
                  <a:lnTo>
                    <a:pt x="417" y="6068"/>
                  </a:lnTo>
                  <a:cubicBezTo>
                    <a:pt x="881" y="6604"/>
                    <a:pt x="1465" y="7044"/>
                    <a:pt x="2084" y="7354"/>
                  </a:cubicBezTo>
                  <a:cubicBezTo>
                    <a:pt x="2858" y="7747"/>
                    <a:pt x="3691" y="7937"/>
                    <a:pt x="4560" y="7937"/>
                  </a:cubicBezTo>
                  <a:cubicBezTo>
                    <a:pt x="6025" y="7937"/>
                    <a:pt x="7394" y="7366"/>
                    <a:pt x="8442" y="6330"/>
                  </a:cubicBezTo>
                  <a:cubicBezTo>
                    <a:pt x="9477" y="5282"/>
                    <a:pt x="10049" y="3913"/>
                    <a:pt x="10049" y="2449"/>
                  </a:cubicBezTo>
                  <a:cubicBezTo>
                    <a:pt x="10049" y="1627"/>
                    <a:pt x="9870" y="829"/>
                    <a:pt x="9513" y="91"/>
                  </a:cubicBezTo>
                  <a:cubicBezTo>
                    <a:pt x="9479" y="40"/>
                    <a:pt x="9426" y="0"/>
                    <a:pt x="93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0" name="Google Shape;10790;p60"/>
            <p:cNvSpPr/>
            <p:nvPr/>
          </p:nvSpPr>
          <p:spPr>
            <a:xfrm>
              <a:off x="2201806" y="1976585"/>
              <a:ext cx="319484" cy="252424"/>
            </a:xfrm>
            <a:custGeom>
              <a:avLst/>
              <a:gdLst/>
              <a:ahLst/>
              <a:cxnLst/>
              <a:rect l="l" t="t" r="r" b="b"/>
              <a:pathLst>
                <a:path w="10038" h="7931" extrusionOk="0">
                  <a:moveTo>
                    <a:pt x="5501" y="1"/>
                  </a:moveTo>
                  <a:cubicBezTo>
                    <a:pt x="4025" y="1"/>
                    <a:pt x="2656" y="560"/>
                    <a:pt x="1608" y="1608"/>
                  </a:cubicBezTo>
                  <a:cubicBezTo>
                    <a:pt x="572" y="2644"/>
                    <a:pt x="0" y="4013"/>
                    <a:pt x="0" y="5490"/>
                  </a:cubicBezTo>
                  <a:cubicBezTo>
                    <a:pt x="0" y="6311"/>
                    <a:pt x="179" y="7109"/>
                    <a:pt x="536" y="7835"/>
                  </a:cubicBezTo>
                  <a:cubicBezTo>
                    <a:pt x="572" y="7895"/>
                    <a:pt x="632" y="7930"/>
                    <a:pt x="691" y="7930"/>
                  </a:cubicBezTo>
                  <a:cubicBezTo>
                    <a:pt x="715" y="7930"/>
                    <a:pt x="739" y="7930"/>
                    <a:pt x="762" y="7918"/>
                  </a:cubicBezTo>
                  <a:cubicBezTo>
                    <a:pt x="834" y="7871"/>
                    <a:pt x="882" y="7776"/>
                    <a:pt x="834" y="7704"/>
                  </a:cubicBezTo>
                  <a:cubicBezTo>
                    <a:pt x="512" y="7002"/>
                    <a:pt x="346" y="6263"/>
                    <a:pt x="346" y="5490"/>
                  </a:cubicBezTo>
                  <a:cubicBezTo>
                    <a:pt x="346" y="4108"/>
                    <a:pt x="882" y="2811"/>
                    <a:pt x="1870" y="1822"/>
                  </a:cubicBezTo>
                  <a:cubicBezTo>
                    <a:pt x="2846" y="846"/>
                    <a:pt x="4144" y="310"/>
                    <a:pt x="5525" y="310"/>
                  </a:cubicBezTo>
                  <a:cubicBezTo>
                    <a:pt x="7049" y="310"/>
                    <a:pt x="8454" y="965"/>
                    <a:pt x="9454" y="2108"/>
                  </a:cubicBezTo>
                  <a:lnTo>
                    <a:pt x="8811" y="1906"/>
                  </a:lnTo>
                  <a:cubicBezTo>
                    <a:pt x="8792" y="1898"/>
                    <a:pt x="8772" y="1894"/>
                    <a:pt x="8753" y="1894"/>
                  </a:cubicBezTo>
                  <a:cubicBezTo>
                    <a:pt x="8688" y="1894"/>
                    <a:pt x="8627" y="1937"/>
                    <a:pt x="8609" y="2001"/>
                  </a:cubicBezTo>
                  <a:cubicBezTo>
                    <a:pt x="8573" y="2096"/>
                    <a:pt x="8621" y="2180"/>
                    <a:pt x="8716" y="2215"/>
                  </a:cubicBezTo>
                  <a:lnTo>
                    <a:pt x="9859" y="2596"/>
                  </a:lnTo>
                  <a:cubicBezTo>
                    <a:pt x="9871" y="2596"/>
                    <a:pt x="9883" y="2620"/>
                    <a:pt x="9906" y="2620"/>
                  </a:cubicBezTo>
                  <a:cubicBezTo>
                    <a:pt x="9930" y="2620"/>
                    <a:pt x="9978" y="2596"/>
                    <a:pt x="10002" y="2572"/>
                  </a:cubicBezTo>
                  <a:cubicBezTo>
                    <a:pt x="10026" y="2525"/>
                    <a:pt x="10037" y="2465"/>
                    <a:pt x="10037" y="2418"/>
                  </a:cubicBezTo>
                  <a:lnTo>
                    <a:pt x="9847" y="1084"/>
                  </a:lnTo>
                  <a:cubicBezTo>
                    <a:pt x="9827" y="1003"/>
                    <a:pt x="9772" y="948"/>
                    <a:pt x="9705" y="948"/>
                  </a:cubicBezTo>
                  <a:cubicBezTo>
                    <a:pt x="9693" y="948"/>
                    <a:pt x="9681" y="950"/>
                    <a:pt x="9668" y="953"/>
                  </a:cubicBezTo>
                  <a:cubicBezTo>
                    <a:pt x="9573" y="965"/>
                    <a:pt x="9514" y="1037"/>
                    <a:pt x="9525" y="1132"/>
                  </a:cubicBezTo>
                  <a:lnTo>
                    <a:pt x="9633" y="1870"/>
                  </a:lnTo>
                  <a:cubicBezTo>
                    <a:pt x="8597" y="667"/>
                    <a:pt x="7085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1" name="Google Shape;10791;p60"/>
            <p:cNvSpPr/>
            <p:nvPr/>
          </p:nvSpPr>
          <p:spPr>
            <a:xfrm>
              <a:off x="2331789" y="2068662"/>
              <a:ext cx="16709" cy="27340"/>
            </a:xfrm>
            <a:custGeom>
              <a:avLst/>
              <a:gdLst/>
              <a:ahLst/>
              <a:cxnLst/>
              <a:rect l="l" t="t" r="r" b="b"/>
              <a:pathLst>
                <a:path w="525" h="859" extrusionOk="0">
                  <a:moveTo>
                    <a:pt x="358" y="1"/>
                  </a:moveTo>
                  <a:cubicBezTo>
                    <a:pt x="262" y="1"/>
                    <a:pt x="191" y="84"/>
                    <a:pt x="191" y="168"/>
                  </a:cubicBezTo>
                  <a:lnTo>
                    <a:pt x="191" y="465"/>
                  </a:lnTo>
                  <a:lnTo>
                    <a:pt x="72" y="584"/>
                  </a:lnTo>
                  <a:cubicBezTo>
                    <a:pt x="12" y="644"/>
                    <a:pt x="0" y="751"/>
                    <a:pt x="72" y="811"/>
                  </a:cubicBezTo>
                  <a:cubicBezTo>
                    <a:pt x="96" y="834"/>
                    <a:pt x="143" y="858"/>
                    <a:pt x="191" y="858"/>
                  </a:cubicBezTo>
                  <a:cubicBezTo>
                    <a:pt x="238" y="858"/>
                    <a:pt x="262" y="834"/>
                    <a:pt x="298" y="811"/>
                  </a:cubicBezTo>
                  <a:lnTo>
                    <a:pt x="453" y="644"/>
                  </a:lnTo>
                  <a:cubicBezTo>
                    <a:pt x="488" y="620"/>
                    <a:pt x="500" y="572"/>
                    <a:pt x="500" y="525"/>
                  </a:cubicBezTo>
                  <a:lnTo>
                    <a:pt x="524" y="168"/>
                  </a:lnTo>
                  <a:cubicBezTo>
                    <a:pt x="524" y="84"/>
                    <a:pt x="441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2" name="Google Shape;10792;p60"/>
            <p:cNvSpPr/>
            <p:nvPr/>
          </p:nvSpPr>
          <p:spPr>
            <a:xfrm>
              <a:off x="2243118" y="2021653"/>
              <a:ext cx="265664" cy="261908"/>
            </a:xfrm>
            <a:custGeom>
              <a:avLst/>
              <a:gdLst/>
              <a:ahLst/>
              <a:cxnLst/>
              <a:rect l="l" t="t" r="r" b="b"/>
              <a:pathLst>
                <a:path w="8347" h="8229" extrusionOk="0">
                  <a:moveTo>
                    <a:pt x="2751" y="3109"/>
                  </a:moveTo>
                  <a:lnTo>
                    <a:pt x="2977" y="3133"/>
                  </a:lnTo>
                  <a:lnTo>
                    <a:pt x="3084" y="3133"/>
                  </a:lnTo>
                  <a:lnTo>
                    <a:pt x="2917" y="3502"/>
                  </a:lnTo>
                  <a:lnTo>
                    <a:pt x="2643" y="3431"/>
                  </a:lnTo>
                  <a:lnTo>
                    <a:pt x="2751" y="3109"/>
                  </a:lnTo>
                  <a:close/>
                  <a:moveTo>
                    <a:pt x="3834" y="3026"/>
                  </a:moveTo>
                  <a:lnTo>
                    <a:pt x="4156" y="3419"/>
                  </a:lnTo>
                  <a:lnTo>
                    <a:pt x="4120" y="3526"/>
                  </a:lnTo>
                  <a:cubicBezTo>
                    <a:pt x="4096" y="3609"/>
                    <a:pt x="4144" y="3704"/>
                    <a:pt x="4227" y="3728"/>
                  </a:cubicBezTo>
                  <a:cubicBezTo>
                    <a:pt x="4239" y="3728"/>
                    <a:pt x="4263" y="3740"/>
                    <a:pt x="4275" y="3740"/>
                  </a:cubicBezTo>
                  <a:cubicBezTo>
                    <a:pt x="4346" y="3740"/>
                    <a:pt x="4406" y="3704"/>
                    <a:pt x="4417" y="3645"/>
                  </a:cubicBezTo>
                  <a:lnTo>
                    <a:pt x="4465" y="3526"/>
                  </a:lnTo>
                  <a:cubicBezTo>
                    <a:pt x="4501" y="3419"/>
                    <a:pt x="4477" y="3312"/>
                    <a:pt x="4417" y="3240"/>
                  </a:cubicBezTo>
                  <a:lnTo>
                    <a:pt x="4334" y="3133"/>
                  </a:lnTo>
                  <a:lnTo>
                    <a:pt x="4608" y="3359"/>
                  </a:lnTo>
                  <a:cubicBezTo>
                    <a:pt x="4638" y="3374"/>
                    <a:pt x="4673" y="3389"/>
                    <a:pt x="4710" y="3389"/>
                  </a:cubicBezTo>
                  <a:cubicBezTo>
                    <a:pt x="4731" y="3389"/>
                    <a:pt x="4753" y="3384"/>
                    <a:pt x="4775" y="3371"/>
                  </a:cubicBezTo>
                  <a:lnTo>
                    <a:pt x="4989" y="3288"/>
                  </a:lnTo>
                  <a:lnTo>
                    <a:pt x="5108" y="3419"/>
                  </a:lnTo>
                  <a:cubicBezTo>
                    <a:pt x="5132" y="3466"/>
                    <a:pt x="5191" y="3478"/>
                    <a:pt x="5239" y="3478"/>
                  </a:cubicBezTo>
                  <a:lnTo>
                    <a:pt x="5644" y="3442"/>
                  </a:lnTo>
                  <a:lnTo>
                    <a:pt x="5656" y="3526"/>
                  </a:lnTo>
                  <a:cubicBezTo>
                    <a:pt x="5668" y="3562"/>
                    <a:pt x="5644" y="3597"/>
                    <a:pt x="5644" y="3609"/>
                  </a:cubicBezTo>
                  <a:cubicBezTo>
                    <a:pt x="5620" y="3621"/>
                    <a:pt x="5608" y="3657"/>
                    <a:pt x="5560" y="3657"/>
                  </a:cubicBezTo>
                  <a:lnTo>
                    <a:pt x="4882" y="3716"/>
                  </a:lnTo>
                  <a:cubicBezTo>
                    <a:pt x="4787" y="3716"/>
                    <a:pt x="4715" y="3764"/>
                    <a:pt x="4668" y="3835"/>
                  </a:cubicBezTo>
                  <a:cubicBezTo>
                    <a:pt x="4644" y="3895"/>
                    <a:pt x="4608" y="3954"/>
                    <a:pt x="4632" y="4014"/>
                  </a:cubicBezTo>
                  <a:lnTo>
                    <a:pt x="4167" y="3859"/>
                  </a:lnTo>
                  <a:cubicBezTo>
                    <a:pt x="4156" y="3859"/>
                    <a:pt x="4156" y="3847"/>
                    <a:pt x="4156" y="3835"/>
                  </a:cubicBezTo>
                  <a:cubicBezTo>
                    <a:pt x="4120" y="3657"/>
                    <a:pt x="3977" y="3538"/>
                    <a:pt x="3798" y="3538"/>
                  </a:cubicBezTo>
                  <a:lnTo>
                    <a:pt x="3775" y="3538"/>
                  </a:lnTo>
                  <a:lnTo>
                    <a:pt x="3286" y="3550"/>
                  </a:lnTo>
                  <a:lnTo>
                    <a:pt x="3405" y="3204"/>
                  </a:lnTo>
                  <a:cubicBezTo>
                    <a:pt x="3429" y="3181"/>
                    <a:pt x="3453" y="3169"/>
                    <a:pt x="3489" y="3145"/>
                  </a:cubicBezTo>
                  <a:lnTo>
                    <a:pt x="3834" y="3026"/>
                  </a:lnTo>
                  <a:close/>
                  <a:moveTo>
                    <a:pt x="7561" y="3562"/>
                  </a:moveTo>
                  <a:cubicBezTo>
                    <a:pt x="7573" y="3562"/>
                    <a:pt x="7620" y="3562"/>
                    <a:pt x="7656" y="3597"/>
                  </a:cubicBezTo>
                  <a:lnTo>
                    <a:pt x="7977" y="3907"/>
                  </a:lnTo>
                  <a:cubicBezTo>
                    <a:pt x="7989" y="4026"/>
                    <a:pt x="7989" y="4133"/>
                    <a:pt x="7977" y="4216"/>
                  </a:cubicBezTo>
                  <a:cubicBezTo>
                    <a:pt x="7930" y="5169"/>
                    <a:pt x="7549" y="6086"/>
                    <a:pt x="6858" y="6752"/>
                  </a:cubicBezTo>
                  <a:cubicBezTo>
                    <a:pt x="6763" y="6860"/>
                    <a:pt x="6656" y="6943"/>
                    <a:pt x="6537" y="7050"/>
                  </a:cubicBezTo>
                  <a:cubicBezTo>
                    <a:pt x="6596" y="6955"/>
                    <a:pt x="6644" y="6871"/>
                    <a:pt x="6680" y="6776"/>
                  </a:cubicBezTo>
                  <a:lnTo>
                    <a:pt x="7430" y="5074"/>
                  </a:lnTo>
                  <a:cubicBezTo>
                    <a:pt x="7454" y="5026"/>
                    <a:pt x="7442" y="4966"/>
                    <a:pt x="7418" y="4907"/>
                  </a:cubicBezTo>
                  <a:cubicBezTo>
                    <a:pt x="7382" y="4859"/>
                    <a:pt x="7323" y="4836"/>
                    <a:pt x="7263" y="4836"/>
                  </a:cubicBezTo>
                  <a:lnTo>
                    <a:pt x="7192" y="4836"/>
                  </a:lnTo>
                  <a:lnTo>
                    <a:pt x="7596" y="4026"/>
                  </a:lnTo>
                  <a:cubicBezTo>
                    <a:pt x="7656" y="3895"/>
                    <a:pt x="7620" y="3728"/>
                    <a:pt x="7501" y="3657"/>
                  </a:cubicBezTo>
                  <a:lnTo>
                    <a:pt x="7477" y="3621"/>
                  </a:lnTo>
                  <a:lnTo>
                    <a:pt x="7489" y="3609"/>
                  </a:lnTo>
                  <a:cubicBezTo>
                    <a:pt x="7513" y="3562"/>
                    <a:pt x="7549" y="3562"/>
                    <a:pt x="7561" y="3562"/>
                  </a:cubicBezTo>
                  <a:close/>
                  <a:moveTo>
                    <a:pt x="4088" y="0"/>
                  </a:moveTo>
                  <a:cubicBezTo>
                    <a:pt x="4055" y="0"/>
                    <a:pt x="4022" y="1"/>
                    <a:pt x="3989" y="2"/>
                  </a:cubicBezTo>
                  <a:cubicBezTo>
                    <a:pt x="2953" y="49"/>
                    <a:pt x="1977" y="478"/>
                    <a:pt x="1250" y="1216"/>
                  </a:cubicBezTo>
                  <a:cubicBezTo>
                    <a:pt x="524" y="1942"/>
                    <a:pt x="96" y="2919"/>
                    <a:pt x="48" y="3954"/>
                  </a:cubicBezTo>
                  <a:cubicBezTo>
                    <a:pt x="0" y="4978"/>
                    <a:pt x="346" y="5979"/>
                    <a:pt x="1012" y="6764"/>
                  </a:cubicBezTo>
                  <a:cubicBezTo>
                    <a:pt x="1048" y="6812"/>
                    <a:pt x="1084" y="6824"/>
                    <a:pt x="1131" y="6824"/>
                  </a:cubicBezTo>
                  <a:cubicBezTo>
                    <a:pt x="1167" y="6824"/>
                    <a:pt x="1203" y="6812"/>
                    <a:pt x="1239" y="6776"/>
                  </a:cubicBezTo>
                  <a:cubicBezTo>
                    <a:pt x="1310" y="6717"/>
                    <a:pt x="1310" y="6610"/>
                    <a:pt x="1250" y="6550"/>
                  </a:cubicBezTo>
                  <a:cubicBezTo>
                    <a:pt x="643" y="5824"/>
                    <a:pt x="334" y="4907"/>
                    <a:pt x="369" y="3966"/>
                  </a:cubicBezTo>
                  <a:cubicBezTo>
                    <a:pt x="417" y="3014"/>
                    <a:pt x="810" y="2109"/>
                    <a:pt x="1489" y="1430"/>
                  </a:cubicBezTo>
                  <a:cubicBezTo>
                    <a:pt x="2155" y="764"/>
                    <a:pt x="3072" y="359"/>
                    <a:pt x="4025" y="323"/>
                  </a:cubicBezTo>
                  <a:cubicBezTo>
                    <a:pt x="4087" y="316"/>
                    <a:pt x="4150" y="313"/>
                    <a:pt x="4213" y="313"/>
                  </a:cubicBezTo>
                  <a:cubicBezTo>
                    <a:pt x="4363" y="313"/>
                    <a:pt x="4512" y="330"/>
                    <a:pt x="4656" y="347"/>
                  </a:cubicBezTo>
                  <a:lnTo>
                    <a:pt x="4882" y="621"/>
                  </a:lnTo>
                  <a:lnTo>
                    <a:pt x="4798" y="823"/>
                  </a:lnTo>
                  <a:lnTo>
                    <a:pt x="4656" y="585"/>
                  </a:lnTo>
                  <a:cubicBezTo>
                    <a:pt x="4632" y="537"/>
                    <a:pt x="4572" y="502"/>
                    <a:pt x="4525" y="502"/>
                  </a:cubicBezTo>
                  <a:lnTo>
                    <a:pt x="4025" y="502"/>
                  </a:lnTo>
                  <a:cubicBezTo>
                    <a:pt x="3965" y="502"/>
                    <a:pt x="3906" y="525"/>
                    <a:pt x="3870" y="585"/>
                  </a:cubicBezTo>
                  <a:lnTo>
                    <a:pt x="3513" y="1276"/>
                  </a:lnTo>
                  <a:cubicBezTo>
                    <a:pt x="3465" y="1359"/>
                    <a:pt x="3465" y="1478"/>
                    <a:pt x="3513" y="1573"/>
                  </a:cubicBezTo>
                  <a:cubicBezTo>
                    <a:pt x="3560" y="1657"/>
                    <a:pt x="3667" y="1716"/>
                    <a:pt x="3763" y="1728"/>
                  </a:cubicBezTo>
                  <a:lnTo>
                    <a:pt x="4048" y="1764"/>
                  </a:lnTo>
                  <a:cubicBezTo>
                    <a:pt x="4108" y="1764"/>
                    <a:pt x="4167" y="1752"/>
                    <a:pt x="4203" y="1692"/>
                  </a:cubicBezTo>
                  <a:lnTo>
                    <a:pt x="4298" y="1537"/>
                  </a:lnTo>
                  <a:lnTo>
                    <a:pt x="4358" y="1609"/>
                  </a:lnTo>
                  <a:lnTo>
                    <a:pt x="4310" y="1895"/>
                  </a:lnTo>
                  <a:lnTo>
                    <a:pt x="3822" y="1966"/>
                  </a:lnTo>
                  <a:cubicBezTo>
                    <a:pt x="3798" y="1966"/>
                    <a:pt x="3775" y="1990"/>
                    <a:pt x="3751" y="2002"/>
                  </a:cubicBezTo>
                  <a:lnTo>
                    <a:pt x="3108" y="2466"/>
                  </a:lnTo>
                  <a:cubicBezTo>
                    <a:pt x="3084" y="2490"/>
                    <a:pt x="3048" y="2526"/>
                    <a:pt x="3048" y="2550"/>
                  </a:cubicBezTo>
                  <a:lnTo>
                    <a:pt x="2977" y="2847"/>
                  </a:lnTo>
                  <a:lnTo>
                    <a:pt x="2751" y="2823"/>
                  </a:lnTo>
                  <a:cubicBezTo>
                    <a:pt x="2736" y="2821"/>
                    <a:pt x="2721" y="2819"/>
                    <a:pt x="2706" y="2819"/>
                  </a:cubicBezTo>
                  <a:cubicBezTo>
                    <a:pt x="2591" y="2819"/>
                    <a:pt x="2483" y="2898"/>
                    <a:pt x="2441" y="3014"/>
                  </a:cubicBezTo>
                  <a:lnTo>
                    <a:pt x="2310" y="3371"/>
                  </a:lnTo>
                  <a:cubicBezTo>
                    <a:pt x="2274" y="3442"/>
                    <a:pt x="2274" y="3538"/>
                    <a:pt x="2322" y="3609"/>
                  </a:cubicBezTo>
                  <a:cubicBezTo>
                    <a:pt x="2370" y="3681"/>
                    <a:pt x="2429" y="3740"/>
                    <a:pt x="2501" y="3752"/>
                  </a:cubicBezTo>
                  <a:cubicBezTo>
                    <a:pt x="2346" y="3812"/>
                    <a:pt x="2251" y="3978"/>
                    <a:pt x="2251" y="4145"/>
                  </a:cubicBezTo>
                  <a:lnTo>
                    <a:pt x="2251" y="4216"/>
                  </a:lnTo>
                  <a:lnTo>
                    <a:pt x="1798" y="4740"/>
                  </a:lnTo>
                  <a:cubicBezTo>
                    <a:pt x="1727" y="4812"/>
                    <a:pt x="1703" y="4919"/>
                    <a:pt x="1703" y="5026"/>
                  </a:cubicBezTo>
                  <a:lnTo>
                    <a:pt x="1703" y="5621"/>
                  </a:lnTo>
                  <a:cubicBezTo>
                    <a:pt x="1703" y="5764"/>
                    <a:pt x="1750" y="5919"/>
                    <a:pt x="1881" y="6038"/>
                  </a:cubicBezTo>
                  <a:lnTo>
                    <a:pt x="2310" y="6455"/>
                  </a:lnTo>
                  <a:cubicBezTo>
                    <a:pt x="2393" y="6538"/>
                    <a:pt x="2524" y="6598"/>
                    <a:pt x="2643" y="6610"/>
                  </a:cubicBezTo>
                  <a:lnTo>
                    <a:pt x="3917" y="6717"/>
                  </a:lnTo>
                  <a:lnTo>
                    <a:pt x="3917" y="6764"/>
                  </a:lnTo>
                  <a:cubicBezTo>
                    <a:pt x="3894" y="6907"/>
                    <a:pt x="3965" y="7074"/>
                    <a:pt x="4096" y="7169"/>
                  </a:cubicBezTo>
                  <a:lnTo>
                    <a:pt x="4310" y="7324"/>
                  </a:lnTo>
                  <a:lnTo>
                    <a:pt x="4298" y="7372"/>
                  </a:lnTo>
                  <a:cubicBezTo>
                    <a:pt x="4251" y="7538"/>
                    <a:pt x="4298" y="7717"/>
                    <a:pt x="4429" y="7836"/>
                  </a:cubicBezTo>
                  <a:lnTo>
                    <a:pt x="4489" y="7895"/>
                  </a:lnTo>
                  <a:cubicBezTo>
                    <a:pt x="4429" y="7895"/>
                    <a:pt x="4394" y="7907"/>
                    <a:pt x="4334" y="7907"/>
                  </a:cubicBezTo>
                  <a:cubicBezTo>
                    <a:pt x="4272" y="7910"/>
                    <a:pt x="4211" y="7912"/>
                    <a:pt x="4149" y="7912"/>
                  </a:cubicBezTo>
                  <a:cubicBezTo>
                    <a:pt x="3262" y="7912"/>
                    <a:pt x="2407" y="7593"/>
                    <a:pt x="1739" y="7014"/>
                  </a:cubicBezTo>
                  <a:cubicBezTo>
                    <a:pt x="1708" y="6989"/>
                    <a:pt x="1672" y="6976"/>
                    <a:pt x="1637" y="6976"/>
                  </a:cubicBezTo>
                  <a:cubicBezTo>
                    <a:pt x="1591" y="6976"/>
                    <a:pt x="1546" y="6998"/>
                    <a:pt x="1512" y="7038"/>
                  </a:cubicBezTo>
                  <a:cubicBezTo>
                    <a:pt x="1453" y="7110"/>
                    <a:pt x="1477" y="7193"/>
                    <a:pt x="1536" y="7252"/>
                  </a:cubicBezTo>
                  <a:cubicBezTo>
                    <a:pt x="2274" y="7883"/>
                    <a:pt x="3215" y="8229"/>
                    <a:pt x="4179" y="8229"/>
                  </a:cubicBezTo>
                  <a:lnTo>
                    <a:pt x="4346" y="8229"/>
                  </a:lnTo>
                  <a:cubicBezTo>
                    <a:pt x="5382" y="8181"/>
                    <a:pt x="6358" y="7753"/>
                    <a:pt x="7084" y="7014"/>
                  </a:cubicBezTo>
                  <a:cubicBezTo>
                    <a:pt x="7811" y="6288"/>
                    <a:pt x="8239" y="5312"/>
                    <a:pt x="8287" y="4276"/>
                  </a:cubicBezTo>
                  <a:cubicBezTo>
                    <a:pt x="8347" y="3204"/>
                    <a:pt x="8001" y="2216"/>
                    <a:pt x="7335" y="1418"/>
                  </a:cubicBezTo>
                  <a:cubicBezTo>
                    <a:pt x="7303" y="1381"/>
                    <a:pt x="7259" y="1363"/>
                    <a:pt x="7216" y="1363"/>
                  </a:cubicBezTo>
                  <a:cubicBezTo>
                    <a:pt x="7176" y="1363"/>
                    <a:pt x="7137" y="1378"/>
                    <a:pt x="7108" y="1407"/>
                  </a:cubicBezTo>
                  <a:cubicBezTo>
                    <a:pt x="7037" y="1466"/>
                    <a:pt x="7037" y="1573"/>
                    <a:pt x="7096" y="1633"/>
                  </a:cubicBezTo>
                  <a:cubicBezTo>
                    <a:pt x="7525" y="2157"/>
                    <a:pt x="7823" y="2776"/>
                    <a:pt x="7930" y="3431"/>
                  </a:cubicBezTo>
                  <a:lnTo>
                    <a:pt x="7894" y="3383"/>
                  </a:lnTo>
                  <a:cubicBezTo>
                    <a:pt x="7809" y="3308"/>
                    <a:pt x="7694" y="3262"/>
                    <a:pt x="7577" y="3262"/>
                  </a:cubicBezTo>
                  <a:cubicBezTo>
                    <a:pt x="7564" y="3262"/>
                    <a:pt x="7550" y="3263"/>
                    <a:pt x="7537" y="3264"/>
                  </a:cubicBezTo>
                  <a:cubicBezTo>
                    <a:pt x="7394" y="3288"/>
                    <a:pt x="7275" y="3359"/>
                    <a:pt x="7215" y="3466"/>
                  </a:cubicBezTo>
                  <a:lnTo>
                    <a:pt x="7192" y="3502"/>
                  </a:lnTo>
                  <a:cubicBezTo>
                    <a:pt x="7108" y="3502"/>
                    <a:pt x="7037" y="3538"/>
                    <a:pt x="6977" y="3585"/>
                  </a:cubicBezTo>
                  <a:lnTo>
                    <a:pt x="6775" y="3323"/>
                  </a:lnTo>
                  <a:cubicBezTo>
                    <a:pt x="6744" y="3286"/>
                    <a:pt x="6700" y="3268"/>
                    <a:pt x="6656" y="3268"/>
                  </a:cubicBezTo>
                  <a:cubicBezTo>
                    <a:pt x="6616" y="3268"/>
                    <a:pt x="6577" y="3283"/>
                    <a:pt x="6549" y="3312"/>
                  </a:cubicBezTo>
                  <a:cubicBezTo>
                    <a:pt x="6477" y="3371"/>
                    <a:pt x="6477" y="3478"/>
                    <a:pt x="6537" y="3538"/>
                  </a:cubicBezTo>
                  <a:lnTo>
                    <a:pt x="6858" y="3919"/>
                  </a:lnTo>
                  <a:cubicBezTo>
                    <a:pt x="6894" y="3954"/>
                    <a:pt x="6942" y="3978"/>
                    <a:pt x="6977" y="3978"/>
                  </a:cubicBezTo>
                  <a:cubicBezTo>
                    <a:pt x="7025" y="3978"/>
                    <a:pt x="7073" y="3966"/>
                    <a:pt x="7096" y="3943"/>
                  </a:cubicBezTo>
                  <a:lnTo>
                    <a:pt x="7204" y="3835"/>
                  </a:lnTo>
                  <a:lnTo>
                    <a:pt x="7335" y="3919"/>
                  </a:lnTo>
                  <a:lnTo>
                    <a:pt x="6858" y="4871"/>
                  </a:lnTo>
                  <a:lnTo>
                    <a:pt x="6834" y="4871"/>
                  </a:lnTo>
                  <a:cubicBezTo>
                    <a:pt x="6799" y="4871"/>
                    <a:pt x="6763" y="4859"/>
                    <a:pt x="6739" y="4836"/>
                  </a:cubicBezTo>
                  <a:lnTo>
                    <a:pt x="6096" y="4062"/>
                  </a:lnTo>
                  <a:cubicBezTo>
                    <a:pt x="6069" y="4014"/>
                    <a:pt x="6023" y="3994"/>
                    <a:pt x="5977" y="3994"/>
                  </a:cubicBezTo>
                  <a:cubicBezTo>
                    <a:pt x="5942" y="3994"/>
                    <a:pt x="5908" y="4005"/>
                    <a:pt x="5882" y="4026"/>
                  </a:cubicBezTo>
                  <a:cubicBezTo>
                    <a:pt x="5799" y="4085"/>
                    <a:pt x="5799" y="4193"/>
                    <a:pt x="5846" y="4252"/>
                  </a:cubicBezTo>
                  <a:lnTo>
                    <a:pt x="6489" y="5026"/>
                  </a:lnTo>
                  <a:cubicBezTo>
                    <a:pt x="6584" y="5133"/>
                    <a:pt x="6715" y="5193"/>
                    <a:pt x="6858" y="5193"/>
                  </a:cubicBezTo>
                  <a:lnTo>
                    <a:pt x="7073" y="5169"/>
                  </a:lnTo>
                  <a:lnTo>
                    <a:pt x="6430" y="6645"/>
                  </a:lnTo>
                  <a:cubicBezTo>
                    <a:pt x="6382" y="6752"/>
                    <a:pt x="6322" y="6848"/>
                    <a:pt x="6251" y="6943"/>
                  </a:cubicBezTo>
                  <a:lnTo>
                    <a:pt x="5751" y="7550"/>
                  </a:lnTo>
                  <a:cubicBezTo>
                    <a:pt x="5489" y="7657"/>
                    <a:pt x="5227" y="7753"/>
                    <a:pt x="4953" y="7812"/>
                  </a:cubicBezTo>
                  <a:lnTo>
                    <a:pt x="4679" y="7562"/>
                  </a:lnTo>
                  <a:cubicBezTo>
                    <a:pt x="4644" y="7538"/>
                    <a:pt x="4632" y="7491"/>
                    <a:pt x="4644" y="7443"/>
                  </a:cubicBezTo>
                  <a:lnTo>
                    <a:pt x="4691" y="7288"/>
                  </a:lnTo>
                  <a:cubicBezTo>
                    <a:pt x="4703" y="7229"/>
                    <a:pt x="4691" y="7145"/>
                    <a:pt x="4632" y="7110"/>
                  </a:cubicBezTo>
                  <a:lnTo>
                    <a:pt x="4322" y="6871"/>
                  </a:lnTo>
                  <a:cubicBezTo>
                    <a:pt x="4287" y="6836"/>
                    <a:pt x="4275" y="6812"/>
                    <a:pt x="4275" y="6764"/>
                  </a:cubicBezTo>
                  <a:lnTo>
                    <a:pt x="4298" y="6550"/>
                  </a:lnTo>
                  <a:cubicBezTo>
                    <a:pt x="4298" y="6514"/>
                    <a:pt x="4298" y="6467"/>
                    <a:pt x="4275" y="6431"/>
                  </a:cubicBezTo>
                  <a:cubicBezTo>
                    <a:pt x="4239" y="6407"/>
                    <a:pt x="4203" y="6371"/>
                    <a:pt x="4167" y="6371"/>
                  </a:cubicBezTo>
                  <a:lnTo>
                    <a:pt x="2679" y="6264"/>
                  </a:lnTo>
                  <a:cubicBezTo>
                    <a:pt x="2620" y="6264"/>
                    <a:pt x="2572" y="6229"/>
                    <a:pt x="2536" y="6181"/>
                  </a:cubicBezTo>
                  <a:lnTo>
                    <a:pt x="2096" y="5764"/>
                  </a:lnTo>
                  <a:cubicBezTo>
                    <a:pt x="2060" y="5728"/>
                    <a:pt x="2024" y="5645"/>
                    <a:pt x="2024" y="5586"/>
                  </a:cubicBezTo>
                  <a:lnTo>
                    <a:pt x="2024" y="4990"/>
                  </a:lnTo>
                  <a:cubicBezTo>
                    <a:pt x="2024" y="4966"/>
                    <a:pt x="2036" y="4931"/>
                    <a:pt x="2060" y="4919"/>
                  </a:cubicBezTo>
                  <a:lnTo>
                    <a:pt x="2548" y="4359"/>
                  </a:lnTo>
                  <a:cubicBezTo>
                    <a:pt x="2572" y="4324"/>
                    <a:pt x="2596" y="4300"/>
                    <a:pt x="2596" y="4252"/>
                  </a:cubicBezTo>
                  <a:lnTo>
                    <a:pt x="2596" y="4121"/>
                  </a:lnTo>
                  <a:cubicBezTo>
                    <a:pt x="2596" y="4074"/>
                    <a:pt x="2620" y="4038"/>
                    <a:pt x="2655" y="4014"/>
                  </a:cubicBezTo>
                  <a:lnTo>
                    <a:pt x="3036" y="3847"/>
                  </a:lnTo>
                  <a:lnTo>
                    <a:pt x="3751" y="3835"/>
                  </a:lnTo>
                  <a:cubicBezTo>
                    <a:pt x="3763" y="3835"/>
                    <a:pt x="3786" y="3847"/>
                    <a:pt x="3786" y="3859"/>
                  </a:cubicBezTo>
                  <a:cubicBezTo>
                    <a:pt x="3798" y="3990"/>
                    <a:pt x="3906" y="4097"/>
                    <a:pt x="4025" y="4145"/>
                  </a:cubicBezTo>
                  <a:lnTo>
                    <a:pt x="4537" y="4324"/>
                  </a:lnTo>
                  <a:cubicBezTo>
                    <a:pt x="4569" y="4331"/>
                    <a:pt x="4601" y="4335"/>
                    <a:pt x="4633" y="4335"/>
                  </a:cubicBezTo>
                  <a:cubicBezTo>
                    <a:pt x="4705" y="4335"/>
                    <a:pt x="4772" y="4314"/>
                    <a:pt x="4822" y="4264"/>
                  </a:cubicBezTo>
                  <a:cubicBezTo>
                    <a:pt x="4882" y="4204"/>
                    <a:pt x="4918" y="4121"/>
                    <a:pt x="4918" y="4026"/>
                  </a:cubicBezTo>
                  <a:lnTo>
                    <a:pt x="5549" y="3978"/>
                  </a:lnTo>
                  <a:cubicBezTo>
                    <a:pt x="5668" y="3966"/>
                    <a:pt x="5787" y="3907"/>
                    <a:pt x="5870" y="3812"/>
                  </a:cubicBezTo>
                  <a:cubicBezTo>
                    <a:pt x="5941" y="3728"/>
                    <a:pt x="5965" y="3597"/>
                    <a:pt x="5941" y="3478"/>
                  </a:cubicBezTo>
                  <a:lnTo>
                    <a:pt x="5930" y="3383"/>
                  </a:lnTo>
                  <a:cubicBezTo>
                    <a:pt x="5896" y="3247"/>
                    <a:pt x="5776" y="3144"/>
                    <a:pt x="5632" y="3144"/>
                  </a:cubicBezTo>
                  <a:cubicBezTo>
                    <a:pt x="5624" y="3144"/>
                    <a:pt x="5616" y="3144"/>
                    <a:pt x="5608" y="3145"/>
                  </a:cubicBezTo>
                  <a:lnTo>
                    <a:pt x="5275" y="3181"/>
                  </a:lnTo>
                  <a:lnTo>
                    <a:pt x="5227" y="3121"/>
                  </a:lnTo>
                  <a:lnTo>
                    <a:pt x="5668" y="2669"/>
                  </a:lnTo>
                  <a:cubicBezTo>
                    <a:pt x="5727" y="2609"/>
                    <a:pt x="5727" y="2502"/>
                    <a:pt x="5668" y="2442"/>
                  </a:cubicBezTo>
                  <a:cubicBezTo>
                    <a:pt x="5638" y="2413"/>
                    <a:pt x="5599" y="2398"/>
                    <a:pt x="5560" y="2398"/>
                  </a:cubicBezTo>
                  <a:cubicBezTo>
                    <a:pt x="5522" y="2398"/>
                    <a:pt x="5483" y="2413"/>
                    <a:pt x="5453" y="2442"/>
                  </a:cubicBezTo>
                  <a:lnTo>
                    <a:pt x="4918" y="2978"/>
                  </a:lnTo>
                  <a:lnTo>
                    <a:pt x="4739" y="3061"/>
                  </a:lnTo>
                  <a:lnTo>
                    <a:pt x="4227" y="2669"/>
                  </a:lnTo>
                  <a:cubicBezTo>
                    <a:pt x="4193" y="2652"/>
                    <a:pt x="4166" y="2635"/>
                    <a:pt x="4131" y="2635"/>
                  </a:cubicBezTo>
                  <a:cubicBezTo>
                    <a:pt x="4117" y="2635"/>
                    <a:pt x="4102" y="2638"/>
                    <a:pt x="4084" y="2645"/>
                  </a:cubicBezTo>
                  <a:lnTo>
                    <a:pt x="3382" y="2859"/>
                  </a:lnTo>
                  <a:cubicBezTo>
                    <a:pt x="3370" y="2859"/>
                    <a:pt x="3334" y="2883"/>
                    <a:pt x="3322" y="2895"/>
                  </a:cubicBezTo>
                  <a:lnTo>
                    <a:pt x="3370" y="2680"/>
                  </a:lnTo>
                  <a:lnTo>
                    <a:pt x="3917" y="2288"/>
                  </a:lnTo>
                  <a:lnTo>
                    <a:pt x="4501" y="2192"/>
                  </a:lnTo>
                  <a:cubicBezTo>
                    <a:pt x="4572" y="2180"/>
                    <a:pt x="4620" y="2133"/>
                    <a:pt x="4632" y="2061"/>
                  </a:cubicBezTo>
                  <a:lnTo>
                    <a:pt x="4691" y="1597"/>
                  </a:lnTo>
                  <a:cubicBezTo>
                    <a:pt x="4691" y="1549"/>
                    <a:pt x="4691" y="1514"/>
                    <a:pt x="4656" y="1478"/>
                  </a:cubicBezTo>
                  <a:lnTo>
                    <a:pt x="4417" y="1180"/>
                  </a:lnTo>
                  <a:cubicBezTo>
                    <a:pt x="4394" y="1133"/>
                    <a:pt x="4346" y="1121"/>
                    <a:pt x="4287" y="1121"/>
                  </a:cubicBezTo>
                  <a:cubicBezTo>
                    <a:pt x="4239" y="1121"/>
                    <a:pt x="4179" y="1156"/>
                    <a:pt x="4156" y="1192"/>
                  </a:cubicBezTo>
                  <a:lnTo>
                    <a:pt x="3977" y="1454"/>
                  </a:lnTo>
                  <a:lnTo>
                    <a:pt x="3786" y="1430"/>
                  </a:lnTo>
                  <a:lnTo>
                    <a:pt x="4096" y="835"/>
                  </a:lnTo>
                  <a:lnTo>
                    <a:pt x="4417" y="835"/>
                  </a:lnTo>
                  <a:lnTo>
                    <a:pt x="4656" y="1287"/>
                  </a:lnTo>
                  <a:cubicBezTo>
                    <a:pt x="4691" y="1347"/>
                    <a:pt x="4751" y="1371"/>
                    <a:pt x="4810" y="1371"/>
                  </a:cubicBezTo>
                  <a:cubicBezTo>
                    <a:pt x="4870" y="1371"/>
                    <a:pt x="4929" y="1335"/>
                    <a:pt x="4941" y="1276"/>
                  </a:cubicBezTo>
                  <a:lnTo>
                    <a:pt x="5168" y="740"/>
                  </a:lnTo>
                  <a:cubicBezTo>
                    <a:pt x="5215" y="645"/>
                    <a:pt x="5191" y="525"/>
                    <a:pt x="5132" y="454"/>
                  </a:cubicBezTo>
                  <a:lnTo>
                    <a:pt x="5132" y="454"/>
                  </a:lnTo>
                  <a:cubicBezTo>
                    <a:pt x="5668" y="597"/>
                    <a:pt x="6168" y="859"/>
                    <a:pt x="6596" y="1216"/>
                  </a:cubicBezTo>
                  <a:cubicBezTo>
                    <a:pt x="6625" y="1240"/>
                    <a:pt x="6658" y="1250"/>
                    <a:pt x="6691" y="1250"/>
                  </a:cubicBezTo>
                  <a:cubicBezTo>
                    <a:pt x="6739" y="1250"/>
                    <a:pt x="6787" y="1228"/>
                    <a:pt x="6823" y="1192"/>
                  </a:cubicBezTo>
                  <a:cubicBezTo>
                    <a:pt x="6882" y="1121"/>
                    <a:pt x="6858" y="1037"/>
                    <a:pt x="6799" y="978"/>
                  </a:cubicBezTo>
                  <a:cubicBezTo>
                    <a:pt x="6038" y="344"/>
                    <a:pt x="5077" y="0"/>
                    <a:pt x="40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93" name="Google Shape;10793;p60"/>
          <p:cNvGrpSpPr/>
          <p:nvPr/>
        </p:nvGrpSpPr>
        <p:grpSpPr>
          <a:xfrm>
            <a:off x="3094217" y="1976585"/>
            <a:ext cx="350198" cy="350548"/>
            <a:chOff x="3094217" y="1976585"/>
            <a:chExt cx="350198" cy="350548"/>
          </a:xfrm>
        </p:grpSpPr>
        <p:sp>
          <p:nvSpPr>
            <p:cNvPr id="10794" name="Google Shape;10794;p60"/>
            <p:cNvSpPr/>
            <p:nvPr/>
          </p:nvSpPr>
          <p:spPr>
            <a:xfrm>
              <a:off x="3094217" y="2129039"/>
              <a:ext cx="131543" cy="197362"/>
            </a:xfrm>
            <a:custGeom>
              <a:avLst/>
              <a:gdLst/>
              <a:ahLst/>
              <a:cxnLst/>
              <a:rect l="l" t="t" r="r" b="b"/>
              <a:pathLst>
                <a:path w="4133" h="6201" extrusionOk="0">
                  <a:moveTo>
                    <a:pt x="2072" y="345"/>
                  </a:moveTo>
                  <a:cubicBezTo>
                    <a:pt x="2117" y="345"/>
                    <a:pt x="2162" y="348"/>
                    <a:pt x="2203" y="354"/>
                  </a:cubicBezTo>
                  <a:cubicBezTo>
                    <a:pt x="2906" y="414"/>
                    <a:pt x="3454" y="1045"/>
                    <a:pt x="3454" y="1759"/>
                  </a:cubicBezTo>
                  <a:cubicBezTo>
                    <a:pt x="3454" y="2438"/>
                    <a:pt x="3620" y="3069"/>
                    <a:pt x="3751" y="3402"/>
                  </a:cubicBezTo>
                  <a:lnTo>
                    <a:pt x="3751" y="3426"/>
                  </a:lnTo>
                  <a:cubicBezTo>
                    <a:pt x="3608" y="3509"/>
                    <a:pt x="3299" y="3688"/>
                    <a:pt x="2763" y="3807"/>
                  </a:cubicBezTo>
                  <a:lnTo>
                    <a:pt x="2763" y="3759"/>
                  </a:lnTo>
                  <a:lnTo>
                    <a:pt x="2763" y="3438"/>
                  </a:lnTo>
                  <a:cubicBezTo>
                    <a:pt x="2965" y="3319"/>
                    <a:pt x="3144" y="3140"/>
                    <a:pt x="3263" y="2926"/>
                  </a:cubicBezTo>
                  <a:cubicBezTo>
                    <a:pt x="3489" y="2533"/>
                    <a:pt x="3418" y="2021"/>
                    <a:pt x="3073" y="1712"/>
                  </a:cubicBezTo>
                  <a:cubicBezTo>
                    <a:pt x="2834" y="1485"/>
                    <a:pt x="2418" y="1235"/>
                    <a:pt x="1727" y="1235"/>
                  </a:cubicBezTo>
                  <a:cubicBezTo>
                    <a:pt x="1691" y="1235"/>
                    <a:pt x="1644" y="1247"/>
                    <a:pt x="1608" y="1283"/>
                  </a:cubicBezTo>
                  <a:lnTo>
                    <a:pt x="1275" y="1616"/>
                  </a:lnTo>
                  <a:cubicBezTo>
                    <a:pt x="1215" y="1676"/>
                    <a:pt x="1215" y="1783"/>
                    <a:pt x="1275" y="1843"/>
                  </a:cubicBezTo>
                  <a:cubicBezTo>
                    <a:pt x="1304" y="1872"/>
                    <a:pt x="1343" y="1887"/>
                    <a:pt x="1382" y="1887"/>
                  </a:cubicBezTo>
                  <a:cubicBezTo>
                    <a:pt x="1421" y="1887"/>
                    <a:pt x="1459" y="1872"/>
                    <a:pt x="1489" y="1843"/>
                  </a:cubicBezTo>
                  <a:lnTo>
                    <a:pt x="1787" y="1545"/>
                  </a:lnTo>
                  <a:cubicBezTo>
                    <a:pt x="2227" y="1557"/>
                    <a:pt x="2584" y="1700"/>
                    <a:pt x="2846" y="1938"/>
                  </a:cubicBezTo>
                  <a:cubicBezTo>
                    <a:pt x="3073" y="2140"/>
                    <a:pt x="3132" y="2485"/>
                    <a:pt x="2977" y="2747"/>
                  </a:cubicBezTo>
                  <a:cubicBezTo>
                    <a:pt x="2799" y="3081"/>
                    <a:pt x="2441" y="3283"/>
                    <a:pt x="2072" y="3283"/>
                  </a:cubicBezTo>
                  <a:cubicBezTo>
                    <a:pt x="1489" y="3283"/>
                    <a:pt x="1037" y="2831"/>
                    <a:pt x="1037" y="2247"/>
                  </a:cubicBezTo>
                  <a:cubicBezTo>
                    <a:pt x="1037" y="2152"/>
                    <a:pt x="953" y="2081"/>
                    <a:pt x="870" y="2081"/>
                  </a:cubicBezTo>
                  <a:cubicBezTo>
                    <a:pt x="775" y="2081"/>
                    <a:pt x="703" y="2152"/>
                    <a:pt x="703" y="2247"/>
                  </a:cubicBezTo>
                  <a:cubicBezTo>
                    <a:pt x="703" y="2747"/>
                    <a:pt x="989" y="3200"/>
                    <a:pt x="1394" y="3438"/>
                  </a:cubicBezTo>
                  <a:lnTo>
                    <a:pt x="1394" y="3759"/>
                  </a:lnTo>
                  <a:lnTo>
                    <a:pt x="1394" y="3807"/>
                  </a:lnTo>
                  <a:cubicBezTo>
                    <a:pt x="858" y="3688"/>
                    <a:pt x="525" y="3509"/>
                    <a:pt x="394" y="3426"/>
                  </a:cubicBezTo>
                  <a:cubicBezTo>
                    <a:pt x="394" y="3426"/>
                    <a:pt x="382" y="3426"/>
                    <a:pt x="394" y="3402"/>
                  </a:cubicBezTo>
                  <a:cubicBezTo>
                    <a:pt x="525" y="3081"/>
                    <a:pt x="691" y="2438"/>
                    <a:pt x="691" y="1759"/>
                  </a:cubicBezTo>
                  <a:cubicBezTo>
                    <a:pt x="691" y="1045"/>
                    <a:pt x="1239" y="414"/>
                    <a:pt x="1941" y="354"/>
                  </a:cubicBezTo>
                  <a:cubicBezTo>
                    <a:pt x="1983" y="348"/>
                    <a:pt x="2028" y="345"/>
                    <a:pt x="2072" y="345"/>
                  </a:cubicBezTo>
                  <a:close/>
                  <a:moveTo>
                    <a:pt x="2430" y="3581"/>
                  </a:moveTo>
                  <a:lnTo>
                    <a:pt x="2430" y="3783"/>
                  </a:lnTo>
                  <a:cubicBezTo>
                    <a:pt x="2430" y="3974"/>
                    <a:pt x="2537" y="4152"/>
                    <a:pt x="2715" y="4224"/>
                  </a:cubicBezTo>
                  <a:lnTo>
                    <a:pt x="2822" y="4271"/>
                  </a:lnTo>
                  <a:cubicBezTo>
                    <a:pt x="2656" y="4509"/>
                    <a:pt x="2370" y="4676"/>
                    <a:pt x="2072" y="4676"/>
                  </a:cubicBezTo>
                  <a:cubicBezTo>
                    <a:pt x="1775" y="4676"/>
                    <a:pt x="1489" y="4509"/>
                    <a:pt x="1334" y="4271"/>
                  </a:cubicBezTo>
                  <a:lnTo>
                    <a:pt x="1429" y="4224"/>
                  </a:lnTo>
                  <a:cubicBezTo>
                    <a:pt x="1608" y="4140"/>
                    <a:pt x="1715" y="3974"/>
                    <a:pt x="1715" y="3783"/>
                  </a:cubicBezTo>
                  <a:lnTo>
                    <a:pt x="1715" y="3581"/>
                  </a:lnTo>
                  <a:cubicBezTo>
                    <a:pt x="1834" y="3617"/>
                    <a:pt x="1953" y="3628"/>
                    <a:pt x="2072" y="3628"/>
                  </a:cubicBezTo>
                  <a:cubicBezTo>
                    <a:pt x="2191" y="3628"/>
                    <a:pt x="2311" y="3617"/>
                    <a:pt x="2430" y="3581"/>
                  </a:cubicBezTo>
                  <a:close/>
                  <a:moveTo>
                    <a:pt x="2065" y="0"/>
                  </a:moveTo>
                  <a:cubicBezTo>
                    <a:pt x="2010" y="0"/>
                    <a:pt x="1953" y="3"/>
                    <a:pt x="1894" y="9"/>
                  </a:cubicBezTo>
                  <a:cubicBezTo>
                    <a:pt x="1037" y="92"/>
                    <a:pt x="346" y="842"/>
                    <a:pt x="346" y="1735"/>
                  </a:cubicBezTo>
                  <a:cubicBezTo>
                    <a:pt x="346" y="2378"/>
                    <a:pt x="203" y="2962"/>
                    <a:pt x="60" y="3271"/>
                  </a:cubicBezTo>
                  <a:cubicBezTo>
                    <a:pt x="1" y="3426"/>
                    <a:pt x="48" y="3581"/>
                    <a:pt x="179" y="3676"/>
                  </a:cubicBezTo>
                  <a:cubicBezTo>
                    <a:pt x="310" y="3759"/>
                    <a:pt x="584" y="3926"/>
                    <a:pt x="1013" y="4045"/>
                  </a:cubicBezTo>
                  <a:lnTo>
                    <a:pt x="382" y="4379"/>
                  </a:lnTo>
                  <a:cubicBezTo>
                    <a:pt x="144" y="4498"/>
                    <a:pt x="1" y="4712"/>
                    <a:pt x="1" y="4986"/>
                  </a:cubicBezTo>
                  <a:lnTo>
                    <a:pt x="1" y="6045"/>
                  </a:lnTo>
                  <a:cubicBezTo>
                    <a:pt x="1" y="6129"/>
                    <a:pt x="84" y="6200"/>
                    <a:pt x="167" y="6200"/>
                  </a:cubicBezTo>
                  <a:cubicBezTo>
                    <a:pt x="263" y="6200"/>
                    <a:pt x="334" y="6129"/>
                    <a:pt x="334" y="6045"/>
                  </a:cubicBezTo>
                  <a:lnTo>
                    <a:pt x="334" y="4974"/>
                  </a:lnTo>
                  <a:cubicBezTo>
                    <a:pt x="334" y="4831"/>
                    <a:pt x="406" y="4712"/>
                    <a:pt x="525" y="4652"/>
                  </a:cubicBezTo>
                  <a:lnTo>
                    <a:pt x="1037" y="4402"/>
                  </a:lnTo>
                  <a:cubicBezTo>
                    <a:pt x="1239" y="4760"/>
                    <a:pt x="1644" y="4986"/>
                    <a:pt x="2060" y="4986"/>
                  </a:cubicBezTo>
                  <a:cubicBezTo>
                    <a:pt x="2489" y="4986"/>
                    <a:pt x="2882" y="4760"/>
                    <a:pt x="3084" y="4402"/>
                  </a:cubicBezTo>
                  <a:lnTo>
                    <a:pt x="3596" y="4652"/>
                  </a:lnTo>
                  <a:cubicBezTo>
                    <a:pt x="3704" y="4712"/>
                    <a:pt x="3787" y="4831"/>
                    <a:pt x="3787" y="4974"/>
                  </a:cubicBezTo>
                  <a:lnTo>
                    <a:pt x="3787" y="6022"/>
                  </a:lnTo>
                  <a:cubicBezTo>
                    <a:pt x="3787" y="6117"/>
                    <a:pt x="3858" y="6188"/>
                    <a:pt x="3954" y="6188"/>
                  </a:cubicBezTo>
                  <a:cubicBezTo>
                    <a:pt x="4037" y="6188"/>
                    <a:pt x="4108" y="6117"/>
                    <a:pt x="4108" y="6022"/>
                  </a:cubicBezTo>
                  <a:lnTo>
                    <a:pt x="4108" y="4974"/>
                  </a:lnTo>
                  <a:cubicBezTo>
                    <a:pt x="4132" y="4712"/>
                    <a:pt x="3977" y="4474"/>
                    <a:pt x="3739" y="4379"/>
                  </a:cubicBezTo>
                  <a:lnTo>
                    <a:pt x="3096" y="4045"/>
                  </a:lnTo>
                  <a:cubicBezTo>
                    <a:pt x="3537" y="3926"/>
                    <a:pt x="3799" y="3759"/>
                    <a:pt x="3930" y="3676"/>
                  </a:cubicBezTo>
                  <a:cubicBezTo>
                    <a:pt x="4073" y="3581"/>
                    <a:pt x="4108" y="3426"/>
                    <a:pt x="4049" y="3271"/>
                  </a:cubicBezTo>
                  <a:cubicBezTo>
                    <a:pt x="3918" y="2962"/>
                    <a:pt x="3775" y="2378"/>
                    <a:pt x="3775" y="1735"/>
                  </a:cubicBezTo>
                  <a:cubicBezTo>
                    <a:pt x="3775" y="866"/>
                    <a:pt x="3084" y="104"/>
                    <a:pt x="2227" y="9"/>
                  </a:cubicBezTo>
                  <a:cubicBezTo>
                    <a:pt x="2174" y="3"/>
                    <a:pt x="2120" y="0"/>
                    <a:pt x="20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5" name="Google Shape;10795;p60"/>
            <p:cNvSpPr/>
            <p:nvPr/>
          </p:nvSpPr>
          <p:spPr>
            <a:xfrm>
              <a:off x="3116592" y="2293778"/>
              <a:ext cx="10630" cy="32241"/>
            </a:xfrm>
            <a:custGeom>
              <a:avLst/>
              <a:gdLst/>
              <a:ahLst/>
              <a:cxnLst/>
              <a:rect l="l" t="t" r="r" b="b"/>
              <a:pathLst>
                <a:path w="334" h="10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67" y="1012"/>
                  </a:cubicBezTo>
                  <a:cubicBezTo>
                    <a:pt x="250" y="1012"/>
                    <a:pt x="334" y="941"/>
                    <a:pt x="334" y="846"/>
                  </a:cubicBezTo>
                  <a:lnTo>
                    <a:pt x="334" y="167"/>
                  </a:lnTo>
                  <a:cubicBezTo>
                    <a:pt x="310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6" name="Google Shape;10796;p60"/>
            <p:cNvSpPr/>
            <p:nvPr/>
          </p:nvSpPr>
          <p:spPr>
            <a:xfrm>
              <a:off x="3193519" y="2293778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55" y="1012"/>
                  </a:cubicBezTo>
                  <a:cubicBezTo>
                    <a:pt x="250" y="1012"/>
                    <a:pt x="322" y="941"/>
                    <a:pt x="322" y="846"/>
                  </a:cubicBezTo>
                  <a:lnTo>
                    <a:pt x="322" y="167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7" name="Google Shape;10797;p60"/>
            <p:cNvSpPr/>
            <p:nvPr/>
          </p:nvSpPr>
          <p:spPr>
            <a:xfrm>
              <a:off x="3346227" y="2166755"/>
              <a:ext cx="54966" cy="18301"/>
            </a:xfrm>
            <a:custGeom>
              <a:avLst/>
              <a:gdLst/>
              <a:ahLst/>
              <a:cxnLst/>
              <a:rect l="l" t="t" r="r" b="b"/>
              <a:pathLst>
                <a:path w="1727" h="575" extrusionOk="0">
                  <a:moveTo>
                    <a:pt x="646" y="0"/>
                  </a:moveTo>
                  <a:cubicBezTo>
                    <a:pt x="494" y="0"/>
                    <a:pt x="326" y="15"/>
                    <a:pt x="143" y="50"/>
                  </a:cubicBezTo>
                  <a:cubicBezTo>
                    <a:pt x="60" y="62"/>
                    <a:pt x="0" y="122"/>
                    <a:pt x="0" y="217"/>
                  </a:cubicBezTo>
                  <a:lnTo>
                    <a:pt x="0" y="396"/>
                  </a:lnTo>
                  <a:cubicBezTo>
                    <a:pt x="0" y="479"/>
                    <a:pt x="84" y="550"/>
                    <a:pt x="167" y="550"/>
                  </a:cubicBezTo>
                  <a:cubicBezTo>
                    <a:pt x="262" y="550"/>
                    <a:pt x="334" y="479"/>
                    <a:pt x="334" y="396"/>
                  </a:cubicBezTo>
                  <a:lnTo>
                    <a:pt x="334" y="360"/>
                  </a:lnTo>
                  <a:cubicBezTo>
                    <a:pt x="445" y="344"/>
                    <a:pt x="549" y="338"/>
                    <a:pt x="645" y="338"/>
                  </a:cubicBezTo>
                  <a:cubicBezTo>
                    <a:pt x="845" y="338"/>
                    <a:pt x="1007" y="367"/>
                    <a:pt x="1120" y="407"/>
                  </a:cubicBezTo>
                  <a:cubicBezTo>
                    <a:pt x="1334" y="467"/>
                    <a:pt x="1453" y="538"/>
                    <a:pt x="1453" y="538"/>
                  </a:cubicBezTo>
                  <a:cubicBezTo>
                    <a:pt x="1477" y="550"/>
                    <a:pt x="1512" y="574"/>
                    <a:pt x="1536" y="574"/>
                  </a:cubicBezTo>
                  <a:cubicBezTo>
                    <a:pt x="1584" y="574"/>
                    <a:pt x="1643" y="538"/>
                    <a:pt x="1667" y="491"/>
                  </a:cubicBezTo>
                  <a:cubicBezTo>
                    <a:pt x="1727" y="396"/>
                    <a:pt x="1715" y="288"/>
                    <a:pt x="1643" y="241"/>
                  </a:cubicBezTo>
                  <a:cubicBezTo>
                    <a:pt x="1615" y="231"/>
                    <a:pt x="1258" y="0"/>
                    <a:pt x="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8" name="Google Shape;10798;p60"/>
            <p:cNvSpPr/>
            <p:nvPr/>
          </p:nvSpPr>
          <p:spPr>
            <a:xfrm>
              <a:off x="3302655" y="2134991"/>
              <a:ext cx="141760" cy="192143"/>
            </a:xfrm>
            <a:custGeom>
              <a:avLst/>
              <a:gdLst/>
              <a:ahLst/>
              <a:cxnLst/>
              <a:rect l="l" t="t" r="r" b="b"/>
              <a:pathLst>
                <a:path w="4454" h="6037" extrusionOk="0">
                  <a:moveTo>
                    <a:pt x="3453" y="334"/>
                  </a:moveTo>
                  <a:lnTo>
                    <a:pt x="3453" y="1132"/>
                  </a:lnTo>
                  <a:cubicBezTo>
                    <a:pt x="3453" y="1263"/>
                    <a:pt x="3429" y="1405"/>
                    <a:pt x="3370" y="1525"/>
                  </a:cubicBezTo>
                  <a:lnTo>
                    <a:pt x="3310" y="1644"/>
                  </a:lnTo>
                  <a:cubicBezTo>
                    <a:pt x="3298" y="1667"/>
                    <a:pt x="3298" y="1691"/>
                    <a:pt x="3298" y="1715"/>
                  </a:cubicBezTo>
                  <a:lnTo>
                    <a:pt x="3298" y="2060"/>
                  </a:lnTo>
                  <a:cubicBezTo>
                    <a:pt x="3274" y="2346"/>
                    <a:pt x="3155" y="2608"/>
                    <a:pt x="2953" y="2799"/>
                  </a:cubicBezTo>
                  <a:cubicBezTo>
                    <a:pt x="2739" y="3001"/>
                    <a:pt x="2477" y="3096"/>
                    <a:pt x="2191" y="3096"/>
                  </a:cubicBezTo>
                  <a:cubicBezTo>
                    <a:pt x="1643" y="3084"/>
                    <a:pt x="1179" y="2596"/>
                    <a:pt x="1179" y="2013"/>
                  </a:cubicBezTo>
                  <a:lnTo>
                    <a:pt x="1179" y="1715"/>
                  </a:lnTo>
                  <a:cubicBezTo>
                    <a:pt x="1179" y="1691"/>
                    <a:pt x="1179" y="1667"/>
                    <a:pt x="1167" y="1644"/>
                  </a:cubicBezTo>
                  <a:lnTo>
                    <a:pt x="1107" y="1525"/>
                  </a:lnTo>
                  <a:cubicBezTo>
                    <a:pt x="1048" y="1405"/>
                    <a:pt x="1012" y="1275"/>
                    <a:pt x="1012" y="1132"/>
                  </a:cubicBezTo>
                  <a:cubicBezTo>
                    <a:pt x="1012" y="691"/>
                    <a:pt x="1369" y="334"/>
                    <a:pt x="1822" y="334"/>
                  </a:cubicBezTo>
                  <a:close/>
                  <a:moveTo>
                    <a:pt x="2762" y="3310"/>
                  </a:moveTo>
                  <a:lnTo>
                    <a:pt x="2762" y="3537"/>
                  </a:lnTo>
                  <a:cubicBezTo>
                    <a:pt x="2762" y="3572"/>
                    <a:pt x="2774" y="3620"/>
                    <a:pt x="2774" y="3680"/>
                  </a:cubicBezTo>
                  <a:lnTo>
                    <a:pt x="2239" y="4096"/>
                  </a:lnTo>
                  <a:lnTo>
                    <a:pt x="1691" y="3680"/>
                  </a:lnTo>
                  <a:cubicBezTo>
                    <a:pt x="1703" y="3632"/>
                    <a:pt x="1703" y="3584"/>
                    <a:pt x="1703" y="3537"/>
                  </a:cubicBezTo>
                  <a:lnTo>
                    <a:pt x="1703" y="3310"/>
                  </a:lnTo>
                  <a:cubicBezTo>
                    <a:pt x="1846" y="3370"/>
                    <a:pt x="2012" y="3406"/>
                    <a:pt x="2191" y="3406"/>
                  </a:cubicBezTo>
                  <a:lnTo>
                    <a:pt x="2239" y="3406"/>
                  </a:lnTo>
                  <a:cubicBezTo>
                    <a:pt x="2417" y="3406"/>
                    <a:pt x="2596" y="3382"/>
                    <a:pt x="2762" y="3310"/>
                  </a:cubicBezTo>
                  <a:close/>
                  <a:moveTo>
                    <a:pt x="1822" y="1"/>
                  </a:moveTo>
                  <a:cubicBezTo>
                    <a:pt x="1191" y="1"/>
                    <a:pt x="703" y="513"/>
                    <a:pt x="703" y="1120"/>
                  </a:cubicBezTo>
                  <a:cubicBezTo>
                    <a:pt x="703" y="1298"/>
                    <a:pt x="750" y="1489"/>
                    <a:pt x="822" y="1656"/>
                  </a:cubicBezTo>
                  <a:lnTo>
                    <a:pt x="869" y="1751"/>
                  </a:lnTo>
                  <a:lnTo>
                    <a:pt x="869" y="2001"/>
                  </a:lnTo>
                  <a:cubicBezTo>
                    <a:pt x="869" y="2441"/>
                    <a:pt x="1072" y="2846"/>
                    <a:pt x="1381" y="3096"/>
                  </a:cubicBezTo>
                  <a:lnTo>
                    <a:pt x="1381" y="3537"/>
                  </a:lnTo>
                  <a:cubicBezTo>
                    <a:pt x="1381" y="3608"/>
                    <a:pt x="1346" y="3680"/>
                    <a:pt x="1274" y="3703"/>
                  </a:cubicBezTo>
                  <a:lnTo>
                    <a:pt x="453" y="4025"/>
                  </a:lnTo>
                  <a:cubicBezTo>
                    <a:pt x="179" y="4132"/>
                    <a:pt x="0" y="4382"/>
                    <a:pt x="0" y="4668"/>
                  </a:cubicBezTo>
                  <a:lnTo>
                    <a:pt x="0" y="5858"/>
                  </a:lnTo>
                  <a:cubicBezTo>
                    <a:pt x="0" y="5942"/>
                    <a:pt x="83" y="6013"/>
                    <a:pt x="167" y="6013"/>
                  </a:cubicBezTo>
                  <a:cubicBezTo>
                    <a:pt x="262" y="6013"/>
                    <a:pt x="334" y="5942"/>
                    <a:pt x="334" y="5858"/>
                  </a:cubicBezTo>
                  <a:lnTo>
                    <a:pt x="334" y="4668"/>
                  </a:lnTo>
                  <a:cubicBezTo>
                    <a:pt x="334" y="4513"/>
                    <a:pt x="417" y="4382"/>
                    <a:pt x="560" y="4334"/>
                  </a:cubicBezTo>
                  <a:lnTo>
                    <a:pt x="1369" y="4025"/>
                  </a:lnTo>
                  <a:cubicBezTo>
                    <a:pt x="1417" y="4001"/>
                    <a:pt x="1465" y="3977"/>
                    <a:pt x="1488" y="3965"/>
                  </a:cubicBezTo>
                  <a:lnTo>
                    <a:pt x="2060" y="4394"/>
                  </a:lnTo>
                  <a:lnTo>
                    <a:pt x="2060" y="5870"/>
                  </a:lnTo>
                  <a:cubicBezTo>
                    <a:pt x="2060" y="5954"/>
                    <a:pt x="2131" y="6037"/>
                    <a:pt x="2215" y="6037"/>
                  </a:cubicBezTo>
                  <a:cubicBezTo>
                    <a:pt x="2310" y="6037"/>
                    <a:pt x="2381" y="5954"/>
                    <a:pt x="2381" y="5870"/>
                  </a:cubicBezTo>
                  <a:lnTo>
                    <a:pt x="2381" y="4394"/>
                  </a:lnTo>
                  <a:lnTo>
                    <a:pt x="2953" y="3965"/>
                  </a:lnTo>
                  <a:cubicBezTo>
                    <a:pt x="2977" y="3989"/>
                    <a:pt x="3024" y="4013"/>
                    <a:pt x="3072" y="4025"/>
                  </a:cubicBezTo>
                  <a:lnTo>
                    <a:pt x="3882" y="4334"/>
                  </a:lnTo>
                  <a:cubicBezTo>
                    <a:pt x="4024" y="4382"/>
                    <a:pt x="4108" y="4513"/>
                    <a:pt x="4108" y="4668"/>
                  </a:cubicBezTo>
                  <a:lnTo>
                    <a:pt x="4108" y="5858"/>
                  </a:lnTo>
                  <a:cubicBezTo>
                    <a:pt x="4108" y="5942"/>
                    <a:pt x="4179" y="6013"/>
                    <a:pt x="4274" y="6013"/>
                  </a:cubicBezTo>
                  <a:cubicBezTo>
                    <a:pt x="4358" y="6013"/>
                    <a:pt x="4441" y="5942"/>
                    <a:pt x="4441" y="5858"/>
                  </a:cubicBezTo>
                  <a:lnTo>
                    <a:pt x="4441" y="4668"/>
                  </a:lnTo>
                  <a:cubicBezTo>
                    <a:pt x="4453" y="4382"/>
                    <a:pt x="4274" y="4108"/>
                    <a:pt x="4024" y="4025"/>
                  </a:cubicBezTo>
                  <a:lnTo>
                    <a:pt x="3203" y="3703"/>
                  </a:lnTo>
                  <a:cubicBezTo>
                    <a:pt x="3131" y="3680"/>
                    <a:pt x="3084" y="3620"/>
                    <a:pt x="3084" y="3537"/>
                  </a:cubicBezTo>
                  <a:lnTo>
                    <a:pt x="3084" y="3108"/>
                  </a:lnTo>
                  <a:cubicBezTo>
                    <a:pt x="3120" y="3084"/>
                    <a:pt x="3155" y="3060"/>
                    <a:pt x="3191" y="3025"/>
                  </a:cubicBezTo>
                  <a:cubicBezTo>
                    <a:pt x="3453" y="2775"/>
                    <a:pt x="3608" y="2418"/>
                    <a:pt x="3608" y="2037"/>
                  </a:cubicBezTo>
                  <a:lnTo>
                    <a:pt x="3608" y="1727"/>
                  </a:lnTo>
                  <a:lnTo>
                    <a:pt x="3655" y="1644"/>
                  </a:lnTo>
                  <a:cubicBezTo>
                    <a:pt x="3739" y="1477"/>
                    <a:pt x="3774" y="1298"/>
                    <a:pt x="3774" y="1108"/>
                  </a:cubicBezTo>
                  <a:lnTo>
                    <a:pt x="3774" y="167"/>
                  </a:lnTo>
                  <a:cubicBezTo>
                    <a:pt x="3774" y="84"/>
                    <a:pt x="3691" y="1"/>
                    <a:pt x="3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9" name="Google Shape;10799;p60"/>
            <p:cNvSpPr/>
            <p:nvPr/>
          </p:nvSpPr>
          <p:spPr>
            <a:xfrm>
              <a:off x="3330313" y="2288463"/>
              <a:ext cx="10248" cy="37938"/>
            </a:xfrm>
            <a:custGeom>
              <a:avLst/>
              <a:gdLst/>
              <a:ahLst/>
              <a:cxnLst/>
              <a:rect l="l" t="t" r="r" b="b"/>
              <a:pathLst>
                <a:path w="322" h="1192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1036"/>
                  </a:lnTo>
                  <a:cubicBezTo>
                    <a:pt x="0" y="1120"/>
                    <a:pt x="72" y="1191"/>
                    <a:pt x="167" y="1191"/>
                  </a:cubicBezTo>
                  <a:cubicBezTo>
                    <a:pt x="250" y="1191"/>
                    <a:pt x="322" y="1120"/>
                    <a:pt x="322" y="1036"/>
                  </a:cubicBezTo>
                  <a:lnTo>
                    <a:pt x="322" y="167"/>
                  </a:lnTo>
                  <a:cubicBezTo>
                    <a:pt x="310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0" name="Google Shape;10800;p60"/>
            <p:cNvSpPr/>
            <p:nvPr/>
          </p:nvSpPr>
          <p:spPr>
            <a:xfrm>
              <a:off x="3406859" y="2288463"/>
              <a:ext cx="10630" cy="37938"/>
            </a:xfrm>
            <a:custGeom>
              <a:avLst/>
              <a:gdLst/>
              <a:ahLst/>
              <a:cxnLst/>
              <a:rect l="l" t="t" r="r" b="b"/>
              <a:pathLst>
                <a:path w="334" h="1192" extrusionOk="0">
                  <a:moveTo>
                    <a:pt x="167" y="1"/>
                  </a:moveTo>
                  <a:cubicBezTo>
                    <a:pt x="84" y="1"/>
                    <a:pt x="0" y="84"/>
                    <a:pt x="0" y="167"/>
                  </a:cubicBezTo>
                  <a:lnTo>
                    <a:pt x="0" y="1036"/>
                  </a:lnTo>
                  <a:cubicBezTo>
                    <a:pt x="0" y="1120"/>
                    <a:pt x="84" y="1191"/>
                    <a:pt x="167" y="1191"/>
                  </a:cubicBezTo>
                  <a:cubicBezTo>
                    <a:pt x="262" y="1191"/>
                    <a:pt x="334" y="1120"/>
                    <a:pt x="334" y="1036"/>
                  </a:cubicBezTo>
                  <a:lnTo>
                    <a:pt x="334" y="167"/>
                  </a:lnTo>
                  <a:cubicBezTo>
                    <a:pt x="322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1" name="Google Shape;10801;p60"/>
            <p:cNvSpPr/>
            <p:nvPr/>
          </p:nvSpPr>
          <p:spPr>
            <a:xfrm>
              <a:off x="3149183" y="1976585"/>
              <a:ext cx="219419" cy="183072"/>
            </a:xfrm>
            <a:custGeom>
              <a:avLst/>
              <a:gdLst/>
              <a:ahLst/>
              <a:cxnLst/>
              <a:rect l="l" t="t" r="r" b="b"/>
              <a:pathLst>
                <a:path w="6894" h="5752" extrusionOk="0">
                  <a:moveTo>
                    <a:pt x="2369" y="4108"/>
                  </a:moveTo>
                  <a:lnTo>
                    <a:pt x="2286" y="4466"/>
                  </a:lnTo>
                  <a:lnTo>
                    <a:pt x="2060" y="4466"/>
                  </a:lnTo>
                  <a:cubicBezTo>
                    <a:pt x="1869" y="4466"/>
                    <a:pt x="1703" y="4299"/>
                    <a:pt x="1703" y="4108"/>
                  </a:cubicBezTo>
                  <a:close/>
                  <a:moveTo>
                    <a:pt x="5513" y="310"/>
                  </a:moveTo>
                  <a:cubicBezTo>
                    <a:pt x="5703" y="310"/>
                    <a:pt x="5870" y="477"/>
                    <a:pt x="5870" y="667"/>
                  </a:cubicBezTo>
                  <a:lnTo>
                    <a:pt x="5870" y="3418"/>
                  </a:lnTo>
                  <a:cubicBezTo>
                    <a:pt x="5870" y="3608"/>
                    <a:pt x="5703" y="3775"/>
                    <a:pt x="5513" y="3775"/>
                  </a:cubicBezTo>
                  <a:lnTo>
                    <a:pt x="4132" y="3775"/>
                  </a:lnTo>
                  <a:cubicBezTo>
                    <a:pt x="4096" y="3775"/>
                    <a:pt x="4048" y="3787"/>
                    <a:pt x="4036" y="3811"/>
                  </a:cubicBezTo>
                  <a:lnTo>
                    <a:pt x="2500" y="4918"/>
                  </a:lnTo>
                  <a:lnTo>
                    <a:pt x="2739" y="3966"/>
                  </a:lnTo>
                  <a:cubicBezTo>
                    <a:pt x="2762" y="3930"/>
                    <a:pt x="2739" y="3870"/>
                    <a:pt x="2715" y="3835"/>
                  </a:cubicBezTo>
                  <a:cubicBezTo>
                    <a:pt x="2679" y="3787"/>
                    <a:pt x="2643" y="3775"/>
                    <a:pt x="2584" y="3775"/>
                  </a:cubicBezTo>
                  <a:lnTo>
                    <a:pt x="691" y="3775"/>
                  </a:lnTo>
                  <a:cubicBezTo>
                    <a:pt x="500" y="3775"/>
                    <a:pt x="333" y="3608"/>
                    <a:pt x="333" y="3418"/>
                  </a:cubicBezTo>
                  <a:lnTo>
                    <a:pt x="333" y="667"/>
                  </a:lnTo>
                  <a:cubicBezTo>
                    <a:pt x="333" y="477"/>
                    <a:pt x="500" y="310"/>
                    <a:pt x="691" y="310"/>
                  </a:cubicBezTo>
                  <a:close/>
                  <a:moveTo>
                    <a:pt x="6215" y="989"/>
                  </a:moveTo>
                  <a:cubicBezTo>
                    <a:pt x="6406" y="989"/>
                    <a:pt x="6572" y="1156"/>
                    <a:pt x="6572" y="1346"/>
                  </a:cubicBezTo>
                  <a:lnTo>
                    <a:pt x="6572" y="4108"/>
                  </a:lnTo>
                  <a:lnTo>
                    <a:pt x="6549" y="4108"/>
                  </a:lnTo>
                  <a:cubicBezTo>
                    <a:pt x="6549" y="4299"/>
                    <a:pt x="6394" y="4466"/>
                    <a:pt x="6191" y="4466"/>
                  </a:cubicBezTo>
                  <a:lnTo>
                    <a:pt x="4810" y="4466"/>
                  </a:lnTo>
                  <a:cubicBezTo>
                    <a:pt x="4763" y="4466"/>
                    <a:pt x="4727" y="4477"/>
                    <a:pt x="4691" y="4513"/>
                  </a:cubicBezTo>
                  <a:cubicBezTo>
                    <a:pt x="4667" y="4549"/>
                    <a:pt x="4644" y="4608"/>
                    <a:pt x="4667" y="4656"/>
                  </a:cubicBezTo>
                  <a:lnTo>
                    <a:pt x="4763" y="5323"/>
                  </a:lnTo>
                  <a:lnTo>
                    <a:pt x="3596" y="4537"/>
                  </a:lnTo>
                  <a:lnTo>
                    <a:pt x="4191" y="4096"/>
                  </a:lnTo>
                  <a:lnTo>
                    <a:pt x="5513" y="4096"/>
                  </a:lnTo>
                  <a:cubicBezTo>
                    <a:pt x="5882" y="4096"/>
                    <a:pt x="6191" y="3799"/>
                    <a:pt x="6191" y="3418"/>
                  </a:cubicBezTo>
                  <a:lnTo>
                    <a:pt x="6191" y="989"/>
                  </a:lnTo>
                  <a:close/>
                  <a:moveTo>
                    <a:pt x="691" y="1"/>
                  </a:moveTo>
                  <a:cubicBezTo>
                    <a:pt x="322" y="1"/>
                    <a:pt x="0" y="298"/>
                    <a:pt x="0" y="679"/>
                  </a:cubicBezTo>
                  <a:lnTo>
                    <a:pt x="0" y="3430"/>
                  </a:lnTo>
                  <a:cubicBezTo>
                    <a:pt x="0" y="3811"/>
                    <a:pt x="298" y="4120"/>
                    <a:pt x="691" y="4120"/>
                  </a:cubicBezTo>
                  <a:lnTo>
                    <a:pt x="1393" y="4120"/>
                  </a:lnTo>
                  <a:lnTo>
                    <a:pt x="1393" y="4132"/>
                  </a:lnTo>
                  <a:cubicBezTo>
                    <a:pt x="1393" y="4501"/>
                    <a:pt x="1691" y="4823"/>
                    <a:pt x="2072" y="4823"/>
                  </a:cubicBezTo>
                  <a:lnTo>
                    <a:pt x="2203" y="4823"/>
                  </a:lnTo>
                  <a:lnTo>
                    <a:pt x="2143" y="5073"/>
                  </a:lnTo>
                  <a:cubicBezTo>
                    <a:pt x="2119" y="5180"/>
                    <a:pt x="2167" y="5275"/>
                    <a:pt x="2250" y="5335"/>
                  </a:cubicBezTo>
                  <a:cubicBezTo>
                    <a:pt x="2298" y="5370"/>
                    <a:pt x="2346" y="5382"/>
                    <a:pt x="2381" y="5382"/>
                  </a:cubicBezTo>
                  <a:cubicBezTo>
                    <a:pt x="2429" y="5382"/>
                    <a:pt x="2489" y="5370"/>
                    <a:pt x="2536" y="5335"/>
                  </a:cubicBezTo>
                  <a:lnTo>
                    <a:pt x="3251" y="4823"/>
                  </a:lnTo>
                  <a:lnTo>
                    <a:pt x="3417" y="4823"/>
                  </a:lnTo>
                  <a:lnTo>
                    <a:pt x="4751" y="5716"/>
                  </a:lnTo>
                  <a:cubicBezTo>
                    <a:pt x="4798" y="5740"/>
                    <a:pt x="4846" y="5751"/>
                    <a:pt x="4882" y="5751"/>
                  </a:cubicBezTo>
                  <a:cubicBezTo>
                    <a:pt x="4929" y="5751"/>
                    <a:pt x="4977" y="5740"/>
                    <a:pt x="5025" y="5716"/>
                  </a:cubicBezTo>
                  <a:cubicBezTo>
                    <a:pt x="5108" y="5656"/>
                    <a:pt x="5144" y="5561"/>
                    <a:pt x="5120" y="5454"/>
                  </a:cubicBezTo>
                  <a:lnTo>
                    <a:pt x="5025" y="4799"/>
                  </a:lnTo>
                  <a:lnTo>
                    <a:pt x="6215" y="4799"/>
                  </a:lnTo>
                  <a:cubicBezTo>
                    <a:pt x="6584" y="4799"/>
                    <a:pt x="6894" y="4501"/>
                    <a:pt x="6894" y="4120"/>
                  </a:cubicBezTo>
                  <a:lnTo>
                    <a:pt x="6894" y="1370"/>
                  </a:lnTo>
                  <a:cubicBezTo>
                    <a:pt x="6870" y="977"/>
                    <a:pt x="6572" y="679"/>
                    <a:pt x="6191" y="679"/>
                  </a:cubicBezTo>
                  <a:cubicBezTo>
                    <a:pt x="6179" y="298"/>
                    <a:pt x="5882" y="1"/>
                    <a:pt x="5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2" name="Google Shape;10802;p60"/>
            <p:cNvSpPr/>
            <p:nvPr/>
          </p:nvSpPr>
          <p:spPr>
            <a:xfrm>
              <a:off x="3187822" y="2009177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74" y="322"/>
                    <a:pt x="846" y="251"/>
                    <a:pt x="846" y="167"/>
                  </a:cubicBezTo>
                  <a:cubicBezTo>
                    <a:pt x="846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3" name="Google Shape;10803;p60"/>
            <p:cNvSpPr/>
            <p:nvPr/>
          </p:nvSpPr>
          <p:spPr>
            <a:xfrm>
              <a:off x="3226110" y="2009177"/>
              <a:ext cx="81478" cy="10280"/>
            </a:xfrm>
            <a:custGeom>
              <a:avLst/>
              <a:gdLst/>
              <a:ahLst/>
              <a:cxnLst/>
              <a:rect l="l" t="t" r="r" b="b"/>
              <a:pathLst>
                <a:path w="2560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2393" y="322"/>
                  </a:lnTo>
                  <a:cubicBezTo>
                    <a:pt x="2488" y="322"/>
                    <a:pt x="2560" y="251"/>
                    <a:pt x="2560" y="167"/>
                  </a:cubicBezTo>
                  <a:cubicBezTo>
                    <a:pt x="2560" y="72"/>
                    <a:pt x="2488" y="1"/>
                    <a:pt x="23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4" name="Google Shape;10804;p60"/>
            <p:cNvSpPr/>
            <p:nvPr/>
          </p:nvSpPr>
          <p:spPr>
            <a:xfrm>
              <a:off x="3187822" y="2036453"/>
              <a:ext cx="119767" cy="10662"/>
            </a:xfrm>
            <a:custGeom>
              <a:avLst/>
              <a:gdLst/>
              <a:ahLst/>
              <a:cxnLst/>
              <a:rect l="l" t="t" r="r" b="b"/>
              <a:pathLst>
                <a:path w="3763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3596" y="334"/>
                  </a:lnTo>
                  <a:cubicBezTo>
                    <a:pt x="3691" y="334"/>
                    <a:pt x="3763" y="263"/>
                    <a:pt x="3763" y="168"/>
                  </a:cubicBezTo>
                  <a:cubicBezTo>
                    <a:pt x="3763" y="84"/>
                    <a:pt x="3691" y="1"/>
                    <a:pt x="3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5" name="Google Shape;10805;p60"/>
            <p:cNvSpPr/>
            <p:nvPr/>
          </p:nvSpPr>
          <p:spPr>
            <a:xfrm>
              <a:off x="3187822" y="2064143"/>
              <a:ext cx="81510" cy="10248"/>
            </a:xfrm>
            <a:custGeom>
              <a:avLst/>
              <a:gdLst/>
              <a:ahLst/>
              <a:cxnLst/>
              <a:rect l="l" t="t" r="r" b="b"/>
              <a:pathLst>
                <a:path w="2561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2394" y="322"/>
                  </a:lnTo>
                  <a:cubicBezTo>
                    <a:pt x="2477" y="322"/>
                    <a:pt x="2560" y="250"/>
                    <a:pt x="2560" y="167"/>
                  </a:cubicBezTo>
                  <a:cubicBezTo>
                    <a:pt x="2560" y="72"/>
                    <a:pt x="2477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6" name="Google Shape;10806;p60"/>
            <p:cNvSpPr/>
            <p:nvPr/>
          </p:nvSpPr>
          <p:spPr>
            <a:xfrm>
              <a:off x="3280663" y="2064143"/>
              <a:ext cx="26926" cy="10248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74" y="322"/>
                    <a:pt x="846" y="250"/>
                    <a:pt x="846" y="167"/>
                  </a:cubicBezTo>
                  <a:cubicBezTo>
                    <a:pt x="846" y="72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07" name="Google Shape;10807;p60"/>
          <p:cNvGrpSpPr/>
          <p:nvPr/>
        </p:nvGrpSpPr>
        <p:grpSpPr>
          <a:xfrm>
            <a:off x="870939" y="1975821"/>
            <a:ext cx="332375" cy="350071"/>
            <a:chOff x="870939" y="1975821"/>
            <a:chExt cx="332375" cy="350071"/>
          </a:xfrm>
        </p:grpSpPr>
        <p:sp>
          <p:nvSpPr>
            <p:cNvPr id="10808" name="Google Shape;10808;p60"/>
            <p:cNvSpPr/>
            <p:nvPr/>
          </p:nvSpPr>
          <p:spPr>
            <a:xfrm>
              <a:off x="870939" y="1975821"/>
              <a:ext cx="332375" cy="350071"/>
            </a:xfrm>
            <a:custGeom>
              <a:avLst/>
              <a:gdLst/>
              <a:ahLst/>
              <a:cxnLst/>
              <a:rect l="l" t="t" r="r" b="b"/>
              <a:pathLst>
                <a:path w="10443" h="10999" extrusionOk="0">
                  <a:moveTo>
                    <a:pt x="8049" y="334"/>
                  </a:moveTo>
                  <a:lnTo>
                    <a:pt x="5728" y="3573"/>
                  </a:lnTo>
                  <a:lnTo>
                    <a:pt x="5406" y="3120"/>
                  </a:lnTo>
                  <a:lnTo>
                    <a:pt x="7395" y="334"/>
                  </a:lnTo>
                  <a:close/>
                  <a:moveTo>
                    <a:pt x="9109" y="334"/>
                  </a:moveTo>
                  <a:lnTo>
                    <a:pt x="6263" y="4311"/>
                  </a:lnTo>
                  <a:lnTo>
                    <a:pt x="5942" y="3847"/>
                  </a:lnTo>
                  <a:lnTo>
                    <a:pt x="8454" y="334"/>
                  </a:lnTo>
                  <a:close/>
                  <a:moveTo>
                    <a:pt x="3025" y="334"/>
                  </a:moveTo>
                  <a:lnTo>
                    <a:pt x="6025" y="4525"/>
                  </a:lnTo>
                  <a:cubicBezTo>
                    <a:pt x="5998" y="4533"/>
                    <a:pt x="5970" y="4537"/>
                    <a:pt x="5942" y="4537"/>
                  </a:cubicBezTo>
                  <a:cubicBezTo>
                    <a:pt x="5849" y="4537"/>
                    <a:pt x="5759" y="4494"/>
                    <a:pt x="5704" y="4430"/>
                  </a:cubicBezTo>
                  <a:cubicBezTo>
                    <a:pt x="5561" y="4287"/>
                    <a:pt x="5382" y="4228"/>
                    <a:pt x="5228" y="4228"/>
                  </a:cubicBezTo>
                  <a:lnTo>
                    <a:pt x="2430" y="334"/>
                  </a:lnTo>
                  <a:close/>
                  <a:moveTo>
                    <a:pt x="2025" y="334"/>
                  </a:moveTo>
                  <a:lnTo>
                    <a:pt x="4882" y="4323"/>
                  </a:lnTo>
                  <a:cubicBezTo>
                    <a:pt x="4823" y="4347"/>
                    <a:pt x="4775" y="4394"/>
                    <a:pt x="4728" y="4442"/>
                  </a:cubicBezTo>
                  <a:cubicBezTo>
                    <a:pt x="4667" y="4503"/>
                    <a:pt x="4569" y="4544"/>
                    <a:pt x="4474" y="4544"/>
                  </a:cubicBezTo>
                  <a:cubicBezTo>
                    <a:pt x="4438" y="4544"/>
                    <a:pt x="4403" y="4538"/>
                    <a:pt x="4370" y="4525"/>
                  </a:cubicBezTo>
                  <a:lnTo>
                    <a:pt x="1370" y="334"/>
                  </a:lnTo>
                  <a:close/>
                  <a:moveTo>
                    <a:pt x="965" y="334"/>
                  </a:moveTo>
                  <a:lnTo>
                    <a:pt x="3942" y="4490"/>
                  </a:lnTo>
                  <a:cubicBezTo>
                    <a:pt x="3775" y="4525"/>
                    <a:pt x="3632" y="4621"/>
                    <a:pt x="3525" y="4763"/>
                  </a:cubicBezTo>
                  <a:lnTo>
                    <a:pt x="358" y="334"/>
                  </a:lnTo>
                  <a:close/>
                  <a:moveTo>
                    <a:pt x="10062" y="334"/>
                  </a:moveTo>
                  <a:lnTo>
                    <a:pt x="6894" y="4763"/>
                  </a:lnTo>
                  <a:cubicBezTo>
                    <a:pt x="6799" y="4632"/>
                    <a:pt x="6668" y="4549"/>
                    <a:pt x="6513" y="4501"/>
                  </a:cubicBezTo>
                  <a:lnTo>
                    <a:pt x="9514" y="334"/>
                  </a:lnTo>
                  <a:close/>
                  <a:moveTo>
                    <a:pt x="5192" y="4582"/>
                  </a:moveTo>
                  <a:cubicBezTo>
                    <a:pt x="5284" y="4582"/>
                    <a:pt x="5376" y="4615"/>
                    <a:pt x="5442" y="4680"/>
                  </a:cubicBezTo>
                  <a:cubicBezTo>
                    <a:pt x="5577" y="4807"/>
                    <a:pt x="5744" y="4876"/>
                    <a:pt x="5917" y="4876"/>
                  </a:cubicBezTo>
                  <a:cubicBezTo>
                    <a:pt x="6004" y="4876"/>
                    <a:pt x="6093" y="4859"/>
                    <a:pt x="6180" y="4823"/>
                  </a:cubicBezTo>
                  <a:cubicBezTo>
                    <a:pt x="6216" y="4808"/>
                    <a:pt x="6254" y="4801"/>
                    <a:pt x="6293" y="4801"/>
                  </a:cubicBezTo>
                  <a:cubicBezTo>
                    <a:pt x="6436" y="4801"/>
                    <a:pt x="6586" y="4897"/>
                    <a:pt x="6633" y="5037"/>
                  </a:cubicBezTo>
                  <a:cubicBezTo>
                    <a:pt x="6633" y="5049"/>
                    <a:pt x="6644" y="5061"/>
                    <a:pt x="6644" y="5061"/>
                  </a:cubicBezTo>
                  <a:cubicBezTo>
                    <a:pt x="6728" y="5263"/>
                    <a:pt x="6859" y="5335"/>
                    <a:pt x="6859" y="5335"/>
                  </a:cubicBezTo>
                  <a:cubicBezTo>
                    <a:pt x="6990" y="5406"/>
                    <a:pt x="7133" y="5454"/>
                    <a:pt x="7264" y="5466"/>
                  </a:cubicBezTo>
                  <a:cubicBezTo>
                    <a:pt x="7454" y="5478"/>
                    <a:pt x="7621" y="5644"/>
                    <a:pt x="7609" y="5859"/>
                  </a:cubicBezTo>
                  <a:cubicBezTo>
                    <a:pt x="7585" y="6121"/>
                    <a:pt x="7740" y="6371"/>
                    <a:pt x="7978" y="6490"/>
                  </a:cubicBezTo>
                  <a:cubicBezTo>
                    <a:pt x="8157" y="6585"/>
                    <a:pt x="8228" y="6811"/>
                    <a:pt x="8145" y="6990"/>
                  </a:cubicBezTo>
                  <a:cubicBezTo>
                    <a:pt x="8026" y="7228"/>
                    <a:pt x="8049" y="7526"/>
                    <a:pt x="8216" y="7728"/>
                  </a:cubicBezTo>
                  <a:cubicBezTo>
                    <a:pt x="8335" y="7883"/>
                    <a:pt x="8323" y="8121"/>
                    <a:pt x="8157" y="8240"/>
                  </a:cubicBezTo>
                  <a:cubicBezTo>
                    <a:pt x="7942" y="8395"/>
                    <a:pt x="7859" y="8681"/>
                    <a:pt x="7930" y="8931"/>
                  </a:cubicBezTo>
                  <a:cubicBezTo>
                    <a:pt x="7978" y="9133"/>
                    <a:pt x="7871" y="9323"/>
                    <a:pt x="7680" y="9383"/>
                  </a:cubicBezTo>
                  <a:cubicBezTo>
                    <a:pt x="7430" y="9454"/>
                    <a:pt x="7228" y="9669"/>
                    <a:pt x="7192" y="9931"/>
                  </a:cubicBezTo>
                  <a:cubicBezTo>
                    <a:pt x="7160" y="10101"/>
                    <a:pt x="7004" y="10234"/>
                    <a:pt x="6835" y="10234"/>
                  </a:cubicBezTo>
                  <a:cubicBezTo>
                    <a:pt x="6815" y="10234"/>
                    <a:pt x="6795" y="10232"/>
                    <a:pt x="6775" y="10228"/>
                  </a:cubicBezTo>
                  <a:cubicBezTo>
                    <a:pt x="6735" y="10221"/>
                    <a:pt x="6695" y="10218"/>
                    <a:pt x="6656" y="10218"/>
                  </a:cubicBezTo>
                  <a:cubicBezTo>
                    <a:pt x="6427" y="10218"/>
                    <a:pt x="6217" y="10333"/>
                    <a:pt x="6085" y="10526"/>
                  </a:cubicBezTo>
                  <a:cubicBezTo>
                    <a:pt x="6016" y="10633"/>
                    <a:pt x="5904" y="10690"/>
                    <a:pt x="5786" y="10690"/>
                  </a:cubicBezTo>
                  <a:cubicBezTo>
                    <a:pt x="5718" y="10690"/>
                    <a:pt x="5649" y="10672"/>
                    <a:pt x="5585" y="10633"/>
                  </a:cubicBezTo>
                  <a:cubicBezTo>
                    <a:pt x="5454" y="10562"/>
                    <a:pt x="5347" y="10526"/>
                    <a:pt x="5204" y="10526"/>
                  </a:cubicBezTo>
                  <a:cubicBezTo>
                    <a:pt x="5073" y="10526"/>
                    <a:pt x="4954" y="10562"/>
                    <a:pt x="4835" y="10633"/>
                  </a:cubicBezTo>
                  <a:cubicBezTo>
                    <a:pt x="4774" y="10672"/>
                    <a:pt x="4708" y="10690"/>
                    <a:pt x="4642" y="10690"/>
                  </a:cubicBezTo>
                  <a:cubicBezTo>
                    <a:pt x="4524" y="10690"/>
                    <a:pt x="4406" y="10633"/>
                    <a:pt x="4323" y="10526"/>
                  </a:cubicBezTo>
                  <a:cubicBezTo>
                    <a:pt x="4201" y="10333"/>
                    <a:pt x="3983" y="10218"/>
                    <a:pt x="3760" y="10218"/>
                  </a:cubicBezTo>
                  <a:cubicBezTo>
                    <a:pt x="3721" y="10218"/>
                    <a:pt x="3682" y="10221"/>
                    <a:pt x="3644" y="10228"/>
                  </a:cubicBezTo>
                  <a:cubicBezTo>
                    <a:pt x="3624" y="10232"/>
                    <a:pt x="3604" y="10234"/>
                    <a:pt x="3585" y="10234"/>
                  </a:cubicBezTo>
                  <a:cubicBezTo>
                    <a:pt x="3416" y="10234"/>
                    <a:pt x="3259" y="10101"/>
                    <a:pt x="3227" y="9931"/>
                  </a:cubicBezTo>
                  <a:cubicBezTo>
                    <a:pt x="3180" y="9669"/>
                    <a:pt x="2989" y="9454"/>
                    <a:pt x="2739" y="9383"/>
                  </a:cubicBezTo>
                  <a:cubicBezTo>
                    <a:pt x="2537" y="9323"/>
                    <a:pt x="2418" y="9133"/>
                    <a:pt x="2477" y="8931"/>
                  </a:cubicBezTo>
                  <a:cubicBezTo>
                    <a:pt x="2561" y="8681"/>
                    <a:pt x="2465" y="8395"/>
                    <a:pt x="2263" y="8240"/>
                  </a:cubicBezTo>
                  <a:cubicBezTo>
                    <a:pt x="2108" y="8121"/>
                    <a:pt x="2084" y="7883"/>
                    <a:pt x="2203" y="7728"/>
                  </a:cubicBezTo>
                  <a:cubicBezTo>
                    <a:pt x="2358" y="7526"/>
                    <a:pt x="2394" y="7228"/>
                    <a:pt x="2275" y="6990"/>
                  </a:cubicBezTo>
                  <a:cubicBezTo>
                    <a:pt x="2180" y="6811"/>
                    <a:pt x="2263" y="6585"/>
                    <a:pt x="2442" y="6490"/>
                  </a:cubicBezTo>
                  <a:cubicBezTo>
                    <a:pt x="2680" y="6371"/>
                    <a:pt x="2823" y="6121"/>
                    <a:pt x="2811" y="5859"/>
                  </a:cubicBezTo>
                  <a:cubicBezTo>
                    <a:pt x="2799" y="5656"/>
                    <a:pt x="2953" y="5478"/>
                    <a:pt x="3156" y="5466"/>
                  </a:cubicBezTo>
                  <a:cubicBezTo>
                    <a:pt x="3358" y="5454"/>
                    <a:pt x="3549" y="5347"/>
                    <a:pt x="3668" y="5180"/>
                  </a:cubicBezTo>
                  <a:lnTo>
                    <a:pt x="3668" y="5168"/>
                  </a:lnTo>
                  <a:cubicBezTo>
                    <a:pt x="3704" y="5121"/>
                    <a:pt x="3727" y="5085"/>
                    <a:pt x="3751" y="5037"/>
                  </a:cubicBezTo>
                  <a:cubicBezTo>
                    <a:pt x="3807" y="4897"/>
                    <a:pt x="3945" y="4801"/>
                    <a:pt x="4087" y="4801"/>
                  </a:cubicBezTo>
                  <a:cubicBezTo>
                    <a:pt x="4126" y="4801"/>
                    <a:pt x="4165" y="4808"/>
                    <a:pt x="4204" y="4823"/>
                  </a:cubicBezTo>
                  <a:cubicBezTo>
                    <a:pt x="4287" y="4853"/>
                    <a:pt x="4372" y="4868"/>
                    <a:pt x="4456" y="4868"/>
                  </a:cubicBezTo>
                  <a:cubicBezTo>
                    <a:pt x="4633" y="4868"/>
                    <a:pt x="4804" y="4802"/>
                    <a:pt x="4942" y="4680"/>
                  </a:cubicBezTo>
                  <a:cubicBezTo>
                    <a:pt x="5007" y="4615"/>
                    <a:pt x="5100" y="4582"/>
                    <a:pt x="5192" y="4582"/>
                  </a:cubicBezTo>
                  <a:close/>
                  <a:moveTo>
                    <a:pt x="286" y="1"/>
                  </a:moveTo>
                  <a:cubicBezTo>
                    <a:pt x="179" y="1"/>
                    <a:pt x="84" y="60"/>
                    <a:pt x="48" y="156"/>
                  </a:cubicBezTo>
                  <a:cubicBezTo>
                    <a:pt x="1" y="239"/>
                    <a:pt x="1" y="346"/>
                    <a:pt x="60" y="441"/>
                  </a:cubicBezTo>
                  <a:lnTo>
                    <a:pt x="3358" y="5049"/>
                  </a:lnTo>
                  <a:cubicBezTo>
                    <a:pt x="3299" y="5097"/>
                    <a:pt x="3227" y="5121"/>
                    <a:pt x="3156" y="5121"/>
                  </a:cubicBezTo>
                  <a:cubicBezTo>
                    <a:pt x="2787" y="5144"/>
                    <a:pt x="2489" y="5466"/>
                    <a:pt x="2513" y="5835"/>
                  </a:cubicBezTo>
                  <a:cubicBezTo>
                    <a:pt x="2513" y="5990"/>
                    <a:pt x="2442" y="6121"/>
                    <a:pt x="2322" y="6180"/>
                  </a:cubicBezTo>
                  <a:cubicBezTo>
                    <a:pt x="1989" y="6359"/>
                    <a:pt x="1858" y="6764"/>
                    <a:pt x="2025" y="7109"/>
                  </a:cubicBezTo>
                  <a:cubicBezTo>
                    <a:pt x="2084" y="7240"/>
                    <a:pt x="2072" y="7383"/>
                    <a:pt x="1977" y="7490"/>
                  </a:cubicBezTo>
                  <a:cubicBezTo>
                    <a:pt x="1739" y="7788"/>
                    <a:pt x="1787" y="8216"/>
                    <a:pt x="2084" y="8454"/>
                  </a:cubicBezTo>
                  <a:cubicBezTo>
                    <a:pt x="2180" y="8550"/>
                    <a:pt x="2239" y="8692"/>
                    <a:pt x="2203" y="8835"/>
                  </a:cubicBezTo>
                  <a:cubicBezTo>
                    <a:pt x="2108" y="9193"/>
                    <a:pt x="2322" y="9574"/>
                    <a:pt x="2680" y="9669"/>
                  </a:cubicBezTo>
                  <a:cubicBezTo>
                    <a:pt x="2811" y="9704"/>
                    <a:pt x="2918" y="9812"/>
                    <a:pt x="2942" y="9966"/>
                  </a:cubicBezTo>
                  <a:cubicBezTo>
                    <a:pt x="2995" y="10299"/>
                    <a:pt x="3290" y="10535"/>
                    <a:pt x="3609" y="10535"/>
                  </a:cubicBezTo>
                  <a:cubicBezTo>
                    <a:pt x="3645" y="10535"/>
                    <a:pt x="3680" y="10532"/>
                    <a:pt x="3715" y="10526"/>
                  </a:cubicBezTo>
                  <a:cubicBezTo>
                    <a:pt x="3726" y="10525"/>
                    <a:pt x="3738" y="10525"/>
                    <a:pt x="3749" y="10525"/>
                  </a:cubicBezTo>
                  <a:cubicBezTo>
                    <a:pt x="3872" y="10525"/>
                    <a:pt x="4007" y="10584"/>
                    <a:pt x="4073" y="10693"/>
                  </a:cubicBezTo>
                  <a:cubicBezTo>
                    <a:pt x="4208" y="10889"/>
                    <a:pt x="4425" y="10999"/>
                    <a:pt x="4645" y="10999"/>
                  </a:cubicBezTo>
                  <a:cubicBezTo>
                    <a:pt x="4772" y="10999"/>
                    <a:pt x="4900" y="10962"/>
                    <a:pt x="5013" y="10883"/>
                  </a:cubicBezTo>
                  <a:cubicBezTo>
                    <a:pt x="5073" y="10847"/>
                    <a:pt x="5141" y="10830"/>
                    <a:pt x="5208" y="10830"/>
                  </a:cubicBezTo>
                  <a:cubicBezTo>
                    <a:pt x="5275" y="10830"/>
                    <a:pt x="5341" y="10847"/>
                    <a:pt x="5394" y="10883"/>
                  </a:cubicBezTo>
                  <a:cubicBezTo>
                    <a:pt x="5513" y="10955"/>
                    <a:pt x="5632" y="10990"/>
                    <a:pt x="5775" y="10990"/>
                  </a:cubicBezTo>
                  <a:cubicBezTo>
                    <a:pt x="5990" y="10990"/>
                    <a:pt x="6216" y="10883"/>
                    <a:pt x="6347" y="10681"/>
                  </a:cubicBezTo>
                  <a:cubicBezTo>
                    <a:pt x="6423" y="10572"/>
                    <a:pt x="6549" y="10513"/>
                    <a:pt x="6671" y="10513"/>
                  </a:cubicBezTo>
                  <a:cubicBezTo>
                    <a:pt x="6682" y="10513"/>
                    <a:pt x="6693" y="10513"/>
                    <a:pt x="6704" y="10514"/>
                  </a:cubicBezTo>
                  <a:cubicBezTo>
                    <a:pt x="6742" y="10520"/>
                    <a:pt x="6779" y="10523"/>
                    <a:pt x="6816" y="10523"/>
                  </a:cubicBezTo>
                  <a:cubicBezTo>
                    <a:pt x="7150" y="10523"/>
                    <a:pt x="7435" y="10286"/>
                    <a:pt x="7478" y="9943"/>
                  </a:cubicBezTo>
                  <a:cubicBezTo>
                    <a:pt x="7514" y="9812"/>
                    <a:pt x="7597" y="9693"/>
                    <a:pt x="7752" y="9645"/>
                  </a:cubicBezTo>
                  <a:cubicBezTo>
                    <a:pt x="8109" y="9550"/>
                    <a:pt x="8335" y="9169"/>
                    <a:pt x="8228" y="8812"/>
                  </a:cubicBezTo>
                  <a:cubicBezTo>
                    <a:pt x="8192" y="8681"/>
                    <a:pt x="8240" y="8538"/>
                    <a:pt x="8347" y="8442"/>
                  </a:cubicBezTo>
                  <a:cubicBezTo>
                    <a:pt x="8645" y="8204"/>
                    <a:pt x="8692" y="7776"/>
                    <a:pt x="8454" y="7478"/>
                  </a:cubicBezTo>
                  <a:cubicBezTo>
                    <a:pt x="8359" y="7371"/>
                    <a:pt x="8347" y="7204"/>
                    <a:pt x="8407" y="7085"/>
                  </a:cubicBezTo>
                  <a:cubicBezTo>
                    <a:pt x="8573" y="6764"/>
                    <a:pt x="8430" y="6347"/>
                    <a:pt x="8109" y="6168"/>
                  </a:cubicBezTo>
                  <a:cubicBezTo>
                    <a:pt x="7990" y="6109"/>
                    <a:pt x="7895" y="5978"/>
                    <a:pt x="7918" y="5823"/>
                  </a:cubicBezTo>
                  <a:cubicBezTo>
                    <a:pt x="7930" y="5454"/>
                    <a:pt x="7645" y="5121"/>
                    <a:pt x="7275" y="5109"/>
                  </a:cubicBezTo>
                  <a:cubicBezTo>
                    <a:pt x="7204" y="5109"/>
                    <a:pt x="7121" y="5085"/>
                    <a:pt x="7061" y="5037"/>
                  </a:cubicBezTo>
                  <a:lnTo>
                    <a:pt x="10371" y="418"/>
                  </a:lnTo>
                  <a:cubicBezTo>
                    <a:pt x="10431" y="358"/>
                    <a:pt x="10443" y="263"/>
                    <a:pt x="10407" y="156"/>
                  </a:cubicBezTo>
                  <a:cubicBezTo>
                    <a:pt x="10359" y="60"/>
                    <a:pt x="10264" y="1"/>
                    <a:pt x="10169" y="1"/>
                  </a:cubicBezTo>
                  <a:lnTo>
                    <a:pt x="7383" y="1"/>
                  </a:lnTo>
                  <a:cubicBezTo>
                    <a:pt x="7287" y="1"/>
                    <a:pt x="7216" y="49"/>
                    <a:pt x="7156" y="120"/>
                  </a:cubicBezTo>
                  <a:lnTo>
                    <a:pt x="5228" y="2835"/>
                  </a:lnTo>
                  <a:lnTo>
                    <a:pt x="3287" y="120"/>
                  </a:lnTo>
                  <a:cubicBezTo>
                    <a:pt x="3239" y="49"/>
                    <a:pt x="3156" y="1"/>
                    <a:pt x="3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9" name="Google Shape;10809;p60"/>
            <p:cNvSpPr/>
            <p:nvPr/>
          </p:nvSpPr>
          <p:spPr>
            <a:xfrm>
              <a:off x="955059" y="2135755"/>
              <a:ext cx="164134" cy="75877"/>
            </a:xfrm>
            <a:custGeom>
              <a:avLst/>
              <a:gdLst/>
              <a:ahLst/>
              <a:cxnLst/>
              <a:rect l="l" t="t" r="r" b="b"/>
              <a:pathLst>
                <a:path w="5157" h="2384" extrusionOk="0">
                  <a:moveTo>
                    <a:pt x="2573" y="0"/>
                  </a:moveTo>
                  <a:cubicBezTo>
                    <a:pt x="1954" y="0"/>
                    <a:pt x="1346" y="215"/>
                    <a:pt x="882" y="631"/>
                  </a:cubicBezTo>
                  <a:cubicBezTo>
                    <a:pt x="418" y="1036"/>
                    <a:pt x="108" y="1608"/>
                    <a:pt x="13" y="2203"/>
                  </a:cubicBezTo>
                  <a:cubicBezTo>
                    <a:pt x="1" y="2286"/>
                    <a:pt x="60" y="2358"/>
                    <a:pt x="156" y="2382"/>
                  </a:cubicBezTo>
                  <a:lnTo>
                    <a:pt x="180" y="2382"/>
                  </a:lnTo>
                  <a:cubicBezTo>
                    <a:pt x="251" y="2382"/>
                    <a:pt x="334" y="2322"/>
                    <a:pt x="346" y="2239"/>
                  </a:cubicBezTo>
                  <a:cubicBezTo>
                    <a:pt x="418" y="1703"/>
                    <a:pt x="703" y="1215"/>
                    <a:pt x="1108" y="870"/>
                  </a:cubicBezTo>
                  <a:cubicBezTo>
                    <a:pt x="1525" y="512"/>
                    <a:pt x="2037" y="322"/>
                    <a:pt x="2596" y="322"/>
                  </a:cubicBezTo>
                  <a:cubicBezTo>
                    <a:pt x="3144" y="322"/>
                    <a:pt x="3668" y="512"/>
                    <a:pt x="4085" y="870"/>
                  </a:cubicBezTo>
                  <a:cubicBezTo>
                    <a:pt x="4478" y="1227"/>
                    <a:pt x="4763" y="1727"/>
                    <a:pt x="4835" y="2239"/>
                  </a:cubicBezTo>
                  <a:cubicBezTo>
                    <a:pt x="4857" y="2326"/>
                    <a:pt x="4918" y="2383"/>
                    <a:pt x="4992" y="2383"/>
                  </a:cubicBezTo>
                  <a:cubicBezTo>
                    <a:pt x="4999" y="2383"/>
                    <a:pt x="5006" y="2383"/>
                    <a:pt x="5013" y="2382"/>
                  </a:cubicBezTo>
                  <a:cubicBezTo>
                    <a:pt x="5085" y="2382"/>
                    <a:pt x="5156" y="2286"/>
                    <a:pt x="5144" y="2203"/>
                  </a:cubicBezTo>
                  <a:cubicBezTo>
                    <a:pt x="5049" y="1584"/>
                    <a:pt x="4740" y="1036"/>
                    <a:pt x="4275" y="631"/>
                  </a:cubicBezTo>
                  <a:cubicBezTo>
                    <a:pt x="3799" y="238"/>
                    <a:pt x="3204" y="0"/>
                    <a:pt x="25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0" name="Google Shape;10810;p60"/>
            <p:cNvSpPr/>
            <p:nvPr/>
          </p:nvSpPr>
          <p:spPr>
            <a:xfrm>
              <a:off x="955059" y="2224999"/>
              <a:ext cx="164134" cy="75240"/>
            </a:xfrm>
            <a:custGeom>
              <a:avLst/>
              <a:gdLst/>
              <a:ahLst/>
              <a:cxnLst/>
              <a:rect l="l" t="t" r="r" b="b"/>
              <a:pathLst>
                <a:path w="5157" h="2364" extrusionOk="0">
                  <a:moveTo>
                    <a:pt x="193" y="1"/>
                  </a:moveTo>
                  <a:cubicBezTo>
                    <a:pt x="181" y="1"/>
                    <a:pt x="168" y="3"/>
                    <a:pt x="156" y="6"/>
                  </a:cubicBezTo>
                  <a:cubicBezTo>
                    <a:pt x="60" y="18"/>
                    <a:pt x="1" y="90"/>
                    <a:pt x="25" y="185"/>
                  </a:cubicBezTo>
                  <a:cubicBezTo>
                    <a:pt x="108" y="792"/>
                    <a:pt x="418" y="1340"/>
                    <a:pt x="882" y="1745"/>
                  </a:cubicBezTo>
                  <a:cubicBezTo>
                    <a:pt x="1358" y="2149"/>
                    <a:pt x="1954" y="2364"/>
                    <a:pt x="2585" y="2364"/>
                  </a:cubicBezTo>
                  <a:cubicBezTo>
                    <a:pt x="3204" y="2364"/>
                    <a:pt x="3811" y="2149"/>
                    <a:pt x="4275" y="1733"/>
                  </a:cubicBezTo>
                  <a:cubicBezTo>
                    <a:pt x="4740" y="1328"/>
                    <a:pt x="5049" y="756"/>
                    <a:pt x="5144" y="161"/>
                  </a:cubicBezTo>
                  <a:cubicBezTo>
                    <a:pt x="5156" y="90"/>
                    <a:pt x="5085" y="18"/>
                    <a:pt x="5002" y="6"/>
                  </a:cubicBezTo>
                  <a:cubicBezTo>
                    <a:pt x="4990" y="3"/>
                    <a:pt x="4980" y="2"/>
                    <a:pt x="4969" y="2"/>
                  </a:cubicBezTo>
                  <a:cubicBezTo>
                    <a:pt x="4900" y="2"/>
                    <a:pt x="4844" y="65"/>
                    <a:pt x="4823" y="137"/>
                  </a:cubicBezTo>
                  <a:cubicBezTo>
                    <a:pt x="4752" y="673"/>
                    <a:pt x="4466" y="1161"/>
                    <a:pt x="4073" y="1506"/>
                  </a:cubicBezTo>
                  <a:cubicBezTo>
                    <a:pt x="3656" y="1864"/>
                    <a:pt x="3132" y="2054"/>
                    <a:pt x="2585" y="2054"/>
                  </a:cubicBezTo>
                  <a:cubicBezTo>
                    <a:pt x="2025" y="2054"/>
                    <a:pt x="1513" y="1864"/>
                    <a:pt x="1096" y="1506"/>
                  </a:cubicBezTo>
                  <a:cubicBezTo>
                    <a:pt x="691" y="1149"/>
                    <a:pt x="406" y="673"/>
                    <a:pt x="334" y="137"/>
                  </a:cubicBezTo>
                  <a:cubicBezTo>
                    <a:pt x="324" y="56"/>
                    <a:pt x="262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1" name="Google Shape;10811;p60"/>
            <p:cNvSpPr/>
            <p:nvPr/>
          </p:nvSpPr>
          <p:spPr>
            <a:xfrm>
              <a:off x="1021387" y="2183496"/>
              <a:ext cx="18969" cy="69766"/>
            </a:xfrm>
            <a:custGeom>
              <a:avLst/>
              <a:gdLst/>
              <a:ahLst/>
              <a:cxnLst/>
              <a:rect l="l" t="t" r="r" b="b"/>
              <a:pathLst>
                <a:path w="596" h="2192" extrusionOk="0">
                  <a:moveTo>
                    <a:pt x="453" y="1"/>
                  </a:moveTo>
                  <a:cubicBezTo>
                    <a:pt x="417" y="1"/>
                    <a:pt x="393" y="12"/>
                    <a:pt x="382" y="24"/>
                  </a:cubicBezTo>
                  <a:lnTo>
                    <a:pt x="60" y="322"/>
                  </a:lnTo>
                  <a:cubicBezTo>
                    <a:pt x="24" y="358"/>
                    <a:pt x="1" y="405"/>
                    <a:pt x="1" y="441"/>
                  </a:cubicBezTo>
                  <a:cubicBezTo>
                    <a:pt x="1" y="501"/>
                    <a:pt x="48" y="584"/>
                    <a:pt x="108" y="584"/>
                  </a:cubicBezTo>
                  <a:cubicBezTo>
                    <a:pt x="120" y="584"/>
                    <a:pt x="155" y="560"/>
                    <a:pt x="167" y="548"/>
                  </a:cubicBezTo>
                  <a:lnTo>
                    <a:pt x="274" y="417"/>
                  </a:lnTo>
                  <a:lnTo>
                    <a:pt x="274" y="2084"/>
                  </a:lnTo>
                  <a:cubicBezTo>
                    <a:pt x="274" y="2156"/>
                    <a:pt x="346" y="2191"/>
                    <a:pt x="429" y="2191"/>
                  </a:cubicBezTo>
                  <a:cubicBezTo>
                    <a:pt x="512" y="2191"/>
                    <a:pt x="596" y="2156"/>
                    <a:pt x="596" y="2084"/>
                  </a:cubicBezTo>
                  <a:lnTo>
                    <a:pt x="596" y="108"/>
                  </a:lnTo>
                  <a:cubicBezTo>
                    <a:pt x="596" y="48"/>
                    <a:pt x="524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12" name="Google Shape;10812;p60"/>
          <p:cNvSpPr/>
          <p:nvPr/>
        </p:nvSpPr>
        <p:spPr>
          <a:xfrm>
            <a:off x="1276039" y="1961817"/>
            <a:ext cx="414967" cy="378970"/>
          </a:xfrm>
          <a:custGeom>
            <a:avLst/>
            <a:gdLst/>
            <a:ahLst/>
            <a:cxnLst/>
            <a:rect l="l" t="t" r="r" b="b"/>
            <a:pathLst>
              <a:path w="13038" h="11907" extrusionOk="0">
                <a:moveTo>
                  <a:pt x="6632" y="369"/>
                </a:moveTo>
                <a:cubicBezTo>
                  <a:pt x="6680" y="369"/>
                  <a:pt x="6704" y="405"/>
                  <a:pt x="6704" y="441"/>
                </a:cubicBezTo>
                <a:lnTo>
                  <a:pt x="6704" y="881"/>
                </a:lnTo>
                <a:cubicBezTo>
                  <a:pt x="6644" y="864"/>
                  <a:pt x="6582" y="855"/>
                  <a:pt x="6519" y="855"/>
                </a:cubicBezTo>
                <a:cubicBezTo>
                  <a:pt x="6457" y="855"/>
                  <a:pt x="6394" y="864"/>
                  <a:pt x="6335" y="881"/>
                </a:cubicBezTo>
                <a:lnTo>
                  <a:pt x="6335" y="441"/>
                </a:lnTo>
                <a:lnTo>
                  <a:pt x="6323" y="441"/>
                </a:lnTo>
                <a:cubicBezTo>
                  <a:pt x="6323" y="405"/>
                  <a:pt x="6347" y="369"/>
                  <a:pt x="6394" y="369"/>
                </a:cubicBezTo>
                <a:close/>
                <a:moveTo>
                  <a:pt x="6501" y="1251"/>
                </a:moveTo>
                <a:cubicBezTo>
                  <a:pt x="7061" y="1251"/>
                  <a:pt x="7275" y="2013"/>
                  <a:pt x="6763" y="2286"/>
                </a:cubicBezTo>
                <a:cubicBezTo>
                  <a:pt x="6692" y="2322"/>
                  <a:pt x="6585" y="2346"/>
                  <a:pt x="6501" y="2346"/>
                </a:cubicBezTo>
                <a:cubicBezTo>
                  <a:pt x="6204" y="2346"/>
                  <a:pt x="5954" y="2096"/>
                  <a:pt x="5954" y="1798"/>
                </a:cubicBezTo>
                <a:cubicBezTo>
                  <a:pt x="5954" y="1489"/>
                  <a:pt x="6204" y="1251"/>
                  <a:pt x="6501" y="1251"/>
                </a:cubicBezTo>
                <a:close/>
                <a:moveTo>
                  <a:pt x="2382" y="2429"/>
                </a:moveTo>
                <a:cubicBezTo>
                  <a:pt x="2560" y="2429"/>
                  <a:pt x="2703" y="2572"/>
                  <a:pt x="2703" y="2751"/>
                </a:cubicBezTo>
                <a:cubicBezTo>
                  <a:pt x="2703" y="2929"/>
                  <a:pt x="2560" y="3084"/>
                  <a:pt x="2382" y="3084"/>
                </a:cubicBezTo>
                <a:cubicBezTo>
                  <a:pt x="2215" y="3084"/>
                  <a:pt x="2048" y="2941"/>
                  <a:pt x="2048" y="2751"/>
                </a:cubicBezTo>
                <a:cubicBezTo>
                  <a:pt x="2048" y="2560"/>
                  <a:pt x="2203" y="2429"/>
                  <a:pt x="2382" y="2429"/>
                </a:cubicBezTo>
                <a:close/>
                <a:moveTo>
                  <a:pt x="10657" y="2429"/>
                </a:moveTo>
                <a:cubicBezTo>
                  <a:pt x="10835" y="2429"/>
                  <a:pt x="10978" y="2572"/>
                  <a:pt x="10978" y="2751"/>
                </a:cubicBezTo>
                <a:cubicBezTo>
                  <a:pt x="10978" y="2929"/>
                  <a:pt x="10835" y="3084"/>
                  <a:pt x="10657" y="3084"/>
                </a:cubicBezTo>
                <a:cubicBezTo>
                  <a:pt x="10478" y="3084"/>
                  <a:pt x="10323" y="2941"/>
                  <a:pt x="10323" y="2751"/>
                </a:cubicBezTo>
                <a:cubicBezTo>
                  <a:pt x="10323" y="2560"/>
                  <a:pt x="10478" y="2429"/>
                  <a:pt x="10657" y="2429"/>
                </a:cubicBezTo>
                <a:close/>
                <a:moveTo>
                  <a:pt x="2477" y="3441"/>
                </a:moveTo>
                <a:lnTo>
                  <a:pt x="3715" y="6025"/>
                </a:lnTo>
                <a:lnTo>
                  <a:pt x="1024" y="6025"/>
                </a:lnTo>
                <a:lnTo>
                  <a:pt x="2239" y="3441"/>
                </a:lnTo>
                <a:cubicBezTo>
                  <a:pt x="2275" y="3447"/>
                  <a:pt x="2316" y="3450"/>
                  <a:pt x="2358" y="3450"/>
                </a:cubicBezTo>
                <a:cubicBezTo>
                  <a:pt x="2400" y="3450"/>
                  <a:pt x="2441" y="3447"/>
                  <a:pt x="2477" y="3441"/>
                </a:cubicBezTo>
                <a:close/>
                <a:moveTo>
                  <a:pt x="10776" y="3441"/>
                </a:moveTo>
                <a:lnTo>
                  <a:pt x="11990" y="6025"/>
                </a:lnTo>
                <a:lnTo>
                  <a:pt x="9299" y="6025"/>
                </a:lnTo>
                <a:lnTo>
                  <a:pt x="10538" y="3441"/>
                </a:lnTo>
                <a:cubicBezTo>
                  <a:pt x="10573" y="3447"/>
                  <a:pt x="10612" y="3450"/>
                  <a:pt x="10652" y="3450"/>
                </a:cubicBezTo>
                <a:cubicBezTo>
                  <a:pt x="10692" y="3450"/>
                  <a:pt x="10734" y="3447"/>
                  <a:pt x="10776" y="3441"/>
                </a:cubicBezTo>
                <a:close/>
                <a:moveTo>
                  <a:pt x="4251" y="6418"/>
                </a:moveTo>
                <a:cubicBezTo>
                  <a:pt x="4322" y="6418"/>
                  <a:pt x="4382" y="6477"/>
                  <a:pt x="4382" y="6549"/>
                </a:cubicBezTo>
                <a:lnTo>
                  <a:pt x="4382" y="6668"/>
                </a:lnTo>
                <a:cubicBezTo>
                  <a:pt x="4382" y="6739"/>
                  <a:pt x="4322" y="6799"/>
                  <a:pt x="4251" y="6799"/>
                </a:cubicBezTo>
                <a:lnTo>
                  <a:pt x="501" y="6799"/>
                </a:lnTo>
                <a:cubicBezTo>
                  <a:pt x="429" y="6799"/>
                  <a:pt x="370" y="6739"/>
                  <a:pt x="370" y="6668"/>
                </a:cubicBezTo>
                <a:lnTo>
                  <a:pt x="370" y="6549"/>
                </a:lnTo>
                <a:cubicBezTo>
                  <a:pt x="370" y="6477"/>
                  <a:pt x="429" y="6418"/>
                  <a:pt x="501" y="6418"/>
                </a:cubicBezTo>
                <a:close/>
                <a:moveTo>
                  <a:pt x="12526" y="6418"/>
                </a:moveTo>
                <a:cubicBezTo>
                  <a:pt x="12597" y="6418"/>
                  <a:pt x="12657" y="6477"/>
                  <a:pt x="12657" y="6549"/>
                </a:cubicBezTo>
                <a:lnTo>
                  <a:pt x="12657" y="6668"/>
                </a:lnTo>
                <a:cubicBezTo>
                  <a:pt x="12657" y="6739"/>
                  <a:pt x="12597" y="6799"/>
                  <a:pt x="12526" y="6799"/>
                </a:cubicBezTo>
                <a:lnTo>
                  <a:pt x="8775" y="6799"/>
                </a:lnTo>
                <a:cubicBezTo>
                  <a:pt x="8704" y="6799"/>
                  <a:pt x="8644" y="6739"/>
                  <a:pt x="8644" y="6668"/>
                </a:cubicBezTo>
                <a:lnTo>
                  <a:pt x="8644" y="6549"/>
                </a:lnTo>
                <a:cubicBezTo>
                  <a:pt x="8644" y="6477"/>
                  <a:pt x="8704" y="6418"/>
                  <a:pt x="8775" y="6418"/>
                </a:cubicBezTo>
                <a:close/>
                <a:moveTo>
                  <a:pt x="3715" y="7168"/>
                </a:moveTo>
                <a:cubicBezTo>
                  <a:pt x="3525" y="7787"/>
                  <a:pt x="2953" y="8228"/>
                  <a:pt x="2298" y="8228"/>
                </a:cubicBezTo>
                <a:cubicBezTo>
                  <a:pt x="1644" y="8228"/>
                  <a:pt x="1084" y="7799"/>
                  <a:pt x="905" y="7168"/>
                </a:cubicBezTo>
                <a:close/>
                <a:moveTo>
                  <a:pt x="12145" y="7168"/>
                </a:moveTo>
                <a:cubicBezTo>
                  <a:pt x="11942" y="7787"/>
                  <a:pt x="11383" y="8228"/>
                  <a:pt x="10728" y="8228"/>
                </a:cubicBezTo>
                <a:cubicBezTo>
                  <a:pt x="10073" y="8228"/>
                  <a:pt x="9502" y="7799"/>
                  <a:pt x="9323" y="7168"/>
                </a:cubicBezTo>
                <a:close/>
                <a:moveTo>
                  <a:pt x="7942" y="10371"/>
                </a:moveTo>
                <a:cubicBezTo>
                  <a:pt x="8013" y="10371"/>
                  <a:pt x="8073" y="10430"/>
                  <a:pt x="8073" y="10502"/>
                </a:cubicBezTo>
                <a:lnTo>
                  <a:pt x="8073" y="10764"/>
                </a:lnTo>
                <a:lnTo>
                  <a:pt x="4918" y="10764"/>
                </a:lnTo>
                <a:lnTo>
                  <a:pt x="4918" y="10502"/>
                </a:lnTo>
                <a:cubicBezTo>
                  <a:pt x="4918" y="10430"/>
                  <a:pt x="4977" y="10371"/>
                  <a:pt x="5049" y="10371"/>
                </a:cubicBezTo>
                <a:close/>
                <a:moveTo>
                  <a:pt x="6382" y="0"/>
                </a:moveTo>
                <a:cubicBezTo>
                  <a:pt x="6132" y="0"/>
                  <a:pt x="5930" y="203"/>
                  <a:pt x="5930" y="441"/>
                </a:cubicBezTo>
                <a:lnTo>
                  <a:pt x="5930" y="1060"/>
                </a:lnTo>
                <a:cubicBezTo>
                  <a:pt x="5692" y="1251"/>
                  <a:pt x="5549" y="1536"/>
                  <a:pt x="5561" y="1858"/>
                </a:cubicBezTo>
                <a:lnTo>
                  <a:pt x="3703" y="2370"/>
                </a:lnTo>
                <a:cubicBezTo>
                  <a:pt x="3477" y="2429"/>
                  <a:pt x="3251" y="2465"/>
                  <a:pt x="3037" y="2501"/>
                </a:cubicBezTo>
                <a:cubicBezTo>
                  <a:pt x="2929" y="2227"/>
                  <a:pt x="2679" y="2036"/>
                  <a:pt x="2382" y="2036"/>
                </a:cubicBezTo>
                <a:cubicBezTo>
                  <a:pt x="1989" y="2036"/>
                  <a:pt x="1679" y="2346"/>
                  <a:pt x="1679" y="2739"/>
                </a:cubicBezTo>
                <a:cubicBezTo>
                  <a:pt x="1679" y="2941"/>
                  <a:pt x="1763" y="3132"/>
                  <a:pt x="1917" y="3275"/>
                </a:cubicBezTo>
                <a:lnTo>
                  <a:pt x="608" y="6025"/>
                </a:lnTo>
                <a:lnTo>
                  <a:pt x="501" y="6025"/>
                </a:lnTo>
                <a:cubicBezTo>
                  <a:pt x="215" y="6025"/>
                  <a:pt x="1" y="6251"/>
                  <a:pt x="1" y="6525"/>
                </a:cubicBezTo>
                <a:lnTo>
                  <a:pt x="1" y="6644"/>
                </a:lnTo>
                <a:cubicBezTo>
                  <a:pt x="1" y="6930"/>
                  <a:pt x="215" y="7156"/>
                  <a:pt x="501" y="7156"/>
                </a:cubicBezTo>
                <a:cubicBezTo>
                  <a:pt x="691" y="7989"/>
                  <a:pt x="1441" y="8585"/>
                  <a:pt x="2298" y="8585"/>
                </a:cubicBezTo>
                <a:cubicBezTo>
                  <a:pt x="3168" y="8585"/>
                  <a:pt x="3906" y="7978"/>
                  <a:pt x="4108" y="7156"/>
                </a:cubicBezTo>
                <a:lnTo>
                  <a:pt x="4251" y="7156"/>
                </a:lnTo>
                <a:cubicBezTo>
                  <a:pt x="4537" y="7156"/>
                  <a:pt x="4763" y="6930"/>
                  <a:pt x="4763" y="6644"/>
                </a:cubicBezTo>
                <a:lnTo>
                  <a:pt x="4763" y="6525"/>
                </a:lnTo>
                <a:cubicBezTo>
                  <a:pt x="4763" y="6251"/>
                  <a:pt x="4537" y="6025"/>
                  <a:pt x="4251" y="6025"/>
                </a:cubicBezTo>
                <a:lnTo>
                  <a:pt x="4144" y="6025"/>
                </a:lnTo>
                <a:lnTo>
                  <a:pt x="2834" y="3275"/>
                </a:lnTo>
                <a:cubicBezTo>
                  <a:pt x="2953" y="3167"/>
                  <a:pt x="3037" y="3036"/>
                  <a:pt x="3060" y="2870"/>
                </a:cubicBezTo>
                <a:cubicBezTo>
                  <a:pt x="3310" y="2846"/>
                  <a:pt x="3549" y="2798"/>
                  <a:pt x="3787" y="2727"/>
                </a:cubicBezTo>
                <a:lnTo>
                  <a:pt x="5656" y="2215"/>
                </a:lnTo>
                <a:cubicBezTo>
                  <a:pt x="5716" y="2346"/>
                  <a:pt x="5811" y="2453"/>
                  <a:pt x="5918" y="2548"/>
                </a:cubicBezTo>
                <a:lnTo>
                  <a:pt x="5918" y="10002"/>
                </a:lnTo>
                <a:lnTo>
                  <a:pt x="5037" y="10002"/>
                </a:lnTo>
                <a:cubicBezTo>
                  <a:pt x="4763" y="10002"/>
                  <a:pt x="4537" y="10228"/>
                  <a:pt x="4537" y="10502"/>
                </a:cubicBezTo>
                <a:lnTo>
                  <a:pt x="4537" y="10776"/>
                </a:lnTo>
                <a:cubicBezTo>
                  <a:pt x="4299" y="10823"/>
                  <a:pt x="4120" y="11026"/>
                  <a:pt x="4120" y="11276"/>
                </a:cubicBezTo>
                <a:lnTo>
                  <a:pt x="4120" y="11395"/>
                </a:lnTo>
                <a:cubicBezTo>
                  <a:pt x="4120" y="11680"/>
                  <a:pt x="4346" y="11907"/>
                  <a:pt x="4620" y="11907"/>
                </a:cubicBezTo>
                <a:lnTo>
                  <a:pt x="6049" y="11907"/>
                </a:lnTo>
                <a:cubicBezTo>
                  <a:pt x="6156" y="11907"/>
                  <a:pt x="6251" y="11811"/>
                  <a:pt x="6251" y="11704"/>
                </a:cubicBezTo>
                <a:cubicBezTo>
                  <a:pt x="6251" y="11609"/>
                  <a:pt x="6156" y="11514"/>
                  <a:pt x="6049" y="11514"/>
                </a:cubicBezTo>
                <a:lnTo>
                  <a:pt x="4620" y="11514"/>
                </a:lnTo>
                <a:cubicBezTo>
                  <a:pt x="4549" y="11514"/>
                  <a:pt x="4489" y="11454"/>
                  <a:pt x="4489" y="11383"/>
                </a:cubicBezTo>
                <a:lnTo>
                  <a:pt x="4489" y="11264"/>
                </a:lnTo>
                <a:cubicBezTo>
                  <a:pt x="4489" y="11192"/>
                  <a:pt x="4549" y="11133"/>
                  <a:pt x="4620" y="11133"/>
                </a:cubicBezTo>
                <a:lnTo>
                  <a:pt x="8371" y="11133"/>
                </a:lnTo>
                <a:cubicBezTo>
                  <a:pt x="8454" y="11133"/>
                  <a:pt x="8513" y="11192"/>
                  <a:pt x="8513" y="11264"/>
                </a:cubicBezTo>
                <a:lnTo>
                  <a:pt x="8513" y="11383"/>
                </a:lnTo>
                <a:cubicBezTo>
                  <a:pt x="8513" y="11454"/>
                  <a:pt x="8454" y="11514"/>
                  <a:pt x="8371" y="11514"/>
                </a:cubicBezTo>
                <a:lnTo>
                  <a:pt x="6930" y="11514"/>
                </a:lnTo>
                <a:cubicBezTo>
                  <a:pt x="6823" y="11514"/>
                  <a:pt x="6739" y="11609"/>
                  <a:pt x="6739" y="11704"/>
                </a:cubicBezTo>
                <a:cubicBezTo>
                  <a:pt x="6739" y="11811"/>
                  <a:pt x="6823" y="11907"/>
                  <a:pt x="6930" y="11907"/>
                </a:cubicBezTo>
                <a:lnTo>
                  <a:pt x="8371" y="11907"/>
                </a:lnTo>
                <a:cubicBezTo>
                  <a:pt x="8656" y="11907"/>
                  <a:pt x="8883" y="11680"/>
                  <a:pt x="8883" y="11395"/>
                </a:cubicBezTo>
                <a:lnTo>
                  <a:pt x="8883" y="11276"/>
                </a:lnTo>
                <a:cubicBezTo>
                  <a:pt x="8883" y="11026"/>
                  <a:pt x="8692" y="10799"/>
                  <a:pt x="8454" y="10776"/>
                </a:cubicBezTo>
                <a:lnTo>
                  <a:pt x="8454" y="10502"/>
                </a:lnTo>
                <a:cubicBezTo>
                  <a:pt x="8454" y="10228"/>
                  <a:pt x="8228" y="10002"/>
                  <a:pt x="7942" y="10002"/>
                </a:cubicBezTo>
                <a:lnTo>
                  <a:pt x="7061" y="10002"/>
                </a:lnTo>
                <a:lnTo>
                  <a:pt x="7061" y="7049"/>
                </a:lnTo>
                <a:cubicBezTo>
                  <a:pt x="7061" y="6954"/>
                  <a:pt x="6978" y="6858"/>
                  <a:pt x="6870" y="6858"/>
                </a:cubicBezTo>
                <a:cubicBezTo>
                  <a:pt x="6763" y="6858"/>
                  <a:pt x="6680" y="6954"/>
                  <a:pt x="6680" y="7049"/>
                </a:cubicBezTo>
                <a:lnTo>
                  <a:pt x="6680" y="10002"/>
                </a:lnTo>
                <a:lnTo>
                  <a:pt x="6311" y="10002"/>
                </a:lnTo>
                <a:lnTo>
                  <a:pt x="6311" y="2727"/>
                </a:lnTo>
                <a:cubicBezTo>
                  <a:pt x="6370" y="2739"/>
                  <a:pt x="6430" y="2745"/>
                  <a:pt x="6491" y="2745"/>
                </a:cubicBezTo>
                <a:cubicBezTo>
                  <a:pt x="6552" y="2745"/>
                  <a:pt x="6614" y="2739"/>
                  <a:pt x="6680" y="2727"/>
                </a:cubicBezTo>
                <a:lnTo>
                  <a:pt x="6680" y="6156"/>
                </a:lnTo>
                <a:cubicBezTo>
                  <a:pt x="6680" y="6263"/>
                  <a:pt x="6763" y="6358"/>
                  <a:pt x="6870" y="6358"/>
                </a:cubicBezTo>
                <a:cubicBezTo>
                  <a:pt x="6978" y="6358"/>
                  <a:pt x="7061" y="6263"/>
                  <a:pt x="7061" y="6156"/>
                </a:cubicBezTo>
                <a:lnTo>
                  <a:pt x="7061" y="2548"/>
                </a:lnTo>
                <a:cubicBezTo>
                  <a:pt x="7180" y="2453"/>
                  <a:pt x="7275" y="2346"/>
                  <a:pt x="7335" y="2215"/>
                </a:cubicBezTo>
                <a:lnTo>
                  <a:pt x="9228" y="2739"/>
                </a:lnTo>
                <a:cubicBezTo>
                  <a:pt x="9466" y="2798"/>
                  <a:pt x="9716" y="2858"/>
                  <a:pt x="9954" y="2882"/>
                </a:cubicBezTo>
                <a:cubicBezTo>
                  <a:pt x="9978" y="3048"/>
                  <a:pt x="10073" y="3179"/>
                  <a:pt x="10180" y="3287"/>
                </a:cubicBezTo>
                <a:lnTo>
                  <a:pt x="8871" y="6037"/>
                </a:lnTo>
                <a:lnTo>
                  <a:pt x="8764" y="6037"/>
                </a:lnTo>
                <a:cubicBezTo>
                  <a:pt x="8478" y="6037"/>
                  <a:pt x="8252" y="6263"/>
                  <a:pt x="8252" y="6549"/>
                </a:cubicBezTo>
                <a:lnTo>
                  <a:pt x="8252" y="6668"/>
                </a:lnTo>
                <a:cubicBezTo>
                  <a:pt x="8252" y="6954"/>
                  <a:pt x="8478" y="7168"/>
                  <a:pt x="8764" y="7168"/>
                </a:cubicBezTo>
                <a:lnTo>
                  <a:pt x="8906" y="7168"/>
                </a:lnTo>
                <a:cubicBezTo>
                  <a:pt x="9109" y="8001"/>
                  <a:pt x="9847" y="8597"/>
                  <a:pt x="10716" y="8597"/>
                </a:cubicBezTo>
                <a:cubicBezTo>
                  <a:pt x="11573" y="8597"/>
                  <a:pt x="12323" y="7989"/>
                  <a:pt x="12514" y="7168"/>
                </a:cubicBezTo>
                <a:cubicBezTo>
                  <a:pt x="12800" y="7168"/>
                  <a:pt x="13014" y="6954"/>
                  <a:pt x="13014" y="6668"/>
                </a:cubicBezTo>
                <a:lnTo>
                  <a:pt x="13014" y="6549"/>
                </a:lnTo>
                <a:cubicBezTo>
                  <a:pt x="13038" y="6263"/>
                  <a:pt x="12812" y="6025"/>
                  <a:pt x="12526" y="6025"/>
                </a:cubicBezTo>
                <a:lnTo>
                  <a:pt x="12419" y="6025"/>
                </a:lnTo>
                <a:lnTo>
                  <a:pt x="11109" y="3275"/>
                </a:lnTo>
                <a:cubicBezTo>
                  <a:pt x="11264" y="3144"/>
                  <a:pt x="11347" y="2965"/>
                  <a:pt x="11347" y="2739"/>
                </a:cubicBezTo>
                <a:cubicBezTo>
                  <a:pt x="11347" y="2346"/>
                  <a:pt x="11038" y="2036"/>
                  <a:pt x="10657" y="2036"/>
                </a:cubicBezTo>
                <a:cubicBezTo>
                  <a:pt x="10359" y="2036"/>
                  <a:pt x="10097" y="2227"/>
                  <a:pt x="10002" y="2501"/>
                </a:cubicBezTo>
                <a:cubicBezTo>
                  <a:pt x="9776" y="2465"/>
                  <a:pt x="9549" y="2429"/>
                  <a:pt x="9323" y="2370"/>
                </a:cubicBezTo>
                <a:lnTo>
                  <a:pt x="7442" y="1846"/>
                </a:lnTo>
                <a:cubicBezTo>
                  <a:pt x="7454" y="1536"/>
                  <a:pt x="7323" y="1239"/>
                  <a:pt x="7061" y="1060"/>
                </a:cubicBezTo>
                <a:lnTo>
                  <a:pt x="7061" y="441"/>
                </a:lnTo>
                <a:cubicBezTo>
                  <a:pt x="7061" y="191"/>
                  <a:pt x="6859" y="0"/>
                  <a:pt x="662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13" name="Google Shape;10813;p60"/>
          <p:cNvGrpSpPr/>
          <p:nvPr/>
        </p:nvGrpSpPr>
        <p:grpSpPr>
          <a:xfrm>
            <a:off x="3979435" y="1976585"/>
            <a:ext cx="345265" cy="349848"/>
            <a:chOff x="3979435" y="1976585"/>
            <a:chExt cx="345265" cy="349848"/>
          </a:xfrm>
        </p:grpSpPr>
        <p:sp>
          <p:nvSpPr>
            <p:cNvPr id="10814" name="Google Shape;10814;p60"/>
            <p:cNvSpPr/>
            <p:nvPr/>
          </p:nvSpPr>
          <p:spPr>
            <a:xfrm>
              <a:off x="3979435" y="1976585"/>
              <a:ext cx="345265" cy="349848"/>
            </a:xfrm>
            <a:custGeom>
              <a:avLst/>
              <a:gdLst/>
              <a:ahLst/>
              <a:cxnLst/>
              <a:rect l="l" t="t" r="r" b="b"/>
              <a:pathLst>
                <a:path w="10848" h="10992" extrusionOk="0">
                  <a:moveTo>
                    <a:pt x="6632" y="322"/>
                  </a:moveTo>
                  <a:cubicBezTo>
                    <a:pt x="6859" y="322"/>
                    <a:pt x="7013" y="501"/>
                    <a:pt x="7013" y="715"/>
                  </a:cubicBezTo>
                  <a:cubicBezTo>
                    <a:pt x="7013" y="929"/>
                    <a:pt x="6835" y="1096"/>
                    <a:pt x="6632" y="1096"/>
                  </a:cubicBezTo>
                  <a:lnTo>
                    <a:pt x="4906" y="1096"/>
                  </a:lnTo>
                  <a:cubicBezTo>
                    <a:pt x="4680" y="1096"/>
                    <a:pt x="4513" y="918"/>
                    <a:pt x="4513" y="715"/>
                  </a:cubicBezTo>
                  <a:cubicBezTo>
                    <a:pt x="4513" y="489"/>
                    <a:pt x="4692" y="322"/>
                    <a:pt x="4906" y="322"/>
                  </a:cubicBezTo>
                  <a:close/>
                  <a:moveTo>
                    <a:pt x="5966" y="1429"/>
                  </a:moveTo>
                  <a:lnTo>
                    <a:pt x="5966" y="1965"/>
                  </a:lnTo>
                  <a:lnTo>
                    <a:pt x="5561" y="1965"/>
                  </a:lnTo>
                  <a:lnTo>
                    <a:pt x="5561" y="1429"/>
                  </a:lnTo>
                  <a:close/>
                  <a:moveTo>
                    <a:pt x="5775" y="2289"/>
                  </a:moveTo>
                  <a:cubicBezTo>
                    <a:pt x="6988" y="2289"/>
                    <a:pt x="8193" y="2825"/>
                    <a:pt x="9026" y="3835"/>
                  </a:cubicBezTo>
                  <a:cubicBezTo>
                    <a:pt x="10466" y="5620"/>
                    <a:pt x="10204" y="8276"/>
                    <a:pt x="8407" y="9728"/>
                  </a:cubicBezTo>
                  <a:cubicBezTo>
                    <a:pt x="7623" y="10362"/>
                    <a:pt x="6686" y="10670"/>
                    <a:pt x="5757" y="10670"/>
                  </a:cubicBezTo>
                  <a:cubicBezTo>
                    <a:pt x="4540" y="10670"/>
                    <a:pt x="3337" y="10141"/>
                    <a:pt x="2513" y="9121"/>
                  </a:cubicBezTo>
                  <a:cubicBezTo>
                    <a:pt x="429" y="6561"/>
                    <a:pt x="2001" y="2715"/>
                    <a:pt x="5251" y="2322"/>
                  </a:cubicBezTo>
                  <a:cubicBezTo>
                    <a:pt x="5425" y="2300"/>
                    <a:pt x="5601" y="2289"/>
                    <a:pt x="5775" y="2289"/>
                  </a:cubicBezTo>
                  <a:close/>
                  <a:moveTo>
                    <a:pt x="4906" y="1"/>
                  </a:moveTo>
                  <a:cubicBezTo>
                    <a:pt x="4501" y="1"/>
                    <a:pt x="4192" y="322"/>
                    <a:pt x="4192" y="715"/>
                  </a:cubicBezTo>
                  <a:cubicBezTo>
                    <a:pt x="4192" y="1108"/>
                    <a:pt x="4513" y="1429"/>
                    <a:pt x="4906" y="1429"/>
                  </a:cubicBezTo>
                  <a:lnTo>
                    <a:pt x="5239" y="1429"/>
                  </a:lnTo>
                  <a:lnTo>
                    <a:pt x="5239" y="1989"/>
                  </a:lnTo>
                  <a:cubicBezTo>
                    <a:pt x="1727" y="2394"/>
                    <a:pt x="1" y="6561"/>
                    <a:pt x="2263" y="9323"/>
                  </a:cubicBezTo>
                  <a:cubicBezTo>
                    <a:pt x="3160" y="10423"/>
                    <a:pt x="4463" y="10991"/>
                    <a:pt x="5774" y="10991"/>
                  </a:cubicBezTo>
                  <a:cubicBezTo>
                    <a:pt x="6777" y="10991"/>
                    <a:pt x="7785" y="10659"/>
                    <a:pt x="8621" y="9978"/>
                  </a:cubicBezTo>
                  <a:cubicBezTo>
                    <a:pt x="10550" y="8407"/>
                    <a:pt x="10847" y="5549"/>
                    <a:pt x="9264" y="3632"/>
                  </a:cubicBezTo>
                  <a:cubicBezTo>
                    <a:pt x="8490" y="2680"/>
                    <a:pt x="7406" y="2120"/>
                    <a:pt x="6287" y="1989"/>
                  </a:cubicBezTo>
                  <a:lnTo>
                    <a:pt x="6287" y="1429"/>
                  </a:lnTo>
                  <a:lnTo>
                    <a:pt x="6632" y="1429"/>
                  </a:lnTo>
                  <a:cubicBezTo>
                    <a:pt x="7037" y="1429"/>
                    <a:pt x="7347" y="1096"/>
                    <a:pt x="7347" y="715"/>
                  </a:cubicBezTo>
                  <a:cubicBezTo>
                    <a:pt x="7347" y="310"/>
                    <a:pt x="7013" y="1"/>
                    <a:pt x="6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5" name="Google Shape;10815;p60"/>
            <p:cNvSpPr/>
            <p:nvPr/>
          </p:nvSpPr>
          <p:spPr>
            <a:xfrm>
              <a:off x="4044236" y="2176685"/>
              <a:ext cx="144783" cy="123077"/>
            </a:xfrm>
            <a:custGeom>
              <a:avLst/>
              <a:gdLst/>
              <a:ahLst/>
              <a:cxnLst/>
              <a:rect l="l" t="t" r="r" b="b"/>
              <a:pathLst>
                <a:path w="4549" h="3867" extrusionOk="0">
                  <a:moveTo>
                    <a:pt x="203" y="0"/>
                  </a:moveTo>
                  <a:cubicBezTo>
                    <a:pt x="108" y="0"/>
                    <a:pt x="36" y="84"/>
                    <a:pt x="36" y="167"/>
                  </a:cubicBezTo>
                  <a:cubicBezTo>
                    <a:pt x="36" y="215"/>
                    <a:pt x="1" y="977"/>
                    <a:pt x="405" y="1822"/>
                  </a:cubicBezTo>
                  <a:cubicBezTo>
                    <a:pt x="667" y="2346"/>
                    <a:pt x="1048" y="2798"/>
                    <a:pt x="1525" y="3143"/>
                  </a:cubicBezTo>
                  <a:cubicBezTo>
                    <a:pt x="2186" y="3633"/>
                    <a:pt x="2944" y="3867"/>
                    <a:pt x="3694" y="3867"/>
                  </a:cubicBezTo>
                  <a:cubicBezTo>
                    <a:pt x="3929" y="3867"/>
                    <a:pt x="4164" y="3844"/>
                    <a:pt x="4394" y="3798"/>
                  </a:cubicBezTo>
                  <a:cubicBezTo>
                    <a:pt x="4489" y="3786"/>
                    <a:pt x="4549" y="3691"/>
                    <a:pt x="4537" y="3608"/>
                  </a:cubicBezTo>
                  <a:cubicBezTo>
                    <a:pt x="4526" y="3543"/>
                    <a:pt x="4446" y="3487"/>
                    <a:pt x="4368" y="3487"/>
                  </a:cubicBezTo>
                  <a:cubicBezTo>
                    <a:pt x="4361" y="3487"/>
                    <a:pt x="4354" y="3488"/>
                    <a:pt x="4346" y="3489"/>
                  </a:cubicBezTo>
                  <a:cubicBezTo>
                    <a:pt x="4139" y="3526"/>
                    <a:pt x="3932" y="3545"/>
                    <a:pt x="3725" y="3545"/>
                  </a:cubicBezTo>
                  <a:cubicBezTo>
                    <a:pt x="3018" y="3545"/>
                    <a:pt x="2326" y="3324"/>
                    <a:pt x="1727" y="2882"/>
                  </a:cubicBezTo>
                  <a:cubicBezTo>
                    <a:pt x="275" y="1810"/>
                    <a:pt x="370" y="167"/>
                    <a:pt x="370" y="167"/>
                  </a:cubicBezTo>
                  <a:cubicBezTo>
                    <a:pt x="370" y="84"/>
                    <a:pt x="298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6" name="Google Shape;10816;p60"/>
            <p:cNvSpPr/>
            <p:nvPr/>
          </p:nvSpPr>
          <p:spPr>
            <a:xfrm>
              <a:off x="4046910" y="2065957"/>
              <a:ext cx="204269" cy="100893"/>
            </a:xfrm>
            <a:custGeom>
              <a:avLst/>
              <a:gdLst/>
              <a:ahLst/>
              <a:cxnLst/>
              <a:rect l="l" t="t" r="r" b="b"/>
              <a:pathLst>
                <a:path w="6418" h="3170" extrusionOk="0">
                  <a:moveTo>
                    <a:pt x="3655" y="1"/>
                  </a:moveTo>
                  <a:cubicBezTo>
                    <a:pt x="1971" y="1"/>
                    <a:pt x="367" y="1170"/>
                    <a:pt x="12" y="3003"/>
                  </a:cubicBezTo>
                  <a:cubicBezTo>
                    <a:pt x="0" y="3086"/>
                    <a:pt x="71" y="3170"/>
                    <a:pt x="179" y="3170"/>
                  </a:cubicBezTo>
                  <a:cubicBezTo>
                    <a:pt x="250" y="3170"/>
                    <a:pt x="333" y="3110"/>
                    <a:pt x="345" y="3039"/>
                  </a:cubicBezTo>
                  <a:cubicBezTo>
                    <a:pt x="667" y="1358"/>
                    <a:pt x="2122" y="299"/>
                    <a:pt x="3652" y="299"/>
                  </a:cubicBezTo>
                  <a:cubicBezTo>
                    <a:pt x="4332" y="299"/>
                    <a:pt x="5027" y="509"/>
                    <a:pt x="5644" y="967"/>
                  </a:cubicBezTo>
                  <a:cubicBezTo>
                    <a:pt x="5822" y="1098"/>
                    <a:pt x="5965" y="1241"/>
                    <a:pt x="6120" y="1396"/>
                  </a:cubicBezTo>
                  <a:cubicBezTo>
                    <a:pt x="6155" y="1431"/>
                    <a:pt x="6208" y="1454"/>
                    <a:pt x="6257" y="1454"/>
                  </a:cubicBezTo>
                  <a:cubicBezTo>
                    <a:pt x="6290" y="1454"/>
                    <a:pt x="6322" y="1443"/>
                    <a:pt x="6346" y="1419"/>
                  </a:cubicBezTo>
                  <a:cubicBezTo>
                    <a:pt x="6406" y="1360"/>
                    <a:pt x="6417" y="1253"/>
                    <a:pt x="6358" y="1193"/>
                  </a:cubicBezTo>
                  <a:cubicBezTo>
                    <a:pt x="6191" y="1027"/>
                    <a:pt x="6025" y="860"/>
                    <a:pt x="5834" y="729"/>
                  </a:cubicBezTo>
                  <a:cubicBezTo>
                    <a:pt x="5159" y="229"/>
                    <a:pt x="4399" y="1"/>
                    <a:pt x="3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7" name="Google Shape;10817;p60"/>
            <p:cNvSpPr/>
            <p:nvPr/>
          </p:nvSpPr>
          <p:spPr>
            <a:xfrm>
              <a:off x="4195735" y="2118027"/>
              <a:ext cx="84247" cy="174224"/>
            </a:xfrm>
            <a:custGeom>
              <a:avLst/>
              <a:gdLst/>
              <a:ahLst/>
              <a:cxnLst/>
              <a:rect l="l" t="t" r="r" b="b"/>
              <a:pathLst>
                <a:path w="2647" h="5474" extrusionOk="0">
                  <a:moveTo>
                    <a:pt x="1952" y="0"/>
                  </a:moveTo>
                  <a:cubicBezTo>
                    <a:pt x="1920" y="0"/>
                    <a:pt x="1888" y="11"/>
                    <a:pt x="1861" y="33"/>
                  </a:cubicBezTo>
                  <a:cubicBezTo>
                    <a:pt x="1789" y="81"/>
                    <a:pt x="1753" y="176"/>
                    <a:pt x="1813" y="260"/>
                  </a:cubicBezTo>
                  <a:cubicBezTo>
                    <a:pt x="2158" y="795"/>
                    <a:pt x="2325" y="1403"/>
                    <a:pt x="2325" y="2046"/>
                  </a:cubicBezTo>
                  <a:cubicBezTo>
                    <a:pt x="2325" y="3451"/>
                    <a:pt x="1432" y="4689"/>
                    <a:pt x="182" y="5165"/>
                  </a:cubicBezTo>
                  <a:cubicBezTo>
                    <a:pt x="1" y="5229"/>
                    <a:pt x="67" y="5474"/>
                    <a:pt x="237" y="5474"/>
                  </a:cubicBezTo>
                  <a:cubicBezTo>
                    <a:pt x="257" y="5474"/>
                    <a:pt x="278" y="5470"/>
                    <a:pt x="301" y="5463"/>
                  </a:cubicBezTo>
                  <a:cubicBezTo>
                    <a:pt x="1682" y="4927"/>
                    <a:pt x="2646" y="3593"/>
                    <a:pt x="2646" y="2022"/>
                  </a:cubicBezTo>
                  <a:cubicBezTo>
                    <a:pt x="2646" y="1343"/>
                    <a:pt x="2456" y="653"/>
                    <a:pt x="2087" y="81"/>
                  </a:cubicBezTo>
                  <a:cubicBezTo>
                    <a:pt x="2057" y="29"/>
                    <a:pt x="2004" y="0"/>
                    <a:pt x="19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8" name="Google Shape;10818;p60"/>
            <p:cNvSpPr/>
            <p:nvPr/>
          </p:nvSpPr>
          <p:spPr>
            <a:xfrm>
              <a:off x="4109037" y="2161153"/>
              <a:ext cx="81510" cy="55348"/>
            </a:xfrm>
            <a:custGeom>
              <a:avLst/>
              <a:gdLst/>
              <a:ahLst/>
              <a:cxnLst/>
              <a:rect l="l" t="t" r="r" b="b"/>
              <a:pathLst>
                <a:path w="2561" h="1739" extrusionOk="0">
                  <a:moveTo>
                    <a:pt x="1691" y="333"/>
                  </a:moveTo>
                  <a:cubicBezTo>
                    <a:pt x="1965" y="333"/>
                    <a:pt x="2144" y="655"/>
                    <a:pt x="1965" y="881"/>
                  </a:cubicBezTo>
                  <a:cubicBezTo>
                    <a:pt x="1900" y="968"/>
                    <a:pt x="1790" y="1020"/>
                    <a:pt x="1682" y="1020"/>
                  </a:cubicBezTo>
                  <a:cubicBezTo>
                    <a:pt x="1613" y="1020"/>
                    <a:pt x="1545" y="999"/>
                    <a:pt x="1489" y="953"/>
                  </a:cubicBezTo>
                  <a:cubicBezTo>
                    <a:pt x="1215" y="762"/>
                    <a:pt x="1370" y="333"/>
                    <a:pt x="1691" y="333"/>
                  </a:cubicBezTo>
                  <a:close/>
                  <a:moveTo>
                    <a:pt x="1691" y="0"/>
                  </a:moveTo>
                  <a:cubicBezTo>
                    <a:pt x="1584" y="0"/>
                    <a:pt x="1334" y="36"/>
                    <a:pt x="1156" y="274"/>
                  </a:cubicBezTo>
                  <a:cubicBezTo>
                    <a:pt x="1025" y="453"/>
                    <a:pt x="989" y="655"/>
                    <a:pt x="1048" y="845"/>
                  </a:cubicBezTo>
                  <a:lnTo>
                    <a:pt x="132" y="1441"/>
                  </a:lnTo>
                  <a:cubicBezTo>
                    <a:pt x="1" y="1536"/>
                    <a:pt x="60" y="1738"/>
                    <a:pt x="215" y="1738"/>
                  </a:cubicBezTo>
                  <a:cubicBezTo>
                    <a:pt x="310" y="1738"/>
                    <a:pt x="263" y="1726"/>
                    <a:pt x="1215" y="1131"/>
                  </a:cubicBezTo>
                  <a:cubicBezTo>
                    <a:pt x="1347" y="1275"/>
                    <a:pt x="1521" y="1344"/>
                    <a:pt x="1693" y="1344"/>
                  </a:cubicBezTo>
                  <a:cubicBezTo>
                    <a:pt x="1893" y="1344"/>
                    <a:pt x="2093" y="1251"/>
                    <a:pt x="2227" y="1072"/>
                  </a:cubicBezTo>
                  <a:cubicBezTo>
                    <a:pt x="2560" y="631"/>
                    <a:pt x="2251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9" name="Google Shape;10819;p60"/>
            <p:cNvSpPr/>
            <p:nvPr/>
          </p:nvSpPr>
          <p:spPr>
            <a:xfrm>
              <a:off x="4157160" y="2083080"/>
              <a:ext cx="10662" cy="29218"/>
            </a:xfrm>
            <a:custGeom>
              <a:avLst/>
              <a:gdLst/>
              <a:ahLst/>
              <a:cxnLst/>
              <a:rect l="l" t="t" r="r" b="b"/>
              <a:pathLst>
                <a:path w="335" h="918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62"/>
                  </a:lnTo>
                  <a:cubicBezTo>
                    <a:pt x="1" y="846"/>
                    <a:pt x="72" y="917"/>
                    <a:pt x="167" y="917"/>
                  </a:cubicBezTo>
                  <a:cubicBezTo>
                    <a:pt x="275" y="917"/>
                    <a:pt x="334" y="846"/>
                    <a:pt x="334" y="762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0" name="Google Shape;10820;p60"/>
            <p:cNvSpPr/>
            <p:nvPr/>
          </p:nvSpPr>
          <p:spPr>
            <a:xfrm>
              <a:off x="4109419" y="2096034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183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36" y="70"/>
                    <a:pt x="1" y="177"/>
                    <a:pt x="48" y="248"/>
                  </a:cubicBezTo>
                  <a:lnTo>
                    <a:pt x="346" y="772"/>
                  </a:lnTo>
                  <a:cubicBezTo>
                    <a:pt x="393" y="808"/>
                    <a:pt x="429" y="844"/>
                    <a:pt x="489" y="844"/>
                  </a:cubicBezTo>
                  <a:cubicBezTo>
                    <a:pt x="524" y="844"/>
                    <a:pt x="548" y="844"/>
                    <a:pt x="572" y="832"/>
                  </a:cubicBezTo>
                  <a:cubicBezTo>
                    <a:pt x="643" y="784"/>
                    <a:pt x="667" y="677"/>
                    <a:pt x="632" y="605"/>
                  </a:cubicBezTo>
                  <a:lnTo>
                    <a:pt x="334" y="82"/>
                  </a:lnTo>
                  <a:cubicBezTo>
                    <a:pt x="301" y="33"/>
                    <a:pt x="241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1" name="Google Shape;10821;p60"/>
            <p:cNvSpPr/>
            <p:nvPr/>
          </p:nvSpPr>
          <p:spPr>
            <a:xfrm>
              <a:off x="4074950" y="2130121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188" y="1"/>
                  </a:moveTo>
                  <a:cubicBezTo>
                    <a:pt x="130" y="1"/>
                    <a:pt x="72" y="33"/>
                    <a:pt x="48" y="82"/>
                  </a:cubicBezTo>
                  <a:cubicBezTo>
                    <a:pt x="0" y="154"/>
                    <a:pt x="24" y="261"/>
                    <a:pt x="107" y="308"/>
                  </a:cubicBezTo>
                  <a:lnTo>
                    <a:pt x="619" y="606"/>
                  </a:lnTo>
                  <a:cubicBezTo>
                    <a:pt x="655" y="618"/>
                    <a:pt x="679" y="618"/>
                    <a:pt x="703" y="618"/>
                  </a:cubicBezTo>
                  <a:cubicBezTo>
                    <a:pt x="762" y="618"/>
                    <a:pt x="798" y="594"/>
                    <a:pt x="834" y="546"/>
                  </a:cubicBezTo>
                  <a:cubicBezTo>
                    <a:pt x="893" y="475"/>
                    <a:pt x="881" y="368"/>
                    <a:pt x="786" y="320"/>
                  </a:cubicBezTo>
                  <a:lnTo>
                    <a:pt x="262" y="23"/>
                  </a:lnTo>
                  <a:cubicBezTo>
                    <a:pt x="240" y="8"/>
                    <a:pt x="214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2" name="Google Shape;10822;p60"/>
            <p:cNvSpPr/>
            <p:nvPr/>
          </p:nvSpPr>
          <p:spPr>
            <a:xfrm>
              <a:off x="4063555" y="2177067"/>
              <a:ext cx="29218" cy="10630"/>
            </a:xfrm>
            <a:custGeom>
              <a:avLst/>
              <a:gdLst/>
              <a:ahLst/>
              <a:cxnLst/>
              <a:rect l="l" t="t" r="r" b="b"/>
              <a:pathLst>
                <a:path w="918" h="334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763" y="334"/>
                  </a:lnTo>
                  <a:cubicBezTo>
                    <a:pt x="846" y="334"/>
                    <a:pt x="918" y="262"/>
                    <a:pt x="918" y="167"/>
                  </a:cubicBezTo>
                  <a:cubicBezTo>
                    <a:pt x="918" y="83"/>
                    <a:pt x="846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3" name="Google Shape;10823;p60"/>
            <p:cNvSpPr/>
            <p:nvPr/>
          </p:nvSpPr>
          <p:spPr>
            <a:xfrm>
              <a:off x="4073804" y="2215005"/>
              <a:ext cx="29600" cy="20051"/>
            </a:xfrm>
            <a:custGeom>
              <a:avLst/>
              <a:gdLst/>
              <a:ahLst/>
              <a:cxnLst/>
              <a:rect l="l" t="t" r="r" b="b"/>
              <a:pathLst>
                <a:path w="930" h="630" extrusionOk="0">
                  <a:moveTo>
                    <a:pt x="735" y="1"/>
                  </a:moveTo>
                  <a:cubicBezTo>
                    <a:pt x="709" y="1"/>
                    <a:pt x="681" y="8"/>
                    <a:pt x="655" y="23"/>
                  </a:cubicBezTo>
                  <a:lnTo>
                    <a:pt x="143" y="320"/>
                  </a:lnTo>
                  <a:cubicBezTo>
                    <a:pt x="0" y="404"/>
                    <a:pt x="60" y="630"/>
                    <a:pt x="227" y="630"/>
                  </a:cubicBezTo>
                  <a:cubicBezTo>
                    <a:pt x="298" y="630"/>
                    <a:pt x="298" y="606"/>
                    <a:pt x="822" y="308"/>
                  </a:cubicBezTo>
                  <a:cubicBezTo>
                    <a:pt x="893" y="261"/>
                    <a:pt x="929" y="154"/>
                    <a:pt x="881" y="82"/>
                  </a:cubicBezTo>
                  <a:cubicBezTo>
                    <a:pt x="849" y="33"/>
                    <a:pt x="794" y="1"/>
                    <a:pt x="7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4" name="Google Shape;10824;p60"/>
            <p:cNvSpPr/>
            <p:nvPr/>
          </p:nvSpPr>
          <p:spPr>
            <a:xfrm>
              <a:off x="4109419" y="2242472"/>
              <a:ext cx="21261" cy="26703"/>
            </a:xfrm>
            <a:custGeom>
              <a:avLst/>
              <a:gdLst/>
              <a:ahLst/>
              <a:cxnLst/>
              <a:rect l="l" t="t" r="r" b="b"/>
              <a:pathLst>
                <a:path w="668" h="839" extrusionOk="0">
                  <a:moveTo>
                    <a:pt x="496" y="0"/>
                  </a:moveTo>
                  <a:cubicBezTo>
                    <a:pt x="441" y="0"/>
                    <a:pt x="391" y="27"/>
                    <a:pt x="358" y="76"/>
                  </a:cubicBezTo>
                  <a:lnTo>
                    <a:pt x="60" y="600"/>
                  </a:lnTo>
                  <a:cubicBezTo>
                    <a:pt x="1" y="707"/>
                    <a:pt x="72" y="838"/>
                    <a:pt x="191" y="838"/>
                  </a:cubicBezTo>
                  <a:cubicBezTo>
                    <a:pt x="251" y="838"/>
                    <a:pt x="298" y="815"/>
                    <a:pt x="334" y="767"/>
                  </a:cubicBezTo>
                  <a:lnTo>
                    <a:pt x="632" y="243"/>
                  </a:lnTo>
                  <a:cubicBezTo>
                    <a:pt x="667" y="172"/>
                    <a:pt x="643" y="64"/>
                    <a:pt x="572" y="17"/>
                  </a:cubicBezTo>
                  <a:cubicBezTo>
                    <a:pt x="546" y="6"/>
                    <a:pt x="520" y="0"/>
                    <a:pt x="4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5" name="Google Shape;10825;p60"/>
            <p:cNvSpPr/>
            <p:nvPr/>
          </p:nvSpPr>
          <p:spPr>
            <a:xfrm>
              <a:off x="4157924" y="2252466"/>
              <a:ext cx="10248" cy="29600"/>
            </a:xfrm>
            <a:custGeom>
              <a:avLst/>
              <a:gdLst/>
              <a:ahLst/>
              <a:cxnLst/>
              <a:rect l="l" t="t" r="r" b="b"/>
              <a:pathLst>
                <a:path w="322" h="930" extrusionOk="0">
                  <a:moveTo>
                    <a:pt x="155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762"/>
                  </a:lnTo>
                  <a:cubicBezTo>
                    <a:pt x="1" y="858"/>
                    <a:pt x="72" y="929"/>
                    <a:pt x="155" y="929"/>
                  </a:cubicBezTo>
                  <a:cubicBezTo>
                    <a:pt x="251" y="929"/>
                    <a:pt x="322" y="858"/>
                    <a:pt x="322" y="762"/>
                  </a:cubicBezTo>
                  <a:lnTo>
                    <a:pt x="322" y="167"/>
                  </a:lnTo>
                  <a:cubicBezTo>
                    <a:pt x="322" y="84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6" name="Google Shape;10826;p60"/>
            <p:cNvSpPr/>
            <p:nvPr/>
          </p:nvSpPr>
          <p:spPr>
            <a:xfrm>
              <a:off x="4194685" y="2242472"/>
              <a:ext cx="21261" cy="27022"/>
            </a:xfrm>
            <a:custGeom>
              <a:avLst/>
              <a:gdLst/>
              <a:ahLst/>
              <a:cxnLst/>
              <a:rect l="l" t="t" r="r" b="b"/>
              <a:pathLst>
                <a:path w="668" h="849" extrusionOk="0">
                  <a:moveTo>
                    <a:pt x="181" y="0"/>
                  </a:moveTo>
                  <a:cubicBezTo>
                    <a:pt x="155" y="0"/>
                    <a:pt x="130" y="6"/>
                    <a:pt x="108" y="17"/>
                  </a:cubicBezTo>
                  <a:cubicBezTo>
                    <a:pt x="36" y="64"/>
                    <a:pt x="0" y="172"/>
                    <a:pt x="48" y="243"/>
                  </a:cubicBezTo>
                  <a:lnTo>
                    <a:pt x="346" y="767"/>
                  </a:lnTo>
                  <a:cubicBezTo>
                    <a:pt x="378" y="816"/>
                    <a:pt x="428" y="848"/>
                    <a:pt x="487" y="848"/>
                  </a:cubicBezTo>
                  <a:cubicBezTo>
                    <a:pt x="513" y="848"/>
                    <a:pt x="542" y="841"/>
                    <a:pt x="572" y="826"/>
                  </a:cubicBezTo>
                  <a:cubicBezTo>
                    <a:pt x="643" y="779"/>
                    <a:pt x="667" y="672"/>
                    <a:pt x="631" y="600"/>
                  </a:cubicBezTo>
                  <a:lnTo>
                    <a:pt x="334" y="76"/>
                  </a:lnTo>
                  <a:cubicBezTo>
                    <a:pt x="301" y="27"/>
                    <a:pt x="24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7" name="Google Shape;10827;p60"/>
            <p:cNvSpPr/>
            <p:nvPr/>
          </p:nvSpPr>
          <p:spPr>
            <a:xfrm>
              <a:off x="4222343" y="2215387"/>
              <a:ext cx="27690" cy="19669"/>
            </a:xfrm>
            <a:custGeom>
              <a:avLst/>
              <a:gdLst/>
              <a:ahLst/>
              <a:cxnLst/>
              <a:rect l="l" t="t" r="r" b="b"/>
              <a:pathLst>
                <a:path w="870" h="618" extrusionOk="0">
                  <a:moveTo>
                    <a:pt x="176" y="1"/>
                  </a:moveTo>
                  <a:cubicBezTo>
                    <a:pt x="118" y="1"/>
                    <a:pt x="57" y="33"/>
                    <a:pt x="24" y="82"/>
                  </a:cubicBezTo>
                  <a:cubicBezTo>
                    <a:pt x="1" y="142"/>
                    <a:pt x="13" y="249"/>
                    <a:pt x="96" y="296"/>
                  </a:cubicBezTo>
                  <a:cubicBezTo>
                    <a:pt x="632" y="594"/>
                    <a:pt x="620" y="618"/>
                    <a:pt x="691" y="618"/>
                  </a:cubicBezTo>
                  <a:cubicBezTo>
                    <a:pt x="751" y="618"/>
                    <a:pt x="798" y="594"/>
                    <a:pt x="834" y="546"/>
                  </a:cubicBezTo>
                  <a:cubicBezTo>
                    <a:pt x="870" y="475"/>
                    <a:pt x="846" y="368"/>
                    <a:pt x="775" y="320"/>
                  </a:cubicBezTo>
                  <a:lnTo>
                    <a:pt x="251" y="22"/>
                  </a:lnTo>
                  <a:cubicBezTo>
                    <a:pt x="228" y="8"/>
                    <a:pt x="202" y="1"/>
                    <a:pt x="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8" name="Google Shape;10828;p60"/>
            <p:cNvSpPr/>
            <p:nvPr/>
          </p:nvSpPr>
          <p:spPr>
            <a:xfrm>
              <a:off x="4232941" y="2177067"/>
              <a:ext cx="29600" cy="10630"/>
            </a:xfrm>
            <a:custGeom>
              <a:avLst/>
              <a:gdLst/>
              <a:ahLst/>
              <a:cxnLst/>
              <a:rect l="l" t="t" r="r" b="b"/>
              <a:pathLst>
                <a:path w="930" h="334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763" y="334"/>
                  </a:lnTo>
                  <a:cubicBezTo>
                    <a:pt x="858" y="334"/>
                    <a:pt x="930" y="262"/>
                    <a:pt x="930" y="167"/>
                  </a:cubicBezTo>
                  <a:cubicBezTo>
                    <a:pt x="930" y="83"/>
                    <a:pt x="858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9" name="Google Shape;10829;p60"/>
            <p:cNvSpPr/>
            <p:nvPr/>
          </p:nvSpPr>
          <p:spPr>
            <a:xfrm>
              <a:off x="4221579" y="2130694"/>
              <a:ext cx="28454" cy="19478"/>
            </a:xfrm>
            <a:custGeom>
              <a:avLst/>
              <a:gdLst/>
              <a:ahLst/>
              <a:cxnLst/>
              <a:rect l="l" t="t" r="r" b="b"/>
              <a:pathLst>
                <a:path w="894" h="612" extrusionOk="0">
                  <a:moveTo>
                    <a:pt x="706" y="0"/>
                  </a:moveTo>
                  <a:cubicBezTo>
                    <a:pt x="679" y="0"/>
                    <a:pt x="654" y="5"/>
                    <a:pt x="632" y="16"/>
                  </a:cubicBezTo>
                  <a:lnTo>
                    <a:pt x="108" y="314"/>
                  </a:lnTo>
                  <a:cubicBezTo>
                    <a:pt x="37" y="362"/>
                    <a:pt x="1" y="469"/>
                    <a:pt x="48" y="540"/>
                  </a:cubicBezTo>
                  <a:cubicBezTo>
                    <a:pt x="96" y="588"/>
                    <a:pt x="144" y="612"/>
                    <a:pt x="203" y="612"/>
                  </a:cubicBezTo>
                  <a:cubicBezTo>
                    <a:pt x="227" y="612"/>
                    <a:pt x="263" y="612"/>
                    <a:pt x="275" y="600"/>
                  </a:cubicBezTo>
                  <a:lnTo>
                    <a:pt x="799" y="302"/>
                  </a:lnTo>
                  <a:cubicBezTo>
                    <a:pt x="870" y="255"/>
                    <a:pt x="894" y="159"/>
                    <a:pt x="858" y="76"/>
                  </a:cubicBezTo>
                  <a:cubicBezTo>
                    <a:pt x="825" y="27"/>
                    <a:pt x="764" y="0"/>
                    <a:pt x="7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0" name="Google Shape;10830;p60"/>
            <p:cNvSpPr/>
            <p:nvPr/>
          </p:nvSpPr>
          <p:spPr>
            <a:xfrm>
              <a:off x="4194685" y="2095652"/>
              <a:ext cx="20879" cy="26862"/>
            </a:xfrm>
            <a:custGeom>
              <a:avLst/>
              <a:gdLst/>
              <a:ahLst/>
              <a:cxnLst/>
              <a:rect l="l" t="t" r="r" b="b"/>
              <a:pathLst>
                <a:path w="656" h="844" extrusionOk="0">
                  <a:moveTo>
                    <a:pt x="479" y="0"/>
                  </a:moveTo>
                  <a:cubicBezTo>
                    <a:pt x="428" y="0"/>
                    <a:pt x="378" y="33"/>
                    <a:pt x="346" y="82"/>
                  </a:cubicBezTo>
                  <a:lnTo>
                    <a:pt x="48" y="606"/>
                  </a:lnTo>
                  <a:cubicBezTo>
                    <a:pt x="0" y="677"/>
                    <a:pt x="36" y="784"/>
                    <a:pt x="108" y="820"/>
                  </a:cubicBezTo>
                  <a:cubicBezTo>
                    <a:pt x="131" y="844"/>
                    <a:pt x="167" y="844"/>
                    <a:pt x="179" y="844"/>
                  </a:cubicBezTo>
                  <a:cubicBezTo>
                    <a:pt x="239" y="844"/>
                    <a:pt x="286" y="808"/>
                    <a:pt x="310" y="760"/>
                  </a:cubicBezTo>
                  <a:lnTo>
                    <a:pt x="608" y="248"/>
                  </a:lnTo>
                  <a:cubicBezTo>
                    <a:pt x="655" y="165"/>
                    <a:pt x="631" y="70"/>
                    <a:pt x="548" y="22"/>
                  </a:cubicBezTo>
                  <a:cubicBezTo>
                    <a:pt x="526" y="7"/>
                    <a:pt x="502" y="0"/>
                    <a:pt x="4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31" name="Google Shape;10831;p60"/>
          <p:cNvGrpSpPr/>
          <p:nvPr/>
        </p:nvGrpSpPr>
        <p:grpSpPr>
          <a:xfrm>
            <a:off x="3576626" y="1975821"/>
            <a:ext cx="284251" cy="351694"/>
            <a:chOff x="3576626" y="1975821"/>
            <a:chExt cx="284251" cy="351694"/>
          </a:xfrm>
        </p:grpSpPr>
        <p:sp>
          <p:nvSpPr>
            <p:cNvPr id="10832" name="Google Shape;10832;p60"/>
            <p:cNvSpPr/>
            <p:nvPr/>
          </p:nvSpPr>
          <p:spPr>
            <a:xfrm>
              <a:off x="3576626" y="2145971"/>
              <a:ext cx="284251" cy="181544"/>
            </a:xfrm>
            <a:custGeom>
              <a:avLst/>
              <a:gdLst/>
              <a:ahLst/>
              <a:cxnLst/>
              <a:rect l="l" t="t" r="r" b="b"/>
              <a:pathLst>
                <a:path w="8931" h="5704" extrusionOk="0">
                  <a:moveTo>
                    <a:pt x="3001" y="346"/>
                  </a:moveTo>
                  <a:cubicBezTo>
                    <a:pt x="3096" y="346"/>
                    <a:pt x="3179" y="370"/>
                    <a:pt x="3263" y="453"/>
                  </a:cubicBezTo>
                  <a:cubicBezTo>
                    <a:pt x="3334" y="525"/>
                    <a:pt x="3358" y="608"/>
                    <a:pt x="3358" y="703"/>
                  </a:cubicBezTo>
                  <a:lnTo>
                    <a:pt x="3358" y="1132"/>
                  </a:lnTo>
                  <a:cubicBezTo>
                    <a:pt x="3358" y="1311"/>
                    <a:pt x="3263" y="1477"/>
                    <a:pt x="3096" y="1584"/>
                  </a:cubicBezTo>
                  <a:cubicBezTo>
                    <a:pt x="3048" y="1608"/>
                    <a:pt x="3025" y="1656"/>
                    <a:pt x="3025" y="1715"/>
                  </a:cubicBezTo>
                  <a:lnTo>
                    <a:pt x="3025" y="1894"/>
                  </a:lnTo>
                  <a:lnTo>
                    <a:pt x="2644" y="1894"/>
                  </a:lnTo>
                  <a:lnTo>
                    <a:pt x="2644" y="1715"/>
                  </a:lnTo>
                  <a:cubicBezTo>
                    <a:pt x="2644" y="1656"/>
                    <a:pt x="2620" y="1608"/>
                    <a:pt x="2572" y="1584"/>
                  </a:cubicBezTo>
                  <a:cubicBezTo>
                    <a:pt x="2405" y="1489"/>
                    <a:pt x="2310" y="1311"/>
                    <a:pt x="2310" y="1132"/>
                  </a:cubicBezTo>
                  <a:lnTo>
                    <a:pt x="2310" y="703"/>
                  </a:lnTo>
                  <a:cubicBezTo>
                    <a:pt x="2310" y="513"/>
                    <a:pt x="2465" y="346"/>
                    <a:pt x="2667" y="346"/>
                  </a:cubicBezTo>
                  <a:close/>
                  <a:moveTo>
                    <a:pt x="6096" y="346"/>
                  </a:moveTo>
                  <a:cubicBezTo>
                    <a:pt x="6192" y="346"/>
                    <a:pt x="6275" y="370"/>
                    <a:pt x="6358" y="453"/>
                  </a:cubicBezTo>
                  <a:cubicBezTo>
                    <a:pt x="6430" y="525"/>
                    <a:pt x="6454" y="608"/>
                    <a:pt x="6454" y="703"/>
                  </a:cubicBezTo>
                  <a:lnTo>
                    <a:pt x="6454" y="1132"/>
                  </a:lnTo>
                  <a:cubicBezTo>
                    <a:pt x="6454" y="1311"/>
                    <a:pt x="6370" y="1477"/>
                    <a:pt x="6192" y="1584"/>
                  </a:cubicBezTo>
                  <a:cubicBezTo>
                    <a:pt x="6144" y="1608"/>
                    <a:pt x="6120" y="1656"/>
                    <a:pt x="6120" y="1715"/>
                  </a:cubicBezTo>
                  <a:lnTo>
                    <a:pt x="6120" y="1894"/>
                  </a:lnTo>
                  <a:lnTo>
                    <a:pt x="5739" y="1894"/>
                  </a:lnTo>
                  <a:lnTo>
                    <a:pt x="5739" y="1715"/>
                  </a:lnTo>
                  <a:cubicBezTo>
                    <a:pt x="5739" y="1656"/>
                    <a:pt x="5715" y="1608"/>
                    <a:pt x="5668" y="1584"/>
                  </a:cubicBezTo>
                  <a:cubicBezTo>
                    <a:pt x="5501" y="1489"/>
                    <a:pt x="5406" y="1311"/>
                    <a:pt x="5406" y="1132"/>
                  </a:cubicBezTo>
                  <a:lnTo>
                    <a:pt x="5406" y="703"/>
                  </a:lnTo>
                  <a:cubicBezTo>
                    <a:pt x="5406" y="513"/>
                    <a:pt x="5561" y="346"/>
                    <a:pt x="5763" y="346"/>
                  </a:cubicBezTo>
                  <a:close/>
                  <a:moveTo>
                    <a:pt x="1453" y="2061"/>
                  </a:moveTo>
                  <a:cubicBezTo>
                    <a:pt x="1548" y="2061"/>
                    <a:pt x="1632" y="2084"/>
                    <a:pt x="1715" y="2156"/>
                  </a:cubicBezTo>
                  <a:cubicBezTo>
                    <a:pt x="1786" y="2239"/>
                    <a:pt x="1810" y="2323"/>
                    <a:pt x="1810" y="2418"/>
                  </a:cubicBezTo>
                  <a:lnTo>
                    <a:pt x="1810" y="2846"/>
                  </a:lnTo>
                  <a:cubicBezTo>
                    <a:pt x="1810" y="3037"/>
                    <a:pt x="1715" y="3204"/>
                    <a:pt x="1548" y="3287"/>
                  </a:cubicBezTo>
                  <a:cubicBezTo>
                    <a:pt x="1501" y="3323"/>
                    <a:pt x="1477" y="3370"/>
                    <a:pt x="1477" y="3430"/>
                  </a:cubicBezTo>
                  <a:lnTo>
                    <a:pt x="1477" y="3608"/>
                  </a:lnTo>
                  <a:lnTo>
                    <a:pt x="1096" y="3608"/>
                  </a:lnTo>
                  <a:lnTo>
                    <a:pt x="1096" y="3430"/>
                  </a:lnTo>
                  <a:cubicBezTo>
                    <a:pt x="1096" y="3370"/>
                    <a:pt x="1072" y="3323"/>
                    <a:pt x="1024" y="3287"/>
                  </a:cubicBezTo>
                  <a:cubicBezTo>
                    <a:pt x="858" y="3204"/>
                    <a:pt x="762" y="3025"/>
                    <a:pt x="762" y="2846"/>
                  </a:cubicBezTo>
                  <a:lnTo>
                    <a:pt x="762" y="2418"/>
                  </a:lnTo>
                  <a:cubicBezTo>
                    <a:pt x="762" y="2215"/>
                    <a:pt x="917" y="2061"/>
                    <a:pt x="1120" y="2061"/>
                  </a:cubicBezTo>
                  <a:close/>
                  <a:moveTo>
                    <a:pt x="4549" y="2061"/>
                  </a:moveTo>
                  <a:cubicBezTo>
                    <a:pt x="4644" y="2061"/>
                    <a:pt x="4727" y="2084"/>
                    <a:pt x="4810" y="2156"/>
                  </a:cubicBezTo>
                  <a:cubicBezTo>
                    <a:pt x="4882" y="2239"/>
                    <a:pt x="4906" y="2323"/>
                    <a:pt x="4906" y="2418"/>
                  </a:cubicBezTo>
                  <a:lnTo>
                    <a:pt x="4906" y="2846"/>
                  </a:lnTo>
                  <a:cubicBezTo>
                    <a:pt x="4906" y="3025"/>
                    <a:pt x="4810" y="3204"/>
                    <a:pt x="4644" y="3287"/>
                  </a:cubicBezTo>
                  <a:cubicBezTo>
                    <a:pt x="4596" y="3323"/>
                    <a:pt x="4572" y="3370"/>
                    <a:pt x="4572" y="3430"/>
                  </a:cubicBezTo>
                  <a:lnTo>
                    <a:pt x="4572" y="3608"/>
                  </a:lnTo>
                  <a:lnTo>
                    <a:pt x="4191" y="3608"/>
                  </a:lnTo>
                  <a:lnTo>
                    <a:pt x="4191" y="3430"/>
                  </a:lnTo>
                  <a:cubicBezTo>
                    <a:pt x="4191" y="3370"/>
                    <a:pt x="4168" y="3323"/>
                    <a:pt x="4120" y="3287"/>
                  </a:cubicBezTo>
                  <a:cubicBezTo>
                    <a:pt x="3953" y="3204"/>
                    <a:pt x="3858" y="3025"/>
                    <a:pt x="3858" y="2846"/>
                  </a:cubicBezTo>
                  <a:lnTo>
                    <a:pt x="3858" y="2418"/>
                  </a:lnTo>
                  <a:cubicBezTo>
                    <a:pt x="3858" y="2215"/>
                    <a:pt x="4013" y="2061"/>
                    <a:pt x="4215" y="2061"/>
                  </a:cubicBezTo>
                  <a:close/>
                  <a:moveTo>
                    <a:pt x="7668" y="2061"/>
                  </a:moveTo>
                  <a:cubicBezTo>
                    <a:pt x="7751" y="2061"/>
                    <a:pt x="7847" y="2084"/>
                    <a:pt x="7918" y="2156"/>
                  </a:cubicBezTo>
                  <a:cubicBezTo>
                    <a:pt x="7989" y="2239"/>
                    <a:pt x="8025" y="2323"/>
                    <a:pt x="8025" y="2418"/>
                  </a:cubicBezTo>
                  <a:lnTo>
                    <a:pt x="8025" y="2846"/>
                  </a:lnTo>
                  <a:cubicBezTo>
                    <a:pt x="8001" y="3025"/>
                    <a:pt x="7918" y="3204"/>
                    <a:pt x="7751" y="3287"/>
                  </a:cubicBezTo>
                  <a:cubicBezTo>
                    <a:pt x="7704" y="3323"/>
                    <a:pt x="7680" y="3370"/>
                    <a:pt x="7680" y="3430"/>
                  </a:cubicBezTo>
                  <a:lnTo>
                    <a:pt x="7680" y="3608"/>
                  </a:lnTo>
                  <a:lnTo>
                    <a:pt x="7311" y="3608"/>
                  </a:lnTo>
                  <a:lnTo>
                    <a:pt x="7311" y="3430"/>
                  </a:lnTo>
                  <a:cubicBezTo>
                    <a:pt x="7311" y="3370"/>
                    <a:pt x="7275" y="3323"/>
                    <a:pt x="7227" y="3287"/>
                  </a:cubicBezTo>
                  <a:cubicBezTo>
                    <a:pt x="7073" y="3204"/>
                    <a:pt x="6966" y="3025"/>
                    <a:pt x="6966" y="2846"/>
                  </a:cubicBezTo>
                  <a:lnTo>
                    <a:pt x="6966" y="2418"/>
                  </a:lnTo>
                  <a:cubicBezTo>
                    <a:pt x="6966" y="2215"/>
                    <a:pt x="7132" y="2061"/>
                    <a:pt x="7323" y="2061"/>
                  </a:cubicBezTo>
                  <a:close/>
                  <a:moveTo>
                    <a:pt x="5787" y="1"/>
                  </a:moveTo>
                  <a:cubicBezTo>
                    <a:pt x="5418" y="1"/>
                    <a:pt x="5120" y="310"/>
                    <a:pt x="5120" y="691"/>
                  </a:cubicBezTo>
                  <a:lnTo>
                    <a:pt x="5120" y="1120"/>
                  </a:lnTo>
                  <a:cubicBezTo>
                    <a:pt x="5120" y="1382"/>
                    <a:pt x="5251" y="1644"/>
                    <a:pt x="5465" y="1799"/>
                  </a:cubicBezTo>
                  <a:lnTo>
                    <a:pt x="5465" y="1953"/>
                  </a:lnTo>
                  <a:lnTo>
                    <a:pt x="5180" y="2073"/>
                  </a:lnTo>
                  <a:cubicBezTo>
                    <a:pt x="5144" y="2025"/>
                    <a:pt x="5120" y="1977"/>
                    <a:pt x="5072" y="1942"/>
                  </a:cubicBezTo>
                  <a:cubicBezTo>
                    <a:pt x="4941" y="1799"/>
                    <a:pt x="4775" y="1739"/>
                    <a:pt x="4596" y="1739"/>
                  </a:cubicBezTo>
                  <a:lnTo>
                    <a:pt x="4251" y="1739"/>
                  </a:lnTo>
                  <a:cubicBezTo>
                    <a:pt x="4001" y="1739"/>
                    <a:pt x="3798" y="1882"/>
                    <a:pt x="3679" y="2073"/>
                  </a:cubicBezTo>
                  <a:lnTo>
                    <a:pt x="3394" y="1953"/>
                  </a:lnTo>
                  <a:lnTo>
                    <a:pt x="3394" y="1799"/>
                  </a:lnTo>
                  <a:cubicBezTo>
                    <a:pt x="3596" y="1644"/>
                    <a:pt x="3739" y="1382"/>
                    <a:pt x="3739" y="1120"/>
                  </a:cubicBezTo>
                  <a:lnTo>
                    <a:pt x="3739" y="691"/>
                  </a:lnTo>
                  <a:cubicBezTo>
                    <a:pt x="3739" y="513"/>
                    <a:pt x="3656" y="334"/>
                    <a:pt x="3537" y="215"/>
                  </a:cubicBezTo>
                  <a:cubicBezTo>
                    <a:pt x="3406" y="72"/>
                    <a:pt x="3239" y="13"/>
                    <a:pt x="3060" y="13"/>
                  </a:cubicBezTo>
                  <a:lnTo>
                    <a:pt x="2727" y="13"/>
                  </a:lnTo>
                  <a:cubicBezTo>
                    <a:pt x="2346" y="13"/>
                    <a:pt x="2048" y="334"/>
                    <a:pt x="2048" y="703"/>
                  </a:cubicBezTo>
                  <a:lnTo>
                    <a:pt x="2048" y="1132"/>
                  </a:lnTo>
                  <a:cubicBezTo>
                    <a:pt x="2048" y="1406"/>
                    <a:pt x="2191" y="1656"/>
                    <a:pt x="2394" y="1822"/>
                  </a:cubicBezTo>
                  <a:lnTo>
                    <a:pt x="2394" y="1965"/>
                  </a:lnTo>
                  <a:lnTo>
                    <a:pt x="2108" y="2084"/>
                  </a:lnTo>
                  <a:cubicBezTo>
                    <a:pt x="2084" y="2037"/>
                    <a:pt x="2048" y="2001"/>
                    <a:pt x="2013" y="1953"/>
                  </a:cubicBezTo>
                  <a:cubicBezTo>
                    <a:pt x="1870" y="1822"/>
                    <a:pt x="1715" y="1763"/>
                    <a:pt x="1536" y="1763"/>
                  </a:cubicBezTo>
                  <a:lnTo>
                    <a:pt x="1191" y="1763"/>
                  </a:lnTo>
                  <a:cubicBezTo>
                    <a:pt x="822" y="1763"/>
                    <a:pt x="524" y="2073"/>
                    <a:pt x="524" y="2442"/>
                  </a:cubicBezTo>
                  <a:lnTo>
                    <a:pt x="524" y="2870"/>
                  </a:lnTo>
                  <a:cubicBezTo>
                    <a:pt x="524" y="3144"/>
                    <a:pt x="655" y="3394"/>
                    <a:pt x="858" y="3561"/>
                  </a:cubicBezTo>
                  <a:lnTo>
                    <a:pt x="858" y="3704"/>
                  </a:lnTo>
                  <a:lnTo>
                    <a:pt x="429" y="3882"/>
                  </a:lnTo>
                  <a:cubicBezTo>
                    <a:pt x="179" y="3989"/>
                    <a:pt x="0" y="4239"/>
                    <a:pt x="0" y="4513"/>
                  </a:cubicBezTo>
                  <a:lnTo>
                    <a:pt x="0" y="5537"/>
                  </a:lnTo>
                  <a:cubicBezTo>
                    <a:pt x="0" y="5632"/>
                    <a:pt x="72" y="5704"/>
                    <a:pt x="167" y="5704"/>
                  </a:cubicBezTo>
                  <a:cubicBezTo>
                    <a:pt x="250" y="5704"/>
                    <a:pt x="322" y="5632"/>
                    <a:pt x="322" y="5537"/>
                  </a:cubicBezTo>
                  <a:lnTo>
                    <a:pt x="322" y="4513"/>
                  </a:lnTo>
                  <a:cubicBezTo>
                    <a:pt x="322" y="4358"/>
                    <a:pt x="417" y="4228"/>
                    <a:pt x="548" y="4180"/>
                  </a:cubicBezTo>
                  <a:lnTo>
                    <a:pt x="1060" y="3977"/>
                  </a:lnTo>
                  <a:lnTo>
                    <a:pt x="1679" y="3977"/>
                  </a:lnTo>
                  <a:lnTo>
                    <a:pt x="2191" y="4180"/>
                  </a:lnTo>
                  <a:cubicBezTo>
                    <a:pt x="2322" y="4239"/>
                    <a:pt x="2405" y="4358"/>
                    <a:pt x="2405" y="4513"/>
                  </a:cubicBezTo>
                  <a:lnTo>
                    <a:pt x="2405" y="5537"/>
                  </a:lnTo>
                  <a:cubicBezTo>
                    <a:pt x="2405" y="5632"/>
                    <a:pt x="2489" y="5704"/>
                    <a:pt x="2572" y="5704"/>
                  </a:cubicBezTo>
                  <a:cubicBezTo>
                    <a:pt x="2667" y="5704"/>
                    <a:pt x="2739" y="5632"/>
                    <a:pt x="2739" y="5537"/>
                  </a:cubicBezTo>
                  <a:lnTo>
                    <a:pt x="2739" y="4513"/>
                  </a:lnTo>
                  <a:cubicBezTo>
                    <a:pt x="2739" y="4228"/>
                    <a:pt x="2572" y="3989"/>
                    <a:pt x="2310" y="3882"/>
                  </a:cubicBezTo>
                  <a:lnTo>
                    <a:pt x="1870" y="3704"/>
                  </a:lnTo>
                  <a:lnTo>
                    <a:pt x="1870" y="3561"/>
                  </a:lnTo>
                  <a:cubicBezTo>
                    <a:pt x="2084" y="3394"/>
                    <a:pt x="2215" y="3144"/>
                    <a:pt x="2215" y="2870"/>
                  </a:cubicBezTo>
                  <a:lnTo>
                    <a:pt x="2215" y="2442"/>
                  </a:lnTo>
                  <a:lnTo>
                    <a:pt x="2215" y="2418"/>
                  </a:lnTo>
                  <a:lnTo>
                    <a:pt x="2608" y="2263"/>
                  </a:lnTo>
                  <a:lnTo>
                    <a:pt x="3227" y="2263"/>
                  </a:lnTo>
                  <a:lnTo>
                    <a:pt x="3620" y="2418"/>
                  </a:lnTo>
                  <a:lnTo>
                    <a:pt x="3620" y="2442"/>
                  </a:lnTo>
                  <a:lnTo>
                    <a:pt x="3620" y="2870"/>
                  </a:lnTo>
                  <a:cubicBezTo>
                    <a:pt x="3620" y="3144"/>
                    <a:pt x="3751" y="3394"/>
                    <a:pt x="3953" y="3561"/>
                  </a:cubicBezTo>
                  <a:lnTo>
                    <a:pt x="3953" y="3704"/>
                  </a:lnTo>
                  <a:lnTo>
                    <a:pt x="3525" y="3882"/>
                  </a:lnTo>
                  <a:cubicBezTo>
                    <a:pt x="3275" y="3989"/>
                    <a:pt x="3096" y="4239"/>
                    <a:pt x="3096" y="4513"/>
                  </a:cubicBezTo>
                  <a:lnTo>
                    <a:pt x="3096" y="5537"/>
                  </a:lnTo>
                  <a:cubicBezTo>
                    <a:pt x="3096" y="5632"/>
                    <a:pt x="3167" y="5704"/>
                    <a:pt x="3263" y="5704"/>
                  </a:cubicBezTo>
                  <a:cubicBezTo>
                    <a:pt x="3346" y="5704"/>
                    <a:pt x="3417" y="5632"/>
                    <a:pt x="3417" y="5537"/>
                  </a:cubicBezTo>
                  <a:lnTo>
                    <a:pt x="3417" y="4513"/>
                  </a:lnTo>
                  <a:cubicBezTo>
                    <a:pt x="3417" y="4358"/>
                    <a:pt x="3513" y="4228"/>
                    <a:pt x="3644" y="4180"/>
                  </a:cubicBezTo>
                  <a:lnTo>
                    <a:pt x="4156" y="3977"/>
                  </a:lnTo>
                  <a:lnTo>
                    <a:pt x="4775" y="3977"/>
                  </a:lnTo>
                  <a:lnTo>
                    <a:pt x="5287" y="4180"/>
                  </a:lnTo>
                  <a:cubicBezTo>
                    <a:pt x="5418" y="4239"/>
                    <a:pt x="5501" y="4358"/>
                    <a:pt x="5501" y="4513"/>
                  </a:cubicBezTo>
                  <a:lnTo>
                    <a:pt x="5501" y="5537"/>
                  </a:lnTo>
                  <a:cubicBezTo>
                    <a:pt x="5501" y="5632"/>
                    <a:pt x="5584" y="5704"/>
                    <a:pt x="5668" y="5704"/>
                  </a:cubicBezTo>
                  <a:cubicBezTo>
                    <a:pt x="5763" y="5704"/>
                    <a:pt x="5834" y="5632"/>
                    <a:pt x="5834" y="5537"/>
                  </a:cubicBezTo>
                  <a:lnTo>
                    <a:pt x="5834" y="4513"/>
                  </a:lnTo>
                  <a:cubicBezTo>
                    <a:pt x="5834" y="4228"/>
                    <a:pt x="5668" y="3989"/>
                    <a:pt x="5406" y="3882"/>
                  </a:cubicBezTo>
                  <a:lnTo>
                    <a:pt x="4965" y="3704"/>
                  </a:lnTo>
                  <a:lnTo>
                    <a:pt x="4965" y="3561"/>
                  </a:lnTo>
                  <a:cubicBezTo>
                    <a:pt x="5180" y="3394"/>
                    <a:pt x="5311" y="3144"/>
                    <a:pt x="5311" y="2870"/>
                  </a:cubicBezTo>
                  <a:lnTo>
                    <a:pt x="5311" y="2442"/>
                  </a:lnTo>
                  <a:lnTo>
                    <a:pt x="5311" y="2418"/>
                  </a:lnTo>
                  <a:lnTo>
                    <a:pt x="5703" y="2263"/>
                  </a:lnTo>
                  <a:lnTo>
                    <a:pt x="6323" y="2263"/>
                  </a:lnTo>
                  <a:lnTo>
                    <a:pt x="6715" y="2418"/>
                  </a:lnTo>
                  <a:lnTo>
                    <a:pt x="6715" y="2442"/>
                  </a:lnTo>
                  <a:lnTo>
                    <a:pt x="6715" y="2870"/>
                  </a:lnTo>
                  <a:cubicBezTo>
                    <a:pt x="6715" y="3144"/>
                    <a:pt x="6846" y="3394"/>
                    <a:pt x="7049" y="3561"/>
                  </a:cubicBezTo>
                  <a:lnTo>
                    <a:pt x="7049" y="3704"/>
                  </a:lnTo>
                  <a:lnTo>
                    <a:pt x="6620" y="3882"/>
                  </a:lnTo>
                  <a:cubicBezTo>
                    <a:pt x="6370" y="3989"/>
                    <a:pt x="6192" y="4239"/>
                    <a:pt x="6192" y="4513"/>
                  </a:cubicBezTo>
                  <a:lnTo>
                    <a:pt x="6192" y="5537"/>
                  </a:lnTo>
                  <a:cubicBezTo>
                    <a:pt x="6192" y="5632"/>
                    <a:pt x="6263" y="5704"/>
                    <a:pt x="6358" y="5704"/>
                  </a:cubicBezTo>
                  <a:cubicBezTo>
                    <a:pt x="6442" y="5704"/>
                    <a:pt x="6513" y="5632"/>
                    <a:pt x="6513" y="5537"/>
                  </a:cubicBezTo>
                  <a:lnTo>
                    <a:pt x="6513" y="4513"/>
                  </a:lnTo>
                  <a:cubicBezTo>
                    <a:pt x="6513" y="4358"/>
                    <a:pt x="6608" y="4228"/>
                    <a:pt x="6739" y="4180"/>
                  </a:cubicBezTo>
                  <a:lnTo>
                    <a:pt x="7251" y="3977"/>
                  </a:lnTo>
                  <a:lnTo>
                    <a:pt x="7870" y="3977"/>
                  </a:lnTo>
                  <a:lnTo>
                    <a:pt x="8382" y="4180"/>
                  </a:lnTo>
                  <a:cubicBezTo>
                    <a:pt x="8513" y="4239"/>
                    <a:pt x="8597" y="4358"/>
                    <a:pt x="8597" y="4513"/>
                  </a:cubicBezTo>
                  <a:lnTo>
                    <a:pt x="8597" y="5537"/>
                  </a:lnTo>
                  <a:cubicBezTo>
                    <a:pt x="8597" y="5632"/>
                    <a:pt x="8680" y="5704"/>
                    <a:pt x="8763" y="5704"/>
                  </a:cubicBezTo>
                  <a:cubicBezTo>
                    <a:pt x="8859" y="5704"/>
                    <a:pt x="8930" y="5632"/>
                    <a:pt x="8930" y="5537"/>
                  </a:cubicBezTo>
                  <a:lnTo>
                    <a:pt x="8930" y="4513"/>
                  </a:lnTo>
                  <a:cubicBezTo>
                    <a:pt x="8859" y="4204"/>
                    <a:pt x="8680" y="3942"/>
                    <a:pt x="8418" y="3847"/>
                  </a:cubicBezTo>
                  <a:lnTo>
                    <a:pt x="7989" y="3668"/>
                  </a:lnTo>
                  <a:lnTo>
                    <a:pt x="7989" y="3513"/>
                  </a:lnTo>
                  <a:cubicBezTo>
                    <a:pt x="8204" y="3346"/>
                    <a:pt x="8335" y="3096"/>
                    <a:pt x="8335" y="2835"/>
                  </a:cubicBezTo>
                  <a:lnTo>
                    <a:pt x="8335" y="2394"/>
                  </a:lnTo>
                  <a:cubicBezTo>
                    <a:pt x="8335" y="2215"/>
                    <a:pt x="8263" y="2037"/>
                    <a:pt x="8144" y="1918"/>
                  </a:cubicBezTo>
                  <a:cubicBezTo>
                    <a:pt x="8001" y="1787"/>
                    <a:pt x="7847" y="1727"/>
                    <a:pt x="7668" y="1727"/>
                  </a:cubicBezTo>
                  <a:lnTo>
                    <a:pt x="7323" y="1727"/>
                  </a:lnTo>
                  <a:cubicBezTo>
                    <a:pt x="7073" y="1727"/>
                    <a:pt x="6858" y="1858"/>
                    <a:pt x="6739" y="2061"/>
                  </a:cubicBezTo>
                  <a:lnTo>
                    <a:pt x="6454" y="1942"/>
                  </a:lnTo>
                  <a:lnTo>
                    <a:pt x="6454" y="1787"/>
                  </a:lnTo>
                  <a:cubicBezTo>
                    <a:pt x="6668" y="1620"/>
                    <a:pt x="6799" y="1370"/>
                    <a:pt x="6799" y="1108"/>
                  </a:cubicBezTo>
                  <a:lnTo>
                    <a:pt x="6799" y="668"/>
                  </a:lnTo>
                  <a:cubicBezTo>
                    <a:pt x="6799" y="489"/>
                    <a:pt x="6727" y="310"/>
                    <a:pt x="6608" y="191"/>
                  </a:cubicBezTo>
                  <a:cubicBezTo>
                    <a:pt x="6477" y="60"/>
                    <a:pt x="6311" y="1"/>
                    <a:pt x="6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3" name="Google Shape;10833;p60"/>
            <p:cNvSpPr/>
            <p:nvPr/>
          </p:nvSpPr>
          <p:spPr>
            <a:xfrm>
              <a:off x="3656195" y="1975821"/>
              <a:ext cx="120149" cy="164134"/>
            </a:xfrm>
            <a:custGeom>
              <a:avLst/>
              <a:gdLst/>
              <a:ahLst/>
              <a:cxnLst/>
              <a:rect l="l" t="t" r="r" b="b"/>
              <a:pathLst>
                <a:path w="3775" h="5157" extrusionOk="0">
                  <a:moveTo>
                    <a:pt x="2049" y="334"/>
                  </a:moveTo>
                  <a:cubicBezTo>
                    <a:pt x="2239" y="334"/>
                    <a:pt x="2406" y="501"/>
                    <a:pt x="2406" y="691"/>
                  </a:cubicBezTo>
                  <a:lnTo>
                    <a:pt x="2406" y="1037"/>
                  </a:lnTo>
                  <a:cubicBezTo>
                    <a:pt x="2406" y="1334"/>
                    <a:pt x="2168" y="1549"/>
                    <a:pt x="1882" y="1549"/>
                  </a:cubicBezTo>
                  <a:cubicBezTo>
                    <a:pt x="1869" y="1550"/>
                    <a:pt x="1855" y="1550"/>
                    <a:pt x="1842" y="1550"/>
                  </a:cubicBezTo>
                  <a:cubicBezTo>
                    <a:pt x="1575" y="1550"/>
                    <a:pt x="1358" y="1321"/>
                    <a:pt x="1358" y="1037"/>
                  </a:cubicBezTo>
                  <a:lnTo>
                    <a:pt x="1358" y="691"/>
                  </a:lnTo>
                  <a:cubicBezTo>
                    <a:pt x="1358" y="501"/>
                    <a:pt x="1513" y="334"/>
                    <a:pt x="1715" y="334"/>
                  </a:cubicBezTo>
                  <a:close/>
                  <a:moveTo>
                    <a:pt x="2049" y="1870"/>
                  </a:moveTo>
                  <a:lnTo>
                    <a:pt x="2049" y="1965"/>
                  </a:lnTo>
                  <a:cubicBezTo>
                    <a:pt x="2072" y="2025"/>
                    <a:pt x="2084" y="2073"/>
                    <a:pt x="2108" y="2132"/>
                  </a:cubicBezTo>
                  <a:lnTo>
                    <a:pt x="1894" y="2358"/>
                  </a:lnTo>
                  <a:lnTo>
                    <a:pt x="1870" y="2358"/>
                  </a:lnTo>
                  <a:lnTo>
                    <a:pt x="1656" y="2132"/>
                  </a:lnTo>
                  <a:cubicBezTo>
                    <a:pt x="1679" y="2085"/>
                    <a:pt x="1691" y="2025"/>
                    <a:pt x="1691" y="1965"/>
                  </a:cubicBezTo>
                  <a:lnTo>
                    <a:pt x="1691" y="1870"/>
                  </a:lnTo>
                  <a:cubicBezTo>
                    <a:pt x="1751" y="1882"/>
                    <a:pt x="1810" y="1882"/>
                    <a:pt x="1870" y="1882"/>
                  </a:cubicBezTo>
                  <a:cubicBezTo>
                    <a:pt x="1929" y="1882"/>
                    <a:pt x="1989" y="1882"/>
                    <a:pt x="2049" y="1870"/>
                  </a:cubicBezTo>
                  <a:close/>
                  <a:moveTo>
                    <a:pt x="2382" y="2323"/>
                  </a:moveTo>
                  <a:lnTo>
                    <a:pt x="2668" y="2454"/>
                  </a:lnTo>
                  <a:cubicBezTo>
                    <a:pt x="2727" y="2489"/>
                    <a:pt x="2763" y="2549"/>
                    <a:pt x="2763" y="2620"/>
                  </a:cubicBezTo>
                  <a:lnTo>
                    <a:pt x="2763" y="2942"/>
                  </a:lnTo>
                  <a:lnTo>
                    <a:pt x="1025" y="2942"/>
                  </a:lnTo>
                  <a:lnTo>
                    <a:pt x="1025" y="2620"/>
                  </a:lnTo>
                  <a:lnTo>
                    <a:pt x="1013" y="2620"/>
                  </a:lnTo>
                  <a:cubicBezTo>
                    <a:pt x="1013" y="2549"/>
                    <a:pt x="1060" y="2489"/>
                    <a:pt x="1120" y="2454"/>
                  </a:cubicBezTo>
                  <a:lnTo>
                    <a:pt x="1394" y="2323"/>
                  </a:lnTo>
                  <a:lnTo>
                    <a:pt x="1656" y="2585"/>
                  </a:lnTo>
                  <a:cubicBezTo>
                    <a:pt x="1715" y="2632"/>
                    <a:pt x="1799" y="2680"/>
                    <a:pt x="1894" y="2680"/>
                  </a:cubicBezTo>
                  <a:cubicBezTo>
                    <a:pt x="1977" y="2680"/>
                    <a:pt x="2049" y="2656"/>
                    <a:pt x="2132" y="2585"/>
                  </a:cubicBezTo>
                  <a:lnTo>
                    <a:pt x="2382" y="2323"/>
                  </a:lnTo>
                  <a:close/>
                  <a:moveTo>
                    <a:pt x="3334" y="3263"/>
                  </a:moveTo>
                  <a:lnTo>
                    <a:pt x="3156" y="3632"/>
                  </a:lnTo>
                  <a:lnTo>
                    <a:pt x="596" y="3632"/>
                  </a:lnTo>
                  <a:lnTo>
                    <a:pt x="417" y="3263"/>
                  </a:lnTo>
                  <a:close/>
                  <a:moveTo>
                    <a:pt x="1715" y="1"/>
                  </a:moveTo>
                  <a:cubicBezTo>
                    <a:pt x="1334" y="1"/>
                    <a:pt x="1025" y="299"/>
                    <a:pt x="1025" y="691"/>
                  </a:cubicBezTo>
                  <a:lnTo>
                    <a:pt x="1025" y="1025"/>
                  </a:lnTo>
                  <a:cubicBezTo>
                    <a:pt x="1025" y="1311"/>
                    <a:pt x="1156" y="1549"/>
                    <a:pt x="1370" y="1715"/>
                  </a:cubicBezTo>
                  <a:lnTo>
                    <a:pt x="1370" y="1954"/>
                  </a:lnTo>
                  <a:lnTo>
                    <a:pt x="1370" y="1965"/>
                  </a:lnTo>
                  <a:lnTo>
                    <a:pt x="965" y="2180"/>
                  </a:lnTo>
                  <a:cubicBezTo>
                    <a:pt x="786" y="2263"/>
                    <a:pt x="679" y="2430"/>
                    <a:pt x="679" y="2620"/>
                  </a:cubicBezTo>
                  <a:lnTo>
                    <a:pt x="679" y="2942"/>
                  </a:lnTo>
                  <a:lnTo>
                    <a:pt x="155" y="2942"/>
                  </a:lnTo>
                  <a:cubicBezTo>
                    <a:pt x="96" y="2942"/>
                    <a:pt x="60" y="2966"/>
                    <a:pt x="24" y="3013"/>
                  </a:cubicBezTo>
                  <a:cubicBezTo>
                    <a:pt x="1" y="3061"/>
                    <a:pt x="1" y="3120"/>
                    <a:pt x="24" y="3180"/>
                  </a:cubicBezTo>
                  <a:lnTo>
                    <a:pt x="370" y="3859"/>
                  </a:lnTo>
                  <a:cubicBezTo>
                    <a:pt x="394" y="3918"/>
                    <a:pt x="453" y="3954"/>
                    <a:pt x="513" y="3954"/>
                  </a:cubicBezTo>
                  <a:lnTo>
                    <a:pt x="691" y="3954"/>
                  </a:lnTo>
                  <a:lnTo>
                    <a:pt x="691" y="4990"/>
                  </a:lnTo>
                  <a:cubicBezTo>
                    <a:pt x="691" y="5085"/>
                    <a:pt x="775" y="5156"/>
                    <a:pt x="858" y="5156"/>
                  </a:cubicBezTo>
                  <a:cubicBezTo>
                    <a:pt x="953" y="5156"/>
                    <a:pt x="1025" y="5085"/>
                    <a:pt x="1025" y="4990"/>
                  </a:cubicBezTo>
                  <a:lnTo>
                    <a:pt x="1025" y="3954"/>
                  </a:lnTo>
                  <a:lnTo>
                    <a:pt x="2763" y="3954"/>
                  </a:lnTo>
                  <a:lnTo>
                    <a:pt x="2763" y="4990"/>
                  </a:lnTo>
                  <a:cubicBezTo>
                    <a:pt x="2763" y="5085"/>
                    <a:pt x="2846" y="5156"/>
                    <a:pt x="2930" y="5156"/>
                  </a:cubicBezTo>
                  <a:cubicBezTo>
                    <a:pt x="3025" y="5156"/>
                    <a:pt x="3096" y="5085"/>
                    <a:pt x="3096" y="4990"/>
                  </a:cubicBezTo>
                  <a:lnTo>
                    <a:pt x="3096" y="3954"/>
                  </a:lnTo>
                  <a:lnTo>
                    <a:pt x="3275" y="3954"/>
                  </a:lnTo>
                  <a:cubicBezTo>
                    <a:pt x="3334" y="3954"/>
                    <a:pt x="3394" y="3918"/>
                    <a:pt x="3418" y="3859"/>
                  </a:cubicBezTo>
                  <a:lnTo>
                    <a:pt x="3763" y="3180"/>
                  </a:lnTo>
                  <a:cubicBezTo>
                    <a:pt x="3775" y="3132"/>
                    <a:pt x="3763" y="3073"/>
                    <a:pt x="3751" y="3013"/>
                  </a:cubicBezTo>
                  <a:cubicBezTo>
                    <a:pt x="3715" y="2966"/>
                    <a:pt x="3680" y="2942"/>
                    <a:pt x="3620" y="2942"/>
                  </a:cubicBezTo>
                  <a:lnTo>
                    <a:pt x="3084" y="2942"/>
                  </a:lnTo>
                  <a:lnTo>
                    <a:pt x="3084" y="2620"/>
                  </a:lnTo>
                  <a:cubicBezTo>
                    <a:pt x="3084" y="2430"/>
                    <a:pt x="2977" y="2251"/>
                    <a:pt x="2799" y="2180"/>
                  </a:cubicBezTo>
                  <a:lnTo>
                    <a:pt x="2394" y="1965"/>
                  </a:lnTo>
                  <a:lnTo>
                    <a:pt x="2394" y="1954"/>
                  </a:lnTo>
                  <a:lnTo>
                    <a:pt x="2394" y="1715"/>
                  </a:lnTo>
                  <a:cubicBezTo>
                    <a:pt x="2608" y="1561"/>
                    <a:pt x="2739" y="1311"/>
                    <a:pt x="2739" y="1025"/>
                  </a:cubicBezTo>
                  <a:lnTo>
                    <a:pt x="2739" y="691"/>
                  </a:lnTo>
                  <a:cubicBezTo>
                    <a:pt x="2739" y="310"/>
                    <a:pt x="2441" y="1"/>
                    <a:pt x="2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4" name="Google Shape;10834;p60"/>
            <p:cNvSpPr/>
            <p:nvPr/>
          </p:nvSpPr>
          <p:spPr>
            <a:xfrm>
              <a:off x="3700149" y="2113380"/>
              <a:ext cx="32241" cy="10280"/>
            </a:xfrm>
            <a:custGeom>
              <a:avLst/>
              <a:gdLst/>
              <a:ahLst/>
              <a:cxnLst/>
              <a:rect l="l" t="t" r="r" b="b"/>
              <a:pathLst>
                <a:path w="1013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846" y="322"/>
                  </a:lnTo>
                  <a:cubicBezTo>
                    <a:pt x="941" y="322"/>
                    <a:pt x="1013" y="251"/>
                    <a:pt x="1013" y="168"/>
                  </a:cubicBezTo>
                  <a:cubicBezTo>
                    <a:pt x="1013" y="72"/>
                    <a:pt x="941" y="1"/>
                    <a:pt x="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35" name="Google Shape;10835;p60"/>
          <p:cNvGrpSpPr/>
          <p:nvPr/>
        </p:nvGrpSpPr>
        <p:grpSpPr>
          <a:xfrm>
            <a:off x="2722090" y="2890162"/>
            <a:ext cx="238770" cy="371841"/>
            <a:chOff x="2722090" y="2890162"/>
            <a:chExt cx="238770" cy="371841"/>
          </a:xfrm>
        </p:grpSpPr>
        <p:sp>
          <p:nvSpPr>
            <p:cNvPr id="10836" name="Google Shape;10836;p60"/>
            <p:cNvSpPr/>
            <p:nvPr/>
          </p:nvSpPr>
          <p:spPr>
            <a:xfrm>
              <a:off x="2722090" y="2890162"/>
              <a:ext cx="238770" cy="371841"/>
            </a:xfrm>
            <a:custGeom>
              <a:avLst/>
              <a:gdLst/>
              <a:ahLst/>
              <a:cxnLst/>
              <a:rect l="l" t="t" r="r" b="b"/>
              <a:pathLst>
                <a:path w="7502" h="11683" extrusionOk="0">
                  <a:moveTo>
                    <a:pt x="3835" y="372"/>
                  </a:moveTo>
                  <a:lnTo>
                    <a:pt x="3966" y="419"/>
                  </a:lnTo>
                  <a:cubicBezTo>
                    <a:pt x="4132" y="491"/>
                    <a:pt x="4251" y="634"/>
                    <a:pt x="4347" y="848"/>
                  </a:cubicBezTo>
                  <a:cubicBezTo>
                    <a:pt x="4168" y="812"/>
                    <a:pt x="4001" y="788"/>
                    <a:pt x="3835" y="777"/>
                  </a:cubicBezTo>
                  <a:lnTo>
                    <a:pt x="3835" y="372"/>
                  </a:lnTo>
                  <a:close/>
                  <a:moveTo>
                    <a:pt x="6609" y="9135"/>
                  </a:moveTo>
                  <a:cubicBezTo>
                    <a:pt x="6716" y="9135"/>
                    <a:pt x="6799" y="9230"/>
                    <a:pt x="6799" y="9337"/>
                  </a:cubicBezTo>
                  <a:lnTo>
                    <a:pt x="6799" y="9528"/>
                  </a:lnTo>
                  <a:lnTo>
                    <a:pt x="6609" y="9528"/>
                  </a:lnTo>
                  <a:cubicBezTo>
                    <a:pt x="6513" y="9528"/>
                    <a:pt x="6442" y="9599"/>
                    <a:pt x="6442" y="9694"/>
                  </a:cubicBezTo>
                  <a:cubicBezTo>
                    <a:pt x="6442" y="9778"/>
                    <a:pt x="6513" y="9849"/>
                    <a:pt x="6609" y="9849"/>
                  </a:cubicBezTo>
                  <a:lnTo>
                    <a:pt x="6978" y="9849"/>
                  </a:lnTo>
                  <a:cubicBezTo>
                    <a:pt x="7085" y="9849"/>
                    <a:pt x="7168" y="9944"/>
                    <a:pt x="7168" y="10040"/>
                  </a:cubicBezTo>
                  <a:lnTo>
                    <a:pt x="7168" y="11147"/>
                  </a:lnTo>
                  <a:cubicBezTo>
                    <a:pt x="7156" y="11266"/>
                    <a:pt x="7073" y="11361"/>
                    <a:pt x="6966" y="11361"/>
                  </a:cubicBezTo>
                  <a:lnTo>
                    <a:pt x="1477" y="11361"/>
                  </a:lnTo>
                  <a:cubicBezTo>
                    <a:pt x="1370" y="11361"/>
                    <a:pt x="1275" y="11266"/>
                    <a:pt x="1275" y="11159"/>
                  </a:cubicBezTo>
                  <a:lnTo>
                    <a:pt x="1275" y="10063"/>
                  </a:lnTo>
                  <a:cubicBezTo>
                    <a:pt x="1275" y="9956"/>
                    <a:pt x="1370" y="9873"/>
                    <a:pt x="1477" y="9873"/>
                  </a:cubicBezTo>
                  <a:lnTo>
                    <a:pt x="5859" y="9873"/>
                  </a:lnTo>
                  <a:cubicBezTo>
                    <a:pt x="5954" y="9873"/>
                    <a:pt x="6025" y="9790"/>
                    <a:pt x="6025" y="9706"/>
                  </a:cubicBezTo>
                  <a:cubicBezTo>
                    <a:pt x="6025" y="9611"/>
                    <a:pt x="5954" y="9540"/>
                    <a:pt x="5859" y="9540"/>
                  </a:cubicBezTo>
                  <a:lnTo>
                    <a:pt x="1656" y="9540"/>
                  </a:lnTo>
                  <a:lnTo>
                    <a:pt x="1656" y="9337"/>
                  </a:lnTo>
                  <a:cubicBezTo>
                    <a:pt x="1656" y="9230"/>
                    <a:pt x="1739" y="9135"/>
                    <a:pt x="1846" y="9135"/>
                  </a:cubicBezTo>
                  <a:close/>
                  <a:moveTo>
                    <a:pt x="3739" y="1"/>
                  </a:moveTo>
                  <a:cubicBezTo>
                    <a:pt x="3703" y="1"/>
                    <a:pt x="3678" y="3"/>
                    <a:pt x="3668" y="3"/>
                  </a:cubicBezTo>
                  <a:cubicBezTo>
                    <a:pt x="3585" y="15"/>
                    <a:pt x="3513" y="74"/>
                    <a:pt x="3513" y="157"/>
                  </a:cubicBezTo>
                  <a:lnTo>
                    <a:pt x="3513" y="729"/>
                  </a:lnTo>
                  <a:cubicBezTo>
                    <a:pt x="3438" y="725"/>
                    <a:pt x="3373" y="724"/>
                    <a:pt x="3319" y="724"/>
                  </a:cubicBezTo>
                  <a:cubicBezTo>
                    <a:pt x="3210" y="724"/>
                    <a:pt x="3144" y="729"/>
                    <a:pt x="3120" y="729"/>
                  </a:cubicBezTo>
                  <a:cubicBezTo>
                    <a:pt x="3037" y="729"/>
                    <a:pt x="2954" y="812"/>
                    <a:pt x="2954" y="908"/>
                  </a:cubicBezTo>
                  <a:cubicBezTo>
                    <a:pt x="2954" y="991"/>
                    <a:pt x="3049" y="1074"/>
                    <a:pt x="3132" y="1074"/>
                  </a:cubicBezTo>
                  <a:cubicBezTo>
                    <a:pt x="3135" y="1074"/>
                    <a:pt x="3172" y="1073"/>
                    <a:pt x="3236" y="1073"/>
                  </a:cubicBezTo>
                  <a:cubicBezTo>
                    <a:pt x="3649" y="1073"/>
                    <a:pt x="5188" y="1135"/>
                    <a:pt x="6156" y="2062"/>
                  </a:cubicBezTo>
                  <a:cubicBezTo>
                    <a:pt x="6704" y="2586"/>
                    <a:pt x="6978" y="3301"/>
                    <a:pt x="6978" y="4194"/>
                  </a:cubicBezTo>
                  <a:cubicBezTo>
                    <a:pt x="6978" y="5158"/>
                    <a:pt x="6764" y="5753"/>
                    <a:pt x="6549" y="6408"/>
                  </a:cubicBezTo>
                  <a:cubicBezTo>
                    <a:pt x="6323" y="7063"/>
                    <a:pt x="6085" y="7742"/>
                    <a:pt x="6073" y="8778"/>
                  </a:cubicBezTo>
                  <a:lnTo>
                    <a:pt x="2120" y="8778"/>
                  </a:lnTo>
                  <a:cubicBezTo>
                    <a:pt x="2084" y="8694"/>
                    <a:pt x="2025" y="8492"/>
                    <a:pt x="2025" y="8218"/>
                  </a:cubicBezTo>
                  <a:cubicBezTo>
                    <a:pt x="2025" y="7766"/>
                    <a:pt x="2299" y="6730"/>
                    <a:pt x="4168" y="4860"/>
                  </a:cubicBezTo>
                  <a:cubicBezTo>
                    <a:pt x="4227" y="4801"/>
                    <a:pt x="4227" y="4729"/>
                    <a:pt x="4192" y="4658"/>
                  </a:cubicBezTo>
                  <a:cubicBezTo>
                    <a:pt x="4157" y="4606"/>
                    <a:pt x="4109" y="4573"/>
                    <a:pt x="4058" y="4573"/>
                  </a:cubicBezTo>
                  <a:cubicBezTo>
                    <a:pt x="4040" y="4573"/>
                    <a:pt x="4020" y="4577"/>
                    <a:pt x="4001" y="4587"/>
                  </a:cubicBezTo>
                  <a:cubicBezTo>
                    <a:pt x="4001" y="4587"/>
                    <a:pt x="3902" y="4611"/>
                    <a:pt x="3741" y="4611"/>
                  </a:cubicBezTo>
                  <a:cubicBezTo>
                    <a:pt x="3530" y="4611"/>
                    <a:pt x="3214" y="4569"/>
                    <a:pt x="2882" y="4372"/>
                  </a:cubicBezTo>
                  <a:cubicBezTo>
                    <a:pt x="2803" y="4328"/>
                    <a:pt x="2715" y="4306"/>
                    <a:pt x="2627" y="4306"/>
                  </a:cubicBezTo>
                  <a:cubicBezTo>
                    <a:pt x="2503" y="4306"/>
                    <a:pt x="2379" y="4348"/>
                    <a:pt x="2275" y="4432"/>
                  </a:cubicBezTo>
                  <a:cubicBezTo>
                    <a:pt x="2058" y="4611"/>
                    <a:pt x="1655" y="4842"/>
                    <a:pt x="1053" y="4842"/>
                  </a:cubicBezTo>
                  <a:cubicBezTo>
                    <a:pt x="895" y="4842"/>
                    <a:pt x="723" y="4826"/>
                    <a:pt x="537" y="4789"/>
                  </a:cubicBezTo>
                  <a:lnTo>
                    <a:pt x="382" y="4075"/>
                  </a:lnTo>
                  <a:lnTo>
                    <a:pt x="2156" y="2301"/>
                  </a:lnTo>
                  <a:cubicBezTo>
                    <a:pt x="2180" y="2277"/>
                    <a:pt x="2203" y="2229"/>
                    <a:pt x="2203" y="2193"/>
                  </a:cubicBezTo>
                  <a:lnTo>
                    <a:pt x="2203" y="1967"/>
                  </a:lnTo>
                  <a:cubicBezTo>
                    <a:pt x="2203" y="1860"/>
                    <a:pt x="2275" y="1789"/>
                    <a:pt x="2382" y="1777"/>
                  </a:cubicBezTo>
                  <a:cubicBezTo>
                    <a:pt x="2501" y="1764"/>
                    <a:pt x="2692" y="1750"/>
                    <a:pt x="2929" y="1750"/>
                  </a:cubicBezTo>
                  <a:cubicBezTo>
                    <a:pt x="3355" y="1750"/>
                    <a:pt x="3928" y="1796"/>
                    <a:pt x="4501" y="1979"/>
                  </a:cubicBezTo>
                  <a:cubicBezTo>
                    <a:pt x="4522" y="1987"/>
                    <a:pt x="4544" y="1991"/>
                    <a:pt x="4565" y="1991"/>
                  </a:cubicBezTo>
                  <a:cubicBezTo>
                    <a:pt x="4639" y="1991"/>
                    <a:pt x="4706" y="1943"/>
                    <a:pt x="4716" y="1860"/>
                  </a:cubicBezTo>
                  <a:cubicBezTo>
                    <a:pt x="4739" y="1777"/>
                    <a:pt x="4704" y="1670"/>
                    <a:pt x="4597" y="1658"/>
                  </a:cubicBezTo>
                  <a:cubicBezTo>
                    <a:pt x="3956" y="1457"/>
                    <a:pt x="3315" y="1408"/>
                    <a:pt x="2856" y="1408"/>
                  </a:cubicBezTo>
                  <a:cubicBezTo>
                    <a:pt x="2632" y="1408"/>
                    <a:pt x="2451" y="1420"/>
                    <a:pt x="2334" y="1431"/>
                  </a:cubicBezTo>
                  <a:cubicBezTo>
                    <a:pt x="2049" y="1455"/>
                    <a:pt x="1846" y="1681"/>
                    <a:pt x="1846" y="1967"/>
                  </a:cubicBezTo>
                  <a:lnTo>
                    <a:pt x="1846" y="2110"/>
                  </a:lnTo>
                  <a:lnTo>
                    <a:pt x="60" y="3896"/>
                  </a:lnTo>
                  <a:cubicBezTo>
                    <a:pt x="13" y="3944"/>
                    <a:pt x="1" y="4003"/>
                    <a:pt x="13" y="4051"/>
                  </a:cubicBezTo>
                  <a:lnTo>
                    <a:pt x="191" y="4956"/>
                  </a:lnTo>
                  <a:cubicBezTo>
                    <a:pt x="203" y="5015"/>
                    <a:pt x="251" y="5075"/>
                    <a:pt x="310" y="5087"/>
                  </a:cubicBezTo>
                  <a:cubicBezTo>
                    <a:pt x="569" y="5151"/>
                    <a:pt x="806" y="5178"/>
                    <a:pt x="1022" y="5178"/>
                  </a:cubicBezTo>
                  <a:cubicBezTo>
                    <a:pt x="1722" y="5178"/>
                    <a:pt x="2199" y="4897"/>
                    <a:pt x="2453" y="4706"/>
                  </a:cubicBezTo>
                  <a:cubicBezTo>
                    <a:pt x="2497" y="4669"/>
                    <a:pt x="2550" y="4655"/>
                    <a:pt x="2598" y="4655"/>
                  </a:cubicBezTo>
                  <a:cubicBezTo>
                    <a:pt x="2628" y="4655"/>
                    <a:pt x="2657" y="4661"/>
                    <a:pt x="2680" y="4670"/>
                  </a:cubicBezTo>
                  <a:cubicBezTo>
                    <a:pt x="3001" y="4872"/>
                    <a:pt x="3335" y="4932"/>
                    <a:pt x="3573" y="4944"/>
                  </a:cubicBezTo>
                  <a:cubicBezTo>
                    <a:pt x="1977" y="6611"/>
                    <a:pt x="1632" y="7635"/>
                    <a:pt x="1632" y="8218"/>
                  </a:cubicBezTo>
                  <a:cubicBezTo>
                    <a:pt x="1632" y="8456"/>
                    <a:pt x="1680" y="8647"/>
                    <a:pt x="1727" y="8778"/>
                  </a:cubicBezTo>
                  <a:cubicBezTo>
                    <a:pt x="1465" y="8825"/>
                    <a:pt x="1275" y="9051"/>
                    <a:pt x="1275" y="9313"/>
                  </a:cubicBezTo>
                  <a:lnTo>
                    <a:pt x="1275" y="9540"/>
                  </a:lnTo>
                  <a:cubicBezTo>
                    <a:pt x="1072" y="9611"/>
                    <a:pt x="906" y="9801"/>
                    <a:pt x="906" y="10040"/>
                  </a:cubicBezTo>
                  <a:lnTo>
                    <a:pt x="906" y="11147"/>
                  </a:lnTo>
                  <a:cubicBezTo>
                    <a:pt x="906" y="11445"/>
                    <a:pt x="1144" y="11683"/>
                    <a:pt x="1441" y="11683"/>
                  </a:cubicBezTo>
                  <a:lnTo>
                    <a:pt x="6930" y="11683"/>
                  </a:lnTo>
                  <a:cubicBezTo>
                    <a:pt x="7228" y="11683"/>
                    <a:pt x="7466" y="11445"/>
                    <a:pt x="7466" y="11147"/>
                  </a:cubicBezTo>
                  <a:lnTo>
                    <a:pt x="7466" y="10040"/>
                  </a:lnTo>
                  <a:cubicBezTo>
                    <a:pt x="7502" y="9825"/>
                    <a:pt x="7347" y="9611"/>
                    <a:pt x="7145" y="9551"/>
                  </a:cubicBezTo>
                  <a:lnTo>
                    <a:pt x="7145" y="9337"/>
                  </a:lnTo>
                  <a:cubicBezTo>
                    <a:pt x="7145" y="9039"/>
                    <a:pt x="6906" y="8801"/>
                    <a:pt x="6609" y="8801"/>
                  </a:cubicBezTo>
                  <a:lnTo>
                    <a:pt x="6418" y="8801"/>
                  </a:lnTo>
                  <a:cubicBezTo>
                    <a:pt x="6442" y="7801"/>
                    <a:pt x="6656" y="7158"/>
                    <a:pt x="6871" y="6527"/>
                  </a:cubicBezTo>
                  <a:cubicBezTo>
                    <a:pt x="7097" y="5896"/>
                    <a:pt x="7323" y="5229"/>
                    <a:pt x="7323" y="4206"/>
                  </a:cubicBezTo>
                  <a:cubicBezTo>
                    <a:pt x="7323" y="3229"/>
                    <a:pt x="7014" y="2420"/>
                    <a:pt x="6394" y="1824"/>
                  </a:cubicBezTo>
                  <a:cubicBezTo>
                    <a:pt x="5906" y="1372"/>
                    <a:pt x="5299" y="1098"/>
                    <a:pt x="4751" y="931"/>
                  </a:cubicBezTo>
                  <a:cubicBezTo>
                    <a:pt x="4632" y="431"/>
                    <a:pt x="4358" y="205"/>
                    <a:pt x="4156" y="98"/>
                  </a:cubicBezTo>
                  <a:cubicBezTo>
                    <a:pt x="3986" y="13"/>
                    <a:pt x="3828" y="1"/>
                    <a:pt x="3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7" name="Google Shape;10837;p60"/>
            <p:cNvSpPr/>
            <p:nvPr/>
          </p:nvSpPr>
          <p:spPr>
            <a:xfrm>
              <a:off x="2882023" y="2951111"/>
              <a:ext cx="21993" cy="16837"/>
            </a:xfrm>
            <a:custGeom>
              <a:avLst/>
              <a:gdLst/>
              <a:ahLst/>
              <a:cxnLst/>
              <a:rect l="l" t="t" r="r" b="b"/>
              <a:pathLst>
                <a:path w="691" h="529" extrusionOk="0">
                  <a:moveTo>
                    <a:pt x="202" y="0"/>
                  </a:moveTo>
                  <a:cubicBezTo>
                    <a:pt x="138" y="0"/>
                    <a:pt x="81" y="30"/>
                    <a:pt x="48" y="88"/>
                  </a:cubicBezTo>
                  <a:cubicBezTo>
                    <a:pt x="0" y="183"/>
                    <a:pt x="36" y="290"/>
                    <a:pt x="119" y="338"/>
                  </a:cubicBezTo>
                  <a:cubicBezTo>
                    <a:pt x="215" y="374"/>
                    <a:pt x="298" y="433"/>
                    <a:pt x="393" y="493"/>
                  </a:cubicBezTo>
                  <a:cubicBezTo>
                    <a:pt x="417" y="517"/>
                    <a:pt x="453" y="528"/>
                    <a:pt x="476" y="528"/>
                  </a:cubicBezTo>
                  <a:cubicBezTo>
                    <a:pt x="536" y="528"/>
                    <a:pt x="584" y="493"/>
                    <a:pt x="631" y="457"/>
                  </a:cubicBezTo>
                  <a:cubicBezTo>
                    <a:pt x="691" y="362"/>
                    <a:pt x="655" y="255"/>
                    <a:pt x="584" y="195"/>
                  </a:cubicBezTo>
                  <a:cubicBezTo>
                    <a:pt x="488" y="136"/>
                    <a:pt x="393" y="76"/>
                    <a:pt x="286" y="16"/>
                  </a:cubicBezTo>
                  <a:cubicBezTo>
                    <a:pt x="257" y="6"/>
                    <a:pt x="229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8" name="Google Shape;10838;p60"/>
            <p:cNvSpPr/>
            <p:nvPr/>
          </p:nvSpPr>
          <p:spPr>
            <a:xfrm>
              <a:off x="2804332" y="2960341"/>
              <a:ext cx="11012" cy="15946"/>
            </a:xfrm>
            <a:custGeom>
              <a:avLst/>
              <a:gdLst/>
              <a:ahLst/>
              <a:cxnLst/>
              <a:rect l="l" t="t" r="r" b="b"/>
              <a:pathLst>
                <a:path w="346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46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39" name="Google Shape;10839;p60"/>
          <p:cNvSpPr/>
          <p:nvPr/>
        </p:nvSpPr>
        <p:spPr>
          <a:xfrm>
            <a:off x="5775652" y="1969392"/>
            <a:ext cx="361147" cy="360797"/>
          </a:xfrm>
          <a:custGeom>
            <a:avLst/>
            <a:gdLst/>
            <a:ahLst/>
            <a:cxnLst/>
            <a:rect l="l" t="t" r="r" b="b"/>
            <a:pathLst>
              <a:path w="11347" h="11336" extrusionOk="0">
                <a:moveTo>
                  <a:pt x="2948" y="2991"/>
                </a:moveTo>
                <a:cubicBezTo>
                  <a:pt x="2993" y="2991"/>
                  <a:pt x="3039" y="2994"/>
                  <a:pt x="3084" y="3001"/>
                </a:cubicBezTo>
                <a:cubicBezTo>
                  <a:pt x="3394" y="3060"/>
                  <a:pt x="3656" y="3334"/>
                  <a:pt x="3715" y="3644"/>
                </a:cubicBezTo>
                <a:cubicBezTo>
                  <a:pt x="3775" y="3941"/>
                  <a:pt x="3667" y="4227"/>
                  <a:pt x="3441" y="4418"/>
                </a:cubicBezTo>
                <a:cubicBezTo>
                  <a:pt x="3298" y="4549"/>
                  <a:pt x="3203" y="4739"/>
                  <a:pt x="3203" y="4954"/>
                </a:cubicBezTo>
                <a:lnTo>
                  <a:pt x="3203" y="5311"/>
                </a:lnTo>
                <a:cubicBezTo>
                  <a:pt x="3203" y="5596"/>
                  <a:pt x="3441" y="5835"/>
                  <a:pt x="3727" y="5835"/>
                </a:cubicBezTo>
                <a:lnTo>
                  <a:pt x="5513" y="5835"/>
                </a:lnTo>
                <a:lnTo>
                  <a:pt x="5513" y="7621"/>
                </a:lnTo>
                <a:cubicBezTo>
                  <a:pt x="5513" y="7716"/>
                  <a:pt x="5430" y="7811"/>
                  <a:pt x="5322" y="7811"/>
                </a:cubicBezTo>
                <a:lnTo>
                  <a:pt x="4965" y="7811"/>
                </a:lnTo>
                <a:cubicBezTo>
                  <a:pt x="4858" y="7811"/>
                  <a:pt x="4751" y="7763"/>
                  <a:pt x="4691" y="7692"/>
                </a:cubicBezTo>
                <a:cubicBezTo>
                  <a:pt x="4472" y="7433"/>
                  <a:pt x="4152" y="7282"/>
                  <a:pt x="3809" y="7282"/>
                </a:cubicBezTo>
                <a:cubicBezTo>
                  <a:pt x="3743" y="7282"/>
                  <a:pt x="3675" y="7287"/>
                  <a:pt x="3608" y="7299"/>
                </a:cubicBezTo>
                <a:cubicBezTo>
                  <a:pt x="3167" y="7394"/>
                  <a:pt x="2810" y="7740"/>
                  <a:pt x="2715" y="8180"/>
                </a:cubicBezTo>
                <a:cubicBezTo>
                  <a:pt x="2644" y="8525"/>
                  <a:pt x="2727" y="8883"/>
                  <a:pt x="2941" y="9144"/>
                </a:cubicBezTo>
                <a:cubicBezTo>
                  <a:pt x="3167" y="9418"/>
                  <a:pt x="3477" y="9561"/>
                  <a:pt x="3834" y="9561"/>
                </a:cubicBezTo>
                <a:cubicBezTo>
                  <a:pt x="4179" y="9561"/>
                  <a:pt x="4501" y="9418"/>
                  <a:pt x="4715" y="9144"/>
                </a:cubicBezTo>
                <a:cubicBezTo>
                  <a:pt x="4775" y="9073"/>
                  <a:pt x="4870" y="9025"/>
                  <a:pt x="4977" y="9025"/>
                </a:cubicBezTo>
                <a:lnTo>
                  <a:pt x="5334" y="9025"/>
                </a:lnTo>
                <a:cubicBezTo>
                  <a:pt x="5441" y="9025"/>
                  <a:pt x="5525" y="9121"/>
                  <a:pt x="5525" y="9228"/>
                </a:cubicBezTo>
                <a:lnTo>
                  <a:pt x="5525" y="11014"/>
                </a:lnTo>
                <a:lnTo>
                  <a:pt x="881" y="11014"/>
                </a:lnTo>
                <a:cubicBezTo>
                  <a:pt x="584" y="11014"/>
                  <a:pt x="334" y="10776"/>
                  <a:pt x="334" y="10466"/>
                </a:cubicBezTo>
                <a:lnTo>
                  <a:pt x="334" y="5835"/>
                </a:lnTo>
                <a:lnTo>
                  <a:pt x="2120" y="5835"/>
                </a:lnTo>
                <a:cubicBezTo>
                  <a:pt x="2405" y="5835"/>
                  <a:pt x="2644" y="5596"/>
                  <a:pt x="2644" y="5311"/>
                </a:cubicBezTo>
                <a:lnTo>
                  <a:pt x="2644" y="4954"/>
                </a:lnTo>
                <a:cubicBezTo>
                  <a:pt x="2644" y="4751"/>
                  <a:pt x="2548" y="4549"/>
                  <a:pt x="2405" y="4418"/>
                </a:cubicBezTo>
                <a:cubicBezTo>
                  <a:pt x="2215" y="4275"/>
                  <a:pt x="2108" y="4025"/>
                  <a:pt x="2108" y="3799"/>
                </a:cubicBezTo>
                <a:cubicBezTo>
                  <a:pt x="2108" y="3549"/>
                  <a:pt x="2215" y="3322"/>
                  <a:pt x="2405" y="3168"/>
                </a:cubicBezTo>
                <a:cubicBezTo>
                  <a:pt x="2560" y="3052"/>
                  <a:pt x="2753" y="2991"/>
                  <a:pt x="2948" y="2991"/>
                </a:cubicBezTo>
                <a:close/>
                <a:moveTo>
                  <a:pt x="10418" y="322"/>
                </a:moveTo>
                <a:cubicBezTo>
                  <a:pt x="10716" y="322"/>
                  <a:pt x="10978" y="560"/>
                  <a:pt x="10978" y="882"/>
                </a:cubicBezTo>
                <a:lnTo>
                  <a:pt x="10978" y="5501"/>
                </a:lnTo>
                <a:lnTo>
                  <a:pt x="10811" y="5501"/>
                </a:lnTo>
                <a:cubicBezTo>
                  <a:pt x="10728" y="5501"/>
                  <a:pt x="10645" y="5585"/>
                  <a:pt x="10645" y="5668"/>
                </a:cubicBezTo>
                <a:cubicBezTo>
                  <a:pt x="10645" y="5763"/>
                  <a:pt x="10728" y="5835"/>
                  <a:pt x="10811" y="5835"/>
                </a:cubicBezTo>
                <a:lnTo>
                  <a:pt x="11002" y="5835"/>
                </a:lnTo>
                <a:lnTo>
                  <a:pt x="11002" y="10466"/>
                </a:lnTo>
                <a:cubicBezTo>
                  <a:pt x="11002" y="10764"/>
                  <a:pt x="10764" y="11014"/>
                  <a:pt x="10454" y="11014"/>
                </a:cubicBezTo>
                <a:lnTo>
                  <a:pt x="5846" y="11014"/>
                </a:lnTo>
                <a:lnTo>
                  <a:pt x="5846" y="9228"/>
                </a:lnTo>
                <a:cubicBezTo>
                  <a:pt x="5846" y="8942"/>
                  <a:pt x="5608" y="8704"/>
                  <a:pt x="5322" y="8704"/>
                </a:cubicBezTo>
                <a:lnTo>
                  <a:pt x="4965" y="8704"/>
                </a:lnTo>
                <a:cubicBezTo>
                  <a:pt x="4751" y="8704"/>
                  <a:pt x="4560" y="8799"/>
                  <a:pt x="4429" y="8942"/>
                </a:cubicBezTo>
                <a:cubicBezTo>
                  <a:pt x="4275" y="9133"/>
                  <a:pt x="4037" y="9240"/>
                  <a:pt x="3798" y="9240"/>
                </a:cubicBezTo>
                <a:cubicBezTo>
                  <a:pt x="3560" y="9240"/>
                  <a:pt x="3322" y="9133"/>
                  <a:pt x="3179" y="8942"/>
                </a:cubicBezTo>
                <a:cubicBezTo>
                  <a:pt x="3025" y="8752"/>
                  <a:pt x="2965" y="8502"/>
                  <a:pt x="3013" y="8263"/>
                </a:cubicBezTo>
                <a:cubicBezTo>
                  <a:pt x="3072" y="7942"/>
                  <a:pt x="3346" y="7692"/>
                  <a:pt x="3656" y="7632"/>
                </a:cubicBezTo>
                <a:cubicBezTo>
                  <a:pt x="3710" y="7621"/>
                  <a:pt x="3764" y="7616"/>
                  <a:pt x="3818" y="7616"/>
                </a:cubicBezTo>
                <a:cubicBezTo>
                  <a:pt x="4055" y="7616"/>
                  <a:pt x="4274" y="7722"/>
                  <a:pt x="4429" y="7906"/>
                </a:cubicBezTo>
                <a:cubicBezTo>
                  <a:pt x="4560" y="8049"/>
                  <a:pt x="4751" y="8144"/>
                  <a:pt x="4953" y="8144"/>
                </a:cubicBezTo>
                <a:lnTo>
                  <a:pt x="5311" y="8144"/>
                </a:lnTo>
                <a:cubicBezTo>
                  <a:pt x="5584" y="8144"/>
                  <a:pt x="5822" y="7906"/>
                  <a:pt x="5822" y="7621"/>
                </a:cubicBezTo>
                <a:lnTo>
                  <a:pt x="5822" y="5835"/>
                </a:lnTo>
                <a:lnTo>
                  <a:pt x="7608" y="5835"/>
                </a:lnTo>
                <a:cubicBezTo>
                  <a:pt x="7716" y="5835"/>
                  <a:pt x="7811" y="5918"/>
                  <a:pt x="7811" y="6025"/>
                </a:cubicBezTo>
                <a:lnTo>
                  <a:pt x="7811" y="6382"/>
                </a:lnTo>
                <a:cubicBezTo>
                  <a:pt x="7811" y="6489"/>
                  <a:pt x="7763" y="6597"/>
                  <a:pt x="7692" y="6656"/>
                </a:cubicBezTo>
                <a:cubicBezTo>
                  <a:pt x="7370" y="6918"/>
                  <a:pt x="7227" y="7323"/>
                  <a:pt x="7299" y="7740"/>
                </a:cubicBezTo>
                <a:cubicBezTo>
                  <a:pt x="7394" y="8180"/>
                  <a:pt x="7727" y="8537"/>
                  <a:pt x="8180" y="8633"/>
                </a:cubicBezTo>
                <a:cubicBezTo>
                  <a:pt x="8251" y="8644"/>
                  <a:pt x="8347" y="8656"/>
                  <a:pt x="8418" y="8656"/>
                </a:cubicBezTo>
                <a:cubicBezTo>
                  <a:pt x="8680" y="8656"/>
                  <a:pt x="8942" y="8573"/>
                  <a:pt x="9132" y="8406"/>
                </a:cubicBezTo>
                <a:cubicBezTo>
                  <a:pt x="9394" y="8180"/>
                  <a:pt x="9549" y="7871"/>
                  <a:pt x="9549" y="7513"/>
                </a:cubicBezTo>
                <a:cubicBezTo>
                  <a:pt x="9549" y="7168"/>
                  <a:pt x="9394" y="6847"/>
                  <a:pt x="9132" y="6632"/>
                </a:cubicBezTo>
                <a:cubicBezTo>
                  <a:pt x="9061" y="6573"/>
                  <a:pt x="9013" y="6478"/>
                  <a:pt x="9013" y="6370"/>
                </a:cubicBezTo>
                <a:lnTo>
                  <a:pt x="9013" y="6013"/>
                </a:lnTo>
                <a:cubicBezTo>
                  <a:pt x="9013" y="5906"/>
                  <a:pt x="9097" y="5823"/>
                  <a:pt x="9204" y="5823"/>
                </a:cubicBezTo>
                <a:lnTo>
                  <a:pt x="10097" y="5823"/>
                </a:lnTo>
                <a:cubicBezTo>
                  <a:pt x="10192" y="5823"/>
                  <a:pt x="10264" y="5739"/>
                  <a:pt x="10264" y="5656"/>
                </a:cubicBezTo>
                <a:cubicBezTo>
                  <a:pt x="10264" y="5561"/>
                  <a:pt x="10192" y="5489"/>
                  <a:pt x="10097" y="5489"/>
                </a:cubicBezTo>
                <a:lnTo>
                  <a:pt x="9204" y="5489"/>
                </a:lnTo>
                <a:cubicBezTo>
                  <a:pt x="8918" y="5489"/>
                  <a:pt x="8680" y="5727"/>
                  <a:pt x="8680" y="6013"/>
                </a:cubicBezTo>
                <a:lnTo>
                  <a:pt x="8680" y="6370"/>
                </a:lnTo>
                <a:cubicBezTo>
                  <a:pt x="8680" y="6573"/>
                  <a:pt x="8775" y="6775"/>
                  <a:pt x="8918" y="6906"/>
                </a:cubicBezTo>
                <a:cubicBezTo>
                  <a:pt x="9121" y="7049"/>
                  <a:pt x="9216" y="7287"/>
                  <a:pt x="9216" y="7525"/>
                </a:cubicBezTo>
                <a:cubicBezTo>
                  <a:pt x="9216" y="7763"/>
                  <a:pt x="9121" y="8002"/>
                  <a:pt x="8918" y="8156"/>
                </a:cubicBezTo>
                <a:cubicBezTo>
                  <a:pt x="8764" y="8272"/>
                  <a:pt x="8570" y="8333"/>
                  <a:pt x="8376" y="8333"/>
                </a:cubicBezTo>
                <a:cubicBezTo>
                  <a:pt x="8330" y="8333"/>
                  <a:pt x="8285" y="8330"/>
                  <a:pt x="8239" y="8323"/>
                </a:cubicBezTo>
                <a:cubicBezTo>
                  <a:pt x="7930" y="8263"/>
                  <a:pt x="7668" y="7990"/>
                  <a:pt x="7608" y="7680"/>
                </a:cubicBezTo>
                <a:cubicBezTo>
                  <a:pt x="7549" y="7382"/>
                  <a:pt x="7656" y="7097"/>
                  <a:pt x="7882" y="6906"/>
                </a:cubicBezTo>
                <a:cubicBezTo>
                  <a:pt x="8025" y="6775"/>
                  <a:pt x="8120" y="6573"/>
                  <a:pt x="8120" y="6370"/>
                </a:cubicBezTo>
                <a:lnTo>
                  <a:pt x="8120" y="6013"/>
                </a:lnTo>
                <a:cubicBezTo>
                  <a:pt x="8120" y="5727"/>
                  <a:pt x="7882" y="5489"/>
                  <a:pt x="7597" y="5489"/>
                </a:cubicBezTo>
                <a:lnTo>
                  <a:pt x="5811" y="5489"/>
                </a:lnTo>
                <a:lnTo>
                  <a:pt x="5811" y="3703"/>
                </a:lnTo>
                <a:cubicBezTo>
                  <a:pt x="5811" y="3596"/>
                  <a:pt x="5894" y="3513"/>
                  <a:pt x="6001" y="3513"/>
                </a:cubicBezTo>
                <a:lnTo>
                  <a:pt x="6358" y="3513"/>
                </a:lnTo>
                <a:cubicBezTo>
                  <a:pt x="6465" y="3513"/>
                  <a:pt x="6573" y="3560"/>
                  <a:pt x="6632" y="3632"/>
                </a:cubicBezTo>
                <a:cubicBezTo>
                  <a:pt x="6847" y="3886"/>
                  <a:pt x="7157" y="4035"/>
                  <a:pt x="7492" y="4035"/>
                </a:cubicBezTo>
                <a:cubicBezTo>
                  <a:pt x="7565" y="4035"/>
                  <a:pt x="7640" y="4028"/>
                  <a:pt x="7716" y="4013"/>
                </a:cubicBezTo>
                <a:cubicBezTo>
                  <a:pt x="8156" y="3930"/>
                  <a:pt x="8525" y="3584"/>
                  <a:pt x="8609" y="3144"/>
                </a:cubicBezTo>
                <a:cubicBezTo>
                  <a:pt x="8680" y="2798"/>
                  <a:pt x="8597" y="2441"/>
                  <a:pt x="8382" y="2167"/>
                </a:cubicBezTo>
                <a:cubicBezTo>
                  <a:pt x="8156" y="1906"/>
                  <a:pt x="7847" y="1751"/>
                  <a:pt x="7489" y="1751"/>
                </a:cubicBezTo>
                <a:cubicBezTo>
                  <a:pt x="7156" y="1751"/>
                  <a:pt x="6823" y="1906"/>
                  <a:pt x="6608" y="2167"/>
                </a:cubicBezTo>
                <a:cubicBezTo>
                  <a:pt x="6549" y="2251"/>
                  <a:pt x="6454" y="2287"/>
                  <a:pt x="6346" y="2287"/>
                </a:cubicBezTo>
                <a:lnTo>
                  <a:pt x="5989" y="2287"/>
                </a:lnTo>
                <a:cubicBezTo>
                  <a:pt x="5882" y="2287"/>
                  <a:pt x="5799" y="2203"/>
                  <a:pt x="5799" y="2096"/>
                </a:cubicBezTo>
                <a:lnTo>
                  <a:pt x="5799" y="1203"/>
                </a:lnTo>
                <a:cubicBezTo>
                  <a:pt x="5799" y="1120"/>
                  <a:pt x="5715" y="1036"/>
                  <a:pt x="5632" y="1036"/>
                </a:cubicBezTo>
                <a:cubicBezTo>
                  <a:pt x="5549" y="1036"/>
                  <a:pt x="5465" y="1120"/>
                  <a:pt x="5465" y="1203"/>
                </a:cubicBezTo>
                <a:lnTo>
                  <a:pt x="5465" y="2096"/>
                </a:lnTo>
                <a:cubicBezTo>
                  <a:pt x="5465" y="2382"/>
                  <a:pt x="5703" y="2620"/>
                  <a:pt x="5989" y="2620"/>
                </a:cubicBezTo>
                <a:lnTo>
                  <a:pt x="6346" y="2620"/>
                </a:lnTo>
                <a:cubicBezTo>
                  <a:pt x="6561" y="2620"/>
                  <a:pt x="6751" y="2525"/>
                  <a:pt x="6882" y="2382"/>
                </a:cubicBezTo>
                <a:cubicBezTo>
                  <a:pt x="7037" y="2191"/>
                  <a:pt x="7263" y="2084"/>
                  <a:pt x="7513" y="2084"/>
                </a:cubicBezTo>
                <a:cubicBezTo>
                  <a:pt x="7751" y="2084"/>
                  <a:pt x="7989" y="2191"/>
                  <a:pt x="8132" y="2382"/>
                </a:cubicBezTo>
                <a:cubicBezTo>
                  <a:pt x="8287" y="2572"/>
                  <a:pt x="8347" y="2822"/>
                  <a:pt x="8299" y="3060"/>
                </a:cubicBezTo>
                <a:cubicBezTo>
                  <a:pt x="8239" y="3382"/>
                  <a:pt x="7966" y="3632"/>
                  <a:pt x="7656" y="3691"/>
                </a:cubicBezTo>
                <a:cubicBezTo>
                  <a:pt x="7601" y="3702"/>
                  <a:pt x="7547" y="3708"/>
                  <a:pt x="7494" y="3708"/>
                </a:cubicBezTo>
                <a:cubicBezTo>
                  <a:pt x="7257" y="3708"/>
                  <a:pt x="7038" y="3602"/>
                  <a:pt x="6882" y="3418"/>
                </a:cubicBezTo>
                <a:cubicBezTo>
                  <a:pt x="6751" y="3275"/>
                  <a:pt x="6561" y="3179"/>
                  <a:pt x="6346" y="3179"/>
                </a:cubicBezTo>
                <a:lnTo>
                  <a:pt x="5989" y="3179"/>
                </a:lnTo>
                <a:cubicBezTo>
                  <a:pt x="5703" y="3179"/>
                  <a:pt x="5465" y="3418"/>
                  <a:pt x="5465" y="3703"/>
                </a:cubicBezTo>
                <a:lnTo>
                  <a:pt x="5465" y="5489"/>
                </a:lnTo>
                <a:lnTo>
                  <a:pt x="3679" y="5489"/>
                </a:lnTo>
                <a:cubicBezTo>
                  <a:pt x="3584" y="5489"/>
                  <a:pt x="3489" y="5406"/>
                  <a:pt x="3489" y="5299"/>
                </a:cubicBezTo>
                <a:lnTo>
                  <a:pt x="3489" y="4942"/>
                </a:lnTo>
                <a:cubicBezTo>
                  <a:pt x="3489" y="4834"/>
                  <a:pt x="3536" y="4727"/>
                  <a:pt x="3608" y="4668"/>
                </a:cubicBezTo>
                <a:cubicBezTo>
                  <a:pt x="3917" y="4406"/>
                  <a:pt x="4072" y="4001"/>
                  <a:pt x="3989" y="3584"/>
                </a:cubicBezTo>
                <a:cubicBezTo>
                  <a:pt x="3906" y="3144"/>
                  <a:pt x="3560" y="2787"/>
                  <a:pt x="3120" y="2691"/>
                </a:cubicBezTo>
                <a:cubicBezTo>
                  <a:pt x="3039" y="2675"/>
                  <a:pt x="2957" y="2666"/>
                  <a:pt x="2876" y="2666"/>
                </a:cubicBezTo>
                <a:cubicBezTo>
                  <a:pt x="2611" y="2666"/>
                  <a:pt x="2353" y="2754"/>
                  <a:pt x="2143" y="2918"/>
                </a:cubicBezTo>
                <a:cubicBezTo>
                  <a:pt x="1882" y="3144"/>
                  <a:pt x="1727" y="3453"/>
                  <a:pt x="1727" y="3811"/>
                </a:cubicBezTo>
                <a:cubicBezTo>
                  <a:pt x="1727" y="4156"/>
                  <a:pt x="1882" y="4477"/>
                  <a:pt x="2143" y="4692"/>
                </a:cubicBezTo>
                <a:cubicBezTo>
                  <a:pt x="2227" y="4751"/>
                  <a:pt x="2263" y="4846"/>
                  <a:pt x="2263" y="4954"/>
                </a:cubicBezTo>
                <a:lnTo>
                  <a:pt x="2263" y="5311"/>
                </a:lnTo>
                <a:cubicBezTo>
                  <a:pt x="2263" y="5418"/>
                  <a:pt x="2179" y="5501"/>
                  <a:pt x="2072" y="5501"/>
                </a:cubicBezTo>
                <a:lnTo>
                  <a:pt x="286" y="5501"/>
                </a:lnTo>
                <a:lnTo>
                  <a:pt x="286" y="882"/>
                </a:lnTo>
                <a:cubicBezTo>
                  <a:pt x="286" y="584"/>
                  <a:pt x="524" y="322"/>
                  <a:pt x="834" y="322"/>
                </a:cubicBezTo>
                <a:lnTo>
                  <a:pt x="5465" y="322"/>
                </a:lnTo>
                <a:lnTo>
                  <a:pt x="5465" y="524"/>
                </a:lnTo>
                <a:cubicBezTo>
                  <a:pt x="5465" y="608"/>
                  <a:pt x="5537" y="679"/>
                  <a:pt x="5632" y="679"/>
                </a:cubicBezTo>
                <a:cubicBezTo>
                  <a:pt x="5715" y="679"/>
                  <a:pt x="5799" y="608"/>
                  <a:pt x="5799" y="524"/>
                </a:cubicBezTo>
                <a:lnTo>
                  <a:pt x="5799" y="322"/>
                </a:lnTo>
                <a:close/>
                <a:moveTo>
                  <a:pt x="881" y="1"/>
                </a:moveTo>
                <a:cubicBezTo>
                  <a:pt x="405" y="1"/>
                  <a:pt x="0" y="382"/>
                  <a:pt x="0" y="870"/>
                </a:cubicBezTo>
                <a:lnTo>
                  <a:pt x="0" y="10454"/>
                </a:lnTo>
                <a:cubicBezTo>
                  <a:pt x="0" y="10930"/>
                  <a:pt x="393" y="11335"/>
                  <a:pt x="881" y="11335"/>
                </a:cubicBezTo>
                <a:lnTo>
                  <a:pt x="10466" y="11335"/>
                </a:lnTo>
                <a:cubicBezTo>
                  <a:pt x="10942" y="11335"/>
                  <a:pt x="11347" y="10954"/>
                  <a:pt x="11347" y="10454"/>
                </a:cubicBezTo>
                <a:lnTo>
                  <a:pt x="11347" y="870"/>
                </a:lnTo>
                <a:cubicBezTo>
                  <a:pt x="11347" y="405"/>
                  <a:pt x="10942" y="1"/>
                  <a:pt x="1046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40" name="Google Shape;10840;p60"/>
          <p:cNvGrpSpPr/>
          <p:nvPr/>
        </p:nvGrpSpPr>
        <p:grpSpPr>
          <a:xfrm>
            <a:off x="6216367" y="1970156"/>
            <a:ext cx="361147" cy="361147"/>
            <a:chOff x="6216367" y="1970156"/>
            <a:chExt cx="361147" cy="361147"/>
          </a:xfrm>
        </p:grpSpPr>
        <p:sp>
          <p:nvSpPr>
            <p:cNvPr id="10841" name="Google Shape;10841;p60"/>
            <p:cNvSpPr/>
            <p:nvPr/>
          </p:nvSpPr>
          <p:spPr>
            <a:xfrm>
              <a:off x="6247813" y="2069522"/>
              <a:ext cx="329701" cy="261781"/>
            </a:xfrm>
            <a:custGeom>
              <a:avLst/>
              <a:gdLst/>
              <a:ahLst/>
              <a:cxnLst/>
              <a:rect l="l" t="t" r="r" b="b"/>
              <a:pathLst>
                <a:path w="10359" h="8225" extrusionOk="0">
                  <a:moveTo>
                    <a:pt x="9663" y="0"/>
                  </a:moveTo>
                  <a:cubicBezTo>
                    <a:pt x="9637" y="0"/>
                    <a:pt x="9611" y="7"/>
                    <a:pt x="9585" y="22"/>
                  </a:cubicBezTo>
                  <a:cubicBezTo>
                    <a:pt x="9490" y="69"/>
                    <a:pt x="9466" y="153"/>
                    <a:pt x="9502" y="248"/>
                  </a:cubicBezTo>
                  <a:cubicBezTo>
                    <a:pt x="9847" y="962"/>
                    <a:pt x="10026" y="1736"/>
                    <a:pt x="10026" y="2534"/>
                  </a:cubicBezTo>
                  <a:cubicBezTo>
                    <a:pt x="10026" y="3963"/>
                    <a:pt x="9478" y="5308"/>
                    <a:pt x="8466" y="6320"/>
                  </a:cubicBezTo>
                  <a:cubicBezTo>
                    <a:pt x="7454" y="7332"/>
                    <a:pt x="6108" y="7880"/>
                    <a:pt x="4680" y="7880"/>
                  </a:cubicBezTo>
                  <a:cubicBezTo>
                    <a:pt x="3834" y="7880"/>
                    <a:pt x="3037" y="7689"/>
                    <a:pt x="2287" y="7308"/>
                  </a:cubicBezTo>
                  <a:cubicBezTo>
                    <a:pt x="1667" y="6999"/>
                    <a:pt x="1096" y="6558"/>
                    <a:pt x="632" y="6022"/>
                  </a:cubicBezTo>
                  <a:lnTo>
                    <a:pt x="632" y="6022"/>
                  </a:lnTo>
                  <a:lnTo>
                    <a:pt x="1286" y="6237"/>
                  </a:lnTo>
                  <a:cubicBezTo>
                    <a:pt x="1308" y="6245"/>
                    <a:pt x="1329" y="6249"/>
                    <a:pt x="1350" y="6249"/>
                  </a:cubicBezTo>
                  <a:cubicBezTo>
                    <a:pt x="1417" y="6249"/>
                    <a:pt x="1473" y="6206"/>
                    <a:pt x="1501" y="6141"/>
                  </a:cubicBezTo>
                  <a:cubicBezTo>
                    <a:pt x="1525" y="6046"/>
                    <a:pt x="1489" y="5963"/>
                    <a:pt x="1394" y="5927"/>
                  </a:cubicBezTo>
                  <a:lnTo>
                    <a:pt x="215" y="5546"/>
                  </a:lnTo>
                  <a:cubicBezTo>
                    <a:pt x="197" y="5539"/>
                    <a:pt x="180" y="5536"/>
                    <a:pt x="163" y="5536"/>
                  </a:cubicBezTo>
                  <a:cubicBezTo>
                    <a:pt x="122" y="5536"/>
                    <a:pt x="85" y="5553"/>
                    <a:pt x="60" y="5570"/>
                  </a:cubicBezTo>
                  <a:cubicBezTo>
                    <a:pt x="12" y="5606"/>
                    <a:pt x="1" y="5665"/>
                    <a:pt x="1" y="5725"/>
                  </a:cubicBezTo>
                  <a:lnTo>
                    <a:pt x="191" y="7094"/>
                  </a:lnTo>
                  <a:cubicBezTo>
                    <a:pt x="203" y="7177"/>
                    <a:pt x="274" y="7237"/>
                    <a:pt x="358" y="7237"/>
                  </a:cubicBezTo>
                  <a:lnTo>
                    <a:pt x="382" y="7237"/>
                  </a:lnTo>
                  <a:cubicBezTo>
                    <a:pt x="477" y="7225"/>
                    <a:pt x="536" y="7130"/>
                    <a:pt x="512" y="7046"/>
                  </a:cubicBezTo>
                  <a:lnTo>
                    <a:pt x="417" y="6272"/>
                  </a:lnTo>
                  <a:lnTo>
                    <a:pt x="417" y="6272"/>
                  </a:lnTo>
                  <a:cubicBezTo>
                    <a:pt x="893" y="6820"/>
                    <a:pt x="1489" y="7284"/>
                    <a:pt x="2120" y="7606"/>
                  </a:cubicBezTo>
                  <a:cubicBezTo>
                    <a:pt x="2918" y="8011"/>
                    <a:pt x="3775" y="8225"/>
                    <a:pt x="4680" y="8225"/>
                  </a:cubicBezTo>
                  <a:cubicBezTo>
                    <a:pt x="6204" y="8225"/>
                    <a:pt x="7621" y="7630"/>
                    <a:pt x="8692" y="6558"/>
                  </a:cubicBezTo>
                  <a:cubicBezTo>
                    <a:pt x="9764" y="5487"/>
                    <a:pt x="10359" y="4058"/>
                    <a:pt x="10359" y="2558"/>
                  </a:cubicBezTo>
                  <a:cubicBezTo>
                    <a:pt x="10359" y="1677"/>
                    <a:pt x="10157" y="855"/>
                    <a:pt x="9799" y="93"/>
                  </a:cubicBezTo>
                  <a:cubicBezTo>
                    <a:pt x="9775" y="35"/>
                    <a:pt x="9721" y="0"/>
                    <a:pt x="96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2" name="Google Shape;10842;p60"/>
            <p:cNvSpPr/>
            <p:nvPr/>
          </p:nvSpPr>
          <p:spPr>
            <a:xfrm>
              <a:off x="6216367" y="1970156"/>
              <a:ext cx="329701" cy="260731"/>
            </a:xfrm>
            <a:custGeom>
              <a:avLst/>
              <a:gdLst/>
              <a:ahLst/>
              <a:cxnLst/>
              <a:rect l="l" t="t" r="r" b="b"/>
              <a:pathLst>
                <a:path w="10359" h="8192" extrusionOk="0">
                  <a:moveTo>
                    <a:pt x="5668" y="0"/>
                  </a:moveTo>
                  <a:cubicBezTo>
                    <a:pt x="4156" y="0"/>
                    <a:pt x="2739" y="596"/>
                    <a:pt x="1667" y="1667"/>
                  </a:cubicBezTo>
                  <a:cubicBezTo>
                    <a:pt x="596" y="2739"/>
                    <a:pt x="0" y="4168"/>
                    <a:pt x="0" y="5680"/>
                  </a:cubicBezTo>
                  <a:cubicBezTo>
                    <a:pt x="0" y="6525"/>
                    <a:pt x="179" y="7346"/>
                    <a:pt x="548" y="8097"/>
                  </a:cubicBezTo>
                  <a:cubicBezTo>
                    <a:pt x="584" y="8156"/>
                    <a:pt x="643" y="8192"/>
                    <a:pt x="703" y="8192"/>
                  </a:cubicBezTo>
                  <a:cubicBezTo>
                    <a:pt x="727" y="8192"/>
                    <a:pt x="750" y="8192"/>
                    <a:pt x="774" y="8180"/>
                  </a:cubicBezTo>
                  <a:cubicBezTo>
                    <a:pt x="858" y="8132"/>
                    <a:pt x="893" y="8037"/>
                    <a:pt x="846" y="7954"/>
                  </a:cubicBezTo>
                  <a:cubicBezTo>
                    <a:pt x="512" y="7239"/>
                    <a:pt x="334" y="6465"/>
                    <a:pt x="334" y="5656"/>
                  </a:cubicBezTo>
                  <a:cubicBezTo>
                    <a:pt x="334" y="4227"/>
                    <a:pt x="881" y="2894"/>
                    <a:pt x="1893" y="1882"/>
                  </a:cubicBezTo>
                  <a:cubicBezTo>
                    <a:pt x="2905" y="869"/>
                    <a:pt x="4239" y="322"/>
                    <a:pt x="5668" y="322"/>
                  </a:cubicBezTo>
                  <a:cubicBezTo>
                    <a:pt x="7239" y="322"/>
                    <a:pt x="8704" y="989"/>
                    <a:pt x="9716" y="2179"/>
                  </a:cubicBezTo>
                  <a:lnTo>
                    <a:pt x="9061" y="1953"/>
                  </a:lnTo>
                  <a:cubicBezTo>
                    <a:pt x="9044" y="1948"/>
                    <a:pt x="9027" y="1946"/>
                    <a:pt x="9010" y="1946"/>
                  </a:cubicBezTo>
                  <a:cubicBezTo>
                    <a:pt x="8942" y="1946"/>
                    <a:pt x="8878" y="1984"/>
                    <a:pt x="8859" y="2060"/>
                  </a:cubicBezTo>
                  <a:cubicBezTo>
                    <a:pt x="8823" y="2143"/>
                    <a:pt x="8870" y="2239"/>
                    <a:pt x="8966" y="2263"/>
                  </a:cubicBezTo>
                  <a:lnTo>
                    <a:pt x="10133" y="2655"/>
                  </a:lnTo>
                  <a:cubicBezTo>
                    <a:pt x="10156" y="2655"/>
                    <a:pt x="10168" y="2667"/>
                    <a:pt x="10192" y="2667"/>
                  </a:cubicBezTo>
                  <a:cubicBezTo>
                    <a:pt x="10240" y="2667"/>
                    <a:pt x="10275" y="2655"/>
                    <a:pt x="10299" y="2620"/>
                  </a:cubicBezTo>
                  <a:cubicBezTo>
                    <a:pt x="10347" y="2596"/>
                    <a:pt x="10359" y="2536"/>
                    <a:pt x="10359" y="2477"/>
                  </a:cubicBezTo>
                  <a:lnTo>
                    <a:pt x="10168" y="1108"/>
                  </a:lnTo>
                  <a:cubicBezTo>
                    <a:pt x="10158" y="1027"/>
                    <a:pt x="10088" y="971"/>
                    <a:pt x="10016" y="971"/>
                  </a:cubicBezTo>
                  <a:cubicBezTo>
                    <a:pt x="10003" y="971"/>
                    <a:pt x="9990" y="973"/>
                    <a:pt x="9978" y="977"/>
                  </a:cubicBezTo>
                  <a:cubicBezTo>
                    <a:pt x="9882" y="989"/>
                    <a:pt x="9823" y="1072"/>
                    <a:pt x="9835" y="1167"/>
                  </a:cubicBezTo>
                  <a:lnTo>
                    <a:pt x="9942" y="1941"/>
                  </a:lnTo>
                  <a:cubicBezTo>
                    <a:pt x="8870" y="703"/>
                    <a:pt x="7323" y="0"/>
                    <a:pt x="5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3" name="Google Shape;10843;p60"/>
            <p:cNvSpPr/>
            <p:nvPr/>
          </p:nvSpPr>
          <p:spPr>
            <a:xfrm>
              <a:off x="6351252" y="2064875"/>
              <a:ext cx="17855" cy="28072"/>
            </a:xfrm>
            <a:custGeom>
              <a:avLst/>
              <a:gdLst/>
              <a:ahLst/>
              <a:cxnLst/>
              <a:rect l="l" t="t" r="r" b="b"/>
              <a:pathLst>
                <a:path w="561" h="882" extrusionOk="0">
                  <a:moveTo>
                    <a:pt x="358" y="1"/>
                  </a:moveTo>
                  <a:cubicBezTo>
                    <a:pt x="275" y="1"/>
                    <a:pt x="203" y="84"/>
                    <a:pt x="203" y="168"/>
                  </a:cubicBezTo>
                  <a:lnTo>
                    <a:pt x="203" y="477"/>
                  </a:lnTo>
                  <a:lnTo>
                    <a:pt x="84" y="596"/>
                  </a:lnTo>
                  <a:cubicBezTo>
                    <a:pt x="25" y="656"/>
                    <a:pt x="1" y="763"/>
                    <a:pt x="84" y="834"/>
                  </a:cubicBezTo>
                  <a:cubicBezTo>
                    <a:pt x="108" y="870"/>
                    <a:pt x="156" y="882"/>
                    <a:pt x="203" y="882"/>
                  </a:cubicBezTo>
                  <a:cubicBezTo>
                    <a:pt x="239" y="882"/>
                    <a:pt x="287" y="870"/>
                    <a:pt x="322" y="834"/>
                  </a:cubicBezTo>
                  <a:lnTo>
                    <a:pt x="501" y="680"/>
                  </a:lnTo>
                  <a:cubicBezTo>
                    <a:pt x="525" y="644"/>
                    <a:pt x="561" y="596"/>
                    <a:pt x="537" y="560"/>
                  </a:cubicBezTo>
                  <a:lnTo>
                    <a:pt x="525" y="168"/>
                  </a:lnTo>
                  <a:cubicBezTo>
                    <a:pt x="525" y="84"/>
                    <a:pt x="453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4" name="Google Shape;10844;p60"/>
            <p:cNvSpPr/>
            <p:nvPr/>
          </p:nvSpPr>
          <p:spPr>
            <a:xfrm>
              <a:off x="6260321" y="2016688"/>
              <a:ext cx="272857" cy="269929"/>
            </a:xfrm>
            <a:custGeom>
              <a:avLst/>
              <a:gdLst/>
              <a:ahLst/>
              <a:cxnLst/>
              <a:rect l="l" t="t" r="r" b="b"/>
              <a:pathLst>
                <a:path w="8573" h="8481" extrusionOk="0">
                  <a:moveTo>
                    <a:pt x="2822" y="3182"/>
                  </a:moveTo>
                  <a:lnTo>
                    <a:pt x="3037" y="3217"/>
                  </a:lnTo>
                  <a:lnTo>
                    <a:pt x="3144" y="3217"/>
                  </a:lnTo>
                  <a:lnTo>
                    <a:pt x="2965" y="3598"/>
                  </a:lnTo>
                  <a:lnTo>
                    <a:pt x="2679" y="3527"/>
                  </a:lnTo>
                  <a:lnTo>
                    <a:pt x="2822" y="3182"/>
                  </a:lnTo>
                  <a:close/>
                  <a:moveTo>
                    <a:pt x="3918" y="3110"/>
                  </a:moveTo>
                  <a:lnTo>
                    <a:pt x="4251" y="3515"/>
                  </a:lnTo>
                  <a:lnTo>
                    <a:pt x="4203" y="3634"/>
                  </a:lnTo>
                  <a:cubicBezTo>
                    <a:pt x="4168" y="3718"/>
                    <a:pt x="4215" y="3813"/>
                    <a:pt x="4310" y="3837"/>
                  </a:cubicBezTo>
                  <a:cubicBezTo>
                    <a:pt x="4322" y="3837"/>
                    <a:pt x="4334" y="3860"/>
                    <a:pt x="4370" y="3860"/>
                  </a:cubicBezTo>
                  <a:cubicBezTo>
                    <a:pt x="4441" y="3860"/>
                    <a:pt x="4501" y="3813"/>
                    <a:pt x="4525" y="3741"/>
                  </a:cubicBezTo>
                  <a:lnTo>
                    <a:pt x="4572" y="3622"/>
                  </a:lnTo>
                  <a:cubicBezTo>
                    <a:pt x="4608" y="3515"/>
                    <a:pt x="4584" y="3408"/>
                    <a:pt x="4513" y="3325"/>
                  </a:cubicBezTo>
                  <a:lnTo>
                    <a:pt x="4430" y="3217"/>
                  </a:lnTo>
                  <a:lnTo>
                    <a:pt x="4727" y="3444"/>
                  </a:lnTo>
                  <a:cubicBezTo>
                    <a:pt x="4749" y="3458"/>
                    <a:pt x="4780" y="3469"/>
                    <a:pt x="4815" y="3469"/>
                  </a:cubicBezTo>
                  <a:cubicBezTo>
                    <a:pt x="4836" y="3469"/>
                    <a:pt x="4859" y="3465"/>
                    <a:pt x="4882" y="3456"/>
                  </a:cubicBezTo>
                  <a:lnTo>
                    <a:pt x="5096" y="3360"/>
                  </a:lnTo>
                  <a:lnTo>
                    <a:pt x="5227" y="3515"/>
                  </a:lnTo>
                  <a:cubicBezTo>
                    <a:pt x="5263" y="3563"/>
                    <a:pt x="5323" y="3575"/>
                    <a:pt x="5358" y="3575"/>
                  </a:cubicBezTo>
                  <a:lnTo>
                    <a:pt x="5775" y="3539"/>
                  </a:lnTo>
                  <a:lnTo>
                    <a:pt x="5799" y="3622"/>
                  </a:lnTo>
                  <a:cubicBezTo>
                    <a:pt x="5811" y="3658"/>
                    <a:pt x="5775" y="3694"/>
                    <a:pt x="5775" y="3706"/>
                  </a:cubicBezTo>
                  <a:cubicBezTo>
                    <a:pt x="5763" y="3718"/>
                    <a:pt x="5739" y="3753"/>
                    <a:pt x="5692" y="3753"/>
                  </a:cubicBezTo>
                  <a:lnTo>
                    <a:pt x="4977" y="3813"/>
                  </a:lnTo>
                  <a:cubicBezTo>
                    <a:pt x="4882" y="3813"/>
                    <a:pt x="4811" y="3872"/>
                    <a:pt x="4751" y="3944"/>
                  </a:cubicBezTo>
                  <a:cubicBezTo>
                    <a:pt x="4727" y="4003"/>
                    <a:pt x="4691" y="4063"/>
                    <a:pt x="4703" y="4122"/>
                  </a:cubicBezTo>
                  <a:lnTo>
                    <a:pt x="4227" y="3956"/>
                  </a:lnTo>
                  <a:cubicBezTo>
                    <a:pt x="4215" y="3956"/>
                    <a:pt x="4215" y="3944"/>
                    <a:pt x="4203" y="3932"/>
                  </a:cubicBezTo>
                  <a:cubicBezTo>
                    <a:pt x="4168" y="3753"/>
                    <a:pt x="4025" y="3610"/>
                    <a:pt x="3846" y="3610"/>
                  </a:cubicBezTo>
                  <a:lnTo>
                    <a:pt x="3834" y="3610"/>
                  </a:lnTo>
                  <a:lnTo>
                    <a:pt x="3322" y="3634"/>
                  </a:lnTo>
                  <a:lnTo>
                    <a:pt x="3477" y="3289"/>
                  </a:lnTo>
                  <a:cubicBezTo>
                    <a:pt x="3489" y="3265"/>
                    <a:pt x="3513" y="3229"/>
                    <a:pt x="3548" y="3229"/>
                  </a:cubicBezTo>
                  <a:lnTo>
                    <a:pt x="3918" y="3110"/>
                  </a:lnTo>
                  <a:close/>
                  <a:moveTo>
                    <a:pt x="7775" y="3646"/>
                  </a:moveTo>
                  <a:cubicBezTo>
                    <a:pt x="7787" y="3646"/>
                    <a:pt x="7835" y="3646"/>
                    <a:pt x="7859" y="3682"/>
                  </a:cubicBezTo>
                  <a:lnTo>
                    <a:pt x="8204" y="4003"/>
                  </a:lnTo>
                  <a:lnTo>
                    <a:pt x="8204" y="4349"/>
                  </a:lnTo>
                  <a:cubicBezTo>
                    <a:pt x="8156" y="5325"/>
                    <a:pt x="7763" y="6254"/>
                    <a:pt x="7061" y="6956"/>
                  </a:cubicBezTo>
                  <a:cubicBezTo>
                    <a:pt x="6954" y="7051"/>
                    <a:pt x="6835" y="7158"/>
                    <a:pt x="6716" y="7254"/>
                  </a:cubicBezTo>
                  <a:cubicBezTo>
                    <a:pt x="6775" y="7158"/>
                    <a:pt x="6835" y="7075"/>
                    <a:pt x="6870" y="6968"/>
                  </a:cubicBezTo>
                  <a:lnTo>
                    <a:pt x="7620" y="5194"/>
                  </a:lnTo>
                  <a:cubicBezTo>
                    <a:pt x="7656" y="5134"/>
                    <a:pt x="7644" y="5075"/>
                    <a:pt x="7609" y="5027"/>
                  </a:cubicBezTo>
                  <a:cubicBezTo>
                    <a:pt x="7585" y="4992"/>
                    <a:pt x="7525" y="4956"/>
                    <a:pt x="7466" y="4956"/>
                  </a:cubicBezTo>
                  <a:lnTo>
                    <a:pt x="7382" y="4956"/>
                  </a:lnTo>
                  <a:lnTo>
                    <a:pt x="7799" y="4134"/>
                  </a:lnTo>
                  <a:cubicBezTo>
                    <a:pt x="7882" y="4003"/>
                    <a:pt x="7835" y="3837"/>
                    <a:pt x="7704" y="3753"/>
                  </a:cubicBezTo>
                  <a:lnTo>
                    <a:pt x="7668" y="3718"/>
                  </a:lnTo>
                  <a:lnTo>
                    <a:pt x="7680" y="3706"/>
                  </a:lnTo>
                  <a:cubicBezTo>
                    <a:pt x="7716" y="3658"/>
                    <a:pt x="7739" y="3658"/>
                    <a:pt x="7775" y="3646"/>
                  </a:cubicBezTo>
                  <a:close/>
                  <a:moveTo>
                    <a:pt x="4257" y="0"/>
                  </a:moveTo>
                  <a:cubicBezTo>
                    <a:pt x="4208" y="0"/>
                    <a:pt x="4158" y="1"/>
                    <a:pt x="4108" y="3"/>
                  </a:cubicBezTo>
                  <a:cubicBezTo>
                    <a:pt x="3037" y="50"/>
                    <a:pt x="2048" y="491"/>
                    <a:pt x="1286" y="1241"/>
                  </a:cubicBezTo>
                  <a:cubicBezTo>
                    <a:pt x="524" y="1991"/>
                    <a:pt x="96" y="2991"/>
                    <a:pt x="48" y="4063"/>
                  </a:cubicBezTo>
                  <a:cubicBezTo>
                    <a:pt x="0" y="5122"/>
                    <a:pt x="358" y="6158"/>
                    <a:pt x="1048" y="6968"/>
                  </a:cubicBezTo>
                  <a:cubicBezTo>
                    <a:pt x="1072" y="7016"/>
                    <a:pt x="1120" y="7027"/>
                    <a:pt x="1179" y="7027"/>
                  </a:cubicBezTo>
                  <a:cubicBezTo>
                    <a:pt x="1227" y="7027"/>
                    <a:pt x="1251" y="7016"/>
                    <a:pt x="1286" y="6980"/>
                  </a:cubicBezTo>
                  <a:cubicBezTo>
                    <a:pt x="1358" y="6920"/>
                    <a:pt x="1358" y="6813"/>
                    <a:pt x="1298" y="6742"/>
                  </a:cubicBezTo>
                  <a:cubicBezTo>
                    <a:pt x="679" y="6004"/>
                    <a:pt x="346" y="5051"/>
                    <a:pt x="393" y="4063"/>
                  </a:cubicBezTo>
                  <a:cubicBezTo>
                    <a:pt x="441" y="3087"/>
                    <a:pt x="834" y="2158"/>
                    <a:pt x="1536" y="1455"/>
                  </a:cubicBezTo>
                  <a:cubicBezTo>
                    <a:pt x="2239" y="765"/>
                    <a:pt x="3156" y="360"/>
                    <a:pt x="4144" y="312"/>
                  </a:cubicBezTo>
                  <a:cubicBezTo>
                    <a:pt x="4200" y="309"/>
                    <a:pt x="4256" y="308"/>
                    <a:pt x="4312" y="308"/>
                  </a:cubicBezTo>
                  <a:cubicBezTo>
                    <a:pt x="4478" y="308"/>
                    <a:pt x="4641" y="321"/>
                    <a:pt x="4811" y="348"/>
                  </a:cubicBezTo>
                  <a:lnTo>
                    <a:pt x="5037" y="622"/>
                  </a:lnTo>
                  <a:lnTo>
                    <a:pt x="4942" y="848"/>
                  </a:lnTo>
                  <a:lnTo>
                    <a:pt x="4811" y="610"/>
                  </a:lnTo>
                  <a:cubicBezTo>
                    <a:pt x="4787" y="550"/>
                    <a:pt x="4727" y="527"/>
                    <a:pt x="4668" y="527"/>
                  </a:cubicBezTo>
                  <a:lnTo>
                    <a:pt x="4132" y="527"/>
                  </a:lnTo>
                  <a:cubicBezTo>
                    <a:pt x="4072" y="527"/>
                    <a:pt x="4013" y="550"/>
                    <a:pt x="3977" y="610"/>
                  </a:cubicBezTo>
                  <a:lnTo>
                    <a:pt x="3608" y="1324"/>
                  </a:lnTo>
                  <a:cubicBezTo>
                    <a:pt x="3560" y="1432"/>
                    <a:pt x="3560" y="1539"/>
                    <a:pt x="3608" y="1634"/>
                  </a:cubicBezTo>
                  <a:cubicBezTo>
                    <a:pt x="3668" y="1729"/>
                    <a:pt x="3751" y="1801"/>
                    <a:pt x="3858" y="1801"/>
                  </a:cubicBezTo>
                  <a:lnTo>
                    <a:pt x="4156" y="1836"/>
                  </a:lnTo>
                  <a:cubicBezTo>
                    <a:pt x="4215" y="1836"/>
                    <a:pt x="4275" y="1813"/>
                    <a:pt x="4310" y="1753"/>
                  </a:cubicBezTo>
                  <a:lnTo>
                    <a:pt x="4430" y="1598"/>
                  </a:lnTo>
                  <a:lnTo>
                    <a:pt x="4489" y="1670"/>
                  </a:lnTo>
                  <a:lnTo>
                    <a:pt x="4441" y="1955"/>
                  </a:lnTo>
                  <a:lnTo>
                    <a:pt x="3929" y="2027"/>
                  </a:lnTo>
                  <a:cubicBezTo>
                    <a:pt x="3906" y="2027"/>
                    <a:pt x="3894" y="2039"/>
                    <a:pt x="3858" y="2051"/>
                  </a:cubicBezTo>
                  <a:lnTo>
                    <a:pt x="3203" y="2527"/>
                  </a:lnTo>
                  <a:cubicBezTo>
                    <a:pt x="3179" y="2563"/>
                    <a:pt x="3144" y="2586"/>
                    <a:pt x="3144" y="2622"/>
                  </a:cubicBezTo>
                  <a:lnTo>
                    <a:pt x="3072" y="2920"/>
                  </a:lnTo>
                  <a:lnTo>
                    <a:pt x="2846" y="2884"/>
                  </a:lnTo>
                  <a:cubicBezTo>
                    <a:pt x="2836" y="2883"/>
                    <a:pt x="2826" y="2883"/>
                    <a:pt x="2816" y="2883"/>
                  </a:cubicBezTo>
                  <a:cubicBezTo>
                    <a:pt x="2686" y="2883"/>
                    <a:pt x="2580" y="2954"/>
                    <a:pt x="2525" y="3087"/>
                  </a:cubicBezTo>
                  <a:lnTo>
                    <a:pt x="2382" y="3456"/>
                  </a:lnTo>
                  <a:cubicBezTo>
                    <a:pt x="2358" y="3527"/>
                    <a:pt x="2358" y="3622"/>
                    <a:pt x="2405" y="3694"/>
                  </a:cubicBezTo>
                  <a:cubicBezTo>
                    <a:pt x="2441" y="3765"/>
                    <a:pt x="2501" y="3825"/>
                    <a:pt x="2596" y="3860"/>
                  </a:cubicBezTo>
                  <a:cubicBezTo>
                    <a:pt x="2441" y="3932"/>
                    <a:pt x="2322" y="4075"/>
                    <a:pt x="2322" y="4241"/>
                  </a:cubicBezTo>
                  <a:lnTo>
                    <a:pt x="2322" y="4313"/>
                  </a:lnTo>
                  <a:lnTo>
                    <a:pt x="1870" y="4849"/>
                  </a:lnTo>
                  <a:cubicBezTo>
                    <a:pt x="1786" y="4932"/>
                    <a:pt x="1763" y="5051"/>
                    <a:pt x="1763" y="5146"/>
                  </a:cubicBezTo>
                  <a:lnTo>
                    <a:pt x="1763" y="5777"/>
                  </a:lnTo>
                  <a:cubicBezTo>
                    <a:pt x="1763" y="5944"/>
                    <a:pt x="1822" y="6087"/>
                    <a:pt x="1941" y="6194"/>
                  </a:cubicBezTo>
                  <a:lnTo>
                    <a:pt x="2382" y="6623"/>
                  </a:lnTo>
                  <a:cubicBezTo>
                    <a:pt x="2489" y="6718"/>
                    <a:pt x="2608" y="6777"/>
                    <a:pt x="2739" y="6789"/>
                  </a:cubicBezTo>
                  <a:lnTo>
                    <a:pt x="4049" y="6908"/>
                  </a:lnTo>
                  <a:lnTo>
                    <a:pt x="4049" y="6956"/>
                  </a:lnTo>
                  <a:cubicBezTo>
                    <a:pt x="4037" y="7111"/>
                    <a:pt x="4096" y="7266"/>
                    <a:pt x="4227" y="7373"/>
                  </a:cubicBezTo>
                  <a:lnTo>
                    <a:pt x="4465" y="7551"/>
                  </a:lnTo>
                  <a:lnTo>
                    <a:pt x="4453" y="7587"/>
                  </a:lnTo>
                  <a:cubicBezTo>
                    <a:pt x="4394" y="7766"/>
                    <a:pt x="4453" y="7944"/>
                    <a:pt x="4584" y="8063"/>
                  </a:cubicBezTo>
                  <a:lnTo>
                    <a:pt x="4668" y="8123"/>
                  </a:lnTo>
                  <a:cubicBezTo>
                    <a:pt x="4608" y="8123"/>
                    <a:pt x="4561" y="8147"/>
                    <a:pt x="4501" y="8147"/>
                  </a:cubicBezTo>
                  <a:cubicBezTo>
                    <a:pt x="4451" y="8148"/>
                    <a:pt x="4402" y="8149"/>
                    <a:pt x="4353" y="8149"/>
                  </a:cubicBezTo>
                  <a:cubicBezTo>
                    <a:pt x="3418" y="8149"/>
                    <a:pt x="2523" y="7829"/>
                    <a:pt x="1822" y="7230"/>
                  </a:cubicBezTo>
                  <a:cubicBezTo>
                    <a:pt x="1793" y="7206"/>
                    <a:pt x="1759" y="7195"/>
                    <a:pt x="1724" y="7195"/>
                  </a:cubicBezTo>
                  <a:cubicBezTo>
                    <a:pt x="1672" y="7195"/>
                    <a:pt x="1619" y="7218"/>
                    <a:pt x="1584" y="7254"/>
                  </a:cubicBezTo>
                  <a:cubicBezTo>
                    <a:pt x="1524" y="7325"/>
                    <a:pt x="1536" y="7432"/>
                    <a:pt x="1596" y="7492"/>
                  </a:cubicBezTo>
                  <a:cubicBezTo>
                    <a:pt x="2358" y="8123"/>
                    <a:pt x="3322" y="8480"/>
                    <a:pt x="4322" y="8480"/>
                  </a:cubicBezTo>
                  <a:lnTo>
                    <a:pt x="4501" y="8480"/>
                  </a:lnTo>
                  <a:cubicBezTo>
                    <a:pt x="5573" y="8444"/>
                    <a:pt x="6573" y="7992"/>
                    <a:pt x="7323" y="7254"/>
                  </a:cubicBezTo>
                  <a:cubicBezTo>
                    <a:pt x="8085" y="6492"/>
                    <a:pt x="8513" y="5492"/>
                    <a:pt x="8561" y="4420"/>
                  </a:cubicBezTo>
                  <a:cubicBezTo>
                    <a:pt x="8573" y="3289"/>
                    <a:pt x="8216" y="2265"/>
                    <a:pt x="7537" y="1455"/>
                  </a:cubicBezTo>
                  <a:cubicBezTo>
                    <a:pt x="7506" y="1418"/>
                    <a:pt x="7462" y="1400"/>
                    <a:pt x="7417" y="1400"/>
                  </a:cubicBezTo>
                  <a:cubicBezTo>
                    <a:pt x="7375" y="1400"/>
                    <a:pt x="7333" y="1415"/>
                    <a:pt x="7299" y="1443"/>
                  </a:cubicBezTo>
                  <a:cubicBezTo>
                    <a:pt x="7228" y="1503"/>
                    <a:pt x="7228" y="1610"/>
                    <a:pt x="7287" y="1682"/>
                  </a:cubicBezTo>
                  <a:cubicBezTo>
                    <a:pt x="7728" y="2217"/>
                    <a:pt x="8025" y="2860"/>
                    <a:pt x="8144" y="3539"/>
                  </a:cubicBezTo>
                  <a:lnTo>
                    <a:pt x="8097" y="3503"/>
                  </a:lnTo>
                  <a:cubicBezTo>
                    <a:pt x="8018" y="3424"/>
                    <a:pt x="7923" y="3378"/>
                    <a:pt x="7804" y="3378"/>
                  </a:cubicBezTo>
                  <a:cubicBezTo>
                    <a:pt x="7780" y="3378"/>
                    <a:pt x="7754" y="3380"/>
                    <a:pt x="7728" y="3384"/>
                  </a:cubicBezTo>
                  <a:cubicBezTo>
                    <a:pt x="7597" y="3396"/>
                    <a:pt x="7478" y="3468"/>
                    <a:pt x="7406" y="3587"/>
                  </a:cubicBezTo>
                  <a:lnTo>
                    <a:pt x="7370" y="3634"/>
                  </a:lnTo>
                  <a:cubicBezTo>
                    <a:pt x="7299" y="3634"/>
                    <a:pt x="7228" y="3658"/>
                    <a:pt x="7168" y="3718"/>
                  </a:cubicBezTo>
                  <a:lnTo>
                    <a:pt x="6942" y="3468"/>
                  </a:lnTo>
                  <a:cubicBezTo>
                    <a:pt x="6911" y="3430"/>
                    <a:pt x="6866" y="3412"/>
                    <a:pt x="6821" y="3412"/>
                  </a:cubicBezTo>
                  <a:cubicBezTo>
                    <a:pt x="6780" y="3412"/>
                    <a:pt x="6738" y="3427"/>
                    <a:pt x="6704" y="3456"/>
                  </a:cubicBezTo>
                  <a:cubicBezTo>
                    <a:pt x="6632" y="3515"/>
                    <a:pt x="6632" y="3622"/>
                    <a:pt x="6692" y="3694"/>
                  </a:cubicBezTo>
                  <a:lnTo>
                    <a:pt x="7013" y="4099"/>
                  </a:lnTo>
                  <a:cubicBezTo>
                    <a:pt x="7049" y="4122"/>
                    <a:pt x="7085" y="4146"/>
                    <a:pt x="7132" y="4146"/>
                  </a:cubicBezTo>
                  <a:cubicBezTo>
                    <a:pt x="7180" y="4146"/>
                    <a:pt x="7228" y="4134"/>
                    <a:pt x="7251" y="4110"/>
                  </a:cubicBezTo>
                  <a:lnTo>
                    <a:pt x="7358" y="4003"/>
                  </a:lnTo>
                  <a:lnTo>
                    <a:pt x="7489" y="4099"/>
                  </a:lnTo>
                  <a:lnTo>
                    <a:pt x="7001" y="5075"/>
                  </a:lnTo>
                  <a:lnTo>
                    <a:pt x="6966" y="5075"/>
                  </a:lnTo>
                  <a:cubicBezTo>
                    <a:pt x="6930" y="5075"/>
                    <a:pt x="6894" y="5063"/>
                    <a:pt x="6870" y="5027"/>
                  </a:cubicBezTo>
                  <a:lnTo>
                    <a:pt x="6215" y="4230"/>
                  </a:lnTo>
                  <a:cubicBezTo>
                    <a:pt x="6181" y="4188"/>
                    <a:pt x="6129" y="4170"/>
                    <a:pt x="6079" y="4170"/>
                  </a:cubicBezTo>
                  <a:cubicBezTo>
                    <a:pt x="6043" y="4170"/>
                    <a:pt x="6007" y="4179"/>
                    <a:pt x="5977" y="4194"/>
                  </a:cubicBezTo>
                  <a:cubicBezTo>
                    <a:pt x="5894" y="4253"/>
                    <a:pt x="5894" y="4360"/>
                    <a:pt x="5942" y="4432"/>
                  </a:cubicBezTo>
                  <a:lnTo>
                    <a:pt x="6596" y="5242"/>
                  </a:lnTo>
                  <a:cubicBezTo>
                    <a:pt x="6684" y="5351"/>
                    <a:pt x="6811" y="5410"/>
                    <a:pt x="6932" y="5410"/>
                  </a:cubicBezTo>
                  <a:cubicBezTo>
                    <a:pt x="6944" y="5410"/>
                    <a:pt x="6955" y="5409"/>
                    <a:pt x="6966" y="5408"/>
                  </a:cubicBezTo>
                  <a:lnTo>
                    <a:pt x="7180" y="5384"/>
                  </a:lnTo>
                  <a:lnTo>
                    <a:pt x="6525" y="6908"/>
                  </a:lnTo>
                  <a:cubicBezTo>
                    <a:pt x="6477" y="7016"/>
                    <a:pt x="6418" y="7111"/>
                    <a:pt x="6335" y="7206"/>
                  </a:cubicBezTo>
                  <a:lnTo>
                    <a:pt x="5811" y="7825"/>
                  </a:lnTo>
                  <a:cubicBezTo>
                    <a:pt x="5537" y="7944"/>
                    <a:pt x="5275" y="8028"/>
                    <a:pt x="4989" y="8087"/>
                  </a:cubicBezTo>
                  <a:lnTo>
                    <a:pt x="4703" y="7825"/>
                  </a:lnTo>
                  <a:cubicBezTo>
                    <a:pt x="4680" y="7801"/>
                    <a:pt x="4668" y="7754"/>
                    <a:pt x="4680" y="7706"/>
                  </a:cubicBezTo>
                  <a:lnTo>
                    <a:pt x="4727" y="7551"/>
                  </a:lnTo>
                  <a:cubicBezTo>
                    <a:pt x="4739" y="7468"/>
                    <a:pt x="4727" y="7408"/>
                    <a:pt x="4668" y="7373"/>
                  </a:cubicBezTo>
                  <a:lnTo>
                    <a:pt x="4334" y="7123"/>
                  </a:lnTo>
                  <a:cubicBezTo>
                    <a:pt x="4310" y="7099"/>
                    <a:pt x="4287" y="7075"/>
                    <a:pt x="4287" y="7027"/>
                  </a:cubicBezTo>
                  <a:lnTo>
                    <a:pt x="4322" y="6813"/>
                  </a:lnTo>
                  <a:cubicBezTo>
                    <a:pt x="4322" y="6777"/>
                    <a:pt x="4322" y="6730"/>
                    <a:pt x="4287" y="6694"/>
                  </a:cubicBezTo>
                  <a:cubicBezTo>
                    <a:pt x="4263" y="6670"/>
                    <a:pt x="4215" y="6635"/>
                    <a:pt x="4168" y="6635"/>
                  </a:cubicBezTo>
                  <a:lnTo>
                    <a:pt x="2679" y="6504"/>
                  </a:lnTo>
                  <a:cubicBezTo>
                    <a:pt x="2620" y="6504"/>
                    <a:pt x="2560" y="6480"/>
                    <a:pt x="2536" y="6432"/>
                  </a:cubicBezTo>
                  <a:lnTo>
                    <a:pt x="2084" y="6004"/>
                  </a:lnTo>
                  <a:cubicBezTo>
                    <a:pt x="2048" y="5956"/>
                    <a:pt x="2013" y="5884"/>
                    <a:pt x="2013" y="5825"/>
                  </a:cubicBezTo>
                  <a:lnTo>
                    <a:pt x="2013" y="5194"/>
                  </a:lnTo>
                  <a:cubicBezTo>
                    <a:pt x="2013" y="5170"/>
                    <a:pt x="2024" y="5134"/>
                    <a:pt x="2048" y="5122"/>
                  </a:cubicBezTo>
                  <a:lnTo>
                    <a:pt x="2548" y="4539"/>
                  </a:lnTo>
                  <a:cubicBezTo>
                    <a:pt x="2584" y="4515"/>
                    <a:pt x="2596" y="4480"/>
                    <a:pt x="2596" y="4432"/>
                  </a:cubicBezTo>
                  <a:lnTo>
                    <a:pt x="2596" y="4301"/>
                  </a:lnTo>
                  <a:cubicBezTo>
                    <a:pt x="2596" y="4253"/>
                    <a:pt x="2620" y="4218"/>
                    <a:pt x="2667" y="4194"/>
                  </a:cubicBezTo>
                  <a:lnTo>
                    <a:pt x="3072" y="4015"/>
                  </a:lnTo>
                  <a:lnTo>
                    <a:pt x="3810" y="4003"/>
                  </a:lnTo>
                  <a:cubicBezTo>
                    <a:pt x="3834" y="4003"/>
                    <a:pt x="3846" y="4015"/>
                    <a:pt x="3846" y="4039"/>
                  </a:cubicBezTo>
                  <a:cubicBezTo>
                    <a:pt x="3858" y="4170"/>
                    <a:pt x="3965" y="4289"/>
                    <a:pt x="4096" y="4313"/>
                  </a:cubicBezTo>
                  <a:lnTo>
                    <a:pt x="4632" y="4491"/>
                  </a:lnTo>
                  <a:cubicBezTo>
                    <a:pt x="4668" y="4503"/>
                    <a:pt x="4705" y="4510"/>
                    <a:pt x="4741" y="4510"/>
                  </a:cubicBezTo>
                  <a:cubicBezTo>
                    <a:pt x="4813" y="4510"/>
                    <a:pt x="4882" y="4484"/>
                    <a:pt x="4930" y="4420"/>
                  </a:cubicBezTo>
                  <a:cubicBezTo>
                    <a:pt x="5001" y="4360"/>
                    <a:pt x="5037" y="4253"/>
                    <a:pt x="5025" y="4170"/>
                  </a:cubicBezTo>
                  <a:lnTo>
                    <a:pt x="5692" y="4110"/>
                  </a:lnTo>
                  <a:cubicBezTo>
                    <a:pt x="5823" y="4099"/>
                    <a:pt x="5930" y="4039"/>
                    <a:pt x="6013" y="3932"/>
                  </a:cubicBezTo>
                  <a:cubicBezTo>
                    <a:pt x="6096" y="3825"/>
                    <a:pt x="6120" y="3694"/>
                    <a:pt x="6096" y="3575"/>
                  </a:cubicBezTo>
                  <a:lnTo>
                    <a:pt x="6073" y="3479"/>
                  </a:lnTo>
                  <a:cubicBezTo>
                    <a:pt x="6050" y="3344"/>
                    <a:pt x="5931" y="3240"/>
                    <a:pt x="5776" y="3240"/>
                  </a:cubicBezTo>
                  <a:cubicBezTo>
                    <a:pt x="5768" y="3240"/>
                    <a:pt x="5760" y="3241"/>
                    <a:pt x="5751" y="3241"/>
                  </a:cubicBezTo>
                  <a:lnTo>
                    <a:pt x="5406" y="3277"/>
                  </a:lnTo>
                  <a:lnTo>
                    <a:pt x="5346" y="3217"/>
                  </a:lnTo>
                  <a:lnTo>
                    <a:pt x="5811" y="2753"/>
                  </a:lnTo>
                  <a:cubicBezTo>
                    <a:pt x="5870" y="2694"/>
                    <a:pt x="5870" y="2586"/>
                    <a:pt x="5811" y="2515"/>
                  </a:cubicBezTo>
                  <a:cubicBezTo>
                    <a:pt x="5781" y="2485"/>
                    <a:pt x="5739" y="2470"/>
                    <a:pt x="5696" y="2470"/>
                  </a:cubicBezTo>
                  <a:cubicBezTo>
                    <a:pt x="5653" y="2470"/>
                    <a:pt x="5608" y="2485"/>
                    <a:pt x="5573" y="2515"/>
                  </a:cubicBezTo>
                  <a:lnTo>
                    <a:pt x="5001" y="3063"/>
                  </a:lnTo>
                  <a:lnTo>
                    <a:pt x="4811" y="3146"/>
                  </a:lnTo>
                  <a:lnTo>
                    <a:pt x="4287" y="2741"/>
                  </a:lnTo>
                  <a:cubicBezTo>
                    <a:pt x="4260" y="2714"/>
                    <a:pt x="4220" y="2701"/>
                    <a:pt x="4181" y="2701"/>
                  </a:cubicBezTo>
                  <a:cubicBezTo>
                    <a:pt x="4168" y="2701"/>
                    <a:pt x="4156" y="2703"/>
                    <a:pt x="4144" y="2706"/>
                  </a:cubicBezTo>
                  <a:lnTo>
                    <a:pt x="3418" y="2944"/>
                  </a:lnTo>
                  <a:cubicBezTo>
                    <a:pt x="3394" y="2944"/>
                    <a:pt x="3370" y="2967"/>
                    <a:pt x="3358" y="2979"/>
                  </a:cubicBezTo>
                  <a:lnTo>
                    <a:pt x="3394" y="2753"/>
                  </a:lnTo>
                  <a:lnTo>
                    <a:pt x="3977" y="2336"/>
                  </a:lnTo>
                  <a:lnTo>
                    <a:pt x="4572" y="2253"/>
                  </a:lnTo>
                  <a:cubicBezTo>
                    <a:pt x="4644" y="2229"/>
                    <a:pt x="4703" y="2170"/>
                    <a:pt x="4703" y="2110"/>
                  </a:cubicBezTo>
                  <a:lnTo>
                    <a:pt x="4787" y="1634"/>
                  </a:lnTo>
                  <a:cubicBezTo>
                    <a:pt x="4787" y="1598"/>
                    <a:pt x="4787" y="1551"/>
                    <a:pt x="4751" y="1515"/>
                  </a:cubicBezTo>
                  <a:lnTo>
                    <a:pt x="4513" y="1205"/>
                  </a:lnTo>
                  <a:cubicBezTo>
                    <a:pt x="4489" y="1158"/>
                    <a:pt x="4430" y="1146"/>
                    <a:pt x="4382" y="1146"/>
                  </a:cubicBezTo>
                  <a:cubicBezTo>
                    <a:pt x="4322" y="1146"/>
                    <a:pt x="4275" y="1182"/>
                    <a:pt x="4251" y="1217"/>
                  </a:cubicBezTo>
                  <a:lnTo>
                    <a:pt x="4072" y="1491"/>
                  </a:lnTo>
                  <a:lnTo>
                    <a:pt x="3870" y="1479"/>
                  </a:lnTo>
                  <a:lnTo>
                    <a:pt x="4203" y="860"/>
                  </a:lnTo>
                  <a:lnTo>
                    <a:pt x="4525" y="860"/>
                  </a:lnTo>
                  <a:lnTo>
                    <a:pt x="4787" y="1324"/>
                  </a:lnTo>
                  <a:cubicBezTo>
                    <a:pt x="4811" y="1384"/>
                    <a:pt x="4870" y="1420"/>
                    <a:pt x="4930" y="1420"/>
                  </a:cubicBezTo>
                  <a:cubicBezTo>
                    <a:pt x="4989" y="1420"/>
                    <a:pt x="5049" y="1372"/>
                    <a:pt x="5084" y="1312"/>
                  </a:cubicBezTo>
                  <a:lnTo>
                    <a:pt x="5323" y="765"/>
                  </a:lnTo>
                  <a:cubicBezTo>
                    <a:pt x="5358" y="658"/>
                    <a:pt x="5346" y="550"/>
                    <a:pt x="5287" y="467"/>
                  </a:cubicBezTo>
                  <a:lnTo>
                    <a:pt x="5287" y="467"/>
                  </a:lnTo>
                  <a:cubicBezTo>
                    <a:pt x="5834" y="610"/>
                    <a:pt x="6346" y="884"/>
                    <a:pt x="6787" y="1253"/>
                  </a:cubicBezTo>
                  <a:cubicBezTo>
                    <a:pt x="6825" y="1280"/>
                    <a:pt x="6864" y="1292"/>
                    <a:pt x="6903" y="1292"/>
                  </a:cubicBezTo>
                  <a:cubicBezTo>
                    <a:pt x="6949" y="1292"/>
                    <a:pt x="6992" y="1274"/>
                    <a:pt x="7025" y="1241"/>
                  </a:cubicBezTo>
                  <a:cubicBezTo>
                    <a:pt x="7085" y="1158"/>
                    <a:pt x="7073" y="1062"/>
                    <a:pt x="7013" y="1003"/>
                  </a:cubicBezTo>
                  <a:cubicBezTo>
                    <a:pt x="6253" y="345"/>
                    <a:pt x="5266" y="0"/>
                    <a:pt x="42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45" name="Google Shape;10845;p60"/>
          <p:cNvGrpSpPr/>
          <p:nvPr/>
        </p:nvGrpSpPr>
        <p:grpSpPr>
          <a:xfrm>
            <a:off x="1289311" y="2926222"/>
            <a:ext cx="408156" cy="299783"/>
            <a:chOff x="1289311" y="2926222"/>
            <a:chExt cx="408156" cy="299783"/>
          </a:xfrm>
        </p:grpSpPr>
        <p:sp>
          <p:nvSpPr>
            <p:cNvPr id="10846" name="Google Shape;10846;p60"/>
            <p:cNvSpPr/>
            <p:nvPr/>
          </p:nvSpPr>
          <p:spPr>
            <a:xfrm>
              <a:off x="1334029" y="2952385"/>
              <a:ext cx="318339" cy="216395"/>
            </a:xfrm>
            <a:custGeom>
              <a:avLst/>
              <a:gdLst/>
              <a:ahLst/>
              <a:cxnLst/>
              <a:rect l="l" t="t" r="r" b="b"/>
              <a:pathLst>
                <a:path w="10002" h="6799" extrusionOk="0">
                  <a:moveTo>
                    <a:pt x="3203" y="1369"/>
                  </a:moveTo>
                  <a:cubicBezTo>
                    <a:pt x="3429" y="1369"/>
                    <a:pt x="3620" y="1548"/>
                    <a:pt x="3620" y="1786"/>
                  </a:cubicBezTo>
                  <a:lnTo>
                    <a:pt x="3620" y="2179"/>
                  </a:lnTo>
                  <a:cubicBezTo>
                    <a:pt x="3620" y="2524"/>
                    <a:pt x="3334" y="2798"/>
                    <a:pt x="3012" y="2798"/>
                  </a:cubicBezTo>
                  <a:cubicBezTo>
                    <a:pt x="2679" y="2798"/>
                    <a:pt x="2381" y="2524"/>
                    <a:pt x="2381" y="2179"/>
                  </a:cubicBezTo>
                  <a:lnTo>
                    <a:pt x="2381" y="1786"/>
                  </a:lnTo>
                  <a:cubicBezTo>
                    <a:pt x="2381" y="1560"/>
                    <a:pt x="2560" y="1369"/>
                    <a:pt x="2798" y="1369"/>
                  </a:cubicBezTo>
                  <a:close/>
                  <a:moveTo>
                    <a:pt x="8013" y="1191"/>
                  </a:moveTo>
                  <a:cubicBezTo>
                    <a:pt x="8132" y="1191"/>
                    <a:pt x="8215" y="1274"/>
                    <a:pt x="8215" y="1393"/>
                  </a:cubicBezTo>
                  <a:lnTo>
                    <a:pt x="8215" y="1989"/>
                  </a:lnTo>
                  <a:cubicBezTo>
                    <a:pt x="8215" y="2060"/>
                    <a:pt x="8168" y="2131"/>
                    <a:pt x="8108" y="2167"/>
                  </a:cubicBezTo>
                  <a:cubicBezTo>
                    <a:pt x="8061" y="2203"/>
                    <a:pt x="8025" y="2262"/>
                    <a:pt x="8025" y="2334"/>
                  </a:cubicBezTo>
                  <a:lnTo>
                    <a:pt x="8025" y="2632"/>
                  </a:lnTo>
                  <a:cubicBezTo>
                    <a:pt x="8025" y="2715"/>
                    <a:pt x="8085" y="2798"/>
                    <a:pt x="8168" y="2810"/>
                  </a:cubicBezTo>
                  <a:lnTo>
                    <a:pt x="8680" y="2929"/>
                  </a:lnTo>
                  <a:cubicBezTo>
                    <a:pt x="8763" y="2953"/>
                    <a:pt x="8847" y="3036"/>
                    <a:pt x="8847" y="3132"/>
                  </a:cubicBezTo>
                  <a:lnTo>
                    <a:pt x="8847" y="3191"/>
                  </a:lnTo>
                  <a:lnTo>
                    <a:pt x="6799" y="3191"/>
                  </a:lnTo>
                  <a:lnTo>
                    <a:pt x="6799" y="3132"/>
                  </a:lnTo>
                  <a:cubicBezTo>
                    <a:pt x="6799" y="3024"/>
                    <a:pt x="6858" y="2953"/>
                    <a:pt x="6965" y="2929"/>
                  </a:cubicBezTo>
                  <a:lnTo>
                    <a:pt x="7477" y="2810"/>
                  </a:lnTo>
                  <a:cubicBezTo>
                    <a:pt x="7561" y="2798"/>
                    <a:pt x="7620" y="2715"/>
                    <a:pt x="7620" y="2632"/>
                  </a:cubicBezTo>
                  <a:lnTo>
                    <a:pt x="7620" y="2334"/>
                  </a:lnTo>
                  <a:cubicBezTo>
                    <a:pt x="7596" y="2274"/>
                    <a:pt x="7561" y="2215"/>
                    <a:pt x="7501" y="2167"/>
                  </a:cubicBezTo>
                  <a:cubicBezTo>
                    <a:pt x="7430" y="2120"/>
                    <a:pt x="7406" y="2060"/>
                    <a:pt x="7406" y="1989"/>
                  </a:cubicBezTo>
                  <a:lnTo>
                    <a:pt x="7406" y="1393"/>
                  </a:lnTo>
                  <a:cubicBezTo>
                    <a:pt x="7406" y="1274"/>
                    <a:pt x="7489" y="1191"/>
                    <a:pt x="7608" y="1191"/>
                  </a:cubicBezTo>
                  <a:close/>
                  <a:moveTo>
                    <a:pt x="9620" y="369"/>
                  </a:moveTo>
                  <a:lnTo>
                    <a:pt x="9620" y="3191"/>
                  </a:lnTo>
                  <a:lnTo>
                    <a:pt x="9192" y="3191"/>
                  </a:lnTo>
                  <a:lnTo>
                    <a:pt x="9192" y="3132"/>
                  </a:lnTo>
                  <a:cubicBezTo>
                    <a:pt x="9192" y="2870"/>
                    <a:pt x="9013" y="2632"/>
                    <a:pt x="8739" y="2572"/>
                  </a:cubicBezTo>
                  <a:lnTo>
                    <a:pt x="8382" y="2477"/>
                  </a:lnTo>
                  <a:lnTo>
                    <a:pt x="8382" y="2417"/>
                  </a:lnTo>
                  <a:cubicBezTo>
                    <a:pt x="8501" y="2322"/>
                    <a:pt x="8573" y="2155"/>
                    <a:pt x="8573" y="1977"/>
                  </a:cubicBezTo>
                  <a:lnTo>
                    <a:pt x="8573" y="1381"/>
                  </a:lnTo>
                  <a:cubicBezTo>
                    <a:pt x="8573" y="1048"/>
                    <a:pt x="8311" y="786"/>
                    <a:pt x="7977" y="786"/>
                  </a:cubicBezTo>
                  <a:lnTo>
                    <a:pt x="7584" y="786"/>
                  </a:lnTo>
                  <a:cubicBezTo>
                    <a:pt x="7251" y="786"/>
                    <a:pt x="6989" y="1048"/>
                    <a:pt x="6989" y="1381"/>
                  </a:cubicBezTo>
                  <a:lnTo>
                    <a:pt x="6989" y="1977"/>
                  </a:lnTo>
                  <a:cubicBezTo>
                    <a:pt x="6989" y="2143"/>
                    <a:pt x="7061" y="2298"/>
                    <a:pt x="7180" y="2417"/>
                  </a:cubicBezTo>
                  <a:lnTo>
                    <a:pt x="7180" y="2477"/>
                  </a:lnTo>
                  <a:lnTo>
                    <a:pt x="6822" y="2572"/>
                  </a:lnTo>
                  <a:cubicBezTo>
                    <a:pt x="6549" y="2632"/>
                    <a:pt x="6370" y="2870"/>
                    <a:pt x="6370" y="3132"/>
                  </a:cubicBezTo>
                  <a:lnTo>
                    <a:pt x="6370" y="3191"/>
                  </a:lnTo>
                  <a:lnTo>
                    <a:pt x="5941" y="3191"/>
                  </a:lnTo>
                  <a:lnTo>
                    <a:pt x="5941" y="369"/>
                  </a:lnTo>
                  <a:close/>
                  <a:moveTo>
                    <a:pt x="3227" y="3179"/>
                  </a:moveTo>
                  <a:lnTo>
                    <a:pt x="3227" y="3274"/>
                  </a:lnTo>
                  <a:cubicBezTo>
                    <a:pt x="3203" y="3346"/>
                    <a:pt x="3239" y="3405"/>
                    <a:pt x="3262" y="3465"/>
                  </a:cubicBezTo>
                  <a:lnTo>
                    <a:pt x="3012" y="3715"/>
                  </a:lnTo>
                  <a:lnTo>
                    <a:pt x="3001" y="3715"/>
                  </a:lnTo>
                  <a:lnTo>
                    <a:pt x="2739" y="3465"/>
                  </a:lnTo>
                  <a:cubicBezTo>
                    <a:pt x="2774" y="3405"/>
                    <a:pt x="2798" y="3346"/>
                    <a:pt x="2798" y="3274"/>
                  </a:cubicBezTo>
                  <a:lnTo>
                    <a:pt x="2798" y="3179"/>
                  </a:lnTo>
                  <a:close/>
                  <a:moveTo>
                    <a:pt x="3572" y="3667"/>
                  </a:moveTo>
                  <a:lnTo>
                    <a:pt x="3953" y="3822"/>
                  </a:lnTo>
                  <a:cubicBezTo>
                    <a:pt x="4108" y="3882"/>
                    <a:pt x="4215" y="4048"/>
                    <a:pt x="4215" y="4203"/>
                  </a:cubicBezTo>
                  <a:lnTo>
                    <a:pt x="4215" y="5394"/>
                  </a:lnTo>
                  <a:cubicBezTo>
                    <a:pt x="4215" y="5513"/>
                    <a:pt x="4132" y="5608"/>
                    <a:pt x="4013" y="5608"/>
                  </a:cubicBezTo>
                  <a:lnTo>
                    <a:pt x="3191" y="5608"/>
                  </a:lnTo>
                  <a:lnTo>
                    <a:pt x="3191" y="5382"/>
                  </a:lnTo>
                  <a:lnTo>
                    <a:pt x="3608" y="5382"/>
                  </a:lnTo>
                  <a:cubicBezTo>
                    <a:pt x="3715" y="5382"/>
                    <a:pt x="3798" y="5299"/>
                    <a:pt x="3798" y="5191"/>
                  </a:cubicBezTo>
                  <a:lnTo>
                    <a:pt x="3798" y="4596"/>
                  </a:lnTo>
                  <a:cubicBezTo>
                    <a:pt x="3798" y="4489"/>
                    <a:pt x="3715" y="4406"/>
                    <a:pt x="3608" y="4406"/>
                  </a:cubicBezTo>
                  <a:cubicBezTo>
                    <a:pt x="3501" y="4406"/>
                    <a:pt x="3417" y="4489"/>
                    <a:pt x="3417" y="4596"/>
                  </a:cubicBezTo>
                  <a:lnTo>
                    <a:pt x="3417" y="5013"/>
                  </a:lnTo>
                  <a:lnTo>
                    <a:pt x="2584" y="5013"/>
                  </a:lnTo>
                  <a:lnTo>
                    <a:pt x="2584" y="4596"/>
                  </a:lnTo>
                  <a:cubicBezTo>
                    <a:pt x="2584" y="4489"/>
                    <a:pt x="2489" y="4406"/>
                    <a:pt x="2381" y="4406"/>
                  </a:cubicBezTo>
                  <a:cubicBezTo>
                    <a:pt x="2286" y="4406"/>
                    <a:pt x="2191" y="4489"/>
                    <a:pt x="2191" y="4596"/>
                  </a:cubicBezTo>
                  <a:lnTo>
                    <a:pt x="2191" y="5191"/>
                  </a:lnTo>
                  <a:cubicBezTo>
                    <a:pt x="2191" y="5299"/>
                    <a:pt x="2286" y="5382"/>
                    <a:pt x="2381" y="5382"/>
                  </a:cubicBezTo>
                  <a:lnTo>
                    <a:pt x="2798" y="5382"/>
                  </a:lnTo>
                  <a:lnTo>
                    <a:pt x="2798" y="5608"/>
                  </a:lnTo>
                  <a:lnTo>
                    <a:pt x="1989" y="5608"/>
                  </a:lnTo>
                  <a:cubicBezTo>
                    <a:pt x="1869" y="5608"/>
                    <a:pt x="1774" y="5513"/>
                    <a:pt x="1774" y="5394"/>
                  </a:cubicBezTo>
                  <a:lnTo>
                    <a:pt x="1774" y="4203"/>
                  </a:lnTo>
                  <a:cubicBezTo>
                    <a:pt x="1774" y="4048"/>
                    <a:pt x="1881" y="3882"/>
                    <a:pt x="2048" y="3822"/>
                  </a:cubicBezTo>
                  <a:lnTo>
                    <a:pt x="2417" y="3667"/>
                  </a:lnTo>
                  <a:lnTo>
                    <a:pt x="2727" y="3989"/>
                  </a:lnTo>
                  <a:cubicBezTo>
                    <a:pt x="2798" y="4060"/>
                    <a:pt x="2905" y="4108"/>
                    <a:pt x="3001" y="4108"/>
                  </a:cubicBezTo>
                  <a:cubicBezTo>
                    <a:pt x="3096" y="4108"/>
                    <a:pt x="3191" y="4060"/>
                    <a:pt x="3262" y="3989"/>
                  </a:cubicBezTo>
                  <a:lnTo>
                    <a:pt x="3572" y="3667"/>
                  </a:lnTo>
                  <a:close/>
                  <a:moveTo>
                    <a:pt x="5632" y="5596"/>
                  </a:moveTo>
                  <a:lnTo>
                    <a:pt x="5632" y="6406"/>
                  </a:lnTo>
                  <a:lnTo>
                    <a:pt x="381" y="6406"/>
                  </a:lnTo>
                  <a:lnTo>
                    <a:pt x="381" y="5596"/>
                  </a:lnTo>
                  <a:lnTo>
                    <a:pt x="1429" y="5596"/>
                  </a:lnTo>
                  <a:cubicBezTo>
                    <a:pt x="1512" y="5834"/>
                    <a:pt x="1727" y="5989"/>
                    <a:pt x="2000" y="5989"/>
                  </a:cubicBezTo>
                  <a:lnTo>
                    <a:pt x="4013" y="5989"/>
                  </a:lnTo>
                  <a:cubicBezTo>
                    <a:pt x="4263" y="5989"/>
                    <a:pt x="4489" y="5834"/>
                    <a:pt x="4572" y="5596"/>
                  </a:cubicBezTo>
                  <a:close/>
                  <a:moveTo>
                    <a:pt x="8025" y="4406"/>
                  </a:moveTo>
                  <a:cubicBezTo>
                    <a:pt x="8144" y="4406"/>
                    <a:pt x="8227" y="4489"/>
                    <a:pt x="8227" y="4608"/>
                  </a:cubicBezTo>
                  <a:lnTo>
                    <a:pt x="8227" y="5203"/>
                  </a:lnTo>
                  <a:cubicBezTo>
                    <a:pt x="8227" y="5275"/>
                    <a:pt x="8192" y="5358"/>
                    <a:pt x="8132" y="5382"/>
                  </a:cubicBezTo>
                  <a:cubicBezTo>
                    <a:pt x="8073" y="5418"/>
                    <a:pt x="8037" y="5477"/>
                    <a:pt x="8037" y="5549"/>
                  </a:cubicBezTo>
                  <a:lnTo>
                    <a:pt x="8037" y="5846"/>
                  </a:lnTo>
                  <a:cubicBezTo>
                    <a:pt x="8037" y="5930"/>
                    <a:pt x="8096" y="6013"/>
                    <a:pt x="8192" y="6025"/>
                  </a:cubicBezTo>
                  <a:lnTo>
                    <a:pt x="8692" y="6144"/>
                  </a:lnTo>
                  <a:cubicBezTo>
                    <a:pt x="8787" y="6168"/>
                    <a:pt x="8858" y="6251"/>
                    <a:pt x="8858" y="6346"/>
                  </a:cubicBezTo>
                  <a:lnTo>
                    <a:pt x="8858" y="6406"/>
                  </a:lnTo>
                  <a:lnTo>
                    <a:pt x="6787" y="6406"/>
                  </a:lnTo>
                  <a:lnTo>
                    <a:pt x="6787" y="6346"/>
                  </a:lnTo>
                  <a:cubicBezTo>
                    <a:pt x="6787" y="6251"/>
                    <a:pt x="6846" y="6168"/>
                    <a:pt x="6953" y="6144"/>
                  </a:cubicBezTo>
                  <a:lnTo>
                    <a:pt x="7465" y="6025"/>
                  </a:lnTo>
                  <a:cubicBezTo>
                    <a:pt x="7549" y="6013"/>
                    <a:pt x="7608" y="5930"/>
                    <a:pt x="7608" y="5846"/>
                  </a:cubicBezTo>
                  <a:lnTo>
                    <a:pt x="7608" y="5549"/>
                  </a:lnTo>
                  <a:cubicBezTo>
                    <a:pt x="7608" y="5489"/>
                    <a:pt x="7584" y="5418"/>
                    <a:pt x="7513" y="5382"/>
                  </a:cubicBezTo>
                  <a:cubicBezTo>
                    <a:pt x="7442" y="5334"/>
                    <a:pt x="7418" y="5275"/>
                    <a:pt x="7418" y="5203"/>
                  </a:cubicBezTo>
                  <a:lnTo>
                    <a:pt x="7418" y="4608"/>
                  </a:lnTo>
                  <a:cubicBezTo>
                    <a:pt x="7418" y="4489"/>
                    <a:pt x="7501" y="4406"/>
                    <a:pt x="7620" y="4406"/>
                  </a:cubicBezTo>
                  <a:close/>
                  <a:moveTo>
                    <a:pt x="9585" y="3584"/>
                  </a:moveTo>
                  <a:lnTo>
                    <a:pt x="9585" y="6406"/>
                  </a:lnTo>
                  <a:lnTo>
                    <a:pt x="9204" y="6406"/>
                  </a:lnTo>
                  <a:lnTo>
                    <a:pt x="9204" y="6346"/>
                  </a:lnTo>
                  <a:cubicBezTo>
                    <a:pt x="9204" y="6084"/>
                    <a:pt x="9025" y="5846"/>
                    <a:pt x="8751" y="5787"/>
                  </a:cubicBezTo>
                  <a:lnTo>
                    <a:pt x="8394" y="5691"/>
                  </a:lnTo>
                  <a:lnTo>
                    <a:pt x="8394" y="5632"/>
                  </a:lnTo>
                  <a:cubicBezTo>
                    <a:pt x="8513" y="5537"/>
                    <a:pt x="8596" y="5370"/>
                    <a:pt x="8596" y="5191"/>
                  </a:cubicBezTo>
                  <a:lnTo>
                    <a:pt x="8596" y="4596"/>
                  </a:lnTo>
                  <a:cubicBezTo>
                    <a:pt x="8596" y="4263"/>
                    <a:pt x="8323" y="4001"/>
                    <a:pt x="8001" y="4001"/>
                  </a:cubicBezTo>
                  <a:lnTo>
                    <a:pt x="7596" y="4001"/>
                  </a:lnTo>
                  <a:cubicBezTo>
                    <a:pt x="7263" y="4001"/>
                    <a:pt x="7001" y="4263"/>
                    <a:pt x="7001" y="4596"/>
                  </a:cubicBezTo>
                  <a:lnTo>
                    <a:pt x="7001" y="5191"/>
                  </a:lnTo>
                  <a:cubicBezTo>
                    <a:pt x="7001" y="5358"/>
                    <a:pt x="7072" y="5513"/>
                    <a:pt x="7192" y="5632"/>
                  </a:cubicBezTo>
                  <a:lnTo>
                    <a:pt x="7192" y="5691"/>
                  </a:lnTo>
                  <a:lnTo>
                    <a:pt x="6834" y="5787"/>
                  </a:lnTo>
                  <a:cubicBezTo>
                    <a:pt x="6572" y="5846"/>
                    <a:pt x="6394" y="6084"/>
                    <a:pt x="6394" y="6346"/>
                  </a:cubicBezTo>
                  <a:lnTo>
                    <a:pt x="6394" y="6406"/>
                  </a:lnTo>
                  <a:lnTo>
                    <a:pt x="5953" y="6406"/>
                  </a:lnTo>
                  <a:lnTo>
                    <a:pt x="5953" y="3584"/>
                  </a:lnTo>
                  <a:close/>
                  <a:moveTo>
                    <a:pt x="203" y="0"/>
                  </a:moveTo>
                  <a:cubicBezTo>
                    <a:pt x="95" y="0"/>
                    <a:pt x="0" y="84"/>
                    <a:pt x="0" y="191"/>
                  </a:cubicBezTo>
                  <a:lnTo>
                    <a:pt x="0" y="6596"/>
                  </a:lnTo>
                  <a:cubicBezTo>
                    <a:pt x="0" y="6703"/>
                    <a:pt x="95" y="6799"/>
                    <a:pt x="203" y="6799"/>
                  </a:cubicBezTo>
                  <a:lnTo>
                    <a:pt x="9811" y="6799"/>
                  </a:lnTo>
                  <a:cubicBezTo>
                    <a:pt x="9918" y="6799"/>
                    <a:pt x="10001" y="6703"/>
                    <a:pt x="10001" y="6596"/>
                  </a:cubicBezTo>
                  <a:lnTo>
                    <a:pt x="10001" y="191"/>
                  </a:lnTo>
                  <a:cubicBezTo>
                    <a:pt x="10001" y="84"/>
                    <a:pt x="9918" y="0"/>
                    <a:pt x="9811" y="0"/>
                  </a:cubicBezTo>
                  <a:lnTo>
                    <a:pt x="1584" y="0"/>
                  </a:lnTo>
                  <a:cubicBezTo>
                    <a:pt x="1477" y="0"/>
                    <a:pt x="1381" y="84"/>
                    <a:pt x="1381" y="191"/>
                  </a:cubicBezTo>
                  <a:cubicBezTo>
                    <a:pt x="1381" y="286"/>
                    <a:pt x="1477" y="381"/>
                    <a:pt x="1584" y="381"/>
                  </a:cubicBezTo>
                  <a:lnTo>
                    <a:pt x="5596" y="381"/>
                  </a:lnTo>
                  <a:lnTo>
                    <a:pt x="5596" y="5215"/>
                  </a:lnTo>
                  <a:lnTo>
                    <a:pt x="4572" y="5215"/>
                  </a:lnTo>
                  <a:lnTo>
                    <a:pt x="4572" y="4203"/>
                  </a:lnTo>
                  <a:cubicBezTo>
                    <a:pt x="4572" y="3882"/>
                    <a:pt x="4370" y="3584"/>
                    <a:pt x="4072" y="3477"/>
                  </a:cubicBezTo>
                  <a:lnTo>
                    <a:pt x="3572" y="3286"/>
                  </a:lnTo>
                  <a:lnTo>
                    <a:pt x="3572" y="3274"/>
                  </a:lnTo>
                  <a:lnTo>
                    <a:pt x="3572" y="2989"/>
                  </a:lnTo>
                  <a:cubicBezTo>
                    <a:pt x="3810" y="2810"/>
                    <a:pt x="3977" y="2512"/>
                    <a:pt x="3977" y="2203"/>
                  </a:cubicBezTo>
                  <a:lnTo>
                    <a:pt x="3977" y="1798"/>
                  </a:lnTo>
                  <a:cubicBezTo>
                    <a:pt x="3977" y="1369"/>
                    <a:pt x="3620" y="1012"/>
                    <a:pt x="3191" y="1012"/>
                  </a:cubicBezTo>
                  <a:lnTo>
                    <a:pt x="2786" y="1012"/>
                  </a:lnTo>
                  <a:cubicBezTo>
                    <a:pt x="2358" y="1012"/>
                    <a:pt x="2000" y="1369"/>
                    <a:pt x="2000" y="1798"/>
                  </a:cubicBezTo>
                  <a:lnTo>
                    <a:pt x="2000" y="2203"/>
                  </a:lnTo>
                  <a:cubicBezTo>
                    <a:pt x="2000" y="2524"/>
                    <a:pt x="2167" y="2810"/>
                    <a:pt x="2405" y="2989"/>
                  </a:cubicBezTo>
                  <a:lnTo>
                    <a:pt x="2405" y="3274"/>
                  </a:lnTo>
                  <a:lnTo>
                    <a:pt x="2405" y="3286"/>
                  </a:lnTo>
                  <a:lnTo>
                    <a:pt x="1905" y="3477"/>
                  </a:lnTo>
                  <a:cubicBezTo>
                    <a:pt x="1608" y="3596"/>
                    <a:pt x="1405" y="3894"/>
                    <a:pt x="1405" y="4203"/>
                  </a:cubicBezTo>
                  <a:lnTo>
                    <a:pt x="1405" y="5215"/>
                  </a:lnTo>
                  <a:lnTo>
                    <a:pt x="381" y="5215"/>
                  </a:lnTo>
                  <a:lnTo>
                    <a:pt x="381" y="381"/>
                  </a:lnTo>
                  <a:lnTo>
                    <a:pt x="798" y="381"/>
                  </a:lnTo>
                  <a:cubicBezTo>
                    <a:pt x="893" y="381"/>
                    <a:pt x="988" y="286"/>
                    <a:pt x="988" y="191"/>
                  </a:cubicBezTo>
                  <a:cubicBezTo>
                    <a:pt x="988" y="84"/>
                    <a:pt x="893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7" name="Google Shape;10847;p60"/>
            <p:cNvSpPr/>
            <p:nvPr/>
          </p:nvSpPr>
          <p:spPr>
            <a:xfrm>
              <a:off x="1289311" y="2926222"/>
              <a:ext cx="408156" cy="299783"/>
            </a:xfrm>
            <a:custGeom>
              <a:avLst/>
              <a:gdLst/>
              <a:ahLst/>
              <a:cxnLst/>
              <a:rect l="l" t="t" r="r" b="b"/>
              <a:pathLst>
                <a:path w="12824" h="9419" extrusionOk="0">
                  <a:moveTo>
                    <a:pt x="11621" y="382"/>
                  </a:moveTo>
                  <a:cubicBezTo>
                    <a:pt x="11740" y="382"/>
                    <a:pt x="11823" y="477"/>
                    <a:pt x="11823" y="596"/>
                  </a:cubicBezTo>
                  <a:lnTo>
                    <a:pt x="11823" y="8037"/>
                  </a:lnTo>
                  <a:lnTo>
                    <a:pt x="11406" y="8037"/>
                  </a:lnTo>
                  <a:cubicBezTo>
                    <a:pt x="11299" y="8037"/>
                    <a:pt x="11216" y="8121"/>
                    <a:pt x="11216" y="8228"/>
                  </a:cubicBezTo>
                  <a:cubicBezTo>
                    <a:pt x="11216" y="8335"/>
                    <a:pt x="11299" y="8418"/>
                    <a:pt x="11406" y="8418"/>
                  </a:cubicBezTo>
                  <a:lnTo>
                    <a:pt x="12407" y="8418"/>
                  </a:lnTo>
                  <a:cubicBezTo>
                    <a:pt x="12407" y="8418"/>
                    <a:pt x="12418" y="8418"/>
                    <a:pt x="12418" y="8442"/>
                  </a:cubicBezTo>
                  <a:lnTo>
                    <a:pt x="12418" y="8835"/>
                  </a:lnTo>
                  <a:cubicBezTo>
                    <a:pt x="12442" y="8942"/>
                    <a:pt x="12347" y="9049"/>
                    <a:pt x="12228" y="9049"/>
                  </a:cubicBezTo>
                  <a:lnTo>
                    <a:pt x="596" y="9049"/>
                  </a:lnTo>
                  <a:cubicBezTo>
                    <a:pt x="476" y="9049"/>
                    <a:pt x="381" y="8954"/>
                    <a:pt x="381" y="8835"/>
                  </a:cubicBezTo>
                  <a:lnTo>
                    <a:pt x="381" y="8442"/>
                  </a:lnTo>
                  <a:cubicBezTo>
                    <a:pt x="381" y="8442"/>
                    <a:pt x="381" y="8418"/>
                    <a:pt x="393" y="8418"/>
                  </a:cubicBezTo>
                  <a:lnTo>
                    <a:pt x="10621" y="8418"/>
                  </a:lnTo>
                  <a:cubicBezTo>
                    <a:pt x="10728" y="8418"/>
                    <a:pt x="10811" y="8335"/>
                    <a:pt x="10811" y="8228"/>
                  </a:cubicBezTo>
                  <a:cubicBezTo>
                    <a:pt x="10811" y="8121"/>
                    <a:pt x="10728" y="8037"/>
                    <a:pt x="10621" y="8037"/>
                  </a:cubicBezTo>
                  <a:lnTo>
                    <a:pt x="977" y="8037"/>
                  </a:lnTo>
                  <a:lnTo>
                    <a:pt x="977" y="596"/>
                  </a:lnTo>
                  <a:cubicBezTo>
                    <a:pt x="977" y="477"/>
                    <a:pt x="1072" y="382"/>
                    <a:pt x="1179" y="382"/>
                  </a:cubicBezTo>
                  <a:close/>
                  <a:moveTo>
                    <a:pt x="1191" y="1"/>
                  </a:moveTo>
                  <a:cubicBezTo>
                    <a:pt x="857" y="1"/>
                    <a:pt x="596" y="263"/>
                    <a:pt x="596" y="596"/>
                  </a:cubicBezTo>
                  <a:lnTo>
                    <a:pt x="596" y="8037"/>
                  </a:lnTo>
                  <a:lnTo>
                    <a:pt x="381" y="8037"/>
                  </a:lnTo>
                  <a:cubicBezTo>
                    <a:pt x="179" y="8037"/>
                    <a:pt x="0" y="8216"/>
                    <a:pt x="0" y="8418"/>
                  </a:cubicBezTo>
                  <a:lnTo>
                    <a:pt x="0" y="8823"/>
                  </a:lnTo>
                  <a:cubicBezTo>
                    <a:pt x="0" y="9157"/>
                    <a:pt x="262" y="9419"/>
                    <a:pt x="596" y="9419"/>
                  </a:cubicBezTo>
                  <a:lnTo>
                    <a:pt x="12228" y="9419"/>
                  </a:lnTo>
                  <a:cubicBezTo>
                    <a:pt x="12561" y="9419"/>
                    <a:pt x="12823" y="9157"/>
                    <a:pt x="12823" y="8823"/>
                  </a:cubicBezTo>
                  <a:lnTo>
                    <a:pt x="12823" y="8418"/>
                  </a:lnTo>
                  <a:cubicBezTo>
                    <a:pt x="12811" y="8216"/>
                    <a:pt x="12645" y="8037"/>
                    <a:pt x="12418" y="8037"/>
                  </a:cubicBezTo>
                  <a:lnTo>
                    <a:pt x="12216" y="8037"/>
                  </a:lnTo>
                  <a:lnTo>
                    <a:pt x="12216" y="596"/>
                  </a:lnTo>
                  <a:cubicBezTo>
                    <a:pt x="12216" y="263"/>
                    <a:pt x="11942" y="1"/>
                    <a:pt x="11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48" name="Google Shape;10848;p60"/>
          <p:cNvGrpSpPr/>
          <p:nvPr/>
        </p:nvGrpSpPr>
        <p:grpSpPr>
          <a:xfrm>
            <a:off x="7978465" y="1969392"/>
            <a:ext cx="361147" cy="360797"/>
            <a:chOff x="7978465" y="1969392"/>
            <a:chExt cx="361147" cy="360797"/>
          </a:xfrm>
        </p:grpSpPr>
        <p:sp>
          <p:nvSpPr>
            <p:cNvPr id="10849" name="Google Shape;10849;p60"/>
            <p:cNvSpPr/>
            <p:nvPr/>
          </p:nvSpPr>
          <p:spPr>
            <a:xfrm>
              <a:off x="8136871" y="2285821"/>
              <a:ext cx="44368" cy="44368"/>
            </a:xfrm>
            <a:custGeom>
              <a:avLst/>
              <a:gdLst/>
              <a:ahLst/>
              <a:cxnLst/>
              <a:rect l="l" t="t" r="r" b="b"/>
              <a:pathLst>
                <a:path w="1394" h="1394" extrusionOk="0">
                  <a:moveTo>
                    <a:pt x="691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691" y="1072"/>
                  </a:cubicBezTo>
                  <a:cubicBezTo>
                    <a:pt x="488" y="1072"/>
                    <a:pt x="322" y="905"/>
                    <a:pt x="322" y="703"/>
                  </a:cubicBezTo>
                  <a:cubicBezTo>
                    <a:pt x="322" y="488"/>
                    <a:pt x="488" y="322"/>
                    <a:pt x="691" y="322"/>
                  </a:cubicBezTo>
                  <a:close/>
                  <a:moveTo>
                    <a:pt x="691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691" y="1393"/>
                  </a:cubicBezTo>
                  <a:cubicBezTo>
                    <a:pt x="1084" y="1393"/>
                    <a:pt x="1393" y="1084"/>
                    <a:pt x="1393" y="703"/>
                  </a:cubicBezTo>
                  <a:cubicBezTo>
                    <a:pt x="1393" y="310"/>
                    <a:pt x="108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0" name="Google Shape;10850;p60"/>
            <p:cNvSpPr/>
            <p:nvPr/>
          </p:nvSpPr>
          <p:spPr>
            <a:xfrm>
              <a:off x="8210010" y="2121719"/>
              <a:ext cx="56112" cy="56112"/>
            </a:xfrm>
            <a:custGeom>
              <a:avLst/>
              <a:gdLst/>
              <a:ahLst/>
              <a:cxnLst/>
              <a:rect l="l" t="t" r="r" b="b"/>
              <a:pathLst>
                <a:path w="1763" h="1763" extrusionOk="0">
                  <a:moveTo>
                    <a:pt x="881" y="334"/>
                  </a:moveTo>
                  <a:cubicBezTo>
                    <a:pt x="1191" y="334"/>
                    <a:pt x="1429" y="572"/>
                    <a:pt x="1429" y="882"/>
                  </a:cubicBezTo>
                  <a:cubicBezTo>
                    <a:pt x="1417" y="1180"/>
                    <a:pt x="1179" y="1430"/>
                    <a:pt x="881" y="1430"/>
                  </a:cubicBezTo>
                  <a:cubicBezTo>
                    <a:pt x="583" y="1430"/>
                    <a:pt x="333" y="1191"/>
                    <a:pt x="333" y="882"/>
                  </a:cubicBezTo>
                  <a:cubicBezTo>
                    <a:pt x="333" y="584"/>
                    <a:pt x="572" y="334"/>
                    <a:pt x="881" y="334"/>
                  </a:cubicBezTo>
                  <a:close/>
                  <a:moveTo>
                    <a:pt x="881" y="1"/>
                  </a:moveTo>
                  <a:cubicBezTo>
                    <a:pt x="405" y="1"/>
                    <a:pt x="0" y="394"/>
                    <a:pt x="0" y="882"/>
                  </a:cubicBezTo>
                  <a:cubicBezTo>
                    <a:pt x="0" y="1358"/>
                    <a:pt x="393" y="1763"/>
                    <a:pt x="881" y="1763"/>
                  </a:cubicBezTo>
                  <a:cubicBezTo>
                    <a:pt x="1357" y="1763"/>
                    <a:pt x="1762" y="1370"/>
                    <a:pt x="1762" y="882"/>
                  </a:cubicBezTo>
                  <a:cubicBezTo>
                    <a:pt x="1762" y="406"/>
                    <a:pt x="135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1" name="Google Shape;10851;p60"/>
            <p:cNvSpPr/>
            <p:nvPr/>
          </p:nvSpPr>
          <p:spPr>
            <a:xfrm>
              <a:off x="8051987" y="2121719"/>
              <a:ext cx="55730" cy="56112"/>
            </a:xfrm>
            <a:custGeom>
              <a:avLst/>
              <a:gdLst/>
              <a:ahLst/>
              <a:cxnLst/>
              <a:rect l="l" t="t" r="r" b="b"/>
              <a:pathLst>
                <a:path w="1751" h="1763" extrusionOk="0">
                  <a:moveTo>
                    <a:pt x="881" y="334"/>
                  </a:moveTo>
                  <a:cubicBezTo>
                    <a:pt x="1179" y="334"/>
                    <a:pt x="1429" y="572"/>
                    <a:pt x="1429" y="882"/>
                  </a:cubicBezTo>
                  <a:cubicBezTo>
                    <a:pt x="1417" y="1180"/>
                    <a:pt x="1179" y="1430"/>
                    <a:pt x="881" y="1430"/>
                  </a:cubicBezTo>
                  <a:cubicBezTo>
                    <a:pt x="584" y="1430"/>
                    <a:pt x="322" y="1191"/>
                    <a:pt x="322" y="882"/>
                  </a:cubicBezTo>
                  <a:cubicBezTo>
                    <a:pt x="322" y="572"/>
                    <a:pt x="560" y="334"/>
                    <a:pt x="881" y="334"/>
                  </a:cubicBezTo>
                  <a:close/>
                  <a:moveTo>
                    <a:pt x="881" y="1"/>
                  </a:moveTo>
                  <a:cubicBezTo>
                    <a:pt x="405" y="1"/>
                    <a:pt x="0" y="394"/>
                    <a:pt x="0" y="882"/>
                  </a:cubicBezTo>
                  <a:cubicBezTo>
                    <a:pt x="0" y="1358"/>
                    <a:pt x="381" y="1763"/>
                    <a:pt x="881" y="1763"/>
                  </a:cubicBezTo>
                  <a:cubicBezTo>
                    <a:pt x="1357" y="1763"/>
                    <a:pt x="1750" y="1370"/>
                    <a:pt x="1750" y="882"/>
                  </a:cubicBezTo>
                  <a:cubicBezTo>
                    <a:pt x="1750" y="406"/>
                    <a:pt x="135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2" name="Google Shape;10852;p60"/>
            <p:cNvSpPr/>
            <p:nvPr/>
          </p:nvSpPr>
          <p:spPr>
            <a:xfrm>
              <a:off x="7978465" y="2285821"/>
              <a:ext cx="44749" cy="44368"/>
            </a:xfrm>
            <a:custGeom>
              <a:avLst/>
              <a:gdLst/>
              <a:ahLst/>
              <a:cxnLst/>
              <a:rect l="l" t="t" r="r" b="b"/>
              <a:pathLst>
                <a:path w="1406" h="1394" extrusionOk="0">
                  <a:moveTo>
                    <a:pt x="703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703" y="1072"/>
                  </a:cubicBezTo>
                  <a:cubicBezTo>
                    <a:pt x="489" y="1072"/>
                    <a:pt x="334" y="905"/>
                    <a:pt x="334" y="703"/>
                  </a:cubicBezTo>
                  <a:cubicBezTo>
                    <a:pt x="334" y="488"/>
                    <a:pt x="489" y="322"/>
                    <a:pt x="703" y="322"/>
                  </a:cubicBez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703" y="1393"/>
                  </a:cubicBezTo>
                  <a:cubicBezTo>
                    <a:pt x="1084" y="1393"/>
                    <a:pt x="1405" y="1084"/>
                    <a:pt x="1405" y="703"/>
                  </a:cubicBezTo>
                  <a:cubicBezTo>
                    <a:pt x="1405" y="310"/>
                    <a:pt x="1084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3" name="Google Shape;10853;p60"/>
            <p:cNvSpPr/>
            <p:nvPr/>
          </p:nvSpPr>
          <p:spPr>
            <a:xfrm>
              <a:off x="8294894" y="2285821"/>
              <a:ext cx="44718" cy="44368"/>
            </a:xfrm>
            <a:custGeom>
              <a:avLst/>
              <a:gdLst/>
              <a:ahLst/>
              <a:cxnLst/>
              <a:rect l="l" t="t" r="r" b="b"/>
              <a:pathLst>
                <a:path w="1405" h="1394" extrusionOk="0">
                  <a:moveTo>
                    <a:pt x="703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703" y="1072"/>
                  </a:cubicBezTo>
                  <a:cubicBezTo>
                    <a:pt x="488" y="1072"/>
                    <a:pt x="333" y="905"/>
                    <a:pt x="333" y="703"/>
                  </a:cubicBezTo>
                  <a:cubicBezTo>
                    <a:pt x="333" y="488"/>
                    <a:pt x="488" y="322"/>
                    <a:pt x="703" y="322"/>
                  </a:cubicBez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703" y="1393"/>
                  </a:cubicBezTo>
                  <a:cubicBezTo>
                    <a:pt x="1084" y="1393"/>
                    <a:pt x="1405" y="1084"/>
                    <a:pt x="1405" y="703"/>
                  </a:cubicBezTo>
                  <a:cubicBezTo>
                    <a:pt x="1405" y="310"/>
                    <a:pt x="1084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4" name="Google Shape;10854;p60"/>
            <p:cNvSpPr/>
            <p:nvPr/>
          </p:nvSpPr>
          <p:spPr>
            <a:xfrm>
              <a:off x="8119811" y="1969392"/>
              <a:ext cx="78455" cy="78487"/>
            </a:xfrm>
            <a:custGeom>
              <a:avLst/>
              <a:gdLst/>
              <a:ahLst/>
              <a:cxnLst/>
              <a:rect l="l" t="t" r="r" b="b"/>
              <a:pathLst>
                <a:path w="2465" h="2466" extrusionOk="0">
                  <a:moveTo>
                    <a:pt x="1227" y="346"/>
                  </a:moveTo>
                  <a:cubicBezTo>
                    <a:pt x="1727" y="346"/>
                    <a:pt x="2120" y="739"/>
                    <a:pt x="2120" y="1239"/>
                  </a:cubicBezTo>
                  <a:cubicBezTo>
                    <a:pt x="2120" y="1727"/>
                    <a:pt x="1727" y="2132"/>
                    <a:pt x="1227" y="2132"/>
                  </a:cubicBezTo>
                  <a:cubicBezTo>
                    <a:pt x="739" y="2132"/>
                    <a:pt x="334" y="1727"/>
                    <a:pt x="334" y="1239"/>
                  </a:cubicBezTo>
                  <a:cubicBezTo>
                    <a:pt x="334" y="739"/>
                    <a:pt x="739" y="346"/>
                    <a:pt x="1227" y="346"/>
                  </a:cubicBezTo>
                  <a:close/>
                  <a:moveTo>
                    <a:pt x="1227" y="1"/>
                  </a:moveTo>
                  <a:cubicBezTo>
                    <a:pt x="548" y="1"/>
                    <a:pt x="0" y="548"/>
                    <a:pt x="0" y="1239"/>
                  </a:cubicBezTo>
                  <a:cubicBezTo>
                    <a:pt x="0" y="1917"/>
                    <a:pt x="548" y="2465"/>
                    <a:pt x="1227" y="2465"/>
                  </a:cubicBezTo>
                  <a:cubicBezTo>
                    <a:pt x="1917" y="2465"/>
                    <a:pt x="2465" y="1917"/>
                    <a:pt x="2465" y="1239"/>
                  </a:cubicBezTo>
                  <a:cubicBezTo>
                    <a:pt x="2465" y="548"/>
                    <a:pt x="1905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5" name="Google Shape;10855;p60"/>
            <p:cNvSpPr/>
            <p:nvPr/>
          </p:nvSpPr>
          <p:spPr>
            <a:xfrm>
              <a:off x="8012202" y="2189575"/>
              <a:ext cx="134917" cy="89690"/>
            </a:xfrm>
            <a:custGeom>
              <a:avLst/>
              <a:gdLst/>
              <a:ahLst/>
              <a:cxnLst/>
              <a:rect l="l" t="t" r="r" b="b"/>
              <a:pathLst>
                <a:path w="4239" h="2818" extrusionOk="0">
                  <a:moveTo>
                    <a:pt x="2107" y="0"/>
                  </a:moveTo>
                  <a:cubicBezTo>
                    <a:pt x="2024" y="0"/>
                    <a:pt x="1953" y="71"/>
                    <a:pt x="1953" y="167"/>
                  </a:cubicBezTo>
                  <a:lnTo>
                    <a:pt x="1953" y="1417"/>
                  </a:lnTo>
                  <a:lnTo>
                    <a:pt x="1072" y="1417"/>
                  </a:lnTo>
                  <a:cubicBezTo>
                    <a:pt x="822" y="1417"/>
                    <a:pt x="583" y="1560"/>
                    <a:pt x="464" y="1786"/>
                  </a:cubicBezTo>
                  <a:lnTo>
                    <a:pt x="48" y="2560"/>
                  </a:lnTo>
                  <a:cubicBezTo>
                    <a:pt x="0" y="2631"/>
                    <a:pt x="24" y="2738"/>
                    <a:pt x="119" y="2786"/>
                  </a:cubicBezTo>
                  <a:cubicBezTo>
                    <a:pt x="143" y="2798"/>
                    <a:pt x="167" y="2798"/>
                    <a:pt x="191" y="2798"/>
                  </a:cubicBezTo>
                  <a:cubicBezTo>
                    <a:pt x="250" y="2798"/>
                    <a:pt x="310" y="2774"/>
                    <a:pt x="345" y="2715"/>
                  </a:cubicBezTo>
                  <a:lnTo>
                    <a:pt x="762" y="1941"/>
                  </a:lnTo>
                  <a:cubicBezTo>
                    <a:pt x="822" y="1822"/>
                    <a:pt x="953" y="1738"/>
                    <a:pt x="1083" y="1738"/>
                  </a:cubicBezTo>
                  <a:lnTo>
                    <a:pt x="3167" y="1738"/>
                  </a:lnTo>
                  <a:cubicBezTo>
                    <a:pt x="3298" y="1738"/>
                    <a:pt x="3417" y="1822"/>
                    <a:pt x="3500" y="1941"/>
                  </a:cubicBezTo>
                  <a:lnTo>
                    <a:pt x="3917" y="2727"/>
                  </a:lnTo>
                  <a:cubicBezTo>
                    <a:pt x="3943" y="2778"/>
                    <a:pt x="4006" y="2817"/>
                    <a:pt x="4066" y="2817"/>
                  </a:cubicBezTo>
                  <a:cubicBezTo>
                    <a:pt x="4089" y="2817"/>
                    <a:pt x="4112" y="2811"/>
                    <a:pt x="4131" y="2798"/>
                  </a:cubicBezTo>
                  <a:cubicBezTo>
                    <a:pt x="4215" y="2774"/>
                    <a:pt x="4239" y="2667"/>
                    <a:pt x="4191" y="2572"/>
                  </a:cubicBezTo>
                  <a:lnTo>
                    <a:pt x="3774" y="1786"/>
                  </a:lnTo>
                  <a:cubicBezTo>
                    <a:pt x="3655" y="1560"/>
                    <a:pt x="3417" y="1417"/>
                    <a:pt x="3155" y="1417"/>
                  </a:cubicBezTo>
                  <a:lnTo>
                    <a:pt x="2274" y="1417"/>
                  </a:lnTo>
                  <a:lnTo>
                    <a:pt x="2274" y="167"/>
                  </a:lnTo>
                  <a:cubicBezTo>
                    <a:pt x="2274" y="71"/>
                    <a:pt x="2203" y="0"/>
                    <a:pt x="21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6" name="Google Shape;10856;p60"/>
            <p:cNvSpPr/>
            <p:nvPr/>
          </p:nvSpPr>
          <p:spPr>
            <a:xfrm>
              <a:off x="8099346" y="2059973"/>
              <a:ext cx="119385" cy="56016"/>
            </a:xfrm>
            <a:custGeom>
              <a:avLst/>
              <a:gdLst/>
              <a:ahLst/>
              <a:cxnLst/>
              <a:rect l="l" t="t" r="r" b="b"/>
              <a:pathLst>
                <a:path w="3751" h="1760" extrusionOk="0">
                  <a:moveTo>
                    <a:pt x="1870" y="0"/>
                  </a:moveTo>
                  <a:cubicBezTo>
                    <a:pt x="1786" y="0"/>
                    <a:pt x="1715" y="72"/>
                    <a:pt x="1715" y="155"/>
                  </a:cubicBezTo>
                  <a:lnTo>
                    <a:pt x="1715" y="714"/>
                  </a:lnTo>
                  <a:lnTo>
                    <a:pt x="774" y="714"/>
                  </a:lnTo>
                  <a:cubicBezTo>
                    <a:pt x="584" y="714"/>
                    <a:pt x="405" y="810"/>
                    <a:pt x="310" y="988"/>
                  </a:cubicBezTo>
                  <a:lnTo>
                    <a:pt x="48" y="1512"/>
                  </a:lnTo>
                  <a:cubicBezTo>
                    <a:pt x="0" y="1584"/>
                    <a:pt x="24" y="1691"/>
                    <a:pt x="120" y="1738"/>
                  </a:cubicBezTo>
                  <a:cubicBezTo>
                    <a:pt x="141" y="1753"/>
                    <a:pt x="167" y="1760"/>
                    <a:pt x="192" y="1760"/>
                  </a:cubicBezTo>
                  <a:cubicBezTo>
                    <a:pt x="251" y="1760"/>
                    <a:pt x="313" y="1725"/>
                    <a:pt x="346" y="1667"/>
                  </a:cubicBezTo>
                  <a:lnTo>
                    <a:pt x="608" y="1143"/>
                  </a:lnTo>
                  <a:cubicBezTo>
                    <a:pt x="643" y="1084"/>
                    <a:pt x="715" y="1036"/>
                    <a:pt x="774" y="1036"/>
                  </a:cubicBezTo>
                  <a:lnTo>
                    <a:pt x="2977" y="1036"/>
                  </a:lnTo>
                  <a:cubicBezTo>
                    <a:pt x="3048" y="1036"/>
                    <a:pt x="3108" y="1084"/>
                    <a:pt x="3144" y="1143"/>
                  </a:cubicBezTo>
                  <a:lnTo>
                    <a:pt x="3406" y="1667"/>
                  </a:lnTo>
                  <a:cubicBezTo>
                    <a:pt x="3441" y="1727"/>
                    <a:pt x="3501" y="1750"/>
                    <a:pt x="3560" y="1750"/>
                  </a:cubicBezTo>
                  <a:cubicBezTo>
                    <a:pt x="3584" y="1750"/>
                    <a:pt x="3620" y="1750"/>
                    <a:pt x="3632" y="1738"/>
                  </a:cubicBezTo>
                  <a:cubicBezTo>
                    <a:pt x="3715" y="1691"/>
                    <a:pt x="3751" y="1584"/>
                    <a:pt x="3703" y="1512"/>
                  </a:cubicBezTo>
                  <a:lnTo>
                    <a:pt x="3441" y="988"/>
                  </a:lnTo>
                  <a:cubicBezTo>
                    <a:pt x="3346" y="810"/>
                    <a:pt x="3168" y="714"/>
                    <a:pt x="2977" y="714"/>
                  </a:cubicBezTo>
                  <a:lnTo>
                    <a:pt x="2036" y="714"/>
                  </a:lnTo>
                  <a:lnTo>
                    <a:pt x="2036" y="155"/>
                  </a:lnTo>
                  <a:cubicBezTo>
                    <a:pt x="2036" y="72"/>
                    <a:pt x="1965" y="0"/>
                    <a:pt x="1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7" name="Google Shape;10857;p60"/>
            <p:cNvSpPr/>
            <p:nvPr/>
          </p:nvSpPr>
          <p:spPr>
            <a:xfrm>
              <a:off x="8170194" y="2189925"/>
              <a:ext cx="135331" cy="89849"/>
            </a:xfrm>
            <a:custGeom>
              <a:avLst/>
              <a:gdLst/>
              <a:ahLst/>
              <a:cxnLst/>
              <a:rect l="l" t="t" r="r" b="b"/>
              <a:pathLst>
                <a:path w="4252" h="2823" extrusionOk="0">
                  <a:moveTo>
                    <a:pt x="2132" y="1"/>
                  </a:moveTo>
                  <a:cubicBezTo>
                    <a:pt x="2049" y="1"/>
                    <a:pt x="1965" y="84"/>
                    <a:pt x="1965" y="168"/>
                  </a:cubicBezTo>
                  <a:lnTo>
                    <a:pt x="1965" y="1418"/>
                  </a:lnTo>
                  <a:lnTo>
                    <a:pt x="1096" y="1418"/>
                  </a:lnTo>
                  <a:cubicBezTo>
                    <a:pt x="834" y="1418"/>
                    <a:pt x="596" y="1573"/>
                    <a:pt x="465" y="1787"/>
                  </a:cubicBezTo>
                  <a:lnTo>
                    <a:pt x="49" y="2585"/>
                  </a:lnTo>
                  <a:cubicBezTo>
                    <a:pt x="1" y="2656"/>
                    <a:pt x="37" y="2763"/>
                    <a:pt x="120" y="2799"/>
                  </a:cubicBezTo>
                  <a:cubicBezTo>
                    <a:pt x="148" y="2815"/>
                    <a:pt x="177" y="2823"/>
                    <a:pt x="205" y="2823"/>
                  </a:cubicBezTo>
                  <a:cubicBezTo>
                    <a:pt x="262" y="2823"/>
                    <a:pt x="314" y="2791"/>
                    <a:pt x="346" y="2727"/>
                  </a:cubicBezTo>
                  <a:lnTo>
                    <a:pt x="763" y="1942"/>
                  </a:lnTo>
                  <a:cubicBezTo>
                    <a:pt x="822" y="1823"/>
                    <a:pt x="953" y="1751"/>
                    <a:pt x="1096" y="1751"/>
                  </a:cubicBezTo>
                  <a:lnTo>
                    <a:pt x="3180" y="1751"/>
                  </a:lnTo>
                  <a:cubicBezTo>
                    <a:pt x="3311" y="1751"/>
                    <a:pt x="3430" y="1823"/>
                    <a:pt x="3501" y="1942"/>
                  </a:cubicBezTo>
                  <a:lnTo>
                    <a:pt x="3918" y="2716"/>
                  </a:lnTo>
                  <a:cubicBezTo>
                    <a:pt x="3954" y="2775"/>
                    <a:pt x="4013" y="2799"/>
                    <a:pt x="4073" y="2799"/>
                  </a:cubicBezTo>
                  <a:cubicBezTo>
                    <a:pt x="4097" y="2799"/>
                    <a:pt x="4132" y="2799"/>
                    <a:pt x="4144" y="2787"/>
                  </a:cubicBezTo>
                  <a:cubicBezTo>
                    <a:pt x="4216" y="2763"/>
                    <a:pt x="4251" y="2656"/>
                    <a:pt x="4204" y="2561"/>
                  </a:cubicBezTo>
                  <a:lnTo>
                    <a:pt x="3787" y="1787"/>
                  </a:lnTo>
                  <a:cubicBezTo>
                    <a:pt x="3668" y="1573"/>
                    <a:pt x="3430" y="1418"/>
                    <a:pt x="3180" y="1418"/>
                  </a:cubicBezTo>
                  <a:lnTo>
                    <a:pt x="2299" y="1418"/>
                  </a:lnTo>
                  <a:lnTo>
                    <a:pt x="2299" y="168"/>
                  </a:lnTo>
                  <a:cubicBezTo>
                    <a:pt x="2299" y="84"/>
                    <a:pt x="2227" y="1"/>
                    <a:pt x="2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58" name="Google Shape;10858;p60"/>
          <p:cNvSpPr/>
          <p:nvPr/>
        </p:nvSpPr>
        <p:spPr>
          <a:xfrm>
            <a:off x="2206357" y="2890607"/>
            <a:ext cx="372159" cy="372159"/>
          </a:xfrm>
          <a:custGeom>
            <a:avLst/>
            <a:gdLst/>
            <a:ahLst/>
            <a:cxnLst/>
            <a:rect l="l" t="t" r="r" b="b"/>
            <a:pathLst>
              <a:path w="11693" h="11693" extrusionOk="0">
                <a:moveTo>
                  <a:pt x="10252" y="584"/>
                </a:moveTo>
                <a:lnTo>
                  <a:pt x="10252" y="1263"/>
                </a:lnTo>
                <a:cubicBezTo>
                  <a:pt x="10252" y="1358"/>
                  <a:pt x="10323" y="1429"/>
                  <a:pt x="10406" y="1429"/>
                </a:cubicBezTo>
                <a:lnTo>
                  <a:pt x="11097" y="1429"/>
                </a:lnTo>
                <a:lnTo>
                  <a:pt x="9609" y="2918"/>
                </a:lnTo>
                <a:lnTo>
                  <a:pt x="9001" y="2918"/>
                </a:lnTo>
                <a:lnTo>
                  <a:pt x="9978" y="1941"/>
                </a:lnTo>
                <a:cubicBezTo>
                  <a:pt x="10037" y="1882"/>
                  <a:pt x="10037" y="1751"/>
                  <a:pt x="9978" y="1691"/>
                </a:cubicBezTo>
                <a:cubicBezTo>
                  <a:pt x="9948" y="1667"/>
                  <a:pt x="9903" y="1656"/>
                  <a:pt x="9859" y="1656"/>
                </a:cubicBezTo>
                <a:cubicBezTo>
                  <a:pt x="9814" y="1656"/>
                  <a:pt x="9769" y="1667"/>
                  <a:pt x="9740" y="1691"/>
                </a:cubicBezTo>
                <a:lnTo>
                  <a:pt x="8763" y="2679"/>
                </a:lnTo>
                <a:lnTo>
                  <a:pt x="8763" y="2072"/>
                </a:lnTo>
                <a:lnTo>
                  <a:pt x="10252" y="584"/>
                </a:lnTo>
                <a:close/>
                <a:moveTo>
                  <a:pt x="4739" y="2537"/>
                </a:moveTo>
                <a:cubicBezTo>
                  <a:pt x="5894" y="2537"/>
                  <a:pt x="6942" y="2977"/>
                  <a:pt x="7739" y="3703"/>
                </a:cubicBezTo>
                <a:lnTo>
                  <a:pt x="4620" y="6811"/>
                </a:lnTo>
                <a:cubicBezTo>
                  <a:pt x="4560" y="6870"/>
                  <a:pt x="4560" y="7001"/>
                  <a:pt x="4620" y="7049"/>
                </a:cubicBezTo>
                <a:cubicBezTo>
                  <a:pt x="4656" y="7085"/>
                  <a:pt x="4703" y="7097"/>
                  <a:pt x="4739" y="7097"/>
                </a:cubicBezTo>
                <a:cubicBezTo>
                  <a:pt x="4787" y="7097"/>
                  <a:pt x="4834" y="7085"/>
                  <a:pt x="4858" y="7049"/>
                </a:cubicBezTo>
                <a:lnTo>
                  <a:pt x="5632" y="6275"/>
                </a:lnTo>
                <a:cubicBezTo>
                  <a:pt x="5775" y="6478"/>
                  <a:pt x="5846" y="6692"/>
                  <a:pt x="5846" y="6930"/>
                </a:cubicBezTo>
                <a:cubicBezTo>
                  <a:pt x="5846" y="7549"/>
                  <a:pt x="5358" y="8037"/>
                  <a:pt x="4739" y="8037"/>
                </a:cubicBezTo>
                <a:cubicBezTo>
                  <a:pt x="4132" y="8037"/>
                  <a:pt x="3644" y="7549"/>
                  <a:pt x="3644" y="6930"/>
                </a:cubicBezTo>
                <a:cubicBezTo>
                  <a:pt x="3644" y="6323"/>
                  <a:pt x="4132" y="5835"/>
                  <a:pt x="4739" y="5835"/>
                </a:cubicBezTo>
                <a:cubicBezTo>
                  <a:pt x="4822" y="5835"/>
                  <a:pt x="4882" y="5835"/>
                  <a:pt x="4953" y="5847"/>
                </a:cubicBezTo>
                <a:cubicBezTo>
                  <a:pt x="4962" y="5848"/>
                  <a:pt x="4970" y="5848"/>
                  <a:pt x="4979" y="5848"/>
                </a:cubicBezTo>
                <a:cubicBezTo>
                  <a:pt x="5055" y="5848"/>
                  <a:pt x="5133" y="5801"/>
                  <a:pt x="5144" y="5716"/>
                </a:cubicBezTo>
                <a:cubicBezTo>
                  <a:pt x="5156" y="5620"/>
                  <a:pt x="5096" y="5537"/>
                  <a:pt x="5013" y="5525"/>
                </a:cubicBezTo>
                <a:cubicBezTo>
                  <a:pt x="4918" y="5513"/>
                  <a:pt x="4834" y="5489"/>
                  <a:pt x="4739" y="5489"/>
                </a:cubicBezTo>
                <a:cubicBezTo>
                  <a:pt x="3941" y="5489"/>
                  <a:pt x="3298" y="6144"/>
                  <a:pt x="3298" y="6942"/>
                </a:cubicBezTo>
                <a:cubicBezTo>
                  <a:pt x="3298" y="7740"/>
                  <a:pt x="3953" y="8383"/>
                  <a:pt x="4739" y="8383"/>
                </a:cubicBezTo>
                <a:cubicBezTo>
                  <a:pt x="5549" y="8383"/>
                  <a:pt x="6192" y="7728"/>
                  <a:pt x="6192" y="6942"/>
                </a:cubicBezTo>
                <a:cubicBezTo>
                  <a:pt x="6192" y="6609"/>
                  <a:pt x="6084" y="6299"/>
                  <a:pt x="5870" y="6049"/>
                </a:cubicBezTo>
                <a:lnTo>
                  <a:pt x="6406" y="5513"/>
                </a:lnTo>
                <a:cubicBezTo>
                  <a:pt x="6751" y="5906"/>
                  <a:pt x="6942" y="6418"/>
                  <a:pt x="6942" y="6942"/>
                </a:cubicBezTo>
                <a:cubicBezTo>
                  <a:pt x="6942" y="8156"/>
                  <a:pt x="5965" y="9133"/>
                  <a:pt x="4739" y="9133"/>
                </a:cubicBezTo>
                <a:cubicBezTo>
                  <a:pt x="3525" y="9133"/>
                  <a:pt x="2536" y="8156"/>
                  <a:pt x="2536" y="6942"/>
                </a:cubicBezTo>
                <a:cubicBezTo>
                  <a:pt x="2536" y="5716"/>
                  <a:pt x="3525" y="4739"/>
                  <a:pt x="4739" y="4739"/>
                </a:cubicBezTo>
                <a:cubicBezTo>
                  <a:pt x="5120" y="4739"/>
                  <a:pt x="5477" y="4823"/>
                  <a:pt x="5787" y="5001"/>
                </a:cubicBezTo>
                <a:cubicBezTo>
                  <a:pt x="5812" y="5016"/>
                  <a:pt x="5840" y="5022"/>
                  <a:pt x="5868" y="5022"/>
                </a:cubicBezTo>
                <a:cubicBezTo>
                  <a:pt x="5930" y="5022"/>
                  <a:pt x="5992" y="4988"/>
                  <a:pt x="6025" y="4930"/>
                </a:cubicBezTo>
                <a:cubicBezTo>
                  <a:pt x="6073" y="4834"/>
                  <a:pt x="6037" y="4739"/>
                  <a:pt x="5953" y="4692"/>
                </a:cubicBezTo>
                <a:cubicBezTo>
                  <a:pt x="5572" y="4501"/>
                  <a:pt x="5156" y="4370"/>
                  <a:pt x="4739" y="4370"/>
                </a:cubicBezTo>
                <a:cubicBezTo>
                  <a:pt x="3346" y="4370"/>
                  <a:pt x="2203" y="5525"/>
                  <a:pt x="2203" y="6918"/>
                </a:cubicBezTo>
                <a:cubicBezTo>
                  <a:pt x="2203" y="8323"/>
                  <a:pt x="3346" y="9466"/>
                  <a:pt x="4739" y="9466"/>
                </a:cubicBezTo>
                <a:cubicBezTo>
                  <a:pt x="6144" y="9466"/>
                  <a:pt x="7287" y="8323"/>
                  <a:pt x="7287" y="6918"/>
                </a:cubicBezTo>
                <a:cubicBezTo>
                  <a:pt x="7287" y="6299"/>
                  <a:pt x="7061" y="5716"/>
                  <a:pt x="6668" y="5239"/>
                </a:cubicBezTo>
                <a:lnTo>
                  <a:pt x="7204" y="4704"/>
                </a:lnTo>
                <a:cubicBezTo>
                  <a:pt x="7751" y="5311"/>
                  <a:pt x="8049" y="6085"/>
                  <a:pt x="8049" y="6918"/>
                </a:cubicBezTo>
                <a:cubicBezTo>
                  <a:pt x="8049" y="8740"/>
                  <a:pt x="6561" y="10228"/>
                  <a:pt x="4739" y="10228"/>
                </a:cubicBezTo>
                <a:cubicBezTo>
                  <a:pt x="2929" y="10228"/>
                  <a:pt x="1441" y="8740"/>
                  <a:pt x="1441" y="6918"/>
                </a:cubicBezTo>
                <a:cubicBezTo>
                  <a:pt x="1441" y="5108"/>
                  <a:pt x="2929" y="3620"/>
                  <a:pt x="4739" y="3620"/>
                </a:cubicBezTo>
                <a:cubicBezTo>
                  <a:pt x="5382" y="3620"/>
                  <a:pt x="5989" y="3799"/>
                  <a:pt x="6525" y="4132"/>
                </a:cubicBezTo>
                <a:cubicBezTo>
                  <a:pt x="6558" y="4151"/>
                  <a:pt x="6594" y="4161"/>
                  <a:pt x="6628" y="4161"/>
                </a:cubicBezTo>
                <a:cubicBezTo>
                  <a:pt x="6679" y="4161"/>
                  <a:pt x="6727" y="4139"/>
                  <a:pt x="6763" y="4096"/>
                </a:cubicBezTo>
                <a:cubicBezTo>
                  <a:pt x="6811" y="4025"/>
                  <a:pt x="6799" y="3918"/>
                  <a:pt x="6727" y="3858"/>
                </a:cubicBezTo>
                <a:cubicBezTo>
                  <a:pt x="6144" y="3477"/>
                  <a:pt x="5453" y="3275"/>
                  <a:pt x="4763" y="3275"/>
                </a:cubicBezTo>
                <a:cubicBezTo>
                  <a:pt x="2751" y="3275"/>
                  <a:pt x="1108" y="4918"/>
                  <a:pt x="1108" y="6918"/>
                </a:cubicBezTo>
                <a:cubicBezTo>
                  <a:pt x="1108" y="8930"/>
                  <a:pt x="2751" y="10573"/>
                  <a:pt x="4763" y="10573"/>
                </a:cubicBezTo>
                <a:cubicBezTo>
                  <a:pt x="6763" y="10573"/>
                  <a:pt x="8406" y="8930"/>
                  <a:pt x="8406" y="6918"/>
                </a:cubicBezTo>
                <a:cubicBezTo>
                  <a:pt x="8406" y="6013"/>
                  <a:pt x="8061" y="5132"/>
                  <a:pt x="7454" y="4465"/>
                </a:cubicBezTo>
                <a:lnTo>
                  <a:pt x="7989" y="3930"/>
                </a:lnTo>
                <a:cubicBezTo>
                  <a:pt x="8704" y="4739"/>
                  <a:pt x="9144" y="5775"/>
                  <a:pt x="9144" y="6942"/>
                </a:cubicBezTo>
                <a:cubicBezTo>
                  <a:pt x="9144" y="9359"/>
                  <a:pt x="7168" y="11347"/>
                  <a:pt x="4739" y="11347"/>
                </a:cubicBezTo>
                <a:cubicBezTo>
                  <a:pt x="2322" y="11347"/>
                  <a:pt x="334" y="9359"/>
                  <a:pt x="334" y="6942"/>
                </a:cubicBezTo>
                <a:cubicBezTo>
                  <a:pt x="334" y="4513"/>
                  <a:pt x="2322" y="2537"/>
                  <a:pt x="4739" y="2537"/>
                </a:cubicBezTo>
                <a:close/>
                <a:moveTo>
                  <a:pt x="10403" y="1"/>
                </a:moveTo>
                <a:cubicBezTo>
                  <a:pt x="10360" y="1"/>
                  <a:pt x="10315" y="16"/>
                  <a:pt x="10275" y="48"/>
                </a:cubicBezTo>
                <a:lnTo>
                  <a:pt x="8466" y="1882"/>
                </a:lnTo>
                <a:cubicBezTo>
                  <a:pt x="8430" y="1906"/>
                  <a:pt x="8418" y="1953"/>
                  <a:pt x="8418" y="1989"/>
                </a:cubicBezTo>
                <a:lnTo>
                  <a:pt x="8418" y="3025"/>
                </a:lnTo>
                <a:lnTo>
                  <a:pt x="7978" y="3465"/>
                </a:lnTo>
                <a:cubicBezTo>
                  <a:pt x="7120" y="2679"/>
                  <a:pt x="5989" y="2203"/>
                  <a:pt x="4739" y="2203"/>
                </a:cubicBezTo>
                <a:cubicBezTo>
                  <a:pt x="2120" y="2203"/>
                  <a:pt x="0" y="4334"/>
                  <a:pt x="0" y="6954"/>
                </a:cubicBezTo>
                <a:cubicBezTo>
                  <a:pt x="0" y="9573"/>
                  <a:pt x="2120" y="11692"/>
                  <a:pt x="4739" y="11692"/>
                </a:cubicBezTo>
                <a:cubicBezTo>
                  <a:pt x="7358" y="11692"/>
                  <a:pt x="9490" y="9573"/>
                  <a:pt x="9490" y="6954"/>
                </a:cubicBezTo>
                <a:cubicBezTo>
                  <a:pt x="9490" y="5704"/>
                  <a:pt x="9013" y="4573"/>
                  <a:pt x="8228" y="3715"/>
                </a:cubicBezTo>
                <a:lnTo>
                  <a:pt x="8668" y="3275"/>
                </a:lnTo>
                <a:lnTo>
                  <a:pt x="9704" y="3275"/>
                </a:lnTo>
                <a:cubicBezTo>
                  <a:pt x="9740" y="3275"/>
                  <a:pt x="9787" y="3263"/>
                  <a:pt x="9823" y="3227"/>
                </a:cubicBezTo>
                <a:lnTo>
                  <a:pt x="11645" y="1394"/>
                </a:lnTo>
                <a:cubicBezTo>
                  <a:pt x="11680" y="1346"/>
                  <a:pt x="11692" y="1263"/>
                  <a:pt x="11668" y="1203"/>
                </a:cubicBezTo>
                <a:cubicBezTo>
                  <a:pt x="11633" y="1144"/>
                  <a:pt x="11573" y="1096"/>
                  <a:pt x="11502" y="1096"/>
                </a:cubicBezTo>
                <a:lnTo>
                  <a:pt x="10573" y="1096"/>
                </a:lnTo>
                <a:lnTo>
                  <a:pt x="10573" y="179"/>
                </a:lnTo>
                <a:cubicBezTo>
                  <a:pt x="10573" y="108"/>
                  <a:pt x="10537" y="48"/>
                  <a:pt x="10466" y="12"/>
                </a:cubicBezTo>
                <a:cubicBezTo>
                  <a:pt x="10446" y="5"/>
                  <a:pt x="10425" y="1"/>
                  <a:pt x="104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59" name="Google Shape;10859;p60"/>
          <p:cNvGrpSpPr/>
          <p:nvPr/>
        </p:nvGrpSpPr>
        <p:grpSpPr>
          <a:xfrm>
            <a:off x="854261" y="2908813"/>
            <a:ext cx="377474" cy="335748"/>
            <a:chOff x="854261" y="2908813"/>
            <a:chExt cx="377474" cy="335748"/>
          </a:xfrm>
        </p:grpSpPr>
        <p:sp>
          <p:nvSpPr>
            <p:cNvPr id="10860" name="Google Shape;10860;p60"/>
            <p:cNvSpPr/>
            <p:nvPr/>
          </p:nvSpPr>
          <p:spPr>
            <a:xfrm>
              <a:off x="896337" y="3079695"/>
              <a:ext cx="47391" cy="17091"/>
            </a:xfrm>
            <a:custGeom>
              <a:avLst/>
              <a:gdLst/>
              <a:ahLst/>
              <a:cxnLst/>
              <a:rect l="l" t="t" r="r" b="b"/>
              <a:pathLst>
                <a:path w="1489" h="537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58"/>
                    <a:pt x="179" y="358"/>
                  </a:cubicBezTo>
                  <a:cubicBezTo>
                    <a:pt x="381" y="358"/>
                    <a:pt x="941" y="382"/>
                    <a:pt x="1227" y="525"/>
                  </a:cubicBezTo>
                  <a:cubicBezTo>
                    <a:pt x="1251" y="537"/>
                    <a:pt x="1274" y="537"/>
                    <a:pt x="1298" y="537"/>
                  </a:cubicBezTo>
                  <a:cubicBezTo>
                    <a:pt x="1358" y="537"/>
                    <a:pt x="1417" y="501"/>
                    <a:pt x="1453" y="441"/>
                  </a:cubicBezTo>
                  <a:cubicBezTo>
                    <a:pt x="1489" y="358"/>
                    <a:pt x="1465" y="251"/>
                    <a:pt x="1370" y="203"/>
                  </a:cubicBezTo>
                  <a:cubicBezTo>
                    <a:pt x="977" y="1"/>
                    <a:pt x="21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1" name="Google Shape;10861;p60"/>
            <p:cNvSpPr/>
            <p:nvPr/>
          </p:nvSpPr>
          <p:spPr>
            <a:xfrm>
              <a:off x="878514" y="3191855"/>
              <a:ext cx="11426" cy="52706"/>
            </a:xfrm>
            <a:custGeom>
              <a:avLst/>
              <a:gdLst/>
              <a:ahLst/>
              <a:cxnLst/>
              <a:rect l="l" t="t" r="r" b="b"/>
              <a:pathLst>
                <a:path w="359" h="1656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lnTo>
                    <a:pt x="1" y="1477"/>
                  </a:lnTo>
                  <a:cubicBezTo>
                    <a:pt x="1" y="1561"/>
                    <a:pt x="72" y="1656"/>
                    <a:pt x="179" y="1656"/>
                  </a:cubicBezTo>
                  <a:cubicBezTo>
                    <a:pt x="287" y="1656"/>
                    <a:pt x="358" y="1585"/>
                    <a:pt x="358" y="1477"/>
                  </a:cubicBezTo>
                  <a:lnTo>
                    <a:pt x="358" y="180"/>
                  </a:lnTo>
                  <a:cubicBezTo>
                    <a:pt x="358" y="72"/>
                    <a:pt x="287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2" name="Google Shape;10862;p60"/>
            <p:cNvSpPr/>
            <p:nvPr/>
          </p:nvSpPr>
          <p:spPr>
            <a:xfrm>
              <a:off x="854261" y="3050159"/>
              <a:ext cx="219451" cy="194052"/>
            </a:xfrm>
            <a:custGeom>
              <a:avLst/>
              <a:gdLst/>
              <a:ahLst/>
              <a:cxnLst/>
              <a:rect l="l" t="t" r="r" b="b"/>
              <a:pathLst>
                <a:path w="6895" h="6097" extrusionOk="0">
                  <a:moveTo>
                    <a:pt x="6406" y="679"/>
                  </a:moveTo>
                  <a:lnTo>
                    <a:pt x="6466" y="929"/>
                  </a:lnTo>
                  <a:cubicBezTo>
                    <a:pt x="6490" y="1000"/>
                    <a:pt x="6478" y="1072"/>
                    <a:pt x="6418" y="1119"/>
                  </a:cubicBezTo>
                  <a:lnTo>
                    <a:pt x="6311" y="1226"/>
                  </a:lnTo>
                  <a:lnTo>
                    <a:pt x="6073" y="988"/>
                  </a:lnTo>
                  <a:lnTo>
                    <a:pt x="6406" y="679"/>
                  </a:lnTo>
                  <a:close/>
                  <a:moveTo>
                    <a:pt x="3192" y="345"/>
                  </a:moveTo>
                  <a:lnTo>
                    <a:pt x="3192" y="1060"/>
                  </a:lnTo>
                  <a:cubicBezTo>
                    <a:pt x="3192" y="1179"/>
                    <a:pt x="3156" y="1298"/>
                    <a:pt x="3108" y="1405"/>
                  </a:cubicBezTo>
                  <a:lnTo>
                    <a:pt x="3025" y="1584"/>
                  </a:lnTo>
                  <a:cubicBezTo>
                    <a:pt x="3013" y="1607"/>
                    <a:pt x="3013" y="1619"/>
                    <a:pt x="3013" y="1655"/>
                  </a:cubicBezTo>
                  <a:lnTo>
                    <a:pt x="3013" y="2024"/>
                  </a:lnTo>
                  <a:cubicBezTo>
                    <a:pt x="2989" y="2286"/>
                    <a:pt x="2894" y="2524"/>
                    <a:pt x="2715" y="2703"/>
                  </a:cubicBezTo>
                  <a:cubicBezTo>
                    <a:pt x="2537" y="2881"/>
                    <a:pt x="2275" y="2965"/>
                    <a:pt x="2025" y="2965"/>
                  </a:cubicBezTo>
                  <a:cubicBezTo>
                    <a:pt x="1525" y="2953"/>
                    <a:pt x="1120" y="2500"/>
                    <a:pt x="1120" y="1988"/>
                  </a:cubicBezTo>
                  <a:lnTo>
                    <a:pt x="1120" y="1655"/>
                  </a:lnTo>
                  <a:cubicBezTo>
                    <a:pt x="1120" y="1619"/>
                    <a:pt x="1120" y="1596"/>
                    <a:pt x="1108" y="1584"/>
                  </a:cubicBezTo>
                  <a:lnTo>
                    <a:pt x="1001" y="1369"/>
                  </a:lnTo>
                  <a:cubicBezTo>
                    <a:pt x="953" y="1298"/>
                    <a:pt x="941" y="1203"/>
                    <a:pt x="941" y="1119"/>
                  </a:cubicBezTo>
                  <a:lnTo>
                    <a:pt x="941" y="1107"/>
                  </a:lnTo>
                  <a:cubicBezTo>
                    <a:pt x="941" y="691"/>
                    <a:pt x="1287" y="345"/>
                    <a:pt x="1703" y="345"/>
                  </a:cubicBezTo>
                  <a:close/>
                  <a:moveTo>
                    <a:pt x="2442" y="3227"/>
                  </a:moveTo>
                  <a:cubicBezTo>
                    <a:pt x="2454" y="3298"/>
                    <a:pt x="2477" y="3334"/>
                    <a:pt x="2489" y="3381"/>
                  </a:cubicBezTo>
                  <a:lnTo>
                    <a:pt x="2323" y="3548"/>
                  </a:lnTo>
                  <a:cubicBezTo>
                    <a:pt x="2251" y="3620"/>
                    <a:pt x="2156" y="3655"/>
                    <a:pt x="2059" y="3655"/>
                  </a:cubicBezTo>
                  <a:cubicBezTo>
                    <a:pt x="1962" y="3655"/>
                    <a:pt x="1864" y="3620"/>
                    <a:pt x="1787" y="3548"/>
                  </a:cubicBezTo>
                  <a:lnTo>
                    <a:pt x="1644" y="3393"/>
                  </a:lnTo>
                  <a:cubicBezTo>
                    <a:pt x="1656" y="3358"/>
                    <a:pt x="1668" y="3286"/>
                    <a:pt x="1668" y="3227"/>
                  </a:cubicBezTo>
                  <a:cubicBezTo>
                    <a:pt x="1775" y="3262"/>
                    <a:pt x="1894" y="3286"/>
                    <a:pt x="2013" y="3286"/>
                  </a:cubicBezTo>
                  <a:lnTo>
                    <a:pt x="2061" y="3286"/>
                  </a:lnTo>
                  <a:cubicBezTo>
                    <a:pt x="2192" y="3286"/>
                    <a:pt x="2323" y="3274"/>
                    <a:pt x="2442" y="3227"/>
                  </a:cubicBezTo>
                  <a:close/>
                  <a:moveTo>
                    <a:pt x="1680" y="0"/>
                  </a:moveTo>
                  <a:cubicBezTo>
                    <a:pt x="1072" y="0"/>
                    <a:pt x="584" y="500"/>
                    <a:pt x="584" y="1107"/>
                  </a:cubicBezTo>
                  <a:lnTo>
                    <a:pt x="584" y="1119"/>
                  </a:lnTo>
                  <a:cubicBezTo>
                    <a:pt x="584" y="1250"/>
                    <a:pt x="608" y="1405"/>
                    <a:pt x="668" y="1524"/>
                  </a:cubicBezTo>
                  <a:lnTo>
                    <a:pt x="763" y="1703"/>
                  </a:lnTo>
                  <a:lnTo>
                    <a:pt x="763" y="1988"/>
                  </a:lnTo>
                  <a:cubicBezTo>
                    <a:pt x="763" y="2429"/>
                    <a:pt x="977" y="2834"/>
                    <a:pt x="1311" y="3072"/>
                  </a:cubicBezTo>
                  <a:lnTo>
                    <a:pt x="1311" y="3215"/>
                  </a:lnTo>
                  <a:cubicBezTo>
                    <a:pt x="1311" y="3310"/>
                    <a:pt x="1251" y="3381"/>
                    <a:pt x="1156" y="3417"/>
                  </a:cubicBezTo>
                  <a:lnTo>
                    <a:pt x="537" y="3596"/>
                  </a:lnTo>
                  <a:cubicBezTo>
                    <a:pt x="227" y="3679"/>
                    <a:pt x="1" y="3965"/>
                    <a:pt x="1" y="4286"/>
                  </a:cubicBezTo>
                  <a:lnTo>
                    <a:pt x="1" y="5917"/>
                  </a:lnTo>
                  <a:cubicBezTo>
                    <a:pt x="1" y="6001"/>
                    <a:pt x="72" y="6096"/>
                    <a:pt x="179" y="6096"/>
                  </a:cubicBezTo>
                  <a:cubicBezTo>
                    <a:pt x="287" y="6096"/>
                    <a:pt x="358" y="6013"/>
                    <a:pt x="358" y="5917"/>
                  </a:cubicBezTo>
                  <a:lnTo>
                    <a:pt x="358" y="4310"/>
                  </a:lnTo>
                  <a:cubicBezTo>
                    <a:pt x="358" y="4143"/>
                    <a:pt x="477" y="3977"/>
                    <a:pt x="644" y="3929"/>
                  </a:cubicBezTo>
                  <a:lnTo>
                    <a:pt x="1263" y="3751"/>
                  </a:lnTo>
                  <a:cubicBezTo>
                    <a:pt x="1322" y="3739"/>
                    <a:pt x="1370" y="3715"/>
                    <a:pt x="1418" y="3679"/>
                  </a:cubicBezTo>
                  <a:lnTo>
                    <a:pt x="1513" y="3786"/>
                  </a:lnTo>
                  <a:cubicBezTo>
                    <a:pt x="1668" y="3929"/>
                    <a:pt x="1846" y="3989"/>
                    <a:pt x="2037" y="3989"/>
                  </a:cubicBezTo>
                  <a:cubicBezTo>
                    <a:pt x="2227" y="3989"/>
                    <a:pt x="2406" y="3917"/>
                    <a:pt x="2561" y="3786"/>
                  </a:cubicBezTo>
                  <a:lnTo>
                    <a:pt x="2727" y="3620"/>
                  </a:lnTo>
                  <a:cubicBezTo>
                    <a:pt x="2799" y="3655"/>
                    <a:pt x="2870" y="3679"/>
                    <a:pt x="2966" y="3679"/>
                  </a:cubicBezTo>
                  <a:lnTo>
                    <a:pt x="3001" y="3679"/>
                  </a:lnTo>
                  <a:cubicBezTo>
                    <a:pt x="3144" y="3679"/>
                    <a:pt x="3275" y="3620"/>
                    <a:pt x="3382" y="3524"/>
                  </a:cubicBezTo>
                  <a:lnTo>
                    <a:pt x="5823" y="1226"/>
                  </a:lnTo>
                  <a:lnTo>
                    <a:pt x="6061" y="1465"/>
                  </a:lnTo>
                  <a:lnTo>
                    <a:pt x="3239" y="4274"/>
                  </a:lnTo>
                  <a:cubicBezTo>
                    <a:pt x="3061" y="4453"/>
                    <a:pt x="2977" y="4679"/>
                    <a:pt x="2977" y="4917"/>
                  </a:cubicBezTo>
                  <a:lnTo>
                    <a:pt x="2977" y="5906"/>
                  </a:lnTo>
                  <a:cubicBezTo>
                    <a:pt x="2977" y="6001"/>
                    <a:pt x="3049" y="6096"/>
                    <a:pt x="3156" y="6096"/>
                  </a:cubicBezTo>
                  <a:cubicBezTo>
                    <a:pt x="3239" y="6096"/>
                    <a:pt x="3335" y="6013"/>
                    <a:pt x="3335" y="5906"/>
                  </a:cubicBezTo>
                  <a:lnTo>
                    <a:pt x="3335" y="4917"/>
                  </a:lnTo>
                  <a:cubicBezTo>
                    <a:pt x="3335" y="4763"/>
                    <a:pt x="3394" y="4620"/>
                    <a:pt x="3501" y="4513"/>
                  </a:cubicBezTo>
                  <a:lnTo>
                    <a:pt x="6656" y="1357"/>
                  </a:lnTo>
                  <a:cubicBezTo>
                    <a:pt x="6787" y="1226"/>
                    <a:pt x="6847" y="1024"/>
                    <a:pt x="6799" y="834"/>
                  </a:cubicBezTo>
                  <a:lnTo>
                    <a:pt x="6704" y="405"/>
                  </a:lnTo>
                  <a:lnTo>
                    <a:pt x="6823" y="298"/>
                  </a:lnTo>
                  <a:cubicBezTo>
                    <a:pt x="6895" y="238"/>
                    <a:pt x="6895" y="119"/>
                    <a:pt x="6823" y="60"/>
                  </a:cubicBezTo>
                  <a:cubicBezTo>
                    <a:pt x="6793" y="24"/>
                    <a:pt x="6749" y="6"/>
                    <a:pt x="6704" y="6"/>
                  </a:cubicBezTo>
                  <a:cubicBezTo>
                    <a:pt x="6659" y="6"/>
                    <a:pt x="6615" y="24"/>
                    <a:pt x="6585" y="60"/>
                  </a:cubicBezTo>
                  <a:lnTo>
                    <a:pt x="3156" y="3274"/>
                  </a:lnTo>
                  <a:cubicBezTo>
                    <a:pt x="3132" y="3310"/>
                    <a:pt x="3073" y="3334"/>
                    <a:pt x="3025" y="3334"/>
                  </a:cubicBezTo>
                  <a:lnTo>
                    <a:pt x="2977" y="3334"/>
                  </a:lnTo>
                  <a:cubicBezTo>
                    <a:pt x="2870" y="3334"/>
                    <a:pt x="2787" y="3250"/>
                    <a:pt x="2787" y="3143"/>
                  </a:cubicBezTo>
                  <a:lnTo>
                    <a:pt x="2787" y="3084"/>
                  </a:lnTo>
                  <a:cubicBezTo>
                    <a:pt x="2846" y="3036"/>
                    <a:pt x="2906" y="3000"/>
                    <a:pt x="2942" y="2953"/>
                  </a:cubicBezTo>
                  <a:cubicBezTo>
                    <a:pt x="3204" y="2715"/>
                    <a:pt x="3335" y="2381"/>
                    <a:pt x="3335" y="2024"/>
                  </a:cubicBezTo>
                  <a:lnTo>
                    <a:pt x="3335" y="1703"/>
                  </a:lnTo>
                  <a:lnTo>
                    <a:pt x="3406" y="1572"/>
                  </a:lnTo>
                  <a:cubicBezTo>
                    <a:pt x="3477" y="1417"/>
                    <a:pt x="3525" y="1238"/>
                    <a:pt x="3525" y="1072"/>
                  </a:cubicBezTo>
                  <a:lnTo>
                    <a:pt x="3525" y="179"/>
                  </a:lnTo>
                  <a:cubicBezTo>
                    <a:pt x="3525" y="95"/>
                    <a:pt x="3454" y="0"/>
                    <a:pt x="3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3" name="Google Shape;10863;p60"/>
            <p:cNvSpPr/>
            <p:nvPr/>
          </p:nvSpPr>
          <p:spPr>
            <a:xfrm>
              <a:off x="1008115" y="2908813"/>
              <a:ext cx="223620" cy="188355"/>
            </a:xfrm>
            <a:custGeom>
              <a:avLst/>
              <a:gdLst/>
              <a:ahLst/>
              <a:cxnLst/>
              <a:rect l="l" t="t" r="r" b="b"/>
              <a:pathLst>
                <a:path w="7026" h="5918" extrusionOk="0">
                  <a:moveTo>
                    <a:pt x="560" y="0"/>
                  </a:moveTo>
                  <a:cubicBezTo>
                    <a:pt x="263" y="0"/>
                    <a:pt x="1" y="238"/>
                    <a:pt x="1" y="548"/>
                  </a:cubicBezTo>
                  <a:lnTo>
                    <a:pt x="1" y="5251"/>
                  </a:lnTo>
                  <a:cubicBezTo>
                    <a:pt x="1" y="5334"/>
                    <a:pt x="84" y="5429"/>
                    <a:pt x="179" y="5429"/>
                  </a:cubicBezTo>
                  <a:cubicBezTo>
                    <a:pt x="287" y="5429"/>
                    <a:pt x="358" y="5358"/>
                    <a:pt x="358" y="5251"/>
                  </a:cubicBezTo>
                  <a:lnTo>
                    <a:pt x="358" y="548"/>
                  </a:lnTo>
                  <a:cubicBezTo>
                    <a:pt x="358" y="441"/>
                    <a:pt x="453" y="357"/>
                    <a:pt x="560" y="357"/>
                  </a:cubicBezTo>
                  <a:lnTo>
                    <a:pt x="6478" y="357"/>
                  </a:lnTo>
                  <a:cubicBezTo>
                    <a:pt x="6585" y="357"/>
                    <a:pt x="6668" y="441"/>
                    <a:pt x="6668" y="548"/>
                  </a:cubicBezTo>
                  <a:lnTo>
                    <a:pt x="6668" y="5370"/>
                  </a:lnTo>
                  <a:cubicBezTo>
                    <a:pt x="6668" y="5477"/>
                    <a:pt x="6585" y="5560"/>
                    <a:pt x="6478" y="5560"/>
                  </a:cubicBezTo>
                  <a:lnTo>
                    <a:pt x="2525" y="5560"/>
                  </a:lnTo>
                  <a:cubicBezTo>
                    <a:pt x="2430" y="5560"/>
                    <a:pt x="2346" y="5632"/>
                    <a:pt x="2346" y="5739"/>
                  </a:cubicBezTo>
                  <a:cubicBezTo>
                    <a:pt x="2346" y="5846"/>
                    <a:pt x="2418" y="5917"/>
                    <a:pt x="2525" y="5917"/>
                  </a:cubicBezTo>
                  <a:lnTo>
                    <a:pt x="6478" y="5917"/>
                  </a:lnTo>
                  <a:cubicBezTo>
                    <a:pt x="6775" y="5917"/>
                    <a:pt x="7025" y="5679"/>
                    <a:pt x="7025" y="5370"/>
                  </a:cubicBezTo>
                  <a:lnTo>
                    <a:pt x="7025" y="548"/>
                  </a:lnTo>
                  <a:cubicBezTo>
                    <a:pt x="7025" y="226"/>
                    <a:pt x="6787" y="0"/>
                    <a:pt x="64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4" name="Google Shape;10864;p60"/>
            <p:cNvSpPr/>
            <p:nvPr/>
          </p:nvSpPr>
          <p:spPr>
            <a:xfrm>
              <a:off x="1037301" y="2944046"/>
              <a:ext cx="165248" cy="105763"/>
            </a:xfrm>
            <a:custGeom>
              <a:avLst/>
              <a:gdLst/>
              <a:ahLst/>
              <a:cxnLst/>
              <a:rect l="l" t="t" r="r" b="b"/>
              <a:pathLst>
                <a:path w="5192" h="3323" extrusionOk="0">
                  <a:moveTo>
                    <a:pt x="4084" y="0"/>
                  </a:moveTo>
                  <a:cubicBezTo>
                    <a:pt x="4001" y="0"/>
                    <a:pt x="3906" y="84"/>
                    <a:pt x="3906" y="179"/>
                  </a:cubicBezTo>
                  <a:cubicBezTo>
                    <a:pt x="3906" y="286"/>
                    <a:pt x="3989" y="358"/>
                    <a:pt x="4084" y="358"/>
                  </a:cubicBezTo>
                  <a:lnTo>
                    <a:pt x="4596" y="358"/>
                  </a:lnTo>
                  <a:lnTo>
                    <a:pt x="2691" y="2263"/>
                  </a:lnTo>
                  <a:lnTo>
                    <a:pt x="1882" y="1465"/>
                  </a:lnTo>
                  <a:cubicBezTo>
                    <a:pt x="1846" y="1429"/>
                    <a:pt x="1801" y="1411"/>
                    <a:pt x="1758" y="1411"/>
                  </a:cubicBezTo>
                  <a:cubicBezTo>
                    <a:pt x="1715" y="1411"/>
                    <a:pt x="1673" y="1429"/>
                    <a:pt x="1644" y="1465"/>
                  </a:cubicBezTo>
                  <a:lnTo>
                    <a:pt x="72" y="3036"/>
                  </a:lnTo>
                  <a:cubicBezTo>
                    <a:pt x="1" y="3120"/>
                    <a:pt x="1" y="3215"/>
                    <a:pt x="72" y="3275"/>
                  </a:cubicBezTo>
                  <a:cubicBezTo>
                    <a:pt x="96" y="3310"/>
                    <a:pt x="143" y="3322"/>
                    <a:pt x="191" y="3322"/>
                  </a:cubicBezTo>
                  <a:cubicBezTo>
                    <a:pt x="239" y="3322"/>
                    <a:pt x="274" y="3310"/>
                    <a:pt x="310" y="3275"/>
                  </a:cubicBezTo>
                  <a:lnTo>
                    <a:pt x="1763" y="1822"/>
                  </a:lnTo>
                  <a:lnTo>
                    <a:pt x="2572" y="2620"/>
                  </a:lnTo>
                  <a:cubicBezTo>
                    <a:pt x="2608" y="2661"/>
                    <a:pt x="2653" y="2682"/>
                    <a:pt x="2696" y="2682"/>
                  </a:cubicBezTo>
                  <a:cubicBezTo>
                    <a:pt x="2739" y="2682"/>
                    <a:pt x="2781" y="2661"/>
                    <a:pt x="2810" y="2620"/>
                  </a:cubicBezTo>
                  <a:lnTo>
                    <a:pt x="4835" y="596"/>
                  </a:lnTo>
                  <a:lnTo>
                    <a:pt x="4835" y="1108"/>
                  </a:lnTo>
                  <a:cubicBezTo>
                    <a:pt x="4835" y="1191"/>
                    <a:pt x="4906" y="1286"/>
                    <a:pt x="5013" y="1286"/>
                  </a:cubicBezTo>
                  <a:cubicBezTo>
                    <a:pt x="5120" y="1286"/>
                    <a:pt x="5192" y="1215"/>
                    <a:pt x="5192" y="1108"/>
                  </a:cubicBezTo>
                  <a:lnTo>
                    <a:pt x="5192" y="179"/>
                  </a:lnTo>
                  <a:cubicBezTo>
                    <a:pt x="5192" y="84"/>
                    <a:pt x="5120" y="0"/>
                    <a:pt x="5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65" name="Google Shape;10865;p60"/>
          <p:cNvGrpSpPr/>
          <p:nvPr/>
        </p:nvGrpSpPr>
        <p:grpSpPr>
          <a:xfrm>
            <a:off x="1749728" y="2894777"/>
            <a:ext cx="386927" cy="363438"/>
            <a:chOff x="1749728" y="2894777"/>
            <a:chExt cx="386927" cy="363438"/>
          </a:xfrm>
        </p:grpSpPr>
        <p:sp>
          <p:nvSpPr>
            <p:cNvPr id="10866" name="Google Shape;10866;p60"/>
            <p:cNvSpPr/>
            <p:nvPr/>
          </p:nvSpPr>
          <p:spPr>
            <a:xfrm>
              <a:off x="1809595" y="3025333"/>
              <a:ext cx="97424" cy="32432"/>
            </a:xfrm>
            <a:custGeom>
              <a:avLst/>
              <a:gdLst/>
              <a:ahLst/>
              <a:cxnLst/>
              <a:rect l="l" t="t" r="r" b="b"/>
              <a:pathLst>
                <a:path w="3061" h="1019" extrusionOk="0">
                  <a:moveTo>
                    <a:pt x="1208" y="0"/>
                  </a:moveTo>
                  <a:cubicBezTo>
                    <a:pt x="852" y="0"/>
                    <a:pt x="531" y="35"/>
                    <a:pt x="322" y="66"/>
                  </a:cubicBezTo>
                  <a:cubicBezTo>
                    <a:pt x="143" y="101"/>
                    <a:pt x="1" y="244"/>
                    <a:pt x="1" y="423"/>
                  </a:cubicBezTo>
                  <a:lnTo>
                    <a:pt x="1" y="840"/>
                  </a:lnTo>
                  <a:cubicBezTo>
                    <a:pt x="1" y="947"/>
                    <a:pt x="84" y="1018"/>
                    <a:pt x="179" y="1018"/>
                  </a:cubicBezTo>
                  <a:cubicBezTo>
                    <a:pt x="286" y="1018"/>
                    <a:pt x="358" y="947"/>
                    <a:pt x="358" y="840"/>
                  </a:cubicBezTo>
                  <a:lnTo>
                    <a:pt x="358" y="423"/>
                  </a:lnTo>
                  <a:cubicBezTo>
                    <a:pt x="358" y="423"/>
                    <a:pt x="358" y="411"/>
                    <a:pt x="382" y="411"/>
                  </a:cubicBezTo>
                  <a:cubicBezTo>
                    <a:pt x="549" y="383"/>
                    <a:pt x="870" y="340"/>
                    <a:pt x="1231" y="340"/>
                  </a:cubicBezTo>
                  <a:cubicBezTo>
                    <a:pt x="1330" y="340"/>
                    <a:pt x="1433" y="344"/>
                    <a:pt x="1536" y="351"/>
                  </a:cubicBezTo>
                  <a:cubicBezTo>
                    <a:pt x="2084" y="387"/>
                    <a:pt x="2489" y="530"/>
                    <a:pt x="2727" y="768"/>
                  </a:cubicBezTo>
                  <a:cubicBezTo>
                    <a:pt x="2763" y="804"/>
                    <a:pt x="2807" y="822"/>
                    <a:pt x="2852" y="822"/>
                  </a:cubicBezTo>
                  <a:cubicBezTo>
                    <a:pt x="2897" y="822"/>
                    <a:pt x="2941" y="804"/>
                    <a:pt x="2977" y="768"/>
                  </a:cubicBezTo>
                  <a:cubicBezTo>
                    <a:pt x="3060" y="709"/>
                    <a:pt x="3060" y="590"/>
                    <a:pt x="2977" y="530"/>
                  </a:cubicBezTo>
                  <a:cubicBezTo>
                    <a:pt x="2554" y="107"/>
                    <a:pt x="1828" y="0"/>
                    <a:pt x="12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7" name="Google Shape;10867;p60"/>
            <p:cNvSpPr/>
            <p:nvPr/>
          </p:nvSpPr>
          <p:spPr>
            <a:xfrm>
              <a:off x="1749728" y="2974346"/>
              <a:ext cx="216777" cy="283869"/>
            </a:xfrm>
            <a:custGeom>
              <a:avLst/>
              <a:gdLst/>
              <a:ahLst/>
              <a:cxnLst/>
              <a:rect l="l" t="t" r="r" b="b"/>
              <a:pathLst>
                <a:path w="6811" h="8919" extrusionOk="0">
                  <a:moveTo>
                    <a:pt x="5311" y="334"/>
                  </a:moveTo>
                  <a:lnTo>
                    <a:pt x="5311" y="2061"/>
                  </a:lnTo>
                  <a:cubicBezTo>
                    <a:pt x="5311" y="2311"/>
                    <a:pt x="5251" y="2561"/>
                    <a:pt x="5132" y="2799"/>
                  </a:cubicBezTo>
                  <a:cubicBezTo>
                    <a:pt x="5120" y="2835"/>
                    <a:pt x="5120" y="2846"/>
                    <a:pt x="5120" y="2882"/>
                  </a:cubicBezTo>
                  <a:lnTo>
                    <a:pt x="5120" y="3382"/>
                  </a:lnTo>
                  <a:cubicBezTo>
                    <a:pt x="5120" y="3858"/>
                    <a:pt x="4918" y="4311"/>
                    <a:pt x="4560" y="4644"/>
                  </a:cubicBezTo>
                  <a:cubicBezTo>
                    <a:pt x="4227" y="4955"/>
                    <a:pt x="3811" y="5111"/>
                    <a:pt x="3369" y="5111"/>
                  </a:cubicBezTo>
                  <a:cubicBezTo>
                    <a:pt x="3338" y="5111"/>
                    <a:pt x="3306" y="5110"/>
                    <a:pt x="3275" y="5109"/>
                  </a:cubicBezTo>
                  <a:cubicBezTo>
                    <a:pt x="2382" y="5061"/>
                    <a:pt x="1679" y="4275"/>
                    <a:pt x="1679" y="3323"/>
                  </a:cubicBezTo>
                  <a:lnTo>
                    <a:pt x="1679" y="2882"/>
                  </a:lnTo>
                  <a:cubicBezTo>
                    <a:pt x="1679" y="2846"/>
                    <a:pt x="1679" y="2823"/>
                    <a:pt x="1667" y="2799"/>
                  </a:cubicBezTo>
                  <a:cubicBezTo>
                    <a:pt x="1548" y="2561"/>
                    <a:pt x="1489" y="2311"/>
                    <a:pt x="1489" y="2061"/>
                  </a:cubicBezTo>
                  <a:lnTo>
                    <a:pt x="1489" y="1668"/>
                  </a:lnTo>
                  <a:cubicBezTo>
                    <a:pt x="1489" y="930"/>
                    <a:pt x="2096" y="334"/>
                    <a:pt x="2822" y="334"/>
                  </a:cubicBezTo>
                  <a:close/>
                  <a:moveTo>
                    <a:pt x="4358" y="5240"/>
                  </a:moveTo>
                  <a:lnTo>
                    <a:pt x="4358" y="5573"/>
                  </a:lnTo>
                  <a:lnTo>
                    <a:pt x="3406" y="6228"/>
                  </a:lnTo>
                  <a:lnTo>
                    <a:pt x="2441" y="5573"/>
                  </a:lnTo>
                  <a:lnTo>
                    <a:pt x="2441" y="5240"/>
                  </a:lnTo>
                  <a:cubicBezTo>
                    <a:pt x="2691" y="5371"/>
                    <a:pt x="2977" y="5466"/>
                    <a:pt x="3251" y="5478"/>
                  </a:cubicBezTo>
                  <a:lnTo>
                    <a:pt x="3394" y="5478"/>
                  </a:lnTo>
                  <a:cubicBezTo>
                    <a:pt x="3727" y="5478"/>
                    <a:pt x="4060" y="5406"/>
                    <a:pt x="4358" y="5240"/>
                  </a:cubicBezTo>
                  <a:close/>
                  <a:moveTo>
                    <a:pt x="2286" y="5883"/>
                  </a:moveTo>
                  <a:lnTo>
                    <a:pt x="3120" y="6466"/>
                  </a:lnTo>
                  <a:lnTo>
                    <a:pt x="2679" y="6906"/>
                  </a:lnTo>
                  <a:lnTo>
                    <a:pt x="2655" y="6906"/>
                  </a:lnTo>
                  <a:lnTo>
                    <a:pt x="2108" y="6073"/>
                  </a:lnTo>
                  <a:lnTo>
                    <a:pt x="2286" y="5883"/>
                  </a:lnTo>
                  <a:close/>
                  <a:moveTo>
                    <a:pt x="4525" y="5883"/>
                  </a:moveTo>
                  <a:lnTo>
                    <a:pt x="4703" y="6073"/>
                  </a:lnTo>
                  <a:lnTo>
                    <a:pt x="4144" y="6906"/>
                  </a:lnTo>
                  <a:lnTo>
                    <a:pt x="4132" y="6906"/>
                  </a:lnTo>
                  <a:lnTo>
                    <a:pt x="3691" y="6466"/>
                  </a:lnTo>
                  <a:lnTo>
                    <a:pt x="4525" y="5883"/>
                  </a:lnTo>
                  <a:close/>
                  <a:moveTo>
                    <a:pt x="2834" y="1"/>
                  </a:moveTo>
                  <a:cubicBezTo>
                    <a:pt x="1905" y="1"/>
                    <a:pt x="1143" y="763"/>
                    <a:pt x="1143" y="1703"/>
                  </a:cubicBezTo>
                  <a:lnTo>
                    <a:pt x="1143" y="2084"/>
                  </a:lnTo>
                  <a:cubicBezTo>
                    <a:pt x="1143" y="2382"/>
                    <a:pt x="1203" y="2680"/>
                    <a:pt x="1334" y="2954"/>
                  </a:cubicBezTo>
                  <a:lnTo>
                    <a:pt x="1334" y="3358"/>
                  </a:lnTo>
                  <a:cubicBezTo>
                    <a:pt x="1334" y="4025"/>
                    <a:pt x="1631" y="4620"/>
                    <a:pt x="2096" y="5025"/>
                  </a:cubicBezTo>
                  <a:lnTo>
                    <a:pt x="2096" y="5621"/>
                  </a:lnTo>
                  <a:lnTo>
                    <a:pt x="1762" y="5954"/>
                  </a:lnTo>
                  <a:cubicBezTo>
                    <a:pt x="1739" y="6002"/>
                    <a:pt x="1703" y="6049"/>
                    <a:pt x="1727" y="6097"/>
                  </a:cubicBezTo>
                  <a:lnTo>
                    <a:pt x="619" y="6490"/>
                  </a:lnTo>
                  <a:cubicBezTo>
                    <a:pt x="250" y="6633"/>
                    <a:pt x="0" y="6990"/>
                    <a:pt x="0" y="7371"/>
                  </a:cubicBezTo>
                  <a:lnTo>
                    <a:pt x="0" y="8740"/>
                  </a:lnTo>
                  <a:cubicBezTo>
                    <a:pt x="0" y="8847"/>
                    <a:pt x="72" y="8919"/>
                    <a:pt x="179" y="8919"/>
                  </a:cubicBezTo>
                  <a:cubicBezTo>
                    <a:pt x="274" y="8919"/>
                    <a:pt x="358" y="8847"/>
                    <a:pt x="358" y="8740"/>
                  </a:cubicBezTo>
                  <a:lnTo>
                    <a:pt x="358" y="7371"/>
                  </a:lnTo>
                  <a:cubicBezTo>
                    <a:pt x="358" y="7133"/>
                    <a:pt x="500" y="6906"/>
                    <a:pt x="739" y="6823"/>
                  </a:cubicBezTo>
                  <a:lnTo>
                    <a:pt x="1905" y="6406"/>
                  </a:lnTo>
                  <a:lnTo>
                    <a:pt x="2382" y="7121"/>
                  </a:lnTo>
                  <a:cubicBezTo>
                    <a:pt x="2441" y="7204"/>
                    <a:pt x="2536" y="7264"/>
                    <a:pt x="2644" y="7287"/>
                  </a:cubicBezTo>
                  <a:lnTo>
                    <a:pt x="2679" y="7287"/>
                  </a:lnTo>
                  <a:cubicBezTo>
                    <a:pt x="2774" y="7287"/>
                    <a:pt x="2870" y="7240"/>
                    <a:pt x="2929" y="7180"/>
                  </a:cubicBezTo>
                  <a:lnTo>
                    <a:pt x="3227" y="6883"/>
                  </a:lnTo>
                  <a:lnTo>
                    <a:pt x="3227" y="8740"/>
                  </a:lnTo>
                  <a:cubicBezTo>
                    <a:pt x="3227" y="8847"/>
                    <a:pt x="3298" y="8919"/>
                    <a:pt x="3406" y="8919"/>
                  </a:cubicBezTo>
                  <a:cubicBezTo>
                    <a:pt x="3513" y="8919"/>
                    <a:pt x="3584" y="8847"/>
                    <a:pt x="3584" y="8740"/>
                  </a:cubicBezTo>
                  <a:lnTo>
                    <a:pt x="3584" y="6883"/>
                  </a:lnTo>
                  <a:lnTo>
                    <a:pt x="3882" y="7180"/>
                  </a:lnTo>
                  <a:cubicBezTo>
                    <a:pt x="3953" y="7252"/>
                    <a:pt x="4048" y="7287"/>
                    <a:pt x="4132" y="7287"/>
                  </a:cubicBezTo>
                  <a:lnTo>
                    <a:pt x="4168" y="7287"/>
                  </a:lnTo>
                  <a:cubicBezTo>
                    <a:pt x="4263" y="7264"/>
                    <a:pt x="4370" y="7204"/>
                    <a:pt x="4429" y="7121"/>
                  </a:cubicBezTo>
                  <a:lnTo>
                    <a:pt x="4906" y="6406"/>
                  </a:lnTo>
                  <a:lnTo>
                    <a:pt x="6073" y="6823"/>
                  </a:lnTo>
                  <a:cubicBezTo>
                    <a:pt x="6287" y="6906"/>
                    <a:pt x="6454" y="7121"/>
                    <a:pt x="6454" y="7371"/>
                  </a:cubicBezTo>
                  <a:lnTo>
                    <a:pt x="6454" y="8740"/>
                  </a:lnTo>
                  <a:cubicBezTo>
                    <a:pt x="6454" y="8847"/>
                    <a:pt x="6525" y="8919"/>
                    <a:pt x="6632" y="8919"/>
                  </a:cubicBezTo>
                  <a:cubicBezTo>
                    <a:pt x="6739" y="8919"/>
                    <a:pt x="6811" y="8847"/>
                    <a:pt x="6811" y="8740"/>
                  </a:cubicBezTo>
                  <a:lnTo>
                    <a:pt x="6811" y="7371"/>
                  </a:lnTo>
                  <a:cubicBezTo>
                    <a:pt x="6811" y="6954"/>
                    <a:pt x="6573" y="6609"/>
                    <a:pt x="6203" y="6478"/>
                  </a:cubicBezTo>
                  <a:lnTo>
                    <a:pt x="5096" y="6073"/>
                  </a:lnTo>
                  <a:cubicBezTo>
                    <a:pt x="5096" y="6037"/>
                    <a:pt x="5084" y="5966"/>
                    <a:pt x="5060" y="5942"/>
                  </a:cubicBezTo>
                  <a:lnTo>
                    <a:pt x="4727" y="5597"/>
                  </a:lnTo>
                  <a:lnTo>
                    <a:pt x="4727" y="5025"/>
                  </a:lnTo>
                  <a:cubicBezTo>
                    <a:pt x="4763" y="4990"/>
                    <a:pt x="4799" y="4966"/>
                    <a:pt x="4834" y="4930"/>
                  </a:cubicBezTo>
                  <a:cubicBezTo>
                    <a:pt x="5251" y="4549"/>
                    <a:pt x="5489" y="3978"/>
                    <a:pt x="5489" y="3418"/>
                  </a:cubicBezTo>
                  <a:lnTo>
                    <a:pt x="5489" y="2954"/>
                  </a:lnTo>
                  <a:cubicBezTo>
                    <a:pt x="5608" y="2680"/>
                    <a:pt x="5680" y="2382"/>
                    <a:pt x="5680" y="2084"/>
                  </a:cubicBezTo>
                  <a:lnTo>
                    <a:pt x="5680" y="179"/>
                  </a:lnTo>
                  <a:cubicBezTo>
                    <a:pt x="5680" y="84"/>
                    <a:pt x="5608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8" name="Google Shape;10868;p60"/>
            <p:cNvSpPr/>
            <p:nvPr/>
          </p:nvSpPr>
          <p:spPr>
            <a:xfrm>
              <a:off x="1785725" y="3222186"/>
              <a:ext cx="11394" cy="35647"/>
            </a:xfrm>
            <a:custGeom>
              <a:avLst/>
              <a:gdLst/>
              <a:ahLst/>
              <a:cxnLst/>
              <a:rect l="l" t="t" r="r" b="b"/>
              <a:pathLst>
                <a:path w="358" h="112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941"/>
                  </a:lnTo>
                  <a:cubicBezTo>
                    <a:pt x="0" y="1048"/>
                    <a:pt x="72" y="1120"/>
                    <a:pt x="179" y="1120"/>
                  </a:cubicBezTo>
                  <a:cubicBezTo>
                    <a:pt x="274" y="1120"/>
                    <a:pt x="358" y="1048"/>
                    <a:pt x="358" y="941"/>
                  </a:cubicBezTo>
                  <a:lnTo>
                    <a:pt x="358" y="179"/>
                  </a:lnTo>
                  <a:cubicBezTo>
                    <a:pt x="358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9" name="Google Shape;10869;p60"/>
            <p:cNvSpPr/>
            <p:nvPr/>
          </p:nvSpPr>
          <p:spPr>
            <a:xfrm>
              <a:off x="1919114" y="3222186"/>
              <a:ext cx="11394" cy="35647"/>
            </a:xfrm>
            <a:custGeom>
              <a:avLst/>
              <a:gdLst/>
              <a:ahLst/>
              <a:cxnLst/>
              <a:rect l="l" t="t" r="r" b="b"/>
              <a:pathLst>
                <a:path w="358" h="112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941"/>
                  </a:lnTo>
                  <a:cubicBezTo>
                    <a:pt x="0" y="1048"/>
                    <a:pt x="72" y="1120"/>
                    <a:pt x="179" y="1120"/>
                  </a:cubicBezTo>
                  <a:cubicBezTo>
                    <a:pt x="286" y="1120"/>
                    <a:pt x="358" y="1048"/>
                    <a:pt x="358" y="941"/>
                  </a:cubicBezTo>
                  <a:lnTo>
                    <a:pt x="358" y="179"/>
                  </a:lnTo>
                  <a:cubicBezTo>
                    <a:pt x="358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0" name="Google Shape;10870;p60"/>
            <p:cNvSpPr/>
            <p:nvPr/>
          </p:nvSpPr>
          <p:spPr>
            <a:xfrm>
              <a:off x="1956257" y="2931156"/>
              <a:ext cx="180398" cy="188737"/>
            </a:xfrm>
            <a:custGeom>
              <a:avLst/>
              <a:gdLst/>
              <a:ahLst/>
              <a:cxnLst/>
              <a:rect l="l" t="t" r="r" b="b"/>
              <a:pathLst>
                <a:path w="5668" h="5930" extrusionOk="0">
                  <a:moveTo>
                    <a:pt x="738" y="1"/>
                  </a:moveTo>
                  <a:cubicBezTo>
                    <a:pt x="322" y="1"/>
                    <a:pt x="0" y="346"/>
                    <a:pt x="0" y="751"/>
                  </a:cubicBezTo>
                  <a:lnTo>
                    <a:pt x="0" y="3799"/>
                  </a:lnTo>
                  <a:cubicBezTo>
                    <a:pt x="0" y="4215"/>
                    <a:pt x="334" y="4549"/>
                    <a:pt x="738" y="4549"/>
                  </a:cubicBezTo>
                  <a:lnTo>
                    <a:pt x="1084" y="4549"/>
                  </a:lnTo>
                  <a:lnTo>
                    <a:pt x="810" y="5585"/>
                  </a:lnTo>
                  <a:cubicBezTo>
                    <a:pt x="786" y="5704"/>
                    <a:pt x="834" y="5811"/>
                    <a:pt x="929" y="5882"/>
                  </a:cubicBezTo>
                  <a:cubicBezTo>
                    <a:pt x="977" y="5918"/>
                    <a:pt x="1036" y="5930"/>
                    <a:pt x="1084" y="5930"/>
                  </a:cubicBezTo>
                  <a:cubicBezTo>
                    <a:pt x="1143" y="5930"/>
                    <a:pt x="1203" y="5918"/>
                    <a:pt x="1250" y="5870"/>
                  </a:cubicBezTo>
                  <a:lnTo>
                    <a:pt x="3072" y="4525"/>
                  </a:lnTo>
                  <a:lnTo>
                    <a:pt x="4918" y="4525"/>
                  </a:lnTo>
                  <a:cubicBezTo>
                    <a:pt x="5334" y="4525"/>
                    <a:pt x="5668" y="4192"/>
                    <a:pt x="5668" y="3787"/>
                  </a:cubicBezTo>
                  <a:lnTo>
                    <a:pt x="5668" y="751"/>
                  </a:lnTo>
                  <a:cubicBezTo>
                    <a:pt x="5656" y="334"/>
                    <a:pt x="5322" y="12"/>
                    <a:pt x="4906" y="12"/>
                  </a:cubicBezTo>
                  <a:lnTo>
                    <a:pt x="3953" y="12"/>
                  </a:lnTo>
                  <a:cubicBezTo>
                    <a:pt x="3846" y="12"/>
                    <a:pt x="3775" y="84"/>
                    <a:pt x="3775" y="191"/>
                  </a:cubicBezTo>
                  <a:cubicBezTo>
                    <a:pt x="3775" y="286"/>
                    <a:pt x="3846" y="370"/>
                    <a:pt x="3953" y="370"/>
                  </a:cubicBezTo>
                  <a:lnTo>
                    <a:pt x="4906" y="370"/>
                  </a:lnTo>
                  <a:cubicBezTo>
                    <a:pt x="5132" y="370"/>
                    <a:pt x="5299" y="548"/>
                    <a:pt x="5299" y="751"/>
                  </a:cubicBezTo>
                  <a:lnTo>
                    <a:pt x="5299" y="3799"/>
                  </a:lnTo>
                  <a:cubicBezTo>
                    <a:pt x="5299" y="4025"/>
                    <a:pt x="5120" y="4192"/>
                    <a:pt x="4906" y="4192"/>
                  </a:cubicBezTo>
                  <a:lnTo>
                    <a:pt x="3001" y="4192"/>
                  </a:lnTo>
                  <a:cubicBezTo>
                    <a:pt x="2953" y="4192"/>
                    <a:pt x="2929" y="4203"/>
                    <a:pt x="2893" y="4215"/>
                  </a:cubicBezTo>
                  <a:lnTo>
                    <a:pt x="1203" y="5454"/>
                  </a:lnTo>
                  <a:lnTo>
                    <a:pt x="1203" y="5454"/>
                  </a:lnTo>
                  <a:lnTo>
                    <a:pt x="1465" y="4418"/>
                  </a:lnTo>
                  <a:cubicBezTo>
                    <a:pt x="1489" y="4358"/>
                    <a:pt x="1465" y="4311"/>
                    <a:pt x="1441" y="4263"/>
                  </a:cubicBezTo>
                  <a:cubicBezTo>
                    <a:pt x="1405" y="4215"/>
                    <a:pt x="1346" y="4192"/>
                    <a:pt x="1310" y="4192"/>
                  </a:cubicBezTo>
                  <a:lnTo>
                    <a:pt x="738" y="4192"/>
                  </a:lnTo>
                  <a:cubicBezTo>
                    <a:pt x="512" y="4192"/>
                    <a:pt x="357" y="4013"/>
                    <a:pt x="357" y="3799"/>
                  </a:cubicBezTo>
                  <a:lnTo>
                    <a:pt x="357" y="751"/>
                  </a:lnTo>
                  <a:cubicBezTo>
                    <a:pt x="357" y="524"/>
                    <a:pt x="536" y="370"/>
                    <a:pt x="738" y="370"/>
                  </a:cubicBezTo>
                  <a:lnTo>
                    <a:pt x="1691" y="370"/>
                  </a:lnTo>
                  <a:cubicBezTo>
                    <a:pt x="1798" y="370"/>
                    <a:pt x="1870" y="286"/>
                    <a:pt x="1870" y="179"/>
                  </a:cubicBezTo>
                  <a:cubicBezTo>
                    <a:pt x="1870" y="84"/>
                    <a:pt x="1798" y="1"/>
                    <a:pt x="1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1" name="Google Shape;10871;p60"/>
            <p:cNvSpPr/>
            <p:nvPr/>
          </p:nvSpPr>
          <p:spPr>
            <a:xfrm>
              <a:off x="2027487" y="2894777"/>
              <a:ext cx="36029" cy="108786"/>
            </a:xfrm>
            <a:custGeom>
              <a:avLst/>
              <a:gdLst/>
              <a:ahLst/>
              <a:cxnLst/>
              <a:rect l="l" t="t" r="r" b="b"/>
              <a:pathLst>
                <a:path w="1132" h="3418" extrusionOk="0">
                  <a:moveTo>
                    <a:pt x="775" y="358"/>
                  </a:moveTo>
                  <a:lnTo>
                    <a:pt x="596" y="3049"/>
                  </a:lnTo>
                  <a:lnTo>
                    <a:pt x="560" y="3049"/>
                  </a:lnTo>
                  <a:lnTo>
                    <a:pt x="394" y="358"/>
                  </a:lnTo>
                  <a:close/>
                  <a:moveTo>
                    <a:pt x="179" y="1"/>
                  </a:moveTo>
                  <a:cubicBezTo>
                    <a:pt x="143" y="1"/>
                    <a:pt x="96" y="24"/>
                    <a:pt x="48" y="60"/>
                  </a:cubicBezTo>
                  <a:cubicBezTo>
                    <a:pt x="24" y="96"/>
                    <a:pt x="1" y="155"/>
                    <a:pt x="1" y="203"/>
                  </a:cubicBezTo>
                  <a:lnTo>
                    <a:pt x="203" y="3251"/>
                  </a:lnTo>
                  <a:cubicBezTo>
                    <a:pt x="203" y="3334"/>
                    <a:pt x="286" y="3418"/>
                    <a:pt x="382" y="3418"/>
                  </a:cubicBezTo>
                  <a:lnTo>
                    <a:pt x="763" y="3418"/>
                  </a:lnTo>
                  <a:cubicBezTo>
                    <a:pt x="858" y="3418"/>
                    <a:pt x="941" y="3334"/>
                    <a:pt x="941" y="3251"/>
                  </a:cubicBezTo>
                  <a:lnTo>
                    <a:pt x="1132" y="203"/>
                  </a:lnTo>
                  <a:cubicBezTo>
                    <a:pt x="1132" y="155"/>
                    <a:pt x="1120" y="96"/>
                    <a:pt x="1072" y="60"/>
                  </a:cubicBezTo>
                  <a:cubicBezTo>
                    <a:pt x="1048" y="36"/>
                    <a:pt x="1001" y="1"/>
                    <a:pt x="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2" name="Google Shape;10872;p60"/>
            <p:cNvSpPr/>
            <p:nvPr/>
          </p:nvSpPr>
          <p:spPr>
            <a:xfrm>
              <a:off x="2027487" y="3009992"/>
              <a:ext cx="36029" cy="36029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572" y="345"/>
                  </a:moveTo>
                  <a:cubicBezTo>
                    <a:pt x="691" y="345"/>
                    <a:pt x="775" y="429"/>
                    <a:pt x="775" y="548"/>
                  </a:cubicBezTo>
                  <a:cubicBezTo>
                    <a:pt x="775" y="667"/>
                    <a:pt x="691" y="762"/>
                    <a:pt x="572" y="762"/>
                  </a:cubicBezTo>
                  <a:cubicBezTo>
                    <a:pt x="453" y="762"/>
                    <a:pt x="358" y="667"/>
                    <a:pt x="358" y="548"/>
                  </a:cubicBezTo>
                  <a:cubicBezTo>
                    <a:pt x="358" y="429"/>
                    <a:pt x="453" y="345"/>
                    <a:pt x="572" y="345"/>
                  </a:cubicBezTo>
                  <a:close/>
                  <a:moveTo>
                    <a:pt x="572" y="0"/>
                  </a:moveTo>
                  <a:cubicBezTo>
                    <a:pt x="263" y="0"/>
                    <a:pt x="1" y="250"/>
                    <a:pt x="1" y="572"/>
                  </a:cubicBezTo>
                  <a:cubicBezTo>
                    <a:pt x="1" y="881"/>
                    <a:pt x="263" y="1131"/>
                    <a:pt x="572" y="1131"/>
                  </a:cubicBezTo>
                  <a:cubicBezTo>
                    <a:pt x="882" y="1131"/>
                    <a:pt x="1132" y="881"/>
                    <a:pt x="1132" y="572"/>
                  </a:cubicBezTo>
                  <a:cubicBezTo>
                    <a:pt x="1132" y="250"/>
                    <a:pt x="882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73" name="Google Shape;10873;p60"/>
          <p:cNvGrpSpPr/>
          <p:nvPr/>
        </p:nvGrpSpPr>
        <p:grpSpPr>
          <a:xfrm>
            <a:off x="7098912" y="1969392"/>
            <a:ext cx="359651" cy="361560"/>
            <a:chOff x="7098912" y="1969392"/>
            <a:chExt cx="359651" cy="361560"/>
          </a:xfrm>
        </p:grpSpPr>
        <p:sp>
          <p:nvSpPr>
            <p:cNvPr id="10874" name="Google Shape;10874;p60"/>
            <p:cNvSpPr/>
            <p:nvPr/>
          </p:nvSpPr>
          <p:spPr>
            <a:xfrm>
              <a:off x="7098912" y="2127607"/>
              <a:ext cx="134567" cy="202582"/>
            </a:xfrm>
            <a:custGeom>
              <a:avLst/>
              <a:gdLst/>
              <a:ahLst/>
              <a:cxnLst/>
              <a:rect l="l" t="t" r="r" b="b"/>
              <a:pathLst>
                <a:path w="4228" h="6365" extrusionOk="0">
                  <a:moveTo>
                    <a:pt x="2108" y="331"/>
                  </a:moveTo>
                  <a:cubicBezTo>
                    <a:pt x="2153" y="331"/>
                    <a:pt x="2198" y="334"/>
                    <a:pt x="2239" y="340"/>
                  </a:cubicBezTo>
                  <a:cubicBezTo>
                    <a:pt x="2978" y="399"/>
                    <a:pt x="3537" y="1042"/>
                    <a:pt x="3537" y="1780"/>
                  </a:cubicBezTo>
                  <a:cubicBezTo>
                    <a:pt x="3537" y="2483"/>
                    <a:pt x="3704" y="3138"/>
                    <a:pt x="3847" y="3483"/>
                  </a:cubicBezTo>
                  <a:lnTo>
                    <a:pt x="3847" y="3495"/>
                  </a:lnTo>
                  <a:cubicBezTo>
                    <a:pt x="3656" y="3602"/>
                    <a:pt x="3335" y="3793"/>
                    <a:pt x="2787" y="3912"/>
                  </a:cubicBezTo>
                  <a:lnTo>
                    <a:pt x="2787" y="3864"/>
                  </a:lnTo>
                  <a:lnTo>
                    <a:pt x="2787" y="3531"/>
                  </a:lnTo>
                  <a:cubicBezTo>
                    <a:pt x="3001" y="3412"/>
                    <a:pt x="3180" y="3233"/>
                    <a:pt x="3299" y="3007"/>
                  </a:cubicBezTo>
                  <a:cubicBezTo>
                    <a:pt x="3537" y="2590"/>
                    <a:pt x="3454" y="2066"/>
                    <a:pt x="3108" y="1745"/>
                  </a:cubicBezTo>
                  <a:cubicBezTo>
                    <a:pt x="2870" y="1518"/>
                    <a:pt x="2430" y="1245"/>
                    <a:pt x="1727" y="1245"/>
                  </a:cubicBezTo>
                  <a:cubicBezTo>
                    <a:pt x="1680" y="1245"/>
                    <a:pt x="1632" y="1268"/>
                    <a:pt x="1608" y="1292"/>
                  </a:cubicBezTo>
                  <a:lnTo>
                    <a:pt x="1251" y="1649"/>
                  </a:lnTo>
                  <a:cubicBezTo>
                    <a:pt x="1192" y="1709"/>
                    <a:pt x="1192" y="1816"/>
                    <a:pt x="1251" y="1888"/>
                  </a:cubicBezTo>
                  <a:cubicBezTo>
                    <a:pt x="1281" y="1917"/>
                    <a:pt x="1323" y="1932"/>
                    <a:pt x="1366" y="1932"/>
                  </a:cubicBezTo>
                  <a:cubicBezTo>
                    <a:pt x="1409" y="1932"/>
                    <a:pt x="1454" y="1917"/>
                    <a:pt x="1489" y="1888"/>
                  </a:cubicBezTo>
                  <a:lnTo>
                    <a:pt x="1799" y="1578"/>
                  </a:lnTo>
                  <a:cubicBezTo>
                    <a:pt x="2239" y="1590"/>
                    <a:pt x="2608" y="1721"/>
                    <a:pt x="2882" y="1983"/>
                  </a:cubicBezTo>
                  <a:cubicBezTo>
                    <a:pt x="3120" y="2185"/>
                    <a:pt x="3180" y="2542"/>
                    <a:pt x="3025" y="2828"/>
                  </a:cubicBezTo>
                  <a:cubicBezTo>
                    <a:pt x="2823" y="3173"/>
                    <a:pt x="2466" y="3376"/>
                    <a:pt x="2085" y="3376"/>
                  </a:cubicBezTo>
                  <a:cubicBezTo>
                    <a:pt x="1489" y="3376"/>
                    <a:pt x="1013" y="2900"/>
                    <a:pt x="1013" y="2304"/>
                  </a:cubicBezTo>
                  <a:cubicBezTo>
                    <a:pt x="1013" y="2209"/>
                    <a:pt x="942" y="2138"/>
                    <a:pt x="846" y="2138"/>
                  </a:cubicBezTo>
                  <a:cubicBezTo>
                    <a:pt x="763" y="2138"/>
                    <a:pt x="680" y="2209"/>
                    <a:pt x="680" y="2304"/>
                  </a:cubicBezTo>
                  <a:cubicBezTo>
                    <a:pt x="680" y="2828"/>
                    <a:pt x="965" y="3292"/>
                    <a:pt x="1394" y="3519"/>
                  </a:cubicBezTo>
                  <a:lnTo>
                    <a:pt x="1394" y="3852"/>
                  </a:lnTo>
                  <a:lnTo>
                    <a:pt x="1394" y="3900"/>
                  </a:lnTo>
                  <a:cubicBezTo>
                    <a:pt x="834" y="3781"/>
                    <a:pt x="501" y="3602"/>
                    <a:pt x="370" y="3495"/>
                  </a:cubicBezTo>
                  <a:cubicBezTo>
                    <a:pt x="370" y="3495"/>
                    <a:pt x="358" y="3495"/>
                    <a:pt x="370" y="3483"/>
                  </a:cubicBezTo>
                  <a:cubicBezTo>
                    <a:pt x="525" y="3138"/>
                    <a:pt x="680" y="2483"/>
                    <a:pt x="680" y="1780"/>
                  </a:cubicBezTo>
                  <a:cubicBezTo>
                    <a:pt x="680" y="1042"/>
                    <a:pt x="1251" y="399"/>
                    <a:pt x="1977" y="340"/>
                  </a:cubicBezTo>
                  <a:cubicBezTo>
                    <a:pt x="2019" y="334"/>
                    <a:pt x="2064" y="331"/>
                    <a:pt x="2108" y="331"/>
                  </a:cubicBezTo>
                  <a:close/>
                  <a:moveTo>
                    <a:pt x="2442" y="3662"/>
                  </a:moveTo>
                  <a:lnTo>
                    <a:pt x="2442" y="3852"/>
                  </a:lnTo>
                  <a:cubicBezTo>
                    <a:pt x="2442" y="4043"/>
                    <a:pt x="2549" y="4221"/>
                    <a:pt x="2727" y="4316"/>
                  </a:cubicBezTo>
                  <a:lnTo>
                    <a:pt x="2823" y="4376"/>
                  </a:lnTo>
                  <a:cubicBezTo>
                    <a:pt x="2680" y="4626"/>
                    <a:pt x="2382" y="4793"/>
                    <a:pt x="2073" y="4793"/>
                  </a:cubicBezTo>
                  <a:cubicBezTo>
                    <a:pt x="1751" y="4793"/>
                    <a:pt x="1477" y="4626"/>
                    <a:pt x="1311" y="4376"/>
                  </a:cubicBezTo>
                  <a:lnTo>
                    <a:pt x="1418" y="4316"/>
                  </a:lnTo>
                  <a:cubicBezTo>
                    <a:pt x="1596" y="4221"/>
                    <a:pt x="1692" y="4043"/>
                    <a:pt x="1692" y="3852"/>
                  </a:cubicBezTo>
                  <a:lnTo>
                    <a:pt x="1692" y="3662"/>
                  </a:lnTo>
                  <a:cubicBezTo>
                    <a:pt x="1811" y="3685"/>
                    <a:pt x="1930" y="3709"/>
                    <a:pt x="2073" y="3709"/>
                  </a:cubicBezTo>
                  <a:cubicBezTo>
                    <a:pt x="2192" y="3709"/>
                    <a:pt x="2323" y="3685"/>
                    <a:pt x="2442" y="3662"/>
                  </a:cubicBezTo>
                  <a:close/>
                  <a:moveTo>
                    <a:pt x="2096" y="0"/>
                  </a:moveTo>
                  <a:cubicBezTo>
                    <a:pt x="2040" y="0"/>
                    <a:pt x="1983" y="6"/>
                    <a:pt x="1930" y="18"/>
                  </a:cubicBezTo>
                  <a:cubicBezTo>
                    <a:pt x="1037" y="102"/>
                    <a:pt x="334" y="875"/>
                    <a:pt x="334" y="1780"/>
                  </a:cubicBezTo>
                  <a:cubicBezTo>
                    <a:pt x="334" y="2435"/>
                    <a:pt x="180" y="3042"/>
                    <a:pt x="60" y="3364"/>
                  </a:cubicBezTo>
                  <a:cubicBezTo>
                    <a:pt x="1" y="3507"/>
                    <a:pt x="37" y="3673"/>
                    <a:pt x="180" y="3781"/>
                  </a:cubicBezTo>
                  <a:cubicBezTo>
                    <a:pt x="311" y="3888"/>
                    <a:pt x="596" y="4043"/>
                    <a:pt x="1037" y="4162"/>
                  </a:cubicBezTo>
                  <a:lnTo>
                    <a:pt x="382" y="4495"/>
                  </a:lnTo>
                  <a:cubicBezTo>
                    <a:pt x="144" y="4614"/>
                    <a:pt x="1" y="4852"/>
                    <a:pt x="1" y="5114"/>
                  </a:cubicBezTo>
                  <a:lnTo>
                    <a:pt x="1" y="6209"/>
                  </a:lnTo>
                  <a:cubicBezTo>
                    <a:pt x="1" y="6293"/>
                    <a:pt x="72" y="6364"/>
                    <a:pt x="156" y="6364"/>
                  </a:cubicBezTo>
                  <a:cubicBezTo>
                    <a:pt x="251" y="6364"/>
                    <a:pt x="322" y="6293"/>
                    <a:pt x="322" y="6209"/>
                  </a:cubicBezTo>
                  <a:lnTo>
                    <a:pt x="322" y="5114"/>
                  </a:lnTo>
                  <a:cubicBezTo>
                    <a:pt x="322" y="4983"/>
                    <a:pt x="394" y="4852"/>
                    <a:pt x="537" y="4793"/>
                  </a:cubicBezTo>
                  <a:lnTo>
                    <a:pt x="1049" y="4519"/>
                  </a:lnTo>
                  <a:cubicBezTo>
                    <a:pt x="1275" y="4900"/>
                    <a:pt x="1680" y="5138"/>
                    <a:pt x="2108" y="5138"/>
                  </a:cubicBezTo>
                  <a:cubicBezTo>
                    <a:pt x="2561" y="5138"/>
                    <a:pt x="2942" y="4900"/>
                    <a:pt x="3168" y="4519"/>
                  </a:cubicBezTo>
                  <a:lnTo>
                    <a:pt x="3692" y="4793"/>
                  </a:lnTo>
                  <a:cubicBezTo>
                    <a:pt x="3811" y="4852"/>
                    <a:pt x="3894" y="4983"/>
                    <a:pt x="3894" y="5114"/>
                  </a:cubicBezTo>
                  <a:lnTo>
                    <a:pt x="3894" y="6209"/>
                  </a:lnTo>
                  <a:cubicBezTo>
                    <a:pt x="3894" y="6293"/>
                    <a:pt x="3966" y="6364"/>
                    <a:pt x="4061" y="6364"/>
                  </a:cubicBezTo>
                  <a:cubicBezTo>
                    <a:pt x="4144" y="6364"/>
                    <a:pt x="4228" y="6293"/>
                    <a:pt x="4228" y="6209"/>
                  </a:cubicBezTo>
                  <a:lnTo>
                    <a:pt x="4228" y="5114"/>
                  </a:lnTo>
                  <a:cubicBezTo>
                    <a:pt x="4192" y="4852"/>
                    <a:pt x="4049" y="4614"/>
                    <a:pt x="3811" y="4495"/>
                  </a:cubicBezTo>
                  <a:lnTo>
                    <a:pt x="3156" y="4162"/>
                  </a:lnTo>
                  <a:cubicBezTo>
                    <a:pt x="3597" y="4043"/>
                    <a:pt x="3870" y="3888"/>
                    <a:pt x="4013" y="3781"/>
                  </a:cubicBezTo>
                  <a:cubicBezTo>
                    <a:pt x="4156" y="3685"/>
                    <a:pt x="4192" y="3507"/>
                    <a:pt x="4132" y="3364"/>
                  </a:cubicBezTo>
                  <a:cubicBezTo>
                    <a:pt x="4001" y="3042"/>
                    <a:pt x="3847" y="2435"/>
                    <a:pt x="3847" y="1780"/>
                  </a:cubicBezTo>
                  <a:cubicBezTo>
                    <a:pt x="3847" y="875"/>
                    <a:pt x="3156" y="90"/>
                    <a:pt x="2263" y="18"/>
                  </a:cubicBezTo>
                  <a:cubicBezTo>
                    <a:pt x="2210" y="6"/>
                    <a:pt x="2153" y="0"/>
                    <a:pt x="2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5" name="Google Shape;10875;p60"/>
            <p:cNvSpPr/>
            <p:nvPr/>
          </p:nvSpPr>
          <p:spPr>
            <a:xfrm>
              <a:off x="7120141" y="2297184"/>
              <a:ext cx="10662" cy="33005"/>
            </a:xfrm>
            <a:custGeom>
              <a:avLst/>
              <a:gdLst/>
              <a:ahLst/>
              <a:cxnLst/>
              <a:rect l="l" t="t" r="r" b="b"/>
              <a:pathLst>
                <a:path w="335" h="1037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881"/>
                  </a:lnTo>
                  <a:cubicBezTo>
                    <a:pt x="1" y="965"/>
                    <a:pt x="72" y="1036"/>
                    <a:pt x="167" y="1036"/>
                  </a:cubicBezTo>
                  <a:cubicBezTo>
                    <a:pt x="251" y="1036"/>
                    <a:pt x="334" y="965"/>
                    <a:pt x="334" y="881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6" name="Google Shape;10876;p60"/>
            <p:cNvSpPr/>
            <p:nvPr/>
          </p:nvSpPr>
          <p:spPr>
            <a:xfrm>
              <a:off x="7199360" y="2297184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81"/>
                  </a:lnTo>
                  <a:cubicBezTo>
                    <a:pt x="0" y="965"/>
                    <a:pt x="72" y="1036"/>
                    <a:pt x="167" y="1036"/>
                  </a:cubicBezTo>
                  <a:cubicBezTo>
                    <a:pt x="250" y="1036"/>
                    <a:pt x="322" y="965"/>
                    <a:pt x="322" y="881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7" name="Google Shape;10877;p60"/>
            <p:cNvSpPr/>
            <p:nvPr/>
          </p:nvSpPr>
          <p:spPr>
            <a:xfrm>
              <a:off x="7357001" y="2165704"/>
              <a:ext cx="56876" cy="17823"/>
            </a:xfrm>
            <a:custGeom>
              <a:avLst/>
              <a:gdLst/>
              <a:ahLst/>
              <a:cxnLst/>
              <a:rect l="l" t="t" r="r" b="b"/>
              <a:pathLst>
                <a:path w="1787" h="560" extrusionOk="0">
                  <a:moveTo>
                    <a:pt x="630" y="0"/>
                  </a:moveTo>
                  <a:cubicBezTo>
                    <a:pt x="478" y="0"/>
                    <a:pt x="311" y="14"/>
                    <a:pt x="131" y="48"/>
                  </a:cubicBezTo>
                  <a:cubicBezTo>
                    <a:pt x="60" y="71"/>
                    <a:pt x="0" y="143"/>
                    <a:pt x="0" y="214"/>
                  </a:cubicBezTo>
                  <a:lnTo>
                    <a:pt x="0" y="393"/>
                  </a:lnTo>
                  <a:cubicBezTo>
                    <a:pt x="0" y="488"/>
                    <a:pt x="72" y="560"/>
                    <a:pt x="167" y="560"/>
                  </a:cubicBezTo>
                  <a:cubicBezTo>
                    <a:pt x="250" y="560"/>
                    <a:pt x="322" y="488"/>
                    <a:pt x="322" y="393"/>
                  </a:cubicBezTo>
                  <a:lnTo>
                    <a:pt x="322" y="345"/>
                  </a:lnTo>
                  <a:cubicBezTo>
                    <a:pt x="436" y="334"/>
                    <a:pt x="543" y="328"/>
                    <a:pt x="642" y="328"/>
                  </a:cubicBezTo>
                  <a:cubicBezTo>
                    <a:pt x="851" y="328"/>
                    <a:pt x="1022" y="352"/>
                    <a:pt x="1143" y="393"/>
                  </a:cubicBezTo>
                  <a:cubicBezTo>
                    <a:pt x="1369" y="452"/>
                    <a:pt x="1488" y="524"/>
                    <a:pt x="1488" y="524"/>
                  </a:cubicBezTo>
                  <a:cubicBezTo>
                    <a:pt x="1512" y="548"/>
                    <a:pt x="1548" y="560"/>
                    <a:pt x="1572" y="560"/>
                  </a:cubicBezTo>
                  <a:cubicBezTo>
                    <a:pt x="1631" y="560"/>
                    <a:pt x="1679" y="524"/>
                    <a:pt x="1715" y="488"/>
                  </a:cubicBezTo>
                  <a:cubicBezTo>
                    <a:pt x="1786" y="405"/>
                    <a:pt x="1762" y="310"/>
                    <a:pt x="1679" y="262"/>
                  </a:cubicBezTo>
                  <a:cubicBezTo>
                    <a:pt x="1660" y="252"/>
                    <a:pt x="1280" y="0"/>
                    <a:pt x="6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8" name="Google Shape;10878;p60"/>
            <p:cNvSpPr/>
            <p:nvPr/>
          </p:nvSpPr>
          <p:spPr>
            <a:xfrm>
              <a:off x="7312666" y="2133113"/>
              <a:ext cx="145897" cy="197840"/>
            </a:xfrm>
            <a:custGeom>
              <a:avLst/>
              <a:gdLst/>
              <a:ahLst/>
              <a:cxnLst/>
              <a:rect l="l" t="t" r="r" b="b"/>
              <a:pathLst>
                <a:path w="4584" h="6216" extrusionOk="0">
                  <a:moveTo>
                    <a:pt x="3536" y="345"/>
                  </a:moveTo>
                  <a:lnTo>
                    <a:pt x="3536" y="1167"/>
                  </a:lnTo>
                  <a:cubicBezTo>
                    <a:pt x="3536" y="1298"/>
                    <a:pt x="3512" y="1453"/>
                    <a:pt x="3453" y="1572"/>
                  </a:cubicBezTo>
                  <a:lnTo>
                    <a:pt x="3393" y="1703"/>
                  </a:lnTo>
                  <a:cubicBezTo>
                    <a:pt x="3370" y="1726"/>
                    <a:pt x="3370" y="1750"/>
                    <a:pt x="3370" y="1774"/>
                  </a:cubicBezTo>
                  <a:lnTo>
                    <a:pt x="3370" y="2131"/>
                  </a:lnTo>
                  <a:cubicBezTo>
                    <a:pt x="3358" y="2417"/>
                    <a:pt x="3239" y="2703"/>
                    <a:pt x="3036" y="2905"/>
                  </a:cubicBezTo>
                  <a:cubicBezTo>
                    <a:pt x="2834" y="3108"/>
                    <a:pt x="2568" y="3204"/>
                    <a:pt x="2288" y="3204"/>
                  </a:cubicBezTo>
                  <a:cubicBezTo>
                    <a:pt x="2271" y="3204"/>
                    <a:pt x="2255" y="3203"/>
                    <a:pt x="2238" y="3203"/>
                  </a:cubicBezTo>
                  <a:cubicBezTo>
                    <a:pt x="1667" y="3191"/>
                    <a:pt x="1203" y="2679"/>
                    <a:pt x="1203" y="2072"/>
                  </a:cubicBezTo>
                  <a:lnTo>
                    <a:pt x="1203" y="1774"/>
                  </a:lnTo>
                  <a:cubicBezTo>
                    <a:pt x="1203" y="1750"/>
                    <a:pt x="1203" y="1726"/>
                    <a:pt x="1191" y="1703"/>
                  </a:cubicBezTo>
                  <a:lnTo>
                    <a:pt x="1131" y="1572"/>
                  </a:lnTo>
                  <a:cubicBezTo>
                    <a:pt x="1072" y="1453"/>
                    <a:pt x="1036" y="1298"/>
                    <a:pt x="1036" y="1167"/>
                  </a:cubicBezTo>
                  <a:cubicBezTo>
                    <a:pt x="1036" y="702"/>
                    <a:pt x="1405" y="345"/>
                    <a:pt x="1857" y="345"/>
                  </a:cubicBezTo>
                  <a:close/>
                  <a:moveTo>
                    <a:pt x="1726" y="3417"/>
                  </a:moveTo>
                  <a:cubicBezTo>
                    <a:pt x="1869" y="3489"/>
                    <a:pt x="2048" y="3512"/>
                    <a:pt x="2227" y="3536"/>
                  </a:cubicBezTo>
                  <a:lnTo>
                    <a:pt x="2274" y="3536"/>
                  </a:lnTo>
                  <a:cubicBezTo>
                    <a:pt x="2465" y="3536"/>
                    <a:pt x="2643" y="3489"/>
                    <a:pt x="2822" y="3429"/>
                  </a:cubicBezTo>
                  <a:lnTo>
                    <a:pt x="2822" y="3655"/>
                  </a:lnTo>
                  <a:cubicBezTo>
                    <a:pt x="2822" y="3691"/>
                    <a:pt x="2834" y="3750"/>
                    <a:pt x="2834" y="3798"/>
                  </a:cubicBezTo>
                  <a:lnTo>
                    <a:pt x="2274" y="4227"/>
                  </a:lnTo>
                  <a:lnTo>
                    <a:pt x="1703" y="3798"/>
                  </a:lnTo>
                  <a:cubicBezTo>
                    <a:pt x="1726" y="3750"/>
                    <a:pt x="1726" y="3715"/>
                    <a:pt x="1726" y="3655"/>
                  </a:cubicBezTo>
                  <a:lnTo>
                    <a:pt x="1726" y="3417"/>
                  </a:lnTo>
                  <a:close/>
                  <a:moveTo>
                    <a:pt x="1857" y="0"/>
                  </a:moveTo>
                  <a:cubicBezTo>
                    <a:pt x="1215" y="0"/>
                    <a:pt x="691" y="524"/>
                    <a:pt x="691" y="1167"/>
                  </a:cubicBezTo>
                  <a:cubicBezTo>
                    <a:pt x="691" y="1357"/>
                    <a:pt x="738" y="1548"/>
                    <a:pt x="834" y="1715"/>
                  </a:cubicBezTo>
                  <a:lnTo>
                    <a:pt x="869" y="1810"/>
                  </a:lnTo>
                  <a:lnTo>
                    <a:pt x="869" y="2072"/>
                  </a:lnTo>
                  <a:cubicBezTo>
                    <a:pt x="869" y="2536"/>
                    <a:pt x="1084" y="2941"/>
                    <a:pt x="1405" y="3215"/>
                  </a:cubicBezTo>
                  <a:lnTo>
                    <a:pt x="1405" y="3667"/>
                  </a:lnTo>
                  <a:cubicBezTo>
                    <a:pt x="1405" y="3739"/>
                    <a:pt x="1369" y="3810"/>
                    <a:pt x="1286" y="3846"/>
                  </a:cubicBezTo>
                  <a:lnTo>
                    <a:pt x="441" y="4155"/>
                  </a:lnTo>
                  <a:cubicBezTo>
                    <a:pt x="179" y="4262"/>
                    <a:pt x="0" y="4512"/>
                    <a:pt x="0" y="4810"/>
                  </a:cubicBezTo>
                  <a:lnTo>
                    <a:pt x="0" y="6048"/>
                  </a:lnTo>
                  <a:cubicBezTo>
                    <a:pt x="0" y="6132"/>
                    <a:pt x="72" y="6215"/>
                    <a:pt x="155" y="6215"/>
                  </a:cubicBezTo>
                  <a:cubicBezTo>
                    <a:pt x="250" y="6215"/>
                    <a:pt x="322" y="6132"/>
                    <a:pt x="322" y="6048"/>
                  </a:cubicBezTo>
                  <a:lnTo>
                    <a:pt x="322" y="4810"/>
                  </a:lnTo>
                  <a:cubicBezTo>
                    <a:pt x="322" y="4655"/>
                    <a:pt x="417" y="4524"/>
                    <a:pt x="560" y="4465"/>
                  </a:cubicBezTo>
                  <a:lnTo>
                    <a:pt x="1405" y="4155"/>
                  </a:lnTo>
                  <a:cubicBezTo>
                    <a:pt x="1453" y="4143"/>
                    <a:pt x="1500" y="4108"/>
                    <a:pt x="1524" y="4084"/>
                  </a:cubicBezTo>
                  <a:lnTo>
                    <a:pt x="2119" y="4524"/>
                  </a:lnTo>
                  <a:lnTo>
                    <a:pt x="2119" y="6036"/>
                  </a:lnTo>
                  <a:cubicBezTo>
                    <a:pt x="2119" y="6120"/>
                    <a:pt x="2203" y="6191"/>
                    <a:pt x="2286" y="6191"/>
                  </a:cubicBezTo>
                  <a:cubicBezTo>
                    <a:pt x="2369" y="6191"/>
                    <a:pt x="2453" y="6120"/>
                    <a:pt x="2453" y="6036"/>
                  </a:cubicBezTo>
                  <a:lnTo>
                    <a:pt x="2453" y="4512"/>
                  </a:lnTo>
                  <a:lnTo>
                    <a:pt x="3048" y="4072"/>
                  </a:lnTo>
                  <a:cubicBezTo>
                    <a:pt x="3084" y="4096"/>
                    <a:pt x="3120" y="4108"/>
                    <a:pt x="3167" y="4143"/>
                  </a:cubicBezTo>
                  <a:lnTo>
                    <a:pt x="4012" y="4453"/>
                  </a:lnTo>
                  <a:cubicBezTo>
                    <a:pt x="4155" y="4512"/>
                    <a:pt x="4251" y="4643"/>
                    <a:pt x="4251" y="4798"/>
                  </a:cubicBezTo>
                  <a:lnTo>
                    <a:pt x="4251" y="6036"/>
                  </a:lnTo>
                  <a:cubicBezTo>
                    <a:pt x="4251" y="6120"/>
                    <a:pt x="4322" y="6191"/>
                    <a:pt x="4417" y="6191"/>
                  </a:cubicBezTo>
                  <a:cubicBezTo>
                    <a:pt x="4501" y="6191"/>
                    <a:pt x="4572" y="6120"/>
                    <a:pt x="4572" y="6036"/>
                  </a:cubicBezTo>
                  <a:lnTo>
                    <a:pt x="4572" y="4798"/>
                  </a:lnTo>
                  <a:cubicBezTo>
                    <a:pt x="4584" y="4512"/>
                    <a:pt x="4382" y="4251"/>
                    <a:pt x="4120" y="4143"/>
                  </a:cubicBezTo>
                  <a:lnTo>
                    <a:pt x="3274" y="3834"/>
                  </a:lnTo>
                  <a:cubicBezTo>
                    <a:pt x="3191" y="3798"/>
                    <a:pt x="3155" y="3727"/>
                    <a:pt x="3155" y="3655"/>
                  </a:cubicBezTo>
                  <a:lnTo>
                    <a:pt x="3155" y="3215"/>
                  </a:lnTo>
                  <a:cubicBezTo>
                    <a:pt x="3179" y="3191"/>
                    <a:pt x="3227" y="3155"/>
                    <a:pt x="3250" y="3131"/>
                  </a:cubicBezTo>
                  <a:cubicBezTo>
                    <a:pt x="3536" y="2858"/>
                    <a:pt x="3691" y="2500"/>
                    <a:pt x="3691" y="2119"/>
                  </a:cubicBezTo>
                  <a:lnTo>
                    <a:pt x="3691" y="1810"/>
                  </a:lnTo>
                  <a:lnTo>
                    <a:pt x="3727" y="1715"/>
                  </a:lnTo>
                  <a:cubicBezTo>
                    <a:pt x="3822" y="1548"/>
                    <a:pt x="3870" y="1357"/>
                    <a:pt x="3870" y="1167"/>
                  </a:cubicBezTo>
                  <a:lnTo>
                    <a:pt x="3870" y="167"/>
                  </a:lnTo>
                  <a:cubicBezTo>
                    <a:pt x="3870" y="71"/>
                    <a:pt x="3786" y="0"/>
                    <a:pt x="3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9" name="Google Shape;10879;p60"/>
            <p:cNvSpPr/>
            <p:nvPr/>
          </p:nvSpPr>
          <p:spPr>
            <a:xfrm>
              <a:off x="7340324" y="2291486"/>
              <a:ext cx="10630" cy="38702"/>
            </a:xfrm>
            <a:custGeom>
              <a:avLst/>
              <a:gdLst/>
              <a:ahLst/>
              <a:cxnLst/>
              <a:rect l="l" t="t" r="r" b="b"/>
              <a:pathLst>
                <a:path w="334" h="1216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84" y="1215"/>
                    <a:pt x="167" y="1215"/>
                  </a:cubicBezTo>
                  <a:cubicBezTo>
                    <a:pt x="262" y="1215"/>
                    <a:pt x="334" y="1144"/>
                    <a:pt x="334" y="1060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0" name="Google Shape;10880;p60"/>
            <p:cNvSpPr/>
            <p:nvPr/>
          </p:nvSpPr>
          <p:spPr>
            <a:xfrm>
              <a:off x="7419511" y="2291486"/>
              <a:ext cx="10630" cy="38702"/>
            </a:xfrm>
            <a:custGeom>
              <a:avLst/>
              <a:gdLst/>
              <a:ahLst/>
              <a:cxnLst/>
              <a:rect l="l" t="t" r="r" b="b"/>
              <a:pathLst>
                <a:path w="334" h="1216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34" y="1144"/>
                    <a:pt x="334" y="1060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1" name="Google Shape;10881;p60"/>
            <p:cNvSpPr/>
            <p:nvPr/>
          </p:nvSpPr>
          <p:spPr>
            <a:xfrm>
              <a:off x="7153878" y="1969392"/>
              <a:ext cx="225498" cy="188355"/>
            </a:xfrm>
            <a:custGeom>
              <a:avLst/>
              <a:gdLst/>
              <a:ahLst/>
              <a:cxnLst/>
              <a:rect l="l" t="t" r="r" b="b"/>
              <a:pathLst>
                <a:path w="7085" h="5918" extrusionOk="0">
                  <a:moveTo>
                    <a:pt x="2441" y="4227"/>
                  </a:moveTo>
                  <a:lnTo>
                    <a:pt x="2346" y="4608"/>
                  </a:lnTo>
                  <a:lnTo>
                    <a:pt x="2132" y="4608"/>
                  </a:lnTo>
                  <a:cubicBezTo>
                    <a:pt x="1917" y="4608"/>
                    <a:pt x="1751" y="4442"/>
                    <a:pt x="1751" y="4239"/>
                  </a:cubicBezTo>
                  <a:lnTo>
                    <a:pt x="1751" y="4227"/>
                  </a:lnTo>
                  <a:close/>
                  <a:moveTo>
                    <a:pt x="5668" y="310"/>
                  </a:moveTo>
                  <a:cubicBezTo>
                    <a:pt x="5882" y="310"/>
                    <a:pt x="6037" y="477"/>
                    <a:pt x="6037" y="679"/>
                  </a:cubicBezTo>
                  <a:lnTo>
                    <a:pt x="6037" y="3525"/>
                  </a:lnTo>
                  <a:cubicBezTo>
                    <a:pt x="6037" y="3739"/>
                    <a:pt x="5882" y="3894"/>
                    <a:pt x="5668" y="3894"/>
                  </a:cubicBezTo>
                  <a:lnTo>
                    <a:pt x="4251" y="3894"/>
                  </a:lnTo>
                  <a:cubicBezTo>
                    <a:pt x="4227" y="3894"/>
                    <a:pt x="4179" y="3918"/>
                    <a:pt x="4156" y="3930"/>
                  </a:cubicBezTo>
                  <a:lnTo>
                    <a:pt x="2572" y="5084"/>
                  </a:lnTo>
                  <a:lnTo>
                    <a:pt x="2810" y="4108"/>
                  </a:lnTo>
                  <a:cubicBezTo>
                    <a:pt x="2822" y="4061"/>
                    <a:pt x="2810" y="4001"/>
                    <a:pt x="2786" y="3953"/>
                  </a:cubicBezTo>
                  <a:cubicBezTo>
                    <a:pt x="2751" y="3918"/>
                    <a:pt x="2703" y="3894"/>
                    <a:pt x="2644" y="3894"/>
                  </a:cubicBezTo>
                  <a:lnTo>
                    <a:pt x="703" y="3894"/>
                  </a:lnTo>
                  <a:cubicBezTo>
                    <a:pt x="489" y="3894"/>
                    <a:pt x="322" y="3739"/>
                    <a:pt x="322" y="3525"/>
                  </a:cubicBezTo>
                  <a:lnTo>
                    <a:pt x="322" y="679"/>
                  </a:lnTo>
                  <a:cubicBezTo>
                    <a:pt x="322" y="477"/>
                    <a:pt x="489" y="310"/>
                    <a:pt x="703" y="310"/>
                  </a:cubicBezTo>
                  <a:close/>
                  <a:moveTo>
                    <a:pt x="6382" y="1036"/>
                  </a:moveTo>
                  <a:cubicBezTo>
                    <a:pt x="6585" y="1036"/>
                    <a:pt x="6751" y="1203"/>
                    <a:pt x="6751" y="1417"/>
                  </a:cubicBezTo>
                  <a:lnTo>
                    <a:pt x="6751" y="4251"/>
                  </a:lnTo>
                  <a:lnTo>
                    <a:pt x="6739" y="4251"/>
                  </a:lnTo>
                  <a:cubicBezTo>
                    <a:pt x="6739" y="4465"/>
                    <a:pt x="6573" y="4632"/>
                    <a:pt x="6370" y="4632"/>
                  </a:cubicBezTo>
                  <a:lnTo>
                    <a:pt x="4953" y="4632"/>
                  </a:lnTo>
                  <a:cubicBezTo>
                    <a:pt x="4906" y="4632"/>
                    <a:pt x="4870" y="4644"/>
                    <a:pt x="4822" y="4692"/>
                  </a:cubicBezTo>
                  <a:cubicBezTo>
                    <a:pt x="4787" y="4727"/>
                    <a:pt x="4775" y="4775"/>
                    <a:pt x="4787" y="4823"/>
                  </a:cubicBezTo>
                  <a:lnTo>
                    <a:pt x="4906" y="5501"/>
                  </a:lnTo>
                  <a:lnTo>
                    <a:pt x="3691" y="4692"/>
                  </a:lnTo>
                  <a:lnTo>
                    <a:pt x="4299" y="4239"/>
                  </a:lnTo>
                  <a:lnTo>
                    <a:pt x="5668" y="4239"/>
                  </a:lnTo>
                  <a:cubicBezTo>
                    <a:pt x="6049" y="4239"/>
                    <a:pt x="6370" y="3930"/>
                    <a:pt x="6370" y="3537"/>
                  </a:cubicBezTo>
                  <a:lnTo>
                    <a:pt x="6370" y="1036"/>
                  </a:lnTo>
                  <a:close/>
                  <a:moveTo>
                    <a:pt x="703" y="1"/>
                  </a:moveTo>
                  <a:cubicBezTo>
                    <a:pt x="310" y="1"/>
                    <a:pt x="0" y="310"/>
                    <a:pt x="0" y="703"/>
                  </a:cubicBezTo>
                  <a:lnTo>
                    <a:pt x="0" y="3537"/>
                  </a:lnTo>
                  <a:cubicBezTo>
                    <a:pt x="0" y="3930"/>
                    <a:pt x="310" y="4239"/>
                    <a:pt x="703" y="4239"/>
                  </a:cubicBezTo>
                  <a:lnTo>
                    <a:pt x="1405" y="4239"/>
                  </a:lnTo>
                  <a:lnTo>
                    <a:pt x="1405" y="4251"/>
                  </a:lnTo>
                  <a:cubicBezTo>
                    <a:pt x="1405" y="4644"/>
                    <a:pt x="1727" y="4954"/>
                    <a:pt x="2108" y="4954"/>
                  </a:cubicBezTo>
                  <a:lnTo>
                    <a:pt x="2263" y="4954"/>
                  </a:lnTo>
                  <a:lnTo>
                    <a:pt x="2203" y="5227"/>
                  </a:lnTo>
                  <a:cubicBezTo>
                    <a:pt x="2167" y="5323"/>
                    <a:pt x="2215" y="5430"/>
                    <a:pt x="2298" y="5489"/>
                  </a:cubicBezTo>
                  <a:cubicBezTo>
                    <a:pt x="2346" y="5525"/>
                    <a:pt x="2394" y="5537"/>
                    <a:pt x="2453" y="5537"/>
                  </a:cubicBezTo>
                  <a:cubicBezTo>
                    <a:pt x="2513" y="5537"/>
                    <a:pt x="2560" y="5525"/>
                    <a:pt x="2596" y="5489"/>
                  </a:cubicBezTo>
                  <a:lnTo>
                    <a:pt x="3334" y="4954"/>
                  </a:lnTo>
                  <a:lnTo>
                    <a:pt x="3489" y="4954"/>
                  </a:lnTo>
                  <a:lnTo>
                    <a:pt x="4882" y="5882"/>
                  </a:lnTo>
                  <a:cubicBezTo>
                    <a:pt x="4918" y="5906"/>
                    <a:pt x="4965" y="5918"/>
                    <a:pt x="5013" y="5918"/>
                  </a:cubicBezTo>
                  <a:cubicBezTo>
                    <a:pt x="5061" y="5918"/>
                    <a:pt x="5096" y="5906"/>
                    <a:pt x="5144" y="5882"/>
                  </a:cubicBezTo>
                  <a:cubicBezTo>
                    <a:pt x="5239" y="5823"/>
                    <a:pt x="5287" y="5727"/>
                    <a:pt x="5263" y="5620"/>
                  </a:cubicBezTo>
                  <a:lnTo>
                    <a:pt x="5168" y="4954"/>
                  </a:lnTo>
                  <a:lnTo>
                    <a:pt x="6382" y="4954"/>
                  </a:lnTo>
                  <a:cubicBezTo>
                    <a:pt x="6763" y="4954"/>
                    <a:pt x="7085" y="4644"/>
                    <a:pt x="7085" y="4251"/>
                  </a:cubicBezTo>
                  <a:lnTo>
                    <a:pt x="7085" y="1417"/>
                  </a:lnTo>
                  <a:cubicBezTo>
                    <a:pt x="7085" y="1024"/>
                    <a:pt x="6775" y="715"/>
                    <a:pt x="6382" y="715"/>
                  </a:cubicBezTo>
                  <a:cubicBezTo>
                    <a:pt x="6370" y="310"/>
                    <a:pt x="6061" y="1"/>
                    <a:pt x="5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2" name="Google Shape;10882;p60"/>
            <p:cNvSpPr/>
            <p:nvPr/>
          </p:nvSpPr>
          <p:spPr>
            <a:xfrm>
              <a:off x="7193663" y="2003511"/>
              <a:ext cx="27308" cy="10248"/>
            </a:xfrm>
            <a:custGeom>
              <a:avLst/>
              <a:gdLst/>
              <a:ahLst/>
              <a:cxnLst/>
              <a:rect l="l" t="t" r="r" b="b"/>
              <a:pathLst>
                <a:path w="85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703" y="322"/>
                  </a:lnTo>
                  <a:cubicBezTo>
                    <a:pt x="786" y="322"/>
                    <a:pt x="858" y="250"/>
                    <a:pt x="858" y="167"/>
                  </a:cubicBezTo>
                  <a:cubicBezTo>
                    <a:pt x="858" y="72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3" name="Google Shape;10883;p60"/>
            <p:cNvSpPr/>
            <p:nvPr/>
          </p:nvSpPr>
          <p:spPr>
            <a:xfrm>
              <a:off x="7233065" y="2003511"/>
              <a:ext cx="83802" cy="10248"/>
            </a:xfrm>
            <a:custGeom>
              <a:avLst/>
              <a:gdLst/>
              <a:ahLst/>
              <a:cxnLst/>
              <a:rect l="l" t="t" r="r" b="b"/>
              <a:pathLst>
                <a:path w="263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2465" y="322"/>
                  </a:lnTo>
                  <a:cubicBezTo>
                    <a:pt x="2561" y="322"/>
                    <a:pt x="2632" y="250"/>
                    <a:pt x="2632" y="167"/>
                  </a:cubicBezTo>
                  <a:cubicBezTo>
                    <a:pt x="2632" y="72"/>
                    <a:pt x="2573" y="0"/>
                    <a:pt x="2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4" name="Google Shape;10884;p60"/>
            <p:cNvSpPr/>
            <p:nvPr/>
          </p:nvSpPr>
          <p:spPr>
            <a:xfrm>
              <a:off x="7193281" y="2031933"/>
              <a:ext cx="123936" cy="10248"/>
            </a:xfrm>
            <a:custGeom>
              <a:avLst/>
              <a:gdLst/>
              <a:ahLst/>
              <a:cxnLst/>
              <a:rect l="l" t="t" r="r" b="b"/>
              <a:pathLst>
                <a:path w="3894" h="322" extrusionOk="0">
                  <a:moveTo>
                    <a:pt x="155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3715" y="322"/>
                  </a:lnTo>
                  <a:cubicBezTo>
                    <a:pt x="3811" y="322"/>
                    <a:pt x="3882" y="250"/>
                    <a:pt x="3882" y="167"/>
                  </a:cubicBezTo>
                  <a:cubicBezTo>
                    <a:pt x="3894" y="71"/>
                    <a:pt x="3823" y="0"/>
                    <a:pt x="3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5" name="Google Shape;10885;p60"/>
            <p:cNvSpPr/>
            <p:nvPr/>
          </p:nvSpPr>
          <p:spPr>
            <a:xfrm>
              <a:off x="7193663" y="2059973"/>
              <a:ext cx="83770" cy="10248"/>
            </a:xfrm>
            <a:custGeom>
              <a:avLst/>
              <a:gdLst/>
              <a:ahLst/>
              <a:cxnLst/>
              <a:rect l="l" t="t" r="r" b="b"/>
              <a:pathLst>
                <a:path w="2632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2465" y="322"/>
                  </a:lnTo>
                  <a:cubicBezTo>
                    <a:pt x="2560" y="322"/>
                    <a:pt x="2632" y="250"/>
                    <a:pt x="2632" y="155"/>
                  </a:cubicBezTo>
                  <a:cubicBezTo>
                    <a:pt x="2632" y="72"/>
                    <a:pt x="2560" y="0"/>
                    <a:pt x="2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6" name="Google Shape;10886;p60"/>
            <p:cNvSpPr/>
            <p:nvPr/>
          </p:nvSpPr>
          <p:spPr>
            <a:xfrm>
              <a:off x="7289145" y="2059973"/>
              <a:ext cx="27722" cy="10248"/>
            </a:xfrm>
            <a:custGeom>
              <a:avLst/>
              <a:gdLst/>
              <a:ahLst/>
              <a:cxnLst/>
              <a:rect l="l" t="t" r="r" b="b"/>
              <a:pathLst>
                <a:path w="871" h="32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703" y="322"/>
                  </a:lnTo>
                  <a:cubicBezTo>
                    <a:pt x="799" y="322"/>
                    <a:pt x="870" y="250"/>
                    <a:pt x="870" y="155"/>
                  </a:cubicBezTo>
                  <a:cubicBezTo>
                    <a:pt x="870" y="72"/>
                    <a:pt x="811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87" name="Google Shape;10887;p60"/>
          <p:cNvSpPr/>
          <p:nvPr/>
        </p:nvSpPr>
        <p:spPr>
          <a:xfrm>
            <a:off x="3094217" y="2895159"/>
            <a:ext cx="394152" cy="361529"/>
          </a:xfrm>
          <a:custGeom>
            <a:avLst/>
            <a:gdLst/>
            <a:ahLst/>
            <a:cxnLst/>
            <a:rect l="l" t="t" r="r" b="b"/>
            <a:pathLst>
              <a:path w="12384" h="11359" extrusionOk="0">
                <a:moveTo>
                  <a:pt x="2775" y="1024"/>
                </a:moveTo>
                <a:cubicBezTo>
                  <a:pt x="3346" y="1024"/>
                  <a:pt x="3811" y="1501"/>
                  <a:pt x="3811" y="2060"/>
                </a:cubicBezTo>
                <a:cubicBezTo>
                  <a:pt x="3811" y="2298"/>
                  <a:pt x="3727" y="2536"/>
                  <a:pt x="3573" y="2727"/>
                </a:cubicBezTo>
                <a:cubicBezTo>
                  <a:pt x="3525" y="2786"/>
                  <a:pt x="3513" y="2870"/>
                  <a:pt x="3549" y="2941"/>
                </a:cubicBezTo>
                <a:cubicBezTo>
                  <a:pt x="3573" y="3013"/>
                  <a:pt x="3644" y="3060"/>
                  <a:pt x="3727" y="3060"/>
                </a:cubicBezTo>
                <a:lnTo>
                  <a:pt x="4096" y="3060"/>
                </a:lnTo>
                <a:cubicBezTo>
                  <a:pt x="4120" y="3060"/>
                  <a:pt x="4156" y="3084"/>
                  <a:pt x="4156" y="3120"/>
                </a:cubicBezTo>
                <a:lnTo>
                  <a:pt x="4156" y="3370"/>
                </a:lnTo>
                <a:cubicBezTo>
                  <a:pt x="4156" y="3406"/>
                  <a:pt x="4120" y="3429"/>
                  <a:pt x="4096" y="3429"/>
                </a:cubicBezTo>
                <a:lnTo>
                  <a:pt x="1846" y="3429"/>
                </a:lnTo>
                <a:lnTo>
                  <a:pt x="1453" y="3418"/>
                </a:lnTo>
                <a:cubicBezTo>
                  <a:pt x="1418" y="3418"/>
                  <a:pt x="1394" y="3382"/>
                  <a:pt x="1394" y="3358"/>
                </a:cubicBezTo>
                <a:lnTo>
                  <a:pt x="1394" y="3096"/>
                </a:lnTo>
                <a:cubicBezTo>
                  <a:pt x="1394" y="3072"/>
                  <a:pt x="1418" y="3037"/>
                  <a:pt x="1453" y="3037"/>
                </a:cubicBezTo>
                <a:lnTo>
                  <a:pt x="3132" y="3037"/>
                </a:lnTo>
                <a:cubicBezTo>
                  <a:pt x="3239" y="3037"/>
                  <a:pt x="3323" y="2953"/>
                  <a:pt x="3323" y="2846"/>
                </a:cubicBezTo>
                <a:cubicBezTo>
                  <a:pt x="3323" y="2739"/>
                  <a:pt x="3227" y="2656"/>
                  <a:pt x="3132" y="2656"/>
                </a:cubicBezTo>
                <a:lnTo>
                  <a:pt x="1906" y="2656"/>
                </a:lnTo>
                <a:cubicBezTo>
                  <a:pt x="1787" y="2477"/>
                  <a:pt x="1727" y="2275"/>
                  <a:pt x="1727" y="2060"/>
                </a:cubicBezTo>
                <a:cubicBezTo>
                  <a:pt x="1727" y="1477"/>
                  <a:pt x="2203" y="1024"/>
                  <a:pt x="2775" y="1024"/>
                </a:cubicBezTo>
                <a:close/>
                <a:moveTo>
                  <a:pt x="9597" y="1024"/>
                </a:moveTo>
                <a:cubicBezTo>
                  <a:pt x="10169" y="1024"/>
                  <a:pt x="10645" y="1501"/>
                  <a:pt x="10645" y="2060"/>
                </a:cubicBezTo>
                <a:cubicBezTo>
                  <a:pt x="10645" y="2298"/>
                  <a:pt x="10550" y="2536"/>
                  <a:pt x="10407" y="2727"/>
                </a:cubicBezTo>
                <a:cubicBezTo>
                  <a:pt x="10359" y="2786"/>
                  <a:pt x="10347" y="2870"/>
                  <a:pt x="10371" y="2941"/>
                </a:cubicBezTo>
                <a:cubicBezTo>
                  <a:pt x="10407" y="3013"/>
                  <a:pt x="10478" y="3060"/>
                  <a:pt x="10550" y="3060"/>
                </a:cubicBezTo>
                <a:lnTo>
                  <a:pt x="10931" y="3060"/>
                </a:lnTo>
                <a:cubicBezTo>
                  <a:pt x="10954" y="3060"/>
                  <a:pt x="10990" y="3084"/>
                  <a:pt x="10990" y="3120"/>
                </a:cubicBezTo>
                <a:lnTo>
                  <a:pt x="10990" y="3370"/>
                </a:lnTo>
                <a:cubicBezTo>
                  <a:pt x="10990" y="3406"/>
                  <a:pt x="10954" y="3429"/>
                  <a:pt x="10931" y="3429"/>
                </a:cubicBezTo>
                <a:lnTo>
                  <a:pt x="8276" y="3429"/>
                </a:lnTo>
                <a:lnTo>
                  <a:pt x="8276" y="3418"/>
                </a:lnTo>
                <a:cubicBezTo>
                  <a:pt x="8252" y="3418"/>
                  <a:pt x="8216" y="3382"/>
                  <a:pt x="8216" y="3358"/>
                </a:cubicBezTo>
                <a:lnTo>
                  <a:pt x="8216" y="3096"/>
                </a:lnTo>
                <a:cubicBezTo>
                  <a:pt x="8216" y="3072"/>
                  <a:pt x="8252" y="3037"/>
                  <a:pt x="8276" y="3037"/>
                </a:cubicBezTo>
                <a:lnTo>
                  <a:pt x="9954" y="3037"/>
                </a:lnTo>
                <a:cubicBezTo>
                  <a:pt x="10061" y="3037"/>
                  <a:pt x="10157" y="2953"/>
                  <a:pt x="10157" y="2846"/>
                </a:cubicBezTo>
                <a:cubicBezTo>
                  <a:pt x="10157" y="2739"/>
                  <a:pt x="10061" y="2656"/>
                  <a:pt x="9954" y="2656"/>
                </a:cubicBezTo>
                <a:lnTo>
                  <a:pt x="8740" y="2656"/>
                </a:lnTo>
                <a:cubicBezTo>
                  <a:pt x="8621" y="2477"/>
                  <a:pt x="8561" y="2275"/>
                  <a:pt x="8561" y="2060"/>
                </a:cubicBezTo>
                <a:cubicBezTo>
                  <a:pt x="8561" y="1477"/>
                  <a:pt x="9038" y="1024"/>
                  <a:pt x="9597" y="1024"/>
                </a:cubicBezTo>
                <a:close/>
                <a:moveTo>
                  <a:pt x="6192" y="2691"/>
                </a:moveTo>
                <a:cubicBezTo>
                  <a:pt x="6763" y="2691"/>
                  <a:pt x="7240" y="3167"/>
                  <a:pt x="7240" y="3727"/>
                </a:cubicBezTo>
                <a:cubicBezTo>
                  <a:pt x="7240" y="3965"/>
                  <a:pt x="7144" y="4203"/>
                  <a:pt x="7002" y="4394"/>
                </a:cubicBezTo>
                <a:cubicBezTo>
                  <a:pt x="6954" y="4453"/>
                  <a:pt x="6942" y="4537"/>
                  <a:pt x="6966" y="4608"/>
                </a:cubicBezTo>
                <a:cubicBezTo>
                  <a:pt x="7002" y="4680"/>
                  <a:pt x="7073" y="4727"/>
                  <a:pt x="7144" y="4727"/>
                </a:cubicBezTo>
                <a:lnTo>
                  <a:pt x="7514" y="4727"/>
                </a:lnTo>
                <a:cubicBezTo>
                  <a:pt x="7549" y="4727"/>
                  <a:pt x="7573" y="4751"/>
                  <a:pt x="7573" y="4787"/>
                </a:cubicBezTo>
                <a:lnTo>
                  <a:pt x="7573" y="5037"/>
                </a:lnTo>
                <a:cubicBezTo>
                  <a:pt x="7573" y="5072"/>
                  <a:pt x="7549" y="5096"/>
                  <a:pt x="7514" y="5096"/>
                </a:cubicBezTo>
                <a:lnTo>
                  <a:pt x="4870" y="5096"/>
                </a:lnTo>
                <a:lnTo>
                  <a:pt x="4870" y="5084"/>
                </a:lnTo>
                <a:cubicBezTo>
                  <a:pt x="4847" y="5084"/>
                  <a:pt x="4811" y="5049"/>
                  <a:pt x="4811" y="5025"/>
                </a:cubicBezTo>
                <a:lnTo>
                  <a:pt x="4811" y="4775"/>
                </a:lnTo>
                <a:cubicBezTo>
                  <a:pt x="4811" y="4739"/>
                  <a:pt x="4847" y="4715"/>
                  <a:pt x="4870" y="4715"/>
                </a:cubicBezTo>
                <a:lnTo>
                  <a:pt x="6549" y="4715"/>
                </a:lnTo>
                <a:cubicBezTo>
                  <a:pt x="6656" y="4715"/>
                  <a:pt x="6740" y="4620"/>
                  <a:pt x="6740" y="4513"/>
                </a:cubicBezTo>
                <a:cubicBezTo>
                  <a:pt x="6740" y="4418"/>
                  <a:pt x="6656" y="4322"/>
                  <a:pt x="6549" y="4322"/>
                </a:cubicBezTo>
                <a:lnTo>
                  <a:pt x="5335" y="4322"/>
                </a:lnTo>
                <a:cubicBezTo>
                  <a:pt x="5216" y="4144"/>
                  <a:pt x="5156" y="3941"/>
                  <a:pt x="5156" y="3727"/>
                </a:cubicBezTo>
                <a:cubicBezTo>
                  <a:pt x="5156" y="3144"/>
                  <a:pt x="5632" y="2691"/>
                  <a:pt x="6192" y="2691"/>
                </a:cubicBezTo>
                <a:close/>
                <a:moveTo>
                  <a:pt x="3477" y="3799"/>
                </a:moveTo>
                <a:cubicBezTo>
                  <a:pt x="3442" y="4203"/>
                  <a:pt x="3442" y="5072"/>
                  <a:pt x="3870" y="6335"/>
                </a:cubicBezTo>
                <a:lnTo>
                  <a:pt x="1703" y="6335"/>
                </a:lnTo>
                <a:cubicBezTo>
                  <a:pt x="2132" y="5072"/>
                  <a:pt x="2132" y="4203"/>
                  <a:pt x="2108" y="3799"/>
                </a:cubicBezTo>
                <a:close/>
                <a:moveTo>
                  <a:pt x="10288" y="3799"/>
                </a:moveTo>
                <a:cubicBezTo>
                  <a:pt x="10264" y="4203"/>
                  <a:pt x="10264" y="5072"/>
                  <a:pt x="10693" y="6335"/>
                </a:cubicBezTo>
                <a:lnTo>
                  <a:pt x="8514" y="6335"/>
                </a:lnTo>
                <a:cubicBezTo>
                  <a:pt x="8954" y="5072"/>
                  <a:pt x="8966" y="4203"/>
                  <a:pt x="8918" y="3799"/>
                </a:cubicBezTo>
                <a:close/>
                <a:moveTo>
                  <a:pt x="4037" y="6739"/>
                </a:moveTo>
                <a:lnTo>
                  <a:pt x="4096" y="7097"/>
                </a:lnTo>
                <a:lnTo>
                  <a:pt x="1489" y="7097"/>
                </a:lnTo>
                <a:lnTo>
                  <a:pt x="1549" y="6739"/>
                </a:lnTo>
                <a:close/>
                <a:moveTo>
                  <a:pt x="10859" y="6739"/>
                </a:moveTo>
                <a:lnTo>
                  <a:pt x="10919" y="7097"/>
                </a:lnTo>
                <a:lnTo>
                  <a:pt x="8311" y="7097"/>
                </a:lnTo>
                <a:lnTo>
                  <a:pt x="8371" y="6739"/>
                </a:lnTo>
                <a:close/>
                <a:moveTo>
                  <a:pt x="6883" y="5465"/>
                </a:moveTo>
                <a:cubicBezTo>
                  <a:pt x="6847" y="5870"/>
                  <a:pt x="6847" y="6739"/>
                  <a:pt x="7287" y="8001"/>
                </a:cubicBezTo>
                <a:lnTo>
                  <a:pt x="5108" y="8001"/>
                </a:lnTo>
                <a:cubicBezTo>
                  <a:pt x="5537" y="6751"/>
                  <a:pt x="5537" y="5870"/>
                  <a:pt x="5513" y="5465"/>
                </a:cubicBezTo>
                <a:close/>
                <a:moveTo>
                  <a:pt x="4513" y="7478"/>
                </a:moveTo>
                <a:lnTo>
                  <a:pt x="4668" y="8049"/>
                </a:lnTo>
                <a:lnTo>
                  <a:pt x="4668" y="8061"/>
                </a:lnTo>
                <a:cubicBezTo>
                  <a:pt x="4632" y="8085"/>
                  <a:pt x="4608" y="8132"/>
                  <a:pt x="4608" y="8180"/>
                </a:cubicBezTo>
                <a:lnTo>
                  <a:pt x="4525" y="8561"/>
                </a:lnTo>
                <a:lnTo>
                  <a:pt x="775" y="8561"/>
                </a:lnTo>
                <a:lnTo>
                  <a:pt x="1072" y="7478"/>
                </a:lnTo>
                <a:close/>
                <a:moveTo>
                  <a:pt x="11335" y="7478"/>
                </a:moveTo>
                <a:lnTo>
                  <a:pt x="11633" y="8561"/>
                </a:lnTo>
                <a:lnTo>
                  <a:pt x="7883" y="8561"/>
                </a:lnTo>
                <a:lnTo>
                  <a:pt x="7799" y="8180"/>
                </a:lnTo>
                <a:cubicBezTo>
                  <a:pt x="7787" y="8120"/>
                  <a:pt x="7764" y="8085"/>
                  <a:pt x="7740" y="8049"/>
                </a:cubicBezTo>
                <a:lnTo>
                  <a:pt x="7895" y="7478"/>
                </a:lnTo>
                <a:close/>
                <a:moveTo>
                  <a:pt x="7442" y="8394"/>
                </a:moveTo>
                <a:lnTo>
                  <a:pt x="7502" y="8752"/>
                </a:lnTo>
                <a:lnTo>
                  <a:pt x="4906" y="8752"/>
                </a:lnTo>
                <a:lnTo>
                  <a:pt x="4966" y="8394"/>
                </a:lnTo>
                <a:close/>
                <a:moveTo>
                  <a:pt x="4132" y="8954"/>
                </a:moveTo>
                <a:lnTo>
                  <a:pt x="4037" y="9311"/>
                </a:lnTo>
                <a:lnTo>
                  <a:pt x="406" y="9311"/>
                </a:lnTo>
                <a:lnTo>
                  <a:pt x="406" y="8954"/>
                </a:lnTo>
                <a:close/>
                <a:moveTo>
                  <a:pt x="12002" y="8954"/>
                </a:moveTo>
                <a:lnTo>
                  <a:pt x="12002" y="9311"/>
                </a:lnTo>
                <a:lnTo>
                  <a:pt x="8371" y="9311"/>
                </a:lnTo>
                <a:lnTo>
                  <a:pt x="8276" y="8954"/>
                </a:lnTo>
                <a:close/>
                <a:moveTo>
                  <a:pt x="7906" y="9144"/>
                </a:moveTo>
                <a:lnTo>
                  <a:pt x="8204" y="10228"/>
                </a:lnTo>
                <a:lnTo>
                  <a:pt x="4192" y="10228"/>
                </a:lnTo>
                <a:lnTo>
                  <a:pt x="4489" y="9144"/>
                </a:lnTo>
                <a:close/>
                <a:moveTo>
                  <a:pt x="8573" y="10621"/>
                </a:moveTo>
                <a:lnTo>
                  <a:pt x="8573" y="10978"/>
                </a:lnTo>
                <a:lnTo>
                  <a:pt x="3799" y="10978"/>
                </a:lnTo>
                <a:lnTo>
                  <a:pt x="3799" y="10621"/>
                </a:lnTo>
                <a:close/>
                <a:moveTo>
                  <a:pt x="9621" y="0"/>
                </a:moveTo>
                <a:cubicBezTo>
                  <a:pt x="9514" y="0"/>
                  <a:pt x="9430" y="96"/>
                  <a:pt x="9430" y="203"/>
                </a:cubicBezTo>
                <a:lnTo>
                  <a:pt x="9430" y="596"/>
                </a:lnTo>
                <a:cubicBezTo>
                  <a:pt x="8728" y="691"/>
                  <a:pt x="8180" y="1298"/>
                  <a:pt x="8180" y="2024"/>
                </a:cubicBezTo>
                <a:cubicBezTo>
                  <a:pt x="8180" y="2239"/>
                  <a:pt x="8216" y="2441"/>
                  <a:pt x="8311" y="2620"/>
                </a:cubicBezTo>
                <a:lnTo>
                  <a:pt x="8299" y="2620"/>
                </a:lnTo>
                <a:cubicBezTo>
                  <a:pt x="8037" y="2620"/>
                  <a:pt x="7835" y="2834"/>
                  <a:pt x="7835" y="3084"/>
                </a:cubicBezTo>
                <a:lnTo>
                  <a:pt x="7835" y="3334"/>
                </a:lnTo>
                <a:cubicBezTo>
                  <a:pt x="7835" y="3596"/>
                  <a:pt x="8037" y="3799"/>
                  <a:pt x="8299" y="3799"/>
                </a:cubicBezTo>
                <a:lnTo>
                  <a:pt x="8549" y="3799"/>
                </a:lnTo>
                <a:cubicBezTo>
                  <a:pt x="8573" y="4144"/>
                  <a:pt x="8597" y="5037"/>
                  <a:pt x="8121" y="6358"/>
                </a:cubicBezTo>
                <a:cubicBezTo>
                  <a:pt x="8073" y="6394"/>
                  <a:pt x="8037" y="6442"/>
                  <a:pt x="8026" y="6501"/>
                </a:cubicBezTo>
                <a:lnTo>
                  <a:pt x="7918" y="7073"/>
                </a:lnTo>
                <a:lnTo>
                  <a:pt x="7764" y="7073"/>
                </a:lnTo>
                <a:cubicBezTo>
                  <a:pt x="7668" y="7073"/>
                  <a:pt x="7597" y="7132"/>
                  <a:pt x="7561" y="7228"/>
                </a:cubicBezTo>
                <a:lnTo>
                  <a:pt x="7525" y="7394"/>
                </a:lnTo>
                <a:cubicBezTo>
                  <a:pt x="7252" y="6418"/>
                  <a:pt x="7264" y="5751"/>
                  <a:pt x="7299" y="5465"/>
                </a:cubicBezTo>
                <a:lnTo>
                  <a:pt x="7549" y="5465"/>
                </a:lnTo>
                <a:cubicBezTo>
                  <a:pt x="7799" y="5465"/>
                  <a:pt x="8014" y="5263"/>
                  <a:pt x="8014" y="5013"/>
                </a:cubicBezTo>
                <a:lnTo>
                  <a:pt x="8014" y="4751"/>
                </a:lnTo>
                <a:cubicBezTo>
                  <a:pt x="8014" y="4501"/>
                  <a:pt x="7799" y="4287"/>
                  <a:pt x="7549" y="4287"/>
                </a:cubicBezTo>
                <a:lnTo>
                  <a:pt x="7537" y="4287"/>
                </a:lnTo>
                <a:cubicBezTo>
                  <a:pt x="7621" y="4108"/>
                  <a:pt x="7668" y="3906"/>
                  <a:pt x="7668" y="3691"/>
                </a:cubicBezTo>
                <a:cubicBezTo>
                  <a:pt x="7668" y="2965"/>
                  <a:pt x="7121" y="2358"/>
                  <a:pt x="6418" y="2263"/>
                </a:cubicBezTo>
                <a:lnTo>
                  <a:pt x="6418" y="1882"/>
                </a:lnTo>
                <a:cubicBezTo>
                  <a:pt x="6418" y="1774"/>
                  <a:pt x="6335" y="1691"/>
                  <a:pt x="6228" y="1691"/>
                </a:cubicBezTo>
                <a:cubicBezTo>
                  <a:pt x="6121" y="1691"/>
                  <a:pt x="6037" y="1774"/>
                  <a:pt x="6037" y="1882"/>
                </a:cubicBezTo>
                <a:lnTo>
                  <a:pt x="6037" y="2286"/>
                </a:lnTo>
                <a:cubicBezTo>
                  <a:pt x="5335" y="2370"/>
                  <a:pt x="4787" y="2989"/>
                  <a:pt x="4787" y="3715"/>
                </a:cubicBezTo>
                <a:cubicBezTo>
                  <a:pt x="4787" y="3918"/>
                  <a:pt x="4823" y="4132"/>
                  <a:pt x="4918" y="4310"/>
                </a:cubicBezTo>
                <a:lnTo>
                  <a:pt x="4906" y="4310"/>
                </a:lnTo>
                <a:cubicBezTo>
                  <a:pt x="4644" y="4310"/>
                  <a:pt x="4442" y="4513"/>
                  <a:pt x="4442" y="4775"/>
                </a:cubicBezTo>
                <a:lnTo>
                  <a:pt x="4442" y="5025"/>
                </a:lnTo>
                <a:cubicBezTo>
                  <a:pt x="4442" y="5275"/>
                  <a:pt x="4644" y="5489"/>
                  <a:pt x="4906" y="5489"/>
                </a:cubicBezTo>
                <a:lnTo>
                  <a:pt x="5156" y="5489"/>
                </a:lnTo>
                <a:cubicBezTo>
                  <a:pt x="5180" y="5763"/>
                  <a:pt x="5180" y="6442"/>
                  <a:pt x="4930" y="7406"/>
                </a:cubicBezTo>
                <a:lnTo>
                  <a:pt x="4882" y="7239"/>
                </a:lnTo>
                <a:cubicBezTo>
                  <a:pt x="4858" y="7156"/>
                  <a:pt x="4787" y="7097"/>
                  <a:pt x="4692" y="7097"/>
                </a:cubicBezTo>
                <a:lnTo>
                  <a:pt x="4525" y="7097"/>
                </a:lnTo>
                <a:lnTo>
                  <a:pt x="4430" y="6513"/>
                </a:lnTo>
                <a:cubicBezTo>
                  <a:pt x="4406" y="6454"/>
                  <a:pt x="4382" y="6406"/>
                  <a:pt x="4335" y="6382"/>
                </a:cubicBezTo>
                <a:cubicBezTo>
                  <a:pt x="3858" y="5049"/>
                  <a:pt x="3870" y="4156"/>
                  <a:pt x="3906" y="3822"/>
                </a:cubicBezTo>
                <a:lnTo>
                  <a:pt x="4156" y="3822"/>
                </a:lnTo>
                <a:cubicBezTo>
                  <a:pt x="4406" y="3822"/>
                  <a:pt x="4620" y="3608"/>
                  <a:pt x="4620" y="3358"/>
                </a:cubicBezTo>
                <a:lnTo>
                  <a:pt x="4620" y="3108"/>
                </a:lnTo>
                <a:cubicBezTo>
                  <a:pt x="4620" y="2846"/>
                  <a:pt x="4406" y="2644"/>
                  <a:pt x="4156" y="2644"/>
                </a:cubicBezTo>
                <a:lnTo>
                  <a:pt x="4144" y="2644"/>
                </a:lnTo>
                <a:cubicBezTo>
                  <a:pt x="4227" y="2465"/>
                  <a:pt x="4275" y="2251"/>
                  <a:pt x="4275" y="2048"/>
                </a:cubicBezTo>
                <a:cubicBezTo>
                  <a:pt x="4275" y="1322"/>
                  <a:pt x="3727" y="703"/>
                  <a:pt x="3025" y="620"/>
                </a:cubicBezTo>
                <a:lnTo>
                  <a:pt x="3025" y="215"/>
                </a:lnTo>
                <a:cubicBezTo>
                  <a:pt x="3025" y="108"/>
                  <a:pt x="2942" y="24"/>
                  <a:pt x="2834" y="24"/>
                </a:cubicBezTo>
                <a:cubicBezTo>
                  <a:pt x="2727" y="24"/>
                  <a:pt x="2644" y="108"/>
                  <a:pt x="2644" y="215"/>
                </a:cubicBezTo>
                <a:lnTo>
                  <a:pt x="2644" y="620"/>
                </a:lnTo>
                <a:cubicBezTo>
                  <a:pt x="1941" y="703"/>
                  <a:pt x="1394" y="1322"/>
                  <a:pt x="1394" y="2048"/>
                </a:cubicBezTo>
                <a:cubicBezTo>
                  <a:pt x="1394" y="2251"/>
                  <a:pt x="1429" y="2465"/>
                  <a:pt x="1525" y="2644"/>
                </a:cubicBezTo>
                <a:lnTo>
                  <a:pt x="1513" y="2644"/>
                </a:lnTo>
                <a:cubicBezTo>
                  <a:pt x="1251" y="2644"/>
                  <a:pt x="1048" y="2846"/>
                  <a:pt x="1048" y="3108"/>
                </a:cubicBezTo>
                <a:lnTo>
                  <a:pt x="1048" y="3358"/>
                </a:lnTo>
                <a:cubicBezTo>
                  <a:pt x="1048" y="3608"/>
                  <a:pt x="1251" y="3822"/>
                  <a:pt x="1513" y="3822"/>
                </a:cubicBezTo>
                <a:lnTo>
                  <a:pt x="1763" y="3822"/>
                </a:lnTo>
                <a:cubicBezTo>
                  <a:pt x="1787" y="4156"/>
                  <a:pt x="1810" y="5049"/>
                  <a:pt x="1334" y="6382"/>
                </a:cubicBezTo>
                <a:cubicBezTo>
                  <a:pt x="1287" y="6406"/>
                  <a:pt x="1251" y="6454"/>
                  <a:pt x="1239" y="6513"/>
                </a:cubicBezTo>
                <a:lnTo>
                  <a:pt x="1132" y="7097"/>
                </a:lnTo>
                <a:lnTo>
                  <a:pt x="977" y="7097"/>
                </a:lnTo>
                <a:cubicBezTo>
                  <a:pt x="882" y="7097"/>
                  <a:pt x="810" y="7156"/>
                  <a:pt x="775" y="7239"/>
                </a:cubicBezTo>
                <a:lnTo>
                  <a:pt x="417" y="8561"/>
                </a:lnTo>
                <a:lnTo>
                  <a:pt x="203" y="8561"/>
                </a:lnTo>
                <a:cubicBezTo>
                  <a:pt x="96" y="8561"/>
                  <a:pt x="1" y="8656"/>
                  <a:pt x="1" y="8763"/>
                </a:cubicBezTo>
                <a:lnTo>
                  <a:pt x="1" y="9502"/>
                </a:lnTo>
                <a:cubicBezTo>
                  <a:pt x="1" y="9609"/>
                  <a:pt x="96" y="9692"/>
                  <a:pt x="203" y="9692"/>
                </a:cubicBezTo>
                <a:lnTo>
                  <a:pt x="3918" y="9692"/>
                </a:lnTo>
                <a:lnTo>
                  <a:pt x="3775" y="10228"/>
                </a:lnTo>
                <a:lnTo>
                  <a:pt x="3620" y="10228"/>
                </a:lnTo>
                <a:cubicBezTo>
                  <a:pt x="3513" y="10228"/>
                  <a:pt x="3430" y="10323"/>
                  <a:pt x="3430" y="10430"/>
                </a:cubicBezTo>
                <a:lnTo>
                  <a:pt x="3430" y="11168"/>
                </a:lnTo>
                <a:cubicBezTo>
                  <a:pt x="3430" y="11276"/>
                  <a:pt x="3513" y="11359"/>
                  <a:pt x="3620" y="11359"/>
                </a:cubicBezTo>
                <a:lnTo>
                  <a:pt x="8788" y="11359"/>
                </a:lnTo>
                <a:cubicBezTo>
                  <a:pt x="8895" y="11359"/>
                  <a:pt x="8978" y="11276"/>
                  <a:pt x="8978" y="11168"/>
                </a:cubicBezTo>
                <a:lnTo>
                  <a:pt x="8978" y="10430"/>
                </a:lnTo>
                <a:cubicBezTo>
                  <a:pt x="8978" y="10323"/>
                  <a:pt x="8895" y="10228"/>
                  <a:pt x="8788" y="10228"/>
                </a:cubicBezTo>
                <a:lnTo>
                  <a:pt x="8621" y="10228"/>
                </a:lnTo>
                <a:lnTo>
                  <a:pt x="8478" y="9692"/>
                </a:lnTo>
                <a:lnTo>
                  <a:pt x="12193" y="9692"/>
                </a:lnTo>
                <a:cubicBezTo>
                  <a:pt x="12300" y="9692"/>
                  <a:pt x="12383" y="9609"/>
                  <a:pt x="12383" y="9502"/>
                </a:cubicBezTo>
                <a:lnTo>
                  <a:pt x="12383" y="8763"/>
                </a:lnTo>
                <a:cubicBezTo>
                  <a:pt x="12383" y="8656"/>
                  <a:pt x="12300" y="8561"/>
                  <a:pt x="12193" y="8561"/>
                </a:cubicBezTo>
                <a:lnTo>
                  <a:pt x="12026" y="8561"/>
                </a:lnTo>
                <a:lnTo>
                  <a:pt x="11669" y="7239"/>
                </a:lnTo>
                <a:cubicBezTo>
                  <a:pt x="11645" y="7156"/>
                  <a:pt x="11574" y="7097"/>
                  <a:pt x="11478" y="7097"/>
                </a:cubicBezTo>
                <a:lnTo>
                  <a:pt x="11312" y="7097"/>
                </a:lnTo>
                <a:lnTo>
                  <a:pt x="11216" y="6501"/>
                </a:lnTo>
                <a:cubicBezTo>
                  <a:pt x="11193" y="6442"/>
                  <a:pt x="11169" y="6394"/>
                  <a:pt x="11121" y="6358"/>
                </a:cubicBezTo>
                <a:cubicBezTo>
                  <a:pt x="10645" y="5037"/>
                  <a:pt x="10657" y="4144"/>
                  <a:pt x="10693" y="3799"/>
                </a:cubicBezTo>
                <a:lnTo>
                  <a:pt x="10943" y="3799"/>
                </a:lnTo>
                <a:cubicBezTo>
                  <a:pt x="11193" y="3799"/>
                  <a:pt x="11407" y="3596"/>
                  <a:pt x="11407" y="3334"/>
                </a:cubicBezTo>
                <a:lnTo>
                  <a:pt x="11407" y="3084"/>
                </a:lnTo>
                <a:cubicBezTo>
                  <a:pt x="11407" y="2834"/>
                  <a:pt x="11193" y="2620"/>
                  <a:pt x="10943" y="2620"/>
                </a:cubicBezTo>
                <a:lnTo>
                  <a:pt x="10931" y="2620"/>
                </a:lnTo>
                <a:cubicBezTo>
                  <a:pt x="11014" y="2441"/>
                  <a:pt x="11062" y="2239"/>
                  <a:pt x="11062" y="2024"/>
                </a:cubicBezTo>
                <a:cubicBezTo>
                  <a:pt x="11062" y="1298"/>
                  <a:pt x="10514" y="691"/>
                  <a:pt x="9811" y="596"/>
                </a:cubicBezTo>
                <a:lnTo>
                  <a:pt x="9811" y="203"/>
                </a:lnTo>
                <a:cubicBezTo>
                  <a:pt x="9811" y="96"/>
                  <a:pt x="9728" y="0"/>
                  <a:pt x="962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88" name="Google Shape;10888;p60"/>
          <p:cNvGrpSpPr/>
          <p:nvPr/>
        </p:nvGrpSpPr>
        <p:grpSpPr>
          <a:xfrm>
            <a:off x="5352728" y="1990239"/>
            <a:ext cx="327091" cy="322508"/>
            <a:chOff x="5352728" y="1990239"/>
            <a:chExt cx="327091" cy="322508"/>
          </a:xfrm>
        </p:grpSpPr>
        <p:sp>
          <p:nvSpPr>
            <p:cNvPr id="10889" name="Google Shape;10889;p60"/>
            <p:cNvSpPr/>
            <p:nvPr/>
          </p:nvSpPr>
          <p:spPr>
            <a:xfrm>
              <a:off x="5575935" y="2093297"/>
              <a:ext cx="103885" cy="217923"/>
            </a:xfrm>
            <a:custGeom>
              <a:avLst/>
              <a:gdLst/>
              <a:ahLst/>
              <a:cxnLst/>
              <a:rect l="l" t="t" r="r" b="b"/>
              <a:pathLst>
                <a:path w="3264" h="6847" extrusionOk="0">
                  <a:moveTo>
                    <a:pt x="1084" y="322"/>
                  </a:moveTo>
                  <a:cubicBezTo>
                    <a:pt x="1144" y="322"/>
                    <a:pt x="1203" y="358"/>
                    <a:pt x="1203" y="441"/>
                  </a:cubicBezTo>
                  <a:lnTo>
                    <a:pt x="1203" y="513"/>
                  </a:lnTo>
                  <a:lnTo>
                    <a:pt x="1203" y="1061"/>
                  </a:lnTo>
                  <a:cubicBezTo>
                    <a:pt x="1203" y="1156"/>
                    <a:pt x="1275" y="1227"/>
                    <a:pt x="1370" y="1227"/>
                  </a:cubicBezTo>
                  <a:cubicBezTo>
                    <a:pt x="1453" y="1227"/>
                    <a:pt x="1537" y="1156"/>
                    <a:pt x="1537" y="1061"/>
                  </a:cubicBezTo>
                  <a:lnTo>
                    <a:pt x="1537" y="537"/>
                  </a:lnTo>
                  <a:cubicBezTo>
                    <a:pt x="1549" y="513"/>
                    <a:pt x="1596" y="477"/>
                    <a:pt x="1632" y="477"/>
                  </a:cubicBezTo>
                  <a:lnTo>
                    <a:pt x="1656" y="477"/>
                  </a:lnTo>
                  <a:cubicBezTo>
                    <a:pt x="1715" y="477"/>
                    <a:pt x="1775" y="525"/>
                    <a:pt x="1775" y="596"/>
                  </a:cubicBezTo>
                  <a:lnTo>
                    <a:pt x="1775" y="632"/>
                  </a:lnTo>
                  <a:lnTo>
                    <a:pt x="1775" y="1061"/>
                  </a:lnTo>
                  <a:cubicBezTo>
                    <a:pt x="1775" y="1156"/>
                    <a:pt x="1846" y="1227"/>
                    <a:pt x="1930" y="1227"/>
                  </a:cubicBezTo>
                  <a:cubicBezTo>
                    <a:pt x="2025" y="1227"/>
                    <a:pt x="2096" y="1156"/>
                    <a:pt x="2096" y="1061"/>
                  </a:cubicBezTo>
                  <a:lnTo>
                    <a:pt x="2096" y="656"/>
                  </a:lnTo>
                  <a:cubicBezTo>
                    <a:pt x="2108" y="620"/>
                    <a:pt x="2156" y="596"/>
                    <a:pt x="2203" y="596"/>
                  </a:cubicBezTo>
                  <a:lnTo>
                    <a:pt x="2215" y="596"/>
                  </a:lnTo>
                  <a:cubicBezTo>
                    <a:pt x="2275" y="596"/>
                    <a:pt x="2334" y="644"/>
                    <a:pt x="2334" y="715"/>
                  </a:cubicBezTo>
                  <a:lnTo>
                    <a:pt x="2334" y="822"/>
                  </a:lnTo>
                  <a:lnTo>
                    <a:pt x="2334" y="1156"/>
                  </a:lnTo>
                  <a:cubicBezTo>
                    <a:pt x="2334" y="1239"/>
                    <a:pt x="2406" y="1311"/>
                    <a:pt x="2501" y="1311"/>
                  </a:cubicBezTo>
                  <a:cubicBezTo>
                    <a:pt x="2584" y="1311"/>
                    <a:pt x="2668" y="1239"/>
                    <a:pt x="2668" y="1156"/>
                  </a:cubicBezTo>
                  <a:lnTo>
                    <a:pt x="2668" y="822"/>
                  </a:lnTo>
                  <a:cubicBezTo>
                    <a:pt x="2668" y="763"/>
                    <a:pt x="2703" y="703"/>
                    <a:pt x="2787" y="703"/>
                  </a:cubicBezTo>
                  <a:lnTo>
                    <a:pt x="2799" y="703"/>
                  </a:lnTo>
                  <a:cubicBezTo>
                    <a:pt x="2858" y="703"/>
                    <a:pt x="2918" y="751"/>
                    <a:pt x="2918" y="822"/>
                  </a:cubicBezTo>
                  <a:lnTo>
                    <a:pt x="2918" y="1584"/>
                  </a:lnTo>
                  <a:lnTo>
                    <a:pt x="2918" y="1596"/>
                  </a:lnTo>
                  <a:cubicBezTo>
                    <a:pt x="2930" y="1787"/>
                    <a:pt x="2918" y="2346"/>
                    <a:pt x="2632" y="2596"/>
                  </a:cubicBezTo>
                  <a:cubicBezTo>
                    <a:pt x="2608" y="2620"/>
                    <a:pt x="2572" y="2668"/>
                    <a:pt x="2572" y="2715"/>
                  </a:cubicBezTo>
                  <a:lnTo>
                    <a:pt x="2572" y="3216"/>
                  </a:lnTo>
                  <a:lnTo>
                    <a:pt x="1025" y="3216"/>
                  </a:lnTo>
                  <a:lnTo>
                    <a:pt x="1025" y="2858"/>
                  </a:lnTo>
                  <a:cubicBezTo>
                    <a:pt x="1025" y="2823"/>
                    <a:pt x="1001" y="2763"/>
                    <a:pt x="965" y="2727"/>
                  </a:cubicBezTo>
                  <a:cubicBezTo>
                    <a:pt x="929" y="2727"/>
                    <a:pt x="394" y="2311"/>
                    <a:pt x="358" y="1870"/>
                  </a:cubicBezTo>
                  <a:cubicBezTo>
                    <a:pt x="346" y="1608"/>
                    <a:pt x="334" y="1287"/>
                    <a:pt x="417" y="1215"/>
                  </a:cubicBezTo>
                  <a:cubicBezTo>
                    <a:pt x="453" y="1189"/>
                    <a:pt x="496" y="1175"/>
                    <a:pt x="560" y="1175"/>
                  </a:cubicBezTo>
                  <a:cubicBezTo>
                    <a:pt x="581" y="1175"/>
                    <a:pt x="605" y="1177"/>
                    <a:pt x="632" y="1180"/>
                  </a:cubicBezTo>
                  <a:lnTo>
                    <a:pt x="632" y="1406"/>
                  </a:lnTo>
                  <a:cubicBezTo>
                    <a:pt x="632" y="1489"/>
                    <a:pt x="703" y="1572"/>
                    <a:pt x="787" y="1572"/>
                  </a:cubicBezTo>
                  <a:cubicBezTo>
                    <a:pt x="882" y="1572"/>
                    <a:pt x="953" y="1489"/>
                    <a:pt x="953" y="1406"/>
                  </a:cubicBezTo>
                  <a:lnTo>
                    <a:pt x="953" y="441"/>
                  </a:lnTo>
                  <a:cubicBezTo>
                    <a:pt x="953" y="382"/>
                    <a:pt x="1001" y="322"/>
                    <a:pt x="1072" y="322"/>
                  </a:cubicBezTo>
                  <a:close/>
                  <a:moveTo>
                    <a:pt x="2799" y="3537"/>
                  </a:moveTo>
                  <a:lnTo>
                    <a:pt x="2799" y="4037"/>
                  </a:lnTo>
                  <a:lnTo>
                    <a:pt x="751" y="4037"/>
                  </a:lnTo>
                  <a:lnTo>
                    <a:pt x="751" y="3537"/>
                  </a:lnTo>
                  <a:close/>
                  <a:moveTo>
                    <a:pt x="2799" y="4370"/>
                  </a:moveTo>
                  <a:lnTo>
                    <a:pt x="2799" y="6525"/>
                  </a:lnTo>
                  <a:lnTo>
                    <a:pt x="751" y="6525"/>
                  </a:lnTo>
                  <a:lnTo>
                    <a:pt x="751" y="4370"/>
                  </a:lnTo>
                  <a:close/>
                  <a:moveTo>
                    <a:pt x="1072" y="1"/>
                  </a:moveTo>
                  <a:cubicBezTo>
                    <a:pt x="834" y="1"/>
                    <a:pt x="644" y="203"/>
                    <a:pt x="644" y="429"/>
                  </a:cubicBezTo>
                  <a:lnTo>
                    <a:pt x="644" y="846"/>
                  </a:lnTo>
                  <a:cubicBezTo>
                    <a:pt x="621" y="845"/>
                    <a:pt x="600" y="844"/>
                    <a:pt x="579" y="844"/>
                  </a:cubicBezTo>
                  <a:cubicBezTo>
                    <a:pt x="433" y="844"/>
                    <a:pt x="321" y="880"/>
                    <a:pt x="227" y="953"/>
                  </a:cubicBezTo>
                  <a:cubicBezTo>
                    <a:pt x="1" y="1144"/>
                    <a:pt x="13" y="1525"/>
                    <a:pt x="48" y="1882"/>
                  </a:cubicBezTo>
                  <a:cubicBezTo>
                    <a:pt x="72" y="2370"/>
                    <a:pt x="525" y="2787"/>
                    <a:pt x="679" y="2930"/>
                  </a:cubicBezTo>
                  <a:lnTo>
                    <a:pt x="679" y="3216"/>
                  </a:lnTo>
                  <a:lnTo>
                    <a:pt x="596" y="3216"/>
                  </a:lnTo>
                  <a:cubicBezTo>
                    <a:pt x="513" y="3216"/>
                    <a:pt x="429" y="3287"/>
                    <a:pt x="429" y="3382"/>
                  </a:cubicBezTo>
                  <a:lnTo>
                    <a:pt x="429" y="4216"/>
                  </a:lnTo>
                  <a:lnTo>
                    <a:pt x="429" y="6692"/>
                  </a:lnTo>
                  <a:cubicBezTo>
                    <a:pt x="429" y="6775"/>
                    <a:pt x="513" y="6847"/>
                    <a:pt x="596" y="6847"/>
                  </a:cubicBezTo>
                  <a:lnTo>
                    <a:pt x="2977" y="6847"/>
                  </a:lnTo>
                  <a:cubicBezTo>
                    <a:pt x="3061" y="6847"/>
                    <a:pt x="3144" y="6775"/>
                    <a:pt x="3144" y="6692"/>
                  </a:cubicBezTo>
                  <a:lnTo>
                    <a:pt x="3144" y="4204"/>
                  </a:lnTo>
                  <a:lnTo>
                    <a:pt x="3144" y="3370"/>
                  </a:lnTo>
                  <a:cubicBezTo>
                    <a:pt x="3120" y="3275"/>
                    <a:pt x="3049" y="3204"/>
                    <a:pt x="2965" y="3204"/>
                  </a:cubicBezTo>
                  <a:lnTo>
                    <a:pt x="2858" y="3204"/>
                  </a:lnTo>
                  <a:lnTo>
                    <a:pt x="2858" y="2763"/>
                  </a:lnTo>
                  <a:cubicBezTo>
                    <a:pt x="3263" y="2358"/>
                    <a:pt x="3215" y="1644"/>
                    <a:pt x="3204" y="1549"/>
                  </a:cubicBezTo>
                  <a:lnTo>
                    <a:pt x="3204" y="810"/>
                  </a:lnTo>
                  <a:cubicBezTo>
                    <a:pt x="3204" y="572"/>
                    <a:pt x="3013" y="382"/>
                    <a:pt x="2763" y="382"/>
                  </a:cubicBezTo>
                  <a:lnTo>
                    <a:pt x="2751" y="382"/>
                  </a:lnTo>
                  <a:cubicBezTo>
                    <a:pt x="2680" y="382"/>
                    <a:pt x="2608" y="394"/>
                    <a:pt x="2549" y="441"/>
                  </a:cubicBezTo>
                  <a:cubicBezTo>
                    <a:pt x="2465" y="334"/>
                    <a:pt x="2334" y="275"/>
                    <a:pt x="2203" y="275"/>
                  </a:cubicBezTo>
                  <a:lnTo>
                    <a:pt x="2191" y="275"/>
                  </a:lnTo>
                  <a:cubicBezTo>
                    <a:pt x="2120" y="275"/>
                    <a:pt x="2037" y="287"/>
                    <a:pt x="1977" y="322"/>
                  </a:cubicBezTo>
                  <a:cubicBezTo>
                    <a:pt x="1906" y="227"/>
                    <a:pt x="1787" y="168"/>
                    <a:pt x="1656" y="168"/>
                  </a:cubicBezTo>
                  <a:lnTo>
                    <a:pt x="1632" y="168"/>
                  </a:lnTo>
                  <a:cubicBezTo>
                    <a:pt x="1572" y="168"/>
                    <a:pt x="1525" y="179"/>
                    <a:pt x="1453" y="203"/>
                  </a:cubicBezTo>
                  <a:cubicBezTo>
                    <a:pt x="1382" y="84"/>
                    <a:pt x="1251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0" name="Google Shape;10890;p60"/>
            <p:cNvSpPr/>
            <p:nvPr/>
          </p:nvSpPr>
          <p:spPr>
            <a:xfrm>
              <a:off x="5426250" y="1990239"/>
              <a:ext cx="191029" cy="322508"/>
            </a:xfrm>
            <a:custGeom>
              <a:avLst/>
              <a:gdLst/>
              <a:ahLst/>
              <a:cxnLst/>
              <a:rect l="l" t="t" r="r" b="b"/>
              <a:pathLst>
                <a:path w="6002" h="10133" extrusionOk="0">
                  <a:moveTo>
                    <a:pt x="584" y="298"/>
                  </a:moveTo>
                  <a:lnTo>
                    <a:pt x="977" y="322"/>
                  </a:lnTo>
                  <a:lnTo>
                    <a:pt x="870" y="584"/>
                  </a:lnTo>
                  <a:lnTo>
                    <a:pt x="584" y="298"/>
                  </a:lnTo>
                  <a:close/>
                  <a:moveTo>
                    <a:pt x="1299" y="381"/>
                  </a:moveTo>
                  <a:lnTo>
                    <a:pt x="2322" y="810"/>
                  </a:lnTo>
                  <a:lnTo>
                    <a:pt x="2203" y="1239"/>
                  </a:lnTo>
                  <a:lnTo>
                    <a:pt x="1120" y="774"/>
                  </a:lnTo>
                  <a:lnTo>
                    <a:pt x="1299" y="381"/>
                  </a:lnTo>
                  <a:close/>
                  <a:moveTo>
                    <a:pt x="4739" y="1834"/>
                  </a:moveTo>
                  <a:lnTo>
                    <a:pt x="5097" y="1977"/>
                  </a:lnTo>
                  <a:lnTo>
                    <a:pt x="4918" y="2382"/>
                  </a:lnTo>
                  <a:lnTo>
                    <a:pt x="4620" y="2263"/>
                  </a:lnTo>
                  <a:cubicBezTo>
                    <a:pt x="4632" y="2251"/>
                    <a:pt x="4632" y="2227"/>
                    <a:pt x="4632" y="2227"/>
                  </a:cubicBezTo>
                  <a:lnTo>
                    <a:pt x="4739" y="1834"/>
                  </a:lnTo>
                  <a:close/>
                  <a:moveTo>
                    <a:pt x="5406" y="2108"/>
                  </a:moveTo>
                  <a:lnTo>
                    <a:pt x="5585" y="2191"/>
                  </a:lnTo>
                  <a:cubicBezTo>
                    <a:pt x="5609" y="2203"/>
                    <a:pt x="5632" y="2215"/>
                    <a:pt x="5644" y="2251"/>
                  </a:cubicBezTo>
                  <a:cubicBezTo>
                    <a:pt x="5656" y="2274"/>
                    <a:pt x="5656" y="2298"/>
                    <a:pt x="5644" y="2322"/>
                  </a:cubicBezTo>
                  <a:lnTo>
                    <a:pt x="5549" y="2524"/>
                  </a:lnTo>
                  <a:cubicBezTo>
                    <a:pt x="5537" y="2560"/>
                    <a:pt x="5525" y="2572"/>
                    <a:pt x="5490" y="2584"/>
                  </a:cubicBezTo>
                  <a:cubicBezTo>
                    <a:pt x="5478" y="2590"/>
                    <a:pt x="5463" y="2593"/>
                    <a:pt x="5449" y="2593"/>
                  </a:cubicBezTo>
                  <a:cubicBezTo>
                    <a:pt x="5436" y="2593"/>
                    <a:pt x="5424" y="2590"/>
                    <a:pt x="5418" y="2584"/>
                  </a:cubicBezTo>
                  <a:lnTo>
                    <a:pt x="5228" y="2513"/>
                  </a:lnTo>
                  <a:lnTo>
                    <a:pt x="5406" y="2108"/>
                  </a:lnTo>
                  <a:close/>
                  <a:moveTo>
                    <a:pt x="2906" y="405"/>
                  </a:moveTo>
                  <a:cubicBezTo>
                    <a:pt x="2930" y="405"/>
                    <a:pt x="2965" y="429"/>
                    <a:pt x="2977" y="441"/>
                  </a:cubicBezTo>
                  <a:cubicBezTo>
                    <a:pt x="2989" y="477"/>
                    <a:pt x="2989" y="500"/>
                    <a:pt x="2989" y="536"/>
                  </a:cubicBezTo>
                  <a:lnTo>
                    <a:pt x="2977" y="608"/>
                  </a:lnTo>
                  <a:lnTo>
                    <a:pt x="2787" y="1262"/>
                  </a:lnTo>
                  <a:cubicBezTo>
                    <a:pt x="2751" y="1358"/>
                    <a:pt x="2811" y="1441"/>
                    <a:pt x="2882" y="1453"/>
                  </a:cubicBezTo>
                  <a:lnTo>
                    <a:pt x="2930" y="1453"/>
                  </a:lnTo>
                  <a:cubicBezTo>
                    <a:pt x="3001" y="1453"/>
                    <a:pt x="3061" y="1417"/>
                    <a:pt x="3084" y="1334"/>
                  </a:cubicBezTo>
                  <a:lnTo>
                    <a:pt x="3263" y="703"/>
                  </a:lnTo>
                  <a:cubicBezTo>
                    <a:pt x="3287" y="667"/>
                    <a:pt x="3335" y="655"/>
                    <a:pt x="3382" y="655"/>
                  </a:cubicBezTo>
                  <a:lnTo>
                    <a:pt x="3394" y="655"/>
                  </a:lnTo>
                  <a:cubicBezTo>
                    <a:pt x="3418" y="655"/>
                    <a:pt x="3454" y="679"/>
                    <a:pt x="3465" y="703"/>
                  </a:cubicBezTo>
                  <a:cubicBezTo>
                    <a:pt x="3477" y="727"/>
                    <a:pt x="3477" y="762"/>
                    <a:pt x="3477" y="786"/>
                  </a:cubicBezTo>
                  <a:lnTo>
                    <a:pt x="3323" y="1358"/>
                  </a:lnTo>
                  <a:cubicBezTo>
                    <a:pt x="3287" y="1441"/>
                    <a:pt x="3346" y="1536"/>
                    <a:pt x="3418" y="1548"/>
                  </a:cubicBezTo>
                  <a:lnTo>
                    <a:pt x="3465" y="1548"/>
                  </a:lnTo>
                  <a:cubicBezTo>
                    <a:pt x="3537" y="1548"/>
                    <a:pt x="3596" y="1501"/>
                    <a:pt x="3620" y="1429"/>
                  </a:cubicBezTo>
                  <a:lnTo>
                    <a:pt x="3763" y="905"/>
                  </a:lnTo>
                  <a:cubicBezTo>
                    <a:pt x="3794" y="885"/>
                    <a:pt x="3825" y="855"/>
                    <a:pt x="3863" y="855"/>
                  </a:cubicBezTo>
                  <a:cubicBezTo>
                    <a:pt x="3869" y="855"/>
                    <a:pt x="3876" y="856"/>
                    <a:pt x="3882" y="858"/>
                  </a:cubicBezTo>
                  <a:lnTo>
                    <a:pt x="3894" y="858"/>
                  </a:lnTo>
                  <a:cubicBezTo>
                    <a:pt x="3954" y="881"/>
                    <a:pt x="4001" y="941"/>
                    <a:pt x="3989" y="1000"/>
                  </a:cubicBezTo>
                  <a:lnTo>
                    <a:pt x="3954" y="1096"/>
                  </a:lnTo>
                  <a:lnTo>
                    <a:pt x="3823" y="1536"/>
                  </a:lnTo>
                  <a:cubicBezTo>
                    <a:pt x="3799" y="1620"/>
                    <a:pt x="3835" y="1703"/>
                    <a:pt x="3930" y="1739"/>
                  </a:cubicBezTo>
                  <a:lnTo>
                    <a:pt x="3977" y="1739"/>
                  </a:lnTo>
                  <a:cubicBezTo>
                    <a:pt x="4049" y="1739"/>
                    <a:pt x="4108" y="1691"/>
                    <a:pt x="4120" y="1620"/>
                  </a:cubicBezTo>
                  <a:lnTo>
                    <a:pt x="4251" y="1167"/>
                  </a:lnTo>
                  <a:cubicBezTo>
                    <a:pt x="4272" y="1115"/>
                    <a:pt x="4320" y="1082"/>
                    <a:pt x="4371" y="1082"/>
                  </a:cubicBezTo>
                  <a:cubicBezTo>
                    <a:pt x="4379" y="1082"/>
                    <a:pt x="4386" y="1082"/>
                    <a:pt x="4394" y="1084"/>
                  </a:cubicBezTo>
                  <a:lnTo>
                    <a:pt x="4406" y="1084"/>
                  </a:lnTo>
                  <a:cubicBezTo>
                    <a:pt x="4466" y="1096"/>
                    <a:pt x="4513" y="1155"/>
                    <a:pt x="4489" y="1215"/>
                  </a:cubicBezTo>
                  <a:lnTo>
                    <a:pt x="4251" y="2084"/>
                  </a:lnTo>
                  <a:lnTo>
                    <a:pt x="4251" y="2096"/>
                  </a:lnTo>
                  <a:cubicBezTo>
                    <a:pt x="4323" y="2191"/>
                    <a:pt x="4216" y="2870"/>
                    <a:pt x="3811" y="3084"/>
                  </a:cubicBezTo>
                  <a:cubicBezTo>
                    <a:pt x="3751" y="3108"/>
                    <a:pt x="3727" y="3167"/>
                    <a:pt x="3727" y="3227"/>
                  </a:cubicBezTo>
                  <a:lnTo>
                    <a:pt x="3727" y="3715"/>
                  </a:lnTo>
                  <a:lnTo>
                    <a:pt x="2192" y="3715"/>
                  </a:lnTo>
                  <a:lnTo>
                    <a:pt x="2192" y="2941"/>
                  </a:lnTo>
                  <a:cubicBezTo>
                    <a:pt x="2192" y="2905"/>
                    <a:pt x="2180" y="2870"/>
                    <a:pt x="2144" y="2846"/>
                  </a:cubicBezTo>
                  <a:cubicBezTo>
                    <a:pt x="2144" y="2846"/>
                    <a:pt x="1715" y="2310"/>
                    <a:pt x="1787" y="1870"/>
                  </a:cubicBezTo>
                  <a:cubicBezTo>
                    <a:pt x="1822" y="1739"/>
                    <a:pt x="1834" y="1572"/>
                    <a:pt x="1870" y="1453"/>
                  </a:cubicBezTo>
                  <a:lnTo>
                    <a:pt x="2168" y="1572"/>
                  </a:lnTo>
                  <a:cubicBezTo>
                    <a:pt x="2192" y="1620"/>
                    <a:pt x="2239" y="1667"/>
                    <a:pt x="2275" y="1679"/>
                  </a:cubicBezTo>
                  <a:cubicBezTo>
                    <a:pt x="2294" y="1686"/>
                    <a:pt x="2312" y="1690"/>
                    <a:pt x="2330" y="1690"/>
                  </a:cubicBezTo>
                  <a:cubicBezTo>
                    <a:pt x="2401" y="1690"/>
                    <a:pt x="2456" y="1636"/>
                    <a:pt x="2465" y="1560"/>
                  </a:cubicBezTo>
                  <a:lnTo>
                    <a:pt x="2751" y="489"/>
                  </a:lnTo>
                  <a:cubicBezTo>
                    <a:pt x="2751" y="465"/>
                    <a:pt x="2787" y="429"/>
                    <a:pt x="2799" y="417"/>
                  </a:cubicBezTo>
                  <a:cubicBezTo>
                    <a:pt x="2834" y="405"/>
                    <a:pt x="2858" y="405"/>
                    <a:pt x="2882" y="405"/>
                  </a:cubicBezTo>
                  <a:close/>
                  <a:moveTo>
                    <a:pt x="3942" y="4048"/>
                  </a:moveTo>
                  <a:lnTo>
                    <a:pt x="3942" y="4549"/>
                  </a:lnTo>
                  <a:lnTo>
                    <a:pt x="1894" y="4549"/>
                  </a:lnTo>
                  <a:lnTo>
                    <a:pt x="1894" y="4048"/>
                  </a:lnTo>
                  <a:close/>
                  <a:moveTo>
                    <a:pt x="191" y="0"/>
                  </a:moveTo>
                  <a:cubicBezTo>
                    <a:pt x="120" y="0"/>
                    <a:pt x="60" y="24"/>
                    <a:pt x="36" y="84"/>
                  </a:cubicBezTo>
                  <a:cubicBezTo>
                    <a:pt x="1" y="143"/>
                    <a:pt x="13" y="227"/>
                    <a:pt x="60" y="262"/>
                  </a:cubicBezTo>
                  <a:lnTo>
                    <a:pt x="822" y="1012"/>
                  </a:lnTo>
                  <a:lnTo>
                    <a:pt x="834" y="1024"/>
                  </a:lnTo>
                  <a:lnTo>
                    <a:pt x="846" y="1024"/>
                  </a:lnTo>
                  <a:cubicBezTo>
                    <a:pt x="870" y="1036"/>
                    <a:pt x="894" y="1060"/>
                    <a:pt x="906" y="1060"/>
                  </a:cubicBezTo>
                  <a:lnTo>
                    <a:pt x="1596" y="1358"/>
                  </a:lnTo>
                  <a:cubicBezTo>
                    <a:pt x="1549" y="1501"/>
                    <a:pt x="1501" y="1679"/>
                    <a:pt x="1489" y="1846"/>
                  </a:cubicBezTo>
                  <a:cubicBezTo>
                    <a:pt x="1406" y="2346"/>
                    <a:pt x="1763" y="2870"/>
                    <a:pt x="1870" y="3036"/>
                  </a:cubicBezTo>
                  <a:lnTo>
                    <a:pt x="1870" y="3763"/>
                  </a:lnTo>
                  <a:lnTo>
                    <a:pt x="1739" y="3763"/>
                  </a:lnTo>
                  <a:cubicBezTo>
                    <a:pt x="1656" y="3763"/>
                    <a:pt x="1572" y="3834"/>
                    <a:pt x="1572" y="3929"/>
                  </a:cubicBezTo>
                  <a:lnTo>
                    <a:pt x="1572" y="4763"/>
                  </a:lnTo>
                  <a:lnTo>
                    <a:pt x="1572" y="9966"/>
                  </a:lnTo>
                  <a:cubicBezTo>
                    <a:pt x="1572" y="10061"/>
                    <a:pt x="1656" y="10133"/>
                    <a:pt x="1739" y="10133"/>
                  </a:cubicBezTo>
                  <a:lnTo>
                    <a:pt x="4120" y="10133"/>
                  </a:lnTo>
                  <a:cubicBezTo>
                    <a:pt x="4216" y="10133"/>
                    <a:pt x="4287" y="10061"/>
                    <a:pt x="4287" y="9966"/>
                  </a:cubicBezTo>
                  <a:lnTo>
                    <a:pt x="4287" y="5942"/>
                  </a:lnTo>
                  <a:cubicBezTo>
                    <a:pt x="4287" y="5846"/>
                    <a:pt x="4216" y="5775"/>
                    <a:pt x="4120" y="5775"/>
                  </a:cubicBezTo>
                  <a:cubicBezTo>
                    <a:pt x="4037" y="5775"/>
                    <a:pt x="3954" y="5846"/>
                    <a:pt x="3954" y="5942"/>
                  </a:cubicBezTo>
                  <a:lnTo>
                    <a:pt x="3954" y="9811"/>
                  </a:lnTo>
                  <a:lnTo>
                    <a:pt x="1906" y="9811"/>
                  </a:lnTo>
                  <a:lnTo>
                    <a:pt x="1906" y="4930"/>
                  </a:lnTo>
                  <a:lnTo>
                    <a:pt x="3954" y="4930"/>
                  </a:lnTo>
                  <a:lnTo>
                    <a:pt x="3954" y="5191"/>
                  </a:lnTo>
                  <a:lnTo>
                    <a:pt x="3954" y="5370"/>
                  </a:lnTo>
                  <a:cubicBezTo>
                    <a:pt x="3954" y="5465"/>
                    <a:pt x="4037" y="5537"/>
                    <a:pt x="4120" y="5537"/>
                  </a:cubicBezTo>
                  <a:cubicBezTo>
                    <a:pt x="4216" y="5537"/>
                    <a:pt x="4287" y="5465"/>
                    <a:pt x="4287" y="5370"/>
                  </a:cubicBezTo>
                  <a:lnTo>
                    <a:pt x="4287" y="5191"/>
                  </a:lnTo>
                  <a:lnTo>
                    <a:pt x="4287" y="4715"/>
                  </a:lnTo>
                  <a:lnTo>
                    <a:pt x="4287" y="3882"/>
                  </a:lnTo>
                  <a:cubicBezTo>
                    <a:pt x="4287" y="3787"/>
                    <a:pt x="4216" y="3715"/>
                    <a:pt x="4120" y="3715"/>
                  </a:cubicBezTo>
                  <a:lnTo>
                    <a:pt x="4049" y="3715"/>
                  </a:lnTo>
                  <a:lnTo>
                    <a:pt x="4049" y="3298"/>
                  </a:lnTo>
                  <a:cubicBezTo>
                    <a:pt x="4323" y="3120"/>
                    <a:pt x="4466" y="2810"/>
                    <a:pt x="4549" y="2572"/>
                  </a:cubicBezTo>
                  <a:lnTo>
                    <a:pt x="5299" y="2882"/>
                  </a:lnTo>
                  <a:cubicBezTo>
                    <a:pt x="5359" y="2917"/>
                    <a:pt x="5406" y="2917"/>
                    <a:pt x="5466" y="2917"/>
                  </a:cubicBezTo>
                  <a:cubicBezTo>
                    <a:pt x="5525" y="2917"/>
                    <a:pt x="5561" y="2905"/>
                    <a:pt x="5621" y="2882"/>
                  </a:cubicBezTo>
                  <a:cubicBezTo>
                    <a:pt x="5728" y="2846"/>
                    <a:pt x="5823" y="2763"/>
                    <a:pt x="5859" y="2667"/>
                  </a:cubicBezTo>
                  <a:lnTo>
                    <a:pt x="5954" y="2453"/>
                  </a:lnTo>
                  <a:cubicBezTo>
                    <a:pt x="6002" y="2346"/>
                    <a:pt x="6002" y="2227"/>
                    <a:pt x="5954" y="2132"/>
                  </a:cubicBezTo>
                  <a:cubicBezTo>
                    <a:pt x="5906" y="2024"/>
                    <a:pt x="5835" y="1929"/>
                    <a:pt x="5728" y="1893"/>
                  </a:cubicBezTo>
                  <a:lnTo>
                    <a:pt x="4847" y="1512"/>
                  </a:lnTo>
                  <a:lnTo>
                    <a:pt x="4894" y="1370"/>
                  </a:lnTo>
                  <a:cubicBezTo>
                    <a:pt x="4930" y="1251"/>
                    <a:pt x="4906" y="1131"/>
                    <a:pt x="4835" y="1036"/>
                  </a:cubicBezTo>
                  <a:cubicBezTo>
                    <a:pt x="4775" y="941"/>
                    <a:pt x="4668" y="881"/>
                    <a:pt x="4573" y="846"/>
                  </a:cubicBezTo>
                  <a:lnTo>
                    <a:pt x="4549" y="846"/>
                  </a:lnTo>
                  <a:cubicBezTo>
                    <a:pt x="4513" y="840"/>
                    <a:pt x="4478" y="837"/>
                    <a:pt x="4442" y="837"/>
                  </a:cubicBezTo>
                  <a:cubicBezTo>
                    <a:pt x="4406" y="837"/>
                    <a:pt x="4370" y="840"/>
                    <a:pt x="4335" y="846"/>
                  </a:cubicBezTo>
                  <a:cubicBezTo>
                    <a:pt x="4275" y="727"/>
                    <a:pt x="4168" y="643"/>
                    <a:pt x="4037" y="608"/>
                  </a:cubicBezTo>
                  <a:lnTo>
                    <a:pt x="4013" y="608"/>
                  </a:lnTo>
                  <a:cubicBezTo>
                    <a:pt x="3977" y="602"/>
                    <a:pt x="3942" y="599"/>
                    <a:pt x="3907" y="599"/>
                  </a:cubicBezTo>
                  <a:cubicBezTo>
                    <a:pt x="3873" y="599"/>
                    <a:pt x="3841" y="602"/>
                    <a:pt x="3811" y="608"/>
                  </a:cubicBezTo>
                  <a:cubicBezTo>
                    <a:pt x="3811" y="596"/>
                    <a:pt x="3799" y="596"/>
                    <a:pt x="3799" y="584"/>
                  </a:cubicBezTo>
                  <a:cubicBezTo>
                    <a:pt x="3739" y="477"/>
                    <a:pt x="3632" y="417"/>
                    <a:pt x="3525" y="381"/>
                  </a:cubicBezTo>
                  <a:lnTo>
                    <a:pt x="3513" y="381"/>
                  </a:lnTo>
                  <a:cubicBezTo>
                    <a:pt x="3483" y="375"/>
                    <a:pt x="3454" y="372"/>
                    <a:pt x="3424" y="372"/>
                  </a:cubicBezTo>
                  <a:cubicBezTo>
                    <a:pt x="3394" y="372"/>
                    <a:pt x="3364" y="375"/>
                    <a:pt x="3335" y="381"/>
                  </a:cubicBezTo>
                  <a:cubicBezTo>
                    <a:pt x="3323" y="358"/>
                    <a:pt x="3299" y="322"/>
                    <a:pt x="3287" y="310"/>
                  </a:cubicBezTo>
                  <a:cubicBezTo>
                    <a:pt x="3227" y="203"/>
                    <a:pt x="3120" y="143"/>
                    <a:pt x="3025" y="119"/>
                  </a:cubicBezTo>
                  <a:lnTo>
                    <a:pt x="3001" y="119"/>
                  </a:lnTo>
                  <a:cubicBezTo>
                    <a:pt x="2964" y="108"/>
                    <a:pt x="2927" y="103"/>
                    <a:pt x="2892" y="103"/>
                  </a:cubicBezTo>
                  <a:cubicBezTo>
                    <a:pt x="2812" y="103"/>
                    <a:pt x="2737" y="130"/>
                    <a:pt x="2680" y="179"/>
                  </a:cubicBezTo>
                  <a:cubicBezTo>
                    <a:pt x="2573" y="238"/>
                    <a:pt x="2513" y="346"/>
                    <a:pt x="2489" y="441"/>
                  </a:cubicBezTo>
                  <a:lnTo>
                    <a:pt x="2453" y="548"/>
                  </a:lnTo>
                  <a:lnTo>
                    <a:pt x="1322" y="72"/>
                  </a:lnTo>
                  <a:lnTo>
                    <a:pt x="1263" y="72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1" name="Google Shape;10891;p60"/>
            <p:cNvSpPr/>
            <p:nvPr/>
          </p:nvSpPr>
          <p:spPr>
            <a:xfrm>
              <a:off x="5352728" y="2121719"/>
              <a:ext cx="103503" cy="189501"/>
            </a:xfrm>
            <a:custGeom>
              <a:avLst/>
              <a:gdLst/>
              <a:ahLst/>
              <a:cxnLst/>
              <a:rect l="l" t="t" r="r" b="b"/>
              <a:pathLst>
                <a:path w="3252" h="5954" extrusionOk="0">
                  <a:moveTo>
                    <a:pt x="1073" y="322"/>
                  </a:moveTo>
                  <a:cubicBezTo>
                    <a:pt x="1132" y="322"/>
                    <a:pt x="1192" y="358"/>
                    <a:pt x="1192" y="441"/>
                  </a:cubicBezTo>
                  <a:lnTo>
                    <a:pt x="1192" y="513"/>
                  </a:lnTo>
                  <a:lnTo>
                    <a:pt x="1192" y="1060"/>
                  </a:lnTo>
                  <a:cubicBezTo>
                    <a:pt x="1192" y="1156"/>
                    <a:pt x="1263" y="1227"/>
                    <a:pt x="1358" y="1227"/>
                  </a:cubicBezTo>
                  <a:cubicBezTo>
                    <a:pt x="1442" y="1227"/>
                    <a:pt x="1525" y="1156"/>
                    <a:pt x="1525" y="1060"/>
                  </a:cubicBezTo>
                  <a:lnTo>
                    <a:pt x="1525" y="537"/>
                  </a:lnTo>
                  <a:cubicBezTo>
                    <a:pt x="1537" y="513"/>
                    <a:pt x="1584" y="477"/>
                    <a:pt x="1620" y="477"/>
                  </a:cubicBezTo>
                  <a:lnTo>
                    <a:pt x="1644" y="477"/>
                  </a:lnTo>
                  <a:cubicBezTo>
                    <a:pt x="1704" y="477"/>
                    <a:pt x="1763" y="525"/>
                    <a:pt x="1763" y="596"/>
                  </a:cubicBezTo>
                  <a:lnTo>
                    <a:pt x="1763" y="632"/>
                  </a:lnTo>
                  <a:lnTo>
                    <a:pt x="1763" y="1060"/>
                  </a:lnTo>
                  <a:cubicBezTo>
                    <a:pt x="1763" y="1156"/>
                    <a:pt x="1835" y="1227"/>
                    <a:pt x="1918" y="1227"/>
                  </a:cubicBezTo>
                  <a:cubicBezTo>
                    <a:pt x="2013" y="1227"/>
                    <a:pt x="2085" y="1156"/>
                    <a:pt x="2085" y="1060"/>
                  </a:cubicBezTo>
                  <a:lnTo>
                    <a:pt x="2085" y="656"/>
                  </a:lnTo>
                  <a:cubicBezTo>
                    <a:pt x="2096" y="620"/>
                    <a:pt x="2144" y="596"/>
                    <a:pt x="2192" y="596"/>
                  </a:cubicBezTo>
                  <a:lnTo>
                    <a:pt x="2204" y="596"/>
                  </a:lnTo>
                  <a:cubicBezTo>
                    <a:pt x="2263" y="596"/>
                    <a:pt x="2323" y="644"/>
                    <a:pt x="2323" y="715"/>
                  </a:cubicBezTo>
                  <a:lnTo>
                    <a:pt x="2323" y="822"/>
                  </a:lnTo>
                  <a:lnTo>
                    <a:pt x="2323" y="1156"/>
                  </a:lnTo>
                  <a:cubicBezTo>
                    <a:pt x="2323" y="1239"/>
                    <a:pt x="2394" y="1311"/>
                    <a:pt x="2489" y="1311"/>
                  </a:cubicBezTo>
                  <a:cubicBezTo>
                    <a:pt x="2573" y="1311"/>
                    <a:pt x="2656" y="1239"/>
                    <a:pt x="2656" y="1156"/>
                  </a:cubicBezTo>
                  <a:lnTo>
                    <a:pt x="2656" y="822"/>
                  </a:lnTo>
                  <a:cubicBezTo>
                    <a:pt x="2656" y="763"/>
                    <a:pt x="2692" y="703"/>
                    <a:pt x="2775" y="703"/>
                  </a:cubicBezTo>
                  <a:lnTo>
                    <a:pt x="2787" y="703"/>
                  </a:lnTo>
                  <a:cubicBezTo>
                    <a:pt x="2847" y="703"/>
                    <a:pt x="2906" y="751"/>
                    <a:pt x="2906" y="822"/>
                  </a:cubicBezTo>
                  <a:lnTo>
                    <a:pt x="2906" y="1584"/>
                  </a:lnTo>
                  <a:lnTo>
                    <a:pt x="2906" y="1596"/>
                  </a:lnTo>
                  <a:cubicBezTo>
                    <a:pt x="2894" y="1775"/>
                    <a:pt x="2882" y="2323"/>
                    <a:pt x="2597" y="2584"/>
                  </a:cubicBezTo>
                  <a:cubicBezTo>
                    <a:pt x="2561" y="2608"/>
                    <a:pt x="2537" y="2656"/>
                    <a:pt x="2537" y="2704"/>
                  </a:cubicBezTo>
                  <a:lnTo>
                    <a:pt x="2537" y="3204"/>
                  </a:lnTo>
                  <a:lnTo>
                    <a:pt x="989" y="3204"/>
                  </a:lnTo>
                  <a:lnTo>
                    <a:pt x="989" y="2846"/>
                  </a:lnTo>
                  <a:cubicBezTo>
                    <a:pt x="989" y="2799"/>
                    <a:pt x="953" y="2739"/>
                    <a:pt x="930" y="2715"/>
                  </a:cubicBezTo>
                  <a:cubicBezTo>
                    <a:pt x="775" y="2596"/>
                    <a:pt x="370" y="2227"/>
                    <a:pt x="346" y="1846"/>
                  </a:cubicBezTo>
                  <a:cubicBezTo>
                    <a:pt x="334" y="1596"/>
                    <a:pt x="311" y="1275"/>
                    <a:pt x="406" y="1191"/>
                  </a:cubicBezTo>
                  <a:cubicBezTo>
                    <a:pt x="441" y="1174"/>
                    <a:pt x="482" y="1163"/>
                    <a:pt x="539" y="1163"/>
                  </a:cubicBezTo>
                  <a:cubicBezTo>
                    <a:pt x="560" y="1163"/>
                    <a:pt x="583" y="1164"/>
                    <a:pt x="608" y="1168"/>
                  </a:cubicBezTo>
                  <a:lnTo>
                    <a:pt x="608" y="1394"/>
                  </a:lnTo>
                  <a:cubicBezTo>
                    <a:pt x="608" y="1477"/>
                    <a:pt x="692" y="1549"/>
                    <a:pt x="775" y="1549"/>
                  </a:cubicBezTo>
                  <a:cubicBezTo>
                    <a:pt x="870" y="1549"/>
                    <a:pt x="942" y="1477"/>
                    <a:pt x="942" y="1394"/>
                  </a:cubicBezTo>
                  <a:lnTo>
                    <a:pt x="942" y="441"/>
                  </a:lnTo>
                  <a:cubicBezTo>
                    <a:pt x="942" y="382"/>
                    <a:pt x="989" y="322"/>
                    <a:pt x="1061" y="322"/>
                  </a:cubicBezTo>
                  <a:close/>
                  <a:moveTo>
                    <a:pt x="2799" y="3537"/>
                  </a:moveTo>
                  <a:lnTo>
                    <a:pt x="2799" y="4037"/>
                  </a:lnTo>
                  <a:lnTo>
                    <a:pt x="751" y="4037"/>
                  </a:lnTo>
                  <a:lnTo>
                    <a:pt x="751" y="3537"/>
                  </a:lnTo>
                  <a:close/>
                  <a:moveTo>
                    <a:pt x="2799" y="4347"/>
                  </a:moveTo>
                  <a:lnTo>
                    <a:pt x="2799" y="5632"/>
                  </a:lnTo>
                  <a:lnTo>
                    <a:pt x="751" y="5632"/>
                  </a:lnTo>
                  <a:lnTo>
                    <a:pt x="751" y="4347"/>
                  </a:lnTo>
                  <a:close/>
                  <a:moveTo>
                    <a:pt x="1073" y="1"/>
                  </a:moveTo>
                  <a:cubicBezTo>
                    <a:pt x="834" y="1"/>
                    <a:pt x="644" y="203"/>
                    <a:pt x="644" y="429"/>
                  </a:cubicBezTo>
                  <a:lnTo>
                    <a:pt x="644" y="846"/>
                  </a:lnTo>
                  <a:cubicBezTo>
                    <a:pt x="622" y="845"/>
                    <a:pt x="600" y="844"/>
                    <a:pt x="579" y="844"/>
                  </a:cubicBezTo>
                  <a:cubicBezTo>
                    <a:pt x="433" y="844"/>
                    <a:pt x="321" y="880"/>
                    <a:pt x="227" y="953"/>
                  </a:cubicBezTo>
                  <a:cubicBezTo>
                    <a:pt x="1" y="1144"/>
                    <a:pt x="13" y="1525"/>
                    <a:pt x="49" y="1882"/>
                  </a:cubicBezTo>
                  <a:cubicBezTo>
                    <a:pt x="84" y="2370"/>
                    <a:pt x="525" y="2787"/>
                    <a:pt x="692" y="2930"/>
                  </a:cubicBezTo>
                  <a:lnTo>
                    <a:pt x="692" y="3216"/>
                  </a:lnTo>
                  <a:lnTo>
                    <a:pt x="596" y="3216"/>
                  </a:lnTo>
                  <a:cubicBezTo>
                    <a:pt x="513" y="3216"/>
                    <a:pt x="441" y="3287"/>
                    <a:pt x="441" y="3382"/>
                  </a:cubicBezTo>
                  <a:lnTo>
                    <a:pt x="441" y="4216"/>
                  </a:lnTo>
                  <a:lnTo>
                    <a:pt x="441" y="5799"/>
                  </a:lnTo>
                  <a:cubicBezTo>
                    <a:pt x="441" y="5882"/>
                    <a:pt x="513" y="5954"/>
                    <a:pt x="596" y="5954"/>
                  </a:cubicBezTo>
                  <a:lnTo>
                    <a:pt x="2978" y="5954"/>
                  </a:lnTo>
                  <a:cubicBezTo>
                    <a:pt x="3073" y="5954"/>
                    <a:pt x="3144" y="5882"/>
                    <a:pt x="3144" y="5799"/>
                  </a:cubicBezTo>
                  <a:lnTo>
                    <a:pt x="3144" y="4204"/>
                  </a:lnTo>
                  <a:lnTo>
                    <a:pt x="3144" y="3370"/>
                  </a:lnTo>
                  <a:cubicBezTo>
                    <a:pt x="3144" y="3275"/>
                    <a:pt x="3073" y="3204"/>
                    <a:pt x="2978" y="3204"/>
                  </a:cubicBezTo>
                  <a:lnTo>
                    <a:pt x="2882" y="3204"/>
                  </a:lnTo>
                  <a:lnTo>
                    <a:pt x="2882" y="2763"/>
                  </a:lnTo>
                  <a:cubicBezTo>
                    <a:pt x="3251" y="2370"/>
                    <a:pt x="3204" y="1644"/>
                    <a:pt x="3204" y="1549"/>
                  </a:cubicBezTo>
                  <a:lnTo>
                    <a:pt x="3204" y="810"/>
                  </a:lnTo>
                  <a:cubicBezTo>
                    <a:pt x="3204" y="572"/>
                    <a:pt x="3013" y="382"/>
                    <a:pt x="2775" y="382"/>
                  </a:cubicBezTo>
                  <a:lnTo>
                    <a:pt x="2763" y="382"/>
                  </a:lnTo>
                  <a:cubicBezTo>
                    <a:pt x="2680" y="382"/>
                    <a:pt x="2608" y="394"/>
                    <a:pt x="2549" y="441"/>
                  </a:cubicBezTo>
                  <a:cubicBezTo>
                    <a:pt x="2477" y="334"/>
                    <a:pt x="2335" y="275"/>
                    <a:pt x="2204" y="275"/>
                  </a:cubicBezTo>
                  <a:lnTo>
                    <a:pt x="2192" y="275"/>
                  </a:lnTo>
                  <a:cubicBezTo>
                    <a:pt x="2120" y="275"/>
                    <a:pt x="2049" y="287"/>
                    <a:pt x="1989" y="322"/>
                  </a:cubicBezTo>
                  <a:cubicBezTo>
                    <a:pt x="1906" y="227"/>
                    <a:pt x="1787" y="168"/>
                    <a:pt x="1656" y="168"/>
                  </a:cubicBezTo>
                  <a:lnTo>
                    <a:pt x="1644" y="168"/>
                  </a:lnTo>
                  <a:cubicBezTo>
                    <a:pt x="1584" y="168"/>
                    <a:pt x="1525" y="179"/>
                    <a:pt x="1465" y="203"/>
                  </a:cubicBezTo>
                  <a:cubicBezTo>
                    <a:pt x="1394" y="84"/>
                    <a:pt x="1251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92" name="Google Shape;10892;p60"/>
          <p:cNvGrpSpPr/>
          <p:nvPr/>
        </p:nvGrpSpPr>
        <p:grpSpPr>
          <a:xfrm>
            <a:off x="7538896" y="1970156"/>
            <a:ext cx="361147" cy="361529"/>
            <a:chOff x="7538896" y="1970156"/>
            <a:chExt cx="361147" cy="361529"/>
          </a:xfrm>
        </p:grpSpPr>
        <p:sp>
          <p:nvSpPr>
            <p:cNvPr id="10893" name="Google Shape;10893;p60"/>
            <p:cNvSpPr/>
            <p:nvPr/>
          </p:nvSpPr>
          <p:spPr>
            <a:xfrm>
              <a:off x="7538896" y="1970156"/>
              <a:ext cx="361147" cy="361529"/>
            </a:xfrm>
            <a:custGeom>
              <a:avLst/>
              <a:gdLst/>
              <a:ahLst/>
              <a:cxnLst/>
              <a:rect l="l" t="t" r="r" b="b"/>
              <a:pathLst>
                <a:path w="11347" h="11359" extrusionOk="0">
                  <a:moveTo>
                    <a:pt x="8918" y="584"/>
                  </a:moveTo>
                  <a:lnTo>
                    <a:pt x="9477" y="1155"/>
                  </a:lnTo>
                  <a:lnTo>
                    <a:pt x="9632" y="1298"/>
                  </a:lnTo>
                  <a:lnTo>
                    <a:pt x="10239" y="1905"/>
                  </a:lnTo>
                  <a:lnTo>
                    <a:pt x="10704" y="2370"/>
                  </a:lnTo>
                  <a:lnTo>
                    <a:pt x="8918" y="2370"/>
                  </a:lnTo>
                  <a:lnTo>
                    <a:pt x="8918" y="584"/>
                  </a:lnTo>
                  <a:close/>
                  <a:moveTo>
                    <a:pt x="2631" y="4644"/>
                  </a:moveTo>
                  <a:cubicBezTo>
                    <a:pt x="3322" y="4644"/>
                    <a:pt x="3882" y="5215"/>
                    <a:pt x="3882" y="5894"/>
                  </a:cubicBezTo>
                  <a:lnTo>
                    <a:pt x="3882" y="6192"/>
                  </a:lnTo>
                  <a:lnTo>
                    <a:pt x="3810" y="6192"/>
                  </a:lnTo>
                  <a:cubicBezTo>
                    <a:pt x="3429" y="6108"/>
                    <a:pt x="3310" y="5596"/>
                    <a:pt x="3286" y="5596"/>
                  </a:cubicBezTo>
                  <a:cubicBezTo>
                    <a:pt x="3274" y="5525"/>
                    <a:pt x="3215" y="5477"/>
                    <a:pt x="3155" y="5465"/>
                  </a:cubicBezTo>
                  <a:cubicBezTo>
                    <a:pt x="3143" y="5463"/>
                    <a:pt x="3132" y="5462"/>
                    <a:pt x="3121" y="5462"/>
                  </a:cubicBezTo>
                  <a:cubicBezTo>
                    <a:pt x="3064" y="5462"/>
                    <a:pt x="3016" y="5487"/>
                    <a:pt x="2977" y="5537"/>
                  </a:cubicBezTo>
                  <a:cubicBezTo>
                    <a:pt x="2477" y="6156"/>
                    <a:pt x="1429" y="6156"/>
                    <a:pt x="1417" y="6156"/>
                  </a:cubicBezTo>
                  <a:lnTo>
                    <a:pt x="1298" y="6156"/>
                  </a:lnTo>
                  <a:lnTo>
                    <a:pt x="1286" y="6168"/>
                  </a:lnTo>
                  <a:lnTo>
                    <a:pt x="1262" y="6180"/>
                  </a:lnTo>
                  <a:lnTo>
                    <a:pt x="1262" y="5894"/>
                  </a:lnTo>
                  <a:cubicBezTo>
                    <a:pt x="1262" y="5215"/>
                    <a:pt x="1834" y="4644"/>
                    <a:pt x="2512" y="4644"/>
                  </a:cubicBezTo>
                  <a:close/>
                  <a:moveTo>
                    <a:pt x="1238" y="6644"/>
                  </a:moveTo>
                  <a:lnTo>
                    <a:pt x="1238" y="7192"/>
                  </a:lnTo>
                  <a:cubicBezTo>
                    <a:pt x="1107" y="7180"/>
                    <a:pt x="1000" y="7061"/>
                    <a:pt x="1000" y="6930"/>
                  </a:cubicBezTo>
                  <a:cubicBezTo>
                    <a:pt x="1000" y="6846"/>
                    <a:pt x="1024" y="6775"/>
                    <a:pt x="1084" y="6715"/>
                  </a:cubicBezTo>
                  <a:cubicBezTo>
                    <a:pt x="1143" y="6715"/>
                    <a:pt x="1191" y="6692"/>
                    <a:pt x="1226" y="6644"/>
                  </a:cubicBezTo>
                  <a:close/>
                  <a:moveTo>
                    <a:pt x="3929" y="6656"/>
                  </a:moveTo>
                  <a:cubicBezTo>
                    <a:pt x="3965" y="6680"/>
                    <a:pt x="4001" y="6715"/>
                    <a:pt x="4048" y="6715"/>
                  </a:cubicBezTo>
                  <a:cubicBezTo>
                    <a:pt x="4108" y="6763"/>
                    <a:pt x="4132" y="6835"/>
                    <a:pt x="4132" y="6918"/>
                  </a:cubicBezTo>
                  <a:cubicBezTo>
                    <a:pt x="4155" y="7061"/>
                    <a:pt x="4048" y="7180"/>
                    <a:pt x="3917" y="7192"/>
                  </a:cubicBezTo>
                  <a:lnTo>
                    <a:pt x="3917" y="6656"/>
                  </a:lnTo>
                  <a:close/>
                  <a:moveTo>
                    <a:pt x="3036" y="5942"/>
                  </a:moveTo>
                  <a:cubicBezTo>
                    <a:pt x="3120" y="6132"/>
                    <a:pt x="3286" y="6358"/>
                    <a:pt x="3572" y="6465"/>
                  </a:cubicBezTo>
                  <a:lnTo>
                    <a:pt x="3572" y="7227"/>
                  </a:lnTo>
                  <a:cubicBezTo>
                    <a:pt x="3560" y="7704"/>
                    <a:pt x="3167" y="8085"/>
                    <a:pt x="2691" y="8085"/>
                  </a:cubicBezTo>
                  <a:lnTo>
                    <a:pt x="2477" y="8085"/>
                  </a:lnTo>
                  <a:cubicBezTo>
                    <a:pt x="2000" y="8085"/>
                    <a:pt x="1607" y="7692"/>
                    <a:pt x="1607" y="7227"/>
                  </a:cubicBezTo>
                  <a:lnTo>
                    <a:pt x="1607" y="6501"/>
                  </a:lnTo>
                  <a:cubicBezTo>
                    <a:pt x="1917" y="6477"/>
                    <a:pt x="2572" y="6370"/>
                    <a:pt x="3036" y="5942"/>
                  </a:cubicBezTo>
                  <a:close/>
                  <a:moveTo>
                    <a:pt x="2917" y="8418"/>
                  </a:moveTo>
                  <a:lnTo>
                    <a:pt x="2917" y="8656"/>
                  </a:lnTo>
                  <a:lnTo>
                    <a:pt x="2917" y="8668"/>
                  </a:lnTo>
                  <a:lnTo>
                    <a:pt x="2572" y="9025"/>
                  </a:lnTo>
                  <a:lnTo>
                    <a:pt x="2250" y="8692"/>
                  </a:lnTo>
                  <a:lnTo>
                    <a:pt x="2250" y="8418"/>
                  </a:lnTo>
                  <a:cubicBezTo>
                    <a:pt x="2322" y="8430"/>
                    <a:pt x="2393" y="8430"/>
                    <a:pt x="2477" y="8430"/>
                  </a:cubicBezTo>
                  <a:lnTo>
                    <a:pt x="2691" y="8430"/>
                  </a:lnTo>
                  <a:cubicBezTo>
                    <a:pt x="2774" y="8430"/>
                    <a:pt x="2846" y="8418"/>
                    <a:pt x="2917" y="8418"/>
                  </a:cubicBezTo>
                  <a:close/>
                  <a:moveTo>
                    <a:pt x="8561" y="346"/>
                  </a:moveTo>
                  <a:lnTo>
                    <a:pt x="8561" y="2560"/>
                  </a:lnTo>
                  <a:cubicBezTo>
                    <a:pt x="8561" y="2667"/>
                    <a:pt x="8632" y="2739"/>
                    <a:pt x="8739" y="2739"/>
                  </a:cubicBezTo>
                  <a:lnTo>
                    <a:pt x="10954" y="2739"/>
                  </a:lnTo>
                  <a:lnTo>
                    <a:pt x="10954" y="10954"/>
                  </a:lnTo>
                  <a:lnTo>
                    <a:pt x="5167" y="10954"/>
                  </a:lnTo>
                  <a:lnTo>
                    <a:pt x="5167" y="10263"/>
                  </a:lnTo>
                  <a:cubicBezTo>
                    <a:pt x="5167" y="9454"/>
                    <a:pt x="4608" y="9049"/>
                    <a:pt x="4310" y="8954"/>
                  </a:cubicBezTo>
                  <a:lnTo>
                    <a:pt x="3274" y="8537"/>
                  </a:lnTo>
                  <a:lnTo>
                    <a:pt x="3274" y="8311"/>
                  </a:lnTo>
                  <a:cubicBezTo>
                    <a:pt x="3560" y="8156"/>
                    <a:pt x="3786" y="7894"/>
                    <a:pt x="3870" y="7561"/>
                  </a:cubicBezTo>
                  <a:cubicBezTo>
                    <a:pt x="4215" y="7561"/>
                    <a:pt x="4489" y="7287"/>
                    <a:pt x="4489" y="6930"/>
                  </a:cubicBezTo>
                  <a:cubicBezTo>
                    <a:pt x="4489" y="6715"/>
                    <a:pt x="4394" y="6525"/>
                    <a:pt x="4239" y="6418"/>
                  </a:cubicBezTo>
                  <a:lnTo>
                    <a:pt x="4239" y="5942"/>
                  </a:lnTo>
                  <a:cubicBezTo>
                    <a:pt x="4239" y="5108"/>
                    <a:pt x="3620" y="4429"/>
                    <a:pt x="2810" y="4346"/>
                  </a:cubicBezTo>
                  <a:lnTo>
                    <a:pt x="2810" y="346"/>
                  </a:lnTo>
                  <a:close/>
                  <a:moveTo>
                    <a:pt x="2679" y="0"/>
                  </a:moveTo>
                  <a:cubicBezTo>
                    <a:pt x="2572" y="0"/>
                    <a:pt x="2500" y="72"/>
                    <a:pt x="2500" y="179"/>
                  </a:cubicBezTo>
                  <a:lnTo>
                    <a:pt x="2500" y="4358"/>
                  </a:lnTo>
                  <a:cubicBezTo>
                    <a:pt x="1643" y="4394"/>
                    <a:pt x="953" y="5108"/>
                    <a:pt x="953" y="5965"/>
                  </a:cubicBezTo>
                  <a:lnTo>
                    <a:pt x="953" y="6442"/>
                  </a:lnTo>
                  <a:cubicBezTo>
                    <a:pt x="786" y="6561"/>
                    <a:pt x="691" y="6739"/>
                    <a:pt x="691" y="6954"/>
                  </a:cubicBezTo>
                  <a:cubicBezTo>
                    <a:pt x="691" y="7299"/>
                    <a:pt x="965" y="7597"/>
                    <a:pt x="1322" y="7597"/>
                  </a:cubicBezTo>
                  <a:cubicBezTo>
                    <a:pt x="1417" y="7918"/>
                    <a:pt x="1643" y="8192"/>
                    <a:pt x="1917" y="8335"/>
                  </a:cubicBezTo>
                  <a:lnTo>
                    <a:pt x="1917" y="8561"/>
                  </a:lnTo>
                  <a:lnTo>
                    <a:pt x="845" y="8978"/>
                  </a:lnTo>
                  <a:cubicBezTo>
                    <a:pt x="548" y="9085"/>
                    <a:pt x="0" y="9478"/>
                    <a:pt x="0" y="10287"/>
                  </a:cubicBezTo>
                  <a:lnTo>
                    <a:pt x="0" y="11180"/>
                  </a:lnTo>
                  <a:cubicBezTo>
                    <a:pt x="0" y="11287"/>
                    <a:pt x="72" y="11359"/>
                    <a:pt x="179" y="11359"/>
                  </a:cubicBezTo>
                  <a:lnTo>
                    <a:pt x="965" y="11359"/>
                  </a:lnTo>
                  <a:cubicBezTo>
                    <a:pt x="1072" y="11359"/>
                    <a:pt x="1143" y="11287"/>
                    <a:pt x="1143" y="11180"/>
                  </a:cubicBezTo>
                  <a:cubicBezTo>
                    <a:pt x="1143" y="11073"/>
                    <a:pt x="1072" y="11002"/>
                    <a:pt x="965" y="11002"/>
                  </a:cubicBezTo>
                  <a:lnTo>
                    <a:pt x="357" y="11002"/>
                  </a:lnTo>
                  <a:lnTo>
                    <a:pt x="357" y="10263"/>
                  </a:lnTo>
                  <a:cubicBezTo>
                    <a:pt x="357" y="9513"/>
                    <a:pt x="941" y="9287"/>
                    <a:pt x="965" y="9287"/>
                  </a:cubicBezTo>
                  <a:lnTo>
                    <a:pt x="988" y="9287"/>
                  </a:lnTo>
                  <a:lnTo>
                    <a:pt x="1965" y="8906"/>
                  </a:lnTo>
                  <a:lnTo>
                    <a:pt x="1977" y="8918"/>
                  </a:lnTo>
                  <a:lnTo>
                    <a:pt x="2500" y="9430"/>
                  </a:lnTo>
                  <a:cubicBezTo>
                    <a:pt x="2536" y="9454"/>
                    <a:pt x="2572" y="9466"/>
                    <a:pt x="2619" y="9466"/>
                  </a:cubicBezTo>
                  <a:cubicBezTo>
                    <a:pt x="2667" y="9466"/>
                    <a:pt x="2715" y="9454"/>
                    <a:pt x="2739" y="9406"/>
                  </a:cubicBezTo>
                  <a:lnTo>
                    <a:pt x="3251" y="8894"/>
                  </a:lnTo>
                  <a:lnTo>
                    <a:pt x="4227" y="9275"/>
                  </a:lnTo>
                  <a:lnTo>
                    <a:pt x="4239" y="9275"/>
                  </a:lnTo>
                  <a:cubicBezTo>
                    <a:pt x="4239" y="9275"/>
                    <a:pt x="4858" y="9490"/>
                    <a:pt x="4858" y="10240"/>
                  </a:cubicBezTo>
                  <a:lnTo>
                    <a:pt x="4858" y="10954"/>
                  </a:lnTo>
                  <a:lnTo>
                    <a:pt x="1607" y="10954"/>
                  </a:lnTo>
                  <a:cubicBezTo>
                    <a:pt x="1500" y="10954"/>
                    <a:pt x="1429" y="11037"/>
                    <a:pt x="1429" y="11133"/>
                  </a:cubicBezTo>
                  <a:cubicBezTo>
                    <a:pt x="1429" y="11240"/>
                    <a:pt x="1500" y="11311"/>
                    <a:pt x="1607" y="11311"/>
                  </a:cubicBezTo>
                  <a:lnTo>
                    <a:pt x="11168" y="11311"/>
                  </a:lnTo>
                  <a:cubicBezTo>
                    <a:pt x="11263" y="11311"/>
                    <a:pt x="11347" y="11240"/>
                    <a:pt x="11347" y="11133"/>
                  </a:cubicBezTo>
                  <a:lnTo>
                    <a:pt x="11311" y="2536"/>
                  </a:lnTo>
                  <a:lnTo>
                    <a:pt x="11311" y="2501"/>
                  </a:lnTo>
                  <a:lnTo>
                    <a:pt x="11311" y="2489"/>
                  </a:lnTo>
                  <a:cubicBezTo>
                    <a:pt x="11311" y="2489"/>
                    <a:pt x="11311" y="2477"/>
                    <a:pt x="11299" y="2477"/>
                  </a:cubicBezTo>
                  <a:lnTo>
                    <a:pt x="11287" y="2465"/>
                  </a:lnTo>
                  <a:lnTo>
                    <a:pt x="11263" y="2441"/>
                  </a:lnTo>
                  <a:lnTo>
                    <a:pt x="9882" y="1060"/>
                  </a:lnTo>
                  <a:lnTo>
                    <a:pt x="8870" y="48"/>
                  </a:lnTo>
                  <a:lnTo>
                    <a:pt x="8858" y="36"/>
                  </a:lnTo>
                  <a:lnTo>
                    <a:pt x="8846" y="12"/>
                  </a:lnTo>
                  <a:cubicBezTo>
                    <a:pt x="8846" y="12"/>
                    <a:pt x="8823" y="12"/>
                    <a:pt x="8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4" name="Google Shape;10894;p60"/>
            <p:cNvSpPr/>
            <p:nvPr/>
          </p:nvSpPr>
          <p:spPr>
            <a:xfrm>
              <a:off x="7685907" y="2066784"/>
              <a:ext cx="101211" cy="11394"/>
            </a:xfrm>
            <a:custGeom>
              <a:avLst/>
              <a:gdLst/>
              <a:ahLst/>
              <a:cxnLst/>
              <a:rect l="l" t="t" r="r" b="b"/>
              <a:pathLst>
                <a:path w="3180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3001" y="358"/>
                  </a:lnTo>
                  <a:cubicBezTo>
                    <a:pt x="3108" y="358"/>
                    <a:pt x="3180" y="286"/>
                    <a:pt x="3180" y="179"/>
                  </a:cubicBezTo>
                  <a:cubicBezTo>
                    <a:pt x="3180" y="84"/>
                    <a:pt x="3108" y="0"/>
                    <a:pt x="3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5" name="Google Shape;10895;p60"/>
            <p:cNvSpPr/>
            <p:nvPr/>
          </p:nvSpPr>
          <p:spPr>
            <a:xfrm>
              <a:off x="7685907" y="2106187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72"/>
                    <a:pt x="4549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6" name="Google Shape;10896;p60"/>
            <p:cNvSpPr/>
            <p:nvPr/>
          </p:nvSpPr>
          <p:spPr>
            <a:xfrm>
              <a:off x="7685907" y="2145239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0"/>
                  </a:moveTo>
                  <a:cubicBezTo>
                    <a:pt x="72" y="0"/>
                    <a:pt x="1" y="71"/>
                    <a:pt x="1" y="179"/>
                  </a:cubicBezTo>
                  <a:cubicBezTo>
                    <a:pt x="1" y="274"/>
                    <a:pt x="72" y="357"/>
                    <a:pt x="179" y="357"/>
                  </a:cubicBezTo>
                  <a:lnTo>
                    <a:pt x="4442" y="357"/>
                  </a:lnTo>
                  <a:cubicBezTo>
                    <a:pt x="4549" y="357"/>
                    <a:pt x="4620" y="274"/>
                    <a:pt x="4620" y="179"/>
                  </a:cubicBezTo>
                  <a:cubicBezTo>
                    <a:pt x="4620" y="83"/>
                    <a:pt x="4537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7" name="Google Shape;10897;p60"/>
            <p:cNvSpPr/>
            <p:nvPr/>
          </p:nvSpPr>
          <p:spPr>
            <a:xfrm>
              <a:off x="7685907" y="2184260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84"/>
                    <a:pt x="4537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8" name="Google Shape;10898;p60"/>
            <p:cNvSpPr/>
            <p:nvPr/>
          </p:nvSpPr>
          <p:spPr>
            <a:xfrm>
              <a:off x="7685907" y="2223280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84"/>
                    <a:pt x="4537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99" name="Google Shape;10899;p60"/>
          <p:cNvGrpSpPr/>
          <p:nvPr/>
        </p:nvGrpSpPr>
        <p:grpSpPr>
          <a:xfrm>
            <a:off x="4896099" y="1970920"/>
            <a:ext cx="358155" cy="358123"/>
            <a:chOff x="4896099" y="1970920"/>
            <a:chExt cx="358155" cy="358123"/>
          </a:xfrm>
        </p:grpSpPr>
        <p:sp>
          <p:nvSpPr>
            <p:cNvPr id="10900" name="Google Shape;10900;p60"/>
            <p:cNvSpPr/>
            <p:nvPr/>
          </p:nvSpPr>
          <p:spPr>
            <a:xfrm>
              <a:off x="4896099" y="1970920"/>
              <a:ext cx="358155" cy="358123"/>
            </a:xfrm>
            <a:custGeom>
              <a:avLst/>
              <a:gdLst/>
              <a:ahLst/>
              <a:cxnLst/>
              <a:rect l="l" t="t" r="r" b="b"/>
              <a:pathLst>
                <a:path w="11253" h="11252" extrusionOk="0">
                  <a:moveTo>
                    <a:pt x="5621" y="0"/>
                  </a:moveTo>
                  <a:cubicBezTo>
                    <a:pt x="4109" y="0"/>
                    <a:pt x="2704" y="595"/>
                    <a:pt x="1644" y="1643"/>
                  </a:cubicBezTo>
                  <a:cubicBezTo>
                    <a:pt x="584" y="2715"/>
                    <a:pt x="1" y="4132"/>
                    <a:pt x="1" y="5632"/>
                  </a:cubicBezTo>
                  <a:cubicBezTo>
                    <a:pt x="1" y="6930"/>
                    <a:pt x="465" y="8192"/>
                    <a:pt x="1263" y="9192"/>
                  </a:cubicBezTo>
                  <a:cubicBezTo>
                    <a:pt x="1300" y="9235"/>
                    <a:pt x="1343" y="9252"/>
                    <a:pt x="1386" y="9252"/>
                  </a:cubicBezTo>
                  <a:cubicBezTo>
                    <a:pt x="1509" y="9252"/>
                    <a:pt x="1622" y="9104"/>
                    <a:pt x="1525" y="8989"/>
                  </a:cubicBezTo>
                  <a:cubicBezTo>
                    <a:pt x="751" y="8049"/>
                    <a:pt x="334" y="6858"/>
                    <a:pt x="334" y="5632"/>
                  </a:cubicBezTo>
                  <a:cubicBezTo>
                    <a:pt x="334" y="4227"/>
                    <a:pt x="882" y="2881"/>
                    <a:pt x="1882" y="1881"/>
                  </a:cubicBezTo>
                  <a:cubicBezTo>
                    <a:pt x="2882" y="893"/>
                    <a:pt x="4204" y="322"/>
                    <a:pt x="5621" y="322"/>
                  </a:cubicBezTo>
                  <a:cubicBezTo>
                    <a:pt x="7026" y="322"/>
                    <a:pt x="8371" y="869"/>
                    <a:pt x="9371" y="1869"/>
                  </a:cubicBezTo>
                  <a:cubicBezTo>
                    <a:pt x="10359" y="2870"/>
                    <a:pt x="10931" y="4191"/>
                    <a:pt x="10931" y="5608"/>
                  </a:cubicBezTo>
                  <a:cubicBezTo>
                    <a:pt x="10931" y="7025"/>
                    <a:pt x="10383" y="8358"/>
                    <a:pt x="9383" y="9358"/>
                  </a:cubicBezTo>
                  <a:cubicBezTo>
                    <a:pt x="8383" y="10359"/>
                    <a:pt x="7061" y="10918"/>
                    <a:pt x="5644" y="10918"/>
                  </a:cubicBezTo>
                  <a:cubicBezTo>
                    <a:pt x="4323" y="10918"/>
                    <a:pt x="3037" y="10430"/>
                    <a:pt x="2061" y="9537"/>
                  </a:cubicBezTo>
                  <a:cubicBezTo>
                    <a:pt x="2025" y="9504"/>
                    <a:pt x="1987" y="9490"/>
                    <a:pt x="1951" y="9490"/>
                  </a:cubicBezTo>
                  <a:cubicBezTo>
                    <a:pt x="1823" y="9490"/>
                    <a:pt x="1723" y="9673"/>
                    <a:pt x="1834" y="9775"/>
                  </a:cubicBezTo>
                  <a:cubicBezTo>
                    <a:pt x="2882" y="10728"/>
                    <a:pt x="4228" y="11252"/>
                    <a:pt x="5644" y="11252"/>
                  </a:cubicBezTo>
                  <a:cubicBezTo>
                    <a:pt x="7145" y="11252"/>
                    <a:pt x="8562" y="10656"/>
                    <a:pt x="9621" y="9597"/>
                  </a:cubicBezTo>
                  <a:cubicBezTo>
                    <a:pt x="10681" y="8525"/>
                    <a:pt x="11252" y="7108"/>
                    <a:pt x="11252" y="5608"/>
                  </a:cubicBezTo>
                  <a:cubicBezTo>
                    <a:pt x="11252" y="4120"/>
                    <a:pt x="10657" y="2703"/>
                    <a:pt x="9597" y="1631"/>
                  </a:cubicBezTo>
                  <a:cubicBezTo>
                    <a:pt x="8526" y="572"/>
                    <a:pt x="7121" y="0"/>
                    <a:pt x="56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1" name="Google Shape;10901;p60"/>
            <p:cNvSpPr/>
            <p:nvPr/>
          </p:nvSpPr>
          <p:spPr>
            <a:xfrm>
              <a:off x="4991454" y="2067835"/>
              <a:ext cx="166999" cy="164325"/>
            </a:xfrm>
            <a:custGeom>
              <a:avLst/>
              <a:gdLst/>
              <a:ahLst/>
              <a:cxnLst/>
              <a:rect l="l" t="t" r="r" b="b"/>
              <a:pathLst>
                <a:path w="5247" h="5163" extrusionOk="0">
                  <a:moveTo>
                    <a:pt x="4506" y="706"/>
                  </a:moveTo>
                  <a:lnTo>
                    <a:pt x="3160" y="2861"/>
                  </a:lnTo>
                  <a:lnTo>
                    <a:pt x="2351" y="2075"/>
                  </a:lnTo>
                  <a:lnTo>
                    <a:pt x="4506" y="706"/>
                  </a:lnTo>
                  <a:close/>
                  <a:moveTo>
                    <a:pt x="2113" y="2289"/>
                  </a:moveTo>
                  <a:lnTo>
                    <a:pt x="2922" y="3099"/>
                  </a:lnTo>
                  <a:lnTo>
                    <a:pt x="755" y="4468"/>
                  </a:lnTo>
                  <a:lnTo>
                    <a:pt x="755" y="4468"/>
                  </a:lnTo>
                  <a:lnTo>
                    <a:pt x="2113" y="2289"/>
                  </a:lnTo>
                  <a:close/>
                  <a:moveTo>
                    <a:pt x="5032" y="0"/>
                  </a:moveTo>
                  <a:cubicBezTo>
                    <a:pt x="5004" y="0"/>
                    <a:pt x="4974" y="8"/>
                    <a:pt x="4946" y="27"/>
                  </a:cubicBezTo>
                  <a:lnTo>
                    <a:pt x="2006" y="1896"/>
                  </a:lnTo>
                  <a:cubicBezTo>
                    <a:pt x="1970" y="1908"/>
                    <a:pt x="1934" y="1932"/>
                    <a:pt x="1922" y="1980"/>
                  </a:cubicBezTo>
                  <a:lnTo>
                    <a:pt x="77" y="4909"/>
                  </a:lnTo>
                  <a:cubicBezTo>
                    <a:pt x="1" y="5032"/>
                    <a:pt x="99" y="5163"/>
                    <a:pt x="214" y="5163"/>
                  </a:cubicBezTo>
                  <a:cubicBezTo>
                    <a:pt x="243" y="5163"/>
                    <a:pt x="274" y="5154"/>
                    <a:pt x="303" y="5135"/>
                  </a:cubicBezTo>
                  <a:lnTo>
                    <a:pt x="3232" y="3277"/>
                  </a:lnTo>
                  <a:cubicBezTo>
                    <a:pt x="3280" y="3265"/>
                    <a:pt x="3303" y="3230"/>
                    <a:pt x="3315" y="3182"/>
                  </a:cubicBezTo>
                  <a:lnTo>
                    <a:pt x="5161" y="253"/>
                  </a:lnTo>
                  <a:cubicBezTo>
                    <a:pt x="5247" y="138"/>
                    <a:pt x="5148" y="0"/>
                    <a:pt x="50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2" name="Google Shape;10902;p60"/>
            <p:cNvSpPr/>
            <p:nvPr/>
          </p:nvSpPr>
          <p:spPr>
            <a:xfrm>
              <a:off x="4923789" y="1998578"/>
              <a:ext cx="302043" cy="302425"/>
            </a:xfrm>
            <a:custGeom>
              <a:avLst/>
              <a:gdLst/>
              <a:ahLst/>
              <a:cxnLst/>
              <a:rect l="l" t="t" r="r" b="b"/>
              <a:pathLst>
                <a:path w="9490" h="9502" extrusionOk="0">
                  <a:moveTo>
                    <a:pt x="4727" y="0"/>
                  </a:moveTo>
                  <a:cubicBezTo>
                    <a:pt x="3465" y="0"/>
                    <a:pt x="2274" y="500"/>
                    <a:pt x="1381" y="1405"/>
                  </a:cubicBezTo>
                  <a:cubicBezTo>
                    <a:pt x="488" y="2298"/>
                    <a:pt x="0" y="3489"/>
                    <a:pt x="0" y="4763"/>
                  </a:cubicBezTo>
                  <a:cubicBezTo>
                    <a:pt x="0" y="6049"/>
                    <a:pt x="488" y="7227"/>
                    <a:pt x="1393" y="8120"/>
                  </a:cubicBezTo>
                  <a:cubicBezTo>
                    <a:pt x="2286" y="9013"/>
                    <a:pt x="3477" y="9501"/>
                    <a:pt x="4763" y="9501"/>
                  </a:cubicBezTo>
                  <a:cubicBezTo>
                    <a:pt x="6025" y="9501"/>
                    <a:pt x="7215" y="9013"/>
                    <a:pt x="8108" y="8097"/>
                  </a:cubicBezTo>
                  <a:cubicBezTo>
                    <a:pt x="9001" y="7204"/>
                    <a:pt x="9489" y="6013"/>
                    <a:pt x="9489" y="4739"/>
                  </a:cubicBezTo>
                  <a:cubicBezTo>
                    <a:pt x="9489" y="3620"/>
                    <a:pt x="9096" y="2524"/>
                    <a:pt x="8358" y="1667"/>
                  </a:cubicBezTo>
                  <a:cubicBezTo>
                    <a:pt x="8325" y="1625"/>
                    <a:pt x="8284" y="1607"/>
                    <a:pt x="8243" y="1607"/>
                  </a:cubicBezTo>
                  <a:cubicBezTo>
                    <a:pt x="8124" y="1607"/>
                    <a:pt x="8011" y="1757"/>
                    <a:pt x="8108" y="1881"/>
                  </a:cubicBezTo>
                  <a:cubicBezTo>
                    <a:pt x="8751" y="2620"/>
                    <a:pt x="9108" y="3560"/>
                    <a:pt x="9156" y="4537"/>
                  </a:cubicBezTo>
                  <a:lnTo>
                    <a:pt x="8477" y="4537"/>
                  </a:lnTo>
                  <a:cubicBezTo>
                    <a:pt x="8275" y="4537"/>
                    <a:pt x="8275" y="4870"/>
                    <a:pt x="8477" y="4870"/>
                  </a:cubicBezTo>
                  <a:lnTo>
                    <a:pt x="9156" y="4870"/>
                  </a:lnTo>
                  <a:cubicBezTo>
                    <a:pt x="9120" y="6001"/>
                    <a:pt x="8656" y="7037"/>
                    <a:pt x="7870" y="7847"/>
                  </a:cubicBezTo>
                  <a:cubicBezTo>
                    <a:pt x="7084" y="8632"/>
                    <a:pt x="6037" y="9097"/>
                    <a:pt x="4929" y="9144"/>
                  </a:cubicBezTo>
                  <a:lnTo>
                    <a:pt x="4929" y="8466"/>
                  </a:lnTo>
                  <a:cubicBezTo>
                    <a:pt x="4929" y="8364"/>
                    <a:pt x="4846" y="8314"/>
                    <a:pt x="4763" y="8314"/>
                  </a:cubicBezTo>
                  <a:cubicBezTo>
                    <a:pt x="4679" y="8314"/>
                    <a:pt x="4596" y="8364"/>
                    <a:pt x="4596" y="8466"/>
                  </a:cubicBezTo>
                  <a:lnTo>
                    <a:pt x="4596" y="9144"/>
                  </a:lnTo>
                  <a:cubicBezTo>
                    <a:pt x="3477" y="9097"/>
                    <a:pt x="2441" y="8644"/>
                    <a:pt x="1631" y="7858"/>
                  </a:cubicBezTo>
                  <a:cubicBezTo>
                    <a:pt x="834" y="7061"/>
                    <a:pt x="369" y="6013"/>
                    <a:pt x="345" y="4882"/>
                  </a:cubicBezTo>
                  <a:lnTo>
                    <a:pt x="1012" y="4882"/>
                  </a:lnTo>
                  <a:cubicBezTo>
                    <a:pt x="1215" y="4882"/>
                    <a:pt x="1215" y="4560"/>
                    <a:pt x="1012" y="4560"/>
                  </a:cubicBezTo>
                  <a:lnTo>
                    <a:pt x="345" y="4560"/>
                  </a:lnTo>
                  <a:cubicBezTo>
                    <a:pt x="381" y="3441"/>
                    <a:pt x="834" y="2417"/>
                    <a:pt x="1619" y="1620"/>
                  </a:cubicBezTo>
                  <a:cubicBezTo>
                    <a:pt x="2405" y="834"/>
                    <a:pt x="3453" y="369"/>
                    <a:pt x="4560" y="334"/>
                  </a:cubicBezTo>
                  <a:lnTo>
                    <a:pt x="4560" y="1000"/>
                  </a:lnTo>
                  <a:cubicBezTo>
                    <a:pt x="4560" y="1102"/>
                    <a:pt x="4644" y="1152"/>
                    <a:pt x="4727" y="1152"/>
                  </a:cubicBezTo>
                  <a:cubicBezTo>
                    <a:pt x="4810" y="1152"/>
                    <a:pt x="4894" y="1102"/>
                    <a:pt x="4894" y="1000"/>
                  </a:cubicBezTo>
                  <a:lnTo>
                    <a:pt x="4894" y="334"/>
                  </a:lnTo>
                  <a:cubicBezTo>
                    <a:pt x="5834" y="357"/>
                    <a:pt x="6727" y="691"/>
                    <a:pt x="7465" y="1262"/>
                  </a:cubicBezTo>
                  <a:cubicBezTo>
                    <a:pt x="7510" y="1301"/>
                    <a:pt x="7556" y="1319"/>
                    <a:pt x="7597" y="1319"/>
                  </a:cubicBezTo>
                  <a:cubicBezTo>
                    <a:pt x="7645" y="1319"/>
                    <a:pt x="7684" y="1295"/>
                    <a:pt x="7703" y="1250"/>
                  </a:cubicBezTo>
                  <a:cubicBezTo>
                    <a:pt x="7763" y="1179"/>
                    <a:pt x="7751" y="1072"/>
                    <a:pt x="7680" y="1012"/>
                  </a:cubicBezTo>
                  <a:cubicBezTo>
                    <a:pt x="6834" y="346"/>
                    <a:pt x="5822" y="0"/>
                    <a:pt x="4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03" name="Google Shape;10903;p60"/>
          <p:cNvGrpSpPr/>
          <p:nvPr/>
        </p:nvGrpSpPr>
        <p:grpSpPr>
          <a:xfrm>
            <a:off x="4048787" y="2977019"/>
            <a:ext cx="283488" cy="198604"/>
            <a:chOff x="4048787" y="2977019"/>
            <a:chExt cx="283488" cy="198604"/>
          </a:xfrm>
        </p:grpSpPr>
        <p:sp>
          <p:nvSpPr>
            <p:cNvPr id="10904" name="Google Shape;10904;p60"/>
            <p:cNvSpPr/>
            <p:nvPr/>
          </p:nvSpPr>
          <p:spPr>
            <a:xfrm>
              <a:off x="4277659" y="3015880"/>
              <a:ext cx="25048" cy="19128"/>
            </a:xfrm>
            <a:custGeom>
              <a:avLst/>
              <a:gdLst/>
              <a:ahLst/>
              <a:cxnLst/>
              <a:rect l="l" t="t" r="r" b="b"/>
              <a:pathLst>
                <a:path w="787" h="601" extrusionOk="0">
                  <a:moveTo>
                    <a:pt x="157" y="1"/>
                  </a:moveTo>
                  <a:cubicBezTo>
                    <a:pt x="113" y="1"/>
                    <a:pt x="70" y="22"/>
                    <a:pt x="49" y="65"/>
                  </a:cubicBezTo>
                  <a:cubicBezTo>
                    <a:pt x="1" y="125"/>
                    <a:pt x="13" y="220"/>
                    <a:pt x="84" y="256"/>
                  </a:cubicBezTo>
                  <a:cubicBezTo>
                    <a:pt x="239" y="363"/>
                    <a:pt x="382" y="470"/>
                    <a:pt x="549" y="577"/>
                  </a:cubicBezTo>
                  <a:cubicBezTo>
                    <a:pt x="584" y="589"/>
                    <a:pt x="608" y="601"/>
                    <a:pt x="620" y="601"/>
                  </a:cubicBezTo>
                  <a:cubicBezTo>
                    <a:pt x="668" y="601"/>
                    <a:pt x="715" y="589"/>
                    <a:pt x="739" y="541"/>
                  </a:cubicBezTo>
                  <a:cubicBezTo>
                    <a:pt x="787" y="482"/>
                    <a:pt x="775" y="398"/>
                    <a:pt x="703" y="351"/>
                  </a:cubicBezTo>
                  <a:cubicBezTo>
                    <a:pt x="537" y="232"/>
                    <a:pt x="382" y="125"/>
                    <a:pt x="239" y="29"/>
                  </a:cubicBezTo>
                  <a:cubicBezTo>
                    <a:pt x="215" y="10"/>
                    <a:pt x="186" y="1"/>
                    <a:pt x="15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5" name="Google Shape;10905;p60"/>
            <p:cNvSpPr/>
            <p:nvPr/>
          </p:nvSpPr>
          <p:spPr>
            <a:xfrm>
              <a:off x="4101462" y="2977019"/>
              <a:ext cx="165630" cy="42458"/>
            </a:xfrm>
            <a:custGeom>
              <a:avLst/>
              <a:gdLst/>
              <a:ahLst/>
              <a:cxnLst/>
              <a:rect l="l" t="t" r="r" b="b"/>
              <a:pathLst>
                <a:path w="5204" h="1334" extrusionOk="0">
                  <a:moveTo>
                    <a:pt x="2810" y="0"/>
                  </a:moveTo>
                  <a:cubicBezTo>
                    <a:pt x="2132" y="0"/>
                    <a:pt x="1239" y="357"/>
                    <a:pt x="84" y="1084"/>
                  </a:cubicBezTo>
                  <a:cubicBezTo>
                    <a:pt x="24" y="1119"/>
                    <a:pt x="1" y="1215"/>
                    <a:pt x="48" y="1274"/>
                  </a:cubicBezTo>
                  <a:cubicBezTo>
                    <a:pt x="72" y="1322"/>
                    <a:pt x="120" y="1334"/>
                    <a:pt x="167" y="1334"/>
                  </a:cubicBezTo>
                  <a:cubicBezTo>
                    <a:pt x="191" y="1334"/>
                    <a:pt x="203" y="1334"/>
                    <a:pt x="239" y="1322"/>
                  </a:cubicBezTo>
                  <a:cubicBezTo>
                    <a:pt x="1334" y="619"/>
                    <a:pt x="2167" y="274"/>
                    <a:pt x="2798" y="274"/>
                  </a:cubicBezTo>
                  <a:cubicBezTo>
                    <a:pt x="3346" y="274"/>
                    <a:pt x="4061" y="524"/>
                    <a:pt x="4965" y="1060"/>
                  </a:cubicBezTo>
                  <a:cubicBezTo>
                    <a:pt x="4987" y="1077"/>
                    <a:pt x="5014" y="1085"/>
                    <a:pt x="5041" y="1085"/>
                  </a:cubicBezTo>
                  <a:cubicBezTo>
                    <a:pt x="5088" y="1085"/>
                    <a:pt x="5138" y="1062"/>
                    <a:pt x="5168" y="1024"/>
                  </a:cubicBezTo>
                  <a:cubicBezTo>
                    <a:pt x="5204" y="953"/>
                    <a:pt x="5180" y="869"/>
                    <a:pt x="5120" y="834"/>
                  </a:cubicBezTo>
                  <a:cubicBezTo>
                    <a:pt x="4168" y="262"/>
                    <a:pt x="3406" y="0"/>
                    <a:pt x="2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6" name="Google Shape;10906;p60"/>
            <p:cNvSpPr/>
            <p:nvPr/>
          </p:nvSpPr>
          <p:spPr>
            <a:xfrm>
              <a:off x="4048787" y="3000508"/>
              <a:ext cx="283488" cy="175115"/>
            </a:xfrm>
            <a:custGeom>
              <a:avLst/>
              <a:gdLst/>
              <a:ahLst/>
              <a:cxnLst/>
              <a:rect l="l" t="t" r="r" b="b"/>
              <a:pathLst>
                <a:path w="8907" h="5502" extrusionOk="0">
                  <a:moveTo>
                    <a:pt x="4453" y="286"/>
                  </a:moveTo>
                  <a:cubicBezTo>
                    <a:pt x="5596" y="286"/>
                    <a:pt x="7894" y="2072"/>
                    <a:pt x="8561" y="2620"/>
                  </a:cubicBezTo>
                  <a:cubicBezTo>
                    <a:pt x="8609" y="2655"/>
                    <a:pt x="8621" y="2691"/>
                    <a:pt x="8621" y="2751"/>
                  </a:cubicBezTo>
                  <a:cubicBezTo>
                    <a:pt x="8621" y="2810"/>
                    <a:pt x="8609" y="2858"/>
                    <a:pt x="8561" y="2894"/>
                  </a:cubicBezTo>
                  <a:cubicBezTo>
                    <a:pt x="7894" y="3441"/>
                    <a:pt x="5596" y="5227"/>
                    <a:pt x="4453" y="5227"/>
                  </a:cubicBezTo>
                  <a:cubicBezTo>
                    <a:pt x="3310" y="5227"/>
                    <a:pt x="1013" y="3441"/>
                    <a:pt x="346" y="2894"/>
                  </a:cubicBezTo>
                  <a:cubicBezTo>
                    <a:pt x="298" y="2858"/>
                    <a:pt x="286" y="2810"/>
                    <a:pt x="286" y="2751"/>
                  </a:cubicBezTo>
                  <a:cubicBezTo>
                    <a:pt x="286" y="2691"/>
                    <a:pt x="310" y="2655"/>
                    <a:pt x="346" y="2620"/>
                  </a:cubicBezTo>
                  <a:cubicBezTo>
                    <a:pt x="1013" y="2072"/>
                    <a:pt x="3310" y="286"/>
                    <a:pt x="4453" y="286"/>
                  </a:cubicBezTo>
                  <a:close/>
                  <a:moveTo>
                    <a:pt x="4453" y="0"/>
                  </a:moveTo>
                  <a:cubicBezTo>
                    <a:pt x="3251" y="0"/>
                    <a:pt x="1060" y="1679"/>
                    <a:pt x="167" y="2405"/>
                  </a:cubicBezTo>
                  <a:cubicBezTo>
                    <a:pt x="60" y="2501"/>
                    <a:pt x="1" y="2620"/>
                    <a:pt x="1" y="2751"/>
                  </a:cubicBezTo>
                  <a:cubicBezTo>
                    <a:pt x="1" y="2882"/>
                    <a:pt x="60" y="3025"/>
                    <a:pt x="167" y="3096"/>
                  </a:cubicBezTo>
                  <a:cubicBezTo>
                    <a:pt x="1060" y="3822"/>
                    <a:pt x="3251" y="5501"/>
                    <a:pt x="4453" y="5501"/>
                  </a:cubicBezTo>
                  <a:cubicBezTo>
                    <a:pt x="5656" y="5501"/>
                    <a:pt x="7847" y="3822"/>
                    <a:pt x="8740" y="3096"/>
                  </a:cubicBezTo>
                  <a:cubicBezTo>
                    <a:pt x="8847" y="3001"/>
                    <a:pt x="8906" y="2882"/>
                    <a:pt x="8906" y="2751"/>
                  </a:cubicBezTo>
                  <a:cubicBezTo>
                    <a:pt x="8906" y="2620"/>
                    <a:pt x="8847" y="2501"/>
                    <a:pt x="8740" y="2405"/>
                  </a:cubicBezTo>
                  <a:cubicBezTo>
                    <a:pt x="7847" y="1679"/>
                    <a:pt x="5656" y="0"/>
                    <a:pt x="4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7" name="Google Shape;10907;p60"/>
            <p:cNvSpPr/>
            <p:nvPr/>
          </p:nvSpPr>
          <p:spPr>
            <a:xfrm>
              <a:off x="4126478" y="3024347"/>
              <a:ext cx="129220" cy="127437"/>
            </a:xfrm>
            <a:custGeom>
              <a:avLst/>
              <a:gdLst/>
              <a:ahLst/>
              <a:cxnLst/>
              <a:rect l="l" t="t" r="r" b="b"/>
              <a:pathLst>
                <a:path w="4060" h="4004" extrusionOk="0">
                  <a:moveTo>
                    <a:pt x="2016" y="0"/>
                  </a:moveTo>
                  <a:cubicBezTo>
                    <a:pt x="1995" y="0"/>
                    <a:pt x="1974" y="1"/>
                    <a:pt x="1953" y="1"/>
                  </a:cubicBezTo>
                  <a:cubicBezTo>
                    <a:pt x="893" y="25"/>
                    <a:pt x="48" y="894"/>
                    <a:pt x="12" y="1930"/>
                  </a:cubicBezTo>
                  <a:cubicBezTo>
                    <a:pt x="0" y="2454"/>
                    <a:pt x="179" y="2942"/>
                    <a:pt x="512" y="3299"/>
                  </a:cubicBezTo>
                  <a:cubicBezTo>
                    <a:pt x="542" y="3329"/>
                    <a:pt x="578" y="3344"/>
                    <a:pt x="613" y="3344"/>
                  </a:cubicBezTo>
                  <a:cubicBezTo>
                    <a:pt x="649" y="3344"/>
                    <a:pt x="685" y="3329"/>
                    <a:pt x="715" y="3299"/>
                  </a:cubicBezTo>
                  <a:cubicBezTo>
                    <a:pt x="762" y="3252"/>
                    <a:pt x="774" y="3169"/>
                    <a:pt x="715" y="3109"/>
                  </a:cubicBezTo>
                  <a:cubicBezTo>
                    <a:pt x="429" y="2776"/>
                    <a:pt x="286" y="2359"/>
                    <a:pt x="298" y="1906"/>
                  </a:cubicBezTo>
                  <a:cubicBezTo>
                    <a:pt x="346" y="1025"/>
                    <a:pt x="1060" y="299"/>
                    <a:pt x="1941" y="263"/>
                  </a:cubicBezTo>
                  <a:cubicBezTo>
                    <a:pt x="1969" y="262"/>
                    <a:pt x="1996" y="261"/>
                    <a:pt x="2024" y="261"/>
                  </a:cubicBezTo>
                  <a:cubicBezTo>
                    <a:pt x="2975" y="261"/>
                    <a:pt x="3762" y="1053"/>
                    <a:pt x="3739" y="2026"/>
                  </a:cubicBezTo>
                  <a:cubicBezTo>
                    <a:pt x="3727" y="2930"/>
                    <a:pt x="2977" y="3692"/>
                    <a:pt x="2072" y="3716"/>
                  </a:cubicBezTo>
                  <a:cubicBezTo>
                    <a:pt x="2050" y="3717"/>
                    <a:pt x="2027" y="3717"/>
                    <a:pt x="2005" y="3717"/>
                  </a:cubicBezTo>
                  <a:cubicBezTo>
                    <a:pt x="1717" y="3717"/>
                    <a:pt x="1423" y="3646"/>
                    <a:pt x="1191" y="3514"/>
                  </a:cubicBezTo>
                  <a:cubicBezTo>
                    <a:pt x="1167" y="3500"/>
                    <a:pt x="1144" y="3493"/>
                    <a:pt x="1121" y="3493"/>
                  </a:cubicBezTo>
                  <a:cubicBezTo>
                    <a:pt x="1086" y="3493"/>
                    <a:pt x="1053" y="3509"/>
                    <a:pt x="1024" y="3538"/>
                  </a:cubicBezTo>
                  <a:cubicBezTo>
                    <a:pt x="965" y="3597"/>
                    <a:pt x="989" y="3716"/>
                    <a:pt x="1060" y="3764"/>
                  </a:cubicBezTo>
                  <a:cubicBezTo>
                    <a:pt x="1339" y="3920"/>
                    <a:pt x="1660" y="4003"/>
                    <a:pt x="1993" y="4003"/>
                  </a:cubicBezTo>
                  <a:cubicBezTo>
                    <a:pt x="2015" y="4003"/>
                    <a:pt x="2038" y="4003"/>
                    <a:pt x="2060" y="4002"/>
                  </a:cubicBezTo>
                  <a:cubicBezTo>
                    <a:pt x="3108" y="3966"/>
                    <a:pt x="3989" y="3121"/>
                    <a:pt x="4025" y="2061"/>
                  </a:cubicBezTo>
                  <a:cubicBezTo>
                    <a:pt x="4060" y="939"/>
                    <a:pt x="3142" y="0"/>
                    <a:pt x="20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8" name="Google Shape;10908;p60"/>
            <p:cNvSpPr/>
            <p:nvPr/>
          </p:nvSpPr>
          <p:spPr>
            <a:xfrm>
              <a:off x="4156778" y="3054678"/>
              <a:ext cx="68238" cy="68270"/>
            </a:xfrm>
            <a:custGeom>
              <a:avLst/>
              <a:gdLst/>
              <a:ahLst/>
              <a:cxnLst/>
              <a:rect l="l" t="t" r="r" b="b"/>
              <a:pathLst>
                <a:path w="2144" h="2145" extrusionOk="0">
                  <a:moveTo>
                    <a:pt x="1072" y="1"/>
                  </a:moveTo>
                  <a:cubicBezTo>
                    <a:pt x="477" y="1"/>
                    <a:pt x="1" y="477"/>
                    <a:pt x="1" y="1073"/>
                  </a:cubicBezTo>
                  <a:cubicBezTo>
                    <a:pt x="1" y="1668"/>
                    <a:pt x="477" y="2144"/>
                    <a:pt x="1072" y="2144"/>
                  </a:cubicBezTo>
                  <a:cubicBezTo>
                    <a:pt x="1668" y="2144"/>
                    <a:pt x="2144" y="1668"/>
                    <a:pt x="2144" y="1073"/>
                  </a:cubicBezTo>
                  <a:cubicBezTo>
                    <a:pt x="2132" y="977"/>
                    <a:pt x="2073" y="918"/>
                    <a:pt x="2001" y="918"/>
                  </a:cubicBezTo>
                  <a:cubicBezTo>
                    <a:pt x="1918" y="918"/>
                    <a:pt x="1858" y="977"/>
                    <a:pt x="1858" y="1049"/>
                  </a:cubicBezTo>
                  <a:cubicBezTo>
                    <a:pt x="1858" y="1489"/>
                    <a:pt x="1501" y="1846"/>
                    <a:pt x="1072" y="1846"/>
                  </a:cubicBezTo>
                  <a:cubicBezTo>
                    <a:pt x="644" y="1846"/>
                    <a:pt x="287" y="1489"/>
                    <a:pt x="287" y="1049"/>
                  </a:cubicBezTo>
                  <a:cubicBezTo>
                    <a:pt x="287" y="620"/>
                    <a:pt x="644" y="263"/>
                    <a:pt x="1072" y="263"/>
                  </a:cubicBezTo>
                  <a:cubicBezTo>
                    <a:pt x="1144" y="263"/>
                    <a:pt x="1203" y="203"/>
                    <a:pt x="1203" y="132"/>
                  </a:cubicBezTo>
                  <a:cubicBezTo>
                    <a:pt x="1203" y="60"/>
                    <a:pt x="1144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9" name="Google Shape;10909;p60"/>
            <p:cNvSpPr/>
            <p:nvPr/>
          </p:nvSpPr>
          <p:spPr>
            <a:xfrm>
              <a:off x="4198090" y="3060375"/>
              <a:ext cx="20879" cy="20879"/>
            </a:xfrm>
            <a:custGeom>
              <a:avLst/>
              <a:gdLst/>
              <a:ahLst/>
              <a:cxnLst/>
              <a:rect l="l" t="t" r="r" b="b"/>
              <a:pathLst>
                <a:path w="656" h="656" extrusionOk="0">
                  <a:moveTo>
                    <a:pt x="322" y="1"/>
                  </a:moveTo>
                  <a:cubicBezTo>
                    <a:pt x="143" y="1"/>
                    <a:pt x="1" y="143"/>
                    <a:pt x="1" y="322"/>
                  </a:cubicBezTo>
                  <a:cubicBezTo>
                    <a:pt x="1" y="501"/>
                    <a:pt x="143" y="655"/>
                    <a:pt x="322" y="655"/>
                  </a:cubicBezTo>
                  <a:cubicBezTo>
                    <a:pt x="501" y="655"/>
                    <a:pt x="655" y="501"/>
                    <a:pt x="655" y="322"/>
                  </a:cubicBezTo>
                  <a:cubicBezTo>
                    <a:pt x="655" y="143"/>
                    <a:pt x="501" y="1"/>
                    <a:pt x="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0" name="Google Shape;10910;p60"/>
          <p:cNvGrpSpPr/>
          <p:nvPr/>
        </p:nvGrpSpPr>
        <p:grpSpPr>
          <a:xfrm>
            <a:off x="4054103" y="2430191"/>
            <a:ext cx="218687" cy="349052"/>
            <a:chOff x="4054103" y="2430191"/>
            <a:chExt cx="218687" cy="349052"/>
          </a:xfrm>
        </p:grpSpPr>
        <p:sp>
          <p:nvSpPr>
            <p:cNvPr id="10911" name="Google Shape;10911;p60"/>
            <p:cNvSpPr/>
            <p:nvPr/>
          </p:nvSpPr>
          <p:spPr>
            <a:xfrm>
              <a:off x="4054103" y="2430191"/>
              <a:ext cx="218687" cy="349052"/>
            </a:xfrm>
            <a:custGeom>
              <a:avLst/>
              <a:gdLst/>
              <a:ahLst/>
              <a:cxnLst/>
              <a:rect l="l" t="t" r="r" b="b"/>
              <a:pathLst>
                <a:path w="6871" h="10967" extrusionOk="0">
                  <a:moveTo>
                    <a:pt x="6513" y="846"/>
                  </a:moveTo>
                  <a:cubicBezTo>
                    <a:pt x="6513" y="846"/>
                    <a:pt x="6537" y="846"/>
                    <a:pt x="6537" y="870"/>
                  </a:cubicBezTo>
                  <a:lnTo>
                    <a:pt x="6537" y="1203"/>
                  </a:lnTo>
                  <a:lnTo>
                    <a:pt x="6513" y="1203"/>
                  </a:lnTo>
                  <a:lnTo>
                    <a:pt x="6001" y="1227"/>
                  </a:lnTo>
                  <a:cubicBezTo>
                    <a:pt x="5906" y="1227"/>
                    <a:pt x="5834" y="1298"/>
                    <a:pt x="5834" y="1382"/>
                  </a:cubicBezTo>
                  <a:cubicBezTo>
                    <a:pt x="5834" y="1477"/>
                    <a:pt x="5906" y="1548"/>
                    <a:pt x="6001" y="1548"/>
                  </a:cubicBezTo>
                  <a:lnTo>
                    <a:pt x="6180" y="1548"/>
                  </a:lnTo>
                  <a:lnTo>
                    <a:pt x="6180" y="7239"/>
                  </a:lnTo>
                  <a:cubicBezTo>
                    <a:pt x="6180" y="7239"/>
                    <a:pt x="6180" y="7251"/>
                    <a:pt x="6156" y="7251"/>
                  </a:cubicBezTo>
                  <a:lnTo>
                    <a:pt x="655" y="7251"/>
                  </a:lnTo>
                  <a:cubicBezTo>
                    <a:pt x="655" y="7251"/>
                    <a:pt x="643" y="7251"/>
                    <a:pt x="643" y="7239"/>
                  </a:cubicBezTo>
                  <a:lnTo>
                    <a:pt x="643" y="1548"/>
                  </a:lnTo>
                  <a:lnTo>
                    <a:pt x="5310" y="1548"/>
                  </a:lnTo>
                  <a:cubicBezTo>
                    <a:pt x="5406" y="1548"/>
                    <a:pt x="5477" y="1477"/>
                    <a:pt x="5477" y="1382"/>
                  </a:cubicBezTo>
                  <a:cubicBezTo>
                    <a:pt x="5477" y="1298"/>
                    <a:pt x="5406" y="1227"/>
                    <a:pt x="5310" y="1227"/>
                  </a:cubicBezTo>
                  <a:lnTo>
                    <a:pt x="322" y="1227"/>
                  </a:lnTo>
                  <a:cubicBezTo>
                    <a:pt x="322" y="1227"/>
                    <a:pt x="310" y="1227"/>
                    <a:pt x="310" y="1203"/>
                  </a:cubicBezTo>
                  <a:lnTo>
                    <a:pt x="310" y="870"/>
                  </a:lnTo>
                  <a:cubicBezTo>
                    <a:pt x="310" y="870"/>
                    <a:pt x="310" y="846"/>
                    <a:pt x="322" y="846"/>
                  </a:cubicBezTo>
                  <a:close/>
                  <a:moveTo>
                    <a:pt x="5179" y="7561"/>
                  </a:moveTo>
                  <a:lnTo>
                    <a:pt x="5656" y="9990"/>
                  </a:lnTo>
                  <a:lnTo>
                    <a:pt x="3572" y="9990"/>
                  </a:lnTo>
                  <a:lnTo>
                    <a:pt x="3572" y="8085"/>
                  </a:lnTo>
                  <a:cubicBezTo>
                    <a:pt x="3572" y="7990"/>
                    <a:pt x="3501" y="7918"/>
                    <a:pt x="3405" y="7918"/>
                  </a:cubicBezTo>
                  <a:cubicBezTo>
                    <a:pt x="3310" y="7918"/>
                    <a:pt x="3239" y="7990"/>
                    <a:pt x="3239" y="8085"/>
                  </a:cubicBezTo>
                  <a:lnTo>
                    <a:pt x="3239" y="9990"/>
                  </a:lnTo>
                  <a:lnTo>
                    <a:pt x="1155" y="9990"/>
                  </a:lnTo>
                  <a:lnTo>
                    <a:pt x="1643" y="7561"/>
                  </a:lnTo>
                  <a:close/>
                  <a:moveTo>
                    <a:pt x="3417" y="0"/>
                  </a:moveTo>
                  <a:cubicBezTo>
                    <a:pt x="3334" y="0"/>
                    <a:pt x="3263" y="72"/>
                    <a:pt x="3263" y="167"/>
                  </a:cubicBezTo>
                  <a:lnTo>
                    <a:pt x="3263" y="524"/>
                  </a:lnTo>
                  <a:lnTo>
                    <a:pt x="322" y="524"/>
                  </a:lnTo>
                  <a:cubicBezTo>
                    <a:pt x="143" y="524"/>
                    <a:pt x="0" y="667"/>
                    <a:pt x="0" y="846"/>
                  </a:cubicBezTo>
                  <a:lnTo>
                    <a:pt x="0" y="1191"/>
                  </a:lnTo>
                  <a:cubicBezTo>
                    <a:pt x="0" y="1370"/>
                    <a:pt x="143" y="1524"/>
                    <a:pt x="322" y="1524"/>
                  </a:cubicBezTo>
                  <a:lnTo>
                    <a:pt x="334" y="1524"/>
                  </a:lnTo>
                  <a:lnTo>
                    <a:pt x="334" y="7204"/>
                  </a:lnTo>
                  <a:cubicBezTo>
                    <a:pt x="334" y="7382"/>
                    <a:pt x="488" y="7525"/>
                    <a:pt x="667" y="7525"/>
                  </a:cubicBezTo>
                  <a:lnTo>
                    <a:pt x="1334" y="7525"/>
                  </a:lnTo>
                  <a:lnTo>
                    <a:pt x="679" y="10776"/>
                  </a:lnTo>
                  <a:cubicBezTo>
                    <a:pt x="667" y="10859"/>
                    <a:pt x="727" y="10954"/>
                    <a:pt x="798" y="10966"/>
                  </a:cubicBezTo>
                  <a:lnTo>
                    <a:pt x="834" y="10966"/>
                  </a:lnTo>
                  <a:cubicBezTo>
                    <a:pt x="905" y="10966"/>
                    <a:pt x="977" y="10907"/>
                    <a:pt x="1000" y="10835"/>
                  </a:cubicBezTo>
                  <a:lnTo>
                    <a:pt x="1119" y="10264"/>
                  </a:lnTo>
                  <a:lnTo>
                    <a:pt x="3274" y="10264"/>
                  </a:lnTo>
                  <a:lnTo>
                    <a:pt x="3274" y="10788"/>
                  </a:lnTo>
                  <a:cubicBezTo>
                    <a:pt x="3274" y="10883"/>
                    <a:pt x="3346" y="10954"/>
                    <a:pt x="3441" y="10954"/>
                  </a:cubicBezTo>
                  <a:cubicBezTo>
                    <a:pt x="3524" y="10954"/>
                    <a:pt x="3596" y="10883"/>
                    <a:pt x="3596" y="10788"/>
                  </a:cubicBezTo>
                  <a:lnTo>
                    <a:pt x="3596" y="10264"/>
                  </a:lnTo>
                  <a:lnTo>
                    <a:pt x="5763" y="10264"/>
                  </a:lnTo>
                  <a:lnTo>
                    <a:pt x="5882" y="10835"/>
                  </a:lnTo>
                  <a:cubicBezTo>
                    <a:pt x="5894" y="10907"/>
                    <a:pt x="5965" y="10966"/>
                    <a:pt x="6037" y="10966"/>
                  </a:cubicBezTo>
                  <a:lnTo>
                    <a:pt x="6072" y="10966"/>
                  </a:lnTo>
                  <a:cubicBezTo>
                    <a:pt x="6156" y="10954"/>
                    <a:pt x="6215" y="10859"/>
                    <a:pt x="6191" y="10776"/>
                  </a:cubicBezTo>
                  <a:lnTo>
                    <a:pt x="5537" y="7525"/>
                  </a:lnTo>
                  <a:lnTo>
                    <a:pt x="6203" y="7525"/>
                  </a:lnTo>
                  <a:cubicBezTo>
                    <a:pt x="6382" y="7525"/>
                    <a:pt x="6537" y="7382"/>
                    <a:pt x="6537" y="7204"/>
                  </a:cubicBezTo>
                  <a:lnTo>
                    <a:pt x="6537" y="1513"/>
                  </a:lnTo>
                  <a:lnTo>
                    <a:pt x="6549" y="1513"/>
                  </a:lnTo>
                  <a:cubicBezTo>
                    <a:pt x="6727" y="1513"/>
                    <a:pt x="6870" y="1370"/>
                    <a:pt x="6870" y="1191"/>
                  </a:cubicBezTo>
                  <a:lnTo>
                    <a:pt x="6870" y="870"/>
                  </a:lnTo>
                  <a:cubicBezTo>
                    <a:pt x="6846" y="667"/>
                    <a:pt x="6692" y="524"/>
                    <a:pt x="6513" y="524"/>
                  </a:cubicBezTo>
                  <a:lnTo>
                    <a:pt x="3584" y="524"/>
                  </a:lnTo>
                  <a:lnTo>
                    <a:pt x="3584" y="167"/>
                  </a:lnTo>
                  <a:cubicBezTo>
                    <a:pt x="3584" y="72"/>
                    <a:pt x="3513" y="0"/>
                    <a:pt x="3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2" name="Google Shape;10912;p60"/>
            <p:cNvSpPr/>
            <p:nvPr/>
          </p:nvSpPr>
          <p:spPr>
            <a:xfrm>
              <a:off x="4091595" y="2517716"/>
              <a:ext cx="142524" cy="103503"/>
            </a:xfrm>
            <a:custGeom>
              <a:avLst/>
              <a:gdLst/>
              <a:ahLst/>
              <a:cxnLst/>
              <a:rect l="l" t="t" r="r" b="b"/>
              <a:pathLst>
                <a:path w="4478" h="3252" extrusionOk="0">
                  <a:moveTo>
                    <a:pt x="3430" y="1"/>
                  </a:moveTo>
                  <a:cubicBezTo>
                    <a:pt x="3347" y="1"/>
                    <a:pt x="3275" y="84"/>
                    <a:pt x="3275" y="168"/>
                  </a:cubicBezTo>
                  <a:cubicBezTo>
                    <a:pt x="3275" y="263"/>
                    <a:pt x="3347" y="334"/>
                    <a:pt x="3430" y="334"/>
                  </a:cubicBezTo>
                  <a:lnTo>
                    <a:pt x="3906" y="334"/>
                  </a:lnTo>
                  <a:lnTo>
                    <a:pt x="2335" y="1906"/>
                  </a:lnTo>
                  <a:lnTo>
                    <a:pt x="2323" y="1906"/>
                  </a:lnTo>
                  <a:lnTo>
                    <a:pt x="1965" y="1549"/>
                  </a:lnTo>
                  <a:cubicBezTo>
                    <a:pt x="1894" y="1483"/>
                    <a:pt x="1808" y="1450"/>
                    <a:pt x="1723" y="1450"/>
                  </a:cubicBezTo>
                  <a:cubicBezTo>
                    <a:pt x="1638" y="1450"/>
                    <a:pt x="1555" y="1483"/>
                    <a:pt x="1489" y="1549"/>
                  </a:cubicBezTo>
                  <a:lnTo>
                    <a:pt x="60" y="2977"/>
                  </a:lnTo>
                  <a:cubicBezTo>
                    <a:pt x="1" y="3037"/>
                    <a:pt x="1" y="3144"/>
                    <a:pt x="60" y="3204"/>
                  </a:cubicBezTo>
                  <a:cubicBezTo>
                    <a:pt x="84" y="3239"/>
                    <a:pt x="132" y="3251"/>
                    <a:pt x="180" y="3251"/>
                  </a:cubicBezTo>
                  <a:cubicBezTo>
                    <a:pt x="215" y="3251"/>
                    <a:pt x="263" y="3239"/>
                    <a:pt x="299" y="3204"/>
                  </a:cubicBezTo>
                  <a:lnTo>
                    <a:pt x="1727" y="1775"/>
                  </a:lnTo>
                  <a:lnTo>
                    <a:pt x="1739" y="1775"/>
                  </a:lnTo>
                  <a:lnTo>
                    <a:pt x="2096" y="2132"/>
                  </a:lnTo>
                  <a:cubicBezTo>
                    <a:pt x="2156" y="2192"/>
                    <a:pt x="2239" y="2239"/>
                    <a:pt x="2335" y="2239"/>
                  </a:cubicBezTo>
                  <a:cubicBezTo>
                    <a:pt x="2418" y="2239"/>
                    <a:pt x="2513" y="2203"/>
                    <a:pt x="2573" y="2132"/>
                  </a:cubicBezTo>
                  <a:lnTo>
                    <a:pt x="4144" y="560"/>
                  </a:lnTo>
                  <a:lnTo>
                    <a:pt x="4144" y="1037"/>
                  </a:lnTo>
                  <a:cubicBezTo>
                    <a:pt x="4144" y="1120"/>
                    <a:pt x="4228" y="1191"/>
                    <a:pt x="4311" y="1191"/>
                  </a:cubicBezTo>
                  <a:cubicBezTo>
                    <a:pt x="4406" y="1191"/>
                    <a:pt x="4478" y="1120"/>
                    <a:pt x="4478" y="1037"/>
                  </a:cubicBezTo>
                  <a:lnTo>
                    <a:pt x="4478" y="168"/>
                  </a:lnTo>
                  <a:cubicBezTo>
                    <a:pt x="4466" y="84"/>
                    <a:pt x="4382" y="1"/>
                    <a:pt x="4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3" name="Google Shape;10913;p60"/>
          <p:cNvGrpSpPr/>
          <p:nvPr/>
        </p:nvGrpSpPr>
        <p:grpSpPr>
          <a:xfrm>
            <a:off x="2185128" y="2427549"/>
            <a:ext cx="382758" cy="356595"/>
            <a:chOff x="2185128" y="2427549"/>
            <a:chExt cx="382758" cy="356595"/>
          </a:xfrm>
        </p:grpSpPr>
        <p:sp>
          <p:nvSpPr>
            <p:cNvPr id="10914" name="Google Shape;10914;p60"/>
            <p:cNvSpPr/>
            <p:nvPr/>
          </p:nvSpPr>
          <p:spPr>
            <a:xfrm>
              <a:off x="2313584" y="2612467"/>
              <a:ext cx="119417" cy="103853"/>
            </a:xfrm>
            <a:custGeom>
              <a:avLst/>
              <a:gdLst/>
              <a:ahLst/>
              <a:cxnLst/>
              <a:rect l="l" t="t" r="r" b="b"/>
              <a:pathLst>
                <a:path w="3752" h="3263" extrusionOk="0">
                  <a:moveTo>
                    <a:pt x="1882" y="0"/>
                  </a:moveTo>
                  <a:cubicBezTo>
                    <a:pt x="1775" y="0"/>
                    <a:pt x="1692" y="96"/>
                    <a:pt x="1692" y="203"/>
                  </a:cubicBezTo>
                  <a:lnTo>
                    <a:pt x="1692" y="2013"/>
                  </a:lnTo>
                  <a:lnTo>
                    <a:pt x="120" y="2917"/>
                  </a:lnTo>
                  <a:cubicBezTo>
                    <a:pt x="37" y="2977"/>
                    <a:pt x="1" y="3084"/>
                    <a:pt x="48" y="3179"/>
                  </a:cubicBezTo>
                  <a:cubicBezTo>
                    <a:pt x="84" y="3239"/>
                    <a:pt x="156" y="3263"/>
                    <a:pt x="215" y="3263"/>
                  </a:cubicBezTo>
                  <a:cubicBezTo>
                    <a:pt x="239" y="3263"/>
                    <a:pt x="275" y="3251"/>
                    <a:pt x="298" y="3239"/>
                  </a:cubicBezTo>
                  <a:lnTo>
                    <a:pt x="1870" y="2322"/>
                  </a:lnTo>
                  <a:lnTo>
                    <a:pt x="3430" y="3239"/>
                  </a:lnTo>
                  <a:cubicBezTo>
                    <a:pt x="3454" y="3251"/>
                    <a:pt x="3489" y="3263"/>
                    <a:pt x="3513" y="3263"/>
                  </a:cubicBezTo>
                  <a:cubicBezTo>
                    <a:pt x="3573" y="3263"/>
                    <a:pt x="3656" y="3239"/>
                    <a:pt x="3680" y="3179"/>
                  </a:cubicBezTo>
                  <a:cubicBezTo>
                    <a:pt x="3751" y="3072"/>
                    <a:pt x="3727" y="2965"/>
                    <a:pt x="3632" y="2906"/>
                  </a:cubicBezTo>
                  <a:lnTo>
                    <a:pt x="2073" y="2001"/>
                  </a:lnTo>
                  <a:lnTo>
                    <a:pt x="2073" y="203"/>
                  </a:lnTo>
                  <a:cubicBezTo>
                    <a:pt x="2073" y="96"/>
                    <a:pt x="1989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5" name="Google Shape;10915;p60"/>
            <p:cNvSpPr/>
            <p:nvPr/>
          </p:nvSpPr>
          <p:spPr>
            <a:xfrm>
              <a:off x="2311706" y="2427549"/>
              <a:ext cx="129633" cy="171327"/>
            </a:xfrm>
            <a:custGeom>
              <a:avLst/>
              <a:gdLst/>
              <a:ahLst/>
              <a:cxnLst/>
              <a:rect l="l" t="t" r="r" b="b"/>
              <a:pathLst>
                <a:path w="4073" h="5383" extrusionOk="0">
                  <a:moveTo>
                    <a:pt x="2084" y="369"/>
                  </a:moveTo>
                  <a:cubicBezTo>
                    <a:pt x="2584" y="369"/>
                    <a:pt x="2977" y="774"/>
                    <a:pt x="2977" y="1262"/>
                  </a:cubicBezTo>
                  <a:lnTo>
                    <a:pt x="2977" y="1381"/>
                  </a:lnTo>
                  <a:lnTo>
                    <a:pt x="2965" y="1381"/>
                  </a:lnTo>
                  <a:cubicBezTo>
                    <a:pt x="2703" y="1322"/>
                    <a:pt x="2620" y="965"/>
                    <a:pt x="2620" y="965"/>
                  </a:cubicBezTo>
                  <a:cubicBezTo>
                    <a:pt x="2608" y="893"/>
                    <a:pt x="2548" y="834"/>
                    <a:pt x="2477" y="810"/>
                  </a:cubicBezTo>
                  <a:cubicBezTo>
                    <a:pt x="2468" y="808"/>
                    <a:pt x="2458" y="807"/>
                    <a:pt x="2449" y="807"/>
                  </a:cubicBezTo>
                  <a:cubicBezTo>
                    <a:pt x="2385" y="807"/>
                    <a:pt x="2317" y="841"/>
                    <a:pt x="2286" y="893"/>
                  </a:cubicBezTo>
                  <a:cubicBezTo>
                    <a:pt x="1941" y="1369"/>
                    <a:pt x="1179" y="1369"/>
                    <a:pt x="1167" y="1369"/>
                  </a:cubicBezTo>
                  <a:cubicBezTo>
                    <a:pt x="1155" y="1369"/>
                    <a:pt x="1119" y="1369"/>
                    <a:pt x="1108" y="1381"/>
                  </a:cubicBezTo>
                  <a:lnTo>
                    <a:pt x="1108" y="1262"/>
                  </a:lnTo>
                  <a:cubicBezTo>
                    <a:pt x="1108" y="774"/>
                    <a:pt x="1512" y="369"/>
                    <a:pt x="2001" y="369"/>
                  </a:cubicBezTo>
                  <a:close/>
                  <a:moveTo>
                    <a:pt x="3132" y="1905"/>
                  </a:moveTo>
                  <a:cubicBezTo>
                    <a:pt x="3155" y="1929"/>
                    <a:pt x="3179" y="1953"/>
                    <a:pt x="3179" y="2000"/>
                  </a:cubicBezTo>
                  <a:cubicBezTo>
                    <a:pt x="3179" y="2048"/>
                    <a:pt x="3144" y="2096"/>
                    <a:pt x="3120" y="2119"/>
                  </a:cubicBezTo>
                  <a:lnTo>
                    <a:pt x="3120" y="1905"/>
                  </a:lnTo>
                  <a:close/>
                  <a:moveTo>
                    <a:pt x="977" y="1881"/>
                  </a:moveTo>
                  <a:lnTo>
                    <a:pt x="977" y="2143"/>
                  </a:lnTo>
                  <a:cubicBezTo>
                    <a:pt x="929" y="2108"/>
                    <a:pt x="893" y="2060"/>
                    <a:pt x="893" y="2000"/>
                  </a:cubicBezTo>
                  <a:cubicBezTo>
                    <a:pt x="893" y="1965"/>
                    <a:pt x="917" y="1929"/>
                    <a:pt x="941" y="1905"/>
                  </a:cubicBezTo>
                  <a:cubicBezTo>
                    <a:pt x="953" y="1905"/>
                    <a:pt x="953" y="1905"/>
                    <a:pt x="977" y="1881"/>
                  </a:cubicBezTo>
                  <a:close/>
                  <a:moveTo>
                    <a:pt x="2358" y="1346"/>
                  </a:moveTo>
                  <a:cubicBezTo>
                    <a:pt x="2429" y="1477"/>
                    <a:pt x="2548" y="1619"/>
                    <a:pt x="2715" y="1691"/>
                  </a:cubicBezTo>
                  <a:lnTo>
                    <a:pt x="2715" y="2227"/>
                  </a:lnTo>
                  <a:cubicBezTo>
                    <a:pt x="2739" y="2572"/>
                    <a:pt x="2465" y="2834"/>
                    <a:pt x="2132" y="2834"/>
                  </a:cubicBezTo>
                  <a:lnTo>
                    <a:pt x="1953" y="2834"/>
                  </a:lnTo>
                  <a:cubicBezTo>
                    <a:pt x="1631" y="2834"/>
                    <a:pt x="1346" y="2572"/>
                    <a:pt x="1346" y="2227"/>
                  </a:cubicBezTo>
                  <a:lnTo>
                    <a:pt x="1346" y="1738"/>
                  </a:lnTo>
                  <a:cubicBezTo>
                    <a:pt x="1596" y="1703"/>
                    <a:pt x="2024" y="1619"/>
                    <a:pt x="2358" y="1346"/>
                  </a:cubicBezTo>
                  <a:close/>
                  <a:moveTo>
                    <a:pt x="2262" y="3215"/>
                  </a:moveTo>
                  <a:lnTo>
                    <a:pt x="2262" y="3310"/>
                  </a:lnTo>
                  <a:lnTo>
                    <a:pt x="2251" y="3310"/>
                  </a:lnTo>
                  <a:lnTo>
                    <a:pt x="2048" y="3536"/>
                  </a:lnTo>
                  <a:lnTo>
                    <a:pt x="1846" y="3346"/>
                  </a:lnTo>
                  <a:lnTo>
                    <a:pt x="1846" y="3215"/>
                  </a:lnTo>
                  <a:close/>
                  <a:moveTo>
                    <a:pt x="2001" y="0"/>
                  </a:moveTo>
                  <a:cubicBezTo>
                    <a:pt x="1298" y="0"/>
                    <a:pt x="727" y="560"/>
                    <a:pt x="727" y="1262"/>
                  </a:cubicBezTo>
                  <a:lnTo>
                    <a:pt x="727" y="1584"/>
                  </a:lnTo>
                  <a:cubicBezTo>
                    <a:pt x="608" y="1691"/>
                    <a:pt x="536" y="1846"/>
                    <a:pt x="536" y="2000"/>
                  </a:cubicBezTo>
                  <a:cubicBezTo>
                    <a:pt x="536" y="2286"/>
                    <a:pt x="762" y="2524"/>
                    <a:pt x="1024" y="2536"/>
                  </a:cubicBezTo>
                  <a:cubicBezTo>
                    <a:pt x="1108" y="2762"/>
                    <a:pt x="1262" y="2953"/>
                    <a:pt x="1465" y="3072"/>
                  </a:cubicBezTo>
                  <a:lnTo>
                    <a:pt x="1465" y="3179"/>
                  </a:lnTo>
                  <a:lnTo>
                    <a:pt x="691" y="3477"/>
                  </a:lnTo>
                  <a:cubicBezTo>
                    <a:pt x="608" y="3512"/>
                    <a:pt x="0" y="3751"/>
                    <a:pt x="0" y="4525"/>
                  </a:cubicBezTo>
                  <a:lnTo>
                    <a:pt x="0" y="5191"/>
                  </a:lnTo>
                  <a:cubicBezTo>
                    <a:pt x="0" y="5298"/>
                    <a:pt x="96" y="5382"/>
                    <a:pt x="191" y="5382"/>
                  </a:cubicBezTo>
                  <a:lnTo>
                    <a:pt x="667" y="5382"/>
                  </a:lnTo>
                  <a:cubicBezTo>
                    <a:pt x="774" y="5382"/>
                    <a:pt x="869" y="5298"/>
                    <a:pt x="869" y="5191"/>
                  </a:cubicBezTo>
                  <a:cubicBezTo>
                    <a:pt x="869" y="5084"/>
                    <a:pt x="774" y="5001"/>
                    <a:pt x="667" y="5001"/>
                  </a:cubicBezTo>
                  <a:lnTo>
                    <a:pt x="369" y="5001"/>
                  </a:lnTo>
                  <a:lnTo>
                    <a:pt x="369" y="4501"/>
                  </a:lnTo>
                  <a:cubicBezTo>
                    <a:pt x="369" y="3989"/>
                    <a:pt x="786" y="3834"/>
                    <a:pt x="810" y="3822"/>
                  </a:cubicBezTo>
                  <a:lnTo>
                    <a:pt x="822" y="3822"/>
                  </a:lnTo>
                  <a:lnTo>
                    <a:pt x="1536" y="3536"/>
                  </a:lnTo>
                  <a:lnTo>
                    <a:pt x="1905" y="3905"/>
                  </a:lnTo>
                  <a:cubicBezTo>
                    <a:pt x="1941" y="3941"/>
                    <a:pt x="2001" y="3965"/>
                    <a:pt x="2036" y="3965"/>
                  </a:cubicBezTo>
                  <a:cubicBezTo>
                    <a:pt x="2084" y="3965"/>
                    <a:pt x="2143" y="3953"/>
                    <a:pt x="2179" y="3905"/>
                  </a:cubicBezTo>
                  <a:lnTo>
                    <a:pt x="2536" y="3536"/>
                  </a:lnTo>
                  <a:lnTo>
                    <a:pt x="3251" y="3822"/>
                  </a:lnTo>
                  <a:lnTo>
                    <a:pt x="3263" y="3822"/>
                  </a:lnTo>
                  <a:cubicBezTo>
                    <a:pt x="3275" y="3822"/>
                    <a:pt x="3691" y="3989"/>
                    <a:pt x="3691" y="4501"/>
                  </a:cubicBezTo>
                  <a:lnTo>
                    <a:pt x="3691" y="5001"/>
                  </a:lnTo>
                  <a:lnTo>
                    <a:pt x="1310" y="5001"/>
                  </a:lnTo>
                  <a:cubicBezTo>
                    <a:pt x="1203" y="5001"/>
                    <a:pt x="1119" y="5084"/>
                    <a:pt x="1119" y="5191"/>
                  </a:cubicBezTo>
                  <a:cubicBezTo>
                    <a:pt x="1119" y="5298"/>
                    <a:pt x="1203" y="5382"/>
                    <a:pt x="1310" y="5382"/>
                  </a:cubicBezTo>
                  <a:lnTo>
                    <a:pt x="3882" y="5382"/>
                  </a:lnTo>
                  <a:cubicBezTo>
                    <a:pt x="3888" y="5383"/>
                    <a:pt x="3894" y="5383"/>
                    <a:pt x="3900" y="5383"/>
                  </a:cubicBezTo>
                  <a:cubicBezTo>
                    <a:pt x="3989" y="5383"/>
                    <a:pt x="4072" y="5303"/>
                    <a:pt x="4072" y="5203"/>
                  </a:cubicBezTo>
                  <a:lnTo>
                    <a:pt x="4072" y="4536"/>
                  </a:lnTo>
                  <a:cubicBezTo>
                    <a:pt x="4072" y="3763"/>
                    <a:pt x="3477" y="3524"/>
                    <a:pt x="3382" y="3489"/>
                  </a:cubicBezTo>
                  <a:lnTo>
                    <a:pt x="2620" y="3191"/>
                  </a:lnTo>
                  <a:lnTo>
                    <a:pt x="2620" y="3096"/>
                  </a:lnTo>
                  <a:cubicBezTo>
                    <a:pt x="2834" y="2977"/>
                    <a:pt x="2977" y="2774"/>
                    <a:pt x="3048" y="2536"/>
                  </a:cubicBezTo>
                  <a:cubicBezTo>
                    <a:pt x="3322" y="2524"/>
                    <a:pt x="3548" y="2286"/>
                    <a:pt x="3548" y="2000"/>
                  </a:cubicBezTo>
                  <a:cubicBezTo>
                    <a:pt x="3548" y="1846"/>
                    <a:pt x="3465" y="1691"/>
                    <a:pt x="3346" y="1584"/>
                  </a:cubicBezTo>
                  <a:lnTo>
                    <a:pt x="3346" y="1262"/>
                  </a:lnTo>
                  <a:cubicBezTo>
                    <a:pt x="3346" y="560"/>
                    <a:pt x="2786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6" name="Google Shape;10916;p60"/>
            <p:cNvSpPr/>
            <p:nvPr/>
          </p:nvSpPr>
          <p:spPr>
            <a:xfrm>
              <a:off x="2438252" y="2611703"/>
              <a:ext cx="129633" cy="172441"/>
            </a:xfrm>
            <a:custGeom>
              <a:avLst/>
              <a:gdLst/>
              <a:ahLst/>
              <a:cxnLst/>
              <a:rect l="l" t="t" r="r" b="b"/>
              <a:pathLst>
                <a:path w="4073" h="5418" extrusionOk="0">
                  <a:moveTo>
                    <a:pt x="2085" y="370"/>
                  </a:moveTo>
                  <a:cubicBezTo>
                    <a:pt x="2573" y="370"/>
                    <a:pt x="2978" y="774"/>
                    <a:pt x="2978" y="1263"/>
                  </a:cubicBezTo>
                  <a:lnTo>
                    <a:pt x="2978" y="1382"/>
                  </a:lnTo>
                  <a:lnTo>
                    <a:pt x="2966" y="1382"/>
                  </a:lnTo>
                  <a:cubicBezTo>
                    <a:pt x="2692" y="1322"/>
                    <a:pt x="2620" y="965"/>
                    <a:pt x="2620" y="965"/>
                  </a:cubicBezTo>
                  <a:cubicBezTo>
                    <a:pt x="2608" y="894"/>
                    <a:pt x="2549" y="834"/>
                    <a:pt x="2466" y="822"/>
                  </a:cubicBezTo>
                  <a:cubicBezTo>
                    <a:pt x="2450" y="817"/>
                    <a:pt x="2435" y="815"/>
                    <a:pt x="2420" y="815"/>
                  </a:cubicBezTo>
                  <a:cubicBezTo>
                    <a:pt x="2365" y="815"/>
                    <a:pt x="2313" y="847"/>
                    <a:pt x="2275" y="894"/>
                  </a:cubicBezTo>
                  <a:cubicBezTo>
                    <a:pt x="1942" y="1370"/>
                    <a:pt x="1180" y="1382"/>
                    <a:pt x="1168" y="1382"/>
                  </a:cubicBezTo>
                  <a:lnTo>
                    <a:pt x="1096" y="1382"/>
                  </a:lnTo>
                  <a:lnTo>
                    <a:pt x="1096" y="1263"/>
                  </a:lnTo>
                  <a:cubicBezTo>
                    <a:pt x="1096" y="774"/>
                    <a:pt x="1501" y="370"/>
                    <a:pt x="1989" y="370"/>
                  </a:cubicBezTo>
                  <a:close/>
                  <a:moveTo>
                    <a:pt x="3132" y="1906"/>
                  </a:moveTo>
                  <a:cubicBezTo>
                    <a:pt x="3156" y="1929"/>
                    <a:pt x="3168" y="1965"/>
                    <a:pt x="3168" y="2013"/>
                  </a:cubicBezTo>
                  <a:cubicBezTo>
                    <a:pt x="3168" y="2048"/>
                    <a:pt x="3144" y="2096"/>
                    <a:pt x="3109" y="2132"/>
                  </a:cubicBezTo>
                  <a:lnTo>
                    <a:pt x="3109" y="1906"/>
                  </a:lnTo>
                  <a:close/>
                  <a:moveTo>
                    <a:pt x="965" y="1894"/>
                  </a:moveTo>
                  <a:lnTo>
                    <a:pt x="965" y="2144"/>
                  </a:lnTo>
                  <a:cubicBezTo>
                    <a:pt x="930" y="2108"/>
                    <a:pt x="894" y="2072"/>
                    <a:pt x="894" y="2013"/>
                  </a:cubicBezTo>
                  <a:cubicBezTo>
                    <a:pt x="894" y="1965"/>
                    <a:pt x="906" y="1929"/>
                    <a:pt x="942" y="1906"/>
                  </a:cubicBezTo>
                  <a:cubicBezTo>
                    <a:pt x="953" y="1906"/>
                    <a:pt x="953" y="1906"/>
                    <a:pt x="965" y="1894"/>
                  </a:cubicBezTo>
                  <a:close/>
                  <a:moveTo>
                    <a:pt x="2347" y="1358"/>
                  </a:moveTo>
                  <a:cubicBezTo>
                    <a:pt x="2430" y="1489"/>
                    <a:pt x="2549" y="1620"/>
                    <a:pt x="2704" y="1691"/>
                  </a:cubicBezTo>
                  <a:lnTo>
                    <a:pt x="2704" y="2227"/>
                  </a:lnTo>
                  <a:cubicBezTo>
                    <a:pt x="2739" y="2572"/>
                    <a:pt x="2454" y="2846"/>
                    <a:pt x="2132" y="2846"/>
                  </a:cubicBezTo>
                  <a:lnTo>
                    <a:pt x="1954" y="2846"/>
                  </a:lnTo>
                  <a:cubicBezTo>
                    <a:pt x="1620" y="2846"/>
                    <a:pt x="1334" y="2572"/>
                    <a:pt x="1334" y="2227"/>
                  </a:cubicBezTo>
                  <a:lnTo>
                    <a:pt x="1334" y="1739"/>
                  </a:lnTo>
                  <a:cubicBezTo>
                    <a:pt x="1596" y="1715"/>
                    <a:pt x="2025" y="1620"/>
                    <a:pt x="2347" y="1358"/>
                  </a:cubicBezTo>
                  <a:close/>
                  <a:moveTo>
                    <a:pt x="2263" y="3215"/>
                  </a:moveTo>
                  <a:lnTo>
                    <a:pt x="2251" y="3322"/>
                  </a:lnTo>
                  <a:lnTo>
                    <a:pt x="2037" y="3537"/>
                  </a:lnTo>
                  <a:lnTo>
                    <a:pt x="1846" y="3346"/>
                  </a:lnTo>
                  <a:lnTo>
                    <a:pt x="1846" y="3215"/>
                  </a:lnTo>
                  <a:close/>
                  <a:moveTo>
                    <a:pt x="1989" y="1"/>
                  </a:moveTo>
                  <a:cubicBezTo>
                    <a:pt x="1299" y="1"/>
                    <a:pt x="727" y="560"/>
                    <a:pt x="727" y="1263"/>
                  </a:cubicBezTo>
                  <a:lnTo>
                    <a:pt x="727" y="1596"/>
                  </a:lnTo>
                  <a:cubicBezTo>
                    <a:pt x="608" y="1691"/>
                    <a:pt x="537" y="1846"/>
                    <a:pt x="537" y="2013"/>
                  </a:cubicBezTo>
                  <a:cubicBezTo>
                    <a:pt x="537" y="2287"/>
                    <a:pt x="763" y="2525"/>
                    <a:pt x="1025" y="2549"/>
                  </a:cubicBezTo>
                  <a:cubicBezTo>
                    <a:pt x="1096" y="2763"/>
                    <a:pt x="1263" y="2965"/>
                    <a:pt x="1454" y="3084"/>
                  </a:cubicBezTo>
                  <a:lnTo>
                    <a:pt x="1454" y="3180"/>
                  </a:lnTo>
                  <a:lnTo>
                    <a:pt x="680" y="3477"/>
                  </a:lnTo>
                  <a:cubicBezTo>
                    <a:pt x="608" y="3513"/>
                    <a:pt x="1" y="3751"/>
                    <a:pt x="1" y="4525"/>
                  </a:cubicBezTo>
                  <a:lnTo>
                    <a:pt x="1" y="5192"/>
                  </a:lnTo>
                  <a:cubicBezTo>
                    <a:pt x="1" y="5299"/>
                    <a:pt x="84" y="5382"/>
                    <a:pt x="191" y="5382"/>
                  </a:cubicBezTo>
                  <a:lnTo>
                    <a:pt x="668" y="5382"/>
                  </a:lnTo>
                  <a:cubicBezTo>
                    <a:pt x="775" y="5382"/>
                    <a:pt x="858" y="5299"/>
                    <a:pt x="858" y="5192"/>
                  </a:cubicBezTo>
                  <a:cubicBezTo>
                    <a:pt x="858" y="5085"/>
                    <a:pt x="775" y="5001"/>
                    <a:pt x="668" y="5001"/>
                  </a:cubicBezTo>
                  <a:lnTo>
                    <a:pt x="370" y="5001"/>
                  </a:lnTo>
                  <a:lnTo>
                    <a:pt x="370" y="4537"/>
                  </a:lnTo>
                  <a:cubicBezTo>
                    <a:pt x="370" y="4013"/>
                    <a:pt x="787" y="3870"/>
                    <a:pt x="799" y="3858"/>
                  </a:cubicBezTo>
                  <a:lnTo>
                    <a:pt x="823" y="3858"/>
                  </a:lnTo>
                  <a:lnTo>
                    <a:pt x="1537" y="3572"/>
                  </a:lnTo>
                  <a:lnTo>
                    <a:pt x="1906" y="3942"/>
                  </a:lnTo>
                  <a:cubicBezTo>
                    <a:pt x="1930" y="3977"/>
                    <a:pt x="1989" y="4001"/>
                    <a:pt x="2037" y="4001"/>
                  </a:cubicBezTo>
                  <a:cubicBezTo>
                    <a:pt x="2085" y="4001"/>
                    <a:pt x="2144" y="3989"/>
                    <a:pt x="2168" y="3942"/>
                  </a:cubicBezTo>
                  <a:lnTo>
                    <a:pt x="2525" y="3572"/>
                  </a:lnTo>
                  <a:lnTo>
                    <a:pt x="3239" y="3858"/>
                  </a:lnTo>
                  <a:lnTo>
                    <a:pt x="3263" y="3858"/>
                  </a:lnTo>
                  <a:cubicBezTo>
                    <a:pt x="3275" y="3858"/>
                    <a:pt x="3692" y="4013"/>
                    <a:pt x="3692" y="4537"/>
                  </a:cubicBezTo>
                  <a:lnTo>
                    <a:pt x="3692" y="5025"/>
                  </a:lnTo>
                  <a:lnTo>
                    <a:pt x="1311" y="5025"/>
                  </a:lnTo>
                  <a:cubicBezTo>
                    <a:pt x="1204" y="5025"/>
                    <a:pt x="1120" y="5120"/>
                    <a:pt x="1120" y="5215"/>
                  </a:cubicBezTo>
                  <a:cubicBezTo>
                    <a:pt x="1120" y="5323"/>
                    <a:pt x="1204" y="5418"/>
                    <a:pt x="1311" y="5418"/>
                  </a:cubicBezTo>
                  <a:lnTo>
                    <a:pt x="3882" y="5418"/>
                  </a:lnTo>
                  <a:cubicBezTo>
                    <a:pt x="3990" y="5418"/>
                    <a:pt x="4073" y="5323"/>
                    <a:pt x="4073" y="5215"/>
                  </a:cubicBezTo>
                  <a:lnTo>
                    <a:pt x="4073" y="4537"/>
                  </a:lnTo>
                  <a:cubicBezTo>
                    <a:pt x="4061" y="3763"/>
                    <a:pt x="3454" y="3525"/>
                    <a:pt x="3382" y="3501"/>
                  </a:cubicBezTo>
                  <a:lnTo>
                    <a:pt x="2620" y="3203"/>
                  </a:lnTo>
                  <a:lnTo>
                    <a:pt x="2620" y="3096"/>
                  </a:lnTo>
                  <a:cubicBezTo>
                    <a:pt x="2823" y="2977"/>
                    <a:pt x="2978" y="2787"/>
                    <a:pt x="3049" y="2560"/>
                  </a:cubicBezTo>
                  <a:cubicBezTo>
                    <a:pt x="3323" y="2549"/>
                    <a:pt x="3537" y="2310"/>
                    <a:pt x="3537" y="2025"/>
                  </a:cubicBezTo>
                  <a:cubicBezTo>
                    <a:pt x="3537" y="1858"/>
                    <a:pt x="3466" y="1703"/>
                    <a:pt x="3347" y="1608"/>
                  </a:cubicBezTo>
                  <a:lnTo>
                    <a:pt x="3347" y="1263"/>
                  </a:lnTo>
                  <a:cubicBezTo>
                    <a:pt x="3347" y="560"/>
                    <a:pt x="2787" y="1"/>
                    <a:pt x="2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7" name="Google Shape;10917;p60"/>
            <p:cNvSpPr/>
            <p:nvPr/>
          </p:nvSpPr>
          <p:spPr>
            <a:xfrm>
              <a:off x="2185128" y="2611703"/>
              <a:ext cx="130015" cy="172441"/>
            </a:xfrm>
            <a:custGeom>
              <a:avLst/>
              <a:gdLst/>
              <a:ahLst/>
              <a:cxnLst/>
              <a:rect l="l" t="t" r="r" b="b"/>
              <a:pathLst>
                <a:path w="4085" h="5418" extrusionOk="0">
                  <a:moveTo>
                    <a:pt x="2084" y="370"/>
                  </a:moveTo>
                  <a:cubicBezTo>
                    <a:pt x="2584" y="370"/>
                    <a:pt x="2977" y="774"/>
                    <a:pt x="2977" y="1263"/>
                  </a:cubicBezTo>
                  <a:lnTo>
                    <a:pt x="2977" y="1382"/>
                  </a:lnTo>
                  <a:lnTo>
                    <a:pt x="2965" y="1382"/>
                  </a:lnTo>
                  <a:cubicBezTo>
                    <a:pt x="2703" y="1322"/>
                    <a:pt x="2620" y="965"/>
                    <a:pt x="2620" y="965"/>
                  </a:cubicBezTo>
                  <a:cubicBezTo>
                    <a:pt x="2608" y="894"/>
                    <a:pt x="2549" y="834"/>
                    <a:pt x="2477" y="822"/>
                  </a:cubicBezTo>
                  <a:cubicBezTo>
                    <a:pt x="2462" y="817"/>
                    <a:pt x="2446" y="815"/>
                    <a:pt x="2430" y="815"/>
                  </a:cubicBezTo>
                  <a:cubicBezTo>
                    <a:pt x="2372" y="815"/>
                    <a:pt x="2315" y="847"/>
                    <a:pt x="2287" y="894"/>
                  </a:cubicBezTo>
                  <a:cubicBezTo>
                    <a:pt x="1941" y="1370"/>
                    <a:pt x="1179" y="1382"/>
                    <a:pt x="1167" y="1382"/>
                  </a:cubicBezTo>
                  <a:lnTo>
                    <a:pt x="1108" y="1382"/>
                  </a:lnTo>
                  <a:lnTo>
                    <a:pt x="1108" y="1263"/>
                  </a:lnTo>
                  <a:cubicBezTo>
                    <a:pt x="1108" y="774"/>
                    <a:pt x="1513" y="370"/>
                    <a:pt x="2001" y="370"/>
                  </a:cubicBezTo>
                  <a:close/>
                  <a:moveTo>
                    <a:pt x="3132" y="1906"/>
                  </a:moveTo>
                  <a:cubicBezTo>
                    <a:pt x="3168" y="1929"/>
                    <a:pt x="3180" y="1965"/>
                    <a:pt x="3180" y="2013"/>
                  </a:cubicBezTo>
                  <a:cubicBezTo>
                    <a:pt x="3180" y="2048"/>
                    <a:pt x="3144" y="2096"/>
                    <a:pt x="3120" y="2132"/>
                  </a:cubicBezTo>
                  <a:lnTo>
                    <a:pt x="3120" y="1906"/>
                  </a:lnTo>
                  <a:close/>
                  <a:moveTo>
                    <a:pt x="977" y="1894"/>
                  </a:moveTo>
                  <a:lnTo>
                    <a:pt x="977" y="2144"/>
                  </a:lnTo>
                  <a:cubicBezTo>
                    <a:pt x="929" y="2108"/>
                    <a:pt x="905" y="2072"/>
                    <a:pt x="905" y="2013"/>
                  </a:cubicBezTo>
                  <a:cubicBezTo>
                    <a:pt x="905" y="1965"/>
                    <a:pt x="917" y="1929"/>
                    <a:pt x="941" y="1906"/>
                  </a:cubicBezTo>
                  <a:cubicBezTo>
                    <a:pt x="965" y="1906"/>
                    <a:pt x="965" y="1906"/>
                    <a:pt x="977" y="1894"/>
                  </a:cubicBezTo>
                  <a:close/>
                  <a:moveTo>
                    <a:pt x="2358" y="1358"/>
                  </a:moveTo>
                  <a:cubicBezTo>
                    <a:pt x="2429" y="1489"/>
                    <a:pt x="2549" y="1620"/>
                    <a:pt x="2715" y="1691"/>
                  </a:cubicBezTo>
                  <a:lnTo>
                    <a:pt x="2715" y="2227"/>
                  </a:lnTo>
                  <a:cubicBezTo>
                    <a:pt x="2727" y="2572"/>
                    <a:pt x="2465" y="2846"/>
                    <a:pt x="2132" y="2846"/>
                  </a:cubicBezTo>
                  <a:lnTo>
                    <a:pt x="1953" y="2846"/>
                  </a:lnTo>
                  <a:cubicBezTo>
                    <a:pt x="1632" y="2846"/>
                    <a:pt x="1346" y="2572"/>
                    <a:pt x="1346" y="2227"/>
                  </a:cubicBezTo>
                  <a:lnTo>
                    <a:pt x="1346" y="1739"/>
                  </a:lnTo>
                  <a:cubicBezTo>
                    <a:pt x="1596" y="1715"/>
                    <a:pt x="2037" y="1620"/>
                    <a:pt x="2358" y="1358"/>
                  </a:cubicBezTo>
                  <a:close/>
                  <a:moveTo>
                    <a:pt x="2275" y="3215"/>
                  </a:moveTo>
                  <a:lnTo>
                    <a:pt x="2251" y="3322"/>
                  </a:lnTo>
                  <a:lnTo>
                    <a:pt x="2048" y="3537"/>
                  </a:lnTo>
                  <a:lnTo>
                    <a:pt x="1858" y="3346"/>
                  </a:lnTo>
                  <a:lnTo>
                    <a:pt x="1858" y="3215"/>
                  </a:lnTo>
                  <a:close/>
                  <a:moveTo>
                    <a:pt x="2001" y="1"/>
                  </a:moveTo>
                  <a:cubicBezTo>
                    <a:pt x="1298" y="1"/>
                    <a:pt x="739" y="560"/>
                    <a:pt x="739" y="1263"/>
                  </a:cubicBezTo>
                  <a:lnTo>
                    <a:pt x="739" y="1596"/>
                  </a:lnTo>
                  <a:cubicBezTo>
                    <a:pt x="620" y="1691"/>
                    <a:pt x="536" y="1846"/>
                    <a:pt x="536" y="2013"/>
                  </a:cubicBezTo>
                  <a:cubicBezTo>
                    <a:pt x="536" y="2287"/>
                    <a:pt x="763" y="2525"/>
                    <a:pt x="1036" y="2549"/>
                  </a:cubicBezTo>
                  <a:cubicBezTo>
                    <a:pt x="1108" y="2763"/>
                    <a:pt x="1275" y="2965"/>
                    <a:pt x="1465" y="3084"/>
                  </a:cubicBezTo>
                  <a:lnTo>
                    <a:pt x="1465" y="3180"/>
                  </a:lnTo>
                  <a:lnTo>
                    <a:pt x="691" y="3477"/>
                  </a:lnTo>
                  <a:cubicBezTo>
                    <a:pt x="620" y="3513"/>
                    <a:pt x="1" y="3751"/>
                    <a:pt x="1" y="4525"/>
                  </a:cubicBezTo>
                  <a:lnTo>
                    <a:pt x="1" y="5192"/>
                  </a:lnTo>
                  <a:cubicBezTo>
                    <a:pt x="1" y="5299"/>
                    <a:pt x="96" y="5382"/>
                    <a:pt x="203" y="5382"/>
                  </a:cubicBezTo>
                  <a:lnTo>
                    <a:pt x="679" y="5382"/>
                  </a:lnTo>
                  <a:cubicBezTo>
                    <a:pt x="775" y="5382"/>
                    <a:pt x="870" y="5299"/>
                    <a:pt x="870" y="5192"/>
                  </a:cubicBezTo>
                  <a:cubicBezTo>
                    <a:pt x="870" y="5085"/>
                    <a:pt x="775" y="5001"/>
                    <a:pt x="679" y="5001"/>
                  </a:cubicBezTo>
                  <a:lnTo>
                    <a:pt x="382" y="5001"/>
                  </a:lnTo>
                  <a:lnTo>
                    <a:pt x="382" y="4537"/>
                  </a:lnTo>
                  <a:cubicBezTo>
                    <a:pt x="382" y="4013"/>
                    <a:pt x="798" y="3870"/>
                    <a:pt x="810" y="3858"/>
                  </a:cubicBezTo>
                  <a:lnTo>
                    <a:pt x="822" y="3858"/>
                  </a:lnTo>
                  <a:lnTo>
                    <a:pt x="1537" y="3572"/>
                  </a:lnTo>
                  <a:lnTo>
                    <a:pt x="1906" y="3942"/>
                  </a:lnTo>
                  <a:cubicBezTo>
                    <a:pt x="1941" y="3977"/>
                    <a:pt x="2001" y="4001"/>
                    <a:pt x="2048" y="4001"/>
                  </a:cubicBezTo>
                  <a:cubicBezTo>
                    <a:pt x="2084" y="4001"/>
                    <a:pt x="2144" y="3989"/>
                    <a:pt x="2179" y="3942"/>
                  </a:cubicBezTo>
                  <a:lnTo>
                    <a:pt x="2537" y="3572"/>
                  </a:lnTo>
                  <a:lnTo>
                    <a:pt x="3251" y="3858"/>
                  </a:lnTo>
                  <a:lnTo>
                    <a:pt x="3263" y="3858"/>
                  </a:lnTo>
                  <a:cubicBezTo>
                    <a:pt x="3275" y="3858"/>
                    <a:pt x="3692" y="4013"/>
                    <a:pt x="3692" y="4537"/>
                  </a:cubicBezTo>
                  <a:lnTo>
                    <a:pt x="3692" y="5025"/>
                  </a:lnTo>
                  <a:lnTo>
                    <a:pt x="1310" y="5025"/>
                  </a:lnTo>
                  <a:cubicBezTo>
                    <a:pt x="1215" y="5025"/>
                    <a:pt x="1120" y="5120"/>
                    <a:pt x="1120" y="5215"/>
                  </a:cubicBezTo>
                  <a:cubicBezTo>
                    <a:pt x="1120" y="5323"/>
                    <a:pt x="1215" y="5418"/>
                    <a:pt x="1310" y="5418"/>
                  </a:cubicBezTo>
                  <a:lnTo>
                    <a:pt x="3894" y="5418"/>
                  </a:lnTo>
                  <a:cubicBezTo>
                    <a:pt x="3989" y="5418"/>
                    <a:pt x="4084" y="5323"/>
                    <a:pt x="4084" y="5215"/>
                  </a:cubicBezTo>
                  <a:lnTo>
                    <a:pt x="4084" y="4537"/>
                  </a:lnTo>
                  <a:cubicBezTo>
                    <a:pt x="4061" y="3763"/>
                    <a:pt x="3465" y="3525"/>
                    <a:pt x="3382" y="3501"/>
                  </a:cubicBezTo>
                  <a:lnTo>
                    <a:pt x="2632" y="3203"/>
                  </a:lnTo>
                  <a:lnTo>
                    <a:pt x="2632" y="3096"/>
                  </a:lnTo>
                  <a:cubicBezTo>
                    <a:pt x="2834" y="2977"/>
                    <a:pt x="2977" y="2787"/>
                    <a:pt x="3061" y="2560"/>
                  </a:cubicBezTo>
                  <a:cubicBezTo>
                    <a:pt x="3322" y="2549"/>
                    <a:pt x="3549" y="2310"/>
                    <a:pt x="3549" y="2025"/>
                  </a:cubicBezTo>
                  <a:cubicBezTo>
                    <a:pt x="3549" y="1858"/>
                    <a:pt x="3477" y="1703"/>
                    <a:pt x="3358" y="1608"/>
                  </a:cubicBezTo>
                  <a:lnTo>
                    <a:pt x="3358" y="1263"/>
                  </a:lnTo>
                  <a:cubicBezTo>
                    <a:pt x="3358" y="560"/>
                    <a:pt x="2787" y="1"/>
                    <a:pt x="2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8" name="Google Shape;10918;p60"/>
          <p:cNvGrpSpPr/>
          <p:nvPr/>
        </p:nvGrpSpPr>
        <p:grpSpPr>
          <a:xfrm>
            <a:off x="3539102" y="2427549"/>
            <a:ext cx="355099" cy="355481"/>
            <a:chOff x="3539102" y="2427549"/>
            <a:chExt cx="355099" cy="355481"/>
          </a:xfrm>
        </p:grpSpPr>
        <p:sp>
          <p:nvSpPr>
            <p:cNvPr id="10919" name="Google Shape;10919;p60"/>
            <p:cNvSpPr/>
            <p:nvPr/>
          </p:nvSpPr>
          <p:spPr>
            <a:xfrm>
              <a:off x="3539102" y="2561320"/>
              <a:ext cx="355099" cy="221710"/>
            </a:xfrm>
            <a:custGeom>
              <a:avLst/>
              <a:gdLst/>
              <a:ahLst/>
              <a:cxnLst/>
              <a:rect l="l" t="t" r="r" b="b"/>
              <a:pathLst>
                <a:path w="11157" h="6966" extrusionOk="0">
                  <a:moveTo>
                    <a:pt x="2953" y="3131"/>
                  </a:moveTo>
                  <a:lnTo>
                    <a:pt x="2953" y="6644"/>
                  </a:lnTo>
                  <a:lnTo>
                    <a:pt x="1537" y="6644"/>
                  </a:lnTo>
                  <a:lnTo>
                    <a:pt x="1537" y="3131"/>
                  </a:lnTo>
                  <a:close/>
                  <a:moveTo>
                    <a:pt x="6263" y="2250"/>
                  </a:moveTo>
                  <a:lnTo>
                    <a:pt x="6263" y="6644"/>
                  </a:lnTo>
                  <a:lnTo>
                    <a:pt x="4858" y="6644"/>
                  </a:lnTo>
                  <a:lnTo>
                    <a:pt x="4858" y="2250"/>
                  </a:lnTo>
                  <a:close/>
                  <a:moveTo>
                    <a:pt x="9585" y="333"/>
                  </a:moveTo>
                  <a:lnTo>
                    <a:pt x="9585" y="6644"/>
                  </a:lnTo>
                  <a:lnTo>
                    <a:pt x="8168" y="6644"/>
                  </a:lnTo>
                  <a:lnTo>
                    <a:pt x="8168" y="333"/>
                  </a:lnTo>
                  <a:close/>
                  <a:moveTo>
                    <a:pt x="8025" y="0"/>
                  </a:moveTo>
                  <a:cubicBezTo>
                    <a:pt x="7930" y="0"/>
                    <a:pt x="7859" y="83"/>
                    <a:pt x="7859" y="167"/>
                  </a:cubicBezTo>
                  <a:lnTo>
                    <a:pt x="7859" y="6644"/>
                  </a:lnTo>
                  <a:lnTo>
                    <a:pt x="6609" y="6644"/>
                  </a:lnTo>
                  <a:lnTo>
                    <a:pt x="6609" y="2084"/>
                  </a:lnTo>
                  <a:cubicBezTo>
                    <a:pt x="6609" y="2000"/>
                    <a:pt x="6537" y="1917"/>
                    <a:pt x="6442" y="1917"/>
                  </a:cubicBezTo>
                  <a:lnTo>
                    <a:pt x="4704" y="1917"/>
                  </a:lnTo>
                  <a:cubicBezTo>
                    <a:pt x="4608" y="1917"/>
                    <a:pt x="4537" y="2000"/>
                    <a:pt x="4537" y="2084"/>
                  </a:cubicBezTo>
                  <a:lnTo>
                    <a:pt x="4537" y="6644"/>
                  </a:lnTo>
                  <a:lnTo>
                    <a:pt x="3287" y="6644"/>
                  </a:lnTo>
                  <a:lnTo>
                    <a:pt x="3287" y="2965"/>
                  </a:lnTo>
                  <a:cubicBezTo>
                    <a:pt x="3287" y="2881"/>
                    <a:pt x="3215" y="2798"/>
                    <a:pt x="3120" y="2798"/>
                  </a:cubicBezTo>
                  <a:lnTo>
                    <a:pt x="1382" y="2798"/>
                  </a:lnTo>
                  <a:cubicBezTo>
                    <a:pt x="1298" y="2798"/>
                    <a:pt x="1215" y="2881"/>
                    <a:pt x="1215" y="2965"/>
                  </a:cubicBezTo>
                  <a:lnTo>
                    <a:pt x="1215" y="6644"/>
                  </a:lnTo>
                  <a:lnTo>
                    <a:pt x="167" y="6644"/>
                  </a:lnTo>
                  <a:cubicBezTo>
                    <a:pt x="72" y="6644"/>
                    <a:pt x="1" y="6715"/>
                    <a:pt x="1" y="6810"/>
                  </a:cubicBezTo>
                  <a:cubicBezTo>
                    <a:pt x="1" y="6894"/>
                    <a:pt x="72" y="6965"/>
                    <a:pt x="167" y="6965"/>
                  </a:cubicBezTo>
                  <a:lnTo>
                    <a:pt x="11002" y="6965"/>
                  </a:lnTo>
                  <a:cubicBezTo>
                    <a:pt x="11085" y="6965"/>
                    <a:pt x="11157" y="6894"/>
                    <a:pt x="11157" y="6810"/>
                  </a:cubicBezTo>
                  <a:cubicBezTo>
                    <a:pt x="11145" y="6715"/>
                    <a:pt x="11073" y="6644"/>
                    <a:pt x="10990" y="6644"/>
                  </a:cubicBezTo>
                  <a:lnTo>
                    <a:pt x="9930" y="6644"/>
                  </a:lnTo>
                  <a:lnTo>
                    <a:pt x="9930" y="167"/>
                  </a:lnTo>
                  <a:cubicBezTo>
                    <a:pt x="9930" y="83"/>
                    <a:pt x="9859" y="0"/>
                    <a:pt x="97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0" name="Google Shape;10920;p60"/>
            <p:cNvSpPr/>
            <p:nvPr/>
          </p:nvSpPr>
          <p:spPr>
            <a:xfrm>
              <a:off x="3544417" y="2427549"/>
              <a:ext cx="339568" cy="205415"/>
            </a:xfrm>
            <a:custGeom>
              <a:avLst/>
              <a:gdLst/>
              <a:ahLst/>
              <a:cxnLst/>
              <a:rect l="l" t="t" r="r" b="b"/>
              <a:pathLst>
                <a:path w="10669" h="6454" extrusionOk="0">
                  <a:moveTo>
                    <a:pt x="10157" y="0"/>
                  </a:moveTo>
                  <a:cubicBezTo>
                    <a:pt x="10125" y="0"/>
                    <a:pt x="10093" y="4"/>
                    <a:pt x="10061" y="12"/>
                  </a:cubicBezTo>
                  <a:lnTo>
                    <a:pt x="8656" y="191"/>
                  </a:lnTo>
                  <a:cubicBezTo>
                    <a:pt x="8382" y="214"/>
                    <a:pt x="8180" y="488"/>
                    <a:pt x="8216" y="762"/>
                  </a:cubicBezTo>
                  <a:cubicBezTo>
                    <a:pt x="8238" y="1032"/>
                    <a:pt x="8483" y="1217"/>
                    <a:pt x="8751" y="1217"/>
                  </a:cubicBezTo>
                  <a:cubicBezTo>
                    <a:pt x="8767" y="1217"/>
                    <a:pt x="8783" y="1216"/>
                    <a:pt x="8799" y="1215"/>
                  </a:cubicBezTo>
                  <a:lnTo>
                    <a:pt x="8906" y="1203"/>
                  </a:lnTo>
                  <a:lnTo>
                    <a:pt x="8906" y="1203"/>
                  </a:lnTo>
                  <a:cubicBezTo>
                    <a:pt x="7204" y="3191"/>
                    <a:pt x="5156" y="4215"/>
                    <a:pt x="3715" y="4727"/>
                  </a:cubicBezTo>
                  <a:cubicBezTo>
                    <a:pt x="1917" y="5370"/>
                    <a:pt x="524" y="5429"/>
                    <a:pt x="500" y="5429"/>
                  </a:cubicBezTo>
                  <a:cubicBezTo>
                    <a:pt x="227" y="5441"/>
                    <a:pt x="0" y="5679"/>
                    <a:pt x="12" y="5965"/>
                  </a:cubicBezTo>
                  <a:cubicBezTo>
                    <a:pt x="24" y="6239"/>
                    <a:pt x="250" y="6453"/>
                    <a:pt x="524" y="6453"/>
                  </a:cubicBezTo>
                  <a:lnTo>
                    <a:pt x="536" y="6453"/>
                  </a:lnTo>
                  <a:cubicBezTo>
                    <a:pt x="596" y="6453"/>
                    <a:pt x="2084" y="6394"/>
                    <a:pt x="4037" y="5703"/>
                  </a:cubicBezTo>
                  <a:cubicBezTo>
                    <a:pt x="5132" y="5322"/>
                    <a:pt x="6156" y="4798"/>
                    <a:pt x="7096" y="4167"/>
                  </a:cubicBezTo>
                  <a:cubicBezTo>
                    <a:pt x="7168" y="4120"/>
                    <a:pt x="7192" y="4013"/>
                    <a:pt x="7144" y="3941"/>
                  </a:cubicBezTo>
                  <a:cubicBezTo>
                    <a:pt x="7113" y="3895"/>
                    <a:pt x="7058" y="3869"/>
                    <a:pt x="7003" y="3869"/>
                  </a:cubicBezTo>
                  <a:cubicBezTo>
                    <a:pt x="6973" y="3869"/>
                    <a:pt x="6943" y="3877"/>
                    <a:pt x="6918" y="3893"/>
                  </a:cubicBezTo>
                  <a:cubicBezTo>
                    <a:pt x="5989" y="4513"/>
                    <a:pt x="5001" y="5025"/>
                    <a:pt x="3929" y="5394"/>
                  </a:cubicBezTo>
                  <a:cubicBezTo>
                    <a:pt x="2024" y="6084"/>
                    <a:pt x="596" y="6120"/>
                    <a:pt x="536" y="6120"/>
                  </a:cubicBezTo>
                  <a:cubicBezTo>
                    <a:pt x="429" y="6120"/>
                    <a:pt x="358" y="6049"/>
                    <a:pt x="358" y="5953"/>
                  </a:cubicBezTo>
                  <a:cubicBezTo>
                    <a:pt x="358" y="5846"/>
                    <a:pt x="429" y="5751"/>
                    <a:pt x="536" y="5751"/>
                  </a:cubicBezTo>
                  <a:cubicBezTo>
                    <a:pt x="548" y="5751"/>
                    <a:pt x="1989" y="5691"/>
                    <a:pt x="3834" y="5036"/>
                  </a:cubicBezTo>
                  <a:cubicBezTo>
                    <a:pt x="5406" y="4489"/>
                    <a:pt x="7632" y="3346"/>
                    <a:pt x="9454" y="1084"/>
                  </a:cubicBezTo>
                  <a:cubicBezTo>
                    <a:pt x="9534" y="969"/>
                    <a:pt x="9459" y="809"/>
                    <a:pt x="9315" y="809"/>
                  </a:cubicBezTo>
                  <a:cubicBezTo>
                    <a:pt x="9310" y="809"/>
                    <a:pt x="9304" y="809"/>
                    <a:pt x="9299" y="810"/>
                  </a:cubicBezTo>
                  <a:lnTo>
                    <a:pt x="8775" y="869"/>
                  </a:lnTo>
                  <a:cubicBezTo>
                    <a:pt x="8768" y="870"/>
                    <a:pt x="8761" y="871"/>
                    <a:pt x="8754" y="871"/>
                  </a:cubicBezTo>
                  <a:cubicBezTo>
                    <a:pt x="8676" y="871"/>
                    <a:pt x="8595" y="815"/>
                    <a:pt x="8573" y="738"/>
                  </a:cubicBezTo>
                  <a:cubicBezTo>
                    <a:pt x="8537" y="631"/>
                    <a:pt x="8620" y="512"/>
                    <a:pt x="8740" y="500"/>
                  </a:cubicBezTo>
                  <a:lnTo>
                    <a:pt x="10133" y="322"/>
                  </a:lnTo>
                  <a:cubicBezTo>
                    <a:pt x="10139" y="321"/>
                    <a:pt x="10146" y="320"/>
                    <a:pt x="10153" y="320"/>
                  </a:cubicBezTo>
                  <a:cubicBezTo>
                    <a:pt x="10253" y="320"/>
                    <a:pt x="10347" y="400"/>
                    <a:pt x="10347" y="500"/>
                  </a:cubicBezTo>
                  <a:lnTo>
                    <a:pt x="10347" y="1893"/>
                  </a:lnTo>
                  <a:cubicBezTo>
                    <a:pt x="10347" y="2000"/>
                    <a:pt x="10252" y="2072"/>
                    <a:pt x="10168" y="2072"/>
                  </a:cubicBezTo>
                  <a:cubicBezTo>
                    <a:pt x="10073" y="2072"/>
                    <a:pt x="9990" y="1988"/>
                    <a:pt x="9990" y="1893"/>
                  </a:cubicBezTo>
                  <a:lnTo>
                    <a:pt x="9990" y="1477"/>
                  </a:lnTo>
                  <a:cubicBezTo>
                    <a:pt x="9990" y="1417"/>
                    <a:pt x="9942" y="1346"/>
                    <a:pt x="9883" y="1334"/>
                  </a:cubicBezTo>
                  <a:cubicBezTo>
                    <a:pt x="9866" y="1324"/>
                    <a:pt x="9848" y="1319"/>
                    <a:pt x="9830" y="1319"/>
                  </a:cubicBezTo>
                  <a:cubicBezTo>
                    <a:pt x="9784" y="1319"/>
                    <a:pt x="9738" y="1347"/>
                    <a:pt x="9704" y="1381"/>
                  </a:cubicBezTo>
                  <a:cubicBezTo>
                    <a:pt x="9085" y="2119"/>
                    <a:pt x="8394" y="2810"/>
                    <a:pt x="7632" y="3382"/>
                  </a:cubicBezTo>
                  <a:cubicBezTo>
                    <a:pt x="7561" y="3441"/>
                    <a:pt x="7537" y="3548"/>
                    <a:pt x="7597" y="3608"/>
                  </a:cubicBezTo>
                  <a:cubicBezTo>
                    <a:pt x="7635" y="3646"/>
                    <a:pt x="7692" y="3674"/>
                    <a:pt x="7744" y="3674"/>
                  </a:cubicBezTo>
                  <a:cubicBezTo>
                    <a:pt x="7773" y="3674"/>
                    <a:pt x="7801" y="3665"/>
                    <a:pt x="7823" y="3643"/>
                  </a:cubicBezTo>
                  <a:cubicBezTo>
                    <a:pt x="8489" y="3131"/>
                    <a:pt x="9109" y="2548"/>
                    <a:pt x="9656" y="1917"/>
                  </a:cubicBezTo>
                  <a:cubicBezTo>
                    <a:pt x="9668" y="2179"/>
                    <a:pt x="9894" y="2405"/>
                    <a:pt x="10156" y="2405"/>
                  </a:cubicBezTo>
                  <a:cubicBezTo>
                    <a:pt x="10442" y="2405"/>
                    <a:pt x="10668" y="2179"/>
                    <a:pt x="10668" y="1893"/>
                  </a:cubicBezTo>
                  <a:lnTo>
                    <a:pt x="10668" y="500"/>
                  </a:lnTo>
                  <a:cubicBezTo>
                    <a:pt x="10621" y="369"/>
                    <a:pt x="10561" y="238"/>
                    <a:pt x="10466" y="131"/>
                  </a:cubicBezTo>
                  <a:cubicBezTo>
                    <a:pt x="10382" y="48"/>
                    <a:pt x="10270" y="0"/>
                    <a:pt x="101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21" name="Google Shape;10921;p60"/>
          <p:cNvGrpSpPr/>
          <p:nvPr/>
        </p:nvGrpSpPr>
        <p:grpSpPr>
          <a:xfrm>
            <a:off x="2656907" y="2439293"/>
            <a:ext cx="332757" cy="332343"/>
            <a:chOff x="2656907" y="2439293"/>
            <a:chExt cx="332757" cy="332343"/>
          </a:xfrm>
        </p:grpSpPr>
        <p:sp>
          <p:nvSpPr>
            <p:cNvPr id="10922" name="Google Shape;10922;p60"/>
            <p:cNvSpPr/>
            <p:nvPr/>
          </p:nvSpPr>
          <p:spPr>
            <a:xfrm>
              <a:off x="2868751" y="2547666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20" y="334"/>
                    <a:pt x="1346" y="548"/>
                    <a:pt x="1346" y="834"/>
                  </a:cubicBezTo>
                  <a:cubicBezTo>
                    <a:pt x="1346" y="1120"/>
                    <a:pt x="1120" y="1334"/>
                    <a:pt x="834" y="1334"/>
                  </a:cubicBezTo>
                  <a:cubicBezTo>
                    <a:pt x="560" y="1334"/>
                    <a:pt x="334" y="1120"/>
                    <a:pt x="334" y="834"/>
                  </a:cubicBezTo>
                  <a:cubicBezTo>
                    <a:pt x="334" y="548"/>
                    <a:pt x="572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81" y="0"/>
                    <a:pt x="0" y="370"/>
                    <a:pt x="0" y="834"/>
                  </a:cubicBezTo>
                  <a:cubicBezTo>
                    <a:pt x="0" y="1298"/>
                    <a:pt x="381" y="1667"/>
                    <a:pt x="834" y="1667"/>
                  </a:cubicBezTo>
                  <a:cubicBezTo>
                    <a:pt x="1298" y="1667"/>
                    <a:pt x="1667" y="1298"/>
                    <a:pt x="1667" y="834"/>
                  </a:cubicBezTo>
                  <a:cubicBezTo>
                    <a:pt x="1667" y="370"/>
                    <a:pt x="1298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3" name="Google Shape;10923;p60"/>
            <p:cNvSpPr/>
            <p:nvPr/>
          </p:nvSpPr>
          <p:spPr>
            <a:xfrm>
              <a:off x="2870661" y="2611703"/>
              <a:ext cx="68970" cy="49301"/>
            </a:xfrm>
            <a:custGeom>
              <a:avLst/>
              <a:gdLst/>
              <a:ahLst/>
              <a:cxnLst/>
              <a:rect l="l" t="t" r="r" b="b"/>
              <a:pathLst>
                <a:path w="2167" h="1549" extrusionOk="0">
                  <a:moveTo>
                    <a:pt x="774" y="1"/>
                  </a:moveTo>
                  <a:cubicBezTo>
                    <a:pt x="560" y="1"/>
                    <a:pt x="333" y="60"/>
                    <a:pt x="119" y="167"/>
                  </a:cubicBezTo>
                  <a:cubicBezTo>
                    <a:pt x="48" y="203"/>
                    <a:pt x="0" y="310"/>
                    <a:pt x="48" y="382"/>
                  </a:cubicBezTo>
                  <a:cubicBezTo>
                    <a:pt x="83" y="443"/>
                    <a:pt x="150" y="479"/>
                    <a:pt x="212" y="479"/>
                  </a:cubicBezTo>
                  <a:cubicBezTo>
                    <a:pt x="234" y="479"/>
                    <a:pt x="255" y="474"/>
                    <a:pt x="274" y="465"/>
                  </a:cubicBezTo>
                  <a:cubicBezTo>
                    <a:pt x="417" y="382"/>
                    <a:pt x="595" y="346"/>
                    <a:pt x="762" y="346"/>
                  </a:cubicBezTo>
                  <a:cubicBezTo>
                    <a:pt x="1286" y="346"/>
                    <a:pt x="1715" y="727"/>
                    <a:pt x="1786" y="1215"/>
                  </a:cubicBezTo>
                  <a:lnTo>
                    <a:pt x="762" y="1215"/>
                  </a:lnTo>
                  <a:cubicBezTo>
                    <a:pt x="679" y="1215"/>
                    <a:pt x="595" y="1298"/>
                    <a:pt x="595" y="1382"/>
                  </a:cubicBezTo>
                  <a:cubicBezTo>
                    <a:pt x="595" y="1477"/>
                    <a:pt x="679" y="1548"/>
                    <a:pt x="762" y="1548"/>
                  </a:cubicBezTo>
                  <a:lnTo>
                    <a:pt x="1988" y="1548"/>
                  </a:lnTo>
                  <a:cubicBezTo>
                    <a:pt x="2072" y="1548"/>
                    <a:pt x="2143" y="1477"/>
                    <a:pt x="2143" y="1382"/>
                  </a:cubicBezTo>
                  <a:cubicBezTo>
                    <a:pt x="2167" y="608"/>
                    <a:pt x="1536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4" name="Google Shape;10924;p60"/>
            <p:cNvSpPr/>
            <p:nvPr/>
          </p:nvSpPr>
          <p:spPr>
            <a:xfrm>
              <a:off x="2705794" y="2611321"/>
              <a:ext cx="68620" cy="49301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1394" y="1"/>
                  </a:moveTo>
                  <a:cubicBezTo>
                    <a:pt x="632" y="1"/>
                    <a:pt x="1" y="620"/>
                    <a:pt x="1" y="1382"/>
                  </a:cubicBezTo>
                  <a:cubicBezTo>
                    <a:pt x="1" y="1465"/>
                    <a:pt x="84" y="1548"/>
                    <a:pt x="167" y="1548"/>
                  </a:cubicBezTo>
                  <a:lnTo>
                    <a:pt x="1406" y="1548"/>
                  </a:lnTo>
                  <a:cubicBezTo>
                    <a:pt x="1489" y="1548"/>
                    <a:pt x="1572" y="1465"/>
                    <a:pt x="1572" y="1382"/>
                  </a:cubicBezTo>
                  <a:cubicBezTo>
                    <a:pt x="1572" y="1287"/>
                    <a:pt x="1501" y="1215"/>
                    <a:pt x="1418" y="1215"/>
                  </a:cubicBezTo>
                  <a:lnTo>
                    <a:pt x="382" y="1215"/>
                  </a:lnTo>
                  <a:cubicBezTo>
                    <a:pt x="453" y="727"/>
                    <a:pt x="882" y="334"/>
                    <a:pt x="1406" y="334"/>
                  </a:cubicBezTo>
                  <a:cubicBezTo>
                    <a:pt x="1584" y="334"/>
                    <a:pt x="1751" y="382"/>
                    <a:pt x="1894" y="453"/>
                  </a:cubicBezTo>
                  <a:cubicBezTo>
                    <a:pt x="1918" y="469"/>
                    <a:pt x="1945" y="477"/>
                    <a:pt x="1974" y="477"/>
                  </a:cubicBezTo>
                  <a:cubicBezTo>
                    <a:pt x="2030" y="477"/>
                    <a:pt x="2088" y="445"/>
                    <a:pt x="2120" y="382"/>
                  </a:cubicBezTo>
                  <a:cubicBezTo>
                    <a:pt x="2156" y="310"/>
                    <a:pt x="2132" y="203"/>
                    <a:pt x="2049" y="155"/>
                  </a:cubicBezTo>
                  <a:cubicBezTo>
                    <a:pt x="1846" y="60"/>
                    <a:pt x="1632" y="1"/>
                    <a:pt x="1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5" name="Google Shape;10925;p60"/>
            <p:cNvSpPr/>
            <p:nvPr/>
          </p:nvSpPr>
          <p:spPr>
            <a:xfrm>
              <a:off x="2724000" y="2547666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19" y="334"/>
                    <a:pt x="1334" y="548"/>
                    <a:pt x="1334" y="834"/>
                  </a:cubicBezTo>
                  <a:cubicBezTo>
                    <a:pt x="1334" y="1120"/>
                    <a:pt x="1119" y="1334"/>
                    <a:pt x="834" y="1334"/>
                  </a:cubicBezTo>
                  <a:cubicBezTo>
                    <a:pt x="548" y="1334"/>
                    <a:pt x="322" y="1120"/>
                    <a:pt x="322" y="834"/>
                  </a:cubicBezTo>
                  <a:cubicBezTo>
                    <a:pt x="322" y="548"/>
                    <a:pt x="548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69" y="0"/>
                    <a:pt x="0" y="370"/>
                    <a:pt x="0" y="834"/>
                  </a:cubicBezTo>
                  <a:cubicBezTo>
                    <a:pt x="0" y="1298"/>
                    <a:pt x="369" y="1667"/>
                    <a:pt x="834" y="1667"/>
                  </a:cubicBezTo>
                  <a:cubicBezTo>
                    <a:pt x="1298" y="1667"/>
                    <a:pt x="1667" y="1298"/>
                    <a:pt x="1667" y="834"/>
                  </a:cubicBezTo>
                  <a:cubicBezTo>
                    <a:pt x="1667" y="370"/>
                    <a:pt x="1298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6" name="Google Shape;10926;p60"/>
            <p:cNvSpPr/>
            <p:nvPr/>
          </p:nvSpPr>
          <p:spPr>
            <a:xfrm>
              <a:off x="2788800" y="2534394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34"/>
                  </a:moveTo>
                  <a:cubicBezTo>
                    <a:pt x="1489" y="334"/>
                    <a:pt x="1822" y="656"/>
                    <a:pt x="1822" y="1072"/>
                  </a:cubicBezTo>
                  <a:cubicBezTo>
                    <a:pt x="1822" y="1489"/>
                    <a:pt x="1489" y="1822"/>
                    <a:pt x="1072" y="1822"/>
                  </a:cubicBezTo>
                  <a:cubicBezTo>
                    <a:pt x="655" y="1822"/>
                    <a:pt x="334" y="1489"/>
                    <a:pt x="334" y="1072"/>
                  </a:cubicBezTo>
                  <a:cubicBezTo>
                    <a:pt x="334" y="656"/>
                    <a:pt x="667" y="334"/>
                    <a:pt x="1072" y="334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3" y="1668"/>
                    <a:pt x="2143" y="1072"/>
                  </a:cubicBezTo>
                  <a:cubicBezTo>
                    <a:pt x="2143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7" name="Google Shape;10927;p60"/>
            <p:cNvSpPr/>
            <p:nvPr/>
          </p:nvSpPr>
          <p:spPr>
            <a:xfrm>
              <a:off x="2764930" y="2613613"/>
              <a:ext cx="115979" cy="62923"/>
            </a:xfrm>
            <a:custGeom>
              <a:avLst/>
              <a:gdLst/>
              <a:ahLst/>
              <a:cxnLst/>
              <a:rect l="l" t="t" r="r" b="b"/>
              <a:pathLst>
                <a:path w="3644" h="1977" extrusionOk="0">
                  <a:moveTo>
                    <a:pt x="1822" y="345"/>
                  </a:moveTo>
                  <a:cubicBezTo>
                    <a:pt x="2584" y="345"/>
                    <a:pt x="3203" y="917"/>
                    <a:pt x="3298" y="1655"/>
                  </a:cubicBezTo>
                  <a:lnTo>
                    <a:pt x="345" y="1655"/>
                  </a:lnTo>
                  <a:cubicBezTo>
                    <a:pt x="441" y="905"/>
                    <a:pt x="1060" y="345"/>
                    <a:pt x="1822" y="345"/>
                  </a:cubicBezTo>
                  <a:close/>
                  <a:moveTo>
                    <a:pt x="1822" y="0"/>
                  </a:moveTo>
                  <a:cubicBezTo>
                    <a:pt x="822" y="0"/>
                    <a:pt x="0" y="822"/>
                    <a:pt x="0" y="1810"/>
                  </a:cubicBezTo>
                  <a:cubicBezTo>
                    <a:pt x="0" y="1905"/>
                    <a:pt x="84" y="1977"/>
                    <a:pt x="167" y="1977"/>
                  </a:cubicBezTo>
                  <a:lnTo>
                    <a:pt x="3477" y="1977"/>
                  </a:lnTo>
                  <a:cubicBezTo>
                    <a:pt x="3560" y="1977"/>
                    <a:pt x="3643" y="1905"/>
                    <a:pt x="3643" y="1810"/>
                  </a:cubicBezTo>
                  <a:cubicBezTo>
                    <a:pt x="3643" y="798"/>
                    <a:pt x="2822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8" name="Google Shape;10928;p60"/>
            <p:cNvSpPr/>
            <p:nvPr/>
          </p:nvSpPr>
          <p:spPr>
            <a:xfrm>
              <a:off x="2656907" y="2439293"/>
              <a:ext cx="332757" cy="332343"/>
            </a:xfrm>
            <a:custGeom>
              <a:avLst/>
              <a:gdLst/>
              <a:ahLst/>
              <a:cxnLst/>
              <a:rect l="l" t="t" r="r" b="b"/>
              <a:pathLst>
                <a:path w="10455" h="10442" extrusionOk="0">
                  <a:moveTo>
                    <a:pt x="5383" y="893"/>
                  </a:moveTo>
                  <a:cubicBezTo>
                    <a:pt x="7645" y="977"/>
                    <a:pt x="9454" y="2798"/>
                    <a:pt x="9550" y="5060"/>
                  </a:cubicBezTo>
                  <a:lnTo>
                    <a:pt x="9145" y="5060"/>
                  </a:lnTo>
                  <a:cubicBezTo>
                    <a:pt x="9050" y="5060"/>
                    <a:pt x="8978" y="5132"/>
                    <a:pt x="8978" y="5227"/>
                  </a:cubicBezTo>
                  <a:cubicBezTo>
                    <a:pt x="8978" y="5310"/>
                    <a:pt x="9050" y="5382"/>
                    <a:pt x="9145" y="5382"/>
                  </a:cubicBezTo>
                  <a:lnTo>
                    <a:pt x="9550" y="5382"/>
                  </a:lnTo>
                  <a:cubicBezTo>
                    <a:pt x="9454" y="7644"/>
                    <a:pt x="7645" y="9466"/>
                    <a:pt x="5383" y="9549"/>
                  </a:cubicBezTo>
                  <a:lnTo>
                    <a:pt x="5383" y="9156"/>
                  </a:lnTo>
                  <a:cubicBezTo>
                    <a:pt x="5383" y="9061"/>
                    <a:pt x="5311" y="8989"/>
                    <a:pt x="5216" y="8989"/>
                  </a:cubicBezTo>
                  <a:cubicBezTo>
                    <a:pt x="5121" y="8989"/>
                    <a:pt x="5049" y="9061"/>
                    <a:pt x="5049" y="9156"/>
                  </a:cubicBezTo>
                  <a:lnTo>
                    <a:pt x="5049" y="9549"/>
                  </a:lnTo>
                  <a:cubicBezTo>
                    <a:pt x="2787" y="9466"/>
                    <a:pt x="977" y="7644"/>
                    <a:pt x="882" y="5382"/>
                  </a:cubicBezTo>
                  <a:lnTo>
                    <a:pt x="1287" y="5382"/>
                  </a:lnTo>
                  <a:cubicBezTo>
                    <a:pt x="1382" y="5382"/>
                    <a:pt x="1453" y="5310"/>
                    <a:pt x="1453" y="5227"/>
                  </a:cubicBezTo>
                  <a:cubicBezTo>
                    <a:pt x="1453" y="5132"/>
                    <a:pt x="1382" y="5060"/>
                    <a:pt x="1287" y="5060"/>
                  </a:cubicBezTo>
                  <a:lnTo>
                    <a:pt x="882" y="5060"/>
                  </a:lnTo>
                  <a:cubicBezTo>
                    <a:pt x="977" y="2798"/>
                    <a:pt x="2787" y="977"/>
                    <a:pt x="5049" y="893"/>
                  </a:cubicBezTo>
                  <a:lnTo>
                    <a:pt x="5049" y="1286"/>
                  </a:lnTo>
                  <a:cubicBezTo>
                    <a:pt x="5049" y="1381"/>
                    <a:pt x="5121" y="1453"/>
                    <a:pt x="5216" y="1453"/>
                  </a:cubicBezTo>
                  <a:cubicBezTo>
                    <a:pt x="5311" y="1453"/>
                    <a:pt x="5383" y="1381"/>
                    <a:pt x="5383" y="1286"/>
                  </a:cubicBezTo>
                  <a:lnTo>
                    <a:pt x="5383" y="893"/>
                  </a:lnTo>
                  <a:close/>
                  <a:moveTo>
                    <a:pt x="5228" y="0"/>
                  </a:moveTo>
                  <a:cubicBezTo>
                    <a:pt x="5144" y="0"/>
                    <a:pt x="5061" y="72"/>
                    <a:pt x="5061" y="167"/>
                  </a:cubicBezTo>
                  <a:lnTo>
                    <a:pt x="5061" y="560"/>
                  </a:lnTo>
                  <a:cubicBezTo>
                    <a:pt x="2620" y="655"/>
                    <a:pt x="656" y="2620"/>
                    <a:pt x="572" y="5060"/>
                  </a:cubicBezTo>
                  <a:lnTo>
                    <a:pt x="168" y="5060"/>
                  </a:lnTo>
                  <a:cubicBezTo>
                    <a:pt x="84" y="5060"/>
                    <a:pt x="1" y="5132"/>
                    <a:pt x="1" y="5227"/>
                  </a:cubicBezTo>
                  <a:cubicBezTo>
                    <a:pt x="1" y="5310"/>
                    <a:pt x="84" y="5382"/>
                    <a:pt x="168" y="5382"/>
                  </a:cubicBezTo>
                  <a:lnTo>
                    <a:pt x="572" y="5382"/>
                  </a:lnTo>
                  <a:cubicBezTo>
                    <a:pt x="656" y="7823"/>
                    <a:pt x="2620" y="9787"/>
                    <a:pt x="5061" y="9882"/>
                  </a:cubicBezTo>
                  <a:lnTo>
                    <a:pt x="5061" y="10287"/>
                  </a:lnTo>
                  <a:cubicBezTo>
                    <a:pt x="5061" y="10371"/>
                    <a:pt x="5144" y="10442"/>
                    <a:pt x="5228" y="10442"/>
                  </a:cubicBezTo>
                  <a:cubicBezTo>
                    <a:pt x="5323" y="10442"/>
                    <a:pt x="5394" y="10371"/>
                    <a:pt x="5394" y="10287"/>
                  </a:cubicBezTo>
                  <a:lnTo>
                    <a:pt x="5394" y="9882"/>
                  </a:lnTo>
                  <a:cubicBezTo>
                    <a:pt x="7835" y="9787"/>
                    <a:pt x="9800" y="7823"/>
                    <a:pt x="9883" y="5382"/>
                  </a:cubicBezTo>
                  <a:lnTo>
                    <a:pt x="10288" y="5382"/>
                  </a:lnTo>
                  <a:cubicBezTo>
                    <a:pt x="10383" y="5382"/>
                    <a:pt x="10455" y="5310"/>
                    <a:pt x="10455" y="5227"/>
                  </a:cubicBezTo>
                  <a:cubicBezTo>
                    <a:pt x="10455" y="5132"/>
                    <a:pt x="10383" y="5060"/>
                    <a:pt x="10288" y="5060"/>
                  </a:cubicBezTo>
                  <a:lnTo>
                    <a:pt x="9883" y="5060"/>
                  </a:lnTo>
                  <a:cubicBezTo>
                    <a:pt x="9800" y="2620"/>
                    <a:pt x="7835" y="655"/>
                    <a:pt x="5394" y="560"/>
                  </a:cubicBezTo>
                  <a:lnTo>
                    <a:pt x="5394" y="167"/>
                  </a:lnTo>
                  <a:cubicBezTo>
                    <a:pt x="5394" y="72"/>
                    <a:pt x="5323" y="0"/>
                    <a:pt x="5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29" name="Google Shape;10929;p60"/>
          <p:cNvGrpSpPr/>
          <p:nvPr/>
        </p:nvGrpSpPr>
        <p:grpSpPr>
          <a:xfrm>
            <a:off x="1731523" y="2422616"/>
            <a:ext cx="399435" cy="365698"/>
            <a:chOff x="1731523" y="2422616"/>
            <a:chExt cx="399435" cy="365698"/>
          </a:xfrm>
        </p:grpSpPr>
        <p:sp>
          <p:nvSpPr>
            <p:cNvPr id="10930" name="Google Shape;10930;p60"/>
            <p:cNvSpPr/>
            <p:nvPr/>
          </p:nvSpPr>
          <p:spPr>
            <a:xfrm>
              <a:off x="1865294" y="2725009"/>
              <a:ext cx="43604" cy="43604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70"/>
                  </a:moveTo>
                  <a:cubicBezTo>
                    <a:pt x="858" y="370"/>
                    <a:pt x="1013" y="512"/>
                    <a:pt x="1013" y="691"/>
                  </a:cubicBezTo>
                  <a:cubicBezTo>
                    <a:pt x="1013" y="870"/>
                    <a:pt x="858" y="1024"/>
                    <a:pt x="679" y="1024"/>
                  </a:cubicBezTo>
                  <a:cubicBezTo>
                    <a:pt x="501" y="1024"/>
                    <a:pt x="358" y="870"/>
                    <a:pt x="358" y="691"/>
                  </a:cubicBezTo>
                  <a:cubicBezTo>
                    <a:pt x="370" y="501"/>
                    <a:pt x="501" y="370"/>
                    <a:pt x="679" y="370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72"/>
                    <a:pt x="310" y="1370"/>
                    <a:pt x="679" y="1370"/>
                  </a:cubicBezTo>
                  <a:cubicBezTo>
                    <a:pt x="1048" y="1370"/>
                    <a:pt x="1370" y="1048"/>
                    <a:pt x="1370" y="679"/>
                  </a:cubicBezTo>
                  <a:cubicBezTo>
                    <a:pt x="1370" y="310"/>
                    <a:pt x="1048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1" name="Google Shape;10931;p60"/>
            <p:cNvSpPr/>
            <p:nvPr/>
          </p:nvSpPr>
          <p:spPr>
            <a:xfrm>
              <a:off x="2005876" y="2725009"/>
              <a:ext cx="43636" cy="43604"/>
            </a:xfrm>
            <a:custGeom>
              <a:avLst/>
              <a:gdLst/>
              <a:ahLst/>
              <a:cxnLst/>
              <a:rect l="l" t="t" r="r" b="b"/>
              <a:pathLst>
                <a:path w="1371" h="1370" extrusionOk="0">
                  <a:moveTo>
                    <a:pt x="680" y="370"/>
                  </a:moveTo>
                  <a:cubicBezTo>
                    <a:pt x="858" y="370"/>
                    <a:pt x="1013" y="512"/>
                    <a:pt x="1013" y="691"/>
                  </a:cubicBezTo>
                  <a:cubicBezTo>
                    <a:pt x="1013" y="870"/>
                    <a:pt x="858" y="1024"/>
                    <a:pt x="680" y="1024"/>
                  </a:cubicBezTo>
                  <a:cubicBezTo>
                    <a:pt x="501" y="1024"/>
                    <a:pt x="358" y="870"/>
                    <a:pt x="358" y="691"/>
                  </a:cubicBezTo>
                  <a:cubicBezTo>
                    <a:pt x="370" y="501"/>
                    <a:pt x="501" y="370"/>
                    <a:pt x="680" y="370"/>
                  </a:cubicBezTo>
                  <a:close/>
                  <a:moveTo>
                    <a:pt x="680" y="1"/>
                  </a:moveTo>
                  <a:cubicBezTo>
                    <a:pt x="311" y="1"/>
                    <a:pt x="1" y="310"/>
                    <a:pt x="1" y="679"/>
                  </a:cubicBezTo>
                  <a:cubicBezTo>
                    <a:pt x="1" y="1072"/>
                    <a:pt x="311" y="1370"/>
                    <a:pt x="680" y="1370"/>
                  </a:cubicBezTo>
                  <a:cubicBezTo>
                    <a:pt x="1061" y="1370"/>
                    <a:pt x="1370" y="1048"/>
                    <a:pt x="1370" y="679"/>
                  </a:cubicBezTo>
                  <a:cubicBezTo>
                    <a:pt x="1370" y="310"/>
                    <a:pt x="1061" y="1"/>
                    <a:pt x="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2" name="Google Shape;10932;p60"/>
            <p:cNvSpPr/>
            <p:nvPr/>
          </p:nvSpPr>
          <p:spPr>
            <a:xfrm>
              <a:off x="1731523" y="2422616"/>
              <a:ext cx="399435" cy="365698"/>
            </a:xfrm>
            <a:custGeom>
              <a:avLst/>
              <a:gdLst/>
              <a:ahLst/>
              <a:cxnLst/>
              <a:rect l="l" t="t" r="r" b="b"/>
              <a:pathLst>
                <a:path w="12550" h="11490" extrusionOk="0">
                  <a:moveTo>
                    <a:pt x="4323" y="2143"/>
                  </a:moveTo>
                  <a:lnTo>
                    <a:pt x="4323" y="3215"/>
                  </a:lnTo>
                  <a:lnTo>
                    <a:pt x="3585" y="3215"/>
                  </a:lnTo>
                  <a:lnTo>
                    <a:pt x="3216" y="2143"/>
                  </a:lnTo>
                  <a:close/>
                  <a:moveTo>
                    <a:pt x="5787" y="2143"/>
                  </a:moveTo>
                  <a:lnTo>
                    <a:pt x="5787" y="3215"/>
                  </a:lnTo>
                  <a:lnTo>
                    <a:pt x="4692" y="3215"/>
                  </a:lnTo>
                  <a:lnTo>
                    <a:pt x="4692" y="2143"/>
                  </a:lnTo>
                  <a:close/>
                  <a:moveTo>
                    <a:pt x="7252" y="2143"/>
                  </a:moveTo>
                  <a:lnTo>
                    <a:pt x="7252" y="3215"/>
                  </a:lnTo>
                  <a:lnTo>
                    <a:pt x="6144" y="3215"/>
                  </a:lnTo>
                  <a:lnTo>
                    <a:pt x="6144" y="2143"/>
                  </a:lnTo>
                  <a:close/>
                  <a:moveTo>
                    <a:pt x="8704" y="2143"/>
                  </a:moveTo>
                  <a:lnTo>
                    <a:pt x="8704" y="3215"/>
                  </a:lnTo>
                  <a:lnTo>
                    <a:pt x="7609" y="3215"/>
                  </a:lnTo>
                  <a:lnTo>
                    <a:pt x="7609" y="2143"/>
                  </a:lnTo>
                  <a:close/>
                  <a:moveTo>
                    <a:pt x="10169" y="2143"/>
                  </a:moveTo>
                  <a:lnTo>
                    <a:pt x="10169" y="3215"/>
                  </a:lnTo>
                  <a:lnTo>
                    <a:pt x="9061" y="3215"/>
                  </a:lnTo>
                  <a:lnTo>
                    <a:pt x="9061" y="2143"/>
                  </a:lnTo>
                  <a:close/>
                  <a:moveTo>
                    <a:pt x="11050" y="2143"/>
                  </a:moveTo>
                  <a:lnTo>
                    <a:pt x="10788" y="3215"/>
                  </a:lnTo>
                  <a:lnTo>
                    <a:pt x="10538" y="3215"/>
                  </a:lnTo>
                  <a:lnTo>
                    <a:pt x="10538" y="2143"/>
                  </a:lnTo>
                  <a:close/>
                  <a:moveTo>
                    <a:pt x="10716" y="3572"/>
                  </a:moveTo>
                  <a:lnTo>
                    <a:pt x="10538" y="4334"/>
                  </a:lnTo>
                  <a:lnTo>
                    <a:pt x="10538" y="3572"/>
                  </a:lnTo>
                  <a:close/>
                  <a:moveTo>
                    <a:pt x="4323" y="3572"/>
                  </a:moveTo>
                  <a:lnTo>
                    <a:pt x="4323" y="4680"/>
                  </a:lnTo>
                  <a:lnTo>
                    <a:pt x="4108" y="4680"/>
                  </a:lnTo>
                  <a:lnTo>
                    <a:pt x="3727" y="3572"/>
                  </a:lnTo>
                  <a:close/>
                  <a:moveTo>
                    <a:pt x="5787" y="3572"/>
                  </a:moveTo>
                  <a:lnTo>
                    <a:pt x="5787" y="4680"/>
                  </a:lnTo>
                  <a:lnTo>
                    <a:pt x="4692" y="4680"/>
                  </a:lnTo>
                  <a:lnTo>
                    <a:pt x="4692" y="3572"/>
                  </a:lnTo>
                  <a:close/>
                  <a:moveTo>
                    <a:pt x="7252" y="3572"/>
                  </a:moveTo>
                  <a:lnTo>
                    <a:pt x="7252" y="4680"/>
                  </a:lnTo>
                  <a:lnTo>
                    <a:pt x="6144" y="4680"/>
                  </a:lnTo>
                  <a:lnTo>
                    <a:pt x="6144" y="3572"/>
                  </a:lnTo>
                  <a:close/>
                  <a:moveTo>
                    <a:pt x="8704" y="3572"/>
                  </a:moveTo>
                  <a:lnTo>
                    <a:pt x="8704" y="4680"/>
                  </a:lnTo>
                  <a:lnTo>
                    <a:pt x="7609" y="4680"/>
                  </a:lnTo>
                  <a:lnTo>
                    <a:pt x="7609" y="3572"/>
                  </a:lnTo>
                  <a:close/>
                  <a:moveTo>
                    <a:pt x="10169" y="3572"/>
                  </a:moveTo>
                  <a:lnTo>
                    <a:pt x="10169" y="4680"/>
                  </a:lnTo>
                  <a:lnTo>
                    <a:pt x="9061" y="4680"/>
                  </a:lnTo>
                  <a:lnTo>
                    <a:pt x="9061" y="3572"/>
                  </a:lnTo>
                  <a:close/>
                  <a:moveTo>
                    <a:pt x="4335" y="5037"/>
                  </a:moveTo>
                  <a:lnTo>
                    <a:pt x="4335" y="5275"/>
                  </a:lnTo>
                  <a:lnTo>
                    <a:pt x="4239" y="5037"/>
                  </a:lnTo>
                  <a:close/>
                  <a:moveTo>
                    <a:pt x="5787" y="5037"/>
                  </a:moveTo>
                  <a:lnTo>
                    <a:pt x="5787" y="5894"/>
                  </a:lnTo>
                  <a:cubicBezTo>
                    <a:pt x="5706" y="5890"/>
                    <a:pt x="5631" y="5889"/>
                    <a:pt x="5561" y="5889"/>
                  </a:cubicBezTo>
                  <a:cubicBezTo>
                    <a:pt x="5443" y="5889"/>
                    <a:pt x="5341" y="5892"/>
                    <a:pt x="5248" y="5892"/>
                  </a:cubicBezTo>
                  <a:cubicBezTo>
                    <a:pt x="5036" y="5892"/>
                    <a:pt x="4874" y="5875"/>
                    <a:pt x="4692" y="5763"/>
                  </a:cubicBezTo>
                  <a:lnTo>
                    <a:pt x="4692" y="5037"/>
                  </a:lnTo>
                  <a:close/>
                  <a:moveTo>
                    <a:pt x="7252" y="5037"/>
                  </a:moveTo>
                  <a:lnTo>
                    <a:pt x="7252" y="5894"/>
                  </a:lnTo>
                  <a:lnTo>
                    <a:pt x="6144" y="5894"/>
                  </a:lnTo>
                  <a:lnTo>
                    <a:pt x="6144" y="5037"/>
                  </a:lnTo>
                  <a:close/>
                  <a:moveTo>
                    <a:pt x="8704" y="5037"/>
                  </a:moveTo>
                  <a:lnTo>
                    <a:pt x="8704" y="5894"/>
                  </a:lnTo>
                  <a:lnTo>
                    <a:pt x="7609" y="5894"/>
                  </a:lnTo>
                  <a:lnTo>
                    <a:pt x="7609" y="5037"/>
                  </a:lnTo>
                  <a:close/>
                  <a:moveTo>
                    <a:pt x="10169" y="5037"/>
                  </a:moveTo>
                  <a:lnTo>
                    <a:pt x="10169" y="5894"/>
                  </a:lnTo>
                  <a:lnTo>
                    <a:pt x="9061" y="5894"/>
                  </a:lnTo>
                  <a:lnTo>
                    <a:pt x="9061" y="5037"/>
                  </a:lnTo>
                  <a:close/>
                  <a:moveTo>
                    <a:pt x="4882" y="9240"/>
                  </a:moveTo>
                  <a:cubicBezTo>
                    <a:pt x="5406" y="9240"/>
                    <a:pt x="5823" y="9680"/>
                    <a:pt x="5823" y="10180"/>
                  </a:cubicBezTo>
                  <a:cubicBezTo>
                    <a:pt x="5823" y="10704"/>
                    <a:pt x="5406" y="11121"/>
                    <a:pt x="4882" y="11121"/>
                  </a:cubicBezTo>
                  <a:cubicBezTo>
                    <a:pt x="4359" y="11121"/>
                    <a:pt x="3942" y="10704"/>
                    <a:pt x="3942" y="10180"/>
                  </a:cubicBezTo>
                  <a:cubicBezTo>
                    <a:pt x="3942" y="9656"/>
                    <a:pt x="4359" y="9240"/>
                    <a:pt x="4882" y="9240"/>
                  </a:cubicBezTo>
                  <a:close/>
                  <a:moveTo>
                    <a:pt x="9300" y="9240"/>
                  </a:moveTo>
                  <a:cubicBezTo>
                    <a:pt x="9823" y="9263"/>
                    <a:pt x="10240" y="9680"/>
                    <a:pt x="10240" y="10180"/>
                  </a:cubicBezTo>
                  <a:cubicBezTo>
                    <a:pt x="10240" y="10704"/>
                    <a:pt x="9823" y="11121"/>
                    <a:pt x="9300" y="11121"/>
                  </a:cubicBezTo>
                  <a:cubicBezTo>
                    <a:pt x="8788" y="11121"/>
                    <a:pt x="8371" y="10704"/>
                    <a:pt x="8371" y="10180"/>
                  </a:cubicBezTo>
                  <a:cubicBezTo>
                    <a:pt x="8371" y="9656"/>
                    <a:pt x="8788" y="9240"/>
                    <a:pt x="9300" y="9240"/>
                  </a:cubicBezTo>
                  <a:close/>
                  <a:moveTo>
                    <a:pt x="668" y="0"/>
                  </a:moveTo>
                  <a:cubicBezTo>
                    <a:pt x="298" y="0"/>
                    <a:pt x="1" y="298"/>
                    <a:pt x="1" y="667"/>
                  </a:cubicBezTo>
                  <a:cubicBezTo>
                    <a:pt x="1" y="1048"/>
                    <a:pt x="298" y="1346"/>
                    <a:pt x="668" y="1346"/>
                  </a:cubicBezTo>
                  <a:lnTo>
                    <a:pt x="1489" y="1346"/>
                  </a:lnTo>
                  <a:lnTo>
                    <a:pt x="2513" y="4227"/>
                  </a:lnTo>
                  <a:cubicBezTo>
                    <a:pt x="2540" y="4299"/>
                    <a:pt x="2608" y="4351"/>
                    <a:pt x="2681" y="4351"/>
                  </a:cubicBezTo>
                  <a:cubicBezTo>
                    <a:pt x="2704" y="4351"/>
                    <a:pt x="2728" y="4346"/>
                    <a:pt x="2751" y="4334"/>
                  </a:cubicBezTo>
                  <a:cubicBezTo>
                    <a:pt x="2846" y="4299"/>
                    <a:pt x="2906" y="4203"/>
                    <a:pt x="2858" y="4096"/>
                  </a:cubicBezTo>
                  <a:cubicBezTo>
                    <a:pt x="1858" y="1262"/>
                    <a:pt x="1822" y="1143"/>
                    <a:pt x="1822" y="1143"/>
                  </a:cubicBezTo>
                  <a:cubicBezTo>
                    <a:pt x="1775" y="1048"/>
                    <a:pt x="1668" y="965"/>
                    <a:pt x="1549" y="965"/>
                  </a:cubicBezTo>
                  <a:lnTo>
                    <a:pt x="668" y="965"/>
                  </a:lnTo>
                  <a:cubicBezTo>
                    <a:pt x="513" y="965"/>
                    <a:pt x="370" y="834"/>
                    <a:pt x="370" y="667"/>
                  </a:cubicBezTo>
                  <a:cubicBezTo>
                    <a:pt x="370" y="500"/>
                    <a:pt x="513" y="369"/>
                    <a:pt x="668" y="369"/>
                  </a:cubicBezTo>
                  <a:lnTo>
                    <a:pt x="1549" y="369"/>
                  </a:lnTo>
                  <a:cubicBezTo>
                    <a:pt x="1906" y="369"/>
                    <a:pt x="2215" y="584"/>
                    <a:pt x="2370" y="905"/>
                  </a:cubicBezTo>
                  <a:cubicBezTo>
                    <a:pt x="2596" y="1524"/>
                    <a:pt x="3811" y="5001"/>
                    <a:pt x="4001" y="5525"/>
                  </a:cubicBezTo>
                  <a:cubicBezTo>
                    <a:pt x="4144" y="5894"/>
                    <a:pt x="4573" y="6251"/>
                    <a:pt x="5109" y="6251"/>
                  </a:cubicBezTo>
                  <a:lnTo>
                    <a:pt x="11717" y="6251"/>
                  </a:lnTo>
                  <a:cubicBezTo>
                    <a:pt x="11883" y="6251"/>
                    <a:pt x="12014" y="6382"/>
                    <a:pt x="12014" y="6549"/>
                  </a:cubicBezTo>
                  <a:cubicBezTo>
                    <a:pt x="12014" y="6715"/>
                    <a:pt x="11883" y="6846"/>
                    <a:pt x="11717" y="6846"/>
                  </a:cubicBezTo>
                  <a:lnTo>
                    <a:pt x="5109" y="6846"/>
                  </a:lnTo>
                  <a:cubicBezTo>
                    <a:pt x="4394" y="6846"/>
                    <a:pt x="3739" y="6418"/>
                    <a:pt x="3466" y="5763"/>
                  </a:cubicBezTo>
                  <a:lnTo>
                    <a:pt x="3096" y="4715"/>
                  </a:lnTo>
                  <a:cubicBezTo>
                    <a:pt x="3078" y="4652"/>
                    <a:pt x="3013" y="4603"/>
                    <a:pt x="2936" y="4603"/>
                  </a:cubicBezTo>
                  <a:cubicBezTo>
                    <a:pt x="2911" y="4603"/>
                    <a:pt x="2885" y="4608"/>
                    <a:pt x="2858" y="4620"/>
                  </a:cubicBezTo>
                  <a:cubicBezTo>
                    <a:pt x="2751" y="4656"/>
                    <a:pt x="2715" y="4751"/>
                    <a:pt x="2751" y="4858"/>
                  </a:cubicBezTo>
                  <a:cubicBezTo>
                    <a:pt x="3049" y="5596"/>
                    <a:pt x="3073" y="5942"/>
                    <a:pt x="3406" y="6406"/>
                  </a:cubicBezTo>
                  <a:lnTo>
                    <a:pt x="3013" y="7001"/>
                  </a:lnTo>
                  <a:cubicBezTo>
                    <a:pt x="2394" y="7894"/>
                    <a:pt x="2930" y="9097"/>
                    <a:pt x="3989" y="9240"/>
                  </a:cubicBezTo>
                  <a:cubicBezTo>
                    <a:pt x="3144" y="10049"/>
                    <a:pt x="3692" y="11490"/>
                    <a:pt x="4870" y="11490"/>
                  </a:cubicBezTo>
                  <a:cubicBezTo>
                    <a:pt x="6025" y="11490"/>
                    <a:pt x="6597" y="10061"/>
                    <a:pt x="5763" y="9251"/>
                  </a:cubicBezTo>
                  <a:lnTo>
                    <a:pt x="8383" y="9251"/>
                  </a:lnTo>
                  <a:cubicBezTo>
                    <a:pt x="7549" y="10061"/>
                    <a:pt x="8109" y="11490"/>
                    <a:pt x="9276" y="11490"/>
                  </a:cubicBezTo>
                  <a:cubicBezTo>
                    <a:pt x="10431" y="11490"/>
                    <a:pt x="11002" y="10061"/>
                    <a:pt x="10169" y="9251"/>
                  </a:cubicBezTo>
                  <a:lnTo>
                    <a:pt x="10407" y="9251"/>
                  </a:lnTo>
                  <a:cubicBezTo>
                    <a:pt x="10776" y="9251"/>
                    <a:pt x="11074" y="8954"/>
                    <a:pt x="11074" y="8585"/>
                  </a:cubicBezTo>
                  <a:cubicBezTo>
                    <a:pt x="11074" y="8216"/>
                    <a:pt x="10776" y="7918"/>
                    <a:pt x="10407" y="7918"/>
                  </a:cubicBezTo>
                  <a:lnTo>
                    <a:pt x="8788" y="7918"/>
                  </a:lnTo>
                  <a:cubicBezTo>
                    <a:pt x="8680" y="7918"/>
                    <a:pt x="8609" y="7989"/>
                    <a:pt x="8609" y="8097"/>
                  </a:cubicBezTo>
                  <a:cubicBezTo>
                    <a:pt x="8609" y="8204"/>
                    <a:pt x="8680" y="8275"/>
                    <a:pt x="8788" y="8275"/>
                  </a:cubicBezTo>
                  <a:lnTo>
                    <a:pt x="10431" y="8275"/>
                  </a:lnTo>
                  <a:cubicBezTo>
                    <a:pt x="10597" y="8275"/>
                    <a:pt x="10728" y="8406"/>
                    <a:pt x="10728" y="8573"/>
                  </a:cubicBezTo>
                  <a:cubicBezTo>
                    <a:pt x="10728" y="8740"/>
                    <a:pt x="10597" y="8871"/>
                    <a:pt x="10431" y="8871"/>
                  </a:cubicBezTo>
                  <a:lnTo>
                    <a:pt x="4204" y="8871"/>
                  </a:lnTo>
                  <a:cubicBezTo>
                    <a:pt x="3323" y="8871"/>
                    <a:pt x="2811" y="7882"/>
                    <a:pt x="3311" y="7168"/>
                  </a:cubicBezTo>
                  <a:lnTo>
                    <a:pt x="3668" y="6656"/>
                  </a:lnTo>
                  <a:cubicBezTo>
                    <a:pt x="3811" y="6787"/>
                    <a:pt x="3978" y="6906"/>
                    <a:pt x="4168" y="7001"/>
                  </a:cubicBezTo>
                  <a:lnTo>
                    <a:pt x="3799" y="7537"/>
                  </a:lnTo>
                  <a:cubicBezTo>
                    <a:pt x="3573" y="7847"/>
                    <a:pt x="3799" y="8275"/>
                    <a:pt x="4180" y="8275"/>
                  </a:cubicBezTo>
                  <a:lnTo>
                    <a:pt x="8085" y="8275"/>
                  </a:lnTo>
                  <a:cubicBezTo>
                    <a:pt x="8192" y="8275"/>
                    <a:pt x="8264" y="8204"/>
                    <a:pt x="8264" y="8097"/>
                  </a:cubicBezTo>
                  <a:cubicBezTo>
                    <a:pt x="8264" y="7989"/>
                    <a:pt x="8192" y="7918"/>
                    <a:pt x="8085" y="7918"/>
                  </a:cubicBezTo>
                  <a:lnTo>
                    <a:pt x="4180" y="7918"/>
                  </a:lnTo>
                  <a:cubicBezTo>
                    <a:pt x="4097" y="7918"/>
                    <a:pt x="4037" y="7811"/>
                    <a:pt x="4097" y="7739"/>
                  </a:cubicBezTo>
                  <a:lnTo>
                    <a:pt x="4513" y="7132"/>
                  </a:lnTo>
                  <a:cubicBezTo>
                    <a:pt x="4753" y="7201"/>
                    <a:pt x="4820" y="7217"/>
                    <a:pt x="5587" y="7217"/>
                  </a:cubicBezTo>
                  <a:cubicBezTo>
                    <a:pt x="6309" y="7217"/>
                    <a:pt x="7651" y="7202"/>
                    <a:pt x="10341" y="7202"/>
                  </a:cubicBezTo>
                  <a:cubicBezTo>
                    <a:pt x="10765" y="7202"/>
                    <a:pt x="11223" y="7203"/>
                    <a:pt x="11717" y="7204"/>
                  </a:cubicBezTo>
                  <a:cubicBezTo>
                    <a:pt x="12086" y="7204"/>
                    <a:pt x="12383" y="6906"/>
                    <a:pt x="12383" y="6537"/>
                  </a:cubicBezTo>
                  <a:cubicBezTo>
                    <a:pt x="12383" y="6168"/>
                    <a:pt x="12098" y="5894"/>
                    <a:pt x="11728" y="5894"/>
                  </a:cubicBezTo>
                  <a:lnTo>
                    <a:pt x="11538" y="5894"/>
                  </a:lnTo>
                  <a:lnTo>
                    <a:pt x="12383" y="2191"/>
                  </a:lnTo>
                  <a:cubicBezTo>
                    <a:pt x="12550" y="1489"/>
                    <a:pt x="12014" y="822"/>
                    <a:pt x="11300" y="822"/>
                  </a:cubicBezTo>
                  <a:lnTo>
                    <a:pt x="7752" y="822"/>
                  </a:lnTo>
                  <a:cubicBezTo>
                    <a:pt x="7657" y="822"/>
                    <a:pt x="7573" y="893"/>
                    <a:pt x="7573" y="1000"/>
                  </a:cubicBezTo>
                  <a:cubicBezTo>
                    <a:pt x="7573" y="1108"/>
                    <a:pt x="7657" y="1179"/>
                    <a:pt x="7752" y="1179"/>
                  </a:cubicBezTo>
                  <a:lnTo>
                    <a:pt x="11300" y="1179"/>
                  </a:lnTo>
                  <a:cubicBezTo>
                    <a:pt x="11788" y="1179"/>
                    <a:pt x="12145" y="1620"/>
                    <a:pt x="12026" y="2096"/>
                  </a:cubicBezTo>
                  <a:lnTo>
                    <a:pt x="11145" y="5894"/>
                  </a:lnTo>
                  <a:lnTo>
                    <a:pt x="10526" y="5894"/>
                  </a:lnTo>
                  <a:cubicBezTo>
                    <a:pt x="10609" y="5489"/>
                    <a:pt x="11300" y="2548"/>
                    <a:pt x="11419" y="2001"/>
                  </a:cubicBezTo>
                  <a:cubicBezTo>
                    <a:pt x="11443" y="1882"/>
                    <a:pt x="11359" y="1774"/>
                    <a:pt x="11240" y="1774"/>
                  </a:cubicBezTo>
                  <a:lnTo>
                    <a:pt x="3073" y="1774"/>
                  </a:lnTo>
                  <a:lnTo>
                    <a:pt x="2858" y="1167"/>
                  </a:lnTo>
                  <a:lnTo>
                    <a:pt x="7073" y="1167"/>
                  </a:lnTo>
                  <a:cubicBezTo>
                    <a:pt x="7180" y="1167"/>
                    <a:pt x="7252" y="1084"/>
                    <a:pt x="7252" y="989"/>
                  </a:cubicBezTo>
                  <a:cubicBezTo>
                    <a:pt x="7252" y="881"/>
                    <a:pt x="7180" y="810"/>
                    <a:pt x="7073" y="810"/>
                  </a:cubicBezTo>
                  <a:lnTo>
                    <a:pt x="2727" y="810"/>
                  </a:lnTo>
                  <a:cubicBezTo>
                    <a:pt x="2561" y="346"/>
                    <a:pt x="2096" y="0"/>
                    <a:pt x="1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33" name="Google Shape;10933;p60"/>
          <p:cNvGrpSpPr/>
          <p:nvPr/>
        </p:nvGrpSpPr>
        <p:grpSpPr>
          <a:xfrm>
            <a:off x="3097241" y="2433564"/>
            <a:ext cx="344883" cy="343387"/>
            <a:chOff x="3097241" y="2433564"/>
            <a:chExt cx="344883" cy="343387"/>
          </a:xfrm>
        </p:grpSpPr>
        <p:sp>
          <p:nvSpPr>
            <p:cNvPr id="10934" name="Google Shape;10934;p60"/>
            <p:cNvSpPr/>
            <p:nvPr/>
          </p:nvSpPr>
          <p:spPr>
            <a:xfrm>
              <a:off x="3151825" y="2465806"/>
              <a:ext cx="235746" cy="311146"/>
            </a:xfrm>
            <a:custGeom>
              <a:avLst/>
              <a:gdLst/>
              <a:ahLst/>
              <a:cxnLst/>
              <a:rect l="l" t="t" r="r" b="b"/>
              <a:pathLst>
                <a:path w="7407" h="9776" extrusionOk="0">
                  <a:moveTo>
                    <a:pt x="3703" y="322"/>
                  </a:moveTo>
                  <a:cubicBezTo>
                    <a:pt x="5573" y="322"/>
                    <a:pt x="7097" y="1846"/>
                    <a:pt x="7097" y="3715"/>
                  </a:cubicBezTo>
                  <a:cubicBezTo>
                    <a:pt x="7097" y="5239"/>
                    <a:pt x="6144" y="6728"/>
                    <a:pt x="5358" y="7704"/>
                  </a:cubicBezTo>
                  <a:cubicBezTo>
                    <a:pt x="4656" y="8573"/>
                    <a:pt x="3953" y="9192"/>
                    <a:pt x="3703" y="9418"/>
                  </a:cubicBezTo>
                  <a:cubicBezTo>
                    <a:pt x="3441" y="9192"/>
                    <a:pt x="2751" y="8573"/>
                    <a:pt x="2048" y="7704"/>
                  </a:cubicBezTo>
                  <a:cubicBezTo>
                    <a:pt x="1263" y="6728"/>
                    <a:pt x="310" y="5239"/>
                    <a:pt x="310" y="3715"/>
                  </a:cubicBezTo>
                  <a:cubicBezTo>
                    <a:pt x="310" y="1846"/>
                    <a:pt x="1822" y="322"/>
                    <a:pt x="3703" y="322"/>
                  </a:cubicBezTo>
                  <a:close/>
                  <a:moveTo>
                    <a:pt x="3703" y="1"/>
                  </a:moveTo>
                  <a:cubicBezTo>
                    <a:pt x="1667" y="1"/>
                    <a:pt x="0" y="1668"/>
                    <a:pt x="0" y="3704"/>
                  </a:cubicBezTo>
                  <a:cubicBezTo>
                    <a:pt x="0" y="4418"/>
                    <a:pt x="191" y="5192"/>
                    <a:pt x="560" y="5978"/>
                  </a:cubicBezTo>
                  <a:cubicBezTo>
                    <a:pt x="858" y="6609"/>
                    <a:pt x="1274" y="7263"/>
                    <a:pt x="1798" y="7894"/>
                  </a:cubicBezTo>
                  <a:cubicBezTo>
                    <a:pt x="2691" y="9002"/>
                    <a:pt x="3549" y="9716"/>
                    <a:pt x="3596" y="9740"/>
                  </a:cubicBezTo>
                  <a:cubicBezTo>
                    <a:pt x="3626" y="9764"/>
                    <a:pt x="3665" y="9776"/>
                    <a:pt x="3700" y="9776"/>
                  </a:cubicBezTo>
                  <a:cubicBezTo>
                    <a:pt x="3736" y="9776"/>
                    <a:pt x="3769" y="9764"/>
                    <a:pt x="3787" y="9740"/>
                  </a:cubicBezTo>
                  <a:cubicBezTo>
                    <a:pt x="3822" y="9716"/>
                    <a:pt x="4703" y="9002"/>
                    <a:pt x="5596" y="7894"/>
                  </a:cubicBezTo>
                  <a:cubicBezTo>
                    <a:pt x="6108" y="7252"/>
                    <a:pt x="6525" y="6609"/>
                    <a:pt x="6823" y="5978"/>
                  </a:cubicBezTo>
                  <a:cubicBezTo>
                    <a:pt x="7204" y="5192"/>
                    <a:pt x="7394" y="4418"/>
                    <a:pt x="7394" y="3704"/>
                  </a:cubicBezTo>
                  <a:cubicBezTo>
                    <a:pt x="7406" y="1668"/>
                    <a:pt x="5739" y="1"/>
                    <a:pt x="3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5" name="Google Shape;10935;p60"/>
            <p:cNvSpPr/>
            <p:nvPr/>
          </p:nvSpPr>
          <p:spPr>
            <a:xfrm>
              <a:off x="3179483" y="2492732"/>
              <a:ext cx="181926" cy="181894"/>
            </a:xfrm>
            <a:custGeom>
              <a:avLst/>
              <a:gdLst/>
              <a:ahLst/>
              <a:cxnLst/>
              <a:rect l="l" t="t" r="r" b="b"/>
              <a:pathLst>
                <a:path w="5716" h="5715" extrusionOk="0">
                  <a:moveTo>
                    <a:pt x="2858" y="0"/>
                  </a:moveTo>
                  <a:cubicBezTo>
                    <a:pt x="1286" y="0"/>
                    <a:pt x="1" y="1286"/>
                    <a:pt x="1" y="2858"/>
                  </a:cubicBezTo>
                  <a:cubicBezTo>
                    <a:pt x="1" y="4441"/>
                    <a:pt x="1286" y="5715"/>
                    <a:pt x="2858" y="5715"/>
                  </a:cubicBezTo>
                  <a:cubicBezTo>
                    <a:pt x="4442" y="5715"/>
                    <a:pt x="5716" y="4429"/>
                    <a:pt x="5716" y="2858"/>
                  </a:cubicBezTo>
                  <a:cubicBezTo>
                    <a:pt x="5692" y="2131"/>
                    <a:pt x="5418" y="1429"/>
                    <a:pt x="4918" y="893"/>
                  </a:cubicBezTo>
                  <a:cubicBezTo>
                    <a:pt x="4888" y="863"/>
                    <a:pt x="4846" y="848"/>
                    <a:pt x="4805" y="848"/>
                  </a:cubicBezTo>
                  <a:cubicBezTo>
                    <a:pt x="4763" y="848"/>
                    <a:pt x="4721" y="863"/>
                    <a:pt x="4692" y="893"/>
                  </a:cubicBezTo>
                  <a:cubicBezTo>
                    <a:pt x="4632" y="953"/>
                    <a:pt x="4632" y="1060"/>
                    <a:pt x="4692" y="1119"/>
                  </a:cubicBezTo>
                  <a:cubicBezTo>
                    <a:pt x="5144" y="1595"/>
                    <a:pt x="5394" y="2215"/>
                    <a:pt x="5394" y="2869"/>
                  </a:cubicBezTo>
                  <a:cubicBezTo>
                    <a:pt x="5394" y="4274"/>
                    <a:pt x="4251" y="5417"/>
                    <a:pt x="2846" y="5417"/>
                  </a:cubicBezTo>
                  <a:cubicBezTo>
                    <a:pt x="1453" y="5417"/>
                    <a:pt x="298" y="4274"/>
                    <a:pt x="298" y="2869"/>
                  </a:cubicBezTo>
                  <a:cubicBezTo>
                    <a:pt x="298" y="1476"/>
                    <a:pt x="1453" y="333"/>
                    <a:pt x="2846" y="333"/>
                  </a:cubicBezTo>
                  <a:cubicBezTo>
                    <a:pt x="3299" y="333"/>
                    <a:pt x="3739" y="452"/>
                    <a:pt x="4132" y="667"/>
                  </a:cubicBezTo>
                  <a:cubicBezTo>
                    <a:pt x="4157" y="683"/>
                    <a:pt x="4185" y="691"/>
                    <a:pt x="4214" y="691"/>
                  </a:cubicBezTo>
                  <a:cubicBezTo>
                    <a:pt x="4269" y="691"/>
                    <a:pt x="4323" y="662"/>
                    <a:pt x="4346" y="607"/>
                  </a:cubicBezTo>
                  <a:cubicBezTo>
                    <a:pt x="4394" y="536"/>
                    <a:pt x="4370" y="429"/>
                    <a:pt x="4287" y="393"/>
                  </a:cubicBezTo>
                  <a:cubicBezTo>
                    <a:pt x="3858" y="131"/>
                    <a:pt x="3370" y="0"/>
                    <a:pt x="2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6" name="Google Shape;10936;p60"/>
            <p:cNvSpPr/>
            <p:nvPr/>
          </p:nvSpPr>
          <p:spPr>
            <a:xfrm>
              <a:off x="3242024" y="2524941"/>
              <a:ext cx="54202" cy="117857"/>
            </a:xfrm>
            <a:custGeom>
              <a:avLst/>
              <a:gdLst/>
              <a:ahLst/>
              <a:cxnLst/>
              <a:rect l="l" t="t" r="r" b="b"/>
              <a:pathLst>
                <a:path w="1703" h="3703" extrusionOk="0">
                  <a:moveTo>
                    <a:pt x="857" y="0"/>
                  </a:moveTo>
                  <a:cubicBezTo>
                    <a:pt x="762" y="0"/>
                    <a:pt x="691" y="71"/>
                    <a:pt x="691" y="167"/>
                  </a:cubicBezTo>
                  <a:lnTo>
                    <a:pt x="691" y="524"/>
                  </a:lnTo>
                  <a:cubicBezTo>
                    <a:pt x="322" y="560"/>
                    <a:pt x="24" y="881"/>
                    <a:pt x="24" y="1262"/>
                  </a:cubicBezTo>
                  <a:cubicBezTo>
                    <a:pt x="24" y="1679"/>
                    <a:pt x="357" y="2012"/>
                    <a:pt x="762" y="2012"/>
                  </a:cubicBezTo>
                  <a:lnTo>
                    <a:pt x="929" y="2012"/>
                  </a:lnTo>
                  <a:cubicBezTo>
                    <a:pt x="1167" y="2012"/>
                    <a:pt x="1357" y="2203"/>
                    <a:pt x="1357" y="2441"/>
                  </a:cubicBezTo>
                  <a:cubicBezTo>
                    <a:pt x="1357" y="2679"/>
                    <a:pt x="1167" y="2869"/>
                    <a:pt x="929" y="2869"/>
                  </a:cubicBezTo>
                  <a:lnTo>
                    <a:pt x="679" y="2869"/>
                  </a:lnTo>
                  <a:cubicBezTo>
                    <a:pt x="476" y="2869"/>
                    <a:pt x="334" y="2703"/>
                    <a:pt x="334" y="2524"/>
                  </a:cubicBezTo>
                  <a:cubicBezTo>
                    <a:pt x="334" y="2441"/>
                    <a:pt x="262" y="2369"/>
                    <a:pt x="167" y="2369"/>
                  </a:cubicBezTo>
                  <a:cubicBezTo>
                    <a:pt x="83" y="2369"/>
                    <a:pt x="0" y="2441"/>
                    <a:pt x="0" y="2524"/>
                  </a:cubicBezTo>
                  <a:cubicBezTo>
                    <a:pt x="0" y="2905"/>
                    <a:pt x="298" y="3203"/>
                    <a:pt x="679" y="3203"/>
                  </a:cubicBezTo>
                  <a:lnTo>
                    <a:pt x="691" y="3203"/>
                  </a:lnTo>
                  <a:lnTo>
                    <a:pt x="691" y="3536"/>
                  </a:lnTo>
                  <a:cubicBezTo>
                    <a:pt x="691" y="3631"/>
                    <a:pt x="762" y="3703"/>
                    <a:pt x="857" y="3703"/>
                  </a:cubicBezTo>
                  <a:cubicBezTo>
                    <a:pt x="941" y="3703"/>
                    <a:pt x="1012" y="3631"/>
                    <a:pt x="1012" y="3536"/>
                  </a:cubicBezTo>
                  <a:lnTo>
                    <a:pt x="1012" y="3179"/>
                  </a:lnTo>
                  <a:cubicBezTo>
                    <a:pt x="1393" y="3143"/>
                    <a:pt x="1691" y="2822"/>
                    <a:pt x="1691" y="2441"/>
                  </a:cubicBezTo>
                  <a:cubicBezTo>
                    <a:pt x="1691" y="2024"/>
                    <a:pt x="1346" y="1691"/>
                    <a:pt x="941" y="1691"/>
                  </a:cubicBezTo>
                  <a:lnTo>
                    <a:pt x="774" y="1691"/>
                  </a:lnTo>
                  <a:cubicBezTo>
                    <a:pt x="536" y="1691"/>
                    <a:pt x="345" y="1500"/>
                    <a:pt x="345" y="1262"/>
                  </a:cubicBezTo>
                  <a:cubicBezTo>
                    <a:pt x="345" y="1024"/>
                    <a:pt x="536" y="833"/>
                    <a:pt x="774" y="833"/>
                  </a:cubicBezTo>
                  <a:lnTo>
                    <a:pt x="1036" y="833"/>
                  </a:lnTo>
                  <a:cubicBezTo>
                    <a:pt x="1226" y="833"/>
                    <a:pt x="1369" y="1000"/>
                    <a:pt x="1369" y="1179"/>
                  </a:cubicBezTo>
                  <a:lnTo>
                    <a:pt x="1369" y="1345"/>
                  </a:lnTo>
                  <a:cubicBezTo>
                    <a:pt x="1393" y="1429"/>
                    <a:pt x="1453" y="1500"/>
                    <a:pt x="1536" y="1500"/>
                  </a:cubicBezTo>
                  <a:cubicBezTo>
                    <a:pt x="1631" y="1500"/>
                    <a:pt x="1703" y="1429"/>
                    <a:pt x="1703" y="1345"/>
                  </a:cubicBezTo>
                  <a:lnTo>
                    <a:pt x="1703" y="1179"/>
                  </a:lnTo>
                  <a:cubicBezTo>
                    <a:pt x="1703" y="810"/>
                    <a:pt x="1405" y="512"/>
                    <a:pt x="1036" y="512"/>
                  </a:cubicBezTo>
                  <a:lnTo>
                    <a:pt x="1012" y="512"/>
                  </a:lnTo>
                  <a:lnTo>
                    <a:pt x="1012" y="167"/>
                  </a:lnTo>
                  <a:cubicBezTo>
                    <a:pt x="1012" y="71"/>
                    <a:pt x="941" y="0"/>
                    <a:pt x="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7" name="Google Shape;10937;p60"/>
            <p:cNvSpPr/>
            <p:nvPr/>
          </p:nvSpPr>
          <p:spPr>
            <a:xfrm>
              <a:off x="3390945" y="2433724"/>
              <a:ext cx="51179" cy="85934"/>
            </a:xfrm>
            <a:custGeom>
              <a:avLst/>
              <a:gdLst/>
              <a:ahLst/>
              <a:cxnLst/>
              <a:rect l="l" t="t" r="r" b="b"/>
              <a:pathLst>
                <a:path w="1608" h="2700" extrusionOk="0">
                  <a:moveTo>
                    <a:pt x="182" y="1"/>
                  </a:moveTo>
                  <a:cubicBezTo>
                    <a:pt x="134" y="1"/>
                    <a:pt x="86" y="22"/>
                    <a:pt x="48" y="68"/>
                  </a:cubicBezTo>
                  <a:cubicBezTo>
                    <a:pt x="0" y="140"/>
                    <a:pt x="12" y="235"/>
                    <a:pt x="84" y="294"/>
                  </a:cubicBezTo>
                  <a:cubicBezTo>
                    <a:pt x="834" y="794"/>
                    <a:pt x="1274" y="1628"/>
                    <a:pt x="1274" y="2545"/>
                  </a:cubicBezTo>
                  <a:cubicBezTo>
                    <a:pt x="1274" y="2628"/>
                    <a:pt x="1358" y="2699"/>
                    <a:pt x="1441" y="2699"/>
                  </a:cubicBezTo>
                  <a:cubicBezTo>
                    <a:pt x="1536" y="2699"/>
                    <a:pt x="1608" y="2628"/>
                    <a:pt x="1608" y="2545"/>
                  </a:cubicBezTo>
                  <a:cubicBezTo>
                    <a:pt x="1596" y="1533"/>
                    <a:pt x="1096" y="592"/>
                    <a:pt x="262" y="20"/>
                  </a:cubicBezTo>
                  <a:cubicBezTo>
                    <a:pt x="237" y="8"/>
                    <a:pt x="209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8" name="Google Shape;10938;p60"/>
            <p:cNvSpPr/>
            <p:nvPr/>
          </p:nvSpPr>
          <p:spPr>
            <a:xfrm>
              <a:off x="3360613" y="2478187"/>
              <a:ext cx="27340" cy="41471"/>
            </a:xfrm>
            <a:custGeom>
              <a:avLst/>
              <a:gdLst/>
              <a:ahLst/>
              <a:cxnLst/>
              <a:rect l="l" t="t" r="r" b="b"/>
              <a:pathLst>
                <a:path w="859" h="1303" extrusionOk="0">
                  <a:moveTo>
                    <a:pt x="177" y="1"/>
                  </a:moveTo>
                  <a:cubicBezTo>
                    <a:pt x="131" y="1"/>
                    <a:pt x="85" y="25"/>
                    <a:pt x="48" y="76"/>
                  </a:cubicBezTo>
                  <a:cubicBezTo>
                    <a:pt x="1" y="147"/>
                    <a:pt x="13" y="231"/>
                    <a:pt x="84" y="290"/>
                  </a:cubicBezTo>
                  <a:cubicBezTo>
                    <a:pt x="370" y="493"/>
                    <a:pt x="537" y="802"/>
                    <a:pt x="537" y="1148"/>
                  </a:cubicBezTo>
                  <a:cubicBezTo>
                    <a:pt x="537" y="1231"/>
                    <a:pt x="608" y="1302"/>
                    <a:pt x="703" y="1302"/>
                  </a:cubicBezTo>
                  <a:cubicBezTo>
                    <a:pt x="787" y="1302"/>
                    <a:pt x="858" y="1231"/>
                    <a:pt x="858" y="1148"/>
                  </a:cubicBezTo>
                  <a:cubicBezTo>
                    <a:pt x="858" y="683"/>
                    <a:pt x="644" y="278"/>
                    <a:pt x="263" y="28"/>
                  </a:cubicBezTo>
                  <a:cubicBezTo>
                    <a:pt x="235" y="10"/>
                    <a:pt x="206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9" name="Google Shape;10939;p60"/>
            <p:cNvSpPr/>
            <p:nvPr/>
          </p:nvSpPr>
          <p:spPr>
            <a:xfrm>
              <a:off x="3375795" y="2455939"/>
              <a:ext cx="39434" cy="63719"/>
            </a:xfrm>
            <a:custGeom>
              <a:avLst/>
              <a:gdLst/>
              <a:ahLst/>
              <a:cxnLst/>
              <a:rect l="l" t="t" r="r" b="b"/>
              <a:pathLst>
                <a:path w="1239" h="2002" extrusionOk="0">
                  <a:moveTo>
                    <a:pt x="183" y="0"/>
                  </a:moveTo>
                  <a:cubicBezTo>
                    <a:pt x="134" y="0"/>
                    <a:pt x="86" y="26"/>
                    <a:pt x="48" y="73"/>
                  </a:cubicBezTo>
                  <a:cubicBezTo>
                    <a:pt x="0" y="144"/>
                    <a:pt x="12" y="239"/>
                    <a:pt x="83" y="299"/>
                  </a:cubicBezTo>
                  <a:cubicBezTo>
                    <a:pt x="595" y="632"/>
                    <a:pt x="905" y="1216"/>
                    <a:pt x="905" y="1847"/>
                  </a:cubicBezTo>
                  <a:cubicBezTo>
                    <a:pt x="905" y="1930"/>
                    <a:pt x="976" y="2001"/>
                    <a:pt x="1072" y="2001"/>
                  </a:cubicBezTo>
                  <a:cubicBezTo>
                    <a:pt x="1155" y="2001"/>
                    <a:pt x="1238" y="1930"/>
                    <a:pt x="1238" y="1847"/>
                  </a:cubicBezTo>
                  <a:cubicBezTo>
                    <a:pt x="1238" y="1108"/>
                    <a:pt x="881" y="430"/>
                    <a:pt x="262" y="25"/>
                  </a:cubicBezTo>
                  <a:cubicBezTo>
                    <a:pt x="237" y="8"/>
                    <a:pt x="210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0" name="Google Shape;10940;p60"/>
            <p:cNvSpPr/>
            <p:nvPr/>
          </p:nvSpPr>
          <p:spPr>
            <a:xfrm>
              <a:off x="3097241" y="2433564"/>
              <a:ext cx="50829" cy="85711"/>
            </a:xfrm>
            <a:custGeom>
              <a:avLst/>
              <a:gdLst/>
              <a:ahLst/>
              <a:cxnLst/>
              <a:rect l="l" t="t" r="r" b="b"/>
              <a:pathLst>
                <a:path w="1597" h="2693" extrusionOk="0">
                  <a:moveTo>
                    <a:pt x="1408" y="1"/>
                  </a:moveTo>
                  <a:cubicBezTo>
                    <a:pt x="1378" y="1"/>
                    <a:pt x="1348" y="9"/>
                    <a:pt x="1323" y="25"/>
                  </a:cubicBezTo>
                  <a:cubicBezTo>
                    <a:pt x="489" y="597"/>
                    <a:pt x="1" y="1538"/>
                    <a:pt x="1" y="2526"/>
                  </a:cubicBezTo>
                  <a:cubicBezTo>
                    <a:pt x="1" y="2621"/>
                    <a:pt x="72" y="2692"/>
                    <a:pt x="168" y="2692"/>
                  </a:cubicBezTo>
                  <a:cubicBezTo>
                    <a:pt x="251" y="2692"/>
                    <a:pt x="322" y="2621"/>
                    <a:pt x="322" y="2526"/>
                  </a:cubicBezTo>
                  <a:cubicBezTo>
                    <a:pt x="322" y="1633"/>
                    <a:pt x="775" y="787"/>
                    <a:pt x="1513" y="275"/>
                  </a:cubicBezTo>
                  <a:cubicBezTo>
                    <a:pt x="1573" y="240"/>
                    <a:pt x="1596" y="133"/>
                    <a:pt x="1549" y="73"/>
                  </a:cubicBezTo>
                  <a:cubicBezTo>
                    <a:pt x="1518" y="27"/>
                    <a:pt x="1462" y="1"/>
                    <a:pt x="14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1" name="Google Shape;10941;p60"/>
            <p:cNvSpPr/>
            <p:nvPr/>
          </p:nvSpPr>
          <p:spPr>
            <a:xfrm>
              <a:off x="3151061" y="2477773"/>
              <a:ext cx="27690" cy="41503"/>
            </a:xfrm>
            <a:custGeom>
              <a:avLst/>
              <a:gdLst/>
              <a:ahLst/>
              <a:cxnLst/>
              <a:rect l="l" t="t" r="r" b="b"/>
              <a:pathLst>
                <a:path w="870" h="1304" extrusionOk="0">
                  <a:moveTo>
                    <a:pt x="681" y="1"/>
                  </a:moveTo>
                  <a:cubicBezTo>
                    <a:pt x="647" y="1"/>
                    <a:pt x="613" y="10"/>
                    <a:pt x="584" y="29"/>
                  </a:cubicBezTo>
                  <a:cubicBezTo>
                    <a:pt x="215" y="280"/>
                    <a:pt x="1" y="696"/>
                    <a:pt x="1" y="1137"/>
                  </a:cubicBezTo>
                  <a:cubicBezTo>
                    <a:pt x="1" y="1232"/>
                    <a:pt x="84" y="1303"/>
                    <a:pt x="167" y="1303"/>
                  </a:cubicBezTo>
                  <a:cubicBezTo>
                    <a:pt x="263" y="1303"/>
                    <a:pt x="334" y="1232"/>
                    <a:pt x="334" y="1137"/>
                  </a:cubicBezTo>
                  <a:cubicBezTo>
                    <a:pt x="334" y="803"/>
                    <a:pt x="501" y="482"/>
                    <a:pt x="775" y="291"/>
                  </a:cubicBezTo>
                  <a:cubicBezTo>
                    <a:pt x="834" y="244"/>
                    <a:pt x="870" y="149"/>
                    <a:pt x="810" y="65"/>
                  </a:cubicBezTo>
                  <a:cubicBezTo>
                    <a:pt x="782" y="22"/>
                    <a:pt x="732" y="1"/>
                    <a:pt x="6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2" name="Google Shape;10942;p60"/>
            <p:cNvSpPr/>
            <p:nvPr/>
          </p:nvSpPr>
          <p:spPr>
            <a:xfrm>
              <a:off x="3124167" y="2455939"/>
              <a:ext cx="39434" cy="63337"/>
            </a:xfrm>
            <a:custGeom>
              <a:avLst/>
              <a:gdLst/>
              <a:ahLst/>
              <a:cxnLst/>
              <a:rect l="l" t="t" r="r" b="b"/>
              <a:pathLst>
                <a:path w="1239" h="1990" extrusionOk="0">
                  <a:moveTo>
                    <a:pt x="1038" y="0"/>
                  </a:moveTo>
                  <a:cubicBezTo>
                    <a:pt x="1008" y="0"/>
                    <a:pt x="978" y="8"/>
                    <a:pt x="953" y="25"/>
                  </a:cubicBezTo>
                  <a:cubicBezTo>
                    <a:pt x="357" y="430"/>
                    <a:pt x="0" y="1108"/>
                    <a:pt x="0" y="1823"/>
                  </a:cubicBezTo>
                  <a:cubicBezTo>
                    <a:pt x="0" y="1918"/>
                    <a:pt x="72" y="1989"/>
                    <a:pt x="167" y="1989"/>
                  </a:cubicBezTo>
                  <a:cubicBezTo>
                    <a:pt x="250" y="1989"/>
                    <a:pt x="334" y="1918"/>
                    <a:pt x="334" y="1823"/>
                  </a:cubicBezTo>
                  <a:cubicBezTo>
                    <a:pt x="334" y="1204"/>
                    <a:pt x="643" y="632"/>
                    <a:pt x="1143" y="275"/>
                  </a:cubicBezTo>
                  <a:cubicBezTo>
                    <a:pt x="1203" y="239"/>
                    <a:pt x="1239" y="132"/>
                    <a:pt x="1179" y="73"/>
                  </a:cubicBezTo>
                  <a:cubicBezTo>
                    <a:pt x="1148" y="26"/>
                    <a:pt x="1093" y="0"/>
                    <a:pt x="10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43" name="Google Shape;10943;p60"/>
          <p:cNvGrpSpPr/>
          <p:nvPr/>
        </p:nvGrpSpPr>
        <p:grpSpPr>
          <a:xfrm>
            <a:off x="1278299" y="2439293"/>
            <a:ext cx="410829" cy="332343"/>
            <a:chOff x="1278299" y="2439293"/>
            <a:chExt cx="410829" cy="332343"/>
          </a:xfrm>
        </p:grpSpPr>
        <p:sp>
          <p:nvSpPr>
            <p:cNvPr id="10944" name="Google Shape;10944;p60"/>
            <p:cNvSpPr/>
            <p:nvPr/>
          </p:nvSpPr>
          <p:spPr>
            <a:xfrm>
              <a:off x="1360159" y="2510141"/>
              <a:ext cx="245963" cy="12540"/>
            </a:xfrm>
            <a:custGeom>
              <a:avLst/>
              <a:gdLst/>
              <a:ahLst/>
              <a:cxnLst/>
              <a:rect l="l" t="t" r="r" b="b"/>
              <a:pathLst>
                <a:path w="7728" h="394" extrusionOk="0">
                  <a:moveTo>
                    <a:pt x="191" y="1"/>
                  </a:moveTo>
                  <a:cubicBezTo>
                    <a:pt x="96" y="1"/>
                    <a:pt x="1" y="96"/>
                    <a:pt x="1" y="203"/>
                  </a:cubicBezTo>
                  <a:cubicBezTo>
                    <a:pt x="1" y="298"/>
                    <a:pt x="96" y="394"/>
                    <a:pt x="191" y="394"/>
                  </a:cubicBezTo>
                  <a:lnTo>
                    <a:pt x="7537" y="394"/>
                  </a:lnTo>
                  <a:cubicBezTo>
                    <a:pt x="7633" y="394"/>
                    <a:pt x="7728" y="298"/>
                    <a:pt x="7728" y="203"/>
                  </a:cubicBezTo>
                  <a:cubicBezTo>
                    <a:pt x="7728" y="96"/>
                    <a:pt x="7633" y="1"/>
                    <a:pt x="7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5" name="Google Shape;10945;p60"/>
            <p:cNvSpPr/>
            <p:nvPr/>
          </p:nvSpPr>
          <p:spPr>
            <a:xfrm>
              <a:off x="1360159" y="2575706"/>
              <a:ext cx="245963" cy="12158"/>
            </a:xfrm>
            <a:custGeom>
              <a:avLst/>
              <a:gdLst/>
              <a:ahLst/>
              <a:cxnLst/>
              <a:rect l="l" t="t" r="r" b="b"/>
              <a:pathLst>
                <a:path w="7728" h="382" extrusionOk="0">
                  <a:moveTo>
                    <a:pt x="191" y="0"/>
                  </a:moveTo>
                  <a:cubicBezTo>
                    <a:pt x="96" y="0"/>
                    <a:pt x="1" y="84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7537" y="381"/>
                  </a:lnTo>
                  <a:cubicBezTo>
                    <a:pt x="7633" y="381"/>
                    <a:pt x="7728" y="298"/>
                    <a:pt x="7728" y="191"/>
                  </a:cubicBezTo>
                  <a:cubicBezTo>
                    <a:pt x="7728" y="84"/>
                    <a:pt x="7633" y="0"/>
                    <a:pt x="7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6" name="Google Shape;10946;p60"/>
            <p:cNvSpPr/>
            <p:nvPr/>
          </p:nvSpPr>
          <p:spPr>
            <a:xfrm>
              <a:off x="1437086" y="2618132"/>
              <a:ext cx="92873" cy="12540"/>
            </a:xfrm>
            <a:custGeom>
              <a:avLst/>
              <a:gdLst/>
              <a:ahLst/>
              <a:cxnLst/>
              <a:rect l="l" t="t" r="r" b="b"/>
              <a:pathLst>
                <a:path w="2918" h="394" extrusionOk="0">
                  <a:moveTo>
                    <a:pt x="191" y="1"/>
                  </a:moveTo>
                  <a:cubicBezTo>
                    <a:pt x="84" y="1"/>
                    <a:pt x="1" y="96"/>
                    <a:pt x="1" y="203"/>
                  </a:cubicBezTo>
                  <a:cubicBezTo>
                    <a:pt x="1" y="299"/>
                    <a:pt x="84" y="394"/>
                    <a:pt x="191" y="394"/>
                  </a:cubicBezTo>
                  <a:lnTo>
                    <a:pt x="2715" y="394"/>
                  </a:lnTo>
                  <a:cubicBezTo>
                    <a:pt x="2822" y="394"/>
                    <a:pt x="2918" y="299"/>
                    <a:pt x="2918" y="203"/>
                  </a:cubicBezTo>
                  <a:cubicBezTo>
                    <a:pt x="2918" y="96"/>
                    <a:pt x="2822" y="1"/>
                    <a:pt x="2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7" name="Google Shape;10947;p60"/>
            <p:cNvSpPr/>
            <p:nvPr/>
          </p:nvSpPr>
          <p:spPr>
            <a:xfrm>
              <a:off x="1419295" y="2543115"/>
              <a:ext cx="186827" cy="12158"/>
            </a:xfrm>
            <a:custGeom>
              <a:avLst/>
              <a:gdLst/>
              <a:ahLst/>
              <a:cxnLst/>
              <a:rect l="l" t="t" r="r" b="b"/>
              <a:pathLst>
                <a:path w="5870" h="382" extrusionOk="0">
                  <a:moveTo>
                    <a:pt x="191" y="1"/>
                  </a:moveTo>
                  <a:cubicBezTo>
                    <a:pt x="95" y="1"/>
                    <a:pt x="0" y="84"/>
                    <a:pt x="0" y="191"/>
                  </a:cubicBezTo>
                  <a:cubicBezTo>
                    <a:pt x="0" y="298"/>
                    <a:pt x="95" y="382"/>
                    <a:pt x="191" y="382"/>
                  </a:cubicBezTo>
                  <a:lnTo>
                    <a:pt x="5679" y="382"/>
                  </a:lnTo>
                  <a:cubicBezTo>
                    <a:pt x="5775" y="382"/>
                    <a:pt x="5870" y="298"/>
                    <a:pt x="5870" y="191"/>
                  </a:cubicBezTo>
                  <a:cubicBezTo>
                    <a:pt x="5870" y="84"/>
                    <a:pt x="5775" y="1"/>
                    <a:pt x="5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8" name="Google Shape;10948;p60"/>
            <p:cNvSpPr/>
            <p:nvPr/>
          </p:nvSpPr>
          <p:spPr>
            <a:xfrm>
              <a:off x="1360541" y="2543115"/>
              <a:ext cx="43604" cy="12158"/>
            </a:xfrm>
            <a:custGeom>
              <a:avLst/>
              <a:gdLst/>
              <a:ahLst/>
              <a:cxnLst/>
              <a:rect l="l" t="t" r="r" b="b"/>
              <a:pathLst>
                <a:path w="1370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1179" y="382"/>
                  </a:lnTo>
                  <a:cubicBezTo>
                    <a:pt x="1286" y="382"/>
                    <a:pt x="1370" y="298"/>
                    <a:pt x="1370" y="191"/>
                  </a:cubicBezTo>
                  <a:cubicBezTo>
                    <a:pt x="1358" y="72"/>
                    <a:pt x="1286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9" name="Google Shape;10949;p60"/>
            <p:cNvSpPr/>
            <p:nvPr/>
          </p:nvSpPr>
          <p:spPr>
            <a:xfrm>
              <a:off x="1306721" y="2469211"/>
              <a:ext cx="353222" cy="228171"/>
            </a:xfrm>
            <a:custGeom>
              <a:avLst/>
              <a:gdLst/>
              <a:ahLst/>
              <a:cxnLst/>
              <a:rect l="l" t="t" r="r" b="b"/>
              <a:pathLst>
                <a:path w="11098" h="7169" extrusionOk="0">
                  <a:moveTo>
                    <a:pt x="1144" y="1"/>
                  </a:moveTo>
                  <a:cubicBezTo>
                    <a:pt x="1025" y="1"/>
                    <a:pt x="918" y="96"/>
                    <a:pt x="906" y="215"/>
                  </a:cubicBezTo>
                  <a:cubicBezTo>
                    <a:pt x="894" y="596"/>
                    <a:pt x="596" y="894"/>
                    <a:pt x="215" y="906"/>
                  </a:cubicBezTo>
                  <a:cubicBezTo>
                    <a:pt x="96" y="906"/>
                    <a:pt x="1" y="1013"/>
                    <a:pt x="1" y="1144"/>
                  </a:cubicBezTo>
                  <a:lnTo>
                    <a:pt x="1" y="6025"/>
                  </a:lnTo>
                  <a:cubicBezTo>
                    <a:pt x="1" y="6144"/>
                    <a:pt x="96" y="6252"/>
                    <a:pt x="215" y="6264"/>
                  </a:cubicBezTo>
                  <a:cubicBezTo>
                    <a:pt x="596" y="6275"/>
                    <a:pt x="894" y="6573"/>
                    <a:pt x="906" y="6942"/>
                  </a:cubicBezTo>
                  <a:cubicBezTo>
                    <a:pt x="906" y="7061"/>
                    <a:pt x="1013" y="7168"/>
                    <a:pt x="1144" y="7168"/>
                  </a:cubicBezTo>
                  <a:lnTo>
                    <a:pt x="6728" y="7168"/>
                  </a:lnTo>
                  <a:cubicBezTo>
                    <a:pt x="6835" y="7168"/>
                    <a:pt x="6918" y="7085"/>
                    <a:pt x="6918" y="6978"/>
                  </a:cubicBezTo>
                  <a:cubicBezTo>
                    <a:pt x="6918" y="6871"/>
                    <a:pt x="6835" y="6787"/>
                    <a:pt x="6728" y="6787"/>
                  </a:cubicBezTo>
                  <a:lnTo>
                    <a:pt x="1275" y="6787"/>
                  </a:lnTo>
                  <a:cubicBezTo>
                    <a:pt x="1203" y="6323"/>
                    <a:pt x="846" y="5978"/>
                    <a:pt x="382" y="5894"/>
                  </a:cubicBezTo>
                  <a:lnTo>
                    <a:pt x="382" y="1263"/>
                  </a:lnTo>
                  <a:cubicBezTo>
                    <a:pt x="846" y="1191"/>
                    <a:pt x="1192" y="834"/>
                    <a:pt x="1275" y="370"/>
                  </a:cubicBezTo>
                  <a:lnTo>
                    <a:pt x="9776" y="370"/>
                  </a:lnTo>
                  <a:cubicBezTo>
                    <a:pt x="9847" y="846"/>
                    <a:pt x="10240" y="1203"/>
                    <a:pt x="10717" y="1263"/>
                  </a:cubicBezTo>
                  <a:lnTo>
                    <a:pt x="10717" y="4466"/>
                  </a:lnTo>
                  <a:cubicBezTo>
                    <a:pt x="10717" y="4561"/>
                    <a:pt x="10800" y="4656"/>
                    <a:pt x="10907" y="4656"/>
                  </a:cubicBezTo>
                  <a:cubicBezTo>
                    <a:pt x="11014" y="4656"/>
                    <a:pt x="11098" y="4561"/>
                    <a:pt x="11098" y="4466"/>
                  </a:cubicBezTo>
                  <a:lnTo>
                    <a:pt x="11098" y="1108"/>
                  </a:lnTo>
                  <a:cubicBezTo>
                    <a:pt x="11086" y="1072"/>
                    <a:pt x="11062" y="1013"/>
                    <a:pt x="11014" y="965"/>
                  </a:cubicBezTo>
                  <a:cubicBezTo>
                    <a:pt x="10967" y="918"/>
                    <a:pt x="10907" y="906"/>
                    <a:pt x="10848" y="906"/>
                  </a:cubicBezTo>
                  <a:cubicBezTo>
                    <a:pt x="10467" y="906"/>
                    <a:pt x="10145" y="608"/>
                    <a:pt x="10133" y="215"/>
                  </a:cubicBezTo>
                  <a:cubicBezTo>
                    <a:pt x="10133" y="96"/>
                    <a:pt x="10026" y="1"/>
                    <a:pt x="98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0" name="Google Shape;10950;p60"/>
            <p:cNvSpPr/>
            <p:nvPr/>
          </p:nvSpPr>
          <p:spPr>
            <a:xfrm>
              <a:off x="1278299" y="2439293"/>
              <a:ext cx="410829" cy="332343"/>
            </a:xfrm>
            <a:custGeom>
              <a:avLst/>
              <a:gdLst/>
              <a:ahLst/>
              <a:cxnLst/>
              <a:rect l="l" t="t" r="r" b="b"/>
              <a:pathLst>
                <a:path w="12908" h="10442" extrusionOk="0">
                  <a:moveTo>
                    <a:pt x="12348" y="369"/>
                  </a:moveTo>
                  <a:cubicBezTo>
                    <a:pt x="12431" y="369"/>
                    <a:pt x="12503" y="429"/>
                    <a:pt x="12503" y="524"/>
                  </a:cubicBezTo>
                  <a:lnTo>
                    <a:pt x="12503" y="8513"/>
                  </a:lnTo>
                  <a:cubicBezTo>
                    <a:pt x="12503" y="8585"/>
                    <a:pt x="12443" y="8656"/>
                    <a:pt x="12348" y="8656"/>
                  </a:cubicBezTo>
                  <a:lnTo>
                    <a:pt x="11610" y="8656"/>
                  </a:lnTo>
                  <a:lnTo>
                    <a:pt x="11502" y="8454"/>
                  </a:lnTo>
                  <a:cubicBezTo>
                    <a:pt x="11502" y="8454"/>
                    <a:pt x="11514" y="8454"/>
                    <a:pt x="11514" y="8442"/>
                  </a:cubicBezTo>
                  <a:cubicBezTo>
                    <a:pt x="11776" y="8323"/>
                    <a:pt x="11931" y="8049"/>
                    <a:pt x="11907" y="7763"/>
                  </a:cubicBezTo>
                  <a:cubicBezTo>
                    <a:pt x="11907" y="7692"/>
                    <a:pt x="11919" y="7632"/>
                    <a:pt x="11967" y="7573"/>
                  </a:cubicBezTo>
                  <a:cubicBezTo>
                    <a:pt x="12133" y="7334"/>
                    <a:pt x="12133" y="7025"/>
                    <a:pt x="11967" y="6799"/>
                  </a:cubicBezTo>
                  <a:cubicBezTo>
                    <a:pt x="11919" y="6739"/>
                    <a:pt x="11907" y="6668"/>
                    <a:pt x="11907" y="6608"/>
                  </a:cubicBezTo>
                  <a:cubicBezTo>
                    <a:pt x="11931" y="6322"/>
                    <a:pt x="11776" y="6061"/>
                    <a:pt x="11514" y="5941"/>
                  </a:cubicBezTo>
                  <a:cubicBezTo>
                    <a:pt x="11455" y="5906"/>
                    <a:pt x="11395" y="5858"/>
                    <a:pt x="11371" y="5787"/>
                  </a:cubicBezTo>
                  <a:cubicBezTo>
                    <a:pt x="11263" y="5559"/>
                    <a:pt x="11027" y="5401"/>
                    <a:pt x="10779" y="5401"/>
                  </a:cubicBezTo>
                  <a:cubicBezTo>
                    <a:pt x="10754" y="5401"/>
                    <a:pt x="10729" y="5402"/>
                    <a:pt x="10705" y="5406"/>
                  </a:cubicBezTo>
                  <a:cubicBezTo>
                    <a:pt x="10621" y="5406"/>
                    <a:pt x="10562" y="5382"/>
                    <a:pt x="10502" y="5346"/>
                  </a:cubicBezTo>
                  <a:cubicBezTo>
                    <a:pt x="10383" y="5263"/>
                    <a:pt x="10246" y="5221"/>
                    <a:pt x="10111" y="5221"/>
                  </a:cubicBezTo>
                  <a:cubicBezTo>
                    <a:pt x="9975" y="5221"/>
                    <a:pt x="9841" y="5263"/>
                    <a:pt x="9728" y="5346"/>
                  </a:cubicBezTo>
                  <a:cubicBezTo>
                    <a:pt x="9669" y="5382"/>
                    <a:pt x="9597" y="5406"/>
                    <a:pt x="9538" y="5406"/>
                  </a:cubicBezTo>
                  <a:cubicBezTo>
                    <a:pt x="9512" y="5402"/>
                    <a:pt x="9486" y="5401"/>
                    <a:pt x="9461" y="5401"/>
                  </a:cubicBezTo>
                  <a:cubicBezTo>
                    <a:pt x="9206" y="5401"/>
                    <a:pt x="8979" y="5559"/>
                    <a:pt x="8871" y="5787"/>
                  </a:cubicBezTo>
                  <a:cubicBezTo>
                    <a:pt x="8835" y="5846"/>
                    <a:pt x="8800" y="5906"/>
                    <a:pt x="8716" y="5941"/>
                  </a:cubicBezTo>
                  <a:cubicBezTo>
                    <a:pt x="8466" y="6061"/>
                    <a:pt x="8300" y="6322"/>
                    <a:pt x="8335" y="6608"/>
                  </a:cubicBezTo>
                  <a:cubicBezTo>
                    <a:pt x="8335" y="6680"/>
                    <a:pt x="8323" y="6739"/>
                    <a:pt x="8276" y="6799"/>
                  </a:cubicBezTo>
                  <a:cubicBezTo>
                    <a:pt x="8109" y="7037"/>
                    <a:pt x="8109" y="7346"/>
                    <a:pt x="8276" y="7573"/>
                  </a:cubicBezTo>
                  <a:cubicBezTo>
                    <a:pt x="8323" y="7632"/>
                    <a:pt x="8335" y="7704"/>
                    <a:pt x="8335" y="7763"/>
                  </a:cubicBezTo>
                  <a:cubicBezTo>
                    <a:pt x="8300" y="8049"/>
                    <a:pt x="8466" y="8323"/>
                    <a:pt x="8716" y="8442"/>
                  </a:cubicBezTo>
                  <a:cubicBezTo>
                    <a:pt x="8716" y="8442"/>
                    <a:pt x="8740" y="8442"/>
                    <a:pt x="8740" y="8454"/>
                  </a:cubicBezTo>
                  <a:lnTo>
                    <a:pt x="8633" y="8656"/>
                  </a:lnTo>
                  <a:lnTo>
                    <a:pt x="525" y="8656"/>
                  </a:lnTo>
                  <a:cubicBezTo>
                    <a:pt x="441" y="8656"/>
                    <a:pt x="370" y="8597"/>
                    <a:pt x="370" y="8513"/>
                  </a:cubicBezTo>
                  <a:lnTo>
                    <a:pt x="370" y="524"/>
                  </a:lnTo>
                  <a:cubicBezTo>
                    <a:pt x="370" y="441"/>
                    <a:pt x="430" y="369"/>
                    <a:pt x="525" y="369"/>
                  </a:cubicBezTo>
                  <a:close/>
                  <a:moveTo>
                    <a:pt x="10139" y="5638"/>
                  </a:moveTo>
                  <a:cubicBezTo>
                    <a:pt x="10199" y="5638"/>
                    <a:pt x="10258" y="5656"/>
                    <a:pt x="10312" y="5691"/>
                  </a:cubicBezTo>
                  <a:cubicBezTo>
                    <a:pt x="10420" y="5770"/>
                    <a:pt x="10553" y="5817"/>
                    <a:pt x="10684" y="5817"/>
                  </a:cubicBezTo>
                  <a:cubicBezTo>
                    <a:pt x="10711" y="5817"/>
                    <a:pt x="10738" y="5815"/>
                    <a:pt x="10764" y="5810"/>
                  </a:cubicBezTo>
                  <a:cubicBezTo>
                    <a:pt x="10773" y="5810"/>
                    <a:pt x="10782" y="5809"/>
                    <a:pt x="10790" y="5809"/>
                  </a:cubicBezTo>
                  <a:cubicBezTo>
                    <a:pt x="10900" y="5809"/>
                    <a:pt x="11007" y="5878"/>
                    <a:pt x="11062" y="5977"/>
                  </a:cubicBezTo>
                  <a:cubicBezTo>
                    <a:pt x="11133" y="6132"/>
                    <a:pt x="11229" y="6251"/>
                    <a:pt x="11383" y="6311"/>
                  </a:cubicBezTo>
                  <a:cubicBezTo>
                    <a:pt x="11502" y="6370"/>
                    <a:pt x="11562" y="6477"/>
                    <a:pt x="11550" y="6608"/>
                  </a:cubicBezTo>
                  <a:cubicBezTo>
                    <a:pt x="11526" y="6775"/>
                    <a:pt x="11574" y="6930"/>
                    <a:pt x="11669" y="7049"/>
                  </a:cubicBezTo>
                  <a:cubicBezTo>
                    <a:pt x="11741" y="7156"/>
                    <a:pt x="11741" y="7287"/>
                    <a:pt x="11669" y="7394"/>
                  </a:cubicBezTo>
                  <a:cubicBezTo>
                    <a:pt x="11574" y="7525"/>
                    <a:pt x="11538" y="7692"/>
                    <a:pt x="11550" y="7835"/>
                  </a:cubicBezTo>
                  <a:cubicBezTo>
                    <a:pt x="11562" y="7966"/>
                    <a:pt x="11490" y="8085"/>
                    <a:pt x="11383" y="8132"/>
                  </a:cubicBezTo>
                  <a:cubicBezTo>
                    <a:pt x="11288" y="8180"/>
                    <a:pt x="11217" y="8239"/>
                    <a:pt x="11157" y="8299"/>
                  </a:cubicBezTo>
                  <a:lnTo>
                    <a:pt x="11145" y="8323"/>
                  </a:lnTo>
                  <a:lnTo>
                    <a:pt x="11050" y="8454"/>
                  </a:lnTo>
                  <a:cubicBezTo>
                    <a:pt x="10995" y="8563"/>
                    <a:pt x="10911" y="8622"/>
                    <a:pt x="10787" y="8622"/>
                  </a:cubicBezTo>
                  <a:cubicBezTo>
                    <a:pt x="10776" y="8622"/>
                    <a:pt x="10764" y="8621"/>
                    <a:pt x="10752" y="8620"/>
                  </a:cubicBezTo>
                  <a:cubicBezTo>
                    <a:pt x="10726" y="8616"/>
                    <a:pt x="10699" y="8614"/>
                    <a:pt x="10672" y="8614"/>
                  </a:cubicBezTo>
                  <a:cubicBezTo>
                    <a:pt x="10542" y="8614"/>
                    <a:pt x="10410" y="8660"/>
                    <a:pt x="10312" y="8739"/>
                  </a:cubicBezTo>
                  <a:cubicBezTo>
                    <a:pt x="10252" y="8751"/>
                    <a:pt x="10205" y="8763"/>
                    <a:pt x="10169" y="8775"/>
                  </a:cubicBezTo>
                  <a:lnTo>
                    <a:pt x="10074" y="8775"/>
                  </a:lnTo>
                  <a:cubicBezTo>
                    <a:pt x="10026" y="8775"/>
                    <a:pt x="9978" y="8751"/>
                    <a:pt x="9955" y="8739"/>
                  </a:cubicBezTo>
                  <a:cubicBezTo>
                    <a:pt x="9836" y="8656"/>
                    <a:pt x="9705" y="8620"/>
                    <a:pt x="9562" y="8620"/>
                  </a:cubicBezTo>
                  <a:lnTo>
                    <a:pt x="9514" y="8620"/>
                  </a:lnTo>
                  <a:cubicBezTo>
                    <a:pt x="9504" y="8621"/>
                    <a:pt x="9495" y="8622"/>
                    <a:pt x="9486" y="8622"/>
                  </a:cubicBezTo>
                  <a:cubicBezTo>
                    <a:pt x="9366" y="8622"/>
                    <a:pt x="9261" y="8553"/>
                    <a:pt x="9216" y="8454"/>
                  </a:cubicBezTo>
                  <a:cubicBezTo>
                    <a:pt x="9181" y="8406"/>
                    <a:pt x="9157" y="8347"/>
                    <a:pt x="9121" y="8323"/>
                  </a:cubicBezTo>
                  <a:lnTo>
                    <a:pt x="9121" y="8299"/>
                  </a:lnTo>
                  <a:cubicBezTo>
                    <a:pt x="9062" y="8227"/>
                    <a:pt x="8990" y="8168"/>
                    <a:pt x="8895" y="8132"/>
                  </a:cubicBezTo>
                  <a:cubicBezTo>
                    <a:pt x="8776" y="8085"/>
                    <a:pt x="8716" y="7977"/>
                    <a:pt x="8728" y="7835"/>
                  </a:cubicBezTo>
                  <a:cubicBezTo>
                    <a:pt x="8752" y="7680"/>
                    <a:pt x="8704" y="7513"/>
                    <a:pt x="8609" y="7394"/>
                  </a:cubicBezTo>
                  <a:cubicBezTo>
                    <a:pt x="8538" y="7287"/>
                    <a:pt x="8538" y="7156"/>
                    <a:pt x="8609" y="7049"/>
                  </a:cubicBezTo>
                  <a:cubicBezTo>
                    <a:pt x="8704" y="6918"/>
                    <a:pt x="8752" y="6751"/>
                    <a:pt x="8728" y="6608"/>
                  </a:cubicBezTo>
                  <a:cubicBezTo>
                    <a:pt x="8716" y="6489"/>
                    <a:pt x="8788" y="6370"/>
                    <a:pt x="8895" y="6311"/>
                  </a:cubicBezTo>
                  <a:cubicBezTo>
                    <a:pt x="9050" y="6227"/>
                    <a:pt x="9169" y="6132"/>
                    <a:pt x="9228" y="5977"/>
                  </a:cubicBezTo>
                  <a:cubicBezTo>
                    <a:pt x="9283" y="5868"/>
                    <a:pt x="9387" y="5809"/>
                    <a:pt x="9496" y="5809"/>
                  </a:cubicBezTo>
                  <a:cubicBezTo>
                    <a:pt x="9506" y="5809"/>
                    <a:pt x="9516" y="5809"/>
                    <a:pt x="9526" y="5810"/>
                  </a:cubicBezTo>
                  <a:cubicBezTo>
                    <a:pt x="9552" y="5815"/>
                    <a:pt x="9579" y="5817"/>
                    <a:pt x="9606" y="5817"/>
                  </a:cubicBezTo>
                  <a:cubicBezTo>
                    <a:pt x="9737" y="5817"/>
                    <a:pt x="9868" y="5770"/>
                    <a:pt x="9966" y="5691"/>
                  </a:cubicBezTo>
                  <a:cubicBezTo>
                    <a:pt x="10020" y="5656"/>
                    <a:pt x="10080" y="5638"/>
                    <a:pt x="10139" y="5638"/>
                  </a:cubicBezTo>
                  <a:close/>
                  <a:moveTo>
                    <a:pt x="8990" y="8775"/>
                  </a:moveTo>
                  <a:cubicBezTo>
                    <a:pt x="9105" y="8910"/>
                    <a:pt x="9274" y="8982"/>
                    <a:pt x="9458" y="8982"/>
                  </a:cubicBezTo>
                  <a:cubicBezTo>
                    <a:pt x="9484" y="8982"/>
                    <a:pt x="9511" y="8981"/>
                    <a:pt x="9538" y="8978"/>
                  </a:cubicBezTo>
                  <a:cubicBezTo>
                    <a:pt x="9609" y="8978"/>
                    <a:pt x="9669" y="8989"/>
                    <a:pt x="9728" y="9037"/>
                  </a:cubicBezTo>
                  <a:cubicBezTo>
                    <a:pt x="9740" y="9049"/>
                    <a:pt x="9776" y="9061"/>
                    <a:pt x="9788" y="9061"/>
                  </a:cubicBezTo>
                  <a:lnTo>
                    <a:pt x="9383" y="9894"/>
                  </a:lnTo>
                  <a:lnTo>
                    <a:pt x="9193" y="9573"/>
                  </a:lnTo>
                  <a:cubicBezTo>
                    <a:pt x="9151" y="9500"/>
                    <a:pt x="9082" y="9463"/>
                    <a:pt x="9001" y="9463"/>
                  </a:cubicBezTo>
                  <a:cubicBezTo>
                    <a:pt x="8990" y="9463"/>
                    <a:pt x="8978" y="9464"/>
                    <a:pt x="8966" y="9466"/>
                  </a:cubicBezTo>
                  <a:lnTo>
                    <a:pt x="8633" y="9525"/>
                  </a:lnTo>
                  <a:lnTo>
                    <a:pt x="8990" y="8775"/>
                  </a:lnTo>
                  <a:close/>
                  <a:moveTo>
                    <a:pt x="11264" y="8775"/>
                  </a:moveTo>
                  <a:lnTo>
                    <a:pt x="11621" y="9525"/>
                  </a:lnTo>
                  <a:lnTo>
                    <a:pt x="11264" y="9466"/>
                  </a:lnTo>
                  <a:cubicBezTo>
                    <a:pt x="11254" y="9464"/>
                    <a:pt x="11243" y="9463"/>
                    <a:pt x="11233" y="9463"/>
                  </a:cubicBezTo>
                  <a:cubicBezTo>
                    <a:pt x="11158" y="9463"/>
                    <a:pt x="11080" y="9500"/>
                    <a:pt x="11038" y="9573"/>
                  </a:cubicBezTo>
                  <a:lnTo>
                    <a:pt x="10848" y="9894"/>
                  </a:lnTo>
                  <a:lnTo>
                    <a:pt x="10467" y="9061"/>
                  </a:lnTo>
                  <a:cubicBezTo>
                    <a:pt x="10478" y="9049"/>
                    <a:pt x="10502" y="9025"/>
                    <a:pt x="10514" y="9025"/>
                  </a:cubicBezTo>
                  <a:cubicBezTo>
                    <a:pt x="10574" y="8989"/>
                    <a:pt x="10657" y="8978"/>
                    <a:pt x="10717" y="8978"/>
                  </a:cubicBezTo>
                  <a:cubicBezTo>
                    <a:pt x="10731" y="8978"/>
                    <a:pt x="10746" y="8979"/>
                    <a:pt x="10760" y="8979"/>
                  </a:cubicBezTo>
                  <a:cubicBezTo>
                    <a:pt x="10946" y="8979"/>
                    <a:pt x="11121" y="8908"/>
                    <a:pt x="11264" y="8775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lnTo>
                    <a:pt x="1" y="8513"/>
                  </a:lnTo>
                  <a:cubicBezTo>
                    <a:pt x="1" y="8799"/>
                    <a:pt x="239" y="9037"/>
                    <a:pt x="525" y="9037"/>
                  </a:cubicBezTo>
                  <a:lnTo>
                    <a:pt x="8454" y="9037"/>
                  </a:lnTo>
                  <a:lnTo>
                    <a:pt x="8169" y="9632"/>
                  </a:lnTo>
                  <a:cubicBezTo>
                    <a:pt x="8145" y="9704"/>
                    <a:pt x="8145" y="9787"/>
                    <a:pt x="8204" y="9870"/>
                  </a:cubicBezTo>
                  <a:cubicBezTo>
                    <a:pt x="8234" y="9930"/>
                    <a:pt x="8306" y="9957"/>
                    <a:pt x="8370" y="9957"/>
                  </a:cubicBezTo>
                  <a:cubicBezTo>
                    <a:pt x="8383" y="9957"/>
                    <a:pt x="8395" y="9956"/>
                    <a:pt x="8407" y="9954"/>
                  </a:cubicBezTo>
                  <a:lnTo>
                    <a:pt x="8931" y="9870"/>
                  </a:lnTo>
                  <a:lnTo>
                    <a:pt x="9228" y="10347"/>
                  </a:lnTo>
                  <a:cubicBezTo>
                    <a:pt x="9276" y="10418"/>
                    <a:pt x="9347" y="10442"/>
                    <a:pt x="9419" y="10442"/>
                  </a:cubicBezTo>
                  <a:lnTo>
                    <a:pt x="9431" y="10442"/>
                  </a:lnTo>
                  <a:cubicBezTo>
                    <a:pt x="9526" y="10442"/>
                    <a:pt x="9585" y="10382"/>
                    <a:pt x="9633" y="10311"/>
                  </a:cubicBezTo>
                  <a:lnTo>
                    <a:pt x="10133" y="9251"/>
                  </a:lnTo>
                  <a:lnTo>
                    <a:pt x="10645" y="10311"/>
                  </a:lnTo>
                  <a:cubicBezTo>
                    <a:pt x="10669" y="10382"/>
                    <a:pt x="10740" y="10430"/>
                    <a:pt x="10836" y="10442"/>
                  </a:cubicBezTo>
                  <a:lnTo>
                    <a:pt x="10848" y="10442"/>
                  </a:lnTo>
                  <a:cubicBezTo>
                    <a:pt x="10919" y="10442"/>
                    <a:pt x="11002" y="10406"/>
                    <a:pt x="11038" y="10347"/>
                  </a:cubicBezTo>
                  <a:lnTo>
                    <a:pt x="11336" y="9870"/>
                  </a:lnTo>
                  <a:lnTo>
                    <a:pt x="11860" y="9954"/>
                  </a:lnTo>
                  <a:cubicBezTo>
                    <a:pt x="11875" y="9956"/>
                    <a:pt x="11890" y="9957"/>
                    <a:pt x="11904" y="9957"/>
                  </a:cubicBezTo>
                  <a:cubicBezTo>
                    <a:pt x="11977" y="9957"/>
                    <a:pt x="12034" y="9930"/>
                    <a:pt x="12074" y="9870"/>
                  </a:cubicBezTo>
                  <a:cubicBezTo>
                    <a:pt x="12110" y="9787"/>
                    <a:pt x="12133" y="9716"/>
                    <a:pt x="12098" y="9620"/>
                  </a:cubicBezTo>
                  <a:lnTo>
                    <a:pt x="11812" y="9025"/>
                  </a:lnTo>
                  <a:lnTo>
                    <a:pt x="12383" y="9025"/>
                  </a:lnTo>
                  <a:cubicBezTo>
                    <a:pt x="12669" y="9025"/>
                    <a:pt x="12907" y="8787"/>
                    <a:pt x="12907" y="8513"/>
                  </a:cubicBezTo>
                  <a:lnTo>
                    <a:pt x="12907" y="524"/>
                  </a:lnTo>
                  <a:cubicBezTo>
                    <a:pt x="12884" y="238"/>
                    <a:pt x="12645" y="0"/>
                    <a:pt x="12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1" name="Google Shape;10951;p60"/>
            <p:cNvSpPr/>
            <p:nvPr/>
          </p:nvSpPr>
          <p:spPr>
            <a:xfrm>
              <a:off x="1562519" y="2630640"/>
              <a:ext cx="74699" cy="74699"/>
            </a:xfrm>
            <a:custGeom>
              <a:avLst/>
              <a:gdLst/>
              <a:ahLst/>
              <a:cxnLst/>
              <a:rect l="l" t="t" r="r" b="b"/>
              <a:pathLst>
                <a:path w="2347" h="2347" extrusionOk="0">
                  <a:moveTo>
                    <a:pt x="1179" y="382"/>
                  </a:moveTo>
                  <a:cubicBezTo>
                    <a:pt x="1608" y="382"/>
                    <a:pt x="1965" y="739"/>
                    <a:pt x="1965" y="1180"/>
                  </a:cubicBezTo>
                  <a:cubicBezTo>
                    <a:pt x="1977" y="1608"/>
                    <a:pt x="1620" y="1965"/>
                    <a:pt x="1179" y="1965"/>
                  </a:cubicBezTo>
                  <a:cubicBezTo>
                    <a:pt x="739" y="1965"/>
                    <a:pt x="382" y="1608"/>
                    <a:pt x="382" y="1180"/>
                  </a:cubicBezTo>
                  <a:cubicBezTo>
                    <a:pt x="382" y="739"/>
                    <a:pt x="739" y="382"/>
                    <a:pt x="1179" y="382"/>
                  </a:cubicBezTo>
                  <a:close/>
                  <a:moveTo>
                    <a:pt x="1179" y="1"/>
                  </a:moveTo>
                  <a:cubicBezTo>
                    <a:pt x="536" y="1"/>
                    <a:pt x="1" y="525"/>
                    <a:pt x="1" y="1180"/>
                  </a:cubicBezTo>
                  <a:cubicBezTo>
                    <a:pt x="1" y="1811"/>
                    <a:pt x="525" y="2346"/>
                    <a:pt x="1179" y="2346"/>
                  </a:cubicBezTo>
                  <a:cubicBezTo>
                    <a:pt x="1834" y="2346"/>
                    <a:pt x="2346" y="1823"/>
                    <a:pt x="2346" y="1180"/>
                  </a:cubicBezTo>
                  <a:cubicBezTo>
                    <a:pt x="2346" y="525"/>
                    <a:pt x="183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52" name="Google Shape;10952;p60"/>
          <p:cNvGrpSpPr/>
          <p:nvPr/>
        </p:nvGrpSpPr>
        <p:grpSpPr>
          <a:xfrm>
            <a:off x="870939" y="2439293"/>
            <a:ext cx="331993" cy="331993"/>
            <a:chOff x="870939" y="2439293"/>
            <a:chExt cx="331993" cy="331993"/>
          </a:xfrm>
        </p:grpSpPr>
        <p:sp>
          <p:nvSpPr>
            <p:cNvPr id="10953" name="Google Shape;10953;p60"/>
            <p:cNvSpPr/>
            <p:nvPr/>
          </p:nvSpPr>
          <p:spPr>
            <a:xfrm>
              <a:off x="870939" y="2439293"/>
              <a:ext cx="331993" cy="331993"/>
            </a:xfrm>
            <a:custGeom>
              <a:avLst/>
              <a:gdLst/>
              <a:ahLst/>
              <a:cxnLst/>
              <a:rect l="l" t="t" r="r" b="b"/>
              <a:pathLst>
                <a:path w="10431" h="10431" extrusionOk="0">
                  <a:moveTo>
                    <a:pt x="9490" y="298"/>
                  </a:moveTo>
                  <a:cubicBezTo>
                    <a:pt x="9835" y="298"/>
                    <a:pt x="10121" y="584"/>
                    <a:pt x="10121" y="917"/>
                  </a:cubicBezTo>
                  <a:lnTo>
                    <a:pt x="10121" y="9513"/>
                  </a:lnTo>
                  <a:cubicBezTo>
                    <a:pt x="10121" y="9847"/>
                    <a:pt x="9835" y="10132"/>
                    <a:pt x="9490" y="10132"/>
                  </a:cubicBezTo>
                  <a:lnTo>
                    <a:pt x="7037" y="10132"/>
                  </a:lnTo>
                  <a:lnTo>
                    <a:pt x="7037" y="9156"/>
                  </a:lnTo>
                  <a:cubicBezTo>
                    <a:pt x="7037" y="9055"/>
                    <a:pt x="6960" y="9004"/>
                    <a:pt x="6883" y="9004"/>
                  </a:cubicBezTo>
                  <a:cubicBezTo>
                    <a:pt x="6805" y="9004"/>
                    <a:pt x="6728" y="9055"/>
                    <a:pt x="6728" y="9156"/>
                  </a:cubicBezTo>
                  <a:lnTo>
                    <a:pt x="6728" y="10132"/>
                  </a:lnTo>
                  <a:lnTo>
                    <a:pt x="3644" y="10132"/>
                  </a:lnTo>
                  <a:lnTo>
                    <a:pt x="3644" y="298"/>
                  </a:lnTo>
                  <a:lnTo>
                    <a:pt x="6728" y="298"/>
                  </a:lnTo>
                  <a:lnTo>
                    <a:pt x="6728" y="8347"/>
                  </a:lnTo>
                  <a:cubicBezTo>
                    <a:pt x="6728" y="8442"/>
                    <a:pt x="6805" y="8489"/>
                    <a:pt x="6883" y="8489"/>
                  </a:cubicBezTo>
                  <a:cubicBezTo>
                    <a:pt x="6960" y="8489"/>
                    <a:pt x="7037" y="8442"/>
                    <a:pt x="7037" y="8347"/>
                  </a:cubicBezTo>
                  <a:lnTo>
                    <a:pt x="7037" y="298"/>
                  </a:lnTo>
                  <a:close/>
                  <a:moveTo>
                    <a:pt x="918" y="0"/>
                  </a:moveTo>
                  <a:cubicBezTo>
                    <a:pt x="417" y="0"/>
                    <a:pt x="1" y="417"/>
                    <a:pt x="1" y="917"/>
                  </a:cubicBezTo>
                  <a:lnTo>
                    <a:pt x="1" y="2096"/>
                  </a:lnTo>
                  <a:cubicBezTo>
                    <a:pt x="1" y="2191"/>
                    <a:pt x="78" y="2239"/>
                    <a:pt x="156" y="2239"/>
                  </a:cubicBezTo>
                  <a:cubicBezTo>
                    <a:pt x="233" y="2239"/>
                    <a:pt x="310" y="2191"/>
                    <a:pt x="310" y="2096"/>
                  </a:cubicBezTo>
                  <a:lnTo>
                    <a:pt x="310" y="917"/>
                  </a:lnTo>
                  <a:cubicBezTo>
                    <a:pt x="310" y="584"/>
                    <a:pt x="596" y="298"/>
                    <a:pt x="941" y="298"/>
                  </a:cubicBezTo>
                  <a:lnTo>
                    <a:pt x="3394" y="298"/>
                  </a:lnTo>
                  <a:lnTo>
                    <a:pt x="3394" y="10132"/>
                  </a:lnTo>
                  <a:lnTo>
                    <a:pt x="941" y="10132"/>
                  </a:lnTo>
                  <a:cubicBezTo>
                    <a:pt x="596" y="10132"/>
                    <a:pt x="310" y="9847"/>
                    <a:pt x="310" y="9513"/>
                  </a:cubicBezTo>
                  <a:lnTo>
                    <a:pt x="310" y="2965"/>
                  </a:lnTo>
                  <a:cubicBezTo>
                    <a:pt x="310" y="2864"/>
                    <a:pt x="233" y="2813"/>
                    <a:pt x="156" y="2813"/>
                  </a:cubicBezTo>
                  <a:cubicBezTo>
                    <a:pt x="78" y="2813"/>
                    <a:pt x="1" y="2864"/>
                    <a:pt x="1" y="2965"/>
                  </a:cubicBezTo>
                  <a:lnTo>
                    <a:pt x="1" y="9513"/>
                  </a:lnTo>
                  <a:cubicBezTo>
                    <a:pt x="1" y="10013"/>
                    <a:pt x="417" y="10430"/>
                    <a:pt x="918" y="10430"/>
                  </a:cubicBezTo>
                  <a:lnTo>
                    <a:pt x="9514" y="10430"/>
                  </a:lnTo>
                  <a:cubicBezTo>
                    <a:pt x="10014" y="10430"/>
                    <a:pt x="10431" y="10013"/>
                    <a:pt x="10431" y="9513"/>
                  </a:cubicBezTo>
                  <a:lnTo>
                    <a:pt x="10431" y="917"/>
                  </a:lnTo>
                  <a:cubicBezTo>
                    <a:pt x="10431" y="417"/>
                    <a:pt x="10014" y="0"/>
                    <a:pt x="95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4" name="Google Shape;10954;p60"/>
            <p:cNvSpPr/>
            <p:nvPr/>
          </p:nvSpPr>
          <p:spPr>
            <a:xfrm>
              <a:off x="908463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73" y="309"/>
                  </a:moveTo>
                  <a:cubicBezTo>
                    <a:pt x="844" y="309"/>
                    <a:pt x="989" y="471"/>
                    <a:pt x="989" y="655"/>
                  </a:cubicBezTo>
                  <a:cubicBezTo>
                    <a:pt x="989" y="846"/>
                    <a:pt x="846" y="1001"/>
                    <a:pt x="655" y="1001"/>
                  </a:cubicBezTo>
                  <a:cubicBezTo>
                    <a:pt x="453" y="1001"/>
                    <a:pt x="310" y="846"/>
                    <a:pt x="310" y="655"/>
                  </a:cubicBezTo>
                  <a:cubicBezTo>
                    <a:pt x="310" y="465"/>
                    <a:pt x="453" y="310"/>
                    <a:pt x="655" y="310"/>
                  </a:cubicBezTo>
                  <a:cubicBezTo>
                    <a:pt x="661" y="310"/>
                    <a:pt x="667" y="309"/>
                    <a:pt x="673" y="309"/>
                  </a:cubicBezTo>
                  <a:close/>
                  <a:moveTo>
                    <a:pt x="655" y="0"/>
                  </a:moveTo>
                  <a:cubicBezTo>
                    <a:pt x="274" y="0"/>
                    <a:pt x="0" y="286"/>
                    <a:pt x="0" y="655"/>
                  </a:cubicBezTo>
                  <a:cubicBezTo>
                    <a:pt x="0" y="1012"/>
                    <a:pt x="298" y="1310"/>
                    <a:pt x="655" y="1310"/>
                  </a:cubicBezTo>
                  <a:cubicBezTo>
                    <a:pt x="1012" y="1310"/>
                    <a:pt x="1310" y="1012"/>
                    <a:pt x="1310" y="655"/>
                  </a:cubicBezTo>
                  <a:cubicBezTo>
                    <a:pt x="1310" y="298"/>
                    <a:pt x="1012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5" name="Google Shape;10955;p60"/>
            <p:cNvSpPr/>
            <p:nvPr/>
          </p:nvSpPr>
          <p:spPr>
            <a:xfrm>
              <a:off x="1015690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6" y="310"/>
                  </a:moveTo>
                  <a:cubicBezTo>
                    <a:pt x="858" y="310"/>
                    <a:pt x="1001" y="465"/>
                    <a:pt x="1001" y="655"/>
                  </a:cubicBezTo>
                  <a:cubicBezTo>
                    <a:pt x="1001" y="846"/>
                    <a:pt x="858" y="1001"/>
                    <a:pt x="656" y="1001"/>
                  </a:cubicBezTo>
                  <a:cubicBezTo>
                    <a:pt x="465" y="1001"/>
                    <a:pt x="322" y="846"/>
                    <a:pt x="322" y="655"/>
                  </a:cubicBezTo>
                  <a:cubicBezTo>
                    <a:pt x="322" y="465"/>
                    <a:pt x="465" y="310"/>
                    <a:pt x="656" y="310"/>
                  </a:cubicBezTo>
                  <a:close/>
                  <a:moveTo>
                    <a:pt x="656" y="0"/>
                  </a:moveTo>
                  <a:cubicBezTo>
                    <a:pt x="299" y="0"/>
                    <a:pt x="1" y="298"/>
                    <a:pt x="1" y="655"/>
                  </a:cubicBezTo>
                  <a:cubicBezTo>
                    <a:pt x="1" y="1012"/>
                    <a:pt x="299" y="1310"/>
                    <a:pt x="656" y="1310"/>
                  </a:cubicBezTo>
                  <a:cubicBezTo>
                    <a:pt x="1013" y="1310"/>
                    <a:pt x="1311" y="1012"/>
                    <a:pt x="1311" y="655"/>
                  </a:cubicBezTo>
                  <a:cubicBezTo>
                    <a:pt x="1311" y="298"/>
                    <a:pt x="1013" y="0"/>
                    <a:pt x="6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6" name="Google Shape;10956;p60"/>
            <p:cNvSpPr/>
            <p:nvPr/>
          </p:nvSpPr>
          <p:spPr>
            <a:xfrm>
              <a:off x="1122567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5" y="310"/>
                  </a:moveTo>
                  <a:cubicBezTo>
                    <a:pt x="846" y="310"/>
                    <a:pt x="989" y="465"/>
                    <a:pt x="989" y="655"/>
                  </a:cubicBezTo>
                  <a:cubicBezTo>
                    <a:pt x="989" y="846"/>
                    <a:pt x="846" y="1001"/>
                    <a:pt x="655" y="1001"/>
                  </a:cubicBezTo>
                  <a:cubicBezTo>
                    <a:pt x="453" y="1001"/>
                    <a:pt x="310" y="846"/>
                    <a:pt x="310" y="655"/>
                  </a:cubicBezTo>
                  <a:cubicBezTo>
                    <a:pt x="310" y="465"/>
                    <a:pt x="453" y="310"/>
                    <a:pt x="655" y="310"/>
                  </a:cubicBezTo>
                  <a:close/>
                  <a:moveTo>
                    <a:pt x="655" y="0"/>
                  </a:moveTo>
                  <a:cubicBezTo>
                    <a:pt x="298" y="0"/>
                    <a:pt x="0" y="298"/>
                    <a:pt x="0" y="655"/>
                  </a:cubicBezTo>
                  <a:cubicBezTo>
                    <a:pt x="0" y="1012"/>
                    <a:pt x="298" y="1310"/>
                    <a:pt x="655" y="1310"/>
                  </a:cubicBezTo>
                  <a:cubicBezTo>
                    <a:pt x="1013" y="1310"/>
                    <a:pt x="1310" y="1012"/>
                    <a:pt x="1310" y="655"/>
                  </a:cubicBezTo>
                  <a:cubicBezTo>
                    <a:pt x="1310" y="298"/>
                    <a:pt x="1013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7" name="Google Shape;10957;p60"/>
            <p:cNvSpPr/>
            <p:nvPr/>
          </p:nvSpPr>
          <p:spPr>
            <a:xfrm>
              <a:off x="913015" y="2504094"/>
              <a:ext cx="31859" cy="9867"/>
            </a:xfrm>
            <a:custGeom>
              <a:avLst/>
              <a:gdLst/>
              <a:ahLst/>
              <a:cxnLst/>
              <a:rect l="l" t="t" r="r" b="b"/>
              <a:pathLst>
                <a:path w="1001" h="310" extrusionOk="0">
                  <a:moveTo>
                    <a:pt x="191" y="0"/>
                  </a:moveTo>
                  <a:cubicBezTo>
                    <a:pt x="0" y="12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8" name="Google Shape;10958;p60"/>
            <p:cNvSpPr/>
            <p:nvPr/>
          </p:nvSpPr>
          <p:spPr>
            <a:xfrm>
              <a:off x="913015" y="2532898"/>
              <a:ext cx="31859" cy="10248"/>
            </a:xfrm>
            <a:custGeom>
              <a:avLst/>
              <a:gdLst/>
              <a:ahLst/>
              <a:cxnLst/>
              <a:rect l="l" t="t" r="r" b="b"/>
              <a:pathLst>
                <a:path w="1001" h="322" extrusionOk="0">
                  <a:moveTo>
                    <a:pt x="191" y="0"/>
                  </a:moveTo>
                  <a:cubicBezTo>
                    <a:pt x="0" y="24"/>
                    <a:pt x="0" y="322"/>
                    <a:pt x="191" y="322"/>
                  </a:cubicBezTo>
                  <a:lnTo>
                    <a:pt x="810" y="322"/>
                  </a:lnTo>
                  <a:cubicBezTo>
                    <a:pt x="1000" y="322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9" name="Google Shape;10959;p60"/>
            <p:cNvSpPr/>
            <p:nvPr/>
          </p:nvSpPr>
          <p:spPr>
            <a:xfrm>
              <a:off x="913015" y="2562052"/>
              <a:ext cx="31859" cy="9898"/>
            </a:xfrm>
            <a:custGeom>
              <a:avLst/>
              <a:gdLst/>
              <a:ahLst/>
              <a:cxnLst/>
              <a:rect l="l" t="t" r="r" b="b"/>
              <a:pathLst>
                <a:path w="1001" h="311" extrusionOk="0">
                  <a:moveTo>
                    <a:pt x="191" y="1"/>
                  </a:moveTo>
                  <a:cubicBezTo>
                    <a:pt x="0" y="13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0" name="Google Shape;10960;p60"/>
            <p:cNvSpPr/>
            <p:nvPr/>
          </p:nvSpPr>
          <p:spPr>
            <a:xfrm>
              <a:off x="894428" y="2474908"/>
              <a:ext cx="69384" cy="167508"/>
            </a:xfrm>
            <a:custGeom>
              <a:avLst/>
              <a:gdLst/>
              <a:ahLst/>
              <a:cxnLst/>
              <a:rect l="l" t="t" r="r" b="b"/>
              <a:pathLst>
                <a:path w="2180" h="5263" extrusionOk="0">
                  <a:moveTo>
                    <a:pt x="1870" y="298"/>
                  </a:moveTo>
                  <a:lnTo>
                    <a:pt x="1870" y="3703"/>
                  </a:lnTo>
                  <a:lnTo>
                    <a:pt x="287" y="3703"/>
                  </a:lnTo>
                  <a:lnTo>
                    <a:pt x="287" y="298"/>
                  </a:lnTo>
                  <a:close/>
                  <a:moveTo>
                    <a:pt x="1882" y="4001"/>
                  </a:moveTo>
                  <a:lnTo>
                    <a:pt x="1882" y="4953"/>
                  </a:lnTo>
                  <a:lnTo>
                    <a:pt x="299" y="4953"/>
                  </a:lnTo>
                  <a:lnTo>
                    <a:pt x="299" y="4001"/>
                  </a:lnTo>
                  <a:close/>
                  <a:moveTo>
                    <a:pt x="156" y="0"/>
                  </a:moveTo>
                  <a:cubicBezTo>
                    <a:pt x="60" y="0"/>
                    <a:pt x="1" y="72"/>
                    <a:pt x="1" y="143"/>
                  </a:cubicBezTo>
                  <a:lnTo>
                    <a:pt x="1" y="5120"/>
                  </a:lnTo>
                  <a:cubicBezTo>
                    <a:pt x="1" y="5203"/>
                    <a:pt x="84" y="5263"/>
                    <a:pt x="156" y="5263"/>
                  </a:cubicBezTo>
                  <a:lnTo>
                    <a:pt x="2025" y="5263"/>
                  </a:lnTo>
                  <a:cubicBezTo>
                    <a:pt x="2108" y="5263"/>
                    <a:pt x="2180" y="5192"/>
                    <a:pt x="2180" y="5120"/>
                  </a:cubicBezTo>
                  <a:lnTo>
                    <a:pt x="2180" y="143"/>
                  </a:lnTo>
                  <a:cubicBezTo>
                    <a:pt x="2180" y="60"/>
                    <a:pt x="2108" y="0"/>
                    <a:pt x="2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1" name="Google Shape;10961;p60"/>
            <p:cNvSpPr/>
            <p:nvPr/>
          </p:nvSpPr>
          <p:spPr>
            <a:xfrm>
              <a:off x="1002068" y="2474145"/>
              <a:ext cx="69384" cy="168272"/>
            </a:xfrm>
            <a:custGeom>
              <a:avLst/>
              <a:gdLst/>
              <a:ahLst/>
              <a:cxnLst/>
              <a:rect l="l" t="t" r="r" b="b"/>
              <a:pathLst>
                <a:path w="2180" h="5287" extrusionOk="0">
                  <a:moveTo>
                    <a:pt x="1881" y="322"/>
                  </a:moveTo>
                  <a:lnTo>
                    <a:pt x="1881" y="3727"/>
                  </a:lnTo>
                  <a:lnTo>
                    <a:pt x="298" y="3727"/>
                  </a:lnTo>
                  <a:lnTo>
                    <a:pt x="298" y="322"/>
                  </a:lnTo>
                  <a:close/>
                  <a:moveTo>
                    <a:pt x="1881" y="4025"/>
                  </a:moveTo>
                  <a:lnTo>
                    <a:pt x="1881" y="4977"/>
                  </a:lnTo>
                  <a:lnTo>
                    <a:pt x="298" y="4977"/>
                  </a:lnTo>
                  <a:lnTo>
                    <a:pt x="298" y="4025"/>
                  </a:lnTo>
                  <a:close/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lnTo>
                    <a:pt x="0" y="5144"/>
                  </a:lnTo>
                  <a:cubicBezTo>
                    <a:pt x="0" y="5227"/>
                    <a:pt x="72" y="5287"/>
                    <a:pt x="155" y="5287"/>
                  </a:cubicBezTo>
                  <a:lnTo>
                    <a:pt x="2024" y="5287"/>
                  </a:lnTo>
                  <a:cubicBezTo>
                    <a:pt x="2120" y="5287"/>
                    <a:pt x="2179" y="5216"/>
                    <a:pt x="2179" y="5144"/>
                  </a:cubicBezTo>
                  <a:lnTo>
                    <a:pt x="2179" y="167"/>
                  </a:lnTo>
                  <a:cubicBezTo>
                    <a:pt x="2179" y="84"/>
                    <a:pt x="2120" y="1"/>
                    <a:pt x="2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2" name="Google Shape;10962;p60"/>
            <p:cNvSpPr/>
            <p:nvPr/>
          </p:nvSpPr>
          <p:spPr>
            <a:xfrm>
              <a:off x="1108531" y="2474145"/>
              <a:ext cx="69384" cy="168272"/>
            </a:xfrm>
            <a:custGeom>
              <a:avLst/>
              <a:gdLst/>
              <a:ahLst/>
              <a:cxnLst/>
              <a:rect l="l" t="t" r="r" b="b"/>
              <a:pathLst>
                <a:path w="2180" h="5287" extrusionOk="0">
                  <a:moveTo>
                    <a:pt x="1882" y="322"/>
                  </a:moveTo>
                  <a:lnTo>
                    <a:pt x="1882" y="3727"/>
                  </a:lnTo>
                  <a:lnTo>
                    <a:pt x="299" y="3727"/>
                  </a:lnTo>
                  <a:lnTo>
                    <a:pt x="299" y="322"/>
                  </a:lnTo>
                  <a:close/>
                  <a:moveTo>
                    <a:pt x="1882" y="4025"/>
                  </a:moveTo>
                  <a:lnTo>
                    <a:pt x="1882" y="4977"/>
                  </a:lnTo>
                  <a:lnTo>
                    <a:pt x="299" y="4977"/>
                  </a:lnTo>
                  <a:lnTo>
                    <a:pt x="299" y="4025"/>
                  </a:lnTo>
                  <a:close/>
                  <a:moveTo>
                    <a:pt x="156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5144"/>
                  </a:lnTo>
                  <a:cubicBezTo>
                    <a:pt x="1" y="5227"/>
                    <a:pt x="84" y="5287"/>
                    <a:pt x="156" y="5287"/>
                  </a:cubicBezTo>
                  <a:lnTo>
                    <a:pt x="2025" y="5287"/>
                  </a:lnTo>
                  <a:cubicBezTo>
                    <a:pt x="2120" y="5287"/>
                    <a:pt x="2180" y="5216"/>
                    <a:pt x="2180" y="5144"/>
                  </a:cubicBezTo>
                  <a:lnTo>
                    <a:pt x="2180" y="167"/>
                  </a:lnTo>
                  <a:cubicBezTo>
                    <a:pt x="2180" y="84"/>
                    <a:pt x="2120" y="1"/>
                    <a:pt x="2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3" name="Google Shape;10963;p60"/>
            <p:cNvSpPr/>
            <p:nvPr/>
          </p:nvSpPr>
          <p:spPr>
            <a:xfrm>
              <a:off x="1127118" y="2504094"/>
              <a:ext cx="31859" cy="9867"/>
            </a:xfrm>
            <a:custGeom>
              <a:avLst/>
              <a:gdLst/>
              <a:ahLst/>
              <a:cxnLst/>
              <a:rect l="l" t="t" r="r" b="b"/>
              <a:pathLst>
                <a:path w="1001" h="310" extrusionOk="0">
                  <a:moveTo>
                    <a:pt x="191" y="0"/>
                  </a:moveTo>
                  <a:cubicBezTo>
                    <a:pt x="0" y="12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4" name="Google Shape;10964;p60"/>
            <p:cNvSpPr/>
            <p:nvPr/>
          </p:nvSpPr>
          <p:spPr>
            <a:xfrm>
              <a:off x="1127118" y="2532898"/>
              <a:ext cx="31859" cy="10248"/>
            </a:xfrm>
            <a:custGeom>
              <a:avLst/>
              <a:gdLst/>
              <a:ahLst/>
              <a:cxnLst/>
              <a:rect l="l" t="t" r="r" b="b"/>
              <a:pathLst>
                <a:path w="1001" h="322" extrusionOk="0">
                  <a:moveTo>
                    <a:pt x="191" y="0"/>
                  </a:moveTo>
                  <a:cubicBezTo>
                    <a:pt x="0" y="24"/>
                    <a:pt x="0" y="322"/>
                    <a:pt x="191" y="322"/>
                  </a:cubicBezTo>
                  <a:lnTo>
                    <a:pt x="810" y="322"/>
                  </a:lnTo>
                  <a:cubicBezTo>
                    <a:pt x="1000" y="322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5" name="Google Shape;10965;p60"/>
            <p:cNvSpPr/>
            <p:nvPr/>
          </p:nvSpPr>
          <p:spPr>
            <a:xfrm>
              <a:off x="1127118" y="2562052"/>
              <a:ext cx="31859" cy="9898"/>
            </a:xfrm>
            <a:custGeom>
              <a:avLst/>
              <a:gdLst/>
              <a:ahLst/>
              <a:cxnLst/>
              <a:rect l="l" t="t" r="r" b="b"/>
              <a:pathLst>
                <a:path w="1001" h="311" extrusionOk="0">
                  <a:moveTo>
                    <a:pt x="191" y="1"/>
                  </a:moveTo>
                  <a:cubicBezTo>
                    <a:pt x="0" y="13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6" name="Google Shape;10966;p60"/>
            <p:cNvSpPr/>
            <p:nvPr/>
          </p:nvSpPr>
          <p:spPr>
            <a:xfrm>
              <a:off x="1020624" y="2504094"/>
              <a:ext cx="32241" cy="9867"/>
            </a:xfrm>
            <a:custGeom>
              <a:avLst/>
              <a:gdLst/>
              <a:ahLst/>
              <a:cxnLst/>
              <a:rect l="l" t="t" r="r" b="b"/>
              <a:pathLst>
                <a:path w="1013" h="310" extrusionOk="0">
                  <a:moveTo>
                    <a:pt x="203" y="0"/>
                  </a:moveTo>
                  <a:cubicBezTo>
                    <a:pt x="1" y="12"/>
                    <a:pt x="1" y="310"/>
                    <a:pt x="203" y="310"/>
                  </a:cubicBezTo>
                  <a:lnTo>
                    <a:pt x="822" y="310"/>
                  </a:lnTo>
                  <a:cubicBezTo>
                    <a:pt x="1013" y="310"/>
                    <a:pt x="101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7" name="Google Shape;10967;p60"/>
            <p:cNvSpPr/>
            <p:nvPr/>
          </p:nvSpPr>
          <p:spPr>
            <a:xfrm>
              <a:off x="1020624" y="2532898"/>
              <a:ext cx="32241" cy="10248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203" y="0"/>
                  </a:moveTo>
                  <a:cubicBezTo>
                    <a:pt x="1" y="24"/>
                    <a:pt x="1" y="322"/>
                    <a:pt x="203" y="322"/>
                  </a:cubicBezTo>
                  <a:lnTo>
                    <a:pt x="822" y="322"/>
                  </a:lnTo>
                  <a:cubicBezTo>
                    <a:pt x="1013" y="322"/>
                    <a:pt x="101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8" name="Google Shape;10968;p60"/>
            <p:cNvSpPr/>
            <p:nvPr/>
          </p:nvSpPr>
          <p:spPr>
            <a:xfrm>
              <a:off x="1020624" y="2562052"/>
              <a:ext cx="32241" cy="9898"/>
            </a:xfrm>
            <a:custGeom>
              <a:avLst/>
              <a:gdLst/>
              <a:ahLst/>
              <a:cxnLst/>
              <a:rect l="l" t="t" r="r" b="b"/>
              <a:pathLst>
                <a:path w="1013" h="311" extrusionOk="0">
                  <a:moveTo>
                    <a:pt x="203" y="1"/>
                  </a:moveTo>
                  <a:cubicBezTo>
                    <a:pt x="1" y="13"/>
                    <a:pt x="1" y="310"/>
                    <a:pt x="203" y="310"/>
                  </a:cubicBezTo>
                  <a:lnTo>
                    <a:pt x="822" y="310"/>
                  </a:lnTo>
                  <a:cubicBezTo>
                    <a:pt x="1013" y="310"/>
                    <a:pt x="1013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69" name="Google Shape;10969;p60"/>
          <p:cNvGrpSpPr/>
          <p:nvPr/>
        </p:nvGrpSpPr>
        <p:grpSpPr>
          <a:xfrm>
            <a:off x="6644957" y="2456353"/>
            <a:ext cx="371395" cy="278904"/>
            <a:chOff x="6644957" y="2456353"/>
            <a:chExt cx="371395" cy="278904"/>
          </a:xfrm>
        </p:grpSpPr>
        <p:sp>
          <p:nvSpPr>
            <p:cNvPr id="10970" name="Google Shape;10970;p60"/>
            <p:cNvSpPr/>
            <p:nvPr/>
          </p:nvSpPr>
          <p:spPr>
            <a:xfrm>
              <a:off x="6644957" y="2456353"/>
              <a:ext cx="371395" cy="203123"/>
            </a:xfrm>
            <a:custGeom>
              <a:avLst/>
              <a:gdLst/>
              <a:ahLst/>
              <a:cxnLst/>
              <a:rect l="l" t="t" r="r" b="b"/>
              <a:pathLst>
                <a:path w="11669" h="6382" extrusionOk="0">
                  <a:moveTo>
                    <a:pt x="4763" y="0"/>
                  </a:moveTo>
                  <a:cubicBezTo>
                    <a:pt x="4167" y="0"/>
                    <a:pt x="3596" y="191"/>
                    <a:pt x="3120" y="548"/>
                  </a:cubicBezTo>
                  <a:cubicBezTo>
                    <a:pt x="2679" y="881"/>
                    <a:pt x="2358" y="1322"/>
                    <a:pt x="2179" y="1834"/>
                  </a:cubicBezTo>
                  <a:cubicBezTo>
                    <a:pt x="977" y="1893"/>
                    <a:pt x="0" y="2881"/>
                    <a:pt x="0" y="4108"/>
                  </a:cubicBezTo>
                  <a:cubicBezTo>
                    <a:pt x="0" y="5358"/>
                    <a:pt x="1036" y="6382"/>
                    <a:pt x="2286" y="6382"/>
                  </a:cubicBezTo>
                  <a:lnTo>
                    <a:pt x="3096" y="6382"/>
                  </a:lnTo>
                  <a:cubicBezTo>
                    <a:pt x="3191" y="6382"/>
                    <a:pt x="3274" y="6310"/>
                    <a:pt x="3274" y="6203"/>
                  </a:cubicBezTo>
                  <a:cubicBezTo>
                    <a:pt x="3274" y="6120"/>
                    <a:pt x="3203" y="6025"/>
                    <a:pt x="3096" y="6025"/>
                  </a:cubicBezTo>
                  <a:lnTo>
                    <a:pt x="2286" y="6025"/>
                  </a:lnTo>
                  <a:cubicBezTo>
                    <a:pt x="1215" y="6025"/>
                    <a:pt x="346" y="5167"/>
                    <a:pt x="346" y="4096"/>
                  </a:cubicBezTo>
                  <a:cubicBezTo>
                    <a:pt x="346" y="3024"/>
                    <a:pt x="1215" y="2155"/>
                    <a:pt x="2286" y="2155"/>
                  </a:cubicBezTo>
                  <a:lnTo>
                    <a:pt x="2298" y="2155"/>
                  </a:lnTo>
                  <a:cubicBezTo>
                    <a:pt x="2370" y="2155"/>
                    <a:pt x="2441" y="2107"/>
                    <a:pt x="2465" y="2036"/>
                  </a:cubicBezTo>
                  <a:cubicBezTo>
                    <a:pt x="2608" y="1548"/>
                    <a:pt x="2905" y="1119"/>
                    <a:pt x="3310" y="822"/>
                  </a:cubicBezTo>
                  <a:cubicBezTo>
                    <a:pt x="3727" y="500"/>
                    <a:pt x="4227" y="321"/>
                    <a:pt x="4751" y="321"/>
                  </a:cubicBezTo>
                  <a:cubicBezTo>
                    <a:pt x="5584" y="321"/>
                    <a:pt x="6346" y="738"/>
                    <a:pt x="6775" y="1453"/>
                  </a:cubicBezTo>
                  <a:cubicBezTo>
                    <a:pt x="6811" y="1516"/>
                    <a:pt x="6861" y="1545"/>
                    <a:pt x="6914" y="1545"/>
                  </a:cubicBezTo>
                  <a:cubicBezTo>
                    <a:pt x="6931" y="1545"/>
                    <a:pt x="6948" y="1542"/>
                    <a:pt x="6965" y="1536"/>
                  </a:cubicBezTo>
                  <a:cubicBezTo>
                    <a:pt x="7168" y="1476"/>
                    <a:pt x="7370" y="1429"/>
                    <a:pt x="7585" y="1429"/>
                  </a:cubicBezTo>
                  <a:cubicBezTo>
                    <a:pt x="8430" y="1429"/>
                    <a:pt x="9168" y="1976"/>
                    <a:pt x="9430" y="2786"/>
                  </a:cubicBezTo>
                  <a:cubicBezTo>
                    <a:pt x="9452" y="2851"/>
                    <a:pt x="9513" y="2907"/>
                    <a:pt x="9587" y="2907"/>
                  </a:cubicBezTo>
                  <a:cubicBezTo>
                    <a:pt x="9594" y="2907"/>
                    <a:pt x="9601" y="2906"/>
                    <a:pt x="9609" y="2905"/>
                  </a:cubicBezTo>
                  <a:cubicBezTo>
                    <a:pt x="9668" y="2905"/>
                    <a:pt x="9728" y="2881"/>
                    <a:pt x="9763" y="2881"/>
                  </a:cubicBezTo>
                  <a:cubicBezTo>
                    <a:pt x="10633" y="2881"/>
                    <a:pt x="11335" y="3584"/>
                    <a:pt x="11335" y="4453"/>
                  </a:cubicBezTo>
                  <a:cubicBezTo>
                    <a:pt x="11335" y="5310"/>
                    <a:pt x="10633" y="6013"/>
                    <a:pt x="9763" y="6013"/>
                  </a:cubicBezTo>
                  <a:lnTo>
                    <a:pt x="8573" y="6013"/>
                  </a:lnTo>
                  <a:cubicBezTo>
                    <a:pt x="8489" y="6013"/>
                    <a:pt x="8394" y="6084"/>
                    <a:pt x="8394" y="6191"/>
                  </a:cubicBezTo>
                  <a:cubicBezTo>
                    <a:pt x="8394" y="6298"/>
                    <a:pt x="8478" y="6370"/>
                    <a:pt x="8573" y="6370"/>
                  </a:cubicBezTo>
                  <a:lnTo>
                    <a:pt x="9763" y="6370"/>
                  </a:lnTo>
                  <a:cubicBezTo>
                    <a:pt x="10823" y="6370"/>
                    <a:pt x="11668" y="5501"/>
                    <a:pt x="11668" y="4465"/>
                  </a:cubicBezTo>
                  <a:cubicBezTo>
                    <a:pt x="11668" y="3417"/>
                    <a:pt x="10859" y="2560"/>
                    <a:pt x="9811" y="2560"/>
                  </a:cubicBezTo>
                  <a:lnTo>
                    <a:pt x="9740" y="2560"/>
                  </a:lnTo>
                  <a:cubicBezTo>
                    <a:pt x="9585" y="2155"/>
                    <a:pt x="9323" y="1798"/>
                    <a:pt x="8966" y="1548"/>
                  </a:cubicBezTo>
                  <a:cubicBezTo>
                    <a:pt x="8561" y="1250"/>
                    <a:pt x="8097" y="1095"/>
                    <a:pt x="7608" y="1095"/>
                  </a:cubicBezTo>
                  <a:cubicBezTo>
                    <a:pt x="7418" y="1095"/>
                    <a:pt x="7204" y="1131"/>
                    <a:pt x="7013" y="1179"/>
                  </a:cubicBezTo>
                  <a:cubicBezTo>
                    <a:pt x="6513" y="429"/>
                    <a:pt x="5680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1" name="Google Shape;10971;p60"/>
            <p:cNvSpPr/>
            <p:nvPr/>
          </p:nvSpPr>
          <p:spPr>
            <a:xfrm>
              <a:off x="6761668" y="2549194"/>
              <a:ext cx="139850" cy="186064"/>
            </a:xfrm>
            <a:custGeom>
              <a:avLst/>
              <a:gdLst/>
              <a:ahLst/>
              <a:cxnLst/>
              <a:rect l="l" t="t" r="r" b="b"/>
              <a:pathLst>
                <a:path w="4394" h="5846" extrusionOk="0">
                  <a:moveTo>
                    <a:pt x="2584" y="357"/>
                  </a:moveTo>
                  <a:lnTo>
                    <a:pt x="2584" y="1476"/>
                  </a:lnTo>
                  <a:cubicBezTo>
                    <a:pt x="2584" y="1667"/>
                    <a:pt x="2751" y="1834"/>
                    <a:pt x="2941" y="1834"/>
                  </a:cubicBezTo>
                  <a:lnTo>
                    <a:pt x="3501" y="1834"/>
                  </a:lnTo>
                  <a:cubicBezTo>
                    <a:pt x="3584" y="1834"/>
                    <a:pt x="3679" y="1750"/>
                    <a:pt x="3679" y="1655"/>
                  </a:cubicBezTo>
                  <a:cubicBezTo>
                    <a:pt x="3679" y="1548"/>
                    <a:pt x="3596" y="1476"/>
                    <a:pt x="3501" y="1476"/>
                  </a:cubicBezTo>
                  <a:lnTo>
                    <a:pt x="2941" y="1476"/>
                  </a:lnTo>
                  <a:cubicBezTo>
                    <a:pt x="2941" y="1476"/>
                    <a:pt x="2929" y="1476"/>
                    <a:pt x="2929" y="1453"/>
                  </a:cubicBezTo>
                  <a:lnTo>
                    <a:pt x="2929" y="393"/>
                  </a:lnTo>
                  <a:lnTo>
                    <a:pt x="4001" y="1465"/>
                  </a:lnTo>
                  <a:cubicBezTo>
                    <a:pt x="4037" y="1500"/>
                    <a:pt x="4060" y="1560"/>
                    <a:pt x="4060" y="1607"/>
                  </a:cubicBezTo>
                  <a:lnTo>
                    <a:pt x="4060" y="5501"/>
                  </a:lnTo>
                  <a:lnTo>
                    <a:pt x="4049" y="5501"/>
                  </a:lnTo>
                  <a:lnTo>
                    <a:pt x="369" y="5525"/>
                  </a:lnTo>
                  <a:cubicBezTo>
                    <a:pt x="369" y="5525"/>
                    <a:pt x="358" y="5525"/>
                    <a:pt x="358" y="5501"/>
                  </a:cubicBezTo>
                  <a:lnTo>
                    <a:pt x="358" y="369"/>
                  </a:lnTo>
                  <a:cubicBezTo>
                    <a:pt x="358" y="369"/>
                    <a:pt x="358" y="357"/>
                    <a:pt x="369" y="357"/>
                  </a:cubicBezTo>
                  <a:close/>
                  <a:moveTo>
                    <a:pt x="358" y="0"/>
                  </a:moveTo>
                  <a:cubicBezTo>
                    <a:pt x="167" y="0"/>
                    <a:pt x="0" y="167"/>
                    <a:pt x="0" y="357"/>
                  </a:cubicBezTo>
                  <a:lnTo>
                    <a:pt x="0" y="5489"/>
                  </a:lnTo>
                  <a:cubicBezTo>
                    <a:pt x="0" y="5679"/>
                    <a:pt x="155" y="5846"/>
                    <a:pt x="358" y="5846"/>
                  </a:cubicBezTo>
                  <a:lnTo>
                    <a:pt x="4013" y="5846"/>
                  </a:lnTo>
                  <a:cubicBezTo>
                    <a:pt x="4203" y="5846"/>
                    <a:pt x="4370" y="5679"/>
                    <a:pt x="4370" y="5489"/>
                  </a:cubicBezTo>
                  <a:lnTo>
                    <a:pt x="4370" y="1607"/>
                  </a:lnTo>
                  <a:cubicBezTo>
                    <a:pt x="4394" y="1476"/>
                    <a:pt x="4334" y="1334"/>
                    <a:pt x="4227" y="1238"/>
                  </a:cubicBezTo>
                  <a:lnTo>
                    <a:pt x="3156" y="167"/>
                  </a:lnTo>
                  <a:cubicBezTo>
                    <a:pt x="3048" y="60"/>
                    <a:pt x="2917" y="0"/>
                    <a:pt x="2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2" name="Google Shape;10972;p60"/>
            <p:cNvSpPr/>
            <p:nvPr/>
          </p:nvSpPr>
          <p:spPr>
            <a:xfrm>
              <a:off x="6802216" y="2625357"/>
              <a:ext cx="58754" cy="75431"/>
            </a:xfrm>
            <a:custGeom>
              <a:avLst/>
              <a:gdLst/>
              <a:ahLst/>
              <a:cxnLst/>
              <a:rect l="l" t="t" r="r" b="b"/>
              <a:pathLst>
                <a:path w="1846" h="2370" extrusionOk="0">
                  <a:moveTo>
                    <a:pt x="929" y="0"/>
                  </a:moveTo>
                  <a:cubicBezTo>
                    <a:pt x="881" y="0"/>
                    <a:pt x="822" y="36"/>
                    <a:pt x="786" y="60"/>
                  </a:cubicBezTo>
                  <a:lnTo>
                    <a:pt x="60" y="988"/>
                  </a:lnTo>
                  <a:cubicBezTo>
                    <a:pt x="0" y="1060"/>
                    <a:pt x="12" y="1167"/>
                    <a:pt x="96" y="1227"/>
                  </a:cubicBezTo>
                  <a:cubicBezTo>
                    <a:pt x="123" y="1250"/>
                    <a:pt x="157" y="1260"/>
                    <a:pt x="190" y="1260"/>
                  </a:cubicBezTo>
                  <a:cubicBezTo>
                    <a:pt x="243" y="1260"/>
                    <a:pt x="297" y="1234"/>
                    <a:pt x="334" y="1191"/>
                  </a:cubicBezTo>
                  <a:lnTo>
                    <a:pt x="762" y="655"/>
                  </a:lnTo>
                  <a:lnTo>
                    <a:pt x="762" y="2191"/>
                  </a:lnTo>
                  <a:cubicBezTo>
                    <a:pt x="762" y="2274"/>
                    <a:pt x="834" y="2370"/>
                    <a:pt x="941" y="2370"/>
                  </a:cubicBezTo>
                  <a:cubicBezTo>
                    <a:pt x="1024" y="2370"/>
                    <a:pt x="1120" y="2298"/>
                    <a:pt x="1120" y="2191"/>
                  </a:cubicBezTo>
                  <a:lnTo>
                    <a:pt x="1120" y="655"/>
                  </a:lnTo>
                  <a:lnTo>
                    <a:pt x="1548" y="1191"/>
                  </a:lnTo>
                  <a:cubicBezTo>
                    <a:pt x="1584" y="1238"/>
                    <a:pt x="1643" y="1250"/>
                    <a:pt x="1691" y="1250"/>
                  </a:cubicBezTo>
                  <a:cubicBezTo>
                    <a:pt x="1727" y="1250"/>
                    <a:pt x="1762" y="1238"/>
                    <a:pt x="1786" y="1203"/>
                  </a:cubicBezTo>
                  <a:cubicBezTo>
                    <a:pt x="1834" y="1167"/>
                    <a:pt x="1846" y="1060"/>
                    <a:pt x="1786" y="988"/>
                  </a:cubicBezTo>
                  <a:lnTo>
                    <a:pt x="1060" y="60"/>
                  </a:lnTo>
                  <a:cubicBezTo>
                    <a:pt x="1036" y="12"/>
                    <a:pt x="989" y="0"/>
                    <a:pt x="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3" name="Google Shape;10973;p60"/>
            <p:cNvSpPr/>
            <p:nvPr/>
          </p:nvSpPr>
          <p:spPr>
            <a:xfrm>
              <a:off x="6802216" y="2480828"/>
              <a:ext cx="47009" cy="33132"/>
            </a:xfrm>
            <a:custGeom>
              <a:avLst/>
              <a:gdLst/>
              <a:ahLst/>
              <a:cxnLst/>
              <a:rect l="l" t="t" r="r" b="b"/>
              <a:pathLst>
                <a:path w="1477" h="1041" extrusionOk="0">
                  <a:moveTo>
                    <a:pt x="193" y="0"/>
                  </a:moveTo>
                  <a:cubicBezTo>
                    <a:pt x="119" y="0"/>
                    <a:pt x="45" y="64"/>
                    <a:pt x="24" y="136"/>
                  </a:cubicBezTo>
                  <a:cubicBezTo>
                    <a:pt x="0" y="231"/>
                    <a:pt x="60" y="314"/>
                    <a:pt x="155" y="338"/>
                  </a:cubicBezTo>
                  <a:cubicBezTo>
                    <a:pt x="560" y="422"/>
                    <a:pt x="917" y="636"/>
                    <a:pt x="1155" y="969"/>
                  </a:cubicBezTo>
                  <a:cubicBezTo>
                    <a:pt x="1179" y="1017"/>
                    <a:pt x="1239" y="1041"/>
                    <a:pt x="1286" y="1041"/>
                  </a:cubicBezTo>
                  <a:cubicBezTo>
                    <a:pt x="1310" y="1041"/>
                    <a:pt x="1358" y="1029"/>
                    <a:pt x="1393" y="1017"/>
                  </a:cubicBezTo>
                  <a:cubicBezTo>
                    <a:pt x="1465" y="946"/>
                    <a:pt x="1477" y="838"/>
                    <a:pt x="1429" y="767"/>
                  </a:cubicBezTo>
                  <a:cubicBezTo>
                    <a:pt x="1131" y="374"/>
                    <a:pt x="703" y="88"/>
                    <a:pt x="227" y="5"/>
                  </a:cubicBezTo>
                  <a:cubicBezTo>
                    <a:pt x="216" y="2"/>
                    <a:pt x="204" y="0"/>
                    <a:pt x="1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4" name="Google Shape;10974;p60"/>
            <p:cNvSpPr/>
            <p:nvPr/>
          </p:nvSpPr>
          <p:spPr>
            <a:xfrm>
              <a:off x="6895439" y="2517112"/>
              <a:ext cx="36793" cy="32114"/>
            </a:xfrm>
            <a:custGeom>
              <a:avLst/>
              <a:gdLst/>
              <a:ahLst/>
              <a:cxnLst/>
              <a:rect l="l" t="t" r="r" b="b"/>
              <a:pathLst>
                <a:path w="1156" h="1009" extrusionOk="0">
                  <a:moveTo>
                    <a:pt x="206" y="1"/>
                  </a:moveTo>
                  <a:cubicBezTo>
                    <a:pt x="131" y="1"/>
                    <a:pt x="65" y="39"/>
                    <a:pt x="36" y="115"/>
                  </a:cubicBezTo>
                  <a:cubicBezTo>
                    <a:pt x="0" y="198"/>
                    <a:pt x="48" y="306"/>
                    <a:pt x="143" y="341"/>
                  </a:cubicBezTo>
                  <a:cubicBezTo>
                    <a:pt x="429" y="437"/>
                    <a:pt x="667" y="639"/>
                    <a:pt x="810" y="913"/>
                  </a:cubicBezTo>
                  <a:cubicBezTo>
                    <a:pt x="846" y="972"/>
                    <a:pt x="893" y="1008"/>
                    <a:pt x="965" y="1008"/>
                  </a:cubicBezTo>
                  <a:cubicBezTo>
                    <a:pt x="989" y="1008"/>
                    <a:pt x="1024" y="1008"/>
                    <a:pt x="1036" y="996"/>
                  </a:cubicBezTo>
                  <a:cubicBezTo>
                    <a:pt x="1108" y="937"/>
                    <a:pt x="1155" y="829"/>
                    <a:pt x="1108" y="734"/>
                  </a:cubicBezTo>
                  <a:cubicBezTo>
                    <a:pt x="929" y="401"/>
                    <a:pt x="619" y="127"/>
                    <a:pt x="262" y="8"/>
                  </a:cubicBezTo>
                  <a:cubicBezTo>
                    <a:pt x="243" y="3"/>
                    <a:pt x="224" y="1"/>
                    <a:pt x="2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75" name="Google Shape;10975;p60"/>
          <p:cNvGrpSpPr/>
          <p:nvPr/>
        </p:nvGrpSpPr>
        <p:grpSpPr>
          <a:xfrm>
            <a:off x="5388757" y="2414659"/>
            <a:ext cx="260349" cy="362292"/>
            <a:chOff x="5388757" y="2414659"/>
            <a:chExt cx="260349" cy="362292"/>
          </a:xfrm>
        </p:grpSpPr>
        <p:sp>
          <p:nvSpPr>
            <p:cNvPr id="10976" name="Google Shape;10976;p60"/>
            <p:cNvSpPr/>
            <p:nvPr/>
          </p:nvSpPr>
          <p:spPr>
            <a:xfrm>
              <a:off x="5388757" y="2414659"/>
              <a:ext cx="260349" cy="362292"/>
            </a:xfrm>
            <a:custGeom>
              <a:avLst/>
              <a:gdLst/>
              <a:ahLst/>
              <a:cxnLst/>
              <a:rect l="l" t="t" r="r" b="b"/>
              <a:pathLst>
                <a:path w="8180" h="11383" extrusionOk="0">
                  <a:moveTo>
                    <a:pt x="4096" y="322"/>
                  </a:moveTo>
                  <a:cubicBezTo>
                    <a:pt x="4286" y="322"/>
                    <a:pt x="4465" y="429"/>
                    <a:pt x="4572" y="596"/>
                  </a:cubicBezTo>
                  <a:cubicBezTo>
                    <a:pt x="4608" y="643"/>
                    <a:pt x="4655" y="679"/>
                    <a:pt x="4727" y="679"/>
                  </a:cubicBezTo>
                  <a:lnTo>
                    <a:pt x="5358" y="679"/>
                  </a:lnTo>
                  <a:cubicBezTo>
                    <a:pt x="5465" y="679"/>
                    <a:pt x="5548" y="774"/>
                    <a:pt x="5548" y="881"/>
                  </a:cubicBezTo>
                  <a:lnTo>
                    <a:pt x="5548" y="1429"/>
                  </a:lnTo>
                  <a:lnTo>
                    <a:pt x="2679" y="1429"/>
                  </a:lnTo>
                  <a:lnTo>
                    <a:pt x="2679" y="881"/>
                  </a:lnTo>
                  <a:lnTo>
                    <a:pt x="2643" y="881"/>
                  </a:lnTo>
                  <a:cubicBezTo>
                    <a:pt x="2643" y="774"/>
                    <a:pt x="2727" y="679"/>
                    <a:pt x="2834" y="679"/>
                  </a:cubicBezTo>
                  <a:lnTo>
                    <a:pt x="3465" y="679"/>
                  </a:lnTo>
                  <a:cubicBezTo>
                    <a:pt x="3536" y="679"/>
                    <a:pt x="3584" y="655"/>
                    <a:pt x="3620" y="596"/>
                  </a:cubicBezTo>
                  <a:cubicBezTo>
                    <a:pt x="3727" y="417"/>
                    <a:pt x="3905" y="322"/>
                    <a:pt x="4096" y="322"/>
                  </a:cubicBezTo>
                  <a:close/>
                  <a:moveTo>
                    <a:pt x="7477" y="1036"/>
                  </a:moveTo>
                  <a:cubicBezTo>
                    <a:pt x="7680" y="1036"/>
                    <a:pt x="7846" y="1203"/>
                    <a:pt x="7846" y="1417"/>
                  </a:cubicBezTo>
                  <a:lnTo>
                    <a:pt x="7846" y="10680"/>
                  </a:lnTo>
                  <a:lnTo>
                    <a:pt x="7834" y="10680"/>
                  </a:lnTo>
                  <a:cubicBezTo>
                    <a:pt x="7834" y="10895"/>
                    <a:pt x="7668" y="11061"/>
                    <a:pt x="7465" y="11061"/>
                  </a:cubicBezTo>
                  <a:lnTo>
                    <a:pt x="691" y="11061"/>
                  </a:lnTo>
                  <a:cubicBezTo>
                    <a:pt x="476" y="11061"/>
                    <a:pt x="322" y="10895"/>
                    <a:pt x="322" y="10680"/>
                  </a:cubicBezTo>
                  <a:lnTo>
                    <a:pt x="322" y="1417"/>
                  </a:lnTo>
                  <a:cubicBezTo>
                    <a:pt x="322" y="1203"/>
                    <a:pt x="476" y="1036"/>
                    <a:pt x="691" y="1036"/>
                  </a:cubicBezTo>
                  <a:lnTo>
                    <a:pt x="2310" y="1036"/>
                  </a:lnTo>
                  <a:lnTo>
                    <a:pt x="2310" y="1596"/>
                  </a:lnTo>
                  <a:cubicBezTo>
                    <a:pt x="2310" y="1679"/>
                    <a:pt x="2381" y="1751"/>
                    <a:pt x="2477" y="1751"/>
                  </a:cubicBezTo>
                  <a:lnTo>
                    <a:pt x="5691" y="1751"/>
                  </a:lnTo>
                  <a:cubicBezTo>
                    <a:pt x="5775" y="1751"/>
                    <a:pt x="5846" y="1679"/>
                    <a:pt x="5846" y="1596"/>
                  </a:cubicBezTo>
                  <a:lnTo>
                    <a:pt x="5846" y="1036"/>
                  </a:lnTo>
                  <a:close/>
                  <a:moveTo>
                    <a:pt x="4084" y="0"/>
                  </a:moveTo>
                  <a:cubicBezTo>
                    <a:pt x="3798" y="0"/>
                    <a:pt x="3548" y="131"/>
                    <a:pt x="3381" y="358"/>
                  </a:cubicBezTo>
                  <a:lnTo>
                    <a:pt x="2834" y="358"/>
                  </a:lnTo>
                  <a:cubicBezTo>
                    <a:pt x="2608" y="358"/>
                    <a:pt x="2393" y="500"/>
                    <a:pt x="2346" y="715"/>
                  </a:cubicBezTo>
                  <a:lnTo>
                    <a:pt x="703" y="715"/>
                  </a:lnTo>
                  <a:cubicBezTo>
                    <a:pt x="322" y="715"/>
                    <a:pt x="0" y="1024"/>
                    <a:pt x="0" y="1417"/>
                  </a:cubicBezTo>
                  <a:lnTo>
                    <a:pt x="0" y="10680"/>
                  </a:lnTo>
                  <a:cubicBezTo>
                    <a:pt x="0" y="11073"/>
                    <a:pt x="310" y="11383"/>
                    <a:pt x="703" y="11383"/>
                  </a:cubicBezTo>
                  <a:lnTo>
                    <a:pt x="7477" y="11383"/>
                  </a:lnTo>
                  <a:cubicBezTo>
                    <a:pt x="7858" y="11383"/>
                    <a:pt x="8180" y="11073"/>
                    <a:pt x="8180" y="10680"/>
                  </a:cubicBezTo>
                  <a:lnTo>
                    <a:pt x="8180" y="1417"/>
                  </a:lnTo>
                  <a:cubicBezTo>
                    <a:pt x="8156" y="1024"/>
                    <a:pt x="7846" y="715"/>
                    <a:pt x="7465" y="715"/>
                  </a:cubicBezTo>
                  <a:lnTo>
                    <a:pt x="5822" y="715"/>
                  </a:lnTo>
                  <a:cubicBezTo>
                    <a:pt x="5751" y="500"/>
                    <a:pt x="5560" y="358"/>
                    <a:pt x="5334" y="358"/>
                  </a:cubicBezTo>
                  <a:lnTo>
                    <a:pt x="4786" y="358"/>
                  </a:lnTo>
                  <a:cubicBezTo>
                    <a:pt x="4620" y="131"/>
                    <a:pt x="4346" y="0"/>
                    <a:pt x="4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7" name="Google Shape;10977;p60"/>
            <p:cNvSpPr/>
            <p:nvPr/>
          </p:nvSpPr>
          <p:spPr>
            <a:xfrm>
              <a:off x="5513425" y="2437384"/>
              <a:ext cx="10248" cy="10280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8" name="Google Shape;10978;p60"/>
            <p:cNvSpPr/>
            <p:nvPr/>
          </p:nvSpPr>
          <p:spPr>
            <a:xfrm>
              <a:off x="5411100" y="2460140"/>
              <a:ext cx="214517" cy="283106"/>
            </a:xfrm>
            <a:custGeom>
              <a:avLst/>
              <a:gdLst/>
              <a:ahLst/>
              <a:cxnLst/>
              <a:rect l="l" t="t" r="r" b="b"/>
              <a:pathLst>
                <a:path w="6740" h="8895" extrusionOk="0">
                  <a:moveTo>
                    <a:pt x="5692" y="0"/>
                  </a:moveTo>
                  <a:cubicBezTo>
                    <a:pt x="5596" y="0"/>
                    <a:pt x="5525" y="72"/>
                    <a:pt x="5525" y="167"/>
                  </a:cubicBezTo>
                  <a:cubicBezTo>
                    <a:pt x="5525" y="250"/>
                    <a:pt x="5596" y="322"/>
                    <a:pt x="5692" y="322"/>
                  </a:cubicBezTo>
                  <a:lnTo>
                    <a:pt x="6418" y="322"/>
                  </a:lnTo>
                  <a:lnTo>
                    <a:pt x="6418" y="8561"/>
                  </a:lnTo>
                  <a:lnTo>
                    <a:pt x="334" y="8561"/>
                  </a:lnTo>
                  <a:lnTo>
                    <a:pt x="334" y="345"/>
                  </a:lnTo>
                  <a:lnTo>
                    <a:pt x="1060" y="345"/>
                  </a:lnTo>
                  <a:cubicBezTo>
                    <a:pt x="1144" y="345"/>
                    <a:pt x="1227" y="262"/>
                    <a:pt x="1227" y="179"/>
                  </a:cubicBezTo>
                  <a:cubicBezTo>
                    <a:pt x="1227" y="83"/>
                    <a:pt x="1144" y="12"/>
                    <a:pt x="1060" y="12"/>
                  </a:cubicBezTo>
                  <a:lnTo>
                    <a:pt x="167" y="12"/>
                  </a:lnTo>
                  <a:cubicBezTo>
                    <a:pt x="72" y="12"/>
                    <a:pt x="1" y="83"/>
                    <a:pt x="1" y="179"/>
                  </a:cubicBezTo>
                  <a:lnTo>
                    <a:pt x="1" y="8739"/>
                  </a:lnTo>
                  <a:cubicBezTo>
                    <a:pt x="1" y="8823"/>
                    <a:pt x="72" y="8894"/>
                    <a:pt x="167" y="8894"/>
                  </a:cubicBezTo>
                  <a:lnTo>
                    <a:pt x="6585" y="8894"/>
                  </a:lnTo>
                  <a:cubicBezTo>
                    <a:pt x="6668" y="8894"/>
                    <a:pt x="6739" y="8823"/>
                    <a:pt x="6739" y="8739"/>
                  </a:cubicBezTo>
                  <a:lnTo>
                    <a:pt x="6739" y="179"/>
                  </a:lnTo>
                  <a:cubicBezTo>
                    <a:pt x="6739" y="72"/>
                    <a:pt x="6668" y="0"/>
                    <a:pt x="6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9" name="Google Shape;10979;p60"/>
            <p:cNvSpPr/>
            <p:nvPr/>
          </p:nvSpPr>
          <p:spPr>
            <a:xfrm>
              <a:off x="5439904" y="2488562"/>
              <a:ext cx="78837" cy="106495"/>
            </a:xfrm>
            <a:custGeom>
              <a:avLst/>
              <a:gdLst/>
              <a:ahLst/>
              <a:cxnLst/>
              <a:rect l="l" t="t" r="r" b="b"/>
              <a:pathLst>
                <a:path w="2477" h="3346" extrusionOk="0">
                  <a:moveTo>
                    <a:pt x="1405" y="322"/>
                  </a:moveTo>
                  <a:cubicBezTo>
                    <a:pt x="1608" y="322"/>
                    <a:pt x="1774" y="488"/>
                    <a:pt x="1774" y="703"/>
                  </a:cubicBezTo>
                  <a:lnTo>
                    <a:pt x="1774" y="1060"/>
                  </a:lnTo>
                  <a:cubicBezTo>
                    <a:pt x="1774" y="1357"/>
                    <a:pt x="1536" y="1607"/>
                    <a:pt x="1227" y="1607"/>
                  </a:cubicBezTo>
                  <a:cubicBezTo>
                    <a:pt x="929" y="1607"/>
                    <a:pt x="679" y="1357"/>
                    <a:pt x="679" y="1060"/>
                  </a:cubicBezTo>
                  <a:lnTo>
                    <a:pt x="679" y="703"/>
                  </a:lnTo>
                  <a:cubicBezTo>
                    <a:pt x="679" y="488"/>
                    <a:pt x="834" y="322"/>
                    <a:pt x="1048" y="322"/>
                  </a:cubicBezTo>
                  <a:close/>
                  <a:moveTo>
                    <a:pt x="1417" y="1905"/>
                  </a:moveTo>
                  <a:lnTo>
                    <a:pt x="1417" y="2012"/>
                  </a:lnTo>
                  <a:cubicBezTo>
                    <a:pt x="1417" y="2084"/>
                    <a:pt x="1429" y="2143"/>
                    <a:pt x="1465" y="2191"/>
                  </a:cubicBezTo>
                  <a:lnTo>
                    <a:pt x="1239" y="2405"/>
                  </a:lnTo>
                  <a:lnTo>
                    <a:pt x="1215" y="2405"/>
                  </a:lnTo>
                  <a:lnTo>
                    <a:pt x="989" y="2191"/>
                  </a:lnTo>
                  <a:cubicBezTo>
                    <a:pt x="1012" y="2143"/>
                    <a:pt x="1036" y="2084"/>
                    <a:pt x="1036" y="2012"/>
                  </a:cubicBezTo>
                  <a:lnTo>
                    <a:pt x="1036" y="1905"/>
                  </a:lnTo>
                  <a:cubicBezTo>
                    <a:pt x="1096" y="1917"/>
                    <a:pt x="1155" y="1917"/>
                    <a:pt x="1227" y="1917"/>
                  </a:cubicBezTo>
                  <a:cubicBezTo>
                    <a:pt x="1286" y="1917"/>
                    <a:pt x="1358" y="1917"/>
                    <a:pt x="1417" y="1905"/>
                  </a:cubicBezTo>
                  <a:close/>
                  <a:moveTo>
                    <a:pt x="1703" y="2393"/>
                  </a:moveTo>
                  <a:lnTo>
                    <a:pt x="1989" y="2548"/>
                  </a:lnTo>
                  <a:cubicBezTo>
                    <a:pt x="2048" y="2572"/>
                    <a:pt x="2084" y="2643"/>
                    <a:pt x="2084" y="2703"/>
                  </a:cubicBezTo>
                  <a:lnTo>
                    <a:pt x="2084" y="3024"/>
                  </a:lnTo>
                  <a:lnTo>
                    <a:pt x="2120" y="3024"/>
                  </a:lnTo>
                  <a:lnTo>
                    <a:pt x="322" y="3036"/>
                  </a:lnTo>
                  <a:cubicBezTo>
                    <a:pt x="322" y="3036"/>
                    <a:pt x="298" y="3036"/>
                    <a:pt x="298" y="3024"/>
                  </a:cubicBezTo>
                  <a:lnTo>
                    <a:pt x="298" y="2703"/>
                  </a:lnTo>
                  <a:cubicBezTo>
                    <a:pt x="298" y="2631"/>
                    <a:pt x="346" y="2572"/>
                    <a:pt x="405" y="2548"/>
                  </a:cubicBezTo>
                  <a:lnTo>
                    <a:pt x="691" y="2393"/>
                  </a:lnTo>
                  <a:lnTo>
                    <a:pt x="953" y="2667"/>
                  </a:lnTo>
                  <a:cubicBezTo>
                    <a:pt x="1012" y="2715"/>
                    <a:pt x="1108" y="2762"/>
                    <a:pt x="1191" y="2762"/>
                  </a:cubicBezTo>
                  <a:cubicBezTo>
                    <a:pt x="1286" y="2762"/>
                    <a:pt x="1370" y="2738"/>
                    <a:pt x="1429" y="2667"/>
                  </a:cubicBezTo>
                  <a:lnTo>
                    <a:pt x="1703" y="2393"/>
                  </a:lnTo>
                  <a:close/>
                  <a:moveTo>
                    <a:pt x="1048" y="0"/>
                  </a:moveTo>
                  <a:cubicBezTo>
                    <a:pt x="655" y="0"/>
                    <a:pt x="346" y="310"/>
                    <a:pt x="346" y="703"/>
                  </a:cubicBezTo>
                  <a:lnTo>
                    <a:pt x="346" y="1060"/>
                  </a:lnTo>
                  <a:cubicBezTo>
                    <a:pt x="346" y="1334"/>
                    <a:pt x="477" y="1607"/>
                    <a:pt x="703" y="1750"/>
                  </a:cubicBezTo>
                  <a:lnTo>
                    <a:pt x="703" y="2012"/>
                  </a:lnTo>
                  <a:lnTo>
                    <a:pt x="703" y="2024"/>
                  </a:lnTo>
                  <a:lnTo>
                    <a:pt x="286" y="2227"/>
                  </a:lnTo>
                  <a:cubicBezTo>
                    <a:pt x="108" y="2322"/>
                    <a:pt x="0" y="2500"/>
                    <a:pt x="0" y="2691"/>
                  </a:cubicBezTo>
                  <a:lnTo>
                    <a:pt x="0" y="3000"/>
                  </a:lnTo>
                  <a:cubicBezTo>
                    <a:pt x="0" y="3203"/>
                    <a:pt x="155" y="3346"/>
                    <a:pt x="346" y="3346"/>
                  </a:cubicBezTo>
                  <a:lnTo>
                    <a:pt x="2132" y="3346"/>
                  </a:lnTo>
                  <a:cubicBezTo>
                    <a:pt x="2322" y="3346"/>
                    <a:pt x="2477" y="3203"/>
                    <a:pt x="2477" y="3000"/>
                  </a:cubicBezTo>
                  <a:lnTo>
                    <a:pt x="2477" y="2691"/>
                  </a:lnTo>
                  <a:cubicBezTo>
                    <a:pt x="2465" y="2500"/>
                    <a:pt x="2334" y="2322"/>
                    <a:pt x="2167" y="2227"/>
                  </a:cubicBezTo>
                  <a:lnTo>
                    <a:pt x="1751" y="2024"/>
                  </a:lnTo>
                  <a:lnTo>
                    <a:pt x="1751" y="2012"/>
                  </a:lnTo>
                  <a:lnTo>
                    <a:pt x="1751" y="1750"/>
                  </a:lnTo>
                  <a:cubicBezTo>
                    <a:pt x="1965" y="1595"/>
                    <a:pt x="2108" y="1334"/>
                    <a:pt x="2108" y="1060"/>
                  </a:cubicBezTo>
                  <a:lnTo>
                    <a:pt x="2108" y="703"/>
                  </a:lnTo>
                  <a:cubicBezTo>
                    <a:pt x="2108" y="310"/>
                    <a:pt x="1786" y="0"/>
                    <a:pt x="14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0" name="Google Shape;10980;p60"/>
            <p:cNvSpPr/>
            <p:nvPr/>
          </p:nvSpPr>
          <p:spPr>
            <a:xfrm>
              <a:off x="5530103" y="2494228"/>
              <a:ext cx="67856" cy="33005"/>
            </a:xfrm>
            <a:custGeom>
              <a:avLst/>
              <a:gdLst/>
              <a:ahLst/>
              <a:cxnLst/>
              <a:rect l="l" t="t" r="r" b="b"/>
              <a:pathLst>
                <a:path w="2132" h="1037" extrusionOk="0">
                  <a:moveTo>
                    <a:pt x="1786" y="346"/>
                  </a:moveTo>
                  <a:lnTo>
                    <a:pt x="1786" y="715"/>
                  </a:lnTo>
                  <a:lnTo>
                    <a:pt x="345" y="715"/>
                  </a:lnTo>
                  <a:lnTo>
                    <a:pt x="345" y="346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882"/>
                  </a:lnTo>
                  <a:cubicBezTo>
                    <a:pt x="0" y="965"/>
                    <a:pt x="72" y="1036"/>
                    <a:pt x="167" y="1036"/>
                  </a:cubicBezTo>
                  <a:lnTo>
                    <a:pt x="1953" y="1036"/>
                  </a:lnTo>
                  <a:cubicBezTo>
                    <a:pt x="2036" y="1036"/>
                    <a:pt x="2107" y="965"/>
                    <a:pt x="2107" y="882"/>
                  </a:cubicBezTo>
                  <a:lnTo>
                    <a:pt x="2107" y="167"/>
                  </a:lnTo>
                  <a:cubicBezTo>
                    <a:pt x="2131" y="72"/>
                    <a:pt x="2048" y="1"/>
                    <a:pt x="1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1" name="Google Shape;10981;p60"/>
            <p:cNvSpPr/>
            <p:nvPr/>
          </p:nvSpPr>
          <p:spPr>
            <a:xfrm>
              <a:off x="5530103" y="2539709"/>
              <a:ext cx="67092" cy="10248"/>
            </a:xfrm>
            <a:custGeom>
              <a:avLst/>
              <a:gdLst/>
              <a:ahLst/>
              <a:cxnLst/>
              <a:rect l="l" t="t" r="r" b="b"/>
              <a:pathLst>
                <a:path w="210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67"/>
                  </a:cubicBezTo>
                  <a:cubicBezTo>
                    <a:pt x="2107" y="72"/>
                    <a:pt x="2048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2" name="Google Shape;10982;p60"/>
            <p:cNvSpPr/>
            <p:nvPr/>
          </p:nvSpPr>
          <p:spPr>
            <a:xfrm>
              <a:off x="5530103" y="2562434"/>
              <a:ext cx="32973" cy="10280"/>
            </a:xfrm>
            <a:custGeom>
              <a:avLst/>
              <a:gdLst/>
              <a:ahLst/>
              <a:cxnLst/>
              <a:rect l="l" t="t" r="r" b="b"/>
              <a:pathLst>
                <a:path w="103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881" y="322"/>
                  </a:lnTo>
                  <a:cubicBezTo>
                    <a:pt x="964" y="322"/>
                    <a:pt x="1036" y="251"/>
                    <a:pt x="1036" y="167"/>
                  </a:cubicBezTo>
                  <a:cubicBezTo>
                    <a:pt x="1036" y="72"/>
                    <a:pt x="976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3" name="Google Shape;10983;p60"/>
            <p:cNvSpPr/>
            <p:nvPr/>
          </p:nvSpPr>
          <p:spPr>
            <a:xfrm>
              <a:off x="5439522" y="2607534"/>
              <a:ext cx="158437" cy="10280"/>
            </a:xfrm>
            <a:custGeom>
              <a:avLst/>
              <a:gdLst/>
              <a:ahLst/>
              <a:cxnLst/>
              <a:rect l="l" t="t" r="r" b="b"/>
              <a:pathLst>
                <a:path w="4978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4799" y="322"/>
                  </a:lnTo>
                  <a:cubicBezTo>
                    <a:pt x="4882" y="322"/>
                    <a:pt x="4953" y="251"/>
                    <a:pt x="4953" y="155"/>
                  </a:cubicBezTo>
                  <a:cubicBezTo>
                    <a:pt x="4977" y="72"/>
                    <a:pt x="4894" y="1"/>
                    <a:pt x="4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4" name="Google Shape;10984;p60"/>
            <p:cNvSpPr/>
            <p:nvPr/>
          </p:nvSpPr>
          <p:spPr>
            <a:xfrm>
              <a:off x="5439522" y="2630258"/>
              <a:ext cx="22025" cy="10280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56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5" name="Google Shape;10985;p60"/>
            <p:cNvSpPr/>
            <p:nvPr/>
          </p:nvSpPr>
          <p:spPr>
            <a:xfrm>
              <a:off x="5439522" y="2698497"/>
              <a:ext cx="22025" cy="10248"/>
            </a:xfrm>
            <a:custGeom>
              <a:avLst/>
              <a:gdLst/>
              <a:ahLst/>
              <a:cxnLst/>
              <a:rect l="l" t="t" r="r" b="b"/>
              <a:pathLst>
                <a:path w="69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0"/>
                    <a:pt x="679" y="155"/>
                  </a:cubicBezTo>
                  <a:cubicBezTo>
                    <a:pt x="691" y="72"/>
                    <a:pt x="60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6" name="Google Shape;10986;p60"/>
            <p:cNvSpPr/>
            <p:nvPr/>
          </p:nvSpPr>
          <p:spPr>
            <a:xfrm>
              <a:off x="5439522" y="2675740"/>
              <a:ext cx="22025" cy="10280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56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7" name="Google Shape;10987;p60"/>
            <p:cNvSpPr/>
            <p:nvPr/>
          </p:nvSpPr>
          <p:spPr>
            <a:xfrm>
              <a:off x="5439522" y="2653015"/>
              <a:ext cx="22025" cy="10248"/>
            </a:xfrm>
            <a:custGeom>
              <a:avLst/>
              <a:gdLst/>
              <a:ahLst/>
              <a:cxnLst/>
              <a:rect l="l" t="t" r="r" b="b"/>
              <a:pathLst>
                <a:path w="69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0"/>
                    <a:pt x="679" y="155"/>
                  </a:cubicBezTo>
                  <a:cubicBezTo>
                    <a:pt x="691" y="72"/>
                    <a:pt x="60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8" name="Google Shape;10988;p60"/>
            <p:cNvSpPr/>
            <p:nvPr/>
          </p:nvSpPr>
          <p:spPr>
            <a:xfrm>
              <a:off x="5473641" y="2630258"/>
              <a:ext cx="44718" cy="10280"/>
            </a:xfrm>
            <a:custGeom>
              <a:avLst/>
              <a:gdLst/>
              <a:ahLst/>
              <a:cxnLst/>
              <a:rect l="l" t="t" r="r" b="b"/>
              <a:pathLst>
                <a:path w="1405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238" y="322"/>
                  </a:lnTo>
                  <a:cubicBezTo>
                    <a:pt x="1322" y="322"/>
                    <a:pt x="1393" y="251"/>
                    <a:pt x="1393" y="156"/>
                  </a:cubicBezTo>
                  <a:cubicBezTo>
                    <a:pt x="1405" y="72"/>
                    <a:pt x="1322" y="1"/>
                    <a:pt x="1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9" name="Google Shape;10989;p60"/>
            <p:cNvSpPr/>
            <p:nvPr/>
          </p:nvSpPr>
          <p:spPr>
            <a:xfrm>
              <a:off x="5473641" y="2698497"/>
              <a:ext cx="67474" cy="10248"/>
            </a:xfrm>
            <a:custGeom>
              <a:avLst/>
              <a:gdLst/>
              <a:ahLst/>
              <a:cxnLst/>
              <a:rect l="l" t="t" r="r" b="b"/>
              <a:pathLst>
                <a:path w="2120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55"/>
                  </a:cubicBezTo>
                  <a:cubicBezTo>
                    <a:pt x="2119" y="72"/>
                    <a:pt x="2036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0" name="Google Shape;10990;p60"/>
            <p:cNvSpPr/>
            <p:nvPr/>
          </p:nvSpPr>
          <p:spPr>
            <a:xfrm>
              <a:off x="5473641" y="2675740"/>
              <a:ext cx="44718" cy="10280"/>
            </a:xfrm>
            <a:custGeom>
              <a:avLst/>
              <a:gdLst/>
              <a:ahLst/>
              <a:cxnLst/>
              <a:rect l="l" t="t" r="r" b="b"/>
              <a:pathLst>
                <a:path w="1405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238" y="322"/>
                  </a:lnTo>
                  <a:cubicBezTo>
                    <a:pt x="1322" y="322"/>
                    <a:pt x="1393" y="251"/>
                    <a:pt x="1393" y="156"/>
                  </a:cubicBezTo>
                  <a:cubicBezTo>
                    <a:pt x="1405" y="72"/>
                    <a:pt x="1322" y="1"/>
                    <a:pt x="1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1" name="Google Shape;10991;p60"/>
            <p:cNvSpPr/>
            <p:nvPr/>
          </p:nvSpPr>
          <p:spPr>
            <a:xfrm>
              <a:off x="5473641" y="2653015"/>
              <a:ext cx="67474" cy="10248"/>
            </a:xfrm>
            <a:custGeom>
              <a:avLst/>
              <a:gdLst/>
              <a:ahLst/>
              <a:cxnLst/>
              <a:rect l="l" t="t" r="r" b="b"/>
              <a:pathLst>
                <a:path w="2120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55"/>
                  </a:cubicBezTo>
                  <a:cubicBezTo>
                    <a:pt x="2119" y="72"/>
                    <a:pt x="2036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2" name="Google Shape;10992;p60"/>
            <p:cNvSpPr/>
            <p:nvPr/>
          </p:nvSpPr>
          <p:spPr>
            <a:xfrm>
              <a:off x="5558525" y="2653015"/>
              <a:ext cx="39434" cy="10248"/>
            </a:xfrm>
            <a:custGeom>
              <a:avLst/>
              <a:gdLst/>
              <a:ahLst/>
              <a:cxnLst/>
              <a:rect l="l" t="t" r="r" b="b"/>
              <a:pathLst>
                <a:path w="1239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0"/>
                    <a:pt x="1214" y="155"/>
                  </a:cubicBezTo>
                  <a:cubicBezTo>
                    <a:pt x="1238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3" name="Google Shape;10993;p60"/>
            <p:cNvSpPr/>
            <p:nvPr/>
          </p:nvSpPr>
          <p:spPr>
            <a:xfrm>
              <a:off x="5558525" y="2630258"/>
              <a:ext cx="39434" cy="10280"/>
            </a:xfrm>
            <a:custGeom>
              <a:avLst/>
              <a:gdLst/>
              <a:ahLst/>
              <a:cxnLst/>
              <a:rect l="l" t="t" r="r" b="b"/>
              <a:pathLst>
                <a:path w="1239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1"/>
                    <a:pt x="1214" y="156"/>
                  </a:cubicBezTo>
                  <a:cubicBezTo>
                    <a:pt x="1238" y="72"/>
                    <a:pt x="1155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4" name="Google Shape;10994;p60"/>
            <p:cNvSpPr/>
            <p:nvPr/>
          </p:nvSpPr>
          <p:spPr>
            <a:xfrm>
              <a:off x="5558525" y="2675740"/>
              <a:ext cx="39434" cy="10280"/>
            </a:xfrm>
            <a:custGeom>
              <a:avLst/>
              <a:gdLst/>
              <a:ahLst/>
              <a:cxnLst/>
              <a:rect l="l" t="t" r="r" b="b"/>
              <a:pathLst>
                <a:path w="1239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1"/>
                    <a:pt x="1214" y="156"/>
                  </a:cubicBezTo>
                  <a:cubicBezTo>
                    <a:pt x="1238" y="72"/>
                    <a:pt x="1155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5" name="Google Shape;10995;p60"/>
            <p:cNvSpPr/>
            <p:nvPr/>
          </p:nvSpPr>
          <p:spPr>
            <a:xfrm>
              <a:off x="5558525" y="2698497"/>
              <a:ext cx="39434" cy="10248"/>
            </a:xfrm>
            <a:custGeom>
              <a:avLst/>
              <a:gdLst/>
              <a:ahLst/>
              <a:cxnLst/>
              <a:rect l="l" t="t" r="r" b="b"/>
              <a:pathLst>
                <a:path w="1239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0"/>
                    <a:pt x="1214" y="155"/>
                  </a:cubicBezTo>
                  <a:cubicBezTo>
                    <a:pt x="1238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96" name="Google Shape;10996;p60"/>
          <p:cNvGrpSpPr/>
          <p:nvPr/>
        </p:nvGrpSpPr>
        <p:grpSpPr>
          <a:xfrm>
            <a:off x="3567142" y="2905757"/>
            <a:ext cx="348288" cy="340331"/>
            <a:chOff x="3567142" y="2905757"/>
            <a:chExt cx="348288" cy="340331"/>
          </a:xfrm>
        </p:grpSpPr>
        <p:sp>
          <p:nvSpPr>
            <p:cNvPr id="10997" name="Google Shape;10997;p60"/>
            <p:cNvSpPr/>
            <p:nvPr/>
          </p:nvSpPr>
          <p:spPr>
            <a:xfrm>
              <a:off x="3567142" y="2905757"/>
              <a:ext cx="348288" cy="340331"/>
            </a:xfrm>
            <a:custGeom>
              <a:avLst/>
              <a:gdLst/>
              <a:ahLst/>
              <a:cxnLst/>
              <a:rect l="l" t="t" r="r" b="b"/>
              <a:pathLst>
                <a:path w="10943" h="10693" extrusionOk="0">
                  <a:moveTo>
                    <a:pt x="2799" y="608"/>
                  </a:moveTo>
                  <a:lnTo>
                    <a:pt x="6811" y="620"/>
                  </a:lnTo>
                  <a:cubicBezTo>
                    <a:pt x="7013" y="620"/>
                    <a:pt x="7156" y="763"/>
                    <a:pt x="7204" y="941"/>
                  </a:cubicBezTo>
                  <a:cubicBezTo>
                    <a:pt x="7204" y="965"/>
                    <a:pt x="7216" y="1001"/>
                    <a:pt x="7216" y="1013"/>
                  </a:cubicBezTo>
                  <a:lnTo>
                    <a:pt x="7216" y="1715"/>
                  </a:lnTo>
                  <a:lnTo>
                    <a:pt x="3144" y="1703"/>
                  </a:lnTo>
                  <a:lnTo>
                    <a:pt x="3144" y="1596"/>
                  </a:lnTo>
                  <a:cubicBezTo>
                    <a:pt x="3144" y="1215"/>
                    <a:pt x="3001" y="882"/>
                    <a:pt x="2799" y="608"/>
                  </a:cubicBezTo>
                  <a:close/>
                  <a:moveTo>
                    <a:pt x="1560" y="346"/>
                  </a:moveTo>
                  <a:cubicBezTo>
                    <a:pt x="2251" y="346"/>
                    <a:pt x="2811" y="906"/>
                    <a:pt x="2811" y="1596"/>
                  </a:cubicBezTo>
                  <a:cubicBezTo>
                    <a:pt x="2811" y="2275"/>
                    <a:pt x="2263" y="2846"/>
                    <a:pt x="1560" y="2846"/>
                  </a:cubicBezTo>
                  <a:cubicBezTo>
                    <a:pt x="882" y="2846"/>
                    <a:pt x="310" y="2275"/>
                    <a:pt x="310" y="1596"/>
                  </a:cubicBezTo>
                  <a:cubicBezTo>
                    <a:pt x="310" y="906"/>
                    <a:pt x="882" y="346"/>
                    <a:pt x="1560" y="346"/>
                  </a:cubicBezTo>
                  <a:close/>
                  <a:moveTo>
                    <a:pt x="1799" y="9252"/>
                  </a:moveTo>
                  <a:lnTo>
                    <a:pt x="7168" y="9288"/>
                  </a:lnTo>
                  <a:lnTo>
                    <a:pt x="7168" y="9990"/>
                  </a:lnTo>
                  <a:cubicBezTo>
                    <a:pt x="7168" y="10014"/>
                    <a:pt x="7168" y="10050"/>
                    <a:pt x="7156" y="10062"/>
                  </a:cubicBezTo>
                  <a:cubicBezTo>
                    <a:pt x="7109" y="10240"/>
                    <a:pt x="6966" y="10371"/>
                    <a:pt x="6775" y="10371"/>
                  </a:cubicBezTo>
                  <a:lnTo>
                    <a:pt x="2191" y="10359"/>
                  </a:lnTo>
                  <a:cubicBezTo>
                    <a:pt x="1965" y="10359"/>
                    <a:pt x="1799" y="10181"/>
                    <a:pt x="1799" y="9954"/>
                  </a:cubicBezTo>
                  <a:lnTo>
                    <a:pt x="1799" y="9252"/>
                  </a:lnTo>
                  <a:close/>
                  <a:moveTo>
                    <a:pt x="1572" y="1"/>
                  </a:moveTo>
                  <a:cubicBezTo>
                    <a:pt x="715" y="1"/>
                    <a:pt x="1" y="703"/>
                    <a:pt x="1" y="1561"/>
                  </a:cubicBezTo>
                  <a:cubicBezTo>
                    <a:pt x="1" y="2418"/>
                    <a:pt x="667" y="3108"/>
                    <a:pt x="1501" y="3144"/>
                  </a:cubicBezTo>
                  <a:lnTo>
                    <a:pt x="1501" y="4644"/>
                  </a:lnTo>
                  <a:cubicBezTo>
                    <a:pt x="1501" y="4739"/>
                    <a:pt x="1572" y="4811"/>
                    <a:pt x="1668" y="4811"/>
                  </a:cubicBezTo>
                  <a:cubicBezTo>
                    <a:pt x="1751" y="4811"/>
                    <a:pt x="1834" y="4739"/>
                    <a:pt x="1834" y="4644"/>
                  </a:cubicBezTo>
                  <a:lnTo>
                    <a:pt x="1834" y="3132"/>
                  </a:lnTo>
                  <a:cubicBezTo>
                    <a:pt x="2441" y="3025"/>
                    <a:pt x="2918" y="2596"/>
                    <a:pt x="3096" y="2013"/>
                  </a:cubicBezTo>
                  <a:lnTo>
                    <a:pt x="7216" y="2025"/>
                  </a:lnTo>
                  <a:lnTo>
                    <a:pt x="7216" y="3323"/>
                  </a:lnTo>
                  <a:lnTo>
                    <a:pt x="4704" y="3311"/>
                  </a:lnTo>
                  <a:lnTo>
                    <a:pt x="4668" y="3311"/>
                  </a:lnTo>
                  <a:lnTo>
                    <a:pt x="4668" y="2751"/>
                  </a:lnTo>
                  <a:cubicBezTo>
                    <a:pt x="4668" y="2668"/>
                    <a:pt x="4597" y="2596"/>
                    <a:pt x="4513" y="2596"/>
                  </a:cubicBezTo>
                  <a:cubicBezTo>
                    <a:pt x="4418" y="2596"/>
                    <a:pt x="4346" y="2668"/>
                    <a:pt x="4346" y="2751"/>
                  </a:cubicBezTo>
                  <a:lnTo>
                    <a:pt x="4346" y="3668"/>
                  </a:lnTo>
                  <a:lnTo>
                    <a:pt x="4335" y="7276"/>
                  </a:lnTo>
                  <a:lnTo>
                    <a:pt x="4335" y="8204"/>
                  </a:lnTo>
                  <a:cubicBezTo>
                    <a:pt x="4335" y="8288"/>
                    <a:pt x="4406" y="8371"/>
                    <a:pt x="4489" y="8371"/>
                  </a:cubicBezTo>
                  <a:cubicBezTo>
                    <a:pt x="4585" y="8371"/>
                    <a:pt x="4656" y="8288"/>
                    <a:pt x="4656" y="8204"/>
                  </a:cubicBezTo>
                  <a:lnTo>
                    <a:pt x="4656" y="7633"/>
                  </a:lnTo>
                  <a:lnTo>
                    <a:pt x="4692" y="7633"/>
                  </a:lnTo>
                  <a:lnTo>
                    <a:pt x="7204" y="7657"/>
                  </a:lnTo>
                  <a:lnTo>
                    <a:pt x="7204" y="8966"/>
                  </a:lnTo>
                  <a:lnTo>
                    <a:pt x="1834" y="8930"/>
                  </a:lnTo>
                  <a:lnTo>
                    <a:pt x="1846" y="5335"/>
                  </a:lnTo>
                  <a:cubicBezTo>
                    <a:pt x="1846" y="5240"/>
                    <a:pt x="1775" y="5168"/>
                    <a:pt x="1679" y="5168"/>
                  </a:cubicBezTo>
                  <a:cubicBezTo>
                    <a:pt x="1596" y="5168"/>
                    <a:pt x="1513" y="5240"/>
                    <a:pt x="1513" y="5335"/>
                  </a:cubicBezTo>
                  <a:lnTo>
                    <a:pt x="1501" y="9097"/>
                  </a:lnTo>
                  <a:lnTo>
                    <a:pt x="1501" y="9954"/>
                  </a:lnTo>
                  <a:cubicBezTo>
                    <a:pt x="1501" y="10347"/>
                    <a:pt x="1810" y="10669"/>
                    <a:pt x="2215" y="10669"/>
                  </a:cubicBezTo>
                  <a:lnTo>
                    <a:pt x="6799" y="10693"/>
                  </a:lnTo>
                  <a:cubicBezTo>
                    <a:pt x="7168" y="10693"/>
                    <a:pt x="7466" y="10407"/>
                    <a:pt x="7514" y="10050"/>
                  </a:cubicBezTo>
                  <a:lnTo>
                    <a:pt x="7514" y="9978"/>
                  </a:lnTo>
                  <a:lnTo>
                    <a:pt x="7514" y="9109"/>
                  </a:lnTo>
                  <a:lnTo>
                    <a:pt x="7514" y="7633"/>
                  </a:lnTo>
                  <a:lnTo>
                    <a:pt x="8478" y="7633"/>
                  </a:lnTo>
                  <a:cubicBezTo>
                    <a:pt x="8573" y="7633"/>
                    <a:pt x="8645" y="7561"/>
                    <a:pt x="8645" y="7478"/>
                  </a:cubicBezTo>
                  <a:cubicBezTo>
                    <a:pt x="8645" y="7383"/>
                    <a:pt x="8573" y="7311"/>
                    <a:pt x="8478" y="7311"/>
                  </a:cubicBezTo>
                  <a:lnTo>
                    <a:pt x="4668" y="7299"/>
                  </a:lnTo>
                  <a:cubicBezTo>
                    <a:pt x="4656" y="7299"/>
                    <a:pt x="4644" y="7276"/>
                    <a:pt x="4644" y="7264"/>
                  </a:cubicBezTo>
                  <a:lnTo>
                    <a:pt x="4656" y="3644"/>
                  </a:lnTo>
                  <a:cubicBezTo>
                    <a:pt x="4656" y="3632"/>
                    <a:pt x="4668" y="3620"/>
                    <a:pt x="4692" y="3620"/>
                  </a:cubicBezTo>
                  <a:lnTo>
                    <a:pt x="10585" y="3644"/>
                  </a:lnTo>
                  <a:cubicBezTo>
                    <a:pt x="10597" y="3644"/>
                    <a:pt x="10609" y="3668"/>
                    <a:pt x="10609" y="3680"/>
                  </a:cubicBezTo>
                  <a:lnTo>
                    <a:pt x="10597" y="7299"/>
                  </a:lnTo>
                  <a:cubicBezTo>
                    <a:pt x="10597" y="7311"/>
                    <a:pt x="10585" y="7323"/>
                    <a:pt x="10562" y="7323"/>
                  </a:cubicBezTo>
                  <a:lnTo>
                    <a:pt x="9192" y="7323"/>
                  </a:lnTo>
                  <a:cubicBezTo>
                    <a:pt x="9109" y="7323"/>
                    <a:pt x="9038" y="7395"/>
                    <a:pt x="9038" y="7490"/>
                  </a:cubicBezTo>
                  <a:cubicBezTo>
                    <a:pt x="9038" y="7573"/>
                    <a:pt x="9109" y="7657"/>
                    <a:pt x="9192" y="7657"/>
                  </a:cubicBezTo>
                  <a:lnTo>
                    <a:pt x="10562" y="7657"/>
                  </a:lnTo>
                  <a:cubicBezTo>
                    <a:pt x="10764" y="7657"/>
                    <a:pt x="10919" y="7490"/>
                    <a:pt x="10919" y="7299"/>
                  </a:cubicBezTo>
                  <a:lnTo>
                    <a:pt x="10943" y="3680"/>
                  </a:lnTo>
                  <a:cubicBezTo>
                    <a:pt x="10919" y="3513"/>
                    <a:pt x="10776" y="3346"/>
                    <a:pt x="10562" y="3346"/>
                  </a:cubicBezTo>
                  <a:lnTo>
                    <a:pt x="7514" y="3335"/>
                  </a:lnTo>
                  <a:lnTo>
                    <a:pt x="7514" y="1882"/>
                  </a:lnTo>
                  <a:lnTo>
                    <a:pt x="7514" y="1013"/>
                  </a:lnTo>
                  <a:lnTo>
                    <a:pt x="7514" y="941"/>
                  </a:lnTo>
                  <a:cubicBezTo>
                    <a:pt x="7490" y="584"/>
                    <a:pt x="7168" y="298"/>
                    <a:pt x="6799" y="298"/>
                  </a:cubicBezTo>
                  <a:lnTo>
                    <a:pt x="2501" y="287"/>
                  </a:lnTo>
                  <a:lnTo>
                    <a:pt x="2453" y="287"/>
                  </a:lnTo>
                  <a:cubicBezTo>
                    <a:pt x="2203" y="108"/>
                    <a:pt x="1906" y="1"/>
                    <a:pt x="1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8" name="Google Shape;10998;p60"/>
            <p:cNvSpPr/>
            <p:nvPr/>
          </p:nvSpPr>
          <p:spPr>
            <a:xfrm>
              <a:off x="3819534" y="3034977"/>
              <a:ext cx="73903" cy="48919"/>
            </a:xfrm>
            <a:custGeom>
              <a:avLst/>
              <a:gdLst/>
              <a:ahLst/>
              <a:cxnLst/>
              <a:rect l="l" t="t" r="r" b="b"/>
              <a:pathLst>
                <a:path w="2322" h="1537" extrusionOk="0">
                  <a:moveTo>
                    <a:pt x="1560" y="322"/>
                  </a:moveTo>
                  <a:cubicBezTo>
                    <a:pt x="1798" y="334"/>
                    <a:pt x="2001" y="525"/>
                    <a:pt x="2001" y="763"/>
                  </a:cubicBezTo>
                  <a:cubicBezTo>
                    <a:pt x="2001" y="1001"/>
                    <a:pt x="1798" y="1191"/>
                    <a:pt x="1548" y="1191"/>
                  </a:cubicBezTo>
                  <a:cubicBezTo>
                    <a:pt x="1310" y="1191"/>
                    <a:pt x="1119" y="1001"/>
                    <a:pt x="1119" y="751"/>
                  </a:cubicBezTo>
                  <a:cubicBezTo>
                    <a:pt x="1119" y="513"/>
                    <a:pt x="1310" y="322"/>
                    <a:pt x="1560" y="322"/>
                  </a:cubicBezTo>
                  <a:close/>
                  <a:moveTo>
                    <a:pt x="774" y="334"/>
                  </a:moveTo>
                  <a:cubicBezTo>
                    <a:pt x="834" y="334"/>
                    <a:pt x="881" y="346"/>
                    <a:pt x="929" y="358"/>
                  </a:cubicBezTo>
                  <a:cubicBezTo>
                    <a:pt x="846" y="477"/>
                    <a:pt x="810" y="620"/>
                    <a:pt x="810" y="775"/>
                  </a:cubicBezTo>
                  <a:cubicBezTo>
                    <a:pt x="810" y="930"/>
                    <a:pt x="846" y="1072"/>
                    <a:pt x="929" y="1191"/>
                  </a:cubicBezTo>
                  <a:cubicBezTo>
                    <a:pt x="881" y="1215"/>
                    <a:pt x="822" y="1227"/>
                    <a:pt x="774" y="1227"/>
                  </a:cubicBezTo>
                  <a:cubicBezTo>
                    <a:pt x="524" y="1191"/>
                    <a:pt x="334" y="1001"/>
                    <a:pt x="334" y="763"/>
                  </a:cubicBezTo>
                  <a:cubicBezTo>
                    <a:pt x="334" y="525"/>
                    <a:pt x="524" y="334"/>
                    <a:pt x="774" y="334"/>
                  </a:cubicBezTo>
                  <a:close/>
                  <a:moveTo>
                    <a:pt x="762" y="1"/>
                  </a:moveTo>
                  <a:cubicBezTo>
                    <a:pt x="346" y="1"/>
                    <a:pt x="0" y="346"/>
                    <a:pt x="0" y="763"/>
                  </a:cubicBezTo>
                  <a:cubicBezTo>
                    <a:pt x="0" y="1180"/>
                    <a:pt x="346" y="1525"/>
                    <a:pt x="762" y="1525"/>
                  </a:cubicBezTo>
                  <a:cubicBezTo>
                    <a:pt x="905" y="1525"/>
                    <a:pt x="1048" y="1489"/>
                    <a:pt x="1167" y="1418"/>
                  </a:cubicBezTo>
                  <a:cubicBezTo>
                    <a:pt x="1286" y="1489"/>
                    <a:pt x="1417" y="1537"/>
                    <a:pt x="1560" y="1537"/>
                  </a:cubicBezTo>
                  <a:cubicBezTo>
                    <a:pt x="1977" y="1537"/>
                    <a:pt x="2322" y="1191"/>
                    <a:pt x="2322" y="775"/>
                  </a:cubicBezTo>
                  <a:cubicBezTo>
                    <a:pt x="2322" y="358"/>
                    <a:pt x="1977" y="13"/>
                    <a:pt x="1560" y="13"/>
                  </a:cubicBezTo>
                  <a:cubicBezTo>
                    <a:pt x="1417" y="13"/>
                    <a:pt x="1286" y="60"/>
                    <a:pt x="1167" y="120"/>
                  </a:cubicBezTo>
                  <a:cubicBezTo>
                    <a:pt x="1048" y="48"/>
                    <a:pt x="905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9" name="Google Shape;10999;p60"/>
            <p:cNvSpPr/>
            <p:nvPr/>
          </p:nvSpPr>
          <p:spPr>
            <a:xfrm>
              <a:off x="3728571" y="3036123"/>
              <a:ext cx="67506" cy="45895"/>
            </a:xfrm>
            <a:custGeom>
              <a:avLst/>
              <a:gdLst/>
              <a:ahLst/>
              <a:cxnLst/>
              <a:rect l="l" t="t" r="r" b="b"/>
              <a:pathLst>
                <a:path w="2121" h="1442" extrusionOk="0">
                  <a:moveTo>
                    <a:pt x="1739" y="310"/>
                  </a:moveTo>
                  <a:cubicBezTo>
                    <a:pt x="1763" y="310"/>
                    <a:pt x="1775" y="322"/>
                    <a:pt x="1775" y="346"/>
                  </a:cubicBezTo>
                  <a:lnTo>
                    <a:pt x="1775" y="1072"/>
                  </a:lnTo>
                  <a:cubicBezTo>
                    <a:pt x="1775" y="1084"/>
                    <a:pt x="1763" y="1096"/>
                    <a:pt x="1739" y="1096"/>
                  </a:cubicBezTo>
                  <a:lnTo>
                    <a:pt x="346" y="1096"/>
                  </a:lnTo>
                  <a:cubicBezTo>
                    <a:pt x="343" y="1103"/>
                    <a:pt x="338" y="1106"/>
                    <a:pt x="333" y="1106"/>
                  </a:cubicBezTo>
                  <a:cubicBezTo>
                    <a:pt x="322" y="1106"/>
                    <a:pt x="310" y="1089"/>
                    <a:pt x="310" y="1072"/>
                  </a:cubicBezTo>
                  <a:lnTo>
                    <a:pt x="310" y="346"/>
                  </a:lnTo>
                  <a:cubicBezTo>
                    <a:pt x="310" y="322"/>
                    <a:pt x="334" y="310"/>
                    <a:pt x="346" y="310"/>
                  </a:cubicBezTo>
                  <a:close/>
                  <a:moveTo>
                    <a:pt x="358" y="1"/>
                  </a:moveTo>
                  <a:cubicBezTo>
                    <a:pt x="167" y="1"/>
                    <a:pt x="1" y="167"/>
                    <a:pt x="1" y="358"/>
                  </a:cubicBezTo>
                  <a:lnTo>
                    <a:pt x="1" y="1084"/>
                  </a:lnTo>
                  <a:cubicBezTo>
                    <a:pt x="1" y="1275"/>
                    <a:pt x="167" y="1441"/>
                    <a:pt x="358" y="1441"/>
                  </a:cubicBezTo>
                  <a:lnTo>
                    <a:pt x="1763" y="1441"/>
                  </a:lnTo>
                  <a:cubicBezTo>
                    <a:pt x="1953" y="1441"/>
                    <a:pt x="2120" y="1275"/>
                    <a:pt x="2120" y="1084"/>
                  </a:cubicBezTo>
                  <a:lnTo>
                    <a:pt x="2120" y="358"/>
                  </a:lnTo>
                  <a:cubicBezTo>
                    <a:pt x="2120" y="167"/>
                    <a:pt x="1953" y="1"/>
                    <a:pt x="1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0" name="Google Shape;11000;p60"/>
            <p:cNvSpPr/>
            <p:nvPr/>
          </p:nvSpPr>
          <p:spPr>
            <a:xfrm>
              <a:off x="3724783" y="3091439"/>
              <a:ext cx="170946" cy="30745"/>
            </a:xfrm>
            <a:custGeom>
              <a:avLst/>
              <a:gdLst/>
              <a:ahLst/>
              <a:cxnLst/>
              <a:rect l="l" t="t" r="r" b="b"/>
              <a:pathLst>
                <a:path w="5371" h="966" extrusionOk="0">
                  <a:moveTo>
                    <a:pt x="358" y="346"/>
                  </a:moveTo>
                  <a:lnTo>
                    <a:pt x="5013" y="358"/>
                  </a:lnTo>
                  <a:cubicBezTo>
                    <a:pt x="5037" y="358"/>
                    <a:pt x="5049" y="370"/>
                    <a:pt x="5049" y="394"/>
                  </a:cubicBezTo>
                  <a:lnTo>
                    <a:pt x="5049" y="632"/>
                  </a:lnTo>
                  <a:cubicBezTo>
                    <a:pt x="5049" y="644"/>
                    <a:pt x="5037" y="656"/>
                    <a:pt x="5013" y="656"/>
                  </a:cubicBezTo>
                  <a:lnTo>
                    <a:pt x="358" y="644"/>
                  </a:lnTo>
                  <a:cubicBezTo>
                    <a:pt x="346" y="644"/>
                    <a:pt x="334" y="632"/>
                    <a:pt x="334" y="608"/>
                  </a:cubicBezTo>
                  <a:lnTo>
                    <a:pt x="334" y="370"/>
                  </a:lnTo>
                  <a:cubicBezTo>
                    <a:pt x="334" y="358"/>
                    <a:pt x="346" y="346"/>
                    <a:pt x="358" y="346"/>
                  </a:cubicBezTo>
                  <a:close/>
                  <a:moveTo>
                    <a:pt x="358" y="1"/>
                  </a:moveTo>
                  <a:cubicBezTo>
                    <a:pt x="167" y="13"/>
                    <a:pt x="1" y="168"/>
                    <a:pt x="1" y="358"/>
                  </a:cubicBezTo>
                  <a:lnTo>
                    <a:pt x="1" y="596"/>
                  </a:lnTo>
                  <a:cubicBezTo>
                    <a:pt x="1" y="787"/>
                    <a:pt x="167" y="953"/>
                    <a:pt x="358" y="953"/>
                  </a:cubicBezTo>
                  <a:lnTo>
                    <a:pt x="5013" y="965"/>
                  </a:lnTo>
                  <a:cubicBezTo>
                    <a:pt x="5204" y="965"/>
                    <a:pt x="5370" y="810"/>
                    <a:pt x="5370" y="608"/>
                  </a:cubicBezTo>
                  <a:lnTo>
                    <a:pt x="5370" y="370"/>
                  </a:lnTo>
                  <a:cubicBezTo>
                    <a:pt x="5370" y="179"/>
                    <a:pt x="5204" y="13"/>
                    <a:pt x="5013" y="13"/>
                  </a:cubicBezTo>
                  <a:lnTo>
                    <a:pt x="35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1" name="Google Shape;11001;p60"/>
            <p:cNvSpPr/>
            <p:nvPr/>
          </p:nvSpPr>
          <p:spPr>
            <a:xfrm>
              <a:off x="3597092" y="2940799"/>
              <a:ext cx="40580" cy="30936"/>
            </a:xfrm>
            <a:custGeom>
              <a:avLst/>
              <a:gdLst/>
              <a:ahLst/>
              <a:cxnLst/>
              <a:rect l="l" t="t" r="r" b="b"/>
              <a:pathLst>
                <a:path w="1275" h="972" extrusionOk="0">
                  <a:moveTo>
                    <a:pt x="1100" y="1"/>
                  </a:moveTo>
                  <a:cubicBezTo>
                    <a:pt x="1055" y="1"/>
                    <a:pt x="1009" y="21"/>
                    <a:pt x="977" y="67"/>
                  </a:cubicBezTo>
                  <a:lnTo>
                    <a:pt x="500" y="567"/>
                  </a:lnTo>
                  <a:lnTo>
                    <a:pt x="298" y="305"/>
                  </a:lnTo>
                  <a:cubicBezTo>
                    <a:pt x="264" y="257"/>
                    <a:pt x="215" y="237"/>
                    <a:pt x="167" y="237"/>
                  </a:cubicBezTo>
                  <a:cubicBezTo>
                    <a:pt x="132" y="237"/>
                    <a:pt x="97" y="249"/>
                    <a:pt x="72" y="269"/>
                  </a:cubicBezTo>
                  <a:cubicBezTo>
                    <a:pt x="0" y="329"/>
                    <a:pt x="0" y="436"/>
                    <a:pt x="36" y="495"/>
                  </a:cubicBezTo>
                  <a:lnTo>
                    <a:pt x="369" y="912"/>
                  </a:lnTo>
                  <a:cubicBezTo>
                    <a:pt x="393" y="936"/>
                    <a:pt x="441" y="971"/>
                    <a:pt x="488" y="971"/>
                  </a:cubicBezTo>
                  <a:cubicBezTo>
                    <a:pt x="524" y="971"/>
                    <a:pt x="572" y="948"/>
                    <a:pt x="608" y="924"/>
                  </a:cubicBezTo>
                  <a:lnTo>
                    <a:pt x="1215" y="269"/>
                  </a:lnTo>
                  <a:cubicBezTo>
                    <a:pt x="1274" y="209"/>
                    <a:pt x="1274" y="102"/>
                    <a:pt x="1203" y="43"/>
                  </a:cubicBezTo>
                  <a:cubicBezTo>
                    <a:pt x="1176" y="16"/>
                    <a:pt x="1138" y="1"/>
                    <a:pt x="11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02" name="Google Shape;11002;p60"/>
          <p:cNvGrpSpPr/>
          <p:nvPr/>
        </p:nvGrpSpPr>
        <p:grpSpPr>
          <a:xfrm>
            <a:off x="7967103" y="2415041"/>
            <a:ext cx="355863" cy="361911"/>
            <a:chOff x="7967103" y="2415041"/>
            <a:chExt cx="355863" cy="361911"/>
          </a:xfrm>
        </p:grpSpPr>
        <p:sp>
          <p:nvSpPr>
            <p:cNvPr id="11003" name="Google Shape;11003;p60"/>
            <p:cNvSpPr/>
            <p:nvPr/>
          </p:nvSpPr>
          <p:spPr>
            <a:xfrm>
              <a:off x="7967103" y="2584427"/>
              <a:ext cx="111810" cy="192525"/>
            </a:xfrm>
            <a:custGeom>
              <a:avLst/>
              <a:gdLst/>
              <a:ahLst/>
              <a:cxnLst/>
              <a:rect l="l" t="t" r="r" b="b"/>
              <a:pathLst>
                <a:path w="3513" h="6049" extrusionOk="0">
                  <a:moveTo>
                    <a:pt x="1738" y="346"/>
                  </a:moveTo>
                  <a:cubicBezTo>
                    <a:pt x="2036" y="346"/>
                    <a:pt x="2298" y="560"/>
                    <a:pt x="2298" y="810"/>
                  </a:cubicBezTo>
                  <a:lnTo>
                    <a:pt x="2298" y="846"/>
                  </a:lnTo>
                  <a:cubicBezTo>
                    <a:pt x="2131" y="762"/>
                    <a:pt x="1941" y="739"/>
                    <a:pt x="1738" y="739"/>
                  </a:cubicBezTo>
                  <a:cubicBezTo>
                    <a:pt x="1548" y="739"/>
                    <a:pt x="1369" y="786"/>
                    <a:pt x="1191" y="846"/>
                  </a:cubicBezTo>
                  <a:lnTo>
                    <a:pt x="1191" y="810"/>
                  </a:lnTo>
                  <a:cubicBezTo>
                    <a:pt x="1203" y="560"/>
                    <a:pt x="1441" y="346"/>
                    <a:pt x="1738" y="346"/>
                  </a:cubicBezTo>
                  <a:close/>
                  <a:moveTo>
                    <a:pt x="1738" y="1048"/>
                  </a:moveTo>
                  <a:cubicBezTo>
                    <a:pt x="2334" y="1048"/>
                    <a:pt x="2834" y="1536"/>
                    <a:pt x="2834" y="2132"/>
                  </a:cubicBezTo>
                  <a:cubicBezTo>
                    <a:pt x="2834" y="2251"/>
                    <a:pt x="2810" y="2358"/>
                    <a:pt x="2762" y="2477"/>
                  </a:cubicBezTo>
                  <a:cubicBezTo>
                    <a:pt x="2286" y="2001"/>
                    <a:pt x="1453" y="1810"/>
                    <a:pt x="1429" y="1798"/>
                  </a:cubicBezTo>
                  <a:cubicBezTo>
                    <a:pt x="1415" y="1791"/>
                    <a:pt x="1400" y="1788"/>
                    <a:pt x="1385" y="1788"/>
                  </a:cubicBezTo>
                  <a:cubicBezTo>
                    <a:pt x="1347" y="1788"/>
                    <a:pt x="1308" y="1805"/>
                    <a:pt x="1274" y="1822"/>
                  </a:cubicBezTo>
                  <a:cubicBezTo>
                    <a:pt x="1238" y="1858"/>
                    <a:pt x="1215" y="1893"/>
                    <a:pt x="1215" y="1953"/>
                  </a:cubicBezTo>
                  <a:cubicBezTo>
                    <a:pt x="1215" y="1977"/>
                    <a:pt x="1203" y="2072"/>
                    <a:pt x="1084" y="2191"/>
                  </a:cubicBezTo>
                  <a:cubicBezTo>
                    <a:pt x="1024" y="2251"/>
                    <a:pt x="1024" y="2358"/>
                    <a:pt x="1084" y="2429"/>
                  </a:cubicBezTo>
                  <a:cubicBezTo>
                    <a:pt x="1111" y="2467"/>
                    <a:pt x="1148" y="2483"/>
                    <a:pt x="1188" y="2483"/>
                  </a:cubicBezTo>
                  <a:cubicBezTo>
                    <a:pt x="1234" y="2483"/>
                    <a:pt x="1283" y="2461"/>
                    <a:pt x="1322" y="2429"/>
                  </a:cubicBezTo>
                  <a:cubicBezTo>
                    <a:pt x="1417" y="2346"/>
                    <a:pt x="1477" y="2239"/>
                    <a:pt x="1500" y="2167"/>
                  </a:cubicBezTo>
                  <a:cubicBezTo>
                    <a:pt x="1786" y="2251"/>
                    <a:pt x="2370" y="2465"/>
                    <a:pt x="2631" y="2834"/>
                  </a:cubicBezTo>
                  <a:cubicBezTo>
                    <a:pt x="2560" y="3263"/>
                    <a:pt x="2191" y="3584"/>
                    <a:pt x="1738" y="3584"/>
                  </a:cubicBezTo>
                  <a:cubicBezTo>
                    <a:pt x="1286" y="3584"/>
                    <a:pt x="893" y="3239"/>
                    <a:pt x="846" y="2774"/>
                  </a:cubicBezTo>
                  <a:cubicBezTo>
                    <a:pt x="846" y="2751"/>
                    <a:pt x="834" y="2727"/>
                    <a:pt x="822" y="2703"/>
                  </a:cubicBezTo>
                  <a:cubicBezTo>
                    <a:pt x="715" y="2536"/>
                    <a:pt x="655" y="2334"/>
                    <a:pt x="655" y="2132"/>
                  </a:cubicBezTo>
                  <a:cubicBezTo>
                    <a:pt x="655" y="1536"/>
                    <a:pt x="1143" y="1048"/>
                    <a:pt x="1738" y="1048"/>
                  </a:cubicBezTo>
                  <a:close/>
                  <a:moveTo>
                    <a:pt x="2131" y="3858"/>
                  </a:moveTo>
                  <a:lnTo>
                    <a:pt x="2131" y="4037"/>
                  </a:lnTo>
                  <a:cubicBezTo>
                    <a:pt x="2131" y="4096"/>
                    <a:pt x="2143" y="4156"/>
                    <a:pt x="2167" y="4203"/>
                  </a:cubicBezTo>
                  <a:lnTo>
                    <a:pt x="1738" y="4596"/>
                  </a:lnTo>
                  <a:lnTo>
                    <a:pt x="1346" y="4203"/>
                  </a:lnTo>
                  <a:cubicBezTo>
                    <a:pt x="1369" y="4156"/>
                    <a:pt x="1381" y="4096"/>
                    <a:pt x="1381" y="4037"/>
                  </a:cubicBezTo>
                  <a:lnTo>
                    <a:pt x="1381" y="3858"/>
                  </a:lnTo>
                  <a:cubicBezTo>
                    <a:pt x="1500" y="3894"/>
                    <a:pt x="1619" y="3917"/>
                    <a:pt x="1750" y="3917"/>
                  </a:cubicBezTo>
                  <a:cubicBezTo>
                    <a:pt x="1893" y="3917"/>
                    <a:pt x="2012" y="3906"/>
                    <a:pt x="2131" y="3858"/>
                  </a:cubicBezTo>
                  <a:close/>
                  <a:moveTo>
                    <a:pt x="1762" y="0"/>
                  </a:moveTo>
                  <a:cubicBezTo>
                    <a:pt x="1286" y="0"/>
                    <a:pt x="881" y="358"/>
                    <a:pt x="881" y="798"/>
                  </a:cubicBezTo>
                  <a:cubicBezTo>
                    <a:pt x="881" y="869"/>
                    <a:pt x="893" y="929"/>
                    <a:pt x="905" y="1000"/>
                  </a:cubicBezTo>
                  <a:cubicBezTo>
                    <a:pt x="572" y="1250"/>
                    <a:pt x="345" y="1667"/>
                    <a:pt x="345" y="2132"/>
                  </a:cubicBezTo>
                  <a:cubicBezTo>
                    <a:pt x="345" y="2382"/>
                    <a:pt x="405" y="2632"/>
                    <a:pt x="536" y="2834"/>
                  </a:cubicBezTo>
                  <a:cubicBezTo>
                    <a:pt x="584" y="3191"/>
                    <a:pt x="774" y="3489"/>
                    <a:pt x="1060" y="3679"/>
                  </a:cubicBezTo>
                  <a:lnTo>
                    <a:pt x="1060" y="4025"/>
                  </a:lnTo>
                  <a:lnTo>
                    <a:pt x="1060" y="4037"/>
                  </a:lnTo>
                  <a:lnTo>
                    <a:pt x="393" y="4382"/>
                  </a:lnTo>
                  <a:cubicBezTo>
                    <a:pt x="155" y="4501"/>
                    <a:pt x="0" y="4739"/>
                    <a:pt x="0" y="5013"/>
                  </a:cubicBezTo>
                  <a:lnTo>
                    <a:pt x="0" y="5882"/>
                  </a:lnTo>
                  <a:cubicBezTo>
                    <a:pt x="0" y="5977"/>
                    <a:pt x="72" y="6049"/>
                    <a:pt x="167" y="6049"/>
                  </a:cubicBezTo>
                  <a:cubicBezTo>
                    <a:pt x="250" y="6049"/>
                    <a:pt x="334" y="5977"/>
                    <a:pt x="334" y="5882"/>
                  </a:cubicBezTo>
                  <a:lnTo>
                    <a:pt x="334" y="5013"/>
                  </a:lnTo>
                  <a:cubicBezTo>
                    <a:pt x="334" y="4870"/>
                    <a:pt x="405" y="4739"/>
                    <a:pt x="536" y="4679"/>
                  </a:cubicBezTo>
                  <a:lnTo>
                    <a:pt x="1084" y="4394"/>
                  </a:lnTo>
                  <a:lnTo>
                    <a:pt x="1596" y="4894"/>
                  </a:lnTo>
                  <a:lnTo>
                    <a:pt x="1596" y="5882"/>
                  </a:lnTo>
                  <a:cubicBezTo>
                    <a:pt x="1596" y="5977"/>
                    <a:pt x="1667" y="6049"/>
                    <a:pt x="1762" y="6049"/>
                  </a:cubicBezTo>
                  <a:cubicBezTo>
                    <a:pt x="1846" y="6049"/>
                    <a:pt x="1917" y="5977"/>
                    <a:pt x="1917" y="5882"/>
                  </a:cubicBezTo>
                  <a:lnTo>
                    <a:pt x="1917" y="4894"/>
                  </a:lnTo>
                  <a:lnTo>
                    <a:pt x="2429" y="4394"/>
                  </a:lnTo>
                  <a:lnTo>
                    <a:pt x="2977" y="4679"/>
                  </a:lnTo>
                  <a:cubicBezTo>
                    <a:pt x="3096" y="4739"/>
                    <a:pt x="3191" y="4870"/>
                    <a:pt x="3191" y="5013"/>
                  </a:cubicBezTo>
                  <a:lnTo>
                    <a:pt x="3191" y="5882"/>
                  </a:lnTo>
                  <a:cubicBezTo>
                    <a:pt x="3191" y="5977"/>
                    <a:pt x="3262" y="6049"/>
                    <a:pt x="3346" y="6049"/>
                  </a:cubicBezTo>
                  <a:cubicBezTo>
                    <a:pt x="3441" y="6049"/>
                    <a:pt x="3513" y="5977"/>
                    <a:pt x="3513" y="5882"/>
                  </a:cubicBezTo>
                  <a:lnTo>
                    <a:pt x="3513" y="5013"/>
                  </a:lnTo>
                  <a:cubicBezTo>
                    <a:pt x="3513" y="4739"/>
                    <a:pt x="3370" y="4501"/>
                    <a:pt x="3132" y="4382"/>
                  </a:cubicBezTo>
                  <a:lnTo>
                    <a:pt x="2453" y="4037"/>
                  </a:lnTo>
                  <a:lnTo>
                    <a:pt x="2453" y="4025"/>
                  </a:lnTo>
                  <a:lnTo>
                    <a:pt x="2453" y="3679"/>
                  </a:lnTo>
                  <a:cubicBezTo>
                    <a:pt x="2739" y="3489"/>
                    <a:pt x="2929" y="3191"/>
                    <a:pt x="2977" y="2834"/>
                  </a:cubicBezTo>
                  <a:cubicBezTo>
                    <a:pt x="3096" y="2632"/>
                    <a:pt x="3167" y="2370"/>
                    <a:pt x="3167" y="2132"/>
                  </a:cubicBezTo>
                  <a:cubicBezTo>
                    <a:pt x="3167" y="1667"/>
                    <a:pt x="2953" y="1262"/>
                    <a:pt x="2608" y="1000"/>
                  </a:cubicBezTo>
                  <a:cubicBezTo>
                    <a:pt x="2620" y="941"/>
                    <a:pt x="2631" y="869"/>
                    <a:pt x="2631" y="798"/>
                  </a:cubicBezTo>
                  <a:cubicBezTo>
                    <a:pt x="2631" y="369"/>
                    <a:pt x="2239" y="0"/>
                    <a:pt x="1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4" name="Google Shape;11004;p60"/>
            <p:cNvSpPr/>
            <p:nvPr/>
          </p:nvSpPr>
          <p:spPr>
            <a:xfrm>
              <a:off x="7989446" y="2750789"/>
              <a:ext cx="10280" cy="26162"/>
            </a:xfrm>
            <a:custGeom>
              <a:avLst/>
              <a:gdLst/>
              <a:ahLst/>
              <a:cxnLst/>
              <a:rect l="l" t="t" r="r" b="b"/>
              <a:pathLst>
                <a:path w="323" h="822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72" y="822"/>
                    <a:pt x="167" y="822"/>
                  </a:cubicBezTo>
                  <a:cubicBezTo>
                    <a:pt x="251" y="822"/>
                    <a:pt x="322" y="750"/>
                    <a:pt x="322" y="655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5" name="Google Shape;11005;p60"/>
            <p:cNvSpPr/>
            <p:nvPr/>
          </p:nvSpPr>
          <p:spPr>
            <a:xfrm>
              <a:off x="8045908" y="2750789"/>
              <a:ext cx="10662" cy="26162"/>
            </a:xfrm>
            <a:custGeom>
              <a:avLst/>
              <a:gdLst/>
              <a:ahLst/>
              <a:cxnLst/>
              <a:rect l="l" t="t" r="r" b="b"/>
              <a:pathLst>
                <a:path w="335" h="822" extrusionOk="0">
                  <a:moveTo>
                    <a:pt x="155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72" y="822"/>
                    <a:pt x="155" y="822"/>
                  </a:cubicBezTo>
                  <a:cubicBezTo>
                    <a:pt x="251" y="822"/>
                    <a:pt x="322" y="750"/>
                    <a:pt x="322" y="655"/>
                  </a:cubicBezTo>
                  <a:lnTo>
                    <a:pt x="322" y="167"/>
                  </a:lnTo>
                  <a:cubicBezTo>
                    <a:pt x="334" y="83"/>
                    <a:pt x="263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6" name="Google Shape;11006;p60"/>
            <p:cNvSpPr/>
            <p:nvPr/>
          </p:nvSpPr>
          <p:spPr>
            <a:xfrm>
              <a:off x="8073184" y="2595789"/>
              <a:ext cx="136858" cy="112956"/>
            </a:xfrm>
            <a:custGeom>
              <a:avLst/>
              <a:gdLst/>
              <a:ahLst/>
              <a:cxnLst/>
              <a:rect l="l" t="t" r="r" b="b"/>
              <a:pathLst>
                <a:path w="4300" h="3549" extrusionOk="0">
                  <a:moveTo>
                    <a:pt x="2156" y="1"/>
                  </a:moveTo>
                  <a:cubicBezTo>
                    <a:pt x="2073" y="1"/>
                    <a:pt x="2001" y="84"/>
                    <a:pt x="2001" y="167"/>
                  </a:cubicBezTo>
                  <a:lnTo>
                    <a:pt x="2001" y="2048"/>
                  </a:lnTo>
                  <a:lnTo>
                    <a:pt x="108" y="3251"/>
                  </a:lnTo>
                  <a:cubicBezTo>
                    <a:pt x="37" y="3299"/>
                    <a:pt x="1" y="3406"/>
                    <a:pt x="60" y="3477"/>
                  </a:cubicBezTo>
                  <a:cubicBezTo>
                    <a:pt x="96" y="3525"/>
                    <a:pt x="156" y="3549"/>
                    <a:pt x="191" y="3549"/>
                  </a:cubicBezTo>
                  <a:cubicBezTo>
                    <a:pt x="227" y="3549"/>
                    <a:pt x="251" y="3537"/>
                    <a:pt x="287" y="3525"/>
                  </a:cubicBezTo>
                  <a:lnTo>
                    <a:pt x="2156" y="2334"/>
                  </a:lnTo>
                  <a:lnTo>
                    <a:pt x="4037" y="3525"/>
                  </a:lnTo>
                  <a:cubicBezTo>
                    <a:pt x="4063" y="3538"/>
                    <a:pt x="4093" y="3544"/>
                    <a:pt x="4123" y="3544"/>
                  </a:cubicBezTo>
                  <a:cubicBezTo>
                    <a:pt x="4178" y="3544"/>
                    <a:pt x="4233" y="3523"/>
                    <a:pt x="4263" y="3477"/>
                  </a:cubicBezTo>
                  <a:cubicBezTo>
                    <a:pt x="4299" y="3406"/>
                    <a:pt x="4287" y="3299"/>
                    <a:pt x="4216" y="3251"/>
                  </a:cubicBezTo>
                  <a:lnTo>
                    <a:pt x="2323" y="2048"/>
                  </a:lnTo>
                  <a:lnTo>
                    <a:pt x="2323" y="167"/>
                  </a:lnTo>
                  <a:cubicBezTo>
                    <a:pt x="2323" y="84"/>
                    <a:pt x="2251" y="1"/>
                    <a:pt x="2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7" name="Google Shape;11007;p60"/>
            <p:cNvSpPr/>
            <p:nvPr/>
          </p:nvSpPr>
          <p:spPr>
            <a:xfrm>
              <a:off x="8085310" y="2415041"/>
              <a:ext cx="112956" cy="169036"/>
            </a:xfrm>
            <a:custGeom>
              <a:avLst/>
              <a:gdLst/>
              <a:ahLst/>
              <a:cxnLst/>
              <a:rect l="l" t="t" r="r" b="b"/>
              <a:pathLst>
                <a:path w="3549" h="5311" extrusionOk="0">
                  <a:moveTo>
                    <a:pt x="1775" y="334"/>
                  </a:moveTo>
                  <a:cubicBezTo>
                    <a:pt x="2061" y="334"/>
                    <a:pt x="2335" y="453"/>
                    <a:pt x="2525" y="643"/>
                  </a:cubicBezTo>
                  <a:cubicBezTo>
                    <a:pt x="2716" y="846"/>
                    <a:pt x="2835" y="1119"/>
                    <a:pt x="2870" y="1417"/>
                  </a:cubicBezTo>
                  <a:cubicBezTo>
                    <a:pt x="2882" y="1524"/>
                    <a:pt x="2894" y="1655"/>
                    <a:pt x="2906" y="1822"/>
                  </a:cubicBezTo>
                  <a:cubicBezTo>
                    <a:pt x="2727" y="1500"/>
                    <a:pt x="2430" y="1286"/>
                    <a:pt x="2061" y="1167"/>
                  </a:cubicBezTo>
                  <a:cubicBezTo>
                    <a:pt x="1727" y="1060"/>
                    <a:pt x="1430" y="1060"/>
                    <a:pt x="1418" y="1060"/>
                  </a:cubicBezTo>
                  <a:cubicBezTo>
                    <a:pt x="1382" y="1060"/>
                    <a:pt x="1334" y="1072"/>
                    <a:pt x="1299" y="1108"/>
                  </a:cubicBezTo>
                  <a:lnTo>
                    <a:pt x="1001" y="1417"/>
                  </a:lnTo>
                  <a:cubicBezTo>
                    <a:pt x="942" y="1477"/>
                    <a:pt x="942" y="1596"/>
                    <a:pt x="1001" y="1655"/>
                  </a:cubicBezTo>
                  <a:cubicBezTo>
                    <a:pt x="1031" y="1685"/>
                    <a:pt x="1075" y="1700"/>
                    <a:pt x="1120" y="1700"/>
                  </a:cubicBezTo>
                  <a:cubicBezTo>
                    <a:pt x="1165" y="1700"/>
                    <a:pt x="1209" y="1685"/>
                    <a:pt x="1239" y="1655"/>
                  </a:cubicBezTo>
                  <a:lnTo>
                    <a:pt x="1501" y="1405"/>
                  </a:lnTo>
                  <a:cubicBezTo>
                    <a:pt x="1584" y="1405"/>
                    <a:pt x="1763" y="1417"/>
                    <a:pt x="1954" y="1489"/>
                  </a:cubicBezTo>
                  <a:cubicBezTo>
                    <a:pt x="2299" y="1608"/>
                    <a:pt x="2537" y="1798"/>
                    <a:pt x="2668" y="2084"/>
                  </a:cubicBezTo>
                  <a:cubicBezTo>
                    <a:pt x="2596" y="2512"/>
                    <a:pt x="2227" y="2846"/>
                    <a:pt x="1775" y="2846"/>
                  </a:cubicBezTo>
                  <a:cubicBezTo>
                    <a:pt x="1287" y="2846"/>
                    <a:pt x="870" y="2441"/>
                    <a:pt x="870" y="1941"/>
                  </a:cubicBezTo>
                  <a:cubicBezTo>
                    <a:pt x="870" y="1846"/>
                    <a:pt x="799" y="1774"/>
                    <a:pt x="703" y="1774"/>
                  </a:cubicBezTo>
                  <a:cubicBezTo>
                    <a:pt x="691" y="1774"/>
                    <a:pt x="680" y="1774"/>
                    <a:pt x="644" y="1786"/>
                  </a:cubicBezTo>
                  <a:cubicBezTo>
                    <a:pt x="668" y="1655"/>
                    <a:pt x="680" y="1524"/>
                    <a:pt x="691" y="1417"/>
                  </a:cubicBezTo>
                  <a:cubicBezTo>
                    <a:pt x="703" y="1119"/>
                    <a:pt x="822" y="834"/>
                    <a:pt x="1037" y="643"/>
                  </a:cubicBezTo>
                  <a:cubicBezTo>
                    <a:pt x="1227" y="429"/>
                    <a:pt x="1501" y="334"/>
                    <a:pt x="1775" y="334"/>
                  </a:cubicBezTo>
                  <a:close/>
                  <a:moveTo>
                    <a:pt x="572" y="2239"/>
                  </a:moveTo>
                  <a:cubicBezTo>
                    <a:pt x="644" y="2536"/>
                    <a:pt x="822" y="2786"/>
                    <a:pt x="1084" y="2965"/>
                  </a:cubicBezTo>
                  <a:lnTo>
                    <a:pt x="1084" y="3143"/>
                  </a:lnTo>
                  <a:cubicBezTo>
                    <a:pt x="763" y="3084"/>
                    <a:pt x="549" y="3013"/>
                    <a:pt x="394" y="2929"/>
                  </a:cubicBezTo>
                  <a:cubicBezTo>
                    <a:pt x="382" y="2929"/>
                    <a:pt x="394" y="2917"/>
                    <a:pt x="394" y="2917"/>
                  </a:cubicBezTo>
                  <a:cubicBezTo>
                    <a:pt x="465" y="2727"/>
                    <a:pt x="525" y="2477"/>
                    <a:pt x="572" y="2239"/>
                  </a:cubicBezTo>
                  <a:close/>
                  <a:moveTo>
                    <a:pt x="2989" y="2239"/>
                  </a:moveTo>
                  <a:cubicBezTo>
                    <a:pt x="3025" y="2489"/>
                    <a:pt x="3108" y="2727"/>
                    <a:pt x="3168" y="2917"/>
                  </a:cubicBezTo>
                  <a:lnTo>
                    <a:pt x="3168" y="2929"/>
                  </a:lnTo>
                  <a:cubicBezTo>
                    <a:pt x="3025" y="2989"/>
                    <a:pt x="2811" y="3084"/>
                    <a:pt x="2477" y="3143"/>
                  </a:cubicBezTo>
                  <a:lnTo>
                    <a:pt x="2477" y="2965"/>
                  </a:lnTo>
                  <a:cubicBezTo>
                    <a:pt x="2716" y="2798"/>
                    <a:pt x="2906" y="2536"/>
                    <a:pt x="2989" y="2239"/>
                  </a:cubicBezTo>
                  <a:close/>
                  <a:moveTo>
                    <a:pt x="2168" y="3108"/>
                  </a:moveTo>
                  <a:lnTo>
                    <a:pt x="2168" y="3286"/>
                  </a:lnTo>
                  <a:cubicBezTo>
                    <a:pt x="2168" y="3346"/>
                    <a:pt x="2180" y="3405"/>
                    <a:pt x="2204" y="3453"/>
                  </a:cubicBezTo>
                  <a:lnTo>
                    <a:pt x="2037" y="3608"/>
                  </a:lnTo>
                  <a:cubicBezTo>
                    <a:pt x="1960" y="3673"/>
                    <a:pt x="1864" y="3706"/>
                    <a:pt x="1772" y="3706"/>
                  </a:cubicBezTo>
                  <a:cubicBezTo>
                    <a:pt x="1680" y="3706"/>
                    <a:pt x="1590" y="3673"/>
                    <a:pt x="1525" y="3608"/>
                  </a:cubicBezTo>
                  <a:lnTo>
                    <a:pt x="1382" y="3453"/>
                  </a:lnTo>
                  <a:cubicBezTo>
                    <a:pt x="1406" y="3405"/>
                    <a:pt x="1418" y="3346"/>
                    <a:pt x="1418" y="3286"/>
                  </a:cubicBezTo>
                  <a:lnTo>
                    <a:pt x="1418" y="3108"/>
                  </a:lnTo>
                  <a:cubicBezTo>
                    <a:pt x="1537" y="3143"/>
                    <a:pt x="1656" y="3167"/>
                    <a:pt x="1799" y="3167"/>
                  </a:cubicBezTo>
                  <a:cubicBezTo>
                    <a:pt x="1930" y="3167"/>
                    <a:pt x="2049" y="3155"/>
                    <a:pt x="2168" y="3108"/>
                  </a:cubicBezTo>
                  <a:close/>
                  <a:moveTo>
                    <a:pt x="1775" y="0"/>
                  </a:moveTo>
                  <a:cubicBezTo>
                    <a:pt x="1037" y="0"/>
                    <a:pt x="418" y="607"/>
                    <a:pt x="358" y="1405"/>
                  </a:cubicBezTo>
                  <a:cubicBezTo>
                    <a:pt x="334" y="1727"/>
                    <a:pt x="227" y="2417"/>
                    <a:pt x="84" y="2810"/>
                  </a:cubicBezTo>
                  <a:cubicBezTo>
                    <a:pt x="25" y="2989"/>
                    <a:pt x="96" y="3167"/>
                    <a:pt x="263" y="3251"/>
                  </a:cubicBezTo>
                  <a:cubicBezTo>
                    <a:pt x="382" y="3310"/>
                    <a:pt x="572" y="3382"/>
                    <a:pt x="822" y="3441"/>
                  </a:cubicBezTo>
                  <a:lnTo>
                    <a:pt x="394" y="3644"/>
                  </a:lnTo>
                  <a:cubicBezTo>
                    <a:pt x="156" y="3763"/>
                    <a:pt x="1" y="4001"/>
                    <a:pt x="1" y="4275"/>
                  </a:cubicBezTo>
                  <a:lnTo>
                    <a:pt x="1" y="5156"/>
                  </a:lnTo>
                  <a:cubicBezTo>
                    <a:pt x="1" y="5239"/>
                    <a:pt x="84" y="5310"/>
                    <a:pt x="168" y="5310"/>
                  </a:cubicBezTo>
                  <a:cubicBezTo>
                    <a:pt x="263" y="5310"/>
                    <a:pt x="334" y="5239"/>
                    <a:pt x="334" y="5156"/>
                  </a:cubicBezTo>
                  <a:lnTo>
                    <a:pt x="334" y="4275"/>
                  </a:lnTo>
                  <a:cubicBezTo>
                    <a:pt x="334" y="4144"/>
                    <a:pt x="406" y="4001"/>
                    <a:pt x="537" y="3941"/>
                  </a:cubicBezTo>
                  <a:lnTo>
                    <a:pt x="1096" y="3667"/>
                  </a:lnTo>
                  <a:lnTo>
                    <a:pt x="1287" y="3846"/>
                  </a:lnTo>
                  <a:cubicBezTo>
                    <a:pt x="1418" y="3977"/>
                    <a:pt x="1596" y="4036"/>
                    <a:pt x="1763" y="4036"/>
                  </a:cubicBezTo>
                  <a:cubicBezTo>
                    <a:pt x="1942" y="4036"/>
                    <a:pt x="2108" y="3977"/>
                    <a:pt x="2239" y="3846"/>
                  </a:cubicBezTo>
                  <a:lnTo>
                    <a:pt x="2430" y="3667"/>
                  </a:lnTo>
                  <a:lnTo>
                    <a:pt x="2977" y="3941"/>
                  </a:lnTo>
                  <a:cubicBezTo>
                    <a:pt x="3097" y="4001"/>
                    <a:pt x="3192" y="4144"/>
                    <a:pt x="3192" y="4275"/>
                  </a:cubicBezTo>
                  <a:lnTo>
                    <a:pt x="3192" y="5156"/>
                  </a:lnTo>
                  <a:cubicBezTo>
                    <a:pt x="3192" y="5239"/>
                    <a:pt x="3263" y="5310"/>
                    <a:pt x="3358" y="5310"/>
                  </a:cubicBezTo>
                  <a:cubicBezTo>
                    <a:pt x="3442" y="5310"/>
                    <a:pt x="3513" y="5239"/>
                    <a:pt x="3513" y="5156"/>
                  </a:cubicBezTo>
                  <a:lnTo>
                    <a:pt x="3513" y="4275"/>
                  </a:lnTo>
                  <a:cubicBezTo>
                    <a:pt x="3549" y="4001"/>
                    <a:pt x="3406" y="3763"/>
                    <a:pt x="3168" y="3644"/>
                  </a:cubicBezTo>
                  <a:lnTo>
                    <a:pt x="2727" y="3441"/>
                  </a:lnTo>
                  <a:cubicBezTo>
                    <a:pt x="2989" y="3382"/>
                    <a:pt x="3180" y="3310"/>
                    <a:pt x="3299" y="3251"/>
                  </a:cubicBezTo>
                  <a:cubicBezTo>
                    <a:pt x="3454" y="3167"/>
                    <a:pt x="3537" y="2977"/>
                    <a:pt x="3478" y="2810"/>
                  </a:cubicBezTo>
                  <a:cubicBezTo>
                    <a:pt x="3323" y="2417"/>
                    <a:pt x="3204" y="1727"/>
                    <a:pt x="3192" y="1405"/>
                  </a:cubicBezTo>
                  <a:cubicBezTo>
                    <a:pt x="3132" y="596"/>
                    <a:pt x="2525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8" name="Google Shape;11008;p60"/>
            <p:cNvSpPr/>
            <p:nvPr/>
          </p:nvSpPr>
          <p:spPr>
            <a:xfrm>
              <a:off x="8108449" y="2557501"/>
              <a:ext cx="10248" cy="26194"/>
            </a:xfrm>
            <a:custGeom>
              <a:avLst/>
              <a:gdLst/>
              <a:ahLst/>
              <a:cxnLst/>
              <a:rect l="l" t="t" r="r" b="b"/>
              <a:pathLst>
                <a:path w="322" h="823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656"/>
                  </a:lnTo>
                  <a:cubicBezTo>
                    <a:pt x="0" y="751"/>
                    <a:pt x="72" y="823"/>
                    <a:pt x="155" y="823"/>
                  </a:cubicBezTo>
                  <a:cubicBezTo>
                    <a:pt x="250" y="823"/>
                    <a:pt x="322" y="751"/>
                    <a:pt x="322" y="65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9" name="Google Shape;11009;p60"/>
            <p:cNvSpPr/>
            <p:nvPr/>
          </p:nvSpPr>
          <p:spPr>
            <a:xfrm>
              <a:off x="8165293" y="2557501"/>
              <a:ext cx="10248" cy="26194"/>
            </a:xfrm>
            <a:custGeom>
              <a:avLst/>
              <a:gdLst/>
              <a:ahLst/>
              <a:cxnLst/>
              <a:rect l="l" t="t" r="r" b="b"/>
              <a:pathLst>
                <a:path w="322" h="823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656"/>
                  </a:lnTo>
                  <a:cubicBezTo>
                    <a:pt x="0" y="751"/>
                    <a:pt x="72" y="823"/>
                    <a:pt x="155" y="823"/>
                  </a:cubicBezTo>
                  <a:cubicBezTo>
                    <a:pt x="250" y="823"/>
                    <a:pt x="322" y="751"/>
                    <a:pt x="322" y="65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0" name="Google Shape;11010;p60"/>
            <p:cNvSpPr/>
            <p:nvPr/>
          </p:nvSpPr>
          <p:spPr>
            <a:xfrm>
              <a:off x="8238432" y="2635956"/>
              <a:ext cx="45481" cy="15946"/>
            </a:xfrm>
            <a:custGeom>
              <a:avLst/>
              <a:gdLst/>
              <a:ahLst/>
              <a:cxnLst/>
              <a:rect l="l" t="t" r="r" b="b"/>
              <a:pathLst>
                <a:path w="1429" h="501" extrusionOk="0">
                  <a:moveTo>
                    <a:pt x="167" y="1"/>
                  </a:moveTo>
                  <a:cubicBezTo>
                    <a:pt x="83" y="1"/>
                    <a:pt x="0" y="72"/>
                    <a:pt x="0" y="155"/>
                  </a:cubicBezTo>
                  <a:cubicBezTo>
                    <a:pt x="0" y="251"/>
                    <a:pt x="83" y="322"/>
                    <a:pt x="167" y="322"/>
                  </a:cubicBezTo>
                  <a:cubicBezTo>
                    <a:pt x="357" y="322"/>
                    <a:pt x="893" y="358"/>
                    <a:pt x="1167" y="489"/>
                  </a:cubicBezTo>
                  <a:cubicBezTo>
                    <a:pt x="1191" y="501"/>
                    <a:pt x="1214" y="501"/>
                    <a:pt x="1238" y="501"/>
                  </a:cubicBezTo>
                  <a:cubicBezTo>
                    <a:pt x="1298" y="501"/>
                    <a:pt x="1357" y="477"/>
                    <a:pt x="1393" y="417"/>
                  </a:cubicBezTo>
                  <a:cubicBezTo>
                    <a:pt x="1429" y="334"/>
                    <a:pt x="1405" y="239"/>
                    <a:pt x="1310" y="191"/>
                  </a:cubicBezTo>
                  <a:cubicBezTo>
                    <a:pt x="929" y="1"/>
                    <a:pt x="20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1" name="Google Shape;11011;p60"/>
            <p:cNvSpPr/>
            <p:nvPr/>
          </p:nvSpPr>
          <p:spPr>
            <a:xfrm>
              <a:off x="8198998" y="2607534"/>
              <a:ext cx="123968" cy="169036"/>
            </a:xfrm>
            <a:custGeom>
              <a:avLst/>
              <a:gdLst/>
              <a:ahLst/>
              <a:cxnLst/>
              <a:rect l="l" t="t" r="r" b="b"/>
              <a:pathLst>
                <a:path w="3895" h="5311" extrusionOk="0">
                  <a:moveTo>
                    <a:pt x="3049" y="322"/>
                  </a:moveTo>
                  <a:lnTo>
                    <a:pt x="3049" y="1025"/>
                  </a:lnTo>
                  <a:cubicBezTo>
                    <a:pt x="3049" y="1144"/>
                    <a:pt x="3013" y="1251"/>
                    <a:pt x="2965" y="1346"/>
                  </a:cubicBezTo>
                  <a:lnTo>
                    <a:pt x="2882" y="1513"/>
                  </a:lnTo>
                  <a:cubicBezTo>
                    <a:pt x="2870" y="1548"/>
                    <a:pt x="2870" y="1560"/>
                    <a:pt x="2870" y="1584"/>
                  </a:cubicBezTo>
                  <a:lnTo>
                    <a:pt x="2870" y="1941"/>
                  </a:lnTo>
                  <a:cubicBezTo>
                    <a:pt x="2870" y="2203"/>
                    <a:pt x="2763" y="2418"/>
                    <a:pt x="2596" y="2596"/>
                  </a:cubicBezTo>
                  <a:cubicBezTo>
                    <a:pt x="2406" y="2763"/>
                    <a:pt x="2168" y="2858"/>
                    <a:pt x="1930" y="2858"/>
                  </a:cubicBezTo>
                  <a:cubicBezTo>
                    <a:pt x="1453" y="2834"/>
                    <a:pt x="1049" y="2406"/>
                    <a:pt x="1049" y="1906"/>
                  </a:cubicBezTo>
                  <a:lnTo>
                    <a:pt x="1049" y="1584"/>
                  </a:lnTo>
                  <a:cubicBezTo>
                    <a:pt x="1049" y="1560"/>
                    <a:pt x="1049" y="1548"/>
                    <a:pt x="1037" y="1513"/>
                  </a:cubicBezTo>
                  <a:lnTo>
                    <a:pt x="929" y="1310"/>
                  </a:lnTo>
                  <a:cubicBezTo>
                    <a:pt x="882" y="1227"/>
                    <a:pt x="870" y="1144"/>
                    <a:pt x="870" y="1072"/>
                  </a:cubicBezTo>
                  <a:lnTo>
                    <a:pt x="870" y="1048"/>
                  </a:lnTo>
                  <a:cubicBezTo>
                    <a:pt x="870" y="655"/>
                    <a:pt x="1203" y="322"/>
                    <a:pt x="1596" y="322"/>
                  </a:cubicBezTo>
                  <a:close/>
                  <a:moveTo>
                    <a:pt x="2334" y="3132"/>
                  </a:moveTo>
                  <a:cubicBezTo>
                    <a:pt x="2334" y="3180"/>
                    <a:pt x="2346" y="3239"/>
                    <a:pt x="2358" y="3287"/>
                  </a:cubicBezTo>
                  <a:lnTo>
                    <a:pt x="2215" y="3418"/>
                  </a:lnTo>
                  <a:cubicBezTo>
                    <a:pt x="2138" y="3495"/>
                    <a:pt x="2043" y="3534"/>
                    <a:pt x="1949" y="3534"/>
                  </a:cubicBezTo>
                  <a:cubicBezTo>
                    <a:pt x="1855" y="3534"/>
                    <a:pt x="1763" y="3495"/>
                    <a:pt x="1691" y="3418"/>
                  </a:cubicBezTo>
                  <a:lnTo>
                    <a:pt x="1561" y="3287"/>
                  </a:lnTo>
                  <a:cubicBezTo>
                    <a:pt x="1572" y="3239"/>
                    <a:pt x="1584" y="3180"/>
                    <a:pt x="1584" y="3132"/>
                  </a:cubicBezTo>
                  <a:cubicBezTo>
                    <a:pt x="1691" y="3168"/>
                    <a:pt x="1811" y="3191"/>
                    <a:pt x="1918" y="3191"/>
                  </a:cubicBezTo>
                  <a:lnTo>
                    <a:pt x="1953" y="3191"/>
                  </a:lnTo>
                  <a:cubicBezTo>
                    <a:pt x="2096" y="3191"/>
                    <a:pt x="2215" y="3180"/>
                    <a:pt x="2334" y="3132"/>
                  </a:cubicBezTo>
                  <a:close/>
                  <a:moveTo>
                    <a:pt x="1584" y="1"/>
                  </a:moveTo>
                  <a:cubicBezTo>
                    <a:pt x="1001" y="1"/>
                    <a:pt x="525" y="477"/>
                    <a:pt x="525" y="1048"/>
                  </a:cubicBezTo>
                  <a:lnTo>
                    <a:pt x="525" y="1072"/>
                  </a:lnTo>
                  <a:cubicBezTo>
                    <a:pt x="525" y="1203"/>
                    <a:pt x="560" y="1334"/>
                    <a:pt x="620" y="1453"/>
                  </a:cubicBezTo>
                  <a:lnTo>
                    <a:pt x="703" y="1620"/>
                  </a:lnTo>
                  <a:lnTo>
                    <a:pt x="703" y="1882"/>
                  </a:lnTo>
                  <a:cubicBezTo>
                    <a:pt x="703" y="2322"/>
                    <a:pt x="918" y="2703"/>
                    <a:pt x="1239" y="2941"/>
                  </a:cubicBezTo>
                  <a:lnTo>
                    <a:pt x="1239" y="3096"/>
                  </a:lnTo>
                  <a:cubicBezTo>
                    <a:pt x="1239" y="3180"/>
                    <a:pt x="1180" y="3251"/>
                    <a:pt x="1108" y="3275"/>
                  </a:cubicBezTo>
                  <a:lnTo>
                    <a:pt x="513" y="3453"/>
                  </a:lnTo>
                  <a:cubicBezTo>
                    <a:pt x="215" y="3537"/>
                    <a:pt x="1" y="3811"/>
                    <a:pt x="1" y="4120"/>
                  </a:cubicBezTo>
                  <a:lnTo>
                    <a:pt x="1" y="5144"/>
                  </a:lnTo>
                  <a:cubicBezTo>
                    <a:pt x="1" y="5239"/>
                    <a:pt x="84" y="5311"/>
                    <a:pt x="167" y="5311"/>
                  </a:cubicBezTo>
                  <a:cubicBezTo>
                    <a:pt x="263" y="5311"/>
                    <a:pt x="334" y="5239"/>
                    <a:pt x="334" y="5144"/>
                  </a:cubicBezTo>
                  <a:lnTo>
                    <a:pt x="334" y="4120"/>
                  </a:lnTo>
                  <a:cubicBezTo>
                    <a:pt x="334" y="3953"/>
                    <a:pt x="441" y="3811"/>
                    <a:pt x="596" y="3763"/>
                  </a:cubicBezTo>
                  <a:lnTo>
                    <a:pt x="1191" y="3584"/>
                  </a:lnTo>
                  <a:cubicBezTo>
                    <a:pt x="1251" y="3572"/>
                    <a:pt x="1299" y="3537"/>
                    <a:pt x="1346" y="3525"/>
                  </a:cubicBezTo>
                  <a:lnTo>
                    <a:pt x="1453" y="3632"/>
                  </a:lnTo>
                  <a:cubicBezTo>
                    <a:pt x="1584" y="3763"/>
                    <a:pt x="1763" y="3834"/>
                    <a:pt x="1942" y="3834"/>
                  </a:cubicBezTo>
                  <a:cubicBezTo>
                    <a:pt x="2120" y="3834"/>
                    <a:pt x="2299" y="3763"/>
                    <a:pt x="2430" y="3632"/>
                  </a:cubicBezTo>
                  <a:lnTo>
                    <a:pt x="2537" y="3525"/>
                  </a:lnTo>
                  <a:cubicBezTo>
                    <a:pt x="2584" y="3549"/>
                    <a:pt x="2620" y="3572"/>
                    <a:pt x="2680" y="3584"/>
                  </a:cubicBezTo>
                  <a:lnTo>
                    <a:pt x="3275" y="3763"/>
                  </a:lnTo>
                  <a:cubicBezTo>
                    <a:pt x="3442" y="3811"/>
                    <a:pt x="3549" y="3953"/>
                    <a:pt x="3549" y="4120"/>
                  </a:cubicBezTo>
                  <a:lnTo>
                    <a:pt x="3549" y="5144"/>
                  </a:lnTo>
                  <a:cubicBezTo>
                    <a:pt x="3549" y="5239"/>
                    <a:pt x="3620" y="5311"/>
                    <a:pt x="3716" y="5311"/>
                  </a:cubicBezTo>
                  <a:cubicBezTo>
                    <a:pt x="3799" y="5311"/>
                    <a:pt x="3870" y="5239"/>
                    <a:pt x="3870" y="5144"/>
                  </a:cubicBezTo>
                  <a:lnTo>
                    <a:pt x="3870" y="4120"/>
                  </a:lnTo>
                  <a:cubicBezTo>
                    <a:pt x="3894" y="3822"/>
                    <a:pt x="3680" y="3549"/>
                    <a:pt x="3382" y="3465"/>
                  </a:cubicBezTo>
                  <a:lnTo>
                    <a:pt x="2787" y="3287"/>
                  </a:lnTo>
                  <a:cubicBezTo>
                    <a:pt x="2715" y="3251"/>
                    <a:pt x="2656" y="3180"/>
                    <a:pt x="2656" y="3108"/>
                  </a:cubicBezTo>
                  <a:lnTo>
                    <a:pt x="2656" y="2977"/>
                  </a:lnTo>
                  <a:cubicBezTo>
                    <a:pt x="2715" y="2930"/>
                    <a:pt x="2763" y="2882"/>
                    <a:pt x="2823" y="2834"/>
                  </a:cubicBezTo>
                  <a:cubicBezTo>
                    <a:pt x="3061" y="2596"/>
                    <a:pt x="3192" y="2287"/>
                    <a:pt x="3192" y="1941"/>
                  </a:cubicBezTo>
                  <a:lnTo>
                    <a:pt x="3192" y="1632"/>
                  </a:lnTo>
                  <a:lnTo>
                    <a:pt x="3251" y="1501"/>
                  </a:lnTo>
                  <a:cubicBezTo>
                    <a:pt x="3323" y="1346"/>
                    <a:pt x="3370" y="1191"/>
                    <a:pt x="3370" y="1025"/>
                  </a:cubicBezTo>
                  <a:lnTo>
                    <a:pt x="3370" y="155"/>
                  </a:lnTo>
                  <a:cubicBezTo>
                    <a:pt x="3370" y="72"/>
                    <a:pt x="3299" y="1"/>
                    <a:pt x="3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2" name="Google Shape;11012;p60"/>
            <p:cNvSpPr/>
            <p:nvPr/>
          </p:nvSpPr>
          <p:spPr>
            <a:xfrm>
              <a:off x="8222137" y="2743946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72" y="1037"/>
                    <a:pt x="155" y="1037"/>
                  </a:cubicBezTo>
                  <a:cubicBezTo>
                    <a:pt x="250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3" name="Google Shape;11013;p60"/>
            <p:cNvSpPr/>
            <p:nvPr/>
          </p:nvSpPr>
          <p:spPr>
            <a:xfrm>
              <a:off x="8289579" y="2743946"/>
              <a:ext cx="10630" cy="33005"/>
            </a:xfrm>
            <a:custGeom>
              <a:avLst/>
              <a:gdLst/>
              <a:ahLst/>
              <a:cxnLst/>
              <a:rect l="l" t="t" r="r" b="b"/>
              <a:pathLst>
                <a:path w="334" h="1037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84" y="1037"/>
                    <a:pt x="167" y="1037"/>
                  </a:cubicBezTo>
                  <a:cubicBezTo>
                    <a:pt x="250" y="1037"/>
                    <a:pt x="334" y="965"/>
                    <a:pt x="334" y="870"/>
                  </a:cubicBezTo>
                  <a:lnTo>
                    <a:pt x="334" y="156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14" name="Google Shape;11014;p60"/>
          <p:cNvGrpSpPr/>
          <p:nvPr/>
        </p:nvGrpSpPr>
        <p:grpSpPr>
          <a:xfrm>
            <a:off x="7529411" y="2414659"/>
            <a:ext cx="355863" cy="362292"/>
            <a:chOff x="7529411" y="2414659"/>
            <a:chExt cx="355863" cy="362292"/>
          </a:xfrm>
        </p:grpSpPr>
        <p:sp>
          <p:nvSpPr>
            <p:cNvPr id="11015" name="Google Shape;11015;p60"/>
            <p:cNvSpPr/>
            <p:nvPr/>
          </p:nvSpPr>
          <p:spPr>
            <a:xfrm>
              <a:off x="7687816" y="2443081"/>
              <a:ext cx="45481" cy="15946"/>
            </a:xfrm>
            <a:custGeom>
              <a:avLst/>
              <a:gdLst/>
              <a:ahLst/>
              <a:cxnLst/>
              <a:rect l="l" t="t" r="r" b="b"/>
              <a:pathLst>
                <a:path w="1429" h="501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cubicBezTo>
                    <a:pt x="357" y="322"/>
                    <a:pt x="893" y="357"/>
                    <a:pt x="1155" y="488"/>
                  </a:cubicBezTo>
                  <a:cubicBezTo>
                    <a:pt x="1191" y="500"/>
                    <a:pt x="1203" y="500"/>
                    <a:pt x="1227" y="500"/>
                  </a:cubicBezTo>
                  <a:cubicBezTo>
                    <a:pt x="1286" y="500"/>
                    <a:pt x="1346" y="477"/>
                    <a:pt x="1381" y="417"/>
                  </a:cubicBezTo>
                  <a:cubicBezTo>
                    <a:pt x="1429" y="346"/>
                    <a:pt x="1381" y="238"/>
                    <a:pt x="1310" y="191"/>
                  </a:cubicBezTo>
                  <a:cubicBezTo>
                    <a:pt x="917" y="0"/>
                    <a:pt x="19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6" name="Google Shape;11016;p60"/>
            <p:cNvSpPr/>
            <p:nvPr/>
          </p:nvSpPr>
          <p:spPr>
            <a:xfrm>
              <a:off x="7648764" y="2414659"/>
              <a:ext cx="123204" cy="168654"/>
            </a:xfrm>
            <a:custGeom>
              <a:avLst/>
              <a:gdLst/>
              <a:ahLst/>
              <a:cxnLst/>
              <a:rect l="l" t="t" r="r" b="b"/>
              <a:pathLst>
                <a:path w="3871" h="5299" extrusionOk="0">
                  <a:moveTo>
                    <a:pt x="3013" y="322"/>
                  </a:moveTo>
                  <a:lnTo>
                    <a:pt x="3013" y="1024"/>
                  </a:lnTo>
                  <a:cubicBezTo>
                    <a:pt x="3013" y="1143"/>
                    <a:pt x="2977" y="1250"/>
                    <a:pt x="2930" y="1358"/>
                  </a:cubicBezTo>
                  <a:lnTo>
                    <a:pt x="2847" y="1512"/>
                  </a:lnTo>
                  <a:cubicBezTo>
                    <a:pt x="2835" y="1548"/>
                    <a:pt x="2835" y="1560"/>
                    <a:pt x="2835" y="1596"/>
                  </a:cubicBezTo>
                  <a:lnTo>
                    <a:pt x="2835" y="1953"/>
                  </a:lnTo>
                  <a:cubicBezTo>
                    <a:pt x="2835" y="2203"/>
                    <a:pt x="2727" y="2429"/>
                    <a:pt x="2561" y="2608"/>
                  </a:cubicBezTo>
                  <a:cubicBezTo>
                    <a:pt x="2370" y="2763"/>
                    <a:pt x="2144" y="2858"/>
                    <a:pt x="1894" y="2858"/>
                  </a:cubicBezTo>
                  <a:cubicBezTo>
                    <a:pt x="1418" y="2846"/>
                    <a:pt x="1013" y="2405"/>
                    <a:pt x="1013" y="1905"/>
                  </a:cubicBezTo>
                  <a:lnTo>
                    <a:pt x="1013" y="1596"/>
                  </a:lnTo>
                  <a:cubicBezTo>
                    <a:pt x="1013" y="1560"/>
                    <a:pt x="1013" y="1548"/>
                    <a:pt x="1001" y="1512"/>
                  </a:cubicBezTo>
                  <a:lnTo>
                    <a:pt x="894" y="1310"/>
                  </a:lnTo>
                  <a:cubicBezTo>
                    <a:pt x="846" y="1239"/>
                    <a:pt x="834" y="1143"/>
                    <a:pt x="834" y="1072"/>
                  </a:cubicBezTo>
                  <a:lnTo>
                    <a:pt x="834" y="1060"/>
                  </a:lnTo>
                  <a:cubicBezTo>
                    <a:pt x="834" y="655"/>
                    <a:pt x="1168" y="322"/>
                    <a:pt x="1561" y="322"/>
                  </a:cubicBezTo>
                  <a:close/>
                  <a:moveTo>
                    <a:pt x="2299" y="3108"/>
                  </a:moveTo>
                  <a:cubicBezTo>
                    <a:pt x="2299" y="3155"/>
                    <a:pt x="2311" y="3215"/>
                    <a:pt x="2323" y="3263"/>
                  </a:cubicBezTo>
                  <a:lnTo>
                    <a:pt x="1918" y="3679"/>
                  </a:lnTo>
                  <a:lnTo>
                    <a:pt x="1537" y="3286"/>
                  </a:lnTo>
                  <a:cubicBezTo>
                    <a:pt x="1549" y="3263"/>
                    <a:pt x="1549" y="3227"/>
                    <a:pt x="1549" y="3179"/>
                  </a:cubicBezTo>
                  <a:lnTo>
                    <a:pt x="1549" y="3108"/>
                  </a:lnTo>
                  <a:cubicBezTo>
                    <a:pt x="1656" y="3144"/>
                    <a:pt x="1763" y="3167"/>
                    <a:pt x="1882" y="3167"/>
                  </a:cubicBezTo>
                  <a:lnTo>
                    <a:pt x="1918" y="3167"/>
                  </a:lnTo>
                  <a:cubicBezTo>
                    <a:pt x="2061" y="3167"/>
                    <a:pt x="2180" y="3155"/>
                    <a:pt x="2299" y="3108"/>
                  </a:cubicBezTo>
                  <a:close/>
                  <a:moveTo>
                    <a:pt x="1584" y="0"/>
                  </a:moveTo>
                  <a:cubicBezTo>
                    <a:pt x="1001" y="0"/>
                    <a:pt x="525" y="477"/>
                    <a:pt x="525" y="1060"/>
                  </a:cubicBezTo>
                  <a:lnTo>
                    <a:pt x="525" y="1072"/>
                  </a:lnTo>
                  <a:cubicBezTo>
                    <a:pt x="525" y="1203"/>
                    <a:pt x="549" y="1334"/>
                    <a:pt x="608" y="1453"/>
                  </a:cubicBezTo>
                  <a:lnTo>
                    <a:pt x="703" y="1620"/>
                  </a:lnTo>
                  <a:lnTo>
                    <a:pt x="703" y="1893"/>
                  </a:lnTo>
                  <a:cubicBezTo>
                    <a:pt x="703" y="2322"/>
                    <a:pt x="906" y="2703"/>
                    <a:pt x="1239" y="2941"/>
                  </a:cubicBezTo>
                  <a:lnTo>
                    <a:pt x="1239" y="3179"/>
                  </a:lnTo>
                  <a:cubicBezTo>
                    <a:pt x="1239" y="3215"/>
                    <a:pt x="1227" y="3239"/>
                    <a:pt x="1192" y="3239"/>
                  </a:cubicBezTo>
                  <a:lnTo>
                    <a:pt x="513" y="3441"/>
                  </a:lnTo>
                  <a:cubicBezTo>
                    <a:pt x="215" y="3525"/>
                    <a:pt x="1" y="3798"/>
                    <a:pt x="1" y="4108"/>
                  </a:cubicBezTo>
                  <a:lnTo>
                    <a:pt x="1" y="5132"/>
                  </a:lnTo>
                  <a:cubicBezTo>
                    <a:pt x="1" y="5227"/>
                    <a:pt x="72" y="5299"/>
                    <a:pt x="168" y="5299"/>
                  </a:cubicBezTo>
                  <a:cubicBezTo>
                    <a:pt x="251" y="5299"/>
                    <a:pt x="322" y="5227"/>
                    <a:pt x="322" y="5132"/>
                  </a:cubicBezTo>
                  <a:lnTo>
                    <a:pt x="322" y="4108"/>
                  </a:lnTo>
                  <a:cubicBezTo>
                    <a:pt x="322" y="3941"/>
                    <a:pt x="430" y="3798"/>
                    <a:pt x="596" y="3751"/>
                  </a:cubicBezTo>
                  <a:lnTo>
                    <a:pt x="1275" y="3560"/>
                  </a:lnTo>
                  <a:cubicBezTo>
                    <a:pt x="1311" y="3560"/>
                    <a:pt x="1323" y="3536"/>
                    <a:pt x="1358" y="3525"/>
                  </a:cubicBezTo>
                  <a:lnTo>
                    <a:pt x="1775" y="3941"/>
                  </a:lnTo>
                  <a:lnTo>
                    <a:pt x="1775" y="5120"/>
                  </a:lnTo>
                  <a:cubicBezTo>
                    <a:pt x="1775" y="5203"/>
                    <a:pt x="1846" y="5287"/>
                    <a:pt x="1930" y="5287"/>
                  </a:cubicBezTo>
                  <a:cubicBezTo>
                    <a:pt x="2025" y="5287"/>
                    <a:pt x="2096" y="5203"/>
                    <a:pt x="2096" y="5120"/>
                  </a:cubicBezTo>
                  <a:lnTo>
                    <a:pt x="2096" y="3941"/>
                  </a:lnTo>
                  <a:lnTo>
                    <a:pt x="2525" y="3513"/>
                  </a:lnTo>
                  <a:cubicBezTo>
                    <a:pt x="2573" y="3536"/>
                    <a:pt x="2620" y="3560"/>
                    <a:pt x="2680" y="3572"/>
                  </a:cubicBezTo>
                  <a:lnTo>
                    <a:pt x="3275" y="3751"/>
                  </a:lnTo>
                  <a:cubicBezTo>
                    <a:pt x="3442" y="3798"/>
                    <a:pt x="3537" y="3941"/>
                    <a:pt x="3537" y="4108"/>
                  </a:cubicBezTo>
                  <a:lnTo>
                    <a:pt x="3537" y="5132"/>
                  </a:lnTo>
                  <a:cubicBezTo>
                    <a:pt x="3537" y="5227"/>
                    <a:pt x="3620" y="5299"/>
                    <a:pt x="3704" y="5299"/>
                  </a:cubicBezTo>
                  <a:cubicBezTo>
                    <a:pt x="3799" y="5299"/>
                    <a:pt x="3870" y="5227"/>
                    <a:pt x="3870" y="5132"/>
                  </a:cubicBezTo>
                  <a:lnTo>
                    <a:pt x="3870" y="4108"/>
                  </a:lnTo>
                  <a:cubicBezTo>
                    <a:pt x="3870" y="3822"/>
                    <a:pt x="3668" y="3536"/>
                    <a:pt x="3370" y="3465"/>
                  </a:cubicBezTo>
                  <a:lnTo>
                    <a:pt x="2775" y="3286"/>
                  </a:lnTo>
                  <a:cubicBezTo>
                    <a:pt x="2692" y="3263"/>
                    <a:pt x="2632" y="3179"/>
                    <a:pt x="2632" y="3108"/>
                  </a:cubicBezTo>
                  <a:lnTo>
                    <a:pt x="2632" y="2977"/>
                  </a:lnTo>
                  <a:cubicBezTo>
                    <a:pt x="2692" y="2929"/>
                    <a:pt x="2739" y="2882"/>
                    <a:pt x="2799" y="2846"/>
                  </a:cubicBezTo>
                  <a:cubicBezTo>
                    <a:pt x="3037" y="2608"/>
                    <a:pt x="3168" y="2286"/>
                    <a:pt x="3168" y="1953"/>
                  </a:cubicBezTo>
                  <a:lnTo>
                    <a:pt x="3168" y="1631"/>
                  </a:lnTo>
                  <a:lnTo>
                    <a:pt x="3228" y="1501"/>
                  </a:lnTo>
                  <a:cubicBezTo>
                    <a:pt x="3311" y="1358"/>
                    <a:pt x="3347" y="1191"/>
                    <a:pt x="3347" y="1024"/>
                  </a:cubicBezTo>
                  <a:lnTo>
                    <a:pt x="3347" y="167"/>
                  </a:lnTo>
                  <a:cubicBezTo>
                    <a:pt x="3347" y="72"/>
                    <a:pt x="3275" y="0"/>
                    <a:pt x="3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7" name="Google Shape;11017;p60"/>
            <p:cNvSpPr/>
            <p:nvPr/>
          </p:nvSpPr>
          <p:spPr>
            <a:xfrm>
              <a:off x="7670757" y="2551072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882"/>
                  </a:lnTo>
                  <a:cubicBezTo>
                    <a:pt x="0" y="965"/>
                    <a:pt x="72" y="1036"/>
                    <a:pt x="155" y="1036"/>
                  </a:cubicBezTo>
                  <a:cubicBezTo>
                    <a:pt x="251" y="1036"/>
                    <a:pt x="322" y="965"/>
                    <a:pt x="322" y="882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8" name="Google Shape;11018;p60"/>
            <p:cNvSpPr/>
            <p:nvPr/>
          </p:nvSpPr>
          <p:spPr>
            <a:xfrm>
              <a:off x="7738963" y="2551072"/>
              <a:ext cx="10280" cy="33005"/>
            </a:xfrm>
            <a:custGeom>
              <a:avLst/>
              <a:gdLst/>
              <a:ahLst/>
              <a:cxnLst/>
              <a:rect l="l" t="t" r="r" b="b"/>
              <a:pathLst>
                <a:path w="323" h="1037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82"/>
                  </a:lnTo>
                  <a:cubicBezTo>
                    <a:pt x="1" y="965"/>
                    <a:pt x="72" y="1036"/>
                    <a:pt x="155" y="1036"/>
                  </a:cubicBezTo>
                  <a:cubicBezTo>
                    <a:pt x="251" y="1036"/>
                    <a:pt x="322" y="965"/>
                    <a:pt x="322" y="882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9" name="Google Shape;11019;p60"/>
            <p:cNvSpPr/>
            <p:nvPr/>
          </p:nvSpPr>
          <p:spPr>
            <a:xfrm>
              <a:off x="7568432" y="2635956"/>
              <a:ext cx="45513" cy="15946"/>
            </a:xfrm>
            <a:custGeom>
              <a:avLst/>
              <a:gdLst/>
              <a:ahLst/>
              <a:cxnLst/>
              <a:rect l="l" t="t" r="r" b="b"/>
              <a:pathLst>
                <a:path w="1430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cubicBezTo>
                    <a:pt x="358" y="322"/>
                    <a:pt x="894" y="358"/>
                    <a:pt x="1156" y="489"/>
                  </a:cubicBezTo>
                  <a:cubicBezTo>
                    <a:pt x="1191" y="501"/>
                    <a:pt x="1203" y="501"/>
                    <a:pt x="1227" y="501"/>
                  </a:cubicBezTo>
                  <a:cubicBezTo>
                    <a:pt x="1287" y="501"/>
                    <a:pt x="1346" y="477"/>
                    <a:pt x="1382" y="417"/>
                  </a:cubicBezTo>
                  <a:cubicBezTo>
                    <a:pt x="1430" y="334"/>
                    <a:pt x="1394" y="239"/>
                    <a:pt x="1310" y="191"/>
                  </a:cubicBezTo>
                  <a:cubicBezTo>
                    <a:pt x="918" y="1"/>
                    <a:pt x="19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0" name="Google Shape;11020;p60"/>
            <p:cNvSpPr/>
            <p:nvPr/>
          </p:nvSpPr>
          <p:spPr>
            <a:xfrm>
              <a:off x="7529411" y="2607916"/>
              <a:ext cx="123172" cy="168654"/>
            </a:xfrm>
            <a:custGeom>
              <a:avLst/>
              <a:gdLst/>
              <a:ahLst/>
              <a:cxnLst/>
              <a:rect l="l" t="t" r="r" b="b"/>
              <a:pathLst>
                <a:path w="3870" h="5299" extrusionOk="0">
                  <a:moveTo>
                    <a:pt x="3025" y="310"/>
                  </a:moveTo>
                  <a:lnTo>
                    <a:pt x="3025" y="1013"/>
                  </a:lnTo>
                  <a:cubicBezTo>
                    <a:pt x="3025" y="1132"/>
                    <a:pt x="2989" y="1239"/>
                    <a:pt x="2953" y="1334"/>
                  </a:cubicBezTo>
                  <a:lnTo>
                    <a:pt x="2858" y="1501"/>
                  </a:lnTo>
                  <a:cubicBezTo>
                    <a:pt x="2846" y="1536"/>
                    <a:pt x="2846" y="1548"/>
                    <a:pt x="2846" y="1572"/>
                  </a:cubicBezTo>
                  <a:lnTo>
                    <a:pt x="2846" y="1929"/>
                  </a:lnTo>
                  <a:cubicBezTo>
                    <a:pt x="2834" y="2191"/>
                    <a:pt x="2727" y="2406"/>
                    <a:pt x="2560" y="2584"/>
                  </a:cubicBezTo>
                  <a:cubicBezTo>
                    <a:pt x="2392" y="2753"/>
                    <a:pt x="2170" y="2847"/>
                    <a:pt x="1945" y="2847"/>
                  </a:cubicBezTo>
                  <a:cubicBezTo>
                    <a:pt x="1932" y="2847"/>
                    <a:pt x="1919" y="2847"/>
                    <a:pt x="1905" y="2846"/>
                  </a:cubicBezTo>
                  <a:cubicBezTo>
                    <a:pt x="1429" y="2822"/>
                    <a:pt x="1024" y="2394"/>
                    <a:pt x="1024" y="1894"/>
                  </a:cubicBezTo>
                  <a:lnTo>
                    <a:pt x="1024" y="1572"/>
                  </a:lnTo>
                  <a:cubicBezTo>
                    <a:pt x="1024" y="1548"/>
                    <a:pt x="1024" y="1536"/>
                    <a:pt x="1012" y="1501"/>
                  </a:cubicBezTo>
                  <a:lnTo>
                    <a:pt x="905" y="1298"/>
                  </a:lnTo>
                  <a:cubicBezTo>
                    <a:pt x="870" y="1215"/>
                    <a:pt x="846" y="1132"/>
                    <a:pt x="846" y="1060"/>
                  </a:cubicBezTo>
                  <a:lnTo>
                    <a:pt x="846" y="1036"/>
                  </a:lnTo>
                  <a:cubicBezTo>
                    <a:pt x="846" y="643"/>
                    <a:pt x="1179" y="310"/>
                    <a:pt x="1584" y="310"/>
                  </a:cubicBezTo>
                  <a:close/>
                  <a:moveTo>
                    <a:pt x="2298" y="3096"/>
                  </a:moveTo>
                  <a:lnTo>
                    <a:pt x="2298" y="3156"/>
                  </a:lnTo>
                  <a:cubicBezTo>
                    <a:pt x="2298" y="3179"/>
                    <a:pt x="2298" y="3215"/>
                    <a:pt x="2310" y="3263"/>
                  </a:cubicBezTo>
                  <a:lnTo>
                    <a:pt x="1917" y="3656"/>
                  </a:lnTo>
                  <a:lnTo>
                    <a:pt x="1536" y="3275"/>
                  </a:lnTo>
                  <a:cubicBezTo>
                    <a:pt x="1548" y="3239"/>
                    <a:pt x="1548" y="3215"/>
                    <a:pt x="1548" y="3168"/>
                  </a:cubicBezTo>
                  <a:lnTo>
                    <a:pt x="1548" y="3096"/>
                  </a:lnTo>
                  <a:cubicBezTo>
                    <a:pt x="1655" y="3120"/>
                    <a:pt x="1763" y="3156"/>
                    <a:pt x="1882" y="3156"/>
                  </a:cubicBezTo>
                  <a:lnTo>
                    <a:pt x="1917" y="3156"/>
                  </a:lnTo>
                  <a:cubicBezTo>
                    <a:pt x="2036" y="3156"/>
                    <a:pt x="2179" y="3132"/>
                    <a:pt x="2298" y="3096"/>
                  </a:cubicBezTo>
                  <a:close/>
                  <a:moveTo>
                    <a:pt x="1584" y="1"/>
                  </a:moveTo>
                  <a:cubicBezTo>
                    <a:pt x="1001" y="1"/>
                    <a:pt x="524" y="477"/>
                    <a:pt x="524" y="1060"/>
                  </a:cubicBezTo>
                  <a:lnTo>
                    <a:pt x="524" y="1072"/>
                  </a:lnTo>
                  <a:cubicBezTo>
                    <a:pt x="524" y="1203"/>
                    <a:pt x="548" y="1334"/>
                    <a:pt x="608" y="1453"/>
                  </a:cubicBezTo>
                  <a:lnTo>
                    <a:pt x="703" y="1620"/>
                  </a:lnTo>
                  <a:lnTo>
                    <a:pt x="703" y="1894"/>
                  </a:lnTo>
                  <a:cubicBezTo>
                    <a:pt x="703" y="2322"/>
                    <a:pt x="905" y="2703"/>
                    <a:pt x="1239" y="2941"/>
                  </a:cubicBezTo>
                  <a:lnTo>
                    <a:pt x="1239" y="3179"/>
                  </a:lnTo>
                  <a:cubicBezTo>
                    <a:pt x="1239" y="3215"/>
                    <a:pt x="1227" y="3239"/>
                    <a:pt x="1191" y="3239"/>
                  </a:cubicBezTo>
                  <a:lnTo>
                    <a:pt x="512" y="3441"/>
                  </a:lnTo>
                  <a:cubicBezTo>
                    <a:pt x="215" y="3525"/>
                    <a:pt x="0" y="3799"/>
                    <a:pt x="0" y="4108"/>
                  </a:cubicBezTo>
                  <a:lnTo>
                    <a:pt x="0" y="5132"/>
                  </a:lnTo>
                  <a:cubicBezTo>
                    <a:pt x="0" y="5227"/>
                    <a:pt x="72" y="5299"/>
                    <a:pt x="167" y="5299"/>
                  </a:cubicBezTo>
                  <a:cubicBezTo>
                    <a:pt x="250" y="5299"/>
                    <a:pt x="322" y="5227"/>
                    <a:pt x="322" y="5132"/>
                  </a:cubicBezTo>
                  <a:lnTo>
                    <a:pt x="322" y="4108"/>
                  </a:lnTo>
                  <a:cubicBezTo>
                    <a:pt x="322" y="3941"/>
                    <a:pt x="429" y="3799"/>
                    <a:pt x="596" y="3751"/>
                  </a:cubicBezTo>
                  <a:lnTo>
                    <a:pt x="1274" y="3560"/>
                  </a:lnTo>
                  <a:cubicBezTo>
                    <a:pt x="1310" y="3560"/>
                    <a:pt x="1322" y="3537"/>
                    <a:pt x="1358" y="3525"/>
                  </a:cubicBezTo>
                  <a:lnTo>
                    <a:pt x="1774" y="3941"/>
                  </a:lnTo>
                  <a:lnTo>
                    <a:pt x="1774" y="5120"/>
                  </a:lnTo>
                  <a:cubicBezTo>
                    <a:pt x="1774" y="5204"/>
                    <a:pt x="1846" y="5287"/>
                    <a:pt x="1929" y="5287"/>
                  </a:cubicBezTo>
                  <a:cubicBezTo>
                    <a:pt x="2025" y="5287"/>
                    <a:pt x="2096" y="5204"/>
                    <a:pt x="2096" y="5120"/>
                  </a:cubicBezTo>
                  <a:lnTo>
                    <a:pt x="2096" y="3941"/>
                  </a:lnTo>
                  <a:lnTo>
                    <a:pt x="2513" y="3525"/>
                  </a:lnTo>
                  <a:cubicBezTo>
                    <a:pt x="2548" y="3537"/>
                    <a:pt x="2560" y="3537"/>
                    <a:pt x="2584" y="3560"/>
                  </a:cubicBezTo>
                  <a:lnTo>
                    <a:pt x="3275" y="3751"/>
                  </a:lnTo>
                  <a:cubicBezTo>
                    <a:pt x="3441" y="3799"/>
                    <a:pt x="3537" y="3941"/>
                    <a:pt x="3537" y="4108"/>
                  </a:cubicBezTo>
                  <a:lnTo>
                    <a:pt x="3537" y="5132"/>
                  </a:lnTo>
                  <a:cubicBezTo>
                    <a:pt x="3537" y="5227"/>
                    <a:pt x="3620" y="5299"/>
                    <a:pt x="3703" y="5299"/>
                  </a:cubicBezTo>
                  <a:cubicBezTo>
                    <a:pt x="3799" y="5299"/>
                    <a:pt x="3870" y="5227"/>
                    <a:pt x="3870" y="5132"/>
                  </a:cubicBezTo>
                  <a:lnTo>
                    <a:pt x="3870" y="4108"/>
                  </a:lnTo>
                  <a:cubicBezTo>
                    <a:pt x="3870" y="3810"/>
                    <a:pt x="3668" y="3537"/>
                    <a:pt x="3370" y="3453"/>
                  </a:cubicBezTo>
                  <a:lnTo>
                    <a:pt x="2679" y="3263"/>
                  </a:lnTo>
                  <a:cubicBezTo>
                    <a:pt x="2656" y="3239"/>
                    <a:pt x="2632" y="3227"/>
                    <a:pt x="2632" y="3203"/>
                  </a:cubicBezTo>
                  <a:lnTo>
                    <a:pt x="2632" y="2977"/>
                  </a:lnTo>
                  <a:cubicBezTo>
                    <a:pt x="2691" y="2929"/>
                    <a:pt x="2739" y="2882"/>
                    <a:pt x="2798" y="2846"/>
                  </a:cubicBezTo>
                  <a:cubicBezTo>
                    <a:pt x="3037" y="2608"/>
                    <a:pt x="3168" y="2287"/>
                    <a:pt x="3168" y="1953"/>
                  </a:cubicBezTo>
                  <a:lnTo>
                    <a:pt x="3168" y="1632"/>
                  </a:lnTo>
                  <a:lnTo>
                    <a:pt x="3227" y="1501"/>
                  </a:lnTo>
                  <a:cubicBezTo>
                    <a:pt x="3310" y="1358"/>
                    <a:pt x="3346" y="1191"/>
                    <a:pt x="3346" y="1024"/>
                  </a:cubicBezTo>
                  <a:lnTo>
                    <a:pt x="3346" y="167"/>
                  </a:lnTo>
                  <a:cubicBezTo>
                    <a:pt x="3346" y="72"/>
                    <a:pt x="3275" y="1"/>
                    <a:pt x="3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1" name="Google Shape;11021;p60"/>
            <p:cNvSpPr/>
            <p:nvPr/>
          </p:nvSpPr>
          <p:spPr>
            <a:xfrm>
              <a:off x="7551754" y="2743946"/>
              <a:ext cx="10280" cy="33005"/>
            </a:xfrm>
            <a:custGeom>
              <a:avLst/>
              <a:gdLst/>
              <a:ahLst/>
              <a:cxnLst/>
              <a:rect l="l" t="t" r="r" b="b"/>
              <a:pathLst>
                <a:path w="323" h="1037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870"/>
                  </a:lnTo>
                  <a:cubicBezTo>
                    <a:pt x="1" y="965"/>
                    <a:pt x="72" y="1037"/>
                    <a:pt x="168" y="1037"/>
                  </a:cubicBezTo>
                  <a:cubicBezTo>
                    <a:pt x="251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2" name="Google Shape;11022;p60"/>
            <p:cNvSpPr/>
            <p:nvPr/>
          </p:nvSpPr>
          <p:spPr>
            <a:xfrm>
              <a:off x="7619610" y="2743946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72" y="1037"/>
                    <a:pt x="155" y="1037"/>
                  </a:cubicBezTo>
                  <a:cubicBezTo>
                    <a:pt x="250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3" name="Google Shape;11023;p60"/>
            <p:cNvSpPr/>
            <p:nvPr/>
          </p:nvSpPr>
          <p:spPr>
            <a:xfrm>
              <a:off x="7773464" y="2584427"/>
              <a:ext cx="111810" cy="192525"/>
            </a:xfrm>
            <a:custGeom>
              <a:avLst/>
              <a:gdLst/>
              <a:ahLst/>
              <a:cxnLst/>
              <a:rect l="l" t="t" r="r" b="b"/>
              <a:pathLst>
                <a:path w="3513" h="6049" extrusionOk="0">
                  <a:moveTo>
                    <a:pt x="1738" y="346"/>
                  </a:moveTo>
                  <a:cubicBezTo>
                    <a:pt x="2036" y="346"/>
                    <a:pt x="2286" y="560"/>
                    <a:pt x="2286" y="810"/>
                  </a:cubicBezTo>
                  <a:lnTo>
                    <a:pt x="2286" y="846"/>
                  </a:lnTo>
                  <a:cubicBezTo>
                    <a:pt x="2131" y="762"/>
                    <a:pt x="1929" y="739"/>
                    <a:pt x="1738" y="739"/>
                  </a:cubicBezTo>
                  <a:cubicBezTo>
                    <a:pt x="1548" y="739"/>
                    <a:pt x="1369" y="786"/>
                    <a:pt x="1191" y="846"/>
                  </a:cubicBezTo>
                  <a:lnTo>
                    <a:pt x="1191" y="810"/>
                  </a:lnTo>
                  <a:cubicBezTo>
                    <a:pt x="1203" y="560"/>
                    <a:pt x="1441" y="346"/>
                    <a:pt x="1738" y="346"/>
                  </a:cubicBezTo>
                  <a:close/>
                  <a:moveTo>
                    <a:pt x="1738" y="1048"/>
                  </a:moveTo>
                  <a:cubicBezTo>
                    <a:pt x="2334" y="1048"/>
                    <a:pt x="2822" y="1536"/>
                    <a:pt x="2822" y="2132"/>
                  </a:cubicBezTo>
                  <a:cubicBezTo>
                    <a:pt x="2822" y="2251"/>
                    <a:pt x="2810" y="2358"/>
                    <a:pt x="2762" y="2477"/>
                  </a:cubicBezTo>
                  <a:cubicBezTo>
                    <a:pt x="2286" y="2001"/>
                    <a:pt x="1453" y="1810"/>
                    <a:pt x="1429" y="1798"/>
                  </a:cubicBezTo>
                  <a:cubicBezTo>
                    <a:pt x="1415" y="1791"/>
                    <a:pt x="1400" y="1788"/>
                    <a:pt x="1385" y="1788"/>
                  </a:cubicBezTo>
                  <a:cubicBezTo>
                    <a:pt x="1347" y="1788"/>
                    <a:pt x="1308" y="1805"/>
                    <a:pt x="1274" y="1822"/>
                  </a:cubicBezTo>
                  <a:cubicBezTo>
                    <a:pt x="1238" y="1858"/>
                    <a:pt x="1215" y="1893"/>
                    <a:pt x="1215" y="1953"/>
                  </a:cubicBezTo>
                  <a:cubicBezTo>
                    <a:pt x="1215" y="1977"/>
                    <a:pt x="1203" y="2072"/>
                    <a:pt x="1084" y="2191"/>
                  </a:cubicBezTo>
                  <a:cubicBezTo>
                    <a:pt x="1024" y="2251"/>
                    <a:pt x="1024" y="2358"/>
                    <a:pt x="1084" y="2429"/>
                  </a:cubicBezTo>
                  <a:cubicBezTo>
                    <a:pt x="1111" y="2467"/>
                    <a:pt x="1148" y="2483"/>
                    <a:pt x="1188" y="2483"/>
                  </a:cubicBezTo>
                  <a:cubicBezTo>
                    <a:pt x="1234" y="2483"/>
                    <a:pt x="1283" y="2461"/>
                    <a:pt x="1322" y="2429"/>
                  </a:cubicBezTo>
                  <a:cubicBezTo>
                    <a:pt x="1405" y="2346"/>
                    <a:pt x="1465" y="2239"/>
                    <a:pt x="1500" y="2167"/>
                  </a:cubicBezTo>
                  <a:cubicBezTo>
                    <a:pt x="1786" y="2251"/>
                    <a:pt x="2358" y="2465"/>
                    <a:pt x="2631" y="2834"/>
                  </a:cubicBezTo>
                  <a:cubicBezTo>
                    <a:pt x="2560" y="3263"/>
                    <a:pt x="2191" y="3584"/>
                    <a:pt x="1738" y="3584"/>
                  </a:cubicBezTo>
                  <a:cubicBezTo>
                    <a:pt x="1274" y="3584"/>
                    <a:pt x="893" y="3239"/>
                    <a:pt x="845" y="2774"/>
                  </a:cubicBezTo>
                  <a:cubicBezTo>
                    <a:pt x="845" y="2751"/>
                    <a:pt x="834" y="2727"/>
                    <a:pt x="822" y="2703"/>
                  </a:cubicBezTo>
                  <a:cubicBezTo>
                    <a:pt x="714" y="2536"/>
                    <a:pt x="655" y="2334"/>
                    <a:pt x="655" y="2132"/>
                  </a:cubicBezTo>
                  <a:cubicBezTo>
                    <a:pt x="655" y="1536"/>
                    <a:pt x="1143" y="1048"/>
                    <a:pt x="1738" y="1048"/>
                  </a:cubicBezTo>
                  <a:close/>
                  <a:moveTo>
                    <a:pt x="2131" y="3846"/>
                  </a:moveTo>
                  <a:lnTo>
                    <a:pt x="2131" y="4025"/>
                  </a:lnTo>
                  <a:cubicBezTo>
                    <a:pt x="2131" y="4084"/>
                    <a:pt x="2143" y="4144"/>
                    <a:pt x="2167" y="4191"/>
                  </a:cubicBezTo>
                  <a:lnTo>
                    <a:pt x="1988" y="4334"/>
                  </a:lnTo>
                  <a:cubicBezTo>
                    <a:pt x="1917" y="4400"/>
                    <a:pt x="1825" y="4432"/>
                    <a:pt x="1734" y="4432"/>
                  </a:cubicBezTo>
                  <a:cubicBezTo>
                    <a:pt x="1643" y="4432"/>
                    <a:pt x="1554" y="4400"/>
                    <a:pt x="1488" y="4334"/>
                  </a:cubicBezTo>
                  <a:lnTo>
                    <a:pt x="1334" y="4191"/>
                  </a:lnTo>
                  <a:cubicBezTo>
                    <a:pt x="1369" y="4144"/>
                    <a:pt x="1381" y="4084"/>
                    <a:pt x="1381" y="4025"/>
                  </a:cubicBezTo>
                  <a:lnTo>
                    <a:pt x="1381" y="3846"/>
                  </a:lnTo>
                  <a:cubicBezTo>
                    <a:pt x="1500" y="3870"/>
                    <a:pt x="1619" y="3906"/>
                    <a:pt x="1750" y="3906"/>
                  </a:cubicBezTo>
                  <a:cubicBezTo>
                    <a:pt x="1893" y="3906"/>
                    <a:pt x="2012" y="3894"/>
                    <a:pt x="2131" y="3846"/>
                  </a:cubicBezTo>
                  <a:close/>
                  <a:moveTo>
                    <a:pt x="1750" y="0"/>
                  </a:moveTo>
                  <a:cubicBezTo>
                    <a:pt x="1274" y="0"/>
                    <a:pt x="881" y="358"/>
                    <a:pt x="881" y="798"/>
                  </a:cubicBezTo>
                  <a:cubicBezTo>
                    <a:pt x="881" y="869"/>
                    <a:pt x="893" y="929"/>
                    <a:pt x="905" y="1000"/>
                  </a:cubicBezTo>
                  <a:cubicBezTo>
                    <a:pt x="560" y="1250"/>
                    <a:pt x="345" y="1667"/>
                    <a:pt x="345" y="2132"/>
                  </a:cubicBezTo>
                  <a:cubicBezTo>
                    <a:pt x="345" y="2382"/>
                    <a:pt x="405" y="2632"/>
                    <a:pt x="536" y="2834"/>
                  </a:cubicBezTo>
                  <a:cubicBezTo>
                    <a:pt x="583" y="3191"/>
                    <a:pt x="774" y="3489"/>
                    <a:pt x="1060" y="3679"/>
                  </a:cubicBezTo>
                  <a:lnTo>
                    <a:pt x="1060" y="4025"/>
                  </a:lnTo>
                  <a:lnTo>
                    <a:pt x="1060" y="4037"/>
                  </a:lnTo>
                  <a:lnTo>
                    <a:pt x="381" y="4382"/>
                  </a:lnTo>
                  <a:cubicBezTo>
                    <a:pt x="143" y="4501"/>
                    <a:pt x="0" y="4739"/>
                    <a:pt x="0" y="5013"/>
                  </a:cubicBezTo>
                  <a:lnTo>
                    <a:pt x="0" y="5882"/>
                  </a:lnTo>
                  <a:cubicBezTo>
                    <a:pt x="0" y="5977"/>
                    <a:pt x="72" y="6049"/>
                    <a:pt x="167" y="6049"/>
                  </a:cubicBezTo>
                  <a:cubicBezTo>
                    <a:pt x="250" y="6049"/>
                    <a:pt x="322" y="5977"/>
                    <a:pt x="322" y="5882"/>
                  </a:cubicBezTo>
                  <a:lnTo>
                    <a:pt x="322" y="5013"/>
                  </a:lnTo>
                  <a:cubicBezTo>
                    <a:pt x="322" y="4870"/>
                    <a:pt x="393" y="4739"/>
                    <a:pt x="536" y="4679"/>
                  </a:cubicBezTo>
                  <a:lnTo>
                    <a:pt x="1084" y="4394"/>
                  </a:lnTo>
                  <a:lnTo>
                    <a:pt x="1274" y="4572"/>
                  </a:lnTo>
                  <a:cubicBezTo>
                    <a:pt x="1417" y="4715"/>
                    <a:pt x="1584" y="4775"/>
                    <a:pt x="1750" y="4775"/>
                  </a:cubicBezTo>
                  <a:cubicBezTo>
                    <a:pt x="1929" y="4775"/>
                    <a:pt x="2096" y="4715"/>
                    <a:pt x="2227" y="4572"/>
                  </a:cubicBezTo>
                  <a:lnTo>
                    <a:pt x="2429" y="4394"/>
                  </a:lnTo>
                  <a:lnTo>
                    <a:pt x="2977" y="4679"/>
                  </a:lnTo>
                  <a:cubicBezTo>
                    <a:pt x="3096" y="4739"/>
                    <a:pt x="3179" y="4870"/>
                    <a:pt x="3179" y="5013"/>
                  </a:cubicBezTo>
                  <a:lnTo>
                    <a:pt x="3179" y="5882"/>
                  </a:lnTo>
                  <a:cubicBezTo>
                    <a:pt x="3179" y="5977"/>
                    <a:pt x="3262" y="6049"/>
                    <a:pt x="3346" y="6049"/>
                  </a:cubicBezTo>
                  <a:cubicBezTo>
                    <a:pt x="3441" y="6049"/>
                    <a:pt x="3512" y="5977"/>
                    <a:pt x="3512" y="5882"/>
                  </a:cubicBezTo>
                  <a:lnTo>
                    <a:pt x="3512" y="5013"/>
                  </a:lnTo>
                  <a:cubicBezTo>
                    <a:pt x="3512" y="4739"/>
                    <a:pt x="3358" y="4501"/>
                    <a:pt x="3120" y="4382"/>
                  </a:cubicBezTo>
                  <a:lnTo>
                    <a:pt x="2453" y="4037"/>
                  </a:lnTo>
                  <a:lnTo>
                    <a:pt x="2453" y="4025"/>
                  </a:lnTo>
                  <a:lnTo>
                    <a:pt x="2453" y="3679"/>
                  </a:lnTo>
                  <a:cubicBezTo>
                    <a:pt x="2739" y="3489"/>
                    <a:pt x="2929" y="3191"/>
                    <a:pt x="2977" y="2834"/>
                  </a:cubicBezTo>
                  <a:cubicBezTo>
                    <a:pt x="3096" y="2632"/>
                    <a:pt x="3167" y="2370"/>
                    <a:pt x="3167" y="2132"/>
                  </a:cubicBezTo>
                  <a:cubicBezTo>
                    <a:pt x="3167" y="1667"/>
                    <a:pt x="2941" y="1262"/>
                    <a:pt x="2608" y="1000"/>
                  </a:cubicBezTo>
                  <a:cubicBezTo>
                    <a:pt x="2619" y="941"/>
                    <a:pt x="2631" y="869"/>
                    <a:pt x="2631" y="798"/>
                  </a:cubicBezTo>
                  <a:cubicBezTo>
                    <a:pt x="2631" y="369"/>
                    <a:pt x="2227" y="0"/>
                    <a:pt x="1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4" name="Google Shape;11024;p60"/>
            <p:cNvSpPr/>
            <p:nvPr/>
          </p:nvSpPr>
          <p:spPr>
            <a:xfrm>
              <a:off x="7795043" y="2750789"/>
              <a:ext cx="11012" cy="26162"/>
            </a:xfrm>
            <a:custGeom>
              <a:avLst/>
              <a:gdLst/>
              <a:ahLst/>
              <a:cxnLst/>
              <a:rect l="l" t="t" r="r" b="b"/>
              <a:pathLst>
                <a:path w="346" h="822" extrusionOk="0">
                  <a:moveTo>
                    <a:pt x="167" y="0"/>
                  </a:moveTo>
                  <a:cubicBezTo>
                    <a:pt x="84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84" y="822"/>
                    <a:pt x="167" y="822"/>
                  </a:cubicBezTo>
                  <a:cubicBezTo>
                    <a:pt x="263" y="822"/>
                    <a:pt x="334" y="750"/>
                    <a:pt x="334" y="655"/>
                  </a:cubicBezTo>
                  <a:lnTo>
                    <a:pt x="334" y="167"/>
                  </a:lnTo>
                  <a:cubicBezTo>
                    <a:pt x="346" y="83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5" name="Google Shape;11025;p60"/>
            <p:cNvSpPr/>
            <p:nvPr/>
          </p:nvSpPr>
          <p:spPr>
            <a:xfrm>
              <a:off x="7851887" y="2750789"/>
              <a:ext cx="10662" cy="26162"/>
            </a:xfrm>
            <a:custGeom>
              <a:avLst/>
              <a:gdLst/>
              <a:ahLst/>
              <a:cxnLst/>
              <a:rect l="l" t="t" r="r" b="b"/>
              <a:pathLst>
                <a:path w="335" h="822" extrusionOk="0">
                  <a:moveTo>
                    <a:pt x="167" y="0"/>
                  </a:moveTo>
                  <a:cubicBezTo>
                    <a:pt x="84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84" y="822"/>
                    <a:pt x="167" y="822"/>
                  </a:cubicBezTo>
                  <a:cubicBezTo>
                    <a:pt x="263" y="822"/>
                    <a:pt x="334" y="750"/>
                    <a:pt x="334" y="655"/>
                  </a:cubicBezTo>
                  <a:lnTo>
                    <a:pt x="334" y="167"/>
                  </a:lnTo>
                  <a:cubicBezTo>
                    <a:pt x="334" y="83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6" name="Google Shape;11026;p60"/>
            <p:cNvSpPr/>
            <p:nvPr/>
          </p:nvSpPr>
          <p:spPr>
            <a:xfrm>
              <a:off x="7641189" y="2595789"/>
              <a:ext cx="136826" cy="113147"/>
            </a:xfrm>
            <a:custGeom>
              <a:avLst/>
              <a:gdLst/>
              <a:ahLst/>
              <a:cxnLst/>
              <a:rect l="l" t="t" r="r" b="b"/>
              <a:pathLst>
                <a:path w="4299" h="3555" extrusionOk="0">
                  <a:moveTo>
                    <a:pt x="2156" y="1"/>
                  </a:moveTo>
                  <a:cubicBezTo>
                    <a:pt x="2072" y="1"/>
                    <a:pt x="2001" y="84"/>
                    <a:pt x="2001" y="167"/>
                  </a:cubicBezTo>
                  <a:lnTo>
                    <a:pt x="2001" y="2048"/>
                  </a:lnTo>
                  <a:lnTo>
                    <a:pt x="108" y="3251"/>
                  </a:lnTo>
                  <a:cubicBezTo>
                    <a:pt x="37" y="3299"/>
                    <a:pt x="1" y="3406"/>
                    <a:pt x="60" y="3477"/>
                  </a:cubicBezTo>
                  <a:cubicBezTo>
                    <a:pt x="91" y="3523"/>
                    <a:pt x="147" y="3555"/>
                    <a:pt x="202" y="3555"/>
                  </a:cubicBezTo>
                  <a:cubicBezTo>
                    <a:pt x="232" y="3555"/>
                    <a:pt x="261" y="3546"/>
                    <a:pt x="287" y="3525"/>
                  </a:cubicBezTo>
                  <a:lnTo>
                    <a:pt x="2156" y="2334"/>
                  </a:lnTo>
                  <a:lnTo>
                    <a:pt x="4037" y="3525"/>
                  </a:lnTo>
                  <a:cubicBezTo>
                    <a:pt x="4061" y="3537"/>
                    <a:pt x="4097" y="3549"/>
                    <a:pt x="4120" y="3549"/>
                  </a:cubicBezTo>
                  <a:cubicBezTo>
                    <a:pt x="4180" y="3549"/>
                    <a:pt x="4228" y="3525"/>
                    <a:pt x="4263" y="3477"/>
                  </a:cubicBezTo>
                  <a:cubicBezTo>
                    <a:pt x="4299" y="3406"/>
                    <a:pt x="4287" y="3299"/>
                    <a:pt x="4216" y="3251"/>
                  </a:cubicBezTo>
                  <a:lnTo>
                    <a:pt x="2323" y="2048"/>
                  </a:lnTo>
                  <a:lnTo>
                    <a:pt x="2323" y="167"/>
                  </a:lnTo>
                  <a:cubicBezTo>
                    <a:pt x="2323" y="84"/>
                    <a:pt x="2251" y="1"/>
                    <a:pt x="2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27" name="Google Shape;11027;p60"/>
          <p:cNvGrpSpPr/>
          <p:nvPr/>
        </p:nvGrpSpPr>
        <p:grpSpPr>
          <a:xfrm>
            <a:off x="5733194" y="2431718"/>
            <a:ext cx="446826" cy="327059"/>
            <a:chOff x="5733194" y="2431718"/>
            <a:chExt cx="446826" cy="327059"/>
          </a:xfrm>
        </p:grpSpPr>
        <p:sp>
          <p:nvSpPr>
            <p:cNvPr id="11028" name="Google Shape;11028;p60"/>
            <p:cNvSpPr/>
            <p:nvPr/>
          </p:nvSpPr>
          <p:spPr>
            <a:xfrm>
              <a:off x="6032946" y="2474145"/>
              <a:ext cx="56112" cy="20115"/>
            </a:xfrm>
            <a:custGeom>
              <a:avLst/>
              <a:gdLst/>
              <a:ahLst/>
              <a:cxnLst/>
              <a:rect l="l" t="t" r="r" b="b"/>
              <a:pathLst>
                <a:path w="1763" h="632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cubicBezTo>
                    <a:pt x="441" y="417"/>
                    <a:pt x="1108" y="453"/>
                    <a:pt x="1429" y="620"/>
                  </a:cubicBezTo>
                  <a:cubicBezTo>
                    <a:pt x="1465" y="632"/>
                    <a:pt x="1489" y="632"/>
                    <a:pt x="1525" y="632"/>
                  </a:cubicBezTo>
                  <a:cubicBezTo>
                    <a:pt x="1596" y="632"/>
                    <a:pt x="1668" y="584"/>
                    <a:pt x="1703" y="513"/>
                  </a:cubicBezTo>
                  <a:cubicBezTo>
                    <a:pt x="1763" y="417"/>
                    <a:pt x="1727" y="298"/>
                    <a:pt x="1632" y="239"/>
                  </a:cubicBezTo>
                  <a:cubicBezTo>
                    <a:pt x="1156" y="1"/>
                    <a:pt x="263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9" name="Google Shape;11029;p60"/>
            <p:cNvSpPr/>
            <p:nvPr/>
          </p:nvSpPr>
          <p:spPr>
            <a:xfrm>
              <a:off x="5733194" y="2431718"/>
              <a:ext cx="446826" cy="327059"/>
            </a:xfrm>
            <a:custGeom>
              <a:avLst/>
              <a:gdLst/>
              <a:ahLst/>
              <a:cxnLst/>
              <a:rect l="l" t="t" r="r" b="b"/>
              <a:pathLst>
                <a:path w="14039" h="10276" extrusionOk="0">
                  <a:moveTo>
                    <a:pt x="11621" y="655"/>
                  </a:moveTo>
                  <a:lnTo>
                    <a:pt x="11621" y="1500"/>
                  </a:lnTo>
                  <a:cubicBezTo>
                    <a:pt x="11621" y="1631"/>
                    <a:pt x="11598" y="1762"/>
                    <a:pt x="11538" y="1905"/>
                  </a:cubicBezTo>
                  <a:lnTo>
                    <a:pt x="11431" y="2108"/>
                  </a:lnTo>
                  <a:cubicBezTo>
                    <a:pt x="11419" y="2143"/>
                    <a:pt x="11419" y="2167"/>
                    <a:pt x="11419" y="2203"/>
                  </a:cubicBezTo>
                  <a:lnTo>
                    <a:pt x="11419" y="2631"/>
                  </a:lnTo>
                  <a:cubicBezTo>
                    <a:pt x="11419" y="2929"/>
                    <a:pt x="11300" y="3215"/>
                    <a:pt x="11074" y="3429"/>
                  </a:cubicBezTo>
                  <a:cubicBezTo>
                    <a:pt x="10858" y="3634"/>
                    <a:pt x="10599" y="3751"/>
                    <a:pt x="10317" y="3751"/>
                  </a:cubicBezTo>
                  <a:cubicBezTo>
                    <a:pt x="10303" y="3751"/>
                    <a:pt x="10290" y="3751"/>
                    <a:pt x="10276" y="3751"/>
                  </a:cubicBezTo>
                  <a:cubicBezTo>
                    <a:pt x="9657" y="3739"/>
                    <a:pt x="9181" y="3215"/>
                    <a:pt x="9181" y="2584"/>
                  </a:cubicBezTo>
                  <a:lnTo>
                    <a:pt x="9181" y="2203"/>
                  </a:lnTo>
                  <a:cubicBezTo>
                    <a:pt x="9181" y="2167"/>
                    <a:pt x="9181" y="2143"/>
                    <a:pt x="9169" y="2108"/>
                  </a:cubicBezTo>
                  <a:lnTo>
                    <a:pt x="9038" y="1857"/>
                  </a:lnTo>
                  <a:cubicBezTo>
                    <a:pt x="8990" y="1762"/>
                    <a:pt x="8966" y="1667"/>
                    <a:pt x="8966" y="1560"/>
                  </a:cubicBezTo>
                  <a:lnTo>
                    <a:pt x="8966" y="1548"/>
                  </a:lnTo>
                  <a:cubicBezTo>
                    <a:pt x="8966" y="1048"/>
                    <a:pt x="9359" y="655"/>
                    <a:pt x="9859" y="655"/>
                  </a:cubicBezTo>
                  <a:close/>
                  <a:moveTo>
                    <a:pt x="4156" y="429"/>
                  </a:moveTo>
                  <a:cubicBezTo>
                    <a:pt x="4513" y="429"/>
                    <a:pt x="4823" y="560"/>
                    <a:pt x="5061" y="822"/>
                  </a:cubicBezTo>
                  <a:cubicBezTo>
                    <a:pt x="5299" y="1072"/>
                    <a:pt x="5442" y="1417"/>
                    <a:pt x="5478" y="1786"/>
                  </a:cubicBezTo>
                  <a:cubicBezTo>
                    <a:pt x="5513" y="2215"/>
                    <a:pt x="5656" y="3108"/>
                    <a:pt x="5847" y="3643"/>
                  </a:cubicBezTo>
                  <a:lnTo>
                    <a:pt x="5835" y="3643"/>
                  </a:lnTo>
                  <a:cubicBezTo>
                    <a:pt x="5525" y="3762"/>
                    <a:pt x="4882" y="3941"/>
                    <a:pt x="4132" y="3941"/>
                  </a:cubicBezTo>
                  <a:cubicBezTo>
                    <a:pt x="4077" y="3944"/>
                    <a:pt x="4021" y="3945"/>
                    <a:pt x="3967" y="3945"/>
                  </a:cubicBezTo>
                  <a:cubicBezTo>
                    <a:pt x="3330" y="3945"/>
                    <a:pt x="2762" y="3765"/>
                    <a:pt x="2477" y="3655"/>
                  </a:cubicBezTo>
                  <a:cubicBezTo>
                    <a:pt x="2656" y="3108"/>
                    <a:pt x="2799" y="2215"/>
                    <a:pt x="2835" y="1786"/>
                  </a:cubicBezTo>
                  <a:cubicBezTo>
                    <a:pt x="2858" y="1417"/>
                    <a:pt x="3013" y="1072"/>
                    <a:pt x="3251" y="822"/>
                  </a:cubicBezTo>
                  <a:cubicBezTo>
                    <a:pt x="3501" y="560"/>
                    <a:pt x="3811" y="429"/>
                    <a:pt x="4156" y="429"/>
                  </a:cubicBezTo>
                  <a:close/>
                  <a:moveTo>
                    <a:pt x="10752" y="4096"/>
                  </a:moveTo>
                  <a:cubicBezTo>
                    <a:pt x="10752" y="4155"/>
                    <a:pt x="10764" y="4215"/>
                    <a:pt x="10776" y="4274"/>
                  </a:cubicBezTo>
                  <a:lnTo>
                    <a:pt x="10609" y="4429"/>
                  </a:lnTo>
                  <a:cubicBezTo>
                    <a:pt x="10526" y="4524"/>
                    <a:pt x="10419" y="4572"/>
                    <a:pt x="10300" y="4572"/>
                  </a:cubicBezTo>
                  <a:cubicBezTo>
                    <a:pt x="10181" y="4572"/>
                    <a:pt x="10062" y="4524"/>
                    <a:pt x="9990" y="4429"/>
                  </a:cubicBezTo>
                  <a:lnTo>
                    <a:pt x="9823" y="4274"/>
                  </a:lnTo>
                  <a:cubicBezTo>
                    <a:pt x="9835" y="4215"/>
                    <a:pt x="9859" y="4155"/>
                    <a:pt x="9859" y="4096"/>
                  </a:cubicBezTo>
                  <a:cubicBezTo>
                    <a:pt x="9990" y="4132"/>
                    <a:pt x="10121" y="4167"/>
                    <a:pt x="10252" y="4167"/>
                  </a:cubicBezTo>
                  <a:lnTo>
                    <a:pt x="10300" y="4167"/>
                  </a:lnTo>
                  <a:cubicBezTo>
                    <a:pt x="10455" y="4167"/>
                    <a:pt x="10609" y="4132"/>
                    <a:pt x="10752" y="4096"/>
                  </a:cubicBezTo>
                  <a:close/>
                  <a:moveTo>
                    <a:pt x="4692" y="4358"/>
                  </a:moveTo>
                  <a:cubicBezTo>
                    <a:pt x="4763" y="4524"/>
                    <a:pt x="4918" y="4644"/>
                    <a:pt x="5097" y="4691"/>
                  </a:cubicBezTo>
                  <a:lnTo>
                    <a:pt x="5835" y="4894"/>
                  </a:lnTo>
                  <a:cubicBezTo>
                    <a:pt x="6025" y="4953"/>
                    <a:pt x="6168" y="5132"/>
                    <a:pt x="6168" y="5322"/>
                  </a:cubicBezTo>
                  <a:lnTo>
                    <a:pt x="6168" y="7251"/>
                  </a:lnTo>
                  <a:cubicBezTo>
                    <a:pt x="6168" y="7501"/>
                    <a:pt x="5954" y="7692"/>
                    <a:pt x="5716" y="7692"/>
                  </a:cubicBezTo>
                  <a:lnTo>
                    <a:pt x="5704" y="7692"/>
                  </a:lnTo>
                  <a:lnTo>
                    <a:pt x="5704" y="6144"/>
                  </a:lnTo>
                  <a:cubicBezTo>
                    <a:pt x="5668" y="5787"/>
                    <a:pt x="5394" y="5501"/>
                    <a:pt x="5025" y="5501"/>
                  </a:cubicBezTo>
                  <a:lnTo>
                    <a:pt x="3275" y="5501"/>
                  </a:lnTo>
                  <a:cubicBezTo>
                    <a:pt x="2918" y="5501"/>
                    <a:pt x="2632" y="5787"/>
                    <a:pt x="2632" y="6144"/>
                  </a:cubicBezTo>
                  <a:lnTo>
                    <a:pt x="2632" y="7692"/>
                  </a:lnTo>
                  <a:lnTo>
                    <a:pt x="2620" y="7692"/>
                  </a:lnTo>
                  <a:cubicBezTo>
                    <a:pt x="2370" y="7692"/>
                    <a:pt x="2180" y="7489"/>
                    <a:pt x="2180" y="7251"/>
                  </a:cubicBezTo>
                  <a:lnTo>
                    <a:pt x="2180" y="5322"/>
                  </a:lnTo>
                  <a:cubicBezTo>
                    <a:pt x="2180" y="5132"/>
                    <a:pt x="2311" y="4941"/>
                    <a:pt x="2501" y="4894"/>
                  </a:cubicBezTo>
                  <a:lnTo>
                    <a:pt x="3251" y="4691"/>
                  </a:lnTo>
                  <a:cubicBezTo>
                    <a:pt x="3430" y="4644"/>
                    <a:pt x="3561" y="4524"/>
                    <a:pt x="3644" y="4358"/>
                  </a:cubicBezTo>
                  <a:cubicBezTo>
                    <a:pt x="3811" y="4370"/>
                    <a:pt x="3989" y="4394"/>
                    <a:pt x="4168" y="4394"/>
                  </a:cubicBezTo>
                  <a:cubicBezTo>
                    <a:pt x="4347" y="4394"/>
                    <a:pt x="4525" y="4370"/>
                    <a:pt x="4692" y="4358"/>
                  </a:cubicBezTo>
                  <a:close/>
                  <a:moveTo>
                    <a:pt x="10526" y="5906"/>
                  </a:moveTo>
                  <a:cubicBezTo>
                    <a:pt x="10538" y="5906"/>
                    <a:pt x="10538" y="5906"/>
                    <a:pt x="10538" y="5918"/>
                  </a:cubicBezTo>
                  <a:lnTo>
                    <a:pt x="10538" y="7680"/>
                  </a:lnTo>
                  <a:cubicBezTo>
                    <a:pt x="10538" y="7692"/>
                    <a:pt x="10538" y="7692"/>
                    <a:pt x="10526" y="7692"/>
                  </a:cubicBezTo>
                  <a:lnTo>
                    <a:pt x="7895" y="7692"/>
                  </a:lnTo>
                  <a:cubicBezTo>
                    <a:pt x="7871" y="7692"/>
                    <a:pt x="7871" y="7692"/>
                    <a:pt x="7871" y="7680"/>
                  </a:cubicBezTo>
                  <a:lnTo>
                    <a:pt x="7871" y="5918"/>
                  </a:lnTo>
                  <a:lnTo>
                    <a:pt x="10526" y="5906"/>
                  </a:lnTo>
                  <a:close/>
                  <a:moveTo>
                    <a:pt x="11050" y="4596"/>
                  </a:moveTo>
                  <a:lnTo>
                    <a:pt x="11228" y="4691"/>
                  </a:lnTo>
                  <a:lnTo>
                    <a:pt x="11967" y="4894"/>
                  </a:lnTo>
                  <a:cubicBezTo>
                    <a:pt x="12157" y="4953"/>
                    <a:pt x="12300" y="5132"/>
                    <a:pt x="12300" y="5322"/>
                  </a:cubicBezTo>
                  <a:lnTo>
                    <a:pt x="12300" y="7251"/>
                  </a:lnTo>
                  <a:cubicBezTo>
                    <a:pt x="12300" y="7501"/>
                    <a:pt x="12086" y="7692"/>
                    <a:pt x="11848" y="7692"/>
                  </a:cubicBezTo>
                  <a:lnTo>
                    <a:pt x="10955" y="7692"/>
                  </a:lnTo>
                  <a:lnTo>
                    <a:pt x="10955" y="7680"/>
                  </a:lnTo>
                  <a:lnTo>
                    <a:pt x="10955" y="7227"/>
                  </a:lnTo>
                  <a:lnTo>
                    <a:pt x="11621" y="7227"/>
                  </a:lnTo>
                  <a:cubicBezTo>
                    <a:pt x="11740" y="7227"/>
                    <a:pt x="11836" y="7144"/>
                    <a:pt x="11836" y="7025"/>
                  </a:cubicBezTo>
                  <a:lnTo>
                    <a:pt x="11836" y="5715"/>
                  </a:lnTo>
                  <a:cubicBezTo>
                    <a:pt x="11836" y="5596"/>
                    <a:pt x="11740" y="5501"/>
                    <a:pt x="11621" y="5501"/>
                  </a:cubicBezTo>
                  <a:cubicBezTo>
                    <a:pt x="11502" y="5501"/>
                    <a:pt x="11419" y="5596"/>
                    <a:pt x="11419" y="5715"/>
                  </a:cubicBezTo>
                  <a:lnTo>
                    <a:pt x="11419" y="6834"/>
                  </a:lnTo>
                  <a:lnTo>
                    <a:pt x="10955" y="6834"/>
                  </a:lnTo>
                  <a:lnTo>
                    <a:pt x="10955" y="5941"/>
                  </a:lnTo>
                  <a:cubicBezTo>
                    <a:pt x="10955" y="5691"/>
                    <a:pt x="10764" y="5525"/>
                    <a:pt x="10538" y="5525"/>
                  </a:cubicBezTo>
                  <a:lnTo>
                    <a:pt x="8335" y="5525"/>
                  </a:lnTo>
                  <a:lnTo>
                    <a:pt x="8335" y="5322"/>
                  </a:lnTo>
                  <a:lnTo>
                    <a:pt x="8299" y="5322"/>
                  </a:lnTo>
                  <a:cubicBezTo>
                    <a:pt x="8299" y="5132"/>
                    <a:pt x="8442" y="4941"/>
                    <a:pt x="8633" y="4894"/>
                  </a:cubicBezTo>
                  <a:lnTo>
                    <a:pt x="9383" y="4691"/>
                  </a:lnTo>
                  <a:cubicBezTo>
                    <a:pt x="9442" y="4667"/>
                    <a:pt x="9490" y="4644"/>
                    <a:pt x="9562" y="4596"/>
                  </a:cubicBezTo>
                  <a:lnTo>
                    <a:pt x="9693" y="4727"/>
                  </a:lnTo>
                  <a:cubicBezTo>
                    <a:pt x="9859" y="4894"/>
                    <a:pt x="10062" y="4989"/>
                    <a:pt x="10300" y="4989"/>
                  </a:cubicBezTo>
                  <a:cubicBezTo>
                    <a:pt x="10526" y="4989"/>
                    <a:pt x="10752" y="4894"/>
                    <a:pt x="10907" y="4727"/>
                  </a:cubicBezTo>
                  <a:lnTo>
                    <a:pt x="11050" y="4596"/>
                  </a:lnTo>
                  <a:close/>
                  <a:moveTo>
                    <a:pt x="2632" y="8108"/>
                  </a:moveTo>
                  <a:lnTo>
                    <a:pt x="2632" y="8573"/>
                  </a:lnTo>
                  <a:lnTo>
                    <a:pt x="846" y="8573"/>
                  </a:lnTo>
                  <a:lnTo>
                    <a:pt x="846" y="8108"/>
                  </a:lnTo>
                  <a:close/>
                  <a:moveTo>
                    <a:pt x="13157" y="8108"/>
                  </a:moveTo>
                  <a:lnTo>
                    <a:pt x="13157" y="8573"/>
                  </a:lnTo>
                  <a:lnTo>
                    <a:pt x="5668" y="8573"/>
                  </a:lnTo>
                  <a:lnTo>
                    <a:pt x="5668" y="8108"/>
                  </a:lnTo>
                  <a:close/>
                  <a:moveTo>
                    <a:pt x="5049" y="5906"/>
                  </a:moveTo>
                  <a:cubicBezTo>
                    <a:pt x="5180" y="5906"/>
                    <a:pt x="5287" y="6013"/>
                    <a:pt x="5287" y="6144"/>
                  </a:cubicBezTo>
                  <a:lnTo>
                    <a:pt x="5287" y="9001"/>
                  </a:lnTo>
                  <a:lnTo>
                    <a:pt x="3049" y="9001"/>
                  </a:lnTo>
                  <a:lnTo>
                    <a:pt x="3049" y="6144"/>
                  </a:lnTo>
                  <a:cubicBezTo>
                    <a:pt x="3049" y="6013"/>
                    <a:pt x="3156" y="5906"/>
                    <a:pt x="3287" y="5906"/>
                  </a:cubicBezTo>
                  <a:close/>
                  <a:moveTo>
                    <a:pt x="4168" y="0"/>
                  </a:moveTo>
                  <a:cubicBezTo>
                    <a:pt x="3239" y="0"/>
                    <a:pt x="2501" y="738"/>
                    <a:pt x="2430" y="1738"/>
                  </a:cubicBezTo>
                  <a:cubicBezTo>
                    <a:pt x="2394" y="2155"/>
                    <a:pt x="2263" y="2989"/>
                    <a:pt x="2084" y="3477"/>
                  </a:cubicBezTo>
                  <a:cubicBezTo>
                    <a:pt x="2037" y="3584"/>
                    <a:pt x="2049" y="3703"/>
                    <a:pt x="2096" y="3810"/>
                  </a:cubicBezTo>
                  <a:cubicBezTo>
                    <a:pt x="2144" y="3905"/>
                    <a:pt x="2239" y="3989"/>
                    <a:pt x="2334" y="4024"/>
                  </a:cubicBezTo>
                  <a:cubicBezTo>
                    <a:pt x="2513" y="4084"/>
                    <a:pt x="2811" y="4179"/>
                    <a:pt x="3156" y="4251"/>
                  </a:cubicBezTo>
                  <a:cubicBezTo>
                    <a:pt x="3144" y="4251"/>
                    <a:pt x="3144" y="4251"/>
                    <a:pt x="3120" y="4263"/>
                  </a:cubicBezTo>
                  <a:lnTo>
                    <a:pt x="2382" y="4477"/>
                  </a:lnTo>
                  <a:cubicBezTo>
                    <a:pt x="2013" y="4584"/>
                    <a:pt x="1751" y="4917"/>
                    <a:pt x="1751" y="5310"/>
                  </a:cubicBezTo>
                  <a:lnTo>
                    <a:pt x="1751" y="7227"/>
                  </a:lnTo>
                  <a:cubicBezTo>
                    <a:pt x="1751" y="7394"/>
                    <a:pt x="1799" y="7561"/>
                    <a:pt x="1894" y="7680"/>
                  </a:cubicBezTo>
                  <a:lnTo>
                    <a:pt x="203" y="7680"/>
                  </a:lnTo>
                  <a:cubicBezTo>
                    <a:pt x="84" y="7680"/>
                    <a:pt x="1" y="7763"/>
                    <a:pt x="1" y="7882"/>
                  </a:cubicBezTo>
                  <a:cubicBezTo>
                    <a:pt x="1" y="8001"/>
                    <a:pt x="84" y="8096"/>
                    <a:pt x="203" y="8096"/>
                  </a:cubicBezTo>
                  <a:lnTo>
                    <a:pt x="441" y="8096"/>
                  </a:lnTo>
                  <a:lnTo>
                    <a:pt x="441" y="10073"/>
                  </a:lnTo>
                  <a:cubicBezTo>
                    <a:pt x="441" y="10192"/>
                    <a:pt x="537" y="10275"/>
                    <a:pt x="656" y="10275"/>
                  </a:cubicBezTo>
                  <a:cubicBezTo>
                    <a:pt x="775" y="10275"/>
                    <a:pt x="858" y="10192"/>
                    <a:pt x="858" y="10073"/>
                  </a:cubicBezTo>
                  <a:lnTo>
                    <a:pt x="858" y="8954"/>
                  </a:lnTo>
                  <a:lnTo>
                    <a:pt x="2644" y="8954"/>
                  </a:lnTo>
                  <a:lnTo>
                    <a:pt x="2644" y="10073"/>
                  </a:lnTo>
                  <a:cubicBezTo>
                    <a:pt x="2644" y="10192"/>
                    <a:pt x="2739" y="10275"/>
                    <a:pt x="2858" y="10275"/>
                  </a:cubicBezTo>
                  <a:cubicBezTo>
                    <a:pt x="2977" y="10275"/>
                    <a:pt x="3073" y="10192"/>
                    <a:pt x="3073" y="10073"/>
                  </a:cubicBezTo>
                  <a:lnTo>
                    <a:pt x="3073" y="9406"/>
                  </a:lnTo>
                  <a:lnTo>
                    <a:pt x="5287" y="9406"/>
                  </a:lnTo>
                  <a:lnTo>
                    <a:pt x="5287" y="10073"/>
                  </a:lnTo>
                  <a:cubicBezTo>
                    <a:pt x="5287" y="10192"/>
                    <a:pt x="5371" y="10275"/>
                    <a:pt x="5490" y="10275"/>
                  </a:cubicBezTo>
                  <a:cubicBezTo>
                    <a:pt x="5609" y="10275"/>
                    <a:pt x="5704" y="10192"/>
                    <a:pt x="5704" y="10073"/>
                  </a:cubicBezTo>
                  <a:lnTo>
                    <a:pt x="5704" y="8954"/>
                  </a:lnTo>
                  <a:lnTo>
                    <a:pt x="13169" y="8954"/>
                  </a:lnTo>
                  <a:lnTo>
                    <a:pt x="13169" y="10073"/>
                  </a:lnTo>
                  <a:cubicBezTo>
                    <a:pt x="13169" y="10192"/>
                    <a:pt x="13264" y="10275"/>
                    <a:pt x="13383" y="10275"/>
                  </a:cubicBezTo>
                  <a:cubicBezTo>
                    <a:pt x="13503" y="10275"/>
                    <a:pt x="13586" y="10192"/>
                    <a:pt x="13586" y="10073"/>
                  </a:cubicBezTo>
                  <a:lnTo>
                    <a:pt x="13586" y="8096"/>
                  </a:lnTo>
                  <a:lnTo>
                    <a:pt x="13824" y="8096"/>
                  </a:lnTo>
                  <a:cubicBezTo>
                    <a:pt x="13943" y="8096"/>
                    <a:pt x="14038" y="8001"/>
                    <a:pt x="14038" y="7882"/>
                  </a:cubicBezTo>
                  <a:cubicBezTo>
                    <a:pt x="14003" y="7787"/>
                    <a:pt x="13919" y="7692"/>
                    <a:pt x="13800" y="7692"/>
                  </a:cubicBezTo>
                  <a:lnTo>
                    <a:pt x="12562" y="7692"/>
                  </a:lnTo>
                  <a:cubicBezTo>
                    <a:pt x="12633" y="7561"/>
                    <a:pt x="12693" y="7406"/>
                    <a:pt x="12693" y="7251"/>
                  </a:cubicBezTo>
                  <a:lnTo>
                    <a:pt x="12693" y="5322"/>
                  </a:lnTo>
                  <a:cubicBezTo>
                    <a:pt x="12693" y="4941"/>
                    <a:pt x="12443" y="4596"/>
                    <a:pt x="12074" y="4489"/>
                  </a:cubicBezTo>
                  <a:lnTo>
                    <a:pt x="11324" y="4286"/>
                  </a:lnTo>
                  <a:cubicBezTo>
                    <a:pt x="11228" y="4251"/>
                    <a:pt x="11169" y="4167"/>
                    <a:pt x="11169" y="4060"/>
                  </a:cubicBezTo>
                  <a:lnTo>
                    <a:pt x="11169" y="3893"/>
                  </a:lnTo>
                  <a:cubicBezTo>
                    <a:pt x="11240" y="3858"/>
                    <a:pt x="11300" y="3798"/>
                    <a:pt x="11359" y="3739"/>
                  </a:cubicBezTo>
                  <a:cubicBezTo>
                    <a:pt x="11657" y="3453"/>
                    <a:pt x="11824" y="3060"/>
                    <a:pt x="11824" y="2643"/>
                  </a:cubicBezTo>
                  <a:lnTo>
                    <a:pt x="11824" y="2262"/>
                  </a:lnTo>
                  <a:lnTo>
                    <a:pt x="11895" y="2096"/>
                  </a:lnTo>
                  <a:cubicBezTo>
                    <a:pt x="11979" y="1917"/>
                    <a:pt x="12026" y="1703"/>
                    <a:pt x="12026" y="1512"/>
                  </a:cubicBezTo>
                  <a:lnTo>
                    <a:pt x="12026" y="453"/>
                  </a:lnTo>
                  <a:cubicBezTo>
                    <a:pt x="12026" y="333"/>
                    <a:pt x="11943" y="250"/>
                    <a:pt x="11824" y="250"/>
                  </a:cubicBezTo>
                  <a:lnTo>
                    <a:pt x="9859" y="250"/>
                  </a:lnTo>
                  <a:cubicBezTo>
                    <a:pt x="9145" y="250"/>
                    <a:pt x="8561" y="834"/>
                    <a:pt x="8561" y="1548"/>
                  </a:cubicBezTo>
                  <a:lnTo>
                    <a:pt x="8561" y="1560"/>
                  </a:lnTo>
                  <a:cubicBezTo>
                    <a:pt x="8561" y="1727"/>
                    <a:pt x="8597" y="1881"/>
                    <a:pt x="8680" y="2036"/>
                  </a:cubicBezTo>
                  <a:lnTo>
                    <a:pt x="8788" y="2238"/>
                  </a:lnTo>
                  <a:lnTo>
                    <a:pt x="8788" y="2572"/>
                  </a:lnTo>
                  <a:cubicBezTo>
                    <a:pt x="8788" y="3108"/>
                    <a:pt x="9050" y="3584"/>
                    <a:pt x="9442" y="3870"/>
                  </a:cubicBezTo>
                  <a:lnTo>
                    <a:pt x="9442" y="4048"/>
                  </a:lnTo>
                  <a:cubicBezTo>
                    <a:pt x="9442" y="4143"/>
                    <a:pt x="9359" y="4239"/>
                    <a:pt x="9276" y="4263"/>
                  </a:cubicBezTo>
                  <a:lnTo>
                    <a:pt x="8526" y="4477"/>
                  </a:lnTo>
                  <a:cubicBezTo>
                    <a:pt x="8157" y="4584"/>
                    <a:pt x="7907" y="4917"/>
                    <a:pt x="7907" y="5310"/>
                  </a:cubicBezTo>
                  <a:lnTo>
                    <a:pt x="7907" y="5489"/>
                  </a:lnTo>
                  <a:lnTo>
                    <a:pt x="7895" y="5489"/>
                  </a:lnTo>
                  <a:cubicBezTo>
                    <a:pt x="7657" y="5489"/>
                    <a:pt x="7478" y="5679"/>
                    <a:pt x="7478" y="5906"/>
                  </a:cubicBezTo>
                  <a:lnTo>
                    <a:pt x="7478" y="7656"/>
                  </a:lnTo>
                  <a:lnTo>
                    <a:pt x="7478" y="7680"/>
                  </a:lnTo>
                  <a:lnTo>
                    <a:pt x="6442" y="7680"/>
                  </a:lnTo>
                  <a:cubicBezTo>
                    <a:pt x="6525" y="7537"/>
                    <a:pt x="6585" y="7394"/>
                    <a:pt x="6585" y="7227"/>
                  </a:cubicBezTo>
                  <a:lnTo>
                    <a:pt x="6585" y="5310"/>
                  </a:lnTo>
                  <a:cubicBezTo>
                    <a:pt x="6585" y="4917"/>
                    <a:pt x="6323" y="4584"/>
                    <a:pt x="5954" y="4477"/>
                  </a:cubicBezTo>
                  <a:lnTo>
                    <a:pt x="5216" y="4263"/>
                  </a:lnTo>
                  <a:cubicBezTo>
                    <a:pt x="5192" y="4263"/>
                    <a:pt x="5192" y="4263"/>
                    <a:pt x="5180" y="4251"/>
                  </a:cubicBezTo>
                  <a:cubicBezTo>
                    <a:pt x="5537" y="4179"/>
                    <a:pt x="5823" y="4084"/>
                    <a:pt x="6002" y="4024"/>
                  </a:cubicBezTo>
                  <a:cubicBezTo>
                    <a:pt x="6109" y="3989"/>
                    <a:pt x="6192" y="3905"/>
                    <a:pt x="6240" y="3810"/>
                  </a:cubicBezTo>
                  <a:cubicBezTo>
                    <a:pt x="6287" y="3703"/>
                    <a:pt x="6299" y="3596"/>
                    <a:pt x="6252" y="3477"/>
                  </a:cubicBezTo>
                  <a:cubicBezTo>
                    <a:pt x="6073" y="2977"/>
                    <a:pt x="5942" y="2143"/>
                    <a:pt x="5906" y="1738"/>
                  </a:cubicBezTo>
                  <a:cubicBezTo>
                    <a:pt x="5835" y="738"/>
                    <a:pt x="5097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0" name="Google Shape;11030;p60"/>
            <p:cNvSpPr/>
            <p:nvPr/>
          </p:nvSpPr>
          <p:spPr>
            <a:xfrm>
              <a:off x="6019323" y="2641653"/>
              <a:ext cx="13272" cy="13272"/>
            </a:xfrm>
            <a:custGeom>
              <a:avLst/>
              <a:gdLst/>
              <a:ahLst/>
              <a:cxnLst/>
              <a:rect l="l" t="t" r="r" b="b"/>
              <a:pathLst>
                <a:path w="417" h="417" extrusionOk="0">
                  <a:moveTo>
                    <a:pt x="202" y="0"/>
                  </a:moveTo>
                  <a:cubicBezTo>
                    <a:pt x="95" y="0"/>
                    <a:pt x="0" y="84"/>
                    <a:pt x="0" y="203"/>
                  </a:cubicBezTo>
                  <a:cubicBezTo>
                    <a:pt x="0" y="322"/>
                    <a:pt x="95" y="417"/>
                    <a:pt x="202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31" name="Google Shape;11031;p60"/>
          <p:cNvGrpSpPr/>
          <p:nvPr/>
        </p:nvGrpSpPr>
        <p:grpSpPr>
          <a:xfrm>
            <a:off x="4876780" y="2418064"/>
            <a:ext cx="407774" cy="356627"/>
            <a:chOff x="4876780" y="2418064"/>
            <a:chExt cx="407774" cy="356627"/>
          </a:xfrm>
        </p:grpSpPr>
        <p:sp>
          <p:nvSpPr>
            <p:cNvPr id="11032" name="Google Shape;11032;p60"/>
            <p:cNvSpPr/>
            <p:nvPr/>
          </p:nvSpPr>
          <p:spPr>
            <a:xfrm>
              <a:off x="4876780" y="2455589"/>
              <a:ext cx="407774" cy="319103"/>
            </a:xfrm>
            <a:custGeom>
              <a:avLst/>
              <a:gdLst/>
              <a:ahLst/>
              <a:cxnLst/>
              <a:rect l="l" t="t" r="r" b="b"/>
              <a:pathLst>
                <a:path w="12812" h="10026" extrusionOk="0">
                  <a:moveTo>
                    <a:pt x="3608" y="393"/>
                  </a:moveTo>
                  <a:cubicBezTo>
                    <a:pt x="3942" y="393"/>
                    <a:pt x="4216" y="619"/>
                    <a:pt x="4216" y="905"/>
                  </a:cubicBezTo>
                  <a:lnTo>
                    <a:pt x="4216" y="929"/>
                  </a:lnTo>
                  <a:cubicBezTo>
                    <a:pt x="4025" y="857"/>
                    <a:pt x="3811" y="810"/>
                    <a:pt x="3608" y="810"/>
                  </a:cubicBezTo>
                  <a:cubicBezTo>
                    <a:pt x="3382" y="810"/>
                    <a:pt x="3192" y="857"/>
                    <a:pt x="2989" y="929"/>
                  </a:cubicBezTo>
                  <a:lnTo>
                    <a:pt x="2989" y="905"/>
                  </a:lnTo>
                  <a:cubicBezTo>
                    <a:pt x="2989" y="619"/>
                    <a:pt x="3275" y="393"/>
                    <a:pt x="3608" y="393"/>
                  </a:cubicBezTo>
                  <a:close/>
                  <a:moveTo>
                    <a:pt x="3620" y="1179"/>
                  </a:moveTo>
                  <a:cubicBezTo>
                    <a:pt x="4287" y="1179"/>
                    <a:pt x="4835" y="1739"/>
                    <a:pt x="4835" y="2405"/>
                  </a:cubicBezTo>
                  <a:cubicBezTo>
                    <a:pt x="4835" y="2536"/>
                    <a:pt x="4823" y="2655"/>
                    <a:pt x="4775" y="2774"/>
                  </a:cubicBezTo>
                  <a:cubicBezTo>
                    <a:pt x="4239" y="2239"/>
                    <a:pt x="3299" y="2012"/>
                    <a:pt x="3263" y="2012"/>
                  </a:cubicBezTo>
                  <a:cubicBezTo>
                    <a:pt x="3248" y="2009"/>
                    <a:pt x="3233" y="2008"/>
                    <a:pt x="3219" y="2008"/>
                  </a:cubicBezTo>
                  <a:cubicBezTo>
                    <a:pt x="3174" y="2008"/>
                    <a:pt x="3132" y="2021"/>
                    <a:pt x="3096" y="2048"/>
                  </a:cubicBezTo>
                  <a:cubicBezTo>
                    <a:pt x="3049" y="2072"/>
                    <a:pt x="3025" y="2131"/>
                    <a:pt x="3037" y="2191"/>
                  </a:cubicBezTo>
                  <a:cubicBezTo>
                    <a:pt x="3037" y="2215"/>
                    <a:pt x="3025" y="2322"/>
                    <a:pt x="2882" y="2465"/>
                  </a:cubicBezTo>
                  <a:cubicBezTo>
                    <a:pt x="2811" y="2536"/>
                    <a:pt x="2811" y="2655"/>
                    <a:pt x="2882" y="2727"/>
                  </a:cubicBezTo>
                  <a:cubicBezTo>
                    <a:pt x="2924" y="2768"/>
                    <a:pt x="2974" y="2789"/>
                    <a:pt x="3023" y="2789"/>
                  </a:cubicBezTo>
                  <a:cubicBezTo>
                    <a:pt x="3073" y="2789"/>
                    <a:pt x="3120" y="2768"/>
                    <a:pt x="3156" y="2727"/>
                  </a:cubicBezTo>
                  <a:cubicBezTo>
                    <a:pt x="3263" y="2631"/>
                    <a:pt x="3323" y="2524"/>
                    <a:pt x="3358" y="2429"/>
                  </a:cubicBezTo>
                  <a:cubicBezTo>
                    <a:pt x="3680" y="2524"/>
                    <a:pt x="4335" y="2762"/>
                    <a:pt x="4632" y="3179"/>
                  </a:cubicBezTo>
                  <a:cubicBezTo>
                    <a:pt x="4537" y="3655"/>
                    <a:pt x="4120" y="4013"/>
                    <a:pt x="3632" y="4013"/>
                  </a:cubicBezTo>
                  <a:cubicBezTo>
                    <a:pt x="3624" y="4013"/>
                    <a:pt x="3616" y="4013"/>
                    <a:pt x="3608" y="4013"/>
                  </a:cubicBezTo>
                  <a:cubicBezTo>
                    <a:pt x="3083" y="4013"/>
                    <a:pt x="2655" y="3636"/>
                    <a:pt x="2608" y="3120"/>
                  </a:cubicBezTo>
                  <a:cubicBezTo>
                    <a:pt x="2608" y="3084"/>
                    <a:pt x="2596" y="3060"/>
                    <a:pt x="2572" y="3048"/>
                  </a:cubicBezTo>
                  <a:cubicBezTo>
                    <a:pt x="2453" y="2846"/>
                    <a:pt x="2394" y="2631"/>
                    <a:pt x="2394" y="2405"/>
                  </a:cubicBezTo>
                  <a:cubicBezTo>
                    <a:pt x="2394" y="1739"/>
                    <a:pt x="2953" y="1179"/>
                    <a:pt x="3620" y="1179"/>
                  </a:cubicBezTo>
                  <a:close/>
                  <a:moveTo>
                    <a:pt x="4013" y="4334"/>
                  </a:moveTo>
                  <a:lnTo>
                    <a:pt x="4013" y="4536"/>
                  </a:lnTo>
                  <a:cubicBezTo>
                    <a:pt x="4025" y="4596"/>
                    <a:pt x="4037" y="4667"/>
                    <a:pt x="4061" y="4715"/>
                  </a:cubicBezTo>
                  <a:lnTo>
                    <a:pt x="3882" y="4870"/>
                  </a:lnTo>
                  <a:cubicBezTo>
                    <a:pt x="3805" y="4947"/>
                    <a:pt x="3701" y="4986"/>
                    <a:pt x="3598" y="4986"/>
                  </a:cubicBezTo>
                  <a:cubicBezTo>
                    <a:pt x="3495" y="4986"/>
                    <a:pt x="3394" y="4947"/>
                    <a:pt x="3323" y="4870"/>
                  </a:cubicBezTo>
                  <a:lnTo>
                    <a:pt x="3144" y="4715"/>
                  </a:lnTo>
                  <a:cubicBezTo>
                    <a:pt x="3168" y="4656"/>
                    <a:pt x="3180" y="4596"/>
                    <a:pt x="3180" y="4536"/>
                  </a:cubicBezTo>
                  <a:lnTo>
                    <a:pt x="3180" y="4334"/>
                  </a:lnTo>
                  <a:cubicBezTo>
                    <a:pt x="3323" y="4382"/>
                    <a:pt x="3454" y="4394"/>
                    <a:pt x="3596" y="4394"/>
                  </a:cubicBezTo>
                  <a:cubicBezTo>
                    <a:pt x="3751" y="4394"/>
                    <a:pt x="3882" y="4382"/>
                    <a:pt x="4013" y="4334"/>
                  </a:cubicBezTo>
                  <a:close/>
                  <a:moveTo>
                    <a:pt x="6013" y="5977"/>
                  </a:moveTo>
                  <a:lnTo>
                    <a:pt x="6013" y="5989"/>
                  </a:lnTo>
                  <a:lnTo>
                    <a:pt x="6025" y="7596"/>
                  </a:lnTo>
                  <a:cubicBezTo>
                    <a:pt x="6025" y="7596"/>
                    <a:pt x="6025" y="7608"/>
                    <a:pt x="6013" y="7608"/>
                  </a:cubicBezTo>
                  <a:lnTo>
                    <a:pt x="3620" y="7608"/>
                  </a:lnTo>
                  <a:cubicBezTo>
                    <a:pt x="3620" y="7608"/>
                    <a:pt x="3608" y="7608"/>
                    <a:pt x="3608" y="7596"/>
                  </a:cubicBezTo>
                  <a:lnTo>
                    <a:pt x="3608" y="5989"/>
                  </a:lnTo>
                  <a:cubicBezTo>
                    <a:pt x="3608" y="5989"/>
                    <a:pt x="3608" y="5977"/>
                    <a:pt x="3620" y="5977"/>
                  </a:cubicBezTo>
                  <a:close/>
                  <a:moveTo>
                    <a:pt x="4358" y="4941"/>
                  </a:moveTo>
                  <a:lnTo>
                    <a:pt x="4989" y="5263"/>
                  </a:lnTo>
                  <a:cubicBezTo>
                    <a:pt x="5120" y="5334"/>
                    <a:pt x="5216" y="5465"/>
                    <a:pt x="5216" y="5620"/>
                  </a:cubicBezTo>
                  <a:lnTo>
                    <a:pt x="3608" y="5620"/>
                  </a:lnTo>
                  <a:cubicBezTo>
                    <a:pt x="3394" y="5620"/>
                    <a:pt x="3215" y="5799"/>
                    <a:pt x="3215" y="6001"/>
                  </a:cubicBezTo>
                  <a:lnTo>
                    <a:pt x="3215" y="6822"/>
                  </a:lnTo>
                  <a:lnTo>
                    <a:pt x="2787" y="6822"/>
                  </a:lnTo>
                  <a:lnTo>
                    <a:pt x="2787" y="6060"/>
                  </a:lnTo>
                  <a:cubicBezTo>
                    <a:pt x="2787" y="5965"/>
                    <a:pt x="2692" y="5870"/>
                    <a:pt x="2596" y="5870"/>
                  </a:cubicBezTo>
                  <a:cubicBezTo>
                    <a:pt x="2489" y="5870"/>
                    <a:pt x="2394" y="5965"/>
                    <a:pt x="2394" y="6060"/>
                  </a:cubicBezTo>
                  <a:lnTo>
                    <a:pt x="2394" y="7013"/>
                  </a:lnTo>
                  <a:cubicBezTo>
                    <a:pt x="2394" y="7120"/>
                    <a:pt x="2489" y="7203"/>
                    <a:pt x="2596" y="7203"/>
                  </a:cubicBezTo>
                  <a:lnTo>
                    <a:pt x="3203" y="7203"/>
                  </a:lnTo>
                  <a:lnTo>
                    <a:pt x="3203" y="7620"/>
                  </a:lnTo>
                  <a:lnTo>
                    <a:pt x="3203" y="7644"/>
                  </a:lnTo>
                  <a:lnTo>
                    <a:pt x="2382" y="7644"/>
                  </a:lnTo>
                  <a:cubicBezTo>
                    <a:pt x="2156" y="7644"/>
                    <a:pt x="1965" y="7465"/>
                    <a:pt x="1965" y="7227"/>
                  </a:cubicBezTo>
                  <a:lnTo>
                    <a:pt x="1965" y="5632"/>
                  </a:lnTo>
                  <a:lnTo>
                    <a:pt x="2001" y="5632"/>
                  </a:lnTo>
                  <a:cubicBezTo>
                    <a:pt x="2001" y="5465"/>
                    <a:pt x="2084" y="5334"/>
                    <a:pt x="2215" y="5263"/>
                  </a:cubicBezTo>
                  <a:lnTo>
                    <a:pt x="2846" y="4941"/>
                  </a:lnTo>
                  <a:lnTo>
                    <a:pt x="3073" y="5156"/>
                  </a:lnTo>
                  <a:cubicBezTo>
                    <a:pt x="3215" y="5298"/>
                    <a:pt x="3406" y="5382"/>
                    <a:pt x="3608" y="5382"/>
                  </a:cubicBezTo>
                  <a:cubicBezTo>
                    <a:pt x="3799" y="5382"/>
                    <a:pt x="3989" y="5298"/>
                    <a:pt x="4144" y="5156"/>
                  </a:cubicBezTo>
                  <a:lnTo>
                    <a:pt x="4358" y="4941"/>
                  </a:lnTo>
                  <a:close/>
                  <a:moveTo>
                    <a:pt x="12026" y="7989"/>
                  </a:moveTo>
                  <a:lnTo>
                    <a:pt x="12026" y="8418"/>
                  </a:lnTo>
                  <a:lnTo>
                    <a:pt x="787" y="8418"/>
                  </a:lnTo>
                  <a:lnTo>
                    <a:pt x="787" y="7989"/>
                  </a:lnTo>
                  <a:close/>
                  <a:moveTo>
                    <a:pt x="3608" y="0"/>
                  </a:moveTo>
                  <a:cubicBezTo>
                    <a:pt x="3049" y="0"/>
                    <a:pt x="2620" y="405"/>
                    <a:pt x="2620" y="893"/>
                  </a:cubicBezTo>
                  <a:cubicBezTo>
                    <a:pt x="2620" y="977"/>
                    <a:pt x="2632" y="1060"/>
                    <a:pt x="2656" y="1131"/>
                  </a:cubicBezTo>
                  <a:cubicBezTo>
                    <a:pt x="2263" y="1417"/>
                    <a:pt x="2013" y="1881"/>
                    <a:pt x="2013" y="2405"/>
                  </a:cubicBezTo>
                  <a:cubicBezTo>
                    <a:pt x="2013" y="2679"/>
                    <a:pt x="2084" y="2953"/>
                    <a:pt x="2215" y="3191"/>
                  </a:cubicBezTo>
                  <a:cubicBezTo>
                    <a:pt x="2275" y="3596"/>
                    <a:pt x="2501" y="3917"/>
                    <a:pt x="2799" y="4144"/>
                  </a:cubicBezTo>
                  <a:lnTo>
                    <a:pt x="2799" y="4525"/>
                  </a:lnTo>
                  <a:lnTo>
                    <a:pt x="2799" y="4548"/>
                  </a:lnTo>
                  <a:lnTo>
                    <a:pt x="2037" y="4917"/>
                  </a:lnTo>
                  <a:cubicBezTo>
                    <a:pt x="1775" y="5048"/>
                    <a:pt x="1608" y="5322"/>
                    <a:pt x="1608" y="5620"/>
                  </a:cubicBezTo>
                  <a:lnTo>
                    <a:pt x="1608" y="7215"/>
                  </a:lnTo>
                  <a:cubicBezTo>
                    <a:pt x="1608" y="7358"/>
                    <a:pt x="1656" y="7513"/>
                    <a:pt x="1727" y="7632"/>
                  </a:cubicBezTo>
                  <a:lnTo>
                    <a:pt x="191" y="7632"/>
                  </a:lnTo>
                  <a:cubicBezTo>
                    <a:pt x="96" y="7632"/>
                    <a:pt x="1" y="7715"/>
                    <a:pt x="1" y="7823"/>
                  </a:cubicBezTo>
                  <a:cubicBezTo>
                    <a:pt x="1" y="7930"/>
                    <a:pt x="96" y="8013"/>
                    <a:pt x="191" y="8013"/>
                  </a:cubicBezTo>
                  <a:lnTo>
                    <a:pt x="406" y="8013"/>
                  </a:lnTo>
                  <a:lnTo>
                    <a:pt x="406" y="9835"/>
                  </a:lnTo>
                  <a:cubicBezTo>
                    <a:pt x="406" y="9930"/>
                    <a:pt x="489" y="10025"/>
                    <a:pt x="596" y="10025"/>
                  </a:cubicBezTo>
                  <a:cubicBezTo>
                    <a:pt x="703" y="10025"/>
                    <a:pt x="787" y="9930"/>
                    <a:pt x="787" y="9835"/>
                  </a:cubicBezTo>
                  <a:lnTo>
                    <a:pt x="787" y="8823"/>
                  </a:lnTo>
                  <a:lnTo>
                    <a:pt x="12026" y="8823"/>
                  </a:lnTo>
                  <a:lnTo>
                    <a:pt x="12026" y="9835"/>
                  </a:lnTo>
                  <a:cubicBezTo>
                    <a:pt x="12026" y="9930"/>
                    <a:pt x="12121" y="10025"/>
                    <a:pt x="12217" y="10025"/>
                  </a:cubicBezTo>
                  <a:cubicBezTo>
                    <a:pt x="12324" y="10025"/>
                    <a:pt x="12419" y="9930"/>
                    <a:pt x="12419" y="9835"/>
                  </a:cubicBezTo>
                  <a:lnTo>
                    <a:pt x="12419" y="8013"/>
                  </a:lnTo>
                  <a:lnTo>
                    <a:pt x="12621" y="8013"/>
                  </a:lnTo>
                  <a:cubicBezTo>
                    <a:pt x="12728" y="8013"/>
                    <a:pt x="12812" y="7930"/>
                    <a:pt x="12812" y="7823"/>
                  </a:cubicBezTo>
                  <a:cubicBezTo>
                    <a:pt x="12800" y="7704"/>
                    <a:pt x="12717" y="7632"/>
                    <a:pt x="12609" y="7632"/>
                  </a:cubicBezTo>
                  <a:lnTo>
                    <a:pt x="6406" y="7632"/>
                  </a:lnTo>
                  <a:lnTo>
                    <a:pt x="6406" y="7608"/>
                  </a:lnTo>
                  <a:lnTo>
                    <a:pt x="6406" y="6001"/>
                  </a:lnTo>
                  <a:cubicBezTo>
                    <a:pt x="6406" y="5799"/>
                    <a:pt x="6228" y="5620"/>
                    <a:pt x="6013" y="5620"/>
                  </a:cubicBezTo>
                  <a:lnTo>
                    <a:pt x="5597" y="5620"/>
                  </a:lnTo>
                  <a:cubicBezTo>
                    <a:pt x="5597" y="5322"/>
                    <a:pt x="5430" y="5048"/>
                    <a:pt x="5168" y="4917"/>
                  </a:cubicBezTo>
                  <a:lnTo>
                    <a:pt x="4406" y="4548"/>
                  </a:lnTo>
                  <a:lnTo>
                    <a:pt x="4406" y="4525"/>
                  </a:lnTo>
                  <a:lnTo>
                    <a:pt x="4406" y="4144"/>
                  </a:lnTo>
                  <a:cubicBezTo>
                    <a:pt x="4716" y="3929"/>
                    <a:pt x="4942" y="3596"/>
                    <a:pt x="4989" y="3191"/>
                  </a:cubicBezTo>
                  <a:cubicBezTo>
                    <a:pt x="5120" y="2953"/>
                    <a:pt x="5192" y="2667"/>
                    <a:pt x="5192" y="2405"/>
                  </a:cubicBezTo>
                  <a:cubicBezTo>
                    <a:pt x="5192" y="1881"/>
                    <a:pt x="4942" y="1417"/>
                    <a:pt x="4561" y="1131"/>
                  </a:cubicBezTo>
                  <a:cubicBezTo>
                    <a:pt x="4585" y="1060"/>
                    <a:pt x="4585" y="988"/>
                    <a:pt x="4585" y="893"/>
                  </a:cubicBezTo>
                  <a:cubicBezTo>
                    <a:pt x="4585" y="405"/>
                    <a:pt x="4144" y="0"/>
                    <a:pt x="3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3" name="Google Shape;11033;p60"/>
            <p:cNvSpPr/>
            <p:nvPr/>
          </p:nvSpPr>
          <p:spPr>
            <a:xfrm>
              <a:off x="5017012" y="2666287"/>
              <a:ext cx="25016" cy="12158"/>
            </a:xfrm>
            <a:custGeom>
              <a:avLst/>
              <a:gdLst/>
              <a:ahLst/>
              <a:cxnLst/>
              <a:rect l="l" t="t" r="r" b="b"/>
              <a:pathLst>
                <a:path w="786" h="382" extrusionOk="0">
                  <a:moveTo>
                    <a:pt x="191" y="0"/>
                  </a:moveTo>
                  <a:cubicBezTo>
                    <a:pt x="83" y="0"/>
                    <a:pt x="0" y="83"/>
                    <a:pt x="0" y="191"/>
                  </a:cubicBezTo>
                  <a:cubicBezTo>
                    <a:pt x="0" y="298"/>
                    <a:pt x="83" y="381"/>
                    <a:pt x="191" y="381"/>
                  </a:cubicBezTo>
                  <a:lnTo>
                    <a:pt x="595" y="381"/>
                  </a:lnTo>
                  <a:cubicBezTo>
                    <a:pt x="702" y="381"/>
                    <a:pt x="786" y="298"/>
                    <a:pt x="786" y="191"/>
                  </a:cubicBezTo>
                  <a:cubicBezTo>
                    <a:pt x="786" y="83"/>
                    <a:pt x="702" y="0"/>
                    <a:pt x="5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4" name="Google Shape;11034;p60"/>
            <p:cNvSpPr/>
            <p:nvPr/>
          </p:nvSpPr>
          <p:spPr>
            <a:xfrm>
              <a:off x="5068159" y="2418064"/>
              <a:ext cx="203155" cy="198222"/>
            </a:xfrm>
            <a:custGeom>
              <a:avLst/>
              <a:gdLst/>
              <a:ahLst/>
              <a:cxnLst/>
              <a:rect l="l" t="t" r="r" b="b"/>
              <a:pathLst>
                <a:path w="6383" h="6228" extrusionOk="0">
                  <a:moveTo>
                    <a:pt x="5608" y="346"/>
                  </a:moveTo>
                  <a:cubicBezTo>
                    <a:pt x="5834" y="346"/>
                    <a:pt x="6025" y="524"/>
                    <a:pt x="6025" y="762"/>
                  </a:cubicBezTo>
                  <a:lnTo>
                    <a:pt x="6025" y="3989"/>
                  </a:lnTo>
                  <a:lnTo>
                    <a:pt x="6013" y="3989"/>
                  </a:lnTo>
                  <a:cubicBezTo>
                    <a:pt x="6013" y="4203"/>
                    <a:pt x="5834" y="4406"/>
                    <a:pt x="5596" y="4406"/>
                  </a:cubicBezTo>
                  <a:lnTo>
                    <a:pt x="3203" y="4406"/>
                  </a:lnTo>
                  <a:cubicBezTo>
                    <a:pt x="3156" y="4406"/>
                    <a:pt x="3132" y="4418"/>
                    <a:pt x="3096" y="4430"/>
                  </a:cubicBezTo>
                  <a:lnTo>
                    <a:pt x="1310" y="5727"/>
                  </a:lnTo>
                  <a:lnTo>
                    <a:pt x="1584" y="4620"/>
                  </a:lnTo>
                  <a:cubicBezTo>
                    <a:pt x="1596" y="4561"/>
                    <a:pt x="1584" y="4501"/>
                    <a:pt x="1548" y="4465"/>
                  </a:cubicBezTo>
                  <a:cubicBezTo>
                    <a:pt x="1512" y="4418"/>
                    <a:pt x="1465" y="4382"/>
                    <a:pt x="1405" y="4382"/>
                  </a:cubicBezTo>
                  <a:lnTo>
                    <a:pt x="810" y="4382"/>
                  </a:lnTo>
                  <a:cubicBezTo>
                    <a:pt x="584" y="4382"/>
                    <a:pt x="393" y="4203"/>
                    <a:pt x="393" y="3965"/>
                  </a:cubicBezTo>
                  <a:lnTo>
                    <a:pt x="393" y="762"/>
                  </a:lnTo>
                  <a:cubicBezTo>
                    <a:pt x="393" y="548"/>
                    <a:pt x="572" y="346"/>
                    <a:pt x="810" y="346"/>
                  </a:cubicBezTo>
                  <a:close/>
                  <a:moveTo>
                    <a:pt x="786" y="0"/>
                  </a:moveTo>
                  <a:cubicBezTo>
                    <a:pt x="358" y="0"/>
                    <a:pt x="0" y="358"/>
                    <a:pt x="0" y="786"/>
                  </a:cubicBezTo>
                  <a:lnTo>
                    <a:pt x="0" y="3989"/>
                  </a:lnTo>
                  <a:cubicBezTo>
                    <a:pt x="0" y="4418"/>
                    <a:pt x="358" y="4775"/>
                    <a:pt x="786" y="4775"/>
                  </a:cubicBezTo>
                  <a:lnTo>
                    <a:pt x="1143" y="4775"/>
                  </a:lnTo>
                  <a:lnTo>
                    <a:pt x="881" y="5870"/>
                  </a:lnTo>
                  <a:cubicBezTo>
                    <a:pt x="846" y="5989"/>
                    <a:pt x="893" y="6108"/>
                    <a:pt x="1000" y="6192"/>
                  </a:cubicBezTo>
                  <a:cubicBezTo>
                    <a:pt x="1048" y="6216"/>
                    <a:pt x="1108" y="6227"/>
                    <a:pt x="1167" y="6227"/>
                  </a:cubicBezTo>
                  <a:cubicBezTo>
                    <a:pt x="1227" y="6227"/>
                    <a:pt x="1286" y="6216"/>
                    <a:pt x="1322" y="6168"/>
                  </a:cubicBezTo>
                  <a:lnTo>
                    <a:pt x="3263" y="4775"/>
                  </a:lnTo>
                  <a:lnTo>
                    <a:pt x="5596" y="4775"/>
                  </a:lnTo>
                  <a:cubicBezTo>
                    <a:pt x="6025" y="4775"/>
                    <a:pt x="6382" y="4418"/>
                    <a:pt x="6382" y="3989"/>
                  </a:cubicBezTo>
                  <a:lnTo>
                    <a:pt x="6382" y="786"/>
                  </a:lnTo>
                  <a:cubicBezTo>
                    <a:pt x="6382" y="358"/>
                    <a:pt x="6025" y="0"/>
                    <a:pt x="5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5" name="Google Shape;11035;p60"/>
            <p:cNvSpPr/>
            <p:nvPr/>
          </p:nvSpPr>
          <p:spPr>
            <a:xfrm>
              <a:off x="5106415" y="2456353"/>
              <a:ext cx="31509" cy="12158"/>
            </a:xfrm>
            <a:custGeom>
              <a:avLst/>
              <a:gdLst/>
              <a:ahLst/>
              <a:cxnLst/>
              <a:rect l="l" t="t" r="r" b="b"/>
              <a:pathLst>
                <a:path w="990" h="382" extrusionOk="0">
                  <a:moveTo>
                    <a:pt x="203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203" y="381"/>
                  </a:cubicBezTo>
                  <a:lnTo>
                    <a:pt x="799" y="381"/>
                  </a:lnTo>
                  <a:cubicBezTo>
                    <a:pt x="894" y="381"/>
                    <a:pt x="989" y="298"/>
                    <a:pt x="989" y="191"/>
                  </a:cubicBezTo>
                  <a:cubicBezTo>
                    <a:pt x="989" y="83"/>
                    <a:pt x="894" y="0"/>
                    <a:pt x="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6" name="Google Shape;11036;p60"/>
            <p:cNvSpPr/>
            <p:nvPr/>
          </p:nvSpPr>
          <p:spPr>
            <a:xfrm>
              <a:off x="5151133" y="2456353"/>
              <a:ext cx="82274" cy="12158"/>
            </a:xfrm>
            <a:custGeom>
              <a:avLst/>
              <a:gdLst/>
              <a:ahLst/>
              <a:cxnLst/>
              <a:rect l="l" t="t" r="r" b="b"/>
              <a:pathLst>
                <a:path w="2585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2394" y="381"/>
                  </a:lnTo>
                  <a:cubicBezTo>
                    <a:pt x="2501" y="381"/>
                    <a:pt x="2584" y="298"/>
                    <a:pt x="2584" y="191"/>
                  </a:cubicBezTo>
                  <a:cubicBezTo>
                    <a:pt x="2584" y="83"/>
                    <a:pt x="2501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7" name="Google Shape;11037;p60"/>
            <p:cNvSpPr/>
            <p:nvPr/>
          </p:nvSpPr>
          <p:spPr>
            <a:xfrm>
              <a:off x="5106415" y="2488180"/>
              <a:ext cx="126992" cy="12158"/>
            </a:xfrm>
            <a:custGeom>
              <a:avLst/>
              <a:gdLst/>
              <a:ahLst/>
              <a:cxnLst/>
              <a:rect l="l" t="t" r="r" b="b"/>
              <a:pathLst>
                <a:path w="3990" h="382" extrusionOk="0">
                  <a:moveTo>
                    <a:pt x="203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203" y="381"/>
                  </a:cubicBezTo>
                  <a:lnTo>
                    <a:pt x="3799" y="381"/>
                  </a:lnTo>
                  <a:cubicBezTo>
                    <a:pt x="3906" y="381"/>
                    <a:pt x="3989" y="298"/>
                    <a:pt x="3989" y="191"/>
                  </a:cubicBezTo>
                  <a:cubicBezTo>
                    <a:pt x="3978" y="83"/>
                    <a:pt x="3906" y="0"/>
                    <a:pt x="3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8" name="Google Shape;11038;p60"/>
            <p:cNvSpPr/>
            <p:nvPr/>
          </p:nvSpPr>
          <p:spPr>
            <a:xfrm>
              <a:off x="5106415" y="2519626"/>
              <a:ext cx="82656" cy="12540"/>
            </a:xfrm>
            <a:custGeom>
              <a:avLst/>
              <a:gdLst/>
              <a:ahLst/>
              <a:cxnLst/>
              <a:rect l="l" t="t" r="r" b="b"/>
              <a:pathLst>
                <a:path w="2597" h="394" extrusionOk="0">
                  <a:moveTo>
                    <a:pt x="203" y="0"/>
                  </a:moveTo>
                  <a:cubicBezTo>
                    <a:pt x="96" y="0"/>
                    <a:pt x="1" y="96"/>
                    <a:pt x="1" y="203"/>
                  </a:cubicBezTo>
                  <a:cubicBezTo>
                    <a:pt x="1" y="298"/>
                    <a:pt x="96" y="393"/>
                    <a:pt x="203" y="393"/>
                  </a:cubicBezTo>
                  <a:lnTo>
                    <a:pt x="2394" y="393"/>
                  </a:lnTo>
                  <a:cubicBezTo>
                    <a:pt x="2501" y="393"/>
                    <a:pt x="2596" y="298"/>
                    <a:pt x="2596" y="203"/>
                  </a:cubicBezTo>
                  <a:cubicBezTo>
                    <a:pt x="2585" y="96"/>
                    <a:pt x="2501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9" name="Google Shape;11039;p60"/>
            <p:cNvSpPr/>
            <p:nvPr/>
          </p:nvSpPr>
          <p:spPr>
            <a:xfrm>
              <a:off x="5202312" y="2519626"/>
              <a:ext cx="31095" cy="12540"/>
            </a:xfrm>
            <a:custGeom>
              <a:avLst/>
              <a:gdLst/>
              <a:ahLst/>
              <a:cxnLst/>
              <a:rect l="l" t="t" r="r" b="b"/>
              <a:pathLst>
                <a:path w="977" h="394" extrusionOk="0">
                  <a:moveTo>
                    <a:pt x="191" y="0"/>
                  </a:moveTo>
                  <a:cubicBezTo>
                    <a:pt x="84" y="0"/>
                    <a:pt x="0" y="96"/>
                    <a:pt x="0" y="203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786" y="393"/>
                  </a:lnTo>
                  <a:cubicBezTo>
                    <a:pt x="893" y="393"/>
                    <a:pt x="976" y="298"/>
                    <a:pt x="976" y="203"/>
                  </a:cubicBezTo>
                  <a:cubicBezTo>
                    <a:pt x="965" y="96"/>
                    <a:pt x="893" y="0"/>
                    <a:pt x="7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40" name="Google Shape;11040;p60"/>
          <p:cNvGrpSpPr/>
          <p:nvPr/>
        </p:nvGrpSpPr>
        <p:grpSpPr>
          <a:xfrm>
            <a:off x="7070872" y="2410871"/>
            <a:ext cx="398321" cy="371013"/>
            <a:chOff x="7070872" y="2410871"/>
            <a:chExt cx="398321" cy="371013"/>
          </a:xfrm>
        </p:grpSpPr>
        <p:sp>
          <p:nvSpPr>
            <p:cNvPr id="11041" name="Google Shape;11041;p60"/>
            <p:cNvSpPr/>
            <p:nvPr/>
          </p:nvSpPr>
          <p:spPr>
            <a:xfrm>
              <a:off x="7204643" y="2603364"/>
              <a:ext cx="123586" cy="107641"/>
            </a:xfrm>
            <a:custGeom>
              <a:avLst/>
              <a:gdLst/>
              <a:ahLst/>
              <a:cxnLst/>
              <a:rect l="l" t="t" r="r" b="b"/>
              <a:pathLst>
                <a:path w="3883" h="3382" extrusionOk="0">
                  <a:moveTo>
                    <a:pt x="1942" y="1"/>
                  </a:moveTo>
                  <a:cubicBezTo>
                    <a:pt x="1846" y="1"/>
                    <a:pt x="1751" y="96"/>
                    <a:pt x="1751" y="203"/>
                  </a:cubicBezTo>
                  <a:lnTo>
                    <a:pt x="1751" y="2072"/>
                  </a:lnTo>
                  <a:lnTo>
                    <a:pt x="132" y="3013"/>
                  </a:lnTo>
                  <a:cubicBezTo>
                    <a:pt x="37" y="3072"/>
                    <a:pt x="1" y="3192"/>
                    <a:pt x="60" y="3287"/>
                  </a:cubicBezTo>
                  <a:cubicBezTo>
                    <a:pt x="84" y="3346"/>
                    <a:pt x="156" y="3382"/>
                    <a:pt x="215" y="3382"/>
                  </a:cubicBezTo>
                  <a:cubicBezTo>
                    <a:pt x="251" y="3382"/>
                    <a:pt x="298" y="3370"/>
                    <a:pt x="322" y="3358"/>
                  </a:cubicBezTo>
                  <a:lnTo>
                    <a:pt x="1942" y="2418"/>
                  </a:lnTo>
                  <a:lnTo>
                    <a:pt x="3573" y="3358"/>
                  </a:lnTo>
                  <a:cubicBezTo>
                    <a:pt x="3596" y="3370"/>
                    <a:pt x="3632" y="3382"/>
                    <a:pt x="3668" y="3382"/>
                  </a:cubicBezTo>
                  <a:cubicBezTo>
                    <a:pt x="3751" y="3382"/>
                    <a:pt x="3811" y="3358"/>
                    <a:pt x="3835" y="3287"/>
                  </a:cubicBezTo>
                  <a:cubicBezTo>
                    <a:pt x="3882" y="3192"/>
                    <a:pt x="3847" y="3072"/>
                    <a:pt x="3763" y="3013"/>
                  </a:cubicBezTo>
                  <a:lnTo>
                    <a:pt x="2144" y="2072"/>
                  </a:lnTo>
                  <a:lnTo>
                    <a:pt x="2144" y="203"/>
                  </a:lnTo>
                  <a:cubicBezTo>
                    <a:pt x="2144" y="96"/>
                    <a:pt x="2049" y="1"/>
                    <a:pt x="19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2" name="Google Shape;11042;p60"/>
            <p:cNvSpPr/>
            <p:nvPr/>
          </p:nvSpPr>
          <p:spPr>
            <a:xfrm>
              <a:off x="7203147" y="2410871"/>
              <a:ext cx="133421" cy="178902"/>
            </a:xfrm>
            <a:custGeom>
              <a:avLst/>
              <a:gdLst/>
              <a:ahLst/>
              <a:cxnLst/>
              <a:rect l="l" t="t" r="r" b="b"/>
              <a:pathLst>
                <a:path w="4192" h="5621" extrusionOk="0">
                  <a:moveTo>
                    <a:pt x="2131" y="405"/>
                  </a:moveTo>
                  <a:cubicBezTo>
                    <a:pt x="2631" y="405"/>
                    <a:pt x="3048" y="822"/>
                    <a:pt x="3048" y="1322"/>
                  </a:cubicBezTo>
                  <a:lnTo>
                    <a:pt x="3048" y="1441"/>
                  </a:lnTo>
                  <a:lnTo>
                    <a:pt x="3036" y="1441"/>
                  </a:lnTo>
                  <a:cubicBezTo>
                    <a:pt x="2762" y="1381"/>
                    <a:pt x="2679" y="1012"/>
                    <a:pt x="2679" y="1012"/>
                  </a:cubicBezTo>
                  <a:cubicBezTo>
                    <a:pt x="2667" y="941"/>
                    <a:pt x="2608" y="881"/>
                    <a:pt x="2524" y="858"/>
                  </a:cubicBezTo>
                  <a:cubicBezTo>
                    <a:pt x="2515" y="856"/>
                    <a:pt x="2506" y="855"/>
                    <a:pt x="2497" y="855"/>
                  </a:cubicBezTo>
                  <a:cubicBezTo>
                    <a:pt x="2435" y="855"/>
                    <a:pt x="2375" y="889"/>
                    <a:pt x="2334" y="941"/>
                  </a:cubicBezTo>
                  <a:cubicBezTo>
                    <a:pt x="1977" y="1417"/>
                    <a:pt x="1191" y="1429"/>
                    <a:pt x="1179" y="1429"/>
                  </a:cubicBezTo>
                  <a:cubicBezTo>
                    <a:pt x="1143" y="1429"/>
                    <a:pt x="1131" y="1429"/>
                    <a:pt x="1119" y="1441"/>
                  </a:cubicBezTo>
                  <a:lnTo>
                    <a:pt x="1119" y="1322"/>
                  </a:lnTo>
                  <a:cubicBezTo>
                    <a:pt x="1119" y="822"/>
                    <a:pt x="1536" y="405"/>
                    <a:pt x="2036" y="405"/>
                  </a:cubicBezTo>
                  <a:close/>
                  <a:moveTo>
                    <a:pt x="976" y="1965"/>
                  </a:moveTo>
                  <a:lnTo>
                    <a:pt x="976" y="2215"/>
                  </a:lnTo>
                  <a:cubicBezTo>
                    <a:pt x="941" y="2191"/>
                    <a:pt x="905" y="2143"/>
                    <a:pt x="905" y="2084"/>
                  </a:cubicBezTo>
                  <a:cubicBezTo>
                    <a:pt x="905" y="2036"/>
                    <a:pt x="917" y="2012"/>
                    <a:pt x="953" y="1977"/>
                  </a:cubicBezTo>
                  <a:cubicBezTo>
                    <a:pt x="965" y="1977"/>
                    <a:pt x="965" y="1977"/>
                    <a:pt x="976" y="1965"/>
                  </a:cubicBezTo>
                  <a:close/>
                  <a:moveTo>
                    <a:pt x="3215" y="1977"/>
                  </a:moveTo>
                  <a:cubicBezTo>
                    <a:pt x="3239" y="2012"/>
                    <a:pt x="3251" y="2048"/>
                    <a:pt x="3251" y="2084"/>
                  </a:cubicBezTo>
                  <a:cubicBezTo>
                    <a:pt x="3251" y="2143"/>
                    <a:pt x="3227" y="2179"/>
                    <a:pt x="3191" y="2215"/>
                  </a:cubicBezTo>
                  <a:lnTo>
                    <a:pt x="3191" y="1977"/>
                  </a:lnTo>
                  <a:close/>
                  <a:moveTo>
                    <a:pt x="2441" y="1393"/>
                  </a:moveTo>
                  <a:cubicBezTo>
                    <a:pt x="2512" y="1536"/>
                    <a:pt x="2631" y="1679"/>
                    <a:pt x="2810" y="1750"/>
                  </a:cubicBezTo>
                  <a:lnTo>
                    <a:pt x="2810" y="2322"/>
                  </a:lnTo>
                  <a:cubicBezTo>
                    <a:pt x="2810" y="2679"/>
                    <a:pt x="2524" y="2941"/>
                    <a:pt x="2191" y="2941"/>
                  </a:cubicBezTo>
                  <a:lnTo>
                    <a:pt x="2012" y="2941"/>
                  </a:lnTo>
                  <a:cubicBezTo>
                    <a:pt x="1667" y="2941"/>
                    <a:pt x="1381" y="2667"/>
                    <a:pt x="1381" y="2322"/>
                  </a:cubicBezTo>
                  <a:lnTo>
                    <a:pt x="1381" y="1798"/>
                  </a:lnTo>
                  <a:cubicBezTo>
                    <a:pt x="1631" y="1774"/>
                    <a:pt x="2096" y="1679"/>
                    <a:pt x="2441" y="1393"/>
                  </a:cubicBezTo>
                  <a:close/>
                  <a:moveTo>
                    <a:pt x="2286" y="3346"/>
                  </a:moveTo>
                  <a:lnTo>
                    <a:pt x="2286" y="3453"/>
                  </a:lnTo>
                  <a:lnTo>
                    <a:pt x="2310" y="3453"/>
                  </a:lnTo>
                  <a:lnTo>
                    <a:pt x="2084" y="3679"/>
                  </a:lnTo>
                  <a:lnTo>
                    <a:pt x="1869" y="3477"/>
                  </a:lnTo>
                  <a:lnTo>
                    <a:pt x="1869" y="3346"/>
                  </a:lnTo>
                  <a:close/>
                  <a:moveTo>
                    <a:pt x="2048" y="0"/>
                  </a:moveTo>
                  <a:cubicBezTo>
                    <a:pt x="1322" y="0"/>
                    <a:pt x="726" y="596"/>
                    <a:pt x="726" y="1322"/>
                  </a:cubicBezTo>
                  <a:lnTo>
                    <a:pt x="726" y="1667"/>
                  </a:lnTo>
                  <a:cubicBezTo>
                    <a:pt x="607" y="1774"/>
                    <a:pt x="512" y="1917"/>
                    <a:pt x="512" y="2096"/>
                  </a:cubicBezTo>
                  <a:cubicBezTo>
                    <a:pt x="512" y="2393"/>
                    <a:pt x="738" y="2632"/>
                    <a:pt x="1036" y="2643"/>
                  </a:cubicBezTo>
                  <a:cubicBezTo>
                    <a:pt x="1107" y="2882"/>
                    <a:pt x="1274" y="3096"/>
                    <a:pt x="1500" y="3215"/>
                  </a:cubicBezTo>
                  <a:lnTo>
                    <a:pt x="1500" y="3322"/>
                  </a:lnTo>
                  <a:lnTo>
                    <a:pt x="691" y="3632"/>
                  </a:lnTo>
                  <a:cubicBezTo>
                    <a:pt x="619" y="3655"/>
                    <a:pt x="0" y="3917"/>
                    <a:pt x="0" y="4715"/>
                  </a:cubicBezTo>
                  <a:lnTo>
                    <a:pt x="0" y="5418"/>
                  </a:lnTo>
                  <a:cubicBezTo>
                    <a:pt x="0" y="5525"/>
                    <a:pt x="84" y="5608"/>
                    <a:pt x="191" y="5608"/>
                  </a:cubicBezTo>
                  <a:lnTo>
                    <a:pt x="691" y="5608"/>
                  </a:lnTo>
                  <a:cubicBezTo>
                    <a:pt x="798" y="5608"/>
                    <a:pt x="893" y="5525"/>
                    <a:pt x="893" y="5418"/>
                  </a:cubicBezTo>
                  <a:cubicBezTo>
                    <a:pt x="893" y="5310"/>
                    <a:pt x="798" y="5227"/>
                    <a:pt x="691" y="5227"/>
                  </a:cubicBezTo>
                  <a:lnTo>
                    <a:pt x="393" y="5227"/>
                  </a:lnTo>
                  <a:lnTo>
                    <a:pt x="393" y="4715"/>
                  </a:lnTo>
                  <a:cubicBezTo>
                    <a:pt x="393" y="4167"/>
                    <a:pt x="834" y="4013"/>
                    <a:pt x="846" y="4001"/>
                  </a:cubicBezTo>
                  <a:lnTo>
                    <a:pt x="857" y="4001"/>
                  </a:lnTo>
                  <a:lnTo>
                    <a:pt x="1608" y="3715"/>
                  </a:lnTo>
                  <a:lnTo>
                    <a:pt x="1989" y="4108"/>
                  </a:lnTo>
                  <a:cubicBezTo>
                    <a:pt x="2024" y="4132"/>
                    <a:pt x="2084" y="4167"/>
                    <a:pt x="2119" y="4167"/>
                  </a:cubicBezTo>
                  <a:cubicBezTo>
                    <a:pt x="2179" y="4167"/>
                    <a:pt x="2227" y="4132"/>
                    <a:pt x="2262" y="4108"/>
                  </a:cubicBezTo>
                  <a:lnTo>
                    <a:pt x="2631" y="3715"/>
                  </a:lnTo>
                  <a:lnTo>
                    <a:pt x="3370" y="4013"/>
                  </a:lnTo>
                  <a:lnTo>
                    <a:pt x="3393" y="4013"/>
                  </a:lnTo>
                  <a:cubicBezTo>
                    <a:pt x="3405" y="4013"/>
                    <a:pt x="3834" y="4179"/>
                    <a:pt x="3834" y="4727"/>
                  </a:cubicBezTo>
                  <a:lnTo>
                    <a:pt x="3834" y="5239"/>
                  </a:lnTo>
                  <a:lnTo>
                    <a:pt x="1334" y="5239"/>
                  </a:lnTo>
                  <a:cubicBezTo>
                    <a:pt x="1227" y="5239"/>
                    <a:pt x="1143" y="5322"/>
                    <a:pt x="1143" y="5430"/>
                  </a:cubicBezTo>
                  <a:cubicBezTo>
                    <a:pt x="1143" y="5537"/>
                    <a:pt x="1227" y="5620"/>
                    <a:pt x="1334" y="5620"/>
                  </a:cubicBezTo>
                  <a:lnTo>
                    <a:pt x="4048" y="5620"/>
                  </a:lnTo>
                  <a:cubicBezTo>
                    <a:pt x="4108" y="5608"/>
                    <a:pt x="4191" y="5525"/>
                    <a:pt x="4191" y="5418"/>
                  </a:cubicBezTo>
                  <a:lnTo>
                    <a:pt x="4191" y="4715"/>
                  </a:lnTo>
                  <a:cubicBezTo>
                    <a:pt x="4191" y="3917"/>
                    <a:pt x="3572" y="3655"/>
                    <a:pt x="3501" y="3632"/>
                  </a:cubicBezTo>
                  <a:lnTo>
                    <a:pt x="2703" y="3322"/>
                  </a:lnTo>
                  <a:lnTo>
                    <a:pt x="2703" y="3215"/>
                  </a:lnTo>
                  <a:cubicBezTo>
                    <a:pt x="2917" y="3096"/>
                    <a:pt x="3084" y="2882"/>
                    <a:pt x="3167" y="2643"/>
                  </a:cubicBezTo>
                  <a:cubicBezTo>
                    <a:pt x="3453" y="2620"/>
                    <a:pt x="3679" y="2382"/>
                    <a:pt x="3679" y="2096"/>
                  </a:cubicBezTo>
                  <a:cubicBezTo>
                    <a:pt x="3679" y="1917"/>
                    <a:pt x="3596" y="1774"/>
                    <a:pt x="3465" y="1667"/>
                  </a:cubicBezTo>
                  <a:lnTo>
                    <a:pt x="3465" y="1322"/>
                  </a:lnTo>
                  <a:cubicBezTo>
                    <a:pt x="3465" y="596"/>
                    <a:pt x="2870" y="0"/>
                    <a:pt x="2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3" name="Google Shape;11043;p60"/>
            <p:cNvSpPr/>
            <p:nvPr/>
          </p:nvSpPr>
          <p:spPr>
            <a:xfrm>
              <a:off x="7334245" y="2602600"/>
              <a:ext cx="134949" cy="179284"/>
            </a:xfrm>
            <a:custGeom>
              <a:avLst/>
              <a:gdLst/>
              <a:ahLst/>
              <a:cxnLst/>
              <a:rect l="l" t="t" r="r" b="b"/>
              <a:pathLst>
                <a:path w="4240" h="5633" extrusionOk="0">
                  <a:moveTo>
                    <a:pt x="2144" y="394"/>
                  </a:moveTo>
                  <a:cubicBezTo>
                    <a:pt x="2656" y="394"/>
                    <a:pt x="3073" y="810"/>
                    <a:pt x="3073" y="1311"/>
                  </a:cubicBezTo>
                  <a:lnTo>
                    <a:pt x="3073" y="1430"/>
                  </a:lnTo>
                  <a:lnTo>
                    <a:pt x="3049" y="1430"/>
                  </a:lnTo>
                  <a:cubicBezTo>
                    <a:pt x="2787" y="1370"/>
                    <a:pt x="2692" y="1001"/>
                    <a:pt x="2692" y="1001"/>
                  </a:cubicBezTo>
                  <a:cubicBezTo>
                    <a:pt x="2680" y="930"/>
                    <a:pt x="2620" y="870"/>
                    <a:pt x="2549" y="846"/>
                  </a:cubicBezTo>
                  <a:cubicBezTo>
                    <a:pt x="2539" y="845"/>
                    <a:pt x="2530" y="844"/>
                    <a:pt x="2521" y="844"/>
                  </a:cubicBezTo>
                  <a:cubicBezTo>
                    <a:pt x="2456" y="844"/>
                    <a:pt x="2389" y="878"/>
                    <a:pt x="2358" y="930"/>
                  </a:cubicBezTo>
                  <a:cubicBezTo>
                    <a:pt x="2001" y="1418"/>
                    <a:pt x="1203" y="1430"/>
                    <a:pt x="1191" y="1430"/>
                  </a:cubicBezTo>
                  <a:lnTo>
                    <a:pt x="1132" y="1430"/>
                  </a:lnTo>
                  <a:lnTo>
                    <a:pt x="1132" y="1311"/>
                  </a:lnTo>
                  <a:cubicBezTo>
                    <a:pt x="1132" y="810"/>
                    <a:pt x="1549" y="394"/>
                    <a:pt x="2061" y="394"/>
                  </a:cubicBezTo>
                  <a:close/>
                  <a:moveTo>
                    <a:pt x="3227" y="1965"/>
                  </a:moveTo>
                  <a:cubicBezTo>
                    <a:pt x="3263" y="2001"/>
                    <a:pt x="3275" y="2037"/>
                    <a:pt x="3275" y="2073"/>
                  </a:cubicBezTo>
                  <a:cubicBezTo>
                    <a:pt x="3275" y="2132"/>
                    <a:pt x="3251" y="2180"/>
                    <a:pt x="3215" y="2203"/>
                  </a:cubicBezTo>
                  <a:lnTo>
                    <a:pt x="3215" y="1965"/>
                  </a:lnTo>
                  <a:close/>
                  <a:moveTo>
                    <a:pt x="1001" y="1965"/>
                  </a:moveTo>
                  <a:lnTo>
                    <a:pt x="1001" y="2215"/>
                  </a:lnTo>
                  <a:cubicBezTo>
                    <a:pt x="953" y="2192"/>
                    <a:pt x="929" y="2144"/>
                    <a:pt x="929" y="2084"/>
                  </a:cubicBezTo>
                  <a:cubicBezTo>
                    <a:pt x="929" y="2037"/>
                    <a:pt x="941" y="2013"/>
                    <a:pt x="965" y="1977"/>
                  </a:cubicBezTo>
                  <a:cubicBezTo>
                    <a:pt x="989" y="1977"/>
                    <a:pt x="989" y="1977"/>
                    <a:pt x="1001" y="1965"/>
                  </a:cubicBezTo>
                  <a:close/>
                  <a:moveTo>
                    <a:pt x="2442" y="1406"/>
                  </a:moveTo>
                  <a:cubicBezTo>
                    <a:pt x="2513" y="1537"/>
                    <a:pt x="2632" y="1680"/>
                    <a:pt x="2811" y="1763"/>
                  </a:cubicBezTo>
                  <a:lnTo>
                    <a:pt x="2811" y="2323"/>
                  </a:lnTo>
                  <a:cubicBezTo>
                    <a:pt x="2834" y="2668"/>
                    <a:pt x="2549" y="2954"/>
                    <a:pt x="2191" y="2954"/>
                  </a:cubicBezTo>
                  <a:lnTo>
                    <a:pt x="2013" y="2954"/>
                  </a:lnTo>
                  <a:cubicBezTo>
                    <a:pt x="1668" y="2954"/>
                    <a:pt x="1382" y="2668"/>
                    <a:pt x="1382" y="2323"/>
                  </a:cubicBezTo>
                  <a:lnTo>
                    <a:pt x="1382" y="1799"/>
                  </a:lnTo>
                  <a:cubicBezTo>
                    <a:pt x="1644" y="1775"/>
                    <a:pt x="2084" y="1680"/>
                    <a:pt x="2442" y="1406"/>
                  </a:cubicBezTo>
                  <a:close/>
                  <a:moveTo>
                    <a:pt x="2311" y="3335"/>
                  </a:moveTo>
                  <a:lnTo>
                    <a:pt x="2322" y="3442"/>
                  </a:lnTo>
                  <a:lnTo>
                    <a:pt x="2096" y="3668"/>
                  </a:lnTo>
                  <a:lnTo>
                    <a:pt x="1894" y="3466"/>
                  </a:lnTo>
                  <a:lnTo>
                    <a:pt x="1894" y="3335"/>
                  </a:lnTo>
                  <a:close/>
                  <a:moveTo>
                    <a:pt x="2061" y="1"/>
                  </a:moveTo>
                  <a:cubicBezTo>
                    <a:pt x="1322" y="1"/>
                    <a:pt x="727" y="596"/>
                    <a:pt x="727" y="1322"/>
                  </a:cubicBezTo>
                  <a:lnTo>
                    <a:pt x="727" y="1668"/>
                  </a:lnTo>
                  <a:cubicBezTo>
                    <a:pt x="608" y="1775"/>
                    <a:pt x="525" y="1918"/>
                    <a:pt x="525" y="2096"/>
                  </a:cubicBezTo>
                  <a:cubicBezTo>
                    <a:pt x="525" y="2394"/>
                    <a:pt x="739" y="2632"/>
                    <a:pt x="1037" y="2656"/>
                  </a:cubicBezTo>
                  <a:cubicBezTo>
                    <a:pt x="1120" y="2894"/>
                    <a:pt x="1275" y="3096"/>
                    <a:pt x="1501" y="3216"/>
                  </a:cubicBezTo>
                  <a:lnTo>
                    <a:pt x="1501" y="3323"/>
                  </a:lnTo>
                  <a:lnTo>
                    <a:pt x="703" y="3632"/>
                  </a:lnTo>
                  <a:cubicBezTo>
                    <a:pt x="620" y="3668"/>
                    <a:pt x="1" y="3918"/>
                    <a:pt x="1" y="4716"/>
                  </a:cubicBezTo>
                  <a:lnTo>
                    <a:pt x="1" y="5418"/>
                  </a:lnTo>
                  <a:cubicBezTo>
                    <a:pt x="1" y="5525"/>
                    <a:pt x="84" y="5609"/>
                    <a:pt x="191" y="5609"/>
                  </a:cubicBezTo>
                  <a:lnTo>
                    <a:pt x="703" y="5609"/>
                  </a:lnTo>
                  <a:cubicBezTo>
                    <a:pt x="798" y="5609"/>
                    <a:pt x="894" y="5525"/>
                    <a:pt x="894" y="5418"/>
                  </a:cubicBezTo>
                  <a:cubicBezTo>
                    <a:pt x="894" y="5311"/>
                    <a:pt x="798" y="5228"/>
                    <a:pt x="703" y="5228"/>
                  </a:cubicBezTo>
                  <a:lnTo>
                    <a:pt x="406" y="5228"/>
                  </a:lnTo>
                  <a:lnTo>
                    <a:pt x="406" y="4716"/>
                  </a:lnTo>
                  <a:cubicBezTo>
                    <a:pt x="406" y="4168"/>
                    <a:pt x="834" y="4025"/>
                    <a:pt x="846" y="4001"/>
                  </a:cubicBezTo>
                  <a:lnTo>
                    <a:pt x="858" y="4001"/>
                  </a:lnTo>
                  <a:lnTo>
                    <a:pt x="1608" y="3727"/>
                  </a:lnTo>
                  <a:lnTo>
                    <a:pt x="1989" y="4108"/>
                  </a:lnTo>
                  <a:cubicBezTo>
                    <a:pt x="2025" y="4144"/>
                    <a:pt x="2084" y="4168"/>
                    <a:pt x="2132" y="4168"/>
                  </a:cubicBezTo>
                  <a:cubicBezTo>
                    <a:pt x="2191" y="4168"/>
                    <a:pt x="2227" y="4144"/>
                    <a:pt x="2263" y="4108"/>
                  </a:cubicBezTo>
                  <a:lnTo>
                    <a:pt x="2632" y="3727"/>
                  </a:lnTo>
                  <a:lnTo>
                    <a:pt x="3382" y="4025"/>
                  </a:lnTo>
                  <a:lnTo>
                    <a:pt x="3394" y="4025"/>
                  </a:lnTo>
                  <a:cubicBezTo>
                    <a:pt x="3406" y="4025"/>
                    <a:pt x="3835" y="4180"/>
                    <a:pt x="3835" y="4739"/>
                  </a:cubicBezTo>
                  <a:lnTo>
                    <a:pt x="3835" y="5240"/>
                  </a:lnTo>
                  <a:lnTo>
                    <a:pt x="1334" y="5240"/>
                  </a:lnTo>
                  <a:cubicBezTo>
                    <a:pt x="1239" y="5240"/>
                    <a:pt x="1144" y="5335"/>
                    <a:pt x="1144" y="5430"/>
                  </a:cubicBezTo>
                  <a:cubicBezTo>
                    <a:pt x="1144" y="5537"/>
                    <a:pt x="1239" y="5632"/>
                    <a:pt x="1334" y="5632"/>
                  </a:cubicBezTo>
                  <a:lnTo>
                    <a:pt x="4049" y="5632"/>
                  </a:lnTo>
                  <a:cubicBezTo>
                    <a:pt x="4156" y="5632"/>
                    <a:pt x="4239" y="5537"/>
                    <a:pt x="4239" y="5430"/>
                  </a:cubicBezTo>
                  <a:lnTo>
                    <a:pt x="4239" y="4739"/>
                  </a:lnTo>
                  <a:cubicBezTo>
                    <a:pt x="4204" y="3918"/>
                    <a:pt x="3573" y="3668"/>
                    <a:pt x="3501" y="3632"/>
                  </a:cubicBezTo>
                  <a:lnTo>
                    <a:pt x="2715" y="3323"/>
                  </a:lnTo>
                  <a:lnTo>
                    <a:pt x="2715" y="3216"/>
                  </a:lnTo>
                  <a:cubicBezTo>
                    <a:pt x="2918" y="3096"/>
                    <a:pt x="3084" y="2894"/>
                    <a:pt x="3168" y="2656"/>
                  </a:cubicBezTo>
                  <a:cubicBezTo>
                    <a:pt x="3454" y="2620"/>
                    <a:pt x="3680" y="2382"/>
                    <a:pt x="3680" y="2096"/>
                  </a:cubicBezTo>
                  <a:cubicBezTo>
                    <a:pt x="3680" y="1918"/>
                    <a:pt x="3608" y="1775"/>
                    <a:pt x="3465" y="1668"/>
                  </a:cubicBezTo>
                  <a:lnTo>
                    <a:pt x="3465" y="1322"/>
                  </a:lnTo>
                  <a:cubicBezTo>
                    <a:pt x="3465" y="596"/>
                    <a:pt x="2870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4" name="Google Shape;11044;p60"/>
            <p:cNvSpPr/>
            <p:nvPr/>
          </p:nvSpPr>
          <p:spPr>
            <a:xfrm>
              <a:off x="7070872" y="2602600"/>
              <a:ext cx="134949" cy="179284"/>
            </a:xfrm>
            <a:custGeom>
              <a:avLst/>
              <a:gdLst/>
              <a:ahLst/>
              <a:cxnLst/>
              <a:rect l="l" t="t" r="r" b="b"/>
              <a:pathLst>
                <a:path w="4240" h="5633" extrusionOk="0">
                  <a:moveTo>
                    <a:pt x="2144" y="394"/>
                  </a:moveTo>
                  <a:cubicBezTo>
                    <a:pt x="2656" y="394"/>
                    <a:pt x="3073" y="810"/>
                    <a:pt x="3073" y="1311"/>
                  </a:cubicBezTo>
                  <a:lnTo>
                    <a:pt x="3073" y="1430"/>
                  </a:lnTo>
                  <a:lnTo>
                    <a:pt x="3049" y="1430"/>
                  </a:lnTo>
                  <a:cubicBezTo>
                    <a:pt x="2787" y="1370"/>
                    <a:pt x="2692" y="1001"/>
                    <a:pt x="2692" y="1001"/>
                  </a:cubicBezTo>
                  <a:cubicBezTo>
                    <a:pt x="2680" y="930"/>
                    <a:pt x="2620" y="870"/>
                    <a:pt x="2549" y="846"/>
                  </a:cubicBezTo>
                  <a:cubicBezTo>
                    <a:pt x="2540" y="845"/>
                    <a:pt x="2530" y="844"/>
                    <a:pt x="2521" y="844"/>
                  </a:cubicBezTo>
                  <a:cubicBezTo>
                    <a:pt x="2457" y="844"/>
                    <a:pt x="2389" y="878"/>
                    <a:pt x="2358" y="930"/>
                  </a:cubicBezTo>
                  <a:cubicBezTo>
                    <a:pt x="2001" y="1418"/>
                    <a:pt x="1203" y="1430"/>
                    <a:pt x="1192" y="1430"/>
                  </a:cubicBezTo>
                  <a:lnTo>
                    <a:pt x="1132" y="1430"/>
                  </a:lnTo>
                  <a:lnTo>
                    <a:pt x="1132" y="1311"/>
                  </a:lnTo>
                  <a:cubicBezTo>
                    <a:pt x="1132" y="810"/>
                    <a:pt x="1549" y="394"/>
                    <a:pt x="2061" y="394"/>
                  </a:cubicBezTo>
                  <a:close/>
                  <a:moveTo>
                    <a:pt x="3227" y="1965"/>
                  </a:moveTo>
                  <a:cubicBezTo>
                    <a:pt x="3263" y="2001"/>
                    <a:pt x="3275" y="2037"/>
                    <a:pt x="3275" y="2073"/>
                  </a:cubicBezTo>
                  <a:cubicBezTo>
                    <a:pt x="3275" y="2132"/>
                    <a:pt x="3239" y="2180"/>
                    <a:pt x="3216" y="2203"/>
                  </a:cubicBezTo>
                  <a:lnTo>
                    <a:pt x="3216" y="1965"/>
                  </a:lnTo>
                  <a:close/>
                  <a:moveTo>
                    <a:pt x="1001" y="1965"/>
                  </a:moveTo>
                  <a:lnTo>
                    <a:pt x="1001" y="2215"/>
                  </a:lnTo>
                  <a:cubicBezTo>
                    <a:pt x="953" y="2192"/>
                    <a:pt x="930" y="2144"/>
                    <a:pt x="930" y="2084"/>
                  </a:cubicBezTo>
                  <a:cubicBezTo>
                    <a:pt x="930" y="2037"/>
                    <a:pt x="941" y="2013"/>
                    <a:pt x="965" y="1977"/>
                  </a:cubicBezTo>
                  <a:cubicBezTo>
                    <a:pt x="989" y="1977"/>
                    <a:pt x="989" y="1977"/>
                    <a:pt x="1001" y="1965"/>
                  </a:cubicBezTo>
                  <a:close/>
                  <a:moveTo>
                    <a:pt x="2454" y="1406"/>
                  </a:moveTo>
                  <a:cubicBezTo>
                    <a:pt x="2525" y="1537"/>
                    <a:pt x="2644" y="1680"/>
                    <a:pt x="2823" y="1763"/>
                  </a:cubicBezTo>
                  <a:lnTo>
                    <a:pt x="2823" y="2323"/>
                  </a:lnTo>
                  <a:cubicBezTo>
                    <a:pt x="2835" y="2668"/>
                    <a:pt x="2549" y="2954"/>
                    <a:pt x="2204" y="2954"/>
                  </a:cubicBezTo>
                  <a:lnTo>
                    <a:pt x="2025" y="2954"/>
                  </a:lnTo>
                  <a:cubicBezTo>
                    <a:pt x="1680" y="2954"/>
                    <a:pt x="1406" y="2668"/>
                    <a:pt x="1406" y="2323"/>
                  </a:cubicBezTo>
                  <a:lnTo>
                    <a:pt x="1406" y="1799"/>
                  </a:lnTo>
                  <a:cubicBezTo>
                    <a:pt x="1656" y="1775"/>
                    <a:pt x="2120" y="1680"/>
                    <a:pt x="2454" y="1406"/>
                  </a:cubicBezTo>
                  <a:close/>
                  <a:moveTo>
                    <a:pt x="2311" y="3335"/>
                  </a:moveTo>
                  <a:lnTo>
                    <a:pt x="2323" y="3442"/>
                  </a:lnTo>
                  <a:lnTo>
                    <a:pt x="2096" y="3668"/>
                  </a:lnTo>
                  <a:lnTo>
                    <a:pt x="1894" y="3466"/>
                  </a:lnTo>
                  <a:lnTo>
                    <a:pt x="1894" y="3335"/>
                  </a:lnTo>
                  <a:close/>
                  <a:moveTo>
                    <a:pt x="2061" y="1"/>
                  </a:moveTo>
                  <a:cubicBezTo>
                    <a:pt x="1322" y="1"/>
                    <a:pt x="727" y="596"/>
                    <a:pt x="727" y="1322"/>
                  </a:cubicBezTo>
                  <a:lnTo>
                    <a:pt x="727" y="1668"/>
                  </a:lnTo>
                  <a:cubicBezTo>
                    <a:pt x="608" y="1775"/>
                    <a:pt x="525" y="1918"/>
                    <a:pt x="525" y="2096"/>
                  </a:cubicBezTo>
                  <a:cubicBezTo>
                    <a:pt x="525" y="2394"/>
                    <a:pt x="739" y="2632"/>
                    <a:pt x="1037" y="2656"/>
                  </a:cubicBezTo>
                  <a:cubicBezTo>
                    <a:pt x="1120" y="2894"/>
                    <a:pt x="1275" y="3096"/>
                    <a:pt x="1501" y="3216"/>
                  </a:cubicBezTo>
                  <a:lnTo>
                    <a:pt x="1501" y="3323"/>
                  </a:lnTo>
                  <a:lnTo>
                    <a:pt x="703" y="3632"/>
                  </a:lnTo>
                  <a:cubicBezTo>
                    <a:pt x="620" y="3668"/>
                    <a:pt x="1" y="3918"/>
                    <a:pt x="1" y="4716"/>
                  </a:cubicBezTo>
                  <a:lnTo>
                    <a:pt x="1" y="5418"/>
                  </a:lnTo>
                  <a:cubicBezTo>
                    <a:pt x="1" y="5525"/>
                    <a:pt x="84" y="5609"/>
                    <a:pt x="191" y="5609"/>
                  </a:cubicBezTo>
                  <a:lnTo>
                    <a:pt x="703" y="5609"/>
                  </a:lnTo>
                  <a:cubicBezTo>
                    <a:pt x="799" y="5609"/>
                    <a:pt x="894" y="5525"/>
                    <a:pt x="894" y="5418"/>
                  </a:cubicBezTo>
                  <a:cubicBezTo>
                    <a:pt x="894" y="5311"/>
                    <a:pt x="799" y="5228"/>
                    <a:pt x="703" y="5228"/>
                  </a:cubicBezTo>
                  <a:lnTo>
                    <a:pt x="406" y="5228"/>
                  </a:lnTo>
                  <a:lnTo>
                    <a:pt x="406" y="4716"/>
                  </a:lnTo>
                  <a:cubicBezTo>
                    <a:pt x="406" y="4168"/>
                    <a:pt x="834" y="4025"/>
                    <a:pt x="846" y="4001"/>
                  </a:cubicBezTo>
                  <a:lnTo>
                    <a:pt x="858" y="4001"/>
                  </a:lnTo>
                  <a:lnTo>
                    <a:pt x="1608" y="3727"/>
                  </a:lnTo>
                  <a:lnTo>
                    <a:pt x="1989" y="4108"/>
                  </a:lnTo>
                  <a:cubicBezTo>
                    <a:pt x="2025" y="4144"/>
                    <a:pt x="2084" y="4168"/>
                    <a:pt x="2132" y="4168"/>
                  </a:cubicBezTo>
                  <a:cubicBezTo>
                    <a:pt x="2192" y="4168"/>
                    <a:pt x="2227" y="4144"/>
                    <a:pt x="2263" y="4108"/>
                  </a:cubicBezTo>
                  <a:lnTo>
                    <a:pt x="2632" y="3727"/>
                  </a:lnTo>
                  <a:lnTo>
                    <a:pt x="3382" y="4025"/>
                  </a:lnTo>
                  <a:lnTo>
                    <a:pt x="3394" y="4025"/>
                  </a:lnTo>
                  <a:cubicBezTo>
                    <a:pt x="3406" y="4025"/>
                    <a:pt x="3835" y="4180"/>
                    <a:pt x="3835" y="4739"/>
                  </a:cubicBezTo>
                  <a:lnTo>
                    <a:pt x="3835" y="5240"/>
                  </a:lnTo>
                  <a:lnTo>
                    <a:pt x="1334" y="5240"/>
                  </a:lnTo>
                  <a:cubicBezTo>
                    <a:pt x="1239" y="5240"/>
                    <a:pt x="1144" y="5335"/>
                    <a:pt x="1144" y="5430"/>
                  </a:cubicBezTo>
                  <a:cubicBezTo>
                    <a:pt x="1144" y="5537"/>
                    <a:pt x="1239" y="5632"/>
                    <a:pt x="1334" y="5632"/>
                  </a:cubicBezTo>
                  <a:lnTo>
                    <a:pt x="4049" y="5632"/>
                  </a:lnTo>
                  <a:cubicBezTo>
                    <a:pt x="4156" y="5632"/>
                    <a:pt x="4240" y="5537"/>
                    <a:pt x="4240" y="5430"/>
                  </a:cubicBezTo>
                  <a:lnTo>
                    <a:pt x="4240" y="4739"/>
                  </a:lnTo>
                  <a:cubicBezTo>
                    <a:pt x="4216" y="3918"/>
                    <a:pt x="3573" y="3668"/>
                    <a:pt x="3501" y="3632"/>
                  </a:cubicBezTo>
                  <a:lnTo>
                    <a:pt x="2716" y="3323"/>
                  </a:lnTo>
                  <a:lnTo>
                    <a:pt x="2716" y="3216"/>
                  </a:lnTo>
                  <a:cubicBezTo>
                    <a:pt x="2918" y="3096"/>
                    <a:pt x="3085" y="2894"/>
                    <a:pt x="3168" y="2656"/>
                  </a:cubicBezTo>
                  <a:cubicBezTo>
                    <a:pt x="3454" y="2620"/>
                    <a:pt x="3680" y="2382"/>
                    <a:pt x="3680" y="2096"/>
                  </a:cubicBezTo>
                  <a:cubicBezTo>
                    <a:pt x="3680" y="1918"/>
                    <a:pt x="3608" y="1775"/>
                    <a:pt x="3466" y="1668"/>
                  </a:cubicBezTo>
                  <a:lnTo>
                    <a:pt x="3466" y="1322"/>
                  </a:lnTo>
                  <a:cubicBezTo>
                    <a:pt x="3466" y="596"/>
                    <a:pt x="2870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045" name="Google Shape;11045;p60"/>
          <p:cNvSpPr/>
          <p:nvPr/>
        </p:nvSpPr>
        <p:spPr>
          <a:xfrm>
            <a:off x="6238328" y="2433596"/>
            <a:ext cx="316461" cy="324036"/>
          </a:xfrm>
          <a:custGeom>
            <a:avLst/>
            <a:gdLst/>
            <a:ahLst/>
            <a:cxnLst/>
            <a:rect l="l" t="t" r="r" b="b"/>
            <a:pathLst>
              <a:path w="9943" h="10181" extrusionOk="0">
                <a:moveTo>
                  <a:pt x="7883" y="536"/>
                </a:moveTo>
                <a:lnTo>
                  <a:pt x="9264" y="1918"/>
                </a:lnTo>
                <a:lnTo>
                  <a:pt x="7883" y="1918"/>
                </a:lnTo>
                <a:lnTo>
                  <a:pt x="7883" y="536"/>
                </a:lnTo>
                <a:close/>
                <a:moveTo>
                  <a:pt x="6442" y="1537"/>
                </a:moveTo>
                <a:lnTo>
                  <a:pt x="7823" y="2918"/>
                </a:lnTo>
                <a:lnTo>
                  <a:pt x="6442" y="2918"/>
                </a:lnTo>
                <a:lnTo>
                  <a:pt x="6442" y="1537"/>
                </a:lnTo>
                <a:close/>
                <a:moveTo>
                  <a:pt x="2954" y="5323"/>
                </a:moveTo>
                <a:cubicBezTo>
                  <a:pt x="3489" y="5323"/>
                  <a:pt x="3918" y="5799"/>
                  <a:pt x="3918" y="6394"/>
                </a:cubicBezTo>
                <a:lnTo>
                  <a:pt x="3930" y="6478"/>
                </a:lnTo>
                <a:cubicBezTo>
                  <a:pt x="3906" y="6478"/>
                  <a:pt x="3906" y="6478"/>
                  <a:pt x="3894" y="6490"/>
                </a:cubicBezTo>
                <a:cubicBezTo>
                  <a:pt x="3585" y="6418"/>
                  <a:pt x="3489" y="5966"/>
                  <a:pt x="3489" y="5966"/>
                </a:cubicBezTo>
                <a:cubicBezTo>
                  <a:pt x="3477" y="5906"/>
                  <a:pt x="3430" y="5847"/>
                  <a:pt x="3358" y="5835"/>
                </a:cubicBezTo>
                <a:cubicBezTo>
                  <a:pt x="3348" y="5833"/>
                  <a:pt x="3338" y="5832"/>
                  <a:pt x="3328" y="5832"/>
                </a:cubicBezTo>
                <a:cubicBezTo>
                  <a:pt x="3276" y="5832"/>
                  <a:pt x="3221" y="5857"/>
                  <a:pt x="3192" y="5906"/>
                </a:cubicBezTo>
                <a:cubicBezTo>
                  <a:pt x="2823" y="6478"/>
                  <a:pt x="1989" y="6490"/>
                  <a:pt x="1977" y="6490"/>
                </a:cubicBezTo>
                <a:lnTo>
                  <a:pt x="1930" y="6490"/>
                </a:lnTo>
                <a:cubicBezTo>
                  <a:pt x="1918" y="6490"/>
                  <a:pt x="1894" y="6490"/>
                  <a:pt x="1894" y="6478"/>
                </a:cubicBezTo>
                <a:lnTo>
                  <a:pt x="1894" y="6394"/>
                </a:lnTo>
                <a:cubicBezTo>
                  <a:pt x="1894" y="5799"/>
                  <a:pt x="2334" y="5323"/>
                  <a:pt x="2870" y="5323"/>
                </a:cubicBezTo>
                <a:close/>
                <a:moveTo>
                  <a:pt x="1668" y="6906"/>
                </a:moveTo>
                <a:cubicBezTo>
                  <a:pt x="1680" y="6906"/>
                  <a:pt x="1692" y="6918"/>
                  <a:pt x="1703" y="6918"/>
                </a:cubicBezTo>
                <a:lnTo>
                  <a:pt x="1703" y="7097"/>
                </a:lnTo>
                <a:cubicBezTo>
                  <a:pt x="1727" y="7132"/>
                  <a:pt x="1727" y="7192"/>
                  <a:pt x="1727" y="7228"/>
                </a:cubicBezTo>
                <a:cubicBezTo>
                  <a:pt x="1644" y="7216"/>
                  <a:pt x="1584" y="7144"/>
                  <a:pt x="1584" y="7049"/>
                </a:cubicBezTo>
                <a:cubicBezTo>
                  <a:pt x="1584" y="6990"/>
                  <a:pt x="1620" y="6930"/>
                  <a:pt x="1668" y="6906"/>
                </a:cubicBezTo>
                <a:close/>
                <a:moveTo>
                  <a:pt x="4168" y="6894"/>
                </a:moveTo>
                <a:cubicBezTo>
                  <a:pt x="4204" y="6918"/>
                  <a:pt x="4239" y="6978"/>
                  <a:pt x="4239" y="7037"/>
                </a:cubicBezTo>
                <a:cubicBezTo>
                  <a:pt x="4228" y="7144"/>
                  <a:pt x="4180" y="7216"/>
                  <a:pt x="4109" y="7228"/>
                </a:cubicBezTo>
                <a:cubicBezTo>
                  <a:pt x="4109" y="7192"/>
                  <a:pt x="4120" y="7132"/>
                  <a:pt x="4120" y="7085"/>
                </a:cubicBezTo>
                <a:lnTo>
                  <a:pt x="4120" y="6906"/>
                </a:lnTo>
                <a:cubicBezTo>
                  <a:pt x="4132" y="6906"/>
                  <a:pt x="4144" y="6906"/>
                  <a:pt x="4168" y="6894"/>
                </a:cubicBezTo>
                <a:close/>
                <a:moveTo>
                  <a:pt x="3251" y="6311"/>
                </a:moveTo>
                <a:cubicBezTo>
                  <a:pt x="3347" y="6490"/>
                  <a:pt x="3513" y="6716"/>
                  <a:pt x="3775" y="6787"/>
                </a:cubicBezTo>
                <a:lnTo>
                  <a:pt x="3775" y="7085"/>
                </a:lnTo>
                <a:cubicBezTo>
                  <a:pt x="3775" y="7561"/>
                  <a:pt x="3430" y="7942"/>
                  <a:pt x="3001" y="7942"/>
                </a:cubicBezTo>
                <a:lnTo>
                  <a:pt x="2787" y="7942"/>
                </a:lnTo>
                <a:cubicBezTo>
                  <a:pt x="2358" y="7942"/>
                  <a:pt x="2013" y="7561"/>
                  <a:pt x="2013" y="7085"/>
                </a:cubicBezTo>
                <a:lnTo>
                  <a:pt x="2013" y="6799"/>
                </a:lnTo>
                <a:lnTo>
                  <a:pt x="2037" y="6799"/>
                </a:lnTo>
                <a:cubicBezTo>
                  <a:pt x="2227" y="6787"/>
                  <a:pt x="2835" y="6728"/>
                  <a:pt x="3251" y="6311"/>
                </a:cubicBezTo>
                <a:close/>
                <a:moveTo>
                  <a:pt x="3013" y="8240"/>
                </a:moveTo>
                <a:cubicBezTo>
                  <a:pt x="3061" y="8264"/>
                  <a:pt x="3108" y="8264"/>
                  <a:pt x="3156" y="8264"/>
                </a:cubicBezTo>
                <a:lnTo>
                  <a:pt x="3156" y="8418"/>
                </a:lnTo>
                <a:lnTo>
                  <a:pt x="2918" y="8656"/>
                </a:lnTo>
                <a:lnTo>
                  <a:pt x="2692" y="8442"/>
                </a:lnTo>
                <a:lnTo>
                  <a:pt x="2692" y="8240"/>
                </a:lnTo>
                <a:close/>
                <a:moveTo>
                  <a:pt x="7597" y="334"/>
                </a:moveTo>
                <a:lnTo>
                  <a:pt x="7597" y="2108"/>
                </a:lnTo>
                <a:cubicBezTo>
                  <a:pt x="7597" y="2203"/>
                  <a:pt x="7680" y="2275"/>
                  <a:pt x="7764" y="2275"/>
                </a:cubicBezTo>
                <a:lnTo>
                  <a:pt x="9538" y="2275"/>
                </a:lnTo>
                <a:lnTo>
                  <a:pt x="9538" y="8871"/>
                </a:lnTo>
                <a:lnTo>
                  <a:pt x="8359" y="8871"/>
                </a:lnTo>
                <a:lnTo>
                  <a:pt x="8359" y="3084"/>
                </a:lnTo>
                <a:lnTo>
                  <a:pt x="8359" y="3061"/>
                </a:lnTo>
                <a:lnTo>
                  <a:pt x="8359" y="3049"/>
                </a:lnTo>
                <a:cubicBezTo>
                  <a:pt x="8359" y="3049"/>
                  <a:pt x="8359" y="3037"/>
                  <a:pt x="8347" y="3037"/>
                </a:cubicBezTo>
                <a:cubicBezTo>
                  <a:pt x="8347" y="3037"/>
                  <a:pt x="8347" y="3013"/>
                  <a:pt x="8335" y="3013"/>
                </a:cubicBezTo>
                <a:lnTo>
                  <a:pt x="8311" y="3001"/>
                </a:lnTo>
                <a:lnTo>
                  <a:pt x="6383" y="1072"/>
                </a:lnTo>
                <a:lnTo>
                  <a:pt x="6371" y="1048"/>
                </a:lnTo>
                <a:lnTo>
                  <a:pt x="6347" y="1036"/>
                </a:lnTo>
                <a:cubicBezTo>
                  <a:pt x="6347" y="1036"/>
                  <a:pt x="6335" y="1036"/>
                  <a:pt x="6335" y="1025"/>
                </a:cubicBezTo>
                <a:lnTo>
                  <a:pt x="3882" y="1025"/>
                </a:lnTo>
                <a:lnTo>
                  <a:pt x="3882" y="334"/>
                </a:lnTo>
                <a:close/>
                <a:moveTo>
                  <a:pt x="6085" y="1334"/>
                </a:moveTo>
                <a:lnTo>
                  <a:pt x="6085" y="3108"/>
                </a:lnTo>
                <a:cubicBezTo>
                  <a:pt x="6085" y="3192"/>
                  <a:pt x="6156" y="3275"/>
                  <a:pt x="6240" y="3275"/>
                </a:cubicBezTo>
                <a:lnTo>
                  <a:pt x="8014" y="3275"/>
                </a:lnTo>
                <a:lnTo>
                  <a:pt x="8049" y="9883"/>
                </a:lnTo>
                <a:lnTo>
                  <a:pt x="4311" y="9883"/>
                </a:lnTo>
                <a:cubicBezTo>
                  <a:pt x="5192" y="9407"/>
                  <a:pt x="5811" y="8502"/>
                  <a:pt x="5871" y="7430"/>
                </a:cubicBezTo>
                <a:lnTo>
                  <a:pt x="5871" y="7406"/>
                </a:lnTo>
                <a:lnTo>
                  <a:pt x="5871" y="7347"/>
                </a:lnTo>
                <a:lnTo>
                  <a:pt x="5871" y="7323"/>
                </a:lnTo>
                <a:lnTo>
                  <a:pt x="5871" y="7311"/>
                </a:lnTo>
                <a:lnTo>
                  <a:pt x="5871" y="7263"/>
                </a:lnTo>
                <a:lnTo>
                  <a:pt x="5871" y="7228"/>
                </a:lnTo>
                <a:lnTo>
                  <a:pt x="5871" y="7216"/>
                </a:lnTo>
                <a:lnTo>
                  <a:pt x="5871" y="7168"/>
                </a:lnTo>
                <a:lnTo>
                  <a:pt x="5871" y="7144"/>
                </a:lnTo>
                <a:lnTo>
                  <a:pt x="5871" y="7121"/>
                </a:lnTo>
                <a:lnTo>
                  <a:pt x="5871" y="7085"/>
                </a:lnTo>
                <a:lnTo>
                  <a:pt x="5871" y="7049"/>
                </a:lnTo>
                <a:lnTo>
                  <a:pt x="5871" y="7002"/>
                </a:lnTo>
                <a:lnTo>
                  <a:pt x="5871" y="6978"/>
                </a:lnTo>
                <a:lnTo>
                  <a:pt x="5871" y="6930"/>
                </a:lnTo>
                <a:lnTo>
                  <a:pt x="5871" y="6906"/>
                </a:lnTo>
                <a:lnTo>
                  <a:pt x="5871" y="6859"/>
                </a:lnTo>
                <a:lnTo>
                  <a:pt x="5871" y="6847"/>
                </a:lnTo>
                <a:lnTo>
                  <a:pt x="5871" y="6823"/>
                </a:lnTo>
                <a:lnTo>
                  <a:pt x="5871" y="6787"/>
                </a:lnTo>
                <a:lnTo>
                  <a:pt x="5871" y="6751"/>
                </a:lnTo>
                <a:cubicBezTo>
                  <a:pt x="5871" y="6728"/>
                  <a:pt x="5859" y="6704"/>
                  <a:pt x="5859" y="6680"/>
                </a:cubicBezTo>
                <a:cubicBezTo>
                  <a:pt x="5859" y="6644"/>
                  <a:pt x="5847" y="6632"/>
                  <a:pt x="5847" y="6609"/>
                </a:cubicBezTo>
                <a:lnTo>
                  <a:pt x="5847" y="6573"/>
                </a:lnTo>
                <a:cubicBezTo>
                  <a:pt x="5847" y="6561"/>
                  <a:pt x="5835" y="6549"/>
                  <a:pt x="5835" y="6525"/>
                </a:cubicBezTo>
                <a:lnTo>
                  <a:pt x="5835" y="6513"/>
                </a:lnTo>
                <a:lnTo>
                  <a:pt x="5835" y="6501"/>
                </a:lnTo>
                <a:cubicBezTo>
                  <a:pt x="5835" y="6490"/>
                  <a:pt x="5811" y="6466"/>
                  <a:pt x="5811" y="6454"/>
                </a:cubicBezTo>
                <a:cubicBezTo>
                  <a:pt x="5811" y="6442"/>
                  <a:pt x="5811" y="6442"/>
                  <a:pt x="5799" y="6430"/>
                </a:cubicBezTo>
                <a:cubicBezTo>
                  <a:pt x="5799" y="6406"/>
                  <a:pt x="5787" y="6394"/>
                  <a:pt x="5787" y="6382"/>
                </a:cubicBezTo>
                <a:lnTo>
                  <a:pt x="5775" y="6347"/>
                </a:lnTo>
                <a:cubicBezTo>
                  <a:pt x="5775" y="6335"/>
                  <a:pt x="5752" y="6323"/>
                  <a:pt x="5752" y="6311"/>
                </a:cubicBezTo>
                <a:cubicBezTo>
                  <a:pt x="5752" y="6287"/>
                  <a:pt x="5752" y="6287"/>
                  <a:pt x="5740" y="6275"/>
                </a:cubicBezTo>
                <a:cubicBezTo>
                  <a:pt x="5740" y="6263"/>
                  <a:pt x="5728" y="6251"/>
                  <a:pt x="5728" y="6228"/>
                </a:cubicBezTo>
                <a:lnTo>
                  <a:pt x="5716" y="6204"/>
                </a:lnTo>
                <a:cubicBezTo>
                  <a:pt x="5716" y="6192"/>
                  <a:pt x="5692" y="6168"/>
                  <a:pt x="5692" y="6156"/>
                </a:cubicBezTo>
                <a:lnTo>
                  <a:pt x="5692" y="6144"/>
                </a:lnTo>
                <a:cubicBezTo>
                  <a:pt x="5656" y="6037"/>
                  <a:pt x="5597" y="5930"/>
                  <a:pt x="5549" y="5835"/>
                </a:cubicBezTo>
                <a:cubicBezTo>
                  <a:pt x="5518" y="5780"/>
                  <a:pt x="5461" y="5751"/>
                  <a:pt x="5405" y="5751"/>
                </a:cubicBezTo>
                <a:cubicBezTo>
                  <a:pt x="5376" y="5751"/>
                  <a:pt x="5347" y="5759"/>
                  <a:pt x="5323" y="5775"/>
                </a:cubicBezTo>
                <a:cubicBezTo>
                  <a:pt x="5252" y="5811"/>
                  <a:pt x="5216" y="5918"/>
                  <a:pt x="5263" y="5989"/>
                </a:cubicBezTo>
                <a:cubicBezTo>
                  <a:pt x="5311" y="6085"/>
                  <a:pt x="5371" y="6192"/>
                  <a:pt x="5394" y="6275"/>
                </a:cubicBezTo>
                <a:lnTo>
                  <a:pt x="5394" y="6287"/>
                </a:lnTo>
                <a:cubicBezTo>
                  <a:pt x="5394" y="6311"/>
                  <a:pt x="5418" y="6323"/>
                  <a:pt x="5418" y="6335"/>
                </a:cubicBezTo>
                <a:lnTo>
                  <a:pt x="5430" y="6370"/>
                </a:lnTo>
                <a:cubicBezTo>
                  <a:pt x="5430" y="6382"/>
                  <a:pt x="5442" y="6394"/>
                  <a:pt x="5442" y="6406"/>
                </a:cubicBezTo>
                <a:cubicBezTo>
                  <a:pt x="5442" y="6430"/>
                  <a:pt x="5442" y="6430"/>
                  <a:pt x="5454" y="6442"/>
                </a:cubicBezTo>
                <a:cubicBezTo>
                  <a:pt x="5454" y="6454"/>
                  <a:pt x="5478" y="6466"/>
                  <a:pt x="5478" y="6490"/>
                </a:cubicBezTo>
                <a:lnTo>
                  <a:pt x="5490" y="6513"/>
                </a:lnTo>
                <a:cubicBezTo>
                  <a:pt x="5490" y="6525"/>
                  <a:pt x="5502" y="6549"/>
                  <a:pt x="5502" y="6561"/>
                </a:cubicBezTo>
                <a:lnTo>
                  <a:pt x="5502" y="6585"/>
                </a:lnTo>
                <a:cubicBezTo>
                  <a:pt x="5502" y="6609"/>
                  <a:pt x="5513" y="6621"/>
                  <a:pt x="5513" y="6632"/>
                </a:cubicBezTo>
                <a:lnTo>
                  <a:pt x="5513" y="6668"/>
                </a:lnTo>
                <a:cubicBezTo>
                  <a:pt x="5513" y="6680"/>
                  <a:pt x="5513" y="6692"/>
                  <a:pt x="5537" y="6704"/>
                </a:cubicBezTo>
                <a:lnTo>
                  <a:pt x="5537" y="6740"/>
                </a:lnTo>
                <a:cubicBezTo>
                  <a:pt x="5537" y="6751"/>
                  <a:pt x="5549" y="6787"/>
                  <a:pt x="5549" y="6799"/>
                </a:cubicBezTo>
                <a:cubicBezTo>
                  <a:pt x="5549" y="6811"/>
                  <a:pt x="5561" y="6847"/>
                  <a:pt x="5561" y="6859"/>
                </a:cubicBezTo>
                <a:lnTo>
                  <a:pt x="5561" y="6882"/>
                </a:lnTo>
                <a:lnTo>
                  <a:pt x="5561" y="6930"/>
                </a:lnTo>
                <a:lnTo>
                  <a:pt x="5561" y="6942"/>
                </a:lnTo>
                <a:lnTo>
                  <a:pt x="5561" y="6966"/>
                </a:lnTo>
                <a:lnTo>
                  <a:pt x="5561" y="7002"/>
                </a:lnTo>
                <a:lnTo>
                  <a:pt x="5561" y="7037"/>
                </a:lnTo>
                <a:lnTo>
                  <a:pt x="5561" y="7085"/>
                </a:lnTo>
                <a:lnTo>
                  <a:pt x="5561" y="7109"/>
                </a:lnTo>
                <a:lnTo>
                  <a:pt x="5561" y="7156"/>
                </a:lnTo>
                <a:lnTo>
                  <a:pt x="5561" y="7180"/>
                </a:lnTo>
                <a:lnTo>
                  <a:pt x="5561" y="7216"/>
                </a:lnTo>
                <a:lnTo>
                  <a:pt x="5561" y="7240"/>
                </a:lnTo>
                <a:lnTo>
                  <a:pt x="5561" y="7287"/>
                </a:lnTo>
                <a:lnTo>
                  <a:pt x="5561" y="7299"/>
                </a:lnTo>
                <a:lnTo>
                  <a:pt x="5561" y="7335"/>
                </a:lnTo>
                <a:lnTo>
                  <a:pt x="5561" y="7359"/>
                </a:lnTo>
                <a:lnTo>
                  <a:pt x="5561" y="7383"/>
                </a:lnTo>
                <a:lnTo>
                  <a:pt x="5561" y="7394"/>
                </a:lnTo>
                <a:lnTo>
                  <a:pt x="5561" y="7454"/>
                </a:lnTo>
                <a:lnTo>
                  <a:pt x="5561" y="7466"/>
                </a:lnTo>
                <a:cubicBezTo>
                  <a:pt x="5537" y="8133"/>
                  <a:pt x="5252" y="8728"/>
                  <a:pt x="4823" y="9180"/>
                </a:cubicBezTo>
                <a:cubicBezTo>
                  <a:pt x="4644" y="8835"/>
                  <a:pt x="4323" y="8704"/>
                  <a:pt x="4287" y="8692"/>
                </a:cubicBezTo>
                <a:lnTo>
                  <a:pt x="3513" y="8371"/>
                </a:lnTo>
                <a:lnTo>
                  <a:pt x="3513" y="8228"/>
                </a:lnTo>
                <a:cubicBezTo>
                  <a:pt x="3751" y="8109"/>
                  <a:pt x="3942" y="7894"/>
                  <a:pt x="4049" y="7633"/>
                </a:cubicBezTo>
                <a:lnTo>
                  <a:pt x="4085" y="7633"/>
                </a:lnTo>
                <a:cubicBezTo>
                  <a:pt x="4359" y="7633"/>
                  <a:pt x="4585" y="7406"/>
                  <a:pt x="4585" y="7109"/>
                </a:cubicBezTo>
                <a:cubicBezTo>
                  <a:pt x="4585" y="6906"/>
                  <a:pt x="4466" y="6704"/>
                  <a:pt x="4287" y="6632"/>
                </a:cubicBezTo>
                <a:lnTo>
                  <a:pt x="4287" y="6454"/>
                </a:lnTo>
                <a:cubicBezTo>
                  <a:pt x="4287" y="5680"/>
                  <a:pt x="3704" y="5061"/>
                  <a:pt x="2989" y="5061"/>
                </a:cubicBezTo>
                <a:lnTo>
                  <a:pt x="2894" y="5061"/>
                </a:lnTo>
                <a:cubicBezTo>
                  <a:pt x="2180" y="5061"/>
                  <a:pt x="1608" y="5680"/>
                  <a:pt x="1608" y="6454"/>
                </a:cubicBezTo>
                <a:lnTo>
                  <a:pt x="1608" y="6632"/>
                </a:lnTo>
                <a:cubicBezTo>
                  <a:pt x="1430" y="6704"/>
                  <a:pt x="1311" y="6906"/>
                  <a:pt x="1311" y="7109"/>
                </a:cubicBezTo>
                <a:cubicBezTo>
                  <a:pt x="1311" y="7394"/>
                  <a:pt x="1525" y="7633"/>
                  <a:pt x="1799" y="7633"/>
                </a:cubicBezTo>
                <a:cubicBezTo>
                  <a:pt x="1811" y="7633"/>
                  <a:pt x="1823" y="7633"/>
                  <a:pt x="1846" y="7621"/>
                </a:cubicBezTo>
                <a:cubicBezTo>
                  <a:pt x="1942" y="7883"/>
                  <a:pt x="2156" y="8109"/>
                  <a:pt x="2406" y="8228"/>
                </a:cubicBezTo>
                <a:lnTo>
                  <a:pt x="2406" y="8371"/>
                </a:lnTo>
                <a:lnTo>
                  <a:pt x="1620" y="8692"/>
                </a:lnTo>
                <a:cubicBezTo>
                  <a:pt x="1572" y="8704"/>
                  <a:pt x="1251" y="8835"/>
                  <a:pt x="1084" y="9180"/>
                </a:cubicBezTo>
                <a:cubicBezTo>
                  <a:pt x="596" y="8668"/>
                  <a:pt x="299" y="7978"/>
                  <a:pt x="334" y="7216"/>
                </a:cubicBezTo>
                <a:lnTo>
                  <a:pt x="334" y="7204"/>
                </a:lnTo>
                <a:lnTo>
                  <a:pt x="334" y="7156"/>
                </a:lnTo>
                <a:lnTo>
                  <a:pt x="334" y="7144"/>
                </a:lnTo>
                <a:lnTo>
                  <a:pt x="334" y="7121"/>
                </a:lnTo>
                <a:lnTo>
                  <a:pt x="334" y="7097"/>
                </a:lnTo>
                <a:lnTo>
                  <a:pt x="334" y="7085"/>
                </a:lnTo>
                <a:lnTo>
                  <a:pt x="334" y="7061"/>
                </a:lnTo>
                <a:lnTo>
                  <a:pt x="334" y="7025"/>
                </a:lnTo>
                <a:lnTo>
                  <a:pt x="334" y="7002"/>
                </a:lnTo>
                <a:lnTo>
                  <a:pt x="334" y="6990"/>
                </a:lnTo>
                <a:lnTo>
                  <a:pt x="334" y="6942"/>
                </a:lnTo>
                <a:lnTo>
                  <a:pt x="334" y="6918"/>
                </a:lnTo>
                <a:lnTo>
                  <a:pt x="334" y="6871"/>
                </a:lnTo>
                <a:lnTo>
                  <a:pt x="334" y="6847"/>
                </a:lnTo>
                <a:cubicBezTo>
                  <a:pt x="334" y="6823"/>
                  <a:pt x="334" y="6811"/>
                  <a:pt x="358" y="6799"/>
                </a:cubicBezTo>
                <a:lnTo>
                  <a:pt x="358" y="6763"/>
                </a:lnTo>
                <a:cubicBezTo>
                  <a:pt x="358" y="6751"/>
                  <a:pt x="358" y="6740"/>
                  <a:pt x="370" y="6740"/>
                </a:cubicBezTo>
                <a:lnTo>
                  <a:pt x="370" y="6728"/>
                </a:lnTo>
                <a:lnTo>
                  <a:pt x="370" y="6704"/>
                </a:lnTo>
                <a:cubicBezTo>
                  <a:pt x="370" y="6692"/>
                  <a:pt x="370" y="6680"/>
                  <a:pt x="382" y="6668"/>
                </a:cubicBezTo>
                <a:lnTo>
                  <a:pt x="382" y="6644"/>
                </a:lnTo>
                <a:lnTo>
                  <a:pt x="382" y="6632"/>
                </a:lnTo>
                <a:cubicBezTo>
                  <a:pt x="382" y="6621"/>
                  <a:pt x="394" y="6585"/>
                  <a:pt x="394" y="6573"/>
                </a:cubicBezTo>
                <a:cubicBezTo>
                  <a:pt x="394" y="6561"/>
                  <a:pt x="406" y="6525"/>
                  <a:pt x="406" y="6513"/>
                </a:cubicBezTo>
                <a:lnTo>
                  <a:pt x="406" y="6501"/>
                </a:lnTo>
                <a:cubicBezTo>
                  <a:pt x="406" y="6490"/>
                  <a:pt x="429" y="6466"/>
                  <a:pt x="429" y="6454"/>
                </a:cubicBezTo>
                <a:cubicBezTo>
                  <a:pt x="429" y="6442"/>
                  <a:pt x="429" y="6442"/>
                  <a:pt x="441" y="6430"/>
                </a:cubicBezTo>
                <a:cubicBezTo>
                  <a:pt x="441" y="6406"/>
                  <a:pt x="453" y="6394"/>
                  <a:pt x="453" y="6382"/>
                </a:cubicBezTo>
                <a:cubicBezTo>
                  <a:pt x="453" y="6370"/>
                  <a:pt x="453" y="6370"/>
                  <a:pt x="465" y="6347"/>
                </a:cubicBezTo>
                <a:cubicBezTo>
                  <a:pt x="465" y="6335"/>
                  <a:pt x="489" y="6323"/>
                  <a:pt x="489" y="6311"/>
                </a:cubicBezTo>
                <a:cubicBezTo>
                  <a:pt x="489" y="6311"/>
                  <a:pt x="489" y="6287"/>
                  <a:pt x="501" y="6275"/>
                </a:cubicBezTo>
                <a:cubicBezTo>
                  <a:pt x="501" y="6263"/>
                  <a:pt x="513" y="6251"/>
                  <a:pt x="513" y="6228"/>
                </a:cubicBezTo>
                <a:cubicBezTo>
                  <a:pt x="513" y="6216"/>
                  <a:pt x="513" y="6216"/>
                  <a:pt x="525" y="6204"/>
                </a:cubicBezTo>
                <a:cubicBezTo>
                  <a:pt x="525" y="6192"/>
                  <a:pt x="549" y="6168"/>
                  <a:pt x="549" y="6156"/>
                </a:cubicBezTo>
                <a:lnTo>
                  <a:pt x="560" y="6144"/>
                </a:lnTo>
                <a:cubicBezTo>
                  <a:pt x="560" y="6132"/>
                  <a:pt x="572" y="6109"/>
                  <a:pt x="572" y="6097"/>
                </a:cubicBezTo>
                <a:lnTo>
                  <a:pt x="572" y="6085"/>
                </a:lnTo>
                <a:cubicBezTo>
                  <a:pt x="691" y="5859"/>
                  <a:pt x="858" y="5656"/>
                  <a:pt x="1037" y="5454"/>
                </a:cubicBezTo>
                <a:lnTo>
                  <a:pt x="1049" y="5442"/>
                </a:lnTo>
                <a:lnTo>
                  <a:pt x="1061" y="5430"/>
                </a:lnTo>
                <a:lnTo>
                  <a:pt x="1084" y="5418"/>
                </a:lnTo>
                <a:lnTo>
                  <a:pt x="1096" y="5394"/>
                </a:lnTo>
                <a:lnTo>
                  <a:pt x="1108" y="5382"/>
                </a:lnTo>
                <a:lnTo>
                  <a:pt x="1120" y="5370"/>
                </a:lnTo>
                <a:lnTo>
                  <a:pt x="1144" y="5358"/>
                </a:lnTo>
                <a:cubicBezTo>
                  <a:pt x="1156" y="5358"/>
                  <a:pt x="1156" y="5335"/>
                  <a:pt x="1168" y="5335"/>
                </a:cubicBezTo>
                <a:lnTo>
                  <a:pt x="1180" y="5323"/>
                </a:lnTo>
                <a:cubicBezTo>
                  <a:pt x="1203" y="5323"/>
                  <a:pt x="1203" y="5311"/>
                  <a:pt x="1215" y="5311"/>
                </a:cubicBezTo>
                <a:cubicBezTo>
                  <a:pt x="1227" y="5311"/>
                  <a:pt x="1227" y="5299"/>
                  <a:pt x="1239" y="5299"/>
                </a:cubicBezTo>
                <a:cubicBezTo>
                  <a:pt x="1263" y="5299"/>
                  <a:pt x="1263" y="5275"/>
                  <a:pt x="1275" y="5275"/>
                </a:cubicBezTo>
                <a:cubicBezTo>
                  <a:pt x="1287" y="5275"/>
                  <a:pt x="1287" y="5263"/>
                  <a:pt x="1299" y="5263"/>
                </a:cubicBezTo>
                <a:cubicBezTo>
                  <a:pt x="1322" y="5263"/>
                  <a:pt x="1322" y="5251"/>
                  <a:pt x="1334" y="5251"/>
                </a:cubicBezTo>
                <a:cubicBezTo>
                  <a:pt x="1346" y="5251"/>
                  <a:pt x="1346" y="5239"/>
                  <a:pt x="1358" y="5239"/>
                </a:cubicBezTo>
                <a:cubicBezTo>
                  <a:pt x="1382" y="5239"/>
                  <a:pt x="1382" y="5216"/>
                  <a:pt x="1394" y="5216"/>
                </a:cubicBezTo>
                <a:cubicBezTo>
                  <a:pt x="1406" y="5216"/>
                  <a:pt x="1406" y="5204"/>
                  <a:pt x="1418" y="5204"/>
                </a:cubicBezTo>
                <a:cubicBezTo>
                  <a:pt x="1442" y="5204"/>
                  <a:pt x="1442" y="5192"/>
                  <a:pt x="1453" y="5192"/>
                </a:cubicBezTo>
                <a:cubicBezTo>
                  <a:pt x="1465" y="5192"/>
                  <a:pt x="1465" y="5180"/>
                  <a:pt x="1477" y="5180"/>
                </a:cubicBezTo>
                <a:cubicBezTo>
                  <a:pt x="1501" y="5180"/>
                  <a:pt x="1501" y="5156"/>
                  <a:pt x="1513" y="5156"/>
                </a:cubicBezTo>
                <a:cubicBezTo>
                  <a:pt x="1525" y="5156"/>
                  <a:pt x="1525" y="5144"/>
                  <a:pt x="1537" y="5144"/>
                </a:cubicBezTo>
                <a:cubicBezTo>
                  <a:pt x="1561" y="5144"/>
                  <a:pt x="1561" y="5132"/>
                  <a:pt x="1572" y="5132"/>
                </a:cubicBezTo>
                <a:cubicBezTo>
                  <a:pt x="1584" y="5132"/>
                  <a:pt x="1584" y="5120"/>
                  <a:pt x="1596" y="5120"/>
                </a:cubicBezTo>
                <a:cubicBezTo>
                  <a:pt x="1620" y="5120"/>
                  <a:pt x="1620" y="5097"/>
                  <a:pt x="1632" y="5097"/>
                </a:cubicBezTo>
                <a:cubicBezTo>
                  <a:pt x="1644" y="5097"/>
                  <a:pt x="1644" y="5085"/>
                  <a:pt x="1656" y="5085"/>
                </a:cubicBezTo>
                <a:cubicBezTo>
                  <a:pt x="1680" y="5085"/>
                  <a:pt x="1680" y="5073"/>
                  <a:pt x="1692" y="5073"/>
                </a:cubicBezTo>
                <a:lnTo>
                  <a:pt x="1703" y="5073"/>
                </a:lnTo>
                <a:cubicBezTo>
                  <a:pt x="1715" y="5073"/>
                  <a:pt x="1715" y="5061"/>
                  <a:pt x="1739" y="5061"/>
                </a:cubicBezTo>
                <a:cubicBezTo>
                  <a:pt x="1739" y="5061"/>
                  <a:pt x="1751" y="5061"/>
                  <a:pt x="1751" y="5037"/>
                </a:cubicBezTo>
                <a:lnTo>
                  <a:pt x="1763" y="5025"/>
                </a:lnTo>
                <a:cubicBezTo>
                  <a:pt x="1763" y="5025"/>
                  <a:pt x="1775" y="5025"/>
                  <a:pt x="1775" y="5013"/>
                </a:cubicBezTo>
                <a:cubicBezTo>
                  <a:pt x="1799" y="5013"/>
                  <a:pt x="1799" y="5013"/>
                  <a:pt x="1811" y="5001"/>
                </a:cubicBezTo>
                <a:lnTo>
                  <a:pt x="1823" y="5001"/>
                </a:lnTo>
                <a:cubicBezTo>
                  <a:pt x="1823" y="5001"/>
                  <a:pt x="1834" y="5001"/>
                  <a:pt x="1834" y="4977"/>
                </a:cubicBezTo>
                <a:cubicBezTo>
                  <a:pt x="1858" y="4977"/>
                  <a:pt x="1858" y="4966"/>
                  <a:pt x="1870" y="4966"/>
                </a:cubicBezTo>
                <a:cubicBezTo>
                  <a:pt x="1882" y="4966"/>
                  <a:pt x="1894" y="4954"/>
                  <a:pt x="1918" y="4954"/>
                </a:cubicBezTo>
                <a:cubicBezTo>
                  <a:pt x="1930" y="4954"/>
                  <a:pt x="1942" y="4942"/>
                  <a:pt x="1953" y="4942"/>
                </a:cubicBezTo>
                <a:lnTo>
                  <a:pt x="1977" y="4942"/>
                </a:lnTo>
                <a:lnTo>
                  <a:pt x="1989" y="4918"/>
                </a:lnTo>
                <a:cubicBezTo>
                  <a:pt x="2001" y="4918"/>
                  <a:pt x="2001" y="4918"/>
                  <a:pt x="2013" y="4906"/>
                </a:cubicBezTo>
                <a:cubicBezTo>
                  <a:pt x="2013" y="4906"/>
                  <a:pt x="2037" y="4906"/>
                  <a:pt x="2037" y="4894"/>
                </a:cubicBezTo>
                <a:lnTo>
                  <a:pt x="2049" y="4894"/>
                </a:lnTo>
                <a:cubicBezTo>
                  <a:pt x="2061" y="4894"/>
                  <a:pt x="2061" y="4894"/>
                  <a:pt x="2073" y="4882"/>
                </a:cubicBezTo>
                <a:lnTo>
                  <a:pt x="2108" y="4882"/>
                </a:lnTo>
                <a:cubicBezTo>
                  <a:pt x="2120" y="4882"/>
                  <a:pt x="2120" y="4882"/>
                  <a:pt x="2132" y="4858"/>
                </a:cubicBezTo>
                <a:lnTo>
                  <a:pt x="2168" y="4846"/>
                </a:lnTo>
                <a:cubicBezTo>
                  <a:pt x="2180" y="4858"/>
                  <a:pt x="2215" y="4858"/>
                  <a:pt x="2227" y="4858"/>
                </a:cubicBezTo>
                <a:cubicBezTo>
                  <a:pt x="2275" y="4858"/>
                  <a:pt x="2311" y="4835"/>
                  <a:pt x="2346" y="4799"/>
                </a:cubicBezTo>
                <a:lnTo>
                  <a:pt x="3442" y="4799"/>
                </a:lnTo>
                <a:cubicBezTo>
                  <a:pt x="3466" y="4799"/>
                  <a:pt x="3477" y="4799"/>
                  <a:pt x="3477" y="4823"/>
                </a:cubicBezTo>
                <a:cubicBezTo>
                  <a:pt x="3489" y="4823"/>
                  <a:pt x="3489" y="4823"/>
                  <a:pt x="3501" y="4835"/>
                </a:cubicBezTo>
                <a:cubicBezTo>
                  <a:pt x="3525" y="4835"/>
                  <a:pt x="3537" y="4835"/>
                  <a:pt x="3537" y="4846"/>
                </a:cubicBezTo>
                <a:cubicBezTo>
                  <a:pt x="3549" y="4846"/>
                  <a:pt x="3549" y="4846"/>
                  <a:pt x="3561" y="4858"/>
                </a:cubicBezTo>
                <a:cubicBezTo>
                  <a:pt x="3585" y="4858"/>
                  <a:pt x="3597" y="4858"/>
                  <a:pt x="3597" y="4882"/>
                </a:cubicBezTo>
                <a:cubicBezTo>
                  <a:pt x="3608" y="4882"/>
                  <a:pt x="3608" y="4882"/>
                  <a:pt x="3620" y="4894"/>
                </a:cubicBezTo>
                <a:cubicBezTo>
                  <a:pt x="3644" y="4894"/>
                  <a:pt x="3644" y="4894"/>
                  <a:pt x="3656" y="4906"/>
                </a:cubicBezTo>
                <a:cubicBezTo>
                  <a:pt x="3668" y="4906"/>
                  <a:pt x="3668" y="4906"/>
                  <a:pt x="3680" y="4918"/>
                </a:cubicBezTo>
                <a:cubicBezTo>
                  <a:pt x="3704" y="4918"/>
                  <a:pt x="3704" y="4942"/>
                  <a:pt x="3716" y="4942"/>
                </a:cubicBezTo>
                <a:cubicBezTo>
                  <a:pt x="3728" y="4942"/>
                  <a:pt x="3728" y="4942"/>
                  <a:pt x="3739" y="4954"/>
                </a:cubicBezTo>
                <a:cubicBezTo>
                  <a:pt x="3763" y="4954"/>
                  <a:pt x="3763" y="4966"/>
                  <a:pt x="3775" y="4966"/>
                </a:cubicBezTo>
                <a:lnTo>
                  <a:pt x="3787" y="4966"/>
                </a:lnTo>
                <a:cubicBezTo>
                  <a:pt x="3787" y="4966"/>
                  <a:pt x="3799" y="4966"/>
                  <a:pt x="3799" y="4977"/>
                </a:cubicBezTo>
                <a:cubicBezTo>
                  <a:pt x="3823" y="4977"/>
                  <a:pt x="3823" y="4977"/>
                  <a:pt x="3835" y="5001"/>
                </a:cubicBezTo>
                <a:lnTo>
                  <a:pt x="3847" y="5013"/>
                </a:lnTo>
                <a:cubicBezTo>
                  <a:pt x="3847" y="5013"/>
                  <a:pt x="3858" y="5013"/>
                  <a:pt x="3858" y="5025"/>
                </a:cubicBezTo>
                <a:cubicBezTo>
                  <a:pt x="3882" y="5025"/>
                  <a:pt x="3882" y="5037"/>
                  <a:pt x="3894" y="5037"/>
                </a:cubicBezTo>
                <a:lnTo>
                  <a:pt x="3906" y="5037"/>
                </a:lnTo>
                <a:cubicBezTo>
                  <a:pt x="3906" y="5037"/>
                  <a:pt x="3918" y="5037"/>
                  <a:pt x="3918" y="5061"/>
                </a:cubicBezTo>
                <a:cubicBezTo>
                  <a:pt x="3942" y="5061"/>
                  <a:pt x="3942" y="5073"/>
                  <a:pt x="3954" y="5073"/>
                </a:cubicBezTo>
                <a:lnTo>
                  <a:pt x="3966" y="5085"/>
                </a:lnTo>
                <a:cubicBezTo>
                  <a:pt x="3966" y="5085"/>
                  <a:pt x="3978" y="5085"/>
                  <a:pt x="3978" y="5097"/>
                </a:cubicBezTo>
                <a:cubicBezTo>
                  <a:pt x="4001" y="5097"/>
                  <a:pt x="4001" y="5120"/>
                  <a:pt x="4013" y="5120"/>
                </a:cubicBezTo>
                <a:lnTo>
                  <a:pt x="4025" y="5132"/>
                </a:lnTo>
                <a:cubicBezTo>
                  <a:pt x="4025" y="5132"/>
                  <a:pt x="4037" y="5132"/>
                  <a:pt x="4037" y="5144"/>
                </a:cubicBezTo>
                <a:cubicBezTo>
                  <a:pt x="4061" y="5144"/>
                  <a:pt x="4073" y="5156"/>
                  <a:pt x="4085" y="5156"/>
                </a:cubicBezTo>
                <a:cubicBezTo>
                  <a:pt x="4097" y="5156"/>
                  <a:pt x="4120" y="5180"/>
                  <a:pt x="4132" y="5180"/>
                </a:cubicBezTo>
                <a:cubicBezTo>
                  <a:pt x="4144" y="5180"/>
                  <a:pt x="4144" y="5192"/>
                  <a:pt x="4156" y="5192"/>
                </a:cubicBezTo>
                <a:lnTo>
                  <a:pt x="4180" y="5204"/>
                </a:lnTo>
                <a:lnTo>
                  <a:pt x="4192" y="5216"/>
                </a:lnTo>
                <a:lnTo>
                  <a:pt x="4204" y="5239"/>
                </a:lnTo>
                <a:lnTo>
                  <a:pt x="4216" y="5251"/>
                </a:lnTo>
                <a:lnTo>
                  <a:pt x="4239" y="5263"/>
                </a:lnTo>
                <a:lnTo>
                  <a:pt x="4251" y="5275"/>
                </a:lnTo>
                <a:cubicBezTo>
                  <a:pt x="4263" y="5275"/>
                  <a:pt x="4263" y="5299"/>
                  <a:pt x="4275" y="5299"/>
                </a:cubicBezTo>
                <a:cubicBezTo>
                  <a:pt x="4299" y="5299"/>
                  <a:pt x="4299" y="5311"/>
                  <a:pt x="4311" y="5311"/>
                </a:cubicBezTo>
                <a:cubicBezTo>
                  <a:pt x="4323" y="5311"/>
                  <a:pt x="4323" y="5323"/>
                  <a:pt x="4335" y="5323"/>
                </a:cubicBezTo>
                <a:lnTo>
                  <a:pt x="4359" y="5323"/>
                </a:lnTo>
                <a:lnTo>
                  <a:pt x="4370" y="5335"/>
                </a:lnTo>
                <a:cubicBezTo>
                  <a:pt x="4382" y="5335"/>
                  <a:pt x="4382" y="5358"/>
                  <a:pt x="4394" y="5358"/>
                </a:cubicBezTo>
                <a:cubicBezTo>
                  <a:pt x="4418" y="5358"/>
                  <a:pt x="4418" y="5370"/>
                  <a:pt x="4430" y="5370"/>
                </a:cubicBezTo>
                <a:cubicBezTo>
                  <a:pt x="4442" y="5370"/>
                  <a:pt x="4442" y="5382"/>
                  <a:pt x="4454" y="5382"/>
                </a:cubicBezTo>
                <a:cubicBezTo>
                  <a:pt x="4478" y="5382"/>
                  <a:pt x="4478" y="5394"/>
                  <a:pt x="4490" y="5394"/>
                </a:cubicBezTo>
                <a:cubicBezTo>
                  <a:pt x="4501" y="5394"/>
                  <a:pt x="4501" y="5418"/>
                  <a:pt x="4513" y="5418"/>
                </a:cubicBezTo>
                <a:cubicBezTo>
                  <a:pt x="4537" y="5418"/>
                  <a:pt x="4537" y="5430"/>
                  <a:pt x="4549" y="5430"/>
                </a:cubicBezTo>
                <a:cubicBezTo>
                  <a:pt x="4561" y="5430"/>
                  <a:pt x="4561" y="5442"/>
                  <a:pt x="4573" y="5442"/>
                </a:cubicBezTo>
                <a:cubicBezTo>
                  <a:pt x="4597" y="5442"/>
                  <a:pt x="4597" y="5454"/>
                  <a:pt x="4609" y="5454"/>
                </a:cubicBezTo>
                <a:cubicBezTo>
                  <a:pt x="4620" y="5454"/>
                  <a:pt x="4620" y="5478"/>
                  <a:pt x="4632" y="5478"/>
                </a:cubicBezTo>
                <a:cubicBezTo>
                  <a:pt x="4656" y="5478"/>
                  <a:pt x="4656" y="5489"/>
                  <a:pt x="4668" y="5489"/>
                </a:cubicBezTo>
                <a:lnTo>
                  <a:pt x="4680" y="5501"/>
                </a:lnTo>
                <a:cubicBezTo>
                  <a:pt x="4692" y="5501"/>
                  <a:pt x="4692" y="5513"/>
                  <a:pt x="4716" y="5513"/>
                </a:cubicBezTo>
                <a:lnTo>
                  <a:pt x="4728" y="5537"/>
                </a:lnTo>
                <a:lnTo>
                  <a:pt x="4751" y="5561"/>
                </a:lnTo>
                <a:lnTo>
                  <a:pt x="4787" y="5597"/>
                </a:lnTo>
                <a:lnTo>
                  <a:pt x="4799" y="5608"/>
                </a:lnTo>
                <a:cubicBezTo>
                  <a:pt x="4832" y="5641"/>
                  <a:pt x="4879" y="5660"/>
                  <a:pt x="4925" y="5660"/>
                </a:cubicBezTo>
                <a:cubicBezTo>
                  <a:pt x="4962" y="5660"/>
                  <a:pt x="4998" y="5647"/>
                  <a:pt x="5025" y="5620"/>
                </a:cubicBezTo>
                <a:cubicBezTo>
                  <a:pt x="5085" y="5561"/>
                  <a:pt x="5097" y="5454"/>
                  <a:pt x="5037" y="5394"/>
                </a:cubicBezTo>
                <a:lnTo>
                  <a:pt x="5025" y="5382"/>
                </a:lnTo>
                <a:lnTo>
                  <a:pt x="4990" y="5358"/>
                </a:lnTo>
                <a:lnTo>
                  <a:pt x="4966" y="5323"/>
                </a:lnTo>
                <a:lnTo>
                  <a:pt x="4954" y="5311"/>
                </a:lnTo>
                <a:lnTo>
                  <a:pt x="4918" y="5275"/>
                </a:lnTo>
                <a:lnTo>
                  <a:pt x="4894" y="5251"/>
                </a:lnTo>
                <a:lnTo>
                  <a:pt x="4859" y="5216"/>
                </a:lnTo>
                <a:lnTo>
                  <a:pt x="4835" y="5192"/>
                </a:lnTo>
                <a:lnTo>
                  <a:pt x="4799" y="5156"/>
                </a:lnTo>
                <a:lnTo>
                  <a:pt x="4775" y="5132"/>
                </a:lnTo>
                <a:lnTo>
                  <a:pt x="4740" y="5097"/>
                </a:lnTo>
                <a:lnTo>
                  <a:pt x="4716" y="5073"/>
                </a:lnTo>
                <a:lnTo>
                  <a:pt x="4680" y="5037"/>
                </a:lnTo>
                <a:lnTo>
                  <a:pt x="4656" y="5013"/>
                </a:lnTo>
                <a:cubicBezTo>
                  <a:pt x="4632" y="5013"/>
                  <a:pt x="4632" y="5001"/>
                  <a:pt x="4620" y="5001"/>
                </a:cubicBezTo>
                <a:cubicBezTo>
                  <a:pt x="4609" y="5001"/>
                  <a:pt x="4609" y="4977"/>
                  <a:pt x="4597" y="4977"/>
                </a:cubicBezTo>
                <a:cubicBezTo>
                  <a:pt x="4573" y="4977"/>
                  <a:pt x="4573" y="4966"/>
                  <a:pt x="4561" y="4966"/>
                </a:cubicBezTo>
                <a:lnTo>
                  <a:pt x="4549" y="4966"/>
                </a:lnTo>
                <a:cubicBezTo>
                  <a:pt x="4537" y="4966"/>
                  <a:pt x="4537" y="4954"/>
                  <a:pt x="4513" y="4954"/>
                </a:cubicBezTo>
                <a:cubicBezTo>
                  <a:pt x="4501" y="4954"/>
                  <a:pt x="4501" y="4942"/>
                  <a:pt x="4490" y="4942"/>
                </a:cubicBezTo>
                <a:cubicBezTo>
                  <a:pt x="4478" y="4942"/>
                  <a:pt x="4478" y="4918"/>
                  <a:pt x="4454" y="4918"/>
                </a:cubicBezTo>
                <a:cubicBezTo>
                  <a:pt x="4442" y="4918"/>
                  <a:pt x="4442" y="4906"/>
                  <a:pt x="4430" y="4906"/>
                </a:cubicBezTo>
                <a:lnTo>
                  <a:pt x="4418" y="4894"/>
                </a:lnTo>
                <a:cubicBezTo>
                  <a:pt x="4394" y="4894"/>
                  <a:pt x="4394" y="4882"/>
                  <a:pt x="4382" y="4882"/>
                </a:cubicBezTo>
                <a:cubicBezTo>
                  <a:pt x="4370" y="4882"/>
                  <a:pt x="4370" y="4858"/>
                  <a:pt x="4359" y="4858"/>
                </a:cubicBezTo>
                <a:lnTo>
                  <a:pt x="4335" y="4846"/>
                </a:lnTo>
                <a:cubicBezTo>
                  <a:pt x="4323" y="4846"/>
                  <a:pt x="4323" y="4835"/>
                  <a:pt x="4311" y="4835"/>
                </a:cubicBezTo>
                <a:cubicBezTo>
                  <a:pt x="4299" y="4835"/>
                  <a:pt x="4299" y="4823"/>
                  <a:pt x="4275" y="4823"/>
                </a:cubicBezTo>
                <a:cubicBezTo>
                  <a:pt x="4263" y="4799"/>
                  <a:pt x="4251" y="4799"/>
                  <a:pt x="4239" y="4787"/>
                </a:cubicBezTo>
                <a:cubicBezTo>
                  <a:pt x="4216" y="4775"/>
                  <a:pt x="4204" y="4775"/>
                  <a:pt x="4192" y="4763"/>
                </a:cubicBezTo>
                <a:cubicBezTo>
                  <a:pt x="4192" y="4763"/>
                  <a:pt x="4180" y="4763"/>
                  <a:pt x="4180" y="4739"/>
                </a:cubicBezTo>
                <a:lnTo>
                  <a:pt x="4156" y="4727"/>
                </a:lnTo>
                <a:cubicBezTo>
                  <a:pt x="4144" y="4727"/>
                  <a:pt x="4144" y="4716"/>
                  <a:pt x="4132" y="4716"/>
                </a:cubicBezTo>
                <a:cubicBezTo>
                  <a:pt x="4132" y="4716"/>
                  <a:pt x="4120" y="4716"/>
                  <a:pt x="4120" y="4704"/>
                </a:cubicBezTo>
                <a:lnTo>
                  <a:pt x="4097" y="4680"/>
                </a:lnTo>
                <a:cubicBezTo>
                  <a:pt x="4085" y="4680"/>
                  <a:pt x="4085" y="4668"/>
                  <a:pt x="4073" y="4668"/>
                </a:cubicBezTo>
                <a:cubicBezTo>
                  <a:pt x="4061" y="4668"/>
                  <a:pt x="4061" y="4668"/>
                  <a:pt x="4037" y="4656"/>
                </a:cubicBezTo>
                <a:lnTo>
                  <a:pt x="4025" y="4656"/>
                </a:lnTo>
                <a:cubicBezTo>
                  <a:pt x="4013" y="4656"/>
                  <a:pt x="4013" y="4644"/>
                  <a:pt x="4001" y="4644"/>
                </a:cubicBezTo>
                <a:cubicBezTo>
                  <a:pt x="3978" y="4644"/>
                  <a:pt x="3978" y="4644"/>
                  <a:pt x="3966" y="4620"/>
                </a:cubicBezTo>
                <a:lnTo>
                  <a:pt x="3954" y="4608"/>
                </a:lnTo>
                <a:cubicBezTo>
                  <a:pt x="3942" y="4608"/>
                  <a:pt x="3942" y="4608"/>
                  <a:pt x="3918" y="4596"/>
                </a:cubicBezTo>
                <a:cubicBezTo>
                  <a:pt x="3906" y="4596"/>
                  <a:pt x="3906" y="4596"/>
                  <a:pt x="3894" y="4585"/>
                </a:cubicBezTo>
                <a:lnTo>
                  <a:pt x="3882" y="4585"/>
                </a:lnTo>
                <a:cubicBezTo>
                  <a:pt x="3858" y="4585"/>
                  <a:pt x="3847" y="4561"/>
                  <a:pt x="3847" y="4561"/>
                </a:cubicBezTo>
                <a:cubicBezTo>
                  <a:pt x="3835" y="4561"/>
                  <a:pt x="3823" y="4549"/>
                  <a:pt x="3823" y="4549"/>
                </a:cubicBezTo>
                <a:cubicBezTo>
                  <a:pt x="3799" y="4549"/>
                  <a:pt x="3787" y="4537"/>
                  <a:pt x="3787" y="4537"/>
                </a:cubicBezTo>
                <a:cubicBezTo>
                  <a:pt x="3775" y="4537"/>
                  <a:pt x="3763" y="4537"/>
                  <a:pt x="3763" y="4525"/>
                </a:cubicBezTo>
                <a:cubicBezTo>
                  <a:pt x="3739" y="4525"/>
                  <a:pt x="3728" y="4501"/>
                  <a:pt x="3716" y="4501"/>
                </a:cubicBezTo>
                <a:cubicBezTo>
                  <a:pt x="3704" y="4501"/>
                  <a:pt x="3680" y="4501"/>
                  <a:pt x="3680" y="4489"/>
                </a:cubicBezTo>
                <a:cubicBezTo>
                  <a:pt x="3668" y="4489"/>
                  <a:pt x="3656" y="4489"/>
                  <a:pt x="3644" y="4477"/>
                </a:cubicBezTo>
                <a:cubicBezTo>
                  <a:pt x="3620" y="4477"/>
                  <a:pt x="3608" y="4477"/>
                  <a:pt x="3608" y="4465"/>
                </a:cubicBezTo>
                <a:cubicBezTo>
                  <a:pt x="3597" y="4465"/>
                  <a:pt x="3585" y="4465"/>
                  <a:pt x="3561" y="4442"/>
                </a:cubicBezTo>
                <a:cubicBezTo>
                  <a:pt x="3549" y="4442"/>
                  <a:pt x="3549" y="4442"/>
                  <a:pt x="3537" y="4430"/>
                </a:cubicBezTo>
                <a:cubicBezTo>
                  <a:pt x="3525" y="4430"/>
                  <a:pt x="3501" y="4430"/>
                  <a:pt x="3489" y="4418"/>
                </a:cubicBezTo>
                <a:cubicBezTo>
                  <a:pt x="3477" y="4418"/>
                  <a:pt x="3466" y="4418"/>
                  <a:pt x="3466" y="4406"/>
                </a:cubicBezTo>
                <a:cubicBezTo>
                  <a:pt x="3442" y="4406"/>
                  <a:pt x="3430" y="4406"/>
                  <a:pt x="3418" y="4382"/>
                </a:cubicBezTo>
                <a:lnTo>
                  <a:pt x="2358" y="4382"/>
                </a:lnTo>
                <a:lnTo>
                  <a:pt x="2358" y="1334"/>
                </a:lnTo>
                <a:close/>
                <a:moveTo>
                  <a:pt x="3418" y="8621"/>
                </a:moveTo>
                <a:lnTo>
                  <a:pt x="4144" y="8918"/>
                </a:lnTo>
                <a:lnTo>
                  <a:pt x="4168" y="8918"/>
                </a:lnTo>
                <a:cubicBezTo>
                  <a:pt x="4180" y="8918"/>
                  <a:pt x="4442" y="9014"/>
                  <a:pt x="4561" y="9335"/>
                </a:cubicBezTo>
                <a:cubicBezTo>
                  <a:pt x="4180" y="9609"/>
                  <a:pt x="3751" y="9811"/>
                  <a:pt x="3275" y="9883"/>
                </a:cubicBezTo>
                <a:lnTo>
                  <a:pt x="2811" y="9883"/>
                </a:lnTo>
                <a:cubicBezTo>
                  <a:pt x="2775" y="9883"/>
                  <a:pt x="2751" y="9883"/>
                  <a:pt x="2739" y="9895"/>
                </a:cubicBezTo>
                <a:cubicBezTo>
                  <a:pt x="2180" y="9871"/>
                  <a:pt x="1680" y="9657"/>
                  <a:pt x="1275" y="9335"/>
                </a:cubicBezTo>
                <a:cubicBezTo>
                  <a:pt x="1275" y="9311"/>
                  <a:pt x="1287" y="9311"/>
                  <a:pt x="1287" y="9299"/>
                </a:cubicBezTo>
                <a:cubicBezTo>
                  <a:pt x="1406" y="9002"/>
                  <a:pt x="1668" y="8918"/>
                  <a:pt x="1680" y="8918"/>
                </a:cubicBezTo>
                <a:lnTo>
                  <a:pt x="1692" y="8918"/>
                </a:lnTo>
                <a:lnTo>
                  <a:pt x="2418" y="8633"/>
                </a:lnTo>
                <a:lnTo>
                  <a:pt x="2811" y="9002"/>
                </a:lnTo>
                <a:cubicBezTo>
                  <a:pt x="2835" y="9037"/>
                  <a:pt x="2882" y="9049"/>
                  <a:pt x="2930" y="9049"/>
                </a:cubicBezTo>
                <a:cubicBezTo>
                  <a:pt x="2977" y="9049"/>
                  <a:pt x="3013" y="9037"/>
                  <a:pt x="3049" y="9002"/>
                </a:cubicBezTo>
                <a:lnTo>
                  <a:pt x="3418" y="8621"/>
                </a:lnTo>
                <a:close/>
                <a:moveTo>
                  <a:pt x="3728" y="1"/>
                </a:moveTo>
                <a:cubicBezTo>
                  <a:pt x="3692" y="1"/>
                  <a:pt x="3644" y="13"/>
                  <a:pt x="3608" y="36"/>
                </a:cubicBezTo>
                <a:cubicBezTo>
                  <a:pt x="3585" y="72"/>
                  <a:pt x="3573" y="120"/>
                  <a:pt x="3573" y="155"/>
                </a:cubicBezTo>
                <a:lnTo>
                  <a:pt x="3573" y="1013"/>
                </a:lnTo>
                <a:lnTo>
                  <a:pt x="2275" y="1013"/>
                </a:lnTo>
                <a:cubicBezTo>
                  <a:pt x="2227" y="1013"/>
                  <a:pt x="2180" y="1025"/>
                  <a:pt x="2156" y="1048"/>
                </a:cubicBezTo>
                <a:cubicBezTo>
                  <a:pt x="2120" y="1084"/>
                  <a:pt x="2108" y="1132"/>
                  <a:pt x="2108" y="1167"/>
                </a:cubicBezTo>
                <a:lnTo>
                  <a:pt x="2120" y="4465"/>
                </a:lnTo>
                <a:lnTo>
                  <a:pt x="2084" y="4465"/>
                </a:lnTo>
                <a:cubicBezTo>
                  <a:pt x="2061" y="4465"/>
                  <a:pt x="2061" y="4465"/>
                  <a:pt x="2049" y="4477"/>
                </a:cubicBezTo>
                <a:lnTo>
                  <a:pt x="2001" y="4477"/>
                </a:lnTo>
                <a:cubicBezTo>
                  <a:pt x="1989" y="4477"/>
                  <a:pt x="1989" y="4477"/>
                  <a:pt x="1977" y="4489"/>
                </a:cubicBezTo>
                <a:lnTo>
                  <a:pt x="1965" y="4489"/>
                </a:lnTo>
                <a:cubicBezTo>
                  <a:pt x="1942" y="4489"/>
                  <a:pt x="1942" y="4489"/>
                  <a:pt x="1930" y="4513"/>
                </a:cubicBezTo>
                <a:cubicBezTo>
                  <a:pt x="1918" y="4513"/>
                  <a:pt x="1918" y="4513"/>
                  <a:pt x="1906" y="4525"/>
                </a:cubicBezTo>
                <a:lnTo>
                  <a:pt x="1882" y="4537"/>
                </a:lnTo>
                <a:cubicBezTo>
                  <a:pt x="1882" y="4537"/>
                  <a:pt x="1870" y="4537"/>
                  <a:pt x="1870" y="4549"/>
                </a:cubicBezTo>
                <a:cubicBezTo>
                  <a:pt x="1858" y="4549"/>
                  <a:pt x="1846" y="4573"/>
                  <a:pt x="1823" y="4573"/>
                </a:cubicBezTo>
                <a:cubicBezTo>
                  <a:pt x="1811" y="4573"/>
                  <a:pt x="1799" y="4585"/>
                  <a:pt x="1787" y="4585"/>
                </a:cubicBezTo>
                <a:cubicBezTo>
                  <a:pt x="1763" y="4585"/>
                  <a:pt x="1751" y="4596"/>
                  <a:pt x="1751" y="4596"/>
                </a:cubicBezTo>
                <a:cubicBezTo>
                  <a:pt x="1739" y="4596"/>
                  <a:pt x="1739" y="4608"/>
                  <a:pt x="1727" y="4608"/>
                </a:cubicBezTo>
                <a:lnTo>
                  <a:pt x="1703" y="4608"/>
                </a:lnTo>
                <a:cubicBezTo>
                  <a:pt x="1692" y="4608"/>
                  <a:pt x="1692" y="4632"/>
                  <a:pt x="1680" y="4632"/>
                </a:cubicBezTo>
                <a:cubicBezTo>
                  <a:pt x="1668" y="4632"/>
                  <a:pt x="1668" y="4644"/>
                  <a:pt x="1644" y="4644"/>
                </a:cubicBezTo>
                <a:lnTo>
                  <a:pt x="1632" y="4656"/>
                </a:lnTo>
                <a:cubicBezTo>
                  <a:pt x="1620" y="4656"/>
                  <a:pt x="1620" y="4668"/>
                  <a:pt x="1608" y="4668"/>
                </a:cubicBezTo>
                <a:cubicBezTo>
                  <a:pt x="1584" y="4668"/>
                  <a:pt x="1584" y="4692"/>
                  <a:pt x="1572" y="4692"/>
                </a:cubicBezTo>
                <a:cubicBezTo>
                  <a:pt x="1561" y="4692"/>
                  <a:pt x="1561" y="4704"/>
                  <a:pt x="1549" y="4704"/>
                </a:cubicBezTo>
                <a:cubicBezTo>
                  <a:pt x="1525" y="4704"/>
                  <a:pt x="1525" y="4716"/>
                  <a:pt x="1513" y="4716"/>
                </a:cubicBezTo>
                <a:cubicBezTo>
                  <a:pt x="1501" y="4716"/>
                  <a:pt x="1501" y="4727"/>
                  <a:pt x="1489" y="4727"/>
                </a:cubicBezTo>
                <a:cubicBezTo>
                  <a:pt x="1465" y="4727"/>
                  <a:pt x="1465" y="4751"/>
                  <a:pt x="1453" y="4751"/>
                </a:cubicBezTo>
                <a:cubicBezTo>
                  <a:pt x="1442" y="4751"/>
                  <a:pt x="1442" y="4763"/>
                  <a:pt x="1430" y="4763"/>
                </a:cubicBezTo>
                <a:cubicBezTo>
                  <a:pt x="1406" y="4763"/>
                  <a:pt x="1406" y="4775"/>
                  <a:pt x="1394" y="4775"/>
                </a:cubicBezTo>
                <a:cubicBezTo>
                  <a:pt x="1382" y="4775"/>
                  <a:pt x="1382" y="4787"/>
                  <a:pt x="1370" y="4787"/>
                </a:cubicBezTo>
                <a:cubicBezTo>
                  <a:pt x="1346" y="4787"/>
                  <a:pt x="1346" y="4811"/>
                  <a:pt x="1334" y="4811"/>
                </a:cubicBezTo>
                <a:cubicBezTo>
                  <a:pt x="1322" y="4811"/>
                  <a:pt x="1322" y="4823"/>
                  <a:pt x="1311" y="4823"/>
                </a:cubicBezTo>
                <a:cubicBezTo>
                  <a:pt x="1287" y="4823"/>
                  <a:pt x="1287" y="4835"/>
                  <a:pt x="1275" y="4835"/>
                </a:cubicBezTo>
                <a:cubicBezTo>
                  <a:pt x="1263" y="4835"/>
                  <a:pt x="1263" y="4846"/>
                  <a:pt x="1251" y="4846"/>
                </a:cubicBezTo>
                <a:cubicBezTo>
                  <a:pt x="1227" y="4846"/>
                  <a:pt x="1227" y="4870"/>
                  <a:pt x="1215" y="4870"/>
                </a:cubicBezTo>
                <a:cubicBezTo>
                  <a:pt x="1203" y="4870"/>
                  <a:pt x="1203" y="4882"/>
                  <a:pt x="1191" y="4882"/>
                </a:cubicBezTo>
                <a:cubicBezTo>
                  <a:pt x="1168" y="4882"/>
                  <a:pt x="1168" y="4894"/>
                  <a:pt x="1156" y="4894"/>
                </a:cubicBezTo>
                <a:lnTo>
                  <a:pt x="1132" y="4930"/>
                </a:lnTo>
                <a:lnTo>
                  <a:pt x="1096" y="4954"/>
                </a:lnTo>
                <a:lnTo>
                  <a:pt x="1072" y="4989"/>
                </a:lnTo>
                <a:lnTo>
                  <a:pt x="1049" y="5001"/>
                </a:lnTo>
                <a:lnTo>
                  <a:pt x="1025" y="5025"/>
                </a:lnTo>
                <a:lnTo>
                  <a:pt x="1013" y="5049"/>
                </a:lnTo>
                <a:cubicBezTo>
                  <a:pt x="989" y="5049"/>
                  <a:pt x="989" y="5061"/>
                  <a:pt x="977" y="5061"/>
                </a:cubicBezTo>
                <a:lnTo>
                  <a:pt x="965" y="5073"/>
                </a:lnTo>
                <a:lnTo>
                  <a:pt x="953" y="5085"/>
                </a:lnTo>
                <a:lnTo>
                  <a:pt x="918" y="5120"/>
                </a:lnTo>
                <a:lnTo>
                  <a:pt x="906" y="5132"/>
                </a:lnTo>
                <a:cubicBezTo>
                  <a:pt x="691" y="5347"/>
                  <a:pt x="513" y="5561"/>
                  <a:pt x="382" y="5823"/>
                </a:cubicBezTo>
                <a:lnTo>
                  <a:pt x="382" y="5835"/>
                </a:lnTo>
                <a:cubicBezTo>
                  <a:pt x="370" y="5847"/>
                  <a:pt x="370" y="5859"/>
                  <a:pt x="358" y="5882"/>
                </a:cubicBezTo>
                <a:lnTo>
                  <a:pt x="334" y="5906"/>
                </a:lnTo>
                <a:cubicBezTo>
                  <a:pt x="334" y="5918"/>
                  <a:pt x="322" y="5942"/>
                  <a:pt x="322" y="5954"/>
                </a:cubicBezTo>
                <a:cubicBezTo>
                  <a:pt x="322" y="5966"/>
                  <a:pt x="310" y="5966"/>
                  <a:pt x="310" y="5978"/>
                </a:cubicBezTo>
                <a:cubicBezTo>
                  <a:pt x="310" y="6001"/>
                  <a:pt x="299" y="6013"/>
                  <a:pt x="299" y="6025"/>
                </a:cubicBezTo>
                <a:cubicBezTo>
                  <a:pt x="299" y="6037"/>
                  <a:pt x="275" y="6037"/>
                  <a:pt x="275" y="6061"/>
                </a:cubicBezTo>
                <a:cubicBezTo>
                  <a:pt x="275" y="6073"/>
                  <a:pt x="263" y="6085"/>
                  <a:pt x="263" y="6097"/>
                </a:cubicBezTo>
                <a:cubicBezTo>
                  <a:pt x="263" y="6120"/>
                  <a:pt x="251" y="6120"/>
                  <a:pt x="251" y="6132"/>
                </a:cubicBezTo>
                <a:cubicBezTo>
                  <a:pt x="251" y="6144"/>
                  <a:pt x="239" y="6156"/>
                  <a:pt x="239" y="6180"/>
                </a:cubicBezTo>
                <a:cubicBezTo>
                  <a:pt x="239" y="6192"/>
                  <a:pt x="239" y="6192"/>
                  <a:pt x="215" y="6204"/>
                </a:cubicBezTo>
                <a:cubicBezTo>
                  <a:pt x="215" y="6216"/>
                  <a:pt x="203" y="6240"/>
                  <a:pt x="203" y="6251"/>
                </a:cubicBezTo>
                <a:lnTo>
                  <a:pt x="191" y="6275"/>
                </a:lnTo>
                <a:cubicBezTo>
                  <a:pt x="179" y="6311"/>
                  <a:pt x="179" y="6323"/>
                  <a:pt x="156" y="6359"/>
                </a:cubicBezTo>
                <a:cubicBezTo>
                  <a:pt x="156" y="6382"/>
                  <a:pt x="144" y="6394"/>
                  <a:pt x="144" y="6430"/>
                </a:cubicBezTo>
                <a:lnTo>
                  <a:pt x="144" y="6442"/>
                </a:lnTo>
                <a:lnTo>
                  <a:pt x="144" y="6454"/>
                </a:lnTo>
                <a:cubicBezTo>
                  <a:pt x="144" y="6478"/>
                  <a:pt x="132" y="6490"/>
                  <a:pt x="132" y="6501"/>
                </a:cubicBezTo>
                <a:lnTo>
                  <a:pt x="132" y="6513"/>
                </a:lnTo>
                <a:lnTo>
                  <a:pt x="132" y="6537"/>
                </a:lnTo>
                <a:cubicBezTo>
                  <a:pt x="132" y="6549"/>
                  <a:pt x="132" y="6561"/>
                  <a:pt x="120" y="6573"/>
                </a:cubicBezTo>
                <a:lnTo>
                  <a:pt x="120" y="6609"/>
                </a:lnTo>
                <a:cubicBezTo>
                  <a:pt x="120" y="6621"/>
                  <a:pt x="120" y="6632"/>
                  <a:pt x="96" y="6656"/>
                </a:cubicBezTo>
                <a:lnTo>
                  <a:pt x="96" y="6680"/>
                </a:lnTo>
                <a:cubicBezTo>
                  <a:pt x="96" y="6692"/>
                  <a:pt x="96" y="6716"/>
                  <a:pt x="84" y="6728"/>
                </a:cubicBezTo>
                <a:lnTo>
                  <a:pt x="84" y="6751"/>
                </a:lnTo>
                <a:lnTo>
                  <a:pt x="84" y="6799"/>
                </a:lnTo>
                <a:lnTo>
                  <a:pt x="84" y="6811"/>
                </a:lnTo>
                <a:lnTo>
                  <a:pt x="84" y="6847"/>
                </a:lnTo>
                <a:lnTo>
                  <a:pt x="84" y="6894"/>
                </a:lnTo>
                <a:lnTo>
                  <a:pt x="84" y="6906"/>
                </a:lnTo>
                <a:lnTo>
                  <a:pt x="84" y="6930"/>
                </a:lnTo>
                <a:lnTo>
                  <a:pt x="84" y="6966"/>
                </a:lnTo>
                <a:lnTo>
                  <a:pt x="84" y="6978"/>
                </a:lnTo>
                <a:lnTo>
                  <a:pt x="84" y="6990"/>
                </a:lnTo>
                <a:lnTo>
                  <a:pt x="84" y="7049"/>
                </a:lnTo>
                <a:lnTo>
                  <a:pt x="84" y="7073"/>
                </a:lnTo>
                <a:lnTo>
                  <a:pt x="84" y="7085"/>
                </a:lnTo>
                <a:cubicBezTo>
                  <a:pt x="1" y="8704"/>
                  <a:pt x="1263" y="10109"/>
                  <a:pt x="2882" y="10180"/>
                </a:cubicBezTo>
                <a:lnTo>
                  <a:pt x="3037" y="10180"/>
                </a:lnTo>
                <a:cubicBezTo>
                  <a:pt x="3168" y="10180"/>
                  <a:pt x="3287" y="10169"/>
                  <a:pt x="3418" y="10145"/>
                </a:cubicBezTo>
                <a:lnTo>
                  <a:pt x="8335" y="10145"/>
                </a:lnTo>
                <a:cubicBezTo>
                  <a:pt x="8419" y="10145"/>
                  <a:pt x="8490" y="10073"/>
                  <a:pt x="8490" y="9990"/>
                </a:cubicBezTo>
                <a:lnTo>
                  <a:pt x="8490" y="9133"/>
                </a:lnTo>
                <a:lnTo>
                  <a:pt x="9776" y="9133"/>
                </a:lnTo>
                <a:cubicBezTo>
                  <a:pt x="9859" y="9133"/>
                  <a:pt x="9943" y="9061"/>
                  <a:pt x="9943" y="8978"/>
                </a:cubicBezTo>
                <a:lnTo>
                  <a:pt x="9824" y="2072"/>
                </a:lnTo>
                <a:lnTo>
                  <a:pt x="9824" y="2037"/>
                </a:lnTo>
                <a:lnTo>
                  <a:pt x="9824" y="2025"/>
                </a:lnTo>
                <a:cubicBezTo>
                  <a:pt x="9824" y="2025"/>
                  <a:pt x="9824" y="2013"/>
                  <a:pt x="9800" y="2013"/>
                </a:cubicBezTo>
                <a:cubicBezTo>
                  <a:pt x="9800" y="2013"/>
                  <a:pt x="9800" y="1989"/>
                  <a:pt x="9788" y="1989"/>
                </a:cubicBezTo>
                <a:lnTo>
                  <a:pt x="9776" y="1977"/>
                </a:lnTo>
                <a:lnTo>
                  <a:pt x="7835" y="36"/>
                </a:lnTo>
                <a:lnTo>
                  <a:pt x="7823" y="24"/>
                </a:lnTo>
                <a:lnTo>
                  <a:pt x="7811" y="13"/>
                </a:lnTo>
                <a:cubicBezTo>
                  <a:pt x="7811" y="13"/>
                  <a:pt x="7799" y="13"/>
                  <a:pt x="779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046" name="Google Shape;11046;p60"/>
          <p:cNvGrpSpPr/>
          <p:nvPr/>
        </p:nvGrpSpPr>
        <p:grpSpPr>
          <a:xfrm>
            <a:off x="5318259" y="2982111"/>
            <a:ext cx="371013" cy="220787"/>
            <a:chOff x="5318259" y="2982111"/>
            <a:chExt cx="371013" cy="220787"/>
          </a:xfrm>
        </p:grpSpPr>
        <p:sp>
          <p:nvSpPr>
            <p:cNvPr id="11047" name="Google Shape;11047;p60"/>
            <p:cNvSpPr/>
            <p:nvPr/>
          </p:nvSpPr>
          <p:spPr>
            <a:xfrm>
              <a:off x="5364123" y="3021546"/>
              <a:ext cx="58372" cy="18396"/>
            </a:xfrm>
            <a:custGeom>
              <a:avLst/>
              <a:gdLst/>
              <a:ahLst/>
              <a:cxnLst/>
              <a:rect l="l" t="t" r="r" b="b"/>
              <a:pathLst>
                <a:path w="1834" h="578" extrusionOk="0">
                  <a:moveTo>
                    <a:pt x="674" y="0"/>
                  </a:moveTo>
                  <a:cubicBezTo>
                    <a:pt x="513" y="0"/>
                    <a:pt x="335" y="16"/>
                    <a:pt x="143" y="54"/>
                  </a:cubicBezTo>
                  <a:cubicBezTo>
                    <a:pt x="60" y="66"/>
                    <a:pt x="0" y="149"/>
                    <a:pt x="0" y="220"/>
                  </a:cubicBezTo>
                  <a:lnTo>
                    <a:pt x="0" y="399"/>
                  </a:lnTo>
                  <a:cubicBezTo>
                    <a:pt x="0" y="482"/>
                    <a:pt x="72" y="566"/>
                    <a:pt x="167" y="566"/>
                  </a:cubicBezTo>
                  <a:cubicBezTo>
                    <a:pt x="250" y="566"/>
                    <a:pt x="334" y="482"/>
                    <a:pt x="334" y="399"/>
                  </a:cubicBezTo>
                  <a:lnTo>
                    <a:pt x="334" y="351"/>
                  </a:lnTo>
                  <a:cubicBezTo>
                    <a:pt x="453" y="332"/>
                    <a:pt x="564" y="324"/>
                    <a:pt x="666" y="324"/>
                  </a:cubicBezTo>
                  <a:cubicBezTo>
                    <a:pt x="878" y="324"/>
                    <a:pt x="1050" y="359"/>
                    <a:pt x="1179" y="399"/>
                  </a:cubicBezTo>
                  <a:cubicBezTo>
                    <a:pt x="1405" y="459"/>
                    <a:pt x="1536" y="530"/>
                    <a:pt x="1536" y="542"/>
                  </a:cubicBezTo>
                  <a:cubicBezTo>
                    <a:pt x="1560" y="566"/>
                    <a:pt x="1596" y="578"/>
                    <a:pt x="1619" y="578"/>
                  </a:cubicBezTo>
                  <a:cubicBezTo>
                    <a:pt x="1679" y="578"/>
                    <a:pt x="1727" y="542"/>
                    <a:pt x="1774" y="506"/>
                  </a:cubicBezTo>
                  <a:cubicBezTo>
                    <a:pt x="1834" y="423"/>
                    <a:pt x="1810" y="328"/>
                    <a:pt x="1727" y="256"/>
                  </a:cubicBezTo>
                  <a:cubicBezTo>
                    <a:pt x="1707" y="247"/>
                    <a:pt x="1322" y="0"/>
                    <a:pt x="6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8" name="Google Shape;11048;p60"/>
            <p:cNvSpPr/>
            <p:nvPr/>
          </p:nvSpPr>
          <p:spPr>
            <a:xfrm>
              <a:off x="5346681" y="3151338"/>
              <a:ext cx="11012" cy="39052"/>
            </a:xfrm>
            <a:custGeom>
              <a:avLst/>
              <a:gdLst/>
              <a:ahLst/>
              <a:cxnLst/>
              <a:rect l="l" t="t" r="r" b="b"/>
              <a:pathLst>
                <a:path w="346" h="1227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1072"/>
                  </a:lnTo>
                  <a:cubicBezTo>
                    <a:pt x="0" y="1155"/>
                    <a:pt x="72" y="1226"/>
                    <a:pt x="167" y="1226"/>
                  </a:cubicBezTo>
                  <a:cubicBezTo>
                    <a:pt x="250" y="1226"/>
                    <a:pt x="322" y="1155"/>
                    <a:pt x="322" y="1072"/>
                  </a:cubicBezTo>
                  <a:lnTo>
                    <a:pt x="322" y="155"/>
                  </a:lnTo>
                  <a:cubicBezTo>
                    <a:pt x="346" y="71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9" name="Google Shape;11049;p60"/>
            <p:cNvSpPr/>
            <p:nvPr/>
          </p:nvSpPr>
          <p:spPr>
            <a:xfrm>
              <a:off x="5318259" y="2988763"/>
              <a:ext cx="149717" cy="202773"/>
            </a:xfrm>
            <a:custGeom>
              <a:avLst/>
              <a:gdLst/>
              <a:ahLst/>
              <a:cxnLst/>
              <a:rect l="l" t="t" r="r" b="b"/>
              <a:pathLst>
                <a:path w="4704" h="6371" extrusionOk="0">
                  <a:moveTo>
                    <a:pt x="3620" y="322"/>
                  </a:moveTo>
                  <a:lnTo>
                    <a:pt x="3620" y="1179"/>
                  </a:lnTo>
                  <a:cubicBezTo>
                    <a:pt x="3620" y="1322"/>
                    <a:pt x="3584" y="1453"/>
                    <a:pt x="3513" y="1596"/>
                  </a:cubicBezTo>
                  <a:lnTo>
                    <a:pt x="3441" y="1727"/>
                  </a:lnTo>
                  <a:cubicBezTo>
                    <a:pt x="3418" y="1750"/>
                    <a:pt x="3418" y="1774"/>
                    <a:pt x="3418" y="1798"/>
                  </a:cubicBezTo>
                  <a:lnTo>
                    <a:pt x="3418" y="2167"/>
                  </a:lnTo>
                  <a:cubicBezTo>
                    <a:pt x="3453" y="2465"/>
                    <a:pt x="3334" y="2751"/>
                    <a:pt x="3108" y="2965"/>
                  </a:cubicBezTo>
                  <a:cubicBezTo>
                    <a:pt x="2892" y="3158"/>
                    <a:pt x="2633" y="3275"/>
                    <a:pt x="2351" y="3275"/>
                  </a:cubicBezTo>
                  <a:cubicBezTo>
                    <a:pt x="2338" y="3275"/>
                    <a:pt x="2324" y="3275"/>
                    <a:pt x="2310" y="3274"/>
                  </a:cubicBezTo>
                  <a:cubicBezTo>
                    <a:pt x="1715" y="3263"/>
                    <a:pt x="1239" y="2739"/>
                    <a:pt x="1239" y="2108"/>
                  </a:cubicBezTo>
                  <a:lnTo>
                    <a:pt x="1239" y="1798"/>
                  </a:lnTo>
                  <a:cubicBezTo>
                    <a:pt x="1239" y="1774"/>
                    <a:pt x="1239" y="1739"/>
                    <a:pt x="1215" y="1727"/>
                  </a:cubicBezTo>
                  <a:lnTo>
                    <a:pt x="1143" y="1596"/>
                  </a:lnTo>
                  <a:cubicBezTo>
                    <a:pt x="1084" y="1453"/>
                    <a:pt x="1036" y="1322"/>
                    <a:pt x="1036" y="1179"/>
                  </a:cubicBezTo>
                  <a:cubicBezTo>
                    <a:pt x="1036" y="715"/>
                    <a:pt x="1429" y="322"/>
                    <a:pt x="1894" y="322"/>
                  </a:cubicBezTo>
                  <a:close/>
                  <a:moveTo>
                    <a:pt x="2906" y="3513"/>
                  </a:moveTo>
                  <a:lnTo>
                    <a:pt x="2906" y="3751"/>
                  </a:lnTo>
                  <a:cubicBezTo>
                    <a:pt x="2906" y="3798"/>
                    <a:pt x="2918" y="3858"/>
                    <a:pt x="2918" y="3894"/>
                  </a:cubicBezTo>
                  <a:lnTo>
                    <a:pt x="2334" y="4334"/>
                  </a:lnTo>
                  <a:lnTo>
                    <a:pt x="1763" y="3894"/>
                  </a:lnTo>
                  <a:cubicBezTo>
                    <a:pt x="1775" y="3858"/>
                    <a:pt x="1775" y="3798"/>
                    <a:pt x="1775" y="3751"/>
                  </a:cubicBezTo>
                  <a:lnTo>
                    <a:pt x="1775" y="3513"/>
                  </a:lnTo>
                  <a:cubicBezTo>
                    <a:pt x="1929" y="3584"/>
                    <a:pt x="2096" y="3632"/>
                    <a:pt x="2286" y="3632"/>
                  </a:cubicBezTo>
                  <a:lnTo>
                    <a:pt x="2334" y="3632"/>
                  </a:lnTo>
                  <a:cubicBezTo>
                    <a:pt x="2525" y="3632"/>
                    <a:pt x="2727" y="3584"/>
                    <a:pt x="2906" y="3513"/>
                  </a:cubicBezTo>
                  <a:close/>
                  <a:moveTo>
                    <a:pt x="1905" y="0"/>
                  </a:moveTo>
                  <a:cubicBezTo>
                    <a:pt x="1251" y="0"/>
                    <a:pt x="715" y="536"/>
                    <a:pt x="715" y="1191"/>
                  </a:cubicBezTo>
                  <a:cubicBezTo>
                    <a:pt x="715" y="1381"/>
                    <a:pt x="762" y="1572"/>
                    <a:pt x="846" y="1750"/>
                  </a:cubicBezTo>
                  <a:lnTo>
                    <a:pt x="893" y="1858"/>
                  </a:lnTo>
                  <a:lnTo>
                    <a:pt x="893" y="2120"/>
                  </a:lnTo>
                  <a:cubicBezTo>
                    <a:pt x="893" y="2596"/>
                    <a:pt x="1108" y="3013"/>
                    <a:pt x="1441" y="3298"/>
                  </a:cubicBezTo>
                  <a:lnTo>
                    <a:pt x="1441" y="3763"/>
                  </a:lnTo>
                  <a:cubicBezTo>
                    <a:pt x="1441" y="3834"/>
                    <a:pt x="1405" y="3906"/>
                    <a:pt x="1322" y="3941"/>
                  </a:cubicBezTo>
                  <a:lnTo>
                    <a:pt x="465" y="4263"/>
                  </a:lnTo>
                  <a:cubicBezTo>
                    <a:pt x="179" y="4370"/>
                    <a:pt x="0" y="4644"/>
                    <a:pt x="0" y="4941"/>
                  </a:cubicBezTo>
                  <a:lnTo>
                    <a:pt x="0" y="6203"/>
                  </a:lnTo>
                  <a:cubicBezTo>
                    <a:pt x="0" y="6299"/>
                    <a:pt x="72" y="6370"/>
                    <a:pt x="167" y="6370"/>
                  </a:cubicBezTo>
                  <a:cubicBezTo>
                    <a:pt x="251" y="6370"/>
                    <a:pt x="334" y="6299"/>
                    <a:pt x="334" y="6203"/>
                  </a:cubicBezTo>
                  <a:lnTo>
                    <a:pt x="334" y="4941"/>
                  </a:lnTo>
                  <a:cubicBezTo>
                    <a:pt x="334" y="4775"/>
                    <a:pt x="429" y="4644"/>
                    <a:pt x="572" y="4584"/>
                  </a:cubicBezTo>
                  <a:lnTo>
                    <a:pt x="1429" y="4251"/>
                  </a:lnTo>
                  <a:cubicBezTo>
                    <a:pt x="1477" y="4239"/>
                    <a:pt x="1513" y="4215"/>
                    <a:pt x="1560" y="4179"/>
                  </a:cubicBezTo>
                  <a:lnTo>
                    <a:pt x="2179" y="4644"/>
                  </a:lnTo>
                  <a:lnTo>
                    <a:pt x="2179" y="6203"/>
                  </a:lnTo>
                  <a:cubicBezTo>
                    <a:pt x="2179" y="6299"/>
                    <a:pt x="2251" y="6370"/>
                    <a:pt x="2334" y="6370"/>
                  </a:cubicBezTo>
                  <a:cubicBezTo>
                    <a:pt x="2429" y="6370"/>
                    <a:pt x="2501" y="6299"/>
                    <a:pt x="2501" y="6203"/>
                  </a:cubicBezTo>
                  <a:lnTo>
                    <a:pt x="2501" y="4644"/>
                  </a:lnTo>
                  <a:lnTo>
                    <a:pt x="3108" y="4179"/>
                  </a:lnTo>
                  <a:cubicBezTo>
                    <a:pt x="3156" y="4215"/>
                    <a:pt x="3203" y="4239"/>
                    <a:pt x="3239" y="4251"/>
                  </a:cubicBezTo>
                  <a:lnTo>
                    <a:pt x="4108" y="4584"/>
                  </a:lnTo>
                  <a:cubicBezTo>
                    <a:pt x="4251" y="4644"/>
                    <a:pt x="4346" y="4775"/>
                    <a:pt x="4346" y="4941"/>
                  </a:cubicBezTo>
                  <a:cubicBezTo>
                    <a:pt x="4346" y="5025"/>
                    <a:pt x="4418" y="5108"/>
                    <a:pt x="4513" y="5108"/>
                  </a:cubicBezTo>
                  <a:cubicBezTo>
                    <a:pt x="4596" y="5108"/>
                    <a:pt x="4668" y="5025"/>
                    <a:pt x="4668" y="4941"/>
                  </a:cubicBezTo>
                  <a:cubicBezTo>
                    <a:pt x="4703" y="4632"/>
                    <a:pt x="4525" y="4358"/>
                    <a:pt x="4239" y="4251"/>
                  </a:cubicBezTo>
                  <a:lnTo>
                    <a:pt x="3382" y="3929"/>
                  </a:lnTo>
                  <a:cubicBezTo>
                    <a:pt x="3310" y="3894"/>
                    <a:pt x="3263" y="3822"/>
                    <a:pt x="3263" y="3751"/>
                  </a:cubicBezTo>
                  <a:lnTo>
                    <a:pt x="3263" y="3322"/>
                  </a:lnTo>
                  <a:cubicBezTo>
                    <a:pt x="3310" y="3286"/>
                    <a:pt x="3334" y="3263"/>
                    <a:pt x="3370" y="3227"/>
                  </a:cubicBezTo>
                  <a:cubicBezTo>
                    <a:pt x="3644" y="2941"/>
                    <a:pt x="3810" y="2584"/>
                    <a:pt x="3810" y="2179"/>
                  </a:cubicBezTo>
                  <a:lnTo>
                    <a:pt x="3810" y="1858"/>
                  </a:lnTo>
                  <a:lnTo>
                    <a:pt x="3858" y="1750"/>
                  </a:lnTo>
                  <a:cubicBezTo>
                    <a:pt x="3941" y="1572"/>
                    <a:pt x="3989" y="1381"/>
                    <a:pt x="3989" y="1191"/>
                  </a:cubicBezTo>
                  <a:lnTo>
                    <a:pt x="3989" y="155"/>
                  </a:lnTo>
                  <a:cubicBezTo>
                    <a:pt x="3989" y="72"/>
                    <a:pt x="3918" y="0"/>
                    <a:pt x="3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0" name="Google Shape;11050;p60"/>
            <p:cNvSpPr/>
            <p:nvPr/>
          </p:nvSpPr>
          <p:spPr>
            <a:xfrm>
              <a:off x="5548658" y="2982111"/>
              <a:ext cx="140614" cy="208279"/>
            </a:xfrm>
            <a:custGeom>
              <a:avLst/>
              <a:gdLst/>
              <a:ahLst/>
              <a:cxnLst/>
              <a:rect l="l" t="t" r="r" b="b"/>
              <a:pathLst>
                <a:path w="4418" h="6544" extrusionOk="0">
                  <a:moveTo>
                    <a:pt x="2246" y="370"/>
                  </a:moveTo>
                  <a:cubicBezTo>
                    <a:pt x="2295" y="370"/>
                    <a:pt x="2346" y="376"/>
                    <a:pt x="2394" y="388"/>
                  </a:cubicBezTo>
                  <a:cubicBezTo>
                    <a:pt x="3132" y="459"/>
                    <a:pt x="3715" y="1102"/>
                    <a:pt x="3727" y="1876"/>
                  </a:cubicBezTo>
                  <a:cubicBezTo>
                    <a:pt x="3727" y="2602"/>
                    <a:pt x="3906" y="3269"/>
                    <a:pt x="4061" y="3626"/>
                  </a:cubicBezTo>
                  <a:lnTo>
                    <a:pt x="4061" y="3638"/>
                  </a:lnTo>
                  <a:cubicBezTo>
                    <a:pt x="3882" y="3722"/>
                    <a:pt x="3537" y="3912"/>
                    <a:pt x="2953" y="4031"/>
                  </a:cubicBezTo>
                  <a:lnTo>
                    <a:pt x="2953" y="3972"/>
                  </a:lnTo>
                  <a:lnTo>
                    <a:pt x="2953" y="3626"/>
                  </a:lnTo>
                  <a:cubicBezTo>
                    <a:pt x="3179" y="3495"/>
                    <a:pt x="3370" y="3317"/>
                    <a:pt x="3489" y="3091"/>
                  </a:cubicBezTo>
                  <a:cubicBezTo>
                    <a:pt x="3727" y="2674"/>
                    <a:pt x="3644" y="2126"/>
                    <a:pt x="3287" y="1793"/>
                  </a:cubicBezTo>
                  <a:cubicBezTo>
                    <a:pt x="3025" y="1578"/>
                    <a:pt x="2584" y="1293"/>
                    <a:pt x="1870" y="1293"/>
                  </a:cubicBezTo>
                  <a:cubicBezTo>
                    <a:pt x="1822" y="1293"/>
                    <a:pt x="1786" y="1305"/>
                    <a:pt x="1751" y="1340"/>
                  </a:cubicBezTo>
                  <a:lnTo>
                    <a:pt x="1382" y="1709"/>
                  </a:lnTo>
                  <a:cubicBezTo>
                    <a:pt x="1322" y="1769"/>
                    <a:pt x="1322" y="1888"/>
                    <a:pt x="1382" y="1948"/>
                  </a:cubicBezTo>
                  <a:cubicBezTo>
                    <a:pt x="1411" y="1977"/>
                    <a:pt x="1456" y="1992"/>
                    <a:pt x="1501" y="1992"/>
                  </a:cubicBezTo>
                  <a:cubicBezTo>
                    <a:pt x="1545" y="1992"/>
                    <a:pt x="1590" y="1977"/>
                    <a:pt x="1620" y="1948"/>
                  </a:cubicBezTo>
                  <a:lnTo>
                    <a:pt x="1929" y="1638"/>
                  </a:lnTo>
                  <a:cubicBezTo>
                    <a:pt x="2394" y="1650"/>
                    <a:pt x="2763" y="1781"/>
                    <a:pt x="3048" y="2055"/>
                  </a:cubicBezTo>
                  <a:cubicBezTo>
                    <a:pt x="3287" y="2269"/>
                    <a:pt x="3346" y="2650"/>
                    <a:pt x="3179" y="2924"/>
                  </a:cubicBezTo>
                  <a:cubicBezTo>
                    <a:pt x="2989" y="3269"/>
                    <a:pt x="2608" y="3495"/>
                    <a:pt x="2215" y="3495"/>
                  </a:cubicBezTo>
                  <a:cubicBezTo>
                    <a:pt x="1596" y="3495"/>
                    <a:pt x="1108" y="3007"/>
                    <a:pt x="1108" y="2388"/>
                  </a:cubicBezTo>
                  <a:cubicBezTo>
                    <a:pt x="1108" y="2305"/>
                    <a:pt x="1036" y="2233"/>
                    <a:pt x="941" y="2233"/>
                  </a:cubicBezTo>
                  <a:cubicBezTo>
                    <a:pt x="858" y="2233"/>
                    <a:pt x="786" y="2305"/>
                    <a:pt x="786" y="2388"/>
                  </a:cubicBezTo>
                  <a:cubicBezTo>
                    <a:pt x="786" y="2924"/>
                    <a:pt x="1084" y="3400"/>
                    <a:pt x="1513" y="3662"/>
                  </a:cubicBezTo>
                  <a:lnTo>
                    <a:pt x="1513" y="3995"/>
                  </a:lnTo>
                  <a:lnTo>
                    <a:pt x="1513" y="4055"/>
                  </a:lnTo>
                  <a:cubicBezTo>
                    <a:pt x="929" y="3936"/>
                    <a:pt x="608" y="3745"/>
                    <a:pt x="441" y="3638"/>
                  </a:cubicBezTo>
                  <a:cubicBezTo>
                    <a:pt x="441" y="3638"/>
                    <a:pt x="429" y="3638"/>
                    <a:pt x="441" y="3626"/>
                  </a:cubicBezTo>
                  <a:cubicBezTo>
                    <a:pt x="596" y="3269"/>
                    <a:pt x="774" y="2602"/>
                    <a:pt x="774" y="1876"/>
                  </a:cubicBezTo>
                  <a:cubicBezTo>
                    <a:pt x="774" y="1114"/>
                    <a:pt x="1370" y="459"/>
                    <a:pt x="2108" y="388"/>
                  </a:cubicBezTo>
                  <a:cubicBezTo>
                    <a:pt x="2150" y="376"/>
                    <a:pt x="2197" y="370"/>
                    <a:pt x="2246" y="370"/>
                  </a:cubicBezTo>
                  <a:close/>
                  <a:moveTo>
                    <a:pt x="2584" y="3769"/>
                  </a:moveTo>
                  <a:lnTo>
                    <a:pt x="2584" y="3972"/>
                  </a:lnTo>
                  <a:cubicBezTo>
                    <a:pt x="2584" y="4174"/>
                    <a:pt x="2703" y="4365"/>
                    <a:pt x="2882" y="4448"/>
                  </a:cubicBezTo>
                  <a:lnTo>
                    <a:pt x="2989" y="4507"/>
                  </a:lnTo>
                  <a:cubicBezTo>
                    <a:pt x="2858" y="4769"/>
                    <a:pt x="2560" y="4936"/>
                    <a:pt x="2227" y="4936"/>
                  </a:cubicBezTo>
                  <a:cubicBezTo>
                    <a:pt x="1917" y="4936"/>
                    <a:pt x="1620" y="4769"/>
                    <a:pt x="1441" y="4507"/>
                  </a:cubicBezTo>
                  <a:lnTo>
                    <a:pt x="1548" y="4448"/>
                  </a:lnTo>
                  <a:cubicBezTo>
                    <a:pt x="1727" y="4365"/>
                    <a:pt x="1846" y="4162"/>
                    <a:pt x="1846" y="3972"/>
                  </a:cubicBezTo>
                  <a:lnTo>
                    <a:pt x="1846" y="3769"/>
                  </a:lnTo>
                  <a:cubicBezTo>
                    <a:pt x="1965" y="3793"/>
                    <a:pt x="2096" y="3805"/>
                    <a:pt x="2215" y="3805"/>
                  </a:cubicBezTo>
                  <a:cubicBezTo>
                    <a:pt x="2346" y="3805"/>
                    <a:pt x="2465" y="3793"/>
                    <a:pt x="2584" y="3769"/>
                  </a:cubicBezTo>
                  <a:close/>
                  <a:moveTo>
                    <a:pt x="2209" y="1"/>
                  </a:moveTo>
                  <a:cubicBezTo>
                    <a:pt x="2153" y="1"/>
                    <a:pt x="2096" y="7"/>
                    <a:pt x="2036" y="19"/>
                  </a:cubicBezTo>
                  <a:cubicBezTo>
                    <a:pt x="1108" y="102"/>
                    <a:pt x="393" y="912"/>
                    <a:pt x="381" y="1840"/>
                  </a:cubicBezTo>
                  <a:cubicBezTo>
                    <a:pt x="381" y="2519"/>
                    <a:pt x="215" y="3138"/>
                    <a:pt x="84" y="3472"/>
                  </a:cubicBezTo>
                  <a:cubicBezTo>
                    <a:pt x="24" y="3614"/>
                    <a:pt x="72" y="3793"/>
                    <a:pt x="203" y="3876"/>
                  </a:cubicBezTo>
                  <a:cubicBezTo>
                    <a:pt x="358" y="3984"/>
                    <a:pt x="632" y="4150"/>
                    <a:pt x="1084" y="4281"/>
                  </a:cubicBezTo>
                  <a:lnTo>
                    <a:pt x="393" y="4626"/>
                  </a:lnTo>
                  <a:cubicBezTo>
                    <a:pt x="215" y="4722"/>
                    <a:pt x="84" y="4877"/>
                    <a:pt x="24" y="5055"/>
                  </a:cubicBezTo>
                  <a:cubicBezTo>
                    <a:pt x="0" y="5150"/>
                    <a:pt x="60" y="5234"/>
                    <a:pt x="143" y="5269"/>
                  </a:cubicBezTo>
                  <a:lnTo>
                    <a:pt x="191" y="5269"/>
                  </a:lnTo>
                  <a:cubicBezTo>
                    <a:pt x="262" y="5269"/>
                    <a:pt x="334" y="5222"/>
                    <a:pt x="358" y="5150"/>
                  </a:cubicBezTo>
                  <a:cubicBezTo>
                    <a:pt x="381" y="5043"/>
                    <a:pt x="453" y="4972"/>
                    <a:pt x="548" y="4924"/>
                  </a:cubicBezTo>
                  <a:lnTo>
                    <a:pt x="1084" y="4662"/>
                  </a:lnTo>
                  <a:cubicBezTo>
                    <a:pt x="1310" y="5043"/>
                    <a:pt x="1727" y="5281"/>
                    <a:pt x="2167" y="5281"/>
                  </a:cubicBezTo>
                  <a:cubicBezTo>
                    <a:pt x="2620" y="5281"/>
                    <a:pt x="3037" y="5043"/>
                    <a:pt x="3251" y="4662"/>
                  </a:cubicBezTo>
                  <a:lnTo>
                    <a:pt x="3787" y="4924"/>
                  </a:lnTo>
                  <a:cubicBezTo>
                    <a:pt x="3930" y="4984"/>
                    <a:pt x="4001" y="5115"/>
                    <a:pt x="4001" y="5269"/>
                  </a:cubicBezTo>
                  <a:lnTo>
                    <a:pt x="4001" y="6377"/>
                  </a:lnTo>
                  <a:cubicBezTo>
                    <a:pt x="4001" y="6472"/>
                    <a:pt x="4072" y="6543"/>
                    <a:pt x="4168" y="6543"/>
                  </a:cubicBezTo>
                  <a:cubicBezTo>
                    <a:pt x="4251" y="6543"/>
                    <a:pt x="4322" y="6472"/>
                    <a:pt x="4322" y="6377"/>
                  </a:cubicBezTo>
                  <a:lnTo>
                    <a:pt x="4322" y="5269"/>
                  </a:lnTo>
                  <a:cubicBezTo>
                    <a:pt x="4418" y="4996"/>
                    <a:pt x="4263" y="4746"/>
                    <a:pt x="4013" y="4626"/>
                  </a:cubicBezTo>
                  <a:lnTo>
                    <a:pt x="3334" y="4281"/>
                  </a:lnTo>
                  <a:cubicBezTo>
                    <a:pt x="3787" y="4150"/>
                    <a:pt x="4072" y="3984"/>
                    <a:pt x="4203" y="3876"/>
                  </a:cubicBezTo>
                  <a:cubicBezTo>
                    <a:pt x="4346" y="3793"/>
                    <a:pt x="4406" y="3614"/>
                    <a:pt x="4322" y="3472"/>
                  </a:cubicBezTo>
                  <a:cubicBezTo>
                    <a:pt x="4191" y="3138"/>
                    <a:pt x="4025" y="2519"/>
                    <a:pt x="4025" y="1840"/>
                  </a:cubicBezTo>
                  <a:cubicBezTo>
                    <a:pt x="4025" y="912"/>
                    <a:pt x="3299" y="102"/>
                    <a:pt x="2382" y="19"/>
                  </a:cubicBezTo>
                  <a:cubicBezTo>
                    <a:pt x="2322" y="7"/>
                    <a:pt x="2266" y="1"/>
                    <a:pt x="22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1" name="Google Shape;11051;p60"/>
            <p:cNvSpPr/>
            <p:nvPr/>
          </p:nvSpPr>
          <p:spPr>
            <a:xfrm>
              <a:off x="5655153" y="3157004"/>
              <a:ext cx="10630" cy="33387"/>
            </a:xfrm>
            <a:custGeom>
              <a:avLst/>
              <a:gdLst/>
              <a:ahLst/>
              <a:cxnLst/>
              <a:rect l="l" t="t" r="r" b="b"/>
              <a:pathLst>
                <a:path w="334" h="1049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894"/>
                  </a:lnTo>
                  <a:cubicBezTo>
                    <a:pt x="0" y="977"/>
                    <a:pt x="72" y="1048"/>
                    <a:pt x="167" y="1048"/>
                  </a:cubicBezTo>
                  <a:cubicBezTo>
                    <a:pt x="250" y="1048"/>
                    <a:pt x="322" y="977"/>
                    <a:pt x="322" y="894"/>
                  </a:cubicBezTo>
                  <a:lnTo>
                    <a:pt x="322" y="155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2" name="Google Shape;11052;p60"/>
            <p:cNvSpPr/>
            <p:nvPr/>
          </p:nvSpPr>
          <p:spPr>
            <a:xfrm>
              <a:off x="5497893" y="3174445"/>
              <a:ext cx="11012" cy="10248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79" y="0"/>
                  </a:moveTo>
                  <a:cubicBezTo>
                    <a:pt x="83" y="0"/>
                    <a:pt x="0" y="72"/>
                    <a:pt x="0" y="167"/>
                  </a:cubicBezTo>
                  <a:cubicBezTo>
                    <a:pt x="0" y="250"/>
                    <a:pt x="71" y="322"/>
                    <a:pt x="179" y="322"/>
                  </a:cubicBezTo>
                  <a:cubicBezTo>
                    <a:pt x="262" y="322"/>
                    <a:pt x="333" y="250"/>
                    <a:pt x="333" y="167"/>
                  </a:cubicBezTo>
                  <a:cubicBezTo>
                    <a:pt x="345" y="72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3" name="Google Shape;11053;p60"/>
            <p:cNvSpPr/>
            <p:nvPr/>
          </p:nvSpPr>
          <p:spPr>
            <a:xfrm>
              <a:off x="5410718" y="3156972"/>
              <a:ext cx="74699" cy="45927"/>
            </a:xfrm>
            <a:custGeom>
              <a:avLst/>
              <a:gdLst/>
              <a:ahLst/>
              <a:cxnLst/>
              <a:rect l="l" t="t" r="r" b="b"/>
              <a:pathLst>
                <a:path w="2347" h="1443" extrusionOk="0">
                  <a:moveTo>
                    <a:pt x="905" y="0"/>
                  </a:moveTo>
                  <a:cubicBezTo>
                    <a:pt x="870" y="0"/>
                    <a:pt x="833" y="13"/>
                    <a:pt x="798" y="37"/>
                  </a:cubicBezTo>
                  <a:lnTo>
                    <a:pt x="72" y="585"/>
                  </a:lnTo>
                  <a:cubicBezTo>
                    <a:pt x="24" y="621"/>
                    <a:pt x="1" y="680"/>
                    <a:pt x="1" y="728"/>
                  </a:cubicBezTo>
                  <a:cubicBezTo>
                    <a:pt x="1" y="764"/>
                    <a:pt x="24" y="823"/>
                    <a:pt x="72" y="859"/>
                  </a:cubicBezTo>
                  <a:lnTo>
                    <a:pt x="798" y="1407"/>
                  </a:lnTo>
                  <a:cubicBezTo>
                    <a:pt x="834" y="1442"/>
                    <a:pt x="858" y="1442"/>
                    <a:pt x="905" y="1442"/>
                  </a:cubicBezTo>
                  <a:cubicBezTo>
                    <a:pt x="953" y="1442"/>
                    <a:pt x="1013" y="1407"/>
                    <a:pt x="1036" y="1359"/>
                  </a:cubicBezTo>
                  <a:cubicBezTo>
                    <a:pt x="1096" y="1287"/>
                    <a:pt x="1084" y="1180"/>
                    <a:pt x="1013" y="1121"/>
                  </a:cubicBezTo>
                  <a:lnTo>
                    <a:pt x="679" y="883"/>
                  </a:lnTo>
                  <a:lnTo>
                    <a:pt x="2191" y="883"/>
                  </a:lnTo>
                  <a:cubicBezTo>
                    <a:pt x="2275" y="883"/>
                    <a:pt x="2346" y="811"/>
                    <a:pt x="2346" y="728"/>
                  </a:cubicBezTo>
                  <a:cubicBezTo>
                    <a:pt x="2346" y="621"/>
                    <a:pt x="2275" y="549"/>
                    <a:pt x="2191" y="549"/>
                  </a:cubicBezTo>
                  <a:lnTo>
                    <a:pt x="679" y="549"/>
                  </a:lnTo>
                  <a:lnTo>
                    <a:pt x="1013" y="311"/>
                  </a:lnTo>
                  <a:cubicBezTo>
                    <a:pt x="1084" y="252"/>
                    <a:pt x="1096" y="145"/>
                    <a:pt x="1036" y="73"/>
                  </a:cubicBezTo>
                  <a:cubicBezTo>
                    <a:pt x="1002" y="24"/>
                    <a:pt x="955" y="0"/>
                    <a:pt x="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4" name="Google Shape;11054;p60"/>
            <p:cNvSpPr/>
            <p:nvPr/>
          </p:nvSpPr>
          <p:spPr>
            <a:xfrm>
              <a:off x="5521382" y="3156590"/>
              <a:ext cx="75049" cy="45163"/>
            </a:xfrm>
            <a:custGeom>
              <a:avLst/>
              <a:gdLst/>
              <a:ahLst/>
              <a:cxnLst/>
              <a:rect l="l" t="t" r="r" b="b"/>
              <a:pathLst>
                <a:path w="2358" h="1419" extrusionOk="0">
                  <a:moveTo>
                    <a:pt x="1446" y="0"/>
                  </a:moveTo>
                  <a:cubicBezTo>
                    <a:pt x="1396" y="0"/>
                    <a:pt x="1345" y="25"/>
                    <a:pt x="1310" y="73"/>
                  </a:cubicBezTo>
                  <a:cubicBezTo>
                    <a:pt x="1250" y="145"/>
                    <a:pt x="1274" y="252"/>
                    <a:pt x="1346" y="311"/>
                  </a:cubicBezTo>
                  <a:lnTo>
                    <a:pt x="1667" y="549"/>
                  </a:lnTo>
                  <a:lnTo>
                    <a:pt x="167" y="549"/>
                  </a:lnTo>
                  <a:cubicBezTo>
                    <a:pt x="84" y="549"/>
                    <a:pt x="0" y="621"/>
                    <a:pt x="0" y="704"/>
                  </a:cubicBezTo>
                  <a:cubicBezTo>
                    <a:pt x="0" y="799"/>
                    <a:pt x="84" y="871"/>
                    <a:pt x="167" y="871"/>
                  </a:cubicBezTo>
                  <a:lnTo>
                    <a:pt x="1667" y="871"/>
                  </a:lnTo>
                  <a:lnTo>
                    <a:pt x="1346" y="1109"/>
                  </a:lnTo>
                  <a:cubicBezTo>
                    <a:pt x="1274" y="1169"/>
                    <a:pt x="1250" y="1276"/>
                    <a:pt x="1310" y="1347"/>
                  </a:cubicBezTo>
                  <a:cubicBezTo>
                    <a:pt x="1346" y="1395"/>
                    <a:pt x="1405" y="1419"/>
                    <a:pt x="1453" y="1419"/>
                  </a:cubicBezTo>
                  <a:cubicBezTo>
                    <a:pt x="1477" y="1419"/>
                    <a:pt x="1524" y="1407"/>
                    <a:pt x="1548" y="1395"/>
                  </a:cubicBezTo>
                  <a:lnTo>
                    <a:pt x="2286" y="847"/>
                  </a:lnTo>
                  <a:cubicBezTo>
                    <a:pt x="2322" y="811"/>
                    <a:pt x="2358" y="752"/>
                    <a:pt x="2358" y="704"/>
                  </a:cubicBezTo>
                  <a:cubicBezTo>
                    <a:pt x="2358" y="668"/>
                    <a:pt x="2322" y="633"/>
                    <a:pt x="2286" y="585"/>
                  </a:cubicBezTo>
                  <a:lnTo>
                    <a:pt x="1548" y="37"/>
                  </a:lnTo>
                  <a:cubicBezTo>
                    <a:pt x="1518" y="13"/>
                    <a:pt x="1482" y="0"/>
                    <a:pt x="14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55" name="Google Shape;11055;p60"/>
          <p:cNvGrpSpPr/>
          <p:nvPr/>
        </p:nvGrpSpPr>
        <p:grpSpPr>
          <a:xfrm>
            <a:off x="7073928" y="2905757"/>
            <a:ext cx="371395" cy="371809"/>
            <a:chOff x="7073928" y="2905757"/>
            <a:chExt cx="371395" cy="371809"/>
          </a:xfrm>
        </p:grpSpPr>
        <p:sp>
          <p:nvSpPr>
            <p:cNvPr id="11056" name="Google Shape;11056;p60"/>
            <p:cNvSpPr/>
            <p:nvPr/>
          </p:nvSpPr>
          <p:spPr>
            <a:xfrm>
              <a:off x="7073928" y="2905757"/>
              <a:ext cx="371395" cy="371809"/>
            </a:xfrm>
            <a:custGeom>
              <a:avLst/>
              <a:gdLst/>
              <a:ahLst/>
              <a:cxnLst/>
              <a:rect l="l" t="t" r="r" b="b"/>
              <a:pathLst>
                <a:path w="11669" h="11682" extrusionOk="0">
                  <a:moveTo>
                    <a:pt x="3608" y="1811"/>
                  </a:moveTo>
                  <a:cubicBezTo>
                    <a:pt x="3822" y="1811"/>
                    <a:pt x="3989" y="1977"/>
                    <a:pt x="3989" y="2192"/>
                  </a:cubicBezTo>
                  <a:lnTo>
                    <a:pt x="3989" y="2561"/>
                  </a:lnTo>
                  <a:cubicBezTo>
                    <a:pt x="3989" y="2870"/>
                    <a:pt x="3727" y="3120"/>
                    <a:pt x="3417" y="3120"/>
                  </a:cubicBezTo>
                  <a:cubicBezTo>
                    <a:pt x="3411" y="3120"/>
                    <a:pt x="3404" y="3121"/>
                    <a:pt x="3398" y="3121"/>
                  </a:cubicBezTo>
                  <a:cubicBezTo>
                    <a:pt x="3109" y="3121"/>
                    <a:pt x="2870" y="2863"/>
                    <a:pt x="2870" y="2561"/>
                  </a:cubicBezTo>
                  <a:lnTo>
                    <a:pt x="2870" y="2192"/>
                  </a:lnTo>
                  <a:cubicBezTo>
                    <a:pt x="2870" y="1977"/>
                    <a:pt x="3024" y="1811"/>
                    <a:pt x="3239" y="1811"/>
                  </a:cubicBezTo>
                  <a:close/>
                  <a:moveTo>
                    <a:pt x="3596" y="3454"/>
                  </a:moveTo>
                  <a:lnTo>
                    <a:pt x="3596" y="3466"/>
                  </a:lnTo>
                  <a:cubicBezTo>
                    <a:pt x="3632" y="3561"/>
                    <a:pt x="3643" y="3644"/>
                    <a:pt x="3667" y="3704"/>
                  </a:cubicBezTo>
                  <a:lnTo>
                    <a:pt x="3429" y="3942"/>
                  </a:lnTo>
                  <a:lnTo>
                    <a:pt x="3405" y="3942"/>
                  </a:lnTo>
                  <a:lnTo>
                    <a:pt x="3167" y="3704"/>
                  </a:lnTo>
                  <a:cubicBezTo>
                    <a:pt x="3191" y="3644"/>
                    <a:pt x="3215" y="3585"/>
                    <a:pt x="3215" y="3525"/>
                  </a:cubicBezTo>
                  <a:lnTo>
                    <a:pt x="3215" y="3454"/>
                  </a:lnTo>
                  <a:close/>
                  <a:moveTo>
                    <a:pt x="5632" y="5204"/>
                  </a:moveTo>
                  <a:lnTo>
                    <a:pt x="5632" y="7418"/>
                  </a:lnTo>
                  <a:lnTo>
                    <a:pt x="4525" y="8204"/>
                  </a:lnTo>
                  <a:lnTo>
                    <a:pt x="4525" y="5466"/>
                  </a:lnTo>
                  <a:cubicBezTo>
                    <a:pt x="4608" y="5525"/>
                    <a:pt x="4727" y="5573"/>
                    <a:pt x="4846" y="5585"/>
                  </a:cubicBezTo>
                  <a:lnTo>
                    <a:pt x="4977" y="5585"/>
                  </a:lnTo>
                  <a:cubicBezTo>
                    <a:pt x="5120" y="5561"/>
                    <a:pt x="5263" y="5525"/>
                    <a:pt x="5370" y="5418"/>
                  </a:cubicBezTo>
                  <a:lnTo>
                    <a:pt x="5632" y="5204"/>
                  </a:lnTo>
                  <a:close/>
                  <a:moveTo>
                    <a:pt x="2893" y="3930"/>
                  </a:moveTo>
                  <a:lnTo>
                    <a:pt x="3167" y="4204"/>
                  </a:lnTo>
                  <a:cubicBezTo>
                    <a:pt x="3227" y="4263"/>
                    <a:pt x="3310" y="4299"/>
                    <a:pt x="3417" y="4299"/>
                  </a:cubicBezTo>
                  <a:cubicBezTo>
                    <a:pt x="3524" y="4299"/>
                    <a:pt x="3596" y="4275"/>
                    <a:pt x="3667" y="4204"/>
                  </a:cubicBezTo>
                  <a:lnTo>
                    <a:pt x="3905" y="3966"/>
                  </a:lnTo>
                  <a:cubicBezTo>
                    <a:pt x="3989" y="3989"/>
                    <a:pt x="4060" y="4025"/>
                    <a:pt x="4144" y="4025"/>
                  </a:cubicBezTo>
                  <a:cubicBezTo>
                    <a:pt x="4203" y="4025"/>
                    <a:pt x="4263" y="4049"/>
                    <a:pt x="4298" y="4097"/>
                  </a:cubicBezTo>
                  <a:lnTo>
                    <a:pt x="4798" y="4716"/>
                  </a:lnTo>
                  <a:cubicBezTo>
                    <a:pt x="4833" y="4764"/>
                    <a:pt x="4884" y="4789"/>
                    <a:pt x="4935" y="4789"/>
                  </a:cubicBezTo>
                  <a:cubicBezTo>
                    <a:pt x="4971" y="4789"/>
                    <a:pt x="5007" y="4776"/>
                    <a:pt x="5036" y="4751"/>
                  </a:cubicBezTo>
                  <a:lnTo>
                    <a:pt x="5656" y="4263"/>
                  </a:lnTo>
                  <a:cubicBezTo>
                    <a:pt x="5694" y="4231"/>
                    <a:pt x="5747" y="4209"/>
                    <a:pt x="5798" y="4209"/>
                  </a:cubicBezTo>
                  <a:cubicBezTo>
                    <a:pt x="5842" y="4209"/>
                    <a:pt x="5885" y="4225"/>
                    <a:pt x="5918" y="4263"/>
                  </a:cubicBezTo>
                  <a:cubicBezTo>
                    <a:pt x="5965" y="4299"/>
                    <a:pt x="5989" y="4347"/>
                    <a:pt x="5977" y="4406"/>
                  </a:cubicBezTo>
                  <a:cubicBezTo>
                    <a:pt x="5989" y="4454"/>
                    <a:pt x="5965" y="4513"/>
                    <a:pt x="5918" y="4537"/>
                  </a:cubicBezTo>
                  <a:lnTo>
                    <a:pt x="5144" y="5156"/>
                  </a:lnTo>
                  <a:cubicBezTo>
                    <a:pt x="5084" y="5192"/>
                    <a:pt x="5013" y="5228"/>
                    <a:pt x="4929" y="5240"/>
                  </a:cubicBezTo>
                  <a:lnTo>
                    <a:pt x="4858" y="5240"/>
                  </a:lnTo>
                  <a:cubicBezTo>
                    <a:pt x="4751" y="5228"/>
                    <a:pt x="4667" y="5180"/>
                    <a:pt x="4608" y="5109"/>
                  </a:cubicBezTo>
                  <a:lnTo>
                    <a:pt x="4453" y="4930"/>
                  </a:lnTo>
                  <a:cubicBezTo>
                    <a:pt x="4425" y="4884"/>
                    <a:pt x="4369" y="4866"/>
                    <a:pt x="4312" y="4866"/>
                  </a:cubicBezTo>
                  <a:cubicBezTo>
                    <a:pt x="4295" y="4866"/>
                    <a:pt x="4279" y="4868"/>
                    <a:pt x="4263" y="4870"/>
                  </a:cubicBezTo>
                  <a:cubicBezTo>
                    <a:pt x="4191" y="4894"/>
                    <a:pt x="4144" y="4954"/>
                    <a:pt x="4144" y="5037"/>
                  </a:cubicBezTo>
                  <a:lnTo>
                    <a:pt x="4144" y="8454"/>
                  </a:lnTo>
                  <a:lnTo>
                    <a:pt x="3763" y="8740"/>
                  </a:lnTo>
                  <a:lnTo>
                    <a:pt x="3763" y="7145"/>
                  </a:lnTo>
                  <a:cubicBezTo>
                    <a:pt x="3763" y="7061"/>
                    <a:pt x="3691" y="6978"/>
                    <a:pt x="3596" y="6978"/>
                  </a:cubicBezTo>
                  <a:cubicBezTo>
                    <a:pt x="3512" y="6978"/>
                    <a:pt x="3429" y="7061"/>
                    <a:pt x="3429" y="7145"/>
                  </a:cubicBezTo>
                  <a:lnTo>
                    <a:pt x="3429" y="8978"/>
                  </a:lnTo>
                  <a:lnTo>
                    <a:pt x="2870" y="9383"/>
                  </a:lnTo>
                  <a:lnTo>
                    <a:pt x="2870" y="7180"/>
                  </a:lnTo>
                  <a:cubicBezTo>
                    <a:pt x="2870" y="7014"/>
                    <a:pt x="2822" y="6835"/>
                    <a:pt x="2750" y="6680"/>
                  </a:cubicBezTo>
                  <a:lnTo>
                    <a:pt x="2572" y="6347"/>
                  </a:lnTo>
                  <a:cubicBezTo>
                    <a:pt x="2524" y="6240"/>
                    <a:pt x="2500" y="6121"/>
                    <a:pt x="2500" y="6013"/>
                  </a:cubicBezTo>
                  <a:lnTo>
                    <a:pt x="2500" y="4263"/>
                  </a:lnTo>
                  <a:cubicBezTo>
                    <a:pt x="2500" y="4180"/>
                    <a:pt x="2536" y="4120"/>
                    <a:pt x="2596" y="4085"/>
                  </a:cubicBezTo>
                  <a:lnTo>
                    <a:pt x="2893" y="3930"/>
                  </a:lnTo>
                  <a:close/>
                  <a:moveTo>
                    <a:pt x="5810" y="1"/>
                  </a:moveTo>
                  <a:cubicBezTo>
                    <a:pt x="5727" y="1"/>
                    <a:pt x="5656" y="72"/>
                    <a:pt x="5656" y="167"/>
                  </a:cubicBezTo>
                  <a:lnTo>
                    <a:pt x="5656" y="3870"/>
                  </a:lnTo>
                  <a:cubicBezTo>
                    <a:pt x="5596" y="3882"/>
                    <a:pt x="5537" y="3930"/>
                    <a:pt x="5477" y="3977"/>
                  </a:cubicBezTo>
                  <a:lnTo>
                    <a:pt x="5001" y="4358"/>
                  </a:lnTo>
                  <a:lnTo>
                    <a:pt x="4596" y="3870"/>
                  </a:lnTo>
                  <a:cubicBezTo>
                    <a:pt x="4489" y="3739"/>
                    <a:pt x="4346" y="3668"/>
                    <a:pt x="4179" y="3668"/>
                  </a:cubicBezTo>
                  <a:cubicBezTo>
                    <a:pt x="4072" y="3668"/>
                    <a:pt x="3989" y="3573"/>
                    <a:pt x="3989" y="3466"/>
                  </a:cubicBezTo>
                  <a:lnTo>
                    <a:pt x="3989" y="3275"/>
                  </a:lnTo>
                  <a:cubicBezTo>
                    <a:pt x="4203" y="3108"/>
                    <a:pt x="4358" y="2846"/>
                    <a:pt x="4358" y="2549"/>
                  </a:cubicBezTo>
                  <a:lnTo>
                    <a:pt x="4358" y="2180"/>
                  </a:lnTo>
                  <a:cubicBezTo>
                    <a:pt x="4358" y="1775"/>
                    <a:pt x="4024" y="1465"/>
                    <a:pt x="3643" y="1465"/>
                  </a:cubicBezTo>
                  <a:lnTo>
                    <a:pt x="3274" y="1465"/>
                  </a:lnTo>
                  <a:cubicBezTo>
                    <a:pt x="2870" y="1465"/>
                    <a:pt x="2560" y="1787"/>
                    <a:pt x="2560" y="2180"/>
                  </a:cubicBezTo>
                  <a:lnTo>
                    <a:pt x="2560" y="2549"/>
                  </a:lnTo>
                  <a:cubicBezTo>
                    <a:pt x="2560" y="2846"/>
                    <a:pt x="2703" y="3108"/>
                    <a:pt x="2929" y="3275"/>
                  </a:cubicBezTo>
                  <a:lnTo>
                    <a:pt x="2929" y="3525"/>
                  </a:lnTo>
                  <a:lnTo>
                    <a:pt x="2929" y="3549"/>
                  </a:lnTo>
                  <a:lnTo>
                    <a:pt x="2500" y="3751"/>
                  </a:lnTo>
                  <a:cubicBezTo>
                    <a:pt x="2322" y="3847"/>
                    <a:pt x="2203" y="4037"/>
                    <a:pt x="2203" y="4228"/>
                  </a:cubicBezTo>
                  <a:lnTo>
                    <a:pt x="2203" y="5990"/>
                  </a:lnTo>
                  <a:cubicBezTo>
                    <a:pt x="2203" y="6144"/>
                    <a:pt x="2239" y="6323"/>
                    <a:pt x="2322" y="6478"/>
                  </a:cubicBezTo>
                  <a:lnTo>
                    <a:pt x="2500" y="6823"/>
                  </a:lnTo>
                  <a:cubicBezTo>
                    <a:pt x="2536" y="6918"/>
                    <a:pt x="2572" y="7037"/>
                    <a:pt x="2572" y="7145"/>
                  </a:cubicBezTo>
                  <a:lnTo>
                    <a:pt x="2572" y="9597"/>
                  </a:lnTo>
                  <a:lnTo>
                    <a:pt x="83" y="11371"/>
                  </a:lnTo>
                  <a:cubicBezTo>
                    <a:pt x="12" y="11431"/>
                    <a:pt x="0" y="11538"/>
                    <a:pt x="36" y="11609"/>
                  </a:cubicBezTo>
                  <a:cubicBezTo>
                    <a:pt x="74" y="11655"/>
                    <a:pt x="133" y="11682"/>
                    <a:pt x="188" y="11682"/>
                  </a:cubicBezTo>
                  <a:cubicBezTo>
                    <a:pt x="219" y="11682"/>
                    <a:pt x="249" y="11674"/>
                    <a:pt x="274" y="11657"/>
                  </a:cubicBezTo>
                  <a:lnTo>
                    <a:pt x="5846" y="7716"/>
                  </a:lnTo>
                  <a:lnTo>
                    <a:pt x="11406" y="11657"/>
                  </a:lnTo>
                  <a:cubicBezTo>
                    <a:pt x="11442" y="11669"/>
                    <a:pt x="11466" y="11681"/>
                    <a:pt x="11513" y="11681"/>
                  </a:cubicBezTo>
                  <a:cubicBezTo>
                    <a:pt x="11573" y="11681"/>
                    <a:pt x="11621" y="11657"/>
                    <a:pt x="11644" y="11609"/>
                  </a:cubicBezTo>
                  <a:cubicBezTo>
                    <a:pt x="11668" y="11538"/>
                    <a:pt x="11644" y="11431"/>
                    <a:pt x="11573" y="11371"/>
                  </a:cubicBezTo>
                  <a:lnTo>
                    <a:pt x="5977" y="7395"/>
                  </a:lnTo>
                  <a:lnTo>
                    <a:pt x="5977" y="4930"/>
                  </a:lnTo>
                  <a:lnTo>
                    <a:pt x="6144" y="4787"/>
                  </a:lnTo>
                  <a:cubicBezTo>
                    <a:pt x="6263" y="4692"/>
                    <a:pt x="6334" y="4549"/>
                    <a:pt x="6346" y="4394"/>
                  </a:cubicBezTo>
                  <a:cubicBezTo>
                    <a:pt x="6346" y="4228"/>
                    <a:pt x="6287" y="4073"/>
                    <a:pt x="6168" y="3977"/>
                  </a:cubicBezTo>
                  <a:cubicBezTo>
                    <a:pt x="6108" y="3930"/>
                    <a:pt x="6049" y="3882"/>
                    <a:pt x="5977" y="3870"/>
                  </a:cubicBezTo>
                  <a:lnTo>
                    <a:pt x="5977" y="715"/>
                  </a:lnTo>
                  <a:lnTo>
                    <a:pt x="8275" y="715"/>
                  </a:lnTo>
                  <a:lnTo>
                    <a:pt x="8037" y="1191"/>
                  </a:lnTo>
                  <a:cubicBezTo>
                    <a:pt x="8001" y="1239"/>
                    <a:pt x="8001" y="1299"/>
                    <a:pt x="8037" y="1334"/>
                  </a:cubicBezTo>
                  <a:lnTo>
                    <a:pt x="8275" y="1811"/>
                  </a:lnTo>
                  <a:lnTo>
                    <a:pt x="6549" y="1811"/>
                  </a:lnTo>
                  <a:cubicBezTo>
                    <a:pt x="6453" y="1811"/>
                    <a:pt x="6382" y="1894"/>
                    <a:pt x="6382" y="1977"/>
                  </a:cubicBezTo>
                  <a:cubicBezTo>
                    <a:pt x="6382" y="2072"/>
                    <a:pt x="6453" y="2144"/>
                    <a:pt x="6549" y="2144"/>
                  </a:cubicBezTo>
                  <a:lnTo>
                    <a:pt x="8549" y="2144"/>
                  </a:lnTo>
                  <a:cubicBezTo>
                    <a:pt x="8608" y="2144"/>
                    <a:pt x="8668" y="2108"/>
                    <a:pt x="8704" y="2072"/>
                  </a:cubicBezTo>
                  <a:cubicBezTo>
                    <a:pt x="8727" y="2025"/>
                    <a:pt x="8727" y="1953"/>
                    <a:pt x="8716" y="1906"/>
                  </a:cubicBezTo>
                  <a:lnTo>
                    <a:pt x="8394" y="1251"/>
                  </a:lnTo>
                  <a:lnTo>
                    <a:pt x="8716" y="596"/>
                  </a:lnTo>
                  <a:cubicBezTo>
                    <a:pt x="8751" y="537"/>
                    <a:pt x="8751" y="477"/>
                    <a:pt x="8704" y="429"/>
                  </a:cubicBezTo>
                  <a:cubicBezTo>
                    <a:pt x="8668" y="394"/>
                    <a:pt x="8608" y="358"/>
                    <a:pt x="8549" y="358"/>
                  </a:cubicBezTo>
                  <a:lnTo>
                    <a:pt x="5977" y="358"/>
                  </a:lnTo>
                  <a:lnTo>
                    <a:pt x="5977" y="167"/>
                  </a:lnTo>
                  <a:cubicBezTo>
                    <a:pt x="5977" y="72"/>
                    <a:pt x="5906" y="1"/>
                    <a:pt x="5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7" name="Google Shape;11057;p60"/>
            <p:cNvSpPr/>
            <p:nvPr/>
          </p:nvSpPr>
          <p:spPr>
            <a:xfrm>
              <a:off x="7281188" y="3188513"/>
              <a:ext cx="65596" cy="48473"/>
            </a:xfrm>
            <a:custGeom>
              <a:avLst/>
              <a:gdLst/>
              <a:ahLst/>
              <a:cxnLst/>
              <a:rect l="l" t="t" r="r" b="b"/>
              <a:pathLst>
                <a:path w="2061" h="1523" extrusionOk="0">
                  <a:moveTo>
                    <a:pt x="204" y="1"/>
                  </a:moveTo>
                  <a:cubicBezTo>
                    <a:pt x="151" y="1"/>
                    <a:pt x="97" y="27"/>
                    <a:pt x="60" y="70"/>
                  </a:cubicBezTo>
                  <a:cubicBezTo>
                    <a:pt x="1" y="154"/>
                    <a:pt x="37" y="261"/>
                    <a:pt x="108" y="320"/>
                  </a:cubicBezTo>
                  <a:lnTo>
                    <a:pt x="1775" y="1487"/>
                  </a:lnTo>
                  <a:cubicBezTo>
                    <a:pt x="1799" y="1511"/>
                    <a:pt x="1834" y="1523"/>
                    <a:pt x="1882" y="1523"/>
                  </a:cubicBezTo>
                  <a:cubicBezTo>
                    <a:pt x="1942" y="1523"/>
                    <a:pt x="1977" y="1487"/>
                    <a:pt x="2013" y="1451"/>
                  </a:cubicBezTo>
                  <a:cubicBezTo>
                    <a:pt x="2061" y="1368"/>
                    <a:pt x="2037" y="1261"/>
                    <a:pt x="1965" y="1213"/>
                  </a:cubicBezTo>
                  <a:lnTo>
                    <a:pt x="299" y="35"/>
                  </a:lnTo>
                  <a:cubicBezTo>
                    <a:pt x="271" y="11"/>
                    <a:pt x="237" y="1"/>
                    <a:pt x="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8" name="Google Shape;11058;p60"/>
            <p:cNvSpPr/>
            <p:nvPr/>
          </p:nvSpPr>
          <p:spPr>
            <a:xfrm>
              <a:off x="7252034" y="3168080"/>
              <a:ext cx="24634" cy="19287"/>
            </a:xfrm>
            <a:custGeom>
              <a:avLst/>
              <a:gdLst/>
              <a:ahLst/>
              <a:cxnLst/>
              <a:rect l="l" t="t" r="r" b="b"/>
              <a:pathLst>
                <a:path w="774" h="606" extrusionOk="0">
                  <a:moveTo>
                    <a:pt x="201" y="1"/>
                  </a:moveTo>
                  <a:cubicBezTo>
                    <a:pt x="148" y="1"/>
                    <a:pt x="97" y="29"/>
                    <a:pt x="60" y="81"/>
                  </a:cubicBezTo>
                  <a:cubicBezTo>
                    <a:pt x="0" y="153"/>
                    <a:pt x="24" y="260"/>
                    <a:pt x="95" y="319"/>
                  </a:cubicBezTo>
                  <a:lnTo>
                    <a:pt x="476" y="569"/>
                  </a:lnTo>
                  <a:cubicBezTo>
                    <a:pt x="500" y="581"/>
                    <a:pt x="536" y="605"/>
                    <a:pt x="572" y="605"/>
                  </a:cubicBezTo>
                  <a:cubicBezTo>
                    <a:pt x="631" y="605"/>
                    <a:pt x="679" y="569"/>
                    <a:pt x="714" y="522"/>
                  </a:cubicBezTo>
                  <a:cubicBezTo>
                    <a:pt x="774" y="450"/>
                    <a:pt x="750" y="343"/>
                    <a:pt x="667" y="284"/>
                  </a:cubicBezTo>
                  <a:lnTo>
                    <a:pt x="298" y="34"/>
                  </a:lnTo>
                  <a:cubicBezTo>
                    <a:pt x="266" y="11"/>
                    <a:pt x="233" y="1"/>
                    <a:pt x="2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59" name="Google Shape;11059;p60"/>
          <p:cNvGrpSpPr/>
          <p:nvPr/>
        </p:nvGrpSpPr>
        <p:grpSpPr>
          <a:xfrm>
            <a:off x="6188327" y="2955408"/>
            <a:ext cx="371395" cy="272857"/>
            <a:chOff x="6188327" y="2955408"/>
            <a:chExt cx="371395" cy="272857"/>
          </a:xfrm>
        </p:grpSpPr>
        <p:sp>
          <p:nvSpPr>
            <p:cNvPr id="11060" name="Google Shape;11060;p60"/>
            <p:cNvSpPr/>
            <p:nvPr/>
          </p:nvSpPr>
          <p:spPr>
            <a:xfrm>
              <a:off x="6229990" y="2978897"/>
              <a:ext cx="289567" cy="197840"/>
            </a:xfrm>
            <a:custGeom>
              <a:avLst/>
              <a:gdLst/>
              <a:ahLst/>
              <a:cxnLst/>
              <a:rect l="l" t="t" r="r" b="b"/>
              <a:pathLst>
                <a:path w="9098" h="6216" extrusionOk="0">
                  <a:moveTo>
                    <a:pt x="2894" y="1263"/>
                  </a:moveTo>
                  <a:cubicBezTo>
                    <a:pt x="3097" y="1263"/>
                    <a:pt x="3263" y="1429"/>
                    <a:pt x="3263" y="1632"/>
                  </a:cubicBezTo>
                  <a:lnTo>
                    <a:pt x="3263" y="2001"/>
                  </a:lnTo>
                  <a:cubicBezTo>
                    <a:pt x="3263" y="2322"/>
                    <a:pt x="3013" y="2572"/>
                    <a:pt x="2704" y="2572"/>
                  </a:cubicBezTo>
                  <a:cubicBezTo>
                    <a:pt x="2406" y="2561"/>
                    <a:pt x="2144" y="2299"/>
                    <a:pt x="2144" y="2001"/>
                  </a:cubicBezTo>
                  <a:lnTo>
                    <a:pt x="2144" y="1632"/>
                  </a:lnTo>
                  <a:cubicBezTo>
                    <a:pt x="2144" y="1429"/>
                    <a:pt x="2311" y="1263"/>
                    <a:pt x="2525" y="1263"/>
                  </a:cubicBezTo>
                  <a:close/>
                  <a:moveTo>
                    <a:pt x="7264" y="1084"/>
                  </a:moveTo>
                  <a:cubicBezTo>
                    <a:pt x="7371" y="1084"/>
                    <a:pt x="7466" y="1168"/>
                    <a:pt x="7466" y="1275"/>
                  </a:cubicBezTo>
                  <a:lnTo>
                    <a:pt x="7466" y="1822"/>
                  </a:lnTo>
                  <a:cubicBezTo>
                    <a:pt x="7466" y="1894"/>
                    <a:pt x="7430" y="1953"/>
                    <a:pt x="7359" y="1989"/>
                  </a:cubicBezTo>
                  <a:cubicBezTo>
                    <a:pt x="7299" y="2025"/>
                    <a:pt x="7264" y="2084"/>
                    <a:pt x="7264" y="2144"/>
                  </a:cubicBezTo>
                  <a:lnTo>
                    <a:pt x="7264" y="2406"/>
                  </a:lnTo>
                  <a:cubicBezTo>
                    <a:pt x="7264" y="2477"/>
                    <a:pt x="7323" y="2549"/>
                    <a:pt x="7407" y="2572"/>
                  </a:cubicBezTo>
                  <a:lnTo>
                    <a:pt x="7859" y="2692"/>
                  </a:lnTo>
                  <a:cubicBezTo>
                    <a:pt x="7954" y="2703"/>
                    <a:pt x="8014" y="2787"/>
                    <a:pt x="8014" y="2882"/>
                  </a:cubicBezTo>
                  <a:lnTo>
                    <a:pt x="8014" y="2930"/>
                  </a:lnTo>
                  <a:lnTo>
                    <a:pt x="6168" y="2930"/>
                  </a:lnTo>
                  <a:lnTo>
                    <a:pt x="6168" y="2882"/>
                  </a:lnTo>
                  <a:cubicBezTo>
                    <a:pt x="6168" y="2787"/>
                    <a:pt x="6228" y="2715"/>
                    <a:pt x="6311" y="2692"/>
                  </a:cubicBezTo>
                  <a:lnTo>
                    <a:pt x="6776" y="2572"/>
                  </a:lnTo>
                  <a:cubicBezTo>
                    <a:pt x="6847" y="2549"/>
                    <a:pt x="6907" y="2477"/>
                    <a:pt x="6907" y="2406"/>
                  </a:cubicBezTo>
                  <a:lnTo>
                    <a:pt x="6907" y="2144"/>
                  </a:lnTo>
                  <a:cubicBezTo>
                    <a:pt x="6895" y="2060"/>
                    <a:pt x="6871" y="2025"/>
                    <a:pt x="6811" y="1989"/>
                  </a:cubicBezTo>
                  <a:cubicBezTo>
                    <a:pt x="6752" y="1953"/>
                    <a:pt x="6704" y="1882"/>
                    <a:pt x="6704" y="1822"/>
                  </a:cubicBezTo>
                  <a:lnTo>
                    <a:pt x="6704" y="1275"/>
                  </a:lnTo>
                  <a:cubicBezTo>
                    <a:pt x="6704" y="1168"/>
                    <a:pt x="6787" y="1084"/>
                    <a:pt x="6895" y="1084"/>
                  </a:cubicBezTo>
                  <a:close/>
                  <a:moveTo>
                    <a:pt x="8752" y="334"/>
                  </a:moveTo>
                  <a:lnTo>
                    <a:pt x="8752" y="2930"/>
                  </a:lnTo>
                  <a:lnTo>
                    <a:pt x="8371" y="2930"/>
                  </a:lnTo>
                  <a:lnTo>
                    <a:pt x="8371" y="2882"/>
                  </a:lnTo>
                  <a:cubicBezTo>
                    <a:pt x="8371" y="2632"/>
                    <a:pt x="8204" y="2418"/>
                    <a:pt x="7966" y="2358"/>
                  </a:cubicBezTo>
                  <a:lnTo>
                    <a:pt x="7645" y="2287"/>
                  </a:lnTo>
                  <a:lnTo>
                    <a:pt x="7645" y="2227"/>
                  </a:lnTo>
                  <a:cubicBezTo>
                    <a:pt x="7764" y="2120"/>
                    <a:pt x="7823" y="1977"/>
                    <a:pt x="7823" y="1822"/>
                  </a:cubicBezTo>
                  <a:lnTo>
                    <a:pt x="7823" y="1275"/>
                  </a:lnTo>
                  <a:cubicBezTo>
                    <a:pt x="7823" y="977"/>
                    <a:pt x="7585" y="739"/>
                    <a:pt x="7288" y="739"/>
                  </a:cubicBezTo>
                  <a:lnTo>
                    <a:pt x="6907" y="739"/>
                  </a:lnTo>
                  <a:cubicBezTo>
                    <a:pt x="6609" y="739"/>
                    <a:pt x="6371" y="977"/>
                    <a:pt x="6371" y="1275"/>
                  </a:cubicBezTo>
                  <a:lnTo>
                    <a:pt x="6371" y="1822"/>
                  </a:lnTo>
                  <a:cubicBezTo>
                    <a:pt x="6371" y="1977"/>
                    <a:pt x="6454" y="2120"/>
                    <a:pt x="6549" y="2227"/>
                  </a:cubicBezTo>
                  <a:lnTo>
                    <a:pt x="6549" y="2287"/>
                  </a:lnTo>
                  <a:lnTo>
                    <a:pt x="6228" y="2358"/>
                  </a:lnTo>
                  <a:cubicBezTo>
                    <a:pt x="5990" y="2418"/>
                    <a:pt x="5823" y="2632"/>
                    <a:pt x="5823" y="2882"/>
                  </a:cubicBezTo>
                  <a:lnTo>
                    <a:pt x="5823" y="2930"/>
                  </a:lnTo>
                  <a:lnTo>
                    <a:pt x="5442" y="2930"/>
                  </a:lnTo>
                  <a:lnTo>
                    <a:pt x="5442" y="334"/>
                  </a:lnTo>
                  <a:close/>
                  <a:moveTo>
                    <a:pt x="2894" y="2906"/>
                  </a:moveTo>
                  <a:lnTo>
                    <a:pt x="2894" y="2989"/>
                  </a:lnTo>
                  <a:cubicBezTo>
                    <a:pt x="2894" y="3049"/>
                    <a:pt x="2906" y="3108"/>
                    <a:pt x="2954" y="3168"/>
                  </a:cubicBezTo>
                  <a:lnTo>
                    <a:pt x="2716" y="3406"/>
                  </a:lnTo>
                  <a:lnTo>
                    <a:pt x="2704" y="3406"/>
                  </a:lnTo>
                  <a:lnTo>
                    <a:pt x="2466" y="3168"/>
                  </a:lnTo>
                  <a:cubicBezTo>
                    <a:pt x="2489" y="3108"/>
                    <a:pt x="2501" y="3049"/>
                    <a:pt x="2501" y="2989"/>
                  </a:cubicBezTo>
                  <a:lnTo>
                    <a:pt x="2501" y="2906"/>
                  </a:lnTo>
                  <a:close/>
                  <a:moveTo>
                    <a:pt x="3251" y="3346"/>
                  </a:moveTo>
                  <a:lnTo>
                    <a:pt x="3597" y="3477"/>
                  </a:lnTo>
                  <a:cubicBezTo>
                    <a:pt x="3739" y="3537"/>
                    <a:pt x="3835" y="3668"/>
                    <a:pt x="3835" y="3835"/>
                  </a:cubicBezTo>
                  <a:lnTo>
                    <a:pt x="3835" y="4918"/>
                  </a:lnTo>
                  <a:cubicBezTo>
                    <a:pt x="3835" y="5025"/>
                    <a:pt x="3739" y="5108"/>
                    <a:pt x="3632" y="5108"/>
                  </a:cubicBezTo>
                  <a:lnTo>
                    <a:pt x="2894" y="5108"/>
                  </a:lnTo>
                  <a:lnTo>
                    <a:pt x="2894" y="4906"/>
                  </a:lnTo>
                  <a:lnTo>
                    <a:pt x="3263" y="4906"/>
                  </a:lnTo>
                  <a:cubicBezTo>
                    <a:pt x="3358" y="4906"/>
                    <a:pt x="3430" y="4835"/>
                    <a:pt x="3430" y="4739"/>
                  </a:cubicBezTo>
                  <a:lnTo>
                    <a:pt x="3430" y="4192"/>
                  </a:lnTo>
                  <a:cubicBezTo>
                    <a:pt x="3430" y="4096"/>
                    <a:pt x="3358" y="4025"/>
                    <a:pt x="3263" y="4025"/>
                  </a:cubicBezTo>
                  <a:cubicBezTo>
                    <a:pt x="3180" y="4025"/>
                    <a:pt x="3097" y="4096"/>
                    <a:pt x="3097" y="4192"/>
                  </a:cubicBezTo>
                  <a:lnTo>
                    <a:pt x="3097" y="4561"/>
                  </a:lnTo>
                  <a:lnTo>
                    <a:pt x="2346" y="4561"/>
                  </a:lnTo>
                  <a:lnTo>
                    <a:pt x="2346" y="4192"/>
                  </a:lnTo>
                  <a:cubicBezTo>
                    <a:pt x="2346" y="4096"/>
                    <a:pt x="2263" y="4025"/>
                    <a:pt x="2180" y="4025"/>
                  </a:cubicBezTo>
                  <a:cubicBezTo>
                    <a:pt x="2085" y="4025"/>
                    <a:pt x="2013" y="4096"/>
                    <a:pt x="2013" y="4192"/>
                  </a:cubicBezTo>
                  <a:lnTo>
                    <a:pt x="2013" y="4739"/>
                  </a:lnTo>
                  <a:cubicBezTo>
                    <a:pt x="2013" y="4835"/>
                    <a:pt x="2085" y="4906"/>
                    <a:pt x="2180" y="4906"/>
                  </a:cubicBezTo>
                  <a:lnTo>
                    <a:pt x="2549" y="4906"/>
                  </a:lnTo>
                  <a:lnTo>
                    <a:pt x="2549" y="5120"/>
                  </a:lnTo>
                  <a:lnTo>
                    <a:pt x="1811" y="5120"/>
                  </a:lnTo>
                  <a:cubicBezTo>
                    <a:pt x="1704" y="5120"/>
                    <a:pt x="1608" y="5025"/>
                    <a:pt x="1608" y="4918"/>
                  </a:cubicBezTo>
                  <a:lnTo>
                    <a:pt x="1608" y="3835"/>
                  </a:lnTo>
                  <a:lnTo>
                    <a:pt x="1596" y="3835"/>
                  </a:lnTo>
                  <a:cubicBezTo>
                    <a:pt x="1596" y="3680"/>
                    <a:pt x="1704" y="3537"/>
                    <a:pt x="1834" y="3477"/>
                  </a:cubicBezTo>
                  <a:lnTo>
                    <a:pt x="2180" y="3346"/>
                  </a:lnTo>
                  <a:lnTo>
                    <a:pt x="2466" y="3632"/>
                  </a:lnTo>
                  <a:cubicBezTo>
                    <a:pt x="2537" y="3704"/>
                    <a:pt x="2620" y="3727"/>
                    <a:pt x="2716" y="3727"/>
                  </a:cubicBezTo>
                  <a:cubicBezTo>
                    <a:pt x="2799" y="3727"/>
                    <a:pt x="2894" y="3704"/>
                    <a:pt x="2966" y="3632"/>
                  </a:cubicBezTo>
                  <a:lnTo>
                    <a:pt x="3251" y="3346"/>
                  </a:lnTo>
                  <a:close/>
                  <a:moveTo>
                    <a:pt x="5097" y="5085"/>
                  </a:moveTo>
                  <a:lnTo>
                    <a:pt x="5097" y="5847"/>
                  </a:lnTo>
                  <a:lnTo>
                    <a:pt x="322" y="5847"/>
                  </a:lnTo>
                  <a:lnTo>
                    <a:pt x="322" y="5085"/>
                  </a:lnTo>
                  <a:lnTo>
                    <a:pt x="1287" y="5085"/>
                  </a:lnTo>
                  <a:cubicBezTo>
                    <a:pt x="1358" y="5287"/>
                    <a:pt x="1549" y="5454"/>
                    <a:pt x="1787" y="5454"/>
                  </a:cubicBezTo>
                  <a:lnTo>
                    <a:pt x="3620" y="5454"/>
                  </a:lnTo>
                  <a:cubicBezTo>
                    <a:pt x="3859" y="5454"/>
                    <a:pt x="4049" y="5311"/>
                    <a:pt x="4132" y="5085"/>
                  </a:cubicBezTo>
                  <a:close/>
                  <a:moveTo>
                    <a:pt x="7288" y="4001"/>
                  </a:moveTo>
                  <a:cubicBezTo>
                    <a:pt x="7383" y="4001"/>
                    <a:pt x="7478" y="4085"/>
                    <a:pt x="7478" y="4192"/>
                  </a:cubicBezTo>
                  <a:lnTo>
                    <a:pt x="7478" y="4739"/>
                  </a:lnTo>
                  <a:cubicBezTo>
                    <a:pt x="7478" y="4823"/>
                    <a:pt x="7442" y="4870"/>
                    <a:pt x="7371" y="4906"/>
                  </a:cubicBezTo>
                  <a:cubicBezTo>
                    <a:pt x="7311" y="4942"/>
                    <a:pt x="7288" y="5001"/>
                    <a:pt x="7288" y="5061"/>
                  </a:cubicBezTo>
                  <a:lnTo>
                    <a:pt x="7288" y="5323"/>
                  </a:lnTo>
                  <a:cubicBezTo>
                    <a:pt x="7288" y="5394"/>
                    <a:pt x="7347" y="5466"/>
                    <a:pt x="7419" y="5489"/>
                  </a:cubicBezTo>
                  <a:lnTo>
                    <a:pt x="7883" y="5609"/>
                  </a:lnTo>
                  <a:cubicBezTo>
                    <a:pt x="7966" y="5620"/>
                    <a:pt x="8026" y="5716"/>
                    <a:pt x="8026" y="5799"/>
                  </a:cubicBezTo>
                  <a:lnTo>
                    <a:pt x="8026" y="5847"/>
                  </a:lnTo>
                  <a:lnTo>
                    <a:pt x="6168" y="5847"/>
                  </a:lnTo>
                  <a:lnTo>
                    <a:pt x="6168" y="5799"/>
                  </a:lnTo>
                  <a:cubicBezTo>
                    <a:pt x="6168" y="5716"/>
                    <a:pt x="6228" y="5632"/>
                    <a:pt x="6311" y="5609"/>
                  </a:cubicBezTo>
                  <a:lnTo>
                    <a:pt x="6776" y="5489"/>
                  </a:lnTo>
                  <a:cubicBezTo>
                    <a:pt x="6847" y="5478"/>
                    <a:pt x="6907" y="5394"/>
                    <a:pt x="6907" y="5323"/>
                  </a:cubicBezTo>
                  <a:lnTo>
                    <a:pt x="6907" y="5061"/>
                  </a:lnTo>
                  <a:cubicBezTo>
                    <a:pt x="6907" y="5001"/>
                    <a:pt x="6883" y="4942"/>
                    <a:pt x="6823" y="4906"/>
                  </a:cubicBezTo>
                  <a:cubicBezTo>
                    <a:pt x="6764" y="4870"/>
                    <a:pt x="6716" y="4799"/>
                    <a:pt x="6716" y="4739"/>
                  </a:cubicBezTo>
                  <a:lnTo>
                    <a:pt x="6716" y="4192"/>
                  </a:lnTo>
                  <a:cubicBezTo>
                    <a:pt x="6716" y="4085"/>
                    <a:pt x="6811" y="4001"/>
                    <a:pt x="6907" y="4001"/>
                  </a:cubicBezTo>
                  <a:close/>
                  <a:moveTo>
                    <a:pt x="8740" y="3275"/>
                  </a:moveTo>
                  <a:lnTo>
                    <a:pt x="8740" y="5847"/>
                  </a:lnTo>
                  <a:lnTo>
                    <a:pt x="8359" y="5847"/>
                  </a:lnTo>
                  <a:lnTo>
                    <a:pt x="8359" y="5799"/>
                  </a:lnTo>
                  <a:cubicBezTo>
                    <a:pt x="8359" y="5549"/>
                    <a:pt x="8192" y="5335"/>
                    <a:pt x="7954" y="5275"/>
                  </a:cubicBezTo>
                  <a:lnTo>
                    <a:pt x="7621" y="5204"/>
                  </a:lnTo>
                  <a:lnTo>
                    <a:pt x="7621" y="5144"/>
                  </a:lnTo>
                  <a:cubicBezTo>
                    <a:pt x="7740" y="5037"/>
                    <a:pt x="7800" y="4894"/>
                    <a:pt x="7800" y="4739"/>
                  </a:cubicBezTo>
                  <a:lnTo>
                    <a:pt x="7800" y="4192"/>
                  </a:lnTo>
                  <a:cubicBezTo>
                    <a:pt x="7800" y="3894"/>
                    <a:pt x="7561" y="3656"/>
                    <a:pt x="7264" y="3656"/>
                  </a:cubicBezTo>
                  <a:lnTo>
                    <a:pt x="6895" y="3656"/>
                  </a:lnTo>
                  <a:cubicBezTo>
                    <a:pt x="6597" y="3656"/>
                    <a:pt x="6359" y="3894"/>
                    <a:pt x="6359" y="4192"/>
                  </a:cubicBezTo>
                  <a:lnTo>
                    <a:pt x="6359" y="4739"/>
                  </a:lnTo>
                  <a:cubicBezTo>
                    <a:pt x="6359" y="4894"/>
                    <a:pt x="6430" y="5037"/>
                    <a:pt x="6537" y="5144"/>
                  </a:cubicBezTo>
                  <a:lnTo>
                    <a:pt x="6537" y="5204"/>
                  </a:lnTo>
                  <a:lnTo>
                    <a:pt x="6216" y="5275"/>
                  </a:lnTo>
                  <a:cubicBezTo>
                    <a:pt x="5978" y="5335"/>
                    <a:pt x="5811" y="5549"/>
                    <a:pt x="5811" y="5799"/>
                  </a:cubicBezTo>
                  <a:lnTo>
                    <a:pt x="5811" y="5847"/>
                  </a:lnTo>
                  <a:lnTo>
                    <a:pt x="5418" y="5847"/>
                  </a:lnTo>
                  <a:lnTo>
                    <a:pt x="5418" y="3275"/>
                  </a:lnTo>
                  <a:close/>
                  <a:moveTo>
                    <a:pt x="1430" y="1"/>
                  </a:moveTo>
                  <a:cubicBezTo>
                    <a:pt x="1346" y="1"/>
                    <a:pt x="1275" y="72"/>
                    <a:pt x="1275" y="155"/>
                  </a:cubicBezTo>
                  <a:cubicBezTo>
                    <a:pt x="1275" y="251"/>
                    <a:pt x="1346" y="322"/>
                    <a:pt x="1430" y="322"/>
                  </a:cubicBezTo>
                  <a:lnTo>
                    <a:pt x="5097" y="322"/>
                  </a:lnTo>
                  <a:lnTo>
                    <a:pt x="5097" y="4763"/>
                  </a:lnTo>
                  <a:lnTo>
                    <a:pt x="4156" y="4763"/>
                  </a:lnTo>
                  <a:lnTo>
                    <a:pt x="4156" y="3835"/>
                  </a:lnTo>
                  <a:cubicBezTo>
                    <a:pt x="4156" y="3537"/>
                    <a:pt x="3978" y="3275"/>
                    <a:pt x="3692" y="3168"/>
                  </a:cubicBezTo>
                  <a:lnTo>
                    <a:pt x="3251" y="2989"/>
                  </a:lnTo>
                  <a:lnTo>
                    <a:pt x="3251" y="2965"/>
                  </a:lnTo>
                  <a:lnTo>
                    <a:pt x="3251" y="2715"/>
                  </a:lnTo>
                  <a:cubicBezTo>
                    <a:pt x="3478" y="2549"/>
                    <a:pt x="3620" y="2287"/>
                    <a:pt x="3620" y="1989"/>
                  </a:cubicBezTo>
                  <a:lnTo>
                    <a:pt x="3620" y="1632"/>
                  </a:lnTo>
                  <a:cubicBezTo>
                    <a:pt x="3620" y="1227"/>
                    <a:pt x="3299" y="917"/>
                    <a:pt x="2906" y="917"/>
                  </a:cubicBezTo>
                  <a:lnTo>
                    <a:pt x="2537" y="917"/>
                  </a:lnTo>
                  <a:cubicBezTo>
                    <a:pt x="2132" y="917"/>
                    <a:pt x="1823" y="1251"/>
                    <a:pt x="1823" y="1632"/>
                  </a:cubicBezTo>
                  <a:lnTo>
                    <a:pt x="1823" y="2001"/>
                  </a:lnTo>
                  <a:cubicBezTo>
                    <a:pt x="1823" y="2299"/>
                    <a:pt x="1965" y="2572"/>
                    <a:pt x="2192" y="2739"/>
                  </a:cubicBezTo>
                  <a:lnTo>
                    <a:pt x="2192" y="2989"/>
                  </a:lnTo>
                  <a:lnTo>
                    <a:pt x="2192" y="3001"/>
                  </a:lnTo>
                  <a:lnTo>
                    <a:pt x="1751" y="3180"/>
                  </a:lnTo>
                  <a:cubicBezTo>
                    <a:pt x="1477" y="3287"/>
                    <a:pt x="1287" y="3549"/>
                    <a:pt x="1287" y="3846"/>
                  </a:cubicBezTo>
                  <a:lnTo>
                    <a:pt x="1287" y="4775"/>
                  </a:lnTo>
                  <a:lnTo>
                    <a:pt x="346" y="4775"/>
                  </a:lnTo>
                  <a:lnTo>
                    <a:pt x="346" y="370"/>
                  </a:lnTo>
                  <a:lnTo>
                    <a:pt x="715" y="370"/>
                  </a:lnTo>
                  <a:cubicBezTo>
                    <a:pt x="811" y="370"/>
                    <a:pt x="882" y="298"/>
                    <a:pt x="882" y="203"/>
                  </a:cubicBezTo>
                  <a:cubicBezTo>
                    <a:pt x="882" y="120"/>
                    <a:pt x="811" y="36"/>
                    <a:pt x="715" y="36"/>
                  </a:cubicBezTo>
                  <a:lnTo>
                    <a:pt x="168" y="36"/>
                  </a:lnTo>
                  <a:cubicBezTo>
                    <a:pt x="84" y="36"/>
                    <a:pt x="1" y="120"/>
                    <a:pt x="1" y="203"/>
                  </a:cubicBezTo>
                  <a:lnTo>
                    <a:pt x="1" y="6049"/>
                  </a:lnTo>
                  <a:cubicBezTo>
                    <a:pt x="1" y="6144"/>
                    <a:pt x="84" y="6216"/>
                    <a:pt x="168" y="6216"/>
                  </a:cubicBezTo>
                  <a:lnTo>
                    <a:pt x="8931" y="6216"/>
                  </a:lnTo>
                  <a:cubicBezTo>
                    <a:pt x="9026" y="6216"/>
                    <a:pt x="9097" y="6144"/>
                    <a:pt x="9097" y="6049"/>
                  </a:cubicBezTo>
                  <a:lnTo>
                    <a:pt x="9097" y="203"/>
                  </a:lnTo>
                  <a:cubicBezTo>
                    <a:pt x="9085" y="84"/>
                    <a:pt x="9014" y="1"/>
                    <a:pt x="89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1" name="Google Shape;11061;p60"/>
            <p:cNvSpPr/>
            <p:nvPr/>
          </p:nvSpPr>
          <p:spPr>
            <a:xfrm>
              <a:off x="6188327" y="2955408"/>
              <a:ext cx="371395" cy="272857"/>
            </a:xfrm>
            <a:custGeom>
              <a:avLst/>
              <a:gdLst/>
              <a:ahLst/>
              <a:cxnLst/>
              <a:rect l="l" t="t" r="r" b="b"/>
              <a:pathLst>
                <a:path w="11669" h="8573" extrusionOk="0">
                  <a:moveTo>
                    <a:pt x="10597" y="358"/>
                  </a:moveTo>
                  <a:cubicBezTo>
                    <a:pt x="10704" y="358"/>
                    <a:pt x="10799" y="453"/>
                    <a:pt x="10799" y="548"/>
                  </a:cubicBezTo>
                  <a:lnTo>
                    <a:pt x="10799" y="7323"/>
                  </a:lnTo>
                  <a:lnTo>
                    <a:pt x="10418" y="7323"/>
                  </a:lnTo>
                  <a:cubicBezTo>
                    <a:pt x="10335" y="7323"/>
                    <a:pt x="10263" y="7394"/>
                    <a:pt x="10263" y="7490"/>
                  </a:cubicBezTo>
                  <a:cubicBezTo>
                    <a:pt x="10263" y="7585"/>
                    <a:pt x="10335" y="7656"/>
                    <a:pt x="10418" y="7656"/>
                  </a:cubicBezTo>
                  <a:lnTo>
                    <a:pt x="11323" y="7656"/>
                  </a:lnTo>
                  <a:cubicBezTo>
                    <a:pt x="11323" y="7656"/>
                    <a:pt x="11347" y="7656"/>
                    <a:pt x="11347" y="7668"/>
                  </a:cubicBezTo>
                  <a:lnTo>
                    <a:pt x="11347" y="8037"/>
                  </a:lnTo>
                  <a:cubicBezTo>
                    <a:pt x="11335" y="8144"/>
                    <a:pt x="11240" y="8240"/>
                    <a:pt x="11133" y="8240"/>
                  </a:cubicBezTo>
                  <a:lnTo>
                    <a:pt x="536" y="8240"/>
                  </a:lnTo>
                  <a:cubicBezTo>
                    <a:pt x="441" y="8240"/>
                    <a:pt x="346" y="8144"/>
                    <a:pt x="346" y="8037"/>
                  </a:cubicBezTo>
                  <a:lnTo>
                    <a:pt x="346" y="7668"/>
                  </a:lnTo>
                  <a:cubicBezTo>
                    <a:pt x="346" y="7668"/>
                    <a:pt x="346" y="7656"/>
                    <a:pt x="357" y="7656"/>
                  </a:cubicBezTo>
                  <a:lnTo>
                    <a:pt x="9680" y="7656"/>
                  </a:lnTo>
                  <a:cubicBezTo>
                    <a:pt x="9763" y="7656"/>
                    <a:pt x="9835" y="7585"/>
                    <a:pt x="9835" y="7490"/>
                  </a:cubicBezTo>
                  <a:cubicBezTo>
                    <a:pt x="9835" y="7394"/>
                    <a:pt x="9763" y="7323"/>
                    <a:pt x="9680" y="7323"/>
                  </a:cubicBezTo>
                  <a:lnTo>
                    <a:pt x="893" y="7323"/>
                  </a:lnTo>
                  <a:lnTo>
                    <a:pt x="893" y="548"/>
                  </a:lnTo>
                  <a:cubicBezTo>
                    <a:pt x="893" y="453"/>
                    <a:pt x="988" y="358"/>
                    <a:pt x="1084" y="358"/>
                  </a:cubicBezTo>
                  <a:close/>
                  <a:moveTo>
                    <a:pt x="1096" y="1"/>
                  </a:moveTo>
                  <a:cubicBezTo>
                    <a:pt x="798" y="1"/>
                    <a:pt x="560" y="239"/>
                    <a:pt x="560" y="536"/>
                  </a:cubicBezTo>
                  <a:lnTo>
                    <a:pt x="560" y="7311"/>
                  </a:lnTo>
                  <a:lnTo>
                    <a:pt x="357" y="7311"/>
                  </a:lnTo>
                  <a:cubicBezTo>
                    <a:pt x="167" y="7311"/>
                    <a:pt x="0" y="7478"/>
                    <a:pt x="0" y="7668"/>
                  </a:cubicBezTo>
                  <a:lnTo>
                    <a:pt x="0" y="8037"/>
                  </a:lnTo>
                  <a:cubicBezTo>
                    <a:pt x="0" y="8335"/>
                    <a:pt x="238" y="8573"/>
                    <a:pt x="536" y="8573"/>
                  </a:cubicBezTo>
                  <a:lnTo>
                    <a:pt x="11133" y="8573"/>
                  </a:lnTo>
                  <a:cubicBezTo>
                    <a:pt x="11430" y="8573"/>
                    <a:pt x="11668" y="8335"/>
                    <a:pt x="11668" y="8037"/>
                  </a:cubicBezTo>
                  <a:lnTo>
                    <a:pt x="11668" y="7668"/>
                  </a:lnTo>
                  <a:cubicBezTo>
                    <a:pt x="11668" y="7478"/>
                    <a:pt x="11525" y="7311"/>
                    <a:pt x="11335" y="7311"/>
                  </a:cubicBezTo>
                  <a:lnTo>
                    <a:pt x="11133" y="7311"/>
                  </a:lnTo>
                  <a:lnTo>
                    <a:pt x="11133" y="536"/>
                  </a:lnTo>
                  <a:cubicBezTo>
                    <a:pt x="11133" y="239"/>
                    <a:pt x="10894" y="1"/>
                    <a:pt x="105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62" name="Google Shape;11062;p60"/>
          <p:cNvGrpSpPr/>
          <p:nvPr/>
        </p:nvGrpSpPr>
        <p:grpSpPr>
          <a:xfrm>
            <a:off x="7521454" y="2906139"/>
            <a:ext cx="359651" cy="371013"/>
            <a:chOff x="7521454" y="2906139"/>
            <a:chExt cx="359651" cy="371013"/>
          </a:xfrm>
        </p:grpSpPr>
        <p:sp>
          <p:nvSpPr>
            <p:cNvPr id="11063" name="Google Shape;11063;p60"/>
            <p:cNvSpPr/>
            <p:nvPr/>
          </p:nvSpPr>
          <p:spPr>
            <a:xfrm>
              <a:off x="7614677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43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798" y="1405"/>
                    <a:pt x="1548" y="1655"/>
                    <a:pt x="1251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46" y="345"/>
                    <a:pt x="1060" y="345"/>
                  </a:cubicBezTo>
                  <a:close/>
                  <a:moveTo>
                    <a:pt x="1429" y="1988"/>
                  </a:moveTo>
                  <a:lnTo>
                    <a:pt x="1429" y="2072"/>
                  </a:lnTo>
                  <a:cubicBezTo>
                    <a:pt x="1429" y="2131"/>
                    <a:pt x="1441" y="2191"/>
                    <a:pt x="1477" y="2250"/>
                  </a:cubicBezTo>
                  <a:lnTo>
                    <a:pt x="1251" y="2489"/>
                  </a:lnTo>
                  <a:lnTo>
                    <a:pt x="1239" y="2489"/>
                  </a:lnTo>
                  <a:lnTo>
                    <a:pt x="1000" y="2250"/>
                  </a:lnTo>
                  <a:cubicBezTo>
                    <a:pt x="1024" y="2191"/>
                    <a:pt x="1048" y="2131"/>
                    <a:pt x="1048" y="2072"/>
                  </a:cubicBezTo>
                  <a:lnTo>
                    <a:pt x="1048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0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34" y="2810"/>
                    <a:pt x="1429" y="2786"/>
                    <a:pt x="1501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79" y="2691"/>
                    <a:pt x="2179" y="2774"/>
                  </a:cubicBezTo>
                  <a:lnTo>
                    <a:pt x="2179" y="4179"/>
                  </a:lnTo>
                  <a:cubicBezTo>
                    <a:pt x="2179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394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4" name="Google Shape;11064;p60"/>
            <p:cNvSpPr/>
            <p:nvPr/>
          </p:nvSpPr>
          <p:spPr>
            <a:xfrm>
              <a:off x="7707518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43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822" y="1405"/>
                    <a:pt x="1560" y="1655"/>
                    <a:pt x="1251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46" y="345"/>
                    <a:pt x="1060" y="345"/>
                  </a:cubicBezTo>
                  <a:close/>
                  <a:moveTo>
                    <a:pt x="1441" y="1988"/>
                  </a:moveTo>
                  <a:lnTo>
                    <a:pt x="1441" y="2072"/>
                  </a:lnTo>
                  <a:cubicBezTo>
                    <a:pt x="1441" y="2131"/>
                    <a:pt x="1465" y="2191"/>
                    <a:pt x="1489" y="2250"/>
                  </a:cubicBezTo>
                  <a:lnTo>
                    <a:pt x="1262" y="2489"/>
                  </a:lnTo>
                  <a:lnTo>
                    <a:pt x="1251" y="2489"/>
                  </a:lnTo>
                  <a:lnTo>
                    <a:pt x="1012" y="2250"/>
                  </a:lnTo>
                  <a:cubicBezTo>
                    <a:pt x="1048" y="2191"/>
                    <a:pt x="1060" y="2131"/>
                    <a:pt x="1060" y="2072"/>
                  </a:cubicBezTo>
                  <a:lnTo>
                    <a:pt x="1060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1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46" y="2810"/>
                    <a:pt x="1429" y="2786"/>
                    <a:pt x="1501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67" y="2691"/>
                    <a:pt x="2167" y="2774"/>
                  </a:cubicBezTo>
                  <a:lnTo>
                    <a:pt x="2167" y="4179"/>
                  </a:lnTo>
                  <a:cubicBezTo>
                    <a:pt x="2167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417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5" name="Google Shape;11065;p60"/>
            <p:cNvSpPr/>
            <p:nvPr/>
          </p:nvSpPr>
          <p:spPr>
            <a:xfrm>
              <a:off x="7800740" y="3138830"/>
              <a:ext cx="80364" cy="138322"/>
            </a:xfrm>
            <a:custGeom>
              <a:avLst/>
              <a:gdLst/>
              <a:ahLst/>
              <a:cxnLst/>
              <a:rect l="l" t="t" r="r" b="b"/>
              <a:pathLst>
                <a:path w="2525" h="4346" extrusionOk="0">
                  <a:moveTo>
                    <a:pt x="1429" y="345"/>
                  </a:moveTo>
                  <a:cubicBezTo>
                    <a:pt x="1643" y="345"/>
                    <a:pt x="1810" y="512"/>
                    <a:pt x="1810" y="715"/>
                  </a:cubicBezTo>
                  <a:lnTo>
                    <a:pt x="1810" y="1084"/>
                  </a:lnTo>
                  <a:cubicBezTo>
                    <a:pt x="1810" y="1405"/>
                    <a:pt x="1548" y="1655"/>
                    <a:pt x="1250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58" y="345"/>
                    <a:pt x="1060" y="345"/>
                  </a:cubicBezTo>
                  <a:close/>
                  <a:moveTo>
                    <a:pt x="1429" y="1988"/>
                  </a:moveTo>
                  <a:lnTo>
                    <a:pt x="1429" y="2072"/>
                  </a:lnTo>
                  <a:cubicBezTo>
                    <a:pt x="1429" y="2131"/>
                    <a:pt x="1453" y="2191"/>
                    <a:pt x="1477" y="2250"/>
                  </a:cubicBezTo>
                  <a:lnTo>
                    <a:pt x="1250" y="2489"/>
                  </a:lnTo>
                  <a:lnTo>
                    <a:pt x="1239" y="2489"/>
                  </a:lnTo>
                  <a:lnTo>
                    <a:pt x="1000" y="2250"/>
                  </a:lnTo>
                  <a:cubicBezTo>
                    <a:pt x="1036" y="2191"/>
                    <a:pt x="1048" y="2131"/>
                    <a:pt x="1048" y="2072"/>
                  </a:cubicBezTo>
                  <a:lnTo>
                    <a:pt x="1048" y="1988"/>
                  </a:lnTo>
                  <a:close/>
                  <a:moveTo>
                    <a:pt x="1072" y="0"/>
                  </a:moveTo>
                  <a:cubicBezTo>
                    <a:pt x="679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39" y="1822"/>
                  </a:cubicBezTo>
                  <a:lnTo>
                    <a:pt x="739" y="2072"/>
                  </a:lnTo>
                  <a:lnTo>
                    <a:pt x="739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84" y="4346"/>
                    <a:pt x="167" y="4346"/>
                  </a:cubicBezTo>
                  <a:cubicBezTo>
                    <a:pt x="250" y="4346"/>
                    <a:pt x="334" y="4274"/>
                    <a:pt x="334" y="4179"/>
                  </a:cubicBezTo>
                  <a:lnTo>
                    <a:pt x="334" y="2774"/>
                  </a:lnTo>
                  <a:cubicBezTo>
                    <a:pt x="334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0" y="2715"/>
                  </a:lnTo>
                  <a:cubicBezTo>
                    <a:pt x="1072" y="2786"/>
                    <a:pt x="1167" y="2810"/>
                    <a:pt x="1250" y="2810"/>
                  </a:cubicBezTo>
                  <a:cubicBezTo>
                    <a:pt x="1346" y="2810"/>
                    <a:pt x="1429" y="2786"/>
                    <a:pt x="1512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79" y="2691"/>
                    <a:pt x="2179" y="2774"/>
                  </a:cubicBezTo>
                  <a:lnTo>
                    <a:pt x="2179" y="4179"/>
                  </a:lnTo>
                  <a:cubicBezTo>
                    <a:pt x="2179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24" y="2572"/>
                    <a:pt x="2405" y="2381"/>
                    <a:pt x="2227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2" y="1655"/>
                    <a:pt x="2167" y="1381"/>
                    <a:pt x="2167" y="1084"/>
                  </a:cubicBezTo>
                  <a:lnTo>
                    <a:pt x="2167" y="715"/>
                  </a:lnTo>
                  <a:cubicBezTo>
                    <a:pt x="2167" y="310"/>
                    <a:pt x="1834" y="0"/>
                    <a:pt x="1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6" name="Google Shape;11066;p60"/>
            <p:cNvSpPr/>
            <p:nvPr/>
          </p:nvSpPr>
          <p:spPr>
            <a:xfrm>
              <a:off x="7521454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32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810" y="1405"/>
                    <a:pt x="1560" y="1655"/>
                    <a:pt x="1251" y="1655"/>
                  </a:cubicBezTo>
                  <a:cubicBezTo>
                    <a:pt x="941" y="1655"/>
                    <a:pt x="679" y="1393"/>
                    <a:pt x="679" y="1084"/>
                  </a:cubicBezTo>
                  <a:lnTo>
                    <a:pt x="679" y="715"/>
                  </a:lnTo>
                  <a:cubicBezTo>
                    <a:pt x="679" y="512"/>
                    <a:pt x="846" y="345"/>
                    <a:pt x="1060" y="345"/>
                  </a:cubicBezTo>
                  <a:close/>
                  <a:moveTo>
                    <a:pt x="1441" y="1988"/>
                  </a:moveTo>
                  <a:lnTo>
                    <a:pt x="1441" y="2072"/>
                  </a:lnTo>
                  <a:cubicBezTo>
                    <a:pt x="1441" y="2131"/>
                    <a:pt x="1453" y="2191"/>
                    <a:pt x="1489" y="2250"/>
                  </a:cubicBezTo>
                  <a:lnTo>
                    <a:pt x="1262" y="2489"/>
                  </a:lnTo>
                  <a:lnTo>
                    <a:pt x="1251" y="2489"/>
                  </a:lnTo>
                  <a:lnTo>
                    <a:pt x="1012" y="2250"/>
                  </a:lnTo>
                  <a:cubicBezTo>
                    <a:pt x="1036" y="2191"/>
                    <a:pt x="1060" y="2131"/>
                    <a:pt x="1060" y="2072"/>
                  </a:cubicBezTo>
                  <a:lnTo>
                    <a:pt x="1060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00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70" y="2631"/>
                    <a:pt x="429" y="2596"/>
                  </a:cubicBezTo>
                  <a:lnTo>
                    <a:pt x="727" y="2441"/>
                  </a:lnTo>
                  <a:lnTo>
                    <a:pt x="989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34" y="2810"/>
                    <a:pt x="1429" y="2786"/>
                    <a:pt x="1501" y="2715"/>
                  </a:cubicBezTo>
                  <a:lnTo>
                    <a:pt x="1763" y="2441"/>
                  </a:lnTo>
                  <a:lnTo>
                    <a:pt x="2060" y="2596"/>
                  </a:lnTo>
                  <a:cubicBezTo>
                    <a:pt x="2132" y="2619"/>
                    <a:pt x="2167" y="2691"/>
                    <a:pt x="2167" y="2774"/>
                  </a:cubicBezTo>
                  <a:lnTo>
                    <a:pt x="2167" y="4179"/>
                  </a:lnTo>
                  <a:cubicBezTo>
                    <a:pt x="2167" y="4274"/>
                    <a:pt x="2251" y="4346"/>
                    <a:pt x="2334" y="4346"/>
                  </a:cubicBezTo>
                  <a:cubicBezTo>
                    <a:pt x="2417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405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7" name="Google Shape;11067;p60"/>
            <p:cNvSpPr/>
            <p:nvPr/>
          </p:nvSpPr>
          <p:spPr>
            <a:xfrm>
              <a:off x="7555923" y="2906139"/>
              <a:ext cx="289949" cy="219833"/>
            </a:xfrm>
            <a:custGeom>
              <a:avLst/>
              <a:gdLst/>
              <a:ahLst/>
              <a:cxnLst/>
              <a:rect l="l" t="t" r="r" b="b"/>
              <a:pathLst>
                <a:path w="9110" h="6907" extrusionOk="0">
                  <a:moveTo>
                    <a:pt x="4561" y="1"/>
                  </a:moveTo>
                  <a:cubicBezTo>
                    <a:pt x="4501" y="1"/>
                    <a:pt x="4442" y="36"/>
                    <a:pt x="4406" y="96"/>
                  </a:cubicBezTo>
                  <a:lnTo>
                    <a:pt x="3859" y="1191"/>
                  </a:lnTo>
                  <a:cubicBezTo>
                    <a:pt x="3811" y="1287"/>
                    <a:pt x="3847" y="1382"/>
                    <a:pt x="3930" y="1418"/>
                  </a:cubicBezTo>
                  <a:cubicBezTo>
                    <a:pt x="3959" y="1432"/>
                    <a:pt x="3988" y="1439"/>
                    <a:pt x="4016" y="1439"/>
                  </a:cubicBezTo>
                  <a:cubicBezTo>
                    <a:pt x="4078" y="1439"/>
                    <a:pt x="4131" y="1404"/>
                    <a:pt x="4156" y="1346"/>
                  </a:cubicBezTo>
                  <a:lnTo>
                    <a:pt x="4382" y="894"/>
                  </a:lnTo>
                  <a:lnTo>
                    <a:pt x="4382" y="4204"/>
                  </a:lnTo>
                  <a:lnTo>
                    <a:pt x="715" y="4204"/>
                  </a:lnTo>
                  <a:cubicBezTo>
                    <a:pt x="310" y="4204"/>
                    <a:pt x="1" y="4525"/>
                    <a:pt x="1" y="4918"/>
                  </a:cubicBezTo>
                  <a:lnTo>
                    <a:pt x="1" y="6752"/>
                  </a:lnTo>
                  <a:cubicBezTo>
                    <a:pt x="1" y="6835"/>
                    <a:pt x="72" y="6906"/>
                    <a:pt x="168" y="6906"/>
                  </a:cubicBezTo>
                  <a:cubicBezTo>
                    <a:pt x="251" y="6906"/>
                    <a:pt x="334" y="6835"/>
                    <a:pt x="334" y="6752"/>
                  </a:cubicBezTo>
                  <a:lnTo>
                    <a:pt x="334" y="4918"/>
                  </a:lnTo>
                  <a:cubicBezTo>
                    <a:pt x="334" y="4704"/>
                    <a:pt x="489" y="4549"/>
                    <a:pt x="703" y="4549"/>
                  </a:cubicBezTo>
                  <a:lnTo>
                    <a:pt x="2906" y="4549"/>
                  </a:lnTo>
                  <a:lnTo>
                    <a:pt x="2906" y="6752"/>
                  </a:lnTo>
                  <a:cubicBezTo>
                    <a:pt x="2906" y="6835"/>
                    <a:pt x="2977" y="6906"/>
                    <a:pt x="3061" y="6906"/>
                  </a:cubicBezTo>
                  <a:cubicBezTo>
                    <a:pt x="3156" y="6906"/>
                    <a:pt x="3227" y="6835"/>
                    <a:pt x="3227" y="6752"/>
                  </a:cubicBezTo>
                  <a:lnTo>
                    <a:pt x="3227" y="4549"/>
                  </a:lnTo>
                  <a:lnTo>
                    <a:pt x="5823" y="4549"/>
                  </a:lnTo>
                  <a:lnTo>
                    <a:pt x="5823" y="6752"/>
                  </a:lnTo>
                  <a:cubicBezTo>
                    <a:pt x="5823" y="6835"/>
                    <a:pt x="5894" y="6906"/>
                    <a:pt x="5978" y="6906"/>
                  </a:cubicBezTo>
                  <a:cubicBezTo>
                    <a:pt x="6073" y="6906"/>
                    <a:pt x="6145" y="6835"/>
                    <a:pt x="6145" y="6752"/>
                  </a:cubicBezTo>
                  <a:lnTo>
                    <a:pt x="6145" y="4549"/>
                  </a:lnTo>
                  <a:lnTo>
                    <a:pt x="8347" y="4549"/>
                  </a:lnTo>
                  <a:cubicBezTo>
                    <a:pt x="8561" y="4549"/>
                    <a:pt x="8716" y="4704"/>
                    <a:pt x="8716" y="4918"/>
                  </a:cubicBezTo>
                  <a:lnTo>
                    <a:pt x="8716" y="6752"/>
                  </a:lnTo>
                  <a:cubicBezTo>
                    <a:pt x="8716" y="6835"/>
                    <a:pt x="8800" y="6906"/>
                    <a:pt x="8883" y="6906"/>
                  </a:cubicBezTo>
                  <a:cubicBezTo>
                    <a:pt x="8978" y="6906"/>
                    <a:pt x="9050" y="6835"/>
                    <a:pt x="9050" y="6752"/>
                  </a:cubicBezTo>
                  <a:lnTo>
                    <a:pt x="9050" y="4918"/>
                  </a:lnTo>
                  <a:cubicBezTo>
                    <a:pt x="9109" y="4525"/>
                    <a:pt x="8788" y="4204"/>
                    <a:pt x="8395" y="4204"/>
                  </a:cubicBezTo>
                  <a:lnTo>
                    <a:pt x="4740" y="4204"/>
                  </a:lnTo>
                  <a:lnTo>
                    <a:pt x="4740" y="894"/>
                  </a:lnTo>
                  <a:lnTo>
                    <a:pt x="4954" y="1346"/>
                  </a:lnTo>
                  <a:cubicBezTo>
                    <a:pt x="4990" y="1406"/>
                    <a:pt x="5049" y="1429"/>
                    <a:pt x="5109" y="1429"/>
                  </a:cubicBezTo>
                  <a:cubicBezTo>
                    <a:pt x="5132" y="1429"/>
                    <a:pt x="5156" y="1429"/>
                    <a:pt x="5180" y="1418"/>
                  </a:cubicBezTo>
                  <a:cubicBezTo>
                    <a:pt x="5275" y="1370"/>
                    <a:pt x="5299" y="1263"/>
                    <a:pt x="5252" y="1191"/>
                  </a:cubicBezTo>
                  <a:lnTo>
                    <a:pt x="4704" y="96"/>
                  </a:lnTo>
                  <a:cubicBezTo>
                    <a:pt x="4680" y="36"/>
                    <a:pt x="4621" y="1"/>
                    <a:pt x="4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68" name="Google Shape;11068;p60"/>
          <p:cNvGrpSpPr/>
          <p:nvPr/>
        </p:nvGrpSpPr>
        <p:grpSpPr>
          <a:xfrm>
            <a:off x="5782845" y="2906521"/>
            <a:ext cx="301661" cy="371013"/>
            <a:chOff x="5782845" y="2906521"/>
            <a:chExt cx="301661" cy="371013"/>
          </a:xfrm>
        </p:grpSpPr>
        <p:sp>
          <p:nvSpPr>
            <p:cNvPr id="11069" name="Google Shape;11069;p60"/>
            <p:cNvSpPr/>
            <p:nvPr/>
          </p:nvSpPr>
          <p:spPr>
            <a:xfrm>
              <a:off x="5782845" y="3087651"/>
              <a:ext cx="301661" cy="189883"/>
            </a:xfrm>
            <a:custGeom>
              <a:avLst/>
              <a:gdLst/>
              <a:ahLst/>
              <a:cxnLst/>
              <a:rect l="l" t="t" r="r" b="b"/>
              <a:pathLst>
                <a:path w="9478" h="5966" extrusionOk="0">
                  <a:moveTo>
                    <a:pt x="3215" y="322"/>
                  </a:moveTo>
                  <a:cubicBezTo>
                    <a:pt x="3322" y="322"/>
                    <a:pt x="3418" y="370"/>
                    <a:pt x="3489" y="429"/>
                  </a:cubicBezTo>
                  <a:cubicBezTo>
                    <a:pt x="3561" y="513"/>
                    <a:pt x="3596" y="596"/>
                    <a:pt x="3596" y="703"/>
                  </a:cubicBezTo>
                  <a:lnTo>
                    <a:pt x="3596" y="1156"/>
                  </a:lnTo>
                  <a:cubicBezTo>
                    <a:pt x="3608" y="1358"/>
                    <a:pt x="3501" y="1537"/>
                    <a:pt x="3322" y="1644"/>
                  </a:cubicBezTo>
                  <a:cubicBezTo>
                    <a:pt x="3263" y="1668"/>
                    <a:pt x="3239" y="1727"/>
                    <a:pt x="3239" y="1787"/>
                  </a:cubicBezTo>
                  <a:lnTo>
                    <a:pt x="3239" y="1977"/>
                  </a:lnTo>
                  <a:lnTo>
                    <a:pt x="2846" y="1977"/>
                  </a:lnTo>
                  <a:lnTo>
                    <a:pt x="2846" y="1787"/>
                  </a:lnTo>
                  <a:cubicBezTo>
                    <a:pt x="2846" y="1727"/>
                    <a:pt x="2822" y="1668"/>
                    <a:pt x="2763" y="1644"/>
                  </a:cubicBezTo>
                  <a:cubicBezTo>
                    <a:pt x="2584" y="1537"/>
                    <a:pt x="2477" y="1358"/>
                    <a:pt x="2477" y="1156"/>
                  </a:cubicBezTo>
                  <a:lnTo>
                    <a:pt x="2477" y="703"/>
                  </a:lnTo>
                  <a:cubicBezTo>
                    <a:pt x="2477" y="489"/>
                    <a:pt x="2644" y="322"/>
                    <a:pt x="2846" y="322"/>
                  </a:cubicBezTo>
                  <a:close/>
                  <a:moveTo>
                    <a:pt x="6513" y="322"/>
                  </a:moveTo>
                  <a:cubicBezTo>
                    <a:pt x="6609" y="322"/>
                    <a:pt x="6704" y="370"/>
                    <a:pt x="6775" y="429"/>
                  </a:cubicBezTo>
                  <a:cubicBezTo>
                    <a:pt x="6847" y="513"/>
                    <a:pt x="6882" y="596"/>
                    <a:pt x="6882" y="703"/>
                  </a:cubicBezTo>
                  <a:lnTo>
                    <a:pt x="6882" y="1156"/>
                  </a:lnTo>
                  <a:cubicBezTo>
                    <a:pt x="6894" y="1358"/>
                    <a:pt x="6787" y="1537"/>
                    <a:pt x="6609" y="1644"/>
                  </a:cubicBezTo>
                  <a:cubicBezTo>
                    <a:pt x="6549" y="1668"/>
                    <a:pt x="6525" y="1727"/>
                    <a:pt x="6525" y="1787"/>
                  </a:cubicBezTo>
                  <a:lnTo>
                    <a:pt x="6525" y="1977"/>
                  </a:lnTo>
                  <a:lnTo>
                    <a:pt x="6132" y="1977"/>
                  </a:lnTo>
                  <a:lnTo>
                    <a:pt x="6132" y="1787"/>
                  </a:lnTo>
                  <a:cubicBezTo>
                    <a:pt x="6132" y="1727"/>
                    <a:pt x="6108" y="1668"/>
                    <a:pt x="6049" y="1644"/>
                  </a:cubicBezTo>
                  <a:cubicBezTo>
                    <a:pt x="5870" y="1537"/>
                    <a:pt x="5763" y="1358"/>
                    <a:pt x="5763" y="1156"/>
                  </a:cubicBezTo>
                  <a:lnTo>
                    <a:pt x="5763" y="703"/>
                  </a:lnTo>
                  <a:cubicBezTo>
                    <a:pt x="5763" y="489"/>
                    <a:pt x="5930" y="322"/>
                    <a:pt x="6132" y="322"/>
                  </a:cubicBezTo>
                  <a:close/>
                  <a:moveTo>
                    <a:pt x="1572" y="2144"/>
                  </a:moveTo>
                  <a:cubicBezTo>
                    <a:pt x="1667" y="2144"/>
                    <a:pt x="1763" y="2192"/>
                    <a:pt x="1834" y="2251"/>
                  </a:cubicBezTo>
                  <a:cubicBezTo>
                    <a:pt x="1906" y="2323"/>
                    <a:pt x="1941" y="2418"/>
                    <a:pt x="1941" y="2513"/>
                  </a:cubicBezTo>
                  <a:lnTo>
                    <a:pt x="1941" y="2977"/>
                  </a:lnTo>
                  <a:lnTo>
                    <a:pt x="1953" y="2977"/>
                  </a:lnTo>
                  <a:cubicBezTo>
                    <a:pt x="1953" y="3168"/>
                    <a:pt x="1846" y="3370"/>
                    <a:pt x="1667" y="3454"/>
                  </a:cubicBezTo>
                  <a:cubicBezTo>
                    <a:pt x="1608" y="3489"/>
                    <a:pt x="1584" y="3549"/>
                    <a:pt x="1584" y="3608"/>
                  </a:cubicBezTo>
                  <a:lnTo>
                    <a:pt x="1584" y="3799"/>
                  </a:lnTo>
                  <a:lnTo>
                    <a:pt x="1191" y="3799"/>
                  </a:lnTo>
                  <a:lnTo>
                    <a:pt x="1191" y="3608"/>
                  </a:lnTo>
                  <a:cubicBezTo>
                    <a:pt x="1191" y="3549"/>
                    <a:pt x="1167" y="3489"/>
                    <a:pt x="1108" y="3454"/>
                  </a:cubicBezTo>
                  <a:cubicBezTo>
                    <a:pt x="929" y="3346"/>
                    <a:pt x="822" y="3168"/>
                    <a:pt x="822" y="2977"/>
                  </a:cubicBezTo>
                  <a:lnTo>
                    <a:pt x="822" y="2513"/>
                  </a:lnTo>
                  <a:cubicBezTo>
                    <a:pt x="822" y="2311"/>
                    <a:pt x="989" y="2144"/>
                    <a:pt x="1191" y="2144"/>
                  </a:cubicBezTo>
                  <a:close/>
                  <a:moveTo>
                    <a:pt x="4858" y="2144"/>
                  </a:moveTo>
                  <a:cubicBezTo>
                    <a:pt x="4965" y="2144"/>
                    <a:pt x="5049" y="2192"/>
                    <a:pt x="5120" y="2251"/>
                  </a:cubicBezTo>
                  <a:cubicBezTo>
                    <a:pt x="5204" y="2323"/>
                    <a:pt x="5227" y="2418"/>
                    <a:pt x="5227" y="2513"/>
                  </a:cubicBezTo>
                  <a:lnTo>
                    <a:pt x="5227" y="2977"/>
                  </a:lnTo>
                  <a:cubicBezTo>
                    <a:pt x="5239" y="3168"/>
                    <a:pt x="5144" y="3370"/>
                    <a:pt x="4954" y="3454"/>
                  </a:cubicBezTo>
                  <a:cubicBezTo>
                    <a:pt x="4894" y="3489"/>
                    <a:pt x="4870" y="3549"/>
                    <a:pt x="4870" y="3608"/>
                  </a:cubicBezTo>
                  <a:lnTo>
                    <a:pt x="4870" y="3799"/>
                  </a:lnTo>
                  <a:lnTo>
                    <a:pt x="4489" y="3799"/>
                  </a:lnTo>
                  <a:lnTo>
                    <a:pt x="4489" y="3608"/>
                  </a:lnTo>
                  <a:cubicBezTo>
                    <a:pt x="4489" y="3549"/>
                    <a:pt x="4453" y="3489"/>
                    <a:pt x="4394" y="3454"/>
                  </a:cubicBezTo>
                  <a:cubicBezTo>
                    <a:pt x="4215" y="3346"/>
                    <a:pt x="4108" y="3168"/>
                    <a:pt x="4108" y="2977"/>
                  </a:cubicBezTo>
                  <a:lnTo>
                    <a:pt x="4108" y="2513"/>
                  </a:lnTo>
                  <a:cubicBezTo>
                    <a:pt x="4108" y="2311"/>
                    <a:pt x="4275" y="2144"/>
                    <a:pt x="4489" y="2144"/>
                  </a:cubicBezTo>
                  <a:close/>
                  <a:moveTo>
                    <a:pt x="8144" y="2144"/>
                  </a:moveTo>
                  <a:cubicBezTo>
                    <a:pt x="8252" y="2144"/>
                    <a:pt x="8335" y="2192"/>
                    <a:pt x="8418" y="2251"/>
                  </a:cubicBezTo>
                  <a:cubicBezTo>
                    <a:pt x="8490" y="2323"/>
                    <a:pt x="8514" y="2418"/>
                    <a:pt x="8514" y="2513"/>
                  </a:cubicBezTo>
                  <a:lnTo>
                    <a:pt x="8514" y="2977"/>
                  </a:lnTo>
                  <a:cubicBezTo>
                    <a:pt x="8525" y="3168"/>
                    <a:pt x="8430" y="3370"/>
                    <a:pt x="8252" y="3454"/>
                  </a:cubicBezTo>
                  <a:cubicBezTo>
                    <a:pt x="8192" y="3489"/>
                    <a:pt x="8156" y="3549"/>
                    <a:pt x="8156" y="3608"/>
                  </a:cubicBezTo>
                  <a:lnTo>
                    <a:pt x="8156" y="3799"/>
                  </a:lnTo>
                  <a:lnTo>
                    <a:pt x="7775" y="3799"/>
                  </a:lnTo>
                  <a:lnTo>
                    <a:pt x="7775" y="3608"/>
                  </a:lnTo>
                  <a:cubicBezTo>
                    <a:pt x="7775" y="3549"/>
                    <a:pt x="7740" y="3489"/>
                    <a:pt x="7680" y="3454"/>
                  </a:cubicBezTo>
                  <a:cubicBezTo>
                    <a:pt x="7501" y="3346"/>
                    <a:pt x="7406" y="3168"/>
                    <a:pt x="7406" y="2977"/>
                  </a:cubicBezTo>
                  <a:lnTo>
                    <a:pt x="7406" y="2513"/>
                  </a:lnTo>
                  <a:cubicBezTo>
                    <a:pt x="7406" y="2311"/>
                    <a:pt x="7561" y="2144"/>
                    <a:pt x="7775" y="2144"/>
                  </a:cubicBezTo>
                  <a:close/>
                  <a:moveTo>
                    <a:pt x="2894" y="1"/>
                  </a:moveTo>
                  <a:cubicBezTo>
                    <a:pt x="2489" y="1"/>
                    <a:pt x="2179" y="334"/>
                    <a:pt x="2179" y="715"/>
                  </a:cubicBezTo>
                  <a:lnTo>
                    <a:pt x="2179" y="1180"/>
                  </a:lnTo>
                  <a:cubicBezTo>
                    <a:pt x="2179" y="1465"/>
                    <a:pt x="2310" y="1727"/>
                    <a:pt x="2548" y="1894"/>
                  </a:cubicBezTo>
                  <a:lnTo>
                    <a:pt x="2548" y="2061"/>
                  </a:lnTo>
                  <a:lnTo>
                    <a:pt x="2251" y="2180"/>
                  </a:lnTo>
                  <a:cubicBezTo>
                    <a:pt x="2215" y="2120"/>
                    <a:pt x="2179" y="2072"/>
                    <a:pt x="2132" y="2025"/>
                  </a:cubicBezTo>
                  <a:cubicBezTo>
                    <a:pt x="2001" y="1894"/>
                    <a:pt x="1822" y="1822"/>
                    <a:pt x="1620" y="1822"/>
                  </a:cubicBezTo>
                  <a:lnTo>
                    <a:pt x="1251" y="1822"/>
                  </a:lnTo>
                  <a:cubicBezTo>
                    <a:pt x="846" y="1822"/>
                    <a:pt x="536" y="2144"/>
                    <a:pt x="536" y="2537"/>
                  </a:cubicBezTo>
                  <a:lnTo>
                    <a:pt x="536" y="2989"/>
                  </a:lnTo>
                  <a:cubicBezTo>
                    <a:pt x="536" y="3275"/>
                    <a:pt x="679" y="3549"/>
                    <a:pt x="905" y="3704"/>
                  </a:cubicBezTo>
                  <a:lnTo>
                    <a:pt x="905" y="3870"/>
                  </a:lnTo>
                  <a:lnTo>
                    <a:pt x="453" y="4049"/>
                  </a:lnTo>
                  <a:cubicBezTo>
                    <a:pt x="179" y="4156"/>
                    <a:pt x="1" y="4418"/>
                    <a:pt x="1" y="4716"/>
                  </a:cubicBezTo>
                  <a:lnTo>
                    <a:pt x="1" y="5811"/>
                  </a:lnTo>
                  <a:cubicBezTo>
                    <a:pt x="1" y="5894"/>
                    <a:pt x="84" y="5966"/>
                    <a:pt x="167" y="5966"/>
                  </a:cubicBezTo>
                  <a:cubicBezTo>
                    <a:pt x="251" y="5966"/>
                    <a:pt x="334" y="5894"/>
                    <a:pt x="334" y="5811"/>
                  </a:cubicBezTo>
                  <a:lnTo>
                    <a:pt x="334" y="4716"/>
                  </a:lnTo>
                  <a:cubicBezTo>
                    <a:pt x="334" y="4573"/>
                    <a:pt x="417" y="4418"/>
                    <a:pt x="572" y="4358"/>
                  </a:cubicBezTo>
                  <a:lnTo>
                    <a:pt x="1108" y="4156"/>
                  </a:lnTo>
                  <a:lnTo>
                    <a:pt x="1775" y="4156"/>
                  </a:lnTo>
                  <a:lnTo>
                    <a:pt x="2310" y="4358"/>
                  </a:lnTo>
                  <a:cubicBezTo>
                    <a:pt x="2453" y="4418"/>
                    <a:pt x="2548" y="4561"/>
                    <a:pt x="2548" y="4716"/>
                  </a:cubicBezTo>
                  <a:lnTo>
                    <a:pt x="2548" y="5811"/>
                  </a:lnTo>
                  <a:cubicBezTo>
                    <a:pt x="2548" y="5894"/>
                    <a:pt x="2620" y="5966"/>
                    <a:pt x="2715" y="5966"/>
                  </a:cubicBezTo>
                  <a:cubicBezTo>
                    <a:pt x="2799" y="5966"/>
                    <a:pt x="2870" y="5894"/>
                    <a:pt x="2870" y="5811"/>
                  </a:cubicBezTo>
                  <a:lnTo>
                    <a:pt x="2870" y="4716"/>
                  </a:lnTo>
                  <a:cubicBezTo>
                    <a:pt x="2870" y="4418"/>
                    <a:pt x="2691" y="4168"/>
                    <a:pt x="2429" y="4049"/>
                  </a:cubicBezTo>
                  <a:lnTo>
                    <a:pt x="1965" y="3870"/>
                  </a:lnTo>
                  <a:lnTo>
                    <a:pt x="1965" y="3704"/>
                  </a:lnTo>
                  <a:cubicBezTo>
                    <a:pt x="2191" y="3537"/>
                    <a:pt x="2334" y="3275"/>
                    <a:pt x="2334" y="2989"/>
                  </a:cubicBezTo>
                  <a:lnTo>
                    <a:pt x="2334" y="2537"/>
                  </a:lnTo>
                  <a:lnTo>
                    <a:pt x="2334" y="2501"/>
                  </a:lnTo>
                  <a:lnTo>
                    <a:pt x="2751" y="2334"/>
                  </a:lnTo>
                  <a:lnTo>
                    <a:pt x="3430" y="2334"/>
                  </a:lnTo>
                  <a:lnTo>
                    <a:pt x="3846" y="2501"/>
                  </a:lnTo>
                  <a:lnTo>
                    <a:pt x="3846" y="2537"/>
                  </a:lnTo>
                  <a:lnTo>
                    <a:pt x="3846" y="2989"/>
                  </a:lnTo>
                  <a:cubicBezTo>
                    <a:pt x="3846" y="3275"/>
                    <a:pt x="3977" y="3549"/>
                    <a:pt x="4215" y="3704"/>
                  </a:cubicBezTo>
                  <a:lnTo>
                    <a:pt x="4215" y="3870"/>
                  </a:lnTo>
                  <a:lnTo>
                    <a:pt x="3751" y="4049"/>
                  </a:lnTo>
                  <a:cubicBezTo>
                    <a:pt x="3489" y="4156"/>
                    <a:pt x="3310" y="4418"/>
                    <a:pt x="3310" y="4716"/>
                  </a:cubicBezTo>
                  <a:lnTo>
                    <a:pt x="3310" y="5811"/>
                  </a:lnTo>
                  <a:cubicBezTo>
                    <a:pt x="3310" y="5894"/>
                    <a:pt x="3382" y="5966"/>
                    <a:pt x="3465" y="5966"/>
                  </a:cubicBezTo>
                  <a:cubicBezTo>
                    <a:pt x="3561" y="5966"/>
                    <a:pt x="3632" y="5894"/>
                    <a:pt x="3632" y="5811"/>
                  </a:cubicBezTo>
                  <a:lnTo>
                    <a:pt x="3632" y="4716"/>
                  </a:lnTo>
                  <a:cubicBezTo>
                    <a:pt x="3632" y="4573"/>
                    <a:pt x="3727" y="4418"/>
                    <a:pt x="3870" y="4358"/>
                  </a:cubicBezTo>
                  <a:lnTo>
                    <a:pt x="4406" y="4156"/>
                  </a:lnTo>
                  <a:lnTo>
                    <a:pt x="5073" y="4156"/>
                  </a:lnTo>
                  <a:lnTo>
                    <a:pt x="5608" y="4358"/>
                  </a:lnTo>
                  <a:cubicBezTo>
                    <a:pt x="5763" y="4418"/>
                    <a:pt x="5847" y="4561"/>
                    <a:pt x="5847" y="4716"/>
                  </a:cubicBezTo>
                  <a:lnTo>
                    <a:pt x="5847" y="5811"/>
                  </a:lnTo>
                  <a:cubicBezTo>
                    <a:pt x="5847" y="5894"/>
                    <a:pt x="5930" y="5966"/>
                    <a:pt x="6013" y="5966"/>
                  </a:cubicBezTo>
                  <a:cubicBezTo>
                    <a:pt x="6108" y="5966"/>
                    <a:pt x="6180" y="5894"/>
                    <a:pt x="6180" y="5811"/>
                  </a:cubicBezTo>
                  <a:lnTo>
                    <a:pt x="6180" y="4716"/>
                  </a:lnTo>
                  <a:cubicBezTo>
                    <a:pt x="6180" y="4418"/>
                    <a:pt x="6001" y="4168"/>
                    <a:pt x="5727" y="4049"/>
                  </a:cubicBezTo>
                  <a:lnTo>
                    <a:pt x="5275" y="3870"/>
                  </a:lnTo>
                  <a:lnTo>
                    <a:pt x="5275" y="3704"/>
                  </a:lnTo>
                  <a:cubicBezTo>
                    <a:pt x="5489" y="3537"/>
                    <a:pt x="5644" y="3275"/>
                    <a:pt x="5644" y="2989"/>
                  </a:cubicBezTo>
                  <a:lnTo>
                    <a:pt x="5644" y="2537"/>
                  </a:lnTo>
                  <a:lnTo>
                    <a:pt x="5644" y="2501"/>
                  </a:lnTo>
                  <a:lnTo>
                    <a:pt x="6061" y="2334"/>
                  </a:lnTo>
                  <a:lnTo>
                    <a:pt x="6728" y="2334"/>
                  </a:lnTo>
                  <a:lnTo>
                    <a:pt x="7144" y="2501"/>
                  </a:lnTo>
                  <a:lnTo>
                    <a:pt x="7144" y="2537"/>
                  </a:lnTo>
                  <a:lnTo>
                    <a:pt x="7144" y="2989"/>
                  </a:lnTo>
                  <a:cubicBezTo>
                    <a:pt x="7144" y="3275"/>
                    <a:pt x="7275" y="3549"/>
                    <a:pt x="7513" y="3704"/>
                  </a:cubicBezTo>
                  <a:lnTo>
                    <a:pt x="7513" y="3870"/>
                  </a:lnTo>
                  <a:lnTo>
                    <a:pt x="7061" y="4049"/>
                  </a:lnTo>
                  <a:cubicBezTo>
                    <a:pt x="6787" y="4156"/>
                    <a:pt x="6609" y="4418"/>
                    <a:pt x="6609" y="4716"/>
                  </a:cubicBezTo>
                  <a:lnTo>
                    <a:pt x="6609" y="5811"/>
                  </a:lnTo>
                  <a:cubicBezTo>
                    <a:pt x="6609" y="5894"/>
                    <a:pt x="6680" y="5966"/>
                    <a:pt x="6775" y="5966"/>
                  </a:cubicBezTo>
                  <a:cubicBezTo>
                    <a:pt x="6859" y="5966"/>
                    <a:pt x="6942" y="5894"/>
                    <a:pt x="6942" y="5811"/>
                  </a:cubicBezTo>
                  <a:lnTo>
                    <a:pt x="6942" y="4716"/>
                  </a:lnTo>
                  <a:cubicBezTo>
                    <a:pt x="6942" y="4573"/>
                    <a:pt x="7025" y="4418"/>
                    <a:pt x="7180" y="4358"/>
                  </a:cubicBezTo>
                  <a:lnTo>
                    <a:pt x="7716" y="4156"/>
                  </a:lnTo>
                  <a:lnTo>
                    <a:pt x="8383" y="4156"/>
                  </a:lnTo>
                  <a:lnTo>
                    <a:pt x="8918" y="4358"/>
                  </a:lnTo>
                  <a:cubicBezTo>
                    <a:pt x="9061" y="4418"/>
                    <a:pt x="9156" y="4561"/>
                    <a:pt x="9156" y="4716"/>
                  </a:cubicBezTo>
                  <a:lnTo>
                    <a:pt x="9156" y="5811"/>
                  </a:lnTo>
                  <a:cubicBezTo>
                    <a:pt x="9156" y="5894"/>
                    <a:pt x="9228" y="5966"/>
                    <a:pt x="9323" y="5966"/>
                  </a:cubicBezTo>
                  <a:cubicBezTo>
                    <a:pt x="9406" y="5966"/>
                    <a:pt x="9478" y="5894"/>
                    <a:pt x="9478" y="5811"/>
                  </a:cubicBezTo>
                  <a:lnTo>
                    <a:pt x="9478" y="4716"/>
                  </a:lnTo>
                  <a:cubicBezTo>
                    <a:pt x="9418" y="4418"/>
                    <a:pt x="9252" y="4156"/>
                    <a:pt x="8978" y="4049"/>
                  </a:cubicBezTo>
                  <a:lnTo>
                    <a:pt x="8514" y="3870"/>
                  </a:lnTo>
                  <a:lnTo>
                    <a:pt x="8514" y="3704"/>
                  </a:lnTo>
                  <a:cubicBezTo>
                    <a:pt x="8740" y="3537"/>
                    <a:pt x="8895" y="3275"/>
                    <a:pt x="8895" y="2989"/>
                  </a:cubicBezTo>
                  <a:lnTo>
                    <a:pt x="8895" y="2537"/>
                  </a:lnTo>
                  <a:cubicBezTo>
                    <a:pt x="8895" y="2334"/>
                    <a:pt x="8811" y="2156"/>
                    <a:pt x="8680" y="2025"/>
                  </a:cubicBezTo>
                  <a:cubicBezTo>
                    <a:pt x="8549" y="1894"/>
                    <a:pt x="8371" y="1822"/>
                    <a:pt x="8168" y="1822"/>
                  </a:cubicBezTo>
                  <a:lnTo>
                    <a:pt x="7799" y="1822"/>
                  </a:lnTo>
                  <a:cubicBezTo>
                    <a:pt x="7537" y="1822"/>
                    <a:pt x="7311" y="1965"/>
                    <a:pt x="7192" y="2180"/>
                  </a:cubicBezTo>
                  <a:lnTo>
                    <a:pt x="6882" y="2061"/>
                  </a:lnTo>
                  <a:lnTo>
                    <a:pt x="6882" y="1894"/>
                  </a:lnTo>
                  <a:cubicBezTo>
                    <a:pt x="7109" y="1727"/>
                    <a:pt x="7251" y="1465"/>
                    <a:pt x="7251" y="1180"/>
                  </a:cubicBezTo>
                  <a:lnTo>
                    <a:pt x="7251" y="715"/>
                  </a:lnTo>
                  <a:cubicBezTo>
                    <a:pt x="7251" y="525"/>
                    <a:pt x="7180" y="346"/>
                    <a:pt x="7037" y="215"/>
                  </a:cubicBezTo>
                  <a:cubicBezTo>
                    <a:pt x="6906" y="72"/>
                    <a:pt x="6728" y="1"/>
                    <a:pt x="6537" y="1"/>
                  </a:cubicBezTo>
                  <a:lnTo>
                    <a:pt x="6168" y="1"/>
                  </a:lnTo>
                  <a:cubicBezTo>
                    <a:pt x="5763" y="1"/>
                    <a:pt x="5454" y="334"/>
                    <a:pt x="5454" y="715"/>
                  </a:cubicBezTo>
                  <a:lnTo>
                    <a:pt x="5454" y="1180"/>
                  </a:lnTo>
                  <a:cubicBezTo>
                    <a:pt x="5454" y="1465"/>
                    <a:pt x="5585" y="1727"/>
                    <a:pt x="5823" y="1894"/>
                  </a:cubicBezTo>
                  <a:lnTo>
                    <a:pt x="5823" y="2061"/>
                  </a:lnTo>
                  <a:lnTo>
                    <a:pt x="5525" y="2180"/>
                  </a:lnTo>
                  <a:cubicBezTo>
                    <a:pt x="5489" y="2120"/>
                    <a:pt x="5454" y="2072"/>
                    <a:pt x="5406" y="2025"/>
                  </a:cubicBezTo>
                  <a:cubicBezTo>
                    <a:pt x="5275" y="1894"/>
                    <a:pt x="5096" y="1822"/>
                    <a:pt x="4894" y="1822"/>
                  </a:cubicBezTo>
                  <a:lnTo>
                    <a:pt x="4525" y="1822"/>
                  </a:lnTo>
                  <a:cubicBezTo>
                    <a:pt x="4263" y="1822"/>
                    <a:pt x="4037" y="1965"/>
                    <a:pt x="3918" y="2180"/>
                  </a:cubicBezTo>
                  <a:lnTo>
                    <a:pt x="3608" y="2061"/>
                  </a:lnTo>
                  <a:lnTo>
                    <a:pt x="3608" y="1894"/>
                  </a:lnTo>
                  <a:cubicBezTo>
                    <a:pt x="3834" y="1727"/>
                    <a:pt x="3977" y="1465"/>
                    <a:pt x="3977" y="1180"/>
                  </a:cubicBezTo>
                  <a:lnTo>
                    <a:pt x="3977" y="715"/>
                  </a:lnTo>
                  <a:cubicBezTo>
                    <a:pt x="3977" y="525"/>
                    <a:pt x="3906" y="346"/>
                    <a:pt x="3763" y="215"/>
                  </a:cubicBezTo>
                  <a:cubicBezTo>
                    <a:pt x="3632" y="72"/>
                    <a:pt x="3453" y="1"/>
                    <a:pt x="3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0" name="Google Shape;11070;p60"/>
            <p:cNvSpPr/>
            <p:nvPr/>
          </p:nvSpPr>
          <p:spPr>
            <a:xfrm>
              <a:off x="5868111" y="2906521"/>
              <a:ext cx="127724" cy="172823"/>
            </a:xfrm>
            <a:custGeom>
              <a:avLst/>
              <a:gdLst/>
              <a:ahLst/>
              <a:cxnLst/>
              <a:rect l="l" t="t" r="r" b="b"/>
              <a:pathLst>
                <a:path w="4013" h="5430" extrusionOk="0">
                  <a:moveTo>
                    <a:pt x="2191" y="334"/>
                  </a:moveTo>
                  <a:cubicBezTo>
                    <a:pt x="2406" y="334"/>
                    <a:pt x="2560" y="501"/>
                    <a:pt x="2560" y="703"/>
                  </a:cubicBezTo>
                  <a:lnTo>
                    <a:pt x="2560" y="1084"/>
                  </a:lnTo>
                  <a:cubicBezTo>
                    <a:pt x="2560" y="1394"/>
                    <a:pt x="2310" y="1644"/>
                    <a:pt x="2001" y="1644"/>
                  </a:cubicBezTo>
                  <a:cubicBezTo>
                    <a:pt x="1691" y="1644"/>
                    <a:pt x="1453" y="1394"/>
                    <a:pt x="1453" y="1084"/>
                  </a:cubicBezTo>
                  <a:lnTo>
                    <a:pt x="1453" y="703"/>
                  </a:lnTo>
                  <a:cubicBezTo>
                    <a:pt x="1453" y="501"/>
                    <a:pt x="1608" y="334"/>
                    <a:pt x="1822" y="334"/>
                  </a:cubicBezTo>
                  <a:close/>
                  <a:moveTo>
                    <a:pt x="2191" y="1953"/>
                  </a:moveTo>
                  <a:lnTo>
                    <a:pt x="2191" y="2060"/>
                  </a:lnTo>
                  <a:cubicBezTo>
                    <a:pt x="2203" y="2120"/>
                    <a:pt x="2227" y="2179"/>
                    <a:pt x="2251" y="2239"/>
                  </a:cubicBezTo>
                  <a:lnTo>
                    <a:pt x="2013" y="2477"/>
                  </a:lnTo>
                  <a:lnTo>
                    <a:pt x="2001" y="2477"/>
                  </a:lnTo>
                  <a:lnTo>
                    <a:pt x="1763" y="2239"/>
                  </a:lnTo>
                  <a:cubicBezTo>
                    <a:pt x="1786" y="2179"/>
                    <a:pt x="1810" y="2120"/>
                    <a:pt x="1810" y="2060"/>
                  </a:cubicBezTo>
                  <a:lnTo>
                    <a:pt x="1810" y="1953"/>
                  </a:lnTo>
                  <a:cubicBezTo>
                    <a:pt x="1870" y="1965"/>
                    <a:pt x="1941" y="1965"/>
                    <a:pt x="2001" y="1965"/>
                  </a:cubicBezTo>
                  <a:cubicBezTo>
                    <a:pt x="2060" y="1965"/>
                    <a:pt x="2132" y="1953"/>
                    <a:pt x="2191" y="1953"/>
                  </a:cubicBezTo>
                  <a:close/>
                  <a:moveTo>
                    <a:pt x="2525" y="2429"/>
                  </a:moveTo>
                  <a:lnTo>
                    <a:pt x="2822" y="2584"/>
                  </a:lnTo>
                  <a:cubicBezTo>
                    <a:pt x="2882" y="2608"/>
                    <a:pt x="2917" y="2680"/>
                    <a:pt x="2917" y="2763"/>
                  </a:cubicBezTo>
                  <a:lnTo>
                    <a:pt x="2917" y="3084"/>
                  </a:lnTo>
                  <a:lnTo>
                    <a:pt x="1072" y="3084"/>
                  </a:lnTo>
                  <a:lnTo>
                    <a:pt x="1072" y="2763"/>
                  </a:lnTo>
                  <a:cubicBezTo>
                    <a:pt x="1072" y="2680"/>
                    <a:pt x="1120" y="2632"/>
                    <a:pt x="1179" y="2584"/>
                  </a:cubicBezTo>
                  <a:lnTo>
                    <a:pt x="1477" y="2429"/>
                  </a:lnTo>
                  <a:lnTo>
                    <a:pt x="1751" y="2703"/>
                  </a:lnTo>
                  <a:cubicBezTo>
                    <a:pt x="1822" y="2775"/>
                    <a:pt x="1905" y="2799"/>
                    <a:pt x="2001" y="2799"/>
                  </a:cubicBezTo>
                  <a:cubicBezTo>
                    <a:pt x="2084" y="2799"/>
                    <a:pt x="2179" y="2775"/>
                    <a:pt x="2251" y="2703"/>
                  </a:cubicBezTo>
                  <a:lnTo>
                    <a:pt x="2525" y="2429"/>
                  </a:lnTo>
                  <a:close/>
                  <a:moveTo>
                    <a:pt x="3560" y="3442"/>
                  </a:moveTo>
                  <a:lnTo>
                    <a:pt x="3370" y="3834"/>
                  </a:lnTo>
                  <a:lnTo>
                    <a:pt x="655" y="3834"/>
                  </a:lnTo>
                  <a:lnTo>
                    <a:pt x="465" y="3442"/>
                  </a:lnTo>
                  <a:close/>
                  <a:moveTo>
                    <a:pt x="1822" y="1"/>
                  </a:moveTo>
                  <a:cubicBezTo>
                    <a:pt x="1417" y="1"/>
                    <a:pt x="1108" y="334"/>
                    <a:pt x="1108" y="715"/>
                  </a:cubicBezTo>
                  <a:lnTo>
                    <a:pt x="1108" y="1096"/>
                  </a:lnTo>
                  <a:cubicBezTo>
                    <a:pt x="1108" y="1394"/>
                    <a:pt x="1251" y="1656"/>
                    <a:pt x="1477" y="1822"/>
                  </a:cubicBezTo>
                  <a:lnTo>
                    <a:pt x="1477" y="2072"/>
                  </a:lnTo>
                  <a:lnTo>
                    <a:pt x="1477" y="2084"/>
                  </a:lnTo>
                  <a:lnTo>
                    <a:pt x="1048" y="2299"/>
                  </a:lnTo>
                  <a:cubicBezTo>
                    <a:pt x="870" y="2382"/>
                    <a:pt x="751" y="2584"/>
                    <a:pt x="751" y="2775"/>
                  </a:cubicBezTo>
                  <a:lnTo>
                    <a:pt x="751" y="3108"/>
                  </a:lnTo>
                  <a:lnTo>
                    <a:pt x="179" y="3108"/>
                  </a:lnTo>
                  <a:cubicBezTo>
                    <a:pt x="120" y="3108"/>
                    <a:pt x="60" y="3132"/>
                    <a:pt x="36" y="3180"/>
                  </a:cubicBezTo>
                  <a:cubicBezTo>
                    <a:pt x="0" y="3227"/>
                    <a:pt x="0" y="3299"/>
                    <a:pt x="24" y="3346"/>
                  </a:cubicBezTo>
                  <a:lnTo>
                    <a:pt x="393" y="4073"/>
                  </a:lnTo>
                  <a:cubicBezTo>
                    <a:pt x="417" y="4132"/>
                    <a:pt x="477" y="4156"/>
                    <a:pt x="536" y="4156"/>
                  </a:cubicBezTo>
                  <a:lnTo>
                    <a:pt x="739" y="4156"/>
                  </a:lnTo>
                  <a:lnTo>
                    <a:pt x="739" y="5263"/>
                  </a:lnTo>
                  <a:cubicBezTo>
                    <a:pt x="739" y="5347"/>
                    <a:pt x="810" y="5430"/>
                    <a:pt x="893" y="5430"/>
                  </a:cubicBezTo>
                  <a:cubicBezTo>
                    <a:pt x="989" y="5430"/>
                    <a:pt x="1060" y="5347"/>
                    <a:pt x="1060" y="5263"/>
                  </a:cubicBezTo>
                  <a:lnTo>
                    <a:pt x="1060" y="4156"/>
                  </a:lnTo>
                  <a:lnTo>
                    <a:pt x="2906" y="4156"/>
                  </a:lnTo>
                  <a:lnTo>
                    <a:pt x="2906" y="5263"/>
                  </a:lnTo>
                  <a:cubicBezTo>
                    <a:pt x="2906" y="5347"/>
                    <a:pt x="2977" y="5430"/>
                    <a:pt x="3072" y="5430"/>
                  </a:cubicBezTo>
                  <a:cubicBezTo>
                    <a:pt x="3156" y="5430"/>
                    <a:pt x="3227" y="5347"/>
                    <a:pt x="3227" y="5263"/>
                  </a:cubicBezTo>
                  <a:lnTo>
                    <a:pt x="3227" y="4156"/>
                  </a:lnTo>
                  <a:lnTo>
                    <a:pt x="3429" y="4156"/>
                  </a:lnTo>
                  <a:cubicBezTo>
                    <a:pt x="3489" y="4156"/>
                    <a:pt x="3549" y="4132"/>
                    <a:pt x="3572" y="4073"/>
                  </a:cubicBezTo>
                  <a:lnTo>
                    <a:pt x="3941" y="3346"/>
                  </a:lnTo>
                  <a:cubicBezTo>
                    <a:pt x="4013" y="3299"/>
                    <a:pt x="4013" y="3227"/>
                    <a:pt x="3977" y="3180"/>
                  </a:cubicBezTo>
                  <a:cubicBezTo>
                    <a:pt x="3953" y="3132"/>
                    <a:pt x="3894" y="3108"/>
                    <a:pt x="3834" y="3108"/>
                  </a:cubicBezTo>
                  <a:lnTo>
                    <a:pt x="3263" y="3108"/>
                  </a:lnTo>
                  <a:lnTo>
                    <a:pt x="3263" y="2775"/>
                  </a:lnTo>
                  <a:cubicBezTo>
                    <a:pt x="3263" y="2572"/>
                    <a:pt x="3144" y="2382"/>
                    <a:pt x="2965" y="2299"/>
                  </a:cubicBezTo>
                  <a:lnTo>
                    <a:pt x="2536" y="2084"/>
                  </a:lnTo>
                  <a:lnTo>
                    <a:pt x="2536" y="2072"/>
                  </a:lnTo>
                  <a:lnTo>
                    <a:pt x="2536" y="1822"/>
                  </a:lnTo>
                  <a:cubicBezTo>
                    <a:pt x="2763" y="1656"/>
                    <a:pt x="2906" y="1394"/>
                    <a:pt x="2906" y="1096"/>
                  </a:cubicBezTo>
                  <a:lnTo>
                    <a:pt x="2906" y="715"/>
                  </a:lnTo>
                  <a:cubicBezTo>
                    <a:pt x="2906" y="322"/>
                    <a:pt x="2572" y="1"/>
                    <a:pt x="2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1" name="Google Shape;11071;p60"/>
            <p:cNvSpPr/>
            <p:nvPr/>
          </p:nvSpPr>
          <p:spPr>
            <a:xfrm>
              <a:off x="5915088" y="3051655"/>
              <a:ext cx="34151" cy="10662"/>
            </a:xfrm>
            <a:custGeom>
              <a:avLst/>
              <a:gdLst/>
              <a:ahLst/>
              <a:cxnLst/>
              <a:rect l="l" t="t" r="r" b="b"/>
              <a:pathLst>
                <a:path w="1073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894" y="334"/>
                  </a:lnTo>
                  <a:cubicBezTo>
                    <a:pt x="989" y="334"/>
                    <a:pt x="1060" y="251"/>
                    <a:pt x="1060" y="167"/>
                  </a:cubicBezTo>
                  <a:cubicBezTo>
                    <a:pt x="1072" y="72"/>
                    <a:pt x="989" y="1"/>
                    <a:pt x="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72" name="Google Shape;11072;p60"/>
          <p:cNvGrpSpPr/>
          <p:nvPr/>
        </p:nvGrpSpPr>
        <p:grpSpPr>
          <a:xfrm>
            <a:off x="6630539" y="2917502"/>
            <a:ext cx="371777" cy="349434"/>
            <a:chOff x="6630539" y="2917502"/>
            <a:chExt cx="371777" cy="349434"/>
          </a:xfrm>
        </p:grpSpPr>
        <p:sp>
          <p:nvSpPr>
            <p:cNvPr id="11073" name="Google Shape;11073;p60"/>
            <p:cNvSpPr/>
            <p:nvPr/>
          </p:nvSpPr>
          <p:spPr>
            <a:xfrm>
              <a:off x="6689292" y="3043093"/>
              <a:ext cx="92109" cy="30586"/>
            </a:xfrm>
            <a:custGeom>
              <a:avLst/>
              <a:gdLst/>
              <a:ahLst/>
              <a:cxnLst/>
              <a:rect l="l" t="t" r="r" b="b"/>
              <a:pathLst>
                <a:path w="2894" h="961" extrusionOk="0">
                  <a:moveTo>
                    <a:pt x="1164" y="1"/>
                  </a:moveTo>
                  <a:cubicBezTo>
                    <a:pt x="816" y="1"/>
                    <a:pt x="501" y="36"/>
                    <a:pt x="298" y="67"/>
                  </a:cubicBezTo>
                  <a:cubicBezTo>
                    <a:pt x="119" y="91"/>
                    <a:pt x="0" y="246"/>
                    <a:pt x="0" y="401"/>
                  </a:cubicBezTo>
                  <a:lnTo>
                    <a:pt x="0" y="794"/>
                  </a:lnTo>
                  <a:cubicBezTo>
                    <a:pt x="0" y="877"/>
                    <a:pt x="72" y="960"/>
                    <a:pt x="155" y="960"/>
                  </a:cubicBezTo>
                  <a:cubicBezTo>
                    <a:pt x="250" y="960"/>
                    <a:pt x="322" y="877"/>
                    <a:pt x="322" y="794"/>
                  </a:cubicBezTo>
                  <a:lnTo>
                    <a:pt x="322" y="401"/>
                  </a:lnTo>
                  <a:cubicBezTo>
                    <a:pt x="322" y="401"/>
                    <a:pt x="322" y="389"/>
                    <a:pt x="334" y="389"/>
                  </a:cubicBezTo>
                  <a:cubicBezTo>
                    <a:pt x="511" y="361"/>
                    <a:pt x="812" y="318"/>
                    <a:pt x="1157" y="318"/>
                  </a:cubicBezTo>
                  <a:cubicBezTo>
                    <a:pt x="1253" y="318"/>
                    <a:pt x="1352" y="321"/>
                    <a:pt x="1453" y="329"/>
                  </a:cubicBezTo>
                  <a:cubicBezTo>
                    <a:pt x="1989" y="365"/>
                    <a:pt x="2382" y="496"/>
                    <a:pt x="2596" y="734"/>
                  </a:cubicBezTo>
                  <a:cubicBezTo>
                    <a:pt x="2626" y="764"/>
                    <a:pt x="2670" y="779"/>
                    <a:pt x="2715" y="779"/>
                  </a:cubicBezTo>
                  <a:cubicBezTo>
                    <a:pt x="2760" y="779"/>
                    <a:pt x="2804" y="764"/>
                    <a:pt x="2834" y="734"/>
                  </a:cubicBezTo>
                  <a:cubicBezTo>
                    <a:pt x="2894" y="675"/>
                    <a:pt x="2894" y="567"/>
                    <a:pt x="2834" y="508"/>
                  </a:cubicBezTo>
                  <a:cubicBezTo>
                    <a:pt x="2437" y="103"/>
                    <a:pt x="1753" y="1"/>
                    <a:pt x="11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4" name="Google Shape;11074;p60"/>
            <p:cNvSpPr/>
            <p:nvPr/>
          </p:nvSpPr>
          <p:spPr>
            <a:xfrm>
              <a:off x="6630539" y="2993315"/>
              <a:ext cx="208852" cy="273621"/>
            </a:xfrm>
            <a:custGeom>
              <a:avLst/>
              <a:gdLst/>
              <a:ahLst/>
              <a:cxnLst/>
              <a:rect l="l" t="t" r="r" b="b"/>
              <a:pathLst>
                <a:path w="6562" h="8597" extrusionOk="0">
                  <a:moveTo>
                    <a:pt x="5132" y="334"/>
                  </a:moveTo>
                  <a:lnTo>
                    <a:pt x="5132" y="1988"/>
                  </a:lnTo>
                  <a:cubicBezTo>
                    <a:pt x="5132" y="2239"/>
                    <a:pt x="5073" y="2477"/>
                    <a:pt x="4966" y="2703"/>
                  </a:cubicBezTo>
                  <a:cubicBezTo>
                    <a:pt x="4954" y="2727"/>
                    <a:pt x="4954" y="2739"/>
                    <a:pt x="4954" y="2774"/>
                  </a:cubicBezTo>
                  <a:lnTo>
                    <a:pt x="4954" y="3262"/>
                  </a:lnTo>
                  <a:cubicBezTo>
                    <a:pt x="4954" y="3727"/>
                    <a:pt x="4763" y="4155"/>
                    <a:pt x="4430" y="4465"/>
                  </a:cubicBezTo>
                  <a:cubicBezTo>
                    <a:pt x="4108" y="4765"/>
                    <a:pt x="3713" y="4920"/>
                    <a:pt x="3275" y="4920"/>
                  </a:cubicBezTo>
                  <a:cubicBezTo>
                    <a:pt x="3243" y="4920"/>
                    <a:pt x="3212" y="4919"/>
                    <a:pt x="3180" y="4917"/>
                  </a:cubicBezTo>
                  <a:cubicBezTo>
                    <a:pt x="2299" y="4882"/>
                    <a:pt x="1620" y="4120"/>
                    <a:pt x="1620" y="3215"/>
                  </a:cubicBezTo>
                  <a:lnTo>
                    <a:pt x="1620" y="2786"/>
                  </a:lnTo>
                  <a:cubicBezTo>
                    <a:pt x="1620" y="2762"/>
                    <a:pt x="1620" y="2739"/>
                    <a:pt x="1608" y="2715"/>
                  </a:cubicBezTo>
                  <a:cubicBezTo>
                    <a:pt x="1501" y="2489"/>
                    <a:pt x="1441" y="2239"/>
                    <a:pt x="1441" y="2000"/>
                  </a:cubicBezTo>
                  <a:lnTo>
                    <a:pt x="1441" y="1631"/>
                  </a:lnTo>
                  <a:cubicBezTo>
                    <a:pt x="1441" y="917"/>
                    <a:pt x="2025" y="334"/>
                    <a:pt x="2739" y="334"/>
                  </a:cubicBezTo>
                  <a:close/>
                  <a:moveTo>
                    <a:pt x="4204" y="5048"/>
                  </a:moveTo>
                  <a:lnTo>
                    <a:pt x="4204" y="5358"/>
                  </a:lnTo>
                  <a:lnTo>
                    <a:pt x="3287" y="6001"/>
                  </a:lnTo>
                  <a:lnTo>
                    <a:pt x="2358" y="5358"/>
                  </a:lnTo>
                  <a:lnTo>
                    <a:pt x="2358" y="5048"/>
                  </a:lnTo>
                  <a:cubicBezTo>
                    <a:pt x="2596" y="5179"/>
                    <a:pt x="2870" y="5263"/>
                    <a:pt x="3156" y="5275"/>
                  </a:cubicBezTo>
                  <a:lnTo>
                    <a:pt x="3287" y="5275"/>
                  </a:lnTo>
                  <a:cubicBezTo>
                    <a:pt x="3608" y="5275"/>
                    <a:pt x="3930" y="5203"/>
                    <a:pt x="4204" y="5048"/>
                  </a:cubicBezTo>
                  <a:close/>
                  <a:moveTo>
                    <a:pt x="2203" y="5668"/>
                  </a:moveTo>
                  <a:lnTo>
                    <a:pt x="3001" y="6227"/>
                  </a:lnTo>
                  <a:lnTo>
                    <a:pt x="2584" y="6656"/>
                  </a:lnTo>
                  <a:lnTo>
                    <a:pt x="2573" y="6656"/>
                  </a:lnTo>
                  <a:lnTo>
                    <a:pt x="2037" y="5858"/>
                  </a:lnTo>
                  <a:lnTo>
                    <a:pt x="2203" y="5668"/>
                  </a:lnTo>
                  <a:close/>
                  <a:moveTo>
                    <a:pt x="4359" y="5668"/>
                  </a:moveTo>
                  <a:lnTo>
                    <a:pt x="4525" y="5858"/>
                  </a:lnTo>
                  <a:lnTo>
                    <a:pt x="4001" y="6656"/>
                  </a:lnTo>
                  <a:lnTo>
                    <a:pt x="3989" y="6656"/>
                  </a:lnTo>
                  <a:lnTo>
                    <a:pt x="3549" y="6227"/>
                  </a:lnTo>
                  <a:lnTo>
                    <a:pt x="4359" y="5668"/>
                  </a:lnTo>
                  <a:close/>
                  <a:moveTo>
                    <a:pt x="2739" y="0"/>
                  </a:moveTo>
                  <a:cubicBezTo>
                    <a:pt x="1822" y="0"/>
                    <a:pt x="1096" y="738"/>
                    <a:pt x="1096" y="1643"/>
                  </a:cubicBezTo>
                  <a:lnTo>
                    <a:pt x="1096" y="2012"/>
                  </a:lnTo>
                  <a:cubicBezTo>
                    <a:pt x="1096" y="2298"/>
                    <a:pt x="1156" y="2584"/>
                    <a:pt x="1275" y="2846"/>
                  </a:cubicBezTo>
                  <a:lnTo>
                    <a:pt x="1275" y="3239"/>
                  </a:lnTo>
                  <a:cubicBezTo>
                    <a:pt x="1275" y="3870"/>
                    <a:pt x="1561" y="4453"/>
                    <a:pt x="2001" y="4822"/>
                  </a:cubicBezTo>
                  <a:lnTo>
                    <a:pt x="2001" y="5406"/>
                  </a:lnTo>
                  <a:lnTo>
                    <a:pt x="1692" y="5739"/>
                  </a:lnTo>
                  <a:cubicBezTo>
                    <a:pt x="1668" y="5763"/>
                    <a:pt x="1644" y="5822"/>
                    <a:pt x="1644" y="5870"/>
                  </a:cubicBezTo>
                  <a:lnTo>
                    <a:pt x="596" y="6251"/>
                  </a:lnTo>
                  <a:cubicBezTo>
                    <a:pt x="239" y="6394"/>
                    <a:pt x="1" y="6727"/>
                    <a:pt x="1" y="7108"/>
                  </a:cubicBezTo>
                  <a:lnTo>
                    <a:pt x="1" y="8418"/>
                  </a:lnTo>
                  <a:cubicBezTo>
                    <a:pt x="1" y="8501"/>
                    <a:pt x="72" y="8573"/>
                    <a:pt x="156" y="8573"/>
                  </a:cubicBezTo>
                  <a:cubicBezTo>
                    <a:pt x="251" y="8573"/>
                    <a:pt x="322" y="8501"/>
                    <a:pt x="322" y="8418"/>
                  </a:cubicBezTo>
                  <a:lnTo>
                    <a:pt x="322" y="7108"/>
                  </a:lnTo>
                  <a:cubicBezTo>
                    <a:pt x="322" y="6870"/>
                    <a:pt x="477" y="6656"/>
                    <a:pt x="691" y="6584"/>
                  </a:cubicBezTo>
                  <a:lnTo>
                    <a:pt x="1811" y="6179"/>
                  </a:lnTo>
                  <a:lnTo>
                    <a:pt x="2275" y="6882"/>
                  </a:lnTo>
                  <a:cubicBezTo>
                    <a:pt x="2334" y="6965"/>
                    <a:pt x="2418" y="7025"/>
                    <a:pt x="2525" y="7025"/>
                  </a:cubicBezTo>
                  <a:lnTo>
                    <a:pt x="2561" y="7025"/>
                  </a:lnTo>
                  <a:cubicBezTo>
                    <a:pt x="2644" y="7025"/>
                    <a:pt x="2739" y="7001"/>
                    <a:pt x="2811" y="6930"/>
                  </a:cubicBezTo>
                  <a:lnTo>
                    <a:pt x="3096" y="6644"/>
                  </a:lnTo>
                  <a:lnTo>
                    <a:pt x="3096" y="8430"/>
                  </a:lnTo>
                  <a:cubicBezTo>
                    <a:pt x="3096" y="8513"/>
                    <a:pt x="3168" y="8596"/>
                    <a:pt x="3251" y="8596"/>
                  </a:cubicBezTo>
                  <a:cubicBezTo>
                    <a:pt x="3346" y="8596"/>
                    <a:pt x="3418" y="8513"/>
                    <a:pt x="3418" y="8430"/>
                  </a:cubicBezTo>
                  <a:lnTo>
                    <a:pt x="3418" y="6644"/>
                  </a:lnTo>
                  <a:lnTo>
                    <a:pt x="3704" y="6930"/>
                  </a:lnTo>
                  <a:cubicBezTo>
                    <a:pt x="3763" y="6989"/>
                    <a:pt x="3870" y="7025"/>
                    <a:pt x="3954" y="7025"/>
                  </a:cubicBezTo>
                  <a:lnTo>
                    <a:pt x="3989" y="7025"/>
                  </a:lnTo>
                  <a:cubicBezTo>
                    <a:pt x="4085" y="7013"/>
                    <a:pt x="4180" y="6953"/>
                    <a:pt x="4239" y="6882"/>
                  </a:cubicBezTo>
                  <a:lnTo>
                    <a:pt x="4704" y="6179"/>
                  </a:lnTo>
                  <a:lnTo>
                    <a:pt x="5811" y="6584"/>
                  </a:lnTo>
                  <a:cubicBezTo>
                    <a:pt x="6037" y="6656"/>
                    <a:pt x="6192" y="6882"/>
                    <a:pt x="6192" y="7108"/>
                  </a:cubicBezTo>
                  <a:lnTo>
                    <a:pt x="6192" y="8418"/>
                  </a:lnTo>
                  <a:cubicBezTo>
                    <a:pt x="6192" y="8501"/>
                    <a:pt x="6264" y="8573"/>
                    <a:pt x="6347" y="8573"/>
                  </a:cubicBezTo>
                  <a:cubicBezTo>
                    <a:pt x="6442" y="8573"/>
                    <a:pt x="6514" y="8501"/>
                    <a:pt x="6514" y="8418"/>
                  </a:cubicBezTo>
                  <a:lnTo>
                    <a:pt x="6514" y="7108"/>
                  </a:lnTo>
                  <a:cubicBezTo>
                    <a:pt x="6561" y="6703"/>
                    <a:pt x="6323" y="6370"/>
                    <a:pt x="5966" y="6239"/>
                  </a:cubicBezTo>
                  <a:lnTo>
                    <a:pt x="4906" y="5858"/>
                  </a:lnTo>
                  <a:cubicBezTo>
                    <a:pt x="4906" y="5810"/>
                    <a:pt x="4894" y="5763"/>
                    <a:pt x="4859" y="5715"/>
                  </a:cubicBezTo>
                  <a:lnTo>
                    <a:pt x="4549" y="5394"/>
                  </a:lnTo>
                  <a:lnTo>
                    <a:pt x="4549" y="4822"/>
                  </a:lnTo>
                  <a:cubicBezTo>
                    <a:pt x="4585" y="4798"/>
                    <a:pt x="4609" y="4763"/>
                    <a:pt x="4656" y="4739"/>
                  </a:cubicBezTo>
                  <a:cubicBezTo>
                    <a:pt x="5061" y="4370"/>
                    <a:pt x="5275" y="3822"/>
                    <a:pt x="5275" y="3274"/>
                  </a:cubicBezTo>
                  <a:lnTo>
                    <a:pt x="5275" y="2834"/>
                  </a:lnTo>
                  <a:cubicBezTo>
                    <a:pt x="5394" y="2560"/>
                    <a:pt x="5454" y="2286"/>
                    <a:pt x="5454" y="2000"/>
                  </a:cubicBezTo>
                  <a:lnTo>
                    <a:pt x="5454" y="167"/>
                  </a:lnTo>
                  <a:cubicBezTo>
                    <a:pt x="5454" y="83"/>
                    <a:pt x="5382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5" name="Google Shape;11075;p60"/>
            <p:cNvSpPr/>
            <p:nvPr/>
          </p:nvSpPr>
          <p:spPr>
            <a:xfrm>
              <a:off x="6665804" y="3232053"/>
              <a:ext cx="10630" cy="33737"/>
            </a:xfrm>
            <a:custGeom>
              <a:avLst/>
              <a:gdLst/>
              <a:ahLst/>
              <a:cxnLst/>
              <a:rect l="l" t="t" r="r" b="b"/>
              <a:pathLst>
                <a:path w="334" h="1060" extrusionOk="0">
                  <a:moveTo>
                    <a:pt x="167" y="0"/>
                  </a:moveTo>
                  <a:cubicBezTo>
                    <a:pt x="83" y="0"/>
                    <a:pt x="0" y="83"/>
                    <a:pt x="0" y="167"/>
                  </a:cubicBezTo>
                  <a:lnTo>
                    <a:pt x="0" y="893"/>
                  </a:lnTo>
                  <a:cubicBezTo>
                    <a:pt x="0" y="988"/>
                    <a:pt x="83" y="1060"/>
                    <a:pt x="167" y="1060"/>
                  </a:cubicBezTo>
                  <a:cubicBezTo>
                    <a:pt x="262" y="1060"/>
                    <a:pt x="333" y="988"/>
                    <a:pt x="333" y="893"/>
                  </a:cubicBezTo>
                  <a:lnTo>
                    <a:pt x="333" y="167"/>
                  </a:lnTo>
                  <a:cubicBezTo>
                    <a:pt x="333" y="83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6" name="Google Shape;11076;p60"/>
            <p:cNvSpPr/>
            <p:nvPr/>
          </p:nvSpPr>
          <p:spPr>
            <a:xfrm>
              <a:off x="6793877" y="3232053"/>
              <a:ext cx="10248" cy="33737"/>
            </a:xfrm>
            <a:custGeom>
              <a:avLst/>
              <a:gdLst/>
              <a:ahLst/>
              <a:cxnLst/>
              <a:rect l="l" t="t" r="r" b="b"/>
              <a:pathLst>
                <a:path w="322" h="1060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893"/>
                  </a:lnTo>
                  <a:cubicBezTo>
                    <a:pt x="0" y="988"/>
                    <a:pt x="72" y="1060"/>
                    <a:pt x="167" y="1060"/>
                  </a:cubicBezTo>
                  <a:cubicBezTo>
                    <a:pt x="250" y="1060"/>
                    <a:pt x="322" y="988"/>
                    <a:pt x="322" y="893"/>
                  </a:cubicBezTo>
                  <a:lnTo>
                    <a:pt x="322" y="167"/>
                  </a:lnTo>
                  <a:cubicBezTo>
                    <a:pt x="322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7" name="Google Shape;11077;p60"/>
            <p:cNvSpPr/>
            <p:nvPr/>
          </p:nvSpPr>
          <p:spPr>
            <a:xfrm>
              <a:off x="6828347" y="2952766"/>
              <a:ext cx="173969" cy="181162"/>
            </a:xfrm>
            <a:custGeom>
              <a:avLst/>
              <a:gdLst/>
              <a:ahLst/>
              <a:cxnLst/>
              <a:rect l="l" t="t" r="r" b="b"/>
              <a:pathLst>
                <a:path w="5466" h="5692" extrusionOk="0">
                  <a:moveTo>
                    <a:pt x="3847" y="0"/>
                  </a:moveTo>
                  <a:cubicBezTo>
                    <a:pt x="3751" y="0"/>
                    <a:pt x="3680" y="72"/>
                    <a:pt x="3680" y="167"/>
                  </a:cubicBezTo>
                  <a:cubicBezTo>
                    <a:pt x="3680" y="250"/>
                    <a:pt x="3751" y="322"/>
                    <a:pt x="3847" y="322"/>
                  </a:cubicBezTo>
                  <a:lnTo>
                    <a:pt x="4751" y="322"/>
                  </a:lnTo>
                  <a:cubicBezTo>
                    <a:pt x="4954" y="322"/>
                    <a:pt x="5121" y="488"/>
                    <a:pt x="5121" y="703"/>
                  </a:cubicBezTo>
                  <a:lnTo>
                    <a:pt x="5121" y="3643"/>
                  </a:lnTo>
                  <a:cubicBezTo>
                    <a:pt x="5121" y="3858"/>
                    <a:pt x="4954" y="4013"/>
                    <a:pt x="4751" y="4013"/>
                  </a:cubicBezTo>
                  <a:lnTo>
                    <a:pt x="2918" y="4013"/>
                  </a:lnTo>
                  <a:cubicBezTo>
                    <a:pt x="2894" y="4013"/>
                    <a:pt x="2846" y="4036"/>
                    <a:pt x="2811" y="4048"/>
                  </a:cubicBezTo>
                  <a:lnTo>
                    <a:pt x="1180" y="5239"/>
                  </a:lnTo>
                  <a:lnTo>
                    <a:pt x="1180" y="5239"/>
                  </a:lnTo>
                  <a:lnTo>
                    <a:pt x="1430" y="4227"/>
                  </a:lnTo>
                  <a:cubicBezTo>
                    <a:pt x="1442" y="4179"/>
                    <a:pt x="1430" y="4120"/>
                    <a:pt x="1406" y="4072"/>
                  </a:cubicBezTo>
                  <a:cubicBezTo>
                    <a:pt x="1370" y="4036"/>
                    <a:pt x="1311" y="4013"/>
                    <a:pt x="1263" y="4013"/>
                  </a:cubicBezTo>
                  <a:lnTo>
                    <a:pt x="715" y="4013"/>
                  </a:lnTo>
                  <a:cubicBezTo>
                    <a:pt x="513" y="4013"/>
                    <a:pt x="346" y="3858"/>
                    <a:pt x="346" y="3643"/>
                  </a:cubicBezTo>
                  <a:lnTo>
                    <a:pt x="346" y="715"/>
                  </a:lnTo>
                  <a:cubicBezTo>
                    <a:pt x="346" y="500"/>
                    <a:pt x="513" y="345"/>
                    <a:pt x="715" y="345"/>
                  </a:cubicBezTo>
                  <a:lnTo>
                    <a:pt x="1620" y="345"/>
                  </a:lnTo>
                  <a:cubicBezTo>
                    <a:pt x="1715" y="345"/>
                    <a:pt x="1787" y="262"/>
                    <a:pt x="1787" y="179"/>
                  </a:cubicBezTo>
                  <a:cubicBezTo>
                    <a:pt x="1787" y="84"/>
                    <a:pt x="1715" y="12"/>
                    <a:pt x="1620" y="12"/>
                  </a:cubicBezTo>
                  <a:lnTo>
                    <a:pt x="715" y="12"/>
                  </a:lnTo>
                  <a:cubicBezTo>
                    <a:pt x="310" y="12"/>
                    <a:pt x="1" y="345"/>
                    <a:pt x="1" y="726"/>
                  </a:cubicBezTo>
                  <a:lnTo>
                    <a:pt x="1" y="3643"/>
                  </a:lnTo>
                  <a:cubicBezTo>
                    <a:pt x="1" y="4048"/>
                    <a:pt x="334" y="4358"/>
                    <a:pt x="715" y="4358"/>
                  </a:cubicBezTo>
                  <a:lnTo>
                    <a:pt x="1049" y="4358"/>
                  </a:lnTo>
                  <a:lnTo>
                    <a:pt x="787" y="5370"/>
                  </a:lnTo>
                  <a:cubicBezTo>
                    <a:pt x="763" y="5477"/>
                    <a:pt x="811" y="5596"/>
                    <a:pt x="894" y="5656"/>
                  </a:cubicBezTo>
                  <a:cubicBezTo>
                    <a:pt x="941" y="5679"/>
                    <a:pt x="989" y="5691"/>
                    <a:pt x="1049" y="5691"/>
                  </a:cubicBezTo>
                  <a:cubicBezTo>
                    <a:pt x="1108" y="5691"/>
                    <a:pt x="1144" y="5679"/>
                    <a:pt x="1192" y="5656"/>
                  </a:cubicBezTo>
                  <a:lnTo>
                    <a:pt x="2954" y="4370"/>
                  </a:lnTo>
                  <a:lnTo>
                    <a:pt x="4716" y="4370"/>
                  </a:lnTo>
                  <a:cubicBezTo>
                    <a:pt x="5121" y="4370"/>
                    <a:pt x="5430" y="4048"/>
                    <a:pt x="5430" y="3655"/>
                  </a:cubicBezTo>
                  <a:lnTo>
                    <a:pt x="5430" y="726"/>
                  </a:lnTo>
                  <a:cubicBezTo>
                    <a:pt x="5466" y="322"/>
                    <a:pt x="5132" y="0"/>
                    <a:pt x="4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8" name="Google Shape;11078;p60"/>
            <p:cNvSpPr/>
            <p:nvPr/>
          </p:nvSpPr>
          <p:spPr>
            <a:xfrm>
              <a:off x="6898463" y="2917502"/>
              <a:ext cx="34151" cy="104999"/>
            </a:xfrm>
            <a:custGeom>
              <a:avLst/>
              <a:gdLst/>
              <a:ahLst/>
              <a:cxnLst/>
              <a:rect l="l" t="t" r="r" b="b"/>
              <a:pathLst>
                <a:path w="1073" h="3299" extrusionOk="0">
                  <a:moveTo>
                    <a:pt x="715" y="346"/>
                  </a:moveTo>
                  <a:lnTo>
                    <a:pt x="548" y="2930"/>
                  </a:lnTo>
                  <a:lnTo>
                    <a:pt x="513" y="2930"/>
                  </a:lnTo>
                  <a:lnTo>
                    <a:pt x="346" y="346"/>
                  </a:lnTo>
                  <a:close/>
                  <a:moveTo>
                    <a:pt x="167" y="1"/>
                  </a:moveTo>
                  <a:cubicBezTo>
                    <a:pt x="120" y="1"/>
                    <a:pt x="72" y="25"/>
                    <a:pt x="48" y="60"/>
                  </a:cubicBezTo>
                  <a:cubicBezTo>
                    <a:pt x="12" y="96"/>
                    <a:pt x="1" y="144"/>
                    <a:pt x="1" y="203"/>
                  </a:cubicBezTo>
                  <a:lnTo>
                    <a:pt x="179" y="3132"/>
                  </a:lnTo>
                  <a:cubicBezTo>
                    <a:pt x="179" y="3216"/>
                    <a:pt x="251" y="3299"/>
                    <a:pt x="346" y="3299"/>
                  </a:cubicBezTo>
                  <a:lnTo>
                    <a:pt x="715" y="3299"/>
                  </a:lnTo>
                  <a:cubicBezTo>
                    <a:pt x="798" y="3299"/>
                    <a:pt x="882" y="3216"/>
                    <a:pt x="882" y="3132"/>
                  </a:cubicBezTo>
                  <a:lnTo>
                    <a:pt x="1060" y="203"/>
                  </a:lnTo>
                  <a:cubicBezTo>
                    <a:pt x="1072" y="144"/>
                    <a:pt x="1048" y="96"/>
                    <a:pt x="1013" y="60"/>
                  </a:cubicBezTo>
                  <a:cubicBezTo>
                    <a:pt x="989" y="37"/>
                    <a:pt x="941" y="1"/>
                    <a:pt x="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9" name="Google Shape;11079;p60"/>
            <p:cNvSpPr/>
            <p:nvPr/>
          </p:nvSpPr>
          <p:spPr>
            <a:xfrm>
              <a:off x="6898081" y="3028548"/>
              <a:ext cx="34151" cy="34119"/>
            </a:xfrm>
            <a:custGeom>
              <a:avLst/>
              <a:gdLst/>
              <a:ahLst/>
              <a:cxnLst/>
              <a:rect l="l" t="t" r="r" b="b"/>
              <a:pathLst>
                <a:path w="1073" h="1072" extrusionOk="0">
                  <a:moveTo>
                    <a:pt x="536" y="346"/>
                  </a:moveTo>
                  <a:cubicBezTo>
                    <a:pt x="644" y="346"/>
                    <a:pt x="727" y="429"/>
                    <a:pt x="727" y="536"/>
                  </a:cubicBezTo>
                  <a:cubicBezTo>
                    <a:pt x="727" y="631"/>
                    <a:pt x="655" y="727"/>
                    <a:pt x="536" y="727"/>
                  </a:cubicBezTo>
                  <a:cubicBezTo>
                    <a:pt x="429" y="727"/>
                    <a:pt x="346" y="631"/>
                    <a:pt x="346" y="536"/>
                  </a:cubicBezTo>
                  <a:cubicBezTo>
                    <a:pt x="346" y="429"/>
                    <a:pt x="429" y="346"/>
                    <a:pt x="536" y="346"/>
                  </a:cubicBezTo>
                  <a:close/>
                  <a:moveTo>
                    <a:pt x="536" y="0"/>
                  </a:moveTo>
                  <a:cubicBezTo>
                    <a:pt x="239" y="0"/>
                    <a:pt x="1" y="239"/>
                    <a:pt x="1" y="536"/>
                  </a:cubicBezTo>
                  <a:cubicBezTo>
                    <a:pt x="1" y="834"/>
                    <a:pt x="239" y="1072"/>
                    <a:pt x="536" y="1072"/>
                  </a:cubicBezTo>
                  <a:cubicBezTo>
                    <a:pt x="834" y="1072"/>
                    <a:pt x="1072" y="834"/>
                    <a:pt x="1072" y="536"/>
                  </a:cubicBezTo>
                  <a:cubicBezTo>
                    <a:pt x="1072" y="239"/>
                    <a:pt x="834" y="0"/>
                    <a:pt x="5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80" name="Google Shape;11080;p60"/>
          <p:cNvGrpSpPr/>
          <p:nvPr/>
        </p:nvGrpSpPr>
        <p:grpSpPr>
          <a:xfrm>
            <a:off x="2171474" y="3369229"/>
            <a:ext cx="408156" cy="343737"/>
            <a:chOff x="2171474" y="3369229"/>
            <a:chExt cx="408156" cy="343737"/>
          </a:xfrm>
        </p:grpSpPr>
        <p:sp>
          <p:nvSpPr>
            <p:cNvPr id="11081" name="Google Shape;11081;p60"/>
            <p:cNvSpPr/>
            <p:nvPr/>
          </p:nvSpPr>
          <p:spPr>
            <a:xfrm>
              <a:off x="2171474" y="3369229"/>
              <a:ext cx="408156" cy="343737"/>
            </a:xfrm>
            <a:custGeom>
              <a:avLst/>
              <a:gdLst/>
              <a:ahLst/>
              <a:cxnLst/>
              <a:rect l="l" t="t" r="r" b="b"/>
              <a:pathLst>
                <a:path w="12824" h="10800" extrusionOk="0">
                  <a:moveTo>
                    <a:pt x="5395" y="345"/>
                  </a:moveTo>
                  <a:cubicBezTo>
                    <a:pt x="5561" y="345"/>
                    <a:pt x="5704" y="405"/>
                    <a:pt x="5823" y="536"/>
                  </a:cubicBezTo>
                  <a:lnTo>
                    <a:pt x="6478" y="1191"/>
                  </a:lnTo>
                  <a:lnTo>
                    <a:pt x="5645" y="1191"/>
                  </a:lnTo>
                  <a:cubicBezTo>
                    <a:pt x="5537" y="1191"/>
                    <a:pt x="5442" y="1143"/>
                    <a:pt x="5347" y="1072"/>
                  </a:cubicBezTo>
                  <a:lnTo>
                    <a:pt x="4633" y="357"/>
                  </a:lnTo>
                  <a:lnTo>
                    <a:pt x="5395" y="357"/>
                  </a:lnTo>
                  <a:lnTo>
                    <a:pt x="5395" y="345"/>
                  </a:lnTo>
                  <a:close/>
                  <a:moveTo>
                    <a:pt x="6883" y="357"/>
                  </a:moveTo>
                  <a:cubicBezTo>
                    <a:pt x="7049" y="357"/>
                    <a:pt x="7192" y="417"/>
                    <a:pt x="7311" y="536"/>
                  </a:cubicBezTo>
                  <a:lnTo>
                    <a:pt x="7966" y="1191"/>
                  </a:lnTo>
                  <a:lnTo>
                    <a:pt x="7823" y="1191"/>
                  </a:lnTo>
                  <a:cubicBezTo>
                    <a:pt x="7716" y="1191"/>
                    <a:pt x="7621" y="1274"/>
                    <a:pt x="7621" y="1381"/>
                  </a:cubicBezTo>
                  <a:cubicBezTo>
                    <a:pt x="7621" y="1488"/>
                    <a:pt x="7716" y="1572"/>
                    <a:pt x="7823" y="1572"/>
                  </a:cubicBezTo>
                  <a:lnTo>
                    <a:pt x="12026" y="1572"/>
                  </a:lnTo>
                  <a:cubicBezTo>
                    <a:pt x="12253" y="1572"/>
                    <a:pt x="12443" y="1750"/>
                    <a:pt x="12443" y="1988"/>
                  </a:cubicBezTo>
                  <a:lnTo>
                    <a:pt x="12431" y="10001"/>
                  </a:lnTo>
                  <a:cubicBezTo>
                    <a:pt x="12431" y="10216"/>
                    <a:pt x="12253" y="10418"/>
                    <a:pt x="12014" y="10418"/>
                  </a:cubicBezTo>
                  <a:lnTo>
                    <a:pt x="775" y="10418"/>
                  </a:lnTo>
                  <a:cubicBezTo>
                    <a:pt x="561" y="10418"/>
                    <a:pt x="358" y="10239"/>
                    <a:pt x="358" y="10001"/>
                  </a:cubicBezTo>
                  <a:lnTo>
                    <a:pt x="358" y="774"/>
                  </a:lnTo>
                  <a:cubicBezTo>
                    <a:pt x="358" y="548"/>
                    <a:pt x="537" y="357"/>
                    <a:pt x="775" y="357"/>
                  </a:cubicBezTo>
                  <a:lnTo>
                    <a:pt x="3859" y="357"/>
                  </a:lnTo>
                  <a:cubicBezTo>
                    <a:pt x="4025" y="357"/>
                    <a:pt x="4168" y="417"/>
                    <a:pt x="4287" y="536"/>
                  </a:cubicBezTo>
                  <a:lnTo>
                    <a:pt x="5085" y="1322"/>
                  </a:lnTo>
                  <a:cubicBezTo>
                    <a:pt x="5228" y="1465"/>
                    <a:pt x="5418" y="1560"/>
                    <a:pt x="5645" y="1560"/>
                  </a:cubicBezTo>
                  <a:lnTo>
                    <a:pt x="6942" y="1560"/>
                  </a:lnTo>
                  <a:cubicBezTo>
                    <a:pt x="7014" y="1560"/>
                    <a:pt x="7085" y="1512"/>
                    <a:pt x="7121" y="1441"/>
                  </a:cubicBezTo>
                  <a:cubicBezTo>
                    <a:pt x="7145" y="1369"/>
                    <a:pt x="7133" y="1286"/>
                    <a:pt x="7073" y="1226"/>
                  </a:cubicBezTo>
                  <a:lnTo>
                    <a:pt x="6192" y="357"/>
                  </a:lnTo>
                  <a:close/>
                  <a:moveTo>
                    <a:pt x="799" y="0"/>
                  </a:moveTo>
                  <a:cubicBezTo>
                    <a:pt x="358" y="0"/>
                    <a:pt x="1" y="345"/>
                    <a:pt x="1" y="786"/>
                  </a:cubicBezTo>
                  <a:lnTo>
                    <a:pt x="1" y="10013"/>
                  </a:lnTo>
                  <a:cubicBezTo>
                    <a:pt x="1" y="10442"/>
                    <a:pt x="358" y="10799"/>
                    <a:pt x="799" y="10799"/>
                  </a:cubicBezTo>
                  <a:lnTo>
                    <a:pt x="12026" y="10799"/>
                  </a:lnTo>
                  <a:cubicBezTo>
                    <a:pt x="12467" y="10799"/>
                    <a:pt x="12824" y="10442"/>
                    <a:pt x="12824" y="10013"/>
                  </a:cubicBezTo>
                  <a:lnTo>
                    <a:pt x="12824" y="1988"/>
                  </a:lnTo>
                  <a:cubicBezTo>
                    <a:pt x="12824" y="1524"/>
                    <a:pt x="12467" y="1191"/>
                    <a:pt x="12026" y="1191"/>
                  </a:cubicBezTo>
                  <a:lnTo>
                    <a:pt x="8490" y="1191"/>
                  </a:lnTo>
                  <a:lnTo>
                    <a:pt x="7585" y="274"/>
                  </a:lnTo>
                  <a:cubicBezTo>
                    <a:pt x="7383" y="83"/>
                    <a:pt x="7145" y="0"/>
                    <a:pt x="68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2" name="Google Shape;11082;p60"/>
            <p:cNvSpPr/>
            <p:nvPr/>
          </p:nvSpPr>
          <p:spPr>
            <a:xfrm>
              <a:off x="2292737" y="3477220"/>
              <a:ext cx="164898" cy="164866"/>
            </a:xfrm>
            <a:custGeom>
              <a:avLst/>
              <a:gdLst/>
              <a:ahLst/>
              <a:cxnLst/>
              <a:rect l="l" t="t" r="r" b="b"/>
              <a:pathLst>
                <a:path w="5181" h="5180" extrusionOk="0">
                  <a:moveTo>
                    <a:pt x="2799" y="1382"/>
                  </a:moveTo>
                  <a:cubicBezTo>
                    <a:pt x="3025" y="1382"/>
                    <a:pt x="3216" y="1560"/>
                    <a:pt x="3216" y="1798"/>
                  </a:cubicBezTo>
                  <a:lnTo>
                    <a:pt x="3216" y="2203"/>
                  </a:lnTo>
                  <a:cubicBezTo>
                    <a:pt x="3204" y="2525"/>
                    <a:pt x="2942" y="2810"/>
                    <a:pt x="2597" y="2810"/>
                  </a:cubicBezTo>
                  <a:cubicBezTo>
                    <a:pt x="2251" y="2810"/>
                    <a:pt x="1977" y="2525"/>
                    <a:pt x="1977" y="2203"/>
                  </a:cubicBezTo>
                  <a:lnTo>
                    <a:pt x="1977" y="1798"/>
                  </a:lnTo>
                  <a:cubicBezTo>
                    <a:pt x="1977" y="1572"/>
                    <a:pt x="2156" y="1382"/>
                    <a:pt x="2406" y="1382"/>
                  </a:cubicBezTo>
                  <a:close/>
                  <a:moveTo>
                    <a:pt x="2799" y="3156"/>
                  </a:moveTo>
                  <a:lnTo>
                    <a:pt x="2799" y="3275"/>
                  </a:lnTo>
                  <a:cubicBezTo>
                    <a:pt x="2799" y="3346"/>
                    <a:pt x="2835" y="3406"/>
                    <a:pt x="2858" y="3465"/>
                  </a:cubicBezTo>
                  <a:lnTo>
                    <a:pt x="2608" y="3715"/>
                  </a:lnTo>
                  <a:lnTo>
                    <a:pt x="2573" y="3715"/>
                  </a:lnTo>
                  <a:lnTo>
                    <a:pt x="2323" y="3465"/>
                  </a:lnTo>
                  <a:cubicBezTo>
                    <a:pt x="2358" y="3406"/>
                    <a:pt x="2382" y="3346"/>
                    <a:pt x="2382" y="3275"/>
                  </a:cubicBezTo>
                  <a:lnTo>
                    <a:pt x="2382" y="3156"/>
                  </a:lnTo>
                  <a:cubicBezTo>
                    <a:pt x="2454" y="3167"/>
                    <a:pt x="2513" y="3179"/>
                    <a:pt x="2597" y="3179"/>
                  </a:cubicBezTo>
                  <a:cubicBezTo>
                    <a:pt x="2668" y="3179"/>
                    <a:pt x="2739" y="3167"/>
                    <a:pt x="2799" y="3156"/>
                  </a:cubicBezTo>
                  <a:close/>
                  <a:moveTo>
                    <a:pt x="2573" y="381"/>
                  </a:moveTo>
                  <a:cubicBezTo>
                    <a:pt x="3799" y="381"/>
                    <a:pt x="4799" y="1382"/>
                    <a:pt x="4799" y="2596"/>
                  </a:cubicBezTo>
                  <a:cubicBezTo>
                    <a:pt x="4811" y="3287"/>
                    <a:pt x="4490" y="3906"/>
                    <a:pt x="3978" y="4322"/>
                  </a:cubicBezTo>
                  <a:lnTo>
                    <a:pt x="3978" y="4049"/>
                  </a:lnTo>
                  <a:cubicBezTo>
                    <a:pt x="3978" y="3822"/>
                    <a:pt x="3859" y="3608"/>
                    <a:pt x="3656" y="3525"/>
                  </a:cubicBezTo>
                  <a:lnTo>
                    <a:pt x="3180" y="3287"/>
                  </a:lnTo>
                  <a:lnTo>
                    <a:pt x="3180" y="3275"/>
                  </a:lnTo>
                  <a:lnTo>
                    <a:pt x="3180" y="2989"/>
                  </a:lnTo>
                  <a:cubicBezTo>
                    <a:pt x="3418" y="2810"/>
                    <a:pt x="3573" y="2513"/>
                    <a:pt x="3573" y="2203"/>
                  </a:cubicBezTo>
                  <a:lnTo>
                    <a:pt x="3573" y="1798"/>
                  </a:lnTo>
                  <a:cubicBezTo>
                    <a:pt x="3573" y="1370"/>
                    <a:pt x="3216" y="1012"/>
                    <a:pt x="2787" y="1012"/>
                  </a:cubicBezTo>
                  <a:lnTo>
                    <a:pt x="2382" y="1012"/>
                  </a:lnTo>
                  <a:cubicBezTo>
                    <a:pt x="1954" y="1012"/>
                    <a:pt x="1596" y="1370"/>
                    <a:pt x="1596" y="1798"/>
                  </a:cubicBezTo>
                  <a:lnTo>
                    <a:pt x="1596" y="2203"/>
                  </a:lnTo>
                  <a:cubicBezTo>
                    <a:pt x="1596" y="2525"/>
                    <a:pt x="1763" y="2810"/>
                    <a:pt x="2001" y="2989"/>
                  </a:cubicBezTo>
                  <a:lnTo>
                    <a:pt x="2001" y="3275"/>
                  </a:lnTo>
                  <a:lnTo>
                    <a:pt x="2001" y="3287"/>
                  </a:lnTo>
                  <a:lnTo>
                    <a:pt x="1525" y="3525"/>
                  </a:lnTo>
                  <a:cubicBezTo>
                    <a:pt x="1334" y="3632"/>
                    <a:pt x="1192" y="3822"/>
                    <a:pt x="1192" y="4049"/>
                  </a:cubicBezTo>
                  <a:lnTo>
                    <a:pt x="1192" y="4322"/>
                  </a:lnTo>
                  <a:cubicBezTo>
                    <a:pt x="692" y="3918"/>
                    <a:pt x="358" y="3298"/>
                    <a:pt x="358" y="2596"/>
                  </a:cubicBezTo>
                  <a:cubicBezTo>
                    <a:pt x="358" y="1382"/>
                    <a:pt x="1358" y="381"/>
                    <a:pt x="2573" y="381"/>
                  </a:cubicBezTo>
                  <a:close/>
                  <a:moveTo>
                    <a:pt x="3156" y="3691"/>
                  </a:moveTo>
                  <a:lnTo>
                    <a:pt x="3490" y="3846"/>
                  </a:lnTo>
                  <a:cubicBezTo>
                    <a:pt x="3561" y="3882"/>
                    <a:pt x="3609" y="3953"/>
                    <a:pt x="3609" y="4049"/>
                  </a:cubicBezTo>
                  <a:lnTo>
                    <a:pt x="3609" y="4560"/>
                  </a:lnTo>
                  <a:cubicBezTo>
                    <a:pt x="3311" y="4727"/>
                    <a:pt x="2954" y="4822"/>
                    <a:pt x="2597" y="4822"/>
                  </a:cubicBezTo>
                  <a:cubicBezTo>
                    <a:pt x="2227" y="4822"/>
                    <a:pt x="1882" y="4727"/>
                    <a:pt x="1585" y="4560"/>
                  </a:cubicBezTo>
                  <a:lnTo>
                    <a:pt x="1585" y="4049"/>
                  </a:lnTo>
                  <a:cubicBezTo>
                    <a:pt x="1585" y="3965"/>
                    <a:pt x="1632" y="3894"/>
                    <a:pt x="1704" y="3846"/>
                  </a:cubicBezTo>
                  <a:lnTo>
                    <a:pt x="2025" y="3691"/>
                  </a:lnTo>
                  <a:lnTo>
                    <a:pt x="2323" y="3989"/>
                  </a:lnTo>
                  <a:cubicBezTo>
                    <a:pt x="2406" y="4060"/>
                    <a:pt x="2489" y="4108"/>
                    <a:pt x="2597" y="4108"/>
                  </a:cubicBezTo>
                  <a:cubicBezTo>
                    <a:pt x="2704" y="4108"/>
                    <a:pt x="2799" y="4060"/>
                    <a:pt x="2858" y="3989"/>
                  </a:cubicBezTo>
                  <a:lnTo>
                    <a:pt x="3156" y="3691"/>
                  </a:lnTo>
                  <a:close/>
                  <a:moveTo>
                    <a:pt x="2597" y="0"/>
                  </a:moveTo>
                  <a:cubicBezTo>
                    <a:pt x="1168" y="0"/>
                    <a:pt x="1" y="1155"/>
                    <a:pt x="1" y="2584"/>
                  </a:cubicBezTo>
                  <a:cubicBezTo>
                    <a:pt x="1" y="4013"/>
                    <a:pt x="1168" y="5180"/>
                    <a:pt x="2597" y="5180"/>
                  </a:cubicBezTo>
                  <a:cubicBezTo>
                    <a:pt x="4025" y="5180"/>
                    <a:pt x="5180" y="4013"/>
                    <a:pt x="5180" y="2584"/>
                  </a:cubicBezTo>
                  <a:cubicBezTo>
                    <a:pt x="5180" y="1155"/>
                    <a:pt x="4025" y="0"/>
                    <a:pt x="2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3" name="Google Shape;11083;p60"/>
            <p:cNvSpPr/>
            <p:nvPr/>
          </p:nvSpPr>
          <p:spPr>
            <a:xfrm>
              <a:off x="2256358" y="3451503"/>
              <a:ext cx="188769" cy="177311"/>
            </a:xfrm>
            <a:custGeom>
              <a:avLst/>
              <a:gdLst/>
              <a:ahLst/>
              <a:cxnLst/>
              <a:rect l="l" t="t" r="r" b="b"/>
              <a:pathLst>
                <a:path w="5931" h="5571" extrusionOk="0">
                  <a:moveTo>
                    <a:pt x="3751" y="0"/>
                  </a:moveTo>
                  <a:cubicBezTo>
                    <a:pt x="2872" y="0"/>
                    <a:pt x="1994" y="341"/>
                    <a:pt x="1323" y="999"/>
                  </a:cubicBezTo>
                  <a:cubicBezTo>
                    <a:pt x="120" y="2201"/>
                    <a:pt x="1" y="4142"/>
                    <a:pt x="1049" y="5488"/>
                  </a:cubicBezTo>
                  <a:cubicBezTo>
                    <a:pt x="1073" y="5535"/>
                    <a:pt x="1132" y="5571"/>
                    <a:pt x="1192" y="5571"/>
                  </a:cubicBezTo>
                  <a:cubicBezTo>
                    <a:pt x="1239" y="5571"/>
                    <a:pt x="1263" y="5547"/>
                    <a:pt x="1311" y="5523"/>
                  </a:cubicBezTo>
                  <a:cubicBezTo>
                    <a:pt x="1382" y="5464"/>
                    <a:pt x="1406" y="5345"/>
                    <a:pt x="1346" y="5249"/>
                  </a:cubicBezTo>
                  <a:cubicBezTo>
                    <a:pt x="406" y="4047"/>
                    <a:pt x="525" y="2332"/>
                    <a:pt x="1596" y="1261"/>
                  </a:cubicBezTo>
                  <a:cubicBezTo>
                    <a:pt x="2181" y="676"/>
                    <a:pt x="2961" y="375"/>
                    <a:pt x="3742" y="375"/>
                  </a:cubicBezTo>
                  <a:cubicBezTo>
                    <a:pt x="4393" y="375"/>
                    <a:pt x="5044" y="584"/>
                    <a:pt x="5585" y="1011"/>
                  </a:cubicBezTo>
                  <a:cubicBezTo>
                    <a:pt x="5616" y="1037"/>
                    <a:pt x="5656" y="1049"/>
                    <a:pt x="5697" y="1049"/>
                  </a:cubicBezTo>
                  <a:cubicBezTo>
                    <a:pt x="5750" y="1049"/>
                    <a:pt x="5806" y="1028"/>
                    <a:pt x="5847" y="987"/>
                  </a:cubicBezTo>
                  <a:cubicBezTo>
                    <a:pt x="5930" y="904"/>
                    <a:pt x="5895" y="773"/>
                    <a:pt x="5823" y="713"/>
                  </a:cubicBezTo>
                  <a:cubicBezTo>
                    <a:pt x="5209" y="233"/>
                    <a:pt x="4479" y="0"/>
                    <a:pt x="3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4" name="Google Shape;11084;p60"/>
            <p:cNvSpPr/>
            <p:nvPr/>
          </p:nvSpPr>
          <p:spPr>
            <a:xfrm>
              <a:off x="2305245" y="3491160"/>
              <a:ext cx="189151" cy="176706"/>
            </a:xfrm>
            <a:custGeom>
              <a:avLst/>
              <a:gdLst/>
              <a:ahLst/>
              <a:cxnLst/>
              <a:rect l="l" t="t" r="r" b="b"/>
              <a:pathLst>
                <a:path w="5943" h="5552" extrusionOk="0">
                  <a:moveTo>
                    <a:pt x="4739" y="1"/>
                  </a:moveTo>
                  <a:cubicBezTo>
                    <a:pt x="4695" y="1"/>
                    <a:pt x="4650" y="13"/>
                    <a:pt x="4609" y="39"/>
                  </a:cubicBezTo>
                  <a:cubicBezTo>
                    <a:pt x="4537" y="98"/>
                    <a:pt x="4525" y="217"/>
                    <a:pt x="4585" y="301"/>
                  </a:cubicBezTo>
                  <a:cubicBezTo>
                    <a:pt x="5513" y="1503"/>
                    <a:pt x="5406" y="3218"/>
                    <a:pt x="4335" y="4289"/>
                  </a:cubicBezTo>
                  <a:cubicBezTo>
                    <a:pt x="3750" y="4874"/>
                    <a:pt x="2970" y="5175"/>
                    <a:pt x="2189" y="5175"/>
                  </a:cubicBezTo>
                  <a:cubicBezTo>
                    <a:pt x="1538" y="5175"/>
                    <a:pt x="887" y="4966"/>
                    <a:pt x="346" y="4539"/>
                  </a:cubicBezTo>
                  <a:cubicBezTo>
                    <a:pt x="314" y="4516"/>
                    <a:pt x="276" y="4505"/>
                    <a:pt x="237" y="4505"/>
                  </a:cubicBezTo>
                  <a:cubicBezTo>
                    <a:pt x="177" y="4505"/>
                    <a:pt x="116" y="4531"/>
                    <a:pt x="72" y="4575"/>
                  </a:cubicBezTo>
                  <a:cubicBezTo>
                    <a:pt x="1" y="4646"/>
                    <a:pt x="25" y="4765"/>
                    <a:pt x="96" y="4837"/>
                  </a:cubicBezTo>
                  <a:cubicBezTo>
                    <a:pt x="715" y="5313"/>
                    <a:pt x="1453" y="5551"/>
                    <a:pt x="2180" y="5551"/>
                  </a:cubicBezTo>
                  <a:cubicBezTo>
                    <a:pt x="3061" y="5551"/>
                    <a:pt x="3930" y="5218"/>
                    <a:pt x="4597" y="4551"/>
                  </a:cubicBezTo>
                  <a:cubicBezTo>
                    <a:pt x="5823" y="3349"/>
                    <a:pt x="5942" y="1420"/>
                    <a:pt x="4882" y="62"/>
                  </a:cubicBezTo>
                  <a:cubicBezTo>
                    <a:pt x="4849" y="22"/>
                    <a:pt x="4796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85" name="Google Shape;11085;p60"/>
          <p:cNvGrpSpPr/>
          <p:nvPr/>
        </p:nvGrpSpPr>
        <p:grpSpPr>
          <a:xfrm>
            <a:off x="4891198" y="2925108"/>
            <a:ext cx="334634" cy="334634"/>
            <a:chOff x="4891198" y="2925108"/>
            <a:chExt cx="334634" cy="334634"/>
          </a:xfrm>
        </p:grpSpPr>
        <p:sp>
          <p:nvSpPr>
            <p:cNvPr id="11086" name="Google Shape;11086;p60"/>
            <p:cNvSpPr/>
            <p:nvPr/>
          </p:nvSpPr>
          <p:spPr>
            <a:xfrm>
              <a:off x="5001830" y="2925108"/>
              <a:ext cx="113338" cy="150831"/>
            </a:xfrm>
            <a:custGeom>
              <a:avLst/>
              <a:gdLst/>
              <a:ahLst/>
              <a:cxnLst/>
              <a:rect l="l" t="t" r="r" b="b"/>
              <a:pathLst>
                <a:path w="3561" h="4739" extrusionOk="0">
                  <a:moveTo>
                    <a:pt x="1822" y="333"/>
                  </a:moveTo>
                  <a:cubicBezTo>
                    <a:pt x="2251" y="333"/>
                    <a:pt x="2596" y="691"/>
                    <a:pt x="2596" y="1107"/>
                  </a:cubicBezTo>
                  <a:lnTo>
                    <a:pt x="2596" y="1214"/>
                  </a:lnTo>
                  <a:lnTo>
                    <a:pt x="2573" y="1214"/>
                  </a:lnTo>
                  <a:cubicBezTo>
                    <a:pt x="2358" y="1155"/>
                    <a:pt x="2275" y="857"/>
                    <a:pt x="2263" y="857"/>
                  </a:cubicBezTo>
                  <a:cubicBezTo>
                    <a:pt x="2251" y="798"/>
                    <a:pt x="2203" y="738"/>
                    <a:pt x="2132" y="738"/>
                  </a:cubicBezTo>
                  <a:cubicBezTo>
                    <a:pt x="2119" y="733"/>
                    <a:pt x="2105" y="731"/>
                    <a:pt x="2092" y="731"/>
                  </a:cubicBezTo>
                  <a:cubicBezTo>
                    <a:pt x="2043" y="731"/>
                    <a:pt x="1993" y="761"/>
                    <a:pt x="1965" y="798"/>
                  </a:cubicBezTo>
                  <a:cubicBezTo>
                    <a:pt x="1668" y="1214"/>
                    <a:pt x="1001" y="1214"/>
                    <a:pt x="1001" y="1214"/>
                  </a:cubicBezTo>
                  <a:lnTo>
                    <a:pt x="953" y="1214"/>
                  </a:lnTo>
                  <a:lnTo>
                    <a:pt x="965" y="1107"/>
                  </a:lnTo>
                  <a:cubicBezTo>
                    <a:pt x="965" y="679"/>
                    <a:pt x="1322" y="333"/>
                    <a:pt x="1739" y="333"/>
                  </a:cubicBezTo>
                  <a:close/>
                  <a:moveTo>
                    <a:pt x="2739" y="1655"/>
                  </a:moveTo>
                  <a:cubicBezTo>
                    <a:pt x="2775" y="1691"/>
                    <a:pt x="2775" y="1715"/>
                    <a:pt x="2775" y="1750"/>
                  </a:cubicBezTo>
                  <a:cubicBezTo>
                    <a:pt x="2775" y="1786"/>
                    <a:pt x="2751" y="1834"/>
                    <a:pt x="2703" y="1845"/>
                  </a:cubicBezTo>
                  <a:lnTo>
                    <a:pt x="2703" y="1655"/>
                  </a:lnTo>
                  <a:close/>
                  <a:moveTo>
                    <a:pt x="846" y="1667"/>
                  </a:moveTo>
                  <a:lnTo>
                    <a:pt x="846" y="1881"/>
                  </a:lnTo>
                  <a:cubicBezTo>
                    <a:pt x="822" y="1845"/>
                    <a:pt x="787" y="1822"/>
                    <a:pt x="787" y="1762"/>
                  </a:cubicBezTo>
                  <a:cubicBezTo>
                    <a:pt x="787" y="1715"/>
                    <a:pt x="810" y="1691"/>
                    <a:pt x="822" y="1667"/>
                  </a:cubicBezTo>
                  <a:close/>
                  <a:moveTo>
                    <a:pt x="2084" y="1179"/>
                  </a:moveTo>
                  <a:cubicBezTo>
                    <a:pt x="2144" y="1298"/>
                    <a:pt x="2251" y="1417"/>
                    <a:pt x="2394" y="1476"/>
                  </a:cubicBezTo>
                  <a:lnTo>
                    <a:pt x="2382" y="1953"/>
                  </a:lnTo>
                  <a:cubicBezTo>
                    <a:pt x="2382" y="2250"/>
                    <a:pt x="2144" y="2477"/>
                    <a:pt x="1858" y="2477"/>
                  </a:cubicBezTo>
                  <a:lnTo>
                    <a:pt x="1715" y="2477"/>
                  </a:lnTo>
                  <a:cubicBezTo>
                    <a:pt x="1418" y="2477"/>
                    <a:pt x="1191" y="2238"/>
                    <a:pt x="1191" y="1953"/>
                  </a:cubicBezTo>
                  <a:lnTo>
                    <a:pt x="1191" y="1524"/>
                  </a:lnTo>
                  <a:cubicBezTo>
                    <a:pt x="1406" y="1488"/>
                    <a:pt x="1787" y="1417"/>
                    <a:pt x="2084" y="1179"/>
                  </a:cubicBezTo>
                  <a:close/>
                  <a:moveTo>
                    <a:pt x="1965" y="2798"/>
                  </a:moveTo>
                  <a:lnTo>
                    <a:pt x="1965" y="2893"/>
                  </a:lnTo>
                  <a:lnTo>
                    <a:pt x="1787" y="3084"/>
                  </a:lnTo>
                  <a:lnTo>
                    <a:pt x="1608" y="2917"/>
                  </a:lnTo>
                  <a:lnTo>
                    <a:pt x="1608" y="2798"/>
                  </a:lnTo>
                  <a:close/>
                  <a:moveTo>
                    <a:pt x="1751" y="0"/>
                  </a:moveTo>
                  <a:cubicBezTo>
                    <a:pt x="1144" y="0"/>
                    <a:pt x="644" y="512"/>
                    <a:pt x="644" y="1119"/>
                  </a:cubicBezTo>
                  <a:lnTo>
                    <a:pt x="644" y="1417"/>
                  </a:lnTo>
                  <a:cubicBezTo>
                    <a:pt x="537" y="1512"/>
                    <a:pt x="465" y="1643"/>
                    <a:pt x="465" y="1774"/>
                  </a:cubicBezTo>
                  <a:cubicBezTo>
                    <a:pt x="465" y="2000"/>
                    <a:pt x="656" y="2203"/>
                    <a:pt x="894" y="2226"/>
                  </a:cubicBezTo>
                  <a:cubicBezTo>
                    <a:pt x="953" y="2429"/>
                    <a:pt x="1108" y="2596"/>
                    <a:pt x="1287" y="2703"/>
                  </a:cubicBezTo>
                  <a:lnTo>
                    <a:pt x="1287" y="2786"/>
                  </a:lnTo>
                  <a:lnTo>
                    <a:pt x="596" y="3060"/>
                  </a:lnTo>
                  <a:cubicBezTo>
                    <a:pt x="537" y="3084"/>
                    <a:pt x="1" y="3298"/>
                    <a:pt x="1" y="3965"/>
                  </a:cubicBezTo>
                  <a:lnTo>
                    <a:pt x="1" y="4560"/>
                  </a:lnTo>
                  <a:cubicBezTo>
                    <a:pt x="1" y="4643"/>
                    <a:pt x="72" y="4727"/>
                    <a:pt x="167" y="4727"/>
                  </a:cubicBezTo>
                  <a:lnTo>
                    <a:pt x="584" y="4727"/>
                  </a:lnTo>
                  <a:cubicBezTo>
                    <a:pt x="668" y="4727"/>
                    <a:pt x="739" y="4643"/>
                    <a:pt x="739" y="4560"/>
                  </a:cubicBezTo>
                  <a:cubicBezTo>
                    <a:pt x="739" y="4465"/>
                    <a:pt x="668" y="4393"/>
                    <a:pt x="584" y="4393"/>
                  </a:cubicBezTo>
                  <a:lnTo>
                    <a:pt x="322" y="4393"/>
                  </a:lnTo>
                  <a:lnTo>
                    <a:pt x="322" y="3965"/>
                  </a:lnTo>
                  <a:cubicBezTo>
                    <a:pt x="322" y="3500"/>
                    <a:pt x="691" y="3369"/>
                    <a:pt x="703" y="3369"/>
                  </a:cubicBezTo>
                  <a:lnTo>
                    <a:pt x="715" y="3369"/>
                  </a:lnTo>
                  <a:lnTo>
                    <a:pt x="1334" y="3131"/>
                  </a:lnTo>
                  <a:lnTo>
                    <a:pt x="1668" y="3453"/>
                  </a:lnTo>
                  <a:cubicBezTo>
                    <a:pt x="1703" y="3489"/>
                    <a:pt x="1739" y="3500"/>
                    <a:pt x="1787" y="3500"/>
                  </a:cubicBezTo>
                  <a:cubicBezTo>
                    <a:pt x="1834" y="3500"/>
                    <a:pt x="1870" y="3489"/>
                    <a:pt x="1906" y="3453"/>
                  </a:cubicBezTo>
                  <a:lnTo>
                    <a:pt x="2215" y="3131"/>
                  </a:lnTo>
                  <a:lnTo>
                    <a:pt x="2846" y="3381"/>
                  </a:lnTo>
                  <a:lnTo>
                    <a:pt x="2858" y="3381"/>
                  </a:lnTo>
                  <a:cubicBezTo>
                    <a:pt x="2858" y="3381"/>
                    <a:pt x="3227" y="3512"/>
                    <a:pt x="3227" y="3977"/>
                  </a:cubicBezTo>
                  <a:lnTo>
                    <a:pt x="3227" y="4405"/>
                  </a:lnTo>
                  <a:lnTo>
                    <a:pt x="1120" y="4405"/>
                  </a:lnTo>
                  <a:cubicBezTo>
                    <a:pt x="1025" y="4405"/>
                    <a:pt x="953" y="4489"/>
                    <a:pt x="953" y="4572"/>
                  </a:cubicBezTo>
                  <a:cubicBezTo>
                    <a:pt x="953" y="4667"/>
                    <a:pt x="1025" y="4739"/>
                    <a:pt x="1120" y="4739"/>
                  </a:cubicBezTo>
                  <a:lnTo>
                    <a:pt x="3394" y="4739"/>
                  </a:lnTo>
                  <a:cubicBezTo>
                    <a:pt x="3477" y="4739"/>
                    <a:pt x="3561" y="4667"/>
                    <a:pt x="3561" y="4572"/>
                  </a:cubicBezTo>
                  <a:lnTo>
                    <a:pt x="3561" y="3977"/>
                  </a:lnTo>
                  <a:cubicBezTo>
                    <a:pt x="3561" y="3310"/>
                    <a:pt x="3037" y="3084"/>
                    <a:pt x="2965" y="3072"/>
                  </a:cubicBezTo>
                  <a:lnTo>
                    <a:pt x="2311" y="2798"/>
                  </a:lnTo>
                  <a:lnTo>
                    <a:pt x="2311" y="2715"/>
                  </a:lnTo>
                  <a:cubicBezTo>
                    <a:pt x="2489" y="2607"/>
                    <a:pt x="2620" y="2441"/>
                    <a:pt x="2692" y="2238"/>
                  </a:cubicBezTo>
                  <a:cubicBezTo>
                    <a:pt x="2930" y="2226"/>
                    <a:pt x="3120" y="2012"/>
                    <a:pt x="3120" y="1774"/>
                  </a:cubicBezTo>
                  <a:cubicBezTo>
                    <a:pt x="3120" y="1631"/>
                    <a:pt x="3049" y="1488"/>
                    <a:pt x="2942" y="1417"/>
                  </a:cubicBezTo>
                  <a:lnTo>
                    <a:pt x="2942" y="1119"/>
                  </a:lnTo>
                  <a:cubicBezTo>
                    <a:pt x="2942" y="512"/>
                    <a:pt x="2442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7" name="Google Shape;11087;p60"/>
            <p:cNvSpPr/>
            <p:nvPr/>
          </p:nvSpPr>
          <p:spPr>
            <a:xfrm>
              <a:off x="5102628" y="2933033"/>
              <a:ext cx="98188" cy="76991"/>
            </a:xfrm>
            <a:custGeom>
              <a:avLst/>
              <a:gdLst/>
              <a:ahLst/>
              <a:cxnLst/>
              <a:rect l="l" t="t" r="r" b="b"/>
              <a:pathLst>
                <a:path w="3085" h="2419" extrusionOk="0">
                  <a:moveTo>
                    <a:pt x="181" y="1"/>
                  </a:moveTo>
                  <a:cubicBezTo>
                    <a:pt x="116" y="1"/>
                    <a:pt x="55" y="44"/>
                    <a:pt x="37" y="108"/>
                  </a:cubicBezTo>
                  <a:cubicBezTo>
                    <a:pt x="1" y="192"/>
                    <a:pt x="48" y="287"/>
                    <a:pt x="132" y="323"/>
                  </a:cubicBezTo>
                  <a:cubicBezTo>
                    <a:pt x="1215" y="680"/>
                    <a:pt x="2132" y="1394"/>
                    <a:pt x="2751" y="2347"/>
                  </a:cubicBezTo>
                  <a:cubicBezTo>
                    <a:pt x="2787" y="2394"/>
                    <a:pt x="2846" y="2418"/>
                    <a:pt x="2894" y="2418"/>
                  </a:cubicBezTo>
                  <a:cubicBezTo>
                    <a:pt x="2918" y="2418"/>
                    <a:pt x="2954" y="2406"/>
                    <a:pt x="2977" y="2394"/>
                  </a:cubicBezTo>
                  <a:cubicBezTo>
                    <a:pt x="3049" y="2347"/>
                    <a:pt x="3085" y="2239"/>
                    <a:pt x="3025" y="2168"/>
                  </a:cubicBezTo>
                  <a:cubicBezTo>
                    <a:pt x="2370" y="1156"/>
                    <a:pt x="1382" y="382"/>
                    <a:pt x="239" y="13"/>
                  </a:cubicBezTo>
                  <a:cubicBezTo>
                    <a:pt x="220" y="5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8" name="Google Shape;11088;p60"/>
            <p:cNvSpPr/>
            <p:nvPr/>
          </p:nvSpPr>
          <p:spPr>
            <a:xfrm>
              <a:off x="4915832" y="2932492"/>
              <a:ext cx="98920" cy="77532"/>
            </a:xfrm>
            <a:custGeom>
              <a:avLst/>
              <a:gdLst/>
              <a:ahLst/>
              <a:cxnLst/>
              <a:rect l="l" t="t" r="r" b="b"/>
              <a:pathLst>
                <a:path w="3108" h="2436" extrusionOk="0">
                  <a:moveTo>
                    <a:pt x="2914" y="0"/>
                  </a:moveTo>
                  <a:cubicBezTo>
                    <a:pt x="2899" y="0"/>
                    <a:pt x="2884" y="2"/>
                    <a:pt x="2869" y="6"/>
                  </a:cubicBezTo>
                  <a:cubicBezTo>
                    <a:pt x="1703" y="375"/>
                    <a:pt x="714" y="1161"/>
                    <a:pt x="36" y="2185"/>
                  </a:cubicBezTo>
                  <a:cubicBezTo>
                    <a:pt x="0" y="2256"/>
                    <a:pt x="24" y="2364"/>
                    <a:pt x="95" y="2411"/>
                  </a:cubicBezTo>
                  <a:cubicBezTo>
                    <a:pt x="131" y="2423"/>
                    <a:pt x="155" y="2435"/>
                    <a:pt x="191" y="2435"/>
                  </a:cubicBezTo>
                  <a:cubicBezTo>
                    <a:pt x="250" y="2435"/>
                    <a:pt x="298" y="2411"/>
                    <a:pt x="322" y="2364"/>
                  </a:cubicBezTo>
                  <a:cubicBezTo>
                    <a:pt x="953" y="1399"/>
                    <a:pt x="1881" y="685"/>
                    <a:pt x="2977" y="328"/>
                  </a:cubicBezTo>
                  <a:cubicBezTo>
                    <a:pt x="3060" y="292"/>
                    <a:pt x="3108" y="209"/>
                    <a:pt x="3072" y="113"/>
                  </a:cubicBezTo>
                  <a:cubicBezTo>
                    <a:pt x="3052" y="44"/>
                    <a:pt x="2984" y="0"/>
                    <a:pt x="29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9" name="Google Shape;11089;p60"/>
            <p:cNvSpPr/>
            <p:nvPr/>
          </p:nvSpPr>
          <p:spPr>
            <a:xfrm>
              <a:off x="4915832" y="3174254"/>
              <a:ext cx="80746" cy="70689"/>
            </a:xfrm>
            <a:custGeom>
              <a:avLst/>
              <a:gdLst/>
              <a:ahLst/>
              <a:cxnLst/>
              <a:rect l="l" t="t" r="r" b="b"/>
              <a:pathLst>
                <a:path w="2537" h="2221" extrusionOk="0">
                  <a:moveTo>
                    <a:pt x="185" y="0"/>
                  </a:moveTo>
                  <a:cubicBezTo>
                    <a:pt x="155" y="0"/>
                    <a:pt x="125" y="9"/>
                    <a:pt x="95" y="30"/>
                  </a:cubicBezTo>
                  <a:cubicBezTo>
                    <a:pt x="24" y="78"/>
                    <a:pt x="0" y="185"/>
                    <a:pt x="60" y="256"/>
                  </a:cubicBezTo>
                  <a:cubicBezTo>
                    <a:pt x="607" y="1102"/>
                    <a:pt x="1381" y="1780"/>
                    <a:pt x="2286" y="2209"/>
                  </a:cubicBezTo>
                  <a:cubicBezTo>
                    <a:pt x="2322" y="2221"/>
                    <a:pt x="2334" y="2221"/>
                    <a:pt x="2357" y="2221"/>
                  </a:cubicBezTo>
                  <a:cubicBezTo>
                    <a:pt x="2417" y="2221"/>
                    <a:pt x="2477" y="2197"/>
                    <a:pt x="2512" y="2138"/>
                  </a:cubicBezTo>
                  <a:cubicBezTo>
                    <a:pt x="2536" y="2030"/>
                    <a:pt x="2512" y="1923"/>
                    <a:pt x="2417" y="1899"/>
                  </a:cubicBezTo>
                  <a:cubicBezTo>
                    <a:pt x="1560" y="1495"/>
                    <a:pt x="845" y="864"/>
                    <a:pt x="322" y="78"/>
                  </a:cubicBezTo>
                  <a:cubicBezTo>
                    <a:pt x="291" y="31"/>
                    <a:pt x="240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0" name="Google Shape;11090;p60"/>
            <p:cNvSpPr/>
            <p:nvPr/>
          </p:nvSpPr>
          <p:spPr>
            <a:xfrm>
              <a:off x="5121215" y="3173936"/>
              <a:ext cx="79601" cy="69511"/>
            </a:xfrm>
            <a:custGeom>
              <a:avLst/>
              <a:gdLst/>
              <a:ahLst/>
              <a:cxnLst/>
              <a:rect l="l" t="t" r="r" b="b"/>
              <a:pathLst>
                <a:path w="2501" h="2184" extrusionOk="0">
                  <a:moveTo>
                    <a:pt x="2301" y="0"/>
                  </a:moveTo>
                  <a:cubicBezTo>
                    <a:pt x="2250" y="0"/>
                    <a:pt x="2201" y="25"/>
                    <a:pt x="2179" y="76"/>
                  </a:cubicBezTo>
                  <a:cubicBezTo>
                    <a:pt x="1667" y="862"/>
                    <a:pt x="953" y="1481"/>
                    <a:pt x="119" y="1874"/>
                  </a:cubicBezTo>
                  <a:cubicBezTo>
                    <a:pt x="36" y="1921"/>
                    <a:pt x="0" y="2005"/>
                    <a:pt x="48" y="2100"/>
                  </a:cubicBezTo>
                  <a:cubicBezTo>
                    <a:pt x="72" y="2159"/>
                    <a:pt x="131" y="2183"/>
                    <a:pt x="191" y="2183"/>
                  </a:cubicBezTo>
                  <a:cubicBezTo>
                    <a:pt x="226" y="2183"/>
                    <a:pt x="238" y="2183"/>
                    <a:pt x="274" y="2171"/>
                  </a:cubicBezTo>
                  <a:cubicBezTo>
                    <a:pt x="1167" y="1755"/>
                    <a:pt x="1941" y="1088"/>
                    <a:pt x="2477" y="231"/>
                  </a:cubicBezTo>
                  <a:cubicBezTo>
                    <a:pt x="2501" y="183"/>
                    <a:pt x="2489" y="76"/>
                    <a:pt x="2393" y="28"/>
                  </a:cubicBezTo>
                  <a:cubicBezTo>
                    <a:pt x="2366" y="10"/>
                    <a:pt x="2333" y="0"/>
                    <a:pt x="23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1" name="Google Shape;11091;p60"/>
            <p:cNvSpPr/>
            <p:nvPr/>
          </p:nvSpPr>
          <p:spPr>
            <a:xfrm>
              <a:off x="4891198" y="3016803"/>
              <a:ext cx="112956" cy="150831"/>
            </a:xfrm>
            <a:custGeom>
              <a:avLst/>
              <a:gdLst/>
              <a:ahLst/>
              <a:cxnLst/>
              <a:rect l="l" t="t" r="r" b="b"/>
              <a:pathLst>
                <a:path w="3549" h="4739" extrusionOk="0">
                  <a:moveTo>
                    <a:pt x="1822" y="322"/>
                  </a:moveTo>
                  <a:cubicBezTo>
                    <a:pt x="2262" y="322"/>
                    <a:pt x="2596" y="679"/>
                    <a:pt x="2596" y="1096"/>
                  </a:cubicBezTo>
                  <a:lnTo>
                    <a:pt x="2596" y="1203"/>
                  </a:lnTo>
                  <a:lnTo>
                    <a:pt x="2584" y="1203"/>
                  </a:lnTo>
                  <a:cubicBezTo>
                    <a:pt x="2358" y="1143"/>
                    <a:pt x="2286" y="846"/>
                    <a:pt x="2274" y="846"/>
                  </a:cubicBezTo>
                  <a:cubicBezTo>
                    <a:pt x="2262" y="786"/>
                    <a:pt x="2215" y="727"/>
                    <a:pt x="2143" y="727"/>
                  </a:cubicBezTo>
                  <a:cubicBezTo>
                    <a:pt x="2133" y="725"/>
                    <a:pt x="2122" y="724"/>
                    <a:pt x="2111" y="724"/>
                  </a:cubicBezTo>
                  <a:cubicBezTo>
                    <a:pt x="2057" y="724"/>
                    <a:pt x="1996" y="747"/>
                    <a:pt x="1977" y="786"/>
                  </a:cubicBezTo>
                  <a:cubicBezTo>
                    <a:pt x="1691" y="1203"/>
                    <a:pt x="1024" y="1203"/>
                    <a:pt x="1024" y="1203"/>
                  </a:cubicBezTo>
                  <a:lnTo>
                    <a:pt x="976" y="1203"/>
                  </a:lnTo>
                  <a:lnTo>
                    <a:pt x="976" y="1096"/>
                  </a:lnTo>
                  <a:cubicBezTo>
                    <a:pt x="976" y="667"/>
                    <a:pt x="1334" y="322"/>
                    <a:pt x="1750" y="322"/>
                  </a:cubicBezTo>
                  <a:close/>
                  <a:moveTo>
                    <a:pt x="2727" y="1667"/>
                  </a:moveTo>
                  <a:cubicBezTo>
                    <a:pt x="2762" y="1691"/>
                    <a:pt x="2762" y="1727"/>
                    <a:pt x="2762" y="1751"/>
                  </a:cubicBezTo>
                  <a:cubicBezTo>
                    <a:pt x="2762" y="1798"/>
                    <a:pt x="2750" y="1846"/>
                    <a:pt x="2703" y="1858"/>
                  </a:cubicBezTo>
                  <a:lnTo>
                    <a:pt x="2703" y="1667"/>
                  </a:lnTo>
                  <a:close/>
                  <a:moveTo>
                    <a:pt x="845" y="1667"/>
                  </a:moveTo>
                  <a:lnTo>
                    <a:pt x="845" y="1870"/>
                  </a:lnTo>
                  <a:cubicBezTo>
                    <a:pt x="810" y="1846"/>
                    <a:pt x="786" y="1810"/>
                    <a:pt x="786" y="1751"/>
                  </a:cubicBezTo>
                  <a:cubicBezTo>
                    <a:pt x="786" y="1727"/>
                    <a:pt x="798" y="1691"/>
                    <a:pt x="810" y="1667"/>
                  </a:cubicBezTo>
                  <a:close/>
                  <a:moveTo>
                    <a:pt x="2084" y="1203"/>
                  </a:moveTo>
                  <a:cubicBezTo>
                    <a:pt x="2143" y="1322"/>
                    <a:pt x="2239" y="1441"/>
                    <a:pt x="2393" y="1501"/>
                  </a:cubicBezTo>
                  <a:lnTo>
                    <a:pt x="2393" y="1977"/>
                  </a:lnTo>
                  <a:cubicBezTo>
                    <a:pt x="2393" y="2263"/>
                    <a:pt x="2155" y="2489"/>
                    <a:pt x="1858" y="2489"/>
                  </a:cubicBezTo>
                  <a:lnTo>
                    <a:pt x="1703" y="2489"/>
                  </a:lnTo>
                  <a:cubicBezTo>
                    <a:pt x="1405" y="2489"/>
                    <a:pt x="1191" y="2251"/>
                    <a:pt x="1191" y="1977"/>
                  </a:cubicBezTo>
                  <a:lnTo>
                    <a:pt x="1191" y="1548"/>
                  </a:lnTo>
                  <a:cubicBezTo>
                    <a:pt x="1393" y="1512"/>
                    <a:pt x="1786" y="1441"/>
                    <a:pt x="2084" y="1203"/>
                  </a:cubicBezTo>
                  <a:close/>
                  <a:moveTo>
                    <a:pt x="1965" y="2822"/>
                  </a:moveTo>
                  <a:lnTo>
                    <a:pt x="1965" y="2917"/>
                  </a:lnTo>
                  <a:lnTo>
                    <a:pt x="1786" y="3108"/>
                  </a:lnTo>
                  <a:lnTo>
                    <a:pt x="1607" y="2941"/>
                  </a:lnTo>
                  <a:lnTo>
                    <a:pt x="1607" y="2822"/>
                  </a:lnTo>
                  <a:close/>
                  <a:moveTo>
                    <a:pt x="1750" y="0"/>
                  </a:moveTo>
                  <a:cubicBezTo>
                    <a:pt x="1143" y="0"/>
                    <a:pt x="631" y="500"/>
                    <a:pt x="631" y="1108"/>
                  </a:cubicBezTo>
                  <a:lnTo>
                    <a:pt x="631" y="1405"/>
                  </a:lnTo>
                  <a:cubicBezTo>
                    <a:pt x="524" y="1501"/>
                    <a:pt x="453" y="1631"/>
                    <a:pt x="453" y="1762"/>
                  </a:cubicBezTo>
                  <a:cubicBezTo>
                    <a:pt x="453" y="2024"/>
                    <a:pt x="643" y="2215"/>
                    <a:pt x="893" y="2227"/>
                  </a:cubicBezTo>
                  <a:cubicBezTo>
                    <a:pt x="953" y="2441"/>
                    <a:pt x="1096" y="2596"/>
                    <a:pt x="1274" y="2703"/>
                  </a:cubicBezTo>
                  <a:lnTo>
                    <a:pt x="1274" y="2798"/>
                  </a:lnTo>
                  <a:lnTo>
                    <a:pt x="595" y="3060"/>
                  </a:lnTo>
                  <a:cubicBezTo>
                    <a:pt x="524" y="3096"/>
                    <a:pt x="0" y="3298"/>
                    <a:pt x="0" y="3965"/>
                  </a:cubicBezTo>
                  <a:lnTo>
                    <a:pt x="0" y="4560"/>
                  </a:lnTo>
                  <a:cubicBezTo>
                    <a:pt x="0" y="4656"/>
                    <a:pt x="72" y="4727"/>
                    <a:pt x="155" y="4727"/>
                  </a:cubicBezTo>
                  <a:lnTo>
                    <a:pt x="572" y="4727"/>
                  </a:lnTo>
                  <a:cubicBezTo>
                    <a:pt x="667" y="4727"/>
                    <a:pt x="738" y="4656"/>
                    <a:pt x="738" y="4560"/>
                  </a:cubicBezTo>
                  <a:cubicBezTo>
                    <a:pt x="738" y="4477"/>
                    <a:pt x="667" y="4406"/>
                    <a:pt x="572" y="4406"/>
                  </a:cubicBezTo>
                  <a:lnTo>
                    <a:pt x="322" y="4406"/>
                  </a:lnTo>
                  <a:lnTo>
                    <a:pt x="322" y="3965"/>
                  </a:lnTo>
                  <a:cubicBezTo>
                    <a:pt x="322" y="3513"/>
                    <a:pt x="679" y="3370"/>
                    <a:pt x="691" y="3370"/>
                  </a:cubicBezTo>
                  <a:lnTo>
                    <a:pt x="703" y="3370"/>
                  </a:lnTo>
                  <a:lnTo>
                    <a:pt x="1334" y="3132"/>
                  </a:lnTo>
                  <a:lnTo>
                    <a:pt x="1655" y="3465"/>
                  </a:lnTo>
                  <a:cubicBezTo>
                    <a:pt x="1691" y="3489"/>
                    <a:pt x="1738" y="3513"/>
                    <a:pt x="1774" y="3513"/>
                  </a:cubicBezTo>
                  <a:cubicBezTo>
                    <a:pt x="1822" y="3513"/>
                    <a:pt x="1869" y="3489"/>
                    <a:pt x="1893" y="3465"/>
                  </a:cubicBezTo>
                  <a:lnTo>
                    <a:pt x="2215" y="3132"/>
                  </a:lnTo>
                  <a:lnTo>
                    <a:pt x="2834" y="3394"/>
                  </a:lnTo>
                  <a:lnTo>
                    <a:pt x="2846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7" y="4418"/>
                  </a:lnTo>
                  <a:cubicBezTo>
                    <a:pt x="1024" y="4418"/>
                    <a:pt x="941" y="4489"/>
                    <a:pt x="941" y="4584"/>
                  </a:cubicBezTo>
                  <a:cubicBezTo>
                    <a:pt x="941" y="4668"/>
                    <a:pt x="1024" y="4739"/>
                    <a:pt x="1107" y="4739"/>
                  </a:cubicBezTo>
                  <a:lnTo>
                    <a:pt x="3382" y="4739"/>
                  </a:lnTo>
                  <a:cubicBezTo>
                    <a:pt x="3477" y="4727"/>
                    <a:pt x="3548" y="4656"/>
                    <a:pt x="3548" y="4560"/>
                  </a:cubicBezTo>
                  <a:lnTo>
                    <a:pt x="3548" y="3965"/>
                  </a:lnTo>
                  <a:cubicBezTo>
                    <a:pt x="3548" y="3298"/>
                    <a:pt x="3036" y="3072"/>
                    <a:pt x="2953" y="3060"/>
                  </a:cubicBezTo>
                  <a:lnTo>
                    <a:pt x="2298" y="2798"/>
                  </a:lnTo>
                  <a:lnTo>
                    <a:pt x="2298" y="2703"/>
                  </a:lnTo>
                  <a:cubicBezTo>
                    <a:pt x="2477" y="2596"/>
                    <a:pt x="2608" y="2441"/>
                    <a:pt x="2691" y="2227"/>
                  </a:cubicBezTo>
                  <a:cubicBezTo>
                    <a:pt x="2929" y="2215"/>
                    <a:pt x="3120" y="2001"/>
                    <a:pt x="3120" y="1762"/>
                  </a:cubicBezTo>
                  <a:cubicBezTo>
                    <a:pt x="3120" y="1620"/>
                    <a:pt x="3048" y="1489"/>
                    <a:pt x="2941" y="1405"/>
                  </a:cubicBezTo>
                  <a:lnTo>
                    <a:pt x="2941" y="1108"/>
                  </a:lnTo>
                  <a:cubicBezTo>
                    <a:pt x="2941" y="500"/>
                    <a:pt x="242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2" name="Google Shape;11092;p60"/>
            <p:cNvSpPr/>
            <p:nvPr/>
          </p:nvSpPr>
          <p:spPr>
            <a:xfrm>
              <a:off x="5112876" y="3016803"/>
              <a:ext cx="112956" cy="150831"/>
            </a:xfrm>
            <a:custGeom>
              <a:avLst/>
              <a:gdLst/>
              <a:ahLst/>
              <a:cxnLst/>
              <a:rect l="l" t="t" r="r" b="b"/>
              <a:pathLst>
                <a:path w="3549" h="4739" extrusionOk="0">
                  <a:moveTo>
                    <a:pt x="1822" y="322"/>
                  </a:moveTo>
                  <a:cubicBezTo>
                    <a:pt x="2262" y="322"/>
                    <a:pt x="2596" y="679"/>
                    <a:pt x="2596" y="1096"/>
                  </a:cubicBezTo>
                  <a:lnTo>
                    <a:pt x="2596" y="1203"/>
                  </a:lnTo>
                  <a:lnTo>
                    <a:pt x="2584" y="1203"/>
                  </a:lnTo>
                  <a:cubicBezTo>
                    <a:pt x="2358" y="1143"/>
                    <a:pt x="2286" y="846"/>
                    <a:pt x="2274" y="846"/>
                  </a:cubicBezTo>
                  <a:cubicBezTo>
                    <a:pt x="2262" y="786"/>
                    <a:pt x="2215" y="727"/>
                    <a:pt x="2143" y="727"/>
                  </a:cubicBezTo>
                  <a:cubicBezTo>
                    <a:pt x="2133" y="725"/>
                    <a:pt x="2122" y="724"/>
                    <a:pt x="2111" y="724"/>
                  </a:cubicBezTo>
                  <a:cubicBezTo>
                    <a:pt x="2057" y="724"/>
                    <a:pt x="1996" y="747"/>
                    <a:pt x="1977" y="786"/>
                  </a:cubicBezTo>
                  <a:cubicBezTo>
                    <a:pt x="1691" y="1203"/>
                    <a:pt x="1024" y="1203"/>
                    <a:pt x="1024" y="1203"/>
                  </a:cubicBezTo>
                  <a:lnTo>
                    <a:pt x="977" y="1203"/>
                  </a:lnTo>
                  <a:lnTo>
                    <a:pt x="977" y="1096"/>
                  </a:lnTo>
                  <a:cubicBezTo>
                    <a:pt x="977" y="667"/>
                    <a:pt x="1334" y="322"/>
                    <a:pt x="1751" y="322"/>
                  </a:cubicBezTo>
                  <a:close/>
                  <a:moveTo>
                    <a:pt x="2727" y="1667"/>
                  </a:moveTo>
                  <a:cubicBezTo>
                    <a:pt x="2763" y="1691"/>
                    <a:pt x="2763" y="1727"/>
                    <a:pt x="2763" y="1751"/>
                  </a:cubicBezTo>
                  <a:cubicBezTo>
                    <a:pt x="2763" y="1798"/>
                    <a:pt x="2751" y="1846"/>
                    <a:pt x="2703" y="1858"/>
                  </a:cubicBezTo>
                  <a:lnTo>
                    <a:pt x="2703" y="1667"/>
                  </a:lnTo>
                  <a:close/>
                  <a:moveTo>
                    <a:pt x="858" y="1667"/>
                  </a:moveTo>
                  <a:lnTo>
                    <a:pt x="858" y="1870"/>
                  </a:lnTo>
                  <a:cubicBezTo>
                    <a:pt x="822" y="1846"/>
                    <a:pt x="798" y="1810"/>
                    <a:pt x="798" y="1751"/>
                  </a:cubicBezTo>
                  <a:cubicBezTo>
                    <a:pt x="798" y="1727"/>
                    <a:pt x="810" y="1691"/>
                    <a:pt x="822" y="1667"/>
                  </a:cubicBezTo>
                  <a:close/>
                  <a:moveTo>
                    <a:pt x="2084" y="1203"/>
                  </a:moveTo>
                  <a:cubicBezTo>
                    <a:pt x="2143" y="1322"/>
                    <a:pt x="2239" y="1441"/>
                    <a:pt x="2393" y="1501"/>
                  </a:cubicBezTo>
                  <a:lnTo>
                    <a:pt x="2393" y="1977"/>
                  </a:lnTo>
                  <a:cubicBezTo>
                    <a:pt x="2393" y="2263"/>
                    <a:pt x="2155" y="2489"/>
                    <a:pt x="1858" y="2489"/>
                  </a:cubicBezTo>
                  <a:lnTo>
                    <a:pt x="1703" y="2489"/>
                  </a:lnTo>
                  <a:cubicBezTo>
                    <a:pt x="1405" y="2489"/>
                    <a:pt x="1191" y="2251"/>
                    <a:pt x="1191" y="1977"/>
                  </a:cubicBezTo>
                  <a:lnTo>
                    <a:pt x="1191" y="1548"/>
                  </a:lnTo>
                  <a:cubicBezTo>
                    <a:pt x="1393" y="1512"/>
                    <a:pt x="1786" y="1441"/>
                    <a:pt x="2084" y="1203"/>
                  </a:cubicBezTo>
                  <a:close/>
                  <a:moveTo>
                    <a:pt x="1965" y="2822"/>
                  </a:moveTo>
                  <a:lnTo>
                    <a:pt x="1965" y="2917"/>
                  </a:lnTo>
                  <a:lnTo>
                    <a:pt x="1786" y="3108"/>
                  </a:lnTo>
                  <a:lnTo>
                    <a:pt x="1596" y="2941"/>
                  </a:lnTo>
                  <a:lnTo>
                    <a:pt x="1596" y="2822"/>
                  </a:lnTo>
                  <a:close/>
                  <a:moveTo>
                    <a:pt x="1751" y="0"/>
                  </a:moveTo>
                  <a:cubicBezTo>
                    <a:pt x="1143" y="0"/>
                    <a:pt x="631" y="500"/>
                    <a:pt x="631" y="1108"/>
                  </a:cubicBezTo>
                  <a:lnTo>
                    <a:pt x="631" y="1405"/>
                  </a:lnTo>
                  <a:cubicBezTo>
                    <a:pt x="524" y="1501"/>
                    <a:pt x="453" y="1631"/>
                    <a:pt x="453" y="1762"/>
                  </a:cubicBezTo>
                  <a:cubicBezTo>
                    <a:pt x="453" y="2024"/>
                    <a:pt x="643" y="2215"/>
                    <a:pt x="893" y="2227"/>
                  </a:cubicBezTo>
                  <a:cubicBezTo>
                    <a:pt x="953" y="2441"/>
                    <a:pt x="1096" y="2596"/>
                    <a:pt x="1274" y="2703"/>
                  </a:cubicBezTo>
                  <a:lnTo>
                    <a:pt x="1274" y="2798"/>
                  </a:lnTo>
                  <a:lnTo>
                    <a:pt x="596" y="3060"/>
                  </a:lnTo>
                  <a:cubicBezTo>
                    <a:pt x="524" y="3096"/>
                    <a:pt x="0" y="3298"/>
                    <a:pt x="0" y="3965"/>
                  </a:cubicBezTo>
                  <a:lnTo>
                    <a:pt x="0" y="4560"/>
                  </a:lnTo>
                  <a:cubicBezTo>
                    <a:pt x="0" y="4656"/>
                    <a:pt x="72" y="4727"/>
                    <a:pt x="155" y="4727"/>
                  </a:cubicBezTo>
                  <a:lnTo>
                    <a:pt x="572" y="4727"/>
                  </a:lnTo>
                  <a:cubicBezTo>
                    <a:pt x="667" y="4727"/>
                    <a:pt x="738" y="4656"/>
                    <a:pt x="738" y="4560"/>
                  </a:cubicBezTo>
                  <a:cubicBezTo>
                    <a:pt x="738" y="4477"/>
                    <a:pt x="667" y="4406"/>
                    <a:pt x="572" y="4406"/>
                  </a:cubicBezTo>
                  <a:lnTo>
                    <a:pt x="322" y="4406"/>
                  </a:lnTo>
                  <a:lnTo>
                    <a:pt x="322" y="3965"/>
                  </a:lnTo>
                  <a:cubicBezTo>
                    <a:pt x="322" y="3513"/>
                    <a:pt x="679" y="3370"/>
                    <a:pt x="691" y="3370"/>
                  </a:cubicBezTo>
                  <a:lnTo>
                    <a:pt x="703" y="3370"/>
                  </a:lnTo>
                  <a:lnTo>
                    <a:pt x="1334" y="3132"/>
                  </a:lnTo>
                  <a:lnTo>
                    <a:pt x="1655" y="3465"/>
                  </a:lnTo>
                  <a:cubicBezTo>
                    <a:pt x="1691" y="3489"/>
                    <a:pt x="1739" y="3513"/>
                    <a:pt x="1774" y="3513"/>
                  </a:cubicBezTo>
                  <a:cubicBezTo>
                    <a:pt x="1822" y="3513"/>
                    <a:pt x="1870" y="3489"/>
                    <a:pt x="1893" y="3465"/>
                  </a:cubicBezTo>
                  <a:lnTo>
                    <a:pt x="2215" y="3132"/>
                  </a:lnTo>
                  <a:lnTo>
                    <a:pt x="2834" y="3394"/>
                  </a:lnTo>
                  <a:lnTo>
                    <a:pt x="2846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8" y="4418"/>
                  </a:lnTo>
                  <a:cubicBezTo>
                    <a:pt x="1024" y="4418"/>
                    <a:pt x="941" y="4489"/>
                    <a:pt x="941" y="4584"/>
                  </a:cubicBezTo>
                  <a:cubicBezTo>
                    <a:pt x="941" y="4668"/>
                    <a:pt x="1024" y="4739"/>
                    <a:pt x="1108" y="4739"/>
                  </a:cubicBezTo>
                  <a:lnTo>
                    <a:pt x="3382" y="4739"/>
                  </a:lnTo>
                  <a:cubicBezTo>
                    <a:pt x="3477" y="4739"/>
                    <a:pt x="3548" y="4668"/>
                    <a:pt x="3548" y="4584"/>
                  </a:cubicBezTo>
                  <a:lnTo>
                    <a:pt x="3548" y="3989"/>
                  </a:lnTo>
                  <a:cubicBezTo>
                    <a:pt x="3548" y="3298"/>
                    <a:pt x="3013" y="3084"/>
                    <a:pt x="2953" y="3060"/>
                  </a:cubicBezTo>
                  <a:lnTo>
                    <a:pt x="2298" y="2798"/>
                  </a:lnTo>
                  <a:lnTo>
                    <a:pt x="2298" y="2703"/>
                  </a:lnTo>
                  <a:cubicBezTo>
                    <a:pt x="2477" y="2596"/>
                    <a:pt x="2608" y="2441"/>
                    <a:pt x="2691" y="2227"/>
                  </a:cubicBezTo>
                  <a:cubicBezTo>
                    <a:pt x="2929" y="2215"/>
                    <a:pt x="3120" y="2001"/>
                    <a:pt x="3120" y="1762"/>
                  </a:cubicBezTo>
                  <a:cubicBezTo>
                    <a:pt x="3120" y="1620"/>
                    <a:pt x="3048" y="1489"/>
                    <a:pt x="2941" y="1405"/>
                  </a:cubicBezTo>
                  <a:lnTo>
                    <a:pt x="2941" y="1108"/>
                  </a:lnTo>
                  <a:cubicBezTo>
                    <a:pt x="2941" y="500"/>
                    <a:pt x="242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3" name="Google Shape;11093;p60"/>
            <p:cNvSpPr/>
            <p:nvPr/>
          </p:nvSpPr>
          <p:spPr>
            <a:xfrm>
              <a:off x="5001448" y="3108498"/>
              <a:ext cx="113338" cy="151244"/>
            </a:xfrm>
            <a:custGeom>
              <a:avLst/>
              <a:gdLst/>
              <a:ahLst/>
              <a:cxnLst/>
              <a:rect l="l" t="t" r="r" b="b"/>
              <a:pathLst>
                <a:path w="3561" h="4752" extrusionOk="0">
                  <a:moveTo>
                    <a:pt x="1811" y="322"/>
                  </a:moveTo>
                  <a:cubicBezTo>
                    <a:pt x="2251" y="322"/>
                    <a:pt x="2585" y="679"/>
                    <a:pt x="2585" y="1096"/>
                  </a:cubicBezTo>
                  <a:lnTo>
                    <a:pt x="2585" y="1203"/>
                  </a:lnTo>
                  <a:lnTo>
                    <a:pt x="2573" y="1203"/>
                  </a:lnTo>
                  <a:cubicBezTo>
                    <a:pt x="2346" y="1144"/>
                    <a:pt x="2275" y="846"/>
                    <a:pt x="2263" y="846"/>
                  </a:cubicBezTo>
                  <a:cubicBezTo>
                    <a:pt x="2251" y="786"/>
                    <a:pt x="2204" y="727"/>
                    <a:pt x="2132" y="727"/>
                  </a:cubicBezTo>
                  <a:cubicBezTo>
                    <a:pt x="2124" y="725"/>
                    <a:pt x="2116" y="725"/>
                    <a:pt x="2107" y="725"/>
                  </a:cubicBezTo>
                  <a:cubicBezTo>
                    <a:pt x="2051" y="725"/>
                    <a:pt x="1986" y="756"/>
                    <a:pt x="1965" y="786"/>
                  </a:cubicBezTo>
                  <a:cubicBezTo>
                    <a:pt x="1692" y="1203"/>
                    <a:pt x="1037" y="1203"/>
                    <a:pt x="1025" y="1203"/>
                  </a:cubicBezTo>
                  <a:lnTo>
                    <a:pt x="965" y="1203"/>
                  </a:lnTo>
                  <a:lnTo>
                    <a:pt x="965" y="1096"/>
                  </a:lnTo>
                  <a:cubicBezTo>
                    <a:pt x="965" y="667"/>
                    <a:pt x="1322" y="322"/>
                    <a:pt x="1739" y="322"/>
                  </a:cubicBezTo>
                  <a:close/>
                  <a:moveTo>
                    <a:pt x="2751" y="1668"/>
                  </a:moveTo>
                  <a:cubicBezTo>
                    <a:pt x="2787" y="1703"/>
                    <a:pt x="2787" y="1727"/>
                    <a:pt x="2787" y="1763"/>
                  </a:cubicBezTo>
                  <a:cubicBezTo>
                    <a:pt x="2787" y="1798"/>
                    <a:pt x="2763" y="1846"/>
                    <a:pt x="2715" y="1858"/>
                  </a:cubicBezTo>
                  <a:lnTo>
                    <a:pt x="2715" y="1668"/>
                  </a:lnTo>
                  <a:close/>
                  <a:moveTo>
                    <a:pt x="858" y="1679"/>
                  </a:moveTo>
                  <a:lnTo>
                    <a:pt x="858" y="1894"/>
                  </a:lnTo>
                  <a:cubicBezTo>
                    <a:pt x="834" y="1858"/>
                    <a:pt x="799" y="1834"/>
                    <a:pt x="799" y="1775"/>
                  </a:cubicBezTo>
                  <a:cubicBezTo>
                    <a:pt x="799" y="1739"/>
                    <a:pt x="810" y="1715"/>
                    <a:pt x="834" y="1679"/>
                  </a:cubicBezTo>
                  <a:close/>
                  <a:moveTo>
                    <a:pt x="2096" y="1203"/>
                  </a:moveTo>
                  <a:cubicBezTo>
                    <a:pt x="2156" y="1322"/>
                    <a:pt x="2263" y="1441"/>
                    <a:pt x="2406" y="1501"/>
                  </a:cubicBezTo>
                  <a:lnTo>
                    <a:pt x="2406" y="1977"/>
                  </a:lnTo>
                  <a:cubicBezTo>
                    <a:pt x="2394" y="2263"/>
                    <a:pt x="2156" y="2501"/>
                    <a:pt x="1870" y="2501"/>
                  </a:cubicBezTo>
                  <a:lnTo>
                    <a:pt x="1727" y="2501"/>
                  </a:lnTo>
                  <a:cubicBezTo>
                    <a:pt x="1430" y="2501"/>
                    <a:pt x="1203" y="2263"/>
                    <a:pt x="1203" y="1977"/>
                  </a:cubicBezTo>
                  <a:lnTo>
                    <a:pt x="1203" y="1548"/>
                  </a:lnTo>
                  <a:cubicBezTo>
                    <a:pt x="1418" y="1525"/>
                    <a:pt x="1799" y="1441"/>
                    <a:pt x="2096" y="1203"/>
                  </a:cubicBezTo>
                  <a:close/>
                  <a:moveTo>
                    <a:pt x="1977" y="2834"/>
                  </a:moveTo>
                  <a:lnTo>
                    <a:pt x="1977" y="2918"/>
                  </a:lnTo>
                  <a:lnTo>
                    <a:pt x="1799" y="3108"/>
                  </a:lnTo>
                  <a:lnTo>
                    <a:pt x="1620" y="2941"/>
                  </a:lnTo>
                  <a:lnTo>
                    <a:pt x="1620" y="2834"/>
                  </a:lnTo>
                  <a:close/>
                  <a:moveTo>
                    <a:pt x="1751" y="1"/>
                  </a:moveTo>
                  <a:cubicBezTo>
                    <a:pt x="1144" y="1"/>
                    <a:pt x="632" y="501"/>
                    <a:pt x="632" y="1120"/>
                  </a:cubicBezTo>
                  <a:lnTo>
                    <a:pt x="632" y="1417"/>
                  </a:lnTo>
                  <a:cubicBezTo>
                    <a:pt x="537" y="1501"/>
                    <a:pt x="453" y="1644"/>
                    <a:pt x="453" y="1775"/>
                  </a:cubicBezTo>
                  <a:cubicBezTo>
                    <a:pt x="453" y="2025"/>
                    <a:pt x="656" y="2215"/>
                    <a:pt x="894" y="2239"/>
                  </a:cubicBezTo>
                  <a:cubicBezTo>
                    <a:pt x="953" y="2441"/>
                    <a:pt x="1096" y="2608"/>
                    <a:pt x="1275" y="2715"/>
                  </a:cubicBezTo>
                  <a:lnTo>
                    <a:pt x="1275" y="2799"/>
                  </a:lnTo>
                  <a:lnTo>
                    <a:pt x="596" y="3072"/>
                  </a:lnTo>
                  <a:cubicBezTo>
                    <a:pt x="537" y="3096"/>
                    <a:pt x="1" y="3311"/>
                    <a:pt x="1" y="3977"/>
                  </a:cubicBezTo>
                  <a:lnTo>
                    <a:pt x="1" y="4573"/>
                  </a:lnTo>
                  <a:cubicBezTo>
                    <a:pt x="1" y="4656"/>
                    <a:pt x="72" y="4739"/>
                    <a:pt x="156" y="4739"/>
                  </a:cubicBezTo>
                  <a:lnTo>
                    <a:pt x="572" y="4739"/>
                  </a:lnTo>
                  <a:cubicBezTo>
                    <a:pt x="668" y="4739"/>
                    <a:pt x="739" y="4656"/>
                    <a:pt x="739" y="4573"/>
                  </a:cubicBezTo>
                  <a:cubicBezTo>
                    <a:pt x="739" y="4477"/>
                    <a:pt x="668" y="4406"/>
                    <a:pt x="572" y="4406"/>
                  </a:cubicBezTo>
                  <a:lnTo>
                    <a:pt x="322" y="4406"/>
                  </a:lnTo>
                  <a:lnTo>
                    <a:pt x="322" y="3977"/>
                  </a:lnTo>
                  <a:cubicBezTo>
                    <a:pt x="322" y="3513"/>
                    <a:pt x="680" y="3382"/>
                    <a:pt x="691" y="3382"/>
                  </a:cubicBezTo>
                  <a:lnTo>
                    <a:pt x="715" y="3382"/>
                  </a:lnTo>
                  <a:lnTo>
                    <a:pt x="1334" y="3144"/>
                  </a:lnTo>
                  <a:lnTo>
                    <a:pt x="1668" y="3465"/>
                  </a:lnTo>
                  <a:cubicBezTo>
                    <a:pt x="1692" y="3501"/>
                    <a:pt x="1739" y="3513"/>
                    <a:pt x="1787" y="3513"/>
                  </a:cubicBezTo>
                  <a:cubicBezTo>
                    <a:pt x="1823" y="3513"/>
                    <a:pt x="1870" y="3501"/>
                    <a:pt x="1906" y="3465"/>
                  </a:cubicBezTo>
                  <a:lnTo>
                    <a:pt x="2215" y="3144"/>
                  </a:lnTo>
                  <a:lnTo>
                    <a:pt x="2835" y="3394"/>
                  </a:lnTo>
                  <a:lnTo>
                    <a:pt x="2858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8" y="4418"/>
                  </a:lnTo>
                  <a:cubicBezTo>
                    <a:pt x="1025" y="4418"/>
                    <a:pt x="953" y="4501"/>
                    <a:pt x="953" y="4585"/>
                  </a:cubicBezTo>
                  <a:cubicBezTo>
                    <a:pt x="953" y="4680"/>
                    <a:pt x="1025" y="4751"/>
                    <a:pt x="1108" y="4751"/>
                  </a:cubicBezTo>
                  <a:lnTo>
                    <a:pt x="3394" y="4751"/>
                  </a:lnTo>
                  <a:cubicBezTo>
                    <a:pt x="3477" y="4751"/>
                    <a:pt x="3549" y="4680"/>
                    <a:pt x="3549" y="4585"/>
                  </a:cubicBezTo>
                  <a:lnTo>
                    <a:pt x="3549" y="3989"/>
                  </a:lnTo>
                  <a:cubicBezTo>
                    <a:pt x="3561" y="3311"/>
                    <a:pt x="3037" y="3096"/>
                    <a:pt x="2966" y="3072"/>
                  </a:cubicBezTo>
                  <a:lnTo>
                    <a:pt x="2311" y="2799"/>
                  </a:lnTo>
                  <a:lnTo>
                    <a:pt x="2311" y="2715"/>
                  </a:lnTo>
                  <a:cubicBezTo>
                    <a:pt x="2489" y="2608"/>
                    <a:pt x="2620" y="2441"/>
                    <a:pt x="2692" y="2239"/>
                  </a:cubicBezTo>
                  <a:cubicBezTo>
                    <a:pt x="2930" y="2215"/>
                    <a:pt x="3120" y="2013"/>
                    <a:pt x="3120" y="1775"/>
                  </a:cubicBezTo>
                  <a:cubicBezTo>
                    <a:pt x="3120" y="1620"/>
                    <a:pt x="3049" y="1489"/>
                    <a:pt x="2942" y="1417"/>
                  </a:cubicBezTo>
                  <a:lnTo>
                    <a:pt x="2942" y="1120"/>
                  </a:lnTo>
                  <a:cubicBezTo>
                    <a:pt x="2942" y="501"/>
                    <a:pt x="2442" y="1"/>
                    <a:pt x="1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94" name="Google Shape;11094;p60"/>
          <p:cNvGrpSpPr/>
          <p:nvPr/>
        </p:nvGrpSpPr>
        <p:grpSpPr>
          <a:xfrm>
            <a:off x="7976174" y="2925108"/>
            <a:ext cx="334666" cy="334634"/>
            <a:chOff x="7976174" y="2925108"/>
            <a:chExt cx="334666" cy="334634"/>
          </a:xfrm>
        </p:grpSpPr>
        <p:sp>
          <p:nvSpPr>
            <p:cNvPr id="11095" name="Google Shape;11095;p60"/>
            <p:cNvSpPr/>
            <p:nvPr/>
          </p:nvSpPr>
          <p:spPr>
            <a:xfrm>
              <a:off x="8003100" y="3064545"/>
              <a:ext cx="10630" cy="14068"/>
            </a:xfrm>
            <a:custGeom>
              <a:avLst/>
              <a:gdLst/>
              <a:ahLst/>
              <a:cxnLst/>
              <a:rect l="l" t="t" r="r" b="b"/>
              <a:pathLst>
                <a:path w="334" h="44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286"/>
                  </a:lnTo>
                  <a:cubicBezTo>
                    <a:pt x="0" y="370"/>
                    <a:pt x="72" y="441"/>
                    <a:pt x="167" y="441"/>
                  </a:cubicBezTo>
                  <a:cubicBezTo>
                    <a:pt x="250" y="441"/>
                    <a:pt x="322" y="370"/>
                    <a:pt x="322" y="286"/>
                  </a:cubicBezTo>
                  <a:lnTo>
                    <a:pt x="322" y="167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6" name="Google Shape;11096;p60"/>
            <p:cNvSpPr/>
            <p:nvPr/>
          </p:nvSpPr>
          <p:spPr>
            <a:xfrm>
              <a:off x="8003100" y="3046371"/>
              <a:ext cx="10630" cy="14418"/>
            </a:xfrm>
            <a:custGeom>
              <a:avLst/>
              <a:gdLst/>
              <a:ahLst/>
              <a:cxnLst/>
              <a:rect l="l" t="t" r="r" b="b"/>
              <a:pathLst>
                <a:path w="334" h="453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286"/>
                  </a:lnTo>
                  <a:cubicBezTo>
                    <a:pt x="0" y="369"/>
                    <a:pt x="72" y="452"/>
                    <a:pt x="167" y="452"/>
                  </a:cubicBezTo>
                  <a:cubicBezTo>
                    <a:pt x="250" y="452"/>
                    <a:pt x="322" y="369"/>
                    <a:pt x="322" y="286"/>
                  </a:cubicBezTo>
                  <a:lnTo>
                    <a:pt x="322" y="167"/>
                  </a:lnTo>
                  <a:cubicBezTo>
                    <a:pt x="334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7" name="Google Shape;11097;p60"/>
            <p:cNvSpPr/>
            <p:nvPr/>
          </p:nvSpPr>
          <p:spPr>
            <a:xfrm>
              <a:off x="8272519" y="3105093"/>
              <a:ext cx="10630" cy="14418"/>
            </a:xfrm>
            <a:custGeom>
              <a:avLst/>
              <a:gdLst/>
              <a:ahLst/>
              <a:cxnLst/>
              <a:rect l="l" t="t" r="r" b="b"/>
              <a:pathLst>
                <a:path w="334" h="45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286"/>
                  </a:lnTo>
                  <a:cubicBezTo>
                    <a:pt x="1" y="370"/>
                    <a:pt x="84" y="453"/>
                    <a:pt x="167" y="453"/>
                  </a:cubicBezTo>
                  <a:cubicBezTo>
                    <a:pt x="263" y="453"/>
                    <a:pt x="334" y="370"/>
                    <a:pt x="334" y="28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8" name="Google Shape;11098;p60"/>
            <p:cNvSpPr/>
            <p:nvPr/>
          </p:nvSpPr>
          <p:spPr>
            <a:xfrm>
              <a:off x="8272519" y="3123266"/>
              <a:ext cx="10630" cy="14068"/>
            </a:xfrm>
            <a:custGeom>
              <a:avLst/>
              <a:gdLst/>
              <a:ahLst/>
              <a:cxnLst/>
              <a:rect l="l" t="t" r="r" b="b"/>
              <a:pathLst>
                <a:path w="334" h="442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287"/>
                  </a:lnTo>
                  <a:cubicBezTo>
                    <a:pt x="1" y="370"/>
                    <a:pt x="84" y="442"/>
                    <a:pt x="167" y="442"/>
                  </a:cubicBezTo>
                  <a:cubicBezTo>
                    <a:pt x="263" y="442"/>
                    <a:pt x="334" y="370"/>
                    <a:pt x="334" y="287"/>
                  </a:cubicBezTo>
                  <a:lnTo>
                    <a:pt x="334" y="168"/>
                  </a:lnTo>
                  <a:cubicBezTo>
                    <a:pt x="334" y="72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9" name="Google Shape;11099;p60"/>
            <p:cNvSpPr/>
            <p:nvPr/>
          </p:nvSpPr>
          <p:spPr>
            <a:xfrm>
              <a:off x="7976174" y="2925108"/>
              <a:ext cx="334666" cy="334634"/>
            </a:xfrm>
            <a:custGeom>
              <a:avLst/>
              <a:gdLst/>
              <a:ahLst/>
              <a:cxnLst/>
              <a:rect l="l" t="t" r="r" b="b"/>
              <a:pathLst>
                <a:path w="10515" h="10514" extrusionOk="0">
                  <a:moveTo>
                    <a:pt x="5109" y="655"/>
                  </a:moveTo>
                  <a:lnTo>
                    <a:pt x="5109" y="2762"/>
                  </a:lnTo>
                  <a:lnTo>
                    <a:pt x="4704" y="2762"/>
                  </a:lnTo>
                  <a:lnTo>
                    <a:pt x="4704" y="655"/>
                  </a:lnTo>
                  <a:close/>
                  <a:moveTo>
                    <a:pt x="7549" y="655"/>
                  </a:moveTo>
                  <a:lnTo>
                    <a:pt x="7549" y="738"/>
                  </a:lnTo>
                  <a:lnTo>
                    <a:pt x="7549" y="750"/>
                  </a:lnTo>
                  <a:lnTo>
                    <a:pt x="7549" y="1584"/>
                  </a:lnTo>
                  <a:lnTo>
                    <a:pt x="7549" y="1774"/>
                  </a:lnTo>
                  <a:cubicBezTo>
                    <a:pt x="7442" y="1667"/>
                    <a:pt x="7311" y="1572"/>
                    <a:pt x="7157" y="1536"/>
                  </a:cubicBezTo>
                  <a:cubicBezTo>
                    <a:pt x="7122" y="1527"/>
                    <a:pt x="7085" y="1523"/>
                    <a:pt x="7048" y="1523"/>
                  </a:cubicBezTo>
                  <a:cubicBezTo>
                    <a:pt x="6935" y="1523"/>
                    <a:pt x="6818" y="1565"/>
                    <a:pt x="6728" y="1655"/>
                  </a:cubicBezTo>
                  <a:cubicBezTo>
                    <a:pt x="6716" y="1667"/>
                    <a:pt x="6371" y="1965"/>
                    <a:pt x="6811" y="2584"/>
                  </a:cubicBezTo>
                  <a:cubicBezTo>
                    <a:pt x="6859" y="2643"/>
                    <a:pt x="6907" y="2691"/>
                    <a:pt x="6918" y="2762"/>
                  </a:cubicBezTo>
                  <a:lnTo>
                    <a:pt x="5430" y="2762"/>
                  </a:lnTo>
                  <a:lnTo>
                    <a:pt x="5430" y="655"/>
                  </a:lnTo>
                  <a:close/>
                  <a:moveTo>
                    <a:pt x="2359" y="523"/>
                  </a:moveTo>
                  <a:cubicBezTo>
                    <a:pt x="2823" y="523"/>
                    <a:pt x="3485" y="630"/>
                    <a:pt x="3620" y="833"/>
                  </a:cubicBezTo>
                  <a:cubicBezTo>
                    <a:pt x="3644" y="881"/>
                    <a:pt x="3704" y="917"/>
                    <a:pt x="3763" y="917"/>
                  </a:cubicBezTo>
                  <a:lnTo>
                    <a:pt x="4359" y="917"/>
                  </a:lnTo>
                  <a:lnTo>
                    <a:pt x="4359" y="2500"/>
                  </a:lnTo>
                  <a:lnTo>
                    <a:pt x="3954" y="2500"/>
                  </a:lnTo>
                  <a:cubicBezTo>
                    <a:pt x="3894" y="2500"/>
                    <a:pt x="3847" y="2536"/>
                    <a:pt x="3823" y="2560"/>
                  </a:cubicBezTo>
                  <a:cubicBezTo>
                    <a:pt x="3466" y="3024"/>
                    <a:pt x="3275" y="3072"/>
                    <a:pt x="3037" y="3119"/>
                  </a:cubicBezTo>
                  <a:cubicBezTo>
                    <a:pt x="2858" y="3143"/>
                    <a:pt x="2644" y="3191"/>
                    <a:pt x="2358" y="3381"/>
                  </a:cubicBezTo>
                  <a:cubicBezTo>
                    <a:pt x="2174" y="3515"/>
                    <a:pt x="2037" y="3549"/>
                    <a:pt x="1955" y="3549"/>
                  </a:cubicBezTo>
                  <a:cubicBezTo>
                    <a:pt x="1921" y="3549"/>
                    <a:pt x="1896" y="3543"/>
                    <a:pt x="1882" y="3536"/>
                  </a:cubicBezTo>
                  <a:cubicBezTo>
                    <a:pt x="1846" y="3477"/>
                    <a:pt x="1846" y="3417"/>
                    <a:pt x="1846" y="3381"/>
                  </a:cubicBezTo>
                  <a:cubicBezTo>
                    <a:pt x="1882" y="3203"/>
                    <a:pt x="2168" y="3000"/>
                    <a:pt x="2346" y="2905"/>
                  </a:cubicBezTo>
                  <a:cubicBezTo>
                    <a:pt x="2442" y="2858"/>
                    <a:pt x="2466" y="2762"/>
                    <a:pt x="2430" y="2679"/>
                  </a:cubicBezTo>
                  <a:cubicBezTo>
                    <a:pt x="2394" y="2619"/>
                    <a:pt x="2335" y="2596"/>
                    <a:pt x="2263" y="2596"/>
                  </a:cubicBezTo>
                  <a:lnTo>
                    <a:pt x="715" y="2596"/>
                  </a:lnTo>
                  <a:cubicBezTo>
                    <a:pt x="644" y="2596"/>
                    <a:pt x="584" y="2536"/>
                    <a:pt x="584" y="2465"/>
                  </a:cubicBezTo>
                  <a:lnTo>
                    <a:pt x="584" y="2441"/>
                  </a:lnTo>
                  <a:cubicBezTo>
                    <a:pt x="584" y="2369"/>
                    <a:pt x="644" y="2310"/>
                    <a:pt x="715" y="2310"/>
                  </a:cubicBezTo>
                  <a:lnTo>
                    <a:pt x="2132" y="2310"/>
                  </a:lnTo>
                  <a:cubicBezTo>
                    <a:pt x="2215" y="2310"/>
                    <a:pt x="2287" y="2238"/>
                    <a:pt x="2287" y="2143"/>
                  </a:cubicBezTo>
                  <a:cubicBezTo>
                    <a:pt x="2287" y="2060"/>
                    <a:pt x="2215" y="1988"/>
                    <a:pt x="2132" y="1988"/>
                  </a:cubicBezTo>
                  <a:lnTo>
                    <a:pt x="715" y="1988"/>
                  </a:lnTo>
                  <a:lnTo>
                    <a:pt x="441" y="2012"/>
                  </a:lnTo>
                  <a:cubicBezTo>
                    <a:pt x="370" y="2012"/>
                    <a:pt x="310" y="1953"/>
                    <a:pt x="310" y="1881"/>
                  </a:cubicBezTo>
                  <a:lnTo>
                    <a:pt x="310" y="1869"/>
                  </a:lnTo>
                  <a:cubicBezTo>
                    <a:pt x="310" y="1786"/>
                    <a:pt x="370" y="1726"/>
                    <a:pt x="441" y="1726"/>
                  </a:cubicBezTo>
                  <a:lnTo>
                    <a:pt x="2156" y="1726"/>
                  </a:lnTo>
                  <a:cubicBezTo>
                    <a:pt x="2251" y="1726"/>
                    <a:pt x="2323" y="1655"/>
                    <a:pt x="2323" y="1572"/>
                  </a:cubicBezTo>
                  <a:cubicBezTo>
                    <a:pt x="2323" y="1476"/>
                    <a:pt x="2251" y="1405"/>
                    <a:pt x="2156" y="1405"/>
                  </a:cubicBezTo>
                  <a:lnTo>
                    <a:pt x="691" y="1405"/>
                  </a:lnTo>
                  <a:cubicBezTo>
                    <a:pt x="632" y="1393"/>
                    <a:pt x="596" y="1345"/>
                    <a:pt x="596" y="1286"/>
                  </a:cubicBezTo>
                  <a:lnTo>
                    <a:pt x="596" y="1274"/>
                  </a:lnTo>
                  <a:cubicBezTo>
                    <a:pt x="596" y="1191"/>
                    <a:pt x="656" y="1131"/>
                    <a:pt x="727" y="1131"/>
                  </a:cubicBezTo>
                  <a:lnTo>
                    <a:pt x="2156" y="1131"/>
                  </a:lnTo>
                  <a:cubicBezTo>
                    <a:pt x="2239" y="1131"/>
                    <a:pt x="2323" y="1060"/>
                    <a:pt x="2323" y="976"/>
                  </a:cubicBezTo>
                  <a:cubicBezTo>
                    <a:pt x="2323" y="881"/>
                    <a:pt x="2239" y="810"/>
                    <a:pt x="2156" y="810"/>
                  </a:cubicBezTo>
                  <a:lnTo>
                    <a:pt x="1442" y="810"/>
                  </a:lnTo>
                  <a:cubicBezTo>
                    <a:pt x="1370" y="810"/>
                    <a:pt x="1311" y="750"/>
                    <a:pt x="1311" y="679"/>
                  </a:cubicBezTo>
                  <a:lnTo>
                    <a:pt x="1311" y="655"/>
                  </a:lnTo>
                  <a:cubicBezTo>
                    <a:pt x="1311" y="583"/>
                    <a:pt x="1370" y="524"/>
                    <a:pt x="1442" y="524"/>
                  </a:cubicBezTo>
                  <a:lnTo>
                    <a:pt x="2287" y="524"/>
                  </a:lnTo>
                  <a:cubicBezTo>
                    <a:pt x="2310" y="523"/>
                    <a:pt x="2334" y="523"/>
                    <a:pt x="2359" y="523"/>
                  </a:cubicBezTo>
                  <a:close/>
                  <a:moveTo>
                    <a:pt x="8633" y="310"/>
                  </a:moveTo>
                  <a:cubicBezTo>
                    <a:pt x="8704" y="310"/>
                    <a:pt x="8764" y="369"/>
                    <a:pt x="8764" y="452"/>
                  </a:cubicBezTo>
                  <a:lnTo>
                    <a:pt x="8764" y="691"/>
                  </a:lnTo>
                  <a:lnTo>
                    <a:pt x="8764" y="726"/>
                  </a:lnTo>
                  <a:lnTo>
                    <a:pt x="8764" y="1107"/>
                  </a:lnTo>
                  <a:lnTo>
                    <a:pt x="8764" y="1131"/>
                  </a:lnTo>
                  <a:lnTo>
                    <a:pt x="8764" y="2155"/>
                  </a:lnTo>
                  <a:cubicBezTo>
                    <a:pt x="8764" y="2250"/>
                    <a:pt x="8835" y="2322"/>
                    <a:pt x="8931" y="2322"/>
                  </a:cubicBezTo>
                  <a:cubicBezTo>
                    <a:pt x="9014" y="2322"/>
                    <a:pt x="9085" y="2250"/>
                    <a:pt x="9085" y="2155"/>
                  </a:cubicBezTo>
                  <a:lnTo>
                    <a:pt x="9085" y="1012"/>
                  </a:lnTo>
                  <a:lnTo>
                    <a:pt x="9085" y="988"/>
                  </a:lnTo>
                  <a:lnTo>
                    <a:pt x="9085" y="953"/>
                  </a:lnTo>
                  <a:lnTo>
                    <a:pt x="9085" y="702"/>
                  </a:lnTo>
                  <a:cubicBezTo>
                    <a:pt x="9109" y="643"/>
                    <a:pt x="9145" y="595"/>
                    <a:pt x="9204" y="595"/>
                  </a:cubicBezTo>
                  <a:lnTo>
                    <a:pt x="9228" y="595"/>
                  </a:lnTo>
                  <a:cubicBezTo>
                    <a:pt x="9300" y="595"/>
                    <a:pt x="9359" y="655"/>
                    <a:pt x="9359" y="726"/>
                  </a:cubicBezTo>
                  <a:lnTo>
                    <a:pt x="9359" y="1322"/>
                  </a:lnTo>
                  <a:lnTo>
                    <a:pt x="9359" y="1441"/>
                  </a:lnTo>
                  <a:lnTo>
                    <a:pt x="9359" y="2155"/>
                  </a:lnTo>
                  <a:cubicBezTo>
                    <a:pt x="9359" y="2250"/>
                    <a:pt x="9431" y="2322"/>
                    <a:pt x="9526" y="2322"/>
                  </a:cubicBezTo>
                  <a:cubicBezTo>
                    <a:pt x="9609" y="2322"/>
                    <a:pt x="9681" y="2250"/>
                    <a:pt x="9681" y="2155"/>
                  </a:cubicBezTo>
                  <a:lnTo>
                    <a:pt x="9681" y="1441"/>
                  </a:lnTo>
                  <a:cubicBezTo>
                    <a:pt x="9681" y="1369"/>
                    <a:pt x="9740" y="1310"/>
                    <a:pt x="9824" y="1310"/>
                  </a:cubicBezTo>
                  <a:lnTo>
                    <a:pt x="9835" y="1310"/>
                  </a:lnTo>
                  <a:cubicBezTo>
                    <a:pt x="9907" y="1310"/>
                    <a:pt x="9966" y="1369"/>
                    <a:pt x="9966" y="1441"/>
                  </a:cubicBezTo>
                  <a:lnTo>
                    <a:pt x="9966" y="2298"/>
                  </a:lnTo>
                  <a:cubicBezTo>
                    <a:pt x="9978" y="2750"/>
                    <a:pt x="9883" y="3489"/>
                    <a:pt x="9657" y="3620"/>
                  </a:cubicBezTo>
                  <a:cubicBezTo>
                    <a:pt x="9609" y="3643"/>
                    <a:pt x="9585" y="3703"/>
                    <a:pt x="9585" y="3762"/>
                  </a:cubicBezTo>
                  <a:lnTo>
                    <a:pt x="9585" y="4358"/>
                  </a:lnTo>
                  <a:lnTo>
                    <a:pt x="7990" y="4358"/>
                  </a:lnTo>
                  <a:lnTo>
                    <a:pt x="7990" y="3965"/>
                  </a:lnTo>
                  <a:cubicBezTo>
                    <a:pt x="7990" y="3905"/>
                    <a:pt x="7954" y="3858"/>
                    <a:pt x="7930" y="3822"/>
                  </a:cubicBezTo>
                  <a:cubicBezTo>
                    <a:pt x="7466" y="3465"/>
                    <a:pt x="7419" y="3274"/>
                    <a:pt x="7383" y="3036"/>
                  </a:cubicBezTo>
                  <a:cubicBezTo>
                    <a:pt x="7347" y="2858"/>
                    <a:pt x="7299" y="2655"/>
                    <a:pt x="7109" y="2369"/>
                  </a:cubicBezTo>
                  <a:cubicBezTo>
                    <a:pt x="6918" y="2096"/>
                    <a:pt x="6930" y="1941"/>
                    <a:pt x="6966" y="1893"/>
                  </a:cubicBezTo>
                  <a:cubicBezTo>
                    <a:pt x="7026" y="1845"/>
                    <a:pt x="7085" y="1845"/>
                    <a:pt x="7109" y="1845"/>
                  </a:cubicBezTo>
                  <a:cubicBezTo>
                    <a:pt x="7288" y="1893"/>
                    <a:pt x="7502" y="2179"/>
                    <a:pt x="7585" y="2357"/>
                  </a:cubicBezTo>
                  <a:cubicBezTo>
                    <a:pt x="7603" y="2418"/>
                    <a:pt x="7658" y="2460"/>
                    <a:pt x="7718" y="2460"/>
                  </a:cubicBezTo>
                  <a:cubicBezTo>
                    <a:pt x="7741" y="2460"/>
                    <a:pt x="7765" y="2454"/>
                    <a:pt x="7788" y="2441"/>
                  </a:cubicBezTo>
                  <a:cubicBezTo>
                    <a:pt x="7847" y="2417"/>
                    <a:pt x="7871" y="2357"/>
                    <a:pt x="7871" y="2286"/>
                  </a:cubicBezTo>
                  <a:lnTo>
                    <a:pt x="7871" y="2262"/>
                  </a:lnTo>
                  <a:lnTo>
                    <a:pt x="7871" y="1584"/>
                  </a:lnTo>
                  <a:lnTo>
                    <a:pt x="7871" y="750"/>
                  </a:lnTo>
                  <a:lnTo>
                    <a:pt x="7871" y="726"/>
                  </a:lnTo>
                  <a:cubicBezTo>
                    <a:pt x="7871" y="655"/>
                    <a:pt x="7930" y="595"/>
                    <a:pt x="8002" y="595"/>
                  </a:cubicBezTo>
                  <a:lnTo>
                    <a:pt x="8014" y="595"/>
                  </a:lnTo>
                  <a:cubicBezTo>
                    <a:pt x="8097" y="595"/>
                    <a:pt x="8157" y="655"/>
                    <a:pt x="8157" y="726"/>
                  </a:cubicBezTo>
                  <a:lnTo>
                    <a:pt x="8157" y="2143"/>
                  </a:lnTo>
                  <a:cubicBezTo>
                    <a:pt x="8157" y="2238"/>
                    <a:pt x="8228" y="2310"/>
                    <a:pt x="8311" y="2310"/>
                  </a:cubicBezTo>
                  <a:cubicBezTo>
                    <a:pt x="8407" y="2310"/>
                    <a:pt x="8478" y="2238"/>
                    <a:pt x="8478" y="2143"/>
                  </a:cubicBezTo>
                  <a:lnTo>
                    <a:pt x="8478" y="726"/>
                  </a:lnTo>
                  <a:lnTo>
                    <a:pt x="8478" y="452"/>
                  </a:lnTo>
                  <a:cubicBezTo>
                    <a:pt x="8478" y="369"/>
                    <a:pt x="8538" y="310"/>
                    <a:pt x="8609" y="310"/>
                  </a:cubicBezTo>
                  <a:close/>
                  <a:moveTo>
                    <a:pt x="1763" y="2941"/>
                  </a:moveTo>
                  <a:cubicBezTo>
                    <a:pt x="1668" y="3036"/>
                    <a:pt x="1561" y="3179"/>
                    <a:pt x="1537" y="3322"/>
                  </a:cubicBezTo>
                  <a:cubicBezTo>
                    <a:pt x="1501" y="3477"/>
                    <a:pt x="1537" y="3631"/>
                    <a:pt x="1656" y="3750"/>
                  </a:cubicBezTo>
                  <a:cubicBezTo>
                    <a:pt x="1668" y="3774"/>
                    <a:pt x="1763" y="3881"/>
                    <a:pt x="1989" y="3881"/>
                  </a:cubicBezTo>
                  <a:cubicBezTo>
                    <a:pt x="2144" y="3881"/>
                    <a:pt x="2335" y="3834"/>
                    <a:pt x="2573" y="3667"/>
                  </a:cubicBezTo>
                  <a:cubicBezTo>
                    <a:pt x="2632" y="3620"/>
                    <a:pt x="2692" y="3572"/>
                    <a:pt x="2751" y="3560"/>
                  </a:cubicBezTo>
                  <a:lnTo>
                    <a:pt x="2751" y="5048"/>
                  </a:lnTo>
                  <a:lnTo>
                    <a:pt x="656" y="5048"/>
                  </a:lnTo>
                  <a:lnTo>
                    <a:pt x="656" y="2941"/>
                  </a:lnTo>
                  <a:close/>
                  <a:moveTo>
                    <a:pt x="9824" y="4703"/>
                  </a:moveTo>
                  <a:lnTo>
                    <a:pt x="9824" y="5108"/>
                  </a:lnTo>
                  <a:lnTo>
                    <a:pt x="7728" y="5108"/>
                  </a:lnTo>
                  <a:lnTo>
                    <a:pt x="7728" y="4703"/>
                  </a:lnTo>
                  <a:close/>
                  <a:moveTo>
                    <a:pt x="2751" y="5370"/>
                  </a:moveTo>
                  <a:lnTo>
                    <a:pt x="2751" y="5775"/>
                  </a:lnTo>
                  <a:lnTo>
                    <a:pt x="656" y="5775"/>
                  </a:lnTo>
                  <a:lnTo>
                    <a:pt x="656" y="5370"/>
                  </a:lnTo>
                  <a:close/>
                  <a:moveTo>
                    <a:pt x="4359" y="2858"/>
                  </a:moveTo>
                  <a:lnTo>
                    <a:pt x="4359" y="2917"/>
                  </a:lnTo>
                  <a:cubicBezTo>
                    <a:pt x="4359" y="3012"/>
                    <a:pt x="4430" y="3084"/>
                    <a:pt x="4525" y="3084"/>
                  </a:cubicBezTo>
                  <a:lnTo>
                    <a:pt x="7014" y="3084"/>
                  </a:lnTo>
                  <a:lnTo>
                    <a:pt x="7014" y="3096"/>
                  </a:lnTo>
                  <a:cubicBezTo>
                    <a:pt x="7049" y="3369"/>
                    <a:pt x="7109" y="3655"/>
                    <a:pt x="7621" y="4048"/>
                  </a:cubicBezTo>
                  <a:lnTo>
                    <a:pt x="7621" y="4370"/>
                  </a:lnTo>
                  <a:lnTo>
                    <a:pt x="7561" y="4370"/>
                  </a:lnTo>
                  <a:cubicBezTo>
                    <a:pt x="7466" y="4370"/>
                    <a:pt x="7395" y="4441"/>
                    <a:pt x="7395" y="4524"/>
                  </a:cubicBezTo>
                  <a:lnTo>
                    <a:pt x="7395" y="7013"/>
                  </a:lnTo>
                  <a:lnTo>
                    <a:pt x="7383" y="7013"/>
                  </a:lnTo>
                  <a:cubicBezTo>
                    <a:pt x="7109" y="7060"/>
                    <a:pt x="6823" y="7120"/>
                    <a:pt x="6430" y="7620"/>
                  </a:cubicBezTo>
                  <a:lnTo>
                    <a:pt x="6121" y="7620"/>
                  </a:lnTo>
                  <a:lnTo>
                    <a:pt x="6121" y="7560"/>
                  </a:lnTo>
                  <a:cubicBezTo>
                    <a:pt x="6121" y="7477"/>
                    <a:pt x="6037" y="7406"/>
                    <a:pt x="5954" y="7406"/>
                  </a:cubicBezTo>
                  <a:lnTo>
                    <a:pt x="3466" y="7406"/>
                  </a:lnTo>
                  <a:lnTo>
                    <a:pt x="3466" y="7382"/>
                  </a:lnTo>
                  <a:cubicBezTo>
                    <a:pt x="3418" y="7120"/>
                    <a:pt x="3358" y="6834"/>
                    <a:pt x="2858" y="6429"/>
                  </a:cubicBezTo>
                  <a:lnTo>
                    <a:pt x="2858" y="6120"/>
                  </a:lnTo>
                  <a:lnTo>
                    <a:pt x="2918" y="6120"/>
                  </a:lnTo>
                  <a:cubicBezTo>
                    <a:pt x="3001" y="6120"/>
                    <a:pt x="3085" y="6048"/>
                    <a:pt x="3085" y="5953"/>
                  </a:cubicBezTo>
                  <a:lnTo>
                    <a:pt x="3085" y="3477"/>
                  </a:lnTo>
                  <a:lnTo>
                    <a:pt x="3097" y="3477"/>
                  </a:lnTo>
                  <a:cubicBezTo>
                    <a:pt x="3358" y="3429"/>
                    <a:pt x="3644" y="3369"/>
                    <a:pt x="4049" y="2858"/>
                  </a:cubicBezTo>
                  <a:close/>
                  <a:moveTo>
                    <a:pt x="5787" y="7727"/>
                  </a:moveTo>
                  <a:lnTo>
                    <a:pt x="5787" y="9823"/>
                  </a:lnTo>
                  <a:lnTo>
                    <a:pt x="5383" y="9823"/>
                  </a:lnTo>
                  <a:lnTo>
                    <a:pt x="5383" y="7727"/>
                  </a:lnTo>
                  <a:close/>
                  <a:moveTo>
                    <a:pt x="8490" y="6933"/>
                  </a:moveTo>
                  <a:cubicBezTo>
                    <a:pt x="8530" y="6933"/>
                    <a:pt x="8558" y="6942"/>
                    <a:pt x="8573" y="6953"/>
                  </a:cubicBezTo>
                  <a:cubicBezTo>
                    <a:pt x="8621" y="7013"/>
                    <a:pt x="8621" y="7072"/>
                    <a:pt x="8621" y="7108"/>
                  </a:cubicBezTo>
                  <a:cubicBezTo>
                    <a:pt x="8573" y="7287"/>
                    <a:pt x="8288" y="7489"/>
                    <a:pt x="8109" y="7584"/>
                  </a:cubicBezTo>
                  <a:cubicBezTo>
                    <a:pt x="8026" y="7620"/>
                    <a:pt x="7990" y="7727"/>
                    <a:pt x="8038" y="7799"/>
                  </a:cubicBezTo>
                  <a:cubicBezTo>
                    <a:pt x="8061" y="7858"/>
                    <a:pt x="8121" y="7894"/>
                    <a:pt x="8204" y="7894"/>
                  </a:cubicBezTo>
                  <a:lnTo>
                    <a:pt x="9740" y="7894"/>
                  </a:lnTo>
                  <a:cubicBezTo>
                    <a:pt x="9824" y="7894"/>
                    <a:pt x="9883" y="7953"/>
                    <a:pt x="9883" y="8025"/>
                  </a:cubicBezTo>
                  <a:lnTo>
                    <a:pt x="9883" y="8037"/>
                  </a:lnTo>
                  <a:cubicBezTo>
                    <a:pt x="9883" y="8120"/>
                    <a:pt x="9824" y="8180"/>
                    <a:pt x="9740" y="8180"/>
                  </a:cubicBezTo>
                  <a:lnTo>
                    <a:pt x="8335" y="8180"/>
                  </a:lnTo>
                  <a:cubicBezTo>
                    <a:pt x="8240" y="8180"/>
                    <a:pt x="8169" y="8251"/>
                    <a:pt x="8169" y="8334"/>
                  </a:cubicBezTo>
                  <a:cubicBezTo>
                    <a:pt x="8169" y="8430"/>
                    <a:pt x="8240" y="8501"/>
                    <a:pt x="8335" y="8501"/>
                  </a:cubicBezTo>
                  <a:lnTo>
                    <a:pt x="10026" y="8501"/>
                  </a:lnTo>
                  <a:cubicBezTo>
                    <a:pt x="10034" y="8500"/>
                    <a:pt x="10043" y="8499"/>
                    <a:pt x="10051" y="8499"/>
                  </a:cubicBezTo>
                  <a:cubicBezTo>
                    <a:pt x="10121" y="8499"/>
                    <a:pt x="10169" y="8545"/>
                    <a:pt x="10169" y="8620"/>
                  </a:cubicBezTo>
                  <a:cubicBezTo>
                    <a:pt x="10169" y="8692"/>
                    <a:pt x="10097" y="8751"/>
                    <a:pt x="10026" y="8751"/>
                  </a:cubicBezTo>
                  <a:lnTo>
                    <a:pt x="8311" y="8751"/>
                  </a:lnTo>
                  <a:cubicBezTo>
                    <a:pt x="8228" y="8751"/>
                    <a:pt x="8157" y="8834"/>
                    <a:pt x="8157" y="8918"/>
                  </a:cubicBezTo>
                  <a:cubicBezTo>
                    <a:pt x="8157" y="9013"/>
                    <a:pt x="8228" y="9084"/>
                    <a:pt x="8311" y="9084"/>
                  </a:cubicBezTo>
                  <a:lnTo>
                    <a:pt x="9776" y="9084"/>
                  </a:lnTo>
                  <a:cubicBezTo>
                    <a:pt x="9835" y="9096"/>
                    <a:pt x="9883" y="9144"/>
                    <a:pt x="9883" y="9204"/>
                  </a:cubicBezTo>
                  <a:lnTo>
                    <a:pt x="9883" y="9215"/>
                  </a:lnTo>
                  <a:cubicBezTo>
                    <a:pt x="9883" y="9287"/>
                    <a:pt x="9824" y="9346"/>
                    <a:pt x="9752" y="9346"/>
                  </a:cubicBezTo>
                  <a:lnTo>
                    <a:pt x="8323" y="9346"/>
                  </a:lnTo>
                  <a:cubicBezTo>
                    <a:pt x="8228" y="9346"/>
                    <a:pt x="8157" y="9430"/>
                    <a:pt x="8157" y="9513"/>
                  </a:cubicBezTo>
                  <a:cubicBezTo>
                    <a:pt x="8157" y="9608"/>
                    <a:pt x="8228" y="9680"/>
                    <a:pt x="8323" y="9680"/>
                  </a:cubicBezTo>
                  <a:lnTo>
                    <a:pt x="9038" y="9680"/>
                  </a:lnTo>
                  <a:cubicBezTo>
                    <a:pt x="9109" y="9680"/>
                    <a:pt x="9169" y="9739"/>
                    <a:pt x="9169" y="9811"/>
                  </a:cubicBezTo>
                  <a:lnTo>
                    <a:pt x="9169" y="9823"/>
                  </a:lnTo>
                  <a:cubicBezTo>
                    <a:pt x="9169" y="9906"/>
                    <a:pt x="9109" y="9966"/>
                    <a:pt x="9038" y="9966"/>
                  </a:cubicBezTo>
                  <a:lnTo>
                    <a:pt x="8181" y="9966"/>
                  </a:lnTo>
                  <a:cubicBezTo>
                    <a:pt x="8151" y="9967"/>
                    <a:pt x="8120" y="9967"/>
                    <a:pt x="8088" y="9967"/>
                  </a:cubicBezTo>
                  <a:cubicBezTo>
                    <a:pt x="7740" y="9967"/>
                    <a:pt x="7288" y="9907"/>
                    <a:pt x="7026" y="9787"/>
                  </a:cubicBezTo>
                  <a:lnTo>
                    <a:pt x="7014" y="9763"/>
                  </a:lnTo>
                  <a:cubicBezTo>
                    <a:pt x="6978" y="9727"/>
                    <a:pt x="6930" y="9704"/>
                    <a:pt x="6895" y="9704"/>
                  </a:cubicBezTo>
                  <a:cubicBezTo>
                    <a:pt x="6871" y="9692"/>
                    <a:pt x="6859" y="9680"/>
                    <a:pt x="6847" y="9644"/>
                  </a:cubicBezTo>
                  <a:cubicBezTo>
                    <a:pt x="6811" y="9608"/>
                    <a:pt x="6752" y="9573"/>
                    <a:pt x="6692" y="9573"/>
                  </a:cubicBezTo>
                  <a:lnTo>
                    <a:pt x="6097" y="9573"/>
                  </a:lnTo>
                  <a:lnTo>
                    <a:pt x="6097" y="7977"/>
                  </a:lnTo>
                  <a:lnTo>
                    <a:pt x="6502" y="7977"/>
                  </a:lnTo>
                  <a:cubicBezTo>
                    <a:pt x="6561" y="7977"/>
                    <a:pt x="6609" y="7953"/>
                    <a:pt x="6633" y="7918"/>
                  </a:cubicBezTo>
                  <a:cubicBezTo>
                    <a:pt x="6990" y="7453"/>
                    <a:pt x="7192" y="7418"/>
                    <a:pt x="7430" y="7370"/>
                  </a:cubicBezTo>
                  <a:cubicBezTo>
                    <a:pt x="7609" y="7334"/>
                    <a:pt x="7811" y="7299"/>
                    <a:pt x="8097" y="7108"/>
                  </a:cubicBezTo>
                  <a:cubicBezTo>
                    <a:pt x="8274" y="6972"/>
                    <a:pt x="8407" y="6933"/>
                    <a:pt x="8490" y="6933"/>
                  </a:cubicBezTo>
                  <a:close/>
                  <a:moveTo>
                    <a:pt x="2501" y="6132"/>
                  </a:moveTo>
                  <a:lnTo>
                    <a:pt x="2501" y="6537"/>
                  </a:lnTo>
                  <a:cubicBezTo>
                    <a:pt x="2501" y="6596"/>
                    <a:pt x="2525" y="6644"/>
                    <a:pt x="2561" y="6668"/>
                  </a:cubicBezTo>
                  <a:cubicBezTo>
                    <a:pt x="3025" y="7025"/>
                    <a:pt x="3061" y="7227"/>
                    <a:pt x="3108" y="7465"/>
                  </a:cubicBezTo>
                  <a:cubicBezTo>
                    <a:pt x="3120" y="7501"/>
                    <a:pt x="3120" y="7560"/>
                    <a:pt x="3144" y="7608"/>
                  </a:cubicBezTo>
                  <a:cubicBezTo>
                    <a:pt x="3168" y="7763"/>
                    <a:pt x="3228" y="7918"/>
                    <a:pt x="3382" y="8120"/>
                  </a:cubicBezTo>
                  <a:cubicBezTo>
                    <a:pt x="3597" y="8382"/>
                    <a:pt x="3585" y="8537"/>
                    <a:pt x="3561" y="8596"/>
                  </a:cubicBezTo>
                  <a:cubicBezTo>
                    <a:pt x="3501" y="8632"/>
                    <a:pt x="3442" y="8632"/>
                    <a:pt x="3406" y="8632"/>
                  </a:cubicBezTo>
                  <a:cubicBezTo>
                    <a:pt x="3228" y="8596"/>
                    <a:pt x="3025" y="8311"/>
                    <a:pt x="2930" y="8132"/>
                  </a:cubicBezTo>
                  <a:cubicBezTo>
                    <a:pt x="2896" y="8064"/>
                    <a:pt x="2838" y="8033"/>
                    <a:pt x="2778" y="8033"/>
                  </a:cubicBezTo>
                  <a:cubicBezTo>
                    <a:pt x="2753" y="8033"/>
                    <a:pt x="2728" y="8038"/>
                    <a:pt x="2704" y="8049"/>
                  </a:cubicBezTo>
                  <a:cubicBezTo>
                    <a:pt x="2644" y="8084"/>
                    <a:pt x="2620" y="8144"/>
                    <a:pt x="2620" y="8215"/>
                  </a:cubicBezTo>
                  <a:lnTo>
                    <a:pt x="2620" y="8239"/>
                  </a:lnTo>
                  <a:lnTo>
                    <a:pt x="2620" y="8918"/>
                  </a:lnTo>
                  <a:lnTo>
                    <a:pt x="2620" y="9751"/>
                  </a:lnTo>
                  <a:lnTo>
                    <a:pt x="2620" y="9763"/>
                  </a:lnTo>
                  <a:cubicBezTo>
                    <a:pt x="2620" y="9846"/>
                    <a:pt x="2561" y="9906"/>
                    <a:pt x="2489" y="9906"/>
                  </a:cubicBezTo>
                  <a:lnTo>
                    <a:pt x="2466" y="9906"/>
                  </a:lnTo>
                  <a:cubicBezTo>
                    <a:pt x="2394" y="9906"/>
                    <a:pt x="2335" y="9846"/>
                    <a:pt x="2335" y="9763"/>
                  </a:cubicBezTo>
                  <a:lnTo>
                    <a:pt x="2335" y="8358"/>
                  </a:lnTo>
                  <a:cubicBezTo>
                    <a:pt x="2335" y="8263"/>
                    <a:pt x="2263" y="8191"/>
                    <a:pt x="2168" y="8191"/>
                  </a:cubicBezTo>
                  <a:cubicBezTo>
                    <a:pt x="2085" y="8191"/>
                    <a:pt x="2013" y="8263"/>
                    <a:pt x="2013" y="8358"/>
                  </a:cubicBezTo>
                  <a:lnTo>
                    <a:pt x="2013" y="9763"/>
                  </a:lnTo>
                  <a:lnTo>
                    <a:pt x="2013" y="10049"/>
                  </a:lnTo>
                  <a:cubicBezTo>
                    <a:pt x="2013" y="10120"/>
                    <a:pt x="1954" y="10180"/>
                    <a:pt x="1870" y="10180"/>
                  </a:cubicBezTo>
                  <a:lnTo>
                    <a:pt x="1858" y="10180"/>
                  </a:lnTo>
                  <a:cubicBezTo>
                    <a:pt x="1787" y="10180"/>
                    <a:pt x="1727" y="10120"/>
                    <a:pt x="1727" y="10049"/>
                  </a:cubicBezTo>
                  <a:lnTo>
                    <a:pt x="1727" y="9811"/>
                  </a:lnTo>
                  <a:lnTo>
                    <a:pt x="1727" y="9763"/>
                  </a:lnTo>
                  <a:lnTo>
                    <a:pt x="1727" y="9394"/>
                  </a:lnTo>
                  <a:lnTo>
                    <a:pt x="1727" y="9370"/>
                  </a:lnTo>
                  <a:lnTo>
                    <a:pt x="1727" y="8334"/>
                  </a:lnTo>
                  <a:cubicBezTo>
                    <a:pt x="1727" y="8251"/>
                    <a:pt x="1656" y="8180"/>
                    <a:pt x="1561" y="8180"/>
                  </a:cubicBezTo>
                  <a:cubicBezTo>
                    <a:pt x="1477" y="8180"/>
                    <a:pt x="1394" y="8251"/>
                    <a:pt x="1394" y="8334"/>
                  </a:cubicBezTo>
                  <a:lnTo>
                    <a:pt x="1394" y="9489"/>
                  </a:lnTo>
                  <a:lnTo>
                    <a:pt x="1394" y="9513"/>
                  </a:lnTo>
                  <a:lnTo>
                    <a:pt x="1394" y="9549"/>
                  </a:lnTo>
                  <a:lnTo>
                    <a:pt x="1394" y="9799"/>
                  </a:lnTo>
                  <a:cubicBezTo>
                    <a:pt x="1382" y="9858"/>
                    <a:pt x="1334" y="9906"/>
                    <a:pt x="1275" y="9906"/>
                  </a:cubicBezTo>
                  <a:lnTo>
                    <a:pt x="1263" y="9906"/>
                  </a:lnTo>
                  <a:cubicBezTo>
                    <a:pt x="1192" y="9906"/>
                    <a:pt x="1132" y="9846"/>
                    <a:pt x="1132" y="9763"/>
                  </a:cubicBezTo>
                  <a:lnTo>
                    <a:pt x="1132" y="9168"/>
                  </a:lnTo>
                  <a:lnTo>
                    <a:pt x="1132" y="9049"/>
                  </a:lnTo>
                  <a:lnTo>
                    <a:pt x="1132" y="8334"/>
                  </a:lnTo>
                  <a:cubicBezTo>
                    <a:pt x="1132" y="8251"/>
                    <a:pt x="1061" y="8180"/>
                    <a:pt x="965" y="8180"/>
                  </a:cubicBezTo>
                  <a:cubicBezTo>
                    <a:pt x="882" y="8180"/>
                    <a:pt x="799" y="8251"/>
                    <a:pt x="799" y="8334"/>
                  </a:cubicBezTo>
                  <a:lnTo>
                    <a:pt x="799" y="9049"/>
                  </a:lnTo>
                  <a:cubicBezTo>
                    <a:pt x="799" y="9132"/>
                    <a:pt x="739" y="9192"/>
                    <a:pt x="668" y="9192"/>
                  </a:cubicBezTo>
                  <a:lnTo>
                    <a:pt x="656" y="9192"/>
                  </a:lnTo>
                  <a:cubicBezTo>
                    <a:pt x="584" y="9192"/>
                    <a:pt x="525" y="9132"/>
                    <a:pt x="525" y="9049"/>
                  </a:cubicBezTo>
                  <a:lnTo>
                    <a:pt x="525" y="8203"/>
                  </a:lnTo>
                  <a:cubicBezTo>
                    <a:pt x="501" y="7739"/>
                    <a:pt x="608" y="7013"/>
                    <a:pt x="834" y="6882"/>
                  </a:cubicBezTo>
                  <a:cubicBezTo>
                    <a:pt x="882" y="6846"/>
                    <a:pt x="906" y="6787"/>
                    <a:pt x="906" y="6727"/>
                  </a:cubicBezTo>
                  <a:lnTo>
                    <a:pt x="906" y="6132"/>
                  </a:lnTo>
                  <a:close/>
                  <a:moveTo>
                    <a:pt x="8621" y="0"/>
                  </a:moveTo>
                  <a:cubicBezTo>
                    <a:pt x="8407" y="0"/>
                    <a:pt x="8240" y="143"/>
                    <a:pt x="8181" y="321"/>
                  </a:cubicBezTo>
                  <a:cubicBezTo>
                    <a:pt x="8145" y="298"/>
                    <a:pt x="8085" y="286"/>
                    <a:pt x="8038" y="286"/>
                  </a:cubicBezTo>
                  <a:lnTo>
                    <a:pt x="8026" y="286"/>
                  </a:lnTo>
                  <a:cubicBezTo>
                    <a:pt x="7942" y="286"/>
                    <a:pt x="7859" y="298"/>
                    <a:pt x="7800" y="345"/>
                  </a:cubicBezTo>
                  <a:lnTo>
                    <a:pt x="4549" y="345"/>
                  </a:lnTo>
                  <a:cubicBezTo>
                    <a:pt x="4466" y="345"/>
                    <a:pt x="4394" y="417"/>
                    <a:pt x="4394" y="512"/>
                  </a:cubicBezTo>
                  <a:lnTo>
                    <a:pt x="4394" y="619"/>
                  </a:lnTo>
                  <a:lnTo>
                    <a:pt x="3870" y="619"/>
                  </a:lnTo>
                  <a:cubicBezTo>
                    <a:pt x="3704" y="441"/>
                    <a:pt x="3418" y="321"/>
                    <a:pt x="2977" y="262"/>
                  </a:cubicBezTo>
                  <a:cubicBezTo>
                    <a:pt x="2632" y="214"/>
                    <a:pt x="2335" y="214"/>
                    <a:pt x="2311" y="214"/>
                  </a:cubicBezTo>
                  <a:lnTo>
                    <a:pt x="1453" y="214"/>
                  </a:lnTo>
                  <a:cubicBezTo>
                    <a:pt x="1203" y="214"/>
                    <a:pt x="1001" y="417"/>
                    <a:pt x="1001" y="679"/>
                  </a:cubicBezTo>
                  <a:lnTo>
                    <a:pt x="1001" y="691"/>
                  </a:lnTo>
                  <a:cubicBezTo>
                    <a:pt x="1001" y="738"/>
                    <a:pt x="1001" y="774"/>
                    <a:pt x="1013" y="822"/>
                  </a:cubicBezTo>
                  <a:lnTo>
                    <a:pt x="739" y="822"/>
                  </a:lnTo>
                  <a:cubicBezTo>
                    <a:pt x="489" y="822"/>
                    <a:pt x="287" y="1036"/>
                    <a:pt x="287" y="1286"/>
                  </a:cubicBezTo>
                  <a:lnTo>
                    <a:pt x="287" y="1298"/>
                  </a:lnTo>
                  <a:cubicBezTo>
                    <a:pt x="287" y="1357"/>
                    <a:pt x="299" y="1405"/>
                    <a:pt x="310" y="1453"/>
                  </a:cubicBezTo>
                  <a:cubicBezTo>
                    <a:pt x="132" y="1512"/>
                    <a:pt x="1" y="1691"/>
                    <a:pt x="1" y="1881"/>
                  </a:cubicBezTo>
                  <a:lnTo>
                    <a:pt x="1" y="1893"/>
                  </a:lnTo>
                  <a:cubicBezTo>
                    <a:pt x="1" y="2107"/>
                    <a:pt x="132" y="2262"/>
                    <a:pt x="310" y="2322"/>
                  </a:cubicBezTo>
                  <a:cubicBezTo>
                    <a:pt x="299" y="2369"/>
                    <a:pt x="287" y="2429"/>
                    <a:pt x="287" y="2477"/>
                  </a:cubicBezTo>
                  <a:lnTo>
                    <a:pt x="287" y="2488"/>
                  </a:lnTo>
                  <a:cubicBezTo>
                    <a:pt x="287" y="2560"/>
                    <a:pt x="299" y="2655"/>
                    <a:pt x="346" y="2715"/>
                  </a:cubicBezTo>
                  <a:lnTo>
                    <a:pt x="346" y="5953"/>
                  </a:lnTo>
                  <a:cubicBezTo>
                    <a:pt x="346" y="6048"/>
                    <a:pt x="418" y="6120"/>
                    <a:pt x="501" y="6120"/>
                  </a:cubicBezTo>
                  <a:lnTo>
                    <a:pt x="608" y="6120"/>
                  </a:lnTo>
                  <a:lnTo>
                    <a:pt x="608" y="6644"/>
                  </a:lnTo>
                  <a:cubicBezTo>
                    <a:pt x="430" y="6810"/>
                    <a:pt x="310" y="7084"/>
                    <a:pt x="251" y="7537"/>
                  </a:cubicBezTo>
                  <a:cubicBezTo>
                    <a:pt x="203" y="7882"/>
                    <a:pt x="203" y="8180"/>
                    <a:pt x="203" y="8203"/>
                  </a:cubicBezTo>
                  <a:lnTo>
                    <a:pt x="203" y="9049"/>
                  </a:lnTo>
                  <a:cubicBezTo>
                    <a:pt x="203" y="9311"/>
                    <a:pt x="418" y="9513"/>
                    <a:pt x="668" y="9513"/>
                  </a:cubicBezTo>
                  <a:lnTo>
                    <a:pt x="680" y="9513"/>
                  </a:lnTo>
                  <a:cubicBezTo>
                    <a:pt x="727" y="9513"/>
                    <a:pt x="775" y="9513"/>
                    <a:pt x="822" y="9501"/>
                  </a:cubicBezTo>
                  <a:lnTo>
                    <a:pt x="822" y="9763"/>
                  </a:lnTo>
                  <a:cubicBezTo>
                    <a:pt x="822" y="10025"/>
                    <a:pt x="1025" y="10227"/>
                    <a:pt x="1275" y="10227"/>
                  </a:cubicBezTo>
                  <a:lnTo>
                    <a:pt x="1299" y="10227"/>
                  </a:lnTo>
                  <a:cubicBezTo>
                    <a:pt x="1358" y="10227"/>
                    <a:pt x="1394" y="10216"/>
                    <a:pt x="1442" y="10204"/>
                  </a:cubicBezTo>
                  <a:cubicBezTo>
                    <a:pt x="1501" y="10382"/>
                    <a:pt x="1680" y="10513"/>
                    <a:pt x="1870" y="10513"/>
                  </a:cubicBezTo>
                  <a:lnTo>
                    <a:pt x="1894" y="10513"/>
                  </a:lnTo>
                  <a:cubicBezTo>
                    <a:pt x="2096" y="10513"/>
                    <a:pt x="2263" y="10382"/>
                    <a:pt x="2323" y="10204"/>
                  </a:cubicBezTo>
                  <a:cubicBezTo>
                    <a:pt x="2370" y="10216"/>
                    <a:pt x="2430" y="10227"/>
                    <a:pt x="2466" y="10227"/>
                  </a:cubicBezTo>
                  <a:lnTo>
                    <a:pt x="2489" y="10227"/>
                  </a:lnTo>
                  <a:cubicBezTo>
                    <a:pt x="2561" y="10227"/>
                    <a:pt x="2644" y="10216"/>
                    <a:pt x="2704" y="10168"/>
                  </a:cubicBezTo>
                  <a:lnTo>
                    <a:pt x="3323" y="10168"/>
                  </a:lnTo>
                  <a:cubicBezTo>
                    <a:pt x="3406" y="10168"/>
                    <a:pt x="3478" y="10096"/>
                    <a:pt x="3478" y="10001"/>
                  </a:cubicBezTo>
                  <a:cubicBezTo>
                    <a:pt x="3478" y="9918"/>
                    <a:pt x="3406" y="9846"/>
                    <a:pt x="3323" y="9846"/>
                  </a:cubicBezTo>
                  <a:lnTo>
                    <a:pt x="2942" y="9846"/>
                  </a:lnTo>
                  <a:lnTo>
                    <a:pt x="2942" y="9763"/>
                  </a:lnTo>
                  <a:lnTo>
                    <a:pt x="2942" y="9751"/>
                  </a:lnTo>
                  <a:lnTo>
                    <a:pt x="2942" y="8918"/>
                  </a:lnTo>
                  <a:lnTo>
                    <a:pt x="2942" y="8727"/>
                  </a:lnTo>
                  <a:cubicBezTo>
                    <a:pt x="3049" y="8834"/>
                    <a:pt x="3180" y="8930"/>
                    <a:pt x="3335" y="8965"/>
                  </a:cubicBezTo>
                  <a:cubicBezTo>
                    <a:pt x="3358" y="8977"/>
                    <a:pt x="3406" y="8977"/>
                    <a:pt x="3442" y="8977"/>
                  </a:cubicBezTo>
                  <a:cubicBezTo>
                    <a:pt x="3561" y="8977"/>
                    <a:pt x="3656" y="8930"/>
                    <a:pt x="3763" y="8858"/>
                  </a:cubicBezTo>
                  <a:cubicBezTo>
                    <a:pt x="3775" y="8846"/>
                    <a:pt x="4120" y="8549"/>
                    <a:pt x="3680" y="7941"/>
                  </a:cubicBezTo>
                  <a:cubicBezTo>
                    <a:pt x="3632" y="7882"/>
                    <a:pt x="3585" y="7822"/>
                    <a:pt x="3573" y="7763"/>
                  </a:cubicBezTo>
                  <a:lnTo>
                    <a:pt x="5061" y="7763"/>
                  </a:lnTo>
                  <a:lnTo>
                    <a:pt x="5061" y="9858"/>
                  </a:lnTo>
                  <a:lnTo>
                    <a:pt x="3835" y="9858"/>
                  </a:lnTo>
                  <a:cubicBezTo>
                    <a:pt x="3751" y="9858"/>
                    <a:pt x="3680" y="9930"/>
                    <a:pt x="3680" y="10025"/>
                  </a:cubicBezTo>
                  <a:cubicBezTo>
                    <a:pt x="3680" y="10108"/>
                    <a:pt x="3751" y="10180"/>
                    <a:pt x="3835" y="10180"/>
                  </a:cubicBezTo>
                  <a:lnTo>
                    <a:pt x="5966" y="10180"/>
                  </a:lnTo>
                  <a:cubicBezTo>
                    <a:pt x="6061" y="10180"/>
                    <a:pt x="6133" y="10108"/>
                    <a:pt x="6133" y="10025"/>
                  </a:cubicBezTo>
                  <a:lnTo>
                    <a:pt x="6133" y="9918"/>
                  </a:lnTo>
                  <a:lnTo>
                    <a:pt x="6657" y="9918"/>
                  </a:lnTo>
                  <a:cubicBezTo>
                    <a:pt x="6811" y="10096"/>
                    <a:pt x="7097" y="10216"/>
                    <a:pt x="7549" y="10275"/>
                  </a:cubicBezTo>
                  <a:cubicBezTo>
                    <a:pt x="7811" y="10323"/>
                    <a:pt x="8061" y="10323"/>
                    <a:pt x="8169" y="10323"/>
                  </a:cubicBezTo>
                  <a:lnTo>
                    <a:pt x="9062" y="10323"/>
                  </a:lnTo>
                  <a:cubicBezTo>
                    <a:pt x="9312" y="10323"/>
                    <a:pt x="9526" y="10108"/>
                    <a:pt x="9526" y="9858"/>
                  </a:cubicBezTo>
                  <a:lnTo>
                    <a:pt x="9526" y="9846"/>
                  </a:lnTo>
                  <a:cubicBezTo>
                    <a:pt x="9526" y="9799"/>
                    <a:pt x="9526" y="9751"/>
                    <a:pt x="9514" y="9704"/>
                  </a:cubicBezTo>
                  <a:lnTo>
                    <a:pt x="9776" y="9704"/>
                  </a:lnTo>
                  <a:cubicBezTo>
                    <a:pt x="10026" y="9704"/>
                    <a:pt x="10240" y="9501"/>
                    <a:pt x="10240" y="9251"/>
                  </a:cubicBezTo>
                  <a:lnTo>
                    <a:pt x="10240" y="9227"/>
                  </a:lnTo>
                  <a:cubicBezTo>
                    <a:pt x="10240" y="9168"/>
                    <a:pt x="10228" y="9132"/>
                    <a:pt x="10205" y="9084"/>
                  </a:cubicBezTo>
                  <a:cubicBezTo>
                    <a:pt x="10383" y="9025"/>
                    <a:pt x="10514" y="8846"/>
                    <a:pt x="10514" y="8656"/>
                  </a:cubicBezTo>
                  <a:lnTo>
                    <a:pt x="10514" y="8632"/>
                  </a:lnTo>
                  <a:cubicBezTo>
                    <a:pt x="10502" y="8418"/>
                    <a:pt x="10371" y="8239"/>
                    <a:pt x="10193" y="8180"/>
                  </a:cubicBezTo>
                  <a:cubicBezTo>
                    <a:pt x="10205" y="8132"/>
                    <a:pt x="10228" y="8072"/>
                    <a:pt x="10228" y="8025"/>
                  </a:cubicBezTo>
                  <a:lnTo>
                    <a:pt x="10228" y="8013"/>
                  </a:lnTo>
                  <a:cubicBezTo>
                    <a:pt x="10228" y="7941"/>
                    <a:pt x="10205" y="7846"/>
                    <a:pt x="10169" y="7787"/>
                  </a:cubicBezTo>
                  <a:lnTo>
                    <a:pt x="10169" y="6263"/>
                  </a:lnTo>
                  <a:cubicBezTo>
                    <a:pt x="10169" y="6179"/>
                    <a:pt x="10086" y="6108"/>
                    <a:pt x="10002" y="6108"/>
                  </a:cubicBezTo>
                  <a:cubicBezTo>
                    <a:pt x="9907" y="6108"/>
                    <a:pt x="9835" y="6179"/>
                    <a:pt x="9835" y="6263"/>
                  </a:cubicBezTo>
                  <a:lnTo>
                    <a:pt x="9835" y="7560"/>
                  </a:lnTo>
                  <a:lnTo>
                    <a:pt x="8716" y="7560"/>
                  </a:lnTo>
                  <a:cubicBezTo>
                    <a:pt x="8823" y="7453"/>
                    <a:pt x="8931" y="7322"/>
                    <a:pt x="8954" y="7179"/>
                  </a:cubicBezTo>
                  <a:cubicBezTo>
                    <a:pt x="8990" y="7025"/>
                    <a:pt x="8954" y="6858"/>
                    <a:pt x="8835" y="6751"/>
                  </a:cubicBezTo>
                  <a:cubicBezTo>
                    <a:pt x="8828" y="6736"/>
                    <a:pt x="8715" y="6608"/>
                    <a:pt x="8492" y="6608"/>
                  </a:cubicBezTo>
                  <a:cubicBezTo>
                    <a:pt x="8347" y="6608"/>
                    <a:pt x="8157" y="6661"/>
                    <a:pt x="7919" y="6834"/>
                  </a:cubicBezTo>
                  <a:cubicBezTo>
                    <a:pt x="7859" y="6882"/>
                    <a:pt x="7800" y="6929"/>
                    <a:pt x="7740" y="6941"/>
                  </a:cubicBezTo>
                  <a:lnTo>
                    <a:pt x="7740" y="5453"/>
                  </a:lnTo>
                  <a:lnTo>
                    <a:pt x="9835" y="5453"/>
                  </a:lnTo>
                  <a:lnTo>
                    <a:pt x="9835" y="5703"/>
                  </a:lnTo>
                  <a:cubicBezTo>
                    <a:pt x="9835" y="5798"/>
                    <a:pt x="9907" y="5870"/>
                    <a:pt x="10002" y="5870"/>
                  </a:cubicBezTo>
                  <a:cubicBezTo>
                    <a:pt x="10086" y="5870"/>
                    <a:pt x="10169" y="5798"/>
                    <a:pt x="10169" y="5703"/>
                  </a:cubicBezTo>
                  <a:lnTo>
                    <a:pt x="10169" y="4560"/>
                  </a:lnTo>
                  <a:cubicBezTo>
                    <a:pt x="10169" y="4465"/>
                    <a:pt x="10086" y="4393"/>
                    <a:pt x="10002" y="4393"/>
                  </a:cubicBezTo>
                  <a:lnTo>
                    <a:pt x="9895" y="4393"/>
                  </a:lnTo>
                  <a:lnTo>
                    <a:pt x="9895" y="3870"/>
                  </a:lnTo>
                  <a:cubicBezTo>
                    <a:pt x="10074" y="3715"/>
                    <a:pt x="10193" y="3429"/>
                    <a:pt x="10252" y="2977"/>
                  </a:cubicBezTo>
                  <a:cubicBezTo>
                    <a:pt x="10300" y="2643"/>
                    <a:pt x="10300" y="2346"/>
                    <a:pt x="10300" y="2310"/>
                  </a:cubicBezTo>
                  <a:lnTo>
                    <a:pt x="10300" y="1464"/>
                  </a:lnTo>
                  <a:cubicBezTo>
                    <a:pt x="10300" y="1203"/>
                    <a:pt x="10086" y="1000"/>
                    <a:pt x="9835" y="1000"/>
                  </a:cubicBezTo>
                  <a:lnTo>
                    <a:pt x="9824" y="1000"/>
                  </a:lnTo>
                  <a:cubicBezTo>
                    <a:pt x="9776" y="1000"/>
                    <a:pt x="9728" y="1000"/>
                    <a:pt x="9693" y="1012"/>
                  </a:cubicBezTo>
                  <a:lnTo>
                    <a:pt x="9693" y="750"/>
                  </a:lnTo>
                  <a:cubicBezTo>
                    <a:pt x="9693" y="500"/>
                    <a:pt x="9478" y="286"/>
                    <a:pt x="9228" y="286"/>
                  </a:cubicBezTo>
                  <a:lnTo>
                    <a:pt x="9216" y="286"/>
                  </a:lnTo>
                  <a:cubicBezTo>
                    <a:pt x="9157" y="286"/>
                    <a:pt x="9109" y="298"/>
                    <a:pt x="9062" y="321"/>
                  </a:cubicBezTo>
                  <a:cubicBezTo>
                    <a:pt x="9002" y="143"/>
                    <a:pt x="8823" y="0"/>
                    <a:pt x="86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0" name="Google Shape;11100;p60"/>
            <p:cNvSpPr/>
            <p:nvPr/>
          </p:nvSpPr>
          <p:spPr>
            <a:xfrm>
              <a:off x="8116024" y="3221804"/>
              <a:ext cx="14036" cy="10280"/>
            </a:xfrm>
            <a:custGeom>
              <a:avLst/>
              <a:gdLst/>
              <a:ahLst/>
              <a:cxnLst/>
              <a:rect l="l" t="t" r="r" b="b"/>
              <a:pathLst>
                <a:path w="441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274" y="322"/>
                  </a:lnTo>
                  <a:cubicBezTo>
                    <a:pt x="369" y="322"/>
                    <a:pt x="441" y="251"/>
                    <a:pt x="441" y="167"/>
                  </a:cubicBezTo>
                  <a:cubicBezTo>
                    <a:pt x="441" y="72"/>
                    <a:pt x="369" y="1"/>
                    <a:pt x="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1" name="Google Shape;11101;p60"/>
            <p:cNvSpPr/>
            <p:nvPr/>
          </p:nvSpPr>
          <p:spPr>
            <a:xfrm>
              <a:off x="8097818" y="3221804"/>
              <a:ext cx="14068" cy="10280"/>
            </a:xfrm>
            <a:custGeom>
              <a:avLst/>
              <a:gdLst/>
              <a:ahLst/>
              <a:cxnLst/>
              <a:rect l="l" t="t" r="r" b="b"/>
              <a:pathLst>
                <a:path w="442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87" y="322"/>
                  </a:lnTo>
                  <a:cubicBezTo>
                    <a:pt x="370" y="322"/>
                    <a:pt x="441" y="251"/>
                    <a:pt x="441" y="167"/>
                  </a:cubicBezTo>
                  <a:cubicBezTo>
                    <a:pt x="441" y="72"/>
                    <a:pt x="370" y="1"/>
                    <a:pt x="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2" name="Google Shape;11102;p60"/>
            <p:cNvSpPr/>
            <p:nvPr/>
          </p:nvSpPr>
          <p:spPr>
            <a:xfrm>
              <a:off x="8156190" y="2951621"/>
              <a:ext cx="14036" cy="10630"/>
            </a:xfrm>
            <a:custGeom>
              <a:avLst/>
              <a:gdLst/>
              <a:ahLst/>
              <a:cxnLst/>
              <a:rect l="l" t="t" r="r" b="b"/>
              <a:pathLst>
                <a:path w="441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86" y="334"/>
                  </a:lnTo>
                  <a:cubicBezTo>
                    <a:pt x="369" y="334"/>
                    <a:pt x="441" y="262"/>
                    <a:pt x="441" y="167"/>
                  </a:cubicBezTo>
                  <a:cubicBezTo>
                    <a:pt x="441" y="72"/>
                    <a:pt x="369" y="0"/>
                    <a:pt x="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3" name="Google Shape;11103;p60"/>
            <p:cNvSpPr/>
            <p:nvPr/>
          </p:nvSpPr>
          <p:spPr>
            <a:xfrm>
              <a:off x="8173982" y="2952385"/>
              <a:ext cx="14450" cy="10248"/>
            </a:xfrm>
            <a:custGeom>
              <a:avLst/>
              <a:gdLst/>
              <a:ahLst/>
              <a:cxnLst/>
              <a:rect l="l" t="t" r="r" b="b"/>
              <a:pathLst>
                <a:path w="4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287" y="322"/>
                  </a:lnTo>
                  <a:cubicBezTo>
                    <a:pt x="382" y="322"/>
                    <a:pt x="453" y="250"/>
                    <a:pt x="453" y="155"/>
                  </a:cubicBezTo>
                  <a:cubicBezTo>
                    <a:pt x="453" y="72"/>
                    <a:pt x="382" y="0"/>
                    <a:pt x="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04" name="Google Shape;11104;p60"/>
          <p:cNvGrpSpPr/>
          <p:nvPr/>
        </p:nvGrpSpPr>
        <p:grpSpPr>
          <a:xfrm>
            <a:off x="3091957" y="3374131"/>
            <a:ext cx="354717" cy="332757"/>
            <a:chOff x="3091957" y="3374131"/>
            <a:chExt cx="354717" cy="332757"/>
          </a:xfrm>
        </p:grpSpPr>
        <p:sp>
          <p:nvSpPr>
            <p:cNvPr id="11105" name="Google Shape;11105;p60"/>
            <p:cNvSpPr/>
            <p:nvPr/>
          </p:nvSpPr>
          <p:spPr>
            <a:xfrm>
              <a:off x="3091957" y="3374131"/>
              <a:ext cx="354717" cy="332757"/>
            </a:xfrm>
            <a:custGeom>
              <a:avLst/>
              <a:gdLst/>
              <a:ahLst/>
              <a:cxnLst/>
              <a:rect l="l" t="t" r="r" b="b"/>
              <a:pathLst>
                <a:path w="11145" h="10455" extrusionOk="0">
                  <a:moveTo>
                    <a:pt x="5882" y="358"/>
                  </a:moveTo>
                  <a:cubicBezTo>
                    <a:pt x="6251" y="358"/>
                    <a:pt x="6549" y="656"/>
                    <a:pt x="6549" y="1037"/>
                  </a:cubicBezTo>
                  <a:lnTo>
                    <a:pt x="6549" y="1430"/>
                  </a:lnTo>
                  <a:cubicBezTo>
                    <a:pt x="6549" y="1751"/>
                    <a:pt x="6799" y="2001"/>
                    <a:pt x="7108" y="2001"/>
                  </a:cubicBezTo>
                  <a:lnTo>
                    <a:pt x="7275" y="2001"/>
                  </a:lnTo>
                  <a:cubicBezTo>
                    <a:pt x="7394" y="2001"/>
                    <a:pt x="7489" y="2084"/>
                    <a:pt x="7489" y="2204"/>
                  </a:cubicBezTo>
                  <a:lnTo>
                    <a:pt x="7489" y="3311"/>
                  </a:lnTo>
                  <a:cubicBezTo>
                    <a:pt x="7489" y="3430"/>
                    <a:pt x="7394" y="3513"/>
                    <a:pt x="7275" y="3513"/>
                  </a:cubicBezTo>
                  <a:lnTo>
                    <a:pt x="3846" y="3513"/>
                  </a:lnTo>
                  <a:cubicBezTo>
                    <a:pt x="3727" y="3513"/>
                    <a:pt x="3632" y="3430"/>
                    <a:pt x="3632" y="3311"/>
                  </a:cubicBezTo>
                  <a:lnTo>
                    <a:pt x="3632" y="2204"/>
                  </a:lnTo>
                  <a:cubicBezTo>
                    <a:pt x="3632" y="2084"/>
                    <a:pt x="3727" y="2001"/>
                    <a:pt x="3846" y="2001"/>
                  </a:cubicBezTo>
                  <a:lnTo>
                    <a:pt x="4001" y="2001"/>
                  </a:lnTo>
                  <a:cubicBezTo>
                    <a:pt x="4322" y="2001"/>
                    <a:pt x="4572" y="1739"/>
                    <a:pt x="4572" y="1430"/>
                  </a:cubicBezTo>
                  <a:lnTo>
                    <a:pt x="4572" y="1037"/>
                  </a:lnTo>
                  <a:cubicBezTo>
                    <a:pt x="4572" y="656"/>
                    <a:pt x="4870" y="358"/>
                    <a:pt x="5239" y="358"/>
                  </a:cubicBezTo>
                  <a:close/>
                  <a:moveTo>
                    <a:pt x="10132" y="2477"/>
                  </a:moveTo>
                  <a:cubicBezTo>
                    <a:pt x="10478" y="2477"/>
                    <a:pt x="10764" y="2763"/>
                    <a:pt x="10764" y="3097"/>
                  </a:cubicBezTo>
                  <a:lnTo>
                    <a:pt x="10764" y="9466"/>
                  </a:lnTo>
                  <a:lnTo>
                    <a:pt x="10775" y="9466"/>
                  </a:lnTo>
                  <a:cubicBezTo>
                    <a:pt x="10775" y="9812"/>
                    <a:pt x="10490" y="10097"/>
                    <a:pt x="10156" y="10097"/>
                  </a:cubicBezTo>
                  <a:lnTo>
                    <a:pt x="965" y="10097"/>
                  </a:lnTo>
                  <a:cubicBezTo>
                    <a:pt x="631" y="10097"/>
                    <a:pt x="346" y="9812"/>
                    <a:pt x="346" y="9466"/>
                  </a:cubicBezTo>
                  <a:lnTo>
                    <a:pt x="346" y="3097"/>
                  </a:lnTo>
                  <a:cubicBezTo>
                    <a:pt x="346" y="2763"/>
                    <a:pt x="619" y="2477"/>
                    <a:pt x="965" y="2477"/>
                  </a:cubicBezTo>
                  <a:lnTo>
                    <a:pt x="3274" y="2477"/>
                  </a:lnTo>
                  <a:lnTo>
                    <a:pt x="3274" y="3061"/>
                  </a:lnTo>
                  <a:lnTo>
                    <a:pt x="1096" y="3061"/>
                  </a:lnTo>
                  <a:cubicBezTo>
                    <a:pt x="1000" y="3061"/>
                    <a:pt x="917" y="3132"/>
                    <a:pt x="917" y="3239"/>
                  </a:cubicBezTo>
                  <a:lnTo>
                    <a:pt x="917" y="9335"/>
                  </a:lnTo>
                  <a:cubicBezTo>
                    <a:pt x="917" y="9443"/>
                    <a:pt x="1000" y="9514"/>
                    <a:pt x="1096" y="9514"/>
                  </a:cubicBezTo>
                  <a:lnTo>
                    <a:pt x="7037" y="9514"/>
                  </a:lnTo>
                  <a:cubicBezTo>
                    <a:pt x="7144" y="9514"/>
                    <a:pt x="7215" y="9443"/>
                    <a:pt x="7215" y="9335"/>
                  </a:cubicBezTo>
                  <a:cubicBezTo>
                    <a:pt x="7215" y="9228"/>
                    <a:pt x="7144" y="9157"/>
                    <a:pt x="7037" y="9157"/>
                  </a:cubicBezTo>
                  <a:lnTo>
                    <a:pt x="1274" y="9157"/>
                  </a:lnTo>
                  <a:lnTo>
                    <a:pt x="1274" y="3418"/>
                  </a:lnTo>
                  <a:lnTo>
                    <a:pt x="3274" y="3418"/>
                  </a:lnTo>
                  <a:cubicBezTo>
                    <a:pt x="3322" y="3680"/>
                    <a:pt x="3560" y="3894"/>
                    <a:pt x="3822" y="3894"/>
                  </a:cubicBezTo>
                  <a:lnTo>
                    <a:pt x="7275" y="3894"/>
                  </a:lnTo>
                  <a:cubicBezTo>
                    <a:pt x="7561" y="3894"/>
                    <a:pt x="7787" y="3680"/>
                    <a:pt x="7835" y="3418"/>
                  </a:cubicBezTo>
                  <a:lnTo>
                    <a:pt x="9823" y="3418"/>
                  </a:lnTo>
                  <a:lnTo>
                    <a:pt x="9823" y="9157"/>
                  </a:lnTo>
                  <a:lnTo>
                    <a:pt x="7894" y="9157"/>
                  </a:lnTo>
                  <a:cubicBezTo>
                    <a:pt x="7787" y="9157"/>
                    <a:pt x="7704" y="9228"/>
                    <a:pt x="7704" y="9335"/>
                  </a:cubicBezTo>
                  <a:cubicBezTo>
                    <a:pt x="7704" y="9443"/>
                    <a:pt x="7787" y="9514"/>
                    <a:pt x="7894" y="9514"/>
                  </a:cubicBezTo>
                  <a:lnTo>
                    <a:pt x="10002" y="9514"/>
                  </a:lnTo>
                  <a:cubicBezTo>
                    <a:pt x="10109" y="9514"/>
                    <a:pt x="10180" y="9443"/>
                    <a:pt x="10180" y="9335"/>
                  </a:cubicBezTo>
                  <a:lnTo>
                    <a:pt x="10180" y="3239"/>
                  </a:lnTo>
                  <a:cubicBezTo>
                    <a:pt x="10180" y="3132"/>
                    <a:pt x="10109" y="3061"/>
                    <a:pt x="10002" y="3061"/>
                  </a:cubicBezTo>
                  <a:lnTo>
                    <a:pt x="7835" y="3061"/>
                  </a:lnTo>
                  <a:lnTo>
                    <a:pt x="7835" y="2477"/>
                  </a:lnTo>
                  <a:close/>
                  <a:moveTo>
                    <a:pt x="5239" y="1"/>
                  </a:moveTo>
                  <a:cubicBezTo>
                    <a:pt x="4679" y="1"/>
                    <a:pt x="4215" y="465"/>
                    <a:pt x="4215" y="1037"/>
                  </a:cubicBezTo>
                  <a:lnTo>
                    <a:pt x="4215" y="1430"/>
                  </a:lnTo>
                  <a:cubicBezTo>
                    <a:pt x="4215" y="1549"/>
                    <a:pt x="4120" y="1644"/>
                    <a:pt x="4001" y="1644"/>
                  </a:cubicBezTo>
                  <a:lnTo>
                    <a:pt x="3846" y="1644"/>
                  </a:lnTo>
                  <a:cubicBezTo>
                    <a:pt x="3560" y="1644"/>
                    <a:pt x="3334" y="1846"/>
                    <a:pt x="3286" y="2120"/>
                  </a:cubicBezTo>
                  <a:lnTo>
                    <a:pt x="977" y="2120"/>
                  </a:lnTo>
                  <a:cubicBezTo>
                    <a:pt x="441" y="2120"/>
                    <a:pt x="0" y="2561"/>
                    <a:pt x="0" y="3097"/>
                  </a:cubicBezTo>
                  <a:lnTo>
                    <a:pt x="0" y="9466"/>
                  </a:lnTo>
                  <a:cubicBezTo>
                    <a:pt x="0" y="10002"/>
                    <a:pt x="441" y="10455"/>
                    <a:pt x="977" y="10455"/>
                  </a:cubicBezTo>
                  <a:lnTo>
                    <a:pt x="10168" y="10455"/>
                  </a:lnTo>
                  <a:cubicBezTo>
                    <a:pt x="10704" y="10455"/>
                    <a:pt x="11145" y="10002"/>
                    <a:pt x="11145" y="9466"/>
                  </a:cubicBezTo>
                  <a:lnTo>
                    <a:pt x="11145" y="3097"/>
                  </a:lnTo>
                  <a:cubicBezTo>
                    <a:pt x="11133" y="2561"/>
                    <a:pt x="10692" y="2120"/>
                    <a:pt x="10156" y="2120"/>
                  </a:cubicBezTo>
                  <a:lnTo>
                    <a:pt x="7846" y="2120"/>
                  </a:lnTo>
                  <a:cubicBezTo>
                    <a:pt x="7799" y="1846"/>
                    <a:pt x="7561" y="1644"/>
                    <a:pt x="7299" y="1644"/>
                  </a:cubicBezTo>
                  <a:lnTo>
                    <a:pt x="7120" y="1644"/>
                  </a:lnTo>
                  <a:cubicBezTo>
                    <a:pt x="7001" y="1644"/>
                    <a:pt x="6906" y="1549"/>
                    <a:pt x="6906" y="1430"/>
                  </a:cubicBezTo>
                  <a:lnTo>
                    <a:pt x="6906" y="1037"/>
                  </a:lnTo>
                  <a:cubicBezTo>
                    <a:pt x="6906" y="465"/>
                    <a:pt x="6442" y="1"/>
                    <a:pt x="5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6" name="Google Shape;11106;p60"/>
            <p:cNvSpPr/>
            <p:nvPr/>
          </p:nvSpPr>
          <p:spPr>
            <a:xfrm>
              <a:off x="3248835" y="3434380"/>
              <a:ext cx="40580" cy="40962"/>
            </a:xfrm>
            <a:custGeom>
              <a:avLst/>
              <a:gdLst/>
              <a:ahLst/>
              <a:cxnLst/>
              <a:rect l="l" t="t" r="r" b="b"/>
              <a:pathLst>
                <a:path w="1275" h="1287" extrusionOk="0">
                  <a:moveTo>
                    <a:pt x="643" y="346"/>
                  </a:moveTo>
                  <a:cubicBezTo>
                    <a:pt x="798" y="346"/>
                    <a:pt x="941" y="477"/>
                    <a:pt x="941" y="644"/>
                  </a:cubicBezTo>
                  <a:cubicBezTo>
                    <a:pt x="941" y="811"/>
                    <a:pt x="798" y="942"/>
                    <a:pt x="643" y="942"/>
                  </a:cubicBezTo>
                  <a:cubicBezTo>
                    <a:pt x="477" y="942"/>
                    <a:pt x="346" y="811"/>
                    <a:pt x="346" y="644"/>
                  </a:cubicBezTo>
                  <a:cubicBezTo>
                    <a:pt x="346" y="477"/>
                    <a:pt x="477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1" y="1287"/>
                    <a:pt x="1274" y="1001"/>
                    <a:pt x="1274" y="644"/>
                  </a:cubicBezTo>
                  <a:cubicBezTo>
                    <a:pt x="1274" y="287"/>
                    <a:pt x="1001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7" name="Google Shape;11107;p60"/>
            <p:cNvSpPr/>
            <p:nvPr/>
          </p:nvSpPr>
          <p:spPr>
            <a:xfrm>
              <a:off x="3183270" y="3524197"/>
              <a:ext cx="181544" cy="115629"/>
            </a:xfrm>
            <a:custGeom>
              <a:avLst/>
              <a:gdLst/>
              <a:ahLst/>
              <a:cxnLst/>
              <a:rect l="l" t="t" r="r" b="b"/>
              <a:pathLst>
                <a:path w="5704" h="3633" extrusionOk="0">
                  <a:moveTo>
                    <a:pt x="822" y="2227"/>
                  </a:moveTo>
                  <a:cubicBezTo>
                    <a:pt x="1108" y="2227"/>
                    <a:pt x="1346" y="2465"/>
                    <a:pt x="1346" y="2751"/>
                  </a:cubicBezTo>
                  <a:cubicBezTo>
                    <a:pt x="1346" y="3025"/>
                    <a:pt x="1108" y="3263"/>
                    <a:pt x="822" y="3263"/>
                  </a:cubicBezTo>
                  <a:cubicBezTo>
                    <a:pt x="525" y="3263"/>
                    <a:pt x="298" y="3025"/>
                    <a:pt x="298" y="2751"/>
                  </a:cubicBezTo>
                  <a:cubicBezTo>
                    <a:pt x="298" y="2453"/>
                    <a:pt x="536" y="2227"/>
                    <a:pt x="822" y="2227"/>
                  </a:cubicBezTo>
                  <a:close/>
                  <a:moveTo>
                    <a:pt x="5275" y="1"/>
                  </a:moveTo>
                  <a:cubicBezTo>
                    <a:pt x="5275" y="1"/>
                    <a:pt x="5251" y="1"/>
                    <a:pt x="5251" y="25"/>
                  </a:cubicBezTo>
                  <a:lnTo>
                    <a:pt x="4775" y="263"/>
                  </a:lnTo>
                  <a:cubicBezTo>
                    <a:pt x="4692" y="298"/>
                    <a:pt x="4656" y="406"/>
                    <a:pt x="4704" y="501"/>
                  </a:cubicBezTo>
                  <a:cubicBezTo>
                    <a:pt x="4737" y="559"/>
                    <a:pt x="4798" y="594"/>
                    <a:pt x="4861" y="594"/>
                  </a:cubicBezTo>
                  <a:cubicBezTo>
                    <a:pt x="4889" y="594"/>
                    <a:pt x="4916" y="587"/>
                    <a:pt x="4942" y="572"/>
                  </a:cubicBezTo>
                  <a:lnTo>
                    <a:pt x="5061" y="513"/>
                  </a:lnTo>
                  <a:lnTo>
                    <a:pt x="5061" y="513"/>
                  </a:lnTo>
                  <a:cubicBezTo>
                    <a:pt x="4835" y="1287"/>
                    <a:pt x="4442" y="1846"/>
                    <a:pt x="3870" y="2203"/>
                  </a:cubicBezTo>
                  <a:cubicBezTo>
                    <a:pt x="3312" y="2563"/>
                    <a:pt x="2694" y="2644"/>
                    <a:pt x="2247" y="2644"/>
                  </a:cubicBezTo>
                  <a:cubicBezTo>
                    <a:pt x="2027" y="2644"/>
                    <a:pt x="1849" y="2624"/>
                    <a:pt x="1739" y="2608"/>
                  </a:cubicBezTo>
                  <a:cubicBezTo>
                    <a:pt x="1668" y="2192"/>
                    <a:pt x="1310" y="1882"/>
                    <a:pt x="882" y="1882"/>
                  </a:cubicBezTo>
                  <a:cubicBezTo>
                    <a:pt x="394" y="1882"/>
                    <a:pt x="1" y="2287"/>
                    <a:pt x="1" y="2763"/>
                  </a:cubicBezTo>
                  <a:cubicBezTo>
                    <a:pt x="1" y="3239"/>
                    <a:pt x="405" y="3632"/>
                    <a:pt x="882" y="3632"/>
                  </a:cubicBezTo>
                  <a:cubicBezTo>
                    <a:pt x="1298" y="3632"/>
                    <a:pt x="1644" y="3358"/>
                    <a:pt x="1727" y="2965"/>
                  </a:cubicBezTo>
                  <a:cubicBezTo>
                    <a:pt x="1858" y="2989"/>
                    <a:pt x="2037" y="3001"/>
                    <a:pt x="2263" y="3001"/>
                  </a:cubicBezTo>
                  <a:cubicBezTo>
                    <a:pt x="2751" y="3001"/>
                    <a:pt x="3442" y="2906"/>
                    <a:pt x="4061" y="2513"/>
                  </a:cubicBezTo>
                  <a:cubicBezTo>
                    <a:pt x="4692" y="2108"/>
                    <a:pt x="5120" y="1501"/>
                    <a:pt x="5394" y="679"/>
                  </a:cubicBezTo>
                  <a:lnTo>
                    <a:pt x="5418" y="727"/>
                  </a:lnTo>
                  <a:cubicBezTo>
                    <a:pt x="5454" y="787"/>
                    <a:pt x="5513" y="822"/>
                    <a:pt x="5585" y="822"/>
                  </a:cubicBezTo>
                  <a:cubicBezTo>
                    <a:pt x="5620" y="822"/>
                    <a:pt x="5644" y="822"/>
                    <a:pt x="5656" y="810"/>
                  </a:cubicBezTo>
                  <a:cubicBezTo>
                    <a:pt x="5680" y="751"/>
                    <a:pt x="5704" y="632"/>
                    <a:pt x="5656" y="560"/>
                  </a:cubicBezTo>
                  <a:lnTo>
                    <a:pt x="5418" y="84"/>
                  </a:lnTo>
                  <a:cubicBezTo>
                    <a:pt x="5418" y="84"/>
                    <a:pt x="5418" y="60"/>
                    <a:pt x="5406" y="60"/>
                  </a:cubicBezTo>
                  <a:cubicBezTo>
                    <a:pt x="5394" y="48"/>
                    <a:pt x="5394" y="36"/>
                    <a:pt x="5370" y="36"/>
                  </a:cubicBezTo>
                  <a:lnTo>
                    <a:pt x="5358" y="25"/>
                  </a:lnTo>
                  <a:cubicBezTo>
                    <a:pt x="5358" y="25"/>
                    <a:pt x="5347" y="25"/>
                    <a:pt x="53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8" name="Google Shape;11108;p60"/>
            <p:cNvSpPr/>
            <p:nvPr/>
          </p:nvSpPr>
          <p:spPr>
            <a:xfrm>
              <a:off x="3157872" y="3516050"/>
              <a:ext cx="34915" cy="33578"/>
            </a:xfrm>
            <a:custGeom>
              <a:avLst/>
              <a:gdLst/>
              <a:ahLst/>
              <a:cxnLst/>
              <a:rect l="l" t="t" r="r" b="b"/>
              <a:pathLst>
                <a:path w="1097" h="1055" extrusionOk="0">
                  <a:moveTo>
                    <a:pt x="197" y="1"/>
                  </a:moveTo>
                  <a:cubicBezTo>
                    <a:pt x="153" y="1"/>
                    <a:pt x="108" y="19"/>
                    <a:pt x="72" y="54"/>
                  </a:cubicBezTo>
                  <a:cubicBezTo>
                    <a:pt x="1" y="126"/>
                    <a:pt x="1" y="233"/>
                    <a:pt x="72" y="304"/>
                  </a:cubicBezTo>
                  <a:lnTo>
                    <a:pt x="299" y="531"/>
                  </a:lnTo>
                  <a:lnTo>
                    <a:pt x="72" y="757"/>
                  </a:lnTo>
                  <a:cubicBezTo>
                    <a:pt x="1" y="828"/>
                    <a:pt x="1" y="935"/>
                    <a:pt x="72" y="1007"/>
                  </a:cubicBezTo>
                  <a:cubicBezTo>
                    <a:pt x="108" y="1043"/>
                    <a:pt x="144" y="1054"/>
                    <a:pt x="191" y="1054"/>
                  </a:cubicBezTo>
                  <a:cubicBezTo>
                    <a:pt x="239" y="1054"/>
                    <a:pt x="275" y="1043"/>
                    <a:pt x="311" y="1007"/>
                  </a:cubicBezTo>
                  <a:lnTo>
                    <a:pt x="537" y="781"/>
                  </a:lnTo>
                  <a:lnTo>
                    <a:pt x="751" y="1007"/>
                  </a:lnTo>
                  <a:cubicBezTo>
                    <a:pt x="787" y="1043"/>
                    <a:pt x="834" y="1054"/>
                    <a:pt x="870" y="1054"/>
                  </a:cubicBezTo>
                  <a:cubicBezTo>
                    <a:pt x="918" y="1054"/>
                    <a:pt x="965" y="1043"/>
                    <a:pt x="989" y="1007"/>
                  </a:cubicBezTo>
                  <a:cubicBezTo>
                    <a:pt x="1073" y="935"/>
                    <a:pt x="1073" y="828"/>
                    <a:pt x="989" y="757"/>
                  </a:cubicBezTo>
                  <a:lnTo>
                    <a:pt x="799" y="531"/>
                  </a:lnTo>
                  <a:lnTo>
                    <a:pt x="1025" y="304"/>
                  </a:lnTo>
                  <a:cubicBezTo>
                    <a:pt x="1096" y="233"/>
                    <a:pt x="1096" y="126"/>
                    <a:pt x="1025" y="54"/>
                  </a:cubicBezTo>
                  <a:cubicBezTo>
                    <a:pt x="989" y="19"/>
                    <a:pt x="945" y="1"/>
                    <a:pt x="900" y="1"/>
                  </a:cubicBezTo>
                  <a:cubicBezTo>
                    <a:pt x="855" y="1"/>
                    <a:pt x="811" y="19"/>
                    <a:pt x="775" y="54"/>
                  </a:cubicBezTo>
                  <a:lnTo>
                    <a:pt x="549" y="281"/>
                  </a:lnTo>
                  <a:lnTo>
                    <a:pt x="322" y="54"/>
                  </a:lnTo>
                  <a:cubicBezTo>
                    <a:pt x="287" y="19"/>
                    <a:pt x="242" y="1"/>
                    <a:pt x="1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9" name="Google Shape;11109;p60"/>
            <p:cNvSpPr/>
            <p:nvPr/>
          </p:nvSpPr>
          <p:spPr>
            <a:xfrm>
              <a:off x="3351892" y="3605485"/>
              <a:ext cx="35297" cy="33578"/>
            </a:xfrm>
            <a:custGeom>
              <a:avLst/>
              <a:gdLst/>
              <a:ahLst/>
              <a:cxnLst/>
              <a:rect l="l" t="t" r="r" b="b"/>
              <a:pathLst>
                <a:path w="1109" h="1055" extrusionOk="0">
                  <a:moveTo>
                    <a:pt x="208" y="1"/>
                  </a:moveTo>
                  <a:cubicBezTo>
                    <a:pt x="162" y="1"/>
                    <a:pt x="114" y="19"/>
                    <a:pt x="72" y="54"/>
                  </a:cubicBezTo>
                  <a:cubicBezTo>
                    <a:pt x="1" y="138"/>
                    <a:pt x="1" y="233"/>
                    <a:pt x="72" y="316"/>
                  </a:cubicBezTo>
                  <a:lnTo>
                    <a:pt x="299" y="530"/>
                  </a:lnTo>
                  <a:lnTo>
                    <a:pt x="72" y="757"/>
                  </a:lnTo>
                  <a:cubicBezTo>
                    <a:pt x="1" y="828"/>
                    <a:pt x="1" y="935"/>
                    <a:pt x="72" y="1007"/>
                  </a:cubicBezTo>
                  <a:cubicBezTo>
                    <a:pt x="108" y="1042"/>
                    <a:pt x="156" y="1054"/>
                    <a:pt x="191" y="1054"/>
                  </a:cubicBezTo>
                  <a:cubicBezTo>
                    <a:pt x="239" y="1054"/>
                    <a:pt x="287" y="1042"/>
                    <a:pt x="311" y="1007"/>
                  </a:cubicBezTo>
                  <a:lnTo>
                    <a:pt x="537" y="792"/>
                  </a:lnTo>
                  <a:lnTo>
                    <a:pt x="763" y="1007"/>
                  </a:lnTo>
                  <a:cubicBezTo>
                    <a:pt x="787" y="1042"/>
                    <a:pt x="834" y="1054"/>
                    <a:pt x="882" y="1054"/>
                  </a:cubicBezTo>
                  <a:cubicBezTo>
                    <a:pt x="930" y="1054"/>
                    <a:pt x="965" y="1042"/>
                    <a:pt x="1001" y="1007"/>
                  </a:cubicBezTo>
                  <a:cubicBezTo>
                    <a:pt x="1073" y="935"/>
                    <a:pt x="1073" y="828"/>
                    <a:pt x="1001" y="757"/>
                  </a:cubicBezTo>
                  <a:lnTo>
                    <a:pt x="811" y="530"/>
                  </a:lnTo>
                  <a:lnTo>
                    <a:pt x="1037" y="316"/>
                  </a:lnTo>
                  <a:cubicBezTo>
                    <a:pt x="1108" y="233"/>
                    <a:pt x="1108" y="138"/>
                    <a:pt x="1037" y="54"/>
                  </a:cubicBezTo>
                  <a:cubicBezTo>
                    <a:pt x="995" y="19"/>
                    <a:pt x="950" y="1"/>
                    <a:pt x="906" y="1"/>
                  </a:cubicBezTo>
                  <a:cubicBezTo>
                    <a:pt x="861" y="1"/>
                    <a:pt x="817" y="19"/>
                    <a:pt x="775" y="54"/>
                  </a:cubicBezTo>
                  <a:lnTo>
                    <a:pt x="561" y="280"/>
                  </a:lnTo>
                  <a:lnTo>
                    <a:pt x="334" y="54"/>
                  </a:lnTo>
                  <a:cubicBezTo>
                    <a:pt x="299" y="19"/>
                    <a:pt x="254" y="1"/>
                    <a:pt x="2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0" name="Google Shape;11110;p60"/>
            <p:cNvSpPr/>
            <p:nvPr/>
          </p:nvSpPr>
          <p:spPr>
            <a:xfrm>
              <a:off x="3254882" y="3531231"/>
              <a:ext cx="35297" cy="33546"/>
            </a:xfrm>
            <a:custGeom>
              <a:avLst/>
              <a:gdLst/>
              <a:ahLst/>
              <a:cxnLst/>
              <a:rect l="l" t="t" r="r" b="b"/>
              <a:pathLst>
                <a:path w="1109" h="1054" extrusionOk="0">
                  <a:moveTo>
                    <a:pt x="199" y="0"/>
                  </a:moveTo>
                  <a:cubicBezTo>
                    <a:pt x="153" y="0"/>
                    <a:pt x="108" y="18"/>
                    <a:pt x="72" y="54"/>
                  </a:cubicBezTo>
                  <a:cubicBezTo>
                    <a:pt x="1" y="125"/>
                    <a:pt x="1" y="232"/>
                    <a:pt x="72" y="304"/>
                  </a:cubicBezTo>
                  <a:lnTo>
                    <a:pt x="299" y="530"/>
                  </a:lnTo>
                  <a:lnTo>
                    <a:pt x="72" y="756"/>
                  </a:lnTo>
                  <a:cubicBezTo>
                    <a:pt x="1" y="828"/>
                    <a:pt x="1" y="935"/>
                    <a:pt x="72" y="1006"/>
                  </a:cubicBezTo>
                  <a:cubicBezTo>
                    <a:pt x="108" y="1042"/>
                    <a:pt x="144" y="1054"/>
                    <a:pt x="191" y="1054"/>
                  </a:cubicBezTo>
                  <a:cubicBezTo>
                    <a:pt x="239" y="1054"/>
                    <a:pt x="287" y="1042"/>
                    <a:pt x="311" y="1006"/>
                  </a:cubicBezTo>
                  <a:lnTo>
                    <a:pt x="537" y="780"/>
                  </a:lnTo>
                  <a:lnTo>
                    <a:pt x="763" y="1006"/>
                  </a:lnTo>
                  <a:cubicBezTo>
                    <a:pt x="787" y="1042"/>
                    <a:pt x="834" y="1054"/>
                    <a:pt x="882" y="1054"/>
                  </a:cubicBezTo>
                  <a:cubicBezTo>
                    <a:pt x="918" y="1054"/>
                    <a:pt x="965" y="1042"/>
                    <a:pt x="1001" y="1006"/>
                  </a:cubicBezTo>
                  <a:cubicBezTo>
                    <a:pt x="1073" y="935"/>
                    <a:pt x="1073" y="828"/>
                    <a:pt x="1001" y="756"/>
                  </a:cubicBezTo>
                  <a:lnTo>
                    <a:pt x="811" y="530"/>
                  </a:lnTo>
                  <a:lnTo>
                    <a:pt x="1025" y="304"/>
                  </a:lnTo>
                  <a:cubicBezTo>
                    <a:pt x="1108" y="232"/>
                    <a:pt x="1108" y="125"/>
                    <a:pt x="1025" y="54"/>
                  </a:cubicBezTo>
                  <a:cubicBezTo>
                    <a:pt x="989" y="18"/>
                    <a:pt x="945" y="0"/>
                    <a:pt x="900" y="0"/>
                  </a:cubicBezTo>
                  <a:cubicBezTo>
                    <a:pt x="855" y="0"/>
                    <a:pt x="811" y="18"/>
                    <a:pt x="775" y="54"/>
                  </a:cubicBezTo>
                  <a:lnTo>
                    <a:pt x="549" y="280"/>
                  </a:lnTo>
                  <a:lnTo>
                    <a:pt x="334" y="54"/>
                  </a:lnTo>
                  <a:cubicBezTo>
                    <a:pt x="293" y="18"/>
                    <a:pt x="245" y="0"/>
                    <a:pt x="1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11" name="Google Shape;11111;p60"/>
          <p:cNvGrpSpPr/>
          <p:nvPr/>
        </p:nvGrpSpPr>
        <p:grpSpPr>
          <a:xfrm>
            <a:off x="3988156" y="3380210"/>
            <a:ext cx="353954" cy="318880"/>
            <a:chOff x="3988156" y="3380210"/>
            <a:chExt cx="353954" cy="318880"/>
          </a:xfrm>
        </p:grpSpPr>
        <p:sp>
          <p:nvSpPr>
            <p:cNvPr id="11112" name="Google Shape;11112;p60"/>
            <p:cNvSpPr/>
            <p:nvPr/>
          </p:nvSpPr>
          <p:spPr>
            <a:xfrm>
              <a:off x="4134053" y="3446156"/>
              <a:ext cx="28454" cy="49269"/>
            </a:xfrm>
            <a:custGeom>
              <a:avLst/>
              <a:gdLst/>
              <a:ahLst/>
              <a:cxnLst/>
              <a:rect l="l" t="t" r="r" b="b"/>
              <a:pathLst>
                <a:path w="894" h="1548" extrusionOk="0">
                  <a:moveTo>
                    <a:pt x="417" y="286"/>
                  </a:moveTo>
                  <a:lnTo>
                    <a:pt x="417" y="572"/>
                  </a:lnTo>
                  <a:cubicBezTo>
                    <a:pt x="298" y="524"/>
                    <a:pt x="274" y="500"/>
                    <a:pt x="274" y="417"/>
                  </a:cubicBezTo>
                  <a:cubicBezTo>
                    <a:pt x="274" y="345"/>
                    <a:pt x="346" y="298"/>
                    <a:pt x="417" y="286"/>
                  </a:cubicBezTo>
                  <a:close/>
                  <a:moveTo>
                    <a:pt x="524" y="869"/>
                  </a:moveTo>
                  <a:cubicBezTo>
                    <a:pt x="643" y="917"/>
                    <a:pt x="655" y="976"/>
                    <a:pt x="655" y="1048"/>
                  </a:cubicBezTo>
                  <a:cubicBezTo>
                    <a:pt x="655" y="1119"/>
                    <a:pt x="596" y="1179"/>
                    <a:pt x="524" y="1191"/>
                  </a:cubicBezTo>
                  <a:lnTo>
                    <a:pt x="524" y="869"/>
                  </a:lnTo>
                  <a:close/>
                  <a:moveTo>
                    <a:pt x="477" y="0"/>
                  </a:moveTo>
                  <a:cubicBezTo>
                    <a:pt x="453" y="0"/>
                    <a:pt x="417" y="24"/>
                    <a:pt x="417" y="48"/>
                  </a:cubicBezTo>
                  <a:lnTo>
                    <a:pt x="417" y="107"/>
                  </a:lnTo>
                  <a:cubicBezTo>
                    <a:pt x="191" y="131"/>
                    <a:pt x="60" y="250"/>
                    <a:pt x="60" y="476"/>
                  </a:cubicBezTo>
                  <a:cubicBezTo>
                    <a:pt x="60" y="703"/>
                    <a:pt x="227" y="774"/>
                    <a:pt x="417" y="845"/>
                  </a:cubicBezTo>
                  <a:lnTo>
                    <a:pt x="417" y="1226"/>
                  </a:lnTo>
                  <a:cubicBezTo>
                    <a:pt x="310" y="1203"/>
                    <a:pt x="274" y="1179"/>
                    <a:pt x="179" y="1107"/>
                  </a:cubicBezTo>
                  <a:cubicBezTo>
                    <a:pt x="160" y="1093"/>
                    <a:pt x="143" y="1087"/>
                    <a:pt x="127" y="1087"/>
                  </a:cubicBezTo>
                  <a:cubicBezTo>
                    <a:pt x="101" y="1087"/>
                    <a:pt x="77" y="1102"/>
                    <a:pt x="48" y="1131"/>
                  </a:cubicBezTo>
                  <a:cubicBezTo>
                    <a:pt x="0" y="1191"/>
                    <a:pt x="0" y="1250"/>
                    <a:pt x="48" y="1298"/>
                  </a:cubicBezTo>
                  <a:cubicBezTo>
                    <a:pt x="120" y="1405"/>
                    <a:pt x="274" y="1453"/>
                    <a:pt x="417" y="1453"/>
                  </a:cubicBezTo>
                  <a:lnTo>
                    <a:pt x="417" y="1512"/>
                  </a:lnTo>
                  <a:cubicBezTo>
                    <a:pt x="417" y="1536"/>
                    <a:pt x="453" y="1548"/>
                    <a:pt x="477" y="1548"/>
                  </a:cubicBezTo>
                  <a:cubicBezTo>
                    <a:pt x="512" y="1548"/>
                    <a:pt x="536" y="1536"/>
                    <a:pt x="536" y="1512"/>
                  </a:cubicBezTo>
                  <a:lnTo>
                    <a:pt x="536" y="1453"/>
                  </a:lnTo>
                  <a:cubicBezTo>
                    <a:pt x="727" y="1417"/>
                    <a:pt x="893" y="1298"/>
                    <a:pt x="893" y="1048"/>
                  </a:cubicBezTo>
                  <a:cubicBezTo>
                    <a:pt x="893" y="798"/>
                    <a:pt x="751" y="691"/>
                    <a:pt x="536" y="619"/>
                  </a:cubicBezTo>
                  <a:lnTo>
                    <a:pt x="536" y="286"/>
                  </a:lnTo>
                  <a:cubicBezTo>
                    <a:pt x="584" y="286"/>
                    <a:pt x="631" y="298"/>
                    <a:pt x="667" y="333"/>
                  </a:cubicBezTo>
                  <a:cubicBezTo>
                    <a:pt x="694" y="340"/>
                    <a:pt x="726" y="363"/>
                    <a:pt x="759" y="363"/>
                  </a:cubicBezTo>
                  <a:cubicBezTo>
                    <a:pt x="783" y="363"/>
                    <a:pt x="808" y="350"/>
                    <a:pt x="834" y="310"/>
                  </a:cubicBezTo>
                  <a:cubicBezTo>
                    <a:pt x="870" y="274"/>
                    <a:pt x="882" y="214"/>
                    <a:pt x="822" y="167"/>
                  </a:cubicBezTo>
                  <a:cubicBezTo>
                    <a:pt x="751" y="107"/>
                    <a:pt x="631" y="95"/>
                    <a:pt x="536" y="95"/>
                  </a:cubicBezTo>
                  <a:lnTo>
                    <a:pt x="536" y="48"/>
                  </a:lnTo>
                  <a:cubicBezTo>
                    <a:pt x="536" y="12"/>
                    <a:pt x="501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3" name="Google Shape;11113;p60"/>
            <p:cNvSpPr/>
            <p:nvPr/>
          </p:nvSpPr>
          <p:spPr>
            <a:xfrm>
              <a:off x="4188988" y="3398001"/>
              <a:ext cx="81510" cy="81510"/>
            </a:xfrm>
            <a:custGeom>
              <a:avLst/>
              <a:gdLst/>
              <a:ahLst/>
              <a:cxnLst/>
              <a:rect l="l" t="t" r="r" b="b"/>
              <a:pathLst>
                <a:path w="2561" h="2561" extrusionOk="0">
                  <a:moveTo>
                    <a:pt x="1287" y="311"/>
                  </a:moveTo>
                  <a:cubicBezTo>
                    <a:pt x="1823" y="311"/>
                    <a:pt x="2251" y="739"/>
                    <a:pt x="2251" y="1275"/>
                  </a:cubicBezTo>
                  <a:cubicBezTo>
                    <a:pt x="2251" y="1811"/>
                    <a:pt x="1823" y="2251"/>
                    <a:pt x="1287" y="2251"/>
                  </a:cubicBezTo>
                  <a:cubicBezTo>
                    <a:pt x="751" y="2251"/>
                    <a:pt x="310" y="1811"/>
                    <a:pt x="310" y="1275"/>
                  </a:cubicBezTo>
                  <a:cubicBezTo>
                    <a:pt x="310" y="739"/>
                    <a:pt x="751" y="311"/>
                    <a:pt x="1287" y="311"/>
                  </a:cubicBezTo>
                  <a:close/>
                  <a:moveTo>
                    <a:pt x="1287" y="1"/>
                  </a:moveTo>
                  <a:cubicBezTo>
                    <a:pt x="572" y="1"/>
                    <a:pt x="1" y="584"/>
                    <a:pt x="1" y="1275"/>
                  </a:cubicBezTo>
                  <a:cubicBezTo>
                    <a:pt x="1" y="1989"/>
                    <a:pt x="584" y="2561"/>
                    <a:pt x="1287" y="2561"/>
                  </a:cubicBezTo>
                  <a:cubicBezTo>
                    <a:pt x="2001" y="2561"/>
                    <a:pt x="2561" y="1977"/>
                    <a:pt x="2561" y="1275"/>
                  </a:cubicBezTo>
                  <a:cubicBezTo>
                    <a:pt x="2561" y="584"/>
                    <a:pt x="2001" y="1"/>
                    <a:pt x="1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4" name="Google Shape;11114;p60"/>
            <p:cNvSpPr/>
            <p:nvPr/>
          </p:nvSpPr>
          <p:spPr>
            <a:xfrm>
              <a:off x="4090863" y="3380210"/>
              <a:ext cx="195930" cy="146311"/>
            </a:xfrm>
            <a:custGeom>
              <a:avLst/>
              <a:gdLst/>
              <a:ahLst/>
              <a:cxnLst/>
              <a:rect l="l" t="t" r="r" b="b"/>
              <a:pathLst>
                <a:path w="6156" h="4597" extrusionOk="0">
                  <a:moveTo>
                    <a:pt x="1810" y="1834"/>
                  </a:moveTo>
                  <a:cubicBezTo>
                    <a:pt x="2131" y="1834"/>
                    <a:pt x="2429" y="2001"/>
                    <a:pt x="2608" y="2274"/>
                  </a:cubicBezTo>
                  <a:cubicBezTo>
                    <a:pt x="2643" y="2405"/>
                    <a:pt x="2703" y="2536"/>
                    <a:pt x="2762" y="2667"/>
                  </a:cubicBezTo>
                  <a:cubicBezTo>
                    <a:pt x="2762" y="2715"/>
                    <a:pt x="2774" y="2763"/>
                    <a:pt x="2774" y="2810"/>
                  </a:cubicBezTo>
                  <a:cubicBezTo>
                    <a:pt x="2774" y="3346"/>
                    <a:pt x="2346" y="3775"/>
                    <a:pt x="1810" y="3775"/>
                  </a:cubicBezTo>
                  <a:cubicBezTo>
                    <a:pt x="1274" y="3775"/>
                    <a:pt x="834" y="3346"/>
                    <a:pt x="834" y="2810"/>
                  </a:cubicBezTo>
                  <a:cubicBezTo>
                    <a:pt x="834" y="2274"/>
                    <a:pt x="1274" y="1834"/>
                    <a:pt x="1810" y="1834"/>
                  </a:cubicBezTo>
                  <a:close/>
                  <a:moveTo>
                    <a:pt x="1810" y="1322"/>
                  </a:moveTo>
                  <a:cubicBezTo>
                    <a:pt x="2084" y="1322"/>
                    <a:pt x="2346" y="1393"/>
                    <a:pt x="2584" y="1536"/>
                  </a:cubicBezTo>
                  <a:cubicBezTo>
                    <a:pt x="2560" y="1620"/>
                    <a:pt x="2560" y="1703"/>
                    <a:pt x="2548" y="1774"/>
                  </a:cubicBezTo>
                  <a:cubicBezTo>
                    <a:pt x="2346" y="1632"/>
                    <a:pt x="2072" y="1536"/>
                    <a:pt x="1810" y="1536"/>
                  </a:cubicBezTo>
                  <a:cubicBezTo>
                    <a:pt x="1096" y="1536"/>
                    <a:pt x="524" y="2120"/>
                    <a:pt x="524" y="2822"/>
                  </a:cubicBezTo>
                  <a:cubicBezTo>
                    <a:pt x="524" y="3537"/>
                    <a:pt x="1107" y="4096"/>
                    <a:pt x="1810" y="4096"/>
                  </a:cubicBezTo>
                  <a:cubicBezTo>
                    <a:pt x="2417" y="4096"/>
                    <a:pt x="2917" y="3668"/>
                    <a:pt x="3060" y="3108"/>
                  </a:cubicBezTo>
                  <a:cubicBezTo>
                    <a:pt x="3120" y="3167"/>
                    <a:pt x="3155" y="3203"/>
                    <a:pt x="3239" y="3263"/>
                  </a:cubicBezTo>
                  <a:cubicBezTo>
                    <a:pt x="3036" y="3882"/>
                    <a:pt x="2477" y="4299"/>
                    <a:pt x="1810" y="4299"/>
                  </a:cubicBezTo>
                  <a:cubicBezTo>
                    <a:pt x="988" y="4299"/>
                    <a:pt x="322" y="3620"/>
                    <a:pt x="322" y="2810"/>
                  </a:cubicBezTo>
                  <a:cubicBezTo>
                    <a:pt x="322" y="1989"/>
                    <a:pt x="988" y="1322"/>
                    <a:pt x="1810" y="1322"/>
                  </a:cubicBezTo>
                  <a:close/>
                  <a:moveTo>
                    <a:pt x="4382" y="0"/>
                  </a:moveTo>
                  <a:cubicBezTo>
                    <a:pt x="3608" y="0"/>
                    <a:pt x="2929" y="500"/>
                    <a:pt x="2679" y="1179"/>
                  </a:cubicBezTo>
                  <a:cubicBezTo>
                    <a:pt x="2417" y="1036"/>
                    <a:pt x="2131" y="953"/>
                    <a:pt x="1822" y="953"/>
                  </a:cubicBezTo>
                  <a:cubicBezTo>
                    <a:pt x="822" y="953"/>
                    <a:pt x="0" y="1774"/>
                    <a:pt x="0" y="2775"/>
                  </a:cubicBezTo>
                  <a:cubicBezTo>
                    <a:pt x="0" y="3775"/>
                    <a:pt x="822" y="4596"/>
                    <a:pt x="1822" y="4596"/>
                  </a:cubicBezTo>
                  <a:cubicBezTo>
                    <a:pt x="2596" y="4596"/>
                    <a:pt x="3262" y="4120"/>
                    <a:pt x="3512" y="3417"/>
                  </a:cubicBezTo>
                  <a:cubicBezTo>
                    <a:pt x="3763" y="3548"/>
                    <a:pt x="4060" y="3644"/>
                    <a:pt x="4382" y="3644"/>
                  </a:cubicBezTo>
                  <a:cubicBezTo>
                    <a:pt x="4798" y="3644"/>
                    <a:pt x="5191" y="3489"/>
                    <a:pt x="5513" y="3239"/>
                  </a:cubicBezTo>
                  <a:cubicBezTo>
                    <a:pt x="5822" y="2989"/>
                    <a:pt x="6049" y="2632"/>
                    <a:pt x="6132" y="2239"/>
                  </a:cubicBezTo>
                  <a:cubicBezTo>
                    <a:pt x="6156" y="2167"/>
                    <a:pt x="6096" y="2072"/>
                    <a:pt x="6013" y="2060"/>
                  </a:cubicBezTo>
                  <a:cubicBezTo>
                    <a:pt x="6004" y="2059"/>
                    <a:pt x="5996" y="2058"/>
                    <a:pt x="5987" y="2058"/>
                  </a:cubicBezTo>
                  <a:cubicBezTo>
                    <a:pt x="5911" y="2058"/>
                    <a:pt x="5833" y="2104"/>
                    <a:pt x="5822" y="2179"/>
                  </a:cubicBezTo>
                  <a:cubicBezTo>
                    <a:pt x="5656" y="2870"/>
                    <a:pt x="5060" y="3322"/>
                    <a:pt x="4370" y="3322"/>
                  </a:cubicBezTo>
                  <a:cubicBezTo>
                    <a:pt x="3834" y="3322"/>
                    <a:pt x="3334" y="3048"/>
                    <a:pt x="3072" y="2572"/>
                  </a:cubicBezTo>
                  <a:cubicBezTo>
                    <a:pt x="3036" y="2417"/>
                    <a:pt x="2977" y="2274"/>
                    <a:pt x="2905" y="2132"/>
                  </a:cubicBezTo>
                  <a:cubicBezTo>
                    <a:pt x="2715" y="1215"/>
                    <a:pt x="3429" y="334"/>
                    <a:pt x="4370" y="334"/>
                  </a:cubicBezTo>
                  <a:cubicBezTo>
                    <a:pt x="5060" y="334"/>
                    <a:pt x="5656" y="810"/>
                    <a:pt x="5822" y="1477"/>
                  </a:cubicBezTo>
                  <a:cubicBezTo>
                    <a:pt x="5832" y="1556"/>
                    <a:pt x="5899" y="1602"/>
                    <a:pt x="5969" y="1602"/>
                  </a:cubicBezTo>
                  <a:cubicBezTo>
                    <a:pt x="5984" y="1602"/>
                    <a:pt x="5998" y="1600"/>
                    <a:pt x="6013" y="1596"/>
                  </a:cubicBezTo>
                  <a:cubicBezTo>
                    <a:pt x="6108" y="1584"/>
                    <a:pt x="6144" y="1489"/>
                    <a:pt x="6132" y="1405"/>
                  </a:cubicBezTo>
                  <a:cubicBezTo>
                    <a:pt x="6049" y="1024"/>
                    <a:pt x="5822" y="667"/>
                    <a:pt x="5513" y="405"/>
                  </a:cubicBezTo>
                  <a:cubicBezTo>
                    <a:pt x="5191" y="155"/>
                    <a:pt x="4775" y="0"/>
                    <a:pt x="4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5" name="Google Shape;11115;p60"/>
            <p:cNvSpPr/>
            <p:nvPr/>
          </p:nvSpPr>
          <p:spPr>
            <a:xfrm>
              <a:off x="4215914" y="3415061"/>
              <a:ext cx="28072" cy="49301"/>
            </a:xfrm>
            <a:custGeom>
              <a:avLst/>
              <a:gdLst/>
              <a:ahLst/>
              <a:cxnLst/>
              <a:rect l="l" t="t" r="r" b="b"/>
              <a:pathLst>
                <a:path w="882" h="1549" extrusionOk="0">
                  <a:moveTo>
                    <a:pt x="405" y="298"/>
                  </a:moveTo>
                  <a:lnTo>
                    <a:pt x="405" y="584"/>
                  </a:lnTo>
                  <a:cubicBezTo>
                    <a:pt x="286" y="537"/>
                    <a:pt x="262" y="501"/>
                    <a:pt x="262" y="429"/>
                  </a:cubicBezTo>
                  <a:cubicBezTo>
                    <a:pt x="262" y="358"/>
                    <a:pt x="334" y="310"/>
                    <a:pt x="405" y="298"/>
                  </a:cubicBezTo>
                  <a:close/>
                  <a:moveTo>
                    <a:pt x="512" y="882"/>
                  </a:moveTo>
                  <a:cubicBezTo>
                    <a:pt x="631" y="918"/>
                    <a:pt x="643" y="977"/>
                    <a:pt x="643" y="1060"/>
                  </a:cubicBezTo>
                  <a:cubicBezTo>
                    <a:pt x="643" y="1144"/>
                    <a:pt x="584" y="1191"/>
                    <a:pt x="512" y="1203"/>
                  </a:cubicBezTo>
                  <a:lnTo>
                    <a:pt x="512" y="882"/>
                  </a:lnTo>
                  <a:close/>
                  <a:moveTo>
                    <a:pt x="465" y="1"/>
                  </a:moveTo>
                  <a:cubicBezTo>
                    <a:pt x="441" y="1"/>
                    <a:pt x="405" y="13"/>
                    <a:pt x="405" y="48"/>
                  </a:cubicBezTo>
                  <a:lnTo>
                    <a:pt x="405" y="96"/>
                  </a:lnTo>
                  <a:cubicBezTo>
                    <a:pt x="179" y="132"/>
                    <a:pt x="48" y="251"/>
                    <a:pt x="48" y="477"/>
                  </a:cubicBezTo>
                  <a:cubicBezTo>
                    <a:pt x="48" y="715"/>
                    <a:pt x="226" y="787"/>
                    <a:pt x="405" y="846"/>
                  </a:cubicBezTo>
                  <a:lnTo>
                    <a:pt x="405" y="1215"/>
                  </a:lnTo>
                  <a:cubicBezTo>
                    <a:pt x="298" y="1203"/>
                    <a:pt x="262" y="1156"/>
                    <a:pt x="167" y="1096"/>
                  </a:cubicBezTo>
                  <a:cubicBezTo>
                    <a:pt x="150" y="1084"/>
                    <a:pt x="133" y="1079"/>
                    <a:pt x="117" y="1079"/>
                  </a:cubicBezTo>
                  <a:cubicBezTo>
                    <a:pt x="53" y="1079"/>
                    <a:pt x="0" y="1158"/>
                    <a:pt x="0" y="1215"/>
                  </a:cubicBezTo>
                  <a:cubicBezTo>
                    <a:pt x="0" y="1251"/>
                    <a:pt x="24" y="1275"/>
                    <a:pt x="36" y="1299"/>
                  </a:cubicBezTo>
                  <a:cubicBezTo>
                    <a:pt x="107" y="1394"/>
                    <a:pt x="274" y="1441"/>
                    <a:pt x="405" y="1441"/>
                  </a:cubicBezTo>
                  <a:lnTo>
                    <a:pt x="405" y="1501"/>
                  </a:lnTo>
                  <a:cubicBezTo>
                    <a:pt x="405" y="1537"/>
                    <a:pt x="441" y="1549"/>
                    <a:pt x="465" y="1549"/>
                  </a:cubicBezTo>
                  <a:cubicBezTo>
                    <a:pt x="500" y="1549"/>
                    <a:pt x="524" y="1525"/>
                    <a:pt x="524" y="1501"/>
                  </a:cubicBezTo>
                  <a:lnTo>
                    <a:pt x="524" y="1441"/>
                  </a:lnTo>
                  <a:cubicBezTo>
                    <a:pt x="715" y="1406"/>
                    <a:pt x="881" y="1299"/>
                    <a:pt x="881" y="1037"/>
                  </a:cubicBezTo>
                  <a:cubicBezTo>
                    <a:pt x="881" y="787"/>
                    <a:pt x="715" y="703"/>
                    <a:pt x="524" y="620"/>
                  </a:cubicBezTo>
                  <a:lnTo>
                    <a:pt x="524" y="298"/>
                  </a:lnTo>
                  <a:cubicBezTo>
                    <a:pt x="596" y="298"/>
                    <a:pt x="631" y="310"/>
                    <a:pt x="703" y="358"/>
                  </a:cubicBezTo>
                  <a:cubicBezTo>
                    <a:pt x="717" y="362"/>
                    <a:pt x="732" y="364"/>
                    <a:pt x="746" y="364"/>
                  </a:cubicBezTo>
                  <a:cubicBezTo>
                    <a:pt x="777" y="364"/>
                    <a:pt x="805" y="351"/>
                    <a:pt x="822" y="310"/>
                  </a:cubicBezTo>
                  <a:cubicBezTo>
                    <a:pt x="857" y="263"/>
                    <a:pt x="869" y="203"/>
                    <a:pt x="810" y="156"/>
                  </a:cubicBezTo>
                  <a:cubicBezTo>
                    <a:pt x="738" y="96"/>
                    <a:pt x="619" y="84"/>
                    <a:pt x="524" y="84"/>
                  </a:cubicBezTo>
                  <a:lnTo>
                    <a:pt x="524" y="48"/>
                  </a:lnTo>
                  <a:cubicBezTo>
                    <a:pt x="524" y="13"/>
                    <a:pt x="500" y="1"/>
                    <a:pt x="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6" name="Google Shape;11116;p60"/>
            <p:cNvSpPr/>
            <p:nvPr/>
          </p:nvSpPr>
          <p:spPr>
            <a:xfrm>
              <a:off x="3988156" y="3495935"/>
              <a:ext cx="353954" cy="203155"/>
            </a:xfrm>
            <a:custGeom>
              <a:avLst/>
              <a:gdLst/>
              <a:ahLst/>
              <a:cxnLst/>
              <a:rect l="l" t="t" r="r" b="b"/>
              <a:pathLst>
                <a:path w="11121" h="6383" extrusionOk="0">
                  <a:moveTo>
                    <a:pt x="3525" y="1884"/>
                  </a:moveTo>
                  <a:cubicBezTo>
                    <a:pt x="3540" y="1884"/>
                    <a:pt x="3561" y="1898"/>
                    <a:pt x="3561" y="1925"/>
                  </a:cubicBezTo>
                  <a:cubicBezTo>
                    <a:pt x="3632" y="2103"/>
                    <a:pt x="4632" y="4770"/>
                    <a:pt x="4680" y="4854"/>
                  </a:cubicBezTo>
                  <a:cubicBezTo>
                    <a:pt x="4692" y="4865"/>
                    <a:pt x="4680" y="4901"/>
                    <a:pt x="4644" y="4901"/>
                  </a:cubicBezTo>
                  <a:lnTo>
                    <a:pt x="3930" y="5163"/>
                  </a:lnTo>
                  <a:cubicBezTo>
                    <a:pt x="3882" y="5032"/>
                    <a:pt x="2870" y="2341"/>
                    <a:pt x="2799" y="2163"/>
                  </a:cubicBezTo>
                  <a:lnTo>
                    <a:pt x="3513" y="1889"/>
                  </a:lnTo>
                  <a:cubicBezTo>
                    <a:pt x="3516" y="1886"/>
                    <a:pt x="3520" y="1884"/>
                    <a:pt x="3525" y="1884"/>
                  </a:cubicBezTo>
                  <a:close/>
                  <a:moveTo>
                    <a:pt x="2501" y="2294"/>
                  </a:moveTo>
                  <a:lnTo>
                    <a:pt x="3632" y="5306"/>
                  </a:lnTo>
                  <a:cubicBezTo>
                    <a:pt x="3096" y="5496"/>
                    <a:pt x="1763" y="5997"/>
                    <a:pt x="1536" y="6092"/>
                  </a:cubicBezTo>
                  <a:cubicBezTo>
                    <a:pt x="1528" y="6095"/>
                    <a:pt x="1520" y="6096"/>
                    <a:pt x="1511" y="6096"/>
                  </a:cubicBezTo>
                  <a:cubicBezTo>
                    <a:pt x="1485" y="6096"/>
                    <a:pt x="1459" y="6081"/>
                    <a:pt x="1441" y="6044"/>
                  </a:cubicBezTo>
                  <a:lnTo>
                    <a:pt x="358" y="3175"/>
                  </a:lnTo>
                  <a:cubicBezTo>
                    <a:pt x="346" y="3139"/>
                    <a:pt x="358" y="3103"/>
                    <a:pt x="405" y="3080"/>
                  </a:cubicBezTo>
                  <a:cubicBezTo>
                    <a:pt x="1084" y="2829"/>
                    <a:pt x="2025" y="2472"/>
                    <a:pt x="2501" y="2294"/>
                  </a:cubicBezTo>
                  <a:close/>
                  <a:moveTo>
                    <a:pt x="10195" y="0"/>
                  </a:moveTo>
                  <a:cubicBezTo>
                    <a:pt x="9949" y="0"/>
                    <a:pt x="9714" y="126"/>
                    <a:pt x="9537" y="282"/>
                  </a:cubicBezTo>
                  <a:lnTo>
                    <a:pt x="7835" y="1698"/>
                  </a:lnTo>
                  <a:cubicBezTo>
                    <a:pt x="7740" y="1496"/>
                    <a:pt x="7537" y="1282"/>
                    <a:pt x="7144" y="1282"/>
                  </a:cubicBezTo>
                  <a:cubicBezTo>
                    <a:pt x="6745" y="1282"/>
                    <a:pt x="6434" y="1280"/>
                    <a:pt x="6185" y="1280"/>
                  </a:cubicBezTo>
                  <a:cubicBezTo>
                    <a:pt x="5437" y="1280"/>
                    <a:pt x="5254" y="1294"/>
                    <a:pt x="4977" y="1401"/>
                  </a:cubicBezTo>
                  <a:lnTo>
                    <a:pt x="3882" y="1853"/>
                  </a:lnTo>
                  <a:lnTo>
                    <a:pt x="3870" y="1806"/>
                  </a:lnTo>
                  <a:cubicBezTo>
                    <a:pt x="3814" y="1665"/>
                    <a:pt x="3669" y="1569"/>
                    <a:pt x="3523" y="1569"/>
                  </a:cubicBezTo>
                  <a:cubicBezTo>
                    <a:pt x="3484" y="1569"/>
                    <a:pt x="3444" y="1576"/>
                    <a:pt x="3406" y="1591"/>
                  </a:cubicBezTo>
                  <a:lnTo>
                    <a:pt x="2596" y="1913"/>
                  </a:lnTo>
                  <a:cubicBezTo>
                    <a:pt x="2239" y="2044"/>
                    <a:pt x="1084" y="2472"/>
                    <a:pt x="298" y="2770"/>
                  </a:cubicBezTo>
                  <a:cubicBezTo>
                    <a:pt x="108" y="2841"/>
                    <a:pt x="1" y="3068"/>
                    <a:pt x="72" y="3258"/>
                  </a:cubicBezTo>
                  <a:lnTo>
                    <a:pt x="1167" y="6139"/>
                  </a:lnTo>
                  <a:cubicBezTo>
                    <a:pt x="1222" y="6285"/>
                    <a:pt x="1368" y="6382"/>
                    <a:pt x="1518" y="6382"/>
                  </a:cubicBezTo>
                  <a:cubicBezTo>
                    <a:pt x="1564" y="6382"/>
                    <a:pt x="1611" y="6373"/>
                    <a:pt x="1656" y="6354"/>
                  </a:cubicBezTo>
                  <a:cubicBezTo>
                    <a:pt x="1906" y="6270"/>
                    <a:pt x="3549" y="5639"/>
                    <a:pt x="3894" y="5508"/>
                  </a:cubicBezTo>
                  <a:lnTo>
                    <a:pt x="4763" y="5175"/>
                  </a:lnTo>
                  <a:cubicBezTo>
                    <a:pt x="4942" y="5104"/>
                    <a:pt x="5049" y="4901"/>
                    <a:pt x="4965" y="4723"/>
                  </a:cubicBezTo>
                  <a:lnTo>
                    <a:pt x="4954" y="4675"/>
                  </a:lnTo>
                  <a:cubicBezTo>
                    <a:pt x="5525" y="4437"/>
                    <a:pt x="5537" y="4413"/>
                    <a:pt x="6120" y="4413"/>
                  </a:cubicBezTo>
                  <a:cubicBezTo>
                    <a:pt x="6204" y="4413"/>
                    <a:pt x="6275" y="4330"/>
                    <a:pt x="6275" y="4246"/>
                  </a:cubicBezTo>
                  <a:cubicBezTo>
                    <a:pt x="6275" y="4151"/>
                    <a:pt x="6204" y="4080"/>
                    <a:pt x="6120" y="4080"/>
                  </a:cubicBezTo>
                  <a:cubicBezTo>
                    <a:pt x="5477" y="4080"/>
                    <a:pt x="5418" y="4127"/>
                    <a:pt x="4834" y="4377"/>
                  </a:cubicBezTo>
                  <a:lnTo>
                    <a:pt x="3989" y="2127"/>
                  </a:lnTo>
                  <a:lnTo>
                    <a:pt x="5073" y="1686"/>
                  </a:lnTo>
                  <a:cubicBezTo>
                    <a:pt x="5294" y="1601"/>
                    <a:pt x="5460" y="1589"/>
                    <a:pt x="6106" y="1589"/>
                  </a:cubicBezTo>
                  <a:cubicBezTo>
                    <a:pt x="6364" y="1589"/>
                    <a:pt x="6699" y="1591"/>
                    <a:pt x="7144" y="1591"/>
                  </a:cubicBezTo>
                  <a:cubicBezTo>
                    <a:pt x="7323" y="1591"/>
                    <a:pt x="7442" y="1651"/>
                    <a:pt x="7513" y="1770"/>
                  </a:cubicBezTo>
                  <a:cubicBezTo>
                    <a:pt x="7573" y="1865"/>
                    <a:pt x="7573" y="1948"/>
                    <a:pt x="7585" y="1984"/>
                  </a:cubicBezTo>
                  <a:cubicBezTo>
                    <a:pt x="7585" y="2044"/>
                    <a:pt x="7549" y="2341"/>
                    <a:pt x="7263" y="2389"/>
                  </a:cubicBezTo>
                  <a:cubicBezTo>
                    <a:pt x="6835" y="2460"/>
                    <a:pt x="5882" y="2591"/>
                    <a:pt x="5882" y="2591"/>
                  </a:cubicBezTo>
                  <a:cubicBezTo>
                    <a:pt x="5787" y="2603"/>
                    <a:pt x="5727" y="2687"/>
                    <a:pt x="5739" y="2770"/>
                  </a:cubicBezTo>
                  <a:cubicBezTo>
                    <a:pt x="5763" y="2841"/>
                    <a:pt x="5823" y="2901"/>
                    <a:pt x="5906" y="2901"/>
                  </a:cubicBezTo>
                  <a:lnTo>
                    <a:pt x="5942" y="2901"/>
                  </a:lnTo>
                  <a:cubicBezTo>
                    <a:pt x="5954" y="2901"/>
                    <a:pt x="6894" y="2770"/>
                    <a:pt x="7335" y="2699"/>
                  </a:cubicBezTo>
                  <a:cubicBezTo>
                    <a:pt x="7740" y="2627"/>
                    <a:pt x="7882" y="2282"/>
                    <a:pt x="7918" y="2056"/>
                  </a:cubicBezTo>
                  <a:lnTo>
                    <a:pt x="9764" y="520"/>
                  </a:lnTo>
                  <a:cubicBezTo>
                    <a:pt x="9875" y="408"/>
                    <a:pt x="10028" y="311"/>
                    <a:pt x="10188" y="311"/>
                  </a:cubicBezTo>
                  <a:cubicBezTo>
                    <a:pt x="10285" y="311"/>
                    <a:pt x="10384" y="347"/>
                    <a:pt x="10478" y="436"/>
                  </a:cubicBezTo>
                  <a:cubicBezTo>
                    <a:pt x="10776" y="734"/>
                    <a:pt x="10502" y="1091"/>
                    <a:pt x="10430" y="1151"/>
                  </a:cubicBezTo>
                  <a:cubicBezTo>
                    <a:pt x="10359" y="1222"/>
                    <a:pt x="8097" y="3651"/>
                    <a:pt x="8097" y="3651"/>
                  </a:cubicBezTo>
                  <a:cubicBezTo>
                    <a:pt x="7763" y="4020"/>
                    <a:pt x="7323" y="4080"/>
                    <a:pt x="7144" y="4092"/>
                  </a:cubicBezTo>
                  <a:lnTo>
                    <a:pt x="6847" y="4092"/>
                  </a:lnTo>
                  <a:cubicBezTo>
                    <a:pt x="6751" y="4092"/>
                    <a:pt x="6680" y="4175"/>
                    <a:pt x="6680" y="4258"/>
                  </a:cubicBezTo>
                  <a:cubicBezTo>
                    <a:pt x="6680" y="4353"/>
                    <a:pt x="6751" y="4425"/>
                    <a:pt x="6847" y="4425"/>
                  </a:cubicBezTo>
                  <a:lnTo>
                    <a:pt x="7156" y="4425"/>
                  </a:lnTo>
                  <a:cubicBezTo>
                    <a:pt x="7382" y="4413"/>
                    <a:pt x="7918" y="4330"/>
                    <a:pt x="8335" y="3877"/>
                  </a:cubicBezTo>
                  <a:cubicBezTo>
                    <a:pt x="10669" y="1377"/>
                    <a:pt x="10669" y="1377"/>
                    <a:pt x="10669" y="1353"/>
                  </a:cubicBezTo>
                  <a:cubicBezTo>
                    <a:pt x="10883" y="1151"/>
                    <a:pt x="11121" y="627"/>
                    <a:pt x="10704" y="210"/>
                  </a:cubicBezTo>
                  <a:cubicBezTo>
                    <a:pt x="10539" y="60"/>
                    <a:pt x="10365" y="0"/>
                    <a:pt x="10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17" name="Google Shape;11117;p60"/>
          <p:cNvGrpSpPr/>
          <p:nvPr/>
        </p:nvGrpSpPr>
        <p:grpSpPr>
          <a:xfrm>
            <a:off x="3541011" y="3367320"/>
            <a:ext cx="348257" cy="346188"/>
            <a:chOff x="3541011" y="3367320"/>
            <a:chExt cx="348257" cy="346188"/>
          </a:xfrm>
        </p:grpSpPr>
        <p:sp>
          <p:nvSpPr>
            <p:cNvPr id="11118" name="Google Shape;11118;p60"/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9" name="Google Shape;11119;p60"/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0" name="Google Shape;11120;p60"/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1" name="Google Shape;11121;p60"/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22" name="Google Shape;11122;p60"/>
          <p:cNvGrpSpPr/>
          <p:nvPr/>
        </p:nvGrpSpPr>
        <p:grpSpPr>
          <a:xfrm>
            <a:off x="850092" y="3352934"/>
            <a:ext cx="369517" cy="375660"/>
            <a:chOff x="850092" y="3352934"/>
            <a:chExt cx="369517" cy="375660"/>
          </a:xfrm>
        </p:grpSpPr>
        <p:sp>
          <p:nvSpPr>
            <p:cNvPr id="11123" name="Google Shape;11123;p60"/>
            <p:cNvSpPr/>
            <p:nvPr/>
          </p:nvSpPr>
          <p:spPr>
            <a:xfrm>
              <a:off x="969859" y="3475692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46"/>
                  </a:moveTo>
                  <a:cubicBezTo>
                    <a:pt x="1108" y="346"/>
                    <a:pt x="1322" y="560"/>
                    <a:pt x="1322" y="834"/>
                  </a:cubicBezTo>
                  <a:cubicBezTo>
                    <a:pt x="1322" y="1096"/>
                    <a:pt x="1108" y="1322"/>
                    <a:pt x="834" y="1322"/>
                  </a:cubicBezTo>
                  <a:cubicBezTo>
                    <a:pt x="548" y="1322"/>
                    <a:pt x="346" y="1096"/>
                    <a:pt x="346" y="834"/>
                  </a:cubicBezTo>
                  <a:cubicBezTo>
                    <a:pt x="346" y="560"/>
                    <a:pt x="572" y="346"/>
                    <a:pt x="834" y="346"/>
                  </a:cubicBezTo>
                  <a:close/>
                  <a:moveTo>
                    <a:pt x="834" y="1"/>
                  </a:moveTo>
                  <a:cubicBezTo>
                    <a:pt x="369" y="1"/>
                    <a:pt x="0" y="370"/>
                    <a:pt x="0" y="834"/>
                  </a:cubicBezTo>
                  <a:cubicBezTo>
                    <a:pt x="0" y="1299"/>
                    <a:pt x="369" y="1668"/>
                    <a:pt x="834" y="1668"/>
                  </a:cubicBezTo>
                  <a:cubicBezTo>
                    <a:pt x="1298" y="1668"/>
                    <a:pt x="1667" y="1299"/>
                    <a:pt x="1667" y="834"/>
                  </a:cubicBezTo>
                  <a:cubicBezTo>
                    <a:pt x="1667" y="370"/>
                    <a:pt x="1298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4" name="Google Shape;11124;p60"/>
            <p:cNvSpPr/>
            <p:nvPr/>
          </p:nvSpPr>
          <p:spPr>
            <a:xfrm>
              <a:off x="1046786" y="3552237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46"/>
                  </a:moveTo>
                  <a:cubicBezTo>
                    <a:pt x="1096" y="346"/>
                    <a:pt x="1322" y="572"/>
                    <a:pt x="1322" y="834"/>
                  </a:cubicBezTo>
                  <a:cubicBezTo>
                    <a:pt x="1322" y="1108"/>
                    <a:pt x="1096" y="1334"/>
                    <a:pt x="834" y="1334"/>
                  </a:cubicBezTo>
                  <a:cubicBezTo>
                    <a:pt x="560" y="1334"/>
                    <a:pt x="334" y="1108"/>
                    <a:pt x="334" y="834"/>
                  </a:cubicBezTo>
                  <a:cubicBezTo>
                    <a:pt x="334" y="572"/>
                    <a:pt x="560" y="346"/>
                    <a:pt x="834" y="346"/>
                  </a:cubicBezTo>
                  <a:close/>
                  <a:moveTo>
                    <a:pt x="834" y="1"/>
                  </a:moveTo>
                  <a:cubicBezTo>
                    <a:pt x="369" y="1"/>
                    <a:pt x="0" y="382"/>
                    <a:pt x="0" y="834"/>
                  </a:cubicBezTo>
                  <a:cubicBezTo>
                    <a:pt x="0" y="1299"/>
                    <a:pt x="369" y="1668"/>
                    <a:pt x="834" y="1668"/>
                  </a:cubicBezTo>
                  <a:cubicBezTo>
                    <a:pt x="1286" y="1668"/>
                    <a:pt x="1667" y="1299"/>
                    <a:pt x="1667" y="834"/>
                  </a:cubicBezTo>
                  <a:cubicBezTo>
                    <a:pt x="1667" y="382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5" name="Google Shape;11125;p60"/>
            <p:cNvSpPr/>
            <p:nvPr/>
          </p:nvSpPr>
          <p:spPr>
            <a:xfrm>
              <a:off x="984245" y="3485272"/>
              <a:ext cx="106527" cy="104999"/>
            </a:xfrm>
            <a:custGeom>
              <a:avLst/>
              <a:gdLst/>
              <a:ahLst/>
              <a:cxnLst/>
              <a:rect l="l" t="t" r="r" b="b"/>
              <a:pathLst>
                <a:path w="3347" h="3299" extrusionOk="0">
                  <a:moveTo>
                    <a:pt x="3160" y="0"/>
                  </a:moveTo>
                  <a:cubicBezTo>
                    <a:pt x="3117" y="0"/>
                    <a:pt x="3073" y="15"/>
                    <a:pt x="3037" y="45"/>
                  </a:cubicBezTo>
                  <a:lnTo>
                    <a:pt x="72" y="2998"/>
                  </a:lnTo>
                  <a:cubicBezTo>
                    <a:pt x="1" y="3081"/>
                    <a:pt x="1" y="3176"/>
                    <a:pt x="72" y="3236"/>
                  </a:cubicBezTo>
                  <a:cubicBezTo>
                    <a:pt x="108" y="3278"/>
                    <a:pt x="152" y="3298"/>
                    <a:pt x="196" y="3298"/>
                  </a:cubicBezTo>
                  <a:cubicBezTo>
                    <a:pt x="239" y="3298"/>
                    <a:pt x="280" y="3278"/>
                    <a:pt x="310" y="3236"/>
                  </a:cubicBezTo>
                  <a:lnTo>
                    <a:pt x="3275" y="283"/>
                  </a:lnTo>
                  <a:cubicBezTo>
                    <a:pt x="3346" y="200"/>
                    <a:pt x="3346" y="105"/>
                    <a:pt x="3275" y="45"/>
                  </a:cubicBezTo>
                  <a:cubicBezTo>
                    <a:pt x="3245" y="15"/>
                    <a:pt x="3203" y="0"/>
                    <a:pt x="31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6" name="Google Shape;11126;p60"/>
            <p:cNvSpPr/>
            <p:nvPr/>
          </p:nvSpPr>
          <p:spPr>
            <a:xfrm>
              <a:off x="922850" y="3428715"/>
              <a:ext cx="223620" cy="223620"/>
            </a:xfrm>
            <a:custGeom>
              <a:avLst/>
              <a:gdLst/>
              <a:ahLst/>
              <a:cxnLst/>
              <a:rect l="l" t="t" r="r" b="b"/>
              <a:pathLst>
                <a:path w="7026" h="7026" extrusionOk="0">
                  <a:moveTo>
                    <a:pt x="3513" y="0"/>
                  </a:moveTo>
                  <a:cubicBezTo>
                    <a:pt x="1584" y="0"/>
                    <a:pt x="1" y="1584"/>
                    <a:pt x="1" y="3513"/>
                  </a:cubicBezTo>
                  <a:cubicBezTo>
                    <a:pt x="1" y="5453"/>
                    <a:pt x="1584" y="7025"/>
                    <a:pt x="3513" y="7025"/>
                  </a:cubicBezTo>
                  <a:cubicBezTo>
                    <a:pt x="5454" y="7025"/>
                    <a:pt x="7026" y="5453"/>
                    <a:pt x="7026" y="3513"/>
                  </a:cubicBezTo>
                  <a:cubicBezTo>
                    <a:pt x="7026" y="1834"/>
                    <a:pt x="5835" y="393"/>
                    <a:pt x="4204" y="60"/>
                  </a:cubicBezTo>
                  <a:cubicBezTo>
                    <a:pt x="4196" y="59"/>
                    <a:pt x="4188" y="58"/>
                    <a:pt x="4180" y="58"/>
                  </a:cubicBezTo>
                  <a:cubicBezTo>
                    <a:pt x="4095" y="58"/>
                    <a:pt x="4022" y="115"/>
                    <a:pt x="3989" y="191"/>
                  </a:cubicBezTo>
                  <a:cubicBezTo>
                    <a:pt x="3978" y="286"/>
                    <a:pt x="4037" y="369"/>
                    <a:pt x="4132" y="405"/>
                  </a:cubicBezTo>
                  <a:cubicBezTo>
                    <a:pt x="5597" y="703"/>
                    <a:pt x="6692" y="2001"/>
                    <a:pt x="6692" y="3513"/>
                  </a:cubicBezTo>
                  <a:cubicBezTo>
                    <a:pt x="6692" y="5251"/>
                    <a:pt x="5263" y="6680"/>
                    <a:pt x="3513" y="6680"/>
                  </a:cubicBezTo>
                  <a:cubicBezTo>
                    <a:pt x="1775" y="6680"/>
                    <a:pt x="346" y="5251"/>
                    <a:pt x="346" y="3513"/>
                  </a:cubicBezTo>
                  <a:cubicBezTo>
                    <a:pt x="346" y="1774"/>
                    <a:pt x="1775" y="346"/>
                    <a:pt x="3513" y="346"/>
                  </a:cubicBezTo>
                  <a:cubicBezTo>
                    <a:pt x="3608" y="346"/>
                    <a:pt x="3692" y="274"/>
                    <a:pt x="3692" y="167"/>
                  </a:cubicBezTo>
                  <a:cubicBezTo>
                    <a:pt x="3680" y="72"/>
                    <a:pt x="3608" y="0"/>
                    <a:pt x="3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7" name="Google Shape;11127;p60"/>
            <p:cNvSpPr/>
            <p:nvPr/>
          </p:nvSpPr>
          <p:spPr>
            <a:xfrm>
              <a:off x="850092" y="3352934"/>
              <a:ext cx="369517" cy="375660"/>
            </a:xfrm>
            <a:custGeom>
              <a:avLst/>
              <a:gdLst/>
              <a:ahLst/>
              <a:cxnLst/>
              <a:rect l="l" t="t" r="r" b="b"/>
              <a:pathLst>
                <a:path w="11610" h="11803" extrusionOk="0">
                  <a:moveTo>
                    <a:pt x="5804" y="0"/>
                  </a:moveTo>
                  <a:cubicBezTo>
                    <a:pt x="5801" y="0"/>
                    <a:pt x="5799" y="0"/>
                    <a:pt x="5799" y="0"/>
                  </a:cubicBezTo>
                  <a:cubicBezTo>
                    <a:pt x="5585" y="0"/>
                    <a:pt x="5371" y="119"/>
                    <a:pt x="5252" y="310"/>
                  </a:cubicBezTo>
                  <a:lnTo>
                    <a:pt x="4573" y="1453"/>
                  </a:lnTo>
                  <a:cubicBezTo>
                    <a:pt x="4515" y="1551"/>
                    <a:pt x="4424" y="1605"/>
                    <a:pt x="4326" y="1605"/>
                  </a:cubicBezTo>
                  <a:cubicBezTo>
                    <a:pt x="4281" y="1605"/>
                    <a:pt x="4236" y="1594"/>
                    <a:pt x="4192" y="1572"/>
                  </a:cubicBezTo>
                  <a:lnTo>
                    <a:pt x="2977" y="1060"/>
                  </a:lnTo>
                  <a:cubicBezTo>
                    <a:pt x="2889" y="1020"/>
                    <a:pt x="2800" y="1002"/>
                    <a:pt x="2713" y="1002"/>
                  </a:cubicBezTo>
                  <a:cubicBezTo>
                    <a:pt x="2355" y="1002"/>
                    <a:pt x="2046" y="1312"/>
                    <a:pt x="2084" y="1715"/>
                  </a:cubicBezTo>
                  <a:lnTo>
                    <a:pt x="2204" y="3036"/>
                  </a:lnTo>
                  <a:cubicBezTo>
                    <a:pt x="2215" y="3179"/>
                    <a:pt x="2108" y="3322"/>
                    <a:pt x="1965" y="3346"/>
                  </a:cubicBezTo>
                  <a:lnTo>
                    <a:pt x="668" y="3643"/>
                  </a:lnTo>
                  <a:cubicBezTo>
                    <a:pt x="191" y="3751"/>
                    <a:pt x="1" y="4334"/>
                    <a:pt x="322" y="4703"/>
                  </a:cubicBezTo>
                  <a:lnTo>
                    <a:pt x="1203" y="5703"/>
                  </a:lnTo>
                  <a:cubicBezTo>
                    <a:pt x="1311" y="5822"/>
                    <a:pt x="1311" y="5989"/>
                    <a:pt x="1203" y="6084"/>
                  </a:cubicBezTo>
                  <a:lnTo>
                    <a:pt x="322" y="7084"/>
                  </a:lnTo>
                  <a:cubicBezTo>
                    <a:pt x="179" y="7263"/>
                    <a:pt x="132" y="7489"/>
                    <a:pt x="191" y="7715"/>
                  </a:cubicBezTo>
                  <a:cubicBezTo>
                    <a:pt x="263" y="7930"/>
                    <a:pt x="441" y="8084"/>
                    <a:pt x="668" y="8144"/>
                  </a:cubicBezTo>
                  <a:lnTo>
                    <a:pt x="1025" y="8215"/>
                  </a:lnTo>
                  <a:cubicBezTo>
                    <a:pt x="1033" y="8216"/>
                    <a:pt x="1041" y="8217"/>
                    <a:pt x="1049" y="8217"/>
                  </a:cubicBezTo>
                  <a:cubicBezTo>
                    <a:pt x="1136" y="8217"/>
                    <a:pt x="1217" y="8161"/>
                    <a:pt x="1239" y="8084"/>
                  </a:cubicBezTo>
                  <a:cubicBezTo>
                    <a:pt x="1251" y="7989"/>
                    <a:pt x="1192" y="7894"/>
                    <a:pt x="1096" y="7870"/>
                  </a:cubicBezTo>
                  <a:lnTo>
                    <a:pt x="739" y="7799"/>
                  </a:lnTo>
                  <a:cubicBezTo>
                    <a:pt x="644" y="7775"/>
                    <a:pt x="560" y="7692"/>
                    <a:pt x="525" y="7608"/>
                  </a:cubicBezTo>
                  <a:cubicBezTo>
                    <a:pt x="489" y="7501"/>
                    <a:pt x="501" y="7394"/>
                    <a:pt x="584" y="7322"/>
                  </a:cubicBezTo>
                  <a:lnTo>
                    <a:pt x="1453" y="6322"/>
                  </a:lnTo>
                  <a:cubicBezTo>
                    <a:pt x="1668" y="6084"/>
                    <a:pt x="1668" y="5715"/>
                    <a:pt x="1453" y="5477"/>
                  </a:cubicBezTo>
                  <a:lnTo>
                    <a:pt x="584" y="4477"/>
                  </a:lnTo>
                  <a:cubicBezTo>
                    <a:pt x="430" y="4322"/>
                    <a:pt x="525" y="4048"/>
                    <a:pt x="739" y="3989"/>
                  </a:cubicBezTo>
                  <a:lnTo>
                    <a:pt x="2037" y="3691"/>
                  </a:lnTo>
                  <a:cubicBezTo>
                    <a:pt x="2346" y="3620"/>
                    <a:pt x="2573" y="3322"/>
                    <a:pt x="2549" y="3012"/>
                  </a:cubicBezTo>
                  <a:lnTo>
                    <a:pt x="2430" y="1679"/>
                  </a:lnTo>
                  <a:cubicBezTo>
                    <a:pt x="2410" y="1503"/>
                    <a:pt x="2559" y="1359"/>
                    <a:pt x="2731" y="1359"/>
                  </a:cubicBezTo>
                  <a:cubicBezTo>
                    <a:pt x="2769" y="1359"/>
                    <a:pt x="2808" y="1366"/>
                    <a:pt x="2846" y="1381"/>
                  </a:cubicBezTo>
                  <a:lnTo>
                    <a:pt x="4061" y="1905"/>
                  </a:lnTo>
                  <a:cubicBezTo>
                    <a:pt x="4143" y="1941"/>
                    <a:pt x="4229" y="1958"/>
                    <a:pt x="4314" y="1958"/>
                  </a:cubicBezTo>
                  <a:cubicBezTo>
                    <a:pt x="4536" y="1958"/>
                    <a:pt x="4750" y="1841"/>
                    <a:pt x="4871" y="1643"/>
                  </a:cubicBezTo>
                  <a:lnTo>
                    <a:pt x="5549" y="488"/>
                  </a:lnTo>
                  <a:cubicBezTo>
                    <a:pt x="5609" y="393"/>
                    <a:pt x="5710" y="345"/>
                    <a:pt x="5810" y="345"/>
                  </a:cubicBezTo>
                  <a:cubicBezTo>
                    <a:pt x="5909" y="345"/>
                    <a:pt x="6008" y="393"/>
                    <a:pt x="6061" y="488"/>
                  </a:cubicBezTo>
                  <a:lnTo>
                    <a:pt x="6740" y="1643"/>
                  </a:lnTo>
                  <a:cubicBezTo>
                    <a:pt x="6861" y="1842"/>
                    <a:pt x="7077" y="1953"/>
                    <a:pt x="7300" y="1953"/>
                  </a:cubicBezTo>
                  <a:cubicBezTo>
                    <a:pt x="7383" y="1953"/>
                    <a:pt x="7468" y="1938"/>
                    <a:pt x="7549" y="1905"/>
                  </a:cubicBezTo>
                  <a:lnTo>
                    <a:pt x="8764" y="1381"/>
                  </a:lnTo>
                  <a:cubicBezTo>
                    <a:pt x="8802" y="1366"/>
                    <a:pt x="8841" y="1359"/>
                    <a:pt x="8878" y="1359"/>
                  </a:cubicBezTo>
                  <a:cubicBezTo>
                    <a:pt x="9048" y="1359"/>
                    <a:pt x="9190" y="1503"/>
                    <a:pt x="9181" y="1679"/>
                  </a:cubicBezTo>
                  <a:lnTo>
                    <a:pt x="9062" y="3012"/>
                  </a:lnTo>
                  <a:cubicBezTo>
                    <a:pt x="9038" y="3334"/>
                    <a:pt x="9240" y="3620"/>
                    <a:pt x="9574" y="3691"/>
                  </a:cubicBezTo>
                  <a:lnTo>
                    <a:pt x="10859" y="3989"/>
                  </a:lnTo>
                  <a:cubicBezTo>
                    <a:pt x="11086" y="4036"/>
                    <a:pt x="11181" y="4298"/>
                    <a:pt x="11026" y="4477"/>
                  </a:cubicBezTo>
                  <a:lnTo>
                    <a:pt x="10145" y="5477"/>
                  </a:lnTo>
                  <a:cubicBezTo>
                    <a:pt x="9943" y="5715"/>
                    <a:pt x="9943" y="6084"/>
                    <a:pt x="10145" y="6322"/>
                  </a:cubicBezTo>
                  <a:lnTo>
                    <a:pt x="11026" y="7322"/>
                  </a:lnTo>
                  <a:cubicBezTo>
                    <a:pt x="11181" y="7489"/>
                    <a:pt x="11086" y="7751"/>
                    <a:pt x="10859" y="7811"/>
                  </a:cubicBezTo>
                  <a:lnTo>
                    <a:pt x="9574" y="8108"/>
                  </a:lnTo>
                  <a:cubicBezTo>
                    <a:pt x="9252" y="8192"/>
                    <a:pt x="9038" y="8489"/>
                    <a:pt x="9062" y="8799"/>
                  </a:cubicBezTo>
                  <a:lnTo>
                    <a:pt x="9181" y="10120"/>
                  </a:lnTo>
                  <a:cubicBezTo>
                    <a:pt x="9190" y="10302"/>
                    <a:pt x="9054" y="10445"/>
                    <a:pt x="8889" y="10445"/>
                  </a:cubicBezTo>
                  <a:cubicBezTo>
                    <a:pt x="8848" y="10445"/>
                    <a:pt x="8806" y="10437"/>
                    <a:pt x="8764" y="10418"/>
                  </a:cubicBezTo>
                  <a:lnTo>
                    <a:pt x="7549" y="9894"/>
                  </a:lnTo>
                  <a:cubicBezTo>
                    <a:pt x="7468" y="9858"/>
                    <a:pt x="7382" y="9841"/>
                    <a:pt x="7298" y="9841"/>
                  </a:cubicBezTo>
                  <a:cubicBezTo>
                    <a:pt x="7076" y="9841"/>
                    <a:pt x="6861" y="9961"/>
                    <a:pt x="6740" y="10168"/>
                  </a:cubicBezTo>
                  <a:lnTo>
                    <a:pt x="6061" y="11311"/>
                  </a:lnTo>
                  <a:cubicBezTo>
                    <a:pt x="6002" y="11406"/>
                    <a:pt x="5900" y="11454"/>
                    <a:pt x="5801" y="11454"/>
                  </a:cubicBezTo>
                  <a:cubicBezTo>
                    <a:pt x="5701" y="11454"/>
                    <a:pt x="5603" y="11406"/>
                    <a:pt x="5549" y="11311"/>
                  </a:cubicBezTo>
                  <a:lnTo>
                    <a:pt x="4871" y="10168"/>
                  </a:lnTo>
                  <a:cubicBezTo>
                    <a:pt x="4749" y="9960"/>
                    <a:pt x="4533" y="9846"/>
                    <a:pt x="4309" y="9846"/>
                  </a:cubicBezTo>
                  <a:cubicBezTo>
                    <a:pt x="4226" y="9846"/>
                    <a:pt x="4142" y="9862"/>
                    <a:pt x="4061" y="9894"/>
                  </a:cubicBezTo>
                  <a:lnTo>
                    <a:pt x="2846" y="10418"/>
                  </a:lnTo>
                  <a:cubicBezTo>
                    <a:pt x="2804" y="10437"/>
                    <a:pt x="2762" y="10445"/>
                    <a:pt x="2721" y="10445"/>
                  </a:cubicBezTo>
                  <a:cubicBezTo>
                    <a:pt x="2553" y="10445"/>
                    <a:pt x="2411" y="10302"/>
                    <a:pt x="2430" y="10120"/>
                  </a:cubicBezTo>
                  <a:lnTo>
                    <a:pt x="2549" y="8799"/>
                  </a:lnTo>
                  <a:cubicBezTo>
                    <a:pt x="2573" y="8465"/>
                    <a:pt x="2370" y="8192"/>
                    <a:pt x="2037" y="8108"/>
                  </a:cubicBezTo>
                  <a:lnTo>
                    <a:pt x="1727" y="8037"/>
                  </a:lnTo>
                  <a:cubicBezTo>
                    <a:pt x="1719" y="8036"/>
                    <a:pt x="1711" y="8035"/>
                    <a:pt x="1703" y="8035"/>
                  </a:cubicBezTo>
                  <a:cubicBezTo>
                    <a:pt x="1616" y="8035"/>
                    <a:pt x="1535" y="8092"/>
                    <a:pt x="1513" y="8168"/>
                  </a:cubicBezTo>
                  <a:cubicBezTo>
                    <a:pt x="1501" y="8263"/>
                    <a:pt x="1561" y="8370"/>
                    <a:pt x="1656" y="8382"/>
                  </a:cubicBezTo>
                  <a:lnTo>
                    <a:pt x="1965" y="8454"/>
                  </a:lnTo>
                  <a:cubicBezTo>
                    <a:pt x="2108" y="8489"/>
                    <a:pt x="2204" y="8620"/>
                    <a:pt x="2204" y="8763"/>
                  </a:cubicBezTo>
                  <a:lnTo>
                    <a:pt x="2084" y="10097"/>
                  </a:lnTo>
                  <a:cubicBezTo>
                    <a:pt x="2046" y="10493"/>
                    <a:pt x="2361" y="10804"/>
                    <a:pt x="2723" y="10804"/>
                  </a:cubicBezTo>
                  <a:cubicBezTo>
                    <a:pt x="2807" y="10804"/>
                    <a:pt x="2893" y="10787"/>
                    <a:pt x="2977" y="10751"/>
                  </a:cubicBezTo>
                  <a:lnTo>
                    <a:pt x="4192" y="10228"/>
                  </a:lnTo>
                  <a:cubicBezTo>
                    <a:pt x="4230" y="10212"/>
                    <a:pt x="4269" y="10204"/>
                    <a:pt x="4308" y="10204"/>
                  </a:cubicBezTo>
                  <a:cubicBezTo>
                    <a:pt x="4413" y="10204"/>
                    <a:pt x="4512" y="10259"/>
                    <a:pt x="4573" y="10347"/>
                  </a:cubicBezTo>
                  <a:lnTo>
                    <a:pt x="5252" y="11490"/>
                  </a:lnTo>
                  <a:cubicBezTo>
                    <a:pt x="5377" y="11698"/>
                    <a:pt x="5594" y="11802"/>
                    <a:pt x="5810" y="11802"/>
                  </a:cubicBezTo>
                  <a:cubicBezTo>
                    <a:pt x="6025" y="11802"/>
                    <a:pt x="6240" y="11698"/>
                    <a:pt x="6359" y="11490"/>
                  </a:cubicBezTo>
                  <a:lnTo>
                    <a:pt x="7037" y="10347"/>
                  </a:lnTo>
                  <a:cubicBezTo>
                    <a:pt x="7088" y="10253"/>
                    <a:pt x="7188" y="10202"/>
                    <a:pt x="7288" y="10202"/>
                  </a:cubicBezTo>
                  <a:cubicBezTo>
                    <a:pt x="7328" y="10202"/>
                    <a:pt x="7369" y="10211"/>
                    <a:pt x="7407" y="10228"/>
                  </a:cubicBezTo>
                  <a:lnTo>
                    <a:pt x="8633" y="10751"/>
                  </a:lnTo>
                  <a:cubicBezTo>
                    <a:pt x="8715" y="10787"/>
                    <a:pt x="8800" y="10804"/>
                    <a:pt x="8883" y="10804"/>
                  </a:cubicBezTo>
                  <a:cubicBezTo>
                    <a:pt x="9242" y="10804"/>
                    <a:pt x="9565" y="10493"/>
                    <a:pt x="9526" y="10097"/>
                  </a:cubicBezTo>
                  <a:lnTo>
                    <a:pt x="9407" y="8763"/>
                  </a:lnTo>
                  <a:cubicBezTo>
                    <a:pt x="9395" y="8620"/>
                    <a:pt x="9490" y="8489"/>
                    <a:pt x="9645" y="8454"/>
                  </a:cubicBezTo>
                  <a:lnTo>
                    <a:pt x="10943" y="8156"/>
                  </a:lnTo>
                  <a:cubicBezTo>
                    <a:pt x="11419" y="8049"/>
                    <a:pt x="11609" y="7477"/>
                    <a:pt x="11276" y="7096"/>
                  </a:cubicBezTo>
                  <a:lnTo>
                    <a:pt x="10407" y="6084"/>
                  </a:lnTo>
                  <a:cubicBezTo>
                    <a:pt x="10300" y="5965"/>
                    <a:pt x="10300" y="5810"/>
                    <a:pt x="10407" y="5703"/>
                  </a:cubicBezTo>
                  <a:lnTo>
                    <a:pt x="11276" y="4703"/>
                  </a:lnTo>
                  <a:cubicBezTo>
                    <a:pt x="11609" y="4334"/>
                    <a:pt x="11419" y="3751"/>
                    <a:pt x="10943" y="3643"/>
                  </a:cubicBezTo>
                  <a:lnTo>
                    <a:pt x="9645" y="3346"/>
                  </a:lnTo>
                  <a:cubicBezTo>
                    <a:pt x="9490" y="3322"/>
                    <a:pt x="9407" y="3179"/>
                    <a:pt x="9407" y="3036"/>
                  </a:cubicBezTo>
                  <a:lnTo>
                    <a:pt x="9526" y="1715"/>
                  </a:lnTo>
                  <a:cubicBezTo>
                    <a:pt x="9564" y="1312"/>
                    <a:pt x="9248" y="1002"/>
                    <a:pt x="8893" y="1002"/>
                  </a:cubicBezTo>
                  <a:cubicBezTo>
                    <a:pt x="8807" y="1002"/>
                    <a:pt x="8719" y="1020"/>
                    <a:pt x="8633" y="1060"/>
                  </a:cubicBezTo>
                  <a:lnTo>
                    <a:pt x="7407" y="1572"/>
                  </a:lnTo>
                  <a:cubicBezTo>
                    <a:pt x="7371" y="1588"/>
                    <a:pt x="7334" y="1595"/>
                    <a:pt x="7296" y="1595"/>
                  </a:cubicBezTo>
                  <a:cubicBezTo>
                    <a:pt x="7193" y="1595"/>
                    <a:pt x="7090" y="1540"/>
                    <a:pt x="7037" y="1453"/>
                  </a:cubicBezTo>
                  <a:lnTo>
                    <a:pt x="6359" y="310"/>
                  </a:lnTo>
                  <a:cubicBezTo>
                    <a:pt x="6170" y="10"/>
                    <a:pt x="5848" y="0"/>
                    <a:pt x="58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28" name="Google Shape;11128;p60"/>
          <p:cNvGrpSpPr/>
          <p:nvPr/>
        </p:nvGrpSpPr>
        <p:grpSpPr>
          <a:xfrm>
            <a:off x="1314678" y="3358217"/>
            <a:ext cx="334666" cy="365348"/>
            <a:chOff x="1314678" y="3358217"/>
            <a:chExt cx="334666" cy="365348"/>
          </a:xfrm>
        </p:grpSpPr>
        <p:sp>
          <p:nvSpPr>
            <p:cNvPr id="11129" name="Google Shape;11129;p60"/>
            <p:cNvSpPr/>
            <p:nvPr/>
          </p:nvSpPr>
          <p:spPr>
            <a:xfrm>
              <a:off x="1316588" y="3358217"/>
              <a:ext cx="332757" cy="365348"/>
            </a:xfrm>
            <a:custGeom>
              <a:avLst/>
              <a:gdLst/>
              <a:ahLst/>
              <a:cxnLst/>
              <a:rect l="l" t="t" r="r" b="b"/>
              <a:pathLst>
                <a:path w="10455" h="11479" extrusionOk="0">
                  <a:moveTo>
                    <a:pt x="1501" y="9300"/>
                  </a:moveTo>
                  <a:cubicBezTo>
                    <a:pt x="1655" y="9300"/>
                    <a:pt x="1786" y="9419"/>
                    <a:pt x="1786" y="9585"/>
                  </a:cubicBezTo>
                  <a:cubicBezTo>
                    <a:pt x="1786" y="9752"/>
                    <a:pt x="1667" y="9871"/>
                    <a:pt x="1501" y="9871"/>
                  </a:cubicBezTo>
                  <a:lnTo>
                    <a:pt x="584" y="9871"/>
                  </a:lnTo>
                  <a:cubicBezTo>
                    <a:pt x="429" y="9871"/>
                    <a:pt x="298" y="9752"/>
                    <a:pt x="298" y="9585"/>
                  </a:cubicBezTo>
                  <a:cubicBezTo>
                    <a:pt x="298" y="9431"/>
                    <a:pt x="417" y="9300"/>
                    <a:pt x="584" y="9300"/>
                  </a:cubicBezTo>
                  <a:close/>
                  <a:moveTo>
                    <a:pt x="9359" y="1013"/>
                  </a:moveTo>
                  <a:lnTo>
                    <a:pt x="9359" y="10443"/>
                  </a:lnTo>
                  <a:lnTo>
                    <a:pt x="9037" y="10443"/>
                  </a:lnTo>
                  <a:lnTo>
                    <a:pt x="9037" y="1013"/>
                  </a:lnTo>
                  <a:close/>
                  <a:moveTo>
                    <a:pt x="3048" y="1"/>
                  </a:moveTo>
                  <a:cubicBezTo>
                    <a:pt x="2965" y="1"/>
                    <a:pt x="2894" y="72"/>
                    <a:pt x="2894" y="156"/>
                  </a:cubicBezTo>
                  <a:cubicBezTo>
                    <a:pt x="2894" y="251"/>
                    <a:pt x="2965" y="322"/>
                    <a:pt x="3048" y="322"/>
                  </a:cubicBezTo>
                  <a:lnTo>
                    <a:pt x="8347" y="322"/>
                  </a:lnTo>
                  <a:cubicBezTo>
                    <a:pt x="8561" y="322"/>
                    <a:pt x="8728" y="489"/>
                    <a:pt x="8728" y="691"/>
                  </a:cubicBezTo>
                  <a:lnTo>
                    <a:pt x="8728" y="10776"/>
                  </a:lnTo>
                  <a:cubicBezTo>
                    <a:pt x="8728" y="10978"/>
                    <a:pt x="8561" y="11145"/>
                    <a:pt x="8347" y="11145"/>
                  </a:cubicBezTo>
                  <a:lnTo>
                    <a:pt x="1584" y="11145"/>
                  </a:lnTo>
                  <a:cubicBezTo>
                    <a:pt x="1370" y="11145"/>
                    <a:pt x="1203" y="10978"/>
                    <a:pt x="1203" y="10776"/>
                  </a:cubicBezTo>
                  <a:lnTo>
                    <a:pt x="1203" y="10204"/>
                  </a:lnTo>
                  <a:lnTo>
                    <a:pt x="1524" y="10204"/>
                  </a:lnTo>
                  <a:cubicBezTo>
                    <a:pt x="1858" y="10204"/>
                    <a:pt x="2132" y="9931"/>
                    <a:pt x="2132" y="9597"/>
                  </a:cubicBezTo>
                  <a:cubicBezTo>
                    <a:pt x="2132" y="9276"/>
                    <a:pt x="1846" y="8990"/>
                    <a:pt x="1524" y="8990"/>
                  </a:cubicBezTo>
                  <a:lnTo>
                    <a:pt x="1203" y="8990"/>
                  </a:lnTo>
                  <a:lnTo>
                    <a:pt x="1203" y="8621"/>
                  </a:lnTo>
                  <a:cubicBezTo>
                    <a:pt x="1203" y="8526"/>
                    <a:pt x="1132" y="8454"/>
                    <a:pt x="1048" y="8454"/>
                  </a:cubicBezTo>
                  <a:cubicBezTo>
                    <a:pt x="953" y="8454"/>
                    <a:pt x="882" y="8526"/>
                    <a:pt x="882" y="8621"/>
                  </a:cubicBezTo>
                  <a:lnTo>
                    <a:pt x="882" y="8990"/>
                  </a:lnTo>
                  <a:lnTo>
                    <a:pt x="608" y="8990"/>
                  </a:lnTo>
                  <a:cubicBezTo>
                    <a:pt x="274" y="8990"/>
                    <a:pt x="0" y="9276"/>
                    <a:pt x="0" y="9597"/>
                  </a:cubicBezTo>
                  <a:cubicBezTo>
                    <a:pt x="0" y="9931"/>
                    <a:pt x="286" y="10204"/>
                    <a:pt x="608" y="10204"/>
                  </a:cubicBezTo>
                  <a:lnTo>
                    <a:pt x="882" y="10204"/>
                  </a:lnTo>
                  <a:lnTo>
                    <a:pt x="882" y="10776"/>
                  </a:lnTo>
                  <a:cubicBezTo>
                    <a:pt x="882" y="11157"/>
                    <a:pt x="1191" y="11478"/>
                    <a:pt x="1584" y="11478"/>
                  </a:cubicBezTo>
                  <a:lnTo>
                    <a:pt x="9752" y="11478"/>
                  </a:lnTo>
                  <a:cubicBezTo>
                    <a:pt x="10133" y="11478"/>
                    <a:pt x="10454" y="11157"/>
                    <a:pt x="10454" y="10776"/>
                  </a:cubicBezTo>
                  <a:lnTo>
                    <a:pt x="10454" y="2156"/>
                  </a:lnTo>
                  <a:cubicBezTo>
                    <a:pt x="10454" y="2073"/>
                    <a:pt x="10371" y="1989"/>
                    <a:pt x="10287" y="1989"/>
                  </a:cubicBezTo>
                  <a:cubicBezTo>
                    <a:pt x="10192" y="1989"/>
                    <a:pt x="10121" y="2073"/>
                    <a:pt x="10121" y="2156"/>
                  </a:cubicBezTo>
                  <a:lnTo>
                    <a:pt x="10121" y="10776"/>
                  </a:lnTo>
                  <a:cubicBezTo>
                    <a:pt x="10121" y="10978"/>
                    <a:pt x="9954" y="11145"/>
                    <a:pt x="9752" y="11145"/>
                  </a:cubicBezTo>
                  <a:lnTo>
                    <a:pt x="8954" y="11145"/>
                  </a:lnTo>
                  <a:cubicBezTo>
                    <a:pt x="9014" y="11038"/>
                    <a:pt x="9061" y="10919"/>
                    <a:pt x="9061" y="10800"/>
                  </a:cubicBezTo>
                  <a:lnTo>
                    <a:pt x="9549" y="10800"/>
                  </a:lnTo>
                  <a:cubicBezTo>
                    <a:pt x="9645" y="10800"/>
                    <a:pt x="9716" y="10728"/>
                    <a:pt x="9716" y="10645"/>
                  </a:cubicBezTo>
                  <a:lnTo>
                    <a:pt x="9716" y="858"/>
                  </a:lnTo>
                  <a:cubicBezTo>
                    <a:pt x="9716" y="775"/>
                    <a:pt x="9645" y="691"/>
                    <a:pt x="9549" y="691"/>
                  </a:cubicBezTo>
                  <a:lnTo>
                    <a:pt x="9061" y="691"/>
                  </a:lnTo>
                  <a:cubicBezTo>
                    <a:pt x="9061" y="560"/>
                    <a:pt x="9014" y="441"/>
                    <a:pt x="8954" y="358"/>
                  </a:cubicBezTo>
                  <a:lnTo>
                    <a:pt x="9752" y="358"/>
                  </a:lnTo>
                  <a:cubicBezTo>
                    <a:pt x="9954" y="358"/>
                    <a:pt x="10121" y="525"/>
                    <a:pt x="10121" y="727"/>
                  </a:cubicBezTo>
                  <a:lnTo>
                    <a:pt x="10121" y="1430"/>
                  </a:lnTo>
                  <a:cubicBezTo>
                    <a:pt x="10097" y="1489"/>
                    <a:pt x="10168" y="1561"/>
                    <a:pt x="10276" y="1561"/>
                  </a:cubicBezTo>
                  <a:cubicBezTo>
                    <a:pt x="10359" y="1561"/>
                    <a:pt x="10430" y="1489"/>
                    <a:pt x="10430" y="1394"/>
                  </a:cubicBezTo>
                  <a:lnTo>
                    <a:pt x="10430" y="691"/>
                  </a:lnTo>
                  <a:cubicBezTo>
                    <a:pt x="10430" y="310"/>
                    <a:pt x="10121" y="1"/>
                    <a:pt x="97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0" name="Google Shape;11130;p60"/>
            <p:cNvSpPr/>
            <p:nvPr/>
          </p:nvSpPr>
          <p:spPr>
            <a:xfrm>
              <a:off x="1314678" y="3358981"/>
              <a:ext cx="79632" cy="254684"/>
            </a:xfrm>
            <a:custGeom>
              <a:avLst/>
              <a:gdLst/>
              <a:ahLst/>
              <a:cxnLst/>
              <a:rect l="l" t="t" r="r" b="b"/>
              <a:pathLst>
                <a:path w="2502" h="8002" extrusionOk="0">
                  <a:moveTo>
                    <a:pt x="1537" y="1537"/>
                  </a:moveTo>
                  <a:cubicBezTo>
                    <a:pt x="1680" y="1537"/>
                    <a:pt x="1811" y="1656"/>
                    <a:pt x="1811" y="1822"/>
                  </a:cubicBezTo>
                  <a:cubicBezTo>
                    <a:pt x="1811" y="1989"/>
                    <a:pt x="1692" y="2108"/>
                    <a:pt x="1537" y="2108"/>
                  </a:cubicBezTo>
                  <a:lnTo>
                    <a:pt x="608" y="2108"/>
                  </a:lnTo>
                  <a:cubicBezTo>
                    <a:pt x="465" y="2108"/>
                    <a:pt x="334" y="1989"/>
                    <a:pt x="334" y="1822"/>
                  </a:cubicBezTo>
                  <a:cubicBezTo>
                    <a:pt x="334" y="1668"/>
                    <a:pt x="453" y="1537"/>
                    <a:pt x="608" y="1537"/>
                  </a:cubicBezTo>
                  <a:close/>
                  <a:moveTo>
                    <a:pt x="1549" y="4132"/>
                  </a:moveTo>
                  <a:cubicBezTo>
                    <a:pt x="1692" y="4132"/>
                    <a:pt x="1835" y="4251"/>
                    <a:pt x="1835" y="4406"/>
                  </a:cubicBezTo>
                  <a:cubicBezTo>
                    <a:pt x="1835" y="4573"/>
                    <a:pt x="1715" y="4692"/>
                    <a:pt x="1549" y="4692"/>
                  </a:cubicBezTo>
                  <a:lnTo>
                    <a:pt x="632" y="4692"/>
                  </a:lnTo>
                  <a:cubicBezTo>
                    <a:pt x="465" y="4680"/>
                    <a:pt x="346" y="4561"/>
                    <a:pt x="346" y="4406"/>
                  </a:cubicBezTo>
                  <a:cubicBezTo>
                    <a:pt x="346" y="4263"/>
                    <a:pt x="465" y="4132"/>
                    <a:pt x="632" y="4132"/>
                  </a:cubicBezTo>
                  <a:close/>
                  <a:moveTo>
                    <a:pt x="1549" y="6704"/>
                  </a:moveTo>
                  <a:cubicBezTo>
                    <a:pt x="1715" y="6704"/>
                    <a:pt x="1835" y="6835"/>
                    <a:pt x="1835" y="6990"/>
                  </a:cubicBezTo>
                  <a:cubicBezTo>
                    <a:pt x="1835" y="7132"/>
                    <a:pt x="1715" y="7263"/>
                    <a:pt x="1549" y="7263"/>
                  </a:cubicBezTo>
                  <a:lnTo>
                    <a:pt x="632" y="7263"/>
                  </a:lnTo>
                  <a:cubicBezTo>
                    <a:pt x="477" y="7263"/>
                    <a:pt x="346" y="7144"/>
                    <a:pt x="346" y="6990"/>
                  </a:cubicBezTo>
                  <a:cubicBezTo>
                    <a:pt x="346" y="6823"/>
                    <a:pt x="465" y="6704"/>
                    <a:pt x="632" y="6704"/>
                  </a:cubicBezTo>
                  <a:close/>
                  <a:moveTo>
                    <a:pt x="1608" y="1"/>
                  </a:moveTo>
                  <a:cubicBezTo>
                    <a:pt x="1227" y="1"/>
                    <a:pt x="906" y="310"/>
                    <a:pt x="906" y="703"/>
                  </a:cubicBezTo>
                  <a:lnTo>
                    <a:pt x="906" y="1239"/>
                  </a:lnTo>
                  <a:lnTo>
                    <a:pt x="608" y="1239"/>
                  </a:lnTo>
                  <a:cubicBezTo>
                    <a:pt x="275" y="1239"/>
                    <a:pt x="1" y="1525"/>
                    <a:pt x="1" y="1846"/>
                  </a:cubicBezTo>
                  <a:cubicBezTo>
                    <a:pt x="1" y="2179"/>
                    <a:pt x="287" y="2465"/>
                    <a:pt x="608" y="2465"/>
                  </a:cubicBezTo>
                  <a:lnTo>
                    <a:pt x="906" y="2465"/>
                  </a:lnTo>
                  <a:lnTo>
                    <a:pt x="906" y="3799"/>
                  </a:lnTo>
                  <a:lnTo>
                    <a:pt x="608" y="3799"/>
                  </a:lnTo>
                  <a:cubicBezTo>
                    <a:pt x="275" y="3799"/>
                    <a:pt x="1" y="4084"/>
                    <a:pt x="1" y="4406"/>
                  </a:cubicBezTo>
                  <a:cubicBezTo>
                    <a:pt x="1" y="4739"/>
                    <a:pt x="287" y="5025"/>
                    <a:pt x="608" y="5025"/>
                  </a:cubicBezTo>
                  <a:lnTo>
                    <a:pt x="906" y="5025"/>
                  </a:lnTo>
                  <a:lnTo>
                    <a:pt x="906" y="6359"/>
                  </a:lnTo>
                  <a:lnTo>
                    <a:pt x="632" y="6359"/>
                  </a:lnTo>
                  <a:cubicBezTo>
                    <a:pt x="287" y="6359"/>
                    <a:pt x="13" y="6644"/>
                    <a:pt x="13" y="6966"/>
                  </a:cubicBezTo>
                  <a:cubicBezTo>
                    <a:pt x="13" y="7299"/>
                    <a:pt x="299" y="7585"/>
                    <a:pt x="632" y="7585"/>
                  </a:cubicBezTo>
                  <a:lnTo>
                    <a:pt x="906" y="7585"/>
                  </a:lnTo>
                  <a:lnTo>
                    <a:pt x="906" y="7835"/>
                  </a:lnTo>
                  <a:cubicBezTo>
                    <a:pt x="906" y="7918"/>
                    <a:pt x="977" y="8002"/>
                    <a:pt x="1073" y="8002"/>
                  </a:cubicBezTo>
                  <a:cubicBezTo>
                    <a:pt x="1168" y="8002"/>
                    <a:pt x="1239" y="7918"/>
                    <a:pt x="1239" y="7835"/>
                  </a:cubicBezTo>
                  <a:lnTo>
                    <a:pt x="1239" y="7585"/>
                  </a:lnTo>
                  <a:lnTo>
                    <a:pt x="1537" y="7585"/>
                  </a:lnTo>
                  <a:cubicBezTo>
                    <a:pt x="1882" y="7585"/>
                    <a:pt x="2144" y="7299"/>
                    <a:pt x="2144" y="6966"/>
                  </a:cubicBezTo>
                  <a:cubicBezTo>
                    <a:pt x="2144" y="6644"/>
                    <a:pt x="1858" y="6359"/>
                    <a:pt x="1537" y="6359"/>
                  </a:cubicBezTo>
                  <a:lnTo>
                    <a:pt x="1239" y="6359"/>
                  </a:lnTo>
                  <a:lnTo>
                    <a:pt x="1239" y="5025"/>
                  </a:lnTo>
                  <a:lnTo>
                    <a:pt x="1537" y="5025"/>
                  </a:lnTo>
                  <a:cubicBezTo>
                    <a:pt x="1882" y="5025"/>
                    <a:pt x="2144" y="4739"/>
                    <a:pt x="2144" y="4406"/>
                  </a:cubicBezTo>
                  <a:cubicBezTo>
                    <a:pt x="2144" y="4084"/>
                    <a:pt x="1858" y="3799"/>
                    <a:pt x="1537" y="3799"/>
                  </a:cubicBezTo>
                  <a:lnTo>
                    <a:pt x="1239" y="3799"/>
                  </a:lnTo>
                  <a:lnTo>
                    <a:pt x="1239" y="2465"/>
                  </a:lnTo>
                  <a:lnTo>
                    <a:pt x="1525" y="2465"/>
                  </a:lnTo>
                  <a:cubicBezTo>
                    <a:pt x="1858" y="2465"/>
                    <a:pt x="2132" y="2179"/>
                    <a:pt x="2132" y="1846"/>
                  </a:cubicBezTo>
                  <a:cubicBezTo>
                    <a:pt x="2132" y="1525"/>
                    <a:pt x="1846" y="1239"/>
                    <a:pt x="1525" y="1239"/>
                  </a:cubicBezTo>
                  <a:lnTo>
                    <a:pt x="1239" y="1239"/>
                  </a:lnTo>
                  <a:lnTo>
                    <a:pt x="1239" y="703"/>
                  </a:lnTo>
                  <a:cubicBezTo>
                    <a:pt x="1239" y="489"/>
                    <a:pt x="1406" y="334"/>
                    <a:pt x="1608" y="334"/>
                  </a:cubicBezTo>
                  <a:lnTo>
                    <a:pt x="2335" y="334"/>
                  </a:lnTo>
                  <a:cubicBezTo>
                    <a:pt x="2430" y="334"/>
                    <a:pt x="2501" y="251"/>
                    <a:pt x="2501" y="167"/>
                  </a:cubicBezTo>
                  <a:cubicBezTo>
                    <a:pt x="2501" y="72"/>
                    <a:pt x="2430" y="1"/>
                    <a:pt x="2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1" name="Google Shape;11131;p60"/>
            <p:cNvSpPr/>
            <p:nvPr/>
          </p:nvSpPr>
          <p:spPr>
            <a:xfrm>
              <a:off x="1411688" y="3629546"/>
              <a:ext cx="139118" cy="10662"/>
            </a:xfrm>
            <a:custGeom>
              <a:avLst/>
              <a:gdLst/>
              <a:ahLst/>
              <a:cxnLst/>
              <a:rect l="l" t="t" r="r" b="b"/>
              <a:pathLst>
                <a:path w="4371" h="335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8" y="334"/>
                  </a:cubicBezTo>
                  <a:lnTo>
                    <a:pt x="4204" y="334"/>
                  </a:lnTo>
                  <a:cubicBezTo>
                    <a:pt x="4287" y="334"/>
                    <a:pt x="4371" y="251"/>
                    <a:pt x="4371" y="167"/>
                  </a:cubicBezTo>
                  <a:cubicBezTo>
                    <a:pt x="4371" y="72"/>
                    <a:pt x="4287" y="1"/>
                    <a:pt x="4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2" name="Google Shape;11132;p60"/>
            <p:cNvSpPr/>
            <p:nvPr/>
          </p:nvSpPr>
          <p:spPr>
            <a:xfrm>
              <a:off x="1412070" y="3652303"/>
              <a:ext cx="139118" cy="10630"/>
            </a:xfrm>
            <a:custGeom>
              <a:avLst/>
              <a:gdLst/>
              <a:ahLst/>
              <a:cxnLst/>
              <a:rect l="l" t="t" r="r" b="b"/>
              <a:pathLst>
                <a:path w="4371" h="334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4204" y="333"/>
                  </a:lnTo>
                  <a:cubicBezTo>
                    <a:pt x="4299" y="333"/>
                    <a:pt x="4370" y="250"/>
                    <a:pt x="4370" y="167"/>
                  </a:cubicBezTo>
                  <a:cubicBezTo>
                    <a:pt x="4370" y="72"/>
                    <a:pt x="4299" y="0"/>
                    <a:pt x="4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3" name="Google Shape;11133;p60"/>
            <p:cNvSpPr/>
            <p:nvPr/>
          </p:nvSpPr>
          <p:spPr>
            <a:xfrm>
              <a:off x="1432153" y="3417352"/>
              <a:ext cx="83802" cy="191379"/>
            </a:xfrm>
            <a:custGeom>
              <a:avLst/>
              <a:gdLst/>
              <a:ahLst/>
              <a:cxnLst/>
              <a:rect l="l" t="t" r="r" b="b"/>
              <a:pathLst>
                <a:path w="2633" h="6013" extrusionOk="0">
                  <a:moveTo>
                    <a:pt x="1763" y="357"/>
                  </a:moveTo>
                  <a:cubicBezTo>
                    <a:pt x="1882" y="357"/>
                    <a:pt x="2037" y="405"/>
                    <a:pt x="2251" y="488"/>
                  </a:cubicBezTo>
                  <a:lnTo>
                    <a:pt x="2263" y="512"/>
                  </a:lnTo>
                  <a:lnTo>
                    <a:pt x="2096" y="1488"/>
                  </a:lnTo>
                  <a:cubicBezTo>
                    <a:pt x="2096" y="1500"/>
                    <a:pt x="2084" y="1500"/>
                    <a:pt x="2084" y="1500"/>
                  </a:cubicBezTo>
                  <a:lnTo>
                    <a:pt x="1596" y="1441"/>
                  </a:lnTo>
                  <a:lnTo>
                    <a:pt x="1561" y="1441"/>
                  </a:lnTo>
                  <a:cubicBezTo>
                    <a:pt x="965" y="1477"/>
                    <a:pt x="751" y="2143"/>
                    <a:pt x="751" y="2691"/>
                  </a:cubicBezTo>
                  <a:lnTo>
                    <a:pt x="751" y="3382"/>
                  </a:lnTo>
                  <a:cubicBezTo>
                    <a:pt x="751" y="3501"/>
                    <a:pt x="763" y="3822"/>
                    <a:pt x="894" y="4120"/>
                  </a:cubicBezTo>
                  <a:cubicBezTo>
                    <a:pt x="1025" y="4441"/>
                    <a:pt x="1263" y="4608"/>
                    <a:pt x="1561" y="4632"/>
                  </a:cubicBezTo>
                  <a:lnTo>
                    <a:pt x="1596" y="4632"/>
                  </a:lnTo>
                  <a:lnTo>
                    <a:pt x="2084" y="4572"/>
                  </a:lnTo>
                  <a:cubicBezTo>
                    <a:pt x="2096" y="4572"/>
                    <a:pt x="2096" y="4572"/>
                    <a:pt x="2096" y="4584"/>
                  </a:cubicBezTo>
                  <a:lnTo>
                    <a:pt x="2263" y="5572"/>
                  </a:lnTo>
                  <a:cubicBezTo>
                    <a:pt x="2263" y="5572"/>
                    <a:pt x="2263" y="5584"/>
                    <a:pt x="2251" y="5584"/>
                  </a:cubicBezTo>
                  <a:cubicBezTo>
                    <a:pt x="2037" y="5668"/>
                    <a:pt x="1882" y="5715"/>
                    <a:pt x="1763" y="5715"/>
                  </a:cubicBezTo>
                  <a:cubicBezTo>
                    <a:pt x="1608" y="5715"/>
                    <a:pt x="1251" y="5632"/>
                    <a:pt x="941" y="5298"/>
                  </a:cubicBezTo>
                  <a:cubicBezTo>
                    <a:pt x="537" y="4882"/>
                    <a:pt x="334" y="4227"/>
                    <a:pt x="334" y="3393"/>
                  </a:cubicBezTo>
                  <a:lnTo>
                    <a:pt x="334" y="2679"/>
                  </a:lnTo>
                  <a:cubicBezTo>
                    <a:pt x="334" y="1846"/>
                    <a:pt x="537" y="1191"/>
                    <a:pt x="941" y="774"/>
                  </a:cubicBezTo>
                  <a:cubicBezTo>
                    <a:pt x="1263" y="453"/>
                    <a:pt x="1620" y="357"/>
                    <a:pt x="1763" y="357"/>
                  </a:cubicBezTo>
                  <a:close/>
                  <a:moveTo>
                    <a:pt x="1775" y="0"/>
                  </a:moveTo>
                  <a:cubicBezTo>
                    <a:pt x="1525" y="0"/>
                    <a:pt x="1084" y="131"/>
                    <a:pt x="715" y="500"/>
                  </a:cubicBezTo>
                  <a:cubicBezTo>
                    <a:pt x="239" y="988"/>
                    <a:pt x="1" y="1715"/>
                    <a:pt x="1" y="2643"/>
                  </a:cubicBezTo>
                  <a:lnTo>
                    <a:pt x="1" y="3358"/>
                  </a:lnTo>
                  <a:cubicBezTo>
                    <a:pt x="1" y="4298"/>
                    <a:pt x="239" y="5013"/>
                    <a:pt x="715" y="5501"/>
                  </a:cubicBezTo>
                  <a:cubicBezTo>
                    <a:pt x="1084" y="5882"/>
                    <a:pt x="1525" y="6013"/>
                    <a:pt x="1775" y="6013"/>
                  </a:cubicBezTo>
                  <a:cubicBezTo>
                    <a:pt x="1965" y="6013"/>
                    <a:pt x="2215" y="5918"/>
                    <a:pt x="2394" y="5858"/>
                  </a:cubicBezTo>
                  <a:cubicBezTo>
                    <a:pt x="2549" y="5799"/>
                    <a:pt x="2632" y="5644"/>
                    <a:pt x="2608" y="5477"/>
                  </a:cubicBezTo>
                  <a:lnTo>
                    <a:pt x="2442" y="4489"/>
                  </a:lnTo>
                  <a:cubicBezTo>
                    <a:pt x="2419" y="4307"/>
                    <a:pt x="2255" y="4190"/>
                    <a:pt x="2075" y="4190"/>
                  </a:cubicBezTo>
                  <a:cubicBezTo>
                    <a:pt x="2066" y="4190"/>
                    <a:pt x="2058" y="4191"/>
                    <a:pt x="2049" y="4191"/>
                  </a:cubicBezTo>
                  <a:lnTo>
                    <a:pt x="1573" y="4251"/>
                  </a:lnTo>
                  <a:cubicBezTo>
                    <a:pt x="1108" y="4215"/>
                    <a:pt x="1108" y="3382"/>
                    <a:pt x="1108" y="3334"/>
                  </a:cubicBezTo>
                  <a:lnTo>
                    <a:pt x="1108" y="2643"/>
                  </a:lnTo>
                  <a:cubicBezTo>
                    <a:pt x="1108" y="2643"/>
                    <a:pt x="1108" y="2644"/>
                    <a:pt x="1108" y="2644"/>
                  </a:cubicBezTo>
                  <a:cubicBezTo>
                    <a:pt x="1084" y="2644"/>
                    <a:pt x="1088" y="1798"/>
                    <a:pt x="1561" y="1762"/>
                  </a:cubicBezTo>
                  <a:lnTo>
                    <a:pt x="2037" y="1822"/>
                  </a:lnTo>
                  <a:cubicBezTo>
                    <a:pt x="2053" y="1824"/>
                    <a:pt x="2068" y="1825"/>
                    <a:pt x="2084" y="1825"/>
                  </a:cubicBezTo>
                  <a:cubicBezTo>
                    <a:pt x="2263" y="1825"/>
                    <a:pt x="2397" y="1700"/>
                    <a:pt x="2430" y="1524"/>
                  </a:cubicBezTo>
                  <a:lnTo>
                    <a:pt x="2596" y="536"/>
                  </a:lnTo>
                  <a:cubicBezTo>
                    <a:pt x="2620" y="369"/>
                    <a:pt x="2537" y="203"/>
                    <a:pt x="2382" y="143"/>
                  </a:cubicBezTo>
                  <a:cubicBezTo>
                    <a:pt x="2215" y="72"/>
                    <a:pt x="1965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34" name="Google Shape;11134;p60"/>
          <p:cNvGrpSpPr/>
          <p:nvPr/>
        </p:nvGrpSpPr>
        <p:grpSpPr>
          <a:xfrm>
            <a:off x="1748582" y="3372635"/>
            <a:ext cx="359269" cy="335780"/>
            <a:chOff x="1748582" y="3372635"/>
            <a:chExt cx="359269" cy="335780"/>
          </a:xfrm>
        </p:grpSpPr>
        <p:sp>
          <p:nvSpPr>
            <p:cNvPr id="11135" name="Google Shape;11135;p60"/>
            <p:cNvSpPr/>
            <p:nvPr/>
          </p:nvSpPr>
          <p:spPr>
            <a:xfrm>
              <a:off x="2080161" y="3535210"/>
              <a:ext cx="27690" cy="10630"/>
            </a:xfrm>
            <a:custGeom>
              <a:avLst/>
              <a:gdLst/>
              <a:ahLst/>
              <a:cxnLst/>
              <a:rect l="l" t="t" r="r" b="b"/>
              <a:pathLst>
                <a:path w="870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703" y="333"/>
                  </a:lnTo>
                  <a:cubicBezTo>
                    <a:pt x="786" y="333"/>
                    <a:pt x="870" y="262"/>
                    <a:pt x="870" y="167"/>
                  </a:cubicBezTo>
                  <a:cubicBezTo>
                    <a:pt x="870" y="83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1136" name="Google Shape;11136;p60"/>
            <p:cNvGrpSpPr/>
            <p:nvPr/>
          </p:nvGrpSpPr>
          <p:grpSpPr>
            <a:xfrm>
              <a:off x="1748582" y="3372635"/>
              <a:ext cx="333520" cy="335780"/>
              <a:chOff x="1748582" y="3372635"/>
              <a:chExt cx="333520" cy="335780"/>
            </a:xfrm>
          </p:grpSpPr>
          <p:sp>
            <p:nvSpPr>
              <p:cNvPr id="11137" name="Google Shape;11137;p60"/>
              <p:cNvSpPr/>
              <p:nvPr/>
            </p:nvSpPr>
            <p:spPr>
              <a:xfrm>
                <a:off x="1748582" y="3372635"/>
                <a:ext cx="308504" cy="335780"/>
              </a:xfrm>
              <a:custGeom>
                <a:avLst/>
                <a:gdLst/>
                <a:ahLst/>
                <a:cxnLst/>
                <a:rect l="l" t="t" r="r" b="b"/>
                <a:pathLst>
                  <a:path w="9693" h="10550" extrusionOk="0">
                    <a:moveTo>
                      <a:pt x="8454" y="4215"/>
                    </a:moveTo>
                    <a:cubicBezTo>
                      <a:pt x="8978" y="4298"/>
                      <a:pt x="9359" y="4739"/>
                      <a:pt x="9359" y="5275"/>
                    </a:cubicBezTo>
                    <a:cubicBezTo>
                      <a:pt x="9359" y="5811"/>
                      <a:pt x="8978" y="6263"/>
                      <a:pt x="8454" y="6334"/>
                    </a:cubicBezTo>
                    <a:lnTo>
                      <a:pt x="8454" y="4215"/>
                    </a:lnTo>
                    <a:close/>
                    <a:moveTo>
                      <a:pt x="1251" y="4036"/>
                    </a:moveTo>
                    <a:lnTo>
                      <a:pt x="1251" y="6525"/>
                    </a:lnTo>
                    <a:lnTo>
                      <a:pt x="894" y="6525"/>
                    </a:lnTo>
                    <a:cubicBezTo>
                      <a:pt x="596" y="6525"/>
                      <a:pt x="358" y="6287"/>
                      <a:pt x="358" y="5989"/>
                    </a:cubicBezTo>
                    <a:lnTo>
                      <a:pt x="358" y="4572"/>
                    </a:lnTo>
                    <a:cubicBezTo>
                      <a:pt x="358" y="4275"/>
                      <a:pt x="596" y="4036"/>
                      <a:pt x="894" y="4036"/>
                    </a:cubicBezTo>
                    <a:close/>
                    <a:moveTo>
                      <a:pt x="2668" y="4025"/>
                    </a:moveTo>
                    <a:lnTo>
                      <a:pt x="2668" y="6525"/>
                    </a:lnTo>
                    <a:lnTo>
                      <a:pt x="1584" y="6525"/>
                    </a:lnTo>
                    <a:lnTo>
                      <a:pt x="1584" y="4025"/>
                    </a:lnTo>
                    <a:close/>
                    <a:moveTo>
                      <a:pt x="2846" y="7727"/>
                    </a:moveTo>
                    <a:lnTo>
                      <a:pt x="2846" y="8466"/>
                    </a:lnTo>
                    <a:lnTo>
                      <a:pt x="2537" y="8466"/>
                    </a:lnTo>
                    <a:lnTo>
                      <a:pt x="2727" y="7727"/>
                    </a:lnTo>
                    <a:close/>
                    <a:moveTo>
                      <a:pt x="2608" y="6834"/>
                    </a:moveTo>
                    <a:lnTo>
                      <a:pt x="2001" y="9156"/>
                    </a:lnTo>
                    <a:lnTo>
                      <a:pt x="1584" y="9156"/>
                    </a:lnTo>
                    <a:lnTo>
                      <a:pt x="1584" y="6834"/>
                    </a:lnTo>
                    <a:close/>
                    <a:moveTo>
                      <a:pt x="8133" y="357"/>
                    </a:moveTo>
                    <a:lnTo>
                      <a:pt x="8133" y="10228"/>
                    </a:lnTo>
                    <a:lnTo>
                      <a:pt x="7394" y="10228"/>
                    </a:lnTo>
                    <a:lnTo>
                      <a:pt x="7394" y="3251"/>
                    </a:lnTo>
                    <a:cubicBezTo>
                      <a:pt x="7394" y="3167"/>
                      <a:pt x="7323" y="3084"/>
                      <a:pt x="7240" y="3084"/>
                    </a:cubicBezTo>
                    <a:cubicBezTo>
                      <a:pt x="7144" y="3084"/>
                      <a:pt x="7073" y="3167"/>
                      <a:pt x="7073" y="3251"/>
                    </a:cubicBezTo>
                    <a:lnTo>
                      <a:pt x="7073" y="9144"/>
                    </a:lnTo>
                    <a:cubicBezTo>
                      <a:pt x="6859" y="8859"/>
                      <a:pt x="6549" y="8466"/>
                      <a:pt x="6132" y="8073"/>
                    </a:cubicBezTo>
                    <a:cubicBezTo>
                      <a:pt x="5668" y="7632"/>
                      <a:pt x="5192" y="7275"/>
                      <a:pt x="4704" y="7013"/>
                    </a:cubicBezTo>
                    <a:cubicBezTo>
                      <a:pt x="4132" y="6715"/>
                      <a:pt x="3561" y="6561"/>
                      <a:pt x="2989" y="6537"/>
                    </a:cubicBezTo>
                    <a:lnTo>
                      <a:pt x="2989" y="4036"/>
                    </a:lnTo>
                    <a:cubicBezTo>
                      <a:pt x="3572" y="4013"/>
                      <a:pt x="4132" y="3846"/>
                      <a:pt x="4704" y="3560"/>
                    </a:cubicBezTo>
                    <a:cubicBezTo>
                      <a:pt x="5192" y="3310"/>
                      <a:pt x="5668" y="2953"/>
                      <a:pt x="6132" y="2501"/>
                    </a:cubicBezTo>
                    <a:cubicBezTo>
                      <a:pt x="6537" y="2108"/>
                      <a:pt x="6847" y="1715"/>
                      <a:pt x="7073" y="1429"/>
                    </a:cubicBezTo>
                    <a:lnTo>
                      <a:pt x="7073" y="2489"/>
                    </a:lnTo>
                    <a:cubicBezTo>
                      <a:pt x="7073" y="2584"/>
                      <a:pt x="7144" y="2655"/>
                      <a:pt x="7240" y="2655"/>
                    </a:cubicBezTo>
                    <a:cubicBezTo>
                      <a:pt x="7323" y="2655"/>
                      <a:pt x="7394" y="2584"/>
                      <a:pt x="7394" y="2489"/>
                    </a:cubicBezTo>
                    <a:lnTo>
                      <a:pt x="7394" y="357"/>
                    </a:lnTo>
                    <a:close/>
                    <a:moveTo>
                      <a:pt x="7228" y="0"/>
                    </a:moveTo>
                    <a:cubicBezTo>
                      <a:pt x="7144" y="0"/>
                      <a:pt x="7073" y="84"/>
                      <a:pt x="7073" y="167"/>
                    </a:cubicBezTo>
                    <a:lnTo>
                      <a:pt x="7073" y="822"/>
                    </a:lnTo>
                    <a:cubicBezTo>
                      <a:pt x="6966" y="988"/>
                      <a:pt x="6549" y="1631"/>
                      <a:pt x="5906" y="2251"/>
                    </a:cubicBezTo>
                    <a:cubicBezTo>
                      <a:pt x="5227" y="2905"/>
                      <a:pt x="4132" y="3703"/>
                      <a:pt x="2822" y="3703"/>
                    </a:cubicBezTo>
                    <a:lnTo>
                      <a:pt x="882" y="3703"/>
                    </a:lnTo>
                    <a:cubicBezTo>
                      <a:pt x="405" y="3703"/>
                      <a:pt x="1" y="4084"/>
                      <a:pt x="1" y="4572"/>
                    </a:cubicBezTo>
                    <a:lnTo>
                      <a:pt x="1" y="5989"/>
                    </a:lnTo>
                    <a:cubicBezTo>
                      <a:pt x="1" y="6465"/>
                      <a:pt x="382" y="6870"/>
                      <a:pt x="882" y="6870"/>
                    </a:cubicBezTo>
                    <a:lnTo>
                      <a:pt x="1239" y="6870"/>
                    </a:lnTo>
                    <a:lnTo>
                      <a:pt x="1239" y="9359"/>
                    </a:lnTo>
                    <a:cubicBezTo>
                      <a:pt x="1239" y="9442"/>
                      <a:pt x="1310" y="9513"/>
                      <a:pt x="1394" y="9513"/>
                    </a:cubicBezTo>
                    <a:lnTo>
                      <a:pt x="2096" y="9513"/>
                    </a:lnTo>
                    <a:cubicBezTo>
                      <a:pt x="2168" y="9513"/>
                      <a:pt x="2227" y="9478"/>
                      <a:pt x="2263" y="9394"/>
                    </a:cubicBezTo>
                    <a:lnTo>
                      <a:pt x="2406" y="8823"/>
                    </a:lnTo>
                    <a:lnTo>
                      <a:pt x="2977" y="8823"/>
                    </a:lnTo>
                    <a:cubicBezTo>
                      <a:pt x="3061" y="8823"/>
                      <a:pt x="3144" y="8739"/>
                      <a:pt x="3144" y="8656"/>
                    </a:cubicBezTo>
                    <a:lnTo>
                      <a:pt x="3144" y="7573"/>
                    </a:lnTo>
                    <a:cubicBezTo>
                      <a:pt x="3144" y="7477"/>
                      <a:pt x="3061" y="7406"/>
                      <a:pt x="2977" y="7406"/>
                    </a:cubicBezTo>
                    <a:lnTo>
                      <a:pt x="2787" y="7406"/>
                    </a:lnTo>
                    <a:lnTo>
                      <a:pt x="2930" y="6858"/>
                    </a:lnTo>
                    <a:cubicBezTo>
                      <a:pt x="4180" y="6894"/>
                      <a:pt x="5227" y="7656"/>
                      <a:pt x="5882" y="8299"/>
                    </a:cubicBezTo>
                    <a:cubicBezTo>
                      <a:pt x="6537" y="8942"/>
                      <a:pt x="6954" y="9573"/>
                      <a:pt x="7037" y="9728"/>
                    </a:cubicBezTo>
                    <a:lnTo>
                      <a:pt x="7037" y="10383"/>
                    </a:lnTo>
                    <a:cubicBezTo>
                      <a:pt x="7037" y="10466"/>
                      <a:pt x="7109" y="10549"/>
                      <a:pt x="7204" y="10549"/>
                    </a:cubicBezTo>
                    <a:lnTo>
                      <a:pt x="8264" y="10549"/>
                    </a:lnTo>
                    <a:cubicBezTo>
                      <a:pt x="8347" y="10549"/>
                      <a:pt x="8430" y="10466"/>
                      <a:pt x="8430" y="10383"/>
                    </a:cubicBezTo>
                    <a:lnTo>
                      <a:pt x="8430" y="6656"/>
                    </a:lnTo>
                    <a:cubicBezTo>
                      <a:pt x="9121" y="6573"/>
                      <a:pt x="9657" y="5989"/>
                      <a:pt x="9657" y="5275"/>
                    </a:cubicBezTo>
                    <a:cubicBezTo>
                      <a:pt x="9692" y="4560"/>
                      <a:pt x="9168" y="3965"/>
                      <a:pt x="8454" y="3894"/>
                    </a:cubicBezTo>
                    <a:lnTo>
                      <a:pt x="8454" y="167"/>
                    </a:lnTo>
                    <a:cubicBezTo>
                      <a:pt x="8454" y="84"/>
                      <a:pt x="8383" y="0"/>
                      <a:pt x="8287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8" name="Google Shape;11138;p60"/>
              <p:cNvSpPr/>
              <p:nvPr/>
            </p:nvSpPr>
            <p:spPr>
              <a:xfrm>
                <a:off x="2057054" y="3472000"/>
                <a:ext cx="25048" cy="22311"/>
              </a:xfrm>
              <a:custGeom>
                <a:avLst/>
                <a:gdLst/>
                <a:ahLst/>
                <a:cxnLst/>
                <a:rect l="l" t="t" r="r" b="b"/>
                <a:pathLst>
                  <a:path w="787" h="701" extrusionOk="0">
                    <a:moveTo>
                      <a:pt x="600" y="1"/>
                    </a:moveTo>
                    <a:cubicBezTo>
                      <a:pt x="557" y="1"/>
                      <a:pt x="512" y="16"/>
                      <a:pt x="477" y="45"/>
                    </a:cubicBezTo>
                    <a:lnTo>
                      <a:pt x="107" y="414"/>
                    </a:lnTo>
                    <a:cubicBezTo>
                      <a:pt x="0" y="522"/>
                      <a:pt x="72" y="700"/>
                      <a:pt x="227" y="700"/>
                    </a:cubicBezTo>
                    <a:cubicBezTo>
                      <a:pt x="262" y="700"/>
                      <a:pt x="310" y="676"/>
                      <a:pt x="346" y="653"/>
                    </a:cubicBezTo>
                    <a:lnTo>
                      <a:pt x="715" y="283"/>
                    </a:lnTo>
                    <a:cubicBezTo>
                      <a:pt x="786" y="200"/>
                      <a:pt x="786" y="105"/>
                      <a:pt x="715" y="45"/>
                    </a:cubicBezTo>
                    <a:cubicBezTo>
                      <a:pt x="685" y="16"/>
                      <a:pt x="643" y="1"/>
                      <a:pt x="600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9" name="Google Shape;11139;p60"/>
              <p:cNvSpPr/>
              <p:nvPr/>
            </p:nvSpPr>
            <p:spPr>
              <a:xfrm>
                <a:off x="2058550" y="3586834"/>
                <a:ext cx="23552" cy="22629"/>
              </a:xfrm>
              <a:custGeom>
                <a:avLst/>
                <a:gdLst/>
                <a:ahLst/>
                <a:cxnLst/>
                <a:rect l="l" t="t" r="r" b="b"/>
                <a:pathLst>
                  <a:path w="740" h="711" extrusionOk="0">
                    <a:moveTo>
                      <a:pt x="184" y="0"/>
                    </a:moveTo>
                    <a:cubicBezTo>
                      <a:pt x="141" y="0"/>
                      <a:pt x="96" y="15"/>
                      <a:pt x="60" y="45"/>
                    </a:cubicBezTo>
                    <a:cubicBezTo>
                      <a:pt x="1" y="104"/>
                      <a:pt x="1" y="212"/>
                      <a:pt x="60" y="283"/>
                    </a:cubicBezTo>
                    <a:lnTo>
                      <a:pt x="430" y="664"/>
                    </a:lnTo>
                    <a:cubicBezTo>
                      <a:pt x="461" y="696"/>
                      <a:pt x="500" y="711"/>
                      <a:pt x="538" y="711"/>
                    </a:cubicBezTo>
                    <a:cubicBezTo>
                      <a:pt x="586" y="711"/>
                      <a:pt x="634" y="687"/>
                      <a:pt x="668" y="640"/>
                    </a:cubicBezTo>
                    <a:cubicBezTo>
                      <a:pt x="739" y="581"/>
                      <a:pt x="727" y="485"/>
                      <a:pt x="668" y="426"/>
                    </a:cubicBezTo>
                    <a:lnTo>
                      <a:pt x="299" y="45"/>
                    </a:lnTo>
                    <a:cubicBezTo>
                      <a:pt x="269" y="15"/>
                      <a:pt x="227" y="0"/>
                      <a:pt x="184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1140" name="Google Shape;11140;p60"/>
          <p:cNvGrpSpPr/>
          <p:nvPr/>
        </p:nvGrpSpPr>
        <p:grpSpPr>
          <a:xfrm>
            <a:off x="2640993" y="3357835"/>
            <a:ext cx="365348" cy="364966"/>
            <a:chOff x="2640993" y="3357835"/>
            <a:chExt cx="365348" cy="364966"/>
          </a:xfrm>
        </p:grpSpPr>
        <p:sp>
          <p:nvSpPr>
            <p:cNvPr id="11141" name="Google Shape;11141;p60"/>
            <p:cNvSpPr/>
            <p:nvPr/>
          </p:nvSpPr>
          <p:spPr>
            <a:xfrm>
              <a:off x="2640993" y="3455227"/>
              <a:ext cx="365348" cy="267574"/>
            </a:xfrm>
            <a:custGeom>
              <a:avLst/>
              <a:gdLst/>
              <a:ahLst/>
              <a:cxnLst/>
              <a:rect l="l" t="t" r="r" b="b"/>
              <a:pathLst>
                <a:path w="11479" h="8407" extrusionOk="0">
                  <a:moveTo>
                    <a:pt x="5168" y="2311"/>
                  </a:moveTo>
                  <a:lnTo>
                    <a:pt x="5335" y="4859"/>
                  </a:lnTo>
                  <a:lnTo>
                    <a:pt x="4620" y="4859"/>
                  </a:lnTo>
                  <a:lnTo>
                    <a:pt x="4763" y="2311"/>
                  </a:lnTo>
                  <a:close/>
                  <a:moveTo>
                    <a:pt x="6966" y="2311"/>
                  </a:moveTo>
                  <a:lnTo>
                    <a:pt x="7133" y="4859"/>
                  </a:lnTo>
                  <a:lnTo>
                    <a:pt x="6418" y="4859"/>
                  </a:lnTo>
                  <a:lnTo>
                    <a:pt x="6561" y="2311"/>
                  </a:lnTo>
                  <a:close/>
                  <a:moveTo>
                    <a:pt x="8764" y="2311"/>
                  </a:moveTo>
                  <a:lnTo>
                    <a:pt x="8931" y="4859"/>
                  </a:lnTo>
                  <a:lnTo>
                    <a:pt x="8216" y="4859"/>
                  </a:lnTo>
                  <a:lnTo>
                    <a:pt x="8371" y="2311"/>
                  </a:lnTo>
                  <a:close/>
                  <a:moveTo>
                    <a:pt x="2156" y="5894"/>
                  </a:moveTo>
                  <a:lnTo>
                    <a:pt x="2144" y="6287"/>
                  </a:lnTo>
                  <a:lnTo>
                    <a:pt x="1549" y="6287"/>
                  </a:lnTo>
                  <a:cubicBezTo>
                    <a:pt x="1453" y="6287"/>
                    <a:pt x="1382" y="6359"/>
                    <a:pt x="1382" y="6442"/>
                  </a:cubicBezTo>
                  <a:cubicBezTo>
                    <a:pt x="1382" y="6537"/>
                    <a:pt x="1453" y="6609"/>
                    <a:pt x="1549" y="6609"/>
                  </a:cubicBezTo>
                  <a:lnTo>
                    <a:pt x="2132" y="6609"/>
                  </a:lnTo>
                  <a:lnTo>
                    <a:pt x="2096" y="8073"/>
                  </a:lnTo>
                  <a:lnTo>
                    <a:pt x="822" y="8073"/>
                  </a:lnTo>
                  <a:lnTo>
                    <a:pt x="822" y="6609"/>
                  </a:lnTo>
                  <a:lnTo>
                    <a:pt x="834" y="6609"/>
                  </a:lnTo>
                  <a:cubicBezTo>
                    <a:pt x="918" y="6609"/>
                    <a:pt x="1001" y="6537"/>
                    <a:pt x="1001" y="6442"/>
                  </a:cubicBezTo>
                  <a:cubicBezTo>
                    <a:pt x="1001" y="6359"/>
                    <a:pt x="918" y="6287"/>
                    <a:pt x="834" y="6287"/>
                  </a:cubicBezTo>
                  <a:cubicBezTo>
                    <a:pt x="727" y="6287"/>
                    <a:pt x="644" y="6192"/>
                    <a:pt x="644" y="6085"/>
                  </a:cubicBezTo>
                  <a:cubicBezTo>
                    <a:pt x="644" y="5990"/>
                    <a:pt x="727" y="5894"/>
                    <a:pt x="834" y="5894"/>
                  </a:cubicBezTo>
                  <a:close/>
                  <a:moveTo>
                    <a:pt x="3382" y="334"/>
                  </a:moveTo>
                  <a:lnTo>
                    <a:pt x="3489" y="4859"/>
                  </a:lnTo>
                  <a:lnTo>
                    <a:pt x="3192" y="4859"/>
                  </a:lnTo>
                  <a:cubicBezTo>
                    <a:pt x="2894" y="4859"/>
                    <a:pt x="2668" y="5097"/>
                    <a:pt x="2668" y="5371"/>
                  </a:cubicBezTo>
                  <a:cubicBezTo>
                    <a:pt x="2668" y="5537"/>
                    <a:pt x="2739" y="5668"/>
                    <a:pt x="2846" y="5775"/>
                  </a:cubicBezTo>
                  <a:lnTo>
                    <a:pt x="2846" y="8085"/>
                  </a:lnTo>
                  <a:lnTo>
                    <a:pt x="2454" y="8085"/>
                  </a:lnTo>
                  <a:lnTo>
                    <a:pt x="2632" y="334"/>
                  </a:lnTo>
                  <a:close/>
                  <a:moveTo>
                    <a:pt x="10359" y="5180"/>
                  </a:moveTo>
                  <a:cubicBezTo>
                    <a:pt x="10466" y="5180"/>
                    <a:pt x="10550" y="5275"/>
                    <a:pt x="10550" y="5371"/>
                  </a:cubicBezTo>
                  <a:cubicBezTo>
                    <a:pt x="10550" y="5478"/>
                    <a:pt x="10466" y="5573"/>
                    <a:pt x="10359" y="5573"/>
                  </a:cubicBezTo>
                  <a:lnTo>
                    <a:pt x="10002" y="5573"/>
                  </a:lnTo>
                  <a:cubicBezTo>
                    <a:pt x="9919" y="5573"/>
                    <a:pt x="9835" y="5644"/>
                    <a:pt x="9835" y="5728"/>
                  </a:cubicBezTo>
                  <a:cubicBezTo>
                    <a:pt x="9835" y="5823"/>
                    <a:pt x="9919" y="5894"/>
                    <a:pt x="10002" y="5894"/>
                  </a:cubicBezTo>
                  <a:lnTo>
                    <a:pt x="10371" y="5894"/>
                  </a:lnTo>
                  <a:lnTo>
                    <a:pt x="10371" y="8085"/>
                  </a:lnTo>
                  <a:lnTo>
                    <a:pt x="3156" y="8085"/>
                  </a:lnTo>
                  <a:lnTo>
                    <a:pt x="3156" y="5894"/>
                  </a:lnTo>
                  <a:lnTo>
                    <a:pt x="9288" y="5894"/>
                  </a:lnTo>
                  <a:cubicBezTo>
                    <a:pt x="9383" y="5894"/>
                    <a:pt x="9454" y="5823"/>
                    <a:pt x="9454" y="5728"/>
                  </a:cubicBezTo>
                  <a:cubicBezTo>
                    <a:pt x="9454" y="5644"/>
                    <a:pt x="9383" y="5573"/>
                    <a:pt x="9288" y="5573"/>
                  </a:cubicBezTo>
                  <a:lnTo>
                    <a:pt x="3168" y="5573"/>
                  </a:lnTo>
                  <a:cubicBezTo>
                    <a:pt x="3073" y="5573"/>
                    <a:pt x="2977" y="5478"/>
                    <a:pt x="2977" y="5371"/>
                  </a:cubicBezTo>
                  <a:cubicBezTo>
                    <a:pt x="2977" y="5275"/>
                    <a:pt x="3073" y="5180"/>
                    <a:pt x="3168" y="5180"/>
                  </a:cubicBezTo>
                  <a:close/>
                  <a:moveTo>
                    <a:pt x="2489" y="1"/>
                  </a:moveTo>
                  <a:cubicBezTo>
                    <a:pt x="2394" y="1"/>
                    <a:pt x="2323" y="72"/>
                    <a:pt x="2323" y="168"/>
                  </a:cubicBezTo>
                  <a:lnTo>
                    <a:pt x="2203" y="5561"/>
                  </a:lnTo>
                  <a:lnTo>
                    <a:pt x="882" y="5561"/>
                  </a:lnTo>
                  <a:cubicBezTo>
                    <a:pt x="584" y="5561"/>
                    <a:pt x="358" y="5799"/>
                    <a:pt x="358" y="6085"/>
                  </a:cubicBezTo>
                  <a:cubicBezTo>
                    <a:pt x="358" y="6252"/>
                    <a:pt x="429" y="6383"/>
                    <a:pt x="537" y="6490"/>
                  </a:cubicBezTo>
                  <a:lnTo>
                    <a:pt x="537" y="8085"/>
                  </a:lnTo>
                  <a:lnTo>
                    <a:pt x="168" y="8085"/>
                  </a:lnTo>
                  <a:cubicBezTo>
                    <a:pt x="72" y="8085"/>
                    <a:pt x="1" y="8157"/>
                    <a:pt x="1" y="8252"/>
                  </a:cubicBezTo>
                  <a:cubicBezTo>
                    <a:pt x="1" y="8335"/>
                    <a:pt x="72" y="8407"/>
                    <a:pt x="168" y="8407"/>
                  </a:cubicBezTo>
                  <a:lnTo>
                    <a:pt x="11312" y="8407"/>
                  </a:lnTo>
                  <a:cubicBezTo>
                    <a:pt x="11395" y="8407"/>
                    <a:pt x="11478" y="8335"/>
                    <a:pt x="11478" y="8252"/>
                  </a:cubicBezTo>
                  <a:cubicBezTo>
                    <a:pt x="11431" y="8157"/>
                    <a:pt x="11359" y="8085"/>
                    <a:pt x="11264" y="8085"/>
                  </a:cubicBezTo>
                  <a:lnTo>
                    <a:pt x="10716" y="8085"/>
                  </a:lnTo>
                  <a:lnTo>
                    <a:pt x="10716" y="5775"/>
                  </a:lnTo>
                  <a:cubicBezTo>
                    <a:pt x="10824" y="5668"/>
                    <a:pt x="10895" y="5537"/>
                    <a:pt x="10895" y="5371"/>
                  </a:cubicBezTo>
                  <a:cubicBezTo>
                    <a:pt x="10895" y="5073"/>
                    <a:pt x="10657" y="4859"/>
                    <a:pt x="10371" y="4859"/>
                  </a:cubicBezTo>
                  <a:lnTo>
                    <a:pt x="9276" y="4859"/>
                  </a:lnTo>
                  <a:lnTo>
                    <a:pt x="9109" y="2132"/>
                  </a:lnTo>
                  <a:cubicBezTo>
                    <a:pt x="9109" y="2037"/>
                    <a:pt x="9038" y="1965"/>
                    <a:pt x="8942" y="1965"/>
                  </a:cubicBezTo>
                  <a:lnTo>
                    <a:pt x="8228" y="1965"/>
                  </a:lnTo>
                  <a:cubicBezTo>
                    <a:pt x="8145" y="1965"/>
                    <a:pt x="8073" y="2037"/>
                    <a:pt x="8073" y="2132"/>
                  </a:cubicBezTo>
                  <a:lnTo>
                    <a:pt x="7907" y="4859"/>
                  </a:lnTo>
                  <a:lnTo>
                    <a:pt x="7502" y="4859"/>
                  </a:lnTo>
                  <a:lnTo>
                    <a:pt x="7335" y="2132"/>
                  </a:lnTo>
                  <a:cubicBezTo>
                    <a:pt x="7335" y="2037"/>
                    <a:pt x="7264" y="1965"/>
                    <a:pt x="7168" y="1965"/>
                  </a:cubicBezTo>
                  <a:lnTo>
                    <a:pt x="6466" y="1965"/>
                  </a:lnTo>
                  <a:cubicBezTo>
                    <a:pt x="6371" y="1965"/>
                    <a:pt x="6299" y="2037"/>
                    <a:pt x="6299" y="2132"/>
                  </a:cubicBezTo>
                  <a:lnTo>
                    <a:pt x="6133" y="4859"/>
                  </a:lnTo>
                  <a:lnTo>
                    <a:pt x="5728" y="4859"/>
                  </a:lnTo>
                  <a:lnTo>
                    <a:pt x="5561" y="2132"/>
                  </a:lnTo>
                  <a:cubicBezTo>
                    <a:pt x="5561" y="2037"/>
                    <a:pt x="5490" y="1965"/>
                    <a:pt x="5406" y="1965"/>
                  </a:cubicBezTo>
                  <a:lnTo>
                    <a:pt x="4620" y="1965"/>
                  </a:lnTo>
                  <a:cubicBezTo>
                    <a:pt x="4525" y="1965"/>
                    <a:pt x="4454" y="2037"/>
                    <a:pt x="4454" y="2132"/>
                  </a:cubicBezTo>
                  <a:lnTo>
                    <a:pt x="4287" y="4859"/>
                  </a:lnTo>
                  <a:lnTo>
                    <a:pt x="3823" y="4859"/>
                  </a:lnTo>
                  <a:lnTo>
                    <a:pt x="3716" y="168"/>
                  </a:lnTo>
                  <a:cubicBezTo>
                    <a:pt x="3716" y="72"/>
                    <a:pt x="3644" y="1"/>
                    <a:pt x="3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2" name="Google Shape;11142;p60"/>
            <p:cNvSpPr/>
            <p:nvPr/>
          </p:nvSpPr>
          <p:spPr>
            <a:xfrm>
              <a:off x="2724763" y="3357835"/>
              <a:ext cx="280050" cy="136476"/>
            </a:xfrm>
            <a:custGeom>
              <a:avLst/>
              <a:gdLst/>
              <a:ahLst/>
              <a:cxnLst/>
              <a:rect l="l" t="t" r="r" b="b"/>
              <a:pathLst>
                <a:path w="8799" h="4288" extrusionOk="0">
                  <a:moveTo>
                    <a:pt x="6656" y="1"/>
                  </a:moveTo>
                  <a:cubicBezTo>
                    <a:pt x="6156" y="1"/>
                    <a:pt x="5656" y="180"/>
                    <a:pt x="5286" y="501"/>
                  </a:cubicBezTo>
                  <a:cubicBezTo>
                    <a:pt x="5001" y="299"/>
                    <a:pt x="4679" y="168"/>
                    <a:pt x="4322" y="168"/>
                  </a:cubicBezTo>
                  <a:cubicBezTo>
                    <a:pt x="3905" y="168"/>
                    <a:pt x="3501" y="334"/>
                    <a:pt x="3191" y="632"/>
                  </a:cubicBezTo>
                  <a:cubicBezTo>
                    <a:pt x="3036" y="561"/>
                    <a:pt x="2858" y="525"/>
                    <a:pt x="2691" y="525"/>
                  </a:cubicBezTo>
                  <a:cubicBezTo>
                    <a:pt x="2191" y="525"/>
                    <a:pt x="1750" y="822"/>
                    <a:pt x="1548" y="1275"/>
                  </a:cubicBezTo>
                  <a:cubicBezTo>
                    <a:pt x="1476" y="1263"/>
                    <a:pt x="1417" y="1239"/>
                    <a:pt x="1346" y="1239"/>
                  </a:cubicBezTo>
                  <a:cubicBezTo>
                    <a:pt x="1000" y="1239"/>
                    <a:pt x="703" y="1465"/>
                    <a:pt x="584" y="1775"/>
                  </a:cubicBezTo>
                  <a:lnTo>
                    <a:pt x="524" y="1775"/>
                  </a:lnTo>
                  <a:cubicBezTo>
                    <a:pt x="226" y="1775"/>
                    <a:pt x="0" y="2013"/>
                    <a:pt x="0" y="2299"/>
                  </a:cubicBezTo>
                  <a:cubicBezTo>
                    <a:pt x="0" y="2394"/>
                    <a:pt x="72" y="2466"/>
                    <a:pt x="167" y="2466"/>
                  </a:cubicBezTo>
                  <a:cubicBezTo>
                    <a:pt x="262" y="2466"/>
                    <a:pt x="333" y="2394"/>
                    <a:pt x="333" y="2299"/>
                  </a:cubicBezTo>
                  <a:cubicBezTo>
                    <a:pt x="333" y="2192"/>
                    <a:pt x="417" y="2108"/>
                    <a:pt x="524" y="2108"/>
                  </a:cubicBezTo>
                  <a:cubicBezTo>
                    <a:pt x="560" y="2108"/>
                    <a:pt x="584" y="2120"/>
                    <a:pt x="631" y="2144"/>
                  </a:cubicBezTo>
                  <a:cubicBezTo>
                    <a:pt x="649" y="2156"/>
                    <a:pt x="679" y="2162"/>
                    <a:pt x="710" y="2162"/>
                  </a:cubicBezTo>
                  <a:cubicBezTo>
                    <a:pt x="741" y="2162"/>
                    <a:pt x="774" y="2156"/>
                    <a:pt x="798" y="2144"/>
                  </a:cubicBezTo>
                  <a:cubicBezTo>
                    <a:pt x="834" y="2108"/>
                    <a:pt x="881" y="2061"/>
                    <a:pt x="881" y="2001"/>
                  </a:cubicBezTo>
                  <a:cubicBezTo>
                    <a:pt x="893" y="1763"/>
                    <a:pt x="1095" y="1573"/>
                    <a:pt x="1346" y="1573"/>
                  </a:cubicBezTo>
                  <a:cubicBezTo>
                    <a:pt x="1417" y="1573"/>
                    <a:pt x="1488" y="1584"/>
                    <a:pt x="1572" y="1632"/>
                  </a:cubicBezTo>
                  <a:cubicBezTo>
                    <a:pt x="1591" y="1652"/>
                    <a:pt x="1618" y="1661"/>
                    <a:pt x="1646" y="1661"/>
                  </a:cubicBezTo>
                  <a:cubicBezTo>
                    <a:pt x="1669" y="1661"/>
                    <a:pt x="1693" y="1655"/>
                    <a:pt x="1715" y="1644"/>
                  </a:cubicBezTo>
                  <a:cubicBezTo>
                    <a:pt x="1762" y="1632"/>
                    <a:pt x="1810" y="1584"/>
                    <a:pt x="1822" y="1525"/>
                  </a:cubicBezTo>
                  <a:cubicBezTo>
                    <a:pt x="1929" y="1132"/>
                    <a:pt x="2286" y="858"/>
                    <a:pt x="2703" y="858"/>
                  </a:cubicBezTo>
                  <a:cubicBezTo>
                    <a:pt x="2846" y="858"/>
                    <a:pt x="3012" y="906"/>
                    <a:pt x="3143" y="977"/>
                  </a:cubicBezTo>
                  <a:cubicBezTo>
                    <a:pt x="3173" y="997"/>
                    <a:pt x="3207" y="1007"/>
                    <a:pt x="3240" y="1007"/>
                  </a:cubicBezTo>
                  <a:cubicBezTo>
                    <a:pt x="3286" y="1007"/>
                    <a:pt x="3330" y="988"/>
                    <a:pt x="3358" y="953"/>
                  </a:cubicBezTo>
                  <a:cubicBezTo>
                    <a:pt x="3596" y="668"/>
                    <a:pt x="3953" y="501"/>
                    <a:pt x="4322" y="501"/>
                  </a:cubicBezTo>
                  <a:cubicBezTo>
                    <a:pt x="4632" y="501"/>
                    <a:pt x="4941" y="620"/>
                    <a:pt x="5167" y="834"/>
                  </a:cubicBezTo>
                  <a:cubicBezTo>
                    <a:pt x="5197" y="864"/>
                    <a:pt x="5239" y="879"/>
                    <a:pt x="5281" y="879"/>
                  </a:cubicBezTo>
                  <a:cubicBezTo>
                    <a:pt x="5322" y="879"/>
                    <a:pt x="5364" y="864"/>
                    <a:pt x="5394" y="834"/>
                  </a:cubicBezTo>
                  <a:cubicBezTo>
                    <a:pt x="5739" y="501"/>
                    <a:pt x="6179" y="322"/>
                    <a:pt x="6644" y="322"/>
                  </a:cubicBezTo>
                  <a:cubicBezTo>
                    <a:pt x="7644" y="322"/>
                    <a:pt x="8454" y="1144"/>
                    <a:pt x="8454" y="2144"/>
                  </a:cubicBezTo>
                  <a:cubicBezTo>
                    <a:pt x="8454" y="3132"/>
                    <a:pt x="7644" y="3954"/>
                    <a:pt x="6644" y="3954"/>
                  </a:cubicBezTo>
                  <a:cubicBezTo>
                    <a:pt x="5977" y="3954"/>
                    <a:pt x="5382" y="3597"/>
                    <a:pt x="5048" y="3013"/>
                  </a:cubicBezTo>
                  <a:cubicBezTo>
                    <a:pt x="5013" y="2960"/>
                    <a:pt x="4957" y="2933"/>
                    <a:pt x="4891" y="2933"/>
                  </a:cubicBezTo>
                  <a:cubicBezTo>
                    <a:pt x="4869" y="2933"/>
                    <a:pt x="4846" y="2936"/>
                    <a:pt x="4822" y="2942"/>
                  </a:cubicBezTo>
                  <a:cubicBezTo>
                    <a:pt x="4667" y="3013"/>
                    <a:pt x="4489" y="3061"/>
                    <a:pt x="4286" y="3061"/>
                  </a:cubicBezTo>
                  <a:cubicBezTo>
                    <a:pt x="3917" y="3061"/>
                    <a:pt x="3572" y="2894"/>
                    <a:pt x="3322" y="2620"/>
                  </a:cubicBezTo>
                  <a:cubicBezTo>
                    <a:pt x="3284" y="2583"/>
                    <a:pt x="3242" y="2559"/>
                    <a:pt x="3198" y="2559"/>
                  </a:cubicBezTo>
                  <a:cubicBezTo>
                    <a:pt x="3172" y="2559"/>
                    <a:pt x="3146" y="2567"/>
                    <a:pt x="3120" y="2585"/>
                  </a:cubicBezTo>
                  <a:cubicBezTo>
                    <a:pt x="2977" y="2656"/>
                    <a:pt x="2822" y="2704"/>
                    <a:pt x="2667" y="2704"/>
                  </a:cubicBezTo>
                  <a:cubicBezTo>
                    <a:pt x="2381" y="2704"/>
                    <a:pt x="2119" y="2573"/>
                    <a:pt x="1953" y="2346"/>
                  </a:cubicBezTo>
                  <a:cubicBezTo>
                    <a:pt x="1929" y="2299"/>
                    <a:pt x="1881" y="2287"/>
                    <a:pt x="1822" y="2287"/>
                  </a:cubicBezTo>
                  <a:cubicBezTo>
                    <a:pt x="1774" y="2287"/>
                    <a:pt x="1715" y="2323"/>
                    <a:pt x="1691" y="2346"/>
                  </a:cubicBezTo>
                  <a:cubicBezTo>
                    <a:pt x="1596" y="2466"/>
                    <a:pt x="1465" y="2525"/>
                    <a:pt x="1334" y="2525"/>
                  </a:cubicBezTo>
                  <a:cubicBezTo>
                    <a:pt x="1238" y="2525"/>
                    <a:pt x="1167" y="2596"/>
                    <a:pt x="1167" y="2692"/>
                  </a:cubicBezTo>
                  <a:cubicBezTo>
                    <a:pt x="1167" y="2775"/>
                    <a:pt x="1238" y="2858"/>
                    <a:pt x="1334" y="2858"/>
                  </a:cubicBezTo>
                  <a:cubicBezTo>
                    <a:pt x="1512" y="2858"/>
                    <a:pt x="1667" y="2799"/>
                    <a:pt x="1822" y="2692"/>
                  </a:cubicBezTo>
                  <a:cubicBezTo>
                    <a:pt x="2060" y="2918"/>
                    <a:pt x="2358" y="3037"/>
                    <a:pt x="2679" y="3037"/>
                  </a:cubicBezTo>
                  <a:cubicBezTo>
                    <a:pt x="2846" y="3037"/>
                    <a:pt x="3024" y="3001"/>
                    <a:pt x="3179" y="2930"/>
                  </a:cubicBezTo>
                  <a:cubicBezTo>
                    <a:pt x="3477" y="3228"/>
                    <a:pt x="3870" y="3394"/>
                    <a:pt x="4310" y="3394"/>
                  </a:cubicBezTo>
                  <a:cubicBezTo>
                    <a:pt x="4489" y="3394"/>
                    <a:pt x="4667" y="3358"/>
                    <a:pt x="4846" y="3299"/>
                  </a:cubicBezTo>
                  <a:cubicBezTo>
                    <a:pt x="5227" y="3906"/>
                    <a:pt x="5918" y="4287"/>
                    <a:pt x="6644" y="4287"/>
                  </a:cubicBezTo>
                  <a:cubicBezTo>
                    <a:pt x="7834" y="4287"/>
                    <a:pt x="8787" y="3311"/>
                    <a:pt x="8787" y="2144"/>
                  </a:cubicBezTo>
                  <a:cubicBezTo>
                    <a:pt x="8799" y="965"/>
                    <a:pt x="7834" y="1"/>
                    <a:pt x="66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3" name="Google Shape;11143;p60"/>
            <p:cNvSpPr/>
            <p:nvPr/>
          </p:nvSpPr>
          <p:spPr>
            <a:xfrm>
              <a:off x="2771359" y="3655327"/>
              <a:ext cx="10280" cy="21611"/>
            </a:xfrm>
            <a:custGeom>
              <a:avLst/>
              <a:gdLst/>
              <a:ahLst/>
              <a:cxnLst/>
              <a:rect l="l" t="t" r="r" b="b"/>
              <a:pathLst>
                <a:path w="323" h="679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7" y="679"/>
                  </a:cubicBezTo>
                  <a:cubicBezTo>
                    <a:pt x="251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4" name="Google Shape;11144;p60"/>
            <p:cNvSpPr/>
            <p:nvPr/>
          </p:nvSpPr>
          <p:spPr>
            <a:xfrm>
              <a:off x="2794084" y="3655327"/>
              <a:ext cx="10280" cy="21611"/>
            </a:xfrm>
            <a:custGeom>
              <a:avLst/>
              <a:gdLst/>
              <a:ahLst/>
              <a:cxnLst/>
              <a:rect l="l" t="t" r="r" b="b"/>
              <a:pathLst>
                <a:path w="323" h="679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8" y="679"/>
                  </a:cubicBezTo>
                  <a:cubicBezTo>
                    <a:pt x="251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5" name="Google Shape;11145;p60"/>
            <p:cNvSpPr/>
            <p:nvPr/>
          </p:nvSpPr>
          <p:spPr>
            <a:xfrm>
              <a:off x="2816840" y="3655327"/>
              <a:ext cx="11012" cy="21611"/>
            </a:xfrm>
            <a:custGeom>
              <a:avLst/>
              <a:gdLst/>
              <a:ahLst/>
              <a:cxnLst/>
              <a:rect l="l" t="t" r="r" b="b"/>
              <a:pathLst>
                <a:path w="346" h="679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46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6" name="Google Shape;11146;p60"/>
            <p:cNvSpPr/>
            <p:nvPr/>
          </p:nvSpPr>
          <p:spPr>
            <a:xfrm>
              <a:off x="2839947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7" y="679"/>
                  </a:cubicBezTo>
                  <a:cubicBezTo>
                    <a:pt x="251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7" name="Google Shape;11147;p60"/>
            <p:cNvSpPr/>
            <p:nvPr/>
          </p:nvSpPr>
          <p:spPr>
            <a:xfrm>
              <a:off x="2862672" y="3655327"/>
              <a:ext cx="10662" cy="21611"/>
            </a:xfrm>
            <a:custGeom>
              <a:avLst/>
              <a:gdLst/>
              <a:ahLst/>
              <a:cxnLst/>
              <a:rect l="l" t="t" r="r" b="b"/>
              <a:pathLst>
                <a:path w="335" h="679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8" y="679"/>
                  </a:cubicBezTo>
                  <a:cubicBezTo>
                    <a:pt x="251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8" name="Google Shape;11148;p60"/>
            <p:cNvSpPr/>
            <p:nvPr/>
          </p:nvSpPr>
          <p:spPr>
            <a:xfrm>
              <a:off x="2885429" y="3655327"/>
              <a:ext cx="11012" cy="21611"/>
            </a:xfrm>
            <a:custGeom>
              <a:avLst/>
              <a:gdLst/>
              <a:ahLst/>
              <a:cxnLst/>
              <a:rect l="l" t="t" r="r" b="b"/>
              <a:pathLst>
                <a:path w="346" h="679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46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9" name="Google Shape;11149;p60"/>
            <p:cNvSpPr/>
            <p:nvPr/>
          </p:nvSpPr>
          <p:spPr>
            <a:xfrm>
              <a:off x="2908535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84" y="679"/>
                    <a:pt x="167" y="679"/>
                  </a:cubicBezTo>
                  <a:cubicBezTo>
                    <a:pt x="263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0" name="Google Shape;11150;p60"/>
            <p:cNvSpPr/>
            <p:nvPr/>
          </p:nvSpPr>
          <p:spPr>
            <a:xfrm>
              <a:off x="2931292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1" y="679"/>
                    <a:pt x="167" y="679"/>
                  </a:cubicBezTo>
                  <a:cubicBezTo>
                    <a:pt x="262" y="679"/>
                    <a:pt x="333" y="608"/>
                    <a:pt x="333" y="512"/>
                  </a:cubicBezTo>
                  <a:lnTo>
                    <a:pt x="333" y="179"/>
                  </a:lnTo>
                  <a:cubicBezTo>
                    <a:pt x="333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51" name="Google Shape;11151;p60"/>
          <p:cNvGrpSpPr/>
          <p:nvPr/>
        </p:nvGrpSpPr>
        <p:grpSpPr>
          <a:xfrm>
            <a:off x="4886264" y="3366174"/>
            <a:ext cx="350548" cy="350198"/>
            <a:chOff x="4886264" y="3366174"/>
            <a:chExt cx="350548" cy="350198"/>
          </a:xfrm>
        </p:grpSpPr>
        <p:sp>
          <p:nvSpPr>
            <p:cNvPr id="11152" name="Google Shape;11152;p60"/>
            <p:cNvSpPr/>
            <p:nvPr/>
          </p:nvSpPr>
          <p:spPr>
            <a:xfrm>
              <a:off x="4946132" y="3426614"/>
              <a:ext cx="230431" cy="289758"/>
            </a:xfrm>
            <a:custGeom>
              <a:avLst/>
              <a:gdLst/>
              <a:ahLst/>
              <a:cxnLst/>
              <a:rect l="l" t="t" r="r" b="b"/>
              <a:pathLst>
                <a:path w="7240" h="9104" extrusionOk="0">
                  <a:moveTo>
                    <a:pt x="3811" y="3793"/>
                  </a:moveTo>
                  <a:cubicBezTo>
                    <a:pt x="4001" y="3793"/>
                    <a:pt x="4168" y="3948"/>
                    <a:pt x="4168" y="4150"/>
                  </a:cubicBezTo>
                  <a:lnTo>
                    <a:pt x="4168" y="4484"/>
                  </a:lnTo>
                  <a:cubicBezTo>
                    <a:pt x="4156" y="4769"/>
                    <a:pt x="3930" y="5007"/>
                    <a:pt x="3632" y="5007"/>
                  </a:cubicBezTo>
                  <a:cubicBezTo>
                    <a:pt x="3334" y="5007"/>
                    <a:pt x="3108" y="4769"/>
                    <a:pt x="3108" y="4484"/>
                  </a:cubicBezTo>
                  <a:lnTo>
                    <a:pt x="3108" y="4150"/>
                  </a:lnTo>
                  <a:cubicBezTo>
                    <a:pt x="3108" y="3948"/>
                    <a:pt x="3263" y="3793"/>
                    <a:pt x="3465" y="3793"/>
                  </a:cubicBezTo>
                  <a:close/>
                  <a:moveTo>
                    <a:pt x="3787" y="5341"/>
                  </a:moveTo>
                  <a:lnTo>
                    <a:pt x="3787" y="5412"/>
                  </a:lnTo>
                  <a:cubicBezTo>
                    <a:pt x="3811" y="5472"/>
                    <a:pt x="3822" y="5531"/>
                    <a:pt x="3846" y="5579"/>
                  </a:cubicBezTo>
                  <a:lnTo>
                    <a:pt x="3632" y="5793"/>
                  </a:lnTo>
                  <a:lnTo>
                    <a:pt x="3596" y="5793"/>
                  </a:lnTo>
                  <a:lnTo>
                    <a:pt x="3370" y="5579"/>
                  </a:lnTo>
                  <a:cubicBezTo>
                    <a:pt x="3406" y="5531"/>
                    <a:pt x="3418" y="5472"/>
                    <a:pt x="3418" y="5412"/>
                  </a:cubicBezTo>
                  <a:lnTo>
                    <a:pt x="3418" y="5341"/>
                  </a:lnTo>
                  <a:close/>
                  <a:moveTo>
                    <a:pt x="3630" y="314"/>
                  </a:moveTo>
                  <a:cubicBezTo>
                    <a:pt x="4485" y="314"/>
                    <a:pt x="5309" y="622"/>
                    <a:pt x="5930" y="1209"/>
                  </a:cubicBezTo>
                  <a:cubicBezTo>
                    <a:pt x="6585" y="1840"/>
                    <a:pt x="6954" y="2686"/>
                    <a:pt x="6954" y="3591"/>
                  </a:cubicBezTo>
                  <a:cubicBezTo>
                    <a:pt x="6918" y="4293"/>
                    <a:pt x="6704" y="4936"/>
                    <a:pt x="6323" y="5484"/>
                  </a:cubicBezTo>
                  <a:cubicBezTo>
                    <a:pt x="5942" y="6020"/>
                    <a:pt x="5430" y="6436"/>
                    <a:pt x="4823" y="6674"/>
                  </a:cubicBezTo>
                  <a:cubicBezTo>
                    <a:pt x="4620" y="6746"/>
                    <a:pt x="4501" y="6948"/>
                    <a:pt x="4501" y="7151"/>
                  </a:cubicBezTo>
                  <a:lnTo>
                    <a:pt x="4501" y="7603"/>
                  </a:lnTo>
                  <a:cubicBezTo>
                    <a:pt x="4501" y="7674"/>
                    <a:pt x="4489" y="7734"/>
                    <a:pt x="4442" y="7794"/>
                  </a:cubicBezTo>
                  <a:lnTo>
                    <a:pt x="4287" y="8044"/>
                  </a:lnTo>
                  <a:cubicBezTo>
                    <a:pt x="4263" y="8055"/>
                    <a:pt x="4251" y="8091"/>
                    <a:pt x="4251" y="8103"/>
                  </a:cubicBezTo>
                  <a:lnTo>
                    <a:pt x="3037" y="8103"/>
                  </a:lnTo>
                  <a:cubicBezTo>
                    <a:pt x="3013" y="8091"/>
                    <a:pt x="3013" y="8055"/>
                    <a:pt x="3001" y="8044"/>
                  </a:cubicBezTo>
                  <a:lnTo>
                    <a:pt x="2834" y="7794"/>
                  </a:lnTo>
                  <a:cubicBezTo>
                    <a:pt x="2799" y="7734"/>
                    <a:pt x="2775" y="7663"/>
                    <a:pt x="2775" y="7603"/>
                  </a:cubicBezTo>
                  <a:lnTo>
                    <a:pt x="2775" y="6067"/>
                  </a:lnTo>
                  <a:cubicBezTo>
                    <a:pt x="2775" y="5996"/>
                    <a:pt x="2822" y="5936"/>
                    <a:pt x="2882" y="5900"/>
                  </a:cubicBezTo>
                  <a:lnTo>
                    <a:pt x="3168" y="5769"/>
                  </a:lnTo>
                  <a:lnTo>
                    <a:pt x="3418" y="6020"/>
                  </a:lnTo>
                  <a:cubicBezTo>
                    <a:pt x="3477" y="6079"/>
                    <a:pt x="3572" y="6127"/>
                    <a:pt x="3656" y="6127"/>
                  </a:cubicBezTo>
                  <a:cubicBezTo>
                    <a:pt x="3751" y="6127"/>
                    <a:pt x="3834" y="6091"/>
                    <a:pt x="3894" y="6020"/>
                  </a:cubicBezTo>
                  <a:lnTo>
                    <a:pt x="4144" y="5769"/>
                  </a:lnTo>
                  <a:lnTo>
                    <a:pt x="4430" y="5900"/>
                  </a:lnTo>
                  <a:cubicBezTo>
                    <a:pt x="4489" y="5936"/>
                    <a:pt x="4537" y="5996"/>
                    <a:pt x="4537" y="6067"/>
                  </a:cubicBezTo>
                  <a:lnTo>
                    <a:pt x="4537" y="6198"/>
                  </a:lnTo>
                  <a:cubicBezTo>
                    <a:pt x="4537" y="6293"/>
                    <a:pt x="4608" y="6365"/>
                    <a:pt x="4704" y="6365"/>
                  </a:cubicBezTo>
                  <a:cubicBezTo>
                    <a:pt x="4787" y="6365"/>
                    <a:pt x="4858" y="6293"/>
                    <a:pt x="4858" y="6198"/>
                  </a:cubicBezTo>
                  <a:lnTo>
                    <a:pt x="4858" y="6067"/>
                  </a:lnTo>
                  <a:cubicBezTo>
                    <a:pt x="4858" y="5877"/>
                    <a:pt x="4751" y="5698"/>
                    <a:pt x="4573" y="5615"/>
                  </a:cubicBezTo>
                  <a:lnTo>
                    <a:pt x="4180" y="5412"/>
                  </a:lnTo>
                  <a:lnTo>
                    <a:pt x="4180" y="5400"/>
                  </a:lnTo>
                  <a:lnTo>
                    <a:pt x="4180" y="5162"/>
                  </a:lnTo>
                  <a:cubicBezTo>
                    <a:pt x="4382" y="5007"/>
                    <a:pt x="4513" y="4757"/>
                    <a:pt x="4513" y="4472"/>
                  </a:cubicBezTo>
                  <a:lnTo>
                    <a:pt x="4513" y="4126"/>
                  </a:lnTo>
                  <a:cubicBezTo>
                    <a:pt x="4513" y="3757"/>
                    <a:pt x="4215" y="3448"/>
                    <a:pt x="3834" y="3448"/>
                  </a:cubicBezTo>
                  <a:lnTo>
                    <a:pt x="3489" y="3448"/>
                  </a:lnTo>
                  <a:cubicBezTo>
                    <a:pt x="3120" y="3448"/>
                    <a:pt x="2810" y="3745"/>
                    <a:pt x="2810" y="4126"/>
                  </a:cubicBezTo>
                  <a:lnTo>
                    <a:pt x="2810" y="4472"/>
                  </a:lnTo>
                  <a:cubicBezTo>
                    <a:pt x="2810" y="4757"/>
                    <a:pt x="2941" y="5007"/>
                    <a:pt x="3156" y="5162"/>
                  </a:cubicBezTo>
                  <a:lnTo>
                    <a:pt x="3156" y="5400"/>
                  </a:lnTo>
                  <a:lnTo>
                    <a:pt x="3156" y="5412"/>
                  </a:lnTo>
                  <a:lnTo>
                    <a:pt x="2751" y="5615"/>
                  </a:lnTo>
                  <a:cubicBezTo>
                    <a:pt x="2572" y="5710"/>
                    <a:pt x="2465" y="5877"/>
                    <a:pt x="2465" y="6067"/>
                  </a:cubicBezTo>
                  <a:lnTo>
                    <a:pt x="2465" y="6674"/>
                  </a:lnTo>
                  <a:cubicBezTo>
                    <a:pt x="1882" y="6448"/>
                    <a:pt x="1382" y="6055"/>
                    <a:pt x="1001" y="5543"/>
                  </a:cubicBezTo>
                  <a:cubicBezTo>
                    <a:pt x="572" y="4960"/>
                    <a:pt x="370" y="4269"/>
                    <a:pt x="382" y="3531"/>
                  </a:cubicBezTo>
                  <a:cubicBezTo>
                    <a:pt x="393" y="2721"/>
                    <a:pt x="727" y="1924"/>
                    <a:pt x="1322" y="1317"/>
                  </a:cubicBezTo>
                  <a:cubicBezTo>
                    <a:pt x="1894" y="709"/>
                    <a:pt x="2668" y="364"/>
                    <a:pt x="3489" y="316"/>
                  </a:cubicBezTo>
                  <a:cubicBezTo>
                    <a:pt x="3536" y="315"/>
                    <a:pt x="3583" y="314"/>
                    <a:pt x="3630" y="314"/>
                  </a:cubicBezTo>
                  <a:close/>
                  <a:moveTo>
                    <a:pt x="4156" y="8436"/>
                  </a:moveTo>
                  <a:lnTo>
                    <a:pt x="4156" y="8794"/>
                  </a:lnTo>
                  <a:lnTo>
                    <a:pt x="3120" y="8806"/>
                  </a:lnTo>
                  <a:cubicBezTo>
                    <a:pt x="3120" y="8806"/>
                    <a:pt x="3108" y="8806"/>
                    <a:pt x="3108" y="8794"/>
                  </a:cubicBezTo>
                  <a:lnTo>
                    <a:pt x="3108" y="8436"/>
                  </a:lnTo>
                  <a:close/>
                  <a:moveTo>
                    <a:pt x="3645" y="0"/>
                  </a:moveTo>
                  <a:cubicBezTo>
                    <a:pt x="3573" y="0"/>
                    <a:pt x="3501" y="3"/>
                    <a:pt x="3430" y="7"/>
                  </a:cubicBezTo>
                  <a:cubicBezTo>
                    <a:pt x="2525" y="54"/>
                    <a:pt x="1679" y="435"/>
                    <a:pt x="1036" y="1114"/>
                  </a:cubicBezTo>
                  <a:cubicBezTo>
                    <a:pt x="393" y="1769"/>
                    <a:pt x="36" y="2626"/>
                    <a:pt x="12" y="3531"/>
                  </a:cubicBezTo>
                  <a:cubicBezTo>
                    <a:pt x="1" y="4341"/>
                    <a:pt x="239" y="5103"/>
                    <a:pt x="715" y="5734"/>
                  </a:cubicBezTo>
                  <a:cubicBezTo>
                    <a:pt x="1144" y="6317"/>
                    <a:pt x="1751" y="6782"/>
                    <a:pt x="2441" y="7020"/>
                  </a:cubicBezTo>
                  <a:lnTo>
                    <a:pt x="2441" y="7591"/>
                  </a:lnTo>
                  <a:cubicBezTo>
                    <a:pt x="2441" y="7734"/>
                    <a:pt x="2477" y="7865"/>
                    <a:pt x="2560" y="7972"/>
                  </a:cubicBezTo>
                  <a:lnTo>
                    <a:pt x="2715" y="8222"/>
                  </a:lnTo>
                  <a:cubicBezTo>
                    <a:pt x="2763" y="8282"/>
                    <a:pt x="2775" y="8353"/>
                    <a:pt x="2775" y="8413"/>
                  </a:cubicBezTo>
                  <a:lnTo>
                    <a:pt x="2775" y="8770"/>
                  </a:lnTo>
                  <a:cubicBezTo>
                    <a:pt x="2775" y="8948"/>
                    <a:pt x="2929" y="9103"/>
                    <a:pt x="3108" y="9103"/>
                  </a:cubicBezTo>
                  <a:lnTo>
                    <a:pt x="4144" y="9103"/>
                  </a:lnTo>
                  <a:cubicBezTo>
                    <a:pt x="4323" y="9103"/>
                    <a:pt x="4477" y="8948"/>
                    <a:pt x="4477" y="8770"/>
                  </a:cubicBezTo>
                  <a:lnTo>
                    <a:pt x="4477" y="8413"/>
                  </a:lnTo>
                  <a:cubicBezTo>
                    <a:pt x="4477" y="8341"/>
                    <a:pt x="4489" y="8282"/>
                    <a:pt x="4537" y="8222"/>
                  </a:cubicBezTo>
                  <a:lnTo>
                    <a:pt x="4704" y="7972"/>
                  </a:lnTo>
                  <a:cubicBezTo>
                    <a:pt x="4775" y="7853"/>
                    <a:pt x="4823" y="7734"/>
                    <a:pt x="4823" y="7591"/>
                  </a:cubicBezTo>
                  <a:lnTo>
                    <a:pt x="4823" y="7151"/>
                  </a:lnTo>
                  <a:cubicBezTo>
                    <a:pt x="4823" y="7079"/>
                    <a:pt x="4858" y="6996"/>
                    <a:pt x="4942" y="6984"/>
                  </a:cubicBezTo>
                  <a:cubicBezTo>
                    <a:pt x="5608" y="6722"/>
                    <a:pt x="6168" y="6270"/>
                    <a:pt x="6585" y="5674"/>
                  </a:cubicBezTo>
                  <a:cubicBezTo>
                    <a:pt x="7001" y="5067"/>
                    <a:pt x="7228" y="4353"/>
                    <a:pt x="7228" y="3626"/>
                  </a:cubicBezTo>
                  <a:cubicBezTo>
                    <a:pt x="7240" y="2614"/>
                    <a:pt x="6835" y="1686"/>
                    <a:pt x="6108" y="995"/>
                  </a:cubicBezTo>
                  <a:cubicBezTo>
                    <a:pt x="5434" y="354"/>
                    <a:pt x="4566" y="0"/>
                    <a:pt x="36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3" name="Google Shape;11153;p60"/>
            <p:cNvSpPr/>
            <p:nvPr/>
          </p:nvSpPr>
          <p:spPr>
            <a:xfrm>
              <a:off x="4886264" y="3536706"/>
              <a:ext cx="48919" cy="10662"/>
            </a:xfrm>
            <a:custGeom>
              <a:avLst/>
              <a:gdLst/>
              <a:ahLst/>
              <a:cxnLst/>
              <a:rect l="l" t="t" r="r" b="b"/>
              <a:pathLst>
                <a:path w="153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6" y="251"/>
                    <a:pt x="1536" y="167"/>
                  </a:cubicBezTo>
                  <a:cubicBezTo>
                    <a:pt x="1536" y="60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4" name="Google Shape;11154;p60"/>
            <p:cNvSpPr/>
            <p:nvPr/>
          </p:nvSpPr>
          <p:spPr>
            <a:xfrm>
              <a:off x="5187894" y="3536706"/>
              <a:ext cx="48919" cy="10662"/>
            </a:xfrm>
            <a:custGeom>
              <a:avLst/>
              <a:gdLst/>
              <a:ahLst/>
              <a:cxnLst/>
              <a:rect l="l" t="t" r="r" b="b"/>
              <a:pathLst>
                <a:path w="1537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60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5" name="Google Shape;11155;p60"/>
            <p:cNvSpPr/>
            <p:nvPr/>
          </p:nvSpPr>
          <p:spPr>
            <a:xfrm>
              <a:off x="5056414" y="3366174"/>
              <a:ext cx="10248" cy="48919"/>
            </a:xfrm>
            <a:custGeom>
              <a:avLst/>
              <a:gdLst/>
              <a:ahLst/>
              <a:cxnLst/>
              <a:rect l="l" t="t" r="r" b="b"/>
              <a:pathLst>
                <a:path w="322" h="1537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370"/>
                  </a:lnTo>
                  <a:cubicBezTo>
                    <a:pt x="0" y="1465"/>
                    <a:pt x="72" y="1537"/>
                    <a:pt x="167" y="1537"/>
                  </a:cubicBezTo>
                  <a:cubicBezTo>
                    <a:pt x="250" y="1537"/>
                    <a:pt x="322" y="1465"/>
                    <a:pt x="322" y="1370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6" name="Google Shape;11156;p60"/>
            <p:cNvSpPr/>
            <p:nvPr/>
          </p:nvSpPr>
          <p:spPr>
            <a:xfrm>
              <a:off x="4978723" y="3650744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525" y="1"/>
                  </a:moveTo>
                  <a:cubicBezTo>
                    <a:pt x="470" y="1"/>
                    <a:pt x="413" y="30"/>
                    <a:pt x="381" y="85"/>
                  </a:cubicBezTo>
                  <a:lnTo>
                    <a:pt x="48" y="680"/>
                  </a:lnTo>
                  <a:cubicBezTo>
                    <a:pt x="0" y="752"/>
                    <a:pt x="24" y="859"/>
                    <a:pt x="108" y="894"/>
                  </a:cubicBezTo>
                  <a:cubicBezTo>
                    <a:pt x="131" y="918"/>
                    <a:pt x="167" y="918"/>
                    <a:pt x="179" y="918"/>
                  </a:cubicBezTo>
                  <a:cubicBezTo>
                    <a:pt x="239" y="918"/>
                    <a:pt x="286" y="883"/>
                    <a:pt x="310" y="835"/>
                  </a:cubicBezTo>
                  <a:lnTo>
                    <a:pt x="655" y="240"/>
                  </a:lnTo>
                  <a:cubicBezTo>
                    <a:pt x="715" y="156"/>
                    <a:pt x="703" y="61"/>
                    <a:pt x="608" y="25"/>
                  </a:cubicBezTo>
                  <a:cubicBezTo>
                    <a:pt x="583" y="9"/>
                    <a:pt x="554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7" name="Google Shape;11157;p60"/>
            <p:cNvSpPr/>
            <p:nvPr/>
          </p:nvSpPr>
          <p:spPr>
            <a:xfrm>
              <a:off x="5121597" y="3403380"/>
              <a:ext cx="22757" cy="29154"/>
            </a:xfrm>
            <a:custGeom>
              <a:avLst/>
              <a:gdLst/>
              <a:ahLst/>
              <a:cxnLst/>
              <a:rect l="l" t="t" r="r" b="b"/>
              <a:pathLst>
                <a:path w="715" h="916" extrusionOk="0">
                  <a:moveTo>
                    <a:pt x="537" y="1"/>
                  </a:moveTo>
                  <a:cubicBezTo>
                    <a:pt x="476" y="1"/>
                    <a:pt x="418" y="33"/>
                    <a:pt x="393" y="82"/>
                  </a:cubicBezTo>
                  <a:lnTo>
                    <a:pt x="48" y="677"/>
                  </a:lnTo>
                  <a:cubicBezTo>
                    <a:pt x="0" y="749"/>
                    <a:pt x="36" y="856"/>
                    <a:pt x="107" y="904"/>
                  </a:cubicBezTo>
                  <a:cubicBezTo>
                    <a:pt x="143" y="915"/>
                    <a:pt x="167" y="915"/>
                    <a:pt x="179" y="915"/>
                  </a:cubicBezTo>
                  <a:cubicBezTo>
                    <a:pt x="238" y="915"/>
                    <a:pt x="286" y="880"/>
                    <a:pt x="322" y="844"/>
                  </a:cubicBezTo>
                  <a:lnTo>
                    <a:pt x="655" y="249"/>
                  </a:lnTo>
                  <a:cubicBezTo>
                    <a:pt x="715" y="165"/>
                    <a:pt x="691" y="70"/>
                    <a:pt x="619" y="22"/>
                  </a:cubicBezTo>
                  <a:cubicBezTo>
                    <a:pt x="593" y="8"/>
                    <a:pt x="565" y="1"/>
                    <a:pt x="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8" name="Google Shape;11158;p60"/>
            <p:cNvSpPr/>
            <p:nvPr/>
          </p:nvSpPr>
          <p:spPr>
            <a:xfrm>
              <a:off x="4922643" y="3459842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1" y="33"/>
                    <a:pt x="48" y="82"/>
                  </a:cubicBezTo>
                  <a:cubicBezTo>
                    <a:pt x="0" y="153"/>
                    <a:pt x="36" y="261"/>
                    <a:pt x="108" y="308"/>
                  </a:cubicBezTo>
                  <a:lnTo>
                    <a:pt x="703" y="642"/>
                  </a:lnTo>
                  <a:cubicBezTo>
                    <a:pt x="739" y="665"/>
                    <a:pt x="762" y="665"/>
                    <a:pt x="774" y="665"/>
                  </a:cubicBezTo>
                  <a:cubicBezTo>
                    <a:pt x="834" y="665"/>
                    <a:pt x="881" y="630"/>
                    <a:pt x="917" y="582"/>
                  </a:cubicBezTo>
                  <a:cubicBezTo>
                    <a:pt x="977" y="511"/>
                    <a:pt x="941" y="404"/>
                    <a:pt x="870" y="368"/>
                  </a:cubicBezTo>
                  <a:lnTo>
                    <a:pt x="274" y="23"/>
                  </a:lnTo>
                  <a:cubicBezTo>
                    <a:pt x="252" y="8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9" name="Google Shape;11159;p60"/>
            <p:cNvSpPr/>
            <p:nvPr/>
          </p:nvSpPr>
          <p:spPr>
            <a:xfrm>
              <a:off x="5169720" y="3602334"/>
              <a:ext cx="30714" cy="21197"/>
            </a:xfrm>
            <a:custGeom>
              <a:avLst/>
              <a:gdLst/>
              <a:ahLst/>
              <a:cxnLst/>
              <a:rect l="l" t="t" r="r" b="b"/>
              <a:pathLst>
                <a:path w="965" h="666" extrusionOk="0">
                  <a:moveTo>
                    <a:pt x="187" y="1"/>
                  </a:moveTo>
                  <a:cubicBezTo>
                    <a:pt x="129" y="1"/>
                    <a:pt x="69" y="33"/>
                    <a:pt x="36" y="82"/>
                  </a:cubicBezTo>
                  <a:cubicBezTo>
                    <a:pt x="0" y="153"/>
                    <a:pt x="24" y="260"/>
                    <a:pt x="95" y="308"/>
                  </a:cubicBezTo>
                  <a:lnTo>
                    <a:pt x="691" y="653"/>
                  </a:lnTo>
                  <a:cubicBezTo>
                    <a:pt x="727" y="665"/>
                    <a:pt x="750" y="665"/>
                    <a:pt x="774" y="665"/>
                  </a:cubicBezTo>
                  <a:cubicBezTo>
                    <a:pt x="834" y="665"/>
                    <a:pt x="869" y="629"/>
                    <a:pt x="905" y="594"/>
                  </a:cubicBezTo>
                  <a:cubicBezTo>
                    <a:pt x="965" y="510"/>
                    <a:pt x="953" y="415"/>
                    <a:pt x="857" y="368"/>
                  </a:cubicBezTo>
                  <a:lnTo>
                    <a:pt x="262" y="22"/>
                  </a:lnTo>
                  <a:cubicBezTo>
                    <a:pt x="240" y="7"/>
                    <a:pt x="214" y="1"/>
                    <a:pt x="1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0" name="Google Shape;11160;p60"/>
            <p:cNvSpPr/>
            <p:nvPr/>
          </p:nvSpPr>
          <p:spPr>
            <a:xfrm>
              <a:off x="5121597" y="3650744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190" y="1"/>
                  </a:moveTo>
                  <a:cubicBezTo>
                    <a:pt x="161" y="1"/>
                    <a:pt x="132" y="9"/>
                    <a:pt x="107" y="25"/>
                  </a:cubicBezTo>
                  <a:cubicBezTo>
                    <a:pt x="36" y="61"/>
                    <a:pt x="0" y="168"/>
                    <a:pt x="48" y="240"/>
                  </a:cubicBezTo>
                  <a:lnTo>
                    <a:pt x="393" y="835"/>
                  </a:lnTo>
                  <a:cubicBezTo>
                    <a:pt x="417" y="883"/>
                    <a:pt x="476" y="918"/>
                    <a:pt x="524" y="918"/>
                  </a:cubicBezTo>
                  <a:cubicBezTo>
                    <a:pt x="560" y="918"/>
                    <a:pt x="584" y="918"/>
                    <a:pt x="595" y="894"/>
                  </a:cubicBezTo>
                  <a:cubicBezTo>
                    <a:pt x="691" y="859"/>
                    <a:pt x="715" y="752"/>
                    <a:pt x="679" y="680"/>
                  </a:cubicBezTo>
                  <a:lnTo>
                    <a:pt x="334" y="85"/>
                  </a:lnTo>
                  <a:cubicBezTo>
                    <a:pt x="302" y="30"/>
                    <a:pt x="245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1" name="Google Shape;11161;p60"/>
            <p:cNvSpPr/>
            <p:nvPr/>
          </p:nvSpPr>
          <p:spPr>
            <a:xfrm>
              <a:off x="4978723" y="3403380"/>
              <a:ext cx="22757" cy="29154"/>
            </a:xfrm>
            <a:custGeom>
              <a:avLst/>
              <a:gdLst/>
              <a:ahLst/>
              <a:cxnLst/>
              <a:rect l="l" t="t" r="r" b="b"/>
              <a:pathLst>
                <a:path w="715" h="916" extrusionOk="0">
                  <a:moveTo>
                    <a:pt x="182" y="1"/>
                  </a:moveTo>
                  <a:cubicBezTo>
                    <a:pt x="156" y="1"/>
                    <a:pt x="130" y="8"/>
                    <a:pt x="108" y="22"/>
                  </a:cubicBezTo>
                  <a:cubicBezTo>
                    <a:pt x="24" y="70"/>
                    <a:pt x="0" y="177"/>
                    <a:pt x="48" y="249"/>
                  </a:cubicBezTo>
                  <a:lnTo>
                    <a:pt x="381" y="844"/>
                  </a:lnTo>
                  <a:cubicBezTo>
                    <a:pt x="417" y="892"/>
                    <a:pt x="477" y="915"/>
                    <a:pt x="524" y="915"/>
                  </a:cubicBezTo>
                  <a:cubicBezTo>
                    <a:pt x="548" y="915"/>
                    <a:pt x="584" y="915"/>
                    <a:pt x="596" y="904"/>
                  </a:cubicBezTo>
                  <a:cubicBezTo>
                    <a:pt x="703" y="856"/>
                    <a:pt x="715" y="749"/>
                    <a:pt x="667" y="677"/>
                  </a:cubicBezTo>
                  <a:lnTo>
                    <a:pt x="322" y="82"/>
                  </a:lnTo>
                  <a:cubicBezTo>
                    <a:pt x="297" y="33"/>
                    <a:pt x="239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2" name="Google Shape;11162;p60"/>
            <p:cNvSpPr/>
            <p:nvPr/>
          </p:nvSpPr>
          <p:spPr>
            <a:xfrm>
              <a:off x="5169720" y="3459842"/>
              <a:ext cx="30714" cy="21197"/>
            </a:xfrm>
            <a:custGeom>
              <a:avLst/>
              <a:gdLst/>
              <a:ahLst/>
              <a:cxnLst/>
              <a:rect l="l" t="t" r="r" b="b"/>
              <a:pathLst>
                <a:path w="965" h="666" extrusionOk="0">
                  <a:moveTo>
                    <a:pt x="771" y="1"/>
                  </a:moveTo>
                  <a:cubicBezTo>
                    <a:pt x="744" y="1"/>
                    <a:pt x="717" y="8"/>
                    <a:pt x="691" y="23"/>
                  </a:cubicBezTo>
                  <a:lnTo>
                    <a:pt x="95" y="368"/>
                  </a:lnTo>
                  <a:cubicBezTo>
                    <a:pt x="24" y="404"/>
                    <a:pt x="0" y="511"/>
                    <a:pt x="36" y="582"/>
                  </a:cubicBezTo>
                  <a:cubicBezTo>
                    <a:pt x="72" y="630"/>
                    <a:pt x="131" y="665"/>
                    <a:pt x="179" y="665"/>
                  </a:cubicBezTo>
                  <a:cubicBezTo>
                    <a:pt x="203" y="665"/>
                    <a:pt x="238" y="665"/>
                    <a:pt x="250" y="642"/>
                  </a:cubicBezTo>
                  <a:lnTo>
                    <a:pt x="846" y="308"/>
                  </a:lnTo>
                  <a:cubicBezTo>
                    <a:pt x="953" y="261"/>
                    <a:pt x="965" y="153"/>
                    <a:pt x="917" y="82"/>
                  </a:cubicBezTo>
                  <a:cubicBezTo>
                    <a:pt x="884" y="33"/>
                    <a:pt x="829" y="1"/>
                    <a:pt x="7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3" name="Google Shape;11163;p60"/>
            <p:cNvSpPr/>
            <p:nvPr/>
          </p:nvSpPr>
          <p:spPr>
            <a:xfrm>
              <a:off x="4922643" y="3602334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8" y="368"/>
                  </a:lnTo>
                  <a:cubicBezTo>
                    <a:pt x="36" y="415"/>
                    <a:pt x="0" y="510"/>
                    <a:pt x="48" y="594"/>
                  </a:cubicBezTo>
                  <a:cubicBezTo>
                    <a:pt x="84" y="629"/>
                    <a:pt x="131" y="665"/>
                    <a:pt x="179" y="665"/>
                  </a:cubicBezTo>
                  <a:cubicBezTo>
                    <a:pt x="215" y="665"/>
                    <a:pt x="238" y="665"/>
                    <a:pt x="262" y="653"/>
                  </a:cubicBezTo>
                  <a:lnTo>
                    <a:pt x="858" y="308"/>
                  </a:lnTo>
                  <a:cubicBezTo>
                    <a:pt x="941" y="260"/>
                    <a:pt x="977" y="153"/>
                    <a:pt x="929" y="82"/>
                  </a:cubicBezTo>
                  <a:cubicBezTo>
                    <a:pt x="896" y="33"/>
                    <a:pt x="836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4" name="Google Shape;11164;p60"/>
            <p:cNvSpPr/>
            <p:nvPr/>
          </p:nvSpPr>
          <p:spPr>
            <a:xfrm>
              <a:off x="5077993" y="3451758"/>
              <a:ext cx="70912" cy="62637"/>
            </a:xfrm>
            <a:custGeom>
              <a:avLst/>
              <a:gdLst/>
              <a:ahLst/>
              <a:cxnLst/>
              <a:rect l="l" t="t" r="r" b="b"/>
              <a:pathLst>
                <a:path w="2228" h="1968" extrusionOk="0">
                  <a:moveTo>
                    <a:pt x="186" y="1"/>
                  </a:moveTo>
                  <a:cubicBezTo>
                    <a:pt x="104" y="1"/>
                    <a:pt x="35" y="47"/>
                    <a:pt x="25" y="122"/>
                  </a:cubicBezTo>
                  <a:cubicBezTo>
                    <a:pt x="1" y="217"/>
                    <a:pt x="49" y="300"/>
                    <a:pt x="144" y="312"/>
                  </a:cubicBezTo>
                  <a:cubicBezTo>
                    <a:pt x="930" y="527"/>
                    <a:pt x="1584" y="1098"/>
                    <a:pt x="1894" y="1860"/>
                  </a:cubicBezTo>
                  <a:cubicBezTo>
                    <a:pt x="1930" y="1920"/>
                    <a:pt x="1989" y="1967"/>
                    <a:pt x="2049" y="1967"/>
                  </a:cubicBezTo>
                  <a:cubicBezTo>
                    <a:pt x="2061" y="1967"/>
                    <a:pt x="2085" y="1967"/>
                    <a:pt x="2108" y="1955"/>
                  </a:cubicBezTo>
                  <a:cubicBezTo>
                    <a:pt x="2192" y="1908"/>
                    <a:pt x="2227" y="1812"/>
                    <a:pt x="2192" y="1729"/>
                  </a:cubicBezTo>
                  <a:cubicBezTo>
                    <a:pt x="1846" y="884"/>
                    <a:pt x="1108" y="229"/>
                    <a:pt x="215" y="3"/>
                  </a:cubicBezTo>
                  <a:cubicBezTo>
                    <a:pt x="206" y="1"/>
                    <a:pt x="19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65" name="Google Shape;11165;p60"/>
          <p:cNvGrpSpPr/>
          <p:nvPr/>
        </p:nvGrpSpPr>
        <p:grpSpPr>
          <a:xfrm>
            <a:off x="5331913" y="3413947"/>
            <a:ext cx="347143" cy="254684"/>
            <a:chOff x="5331913" y="3413947"/>
            <a:chExt cx="347143" cy="254684"/>
          </a:xfrm>
        </p:grpSpPr>
        <p:sp>
          <p:nvSpPr>
            <p:cNvPr id="11166" name="Google Shape;11166;p60"/>
            <p:cNvSpPr/>
            <p:nvPr/>
          </p:nvSpPr>
          <p:spPr>
            <a:xfrm>
              <a:off x="5597163" y="3523083"/>
              <a:ext cx="43222" cy="15564"/>
            </a:xfrm>
            <a:custGeom>
              <a:avLst/>
              <a:gdLst/>
              <a:ahLst/>
              <a:cxnLst/>
              <a:rect l="l" t="t" r="r" b="b"/>
              <a:pathLst>
                <a:path w="1358" h="489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346" y="322"/>
                    <a:pt x="870" y="357"/>
                    <a:pt x="1120" y="476"/>
                  </a:cubicBezTo>
                  <a:cubicBezTo>
                    <a:pt x="1155" y="488"/>
                    <a:pt x="1167" y="488"/>
                    <a:pt x="1191" y="488"/>
                  </a:cubicBezTo>
                  <a:cubicBezTo>
                    <a:pt x="1251" y="488"/>
                    <a:pt x="1310" y="464"/>
                    <a:pt x="1346" y="405"/>
                  </a:cubicBezTo>
                  <a:cubicBezTo>
                    <a:pt x="1358" y="322"/>
                    <a:pt x="1334" y="226"/>
                    <a:pt x="1251" y="191"/>
                  </a:cubicBezTo>
                  <a:cubicBezTo>
                    <a:pt x="882" y="12"/>
                    <a:pt x="20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7" name="Google Shape;11167;p60"/>
            <p:cNvSpPr/>
            <p:nvPr/>
          </p:nvSpPr>
          <p:spPr>
            <a:xfrm>
              <a:off x="5331913" y="3413947"/>
              <a:ext cx="347143" cy="253538"/>
            </a:xfrm>
            <a:custGeom>
              <a:avLst/>
              <a:gdLst/>
              <a:ahLst/>
              <a:cxnLst/>
              <a:rect l="l" t="t" r="r" b="b"/>
              <a:pathLst>
                <a:path w="10907" h="7966" extrusionOk="0">
                  <a:moveTo>
                    <a:pt x="7168" y="357"/>
                  </a:moveTo>
                  <a:lnTo>
                    <a:pt x="7168" y="1893"/>
                  </a:lnTo>
                  <a:cubicBezTo>
                    <a:pt x="7168" y="2131"/>
                    <a:pt x="7120" y="2357"/>
                    <a:pt x="7013" y="2560"/>
                  </a:cubicBezTo>
                  <a:cubicBezTo>
                    <a:pt x="7001" y="2584"/>
                    <a:pt x="7001" y="2608"/>
                    <a:pt x="7001" y="2643"/>
                  </a:cubicBezTo>
                  <a:lnTo>
                    <a:pt x="7001" y="3084"/>
                  </a:lnTo>
                  <a:cubicBezTo>
                    <a:pt x="7001" y="3512"/>
                    <a:pt x="6822" y="3917"/>
                    <a:pt x="6513" y="4203"/>
                  </a:cubicBezTo>
                  <a:cubicBezTo>
                    <a:pt x="6465" y="4227"/>
                    <a:pt x="6429" y="4274"/>
                    <a:pt x="6394" y="4310"/>
                  </a:cubicBezTo>
                  <a:cubicBezTo>
                    <a:pt x="6111" y="4514"/>
                    <a:pt x="5775" y="4621"/>
                    <a:pt x="5415" y="4621"/>
                  </a:cubicBezTo>
                  <a:cubicBezTo>
                    <a:pt x="5396" y="4621"/>
                    <a:pt x="5377" y="4620"/>
                    <a:pt x="5358" y="4620"/>
                  </a:cubicBezTo>
                  <a:cubicBezTo>
                    <a:pt x="4536" y="4560"/>
                    <a:pt x="3917" y="3858"/>
                    <a:pt x="3917" y="3024"/>
                  </a:cubicBezTo>
                  <a:lnTo>
                    <a:pt x="3917" y="2643"/>
                  </a:lnTo>
                  <a:cubicBezTo>
                    <a:pt x="3917" y="2608"/>
                    <a:pt x="3917" y="2596"/>
                    <a:pt x="3905" y="2560"/>
                  </a:cubicBezTo>
                  <a:cubicBezTo>
                    <a:pt x="3798" y="2357"/>
                    <a:pt x="3751" y="2131"/>
                    <a:pt x="3751" y="1893"/>
                  </a:cubicBezTo>
                  <a:lnTo>
                    <a:pt x="3751" y="1548"/>
                  </a:lnTo>
                  <a:cubicBezTo>
                    <a:pt x="3751" y="893"/>
                    <a:pt x="4286" y="357"/>
                    <a:pt x="4941" y="357"/>
                  </a:cubicBezTo>
                  <a:close/>
                  <a:moveTo>
                    <a:pt x="10013" y="2905"/>
                  </a:moveTo>
                  <a:lnTo>
                    <a:pt x="10013" y="3560"/>
                  </a:lnTo>
                  <a:cubicBezTo>
                    <a:pt x="10013" y="3667"/>
                    <a:pt x="9989" y="3774"/>
                    <a:pt x="9942" y="3870"/>
                  </a:cubicBezTo>
                  <a:lnTo>
                    <a:pt x="9870" y="4036"/>
                  </a:lnTo>
                  <a:cubicBezTo>
                    <a:pt x="9858" y="4048"/>
                    <a:pt x="9858" y="4084"/>
                    <a:pt x="9858" y="4108"/>
                  </a:cubicBezTo>
                  <a:lnTo>
                    <a:pt x="9858" y="4453"/>
                  </a:lnTo>
                  <a:cubicBezTo>
                    <a:pt x="9870" y="4679"/>
                    <a:pt x="9763" y="4882"/>
                    <a:pt x="9597" y="5048"/>
                  </a:cubicBezTo>
                  <a:cubicBezTo>
                    <a:pt x="9451" y="5205"/>
                    <a:pt x="9244" y="5288"/>
                    <a:pt x="9022" y="5288"/>
                  </a:cubicBezTo>
                  <a:cubicBezTo>
                    <a:pt x="9007" y="5288"/>
                    <a:pt x="8992" y="5287"/>
                    <a:pt x="8977" y="5286"/>
                  </a:cubicBezTo>
                  <a:cubicBezTo>
                    <a:pt x="8513" y="5275"/>
                    <a:pt x="8144" y="4870"/>
                    <a:pt x="8144" y="4382"/>
                  </a:cubicBezTo>
                  <a:lnTo>
                    <a:pt x="8144" y="4084"/>
                  </a:lnTo>
                  <a:cubicBezTo>
                    <a:pt x="8144" y="4048"/>
                    <a:pt x="8144" y="4036"/>
                    <a:pt x="8132" y="4012"/>
                  </a:cubicBezTo>
                  <a:lnTo>
                    <a:pt x="8025" y="3810"/>
                  </a:lnTo>
                  <a:cubicBezTo>
                    <a:pt x="8002" y="3741"/>
                    <a:pt x="7968" y="3672"/>
                    <a:pt x="7966" y="3582"/>
                  </a:cubicBezTo>
                  <a:lnTo>
                    <a:pt x="7966" y="3582"/>
                  </a:lnTo>
                  <a:cubicBezTo>
                    <a:pt x="7973" y="3196"/>
                    <a:pt x="8279" y="2905"/>
                    <a:pt x="8644" y="2905"/>
                  </a:cubicBezTo>
                  <a:close/>
                  <a:moveTo>
                    <a:pt x="1727" y="2893"/>
                  </a:moveTo>
                  <a:cubicBezTo>
                    <a:pt x="2000" y="2893"/>
                    <a:pt x="2250" y="3000"/>
                    <a:pt x="2441" y="3191"/>
                  </a:cubicBezTo>
                  <a:cubicBezTo>
                    <a:pt x="2643" y="3381"/>
                    <a:pt x="2739" y="3655"/>
                    <a:pt x="2774" y="3929"/>
                  </a:cubicBezTo>
                  <a:cubicBezTo>
                    <a:pt x="2774" y="4024"/>
                    <a:pt x="2786" y="4132"/>
                    <a:pt x="2786" y="4227"/>
                  </a:cubicBezTo>
                  <a:lnTo>
                    <a:pt x="2786" y="4262"/>
                  </a:lnTo>
                  <a:cubicBezTo>
                    <a:pt x="2608" y="3989"/>
                    <a:pt x="2358" y="3798"/>
                    <a:pt x="2000" y="3691"/>
                  </a:cubicBezTo>
                  <a:cubicBezTo>
                    <a:pt x="1753" y="3615"/>
                    <a:pt x="1520" y="3607"/>
                    <a:pt x="1431" y="3607"/>
                  </a:cubicBezTo>
                  <a:cubicBezTo>
                    <a:pt x="1409" y="3607"/>
                    <a:pt x="1396" y="3608"/>
                    <a:pt x="1393" y="3608"/>
                  </a:cubicBezTo>
                  <a:cubicBezTo>
                    <a:pt x="1346" y="3608"/>
                    <a:pt x="1310" y="3620"/>
                    <a:pt x="1286" y="3655"/>
                  </a:cubicBezTo>
                  <a:lnTo>
                    <a:pt x="1000" y="3953"/>
                  </a:lnTo>
                  <a:cubicBezTo>
                    <a:pt x="941" y="4012"/>
                    <a:pt x="941" y="4108"/>
                    <a:pt x="1000" y="4167"/>
                  </a:cubicBezTo>
                  <a:cubicBezTo>
                    <a:pt x="1030" y="4197"/>
                    <a:pt x="1072" y="4212"/>
                    <a:pt x="1113" y="4212"/>
                  </a:cubicBezTo>
                  <a:cubicBezTo>
                    <a:pt x="1155" y="4212"/>
                    <a:pt x="1197" y="4197"/>
                    <a:pt x="1226" y="4167"/>
                  </a:cubicBezTo>
                  <a:lnTo>
                    <a:pt x="1465" y="3917"/>
                  </a:lnTo>
                  <a:cubicBezTo>
                    <a:pt x="1667" y="3929"/>
                    <a:pt x="2322" y="4012"/>
                    <a:pt x="2572" y="4572"/>
                  </a:cubicBezTo>
                  <a:cubicBezTo>
                    <a:pt x="2500" y="4989"/>
                    <a:pt x="2143" y="5298"/>
                    <a:pt x="1727" y="5298"/>
                  </a:cubicBezTo>
                  <a:cubicBezTo>
                    <a:pt x="1250" y="5298"/>
                    <a:pt x="869" y="4917"/>
                    <a:pt x="869" y="4441"/>
                  </a:cubicBezTo>
                  <a:cubicBezTo>
                    <a:pt x="869" y="4346"/>
                    <a:pt x="798" y="4274"/>
                    <a:pt x="703" y="4274"/>
                  </a:cubicBezTo>
                  <a:lnTo>
                    <a:pt x="679" y="4274"/>
                  </a:lnTo>
                  <a:lnTo>
                    <a:pt x="679" y="4227"/>
                  </a:lnTo>
                  <a:cubicBezTo>
                    <a:pt x="679" y="4132"/>
                    <a:pt x="679" y="4024"/>
                    <a:pt x="691" y="3929"/>
                  </a:cubicBezTo>
                  <a:cubicBezTo>
                    <a:pt x="703" y="3655"/>
                    <a:pt x="822" y="3381"/>
                    <a:pt x="1012" y="3191"/>
                  </a:cubicBezTo>
                  <a:cubicBezTo>
                    <a:pt x="1215" y="3000"/>
                    <a:pt x="1465" y="2893"/>
                    <a:pt x="1727" y="2893"/>
                  </a:cubicBezTo>
                  <a:close/>
                  <a:moveTo>
                    <a:pt x="643" y="4882"/>
                  </a:moveTo>
                  <a:cubicBezTo>
                    <a:pt x="726" y="5096"/>
                    <a:pt x="881" y="5275"/>
                    <a:pt x="1060" y="5405"/>
                  </a:cubicBezTo>
                  <a:lnTo>
                    <a:pt x="1060" y="5596"/>
                  </a:lnTo>
                  <a:cubicBezTo>
                    <a:pt x="762" y="5501"/>
                    <a:pt x="619" y="5346"/>
                    <a:pt x="560" y="5275"/>
                  </a:cubicBezTo>
                  <a:cubicBezTo>
                    <a:pt x="595" y="5155"/>
                    <a:pt x="631" y="5036"/>
                    <a:pt x="643" y="4882"/>
                  </a:cubicBezTo>
                  <a:close/>
                  <a:moveTo>
                    <a:pt x="2798" y="4882"/>
                  </a:moveTo>
                  <a:cubicBezTo>
                    <a:pt x="2810" y="5024"/>
                    <a:pt x="2846" y="5155"/>
                    <a:pt x="2893" y="5263"/>
                  </a:cubicBezTo>
                  <a:cubicBezTo>
                    <a:pt x="2834" y="5346"/>
                    <a:pt x="2679" y="5477"/>
                    <a:pt x="2381" y="5596"/>
                  </a:cubicBezTo>
                  <a:lnTo>
                    <a:pt x="2381" y="5405"/>
                  </a:lnTo>
                  <a:cubicBezTo>
                    <a:pt x="2560" y="5275"/>
                    <a:pt x="2715" y="5096"/>
                    <a:pt x="2798" y="4882"/>
                  </a:cubicBezTo>
                  <a:close/>
                  <a:moveTo>
                    <a:pt x="6299" y="4727"/>
                  </a:moveTo>
                  <a:lnTo>
                    <a:pt x="6299" y="5001"/>
                  </a:lnTo>
                  <a:lnTo>
                    <a:pt x="5453" y="5596"/>
                  </a:lnTo>
                  <a:lnTo>
                    <a:pt x="4584" y="5024"/>
                  </a:lnTo>
                  <a:lnTo>
                    <a:pt x="4584" y="4727"/>
                  </a:lnTo>
                  <a:cubicBezTo>
                    <a:pt x="4810" y="4846"/>
                    <a:pt x="5060" y="4917"/>
                    <a:pt x="5322" y="4929"/>
                  </a:cubicBezTo>
                  <a:lnTo>
                    <a:pt x="5441" y="4929"/>
                  </a:lnTo>
                  <a:cubicBezTo>
                    <a:pt x="5739" y="4929"/>
                    <a:pt x="6037" y="4858"/>
                    <a:pt x="6299" y="4727"/>
                  </a:cubicBezTo>
                  <a:close/>
                  <a:moveTo>
                    <a:pt x="9347" y="5572"/>
                  </a:moveTo>
                  <a:lnTo>
                    <a:pt x="9347" y="5632"/>
                  </a:lnTo>
                  <a:cubicBezTo>
                    <a:pt x="9347" y="5656"/>
                    <a:pt x="9347" y="5691"/>
                    <a:pt x="9358" y="5715"/>
                  </a:cubicBezTo>
                  <a:lnTo>
                    <a:pt x="9001" y="6072"/>
                  </a:lnTo>
                  <a:lnTo>
                    <a:pt x="8644" y="5715"/>
                  </a:lnTo>
                  <a:cubicBezTo>
                    <a:pt x="8644" y="5691"/>
                    <a:pt x="8668" y="5656"/>
                    <a:pt x="8668" y="5632"/>
                  </a:cubicBezTo>
                  <a:lnTo>
                    <a:pt x="8668" y="5572"/>
                  </a:lnTo>
                  <a:cubicBezTo>
                    <a:pt x="8763" y="5596"/>
                    <a:pt x="8870" y="5632"/>
                    <a:pt x="8977" y="5632"/>
                  </a:cubicBezTo>
                  <a:lnTo>
                    <a:pt x="9001" y="5632"/>
                  </a:lnTo>
                  <a:cubicBezTo>
                    <a:pt x="9120" y="5632"/>
                    <a:pt x="9239" y="5620"/>
                    <a:pt x="9347" y="5572"/>
                  </a:cubicBezTo>
                  <a:close/>
                  <a:moveTo>
                    <a:pt x="2108" y="5572"/>
                  </a:moveTo>
                  <a:lnTo>
                    <a:pt x="2108" y="5739"/>
                  </a:lnTo>
                  <a:cubicBezTo>
                    <a:pt x="2108" y="5798"/>
                    <a:pt x="2119" y="5834"/>
                    <a:pt x="2143" y="5882"/>
                  </a:cubicBezTo>
                  <a:lnTo>
                    <a:pt x="1965" y="6013"/>
                  </a:lnTo>
                  <a:cubicBezTo>
                    <a:pt x="1899" y="6084"/>
                    <a:pt x="1816" y="6120"/>
                    <a:pt x="1731" y="6120"/>
                  </a:cubicBezTo>
                  <a:cubicBezTo>
                    <a:pt x="1646" y="6120"/>
                    <a:pt x="1560" y="6084"/>
                    <a:pt x="1488" y="6013"/>
                  </a:cubicBezTo>
                  <a:lnTo>
                    <a:pt x="1346" y="5882"/>
                  </a:lnTo>
                  <a:cubicBezTo>
                    <a:pt x="1369" y="5834"/>
                    <a:pt x="1381" y="5775"/>
                    <a:pt x="1381" y="5739"/>
                  </a:cubicBezTo>
                  <a:lnTo>
                    <a:pt x="1381" y="5572"/>
                  </a:lnTo>
                  <a:cubicBezTo>
                    <a:pt x="1488" y="5596"/>
                    <a:pt x="1607" y="5632"/>
                    <a:pt x="1750" y="5632"/>
                  </a:cubicBezTo>
                  <a:cubicBezTo>
                    <a:pt x="1857" y="5632"/>
                    <a:pt x="1977" y="5608"/>
                    <a:pt x="2108" y="5572"/>
                  </a:cubicBezTo>
                  <a:close/>
                  <a:moveTo>
                    <a:pt x="4465" y="5298"/>
                  </a:moveTo>
                  <a:lnTo>
                    <a:pt x="5215" y="5810"/>
                  </a:lnTo>
                  <a:lnTo>
                    <a:pt x="4810" y="6215"/>
                  </a:lnTo>
                  <a:lnTo>
                    <a:pt x="4798" y="6215"/>
                  </a:lnTo>
                  <a:lnTo>
                    <a:pt x="4310" y="5465"/>
                  </a:lnTo>
                  <a:lnTo>
                    <a:pt x="4465" y="5298"/>
                  </a:lnTo>
                  <a:close/>
                  <a:moveTo>
                    <a:pt x="6429" y="5298"/>
                  </a:moveTo>
                  <a:lnTo>
                    <a:pt x="6596" y="5465"/>
                  </a:lnTo>
                  <a:lnTo>
                    <a:pt x="6108" y="6215"/>
                  </a:lnTo>
                  <a:lnTo>
                    <a:pt x="6096" y="6215"/>
                  </a:lnTo>
                  <a:lnTo>
                    <a:pt x="5691" y="5810"/>
                  </a:lnTo>
                  <a:lnTo>
                    <a:pt x="6429" y="5298"/>
                  </a:lnTo>
                  <a:close/>
                  <a:moveTo>
                    <a:pt x="4905" y="0"/>
                  </a:moveTo>
                  <a:cubicBezTo>
                    <a:pt x="4072" y="0"/>
                    <a:pt x="3381" y="691"/>
                    <a:pt x="3381" y="1524"/>
                  </a:cubicBezTo>
                  <a:lnTo>
                    <a:pt x="3381" y="1869"/>
                  </a:lnTo>
                  <a:cubicBezTo>
                    <a:pt x="3381" y="2131"/>
                    <a:pt x="3441" y="2381"/>
                    <a:pt x="3548" y="2643"/>
                  </a:cubicBezTo>
                  <a:lnTo>
                    <a:pt x="3548" y="3000"/>
                  </a:lnTo>
                  <a:cubicBezTo>
                    <a:pt x="3548" y="3596"/>
                    <a:pt x="3810" y="4132"/>
                    <a:pt x="4227" y="4465"/>
                  </a:cubicBezTo>
                  <a:lnTo>
                    <a:pt x="4227" y="5001"/>
                  </a:lnTo>
                  <a:lnTo>
                    <a:pt x="3929" y="5322"/>
                  </a:lnTo>
                  <a:cubicBezTo>
                    <a:pt x="3905" y="5346"/>
                    <a:pt x="3893" y="5394"/>
                    <a:pt x="3893" y="5441"/>
                  </a:cubicBezTo>
                  <a:lnTo>
                    <a:pt x="2905" y="5798"/>
                  </a:lnTo>
                  <a:cubicBezTo>
                    <a:pt x="2834" y="5822"/>
                    <a:pt x="2774" y="5858"/>
                    <a:pt x="2715" y="5894"/>
                  </a:cubicBezTo>
                  <a:lnTo>
                    <a:pt x="2560" y="5822"/>
                  </a:lnTo>
                  <a:cubicBezTo>
                    <a:pt x="3024" y="5632"/>
                    <a:pt x="3155" y="5346"/>
                    <a:pt x="3179" y="5334"/>
                  </a:cubicBezTo>
                  <a:cubicBezTo>
                    <a:pt x="3203" y="5286"/>
                    <a:pt x="3203" y="5227"/>
                    <a:pt x="3179" y="5179"/>
                  </a:cubicBezTo>
                  <a:cubicBezTo>
                    <a:pt x="3060" y="4965"/>
                    <a:pt x="3036" y="4524"/>
                    <a:pt x="3036" y="4203"/>
                  </a:cubicBezTo>
                  <a:cubicBezTo>
                    <a:pt x="3036" y="4084"/>
                    <a:pt x="3036" y="3977"/>
                    <a:pt x="3024" y="3893"/>
                  </a:cubicBezTo>
                  <a:cubicBezTo>
                    <a:pt x="2965" y="3131"/>
                    <a:pt x="2405" y="2548"/>
                    <a:pt x="1691" y="2548"/>
                  </a:cubicBezTo>
                  <a:cubicBezTo>
                    <a:pt x="976" y="2548"/>
                    <a:pt x="393" y="3131"/>
                    <a:pt x="345" y="3893"/>
                  </a:cubicBezTo>
                  <a:cubicBezTo>
                    <a:pt x="345" y="3977"/>
                    <a:pt x="333" y="4084"/>
                    <a:pt x="333" y="4203"/>
                  </a:cubicBezTo>
                  <a:cubicBezTo>
                    <a:pt x="322" y="4548"/>
                    <a:pt x="298" y="4965"/>
                    <a:pt x="203" y="5179"/>
                  </a:cubicBezTo>
                  <a:cubicBezTo>
                    <a:pt x="167" y="5227"/>
                    <a:pt x="167" y="5286"/>
                    <a:pt x="203" y="5334"/>
                  </a:cubicBezTo>
                  <a:cubicBezTo>
                    <a:pt x="203" y="5346"/>
                    <a:pt x="345" y="5632"/>
                    <a:pt x="810" y="5822"/>
                  </a:cubicBezTo>
                  <a:lnTo>
                    <a:pt x="369" y="6037"/>
                  </a:lnTo>
                  <a:cubicBezTo>
                    <a:pt x="155" y="6156"/>
                    <a:pt x="0" y="6370"/>
                    <a:pt x="0" y="6632"/>
                  </a:cubicBezTo>
                  <a:lnTo>
                    <a:pt x="0" y="7799"/>
                  </a:lnTo>
                  <a:cubicBezTo>
                    <a:pt x="0" y="7894"/>
                    <a:pt x="72" y="7965"/>
                    <a:pt x="167" y="7965"/>
                  </a:cubicBezTo>
                  <a:cubicBezTo>
                    <a:pt x="250" y="7965"/>
                    <a:pt x="333" y="7894"/>
                    <a:pt x="333" y="7799"/>
                  </a:cubicBezTo>
                  <a:lnTo>
                    <a:pt x="333" y="6632"/>
                  </a:lnTo>
                  <a:cubicBezTo>
                    <a:pt x="333" y="6489"/>
                    <a:pt x="405" y="6370"/>
                    <a:pt x="524" y="6310"/>
                  </a:cubicBezTo>
                  <a:lnTo>
                    <a:pt x="1060" y="6048"/>
                  </a:lnTo>
                  <a:lnTo>
                    <a:pt x="1238" y="6227"/>
                  </a:lnTo>
                  <a:cubicBezTo>
                    <a:pt x="1369" y="6346"/>
                    <a:pt x="1536" y="6406"/>
                    <a:pt x="1703" y="6406"/>
                  </a:cubicBezTo>
                  <a:cubicBezTo>
                    <a:pt x="1857" y="6406"/>
                    <a:pt x="2024" y="6346"/>
                    <a:pt x="2155" y="6227"/>
                  </a:cubicBezTo>
                  <a:lnTo>
                    <a:pt x="2334" y="6048"/>
                  </a:lnTo>
                  <a:lnTo>
                    <a:pt x="2512" y="6132"/>
                  </a:lnTo>
                  <a:cubicBezTo>
                    <a:pt x="2441" y="6275"/>
                    <a:pt x="2381" y="6418"/>
                    <a:pt x="2381" y="6584"/>
                  </a:cubicBezTo>
                  <a:lnTo>
                    <a:pt x="2381" y="7799"/>
                  </a:lnTo>
                  <a:cubicBezTo>
                    <a:pt x="2381" y="7894"/>
                    <a:pt x="2453" y="7965"/>
                    <a:pt x="2548" y="7965"/>
                  </a:cubicBezTo>
                  <a:cubicBezTo>
                    <a:pt x="2631" y="7965"/>
                    <a:pt x="2715" y="7894"/>
                    <a:pt x="2715" y="7799"/>
                  </a:cubicBezTo>
                  <a:lnTo>
                    <a:pt x="2715" y="6584"/>
                  </a:lnTo>
                  <a:cubicBezTo>
                    <a:pt x="2715" y="6358"/>
                    <a:pt x="2846" y="6167"/>
                    <a:pt x="3048" y="6096"/>
                  </a:cubicBezTo>
                  <a:lnTo>
                    <a:pt x="4084" y="5715"/>
                  </a:lnTo>
                  <a:lnTo>
                    <a:pt x="4513" y="6358"/>
                  </a:lnTo>
                  <a:cubicBezTo>
                    <a:pt x="4572" y="6453"/>
                    <a:pt x="4655" y="6489"/>
                    <a:pt x="4751" y="6513"/>
                  </a:cubicBezTo>
                  <a:lnTo>
                    <a:pt x="4775" y="6513"/>
                  </a:lnTo>
                  <a:cubicBezTo>
                    <a:pt x="4870" y="6513"/>
                    <a:pt x="4941" y="6477"/>
                    <a:pt x="5013" y="6418"/>
                  </a:cubicBezTo>
                  <a:lnTo>
                    <a:pt x="5286" y="6156"/>
                  </a:lnTo>
                  <a:lnTo>
                    <a:pt x="5286" y="7799"/>
                  </a:lnTo>
                  <a:cubicBezTo>
                    <a:pt x="5286" y="7894"/>
                    <a:pt x="5358" y="7965"/>
                    <a:pt x="5453" y="7965"/>
                  </a:cubicBezTo>
                  <a:cubicBezTo>
                    <a:pt x="5537" y="7965"/>
                    <a:pt x="5608" y="7894"/>
                    <a:pt x="5608" y="7799"/>
                  </a:cubicBezTo>
                  <a:lnTo>
                    <a:pt x="5608" y="6156"/>
                  </a:lnTo>
                  <a:lnTo>
                    <a:pt x="5882" y="6418"/>
                  </a:lnTo>
                  <a:cubicBezTo>
                    <a:pt x="5941" y="6477"/>
                    <a:pt x="6025" y="6513"/>
                    <a:pt x="6120" y="6513"/>
                  </a:cubicBezTo>
                  <a:lnTo>
                    <a:pt x="6144" y="6513"/>
                  </a:lnTo>
                  <a:cubicBezTo>
                    <a:pt x="6251" y="6489"/>
                    <a:pt x="6322" y="6453"/>
                    <a:pt x="6382" y="6358"/>
                  </a:cubicBezTo>
                  <a:lnTo>
                    <a:pt x="6822" y="5715"/>
                  </a:lnTo>
                  <a:lnTo>
                    <a:pt x="7846" y="6096"/>
                  </a:lnTo>
                  <a:cubicBezTo>
                    <a:pt x="8049" y="6167"/>
                    <a:pt x="8192" y="6358"/>
                    <a:pt x="8192" y="6584"/>
                  </a:cubicBezTo>
                  <a:lnTo>
                    <a:pt x="8192" y="7799"/>
                  </a:lnTo>
                  <a:cubicBezTo>
                    <a:pt x="8192" y="7894"/>
                    <a:pt x="8263" y="7965"/>
                    <a:pt x="8346" y="7965"/>
                  </a:cubicBezTo>
                  <a:cubicBezTo>
                    <a:pt x="8442" y="7965"/>
                    <a:pt x="8513" y="7894"/>
                    <a:pt x="8513" y="7799"/>
                  </a:cubicBezTo>
                  <a:lnTo>
                    <a:pt x="8513" y="6584"/>
                  </a:lnTo>
                  <a:cubicBezTo>
                    <a:pt x="8513" y="6358"/>
                    <a:pt x="8430" y="6156"/>
                    <a:pt x="8275" y="6001"/>
                  </a:cubicBezTo>
                  <a:lnTo>
                    <a:pt x="8323" y="5989"/>
                  </a:lnTo>
                  <a:cubicBezTo>
                    <a:pt x="8370" y="5977"/>
                    <a:pt x="8406" y="5953"/>
                    <a:pt x="8465" y="5929"/>
                  </a:cubicBezTo>
                  <a:lnTo>
                    <a:pt x="8870" y="6334"/>
                  </a:lnTo>
                  <a:lnTo>
                    <a:pt x="8870" y="7787"/>
                  </a:lnTo>
                  <a:cubicBezTo>
                    <a:pt x="8870" y="7882"/>
                    <a:pt x="8942" y="7953"/>
                    <a:pt x="9037" y="7953"/>
                  </a:cubicBezTo>
                  <a:cubicBezTo>
                    <a:pt x="9120" y="7953"/>
                    <a:pt x="9204" y="7882"/>
                    <a:pt x="9204" y="7787"/>
                  </a:cubicBezTo>
                  <a:lnTo>
                    <a:pt x="9204" y="6334"/>
                  </a:lnTo>
                  <a:lnTo>
                    <a:pt x="9597" y="5929"/>
                  </a:lnTo>
                  <a:cubicBezTo>
                    <a:pt x="9620" y="5941"/>
                    <a:pt x="9644" y="5941"/>
                    <a:pt x="9680" y="5953"/>
                  </a:cubicBezTo>
                  <a:lnTo>
                    <a:pt x="10335" y="6156"/>
                  </a:lnTo>
                  <a:cubicBezTo>
                    <a:pt x="10478" y="6191"/>
                    <a:pt x="10585" y="6334"/>
                    <a:pt x="10585" y="6489"/>
                  </a:cubicBezTo>
                  <a:lnTo>
                    <a:pt x="10585" y="7799"/>
                  </a:lnTo>
                  <a:cubicBezTo>
                    <a:pt x="10585" y="7894"/>
                    <a:pt x="10656" y="7965"/>
                    <a:pt x="10751" y="7965"/>
                  </a:cubicBezTo>
                  <a:cubicBezTo>
                    <a:pt x="10835" y="7965"/>
                    <a:pt x="10906" y="7894"/>
                    <a:pt x="10906" y="7799"/>
                  </a:cubicBezTo>
                  <a:lnTo>
                    <a:pt x="10906" y="6489"/>
                  </a:lnTo>
                  <a:cubicBezTo>
                    <a:pt x="10871" y="6227"/>
                    <a:pt x="10656" y="5953"/>
                    <a:pt x="10382" y="5870"/>
                  </a:cubicBezTo>
                  <a:lnTo>
                    <a:pt x="9716" y="5679"/>
                  </a:lnTo>
                  <a:cubicBezTo>
                    <a:pt x="9692" y="5656"/>
                    <a:pt x="9680" y="5644"/>
                    <a:pt x="9680" y="5620"/>
                  </a:cubicBezTo>
                  <a:lnTo>
                    <a:pt x="9680" y="5394"/>
                  </a:lnTo>
                  <a:cubicBezTo>
                    <a:pt x="9739" y="5358"/>
                    <a:pt x="9787" y="5322"/>
                    <a:pt x="9823" y="5275"/>
                  </a:cubicBezTo>
                  <a:cubicBezTo>
                    <a:pt x="10049" y="5048"/>
                    <a:pt x="10180" y="4751"/>
                    <a:pt x="10180" y="4429"/>
                  </a:cubicBezTo>
                  <a:lnTo>
                    <a:pt x="10180" y="4132"/>
                  </a:lnTo>
                  <a:lnTo>
                    <a:pt x="10239" y="3989"/>
                  </a:lnTo>
                  <a:cubicBezTo>
                    <a:pt x="10323" y="3858"/>
                    <a:pt x="10347" y="3691"/>
                    <a:pt x="10347" y="3548"/>
                  </a:cubicBezTo>
                  <a:lnTo>
                    <a:pt x="10347" y="2727"/>
                  </a:lnTo>
                  <a:cubicBezTo>
                    <a:pt x="10347" y="2643"/>
                    <a:pt x="10275" y="2560"/>
                    <a:pt x="10180" y="2560"/>
                  </a:cubicBezTo>
                  <a:lnTo>
                    <a:pt x="8656" y="2560"/>
                  </a:lnTo>
                  <a:cubicBezTo>
                    <a:pt x="8096" y="2560"/>
                    <a:pt x="7644" y="3012"/>
                    <a:pt x="7644" y="3572"/>
                  </a:cubicBezTo>
                  <a:lnTo>
                    <a:pt x="7644" y="3596"/>
                  </a:lnTo>
                  <a:cubicBezTo>
                    <a:pt x="7644" y="3727"/>
                    <a:pt x="7668" y="3846"/>
                    <a:pt x="7727" y="3965"/>
                  </a:cubicBezTo>
                  <a:lnTo>
                    <a:pt x="7799" y="4132"/>
                  </a:lnTo>
                  <a:lnTo>
                    <a:pt x="7799" y="4382"/>
                  </a:lnTo>
                  <a:cubicBezTo>
                    <a:pt x="7799" y="4798"/>
                    <a:pt x="8013" y="5155"/>
                    <a:pt x="8311" y="5382"/>
                  </a:cubicBezTo>
                  <a:lnTo>
                    <a:pt x="8311" y="5596"/>
                  </a:lnTo>
                  <a:cubicBezTo>
                    <a:pt x="8311" y="5632"/>
                    <a:pt x="8311" y="5644"/>
                    <a:pt x="8180" y="5691"/>
                  </a:cubicBezTo>
                  <a:lnTo>
                    <a:pt x="7858" y="5775"/>
                  </a:lnTo>
                  <a:lnTo>
                    <a:pt x="6941" y="5441"/>
                  </a:lnTo>
                  <a:cubicBezTo>
                    <a:pt x="6941" y="5394"/>
                    <a:pt x="6930" y="5346"/>
                    <a:pt x="6894" y="5322"/>
                  </a:cubicBezTo>
                  <a:lnTo>
                    <a:pt x="6596" y="5001"/>
                  </a:lnTo>
                  <a:lnTo>
                    <a:pt x="6596" y="4489"/>
                  </a:lnTo>
                  <a:cubicBezTo>
                    <a:pt x="6632" y="4453"/>
                    <a:pt x="6656" y="4429"/>
                    <a:pt x="6691" y="4405"/>
                  </a:cubicBezTo>
                  <a:cubicBezTo>
                    <a:pt x="7061" y="4072"/>
                    <a:pt x="7263" y="3560"/>
                    <a:pt x="7263" y="3060"/>
                  </a:cubicBezTo>
                  <a:lnTo>
                    <a:pt x="7263" y="2643"/>
                  </a:lnTo>
                  <a:cubicBezTo>
                    <a:pt x="7382" y="2405"/>
                    <a:pt x="7430" y="2131"/>
                    <a:pt x="7430" y="1869"/>
                  </a:cubicBezTo>
                  <a:lnTo>
                    <a:pt x="7430" y="167"/>
                  </a:lnTo>
                  <a:cubicBezTo>
                    <a:pt x="7430" y="83"/>
                    <a:pt x="7358" y="0"/>
                    <a:pt x="7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8" name="Google Shape;11168;p60"/>
            <p:cNvSpPr/>
            <p:nvPr/>
          </p:nvSpPr>
          <p:spPr>
            <a:xfrm>
              <a:off x="5645669" y="3625759"/>
              <a:ext cx="10248" cy="42872"/>
            </a:xfrm>
            <a:custGeom>
              <a:avLst/>
              <a:gdLst/>
              <a:ahLst/>
              <a:cxnLst/>
              <a:rect l="l" t="t" r="r" b="b"/>
              <a:pathLst>
                <a:path w="322" h="1347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179"/>
                  </a:lnTo>
                  <a:cubicBezTo>
                    <a:pt x="0" y="1263"/>
                    <a:pt x="72" y="1346"/>
                    <a:pt x="167" y="1346"/>
                  </a:cubicBezTo>
                  <a:cubicBezTo>
                    <a:pt x="251" y="1346"/>
                    <a:pt x="322" y="1263"/>
                    <a:pt x="322" y="1179"/>
                  </a:cubicBezTo>
                  <a:lnTo>
                    <a:pt x="322" y="167"/>
                  </a:lnTo>
                  <a:cubicBezTo>
                    <a:pt x="322" y="60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9" name="Google Shape;11169;p60"/>
            <p:cNvSpPr/>
            <p:nvPr/>
          </p:nvSpPr>
          <p:spPr>
            <a:xfrm>
              <a:off x="5462247" y="3461115"/>
              <a:ext cx="86825" cy="29759"/>
            </a:xfrm>
            <a:custGeom>
              <a:avLst/>
              <a:gdLst/>
              <a:ahLst/>
              <a:cxnLst/>
              <a:rect l="l" t="t" r="r" b="b"/>
              <a:pathLst>
                <a:path w="2728" h="935" extrusionOk="0">
                  <a:moveTo>
                    <a:pt x="1094" y="0"/>
                  </a:moveTo>
                  <a:cubicBezTo>
                    <a:pt x="768" y="0"/>
                    <a:pt x="473" y="35"/>
                    <a:pt x="287" y="66"/>
                  </a:cubicBezTo>
                  <a:cubicBezTo>
                    <a:pt x="120" y="102"/>
                    <a:pt x="1" y="233"/>
                    <a:pt x="1" y="399"/>
                  </a:cubicBezTo>
                  <a:lnTo>
                    <a:pt x="1" y="768"/>
                  </a:lnTo>
                  <a:cubicBezTo>
                    <a:pt x="1" y="864"/>
                    <a:pt x="72" y="935"/>
                    <a:pt x="168" y="935"/>
                  </a:cubicBezTo>
                  <a:cubicBezTo>
                    <a:pt x="251" y="935"/>
                    <a:pt x="322" y="864"/>
                    <a:pt x="322" y="768"/>
                  </a:cubicBezTo>
                  <a:lnTo>
                    <a:pt x="322" y="399"/>
                  </a:lnTo>
                  <a:cubicBezTo>
                    <a:pt x="322" y="399"/>
                    <a:pt x="322" y="387"/>
                    <a:pt x="346" y="387"/>
                  </a:cubicBezTo>
                  <a:cubicBezTo>
                    <a:pt x="498" y="361"/>
                    <a:pt x="764" y="327"/>
                    <a:pt x="1063" y="327"/>
                  </a:cubicBezTo>
                  <a:cubicBezTo>
                    <a:pt x="1162" y="327"/>
                    <a:pt x="1266" y="331"/>
                    <a:pt x="1370" y="340"/>
                  </a:cubicBezTo>
                  <a:cubicBezTo>
                    <a:pt x="1858" y="364"/>
                    <a:pt x="2215" y="506"/>
                    <a:pt x="2442" y="709"/>
                  </a:cubicBezTo>
                  <a:cubicBezTo>
                    <a:pt x="2471" y="739"/>
                    <a:pt x="2513" y="753"/>
                    <a:pt x="2555" y="753"/>
                  </a:cubicBezTo>
                  <a:cubicBezTo>
                    <a:pt x="2596" y="753"/>
                    <a:pt x="2638" y="739"/>
                    <a:pt x="2668" y="709"/>
                  </a:cubicBezTo>
                  <a:cubicBezTo>
                    <a:pt x="2727" y="637"/>
                    <a:pt x="2727" y="530"/>
                    <a:pt x="2656" y="471"/>
                  </a:cubicBezTo>
                  <a:cubicBezTo>
                    <a:pt x="2283" y="97"/>
                    <a:pt x="1643" y="0"/>
                    <a:pt x="10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0" name="Google Shape;11170;p60"/>
            <p:cNvSpPr/>
            <p:nvPr/>
          </p:nvSpPr>
          <p:spPr>
            <a:xfrm>
              <a:off x="5441050" y="3636389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845"/>
                  </a:lnTo>
                  <a:cubicBezTo>
                    <a:pt x="0" y="929"/>
                    <a:pt x="72" y="1012"/>
                    <a:pt x="167" y="1012"/>
                  </a:cubicBezTo>
                  <a:cubicBezTo>
                    <a:pt x="250" y="1012"/>
                    <a:pt x="322" y="929"/>
                    <a:pt x="322" y="845"/>
                  </a:cubicBezTo>
                  <a:lnTo>
                    <a:pt x="322" y="155"/>
                  </a:lnTo>
                  <a:cubicBezTo>
                    <a:pt x="310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1" name="Google Shape;11171;p60"/>
            <p:cNvSpPr/>
            <p:nvPr/>
          </p:nvSpPr>
          <p:spPr>
            <a:xfrm>
              <a:off x="5559257" y="3636389"/>
              <a:ext cx="10662" cy="32241"/>
            </a:xfrm>
            <a:custGeom>
              <a:avLst/>
              <a:gdLst/>
              <a:ahLst/>
              <a:cxnLst/>
              <a:rect l="l" t="t" r="r" b="b"/>
              <a:pathLst>
                <a:path w="335" h="1013" extrusionOk="0">
                  <a:moveTo>
                    <a:pt x="168" y="0"/>
                  </a:moveTo>
                  <a:cubicBezTo>
                    <a:pt x="84" y="0"/>
                    <a:pt x="1" y="71"/>
                    <a:pt x="1" y="155"/>
                  </a:cubicBezTo>
                  <a:lnTo>
                    <a:pt x="1" y="845"/>
                  </a:lnTo>
                  <a:cubicBezTo>
                    <a:pt x="1" y="929"/>
                    <a:pt x="84" y="1012"/>
                    <a:pt x="168" y="1012"/>
                  </a:cubicBezTo>
                  <a:cubicBezTo>
                    <a:pt x="263" y="1012"/>
                    <a:pt x="334" y="929"/>
                    <a:pt x="334" y="845"/>
                  </a:cubicBezTo>
                  <a:lnTo>
                    <a:pt x="334" y="155"/>
                  </a:lnTo>
                  <a:cubicBezTo>
                    <a:pt x="334" y="71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72" name="Google Shape;11172;p60"/>
          <p:cNvGrpSpPr/>
          <p:nvPr/>
        </p:nvGrpSpPr>
        <p:grpSpPr>
          <a:xfrm>
            <a:off x="5776798" y="3409778"/>
            <a:ext cx="346379" cy="264518"/>
            <a:chOff x="5776798" y="3409778"/>
            <a:chExt cx="346379" cy="264518"/>
          </a:xfrm>
        </p:grpSpPr>
        <p:sp>
          <p:nvSpPr>
            <p:cNvPr id="11173" name="Google Shape;11173;p60"/>
            <p:cNvSpPr/>
            <p:nvPr/>
          </p:nvSpPr>
          <p:spPr>
            <a:xfrm>
              <a:off x="5890104" y="3642055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lnTo>
                    <a:pt x="0" y="846"/>
                  </a:lnTo>
                  <a:cubicBezTo>
                    <a:pt x="0" y="929"/>
                    <a:pt x="71" y="1013"/>
                    <a:pt x="167" y="1013"/>
                  </a:cubicBezTo>
                  <a:cubicBezTo>
                    <a:pt x="250" y="1013"/>
                    <a:pt x="321" y="929"/>
                    <a:pt x="321" y="846"/>
                  </a:cubicBezTo>
                  <a:lnTo>
                    <a:pt x="321" y="143"/>
                  </a:lnTo>
                  <a:cubicBezTo>
                    <a:pt x="321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4" name="Google Shape;11174;p60"/>
            <p:cNvSpPr/>
            <p:nvPr/>
          </p:nvSpPr>
          <p:spPr>
            <a:xfrm>
              <a:off x="5998094" y="3642055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846"/>
                  </a:lnTo>
                  <a:cubicBezTo>
                    <a:pt x="0" y="929"/>
                    <a:pt x="72" y="1013"/>
                    <a:pt x="167" y="1013"/>
                  </a:cubicBezTo>
                  <a:cubicBezTo>
                    <a:pt x="250" y="1013"/>
                    <a:pt x="322" y="929"/>
                    <a:pt x="322" y="846"/>
                  </a:cubicBezTo>
                  <a:lnTo>
                    <a:pt x="322" y="143"/>
                  </a:lnTo>
                  <a:cubicBezTo>
                    <a:pt x="310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5" name="Google Shape;11175;p60"/>
            <p:cNvSpPr/>
            <p:nvPr/>
          </p:nvSpPr>
          <p:spPr>
            <a:xfrm>
              <a:off x="5814673" y="3528367"/>
              <a:ext cx="43222" cy="15564"/>
            </a:xfrm>
            <a:custGeom>
              <a:avLst/>
              <a:gdLst/>
              <a:ahLst/>
              <a:cxnLst/>
              <a:rect l="l" t="t" r="r" b="b"/>
              <a:pathLst>
                <a:path w="1358" h="489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7" y="322"/>
                  </a:cubicBezTo>
                  <a:cubicBezTo>
                    <a:pt x="346" y="322"/>
                    <a:pt x="870" y="358"/>
                    <a:pt x="1120" y="477"/>
                  </a:cubicBezTo>
                  <a:cubicBezTo>
                    <a:pt x="1144" y="489"/>
                    <a:pt x="1167" y="489"/>
                    <a:pt x="1191" y="489"/>
                  </a:cubicBezTo>
                  <a:cubicBezTo>
                    <a:pt x="1251" y="489"/>
                    <a:pt x="1310" y="453"/>
                    <a:pt x="1346" y="394"/>
                  </a:cubicBezTo>
                  <a:cubicBezTo>
                    <a:pt x="1358" y="322"/>
                    <a:pt x="1322" y="239"/>
                    <a:pt x="1251" y="191"/>
                  </a:cubicBezTo>
                  <a:cubicBezTo>
                    <a:pt x="882" y="13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6" name="Google Shape;11176;p60"/>
            <p:cNvSpPr/>
            <p:nvPr/>
          </p:nvSpPr>
          <p:spPr>
            <a:xfrm>
              <a:off x="5797995" y="3631074"/>
              <a:ext cx="10662" cy="42458"/>
            </a:xfrm>
            <a:custGeom>
              <a:avLst/>
              <a:gdLst/>
              <a:ahLst/>
              <a:cxnLst/>
              <a:rect l="l" t="t" r="r" b="b"/>
              <a:pathLst>
                <a:path w="335" h="1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1179"/>
                  </a:lnTo>
                  <a:cubicBezTo>
                    <a:pt x="1" y="1262"/>
                    <a:pt x="84" y="1334"/>
                    <a:pt x="167" y="1334"/>
                  </a:cubicBezTo>
                  <a:cubicBezTo>
                    <a:pt x="251" y="1334"/>
                    <a:pt x="334" y="1262"/>
                    <a:pt x="334" y="1179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7" name="Google Shape;11177;p60"/>
            <p:cNvSpPr/>
            <p:nvPr/>
          </p:nvSpPr>
          <p:spPr>
            <a:xfrm>
              <a:off x="5776798" y="3409778"/>
              <a:ext cx="346379" cy="264136"/>
            </a:xfrm>
            <a:custGeom>
              <a:avLst/>
              <a:gdLst/>
              <a:ahLst/>
              <a:cxnLst/>
              <a:rect l="l" t="t" r="r" b="b"/>
              <a:pathLst>
                <a:path w="10883" h="8299" extrusionOk="0">
                  <a:moveTo>
                    <a:pt x="9144" y="2512"/>
                  </a:moveTo>
                  <a:cubicBezTo>
                    <a:pt x="9418" y="2512"/>
                    <a:pt x="9656" y="2715"/>
                    <a:pt x="9656" y="2953"/>
                  </a:cubicBezTo>
                  <a:lnTo>
                    <a:pt x="9656" y="2977"/>
                  </a:lnTo>
                  <a:cubicBezTo>
                    <a:pt x="9501" y="2917"/>
                    <a:pt x="9335" y="2869"/>
                    <a:pt x="9144" y="2869"/>
                  </a:cubicBezTo>
                  <a:cubicBezTo>
                    <a:pt x="8965" y="2869"/>
                    <a:pt x="8787" y="2905"/>
                    <a:pt x="8620" y="2977"/>
                  </a:cubicBezTo>
                  <a:lnTo>
                    <a:pt x="8620" y="2953"/>
                  </a:lnTo>
                  <a:cubicBezTo>
                    <a:pt x="8620" y="2727"/>
                    <a:pt x="8858" y="2512"/>
                    <a:pt x="9144" y="2512"/>
                  </a:cubicBezTo>
                  <a:close/>
                  <a:moveTo>
                    <a:pt x="2869" y="3203"/>
                  </a:moveTo>
                  <a:lnTo>
                    <a:pt x="2869" y="3858"/>
                  </a:lnTo>
                  <a:cubicBezTo>
                    <a:pt x="2869" y="3965"/>
                    <a:pt x="2846" y="4060"/>
                    <a:pt x="2798" y="4167"/>
                  </a:cubicBezTo>
                  <a:lnTo>
                    <a:pt x="2727" y="4334"/>
                  </a:lnTo>
                  <a:cubicBezTo>
                    <a:pt x="2715" y="4346"/>
                    <a:pt x="2715" y="4382"/>
                    <a:pt x="2715" y="4405"/>
                  </a:cubicBezTo>
                  <a:lnTo>
                    <a:pt x="2715" y="4751"/>
                  </a:lnTo>
                  <a:cubicBezTo>
                    <a:pt x="2715" y="4989"/>
                    <a:pt x="2619" y="5191"/>
                    <a:pt x="2441" y="5358"/>
                  </a:cubicBezTo>
                  <a:cubicBezTo>
                    <a:pt x="2298" y="5525"/>
                    <a:pt x="2072" y="5596"/>
                    <a:pt x="1834" y="5596"/>
                  </a:cubicBezTo>
                  <a:cubicBezTo>
                    <a:pt x="1369" y="5584"/>
                    <a:pt x="1000" y="5179"/>
                    <a:pt x="1000" y="4703"/>
                  </a:cubicBezTo>
                  <a:lnTo>
                    <a:pt x="1000" y="4405"/>
                  </a:lnTo>
                  <a:cubicBezTo>
                    <a:pt x="1000" y="4382"/>
                    <a:pt x="1000" y="4358"/>
                    <a:pt x="988" y="4334"/>
                  </a:cubicBezTo>
                  <a:lnTo>
                    <a:pt x="881" y="4143"/>
                  </a:lnTo>
                  <a:cubicBezTo>
                    <a:pt x="845" y="4060"/>
                    <a:pt x="822" y="3989"/>
                    <a:pt x="822" y="3905"/>
                  </a:cubicBezTo>
                  <a:lnTo>
                    <a:pt x="822" y="3882"/>
                  </a:lnTo>
                  <a:cubicBezTo>
                    <a:pt x="822" y="3501"/>
                    <a:pt x="1131" y="3203"/>
                    <a:pt x="1500" y="3203"/>
                  </a:cubicBezTo>
                  <a:close/>
                  <a:moveTo>
                    <a:pt x="9144" y="3215"/>
                  </a:moveTo>
                  <a:cubicBezTo>
                    <a:pt x="9704" y="3215"/>
                    <a:pt x="10168" y="3679"/>
                    <a:pt x="10168" y="4239"/>
                  </a:cubicBezTo>
                  <a:cubicBezTo>
                    <a:pt x="10168" y="4346"/>
                    <a:pt x="10156" y="4465"/>
                    <a:pt x="10108" y="4572"/>
                  </a:cubicBezTo>
                  <a:cubicBezTo>
                    <a:pt x="9656" y="4108"/>
                    <a:pt x="8870" y="3929"/>
                    <a:pt x="8823" y="3929"/>
                  </a:cubicBezTo>
                  <a:cubicBezTo>
                    <a:pt x="8814" y="3926"/>
                    <a:pt x="8804" y="3925"/>
                    <a:pt x="8794" y="3925"/>
                  </a:cubicBezTo>
                  <a:cubicBezTo>
                    <a:pt x="8763" y="3925"/>
                    <a:pt x="8727" y="3938"/>
                    <a:pt x="8692" y="3965"/>
                  </a:cubicBezTo>
                  <a:cubicBezTo>
                    <a:pt x="8644" y="3989"/>
                    <a:pt x="8632" y="4036"/>
                    <a:pt x="8632" y="4084"/>
                  </a:cubicBezTo>
                  <a:cubicBezTo>
                    <a:pt x="8632" y="4084"/>
                    <a:pt x="8632" y="4179"/>
                    <a:pt x="8513" y="4298"/>
                  </a:cubicBezTo>
                  <a:cubicBezTo>
                    <a:pt x="8453" y="4358"/>
                    <a:pt x="8453" y="4465"/>
                    <a:pt x="8513" y="4524"/>
                  </a:cubicBezTo>
                  <a:cubicBezTo>
                    <a:pt x="8543" y="4554"/>
                    <a:pt x="8584" y="4569"/>
                    <a:pt x="8626" y="4569"/>
                  </a:cubicBezTo>
                  <a:cubicBezTo>
                    <a:pt x="8668" y="4569"/>
                    <a:pt x="8709" y="4554"/>
                    <a:pt x="8739" y="4524"/>
                  </a:cubicBezTo>
                  <a:cubicBezTo>
                    <a:pt x="8823" y="4441"/>
                    <a:pt x="8882" y="4346"/>
                    <a:pt x="8918" y="4274"/>
                  </a:cubicBezTo>
                  <a:cubicBezTo>
                    <a:pt x="9180" y="4346"/>
                    <a:pt x="9739" y="4560"/>
                    <a:pt x="9989" y="4894"/>
                  </a:cubicBezTo>
                  <a:cubicBezTo>
                    <a:pt x="9906" y="5298"/>
                    <a:pt x="9573" y="5596"/>
                    <a:pt x="9144" y="5596"/>
                  </a:cubicBezTo>
                  <a:cubicBezTo>
                    <a:pt x="8704" y="5596"/>
                    <a:pt x="8334" y="5275"/>
                    <a:pt x="8287" y="4834"/>
                  </a:cubicBezTo>
                  <a:cubicBezTo>
                    <a:pt x="8287" y="4810"/>
                    <a:pt x="8275" y="4798"/>
                    <a:pt x="8263" y="4774"/>
                  </a:cubicBezTo>
                  <a:cubicBezTo>
                    <a:pt x="8156" y="4620"/>
                    <a:pt x="8108" y="4441"/>
                    <a:pt x="8108" y="4239"/>
                  </a:cubicBezTo>
                  <a:cubicBezTo>
                    <a:pt x="8108" y="3679"/>
                    <a:pt x="8573" y="3215"/>
                    <a:pt x="9144" y="3215"/>
                  </a:cubicBezTo>
                  <a:close/>
                  <a:moveTo>
                    <a:pt x="5441" y="298"/>
                  </a:moveTo>
                  <a:cubicBezTo>
                    <a:pt x="6013" y="298"/>
                    <a:pt x="6489" y="488"/>
                    <a:pt x="6858" y="845"/>
                  </a:cubicBezTo>
                  <a:cubicBezTo>
                    <a:pt x="7227" y="1226"/>
                    <a:pt x="7453" y="1738"/>
                    <a:pt x="7501" y="2369"/>
                  </a:cubicBezTo>
                  <a:cubicBezTo>
                    <a:pt x="7620" y="4060"/>
                    <a:pt x="7763" y="5001"/>
                    <a:pt x="7822" y="5334"/>
                  </a:cubicBezTo>
                  <a:lnTo>
                    <a:pt x="7822" y="5346"/>
                  </a:lnTo>
                  <a:cubicBezTo>
                    <a:pt x="7632" y="5453"/>
                    <a:pt x="7310" y="5632"/>
                    <a:pt x="6787" y="5763"/>
                  </a:cubicBezTo>
                  <a:lnTo>
                    <a:pt x="6525" y="5644"/>
                  </a:lnTo>
                  <a:cubicBezTo>
                    <a:pt x="6453" y="5608"/>
                    <a:pt x="6418" y="5548"/>
                    <a:pt x="6418" y="5477"/>
                  </a:cubicBezTo>
                  <a:lnTo>
                    <a:pt x="6418" y="4929"/>
                  </a:lnTo>
                  <a:cubicBezTo>
                    <a:pt x="6918" y="4596"/>
                    <a:pt x="7263" y="4024"/>
                    <a:pt x="7263" y="3370"/>
                  </a:cubicBezTo>
                  <a:lnTo>
                    <a:pt x="7263" y="3072"/>
                  </a:lnTo>
                  <a:cubicBezTo>
                    <a:pt x="7263" y="2869"/>
                    <a:pt x="7180" y="2691"/>
                    <a:pt x="7037" y="2560"/>
                  </a:cubicBezTo>
                  <a:cubicBezTo>
                    <a:pt x="6727" y="2274"/>
                    <a:pt x="6001" y="1798"/>
                    <a:pt x="4751" y="1667"/>
                  </a:cubicBezTo>
                  <a:cubicBezTo>
                    <a:pt x="4744" y="1666"/>
                    <a:pt x="4737" y="1666"/>
                    <a:pt x="4730" y="1666"/>
                  </a:cubicBezTo>
                  <a:cubicBezTo>
                    <a:pt x="4645" y="1666"/>
                    <a:pt x="4583" y="1733"/>
                    <a:pt x="4572" y="1822"/>
                  </a:cubicBezTo>
                  <a:cubicBezTo>
                    <a:pt x="4548" y="1905"/>
                    <a:pt x="4632" y="1977"/>
                    <a:pt x="4715" y="2000"/>
                  </a:cubicBezTo>
                  <a:cubicBezTo>
                    <a:pt x="5882" y="2119"/>
                    <a:pt x="6537" y="2548"/>
                    <a:pt x="6834" y="2798"/>
                  </a:cubicBezTo>
                  <a:cubicBezTo>
                    <a:pt x="6906" y="2858"/>
                    <a:pt x="6953" y="2965"/>
                    <a:pt x="6953" y="3072"/>
                  </a:cubicBezTo>
                  <a:lnTo>
                    <a:pt x="6953" y="3370"/>
                  </a:lnTo>
                  <a:cubicBezTo>
                    <a:pt x="6953" y="4215"/>
                    <a:pt x="6263" y="4894"/>
                    <a:pt x="5417" y="4894"/>
                  </a:cubicBezTo>
                  <a:cubicBezTo>
                    <a:pt x="4572" y="4894"/>
                    <a:pt x="3881" y="4215"/>
                    <a:pt x="3881" y="3370"/>
                  </a:cubicBezTo>
                  <a:lnTo>
                    <a:pt x="3881" y="3227"/>
                  </a:lnTo>
                  <a:cubicBezTo>
                    <a:pt x="3881" y="3167"/>
                    <a:pt x="3917" y="3108"/>
                    <a:pt x="3977" y="3084"/>
                  </a:cubicBezTo>
                  <a:cubicBezTo>
                    <a:pt x="4167" y="2965"/>
                    <a:pt x="4429" y="2750"/>
                    <a:pt x="4548" y="2393"/>
                  </a:cubicBezTo>
                  <a:cubicBezTo>
                    <a:pt x="4584" y="2310"/>
                    <a:pt x="4536" y="2215"/>
                    <a:pt x="4453" y="2203"/>
                  </a:cubicBezTo>
                  <a:cubicBezTo>
                    <a:pt x="4434" y="2198"/>
                    <a:pt x="4415" y="2196"/>
                    <a:pt x="4398" y="2196"/>
                  </a:cubicBezTo>
                  <a:cubicBezTo>
                    <a:pt x="4327" y="2196"/>
                    <a:pt x="4270" y="2234"/>
                    <a:pt x="4251" y="2310"/>
                  </a:cubicBezTo>
                  <a:cubicBezTo>
                    <a:pt x="4167" y="2572"/>
                    <a:pt x="3977" y="2727"/>
                    <a:pt x="3822" y="2810"/>
                  </a:cubicBezTo>
                  <a:cubicBezTo>
                    <a:pt x="3679" y="2905"/>
                    <a:pt x="3572" y="3072"/>
                    <a:pt x="3572" y="3227"/>
                  </a:cubicBezTo>
                  <a:lnTo>
                    <a:pt x="3572" y="3370"/>
                  </a:lnTo>
                  <a:cubicBezTo>
                    <a:pt x="3572" y="4024"/>
                    <a:pt x="3917" y="4584"/>
                    <a:pt x="4417" y="4929"/>
                  </a:cubicBezTo>
                  <a:lnTo>
                    <a:pt x="4417" y="5477"/>
                  </a:lnTo>
                  <a:cubicBezTo>
                    <a:pt x="4417" y="5548"/>
                    <a:pt x="4370" y="5608"/>
                    <a:pt x="4310" y="5644"/>
                  </a:cubicBezTo>
                  <a:lnTo>
                    <a:pt x="4048" y="5763"/>
                  </a:lnTo>
                  <a:cubicBezTo>
                    <a:pt x="3536" y="5632"/>
                    <a:pt x="3215" y="5453"/>
                    <a:pt x="3060" y="5346"/>
                  </a:cubicBezTo>
                  <a:lnTo>
                    <a:pt x="3060" y="5334"/>
                  </a:lnTo>
                  <a:cubicBezTo>
                    <a:pt x="3131" y="5001"/>
                    <a:pt x="3262" y="4060"/>
                    <a:pt x="3393" y="2369"/>
                  </a:cubicBezTo>
                  <a:cubicBezTo>
                    <a:pt x="3441" y="1738"/>
                    <a:pt x="3655" y="1226"/>
                    <a:pt x="4036" y="845"/>
                  </a:cubicBezTo>
                  <a:cubicBezTo>
                    <a:pt x="4393" y="488"/>
                    <a:pt x="4882" y="298"/>
                    <a:pt x="5441" y="298"/>
                  </a:cubicBezTo>
                  <a:close/>
                  <a:moveTo>
                    <a:pt x="2750" y="5465"/>
                  </a:moveTo>
                  <a:cubicBezTo>
                    <a:pt x="2786" y="5501"/>
                    <a:pt x="2810" y="5572"/>
                    <a:pt x="2869" y="5596"/>
                  </a:cubicBezTo>
                  <a:cubicBezTo>
                    <a:pt x="3000" y="5691"/>
                    <a:pt x="3239" y="5822"/>
                    <a:pt x="3584" y="5941"/>
                  </a:cubicBezTo>
                  <a:lnTo>
                    <a:pt x="3155" y="6144"/>
                  </a:lnTo>
                  <a:lnTo>
                    <a:pt x="2655" y="6001"/>
                  </a:lnTo>
                  <a:cubicBezTo>
                    <a:pt x="2512" y="5953"/>
                    <a:pt x="2512" y="5953"/>
                    <a:pt x="2512" y="5906"/>
                  </a:cubicBezTo>
                  <a:lnTo>
                    <a:pt x="2512" y="5691"/>
                  </a:lnTo>
                  <a:cubicBezTo>
                    <a:pt x="2572" y="5656"/>
                    <a:pt x="2619" y="5608"/>
                    <a:pt x="2667" y="5572"/>
                  </a:cubicBezTo>
                  <a:cubicBezTo>
                    <a:pt x="2691" y="5536"/>
                    <a:pt x="2727" y="5513"/>
                    <a:pt x="2750" y="5465"/>
                  </a:cubicBezTo>
                  <a:close/>
                  <a:moveTo>
                    <a:pt x="8096" y="5239"/>
                  </a:moveTo>
                  <a:cubicBezTo>
                    <a:pt x="8180" y="5417"/>
                    <a:pt x="8323" y="5572"/>
                    <a:pt x="8477" y="5691"/>
                  </a:cubicBezTo>
                  <a:lnTo>
                    <a:pt x="8477" y="6025"/>
                  </a:lnTo>
                  <a:lnTo>
                    <a:pt x="8489" y="6025"/>
                  </a:lnTo>
                  <a:lnTo>
                    <a:pt x="7977" y="6287"/>
                  </a:lnTo>
                  <a:cubicBezTo>
                    <a:pt x="7977" y="6287"/>
                    <a:pt x="7965" y="6287"/>
                    <a:pt x="7965" y="6263"/>
                  </a:cubicBezTo>
                  <a:lnTo>
                    <a:pt x="7227" y="5941"/>
                  </a:lnTo>
                  <a:cubicBezTo>
                    <a:pt x="7596" y="5822"/>
                    <a:pt x="7822" y="5667"/>
                    <a:pt x="7942" y="5596"/>
                  </a:cubicBezTo>
                  <a:cubicBezTo>
                    <a:pt x="8049" y="5525"/>
                    <a:pt x="8108" y="5406"/>
                    <a:pt x="8096" y="5275"/>
                  </a:cubicBezTo>
                  <a:lnTo>
                    <a:pt x="8096" y="5239"/>
                  </a:lnTo>
                  <a:close/>
                  <a:moveTo>
                    <a:pt x="2203" y="5870"/>
                  </a:moveTo>
                  <a:lnTo>
                    <a:pt x="2203" y="5929"/>
                  </a:lnTo>
                  <a:cubicBezTo>
                    <a:pt x="2203" y="5953"/>
                    <a:pt x="2203" y="5989"/>
                    <a:pt x="2215" y="6013"/>
                  </a:cubicBezTo>
                  <a:lnTo>
                    <a:pt x="1857" y="6370"/>
                  </a:lnTo>
                  <a:lnTo>
                    <a:pt x="1500" y="6013"/>
                  </a:lnTo>
                  <a:cubicBezTo>
                    <a:pt x="1512" y="5989"/>
                    <a:pt x="1512" y="5953"/>
                    <a:pt x="1512" y="5929"/>
                  </a:cubicBezTo>
                  <a:lnTo>
                    <a:pt x="1512" y="5870"/>
                  </a:lnTo>
                  <a:cubicBezTo>
                    <a:pt x="1619" y="5894"/>
                    <a:pt x="1726" y="5929"/>
                    <a:pt x="1834" y="5929"/>
                  </a:cubicBezTo>
                  <a:lnTo>
                    <a:pt x="1857" y="5929"/>
                  </a:lnTo>
                  <a:cubicBezTo>
                    <a:pt x="1976" y="5929"/>
                    <a:pt x="2096" y="5906"/>
                    <a:pt x="2203" y="5870"/>
                  </a:cubicBezTo>
                  <a:close/>
                  <a:moveTo>
                    <a:pt x="9525" y="5882"/>
                  </a:moveTo>
                  <a:lnTo>
                    <a:pt x="9525" y="6048"/>
                  </a:lnTo>
                  <a:cubicBezTo>
                    <a:pt x="9525" y="6108"/>
                    <a:pt x="9537" y="6144"/>
                    <a:pt x="9573" y="6191"/>
                  </a:cubicBezTo>
                  <a:lnTo>
                    <a:pt x="9394" y="6322"/>
                  </a:lnTo>
                  <a:cubicBezTo>
                    <a:pt x="9323" y="6394"/>
                    <a:pt x="9236" y="6429"/>
                    <a:pt x="9151" y="6429"/>
                  </a:cubicBezTo>
                  <a:cubicBezTo>
                    <a:pt x="9067" y="6429"/>
                    <a:pt x="8983" y="6394"/>
                    <a:pt x="8918" y="6322"/>
                  </a:cubicBezTo>
                  <a:lnTo>
                    <a:pt x="8763" y="6191"/>
                  </a:lnTo>
                  <a:cubicBezTo>
                    <a:pt x="8799" y="6144"/>
                    <a:pt x="8811" y="6084"/>
                    <a:pt x="8811" y="6048"/>
                  </a:cubicBezTo>
                  <a:lnTo>
                    <a:pt x="8811" y="5882"/>
                  </a:lnTo>
                  <a:cubicBezTo>
                    <a:pt x="8918" y="5906"/>
                    <a:pt x="9037" y="5941"/>
                    <a:pt x="9168" y="5941"/>
                  </a:cubicBezTo>
                  <a:cubicBezTo>
                    <a:pt x="9287" y="5941"/>
                    <a:pt x="9406" y="5929"/>
                    <a:pt x="9525" y="5882"/>
                  </a:cubicBezTo>
                  <a:close/>
                  <a:moveTo>
                    <a:pt x="6096" y="5096"/>
                  </a:moveTo>
                  <a:lnTo>
                    <a:pt x="6096" y="5477"/>
                  </a:lnTo>
                  <a:cubicBezTo>
                    <a:pt x="6096" y="5667"/>
                    <a:pt x="6215" y="5846"/>
                    <a:pt x="6394" y="5941"/>
                  </a:cubicBezTo>
                  <a:lnTo>
                    <a:pt x="6632" y="6048"/>
                  </a:lnTo>
                  <a:cubicBezTo>
                    <a:pt x="6406" y="6489"/>
                    <a:pt x="5941" y="6787"/>
                    <a:pt x="5417" y="6787"/>
                  </a:cubicBezTo>
                  <a:cubicBezTo>
                    <a:pt x="4894" y="6787"/>
                    <a:pt x="4441" y="6501"/>
                    <a:pt x="4203" y="6048"/>
                  </a:cubicBezTo>
                  <a:lnTo>
                    <a:pt x="4441" y="5941"/>
                  </a:lnTo>
                  <a:cubicBezTo>
                    <a:pt x="4620" y="5870"/>
                    <a:pt x="4739" y="5691"/>
                    <a:pt x="4739" y="5477"/>
                  </a:cubicBezTo>
                  <a:lnTo>
                    <a:pt x="4739" y="5096"/>
                  </a:lnTo>
                  <a:cubicBezTo>
                    <a:pt x="4941" y="5179"/>
                    <a:pt x="5179" y="5227"/>
                    <a:pt x="5417" y="5227"/>
                  </a:cubicBezTo>
                  <a:cubicBezTo>
                    <a:pt x="5656" y="5227"/>
                    <a:pt x="5894" y="5179"/>
                    <a:pt x="6096" y="5096"/>
                  </a:cubicBezTo>
                  <a:close/>
                  <a:moveTo>
                    <a:pt x="5417" y="0"/>
                  </a:moveTo>
                  <a:cubicBezTo>
                    <a:pt x="4763" y="0"/>
                    <a:pt x="4215" y="226"/>
                    <a:pt x="3786" y="643"/>
                  </a:cubicBezTo>
                  <a:cubicBezTo>
                    <a:pt x="3346" y="1060"/>
                    <a:pt x="3096" y="1655"/>
                    <a:pt x="3048" y="2346"/>
                  </a:cubicBezTo>
                  <a:cubicBezTo>
                    <a:pt x="3036" y="2548"/>
                    <a:pt x="3024" y="2703"/>
                    <a:pt x="3012" y="2881"/>
                  </a:cubicBezTo>
                  <a:lnTo>
                    <a:pt x="1524" y="2881"/>
                  </a:lnTo>
                  <a:cubicBezTo>
                    <a:pt x="964" y="2881"/>
                    <a:pt x="512" y="3334"/>
                    <a:pt x="512" y="3893"/>
                  </a:cubicBezTo>
                  <a:lnTo>
                    <a:pt x="512" y="3917"/>
                  </a:lnTo>
                  <a:cubicBezTo>
                    <a:pt x="512" y="4048"/>
                    <a:pt x="536" y="4167"/>
                    <a:pt x="595" y="4286"/>
                  </a:cubicBezTo>
                  <a:lnTo>
                    <a:pt x="667" y="4453"/>
                  </a:lnTo>
                  <a:lnTo>
                    <a:pt x="667" y="4703"/>
                  </a:lnTo>
                  <a:cubicBezTo>
                    <a:pt x="667" y="5120"/>
                    <a:pt x="881" y="5477"/>
                    <a:pt x="1179" y="5703"/>
                  </a:cubicBezTo>
                  <a:lnTo>
                    <a:pt x="1179" y="5929"/>
                  </a:lnTo>
                  <a:cubicBezTo>
                    <a:pt x="1179" y="5953"/>
                    <a:pt x="1167" y="5989"/>
                    <a:pt x="1131" y="5989"/>
                  </a:cubicBezTo>
                  <a:lnTo>
                    <a:pt x="476" y="6179"/>
                  </a:lnTo>
                  <a:cubicBezTo>
                    <a:pt x="191" y="6251"/>
                    <a:pt x="0" y="6513"/>
                    <a:pt x="0" y="6810"/>
                  </a:cubicBezTo>
                  <a:lnTo>
                    <a:pt x="0" y="8120"/>
                  </a:lnTo>
                  <a:cubicBezTo>
                    <a:pt x="0" y="8215"/>
                    <a:pt x="71" y="8287"/>
                    <a:pt x="167" y="8287"/>
                  </a:cubicBezTo>
                  <a:cubicBezTo>
                    <a:pt x="250" y="8287"/>
                    <a:pt x="333" y="8215"/>
                    <a:pt x="333" y="8120"/>
                  </a:cubicBezTo>
                  <a:lnTo>
                    <a:pt x="333" y="6810"/>
                  </a:lnTo>
                  <a:cubicBezTo>
                    <a:pt x="333" y="6668"/>
                    <a:pt x="429" y="6513"/>
                    <a:pt x="583" y="6477"/>
                  </a:cubicBezTo>
                  <a:lnTo>
                    <a:pt x="1238" y="6287"/>
                  </a:lnTo>
                  <a:cubicBezTo>
                    <a:pt x="1262" y="6287"/>
                    <a:pt x="1286" y="6263"/>
                    <a:pt x="1310" y="6251"/>
                  </a:cubicBezTo>
                  <a:lnTo>
                    <a:pt x="1715" y="6656"/>
                  </a:lnTo>
                  <a:lnTo>
                    <a:pt x="1715" y="8108"/>
                  </a:lnTo>
                  <a:cubicBezTo>
                    <a:pt x="1715" y="8203"/>
                    <a:pt x="1786" y="8275"/>
                    <a:pt x="1881" y="8275"/>
                  </a:cubicBezTo>
                  <a:cubicBezTo>
                    <a:pt x="1965" y="8275"/>
                    <a:pt x="2036" y="8203"/>
                    <a:pt x="2036" y="8108"/>
                  </a:cubicBezTo>
                  <a:lnTo>
                    <a:pt x="2036" y="6656"/>
                  </a:lnTo>
                  <a:lnTo>
                    <a:pt x="2441" y="6251"/>
                  </a:lnTo>
                  <a:cubicBezTo>
                    <a:pt x="2500" y="6287"/>
                    <a:pt x="2548" y="6298"/>
                    <a:pt x="2596" y="6310"/>
                  </a:cubicBezTo>
                  <a:lnTo>
                    <a:pt x="2750" y="6358"/>
                  </a:lnTo>
                  <a:cubicBezTo>
                    <a:pt x="2536" y="6501"/>
                    <a:pt x="2393" y="6751"/>
                    <a:pt x="2393" y="7037"/>
                  </a:cubicBezTo>
                  <a:lnTo>
                    <a:pt x="2393" y="8120"/>
                  </a:lnTo>
                  <a:cubicBezTo>
                    <a:pt x="2393" y="8215"/>
                    <a:pt x="2465" y="8287"/>
                    <a:pt x="2560" y="8287"/>
                  </a:cubicBezTo>
                  <a:cubicBezTo>
                    <a:pt x="2643" y="8287"/>
                    <a:pt x="2727" y="8215"/>
                    <a:pt x="2727" y="8120"/>
                  </a:cubicBezTo>
                  <a:lnTo>
                    <a:pt x="2727" y="7037"/>
                  </a:lnTo>
                  <a:cubicBezTo>
                    <a:pt x="2727" y="6834"/>
                    <a:pt x="2846" y="6656"/>
                    <a:pt x="3036" y="6560"/>
                  </a:cubicBezTo>
                  <a:lnTo>
                    <a:pt x="3941" y="6156"/>
                  </a:lnTo>
                  <a:cubicBezTo>
                    <a:pt x="4227" y="6727"/>
                    <a:pt x="4810" y="7096"/>
                    <a:pt x="5441" y="7096"/>
                  </a:cubicBezTo>
                  <a:cubicBezTo>
                    <a:pt x="6084" y="7096"/>
                    <a:pt x="6668" y="6739"/>
                    <a:pt x="6953" y="6156"/>
                  </a:cubicBezTo>
                  <a:lnTo>
                    <a:pt x="7858" y="6560"/>
                  </a:lnTo>
                  <a:cubicBezTo>
                    <a:pt x="8049" y="6656"/>
                    <a:pt x="8168" y="6834"/>
                    <a:pt x="8168" y="7037"/>
                  </a:cubicBezTo>
                  <a:lnTo>
                    <a:pt x="8168" y="8120"/>
                  </a:lnTo>
                  <a:cubicBezTo>
                    <a:pt x="8168" y="8215"/>
                    <a:pt x="8239" y="8287"/>
                    <a:pt x="8334" y="8287"/>
                  </a:cubicBezTo>
                  <a:cubicBezTo>
                    <a:pt x="8418" y="8287"/>
                    <a:pt x="8501" y="8215"/>
                    <a:pt x="8501" y="8120"/>
                  </a:cubicBezTo>
                  <a:lnTo>
                    <a:pt x="8501" y="7037"/>
                  </a:lnTo>
                  <a:cubicBezTo>
                    <a:pt x="8501" y="6834"/>
                    <a:pt x="8418" y="6656"/>
                    <a:pt x="8299" y="6501"/>
                  </a:cubicBezTo>
                  <a:lnTo>
                    <a:pt x="8537" y="6382"/>
                  </a:lnTo>
                  <a:lnTo>
                    <a:pt x="8715" y="6560"/>
                  </a:lnTo>
                  <a:cubicBezTo>
                    <a:pt x="8858" y="6679"/>
                    <a:pt x="9013" y="6739"/>
                    <a:pt x="9180" y="6739"/>
                  </a:cubicBezTo>
                  <a:cubicBezTo>
                    <a:pt x="9346" y="6739"/>
                    <a:pt x="9513" y="6679"/>
                    <a:pt x="9644" y="6560"/>
                  </a:cubicBezTo>
                  <a:lnTo>
                    <a:pt x="9823" y="6382"/>
                  </a:lnTo>
                  <a:lnTo>
                    <a:pt x="10358" y="6656"/>
                  </a:lnTo>
                  <a:cubicBezTo>
                    <a:pt x="10478" y="6715"/>
                    <a:pt x="10549" y="6834"/>
                    <a:pt x="10549" y="6965"/>
                  </a:cubicBezTo>
                  <a:lnTo>
                    <a:pt x="10549" y="8144"/>
                  </a:lnTo>
                  <a:cubicBezTo>
                    <a:pt x="10549" y="8227"/>
                    <a:pt x="10620" y="8299"/>
                    <a:pt x="10716" y="8299"/>
                  </a:cubicBezTo>
                  <a:cubicBezTo>
                    <a:pt x="10799" y="8299"/>
                    <a:pt x="10882" y="8227"/>
                    <a:pt x="10882" y="8144"/>
                  </a:cubicBezTo>
                  <a:lnTo>
                    <a:pt x="10882" y="6965"/>
                  </a:lnTo>
                  <a:cubicBezTo>
                    <a:pt x="10823" y="6703"/>
                    <a:pt x="10692" y="6477"/>
                    <a:pt x="10466" y="6358"/>
                  </a:cubicBezTo>
                  <a:lnTo>
                    <a:pt x="9823" y="6025"/>
                  </a:lnTo>
                  <a:lnTo>
                    <a:pt x="9823" y="6013"/>
                  </a:lnTo>
                  <a:lnTo>
                    <a:pt x="9823" y="5691"/>
                  </a:lnTo>
                  <a:cubicBezTo>
                    <a:pt x="10097" y="5501"/>
                    <a:pt x="10275" y="5227"/>
                    <a:pt x="10311" y="4882"/>
                  </a:cubicBezTo>
                  <a:cubicBezTo>
                    <a:pt x="10430" y="4679"/>
                    <a:pt x="10489" y="4453"/>
                    <a:pt x="10489" y="4215"/>
                  </a:cubicBezTo>
                  <a:cubicBezTo>
                    <a:pt x="10489" y="3786"/>
                    <a:pt x="10287" y="3381"/>
                    <a:pt x="9954" y="3143"/>
                  </a:cubicBezTo>
                  <a:cubicBezTo>
                    <a:pt x="9977" y="3084"/>
                    <a:pt x="9989" y="3012"/>
                    <a:pt x="9989" y="2953"/>
                  </a:cubicBezTo>
                  <a:cubicBezTo>
                    <a:pt x="9989" y="2536"/>
                    <a:pt x="9620" y="2191"/>
                    <a:pt x="9156" y="2191"/>
                  </a:cubicBezTo>
                  <a:cubicBezTo>
                    <a:pt x="8692" y="2191"/>
                    <a:pt x="8323" y="2524"/>
                    <a:pt x="8323" y="2953"/>
                  </a:cubicBezTo>
                  <a:cubicBezTo>
                    <a:pt x="8323" y="3024"/>
                    <a:pt x="8334" y="3084"/>
                    <a:pt x="8346" y="3143"/>
                  </a:cubicBezTo>
                  <a:cubicBezTo>
                    <a:pt x="8156" y="3286"/>
                    <a:pt x="8013" y="3477"/>
                    <a:pt x="7906" y="3715"/>
                  </a:cubicBezTo>
                  <a:cubicBezTo>
                    <a:pt x="7858" y="3334"/>
                    <a:pt x="7834" y="2869"/>
                    <a:pt x="7787" y="2346"/>
                  </a:cubicBezTo>
                  <a:cubicBezTo>
                    <a:pt x="7739" y="1655"/>
                    <a:pt x="7489" y="1060"/>
                    <a:pt x="7060" y="643"/>
                  </a:cubicBezTo>
                  <a:cubicBezTo>
                    <a:pt x="6644" y="226"/>
                    <a:pt x="6072" y="0"/>
                    <a:pt x="5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8" name="Google Shape;11178;p60"/>
            <p:cNvSpPr/>
            <p:nvPr/>
          </p:nvSpPr>
          <p:spPr>
            <a:xfrm>
              <a:off x="6089408" y="3637503"/>
              <a:ext cx="10662" cy="36029"/>
            </a:xfrm>
            <a:custGeom>
              <a:avLst/>
              <a:gdLst/>
              <a:ahLst/>
              <a:cxnLst/>
              <a:rect l="l" t="t" r="r" b="b"/>
              <a:pathLst>
                <a:path w="335" h="1132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977"/>
                  </a:lnTo>
                  <a:cubicBezTo>
                    <a:pt x="1" y="1060"/>
                    <a:pt x="72" y="1132"/>
                    <a:pt x="167" y="1132"/>
                  </a:cubicBezTo>
                  <a:cubicBezTo>
                    <a:pt x="251" y="1132"/>
                    <a:pt x="322" y="1060"/>
                    <a:pt x="322" y="977"/>
                  </a:cubicBezTo>
                  <a:lnTo>
                    <a:pt x="322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79" name="Google Shape;11179;p60"/>
          <p:cNvGrpSpPr/>
          <p:nvPr/>
        </p:nvGrpSpPr>
        <p:grpSpPr>
          <a:xfrm>
            <a:off x="7108015" y="3396505"/>
            <a:ext cx="344883" cy="290299"/>
            <a:chOff x="7108015" y="3396505"/>
            <a:chExt cx="344883" cy="290299"/>
          </a:xfrm>
        </p:grpSpPr>
        <p:sp>
          <p:nvSpPr>
            <p:cNvPr id="11180" name="Google Shape;11180;p60"/>
            <p:cNvSpPr/>
            <p:nvPr/>
          </p:nvSpPr>
          <p:spPr>
            <a:xfrm>
              <a:off x="7108015" y="3396505"/>
              <a:ext cx="344883" cy="290299"/>
            </a:xfrm>
            <a:custGeom>
              <a:avLst/>
              <a:gdLst/>
              <a:ahLst/>
              <a:cxnLst/>
              <a:rect l="l" t="t" r="r" b="b"/>
              <a:pathLst>
                <a:path w="10836" h="9121" extrusionOk="0">
                  <a:moveTo>
                    <a:pt x="4585" y="310"/>
                  </a:moveTo>
                  <a:cubicBezTo>
                    <a:pt x="4716" y="310"/>
                    <a:pt x="4847" y="369"/>
                    <a:pt x="4954" y="465"/>
                  </a:cubicBezTo>
                  <a:lnTo>
                    <a:pt x="5501" y="1012"/>
                  </a:lnTo>
                  <a:lnTo>
                    <a:pt x="4799" y="1012"/>
                  </a:lnTo>
                  <a:cubicBezTo>
                    <a:pt x="4716" y="1012"/>
                    <a:pt x="4620" y="977"/>
                    <a:pt x="4549" y="905"/>
                  </a:cubicBezTo>
                  <a:lnTo>
                    <a:pt x="3954" y="310"/>
                  </a:lnTo>
                  <a:close/>
                  <a:moveTo>
                    <a:pt x="5835" y="286"/>
                  </a:moveTo>
                  <a:cubicBezTo>
                    <a:pt x="5966" y="286"/>
                    <a:pt x="6097" y="346"/>
                    <a:pt x="6204" y="429"/>
                  </a:cubicBezTo>
                  <a:lnTo>
                    <a:pt x="6752" y="977"/>
                  </a:lnTo>
                  <a:lnTo>
                    <a:pt x="6632" y="977"/>
                  </a:lnTo>
                  <a:cubicBezTo>
                    <a:pt x="6549" y="977"/>
                    <a:pt x="6466" y="1060"/>
                    <a:pt x="6466" y="1143"/>
                  </a:cubicBezTo>
                  <a:cubicBezTo>
                    <a:pt x="6466" y="1239"/>
                    <a:pt x="6549" y="1310"/>
                    <a:pt x="6632" y="1310"/>
                  </a:cubicBezTo>
                  <a:lnTo>
                    <a:pt x="10192" y="1310"/>
                  </a:lnTo>
                  <a:cubicBezTo>
                    <a:pt x="10383" y="1310"/>
                    <a:pt x="10550" y="1477"/>
                    <a:pt x="10550" y="1667"/>
                  </a:cubicBezTo>
                  <a:lnTo>
                    <a:pt x="10550" y="8454"/>
                  </a:lnTo>
                  <a:lnTo>
                    <a:pt x="10514" y="8454"/>
                  </a:lnTo>
                  <a:cubicBezTo>
                    <a:pt x="10514" y="8644"/>
                    <a:pt x="10359" y="8811"/>
                    <a:pt x="10157" y="8811"/>
                  </a:cubicBezTo>
                  <a:lnTo>
                    <a:pt x="667" y="8811"/>
                  </a:lnTo>
                  <a:cubicBezTo>
                    <a:pt x="477" y="8811"/>
                    <a:pt x="310" y="8644"/>
                    <a:pt x="310" y="8454"/>
                  </a:cubicBezTo>
                  <a:lnTo>
                    <a:pt x="310" y="655"/>
                  </a:lnTo>
                  <a:cubicBezTo>
                    <a:pt x="310" y="465"/>
                    <a:pt x="465" y="298"/>
                    <a:pt x="667" y="298"/>
                  </a:cubicBezTo>
                  <a:lnTo>
                    <a:pt x="3275" y="298"/>
                  </a:lnTo>
                  <a:cubicBezTo>
                    <a:pt x="3406" y="298"/>
                    <a:pt x="3537" y="358"/>
                    <a:pt x="3644" y="453"/>
                  </a:cubicBezTo>
                  <a:lnTo>
                    <a:pt x="4311" y="1120"/>
                  </a:lnTo>
                  <a:cubicBezTo>
                    <a:pt x="4430" y="1239"/>
                    <a:pt x="4608" y="1310"/>
                    <a:pt x="4787" y="1310"/>
                  </a:cubicBezTo>
                  <a:lnTo>
                    <a:pt x="5870" y="1310"/>
                  </a:lnTo>
                  <a:cubicBezTo>
                    <a:pt x="5930" y="1310"/>
                    <a:pt x="5990" y="1262"/>
                    <a:pt x="6025" y="1203"/>
                  </a:cubicBezTo>
                  <a:cubicBezTo>
                    <a:pt x="6049" y="1143"/>
                    <a:pt x="6037" y="1072"/>
                    <a:pt x="5990" y="1024"/>
                  </a:cubicBezTo>
                  <a:lnTo>
                    <a:pt x="5251" y="286"/>
                  </a:lnTo>
                  <a:close/>
                  <a:moveTo>
                    <a:pt x="667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454"/>
                  </a:lnTo>
                  <a:cubicBezTo>
                    <a:pt x="1" y="8823"/>
                    <a:pt x="298" y="9121"/>
                    <a:pt x="667" y="9121"/>
                  </a:cubicBezTo>
                  <a:lnTo>
                    <a:pt x="10157" y="9121"/>
                  </a:lnTo>
                  <a:cubicBezTo>
                    <a:pt x="10538" y="9121"/>
                    <a:pt x="10835" y="8823"/>
                    <a:pt x="10835" y="8454"/>
                  </a:cubicBezTo>
                  <a:lnTo>
                    <a:pt x="10835" y="1679"/>
                  </a:lnTo>
                  <a:cubicBezTo>
                    <a:pt x="10835" y="1310"/>
                    <a:pt x="10538" y="1012"/>
                    <a:pt x="10157" y="1012"/>
                  </a:cubicBezTo>
                  <a:lnTo>
                    <a:pt x="7168" y="1012"/>
                  </a:lnTo>
                  <a:lnTo>
                    <a:pt x="6394" y="238"/>
                  </a:lnTo>
                  <a:cubicBezTo>
                    <a:pt x="6228" y="72"/>
                    <a:pt x="6025" y="0"/>
                    <a:pt x="5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1" name="Google Shape;11181;p60"/>
            <p:cNvSpPr/>
            <p:nvPr/>
          </p:nvSpPr>
          <p:spPr>
            <a:xfrm>
              <a:off x="7211104" y="3487819"/>
              <a:ext cx="139468" cy="139500"/>
            </a:xfrm>
            <a:custGeom>
              <a:avLst/>
              <a:gdLst/>
              <a:ahLst/>
              <a:cxnLst/>
              <a:rect l="l" t="t" r="r" b="b"/>
              <a:pathLst>
                <a:path w="4382" h="4383" extrusionOk="0">
                  <a:moveTo>
                    <a:pt x="2370" y="1168"/>
                  </a:moveTo>
                  <a:cubicBezTo>
                    <a:pt x="2560" y="1168"/>
                    <a:pt x="2727" y="1334"/>
                    <a:pt x="2727" y="1525"/>
                  </a:cubicBezTo>
                  <a:lnTo>
                    <a:pt x="2727" y="1870"/>
                  </a:lnTo>
                  <a:cubicBezTo>
                    <a:pt x="2691" y="2144"/>
                    <a:pt x="2477" y="2382"/>
                    <a:pt x="2191" y="2382"/>
                  </a:cubicBezTo>
                  <a:cubicBezTo>
                    <a:pt x="1905" y="2382"/>
                    <a:pt x="1667" y="2144"/>
                    <a:pt x="1667" y="1870"/>
                  </a:cubicBezTo>
                  <a:lnTo>
                    <a:pt x="1667" y="1525"/>
                  </a:lnTo>
                  <a:cubicBezTo>
                    <a:pt x="1667" y="1334"/>
                    <a:pt x="1834" y="1168"/>
                    <a:pt x="2024" y="1168"/>
                  </a:cubicBezTo>
                  <a:close/>
                  <a:moveTo>
                    <a:pt x="2334" y="2680"/>
                  </a:moveTo>
                  <a:lnTo>
                    <a:pt x="2334" y="2775"/>
                  </a:lnTo>
                  <a:cubicBezTo>
                    <a:pt x="2370" y="2834"/>
                    <a:pt x="2381" y="2894"/>
                    <a:pt x="2417" y="2942"/>
                  </a:cubicBezTo>
                  <a:lnTo>
                    <a:pt x="2191" y="3156"/>
                  </a:lnTo>
                  <a:lnTo>
                    <a:pt x="2155" y="3156"/>
                  </a:lnTo>
                  <a:lnTo>
                    <a:pt x="1941" y="2942"/>
                  </a:lnTo>
                  <a:cubicBezTo>
                    <a:pt x="1965" y="2894"/>
                    <a:pt x="1977" y="2834"/>
                    <a:pt x="1977" y="2775"/>
                  </a:cubicBezTo>
                  <a:lnTo>
                    <a:pt x="1977" y="2680"/>
                  </a:lnTo>
                  <a:cubicBezTo>
                    <a:pt x="2036" y="2703"/>
                    <a:pt x="2096" y="2703"/>
                    <a:pt x="2155" y="2703"/>
                  </a:cubicBezTo>
                  <a:cubicBezTo>
                    <a:pt x="2215" y="2703"/>
                    <a:pt x="2274" y="2703"/>
                    <a:pt x="2334" y="2680"/>
                  </a:cubicBezTo>
                  <a:close/>
                  <a:moveTo>
                    <a:pt x="2203" y="334"/>
                  </a:moveTo>
                  <a:cubicBezTo>
                    <a:pt x="3227" y="334"/>
                    <a:pt x="4072" y="1179"/>
                    <a:pt x="4072" y="2203"/>
                  </a:cubicBezTo>
                  <a:cubicBezTo>
                    <a:pt x="4060" y="2787"/>
                    <a:pt x="3786" y="3311"/>
                    <a:pt x="3370" y="3668"/>
                  </a:cubicBezTo>
                  <a:lnTo>
                    <a:pt x="3370" y="3430"/>
                  </a:lnTo>
                  <a:cubicBezTo>
                    <a:pt x="3370" y="3239"/>
                    <a:pt x="3263" y="3073"/>
                    <a:pt x="3096" y="2977"/>
                  </a:cubicBezTo>
                  <a:lnTo>
                    <a:pt x="2691" y="2787"/>
                  </a:lnTo>
                  <a:lnTo>
                    <a:pt x="2691" y="2775"/>
                  </a:lnTo>
                  <a:lnTo>
                    <a:pt x="2691" y="2537"/>
                  </a:lnTo>
                  <a:cubicBezTo>
                    <a:pt x="2905" y="2382"/>
                    <a:pt x="3036" y="2132"/>
                    <a:pt x="3036" y="1870"/>
                  </a:cubicBezTo>
                  <a:lnTo>
                    <a:pt x="3036" y="1525"/>
                  </a:lnTo>
                  <a:cubicBezTo>
                    <a:pt x="3036" y="1156"/>
                    <a:pt x="2739" y="858"/>
                    <a:pt x="2370" y="858"/>
                  </a:cubicBezTo>
                  <a:lnTo>
                    <a:pt x="2024" y="858"/>
                  </a:lnTo>
                  <a:cubicBezTo>
                    <a:pt x="1655" y="858"/>
                    <a:pt x="1358" y="1156"/>
                    <a:pt x="1358" y="1525"/>
                  </a:cubicBezTo>
                  <a:lnTo>
                    <a:pt x="1358" y="1870"/>
                  </a:lnTo>
                  <a:cubicBezTo>
                    <a:pt x="1358" y="2132"/>
                    <a:pt x="1488" y="2382"/>
                    <a:pt x="1703" y="2537"/>
                  </a:cubicBezTo>
                  <a:lnTo>
                    <a:pt x="1703" y="2775"/>
                  </a:lnTo>
                  <a:lnTo>
                    <a:pt x="1703" y="2787"/>
                  </a:lnTo>
                  <a:lnTo>
                    <a:pt x="1298" y="2977"/>
                  </a:lnTo>
                  <a:cubicBezTo>
                    <a:pt x="1131" y="3073"/>
                    <a:pt x="1024" y="3239"/>
                    <a:pt x="1024" y="3430"/>
                  </a:cubicBezTo>
                  <a:lnTo>
                    <a:pt x="1024" y="3668"/>
                  </a:lnTo>
                  <a:cubicBezTo>
                    <a:pt x="596" y="3323"/>
                    <a:pt x="334" y="2799"/>
                    <a:pt x="334" y="2203"/>
                  </a:cubicBezTo>
                  <a:cubicBezTo>
                    <a:pt x="334" y="1179"/>
                    <a:pt x="1179" y="334"/>
                    <a:pt x="2203" y="334"/>
                  </a:cubicBezTo>
                  <a:close/>
                  <a:moveTo>
                    <a:pt x="2667" y="3120"/>
                  </a:moveTo>
                  <a:lnTo>
                    <a:pt x="2929" y="3251"/>
                  </a:lnTo>
                  <a:cubicBezTo>
                    <a:pt x="2989" y="3275"/>
                    <a:pt x="3036" y="3335"/>
                    <a:pt x="3036" y="3418"/>
                  </a:cubicBezTo>
                  <a:lnTo>
                    <a:pt x="3036" y="3858"/>
                  </a:lnTo>
                  <a:cubicBezTo>
                    <a:pt x="2786" y="3989"/>
                    <a:pt x="2489" y="4073"/>
                    <a:pt x="2179" y="4073"/>
                  </a:cubicBezTo>
                  <a:cubicBezTo>
                    <a:pt x="1858" y="4073"/>
                    <a:pt x="1584" y="3989"/>
                    <a:pt x="1310" y="3858"/>
                  </a:cubicBezTo>
                  <a:lnTo>
                    <a:pt x="1310" y="3418"/>
                  </a:lnTo>
                  <a:cubicBezTo>
                    <a:pt x="1310" y="3335"/>
                    <a:pt x="1358" y="3275"/>
                    <a:pt x="1417" y="3251"/>
                  </a:cubicBezTo>
                  <a:lnTo>
                    <a:pt x="1679" y="3120"/>
                  </a:lnTo>
                  <a:lnTo>
                    <a:pt x="1941" y="3370"/>
                  </a:lnTo>
                  <a:cubicBezTo>
                    <a:pt x="2000" y="3430"/>
                    <a:pt x="2084" y="3454"/>
                    <a:pt x="2179" y="3454"/>
                  </a:cubicBezTo>
                  <a:cubicBezTo>
                    <a:pt x="2262" y="3454"/>
                    <a:pt x="2334" y="3430"/>
                    <a:pt x="2417" y="3370"/>
                  </a:cubicBezTo>
                  <a:lnTo>
                    <a:pt x="2667" y="3120"/>
                  </a:lnTo>
                  <a:close/>
                  <a:moveTo>
                    <a:pt x="2191" y="1"/>
                  </a:moveTo>
                  <a:cubicBezTo>
                    <a:pt x="988" y="1"/>
                    <a:pt x="0" y="989"/>
                    <a:pt x="0" y="2192"/>
                  </a:cubicBezTo>
                  <a:cubicBezTo>
                    <a:pt x="0" y="3394"/>
                    <a:pt x="988" y="4382"/>
                    <a:pt x="2191" y="4382"/>
                  </a:cubicBezTo>
                  <a:cubicBezTo>
                    <a:pt x="3393" y="4382"/>
                    <a:pt x="4382" y="3394"/>
                    <a:pt x="4382" y="2192"/>
                  </a:cubicBezTo>
                  <a:cubicBezTo>
                    <a:pt x="4382" y="989"/>
                    <a:pt x="3393" y="1"/>
                    <a:pt x="2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2" name="Google Shape;11182;p60"/>
            <p:cNvSpPr/>
            <p:nvPr/>
          </p:nvSpPr>
          <p:spPr>
            <a:xfrm>
              <a:off x="7180009" y="3466271"/>
              <a:ext cx="159201" cy="149685"/>
            </a:xfrm>
            <a:custGeom>
              <a:avLst/>
              <a:gdLst/>
              <a:ahLst/>
              <a:cxnLst/>
              <a:rect l="l" t="t" r="r" b="b"/>
              <a:pathLst>
                <a:path w="5002" h="4703" extrusionOk="0">
                  <a:moveTo>
                    <a:pt x="3163" y="1"/>
                  </a:moveTo>
                  <a:cubicBezTo>
                    <a:pt x="2425" y="1"/>
                    <a:pt x="1690" y="286"/>
                    <a:pt x="1132" y="844"/>
                  </a:cubicBezTo>
                  <a:cubicBezTo>
                    <a:pt x="96" y="1868"/>
                    <a:pt x="1" y="3500"/>
                    <a:pt x="894" y="4643"/>
                  </a:cubicBezTo>
                  <a:cubicBezTo>
                    <a:pt x="918" y="4690"/>
                    <a:pt x="965" y="4702"/>
                    <a:pt x="1013" y="4702"/>
                  </a:cubicBezTo>
                  <a:cubicBezTo>
                    <a:pt x="1037" y="4702"/>
                    <a:pt x="1084" y="4690"/>
                    <a:pt x="1108" y="4666"/>
                  </a:cubicBezTo>
                  <a:cubicBezTo>
                    <a:pt x="1192" y="4607"/>
                    <a:pt x="1192" y="4523"/>
                    <a:pt x="1144" y="4452"/>
                  </a:cubicBezTo>
                  <a:cubicBezTo>
                    <a:pt x="358" y="3440"/>
                    <a:pt x="441" y="1987"/>
                    <a:pt x="1346" y="1083"/>
                  </a:cubicBezTo>
                  <a:cubicBezTo>
                    <a:pt x="1845" y="591"/>
                    <a:pt x="2498" y="338"/>
                    <a:pt x="3153" y="338"/>
                  </a:cubicBezTo>
                  <a:cubicBezTo>
                    <a:pt x="3703" y="338"/>
                    <a:pt x="4254" y="516"/>
                    <a:pt x="4716" y="880"/>
                  </a:cubicBezTo>
                  <a:cubicBezTo>
                    <a:pt x="4744" y="903"/>
                    <a:pt x="4775" y="914"/>
                    <a:pt x="4807" y="914"/>
                  </a:cubicBezTo>
                  <a:cubicBezTo>
                    <a:pt x="4856" y="914"/>
                    <a:pt x="4906" y="888"/>
                    <a:pt x="4942" y="844"/>
                  </a:cubicBezTo>
                  <a:cubicBezTo>
                    <a:pt x="5002" y="773"/>
                    <a:pt x="4978" y="666"/>
                    <a:pt x="4918" y="606"/>
                  </a:cubicBezTo>
                  <a:cubicBezTo>
                    <a:pt x="4398" y="200"/>
                    <a:pt x="3779" y="1"/>
                    <a:pt x="3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3" name="Google Shape;11183;p60"/>
            <p:cNvSpPr/>
            <p:nvPr/>
          </p:nvSpPr>
          <p:spPr>
            <a:xfrm>
              <a:off x="7222085" y="3499690"/>
              <a:ext cx="158819" cy="148825"/>
            </a:xfrm>
            <a:custGeom>
              <a:avLst/>
              <a:gdLst/>
              <a:ahLst/>
              <a:cxnLst/>
              <a:rect l="l" t="t" r="r" b="b"/>
              <a:pathLst>
                <a:path w="4990" h="4676" extrusionOk="0">
                  <a:moveTo>
                    <a:pt x="3983" y="0"/>
                  </a:moveTo>
                  <a:cubicBezTo>
                    <a:pt x="3948" y="0"/>
                    <a:pt x="3913" y="12"/>
                    <a:pt x="3882" y="33"/>
                  </a:cubicBezTo>
                  <a:cubicBezTo>
                    <a:pt x="3810" y="92"/>
                    <a:pt x="3810" y="187"/>
                    <a:pt x="3858" y="259"/>
                  </a:cubicBezTo>
                  <a:cubicBezTo>
                    <a:pt x="4644" y="1271"/>
                    <a:pt x="4549" y="2711"/>
                    <a:pt x="3644" y="3616"/>
                  </a:cubicBezTo>
                  <a:cubicBezTo>
                    <a:pt x="3152" y="4115"/>
                    <a:pt x="2502" y="4367"/>
                    <a:pt x="1848" y="4367"/>
                  </a:cubicBezTo>
                  <a:cubicBezTo>
                    <a:pt x="1299" y="4367"/>
                    <a:pt x="748" y="4189"/>
                    <a:pt x="286" y="3831"/>
                  </a:cubicBezTo>
                  <a:cubicBezTo>
                    <a:pt x="250" y="3805"/>
                    <a:pt x="214" y="3793"/>
                    <a:pt x="180" y="3793"/>
                  </a:cubicBezTo>
                  <a:cubicBezTo>
                    <a:pt x="135" y="3793"/>
                    <a:pt x="94" y="3814"/>
                    <a:pt x="60" y="3854"/>
                  </a:cubicBezTo>
                  <a:cubicBezTo>
                    <a:pt x="0" y="3938"/>
                    <a:pt x="12" y="4021"/>
                    <a:pt x="84" y="4081"/>
                  </a:cubicBezTo>
                  <a:cubicBezTo>
                    <a:pt x="608" y="4486"/>
                    <a:pt x="1239" y="4676"/>
                    <a:pt x="1846" y="4676"/>
                  </a:cubicBezTo>
                  <a:cubicBezTo>
                    <a:pt x="2584" y="4676"/>
                    <a:pt x="3322" y="4390"/>
                    <a:pt x="3882" y="3843"/>
                  </a:cubicBezTo>
                  <a:cubicBezTo>
                    <a:pt x="4894" y="2831"/>
                    <a:pt x="4989" y="1211"/>
                    <a:pt x="4108" y="68"/>
                  </a:cubicBezTo>
                  <a:cubicBezTo>
                    <a:pt x="4074" y="21"/>
                    <a:pt x="4029" y="0"/>
                    <a:pt x="39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84" name="Google Shape;11184;p60"/>
          <p:cNvGrpSpPr/>
          <p:nvPr/>
        </p:nvGrpSpPr>
        <p:grpSpPr>
          <a:xfrm>
            <a:off x="7551754" y="3390808"/>
            <a:ext cx="344883" cy="301311"/>
            <a:chOff x="7551754" y="3390808"/>
            <a:chExt cx="344883" cy="301311"/>
          </a:xfrm>
        </p:grpSpPr>
        <p:sp>
          <p:nvSpPr>
            <p:cNvPr id="11185" name="Google Shape;11185;p60"/>
            <p:cNvSpPr/>
            <p:nvPr/>
          </p:nvSpPr>
          <p:spPr>
            <a:xfrm>
              <a:off x="7551754" y="3390808"/>
              <a:ext cx="344883" cy="301311"/>
            </a:xfrm>
            <a:custGeom>
              <a:avLst/>
              <a:gdLst/>
              <a:ahLst/>
              <a:cxnLst/>
              <a:rect l="l" t="t" r="r" b="b"/>
              <a:pathLst>
                <a:path w="10836" h="9467" extrusionOk="0">
                  <a:moveTo>
                    <a:pt x="6097" y="334"/>
                  </a:moveTo>
                  <a:lnTo>
                    <a:pt x="5799" y="3049"/>
                  </a:lnTo>
                  <a:cubicBezTo>
                    <a:pt x="5799" y="3049"/>
                    <a:pt x="5799" y="3073"/>
                    <a:pt x="5787" y="3073"/>
                  </a:cubicBezTo>
                  <a:lnTo>
                    <a:pt x="5073" y="3073"/>
                  </a:lnTo>
                  <a:cubicBezTo>
                    <a:pt x="5073" y="3073"/>
                    <a:pt x="5061" y="3073"/>
                    <a:pt x="5061" y="3049"/>
                  </a:cubicBezTo>
                  <a:lnTo>
                    <a:pt x="4763" y="334"/>
                  </a:lnTo>
                  <a:close/>
                  <a:moveTo>
                    <a:pt x="10336" y="2692"/>
                  </a:moveTo>
                  <a:cubicBezTo>
                    <a:pt x="10443" y="2692"/>
                    <a:pt x="10526" y="2763"/>
                    <a:pt x="10526" y="2870"/>
                  </a:cubicBezTo>
                  <a:lnTo>
                    <a:pt x="10526" y="8978"/>
                  </a:lnTo>
                  <a:cubicBezTo>
                    <a:pt x="10526" y="9085"/>
                    <a:pt x="10443" y="9157"/>
                    <a:pt x="10347" y="9157"/>
                  </a:cubicBezTo>
                  <a:lnTo>
                    <a:pt x="525" y="9157"/>
                  </a:lnTo>
                  <a:cubicBezTo>
                    <a:pt x="418" y="9157"/>
                    <a:pt x="346" y="9085"/>
                    <a:pt x="346" y="8978"/>
                  </a:cubicBezTo>
                  <a:lnTo>
                    <a:pt x="346" y="2870"/>
                  </a:lnTo>
                  <a:cubicBezTo>
                    <a:pt x="346" y="2763"/>
                    <a:pt x="418" y="2692"/>
                    <a:pt x="525" y="2692"/>
                  </a:cubicBezTo>
                  <a:lnTo>
                    <a:pt x="4704" y="2692"/>
                  </a:lnTo>
                  <a:lnTo>
                    <a:pt x="4752" y="3084"/>
                  </a:lnTo>
                  <a:cubicBezTo>
                    <a:pt x="4763" y="3251"/>
                    <a:pt x="4906" y="3382"/>
                    <a:pt x="5073" y="3382"/>
                  </a:cubicBezTo>
                  <a:lnTo>
                    <a:pt x="5787" y="3382"/>
                  </a:lnTo>
                  <a:cubicBezTo>
                    <a:pt x="5954" y="3382"/>
                    <a:pt x="6097" y="3263"/>
                    <a:pt x="6121" y="3084"/>
                  </a:cubicBezTo>
                  <a:lnTo>
                    <a:pt x="6156" y="2692"/>
                  </a:lnTo>
                  <a:close/>
                  <a:moveTo>
                    <a:pt x="4573" y="1"/>
                  </a:moveTo>
                  <a:cubicBezTo>
                    <a:pt x="4525" y="1"/>
                    <a:pt x="4478" y="13"/>
                    <a:pt x="4454" y="60"/>
                  </a:cubicBezTo>
                  <a:cubicBezTo>
                    <a:pt x="4418" y="96"/>
                    <a:pt x="4406" y="132"/>
                    <a:pt x="4406" y="179"/>
                  </a:cubicBezTo>
                  <a:lnTo>
                    <a:pt x="4644" y="2382"/>
                  </a:lnTo>
                  <a:lnTo>
                    <a:pt x="489" y="2382"/>
                  </a:lnTo>
                  <a:cubicBezTo>
                    <a:pt x="215" y="2382"/>
                    <a:pt x="1" y="2608"/>
                    <a:pt x="1" y="2870"/>
                  </a:cubicBezTo>
                  <a:lnTo>
                    <a:pt x="1" y="8978"/>
                  </a:lnTo>
                  <a:cubicBezTo>
                    <a:pt x="1" y="9240"/>
                    <a:pt x="215" y="9466"/>
                    <a:pt x="489" y="9466"/>
                  </a:cubicBezTo>
                  <a:lnTo>
                    <a:pt x="10312" y="9466"/>
                  </a:lnTo>
                  <a:cubicBezTo>
                    <a:pt x="10574" y="9466"/>
                    <a:pt x="10800" y="9240"/>
                    <a:pt x="10800" y="8978"/>
                  </a:cubicBezTo>
                  <a:lnTo>
                    <a:pt x="10800" y="2870"/>
                  </a:lnTo>
                  <a:cubicBezTo>
                    <a:pt x="10836" y="2608"/>
                    <a:pt x="10609" y="2382"/>
                    <a:pt x="10347" y="2382"/>
                  </a:cubicBezTo>
                  <a:lnTo>
                    <a:pt x="6192" y="2382"/>
                  </a:lnTo>
                  <a:lnTo>
                    <a:pt x="6430" y="179"/>
                  </a:lnTo>
                  <a:cubicBezTo>
                    <a:pt x="6430" y="132"/>
                    <a:pt x="6418" y="96"/>
                    <a:pt x="6383" y="60"/>
                  </a:cubicBezTo>
                  <a:cubicBezTo>
                    <a:pt x="6359" y="36"/>
                    <a:pt x="6311" y="1"/>
                    <a:pt x="62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6" name="Google Shape;11186;p60"/>
            <p:cNvSpPr/>
            <p:nvPr/>
          </p:nvSpPr>
          <p:spPr>
            <a:xfrm>
              <a:off x="7584345" y="3509811"/>
              <a:ext cx="117889" cy="150098"/>
            </a:xfrm>
            <a:custGeom>
              <a:avLst/>
              <a:gdLst/>
              <a:ahLst/>
              <a:cxnLst/>
              <a:rect l="l" t="t" r="r" b="b"/>
              <a:pathLst>
                <a:path w="3704" h="4716" extrusionOk="0">
                  <a:moveTo>
                    <a:pt x="2037" y="1143"/>
                  </a:moveTo>
                  <a:cubicBezTo>
                    <a:pt x="2239" y="1143"/>
                    <a:pt x="2394" y="1310"/>
                    <a:pt x="2394" y="1501"/>
                  </a:cubicBezTo>
                  <a:lnTo>
                    <a:pt x="2394" y="1846"/>
                  </a:lnTo>
                  <a:cubicBezTo>
                    <a:pt x="2382" y="2143"/>
                    <a:pt x="2144" y="2370"/>
                    <a:pt x="1858" y="2370"/>
                  </a:cubicBezTo>
                  <a:cubicBezTo>
                    <a:pt x="1572" y="2370"/>
                    <a:pt x="1346" y="2132"/>
                    <a:pt x="1346" y="1846"/>
                  </a:cubicBezTo>
                  <a:lnTo>
                    <a:pt x="1346" y="1501"/>
                  </a:lnTo>
                  <a:cubicBezTo>
                    <a:pt x="1346" y="1310"/>
                    <a:pt x="1501" y="1143"/>
                    <a:pt x="1703" y="1143"/>
                  </a:cubicBezTo>
                  <a:close/>
                  <a:moveTo>
                    <a:pt x="2025" y="2667"/>
                  </a:moveTo>
                  <a:lnTo>
                    <a:pt x="2025" y="2751"/>
                  </a:lnTo>
                  <a:cubicBezTo>
                    <a:pt x="2037" y="2822"/>
                    <a:pt x="2061" y="2870"/>
                    <a:pt x="2084" y="2929"/>
                  </a:cubicBezTo>
                  <a:lnTo>
                    <a:pt x="1858" y="3155"/>
                  </a:lnTo>
                  <a:lnTo>
                    <a:pt x="1846" y="3155"/>
                  </a:lnTo>
                  <a:lnTo>
                    <a:pt x="1620" y="2929"/>
                  </a:lnTo>
                  <a:cubicBezTo>
                    <a:pt x="1656" y="2882"/>
                    <a:pt x="1668" y="2822"/>
                    <a:pt x="1668" y="2763"/>
                  </a:cubicBezTo>
                  <a:lnTo>
                    <a:pt x="1668" y="2667"/>
                  </a:lnTo>
                  <a:cubicBezTo>
                    <a:pt x="1727" y="2679"/>
                    <a:pt x="1787" y="2679"/>
                    <a:pt x="1846" y="2679"/>
                  </a:cubicBezTo>
                  <a:cubicBezTo>
                    <a:pt x="1906" y="2679"/>
                    <a:pt x="1965" y="2679"/>
                    <a:pt x="2025" y="2667"/>
                  </a:cubicBezTo>
                  <a:close/>
                  <a:moveTo>
                    <a:pt x="2358" y="3108"/>
                  </a:moveTo>
                  <a:lnTo>
                    <a:pt x="2620" y="3239"/>
                  </a:lnTo>
                  <a:cubicBezTo>
                    <a:pt x="2680" y="3275"/>
                    <a:pt x="2727" y="3334"/>
                    <a:pt x="2727" y="3406"/>
                  </a:cubicBezTo>
                  <a:lnTo>
                    <a:pt x="2727" y="4406"/>
                  </a:lnTo>
                  <a:lnTo>
                    <a:pt x="1001" y="4406"/>
                  </a:lnTo>
                  <a:lnTo>
                    <a:pt x="1001" y="3406"/>
                  </a:lnTo>
                  <a:cubicBezTo>
                    <a:pt x="1001" y="3334"/>
                    <a:pt x="1049" y="3275"/>
                    <a:pt x="1108" y="3239"/>
                  </a:cubicBezTo>
                  <a:lnTo>
                    <a:pt x="1370" y="3108"/>
                  </a:lnTo>
                  <a:lnTo>
                    <a:pt x="1620" y="3358"/>
                  </a:lnTo>
                  <a:cubicBezTo>
                    <a:pt x="1680" y="3417"/>
                    <a:pt x="1775" y="3453"/>
                    <a:pt x="1858" y="3453"/>
                  </a:cubicBezTo>
                  <a:cubicBezTo>
                    <a:pt x="1953" y="3453"/>
                    <a:pt x="2025" y="3417"/>
                    <a:pt x="2096" y="3358"/>
                  </a:cubicBezTo>
                  <a:lnTo>
                    <a:pt x="2358" y="3108"/>
                  </a:lnTo>
                  <a:close/>
                  <a:moveTo>
                    <a:pt x="3394" y="298"/>
                  </a:moveTo>
                  <a:cubicBezTo>
                    <a:pt x="3394" y="298"/>
                    <a:pt x="3406" y="298"/>
                    <a:pt x="3406" y="310"/>
                  </a:cubicBezTo>
                  <a:lnTo>
                    <a:pt x="3406" y="4394"/>
                  </a:lnTo>
                  <a:lnTo>
                    <a:pt x="3394" y="4394"/>
                  </a:lnTo>
                  <a:lnTo>
                    <a:pt x="3037" y="4406"/>
                  </a:lnTo>
                  <a:lnTo>
                    <a:pt x="3037" y="3406"/>
                  </a:lnTo>
                  <a:cubicBezTo>
                    <a:pt x="3037" y="3215"/>
                    <a:pt x="2930" y="3048"/>
                    <a:pt x="2775" y="2965"/>
                  </a:cubicBezTo>
                  <a:lnTo>
                    <a:pt x="2370" y="2763"/>
                  </a:lnTo>
                  <a:lnTo>
                    <a:pt x="2370" y="2751"/>
                  </a:lnTo>
                  <a:lnTo>
                    <a:pt x="2370" y="2513"/>
                  </a:lnTo>
                  <a:cubicBezTo>
                    <a:pt x="2573" y="2370"/>
                    <a:pt x="2715" y="2108"/>
                    <a:pt x="2715" y="1846"/>
                  </a:cubicBezTo>
                  <a:lnTo>
                    <a:pt x="2715" y="1501"/>
                  </a:lnTo>
                  <a:cubicBezTo>
                    <a:pt x="2715" y="1131"/>
                    <a:pt x="2418" y="834"/>
                    <a:pt x="2037" y="834"/>
                  </a:cubicBezTo>
                  <a:lnTo>
                    <a:pt x="1703" y="834"/>
                  </a:lnTo>
                  <a:cubicBezTo>
                    <a:pt x="1322" y="834"/>
                    <a:pt x="1025" y="1131"/>
                    <a:pt x="1025" y="1501"/>
                  </a:cubicBezTo>
                  <a:lnTo>
                    <a:pt x="1025" y="1846"/>
                  </a:lnTo>
                  <a:cubicBezTo>
                    <a:pt x="1025" y="2108"/>
                    <a:pt x="1168" y="2370"/>
                    <a:pt x="1370" y="2513"/>
                  </a:cubicBezTo>
                  <a:lnTo>
                    <a:pt x="1370" y="2751"/>
                  </a:lnTo>
                  <a:lnTo>
                    <a:pt x="1370" y="2763"/>
                  </a:lnTo>
                  <a:lnTo>
                    <a:pt x="965" y="2965"/>
                  </a:lnTo>
                  <a:cubicBezTo>
                    <a:pt x="810" y="3048"/>
                    <a:pt x="703" y="3215"/>
                    <a:pt x="703" y="3406"/>
                  </a:cubicBezTo>
                  <a:lnTo>
                    <a:pt x="703" y="4394"/>
                  </a:lnTo>
                  <a:lnTo>
                    <a:pt x="346" y="4394"/>
                  </a:lnTo>
                  <a:cubicBezTo>
                    <a:pt x="346" y="4394"/>
                    <a:pt x="334" y="4394"/>
                    <a:pt x="334" y="4370"/>
                  </a:cubicBezTo>
                  <a:lnTo>
                    <a:pt x="334" y="310"/>
                  </a:lnTo>
                  <a:cubicBezTo>
                    <a:pt x="334" y="310"/>
                    <a:pt x="334" y="298"/>
                    <a:pt x="346" y="298"/>
                  </a:cubicBezTo>
                  <a:close/>
                  <a:moveTo>
                    <a:pt x="334" y="0"/>
                  </a:moveTo>
                  <a:cubicBezTo>
                    <a:pt x="156" y="0"/>
                    <a:pt x="1" y="143"/>
                    <a:pt x="1" y="322"/>
                  </a:cubicBezTo>
                  <a:lnTo>
                    <a:pt x="1" y="4394"/>
                  </a:lnTo>
                  <a:cubicBezTo>
                    <a:pt x="1" y="4572"/>
                    <a:pt x="156" y="4715"/>
                    <a:pt x="334" y="4715"/>
                  </a:cubicBezTo>
                  <a:lnTo>
                    <a:pt x="3382" y="4715"/>
                  </a:lnTo>
                  <a:cubicBezTo>
                    <a:pt x="3561" y="4715"/>
                    <a:pt x="3704" y="4572"/>
                    <a:pt x="3704" y="4394"/>
                  </a:cubicBezTo>
                  <a:lnTo>
                    <a:pt x="3704" y="322"/>
                  </a:lnTo>
                  <a:cubicBezTo>
                    <a:pt x="3704" y="143"/>
                    <a:pt x="3561" y="0"/>
                    <a:pt x="3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7" name="Google Shape;11187;p60"/>
            <p:cNvSpPr/>
            <p:nvPr/>
          </p:nvSpPr>
          <p:spPr>
            <a:xfrm>
              <a:off x="7724959" y="3509811"/>
              <a:ext cx="139468" cy="31859"/>
            </a:xfrm>
            <a:custGeom>
              <a:avLst/>
              <a:gdLst/>
              <a:ahLst/>
              <a:cxnLst/>
              <a:rect l="l" t="t" r="r" b="b"/>
              <a:pathLst>
                <a:path w="4382" h="1001" extrusionOk="0">
                  <a:moveTo>
                    <a:pt x="4048" y="310"/>
                  </a:moveTo>
                  <a:cubicBezTo>
                    <a:pt x="4048" y="310"/>
                    <a:pt x="4072" y="310"/>
                    <a:pt x="4072" y="322"/>
                  </a:cubicBezTo>
                  <a:lnTo>
                    <a:pt x="4072" y="667"/>
                  </a:lnTo>
                  <a:lnTo>
                    <a:pt x="333" y="679"/>
                  </a:lnTo>
                  <a:cubicBezTo>
                    <a:pt x="333" y="679"/>
                    <a:pt x="322" y="679"/>
                    <a:pt x="322" y="667"/>
                  </a:cubicBezTo>
                  <a:lnTo>
                    <a:pt x="322" y="322"/>
                  </a:lnTo>
                  <a:cubicBezTo>
                    <a:pt x="322" y="322"/>
                    <a:pt x="322" y="310"/>
                    <a:pt x="333" y="310"/>
                  </a:cubicBezTo>
                  <a:close/>
                  <a:moveTo>
                    <a:pt x="333" y="0"/>
                  </a:moveTo>
                  <a:cubicBezTo>
                    <a:pt x="155" y="0"/>
                    <a:pt x="0" y="143"/>
                    <a:pt x="0" y="322"/>
                  </a:cubicBezTo>
                  <a:lnTo>
                    <a:pt x="0" y="667"/>
                  </a:lnTo>
                  <a:cubicBezTo>
                    <a:pt x="0" y="846"/>
                    <a:pt x="155" y="1000"/>
                    <a:pt x="333" y="1000"/>
                  </a:cubicBezTo>
                  <a:lnTo>
                    <a:pt x="4048" y="1000"/>
                  </a:lnTo>
                  <a:cubicBezTo>
                    <a:pt x="4227" y="1000"/>
                    <a:pt x="4382" y="846"/>
                    <a:pt x="4382" y="667"/>
                  </a:cubicBezTo>
                  <a:lnTo>
                    <a:pt x="4382" y="322"/>
                  </a:lnTo>
                  <a:cubicBezTo>
                    <a:pt x="4382" y="143"/>
                    <a:pt x="4227" y="0"/>
                    <a:pt x="4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8" name="Google Shape;11188;p60"/>
            <p:cNvSpPr/>
            <p:nvPr/>
          </p:nvSpPr>
          <p:spPr>
            <a:xfrm>
              <a:off x="7724577" y="3553001"/>
              <a:ext cx="107259" cy="31477"/>
            </a:xfrm>
            <a:custGeom>
              <a:avLst/>
              <a:gdLst/>
              <a:ahLst/>
              <a:cxnLst/>
              <a:rect l="l" t="t" r="r" b="b"/>
              <a:pathLst>
                <a:path w="3370" h="989" extrusionOk="0">
                  <a:moveTo>
                    <a:pt x="3036" y="310"/>
                  </a:moveTo>
                  <a:cubicBezTo>
                    <a:pt x="3036" y="310"/>
                    <a:pt x="3048" y="310"/>
                    <a:pt x="3048" y="322"/>
                  </a:cubicBezTo>
                  <a:lnTo>
                    <a:pt x="3048" y="667"/>
                  </a:lnTo>
                  <a:lnTo>
                    <a:pt x="334" y="679"/>
                  </a:lnTo>
                  <a:cubicBezTo>
                    <a:pt x="334" y="679"/>
                    <a:pt x="310" y="679"/>
                    <a:pt x="310" y="667"/>
                  </a:cubicBezTo>
                  <a:lnTo>
                    <a:pt x="310" y="322"/>
                  </a:lnTo>
                  <a:cubicBezTo>
                    <a:pt x="310" y="322"/>
                    <a:pt x="310" y="310"/>
                    <a:pt x="334" y="310"/>
                  </a:cubicBezTo>
                  <a:close/>
                  <a:moveTo>
                    <a:pt x="334" y="1"/>
                  </a:moveTo>
                  <a:cubicBezTo>
                    <a:pt x="143" y="1"/>
                    <a:pt x="0" y="144"/>
                    <a:pt x="0" y="322"/>
                  </a:cubicBezTo>
                  <a:lnTo>
                    <a:pt x="0" y="667"/>
                  </a:lnTo>
                  <a:cubicBezTo>
                    <a:pt x="0" y="846"/>
                    <a:pt x="143" y="989"/>
                    <a:pt x="334" y="989"/>
                  </a:cubicBezTo>
                  <a:lnTo>
                    <a:pt x="3036" y="989"/>
                  </a:lnTo>
                  <a:cubicBezTo>
                    <a:pt x="3215" y="989"/>
                    <a:pt x="3370" y="846"/>
                    <a:pt x="3370" y="667"/>
                  </a:cubicBezTo>
                  <a:lnTo>
                    <a:pt x="3370" y="322"/>
                  </a:lnTo>
                  <a:cubicBezTo>
                    <a:pt x="3370" y="144"/>
                    <a:pt x="3227" y="1"/>
                    <a:pt x="3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9" name="Google Shape;11189;p60"/>
            <p:cNvSpPr/>
            <p:nvPr/>
          </p:nvSpPr>
          <p:spPr>
            <a:xfrm>
              <a:off x="7724577" y="3595841"/>
              <a:ext cx="64451" cy="10630"/>
            </a:xfrm>
            <a:custGeom>
              <a:avLst/>
              <a:gdLst/>
              <a:ahLst/>
              <a:cxnLst/>
              <a:rect l="l" t="t" r="r" b="b"/>
              <a:pathLst>
                <a:path w="2025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858" y="333"/>
                  </a:lnTo>
                  <a:cubicBezTo>
                    <a:pt x="1953" y="333"/>
                    <a:pt x="2024" y="262"/>
                    <a:pt x="2024" y="167"/>
                  </a:cubicBezTo>
                  <a:cubicBezTo>
                    <a:pt x="2012" y="83"/>
                    <a:pt x="1953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0" name="Google Shape;11190;p60"/>
            <p:cNvSpPr/>
            <p:nvPr/>
          </p:nvSpPr>
          <p:spPr>
            <a:xfrm>
              <a:off x="7799977" y="3595841"/>
              <a:ext cx="32241" cy="10630"/>
            </a:xfrm>
            <a:custGeom>
              <a:avLst/>
              <a:gdLst/>
              <a:ahLst/>
              <a:cxnLst/>
              <a:rect l="l" t="t" r="r" b="b"/>
              <a:pathLst>
                <a:path w="1013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846" y="333"/>
                  </a:lnTo>
                  <a:cubicBezTo>
                    <a:pt x="941" y="333"/>
                    <a:pt x="1013" y="262"/>
                    <a:pt x="1013" y="167"/>
                  </a:cubicBezTo>
                  <a:cubicBezTo>
                    <a:pt x="1001" y="83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1" name="Google Shape;11191;p60"/>
            <p:cNvSpPr/>
            <p:nvPr/>
          </p:nvSpPr>
          <p:spPr>
            <a:xfrm>
              <a:off x="7724577" y="3628051"/>
              <a:ext cx="21229" cy="10630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512" y="333"/>
                  </a:lnTo>
                  <a:cubicBezTo>
                    <a:pt x="595" y="333"/>
                    <a:pt x="667" y="262"/>
                    <a:pt x="667" y="167"/>
                  </a:cubicBezTo>
                  <a:cubicBezTo>
                    <a:pt x="667" y="83"/>
                    <a:pt x="595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2" name="Google Shape;11192;p60"/>
            <p:cNvSpPr/>
            <p:nvPr/>
          </p:nvSpPr>
          <p:spPr>
            <a:xfrm>
              <a:off x="7756787" y="3628051"/>
              <a:ext cx="53438" cy="10630"/>
            </a:xfrm>
            <a:custGeom>
              <a:avLst/>
              <a:gdLst/>
              <a:ahLst/>
              <a:cxnLst/>
              <a:rect l="l" t="t" r="r" b="b"/>
              <a:pathLst>
                <a:path w="1679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524" y="333"/>
                  </a:lnTo>
                  <a:cubicBezTo>
                    <a:pt x="1608" y="333"/>
                    <a:pt x="1679" y="262"/>
                    <a:pt x="1679" y="167"/>
                  </a:cubicBezTo>
                  <a:cubicBezTo>
                    <a:pt x="1679" y="83"/>
                    <a:pt x="1608" y="0"/>
                    <a:pt x="1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3" name="Google Shape;11193;p60"/>
            <p:cNvSpPr/>
            <p:nvPr/>
          </p:nvSpPr>
          <p:spPr>
            <a:xfrm>
              <a:off x="7724577" y="3650012"/>
              <a:ext cx="21229" cy="10280"/>
            </a:xfrm>
            <a:custGeom>
              <a:avLst/>
              <a:gdLst/>
              <a:ahLst/>
              <a:cxnLst/>
              <a:rect l="l" t="t" r="r" b="b"/>
              <a:pathLst>
                <a:path w="667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12" y="322"/>
                  </a:lnTo>
                  <a:cubicBezTo>
                    <a:pt x="595" y="322"/>
                    <a:pt x="667" y="251"/>
                    <a:pt x="667" y="167"/>
                  </a:cubicBezTo>
                  <a:cubicBezTo>
                    <a:pt x="655" y="72"/>
                    <a:pt x="595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4" name="Google Shape;11194;p60"/>
            <p:cNvSpPr/>
            <p:nvPr/>
          </p:nvSpPr>
          <p:spPr>
            <a:xfrm>
              <a:off x="7756787" y="3650012"/>
              <a:ext cx="53438" cy="10280"/>
            </a:xfrm>
            <a:custGeom>
              <a:avLst/>
              <a:gdLst/>
              <a:ahLst/>
              <a:cxnLst/>
              <a:rect l="l" t="t" r="r" b="b"/>
              <a:pathLst>
                <a:path w="1679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1524" y="322"/>
                  </a:lnTo>
                  <a:cubicBezTo>
                    <a:pt x="1608" y="322"/>
                    <a:pt x="1679" y="251"/>
                    <a:pt x="1679" y="167"/>
                  </a:cubicBezTo>
                  <a:cubicBezTo>
                    <a:pt x="1679" y="72"/>
                    <a:pt x="1608" y="1"/>
                    <a:pt x="1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5" name="Google Shape;11195;p60"/>
            <p:cNvSpPr/>
            <p:nvPr/>
          </p:nvSpPr>
          <p:spPr>
            <a:xfrm>
              <a:off x="7719262" y="3466621"/>
              <a:ext cx="10630" cy="10630"/>
            </a:xfrm>
            <a:custGeom>
              <a:avLst/>
              <a:gdLst/>
              <a:ahLst/>
              <a:cxnLst/>
              <a:rect l="l" t="t" r="r" b="b"/>
              <a:pathLst>
                <a:path w="334" h="334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33"/>
                    <a:pt x="167" y="333"/>
                  </a:cubicBezTo>
                  <a:cubicBezTo>
                    <a:pt x="262" y="333"/>
                    <a:pt x="334" y="250"/>
                    <a:pt x="334" y="167"/>
                  </a:cubicBezTo>
                  <a:cubicBezTo>
                    <a:pt x="322" y="60"/>
                    <a:pt x="239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96" name="Google Shape;11196;p60"/>
          <p:cNvGrpSpPr/>
          <p:nvPr/>
        </p:nvGrpSpPr>
        <p:grpSpPr>
          <a:xfrm>
            <a:off x="6707084" y="3387403"/>
            <a:ext cx="261145" cy="308504"/>
            <a:chOff x="6707084" y="3387403"/>
            <a:chExt cx="261145" cy="308504"/>
          </a:xfrm>
        </p:grpSpPr>
        <p:sp>
          <p:nvSpPr>
            <p:cNvPr id="11197" name="Google Shape;11197;p60"/>
            <p:cNvSpPr/>
            <p:nvPr/>
          </p:nvSpPr>
          <p:spPr>
            <a:xfrm>
              <a:off x="6726053" y="3542403"/>
              <a:ext cx="68238" cy="153504"/>
            </a:xfrm>
            <a:custGeom>
              <a:avLst/>
              <a:gdLst/>
              <a:ahLst/>
              <a:cxnLst/>
              <a:rect l="l" t="t" r="r" b="b"/>
              <a:pathLst>
                <a:path w="2144" h="4823" extrusionOk="0">
                  <a:moveTo>
                    <a:pt x="1203" y="286"/>
                  </a:moveTo>
                  <a:cubicBezTo>
                    <a:pt x="1381" y="286"/>
                    <a:pt x="1524" y="417"/>
                    <a:pt x="1524" y="596"/>
                  </a:cubicBezTo>
                  <a:lnTo>
                    <a:pt x="1524" y="893"/>
                  </a:lnTo>
                  <a:cubicBezTo>
                    <a:pt x="1524" y="1143"/>
                    <a:pt x="1310" y="1358"/>
                    <a:pt x="1060" y="1358"/>
                  </a:cubicBezTo>
                  <a:cubicBezTo>
                    <a:pt x="810" y="1358"/>
                    <a:pt x="596" y="1143"/>
                    <a:pt x="596" y="893"/>
                  </a:cubicBezTo>
                  <a:lnTo>
                    <a:pt x="596" y="596"/>
                  </a:lnTo>
                  <a:cubicBezTo>
                    <a:pt x="596" y="417"/>
                    <a:pt x="726" y="286"/>
                    <a:pt x="905" y="286"/>
                  </a:cubicBezTo>
                  <a:close/>
                  <a:moveTo>
                    <a:pt x="1227" y="1643"/>
                  </a:moveTo>
                  <a:lnTo>
                    <a:pt x="1227" y="1715"/>
                  </a:lnTo>
                  <a:cubicBezTo>
                    <a:pt x="1227" y="1774"/>
                    <a:pt x="1238" y="1822"/>
                    <a:pt x="1262" y="1858"/>
                  </a:cubicBezTo>
                  <a:lnTo>
                    <a:pt x="1060" y="2036"/>
                  </a:lnTo>
                  <a:lnTo>
                    <a:pt x="846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1060" y="2036"/>
                  </a:moveTo>
                  <a:cubicBezTo>
                    <a:pt x="1060" y="2048"/>
                    <a:pt x="1057" y="2054"/>
                    <a:pt x="1055" y="2054"/>
                  </a:cubicBezTo>
                  <a:cubicBezTo>
                    <a:pt x="1054" y="2054"/>
                    <a:pt x="1054" y="2048"/>
                    <a:pt x="1060" y="2036"/>
                  </a:cubicBezTo>
                  <a:close/>
                  <a:moveTo>
                    <a:pt x="905" y="0"/>
                  </a:moveTo>
                  <a:cubicBezTo>
                    <a:pt x="584" y="0"/>
                    <a:pt x="310" y="274"/>
                    <a:pt x="310" y="596"/>
                  </a:cubicBezTo>
                  <a:lnTo>
                    <a:pt x="310" y="893"/>
                  </a:lnTo>
                  <a:cubicBezTo>
                    <a:pt x="310" y="1143"/>
                    <a:pt x="429" y="1358"/>
                    <a:pt x="607" y="1489"/>
                  </a:cubicBezTo>
                  <a:lnTo>
                    <a:pt x="607" y="1703"/>
                  </a:lnTo>
                  <a:lnTo>
                    <a:pt x="607" y="1715"/>
                  </a:lnTo>
                  <a:lnTo>
                    <a:pt x="250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36" y="3870"/>
                    <a:pt x="107" y="3965"/>
                  </a:cubicBezTo>
                  <a:lnTo>
                    <a:pt x="250" y="4179"/>
                  </a:lnTo>
                  <a:cubicBezTo>
                    <a:pt x="286" y="4227"/>
                    <a:pt x="310" y="4298"/>
                    <a:pt x="310" y="4358"/>
                  </a:cubicBezTo>
                  <a:lnTo>
                    <a:pt x="310" y="4679"/>
                  </a:lnTo>
                  <a:cubicBezTo>
                    <a:pt x="310" y="4751"/>
                    <a:pt x="369" y="4822"/>
                    <a:pt x="465" y="4822"/>
                  </a:cubicBezTo>
                  <a:cubicBezTo>
                    <a:pt x="536" y="4822"/>
                    <a:pt x="607" y="4763"/>
                    <a:pt x="607" y="4679"/>
                  </a:cubicBezTo>
                  <a:lnTo>
                    <a:pt x="607" y="4358"/>
                  </a:lnTo>
                  <a:cubicBezTo>
                    <a:pt x="607" y="4239"/>
                    <a:pt x="584" y="4120"/>
                    <a:pt x="512" y="4036"/>
                  </a:cubicBezTo>
                  <a:lnTo>
                    <a:pt x="357" y="3810"/>
                  </a:lnTo>
                  <a:cubicBezTo>
                    <a:pt x="334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34" y="2179"/>
                    <a:pt x="381" y="2143"/>
                  </a:cubicBezTo>
                  <a:lnTo>
                    <a:pt x="643" y="2024"/>
                  </a:lnTo>
                  <a:lnTo>
                    <a:pt x="857" y="2251"/>
                  </a:lnTo>
                  <a:cubicBezTo>
                    <a:pt x="929" y="2310"/>
                    <a:pt x="1000" y="2334"/>
                    <a:pt x="1072" y="2334"/>
                  </a:cubicBezTo>
                  <a:cubicBezTo>
                    <a:pt x="1143" y="2334"/>
                    <a:pt x="1227" y="2310"/>
                    <a:pt x="1286" y="2251"/>
                  </a:cubicBezTo>
                  <a:lnTo>
                    <a:pt x="1500" y="2024"/>
                  </a:lnTo>
                  <a:lnTo>
                    <a:pt x="1762" y="2143"/>
                  </a:lnTo>
                  <a:cubicBezTo>
                    <a:pt x="1822" y="2179"/>
                    <a:pt x="1846" y="2239"/>
                    <a:pt x="1846" y="2298"/>
                  </a:cubicBezTo>
                  <a:lnTo>
                    <a:pt x="1846" y="3632"/>
                  </a:lnTo>
                  <a:cubicBezTo>
                    <a:pt x="1846" y="3691"/>
                    <a:pt x="1834" y="3751"/>
                    <a:pt x="1786" y="3810"/>
                  </a:cubicBezTo>
                  <a:lnTo>
                    <a:pt x="1643" y="4036"/>
                  </a:lnTo>
                  <a:cubicBezTo>
                    <a:pt x="1572" y="4144"/>
                    <a:pt x="1536" y="4239"/>
                    <a:pt x="1536" y="4358"/>
                  </a:cubicBezTo>
                  <a:lnTo>
                    <a:pt x="1536" y="4679"/>
                  </a:lnTo>
                  <a:cubicBezTo>
                    <a:pt x="1536" y="4751"/>
                    <a:pt x="1596" y="4822"/>
                    <a:pt x="1679" y="4822"/>
                  </a:cubicBezTo>
                  <a:cubicBezTo>
                    <a:pt x="1750" y="4822"/>
                    <a:pt x="1834" y="4763"/>
                    <a:pt x="1834" y="4679"/>
                  </a:cubicBezTo>
                  <a:lnTo>
                    <a:pt x="1834" y="4358"/>
                  </a:lnTo>
                  <a:cubicBezTo>
                    <a:pt x="1834" y="4298"/>
                    <a:pt x="1846" y="4239"/>
                    <a:pt x="1893" y="4179"/>
                  </a:cubicBezTo>
                  <a:lnTo>
                    <a:pt x="2036" y="3965"/>
                  </a:lnTo>
                  <a:cubicBezTo>
                    <a:pt x="2096" y="3858"/>
                    <a:pt x="2143" y="3751"/>
                    <a:pt x="2143" y="3632"/>
                  </a:cubicBezTo>
                  <a:lnTo>
                    <a:pt x="2143" y="2298"/>
                  </a:lnTo>
                  <a:cubicBezTo>
                    <a:pt x="2096" y="2120"/>
                    <a:pt x="2012" y="1965"/>
                    <a:pt x="1858" y="1893"/>
                  </a:cubicBezTo>
                  <a:lnTo>
                    <a:pt x="1500" y="1715"/>
                  </a:lnTo>
                  <a:lnTo>
                    <a:pt x="1500" y="1703"/>
                  </a:lnTo>
                  <a:lnTo>
                    <a:pt x="1500" y="1489"/>
                  </a:lnTo>
                  <a:cubicBezTo>
                    <a:pt x="1679" y="1358"/>
                    <a:pt x="1798" y="1131"/>
                    <a:pt x="1798" y="893"/>
                  </a:cubicBezTo>
                  <a:lnTo>
                    <a:pt x="1798" y="596"/>
                  </a:lnTo>
                  <a:cubicBezTo>
                    <a:pt x="1798" y="274"/>
                    <a:pt x="1536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8" name="Google Shape;11198;p60"/>
            <p:cNvSpPr/>
            <p:nvPr/>
          </p:nvSpPr>
          <p:spPr>
            <a:xfrm>
              <a:off x="6803362" y="3542403"/>
              <a:ext cx="68238" cy="153504"/>
            </a:xfrm>
            <a:custGeom>
              <a:avLst/>
              <a:gdLst/>
              <a:ahLst/>
              <a:cxnLst/>
              <a:rect l="l" t="t" r="r" b="b"/>
              <a:pathLst>
                <a:path w="2144" h="4823" extrusionOk="0">
                  <a:moveTo>
                    <a:pt x="1203" y="286"/>
                  </a:moveTo>
                  <a:cubicBezTo>
                    <a:pt x="1381" y="286"/>
                    <a:pt x="1512" y="417"/>
                    <a:pt x="1512" y="596"/>
                  </a:cubicBezTo>
                  <a:lnTo>
                    <a:pt x="1512" y="893"/>
                  </a:lnTo>
                  <a:cubicBezTo>
                    <a:pt x="1512" y="1143"/>
                    <a:pt x="1310" y="1358"/>
                    <a:pt x="1060" y="1358"/>
                  </a:cubicBezTo>
                  <a:cubicBezTo>
                    <a:pt x="798" y="1358"/>
                    <a:pt x="595" y="1143"/>
                    <a:pt x="595" y="893"/>
                  </a:cubicBezTo>
                  <a:lnTo>
                    <a:pt x="595" y="596"/>
                  </a:lnTo>
                  <a:cubicBezTo>
                    <a:pt x="595" y="417"/>
                    <a:pt x="726" y="286"/>
                    <a:pt x="905" y="286"/>
                  </a:cubicBezTo>
                  <a:close/>
                  <a:moveTo>
                    <a:pt x="1215" y="1643"/>
                  </a:moveTo>
                  <a:lnTo>
                    <a:pt x="1215" y="1715"/>
                  </a:lnTo>
                  <a:cubicBezTo>
                    <a:pt x="1215" y="1774"/>
                    <a:pt x="1226" y="1822"/>
                    <a:pt x="1262" y="1858"/>
                  </a:cubicBezTo>
                  <a:lnTo>
                    <a:pt x="1060" y="2036"/>
                  </a:lnTo>
                  <a:lnTo>
                    <a:pt x="845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1060" y="2036"/>
                  </a:moveTo>
                  <a:cubicBezTo>
                    <a:pt x="1060" y="2048"/>
                    <a:pt x="1054" y="2054"/>
                    <a:pt x="1051" y="2054"/>
                  </a:cubicBezTo>
                  <a:cubicBezTo>
                    <a:pt x="1048" y="2054"/>
                    <a:pt x="1048" y="2048"/>
                    <a:pt x="1060" y="2036"/>
                  </a:cubicBezTo>
                  <a:close/>
                  <a:moveTo>
                    <a:pt x="905" y="0"/>
                  </a:moveTo>
                  <a:cubicBezTo>
                    <a:pt x="583" y="0"/>
                    <a:pt x="310" y="274"/>
                    <a:pt x="310" y="596"/>
                  </a:cubicBezTo>
                  <a:lnTo>
                    <a:pt x="310" y="893"/>
                  </a:lnTo>
                  <a:cubicBezTo>
                    <a:pt x="310" y="1143"/>
                    <a:pt x="429" y="1358"/>
                    <a:pt x="607" y="1489"/>
                  </a:cubicBezTo>
                  <a:lnTo>
                    <a:pt x="607" y="1703"/>
                  </a:lnTo>
                  <a:lnTo>
                    <a:pt x="607" y="1715"/>
                  </a:lnTo>
                  <a:lnTo>
                    <a:pt x="250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24" y="3870"/>
                    <a:pt x="107" y="3965"/>
                  </a:cubicBezTo>
                  <a:lnTo>
                    <a:pt x="250" y="4179"/>
                  </a:lnTo>
                  <a:cubicBezTo>
                    <a:pt x="286" y="4227"/>
                    <a:pt x="310" y="4298"/>
                    <a:pt x="310" y="4358"/>
                  </a:cubicBezTo>
                  <a:lnTo>
                    <a:pt x="310" y="4679"/>
                  </a:lnTo>
                  <a:cubicBezTo>
                    <a:pt x="310" y="4751"/>
                    <a:pt x="369" y="4822"/>
                    <a:pt x="464" y="4822"/>
                  </a:cubicBezTo>
                  <a:cubicBezTo>
                    <a:pt x="548" y="4822"/>
                    <a:pt x="607" y="4763"/>
                    <a:pt x="607" y="4679"/>
                  </a:cubicBezTo>
                  <a:lnTo>
                    <a:pt x="607" y="4358"/>
                  </a:lnTo>
                  <a:cubicBezTo>
                    <a:pt x="607" y="4239"/>
                    <a:pt x="583" y="4120"/>
                    <a:pt x="500" y="4036"/>
                  </a:cubicBezTo>
                  <a:lnTo>
                    <a:pt x="357" y="3810"/>
                  </a:lnTo>
                  <a:cubicBezTo>
                    <a:pt x="322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22" y="2179"/>
                    <a:pt x="381" y="2143"/>
                  </a:cubicBezTo>
                  <a:lnTo>
                    <a:pt x="631" y="2024"/>
                  </a:lnTo>
                  <a:lnTo>
                    <a:pt x="857" y="2251"/>
                  </a:lnTo>
                  <a:cubicBezTo>
                    <a:pt x="917" y="2310"/>
                    <a:pt x="1000" y="2334"/>
                    <a:pt x="1072" y="2334"/>
                  </a:cubicBezTo>
                  <a:cubicBezTo>
                    <a:pt x="1143" y="2334"/>
                    <a:pt x="1215" y="2310"/>
                    <a:pt x="1274" y="2251"/>
                  </a:cubicBezTo>
                  <a:lnTo>
                    <a:pt x="1500" y="2024"/>
                  </a:lnTo>
                  <a:lnTo>
                    <a:pt x="1750" y="2143"/>
                  </a:lnTo>
                  <a:cubicBezTo>
                    <a:pt x="1810" y="2179"/>
                    <a:pt x="1846" y="2239"/>
                    <a:pt x="1846" y="2298"/>
                  </a:cubicBezTo>
                  <a:lnTo>
                    <a:pt x="1846" y="3632"/>
                  </a:lnTo>
                  <a:cubicBezTo>
                    <a:pt x="1846" y="3691"/>
                    <a:pt x="1834" y="3751"/>
                    <a:pt x="1786" y="3810"/>
                  </a:cubicBezTo>
                  <a:lnTo>
                    <a:pt x="1631" y="4036"/>
                  </a:lnTo>
                  <a:cubicBezTo>
                    <a:pt x="1572" y="4144"/>
                    <a:pt x="1524" y="4239"/>
                    <a:pt x="1524" y="4358"/>
                  </a:cubicBezTo>
                  <a:lnTo>
                    <a:pt x="1524" y="4679"/>
                  </a:lnTo>
                  <a:cubicBezTo>
                    <a:pt x="1524" y="4751"/>
                    <a:pt x="1596" y="4822"/>
                    <a:pt x="1679" y="4822"/>
                  </a:cubicBezTo>
                  <a:cubicBezTo>
                    <a:pt x="1750" y="4822"/>
                    <a:pt x="1822" y="4763"/>
                    <a:pt x="1822" y="4679"/>
                  </a:cubicBezTo>
                  <a:lnTo>
                    <a:pt x="1822" y="4358"/>
                  </a:lnTo>
                  <a:cubicBezTo>
                    <a:pt x="1822" y="4298"/>
                    <a:pt x="1846" y="4239"/>
                    <a:pt x="1893" y="4179"/>
                  </a:cubicBezTo>
                  <a:lnTo>
                    <a:pt x="2036" y="3965"/>
                  </a:lnTo>
                  <a:cubicBezTo>
                    <a:pt x="2096" y="3858"/>
                    <a:pt x="2143" y="3751"/>
                    <a:pt x="2143" y="3632"/>
                  </a:cubicBezTo>
                  <a:lnTo>
                    <a:pt x="2143" y="2298"/>
                  </a:lnTo>
                  <a:cubicBezTo>
                    <a:pt x="2096" y="2120"/>
                    <a:pt x="2012" y="1965"/>
                    <a:pt x="1857" y="1893"/>
                  </a:cubicBezTo>
                  <a:lnTo>
                    <a:pt x="1500" y="1715"/>
                  </a:lnTo>
                  <a:lnTo>
                    <a:pt x="1500" y="1703"/>
                  </a:lnTo>
                  <a:lnTo>
                    <a:pt x="1500" y="1489"/>
                  </a:lnTo>
                  <a:cubicBezTo>
                    <a:pt x="1679" y="1358"/>
                    <a:pt x="1798" y="1131"/>
                    <a:pt x="1798" y="893"/>
                  </a:cubicBezTo>
                  <a:lnTo>
                    <a:pt x="1798" y="596"/>
                  </a:lnTo>
                  <a:cubicBezTo>
                    <a:pt x="1798" y="274"/>
                    <a:pt x="1536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9" name="Google Shape;11199;p60"/>
            <p:cNvSpPr/>
            <p:nvPr/>
          </p:nvSpPr>
          <p:spPr>
            <a:xfrm>
              <a:off x="6880289" y="3542403"/>
              <a:ext cx="68620" cy="153504"/>
            </a:xfrm>
            <a:custGeom>
              <a:avLst/>
              <a:gdLst/>
              <a:ahLst/>
              <a:cxnLst/>
              <a:rect l="l" t="t" r="r" b="b"/>
              <a:pathLst>
                <a:path w="2156" h="4823" extrusionOk="0">
                  <a:moveTo>
                    <a:pt x="1214" y="286"/>
                  </a:moveTo>
                  <a:cubicBezTo>
                    <a:pt x="1393" y="286"/>
                    <a:pt x="1524" y="417"/>
                    <a:pt x="1524" y="596"/>
                  </a:cubicBezTo>
                  <a:lnTo>
                    <a:pt x="1524" y="893"/>
                  </a:lnTo>
                  <a:cubicBezTo>
                    <a:pt x="1524" y="1143"/>
                    <a:pt x="1322" y="1358"/>
                    <a:pt x="1060" y="1358"/>
                  </a:cubicBezTo>
                  <a:cubicBezTo>
                    <a:pt x="810" y="1358"/>
                    <a:pt x="607" y="1143"/>
                    <a:pt x="607" y="893"/>
                  </a:cubicBezTo>
                  <a:lnTo>
                    <a:pt x="607" y="596"/>
                  </a:lnTo>
                  <a:cubicBezTo>
                    <a:pt x="607" y="417"/>
                    <a:pt x="738" y="286"/>
                    <a:pt x="917" y="286"/>
                  </a:cubicBezTo>
                  <a:close/>
                  <a:moveTo>
                    <a:pt x="1226" y="1643"/>
                  </a:moveTo>
                  <a:lnTo>
                    <a:pt x="1226" y="1715"/>
                  </a:lnTo>
                  <a:cubicBezTo>
                    <a:pt x="1226" y="1774"/>
                    <a:pt x="1238" y="1822"/>
                    <a:pt x="1274" y="1858"/>
                  </a:cubicBezTo>
                  <a:lnTo>
                    <a:pt x="1060" y="2036"/>
                  </a:lnTo>
                  <a:lnTo>
                    <a:pt x="857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917" y="0"/>
                  </a:moveTo>
                  <a:cubicBezTo>
                    <a:pt x="583" y="0"/>
                    <a:pt x="322" y="274"/>
                    <a:pt x="322" y="596"/>
                  </a:cubicBezTo>
                  <a:lnTo>
                    <a:pt x="322" y="893"/>
                  </a:lnTo>
                  <a:cubicBezTo>
                    <a:pt x="322" y="1143"/>
                    <a:pt x="441" y="1358"/>
                    <a:pt x="619" y="1489"/>
                  </a:cubicBezTo>
                  <a:lnTo>
                    <a:pt x="619" y="1703"/>
                  </a:lnTo>
                  <a:lnTo>
                    <a:pt x="619" y="1715"/>
                  </a:lnTo>
                  <a:lnTo>
                    <a:pt x="262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36" y="3870"/>
                    <a:pt x="107" y="3965"/>
                  </a:cubicBezTo>
                  <a:lnTo>
                    <a:pt x="262" y="4179"/>
                  </a:lnTo>
                  <a:cubicBezTo>
                    <a:pt x="286" y="4227"/>
                    <a:pt x="322" y="4298"/>
                    <a:pt x="322" y="4358"/>
                  </a:cubicBezTo>
                  <a:lnTo>
                    <a:pt x="322" y="4679"/>
                  </a:lnTo>
                  <a:cubicBezTo>
                    <a:pt x="322" y="4751"/>
                    <a:pt x="381" y="4822"/>
                    <a:pt x="464" y="4822"/>
                  </a:cubicBezTo>
                  <a:cubicBezTo>
                    <a:pt x="548" y="4822"/>
                    <a:pt x="619" y="4763"/>
                    <a:pt x="619" y="4679"/>
                  </a:cubicBezTo>
                  <a:lnTo>
                    <a:pt x="619" y="4358"/>
                  </a:lnTo>
                  <a:cubicBezTo>
                    <a:pt x="619" y="4239"/>
                    <a:pt x="583" y="4120"/>
                    <a:pt x="512" y="4036"/>
                  </a:cubicBezTo>
                  <a:lnTo>
                    <a:pt x="369" y="3810"/>
                  </a:lnTo>
                  <a:cubicBezTo>
                    <a:pt x="333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33" y="2179"/>
                    <a:pt x="393" y="2143"/>
                  </a:cubicBezTo>
                  <a:lnTo>
                    <a:pt x="643" y="2024"/>
                  </a:lnTo>
                  <a:lnTo>
                    <a:pt x="869" y="2251"/>
                  </a:lnTo>
                  <a:cubicBezTo>
                    <a:pt x="929" y="2310"/>
                    <a:pt x="1000" y="2334"/>
                    <a:pt x="1072" y="2334"/>
                  </a:cubicBezTo>
                  <a:cubicBezTo>
                    <a:pt x="1155" y="2334"/>
                    <a:pt x="1226" y="2310"/>
                    <a:pt x="1286" y="2251"/>
                  </a:cubicBezTo>
                  <a:lnTo>
                    <a:pt x="1512" y="2024"/>
                  </a:lnTo>
                  <a:lnTo>
                    <a:pt x="1762" y="2143"/>
                  </a:lnTo>
                  <a:cubicBezTo>
                    <a:pt x="1822" y="2179"/>
                    <a:pt x="1857" y="2239"/>
                    <a:pt x="1857" y="2298"/>
                  </a:cubicBezTo>
                  <a:lnTo>
                    <a:pt x="1857" y="3632"/>
                  </a:lnTo>
                  <a:cubicBezTo>
                    <a:pt x="1857" y="3691"/>
                    <a:pt x="1834" y="3751"/>
                    <a:pt x="1786" y="3810"/>
                  </a:cubicBezTo>
                  <a:lnTo>
                    <a:pt x="1643" y="4036"/>
                  </a:lnTo>
                  <a:cubicBezTo>
                    <a:pt x="1584" y="4144"/>
                    <a:pt x="1536" y="4239"/>
                    <a:pt x="1536" y="4358"/>
                  </a:cubicBezTo>
                  <a:lnTo>
                    <a:pt x="1536" y="4679"/>
                  </a:lnTo>
                  <a:cubicBezTo>
                    <a:pt x="1536" y="4751"/>
                    <a:pt x="1595" y="4822"/>
                    <a:pt x="1691" y="4822"/>
                  </a:cubicBezTo>
                  <a:cubicBezTo>
                    <a:pt x="1762" y="4822"/>
                    <a:pt x="1834" y="4763"/>
                    <a:pt x="1834" y="4679"/>
                  </a:cubicBezTo>
                  <a:lnTo>
                    <a:pt x="1834" y="4358"/>
                  </a:lnTo>
                  <a:cubicBezTo>
                    <a:pt x="1834" y="4298"/>
                    <a:pt x="1846" y="4239"/>
                    <a:pt x="1893" y="4179"/>
                  </a:cubicBezTo>
                  <a:lnTo>
                    <a:pt x="2048" y="3965"/>
                  </a:lnTo>
                  <a:cubicBezTo>
                    <a:pt x="2107" y="3858"/>
                    <a:pt x="2155" y="3751"/>
                    <a:pt x="2155" y="3632"/>
                  </a:cubicBezTo>
                  <a:lnTo>
                    <a:pt x="2155" y="2298"/>
                  </a:lnTo>
                  <a:cubicBezTo>
                    <a:pt x="2107" y="2120"/>
                    <a:pt x="2012" y="1965"/>
                    <a:pt x="1869" y="1893"/>
                  </a:cubicBezTo>
                  <a:lnTo>
                    <a:pt x="1512" y="1715"/>
                  </a:lnTo>
                  <a:lnTo>
                    <a:pt x="1512" y="1703"/>
                  </a:lnTo>
                  <a:lnTo>
                    <a:pt x="1512" y="1489"/>
                  </a:lnTo>
                  <a:cubicBezTo>
                    <a:pt x="1691" y="1358"/>
                    <a:pt x="1810" y="1131"/>
                    <a:pt x="1810" y="893"/>
                  </a:cubicBezTo>
                  <a:lnTo>
                    <a:pt x="1810" y="596"/>
                  </a:lnTo>
                  <a:cubicBezTo>
                    <a:pt x="1810" y="274"/>
                    <a:pt x="1536" y="0"/>
                    <a:pt x="1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0" name="Google Shape;11200;p60"/>
            <p:cNvSpPr/>
            <p:nvPr/>
          </p:nvSpPr>
          <p:spPr>
            <a:xfrm>
              <a:off x="6707084" y="3387403"/>
              <a:ext cx="261145" cy="183072"/>
            </a:xfrm>
            <a:custGeom>
              <a:avLst/>
              <a:gdLst/>
              <a:ahLst/>
              <a:cxnLst/>
              <a:rect l="l" t="t" r="r" b="b"/>
              <a:pathLst>
                <a:path w="8205" h="5752" extrusionOk="0">
                  <a:moveTo>
                    <a:pt x="2727" y="536"/>
                  </a:moveTo>
                  <a:cubicBezTo>
                    <a:pt x="2501" y="715"/>
                    <a:pt x="2311" y="953"/>
                    <a:pt x="2132" y="1227"/>
                  </a:cubicBezTo>
                  <a:cubicBezTo>
                    <a:pt x="2013" y="1417"/>
                    <a:pt x="1906" y="1608"/>
                    <a:pt x="1799" y="1822"/>
                  </a:cubicBezTo>
                  <a:lnTo>
                    <a:pt x="1013" y="1822"/>
                  </a:lnTo>
                  <a:cubicBezTo>
                    <a:pt x="1465" y="1239"/>
                    <a:pt x="2037" y="798"/>
                    <a:pt x="2727" y="536"/>
                  </a:cubicBezTo>
                  <a:close/>
                  <a:moveTo>
                    <a:pt x="3930" y="286"/>
                  </a:moveTo>
                  <a:lnTo>
                    <a:pt x="3930" y="1822"/>
                  </a:lnTo>
                  <a:lnTo>
                    <a:pt x="2120" y="1822"/>
                  </a:lnTo>
                  <a:cubicBezTo>
                    <a:pt x="2537" y="941"/>
                    <a:pt x="3192" y="358"/>
                    <a:pt x="3930" y="286"/>
                  </a:cubicBezTo>
                  <a:close/>
                  <a:moveTo>
                    <a:pt x="4216" y="286"/>
                  </a:moveTo>
                  <a:cubicBezTo>
                    <a:pt x="4954" y="346"/>
                    <a:pt x="5609" y="941"/>
                    <a:pt x="6025" y="1822"/>
                  </a:cubicBezTo>
                  <a:lnTo>
                    <a:pt x="4216" y="1822"/>
                  </a:lnTo>
                  <a:lnTo>
                    <a:pt x="4216" y="286"/>
                  </a:lnTo>
                  <a:close/>
                  <a:moveTo>
                    <a:pt x="5418" y="536"/>
                  </a:moveTo>
                  <a:cubicBezTo>
                    <a:pt x="6109" y="798"/>
                    <a:pt x="6704" y="1239"/>
                    <a:pt x="7133" y="1822"/>
                  </a:cubicBezTo>
                  <a:lnTo>
                    <a:pt x="6347" y="1822"/>
                  </a:lnTo>
                  <a:cubicBezTo>
                    <a:pt x="6252" y="1608"/>
                    <a:pt x="6133" y="1406"/>
                    <a:pt x="6014" y="1227"/>
                  </a:cubicBezTo>
                  <a:cubicBezTo>
                    <a:pt x="5835" y="953"/>
                    <a:pt x="5644" y="715"/>
                    <a:pt x="5418" y="536"/>
                  </a:cubicBezTo>
                  <a:close/>
                  <a:moveTo>
                    <a:pt x="1680" y="2108"/>
                  </a:moveTo>
                  <a:cubicBezTo>
                    <a:pt x="1489" y="2668"/>
                    <a:pt x="1370" y="3299"/>
                    <a:pt x="1358" y="3953"/>
                  </a:cubicBezTo>
                  <a:lnTo>
                    <a:pt x="275" y="3953"/>
                  </a:lnTo>
                  <a:cubicBezTo>
                    <a:pt x="299" y="3275"/>
                    <a:pt x="489" y="2656"/>
                    <a:pt x="822" y="2108"/>
                  </a:cubicBezTo>
                  <a:close/>
                  <a:moveTo>
                    <a:pt x="3930" y="2108"/>
                  </a:moveTo>
                  <a:lnTo>
                    <a:pt x="3930" y="3953"/>
                  </a:lnTo>
                  <a:lnTo>
                    <a:pt x="1644" y="3953"/>
                  </a:lnTo>
                  <a:cubicBezTo>
                    <a:pt x="1656" y="3275"/>
                    <a:pt x="1787" y="2656"/>
                    <a:pt x="2001" y="2108"/>
                  </a:cubicBezTo>
                  <a:close/>
                  <a:moveTo>
                    <a:pt x="6145" y="2108"/>
                  </a:moveTo>
                  <a:cubicBezTo>
                    <a:pt x="6359" y="2644"/>
                    <a:pt x="6490" y="3263"/>
                    <a:pt x="6502" y="3953"/>
                  </a:cubicBezTo>
                  <a:lnTo>
                    <a:pt x="4216" y="3953"/>
                  </a:lnTo>
                  <a:lnTo>
                    <a:pt x="4216" y="2108"/>
                  </a:lnTo>
                  <a:close/>
                  <a:moveTo>
                    <a:pt x="7311" y="2108"/>
                  </a:moveTo>
                  <a:cubicBezTo>
                    <a:pt x="7633" y="2644"/>
                    <a:pt x="7847" y="3263"/>
                    <a:pt x="7859" y="3953"/>
                  </a:cubicBezTo>
                  <a:lnTo>
                    <a:pt x="6787" y="3953"/>
                  </a:lnTo>
                  <a:cubicBezTo>
                    <a:pt x="6776" y="3299"/>
                    <a:pt x="6656" y="2668"/>
                    <a:pt x="6442" y="2108"/>
                  </a:cubicBezTo>
                  <a:close/>
                  <a:moveTo>
                    <a:pt x="4085" y="1"/>
                  </a:moveTo>
                  <a:cubicBezTo>
                    <a:pt x="2989" y="1"/>
                    <a:pt x="1965" y="429"/>
                    <a:pt x="1192" y="1191"/>
                  </a:cubicBezTo>
                  <a:cubicBezTo>
                    <a:pt x="418" y="1953"/>
                    <a:pt x="1" y="3001"/>
                    <a:pt x="1" y="4084"/>
                  </a:cubicBezTo>
                  <a:cubicBezTo>
                    <a:pt x="1" y="4632"/>
                    <a:pt x="108" y="5156"/>
                    <a:pt x="310" y="5656"/>
                  </a:cubicBezTo>
                  <a:cubicBezTo>
                    <a:pt x="337" y="5719"/>
                    <a:pt x="392" y="5748"/>
                    <a:pt x="443" y="5748"/>
                  </a:cubicBezTo>
                  <a:cubicBezTo>
                    <a:pt x="459" y="5748"/>
                    <a:pt x="475" y="5745"/>
                    <a:pt x="489" y="5739"/>
                  </a:cubicBezTo>
                  <a:cubicBezTo>
                    <a:pt x="560" y="5704"/>
                    <a:pt x="596" y="5620"/>
                    <a:pt x="560" y="5549"/>
                  </a:cubicBezTo>
                  <a:cubicBezTo>
                    <a:pt x="382" y="5144"/>
                    <a:pt x="299" y="4692"/>
                    <a:pt x="287" y="4227"/>
                  </a:cubicBezTo>
                  <a:lnTo>
                    <a:pt x="1370" y="4227"/>
                  </a:lnTo>
                  <a:lnTo>
                    <a:pt x="1370" y="4394"/>
                  </a:lnTo>
                  <a:cubicBezTo>
                    <a:pt x="1370" y="4465"/>
                    <a:pt x="1442" y="4525"/>
                    <a:pt x="1513" y="4525"/>
                  </a:cubicBezTo>
                  <a:cubicBezTo>
                    <a:pt x="1596" y="4525"/>
                    <a:pt x="1656" y="4454"/>
                    <a:pt x="1656" y="4382"/>
                  </a:cubicBezTo>
                  <a:lnTo>
                    <a:pt x="1656" y="4227"/>
                  </a:lnTo>
                  <a:lnTo>
                    <a:pt x="3942" y="4227"/>
                  </a:lnTo>
                  <a:lnTo>
                    <a:pt x="3942" y="4394"/>
                  </a:lnTo>
                  <a:cubicBezTo>
                    <a:pt x="3942" y="4465"/>
                    <a:pt x="4001" y="4549"/>
                    <a:pt x="4097" y="4549"/>
                  </a:cubicBezTo>
                  <a:cubicBezTo>
                    <a:pt x="4168" y="4549"/>
                    <a:pt x="4240" y="4489"/>
                    <a:pt x="4240" y="4394"/>
                  </a:cubicBezTo>
                  <a:lnTo>
                    <a:pt x="4240" y="4227"/>
                  </a:lnTo>
                  <a:lnTo>
                    <a:pt x="6537" y="4227"/>
                  </a:lnTo>
                  <a:lnTo>
                    <a:pt x="6537" y="4382"/>
                  </a:lnTo>
                  <a:cubicBezTo>
                    <a:pt x="6537" y="4454"/>
                    <a:pt x="6597" y="4525"/>
                    <a:pt x="6668" y="4525"/>
                  </a:cubicBezTo>
                  <a:cubicBezTo>
                    <a:pt x="6740" y="4525"/>
                    <a:pt x="6799" y="4465"/>
                    <a:pt x="6823" y="4394"/>
                  </a:cubicBezTo>
                  <a:lnTo>
                    <a:pt x="6823" y="4227"/>
                  </a:lnTo>
                  <a:lnTo>
                    <a:pt x="7907" y="4227"/>
                  </a:lnTo>
                  <a:cubicBezTo>
                    <a:pt x="7895" y="4692"/>
                    <a:pt x="7788" y="5120"/>
                    <a:pt x="7621" y="5549"/>
                  </a:cubicBezTo>
                  <a:cubicBezTo>
                    <a:pt x="7597" y="5632"/>
                    <a:pt x="7621" y="5704"/>
                    <a:pt x="7692" y="5739"/>
                  </a:cubicBezTo>
                  <a:cubicBezTo>
                    <a:pt x="7704" y="5751"/>
                    <a:pt x="7728" y="5751"/>
                    <a:pt x="7752" y="5751"/>
                  </a:cubicBezTo>
                  <a:cubicBezTo>
                    <a:pt x="7811" y="5751"/>
                    <a:pt x="7859" y="5716"/>
                    <a:pt x="7895" y="5656"/>
                  </a:cubicBezTo>
                  <a:cubicBezTo>
                    <a:pt x="8097" y="5168"/>
                    <a:pt x="8204" y="4632"/>
                    <a:pt x="8204" y="4084"/>
                  </a:cubicBezTo>
                  <a:cubicBezTo>
                    <a:pt x="8157" y="3001"/>
                    <a:pt x="7740" y="1965"/>
                    <a:pt x="6966" y="1191"/>
                  </a:cubicBezTo>
                  <a:cubicBezTo>
                    <a:pt x="6192" y="417"/>
                    <a:pt x="5168" y="1"/>
                    <a:pt x="4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01" name="Google Shape;11201;p60"/>
          <p:cNvGrpSpPr/>
          <p:nvPr/>
        </p:nvGrpSpPr>
        <p:grpSpPr>
          <a:xfrm>
            <a:off x="848978" y="4297637"/>
            <a:ext cx="377824" cy="324418"/>
            <a:chOff x="848978" y="4297637"/>
            <a:chExt cx="377824" cy="324418"/>
          </a:xfrm>
        </p:grpSpPr>
        <p:sp>
          <p:nvSpPr>
            <p:cNvPr id="11202" name="Google Shape;11202;p60"/>
            <p:cNvSpPr/>
            <p:nvPr/>
          </p:nvSpPr>
          <p:spPr>
            <a:xfrm>
              <a:off x="848978" y="4297637"/>
              <a:ext cx="377824" cy="324418"/>
            </a:xfrm>
            <a:custGeom>
              <a:avLst/>
              <a:gdLst/>
              <a:ahLst/>
              <a:cxnLst/>
              <a:rect l="l" t="t" r="r" b="b"/>
              <a:pathLst>
                <a:path w="11871" h="10193" extrusionOk="0">
                  <a:moveTo>
                    <a:pt x="6787" y="358"/>
                  </a:moveTo>
                  <a:cubicBezTo>
                    <a:pt x="6965" y="358"/>
                    <a:pt x="7132" y="465"/>
                    <a:pt x="7168" y="655"/>
                  </a:cubicBezTo>
                  <a:lnTo>
                    <a:pt x="7382" y="1679"/>
                  </a:lnTo>
                  <a:lnTo>
                    <a:pt x="4465" y="1679"/>
                  </a:lnTo>
                  <a:lnTo>
                    <a:pt x="4703" y="655"/>
                  </a:lnTo>
                  <a:cubicBezTo>
                    <a:pt x="4751" y="465"/>
                    <a:pt x="4906" y="358"/>
                    <a:pt x="5084" y="358"/>
                  </a:cubicBezTo>
                  <a:close/>
                  <a:moveTo>
                    <a:pt x="2786" y="2024"/>
                  </a:moveTo>
                  <a:lnTo>
                    <a:pt x="2786" y="5751"/>
                  </a:lnTo>
                  <a:lnTo>
                    <a:pt x="2381" y="5751"/>
                  </a:lnTo>
                  <a:lnTo>
                    <a:pt x="2381" y="2024"/>
                  </a:lnTo>
                  <a:close/>
                  <a:moveTo>
                    <a:pt x="9478" y="2024"/>
                  </a:moveTo>
                  <a:lnTo>
                    <a:pt x="9478" y="5751"/>
                  </a:lnTo>
                  <a:lnTo>
                    <a:pt x="9085" y="5751"/>
                  </a:lnTo>
                  <a:lnTo>
                    <a:pt x="9085" y="2024"/>
                  </a:lnTo>
                  <a:close/>
                  <a:moveTo>
                    <a:pt x="2048" y="2024"/>
                  </a:moveTo>
                  <a:lnTo>
                    <a:pt x="2048" y="5751"/>
                  </a:lnTo>
                  <a:lnTo>
                    <a:pt x="2024" y="5751"/>
                  </a:lnTo>
                  <a:cubicBezTo>
                    <a:pt x="1834" y="5751"/>
                    <a:pt x="1667" y="5918"/>
                    <a:pt x="1667" y="6108"/>
                  </a:cubicBezTo>
                  <a:lnTo>
                    <a:pt x="1667" y="6501"/>
                  </a:lnTo>
                  <a:lnTo>
                    <a:pt x="1655" y="6501"/>
                  </a:lnTo>
                  <a:cubicBezTo>
                    <a:pt x="929" y="6501"/>
                    <a:pt x="345" y="5906"/>
                    <a:pt x="345" y="5191"/>
                  </a:cubicBezTo>
                  <a:lnTo>
                    <a:pt x="345" y="2584"/>
                  </a:lnTo>
                  <a:cubicBezTo>
                    <a:pt x="345" y="2274"/>
                    <a:pt x="595" y="2024"/>
                    <a:pt x="917" y="2024"/>
                  </a:cubicBezTo>
                  <a:close/>
                  <a:moveTo>
                    <a:pt x="8727" y="2024"/>
                  </a:moveTo>
                  <a:lnTo>
                    <a:pt x="8727" y="5751"/>
                  </a:lnTo>
                  <a:lnTo>
                    <a:pt x="8716" y="5751"/>
                  </a:lnTo>
                  <a:cubicBezTo>
                    <a:pt x="8513" y="5751"/>
                    <a:pt x="8358" y="5918"/>
                    <a:pt x="8358" y="6108"/>
                  </a:cubicBezTo>
                  <a:lnTo>
                    <a:pt x="8358" y="6501"/>
                  </a:lnTo>
                  <a:lnTo>
                    <a:pt x="3501" y="6501"/>
                  </a:lnTo>
                  <a:lnTo>
                    <a:pt x="3501" y="6108"/>
                  </a:lnTo>
                  <a:cubicBezTo>
                    <a:pt x="3501" y="5918"/>
                    <a:pt x="3334" y="5751"/>
                    <a:pt x="3143" y="5751"/>
                  </a:cubicBezTo>
                  <a:lnTo>
                    <a:pt x="3132" y="5751"/>
                  </a:lnTo>
                  <a:lnTo>
                    <a:pt x="3132" y="2024"/>
                  </a:lnTo>
                  <a:close/>
                  <a:moveTo>
                    <a:pt x="10942" y="2024"/>
                  </a:moveTo>
                  <a:cubicBezTo>
                    <a:pt x="11252" y="2024"/>
                    <a:pt x="11514" y="2274"/>
                    <a:pt x="11514" y="2584"/>
                  </a:cubicBezTo>
                  <a:lnTo>
                    <a:pt x="11514" y="5191"/>
                  </a:lnTo>
                  <a:cubicBezTo>
                    <a:pt x="11514" y="5906"/>
                    <a:pt x="10930" y="6501"/>
                    <a:pt x="10204" y="6501"/>
                  </a:cubicBezTo>
                  <a:lnTo>
                    <a:pt x="10180" y="6108"/>
                  </a:lnTo>
                  <a:cubicBezTo>
                    <a:pt x="10180" y="5918"/>
                    <a:pt x="10025" y="5751"/>
                    <a:pt x="9823" y="5751"/>
                  </a:cubicBezTo>
                  <a:lnTo>
                    <a:pt x="9811" y="5751"/>
                  </a:lnTo>
                  <a:lnTo>
                    <a:pt x="9811" y="2024"/>
                  </a:lnTo>
                  <a:close/>
                  <a:moveTo>
                    <a:pt x="3143" y="6096"/>
                  </a:moveTo>
                  <a:cubicBezTo>
                    <a:pt x="3143" y="6096"/>
                    <a:pt x="3155" y="6096"/>
                    <a:pt x="3155" y="6108"/>
                  </a:cubicBezTo>
                  <a:lnTo>
                    <a:pt x="3155" y="7037"/>
                  </a:lnTo>
                  <a:cubicBezTo>
                    <a:pt x="3155" y="7037"/>
                    <a:pt x="3155" y="7049"/>
                    <a:pt x="3143" y="7049"/>
                  </a:cubicBezTo>
                  <a:lnTo>
                    <a:pt x="2024" y="7049"/>
                  </a:lnTo>
                  <a:cubicBezTo>
                    <a:pt x="2024" y="7049"/>
                    <a:pt x="2012" y="7049"/>
                    <a:pt x="2012" y="7037"/>
                  </a:cubicBezTo>
                  <a:lnTo>
                    <a:pt x="2012" y="6108"/>
                  </a:lnTo>
                  <a:cubicBezTo>
                    <a:pt x="2012" y="6108"/>
                    <a:pt x="2012" y="6096"/>
                    <a:pt x="2024" y="6096"/>
                  </a:cubicBezTo>
                  <a:lnTo>
                    <a:pt x="2417" y="6096"/>
                  </a:lnTo>
                  <a:lnTo>
                    <a:pt x="2417" y="6489"/>
                  </a:lnTo>
                  <a:cubicBezTo>
                    <a:pt x="2417" y="6585"/>
                    <a:pt x="2489" y="6668"/>
                    <a:pt x="2584" y="6668"/>
                  </a:cubicBezTo>
                  <a:cubicBezTo>
                    <a:pt x="2667" y="6668"/>
                    <a:pt x="2762" y="6585"/>
                    <a:pt x="2762" y="6489"/>
                  </a:cubicBezTo>
                  <a:lnTo>
                    <a:pt x="2762" y="6096"/>
                  </a:lnTo>
                  <a:close/>
                  <a:moveTo>
                    <a:pt x="9847" y="6108"/>
                  </a:moveTo>
                  <a:cubicBezTo>
                    <a:pt x="9847" y="6108"/>
                    <a:pt x="9859" y="6108"/>
                    <a:pt x="9859" y="6120"/>
                  </a:cubicBezTo>
                  <a:lnTo>
                    <a:pt x="9847" y="7049"/>
                  </a:lnTo>
                  <a:lnTo>
                    <a:pt x="8716" y="7061"/>
                  </a:lnTo>
                  <a:cubicBezTo>
                    <a:pt x="8716" y="7061"/>
                    <a:pt x="8692" y="7061"/>
                    <a:pt x="8692" y="7049"/>
                  </a:cubicBezTo>
                  <a:lnTo>
                    <a:pt x="8692" y="6120"/>
                  </a:lnTo>
                  <a:cubicBezTo>
                    <a:pt x="8692" y="6120"/>
                    <a:pt x="8692" y="6108"/>
                    <a:pt x="8716" y="6108"/>
                  </a:cubicBezTo>
                  <a:lnTo>
                    <a:pt x="9097" y="6108"/>
                  </a:lnTo>
                  <a:lnTo>
                    <a:pt x="9097" y="6501"/>
                  </a:lnTo>
                  <a:cubicBezTo>
                    <a:pt x="9097" y="6585"/>
                    <a:pt x="9168" y="6680"/>
                    <a:pt x="9275" y="6680"/>
                  </a:cubicBezTo>
                  <a:cubicBezTo>
                    <a:pt x="9370" y="6680"/>
                    <a:pt x="9454" y="6608"/>
                    <a:pt x="9454" y="6501"/>
                  </a:cubicBezTo>
                  <a:lnTo>
                    <a:pt x="9454" y="6108"/>
                  </a:lnTo>
                  <a:close/>
                  <a:moveTo>
                    <a:pt x="703" y="6561"/>
                  </a:moveTo>
                  <a:cubicBezTo>
                    <a:pt x="976" y="6739"/>
                    <a:pt x="1298" y="6858"/>
                    <a:pt x="1643" y="6858"/>
                  </a:cubicBezTo>
                  <a:lnTo>
                    <a:pt x="1655" y="6858"/>
                  </a:lnTo>
                  <a:lnTo>
                    <a:pt x="1655" y="7049"/>
                  </a:lnTo>
                  <a:cubicBezTo>
                    <a:pt x="1655" y="7239"/>
                    <a:pt x="1822" y="7406"/>
                    <a:pt x="2012" y="7406"/>
                  </a:cubicBezTo>
                  <a:lnTo>
                    <a:pt x="2774" y="7406"/>
                  </a:lnTo>
                  <a:lnTo>
                    <a:pt x="2774" y="9847"/>
                  </a:lnTo>
                  <a:lnTo>
                    <a:pt x="2381" y="9847"/>
                  </a:lnTo>
                  <a:lnTo>
                    <a:pt x="2381" y="7978"/>
                  </a:lnTo>
                  <a:cubicBezTo>
                    <a:pt x="2381" y="7882"/>
                    <a:pt x="2310" y="7799"/>
                    <a:pt x="2203" y="7799"/>
                  </a:cubicBezTo>
                  <a:cubicBezTo>
                    <a:pt x="2108" y="7799"/>
                    <a:pt x="2024" y="7870"/>
                    <a:pt x="2024" y="7978"/>
                  </a:cubicBezTo>
                  <a:lnTo>
                    <a:pt x="2024" y="9847"/>
                  </a:lnTo>
                  <a:lnTo>
                    <a:pt x="1096" y="9847"/>
                  </a:lnTo>
                  <a:cubicBezTo>
                    <a:pt x="881" y="9847"/>
                    <a:pt x="703" y="9668"/>
                    <a:pt x="703" y="9466"/>
                  </a:cubicBezTo>
                  <a:lnTo>
                    <a:pt x="703" y="6561"/>
                  </a:lnTo>
                  <a:close/>
                  <a:moveTo>
                    <a:pt x="8335" y="6858"/>
                  </a:moveTo>
                  <a:lnTo>
                    <a:pt x="8335" y="7049"/>
                  </a:lnTo>
                  <a:cubicBezTo>
                    <a:pt x="8335" y="7239"/>
                    <a:pt x="8501" y="7406"/>
                    <a:pt x="8692" y="7406"/>
                  </a:cubicBezTo>
                  <a:lnTo>
                    <a:pt x="9454" y="7406"/>
                  </a:lnTo>
                  <a:lnTo>
                    <a:pt x="9466" y="9847"/>
                  </a:lnTo>
                  <a:lnTo>
                    <a:pt x="9073" y="9847"/>
                  </a:lnTo>
                  <a:lnTo>
                    <a:pt x="9073" y="7978"/>
                  </a:lnTo>
                  <a:cubicBezTo>
                    <a:pt x="9073" y="7882"/>
                    <a:pt x="8989" y="7799"/>
                    <a:pt x="8894" y="7799"/>
                  </a:cubicBezTo>
                  <a:cubicBezTo>
                    <a:pt x="8787" y="7799"/>
                    <a:pt x="8716" y="7870"/>
                    <a:pt x="8716" y="7978"/>
                  </a:cubicBezTo>
                  <a:lnTo>
                    <a:pt x="8716" y="9847"/>
                  </a:lnTo>
                  <a:lnTo>
                    <a:pt x="3120" y="9847"/>
                  </a:lnTo>
                  <a:lnTo>
                    <a:pt x="3120" y="7406"/>
                  </a:lnTo>
                  <a:lnTo>
                    <a:pt x="3132" y="7406"/>
                  </a:lnTo>
                  <a:cubicBezTo>
                    <a:pt x="3322" y="7406"/>
                    <a:pt x="3489" y="7239"/>
                    <a:pt x="3489" y="7049"/>
                  </a:cubicBezTo>
                  <a:lnTo>
                    <a:pt x="3489" y="6858"/>
                  </a:lnTo>
                  <a:close/>
                  <a:moveTo>
                    <a:pt x="11133" y="6561"/>
                  </a:moveTo>
                  <a:lnTo>
                    <a:pt x="11133" y="9466"/>
                  </a:lnTo>
                  <a:cubicBezTo>
                    <a:pt x="11133" y="9668"/>
                    <a:pt x="10954" y="9847"/>
                    <a:pt x="10752" y="9847"/>
                  </a:cubicBezTo>
                  <a:lnTo>
                    <a:pt x="9811" y="9847"/>
                  </a:lnTo>
                  <a:lnTo>
                    <a:pt x="9811" y="7406"/>
                  </a:lnTo>
                  <a:lnTo>
                    <a:pt x="9823" y="7406"/>
                  </a:lnTo>
                  <a:cubicBezTo>
                    <a:pt x="10025" y="7406"/>
                    <a:pt x="10180" y="7239"/>
                    <a:pt x="10180" y="7049"/>
                  </a:cubicBezTo>
                  <a:lnTo>
                    <a:pt x="10180" y="6858"/>
                  </a:lnTo>
                  <a:lnTo>
                    <a:pt x="10204" y="6858"/>
                  </a:lnTo>
                  <a:cubicBezTo>
                    <a:pt x="10537" y="6858"/>
                    <a:pt x="10871" y="6751"/>
                    <a:pt x="11133" y="6561"/>
                  </a:cubicBezTo>
                  <a:close/>
                  <a:moveTo>
                    <a:pt x="5084" y="0"/>
                  </a:moveTo>
                  <a:cubicBezTo>
                    <a:pt x="4739" y="0"/>
                    <a:pt x="4441" y="238"/>
                    <a:pt x="4358" y="560"/>
                  </a:cubicBezTo>
                  <a:lnTo>
                    <a:pt x="4120" y="1667"/>
                  </a:lnTo>
                  <a:lnTo>
                    <a:pt x="929" y="1667"/>
                  </a:lnTo>
                  <a:cubicBezTo>
                    <a:pt x="417" y="1667"/>
                    <a:pt x="0" y="2084"/>
                    <a:pt x="0" y="2584"/>
                  </a:cubicBezTo>
                  <a:lnTo>
                    <a:pt x="0" y="5191"/>
                  </a:lnTo>
                  <a:cubicBezTo>
                    <a:pt x="0" y="5596"/>
                    <a:pt x="143" y="5953"/>
                    <a:pt x="381" y="6227"/>
                  </a:cubicBezTo>
                  <a:lnTo>
                    <a:pt x="381" y="9466"/>
                  </a:lnTo>
                  <a:cubicBezTo>
                    <a:pt x="381" y="9859"/>
                    <a:pt x="703" y="10192"/>
                    <a:pt x="1107" y="10192"/>
                  </a:cubicBezTo>
                  <a:lnTo>
                    <a:pt x="10763" y="10192"/>
                  </a:lnTo>
                  <a:cubicBezTo>
                    <a:pt x="11168" y="10192"/>
                    <a:pt x="11490" y="9859"/>
                    <a:pt x="11490" y="9466"/>
                  </a:cubicBezTo>
                  <a:lnTo>
                    <a:pt x="11490" y="6227"/>
                  </a:lnTo>
                  <a:cubicBezTo>
                    <a:pt x="11728" y="5953"/>
                    <a:pt x="11871" y="5572"/>
                    <a:pt x="11871" y="5191"/>
                  </a:cubicBezTo>
                  <a:lnTo>
                    <a:pt x="11871" y="2584"/>
                  </a:lnTo>
                  <a:cubicBezTo>
                    <a:pt x="11871" y="2084"/>
                    <a:pt x="11454" y="1667"/>
                    <a:pt x="10942" y="1667"/>
                  </a:cubicBezTo>
                  <a:lnTo>
                    <a:pt x="7739" y="1667"/>
                  </a:lnTo>
                  <a:lnTo>
                    <a:pt x="7501" y="560"/>
                  </a:lnTo>
                  <a:cubicBezTo>
                    <a:pt x="7430" y="215"/>
                    <a:pt x="7132" y="0"/>
                    <a:pt x="6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3" name="Google Shape;11203;p60"/>
            <p:cNvSpPr/>
            <p:nvPr/>
          </p:nvSpPr>
          <p:spPr>
            <a:xfrm>
              <a:off x="1002450" y="4457157"/>
              <a:ext cx="70116" cy="34533"/>
            </a:xfrm>
            <a:custGeom>
              <a:avLst/>
              <a:gdLst/>
              <a:ahLst/>
              <a:cxnLst/>
              <a:rect l="l" t="t" r="r" b="b"/>
              <a:pathLst>
                <a:path w="2203" h="1085" extrusionOk="0">
                  <a:moveTo>
                    <a:pt x="357" y="1"/>
                  </a:moveTo>
                  <a:cubicBezTo>
                    <a:pt x="167" y="1"/>
                    <a:pt x="0" y="168"/>
                    <a:pt x="0" y="358"/>
                  </a:cubicBezTo>
                  <a:lnTo>
                    <a:pt x="0" y="727"/>
                  </a:lnTo>
                  <a:cubicBezTo>
                    <a:pt x="0" y="918"/>
                    <a:pt x="167" y="1084"/>
                    <a:pt x="357" y="1084"/>
                  </a:cubicBezTo>
                  <a:lnTo>
                    <a:pt x="1846" y="1084"/>
                  </a:lnTo>
                  <a:cubicBezTo>
                    <a:pt x="2048" y="1084"/>
                    <a:pt x="2203" y="918"/>
                    <a:pt x="2203" y="727"/>
                  </a:cubicBezTo>
                  <a:lnTo>
                    <a:pt x="2203" y="358"/>
                  </a:lnTo>
                  <a:cubicBezTo>
                    <a:pt x="2203" y="168"/>
                    <a:pt x="2048" y="1"/>
                    <a:pt x="1846" y="1"/>
                  </a:cubicBezTo>
                  <a:lnTo>
                    <a:pt x="1667" y="1"/>
                  </a:lnTo>
                  <a:cubicBezTo>
                    <a:pt x="1584" y="1"/>
                    <a:pt x="1488" y="72"/>
                    <a:pt x="1488" y="179"/>
                  </a:cubicBezTo>
                  <a:cubicBezTo>
                    <a:pt x="1488" y="287"/>
                    <a:pt x="1572" y="358"/>
                    <a:pt x="1667" y="358"/>
                  </a:cubicBezTo>
                  <a:lnTo>
                    <a:pt x="1846" y="358"/>
                  </a:lnTo>
                  <a:cubicBezTo>
                    <a:pt x="1846" y="358"/>
                    <a:pt x="1869" y="358"/>
                    <a:pt x="1869" y="370"/>
                  </a:cubicBezTo>
                  <a:lnTo>
                    <a:pt x="1869" y="739"/>
                  </a:lnTo>
                  <a:cubicBezTo>
                    <a:pt x="1869" y="739"/>
                    <a:pt x="1869" y="763"/>
                    <a:pt x="1846" y="763"/>
                  </a:cubicBezTo>
                  <a:lnTo>
                    <a:pt x="357" y="763"/>
                  </a:lnTo>
                  <a:cubicBezTo>
                    <a:pt x="357" y="763"/>
                    <a:pt x="345" y="763"/>
                    <a:pt x="345" y="739"/>
                  </a:cubicBezTo>
                  <a:lnTo>
                    <a:pt x="345" y="370"/>
                  </a:lnTo>
                  <a:cubicBezTo>
                    <a:pt x="345" y="370"/>
                    <a:pt x="345" y="358"/>
                    <a:pt x="357" y="358"/>
                  </a:cubicBezTo>
                  <a:lnTo>
                    <a:pt x="917" y="358"/>
                  </a:lnTo>
                  <a:cubicBezTo>
                    <a:pt x="1000" y="358"/>
                    <a:pt x="1084" y="287"/>
                    <a:pt x="1084" y="179"/>
                  </a:cubicBezTo>
                  <a:cubicBezTo>
                    <a:pt x="1084" y="72"/>
                    <a:pt x="1012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04" name="Google Shape;11204;p60"/>
          <p:cNvGrpSpPr/>
          <p:nvPr/>
        </p:nvGrpSpPr>
        <p:grpSpPr>
          <a:xfrm>
            <a:off x="1754279" y="4286593"/>
            <a:ext cx="351439" cy="345965"/>
            <a:chOff x="1754279" y="4286593"/>
            <a:chExt cx="351439" cy="345965"/>
          </a:xfrm>
        </p:grpSpPr>
        <p:sp>
          <p:nvSpPr>
            <p:cNvPr id="11205" name="Google Shape;11205;p60"/>
            <p:cNvSpPr/>
            <p:nvPr/>
          </p:nvSpPr>
          <p:spPr>
            <a:xfrm>
              <a:off x="1799379" y="4550857"/>
              <a:ext cx="28422" cy="27117"/>
            </a:xfrm>
            <a:custGeom>
              <a:avLst/>
              <a:gdLst/>
              <a:ahLst/>
              <a:cxnLst/>
              <a:rect l="l" t="t" r="r" b="b"/>
              <a:pathLst>
                <a:path w="893" h="852" extrusionOk="0">
                  <a:moveTo>
                    <a:pt x="708" y="1"/>
                  </a:moveTo>
                  <a:cubicBezTo>
                    <a:pt x="667" y="1"/>
                    <a:pt x="625" y="16"/>
                    <a:pt x="595" y="45"/>
                  </a:cubicBezTo>
                  <a:lnTo>
                    <a:pt x="60" y="581"/>
                  </a:lnTo>
                  <a:cubicBezTo>
                    <a:pt x="0" y="641"/>
                    <a:pt x="0" y="748"/>
                    <a:pt x="60" y="807"/>
                  </a:cubicBezTo>
                  <a:cubicBezTo>
                    <a:pt x="89" y="837"/>
                    <a:pt x="131" y="852"/>
                    <a:pt x="173" y="852"/>
                  </a:cubicBezTo>
                  <a:cubicBezTo>
                    <a:pt x="214" y="852"/>
                    <a:pt x="256" y="837"/>
                    <a:pt x="286" y="807"/>
                  </a:cubicBezTo>
                  <a:lnTo>
                    <a:pt x="822" y="272"/>
                  </a:lnTo>
                  <a:cubicBezTo>
                    <a:pt x="893" y="212"/>
                    <a:pt x="893" y="117"/>
                    <a:pt x="822" y="45"/>
                  </a:cubicBezTo>
                  <a:cubicBezTo>
                    <a:pt x="792" y="16"/>
                    <a:pt x="750" y="1"/>
                    <a:pt x="7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6" name="Google Shape;11206;p60"/>
            <p:cNvSpPr/>
            <p:nvPr/>
          </p:nvSpPr>
          <p:spPr>
            <a:xfrm>
              <a:off x="1833084" y="4584594"/>
              <a:ext cx="27690" cy="27117"/>
            </a:xfrm>
            <a:custGeom>
              <a:avLst/>
              <a:gdLst/>
              <a:ahLst/>
              <a:cxnLst/>
              <a:rect l="l" t="t" r="r" b="b"/>
              <a:pathLst>
                <a:path w="870" h="852" extrusionOk="0">
                  <a:moveTo>
                    <a:pt x="699" y="0"/>
                  </a:moveTo>
                  <a:cubicBezTo>
                    <a:pt x="659" y="0"/>
                    <a:pt x="620" y="15"/>
                    <a:pt x="596" y="45"/>
                  </a:cubicBezTo>
                  <a:lnTo>
                    <a:pt x="48" y="581"/>
                  </a:lnTo>
                  <a:cubicBezTo>
                    <a:pt x="1" y="640"/>
                    <a:pt x="1" y="747"/>
                    <a:pt x="48" y="807"/>
                  </a:cubicBezTo>
                  <a:cubicBezTo>
                    <a:pt x="78" y="837"/>
                    <a:pt x="120" y="852"/>
                    <a:pt x="161" y="852"/>
                  </a:cubicBezTo>
                  <a:cubicBezTo>
                    <a:pt x="203" y="852"/>
                    <a:pt x="245" y="837"/>
                    <a:pt x="275" y="807"/>
                  </a:cubicBezTo>
                  <a:lnTo>
                    <a:pt x="810" y="271"/>
                  </a:lnTo>
                  <a:cubicBezTo>
                    <a:pt x="870" y="212"/>
                    <a:pt x="870" y="105"/>
                    <a:pt x="810" y="45"/>
                  </a:cubicBezTo>
                  <a:cubicBezTo>
                    <a:pt x="781" y="15"/>
                    <a:pt x="739" y="0"/>
                    <a:pt x="6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7" name="Google Shape;11207;p60"/>
            <p:cNvSpPr/>
            <p:nvPr/>
          </p:nvSpPr>
          <p:spPr>
            <a:xfrm>
              <a:off x="1816407" y="4567917"/>
              <a:ext cx="28072" cy="27117"/>
            </a:xfrm>
            <a:custGeom>
              <a:avLst/>
              <a:gdLst/>
              <a:ahLst/>
              <a:cxnLst/>
              <a:rect l="l" t="t" r="r" b="b"/>
              <a:pathLst>
                <a:path w="882" h="852" extrusionOk="0">
                  <a:moveTo>
                    <a:pt x="709" y="0"/>
                  </a:moveTo>
                  <a:cubicBezTo>
                    <a:pt x="668" y="0"/>
                    <a:pt x="626" y="15"/>
                    <a:pt x="596" y="45"/>
                  </a:cubicBezTo>
                  <a:lnTo>
                    <a:pt x="60" y="581"/>
                  </a:lnTo>
                  <a:cubicBezTo>
                    <a:pt x="1" y="640"/>
                    <a:pt x="1" y="748"/>
                    <a:pt x="60" y="807"/>
                  </a:cubicBezTo>
                  <a:cubicBezTo>
                    <a:pt x="90" y="837"/>
                    <a:pt x="132" y="852"/>
                    <a:pt x="172" y="852"/>
                  </a:cubicBezTo>
                  <a:cubicBezTo>
                    <a:pt x="212" y="852"/>
                    <a:pt x="251" y="837"/>
                    <a:pt x="275" y="807"/>
                  </a:cubicBezTo>
                  <a:lnTo>
                    <a:pt x="822" y="271"/>
                  </a:lnTo>
                  <a:cubicBezTo>
                    <a:pt x="882" y="212"/>
                    <a:pt x="882" y="105"/>
                    <a:pt x="822" y="45"/>
                  </a:cubicBezTo>
                  <a:cubicBezTo>
                    <a:pt x="793" y="15"/>
                    <a:pt x="751" y="0"/>
                    <a:pt x="7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8" name="Google Shape;11208;p60"/>
            <p:cNvSpPr/>
            <p:nvPr/>
          </p:nvSpPr>
          <p:spPr>
            <a:xfrm>
              <a:off x="1754279" y="4286593"/>
              <a:ext cx="351439" cy="345965"/>
            </a:xfrm>
            <a:custGeom>
              <a:avLst/>
              <a:gdLst/>
              <a:ahLst/>
              <a:cxnLst/>
              <a:rect l="l" t="t" r="r" b="b"/>
              <a:pathLst>
                <a:path w="11042" h="10870" extrusionOk="0">
                  <a:moveTo>
                    <a:pt x="10656" y="324"/>
                  </a:moveTo>
                  <a:lnTo>
                    <a:pt x="10216" y="1871"/>
                  </a:lnTo>
                  <a:lnTo>
                    <a:pt x="9108" y="776"/>
                  </a:lnTo>
                  <a:lnTo>
                    <a:pt x="10656" y="324"/>
                  </a:lnTo>
                  <a:close/>
                  <a:moveTo>
                    <a:pt x="4632" y="3586"/>
                  </a:moveTo>
                  <a:lnTo>
                    <a:pt x="2679" y="5538"/>
                  </a:lnTo>
                  <a:lnTo>
                    <a:pt x="465" y="5360"/>
                  </a:lnTo>
                  <a:cubicBezTo>
                    <a:pt x="429" y="5360"/>
                    <a:pt x="417" y="5324"/>
                    <a:pt x="441" y="5300"/>
                  </a:cubicBezTo>
                  <a:cubicBezTo>
                    <a:pt x="1393" y="4348"/>
                    <a:pt x="2667" y="3764"/>
                    <a:pt x="4001" y="3645"/>
                  </a:cubicBezTo>
                  <a:lnTo>
                    <a:pt x="4632" y="3586"/>
                  </a:lnTo>
                  <a:close/>
                  <a:moveTo>
                    <a:pt x="2727" y="5955"/>
                  </a:moveTo>
                  <a:lnTo>
                    <a:pt x="3584" y="6812"/>
                  </a:lnTo>
                  <a:lnTo>
                    <a:pt x="3263" y="7146"/>
                  </a:lnTo>
                  <a:lnTo>
                    <a:pt x="2393" y="6277"/>
                  </a:lnTo>
                  <a:lnTo>
                    <a:pt x="2727" y="5955"/>
                  </a:lnTo>
                  <a:close/>
                  <a:moveTo>
                    <a:pt x="2572" y="6920"/>
                  </a:moveTo>
                  <a:lnTo>
                    <a:pt x="3024" y="7360"/>
                  </a:lnTo>
                  <a:lnTo>
                    <a:pt x="2655" y="7753"/>
                  </a:lnTo>
                  <a:lnTo>
                    <a:pt x="2596" y="7813"/>
                  </a:lnTo>
                  <a:lnTo>
                    <a:pt x="2191" y="7408"/>
                  </a:lnTo>
                  <a:cubicBezTo>
                    <a:pt x="2155" y="7384"/>
                    <a:pt x="2155" y="7336"/>
                    <a:pt x="2191" y="7313"/>
                  </a:cubicBezTo>
                  <a:lnTo>
                    <a:pt x="2572" y="6920"/>
                  </a:lnTo>
                  <a:close/>
                  <a:moveTo>
                    <a:pt x="8775" y="895"/>
                  </a:moveTo>
                  <a:lnTo>
                    <a:pt x="10121" y="2229"/>
                  </a:lnTo>
                  <a:lnTo>
                    <a:pt x="9704" y="3598"/>
                  </a:lnTo>
                  <a:lnTo>
                    <a:pt x="5275" y="8039"/>
                  </a:lnTo>
                  <a:lnTo>
                    <a:pt x="4406" y="7170"/>
                  </a:lnTo>
                  <a:lnTo>
                    <a:pt x="6430" y="5146"/>
                  </a:lnTo>
                  <a:cubicBezTo>
                    <a:pt x="6584" y="5003"/>
                    <a:pt x="6608" y="4741"/>
                    <a:pt x="6418" y="4574"/>
                  </a:cubicBezTo>
                  <a:cubicBezTo>
                    <a:pt x="6334" y="4491"/>
                    <a:pt x="6230" y="4449"/>
                    <a:pt x="6127" y="4449"/>
                  </a:cubicBezTo>
                  <a:cubicBezTo>
                    <a:pt x="6025" y="4449"/>
                    <a:pt x="5924" y="4491"/>
                    <a:pt x="5846" y="4574"/>
                  </a:cubicBezTo>
                  <a:lnTo>
                    <a:pt x="3822" y="6598"/>
                  </a:lnTo>
                  <a:lnTo>
                    <a:pt x="2965" y="5729"/>
                  </a:lnTo>
                  <a:lnTo>
                    <a:pt x="7394" y="1300"/>
                  </a:lnTo>
                  <a:lnTo>
                    <a:pt x="8775" y="895"/>
                  </a:lnTo>
                  <a:close/>
                  <a:moveTo>
                    <a:pt x="6126" y="4785"/>
                  </a:moveTo>
                  <a:cubicBezTo>
                    <a:pt x="6153" y="4785"/>
                    <a:pt x="6180" y="4794"/>
                    <a:pt x="6191" y="4812"/>
                  </a:cubicBezTo>
                  <a:cubicBezTo>
                    <a:pt x="6227" y="4836"/>
                    <a:pt x="6239" y="4907"/>
                    <a:pt x="6191" y="4943"/>
                  </a:cubicBezTo>
                  <a:lnTo>
                    <a:pt x="4060" y="7074"/>
                  </a:lnTo>
                  <a:cubicBezTo>
                    <a:pt x="3941" y="7170"/>
                    <a:pt x="3108" y="8003"/>
                    <a:pt x="3024" y="8110"/>
                  </a:cubicBezTo>
                  <a:cubicBezTo>
                    <a:pt x="3005" y="8129"/>
                    <a:pt x="2976" y="8142"/>
                    <a:pt x="2949" y="8142"/>
                  </a:cubicBezTo>
                  <a:cubicBezTo>
                    <a:pt x="2926" y="8142"/>
                    <a:pt x="2904" y="8132"/>
                    <a:pt x="2893" y="8110"/>
                  </a:cubicBezTo>
                  <a:cubicBezTo>
                    <a:pt x="2858" y="8086"/>
                    <a:pt x="2858" y="8003"/>
                    <a:pt x="2893" y="7979"/>
                  </a:cubicBezTo>
                  <a:lnTo>
                    <a:pt x="6060" y="4812"/>
                  </a:lnTo>
                  <a:cubicBezTo>
                    <a:pt x="6072" y="4794"/>
                    <a:pt x="6099" y="4785"/>
                    <a:pt x="6126" y="4785"/>
                  </a:cubicBezTo>
                  <a:close/>
                  <a:moveTo>
                    <a:pt x="4179" y="7396"/>
                  </a:moveTo>
                  <a:lnTo>
                    <a:pt x="5048" y="8253"/>
                  </a:lnTo>
                  <a:lnTo>
                    <a:pt x="4739" y="8586"/>
                  </a:lnTo>
                  <a:lnTo>
                    <a:pt x="4715" y="8586"/>
                  </a:lnTo>
                  <a:lnTo>
                    <a:pt x="3858" y="7729"/>
                  </a:lnTo>
                  <a:lnTo>
                    <a:pt x="4179" y="7396"/>
                  </a:lnTo>
                  <a:close/>
                  <a:moveTo>
                    <a:pt x="3608" y="7944"/>
                  </a:moveTo>
                  <a:lnTo>
                    <a:pt x="4048" y="8396"/>
                  </a:lnTo>
                  <a:lnTo>
                    <a:pt x="3679" y="8801"/>
                  </a:lnTo>
                  <a:cubicBezTo>
                    <a:pt x="3667" y="8813"/>
                    <a:pt x="3632" y="8813"/>
                    <a:pt x="3620" y="8813"/>
                  </a:cubicBezTo>
                  <a:cubicBezTo>
                    <a:pt x="3608" y="8813"/>
                    <a:pt x="3584" y="8813"/>
                    <a:pt x="3560" y="8801"/>
                  </a:cubicBezTo>
                  <a:lnTo>
                    <a:pt x="3155" y="8396"/>
                  </a:lnTo>
                  <a:cubicBezTo>
                    <a:pt x="3191" y="8384"/>
                    <a:pt x="3203" y="8360"/>
                    <a:pt x="3215" y="8336"/>
                  </a:cubicBezTo>
                  <a:lnTo>
                    <a:pt x="3608" y="7944"/>
                  </a:lnTo>
                  <a:close/>
                  <a:moveTo>
                    <a:pt x="10687" y="1"/>
                  </a:moveTo>
                  <a:cubicBezTo>
                    <a:pt x="10658" y="1"/>
                    <a:pt x="10627" y="5"/>
                    <a:pt x="10597" y="14"/>
                  </a:cubicBezTo>
                  <a:cubicBezTo>
                    <a:pt x="9894" y="228"/>
                    <a:pt x="7918" y="800"/>
                    <a:pt x="7263" y="1002"/>
                  </a:cubicBezTo>
                  <a:cubicBezTo>
                    <a:pt x="7239" y="1014"/>
                    <a:pt x="7215" y="1014"/>
                    <a:pt x="7192" y="1038"/>
                  </a:cubicBezTo>
                  <a:lnTo>
                    <a:pt x="4953" y="3276"/>
                  </a:lnTo>
                  <a:lnTo>
                    <a:pt x="3965" y="3360"/>
                  </a:lnTo>
                  <a:cubicBezTo>
                    <a:pt x="2548" y="3479"/>
                    <a:pt x="1203" y="4110"/>
                    <a:pt x="215" y="5110"/>
                  </a:cubicBezTo>
                  <a:cubicBezTo>
                    <a:pt x="0" y="5312"/>
                    <a:pt x="131" y="5681"/>
                    <a:pt x="429" y="5705"/>
                  </a:cubicBezTo>
                  <a:lnTo>
                    <a:pt x="2370" y="5860"/>
                  </a:lnTo>
                  <a:lnTo>
                    <a:pt x="2179" y="6062"/>
                  </a:lnTo>
                  <a:cubicBezTo>
                    <a:pt x="2060" y="6181"/>
                    <a:pt x="2060" y="6384"/>
                    <a:pt x="2179" y="6503"/>
                  </a:cubicBezTo>
                  <a:lnTo>
                    <a:pt x="2370" y="6693"/>
                  </a:lnTo>
                  <a:lnTo>
                    <a:pt x="1977" y="7086"/>
                  </a:lnTo>
                  <a:cubicBezTo>
                    <a:pt x="1834" y="7229"/>
                    <a:pt x="1834" y="7491"/>
                    <a:pt x="1977" y="7634"/>
                  </a:cubicBezTo>
                  <a:lnTo>
                    <a:pt x="3370" y="9015"/>
                  </a:lnTo>
                  <a:cubicBezTo>
                    <a:pt x="3441" y="9092"/>
                    <a:pt x="3539" y="9131"/>
                    <a:pt x="3639" y="9131"/>
                  </a:cubicBezTo>
                  <a:cubicBezTo>
                    <a:pt x="3739" y="9131"/>
                    <a:pt x="3840" y="9092"/>
                    <a:pt x="3917" y="9015"/>
                  </a:cubicBezTo>
                  <a:lnTo>
                    <a:pt x="4298" y="8634"/>
                  </a:lnTo>
                  <a:lnTo>
                    <a:pt x="4477" y="8813"/>
                  </a:lnTo>
                  <a:cubicBezTo>
                    <a:pt x="4548" y="8878"/>
                    <a:pt x="4635" y="8911"/>
                    <a:pt x="4720" y="8911"/>
                  </a:cubicBezTo>
                  <a:cubicBezTo>
                    <a:pt x="4804" y="8911"/>
                    <a:pt x="4888" y="8878"/>
                    <a:pt x="4953" y="8813"/>
                  </a:cubicBezTo>
                  <a:lnTo>
                    <a:pt x="5156" y="8622"/>
                  </a:lnTo>
                  <a:lnTo>
                    <a:pt x="5310" y="10551"/>
                  </a:lnTo>
                  <a:cubicBezTo>
                    <a:pt x="5334" y="10682"/>
                    <a:pt x="5418" y="10801"/>
                    <a:pt x="5537" y="10849"/>
                  </a:cubicBezTo>
                  <a:cubicBezTo>
                    <a:pt x="5577" y="10863"/>
                    <a:pt x="5618" y="10870"/>
                    <a:pt x="5658" y="10870"/>
                  </a:cubicBezTo>
                  <a:cubicBezTo>
                    <a:pt x="5750" y="10870"/>
                    <a:pt x="5840" y="10835"/>
                    <a:pt x="5906" y="10777"/>
                  </a:cubicBezTo>
                  <a:cubicBezTo>
                    <a:pt x="6537" y="10146"/>
                    <a:pt x="7001" y="9420"/>
                    <a:pt x="7299" y="8598"/>
                  </a:cubicBezTo>
                  <a:cubicBezTo>
                    <a:pt x="7323" y="8515"/>
                    <a:pt x="7275" y="8420"/>
                    <a:pt x="7203" y="8396"/>
                  </a:cubicBezTo>
                  <a:cubicBezTo>
                    <a:pt x="7184" y="8388"/>
                    <a:pt x="7164" y="8384"/>
                    <a:pt x="7144" y="8384"/>
                  </a:cubicBezTo>
                  <a:cubicBezTo>
                    <a:pt x="7079" y="8384"/>
                    <a:pt x="7019" y="8425"/>
                    <a:pt x="7001" y="8479"/>
                  </a:cubicBezTo>
                  <a:cubicBezTo>
                    <a:pt x="6715" y="9253"/>
                    <a:pt x="6263" y="9956"/>
                    <a:pt x="5691" y="10539"/>
                  </a:cubicBezTo>
                  <a:cubicBezTo>
                    <a:pt x="5682" y="10544"/>
                    <a:pt x="5670" y="10547"/>
                    <a:pt x="5659" y="10547"/>
                  </a:cubicBezTo>
                  <a:cubicBezTo>
                    <a:pt x="5644" y="10547"/>
                    <a:pt x="5632" y="10541"/>
                    <a:pt x="5632" y="10527"/>
                  </a:cubicBezTo>
                  <a:lnTo>
                    <a:pt x="5429" y="8325"/>
                  </a:lnTo>
                  <a:lnTo>
                    <a:pt x="7382" y="6372"/>
                  </a:lnTo>
                  <a:lnTo>
                    <a:pt x="7382" y="6372"/>
                  </a:lnTo>
                  <a:cubicBezTo>
                    <a:pt x="7323" y="7158"/>
                    <a:pt x="7299" y="7372"/>
                    <a:pt x="7203" y="7765"/>
                  </a:cubicBezTo>
                  <a:cubicBezTo>
                    <a:pt x="7192" y="7860"/>
                    <a:pt x="7239" y="7944"/>
                    <a:pt x="7323" y="7967"/>
                  </a:cubicBezTo>
                  <a:cubicBezTo>
                    <a:pt x="7332" y="7969"/>
                    <a:pt x="7342" y="7969"/>
                    <a:pt x="7351" y="7969"/>
                  </a:cubicBezTo>
                  <a:cubicBezTo>
                    <a:pt x="7434" y="7969"/>
                    <a:pt x="7502" y="7923"/>
                    <a:pt x="7513" y="7848"/>
                  </a:cubicBezTo>
                  <a:cubicBezTo>
                    <a:pt x="7620" y="7348"/>
                    <a:pt x="7632" y="7134"/>
                    <a:pt x="7727" y="6027"/>
                  </a:cubicBezTo>
                  <a:lnTo>
                    <a:pt x="9954" y="3800"/>
                  </a:lnTo>
                  <a:cubicBezTo>
                    <a:pt x="9978" y="3776"/>
                    <a:pt x="9990" y="3753"/>
                    <a:pt x="10001" y="3717"/>
                  </a:cubicBezTo>
                  <a:lnTo>
                    <a:pt x="10454" y="2205"/>
                  </a:lnTo>
                  <a:lnTo>
                    <a:pt x="10990" y="383"/>
                  </a:lnTo>
                  <a:cubicBezTo>
                    <a:pt x="11042" y="196"/>
                    <a:pt x="10885" y="1"/>
                    <a:pt x="106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9" name="Google Shape;11209;p60"/>
            <p:cNvSpPr/>
            <p:nvPr/>
          </p:nvSpPr>
          <p:spPr>
            <a:xfrm>
              <a:off x="1951705" y="4367117"/>
              <a:ext cx="86062" cy="65437"/>
            </a:xfrm>
            <a:custGeom>
              <a:avLst/>
              <a:gdLst/>
              <a:ahLst/>
              <a:cxnLst/>
              <a:rect l="l" t="t" r="r" b="b"/>
              <a:pathLst>
                <a:path w="2704" h="2056" extrusionOk="0">
                  <a:moveTo>
                    <a:pt x="905" y="1"/>
                  </a:moveTo>
                  <a:cubicBezTo>
                    <a:pt x="881" y="1"/>
                    <a:pt x="857" y="7"/>
                    <a:pt x="834" y="20"/>
                  </a:cubicBezTo>
                  <a:cubicBezTo>
                    <a:pt x="167" y="330"/>
                    <a:pt x="0" y="1211"/>
                    <a:pt x="524" y="1746"/>
                  </a:cubicBezTo>
                  <a:cubicBezTo>
                    <a:pt x="739" y="1949"/>
                    <a:pt x="1000" y="2056"/>
                    <a:pt x="1274" y="2056"/>
                  </a:cubicBezTo>
                  <a:cubicBezTo>
                    <a:pt x="2227" y="2056"/>
                    <a:pt x="2703" y="913"/>
                    <a:pt x="2024" y="234"/>
                  </a:cubicBezTo>
                  <a:cubicBezTo>
                    <a:pt x="1941" y="151"/>
                    <a:pt x="1834" y="80"/>
                    <a:pt x="1715" y="20"/>
                  </a:cubicBezTo>
                  <a:cubicBezTo>
                    <a:pt x="1696" y="10"/>
                    <a:pt x="1674" y="6"/>
                    <a:pt x="1652" y="6"/>
                  </a:cubicBezTo>
                  <a:cubicBezTo>
                    <a:pt x="1592" y="6"/>
                    <a:pt x="1530" y="39"/>
                    <a:pt x="1512" y="91"/>
                  </a:cubicBezTo>
                  <a:cubicBezTo>
                    <a:pt x="1477" y="163"/>
                    <a:pt x="1512" y="270"/>
                    <a:pt x="1584" y="294"/>
                  </a:cubicBezTo>
                  <a:cubicBezTo>
                    <a:pt x="2060" y="508"/>
                    <a:pt x="2167" y="1127"/>
                    <a:pt x="1810" y="1508"/>
                  </a:cubicBezTo>
                  <a:cubicBezTo>
                    <a:pt x="1667" y="1645"/>
                    <a:pt x="1477" y="1714"/>
                    <a:pt x="1285" y="1714"/>
                  </a:cubicBezTo>
                  <a:cubicBezTo>
                    <a:pt x="1093" y="1714"/>
                    <a:pt x="899" y="1645"/>
                    <a:pt x="750" y="1508"/>
                  </a:cubicBezTo>
                  <a:cubicBezTo>
                    <a:pt x="381" y="1127"/>
                    <a:pt x="500" y="520"/>
                    <a:pt x="977" y="294"/>
                  </a:cubicBezTo>
                  <a:cubicBezTo>
                    <a:pt x="1048" y="270"/>
                    <a:pt x="1096" y="163"/>
                    <a:pt x="1048" y="91"/>
                  </a:cubicBezTo>
                  <a:cubicBezTo>
                    <a:pt x="1022" y="40"/>
                    <a:pt x="966" y="1"/>
                    <a:pt x="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10" name="Google Shape;11210;p60"/>
          <p:cNvGrpSpPr/>
          <p:nvPr/>
        </p:nvGrpSpPr>
        <p:grpSpPr>
          <a:xfrm>
            <a:off x="3996113" y="4291176"/>
            <a:ext cx="336512" cy="335048"/>
            <a:chOff x="3996113" y="4291176"/>
            <a:chExt cx="336512" cy="335048"/>
          </a:xfrm>
        </p:grpSpPr>
        <p:sp>
          <p:nvSpPr>
            <p:cNvPr id="11211" name="Google Shape;11211;p60"/>
            <p:cNvSpPr/>
            <p:nvPr/>
          </p:nvSpPr>
          <p:spPr>
            <a:xfrm>
              <a:off x="4082143" y="4323386"/>
              <a:ext cx="111810" cy="219833"/>
            </a:xfrm>
            <a:custGeom>
              <a:avLst/>
              <a:gdLst/>
              <a:ahLst/>
              <a:cxnLst/>
              <a:rect l="l" t="t" r="r" b="b"/>
              <a:pathLst>
                <a:path w="3513" h="6907" extrusionOk="0">
                  <a:moveTo>
                    <a:pt x="1751" y="322"/>
                  </a:moveTo>
                  <a:cubicBezTo>
                    <a:pt x="1846" y="322"/>
                    <a:pt x="1929" y="394"/>
                    <a:pt x="1929" y="501"/>
                  </a:cubicBezTo>
                  <a:lnTo>
                    <a:pt x="1929" y="942"/>
                  </a:lnTo>
                  <a:cubicBezTo>
                    <a:pt x="1929" y="1037"/>
                    <a:pt x="2001" y="1096"/>
                    <a:pt x="2084" y="1096"/>
                  </a:cubicBezTo>
                  <a:cubicBezTo>
                    <a:pt x="2691" y="1108"/>
                    <a:pt x="3179" y="1596"/>
                    <a:pt x="3179" y="2204"/>
                  </a:cubicBezTo>
                  <a:lnTo>
                    <a:pt x="3179" y="2525"/>
                  </a:lnTo>
                  <a:cubicBezTo>
                    <a:pt x="3179" y="2608"/>
                    <a:pt x="3108" y="2704"/>
                    <a:pt x="3001" y="2704"/>
                  </a:cubicBezTo>
                  <a:cubicBezTo>
                    <a:pt x="2917" y="2704"/>
                    <a:pt x="2822" y="2620"/>
                    <a:pt x="2822" y="2525"/>
                  </a:cubicBezTo>
                  <a:lnTo>
                    <a:pt x="2822" y="2204"/>
                  </a:lnTo>
                  <a:cubicBezTo>
                    <a:pt x="2834" y="1787"/>
                    <a:pt x="2501" y="1454"/>
                    <a:pt x="2060" y="1454"/>
                  </a:cubicBezTo>
                  <a:lnTo>
                    <a:pt x="1608" y="1454"/>
                  </a:lnTo>
                  <a:cubicBezTo>
                    <a:pt x="1096" y="1454"/>
                    <a:pt x="679" y="1870"/>
                    <a:pt x="679" y="2370"/>
                  </a:cubicBezTo>
                  <a:cubicBezTo>
                    <a:pt x="679" y="2882"/>
                    <a:pt x="1096" y="3299"/>
                    <a:pt x="1608" y="3299"/>
                  </a:cubicBezTo>
                  <a:lnTo>
                    <a:pt x="1917" y="3299"/>
                  </a:lnTo>
                  <a:cubicBezTo>
                    <a:pt x="2620" y="3299"/>
                    <a:pt x="3191" y="3859"/>
                    <a:pt x="3191" y="4573"/>
                  </a:cubicBezTo>
                  <a:cubicBezTo>
                    <a:pt x="3191" y="5216"/>
                    <a:pt x="2715" y="5764"/>
                    <a:pt x="2084" y="5835"/>
                  </a:cubicBezTo>
                  <a:cubicBezTo>
                    <a:pt x="2001" y="5859"/>
                    <a:pt x="1941" y="5918"/>
                    <a:pt x="1941" y="5990"/>
                  </a:cubicBezTo>
                  <a:lnTo>
                    <a:pt x="1941" y="6454"/>
                  </a:lnTo>
                  <a:cubicBezTo>
                    <a:pt x="1941" y="6538"/>
                    <a:pt x="1870" y="6633"/>
                    <a:pt x="1762" y="6633"/>
                  </a:cubicBezTo>
                  <a:cubicBezTo>
                    <a:pt x="1667" y="6633"/>
                    <a:pt x="1584" y="6549"/>
                    <a:pt x="1584" y="6454"/>
                  </a:cubicBezTo>
                  <a:lnTo>
                    <a:pt x="1584" y="6002"/>
                  </a:lnTo>
                  <a:cubicBezTo>
                    <a:pt x="1584" y="5918"/>
                    <a:pt x="1512" y="5859"/>
                    <a:pt x="1441" y="5859"/>
                  </a:cubicBezTo>
                  <a:cubicBezTo>
                    <a:pt x="834" y="5835"/>
                    <a:pt x="334" y="5347"/>
                    <a:pt x="334" y="4740"/>
                  </a:cubicBezTo>
                  <a:cubicBezTo>
                    <a:pt x="334" y="4644"/>
                    <a:pt x="417" y="4561"/>
                    <a:pt x="512" y="4561"/>
                  </a:cubicBezTo>
                  <a:cubicBezTo>
                    <a:pt x="608" y="4561"/>
                    <a:pt x="691" y="4633"/>
                    <a:pt x="691" y="4740"/>
                  </a:cubicBezTo>
                  <a:cubicBezTo>
                    <a:pt x="691" y="5156"/>
                    <a:pt x="1036" y="5502"/>
                    <a:pt x="1453" y="5502"/>
                  </a:cubicBezTo>
                  <a:lnTo>
                    <a:pt x="1929" y="5502"/>
                  </a:lnTo>
                  <a:cubicBezTo>
                    <a:pt x="2441" y="5502"/>
                    <a:pt x="2858" y="5085"/>
                    <a:pt x="2858" y="4573"/>
                  </a:cubicBezTo>
                  <a:cubicBezTo>
                    <a:pt x="2858" y="4073"/>
                    <a:pt x="2441" y="3656"/>
                    <a:pt x="1929" y="3656"/>
                  </a:cubicBezTo>
                  <a:lnTo>
                    <a:pt x="1608" y="3656"/>
                  </a:lnTo>
                  <a:cubicBezTo>
                    <a:pt x="905" y="3656"/>
                    <a:pt x="322" y="3085"/>
                    <a:pt x="322" y="2370"/>
                  </a:cubicBezTo>
                  <a:cubicBezTo>
                    <a:pt x="322" y="1727"/>
                    <a:pt x="798" y="1180"/>
                    <a:pt x="1441" y="1108"/>
                  </a:cubicBezTo>
                  <a:cubicBezTo>
                    <a:pt x="1512" y="1096"/>
                    <a:pt x="1572" y="1037"/>
                    <a:pt x="1572" y="953"/>
                  </a:cubicBezTo>
                  <a:lnTo>
                    <a:pt x="1572" y="501"/>
                  </a:lnTo>
                  <a:cubicBezTo>
                    <a:pt x="1572" y="406"/>
                    <a:pt x="1643" y="322"/>
                    <a:pt x="1751" y="322"/>
                  </a:cubicBezTo>
                  <a:close/>
                  <a:moveTo>
                    <a:pt x="1762" y="1"/>
                  </a:moveTo>
                  <a:cubicBezTo>
                    <a:pt x="1500" y="1"/>
                    <a:pt x="1274" y="227"/>
                    <a:pt x="1274" y="501"/>
                  </a:cubicBezTo>
                  <a:lnTo>
                    <a:pt x="1274" y="823"/>
                  </a:lnTo>
                  <a:cubicBezTo>
                    <a:pt x="548" y="977"/>
                    <a:pt x="24" y="1608"/>
                    <a:pt x="24" y="2370"/>
                  </a:cubicBezTo>
                  <a:cubicBezTo>
                    <a:pt x="24" y="3251"/>
                    <a:pt x="738" y="3954"/>
                    <a:pt x="1608" y="3954"/>
                  </a:cubicBezTo>
                  <a:lnTo>
                    <a:pt x="1917" y="3954"/>
                  </a:lnTo>
                  <a:cubicBezTo>
                    <a:pt x="2262" y="3954"/>
                    <a:pt x="2524" y="4216"/>
                    <a:pt x="2524" y="4561"/>
                  </a:cubicBezTo>
                  <a:cubicBezTo>
                    <a:pt x="2524" y="4906"/>
                    <a:pt x="2262" y="5168"/>
                    <a:pt x="1917" y="5168"/>
                  </a:cubicBezTo>
                  <a:lnTo>
                    <a:pt x="1441" y="5168"/>
                  </a:lnTo>
                  <a:cubicBezTo>
                    <a:pt x="1191" y="5168"/>
                    <a:pt x="977" y="4966"/>
                    <a:pt x="977" y="4704"/>
                  </a:cubicBezTo>
                  <a:cubicBezTo>
                    <a:pt x="977" y="4442"/>
                    <a:pt x="750" y="4216"/>
                    <a:pt x="488" y="4216"/>
                  </a:cubicBezTo>
                  <a:cubicBezTo>
                    <a:pt x="215" y="4216"/>
                    <a:pt x="0" y="4442"/>
                    <a:pt x="0" y="4704"/>
                  </a:cubicBezTo>
                  <a:cubicBezTo>
                    <a:pt x="0" y="5442"/>
                    <a:pt x="548" y="6037"/>
                    <a:pt x="1250" y="6121"/>
                  </a:cubicBezTo>
                  <a:lnTo>
                    <a:pt x="1250" y="6418"/>
                  </a:lnTo>
                  <a:cubicBezTo>
                    <a:pt x="1250" y="6692"/>
                    <a:pt x="1465" y="6907"/>
                    <a:pt x="1739" y="6907"/>
                  </a:cubicBezTo>
                  <a:cubicBezTo>
                    <a:pt x="2001" y="6907"/>
                    <a:pt x="2227" y="6692"/>
                    <a:pt x="2227" y="6418"/>
                  </a:cubicBezTo>
                  <a:lnTo>
                    <a:pt x="2227" y="6121"/>
                  </a:lnTo>
                  <a:cubicBezTo>
                    <a:pt x="2953" y="5978"/>
                    <a:pt x="3477" y="5335"/>
                    <a:pt x="3477" y="4573"/>
                  </a:cubicBezTo>
                  <a:cubicBezTo>
                    <a:pt x="3477" y="3692"/>
                    <a:pt x="2763" y="3001"/>
                    <a:pt x="1905" y="3001"/>
                  </a:cubicBezTo>
                  <a:lnTo>
                    <a:pt x="1608" y="3001"/>
                  </a:lnTo>
                  <a:cubicBezTo>
                    <a:pt x="1262" y="3001"/>
                    <a:pt x="989" y="2728"/>
                    <a:pt x="989" y="2382"/>
                  </a:cubicBezTo>
                  <a:cubicBezTo>
                    <a:pt x="989" y="2037"/>
                    <a:pt x="1262" y="1775"/>
                    <a:pt x="1608" y="1775"/>
                  </a:cubicBezTo>
                  <a:lnTo>
                    <a:pt x="2084" y="1775"/>
                  </a:lnTo>
                  <a:cubicBezTo>
                    <a:pt x="2334" y="1775"/>
                    <a:pt x="2536" y="1989"/>
                    <a:pt x="2536" y="2239"/>
                  </a:cubicBezTo>
                  <a:lnTo>
                    <a:pt x="2536" y="2549"/>
                  </a:lnTo>
                  <a:cubicBezTo>
                    <a:pt x="2524" y="2799"/>
                    <a:pt x="2751" y="3013"/>
                    <a:pt x="3013" y="3013"/>
                  </a:cubicBezTo>
                  <a:cubicBezTo>
                    <a:pt x="3286" y="3013"/>
                    <a:pt x="3513" y="2787"/>
                    <a:pt x="3513" y="2525"/>
                  </a:cubicBezTo>
                  <a:lnTo>
                    <a:pt x="3513" y="2204"/>
                  </a:lnTo>
                  <a:cubicBezTo>
                    <a:pt x="3513" y="1477"/>
                    <a:pt x="2953" y="882"/>
                    <a:pt x="2262" y="799"/>
                  </a:cubicBezTo>
                  <a:lnTo>
                    <a:pt x="2262" y="501"/>
                  </a:lnTo>
                  <a:cubicBezTo>
                    <a:pt x="2262" y="227"/>
                    <a:pt x="2036" y="1"/>
                    <a:pt x="1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2" name="Google Shape;11212;p60"/>
            <p:cNvSpPr/>
            <p:nvPr/>
          </p:nvSpPr>
          <p:spPr>
            <a:xfrm>
              <a:off x="4226894" y="4523485"/>
              <a:ext cx="52324" cy="51942"/>
            </a:xfrm>
            <a:custGeom>
              <a:avLst/>
              <a:gdLst/>
              <a:ahLst/>
              <a:cxnLst/>
              <a:rect l="l" t="t" r="r" b="b"/>
              <a:pathLst>
                <a:path w="1644" h="1632" extrusionOk="0">
                  <a:moveTo>
                    <a:pt x="822" y="310"/>
                  </a:moveTo>
                  <a:cubicBezTo>
                    <a:pt x="1108" y="310"/>
                    <a:pt x="1322" y="536"/>
                    <a:pt x="1322" y="822"/>
                  </a:cubicBezTo>
                  <a:cubicBezTo>
                    <a:pt x="1322" y="1096"/>
                    <a:pt x="1108" y="1322"/>
                    <a:pt x="822" y="1322"/>
                  </a:cubicBezTo>
                  <a:cubicBezTo>
                    <a:pt x="536" y="1322"/>
                    <a:pt x="310" y="1096"/>
                    <a:pt x="310" y="822"/>
                  </a:cubicBezTo>
                  <a:cubicBezTo>
                    <a:pt x="310" y="536"/>
                    <a:pt x="536" y="310"/>
                    <a:pt x="822" y="310"/>
                  </a:cubicBezTo>
                  <a:close/>
                  <a:moveTo>
                    <a:pt x="822" y="0"/>
                  </a:moveTo>
                  <a:cubicBezTo>
                    <a:pt x="370" y="0"/>
                    <a:pt x="0" y="370"/>
                    <a:pt x="0" y="822"/>
                  </a:cubicBezTo>
                  <a:cubicBezTo>
                    <a:pt x="0" y="1263"/>
                    <a:pt x="370" y="1632"/>
                    <a:pt x="822" y="1632"/>
                  </a:cubicBezTo>
                  <a:cubicBezTo>
                    <a:pt x="1263" y="1632"/>
                    <a:pt x="1644" y="1263"/>
                    <a:pt x="1644" y="822"/>
                  </a:cubicBezTo>
                  <a:cubicBezTo>
                    <a:pt x="1644" y="370"/>
                    <a:pt x="126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3" name="Google Shape;11213;p60"/>
            <p:cNvSpPr/>
            <p:nvPr/>
          </p:nvSpPr>
          <p:spPr>
            <a:xfrm>
              <a:off x="3996113" y="4291176"/>
              <a:ext cx="336512" cy="335048"/>
            </a:xfrm>
            <a:custGeom>
              <a:avLst/>
              <a:gdLst/>
              <a:ahLst/>
              <a:cxnLst/>
              <a:rect l="l" t="t" r="r" b="b"/>
              <a:pathLst>
                <a:path w="10573" h="10527" extrusionOk="0">
                  <a:moveTo>
                    <a:pt x="8216" y="5930"/>
                  </a:moveTo>
                  <a:lnTo>
                    <a:pt x="8335" y="6537"/>
                  </a:lnTo>
                  <a:cubicBezTo>
                    <a:pt x="8359" y="6597"/>
                    <a:pt x="8394" y="6645"/>
                    <a:pt x="8442" y="6657"/>
                  </a:cubicBezTo>
                  <a:cubicBezTo>
                    <a:pt x="8502" y="6668"/>
                    <a:pt x="8549" y="6692"/>
                    <a:pt x="8609" y="6716"/>
                  </a:cubicBezTo>
                  <a:cubicBezTo>
                    <a:pt x="8631" y="6729"/>
                    <a:pt x="8653" y="6734"/>
                    <a:pt x="8674" y="6734"/>
                  </a:cubicBezTo>
                  <a:cubicBezTo>
                    <a:pt x="8710" y="6734"/>
                    <a:pt x="8745" y="6719"/>
                    <a:pt x="8775" y="6704"/>
                  </a:cubicBezTo>
                  <a:lnTo>
                    <a:pt x="9252" y="6311"/>
                  </a:lnTo>
                  <a:lnTo>
                    <a:pt x="9561" y="6585"/>
                  </a:lnTo>
                  <a:lnTo>
                    <a:pt x="9264" y="7121"/>
                  </a:lnTo>
                  <a:cubicBezTo>
                    <a:pt x="9228" y="7157"/>
                    <a:pt x="9228" y="7216"/>
                    <a:pt x="9264" y="7276"/>
                  </a:cubicBezTo>
                  <a:cubicBezTo>
                    <a:pt x="9287" y="7323"/>
                    <a:pt x="9323" y="7371"/>
                    <a:pt x="9347" y="7430"/>
                  </a:cubicBezTo>
                  <a:cubicBezTo>
                    <a:pt x="9383" y="7478"/>
                    <a:pt x="9430" y="7514"/>
                    <a:pt x="9490" y="7514"/>
                  </a:cubicBezTo>
                  <a:lnTo>
                    <a:pt x="10109" y="7538"/>
                  </a:lnTo>
                  <a:lnTo>
                    <a:pt x="10180" y="7942"/>
                  </a:lnTo>
                  <a:lnTo>
                    <a:pt x="9645" y="8157"/>
                  </a:lnTo>
                  <a:cubicBezTo>
                    <a:pt x="9585" y="8181"/>
                    <a:pt x="9561" y="8240"/>
                    <a:pt x="9549" y="8276"/>
                  </a:cubicBezTo>
                  <a:cubicBezTo>
                    <a:pt x="9549" y="8335"/>
                    <a:pt x="9526" y="8383"/>
                    <a:pt x="9514" y="8442"/>
                  </a:cubicBezTo>
                  <a:cubicBezTo>
                    <a:pt x="9502" y="8502"/>
                    <a:pt x="9514" y="8562"/>
                    <a:pt x="9561" y="8597"/>
                  </a:cubicBezTo>
                  <a:lnTo>
                    <a:pt x="10014" y="8990"/>
                  </a:lnTo>
                  <a:lnTo>
                    <a:pt x="9811" y="9347"/>
                  </a:lnTo>
                  <a:lnTo>
                    <a:pt x="9228" y="9157"/>
                  </a:lnTo>
                  <a:cubicBezTo>
                    <a:pt x="9213" y="9154"/>
                    <a:pt x="9198" y="9152"/>
                    <a:pt x="9184" y="9152"/>
                  </a:cubicBezTo>
                  <a:cubicBezTo>
                    <a:pt x="9141" y="9152"/>
                    <a:pt x="9103" y="9166"/>
                    <a:pt x="9085" y="9193"/>
                  </a:cubicBezTo>
                  <a:cubicBezTo>
                    <a:pt x="9037" y="9228"/>
                    <a:pt x="8990" y="9264"/>
                    <a:pt x="8954" y="9288"/>
                  </a:cubicBezTo>
                  <a:cubicBezTo>
                    <a:pt x="8906" y="9324"/>
                    <a:pt x="8871" y="9383"/>
                    <a:pt x="8895" y="9443"/>
                  </a:cubicBezTo>
                  <a:lnTo>
                    <a:pt x="8978" y="10050"/>
                  </a:lnTo>
                  <a:lnTo>
                    <a:pt x="8597" y="10181"/>
                  </a:lnTo>
                  <a:lnTo>
                    <a:pt x="8264" y="9669"/>
                  </a:lnTo>
                  <a:cubicBezTo>
                    <a:pt x="8228" y="9621"/>
                    <a:pt x="8192" y="9585"/>
                    <a:pt x="8133" y="9585"/>
                  </a:cubicBezTo>
                  <a:lnTo>
                    <a:pt x="7954" y="9585"/>
                  </a:lnTo>
                  <a:cubicBezTo>
                    <a:pt x="7894" y="9585"/>
                    <a:pt x="7847" y="9621"/>
                    <a:pt x="7811" y="9669"/>
                  </a:cubicBezTo>
                  <a:lnTo>
                    <a:pt x="7490" y="10181"/>
                  </a:lnTo>
                  <a:lnTo>
                    <a:pt x="7097" y="10050"/>
                  </a:lnTo>
                  <a:lnTo>
                    <a:pt x="7192" y="9443"/>
                  </a:lnTo>
                  <a:cubicBezTo>
                    <a:pt x="7204" y="9383"/>
                    <a:pt x="7180" y="9324"/>
                    <a:pt x="7132" y="9288"/>
                  </a:cubicBezTo>
                  <a:cubicBezTo>
                    <a:pt x="7085" y="9264"/>
                    <a:pt x="7037" y="9216"/>
                    <a:pt x="7001" y="9193"/>
                  </a:cubicBezTo>
                  <a:cubicBezTo>
                    <a:pt x="6970" y="9161"/>
                    <a:pt x="6933" y="9145"/>
                    <a:pt x="6897" y="9145"/>
                  </a:cubicBezTo>
                  <a:cubicBezTo>
                    <a:pt x="6880" y="9145"/>
                    <a:pt x="6863" y="9149"/>
                    <a:pt x="6847" y="9157"/>
                  </a:cubicBezTo>
                  <a:lnTo>
                    <a:pt x="6275" y="9347"/>
                  </a:lnTo>
                  <a:lnTo>
                    <a:pt x="6061" y="8990"/>
                  </a:lnTo>
                  <a:lnTo>
                    <a:pt x="6525" y="8597"/>
                  </a:lnTo>
                  <a:cubicBezTo>
                    <a:pt x="6573" y="8550"/>
                    <a:pt x="6585" y="8502"/>
                    <a:pt x="6573" y="8442"/>
                  </a:cubicBezTo>
                  <a:cubicBezTo>
                    <a:pt x="6549" y="8383"/>
                    <a:pt x="6537" y="8335"/>
                    <a:pt x="6537" y="8276"/>
                  </a:cubicBezTo>
                  <a:cubicBezTo>
                    <a:pt x="6537" y="8216"/>
                    <a:pt x="6489" y="8169"/>
                    <a:pt x="6430" y="8157"/>
                  </a:cubicBezTo>
                  <a:lnTo>
                    <a:pt x="5847" y="7942"/>
                  </a:lnTo>
                  <a:lnTo>
                    <a:pt x="5930" y="7538"/>
                  </a:lnTo>
                  <a:lnTo>
                    <a:pt x="6549" y="7514"/>
                  </a:lnTo>
                  <a:cubicBezTo>
                    <a:pt x="6609" y="7514"/>
                    <a:pt x="6656" y="7490"/>
                    <a:pt x="6680" y="7430"/>
                  </a:cubicBezTo>
                  <a:cubicBezTo>
                    <a:pt x="6716" y="7383"/>
                    <a:pt x="6740" y="7323"/>
                    <a:pt x="6775" y="7276"/>
                  </a:cubicBezTo>
                  <a:cubicBezTo>
                    <a:pt x="6811" y="7240"/>
                    <a:pt x="6811" y="7180"/>
                    <a:pt x="6775" y="7121"/>
                  </a:cubicBezTo>
                  <a:lnTo>
                    <a:pt x="6478" y="6585"/>
                  </a:lnTo>
                  <a:lnTo>
                    <a:pt x="6787" y="6311"/>
                  </a:lnTo>
                  <a:lnTo>
                    <a:pt x="7263" y="6704"/>
                  </a:lnTo>
                  <a:cubicBezTo>
                    <a:pt x="7293" y="6719"/>
                    <a:pt x="7327" y="6729"/>
                    <a:pt x="7363" y="6729"/>
                  </a:cubicBezTo>
                  <a:cubicBezTo>
                    <a:pt x="7385" y="6729"/>
                    <a:pt x="7407" y="6725"/>
                    <a:pt x="7430" y="6716"/>
                  </a:cubicBezTo>
                  <a:cubicBezTo>
                    <a:pt x="7478" y="6704"/>
                    <a:pt x="7537" y="6668"/>
                    <a:pt x="7597" y="6657"/>
                  </a:cubicBezTo>
                  <a:cubicBezTo>
                    <a:pt x="7656" y="6645"/>
                    <a:pt x="7680" y="6597"/>
                    <a:pt x="7704" y="6537"/>
                  </a:cubicBezTo>
                  <a:lnTo>
                    <a:pt x="7823" y="5930"/>
                  </a:lnTo>
                  <a:close/>
                  <a:moveTo>
                    <a:pt x="4454" y="1"/>
                  </a:moveTo>
                  <a:cubicBezTo>
                    <a:pt x="3739" y="1"/>
                    <a:pt x="3025" y="180"/>
                    <a:pt x="2382" y="513"/>
                  </a:cubicBezTo>
                  <a:cubicBezTo>
                    <a:pt x="2310" y="561"/>
                    <a:pt x="2287" y="644"/>
                    <a:pt x="2322" y="715"/>
                  </a:cubicBezTo>
                  <a:cubicBezTo>
                    <a:pt x="2354" y="770"/>
                    <a:pt x="2405" y="799"/>
                    <a:pt x="2458" y="799"/>
                  </a:cubicBezTo>
                  <a:cubicBezTo>
                    <a:pt x="2485" y="799"/>
                    <a:pt x="2512" y="791"/>
                    <a:pt x="2537" y="775"/>
                  </a:cubicBezTo>
                  <a:cubicBezTo>
                    <a:pt x="3132" y="465"/>
                    <a:pt x="3787" y="299"/>
                    <a:pt x="4454" y="299"/>
                  </a:cubicBezTo>
                  <a:cubicBezTo>
                    <a:pt x="6728" y="299"/>
                    <a:pt x="8597" y="2168"/>
                    <a:pt x="8597" y="4442"/>
                  </a:cubicBezTo>
                  <a:cubicBezTo>
                    <a:pt x="8597" y="4847"/>
                    <a:pt x="8537" y="5228"/>
                    <a:pt x="8430" y="5621"/>
                  </a:cubicBezTo>
                  <a:lnTo>
                    <a:pt x="7740" y="5621"/>
                  </a:lnTo>
                  <a:cubicBezTo>
                    <a:pt x="7668" y="5621"/>
                    <a:pt x="7609" y="5656"/>
                    <a:pt x="7597" y="5728"/>
                  </a:cubicBezTo>
                  <a:lnTo>
                    <a:pt x="7466" y="6371"/>
                  </a:lnTo>
                  <a:lnTo>
                    <a:pt x="7442" y="6371"/>
                  </a:lnTo>
                  <a:lnTo>
                    <a:pt x="6942" y="5966"/>
                  </a:lnTo>
                  <a:cubicBezTo>
                    <a:pt x="6912" y="5948"/>
                    <a:pt x="6879" y="5939"/>
                    <a:pt x="6847" y="5939"/>
                  </a:cubicBezTo>
                  <a:cubicBezTo>
                    <a:pt x="6814" y="5939"/>
                    <a:pt x="6781" y="5948"/>
                    <a:pt x="6751" y="5966"/>
                  </a:cubicBezTo>
                  <a:lnTo>
                    <a:pt x="6239" y="6407"/>
                  </a:lnTo>
                  <a:cubicBezTo>
                    <a:pt x="6180" y="6442"/>
                    <a:pt x="6168" y="6537"/>
                    <a:pt x="6216" y="6597"/>
                  </a:cubicBezTo>
                  <a:lnTo>
                    <a:pt x="6525" y="7180"/>
                  </a:lnTo>
                  <a:cubicBezTo>
                    <a:pt x="6525" y="7180"/>
                    <a:pt x="6525" y="7192"/>
                    <a:pt x="6513" y="7192"/>
                  </a:cubicBezTo>
                  <a:lnTo>
                    <a:pt x="5858" y="7204"/>
                  </a:lnTo>
                  <a:cubicBezTo>
                    <a:pt x="5775" y="7204"/>
                    <a:pt x="5716" y="7264"/>
                    <a:pt x="5704" y="7335"/>
                  </a:cubicBezTo>
                  <a:lnTo>
                    <a:pt x="5585" y="7990"/>
                  </a:lnTo>
                  <a:cubicBezTo>
                    <a:pt x="5573" y="8073"/>
                    <a:pt x="5620" y="8145"/>
                    <a:pt x="5680" y="8157"/>
                  </a:cubicBezTo>
                  <a:lnTo>
                    <a:pt x="6013" y="8288"/>
                  </a:lnTo>
                  <a:cubicBezTo>
                    <a:pt x="5525" y="8502"/>
                    <a:pt x="5001" y="8585"/>
                    <a:pt x="4454" y="8585"/>
                  </a:cubicBezTo>
                  <a:cubicBezTo>
                    <a:pt x="2179" y="8585"/>
                    <a:pt x="322" y="6728"/>
                    <a:pt x="322" y="4454"/>
                  </a:cubicBezTo>
                  <a:cubicBezTo>
                    <a:pt x="322" y="3168"/>
                    <a:pt x="894" y="2001"/>
                    <a:pt x="1894" y="1203"/>
                  </a:cubicBezTo>
                  <a:cubicBezTo>
                    <a:pt x="1965" y="1144"/>
                    <a:pt x="1965" y="1061"/>
                    <a:pt x="1929" y="989"/>
                  </a:cubicBezTo>
                  <a:cubicBezTo>
                    <a:pt x="1895" y="942"/>
                    <a:pt x="1850" y="921"/>
                    <a:pt x="1804" y="921"/>
                  </a:cubicBezTo>
                  <a:cubicBezTo>
                    <a:pt x="1769" y="921"/>
                    <a:pt x="1734" y="933"/>
                    <a:pt x="1703" y="953"/>
                  </a:cubicBezTo>
                  <a:cubicBezTo>
                    <a:pt x="632" y="1799"/>
                    <a:pt x="1" y="3085"/>
                    <a:pt x="1" y="4454"/>
                  </a:cubicBezTo>
                  <a:cubicBezTo>
                    <a:pt x="1" y="5645"/>
                    <a:pt x="465" y="6764"/>
                    <a:pt x="1298" y="7597"/>
                  </a:cubicBezTo>
                  <a:cubicBezTo>
                    <a:pt x="2132" y="8431"/>
                    <a:pt x="3251" y="8883"/>
                    <a:pt x="4442" y="8883"/>
                  </a:cubicBezTo>
                  <a:cubicBezTo>
                    <a:pt x="5001" y="8883"/>
                    <a:pt x="5537" y="8788"/>
                    <a:pt x="6049" y="8585"/>
                  </a:cubicBezTo>
                  <a:lnTo>
                    <a:pt x="6049" y="8585"/>
                  </a:lnTo>
                  <a:lnTo>
                    <a:pt x="5775" y="8823"/>
                  </a:lnTo>
                  <a:cubicBezTo>
                    <a:pt x="5716" y="8871"/>
                    <a:pt x="5704" y="8966"/>
                    <a:pt x="5751" y="9026"/>
                  </a:cubicBezTo>
                  <a:lnTo>
                    <a:pt x="6073" y="9585"/>
                  </a:lnTo>
                  <a:cubicBezTo>
                    <a:pt x="6101" y="9632"/>
                    <a:pt x="6158" y="9664"/>
                    <a:pt x="6211" y="9664"/>
                  </a:cubicBezTo>
                  <a:cubicBezTo>
                    <a:pt x="6225" y="9664"/>
                    <a:pt x="6239" y="9662"/>
                    <a:pt x="6251" y="9657"/>
                  </a:cubicBezTo>
                  <a:lnTo>
                    <a:pt x="6882" y="9455"/>
                  </a:lnTo>
                  <a:cubicBezTo>
                    <a:pt x="6882" y="9455"/>
                    <a:pt x="6894" y="9455"/>
                    <a:pt x="6894" y="9466"/>
                  </a:cubicBezTo>
                  <a:lnTo>
                    <a:pt x="6787" y="10121"/>
                  </a:lnTo>
                  <a:cubicBezTo>
                    <a:pt x="6775" y="10193"/>
                    <a:pt x="6823" y="10276"/>
                    <a:pt x="6894" y="10288"/>
                  </a:cubicBezTo>
                  <a:lnTo>
                    <a:pt x="7525" y="10514"/>
                  </a:lnTo>
                  <a:cubicBezTo>
                    <a:pt x="7537" y="10514"/>
                    <a:pt x="7549" y="10526"/>
                    <a:pt x="7585" y="10526"/>
                  </a:cubicBezTo>
                  <a:cubicBezTo>
                    <a:pt x="7644" y="10526"/>
                    <a:pt x="7680" y="10490"/>
                    <a:pt x="7716" y="10455"/>
                  </a:cubicBezTo>
                  <a:lnTo>
                    <a:pt x="8061" y="9883"/>
                  </a:lnTo>
                  <a:lnTo>
                    <a:pt x="8073" y="9883"/>
                  </a:lnTo>
                  <a:lnTo>
                    <a:pt x="8418" y="10455"/>
                  </a:lnTo>
                  <a:cubicBezTo>
                    <a:pt x="8445" y="10499"/>
                    <a:pt x="8497" y="10523"/>
                    <a:pt x="8547" y="10523"/>
                  </a:cubicBezTo>
                  <a:cubicBezTo>
                    <a:pt x="8565" y="10523"/>
                    <a:pt x="8582" y="10520"/>
                    <a:pt x="8597" y="10514"/>
                  </a:cubicBezTo>
                  <a:lnTo>
                    <a:pt x="9216" y="10288"/>
                  </a:lnTo>
                  <a:cubicBezTo>
                    <a:pt x="9287" y="10252"/>
                    <a:pt x="9323" y="10193"/>
                    <a:pt x="9323" y="10121"/>
                  </a:cubicBezTo>
                  <a:lnTo>
                    <a:pt x="9216" y="9466"/>
                  </a:lnTo>
                  <a:cubicBezTo>
                    <a:pt x="9216" y="9466"/>
                    <a:pt x="9228" y="9466"/>
                    <a:pt x="9228" y="9455"/>
                  </a:cubicBezTo>
                  <a:lnTo>
                    <a:pt x="9859" y="9657"/>
                  </a:lnTo>
                  <a:cubicBezTo>
                    <a:pt x="9878" y="9666"/>
                    <a:pt x="9897" y="9671"/>
                    <a:pt x="9916" y="9671"/>
                  </a:cubicBezTo>
                  <a:cubicBezTo>
                    <a:pt x="9966" y="9671"/>
                    <a:pt x="10011" y="9638"/>
                    <a:pt x="10038" y="9585"/>
                  </a:cubicBezTo>
                  <a:lnTo>
                    <a:pt x="10359" y="9026"/>
                  </a:lnTo>
                  <a:cubicBezTo>
                    <a:pt x="10395" y="8966"/>
                    <a:pt x="10395" y="8871"/>
                    <a:pt x="10335" y="8823"/>
                  </a:cubicBezTo>
                  <a:lnTo>
                    <a:pt x="9847" y="8395"/>
                  </a:lnTo>
                  <a:lnTo>
                    <a:pt x="9847" y="8383"/>
                  </a:lnTo>
                  <a:lnTo>
                    <a:pt x="10454" y="8145"/>
                  </a:lnTo>
                  <a:cubicBezTo>
                    <a:pt x="10460" y="8146"/>
                    <a:pt x="10465" y="8146"/>
                    <a:pt x="10470" y="8146"/>
                  </a:cubicBezTo>
                  <a:cubicBezTo>
                    <a:pt x="10532" y="8146"/>
                    <a:pt x="10572" y="8080"/>
                    <a:pt x="10561" y="8014"/>
                  </a:cubicBezTo>
                  <a:lnTo>
                    <a:pt x="10442" y="7359"/>
                  </a:lnTo>
                  <a:cubicBezTo>
                    <a:pt x="10419" y="7288"/>
                    <a:pt x="10359" y="7240"/>
                    <a:pt x="10288" y="7228"/>
                  </a:cubicBezTo>
                  <a:lnTo>
                    <a:pt x="9633" y="7204"/>
                  </a:lnTo>
                  <a:cubicBezTo>
                    <a:pt x="9633" y="7204"/>
                    <a:pt x="9633" y="7192"/>
                    <a:pt x="9621" y="7192"/>
                  </a:cubicBezTo>
                  <a:lnTo>
                    <a:pt x="9930" y="6609"/>
                  </a:lnTo>
                  <a:cubicBezTo>
                    <a:pt x="9966" y="6549"/>
                    <a:pt x="9942" y="6466"/>
                    <a:pt x="9907" y="6418"/>
                  </a:cubicBezTo>
                  <a:lnTo>
                    <a:pt x="9395" y="5990"/>
                  </a:lnTo>
                  <a:cubicBezTo>
                    <a:pt x="9365" y="5966"/>
                    <a:pt x="9332" y="5954"/>
                    <a:pt x="9299" y="5954"/>
                  </a:cubicBezTo>
                  <a:cubicBezTo>
                    <a:pt x="9267" y="5954"/>
                    <a:pt x="9234" y="5966"/>
                    <a:pt x="9204" y="5990"/>
                  </a:cubicBezTo>
                  <a:lnTo>
                    <a:pt x="8692" y="6395"/>
                  </a:lnTo>
                  <a:lnTo>
                    <a:pt x="8680" y="6395"/>
                  </a:lnTo>
                  <a:lnTo>
                    <a:pt x="8609" y="6049"/>
                  </a:lnTo>
                  <a:lnTo>
                    <a:pt x="8609" y="6037"/>
                  </a:lnTo>
                  <a:cubicBezTo>
                    <a:pt x="8799" y="5525"/>
                    <a:pt x="8895" y="5002"/>
                    <a:pt x="8895" y="4454"/>
                  </a:cubicBezTo>
                  <a:cubicBezTo>
                    <a:pt x="8895" y="3263"/>
                    <a:pt x="8430" y="2144"/>
                    <a:pt x="7597" y="1311"/>
                  </a:cubicBezTo>
                  <a:cubicBezTo>
                    <a:pt x="6763" y="477"/>
                    <a:pt x="5644" y="1"/>
                    <a:pt x="4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214" name="Google Shape;11214;p60"/>
          <p:cNvSpPr/>
          <p:nvPr/>
        </p:nvSpPr>
        <p:spPr>
          <a:xfrm>
            <a:off x="1331737" y="4307377"/>
            <a:ext cx="304716" cy="304048"/>
          </a:xfrm>
          <a:custGeom>
            <a:avLst/>
            <a:gdLst/>
            <a:ahLst/>
            <a:cxnLst/>
            <a:rect l="l" t="t" r="r" b="b"/>
            <a:pathLst>
              <a:path w="9574" h="9553" extrusionOk="0">
                <a:moveTo>
                  <a:pt x="4811" y="290"/>
                </a:moveTo>
                <a:lnTo>
                  <a:pt x="8157" y="2230"/>
                </a:lnTo>
                <a:lnTo>
                  <a:pt x="7573" y="2230"/>
                </a:lnTo>
                <a:lnTo>
                  <a:pt x="4918" y="671"/>
                </a:lnTo>
                <a:cubicBezTo>
                  <a:pt x="4876" y="647"/>
                  <a:pt x="4838" y="635"/>
                  <a:pt x="4800" y="635"/>
                </a:cubicBezTo>
                <a:cubicBezTo>
                  <a:pt x="4763" y="635"/>
                  <a:pt x="4728" y="647"/>
                  <a:pt x="4692" y="671"/>
                </a:cubicBezTo>
                <a:lnTo>
                  <a:pt x="3989" y="1087"/>
                </a:lnTo>
                <a:cubicBezTo>
                  <a:pt x="3930" y="1135"/>
                  <a:pt x="3906" y="1206"/>
                  <a:pt x="3942" y="1278"/>
                </a:cubicBezTo>
                <a:cubicBezTo>
                  <a:pt x="3974" y="1318"/>
                  <a:pt x="4017" y="1348"/>
                  <a:pt x="4067" y="1348"/>
                </a:cubicBezTo>
                <a:cubicBezTo>
                  <a:pt x="4092" y="1348"/>
                  <a:pt x="4117" y="1341"/>
                  <a:pt x="4144" y="1326"/>
                </a:cubicBezTo>
                <a:lnTo>
                  <a:pt x="4811" y="933"/>
                </a:lnTo>
                <a:lnTo>
                  <a:pt x="7025" y="2230"/>
                </a:lnTo>
                <a:lnTo>
                  <a:pt x="2572" y="2230"/>
                </a:lnTo>
                <a:lnTo>
                  <a:pt x="3561" y="1671"/>
                </a:lnTo>
                <a:cubicBezTo>
                  <a:pt x="3620" y="1623"/>
                  <a:pt x="3644" y="1552"/>
                  <a:pt x="3608" y="1480"/>
                </a:cubicBezTo>
                <a:cubicBezTo>
                  <a:pt x="3576" y="1440"/>
                  <a:pt x="3533" y="1411"/>
                  <a:pt x="3483" y="1411"/>
                </a:cubicBezTo>
                <a:cubicBezTo>
                  <a:pt x="3459" y="1411"/>
                  <a:pt x="3433" y="1417"/>
                  <a:pt x="3406" y="1433"/>
                </a:cubicBezTo>
                <a:lnTo>
                  <a:pt x="2013" y="2254"/>
                </a:lnTo>
                <a:lnTo>
                  <a:pt x="1429" y="2254"/>
                </a:lnTo>
                <a:lnTo>
                  <a:pt x="4811" y="290"/>
                </a:lnTo>
                <a:close/>
                <a:moveTo>
                  <a:pt x="8621" y="2528"/>
                </a:moveTo>
                <a:lnTo>
                  <a:pt x="8621" y="3207"/>
                </a:lnTo>
                <a:lnTo>
                  <a:pt x="965" y="3207"/>
                </a:lnTo>
                <a:lnTo>
                  <a:pt x="965" y="2528"/>
                </a:lnTo>
                <a:close/>
                <a:moveTo>
                  <a:pt x="2644" y="3469"/>
                </a:moveTo>
                <a:cubicBezTo>
                  <a:pt x="2692" y="3469"/>
                  <a:pt x="2727" y="3481"/>
                  <a:pt x="2751" y="3516"/>
                </a:cubicBezTo>
                <a:cubicBezTo>
                  <a:pt x="2787" y="3540"/>
                  <a:pt x="2799" y="3576"/>
                  <a:pt x="2799" y="3623"/>
                </a:cubicBezTo>
                <a:cubicBezTo>
                  <a:pt x="2799" y="3695"/>
                  <a:pt x="2739" y="3754"/>
                  <a:pt x="2668" y="3754"/>
                </a:cubicBezTo>
                <a:cubicBezTo>
                  <a:pt x="2620" y="3754"/>
                  <a:pt x="2596" y="3731"/>
                  <a:pt x="2561" y="3707"/>
                </a:cubicBezTo>
                <a:cubicBezTo>
                  <a:pt x="2528" y="3666"/>
                  <a:pt x="2479" y="3648"/>
                  <a:pt x="2432" y="3648"/>
                </a:cubicBezTo>
                <a:cubicBezTo>
                  <a:pt x="2410" y="3648"/>
                  <a:pt x="2389" y="3652"/>
                  <a:pt x="2370" y="3659"/>
                </a:cubicBezTo>
                <a:cubicBezTo>
                  <a:pt x="2299" y="3695"/>
                  <a:pt x="2251" y="3754"/>
                  <a:pt x="2251" y="3826"/>
                </a:cubicBezTo>
                <a:lnTo>
                  <a:pt x="2251" y="7707"/>
                </a:lnTo>
                <a:lnTo>
                  <a:pt x="1703" y="7707"/>
                </a:lnTo>
                <a:lnTo>
                  <a:pt x="1703" y="3826"/>
                </a:lnTo>
                <a:cubicBezTo>
                  <a:pt x="1703" y="3754"/>
                  <a:pt x="1656" y="3683"/>
                  <a:pt x="1584" y="3659"/>
                </a:cubicBezTo>
                <a:cubicBezTo>
                  <a:pt x="1568" y="3653"/>
                  <a:pt x="1551" y="3650"/>
                  <a:pt x="1532" y="3650"/>
                </a:cubicBezTo>
                <a:cubicBezTo>
                  <a:pt x="1482" y="3650"/>
                  <a:pt x="1425" y="3672"/>
                  <a:pt x="1382" y="3707"/>
                </a:cubicBezTo>
                <a:cubicBezTo>
                  <a:pt x="1358" y="3742"/>
                  <a:pt x="1322" y="3754"/>
                  <a:pt x="1287" y="3754"/>
                </a:cubicBezTo>
                <a:cubicBezTo>
                  <a:pt x="1239" y="3754"/>
                  <a:pt x="1203" y="3731"/>
                  <a:pt x="1179" y="3707"/>
                </a:cubicBezTo>
                <a:cubicBezTo>
                  <a:pt x="1144" y="3683"/>
                  <a:pt x="1132" y="3647"/>
                  <a:pt x="1132" y="3600"/>
                </a:cubicBezTo>
                <a:cubicBezTo>
                  <a:pt x="1132" y="3528"/>
                  <a:pt x="1203" y="3469"/>
                  <a:pt x="1287" y="3469"/>
                </a:cubicBezTo>
                <a:close/>
                <a:moveTo>
                  <a:pt x="5537" y="3481"/>
                </a:moveTo>
                <a:cubicBezTo>
                  <a:pt x="5573" y="3481"/>
                  <a:pt x="5609" y="3504"/>
                  <a:pt x="5644" y="3528"/>
                </a:cubicBezTo>
                <a:cubicBezTo>
                  <a:pt x="5668" y="3564"/>
                  <a:pt x="5692" y="3588"/>
                  <a:pt x="5692" y="3635"/>
                </a:cubicBezTo>
                <a:cubicBezTo>
                  <a:pt x="5692" y="3707"/>
                  <a:pt x="5632" y="3766"/>
                  <a:pt x="5549" y="3766"/>
                </a:cubicBezTo>
                <a:cubicBezTo>
                  <a:pt x="5513" y="3766"/>
                  <a:pt x="5478" y="3754"/>
                  <a:pt x="5454" y="3719"/>
                </a:cubicBezTo>
                <a:cubicBezTo>
                  <a:pt x="5424" y="3681"/>
                  <a:pt x="5376" y="3663"/>
                  <a:pt x="5329" y="3663"/>
                </a:cubicBezTo>
                <a:cubicBezTo>
                  <a:pt x="5301" y="3663"/>
                  <a:pt x="5274" y="3670"/>
                  <a:pt x="5251" y="3683"/>
                </a:cubicBezTo>
                <a:cubicBezTo>
                  <a:pt x="5180" y="3707"/>
                  <a:pt x="5132" y="3766"/>
                  <a:pt x="5132" y="3838"/>
                </a:cubicBezTo>
                <a:lnTo>
                  <a:pt x="5132" y="7731"/>
                </a:lnTo>
                <a:lnTo>
                  <a:pt x="4585" y="7731"/>
                </a:lnTo>
                <a:lnTo>
                  <a:pt x="4585" y="3838"/>
                </a:lnTo>
                <a:cubicBezTo>
                  <a:pt x="4585" y="3766"/>
                  <a:pt x="4537" y="3695"/>
                  <a:pt x="4466" y="3683"/>
                </a:cubicBezTo>
                <a:cubicBezTo>
                  <a:pt x="4439" y="3670"/>
                  <a:pt x="4412" y="3663"/>
                  <a:pt x="4386" y="3663"/>
                </a:cubicBezTo>
                <a:cubicBezTo>
                  <a:pt x="4344" y="3663"/>
                  <a:pt x="4305" y="3681"/>
                  <a:pt x="4275" y="3719"/>
                </a:cubicBezTo>
                <a:cubicBezTo>
                  <a:pt x="4239" y="3754"/>
                  <a:pt x="4216" y="3766"/>
                  <a:pt x="4168" y="3766"/>
                </a:cubicBezTo>
                <a:cubicBezTo>
                  <a:pt x="4120" y="3766"/>
                  <a:pt x="4096" y="3754"/>
                  <a:pt x="4061" y="3719"/>
                </a:cubicBezTo>
                <a:cubicBezTo>
                  <a:pt x="4037" y="3695"/>
                  <a:pt x="4025" y="3659"/>
                  <a:pt x="4025" y="3623"/>
                </a:cubicBezTo>
                <a:cubicBezTo>
                  <a:pt x="4025" y="3540"/>
                  <a:pt x="4096" y="3481"/>
                  <a:pt x="4168" y="3481"/>
                </a:cubicBezTo>
                <a:close/>
                <a:moveTo>
                  <a:pt x="8395" y="3481"/>
                </a:moveTo>
                <a:cubicBezTo>
                  <a:pt x="8442" y="3481"/>
                  <a:pt x="8466" y="3492"/>
                  <a:pt x="8502" y="3528"/>
                </a:cubicBezTo>
                <a:cubicBezTo>
                  <a:pt x="8526" y="3552"/>
                  <a:pt x="8538" y="3588"/>
                  <a:pt x="8538" y="3635"/>
                </a:cubicBezTo>
                <a:cubicBezTo>
                  <a:pt x="8526" y="3695"/>
                  <a:pt x="8466" y="3754"/>
                  <a:pt x="8407" y="3754"/>
                </a:cubicBezTo>
                <a:cubicBezTo>
                  <a:pt x="8371" y="3754"/>
                  <a:pt x="8335" y="3742"/>
                  <a:pt x="8311" y="3707"/>
                </a:cubicBezTo>
                <a:cubicBezTo>
                  <a:pt x="8279" y="3666"/>
                  <a:pt x="8224" y="3648"/>
                  <a:pt x="8174" y="3648"/>
                </a:cubicBezTo>
                <a:cubicBezTo>
                  <a:pt x="8150" y="3648"/>
                  <a:pt x="8128" y="3652"/>
                  <a:pt x="8109" y="3659"/>
                </a:cubicBezTo>
                <a:cubicBezTo>
                  <a:pt x="8037" y="3695"/>
                  <a:pt x="7990" y="3754"/>
                  <a:pt x="7990" y="3826"/>
                </a:cubicBezTo>
                <a:lnTo>
                  <a:pt x="7990" y="7707"/>
                </a:lnTo>
                <a:lnTo>
                  <a:pt x="7442" y="7707"/>
                </a:lnTo>
                <a:lnTo>
                  <a:pt x="7442" y="6314"/>
                </a:lnTo>
                <a:cubicBezTo>
                  <a:pt x="7442" y="6243"/>
                  <a:pt x="7383" y="6183"/>
                  <a:pt x="7311" y="6183"/>
                </a:cubicBezTo>
                <a:cubicBezTo>
                  <a:pt x="7240" y="6183"/>
                  <a:pt x="7180" y="6243"/>
                  <a:pt x="7180" y="6314"/>
                </a:cubicBezTo>
                <a:lnTo>
                  <a:pt x="7180" y="7743"/>
                </a:lnTo>
                <a:cubicBezTo>
                  <a:pt x="7097" y="7791"/>
                  <a:pt x="7061" y="7862"/>
                  <a:pt x="7061" y="7945"/>
                </a:cubicBezTo>
                <a:lnTo>
                  <a:pt x="7061" y="8148"/>
                </a:lnTo>
                <a:lnTo>
                  <a:pt x="5549" y="8148"/>
                </a:lnTo>
                <a:lnTo>
                  <a:pt x="5549" y="7969"/>
                </a:lnTo>
                <a:cubicBezTo>
                  <a:pt x="5549" y="7874"/>
                  <a:pt x="5513" y="7803"/>
                  <a:pt x="5430" y="7755"/>
                </a:cubicBezTo>
                <a:lnTo>
                  <a:pt x="5430" y="4016"/>
                </a:lnTo>
                <a:cubicBezTo>
                  <a:pt x="5465" y="4034"/>
                  <a:pt x="5500" y="4045"/>
                  <a:pt x="5535" y="4045"/>
                </a:cubicBezTo>
                <a:cubicBezTo>
                  <a:pt x="5547" y="4045"/>
                  <a:pt x="5560" y="4043"/>
                  <a:pt x="5573" y="4040"/>
                </a:cubicBezTo>
                <a:cubicBezTo>
                  <a:pt x="5787" y="4040"/>
                  <a:pt x="5966" y="3862"/>
                  <a:pt x="5966" y="3635"/>
                </a:cubicBezTo>
                <a:cubicBezTo>
                  <a:pt x="5966" y="3576"/>
                  <a:pt x="5966" y="3528"/>
                  <a:pt x="5954" y="3481"/>
                </a:cubicBezTo>
                <a:lnTo>
                  <a:pt x="6656" y="3481"/>
                </a:lnTo>
                <a:cubicBezTo>
                  <a:pt x="6633" y="3516"/>
                  <a:pt x="6633" y="3564"/>
                  <a:pt x="6621" y="3600"/>
                </a:cubicBezTo>
                <a:cubicBezTo>
                  <a:pt x="6621" y="3719"/>
                  <a:pt x="6656" y="3826"/>
                  <a:pt x="6740" y="3921"/>
                </a:cubicBezTo>
                <a:cubicBezTo>
                  <a:pt x="6811" y="4004"/>
                  <a:pt x="6942" y="4052"/>
                  <a:pt x="7037" y="4052"/>
                </a:cubicBezTo>
                <a:cubicBezTo>
                  <a:pt x="7085" y="4052"/>
                  <a:pt x="7133" y="4028"/>
                  <a:pt x="7168" y="4016"/>
                </a:cubicBezTo>
                <a:lnTo>
                  <a:pt x="7168" y="5636"/>
                </a:lnTo>
                <a:cubicBezTo>
                  <a:pt x="7168" y="5719"/>
                  <a:pt x="7228" y="5778"/>
                  <a:pt x="7311" y="5778"/>
                </a:cubicBezTo>
                <a:cubicBezTo>
                  <a:pt x="7383" y="5778"/>
                  <a:pt x="7442" y="5719"/>
                  <a:pt x="7442" y="5636"/>
                </a:cubicBezTo>
                <a:lnTo>
                  <a:pt x="7442" y="3838"/>
                </a:lnTo>
                <a:cubicBezTo>
                  <a:pt x="7442" y="3766"/>
                  <a:pt x="7395" y="3695"/>
                  <a:pt x="7323" y="3671"/>
                </a:cubicBezTo>
                <a:cubicBezTo>
                  <a:pt x="7301" y="3667"/>
                  <a:pt x="7278" y="3665"/>
                  <a:pt x="7255" y="3665"/>
                </a:cubicBezTo>
                <a:cubicBezTo>
                  <a:pt x="7205" y="3665"/>
                  <a:pt x="7157" y="3678"/>
                  <a:pt x="7133" y="3719"/>
                </a:cubicBezTo>
                <a:cubicBezTo>
                  <a:pt x="7097" y="3754"/>
                  <a:pt x="7073" y="3766"/>
                  <a:pt x="7025" y="3766"/>
                </a:cubicBezTo>
                <a:cubicBezTo>
                  <a:pt x="6978" y="3766"/>
                  <a:pt x="6954" y="3754"/>
                  <a:pt x="6918" y="3719"/>
                </a:cubicBezTo>
                <a:cubicBezTo>
                  <a:pt x="6894" y="3695"/>
                  <a:pt x="6871" y="3659"/>
                  <a:pt x="6871" y="3612"/>
                </a:cubicBezTo>
                <a:cubicBezTo>
                  <a:pt x="6871" y="3540"/>
                  <a:pt x="6954" y="3481"/>
                  <a:pt x="7025" y="3481"/>
                </a:cubicBezTo>
                <a:close/>
                <a:moveTo>
                  <a:pt x="2382" y="7993"/>
                </a:moveTo>
                <a:lnTo>
                  <a:pt x="2382" y="8160"/>
                </a:lnTo>
                <a:lnTo>
                  <a:pt x="1572" y="8160"/>
                </a:lnTo>
                <a:lnTo>
                  <a:pt x="1572" y="7993"/>
                </a:lnTo>
                <a:close/>
                <a:moveTo>
                  <a:pt x="3751" y="3481"/>
                </a:moveTo>
                <a:cubicBezTo>
                  <a:pt x="3739" y="3516"/>
                  <a:pt x="3739" y="3564"/>
                  <a:pt x="3715" y="3600"/>
                </a:cubicBezTo>
                <a:cubicBezTo>
                  <a:pt x="3715" y="3719"/>
                  <a:pt x="3751" y="3826"/>
                  <a:pt x="3835" y="3921"/>
                </a:cubicBezTo>
                <a:cubicBezTo>
                  <a:pt x="3918" y="4004"/>
                  <a:pt x="4037" y="4052"/>
                  <a:pt x="4132" y="4052"/>
                </a:cubicBezTo>
                <a:cubicBezTo>
                  <a:pt x="4180" y="4052"/>
                  <a:pt x="4227" y="4028"/>
                  <a:pt x="4275" y="4016"/>
                </a:cubicBezTo>
                <a:lnTo>
                  <a:pt x="4275" y="7755"/>
                </a:lnTo>
                <a:cubicBezTo>
                  <a:pt x="4192" y="7803"/>
                  <a:pt x="4156" y="7874"/>
                  <a:pt x="4156" y="7957"/>
                </a:cubicBezTo>
                <a:lnTo>
                  <a:pt x="4156" y="8160"/>
                </a:lnTo>
                <a:lnTo>
                  <a:pt x="2644" y="8160"/>
                </a:lnTo>
                <a:lnTo>
                  <a:pt x="2644" y="7969"/>
                </a:lnTo>
                <a:cubicBezTo>
                  <a:pt x="2668" y="7874"/>
                  <a:pt x="2608" y="7803"/>
                  <a:pt x="2537" y="7755"/>
                </a:cubicBezTo>
                <a:lnTo>
                  <a:pt x="2537" y="4016"/>
                </a:lnTo>
                <a:cubicBezTo>
                  <a:pt x="2563" y="4034"/>
                  <a:pt x="2595" y="4045"/>
                  <a:pt x="2630" y="4045"/>
                </a:cubicBezTo>
                <a:cubicBezTo>
                  <a:pt x="2642" y="4045"/>
                  <a:pt x="2655" y="4043"/>
                  <a:pt x="2668" y="4040"/>
                </a:cubicBezTo>
                <a:cubicBezTo>
                  <a:pt x="2894" y="4040"/>
                  <a:pt x="3073" y="3862"/>
                  <a:pt x="3073" y="3635"/>
                </a:cubicBezTo>
                <a:cubicBezTo>
                  <a:pt x="3073" y="3576"/>
                  <a:pt x="3073" y="3528"/>
                  <a:pt x="3049" y="3481"/>
                </a:cubicBezTo>
                <a:close/>
                <a:moveTo>
                  <a:pt x="5251" y="7993"/>
                </a:moveTo>
                <a:lnTo>
                  <a:pt x="5251" y="8160"/>
                </a:lnTo>
                <a:lnTo>
                  <a:pt x="4454" y="8160"/>
                </a:lnTo>
                <a:lnTo>
                  <a:pt x="4454" y="7993"/>
                </a:lnTo>
                <a:close/>
                <a:moveTo>
                  <a:pt x="8109" y="7993"/>
                </a:moveTo>
                <a:lnTo>
                  <a:pt x="8109" y="8160"/>
                </a:lnTo>
                <a:lnTo>
                  <a:pt x="7311" y="8160"/>
                </a:lnTo>
                <a:lnTo>
                  <a:pt x="7311" y="7993"/>
                </a:lnTo>
                <a:close/>
                <a:moveTo>
                  <a:pt x="8454" y="8445"/>
                </a:moveTo>
                <a:cubicBezTo>
                  <a:pt x="8526" y="8445"/>
                  <a:pt x="8573" y="8505"/>
                  <a:pt x="8573" y="8565"/>
                </a:cubicBezTo>
                <a:lnTo>
                  <a:pt x="8573" y="8719"/>
                </a:lnTo>
                <a:lnTo>
                  <a:pt x="4001" y="8719"/>
                </a:lnTo>
                <a:cubicBezTo>
                  <a:pt x="3930" y="8719"/>
                  <a:pt x="3870" y="8779"/>
                  <a:pt x="3870" y="8862"/>
                </a:cubicBezTo>
                <a:cubicBezTo>
                  <a:pt x="3870" y="8934"/>
                  <a:pt x="3930" y="8993"/>
                  <a:pt x="4001" y="8993"/>
                </a:cubicBezTo>
                <a:lnTo>
                  <a:pt x="8728" y="8993"/>
                </a:lnTo>
                <a:cubicBezTo>
                  <a:pt x="8799" y="8993"/>
                  <a:pt x="8859" y="9053"/>
                  <a:pt x="8859" y="9124"/>
                </a:cubicBezTo>
                <a:lnTo>
                  <a:pt x="8859" y="9279"/>
                </a:lnTo>
                <a:lnTo>
                  <a:pt x="715" y="9279"/>
                </a:lnTo>
                <a:lnTo>
                  <a:pt x="715" y="9136"/>
                </a:lnTo>
                <a:cubicBezTo>
                  <a:pt x="715" y="9065"/>
                  <a:pt x="775" y="9005"/>
                  <a:pt x="846" y="9005"/>
                </a:cubicBezTo>
                <a:lnTo>
                  <a:pt x="3323" y="9005"/>
                </a:lnTo>
                <a:cubicBezTo>
                  <a:pt x="3394" y="9005"/>
                  <a:pt x="3454" y="8946"/>
                  <a:pt x="3454" y="8874"/>
                </a:cubicBezTo>
                <a:cubicBezTo>
                  <a:pt x="3454" y="8803"/>
                  <a:pt x="3394" y="8743"/>
                  <a:pt x="3323" y="8743"/>
                </a:cubicBezTo>
                <a:lnTo>
                  <a:pt x="1013" y="8743"/>
                </a:lnTo>
                <a:lnTo>
                  <a:pt x="1013" y="8565"/>
                </a:lnTo>
                <a:cubicBezTo>
                  <a:pt x="1013" y="8481"/>
                  <a:pt x="1072" y="8445"/>
                  <a:pt x="1132" y="8445"/>
                </a:cubicBezTo>
                <a:close/>
                <a:moveTo>
                  <a:pt x="4781" y="1"/>
                </a:moveTo>
                <a:cubicBezTo>
                  <a:pt x="4736" y="1"/>
                  <a:pt x="4692" y="10"/>
                  <a:pt x="4656" y="28"/>
                </a:cubicBezTo>
                <a:lnTo>
                  <a:pt x="810" y="2278"/>
                </a:lnTo>
                <a:cubicBezTo>
                  <a:pt x="787" y="2278"/>
                  <a:pt x="775" y="2290"/>
                  <a:pt x="775" y="2314"/>
                </a:cubicBezTo>
                <a:cubicBezTo>
                  <a:pt x="715" y="2349"/>
                  <a:pt x="667" y="2445"/>
                  <a:pt x="667" y="2516"/>
                </a:cubicBezTo>
                <a:lnTo>
                  <a:pt x="667" y="3219"/>
                </a:lnTo>
                <a:cubicBezTo>
                  <a:pt x="667" y="3350"/>
                  <a:pt x="763" y="3457"/>
                  <a:pt x="882" y="3481"/>
                </a:cubicBezTo>
                <a:cubicBezTo>
                  <a:pt x="858" y="3528"/>
                  <a:pt x="846" y="3564"/>
                  <a:pt x="846" y="3600"/>
                </a:cubicBezTo>
                <a:cubicBezTo>
                  <a:pt x="846" y="3719"/>
                  <a:pt x="882" y="3826"/>
                  <a:pt x="965" y="3921"/>
                </a:cubicBezTo>
                <a:cubicBezTo>
                  <a:pt x="1048" y="4004"/>
                  <a:pt x="1168" y="4052"/>
                  <a:pt x="1263" y="4052"/>
                </a:cubicBezTo>
                <a:cubicBezTo>
                  <a:pt x="1310" y="4052"/>
                  <a:pt x="1358" y="4028"/>
                  <a:pt x="1406" y="4016"/>
                </a:cubicBezTo>
                <a:lnTo>
                  <a:pt x="1406" y="7755"/>
                </a:lnTo>
                <a:cubicBezTo>
                  <a:pt x="1322" y="7803"/>
                  <a:pt x="1287" y="7874"/>
                  <a:pt x="1287" y="7957"/>
                </a:cubicBezTo>
                <a:lnTo>
                  <a:pt x="1287" y="8160"/>
                </a:lnTo>
                <a:lnTo>
                  <a:pt x="1120" y="8160"/>
                </a:lnTo>
                <a:cubicBezTo>
                  <a:pt x="894" y="8160"/>
                  <a:pt x="715" y="8338"/>
                  <a:pt x="715" y="8553"/>
                </a:cubicBezTo>
                <a:lnTo>
                  <a:pt x="715" y="8743"/>
                </a:lnTo>
                <a:cubicBezTo>
                  <a:pt x="548" y="8791"/>
                  <a:pt x="417" y="8946"/>
                  <a:pt x="417" y="9136"/>
                </a:cubicBezTo>
                <a:lnTo>
                  <a:pt x="417" y="9291"/>
                </a:lnTo>
                <a:lnTo>
                  <a:pt x="132" y="9291"/>
                </a:lnTo>
                <a:cubicBezTo>
                  <a:pt x="60" y="9291"/>
                  <a:pt x="1" y="9350"/>
                  <a:pt x="1" y="9422"/>
                </a:cubicBezTo>
                <a:cubicBezTo>
                  <a:pt x="1" y="9493"/>
                  <a:pt x="60" y="9553"/>
                  <a:pt x="132" y="9553"/>
                </a:cubicBezTo>
                <a:lnTo>
                  <a:pt x="9442" y="9553"/>
                </a:lnTo>
                <a:cubicBezTo>
                  <a:pt x="9514" y="9553"/>
                  <a:pt x="9573" y="9493"/>
                  <a:pt x="9573" y="9422"/>
                </a:cubicBezTo>
                <a:cubicBezTo>
                  <a:pt x="9573" y="9350"/>
                  <a:pt x="9514" y="9291"/>
                  <a:pt x="9442" y="9291"/>
                </a:cubicBezTo>
                <a:lnTo>
                  <a:pt x="9157" y="9291"/>
                </a:lnTo>
                <a:lnTo>
                  <a:pt x="9157" y="9136"/>
                </a:lnTo>
                <a:cubicBezTo>
                  <a:pt x="9157" y="8957"/>
                  <a:pt x="9038" y="8803"/>
                  <a:pt x="8859" y="8743"/>
                </a:cubicBezTo>
                <a:lnTo>
                  <a:pt x="8859" y="8565"/>
                </a:lnTo>
                <a:cubicBezTo>
                  <a:pt x="8859" y="8338"/>
                  <a:pt x="8680" y="8160"/>
                  <a:pt x="8454" y="8160"/>
                </a:cubicBezTo>
                <a:lnTo>
                  <a:pt x="8395" y="8160"/>
                </a:lnTo>
                <a:lnTo>
                  <a:pt x="8395" y="7969"/>
                </a:lnTo>
                <a:cubicBezTo>
                  <a:pt x="8395" y="7874"/>
                  <a:pt x="8347" y="7803"/>
                  <a:pt x="8276" y="7755"/>
                </a:cubicBezTo>
                <a:lnTo>
                  <a:pt x="8276" y="4016"/>
                </a:lnTo>
                <a:cubicBezTo>
                  <a:pt x="8310" y="4034"/>
                  <a:pt x="8345" y="4045"/>
                  <a:pt x="8375" y="4045"/>
                </a:cubicBezTo>
                <a:cubicBezTo>
                  <a:pt x="8387" y="4045"/>
                  <a:pt x="8397" y="4043"/>
                  <a:pt x="8407" y="4040"/>
                </a:cubicBezTo>
                <a:cubicBezTo>
                  <a:pt x="8633" y="4040"/>
                  <a:pt x="8811" y="3862"/>
                  <a:pt x="8811" y="3635"/>
                </a:cubicBezTo>
                <a:cubicBezTo>
                  <a:pt x="8811" y="3564"/>
                  <a:pt x="8799" y="3504"/>
                  <a:pt x="8764" y="3421"/>
                </a:cubicBezTo>
                <a:cubicBezTo>
                  <a:pt x="8835" y="3385"/>
                  <a:pt x="8883" y="3290"/>
                  <a:pt x="8883" y="3207"/>
                </a:cubicBezTo>
                <a:lnTo>
                  <a:pt x="8883" y="2504"/>
                </a:lnTo>
                <a:cubicBezTo>
                  <a:pt x="8883" y="2397"/>
                  <a:pt x="8823" y="2314"/>
                  <a:pt x="8740" y="2266"/>
                </a:cubicBezTo>
                <a:lnTo>
                  <a:pt x="4906" y="28"/>
                </a:lnTo>
                <a:cubicBezTo>
                  <a:pt x="4870" y="10"/>
                  <a:pt x="4826" y="1"/>
                  <a:pt x="478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215" name="Google Shape;11215;p60"/>
          <p:cNvGrpSpPr/>
          <p:nvPr/>
        </p:nvGrpSpPr>
        <p:grpSpPr>
          <a:xfrm>
            <a:off x="2179081" y="4285511"/>
            <a:ext cx="397525" cy="348670"/>
            <a:chOff x="2179081" y="4285511"/>
            <a:chExt cx="397525" cy="348670"/>
          </a:xfrm>
        </p:grpSpPr>
        <p:sp>
          <p:nvSpPr>
            <p:cNvPr id="11216" name="Google Shape;11216;p60"/>
            <p:cNvSpPr/>
            <p:nvPr/>
          </p:nvSpPr>
          <p:spPr>
            <a:xfrm>
              <a:off x="2262437" y="4354322"/>
              <a:ext cx="230813" cy="210507"/>
            </a:xfrm>
            <a:custGeom>
              <a:avLst/>
              <a:gdLst/>
              <a:ahLst/>
              <a:cxnLst/>
              <a:rect l="l" t="t" r="r" b="b"/>
              <a:pathLst>
                <a:path w="7252" h="6614" extrusionOk="0">
                  <a:moveTo>
                    <a:pt x="3627" y="376"/>
                  </a:moveTo>
                  <a:cubicBezTo>
                    <a:pt x="4070" y="376"/>
                    <a:pt x="4516" y="477"/>
                    <a:pt x="4930" y="684"/>
                  </a:cubicBezTo>
                  <a:lnTo>
                    <a:pt x="4132" y="2065"/>
                  </a:lnTo>
                  <a:cubicBezTo>
                    <a:pt x="3965" y="2006"/>
                    <a:pt x="3799" y="1958"/>
                    <a:pt x="3620" y="1958"/>
                  </a:cubicBezTo>
                  <a:cubicBezTo>
                    <a:pt x="3441" y="1958"/>
                    <a:pt x="3263" y="1994"/>
                    <a:pt x="3120" y="2065"/>
                  </a:cubicBezTo>
                  <a:lnTo>
                    <a:pt x="2322" y="684"/>
                  </a:lnTo>
                  <a:cubicBezTo>
                    <a:pt x="2730" y="480"/>
                    <a:pt x="3177" y="376"/>
                    <a:pt x="3627" y="376"/>
                  </a:cubicBezTo>
                  <a:close/>
                  <a:moveTo>
                    <a:pt x="1989" y="863"/>
                  </a:moveTo>
                  <a:lnTo>
                    <a:pt x="2787" y="2244"/>
                  </a:lnTo>
                  <a:cubicBezTo>
                    <a:pt x="2513" y="2458"/>
                    <a:pt x="2322" y="2768"/>
                    <a:pt x="2286" y="3137"/>
                  </a:cubicBezTo>
                  <a:lnTo>
                    <a:pt x="691" y="3137"/>
                  </a:lnTo>
                  <a:lnTo>
                    <a:pt x="691" y="3125"/>
                  </a:lnTo>
                  <a:cubicBezTo>
                    <a:pt x="739" y="2422"/>
                    <a:pt x="1013" y="1756"/>
                    <a:pt x="1536" y="1232"/>
                  </a:cubicBezTo>
                  <a:cubicBezTo>
                    <a:pt x="1667" y="1101"/>
                    <a:pt x="1834" y="970"/>
                    <a:pt x="1989" y="863"/>
                  </a:cubicBezTo>
                  <a:close/>
                  <a:moveTo>
                    <a:pt x="3620" y="2339"/>
                  </a:moveTo>
                  <a:cubicBezTo>
                    <a:pt x="4156" y="2339"/>
                    <a:pt x="4608" y="2779"/>
                    <a:pt x="4608" y="3315"/>
                  </a:cubicBezTo>
                  <a:cubicBezTo>
                    <a:pt x="4608" y="3851"/>
                    <a:pt x="4156" y="4303"/>
                    <a:pt x="3620" y="4303"/>
                  </a:cubicBezTo>
                  <a:cubicBezTo>
                    <a:pt x="3072" y="4303"/>
                    <a:pt x="2644" y="3851"/>
                    <a:pt x="2644" y="3315"/>
                  </a:cubicBezTo>
                  <a:cubicBezTo>
                    <a:pt x="2644" y="2768"/>
                    <a:pt x="3084" y="2339"/>
                    <a:pt x="3620" y="2339"/>
                  </a:cubicBezTo>
                  <a:close/>
                  <a:moveTo>
                    <a:pt x="6549" y="3482"/>
                  </a:moveTo>
                  <a:cubicBezTo>
                    <a:pt x="6513" y="4184"/>
                    <a:pt x="6227" y="4863"/>
                    <a:pt x="5704" y="5387"/>
                  </a:cubicBezTo>
                  <a:cubicBezTo>
                    <a:pt x="5573" y="5518"/>
                    <a:pt x="5406" y="5661"/>
                    <a:pt x="5263" y="5756"/>
                  </a:cubicBezTo>
                  <a:lnTo>
                    <a:pt x="4453" y="4375"/>
                  </a:lnTo>
                  <a:cubicBezTo>
                    <a:pt x="4727" y="4172"/>
                    <a:pt x="4918" y="3851"/>
                    <a:pt x="4965" y="3482"/>
                  </a:cubicBezTo>
                  <a:close/>
                  <a:moveTo>
                    <a:pt x="4120" y="4553"/>
                  </a:moveTo>
                  <a:lnTo>
                    <a:pt x="4918" y="5935"/>
                  </a:lnTo>
                  <a:cubicBezTo>
                    <a:pt x="4510" y="6138"/>
                    <a:pt x="4063" y="6243"/>
                    <a:pt x="3613" y="6243"/>
                  </a:cubicBezTo>
                  <a:cubicBezTo>
                    <a:pt x="3170" y="6243"/>
                    <a:pt x="2724" y="6141"/>
                    <a:pt x="2310" y="5935"/>
                  </a:cubicBezTo>
                  <a:lnTo>
                    <a:pt x="3120" y="4553"/>
                  </a:lnTo>
                  <a:cubicBezTo>
                    <a:pt x="3275" y="4613"/>
                    <a:pt x="3441" y="4661"/>
                    <a:pt x="3620" y="4661"/>
                  </a:cubicBezTo>
                  <a:cubicBezTo>
                    <a:pt x="3799" y="4661"/>
                    <a:pt x="3977" y="4625"/>
                    <a:pt x="4120" y="4553"/>
                  </a:cubicBezTo>
                  <a:close/>
                  <a:moveTo>
                    <a:pt x="3636" y="0"/>
                  </a:moveTo>
                  <a:cubicBezTo>
                    <a:pt x="2787" y="0"/>
                    <a:pt x="1940" y="328"/>
                    <a:pt x="1298" y="970"/>
                  </a:cubicBezTo>
                  <a:cubicBezTo>
                    <a:pt x="120" y="2137"/>
                    <a:pt x="0" y="4018"/>
                    <a:pt x="1036" y="5327"/>
                  </a:cubicBezTo>
                  <a:cubicBezTo>
                    <a:pt x="1060" y="5375"/>
                    <a:pt x="1120" y="5399"/>
                    <a:pt x="1179" y="5399"/>
                  </a:cubicBezTo>
                  <a:cubicBezTo>
                    <a:pt x="1227" y="5399"/>
                    <a:pt x="1251" y="5387"/>
                    <a:pt x="1298" y="5351"/>
                  </a:cubicBezTo>
                  <a:cubicBezTo>
                    <a:pt x="1370" y="5292"/>
                    <a:pt x="1394" y="5173"/>
                    <a:pt x="1334" y="5101"/>
                  </a:cubicBezTo>
                  <a:cubicBezTo>
                    <a:pt x="953" y="4625"/>
                    <a:pt x="751" y="4065"/>
                    <a:pt x="715" y="3482"/>
                  </a:cubicBezTo>
                  <a:lnTo>
                    <a:pt x="2310" y="3482"/>
                  </a:lnTo>
                  <a:cubicBezTo>
                    <a:pt x="2358" y="3839"/>
                    <a:pt x="2548" y="4149"/>
                    <a:pt x="2810" y="4375"/>
                  </a:cubicBezTo>
                  <a:lnTo>
                    <a:pt x="2013" y="5756"/>
                  </a:lnTo>
                  <a:lnTo>
                    <a:pt x="1834" y="5625"/>
                  </a:lnTo>
                  <a:cubicBezTo>
                    <a:pt x="1803" y="5599"/>
                    <a:pt x="1763" y="5587"/>
                    <a:pt x="1723" y="5587"/>
                  </a:cubicBezTo>
                  <a:cubicBezTo>
                    <a:pt x="1671" y="5587"/>
                    <a:pt x="1618" y="5608"/>
                    <a:pt x="1584" y="5649"/>
                  </a:cubicBezTo>
                  <a:cubicBezTo>
                    <a:pt x="1524" y="5732"/>
                    <a:pt x="1536" y="5851"/>
                    <a:pt x="1608" y="5911"/>
                  </a:cubicBezTo>
                  <a:cubicBezTo>
                    <a:pt x="2203" y="6375"/>
                    <a:pt x="2918" y="6613"/>
                    <a:pt x="3632" y="6613"/>
                  </a:cubicBezTo>
                  <a:cubicBezTo>
                    <a:pt x="4489" y="6613"/>
                    <a:pt x="5334" y="6280"/>
                    <a:pt x="5977" y="5637"/>
                  </a:cubicBezTo>
                  <a:cubicBezTo>
                    <a:pt x="7132" y="4470"/>
                    <a:pt x="7251" y="2589"/>
                    <a:pt x="6227" y="1279"/>
                  </a:cubicBezTo>
                  <a:cubicBezTo>
                    <a:pt x="6194" y="1239"/>
                    <a:pt x="6141" y="1217"/>
                    <a:pt x="6088" y="1217"/>
                  </a:cubicBezTo>
                  <a:cubicBezTo>
                    <a:pt x="6048" y="1217"/>
                    <a:pt x="6008" y="1230"/>
                    <a:pt x="5977" y="1255"/>
                  </a:cubicBezTo>
                  <a:cubicBezTo>
                    <a:pt x="5894" y="1315"/>
                    <a:pt x="5882" y="1434"/>
                    <a:pt x="5942" y="1505"/>
                  </a:cubicBezTo>
                  <a:cubicBezTo>
                    <a:pt x="6311" y="1982"/>
                    <a:pt x="6525" y="2541"/>
                    <a:pt x="6549" y="3125"/>
                  </a:cubicBezTo>
                  <a:lnTo>
                    <a:pt x="4965" y="3125"/>
                  </a:lnTo>
                  <a:cubicBezTo>
                    <a:pt x="4918" y="2768"/>
                    <a:pt x="4727" y="2458"/>
                    <a:pt x="4453" y="2232"/>
                  </a:cubicBezTo>
                  <a:lnTo>
                    <a:pt x="5263" y="851"/>
                  </a:lnTo>
                  <a:lnTo>
                    <a:pt x="5442" y="982"/>
                  </a:lnTo>
                  <a:cubicBezTo>
                    <a:pt x="5473" y="1007"/>
                    <a:pt x="5512" y="1020"/>
                    <a:pt x="5552" y="1020"/>
                  </a:cubicBezTo>
                  <a:cubicBezTo>
                    <a:pt x="5605" y="1020"/>
                    <a:pt x="5658" y="998"/>
                    <a:pt x="5692" y="958"/>
                  </a:cubicBezTo>
                  <a:cubicBezTo>
                    <a:pt x="5751" y="874"/>
                    <a:pt x="5739" y="755"/>
                    <a:pt x="5656" y="696"/>
                  </a:cubicBezTo>
                  <a:cubicBezTo>
                    <a:pt x="5059" y="229"/>
                    <a:pt x="4347" y="0"/>
                    <a:pt x="36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7" name="Google Shape;11217;p60"/>
            <p:cNvSpPr/>
            <p:nvPr/>
          </p:nvSpPr>
          <p:spPr>
            <a:xfrm>
              <a:off x="2179081" y="4285511"/>
              <a:ext cx="397525" cy="348670"/>
            </a:xfrm>
            <a:custGeom>
              <a:avLst/>
              <a:gdLst/>
              <a:ahLst/>
              <a:cxnLst/>
              <a:rect l="l" t="t" r="r" b="b"/>
              <a:pathLst>
                <a:path w="12490" h="10955" extrusionOk="0">
                  <a:moveTo>
                    <a:pt x="3493" y="346"/>
                  </a:moveTo>
                  <a:cubicBezTo>
                    <a:pt x="3526" y="346"/>
                    <a:pt x="3560" y="350"/>
                    <a:pt x="3596" y="358"/>
                  </a:cubicBezTo>
                  <a:cubicBezTo>
                    <a:pt x="3679" y="393"/>
                    <a:pt x="3751" y="465"/>
                    <a:pt x="3798" y="548"/>
                  </a:cubicBezTo>
                  <a:lnTo>
                    <a:pt x="4310" y="1655"/>
                  </a:lnTo>
                  <a:cubicBezTo>
                    <a:pt x="4167" y="1727"/>
                    <a:pt x="4036" y="1798"/>
                    <a:pt x="3917" y="1882"/>
                  </a:cubicBezTo>
                  <a:lnTo>
                    <a:pt x="3203" y="893"/>
                  </a:lnTo>
                  <a:cubicBezTo>
                    <a:pt x="3143" y="822"/>
                    <a:pt x="3131" y="715"/>
                    <a:pt x="3143" y="619"/>
                  </a:cubicBezTo>
                  <a:cubicBezTo>
                    <a:pt x="3155" y="512"/>
                    <a:pt x="3215" y="441"/>
                    <a:pt x="3310" y="393"/>
                  </a:cubicBezTo>
                  <a:cubicBezTo>
                    <a:pt x="3366" y="362"/>
                    <a:pt x="3426" y="346"/>
                    <a:pt x="3493" y="346"/>
                  </a:cubicBezTo>
                  <a:close/>
                  <a:moveTo>
                    <a:pt x="8984" y="346"/>
                  </a:moveTo>
                  <a:cubicBezTo>
                    <a:pt x="9046" y="346"/>
                    <a:pt x="9112" y="362"/>
                    <a:pt x="9168" y="393"/>
                  </a:cubicBezTo>
                  <a:cubicBezTo>
                    <a:pt x="9263" y="441"/>
                    <a:pt x="9323" y="524"/>
                    <a:pt x="9335" y="619"/>
                  </a:cubicBezTo>
                  <a:cubicBezTo>
                    <a:pt x="9347" y="715"/>
                    <a:pt x="9335" y="810"/>
                    <a:pt x="9275" y="893"/>
                  </a:cubicBezTo>
                  <a:lnTo>
                    <a:pt x="8561" y="1882"/>
                  </a:lnTo>
                  <a:cubicBezTo>
                    <a:pt x="8442" y="1810"/>
                    <a:pt x="8311" y="1715"/>
                    <a:pt x="8180" y="1655"/>
                  </a:cubicBezTo>
                  <a:lnTo>
                    <a:pt x="8680" y="560"/>
                  </a:lnTo>
                  <a:cubicBezTo>
                    <a:pt x="8727" y="465"/>
                    <a:pt x="8799" y="393"/>
                    <a:pt x="8894" y="358"/>
                  </a:cubicBezTo>
                  <a:cubicBezTo>
                    <a:pt x="8922" y="350"/>
                    <a:pt x="8952" y="346"/>
                    <a:pt x="8984" y="346"/>
                  </a:cubicBezTo>
                  <a:close/>
                  <a:moveTo>
                    <a:pt x="11780" y="5137"/>
                  </a:moveTo>
                  <a:cubicBezTo>
                    <a:pt x="11858" y="5137"/>
                    <a:pt x="11924" y="5171"/>
                    <a:pt x="11990" y="5227"/>
                  </a:cubicBezTo>
                  <a:cubicBezTo>
                    <a:pt x="12061" y="5287"/>
                    <a:pt x="12097" y="5394"/>
                    <a:pt x="12097" y="5477"/>
                  </a:cubicBezTo>
                  <a:cubicBezTo>
                    <a:pt x="12097" y="5572"/>
                    <a:pt x="12061" y="5656"/>
                    <a:pt x="11990" y="5739"/>
                  </a:cubicBezTo>
                  <a:cubicBezTo>
                    <a:pt x="11917" y="5791"/>
                    <a:pt x="11845" y="5825"/>
                    <a:pt x="11756" y="5825"/>
                  </a:cubicBezTo>
                  <a:cubicBezTo>
                    <a:pt x="11743" y="5825"/>
                    <a:pt x="11730" y="5824"/>
                    <a:pt x="11716" y="5823"/>
                  </a:cubicBezTo>
                  <a:lnTo>
                    <a:pt x="10513" y="5703"/>
                  </a:lnTo>
                  <a:lnTo>
                    <a:pt x="10513" y="5477"/>
                  </a:lnTo>
                  <a:lnTo>
                    <a:pt x="10513" y="5263"/>
                  </a:lnTo>
                  <a:lnTo>
                    <a:pt x="11716" y="5144"/>
                  </a:lnTo>
                  <a:cubicBezTo>
                    <a:pt x="11738" y="5139"/>
                    <a:pt x="11760" y="5137"/>
                    <a:pt x="11780" y="5137"/>
                  </a:cubicBezTo>
                  <a:close/>
                  <a:moveTo>
                    <a:pt x="729" y="5130"/>
                  </a:moveTo>
                  <a:cubicBezTo>
                    <a:pt x="740" y="5130"/>
                    <a:pt x="751" y="5131"/>
                    <a:pt x="762" y="5132"/>
                  </a:cubicBezTo>
                  <a:lnTo>
                    <a:pt x="1965" y="5251"/>
                  </a:lnTo>
                  <a:lnTo>
                    <a:pt x="1965" y="5477"/>
                  </a:lnTo>
                  <a:lnTo>
                    <a:pt x="1965" y="5703"/>
                  </a:lnTo>
                  <a:lnTo>
                    <a:pt x="762" y="5823"/>
                  </a:lnTo>
                  <a:cubicBezTo>
                    <a:pt x="745" y="5824"/>
                    <a:pt x="728" y="5825"/>
                    <a:pt x="712" y="5825"/>
                  </a:cubicBezTo>
                  <a:cubicBezTo>
                    <a:pt x="628" y="5825"/>
                    <a:pt x="558" y="5799"/>
                    <a:pt x="488" y="5739"/>
                  </a:cubicBezTo>
                  <a:cubicBezTo>
                    <a:pt x="417" y="5680"/>
                    <a:pt x="369" y="5572"/>
                    <a:pt x="369" y="5477"/>
                  </a:cubicBezTo>
                  <a:cubicBezTo>
                    <a:pt x="369" y="5370"/>
                    <a:pt x="417" y="5287"/>
                    <a:pt x="488" y="5227"/>
                  </a:cubicBezTo>
                  <a:cubicBezTo>
                    <a:pt x="563" y="5174"/>
                    <a:pt x="638" y="5130"/>
                    <a:pt x="729" y="5130"/>
                  </a:cubicBezTo>
                  <a:close/>
                  <a:moveTo>
                    <a:pt x="6239" y="1548"/>
                  </a:moveTo>
                  <a:cubicBezTo>
                    <a:pt x="8394" y="1548"/>
                    <a:pt x="10156" y="3310"/>
                    <a:pt x="10156" y="5465"/>
                  </a:cubicBezTo>
                  <a:cubicBezTo>
                    <a:pt x="10156" y="7620"/>
                    <a:pt x="8394" y="9382"/>
                    <a:pt x="6239" y="9382"/>
                  </a:cubicBezTo>
                  <a:cubicBezTo>
                    <a:pt x="4084" y="9382"/>
                    <a:pt x="2322" y="7620"/>
                    <a:pt x="2322" y="5465"/>
                  </a:cubicBezTo>
                  <a:cubicBezTo>
                    <a:pt x="2322" y="3310"/>
                    <a:pt x="4084" y="1548"/>
                    <a:pt x="6239" y="1548"/>
                  </a:cubicBezTo>
                  <a:close/>
                  <a:moveTo>
                    <a:pt x="3917" y="9073"/>
                  </a:moveTo>
                  <a:cubicBezTo>
                    <a:pt x="4036" y="9144"/>
                    <a:pt x="4167" y="9228"/>
                    <a:pt x="4310" y="9287"/>
                  </a:cubicBezTo>
                  <a:lnTo>
                    <a:pt x="3798" y="10395"/>
                  </a:lnTo>
                  <a:cubicBezTo>
                    <a:pt x="3751" y="10478"/>
                    <a:pt x="3679" y="10561"/>
                    <a:pt x="3596" y="10585"/>
                  </a:cubicBezTo>
                  <a:cubicBezTo>
                    <a:pt x="3563" y="10597"/>
                    <a:pt x="3528" y="10603"/>
                    <a:pt x="3493" y="10603"/>
                  </a:cubicBezTo>
                  <a:cubicBezTo>
                    <a:pt x="3429" y="10603"/>
                    <a:pt x="3364" y="10584"/>
                    <a:pt x="3310" y="10561"/>
                  </a:cubicBezTo>
                  <a:cubicBezTo>
                    <a:pt x="3215" y="10514"/>
                    <a:pt x="3155" y="10418"/>
                    <a:pt x="3143" y="10335"/>
                  </a:cubicBezTo>
                  <a:cubicBezTo>
                    <a:pt x="3131" y="10228"/>
                    <a:pt x="3143" y="10144"/>
                    <a:pt x="3203" y="10049"/>
                  </a:cubicBezTo>
                  <a:lnTo>
                    <a:pt x="3917" y="9073"/>
                  </a:lnTo>
                  <a:close/>
                  <a:moveTo>
                    <a:pt x="8561" y="9073"/>
                  </a:moveTo>
                  <a:lnTo>
                    <a:pt x="9275" y="10049"/>
                  </a:lnTo>
                  <a:cubicBezTo>
                    <a:pt x="9335" y="10121"/>
                    <a:pt x="9347" y="10228"/>
                    <a:pt x="9335" y="10335"/>
                  </a:cubicBezTo>
                  <a:cubicBezTo>
                    <a:pt x="9323" y="10442"/>
                    <a:pt x="9263" y="10514"/>
                    <a:pt x="9168" y="10561"/>
                  </a:cubicBezTo>
                  <a:cubicBezTo>
                    <a:pt x="9114" y="10584"/>
                    <a:pt x="9054" y="10603"/>
                    <a:pt x="8990" y="10603"/>
                  </a:cubicBezTo>
                  <a:cubicBezTo>
                    <a:pt x="8955" y="10603"/>
                    <a:pt x="8920" y="10597"/>
                    <a:pt x="8882" y="10585"/>
                  </a:cubicBezTo>
                  <a:cubicBezTo>
                    <a:pt x="8799" y="10561"/>
                    <a:pt x="8727" y="10478"/>
                    <a:pt x="8680" y="10395"/>
                  </a:cubicBezTo>
                  <a:lnTo>
                    <a:pt x="8180" y="9287"/>
                  </a:lnTo>
                  <a:cubicBezTo>
                    <a:pt x="8311" y="9216"/>
                    <a:pt x="8442" y="9144"/>
                    <a:pt x="8561" y="9073"/>
                  </a:cubicBezTo>
                  <a:close/>
                  <a:moveTo>
                    <a:pt x="3464" y="0"/>
                  </a:moveTo>
                  <a:cubicBezTo>
                    <a:pt x="3346" y="0"/>
                    <a:pt x="3228" y="30"/>
                    <a:pt x="3120" y="96"/>
                  </a:cubicBezTo>
                  <a:cubicBezTo>
                    <a:pt x="2941" y="203"/>
                    <a:pt x="2822" y="358"/>
                    <a:pt x="2774" y="548"/>
                  </a:cubicBezTo>
                  <a:cubicBezTo>
                    <a:pt x="2727" y="750"/>
                    <a:pt x="2774" y="953"/>
                    <a:pt x="2893" y="1120"/>
                  </a:cubicBezTo>
                  <a:lnTo>
                    <a:pt x="3608" y="2096"/>
                  </a:lnTo>
                  <a:cubicBezTo>
                    <a:pt x="2739" y="2775"/>
                    <a:pt x="2143" y="3751"/>
                    <a:pt x="2000" y="4882"/>
                  </a:cubicBezTo>
                  <a:lnTo>
                    <a:pt x="798" y="4763"/>
                  </a:lnTo>
                  <a:cubicBezTo>
                    <a:pt x="781" y="4762"/>
                    <a:pt x="764" y="4761"/>
                    <a:pt x="747" y="4761"/>
                  </a:cubicBezTo>
                  <a:cubicBezTo>
                    <a:pt x="562" y="4761"/>
                    <a:pt x="380" y="4821"/>
                    <a:pt x="238" y="4941"/>
                  </a:cubicBezTo>
                  <a:cubicBezTo>
                    <a:pt x="95" y="5084"/>
                    <a:pt x="0" y="5275"/>
                    <a:pt x="0" y="5465"/>
                  </a:cubicBezTo>
                  <a:cubicBezTo>
                    <a:pt x="0" y="5656"/>
                    <a:pt x="95" y="5858"/>
                    <a:pt x="238" y="5989"/>
                  </a:cubicBezTo>
                  <a:cubicBezTo>
                    <a:pt x="381" y="6108"/>
                    <a:pt x="536" y="6168"/>
                    <a:pt x="714" y="6168"/>
                  </a:cubicBezTo>
                  <a:lnTo>
                    <a:pt x="798" y="6168"/>
                  </a:lnTo>
                  <a:lnTo>
                    <a:pt x="2000" y="6049"/>
                  </a:lnTo>
                  <a:cubicBezTo>
                    <a:pt x="2143" y="7180"/>
                    <a:pt x="2762" y="8156"/>
                    <a:pt x="3608" y="8835"/>
                  </a:cubicBezTo>
                  <a:lnTo>
                    <a:pt x="2905" y="9847"/>
                  </a:lnTo>
                  <a:cubicBezTo>
                    <a:pt x="2786" y="10002"/>
                    <a:pt x="2739" y="10216"/>
                    <a:pt x="2786" y="10406"/>
                  </a:cubicBezTo>
                  <a:cubicBezTo>
                    <a:pt x="2834" y="10597"/>
                    <a:pt x="2953" y="10776"/>
                    <a:pt x="3131" y="10871"/>
                  </a:cubicBezTo>
                  <a:cubicBezTo>
                    <a:pt x="3239" y="10930"/>
                    <a:pt x="3370" y="10954"/>
                    <a:pt x="3489" y="10954"/>
                  </a:cubicBezTo>
                  <a:cubicBezTo>
                    <a:pt x="3560" y="10954"/>
                    <a:pt x="3632" y="10942"/>
                    <a:pt x="3715" y="10930"/>
                  </a:cubicBezTo>
                  <a:cubicBezTo>
                    <a:pt x="3905" y="10871"/>
                    <a:pt x="4048" y="10716"/>
                    <a:pt x="4143" y="10537"/>
                  </a:cubicBezTo>
                  <a:lnTo>
                    <a:pt x="4644" y="9442"/>
                  </a:lnTo>
                  <a:cubicBezTo>
                    <a:pt x="5132" y="9644"/>
                    <a:pt x="5691" y="9752"/>
                    <a:pt x="6251" y="9752"/>
                  </a:cubicBezTo>
                  <a:cubicBezTo>
                    <a:pt x="6822" y="9752"/>
                    <a:pt x="7370" y="9633"/>
                    <a:pt x="7858" y="9442"/>
                  </a:cubicBezTo>
                  <a:lnTo>
                    <a:pt x="8370" y="10537"/>
                  </a:lnTo>
                  <a:cubicBezTo>
                    <a:pt x="8454" y="10716"/>
                    <a:pt x="8608" y="10871"/>
                    <a:pt x="8799" y="10930"/>
                  </a:cubicBezTo>
                  <a:cubicBezTo>
                    <a:pt x="8870" y="10954"/>
                    <a:pt x="8942" y="10954"/>
                    <a:pt x="9025" y="10954"/>
                  </a:cubicBezTo>
                  <a:cubicBezTo>
                    <a:pt x="9144" y="10954"/>
                    <a:pt x="9275" y="10930"/>
                    <a:pt x="9382" y="10871"/>
                  </a:cubicBezTo>
                  <a:cubicBezTo>
                    <a:pt x="9561" y="10764"/>
                    <a:pt x="9680" y="10597"/>
                    <a:pt x="9716" y="10406"/>
                  </a:cubicBezTo>
                  <a:cubicBezTo>
                    <a:pt x="9763" y="10216"/>
                    <a:pt x="9716" y="10002"/>
                    <a:pt x="9597" y="9847"/>
                  </a:cubicBezTo>
                  <a:lnTo>
                    <a:pt x="8882" y="8859"/>
                  </a:lnTo>
                  <a:cubicBezTo>
                    <a:pt x="9751" y="8192"/>
                    <a:pt x="10347" y="7204"/>
                    <a:pt x="10490" y="6073"/>
                  </a:cubicBezTo>
                  <a:lnTo>
                    <a:pt x="11704" y="6192"/>
                  </a:lnTo>
                  <a:lnTo>
                    <a:pt x="11775" y="6192"/>
                  </a:lnTo>
                  <a:cubicBezTo>
                    <a:pt x="11954" y="6192"/>
                    <a:pt x="12121" y="6132"/>
                    <a:pt x="12252" y="6013"/>
                  </a:cubicBezTo>
                  <a:cubicBezTo>
                    <a:pt x="12395" y="5882"/>
                    <a:pt x="12490" y="5692"/>
                    <a:pt x="12490" y="5489"/>
                  </a:cubicBezTo>
                  <a:cubicBezTo>
                    <a:pt x="12490" y="5299"/>
                    <a:pt x="12383" y="5084"/>
                    <a:pt x="12240" y="4941"/>
                  </a:cubicBezTo>
                  <a:cubicBezTo>
                    <a:pt x="12098" y="4821"/>
                    <a:pt x="11926" y="4761"/>
                    <a:pt x="11742" y="4761"/>
                  </a:cubicBezTo>
                  <a:cubicBezTo>
                    <a:pt x="11726" y="4761"/>
                    <a:pt x="11709" y="4762"/>
                    <a:pt x="11692" y="4763"/>
                  </a:cubicBezTo>
                  <a:lnTo>
                    <a:pt x="10478" y="4882"/>
                  </a:lnTo>
                  <a:cubicBezTo>
                    <a:pt x="10335" y="3751"/>
                    <a:pt x="9716" y="2775"/>
                    <a:pt x="8870" y="2096"/>
                  </a:cubicBezTo>
                  <a:lnTo>
                    <a:pt x="9585" y="1120"/>
                  </a:lnTo>
                  <a:cubicBezTo>
                    <a:pt x="9704" y="953"/>
                    <a:pt x="9751" y="750"/>
                    <a:pt x="9704" y="548"/>
                  </a:cubicBezTo>
                  <a:cubicBezTo>
                    <a:pt x="9668" y="358"/>
                    <a:pt x="9537" y="179"/>
                    <a:pt x="9370" y="96"/>
                  </a:cubicBezTo>
                  <a:cubicBezTo>
                    <a:pt x="9254" y="30"/>
                    <a:pt x="9134" y="0"/>
                    <a:pt x="9015" y="0"/>
                  </a:cubicBezTo>
                  <a:cubicBezTo>
                    <a:pt x="8938" y="0"/>
                    <a:pt x="8861" y="13"/>
                    <a:pt x="8787" y="36"/>
                  </a:cubicBezTo>
                  <a:cubicBezTo>
                    <a:pt x="8596" y="96"/>
                    <a:pt x="8442" y="238"/>
                    <a:pt x="8358" y="417"/>
                  </a:cubicBezTo>
                  <a:lnTo>
                    <a:pt x="7846" y="1524"/>
                  </a:lnTo>
                  <a:cubicBezTo>
                    <a:pt x="7358" y="1310"/>
                    <a:pt x="6810" y="1203"/>
                    <a:pt x="6239" y="1203"/>
                  </a:cubicBezTo>
                  <a:cubicBezTo>
                    <a:pt x="5679" y="1203"/>
                    <a:pt x="5120" y="1322"/>
                    <a:pt x="4632" y="1524"/>
                  </a:cubicBezTo>
                  <a:lnTo>
                    <a:pt x="4132" y="417"/>
                  </a:lnTo>
                  <a:cubicBezTo>
                    <a:pt x="4036" y="238"/>
                    <a:pt x="3893" y="96"/>
                    <a:pt x="3691" y="36"/>
                  </a:cubicBezTo>
                  <a:cubicBezTo>
                    <a:pt x="3617" y="13"/>
                    <a:pt x="3540" y="0"/>
                    <a:pt x="34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18" name="Google Shape;11218;p60"/>
          <p:cNvGrpSpPr/>
          <p:nvPr/>
        </p:nvGrpSpPr>
        <p:grpSpPr>
          <a:xfrm>
            <a:off x="3584201" y="4294996"/>
            <a:ext cx="267574" cy="329415"/>
            <a:chOff x="3584201" y="4294996"/>
            <a:chExt cx="267574" cy="329415"/>
          </a:xfrm>
        </p:grpSpPr>
        <p:sp>
          <p:nvSpPr>
            <p:cNvPr id="11219" name="Google Shape;11219;p60"/>
            <p:cNvSpPr/>
            <p:nvPr/>
          </p:nvSpPr>
          <p:spPr>
            <a:xfrm>
              <a:off x="3584201" y="4294996"/>
              <a:ext cx="267574" cy="329415"/>
            </a:xfrm>
            <a:custGeom>
              <a:avLst/>
              <a:gdLst/>
              <a:ahLst/>
              <a:cxnLst/>
              <a:rect l="l" t="t" r="r" b="b"/>
              <a:pathLst>
                <a:path w="8407" h="10350" extrusionOk="0">
                  <a:moveTo>
                    <a:pt x="4191" y="321"/>
                  </a:moveTo>
                  <a:lnTo>
                    <a:pt x="8097" y="1095"/>
                  </a:lnTo>
                  <a:lnTo>
                    <a:pt x="8097" y="6727"/>
                  </a:lnTo>
                  <a:lnTo>
                    <a:pt x="4191" y="10001"/>
                  </a:lnTo>
                  <a:lnTo>
                    <a:pt x="298" y="6727"/>
                  </a:lnTo>
                  <a:lnTo>
                    <a:pt x="298" y="1095"/>
                  </a:lnTo>
                  <a:lnTo>
                    <a:pt x="4191" y="321"/>
                  </a:lnTo>
                  <a:close/>
                  <a:moveTo>
                    <a:pt x="4168" y="0"/>
                  </a:moveTo>
                  <a:lnTo>
                    <a:pt x="120" y="810"/>
                  </a:lnTo>
                  <a:cubicBezTo>
                    <a:pt x="48" y="822"/>
                    <a:pt x="0" y="881"/>
                    <a:pt x="0" y="953"/>
                  </a:cubicBezTo>
                  <a:lnTo>
                    <a:pt x="0" y="6787"/>
                  </a:lnTo>
                  <a:cubicBezTo>
                    <a:pt x="0" y="6834"/>
                    <a:pt x="12" y="6882"/>
                    <a:pt x="60" y="6906"/>
                  </a:cubicBezTo>
                  <a:lnTo>
                    <a:pt x="4108" y="10323"/>
                  </a:lnTo>
                  <a:cubicBezTo>
                    <a:pt x="4138" y="10341"/>
                    <a:pt x="4171" y="10350"/>
                    <a:pt x="4203" y="10350"/>
                  </a:cubicBezTo>
                  <a:cubicBezTo>
                    <a:pt x="4236" y="10350"/>
                    <a:pt x="4269" y="10341"/>
                    <a:pt x="4299" y="10323"/>
                  </a:cubicBezTo>
                  <a:lnTo>
                    <a:pt x="8347" y="6906"/>
                  </a:lnTo>
                  <a:cubicBezTo>
                    <a:pt x="8382" y="6882"/>
                    <a:pt x="8406" y="6834"/>
                    <a:pt x="8406" y="6787"/>
                  </a:cubicBezTo>
                  <a:lnTo>
                    <a:pt x="8406" y="953"/>
                  </a:lnTo>
                  <a:cubicBezTo>
                    <a:pt x="8406" y="881"/>
                    <a:pt x="8347" y="822"/>
                    <a:pt x="8275" y="810"/>
                  </a:cubicBezTo>
                  <a:lnTo>
                    <a:pt x="4227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0" name="Google Shape;11220;p60"/>
            <p:cNvSpPr/>
            <p:nvPr/>
          </p:nvSpPr>
          <p:spPr>
            <a:xfrm>
              <a:off x="3604666" y="4315811"/>
              <a:ext cx="226644" cy="281610"/>
            </a:xfrm>
            <a:custGeom>
              <a:avLst/>
              <a:gdLst/>
              <a:ahLst/>
              <a:cxnLst/>
              <a:rect l="l" t="t" r="r" b="b"/>
              <a:pathLst>
                <a:path w="7121" h="8848" extrusionOk="0">
                  <a:moveTo>
                    <a:pt x="3525" y="1"/>
                  </a:moveTo>
                  <a:lnTo>
                    <a:pt x="119" y="691"/>
                  </a:lnTo>
                  <a:cubicBezTo>
                    <a:pt x="36" y="703"/>
                    <a:pt x="0" y="763"/>
                    <a:pt x="0" y="834"/>
                  </a:cubicBezTo>
                  <a:lnTo>
                    <a:pt x="0" y="5835"/>
                  </a:lnTo>
                  <a:cubicBezTo>
                    <a:pt x="0" y="5883"/>
                    <a:pt x="12" y="5930"/>
                    <a:pt x="60" y="5954"/>
                  </a:cubicBezTo>
                  <a:lnTo>
                    <a:pt x="3465" y="8811"/>
                  </a:lnTo>
                  <a:cubicBezTo>
                    <a:pt x="3495" y="8835"/>
                    <a:pt x="3528" y="8847"/>
                    <a:pt x="3560" y="8847"/>
                  </a:cubicBezTo>
                  <a:cubicBezTo>
                    <a:pt x="3593" y="8847"/>
                    <a:pt x="3626" y="8835"/>
                    <a:pt x="3656" y="8811"/>
                  </a:cubicBezTo>
                  <a:lnTo>
                    <a:pt x="7061" y="5954"/>
                  </a:lnTo>
                  <a:cubicBezTo>
                    <a:pt x="7097" y="5930"/>
                    <a:pt x="7120" y="5883"/>
                    <a:pt x="7120" y="5835"/>
                  </a:cubicBezTo>
                  <a:lnTo>
                    <a:pt x="7120" y="4609"/>
                  </a:lnTo>
                  <a:cubicBezTo>
                    <a:pt x="7120" y="4513"/>
                    <a:pt x="7049" y="4454"/>
                    <a:pt x="6977" y="4454"/>
                  </a:cubicBezTo>
                  <a:cubicBezTo>
                    <a:pt x="6882" y="4454"/>
                    <a:pt x="6823" y="4525"/>
                    <a:pt x="6823" y="4609"/>
                  </a:cubicBezTo>
                  <a:lnTo>
                    <a:pt x="6823" y="5763"/>
                  </a:lnTo>
                  <a:lnTo>
                    <a:pt x="3572" y="8502"/>
                  </a:lnTo>
                  <a:lnTo>
                    <a:pt x="298" y="5763"/>
                  </a:lnTo>
                  <a:lnTo>
                    <a:pt x="298" y="953"/>
                  </a:lnTo>
                  <a:lnTo>
                    <a:pt x="3548" y="299"/>
                  </a:lnTo>
                  <a:lnTo>
                    <a:pt x="6811" y="953"/>
                  </a:lnTo>
                  <a:lnTo>
                    <a:pt x="6811" y="3847"/>
                  </a:lnTo>
                  <a:cubicBezTo>
                    <a:pt x="6799" y="3930"/>
                    <a:pt x="6870" y="4013"/>
                    <a:pt x="6966" y="4013"/>
                  </a:cubicBezTo>
                  <a:cubicBezTo>
                    <a:pt x="7049" y="4013"/>
                    <a:pt x="7108" y="3930"/>
                    <a:pt x="7108" y="3858"/>
                  </a:cubicBezTo>
                  <a:lnTo>
                    <a:pt x="7108" y="834"/>
                  </a:lnTo>
                  <a:cubicBezTo>
                    <a:pt x="7108" y="763"/>
                    <a:pt x="7061" y="703"/>
                    <a:pt x="6989" y="691"/>
                  </a:cubicBezTo>
                  <a:lnTo>
                    <a:pt x="3584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1" name="Google Shape;11221;p60"/>
            <p:cNvSpPr/>
            <p:nvPr/>
          </p:nvSpPr>
          <p:spPr>
            <a:xfrm>
              <a:off x="3645597" y="4362056"/>
              <a:ext cx="144019" cy="144019"/>
            </a:xfrm>
            <a:custGeom>
              <a:avLst/>
              <a:gdLst/>
              <a:ahLst/>
              <a:cxnLst/>
              <a:rect l="l" t="t" r="r" b="b"/>
              <a:pathLst>
                <a:path w="4525" h="4525" extrusionOk="0">
                  <a:moveTo>
                    <a:pt x="2262" y="322"/>
                  </a:moveTo>
                  <a:cubicBezTo>
                    <a:pt x="3334" y="322"/>
                    <a:pt x="4215" y="1203"/>
                    <a:pt x="4215" y="2275"/>
                  </a:cubicBezTo>
                  <a:cubicBezTo>
                    <a:pt x="4215" y="3346"/>
                    <a:pt x="3334" y="4227"/>
                    <a:pt x="2262" y="4227"/>
                  </a:cubicBezTo>
                  <a:cubicBezTo>
                    <a:pt x="1191" y="4227"/>
                    <a:pt x="322" y="3346"/>
                    <a:pt x="322" y="2275"/>
                  </a:cubicBezTo>
                  <a:cubicBezTo>
                    <a:pt x="322" y="1203"/>
                    <a:pt x="1191" y="322"/>
                    <a:pt x="2262" y="322"/>
                  </a:cubicBezTo>
                  <a:close/>
                  <a:moveTo>
                    <a:pt x="2262" y="0"/>
                  </a:moveTo>
                  <a:cubicBezTo>
                    <a:pt x="1012" y="0"/>
                    <a:pt x="0" y="1012"/>
                    <a:pt x="0" y="2263"/>
                  </a:cubicBezTo>
                  <a:cubicBezTo>
                    <a:pt x="0" y="3513"/>
                    <a:pt x="1012" y="4525"/>
                    <a:pt x="2262" y="4525"/>
                  </a:cubicBezTo>
                  <a:cubicBezTo>
                    <a:pt x="3513" y="4525"/>
                    <a:pt x="4525" y="3513"/>
                    <a:pt x="4525" y="2263"/>
                  </a:cubicBezTo>
                  <a:cubicBezTo>
                    <a:pt x="4525" y="1012"/>
                    <a:pt x="3513" y="0"/>
                    <a:pt x="2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2" name="Google Shape;11222;p60"/>
            <p:cNvSpPr/>
            <p:nvPr/>
          </p:nvSpPr>
          <p:spPr>
            <a:xfrm>
              <a:off x="3692574" y="4377970"/>
              <a:ext cx="51561" cy="112574"/>
            </a:xfrm>
            <a:custGeom>
              <a:avLst/>
              <a:gdLst/>
              <a:ahLst/>
              <a:cxnLst/>
              <a:rect l="l" t="t" r="r" b="b"/>
              <a:pathLst>
                <a:path w="1620" h="3537" extrusionOk="0">
                  <a:moveTo>
                    <a:pt x="810" y="0"/>
                  </a:moveTo>
                  <a:cubicBezTo>
                    <a:pt x="727" y="0"/>
                    <a:pt x="656" y="72"/>
                    <a:pt x="656" y="155"/>
                  </a:cubicBezTo>
                  <a:lnTo>
                    <a:pt x="656" y="489"/>
                  </a:lnTo>
                  <a:cubicBezTo>
                    <a:pt x="298" y="524"/>
                    <a:pt x="1" y="834"/>
                    <a:pt x="1" y="1203"/>
                  </a:cubicBezTo>
                  <a:cubicBezTo>
                    <a:pt x="1" y="1608"/>
                    <a:pt x="334" y="1917"/>
                    <a:pt x="715" y="1917"/>
                  </a:cubicBezTo>
                  <a:lnTo>
                    <a:pt x="882" y="1917"/>
                  </a:lnTo>
                  <a:cubicBezTo>
                    <a:pt x="1108" y="1917"/>
                    <a:pt x="1298" y="2108"/>
                    <a:pt x="1298" y="2334"/>
                  </a:cubicBezTo>
                  <a:cubicBezTo>
                    <a:pt x="1298" y="2560"/>
                    <a:pt x="1108" y="2751"/>
                    <a:pt x="882" y="2751"/>
                  </a:cubicBezTo>
                  <a:lnTo>
                    <a:pt x="644" y="2751"/>
                  </a:lnTo>
                  <a:cubicBezTo>
                    <a:pt x="465" y="2751"/>
                    <a:pt x="310" y="2608"/>
                    <a:pt x="310" y="2429"/>
                  </a:cubicBezTo>
                  <a:cubicBezTo>
                    <a:pt x="310" y="2334"/>
                    <a:pt x="239" y="2275"/>
                    <a:pt x="167" y="2275"/>
                  </a:cubicBezTo>
                  <a:cubicBezTo>
                    <a:pt x="84" y="2275"/>
                    <a:pt x="13" y="2346"/>
                    <a:pt x="13" y="2429"/>
                  </a:cubicBezTo>
                  <a:cubicBezTo>
                    <a:pt x="13" y="2787"/>
                    <a:pt x="298" y="3060"/>
                    <a:pt x="656" y="3060"/>
                  </a:cubicBezTo>
                  <a:lnTo>
                    <a:pt x="667" y="3060"/>
                  </a:lnTo>
                  <a:lnTo>
                    <a:pt x="667" y="3394"/>
                  </a:lnTo>
                  <a:cubicBezTo>
                    <a:pt x="667" y="3477"/>
                    <a:pt x="739" y="3537"/>
                    <a:pt x="822" y="3537"/>
                  </a:cubicBezTo>
                  <a:cubicBezTo>
                    <a:pt x="894" y="3537"/>
                    <a:pt x="965" y="3465"/>
                    <a:pt x="965" y="3394"/>
                  </a:cubicBezTo>
                  <a:lnTo>
                    <a:pt x="965" y="3048"/>
                  </a:lnTo>
                  <a:cubicBezTo>
                    <a:pt x="1322" y="3025"/>
                    <a:pt x="1620" y="2703"/>
                    <a:pt x="1620" y="2334"/>
                  </a:cubicBezTo>
                  <a:cubicBezTo>
                    <a:pt x="1620" y="1929"/>
                    <a:pt x="1298" y="1620"/>
                    <a:pt x="906" y="1620"/>
                  </a:cubicBezTo>
                  <a:lnTo>
                    <a:pt x="739" y="1620"/>
                  </a:lnTo>
                  <a:cubicBezTo>
                    <a:pt x="525" y="1620"/>
                    <a:pt x="334" y="1429"/>
                    <a:pt x="334" y="1203"/>
                  </a:cubicBezTo>
                  <a:cubicBezTo>
                    <a:pt x="334" y="977"/>
                    <a:pt x="525" y="786"/>
                    <a:pt x="739" y="786"/>
                  </a:cubicBezTo>
                  <a:lnTo>
                    <a:pt x="977" y="786"/>
                  </a:lnTo>
                  <a:cubicBezTo>
                    <a:pt x="1167" y="786"/>
                    <a:pt x="1310" y="941"/>
                    <a:pt x="1310" y="1120"/>
                  </a:cubicBezTo>
                  <a:lnTo>
                    <a:pt x="1310" y="1286"/>
                  </a:lnTo>
                  <a:cubicBezTo>
                    <a:pt x="1310" y="1358"/>
                    <a:pt x="1382" y="1429"/>
                    <a:pt x="1465" y="1429"/>
                  </a:cubicBezTo>
                  <a:cubicBezTo>
                    <a:pt x="1548" y="1429"/>
                    <a:pt x="1608" y="1358"/>
                    <a:pt x="1608" y="1286"/>
                  </a:cubicBezTo>
                  <a:lnTo>
                    <a:pt x="1608" y="1120"/>
                  </a:lnTo>
                  <a:cubicBezTo>
                    <a:pt x="1608" y="762"/>
                    <a:pt x="1322" y="477"/>
                    <a:pt x="965" y="477"/>
                  </a:cubicBezTo>
                  <a:lnTo>
                    <a:pt x="953" y="477"/>
                  </a:lnTo>
                  <a:lnTo>
                    <a:pt x="953" y="155"/>
                  </a:lnTo>
                  <a:cubicBezTo>
                    <a:pt x="953" y="60"/>
                    <a:pt x="882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23" name="Google Shape;11223;p60"/>
          <p:cNvGrpSpPr/>
          <p:nvPr/>
        </p:nvGrpSpPr>
        <p:grpSpPr>
          <a:xfrm>
            <a:off x="3082855" y="4295728"/>
            <a:ext cx="375946" cy="327823"/>
            <a:chOff x="3082855" y="4295728"/>
            <a:chExt cx="375946" cy="327823"/>
          </a:xfrm>
        </p:grpSpPr>
        <p:sp>
          <p:nvSpPr>
            <p:cNvPr id="11224" name="Google Shape;11224;p60"/>
            <p:cNvSpPr/>
            <p:nvPr/>
          </p:nvSpPr>
          <p:spPr>
            <a:xfrm>
              <a:off x="3082855" y="4295728"/>
              <a:ext cx="375946" cy="327823"/>
            </a:xfrm>
            <a:custGeom>
              <a:avLst/>
              <a:gdLst/>
              <a:ahLst/>
              <a:cxnLst/>
              <a:rect l="l" t="t" r="r" b="b"/>
              <a:pathLst>
                <a:path w="11812" h="10300" extrusionOk="0">
                  <a:moveTo>
                    <a:pt x="6644" y="358"/>
                  </a:moveTo>
                  <a:lnTo>
                    <a:pt x="6311" y="3311"/>
                  </a:lnTo>
                  <a:cubicBezTo>
                    <a:pt x="6311" y="3311"/>
                    <a:pt x="6311" y="3335"/>
                    <a:pt x="6299" y="3335"/>
                  </a:cubicBezTo>
                  <a:lnTo>
                    <a:pt x="5525" y="3335"/>
                  </a:lnTo>
                  <a:cubicBezTo>
                    <a:pt x="5525" y="3335"/>
                    <a:pt x="5513" y="3335"/>
                    <a:pt x="5513" y="3311"/>
                  </a:cubicBezTo>
                  <a:lnTo>
                    <a:pt x="5180" y="358"/>
                  </a:lnTo>
                  <a:close/>
                  <a:moveTo>
                    <a:pt x="11240" y="2930"/>
                  </a:moveTo>
                  <a:cubicBezTo>
                    <a:pt x="11347" y="2930"/>
                    <a:pt x="11431" y="3013"/>
                    <a:pt x="11431" y="3120"/>
                  </a:cubicBezTo>
                  <a:lnTo>
                    <a:pt x="11431" y="9764"/>
                  </a:lnTo>
                  <a:lnTo>
                    <a:pt x="11454" y="9764"/>
                  </a:lnTo>
                  <a:cubicBezTo>
                    <a:pt x="11454" y="9859"/>
                    <a:pt x="11359" y="9954"/>
                    <a:pt x="11252" y="9954"/>
                  </a:cubicBezTo>
                  <a:lnTo>
                    <a:pt x="560" y="9954"/>
                  </a:lnTo>
                  <a:cubicBezTo>
                    <a:pt x="453" y="9954"/>
                    <a:pt x="358" y="9859"/>
                    <a:pt x="358" y="9764"/>
                  </a:cubicBezTo>
                  <a:lnTo>
                    <a:pt x="358" y="3120"/>
                  </a:lnTo>
                  <a:cubicBezTo>
                    <a:pt x="358" y="3013"/>
                    <a:pt x="453" y="2930"/>
                    <a:pt x="560" y="2930"/>
                  </a:cubicBezTo>
                  <a:lnTo>
                    <a:pt x="5108" y="2930"/>
                  </a:lnTo>
                  <a:lnTo>
                    <a:pt x="5156" y="3346"/>
                  </a:lnTo>
                  <a:cubicBezTo>
                    <a:pt x="5168" y="3525"/>
                    <a:pt x="5335" y="3656"/>
                    <a:pt x="5513" y="3656"/>
                  </a:cubicBezTo>
                  <a:lnTo>
                    <a:pt x="6287" y="3656"/>
                  </a:lnTo>
                  <a:cubicBezTo>
                    <a:pt x="6466" y="3656"/>
                    <a:pt x="6608" y="3525"/>
                    <a:pt x="6644" y="3346"/>
                  </a:cubicBezTo>
                  <a:lnTo>
                    <a:pt x="6692" y="2930"/>
                  </a:lnTo>
                  <a:close/>
                  <a:moveTo>
                    <a:pt x="4977" y="1"/>
                  </a:moveTo>
                  <a:cubicBezTo>
                    <a:pt x="4930" y="1"/>
                    <a:pt x="4882" y="13"/>
                    <a:pt x="4846" y="60"/>
                  </a:cubicBezTo>
                  <a:cubicBezTo>
                    <a:pt x="4811" y="84"/>
                    <a:pt x="4799" y="144"/>
                    <a:pt x="4799" y="191"/>
                  </a:cubicBezTo>
                  <a:lnTo>
                    <a:pt x="5061" y="2584"/>
                  </a:lnTo>
                  <a:lnTo>
                    <a:pt x="536" y="2584"/>
                  </a:lnTo>
                  <a:cubicBezTo>
                    <a:pt x="239" y="2584"/>
                    <a:pt x="1" y="2823"/>
                    <a:pt x="1" y="3120"/>
                  </a:cubicBezTo>
                  <a:lnTo>
                    <a:pt x="1" y="9764"/>
                  </a:lnTo>
                  <a:cubicBezTo>
                    <a:pt x="1" y="10062"/>
                    <a:pt x="239" y="10300"/>
                    <a:pt x="536" y="10300"/>
                  </a:cubicBezTo>
                  <a:lnTo>
                    <a:pt x="11240" y="10300"/>
                  </a:lnTo>
                  <a:cubicBezTo>
                    <a:pt x="11538" y="10300"/>
                    <a:pt x="11776" y="10062"/>
                    <a:pt x="11776" y="9764"/>
                  </a:cubicBezTo>
                  <a:lnTo>
                    <a:pt x="11776" y="3120"/>
                  </a:lnTo>
                  <a:cubicBezTo>
                    <a:pt x="11812" y="2823"/>
                    <a:pt x="11550" y="2584"/>
                    <a:pt x="11252" y="2584"/>
                  </a:cubicBezTo>
                  <a:lnTo>
                    <a:pt x="6728" y="2584"/>
                  </a:lnTo>
                  <a:lnTo>
                    <a:pt x="7001" y="191"/>
                  </a:lnTo>
                  <a:cubicBezTo>
                    <a:pt x="7001" y="144"/>
                    <a:pt x="6989" y="84"/>
                    <a:pt x="6954" y="60"/>
                  </a:cubicBezTo>
                  <a:cubicBezTo>
                    <a:pt x="6930" y="25"/>
                    <a:pt x="6882" y="1"/>
                    <a:pt x="6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5" name="Google Shape;11225;p60"/>
            <p:cNvSpPr/>
            <p:nvPr/>
          </p:nvSpPr>
          <p:spPr>
            <a:xfrm>
              <a:off x="3118852" y="4424947"/>
              <a:ext cx="128488" cy="163371"/>
            </a:xfrm>
            <a:custGeom>
              <a:avLst/>
              <a:gdLst/>
              <a:ahLst/>
              <a:cxnLst/>
              <a:rect l="l" t="t" r="r" b="b"/>
              <a:pathLst>
                <a:path w="4037" h="5133" extrusionOk="0">
                  <a:moveTo>
                    <a:pt x="2203" y="1251"/>
                  </a:moveTo>
                  <a:cubicBezTo>
                    <a:pt x="2418" y="1251"/>
                    <a:pt x="2596" y="1418"/>
                    <a:pt x="2596" y="1632"/>
                  </a:cubicBezTo>
                  <a:lnTo>
                    <a:pt x="2596" y="2013"/>
                  </a:lnTo>
                  <a:cubicBezTo>
                    <a:pt x="2584" y="2323"/>
                    <a:pt x="2322" y="2573"/>
                    <a:pt x="2013" y="2573"/>
                  </a:cubicBezTo>
                  <a:cubicBezTo>
                    <a:pt x="1703" y="2573"/>
                    <a:pt x="1453" y="2323"/>
                    <a:pt x="1453" y="2013"/>
                  </a:cubicBezTo>
                  <a:lnTo>
                    <a:pt x="1453" y="1632"/>
                  </a:lnTo>
                  <a:cubicBezTo>
                    <a:pt x="1453" y="1430"/>
                    <a:pt x="1608" y="1251"/>
                    <a:pt x="1834" y="1251"/>
                  </a:cubicBezTo>
                  <a:close/>
                  <a:moveTo>
                    <a:pt x="2191" y="2906"/>
                  </a:moveTo>
                  <a:lnTo>
                    <a:pt x="2191" y="3001"/>
                  </a:lnTo>
                  <a:cubicBezTo>
                    <a:pt x="2203" y="3061"/>
                    <a:pt x="2227" y="3144"/>
                    <a:pt x="2251" y="3180"/>
                  </a:cubicBezTo>
                  <a:lnTo>
                    <a:pt x="2013" y="3418"/>
                  </a:lnTo>
                  <a:lnTo>
                    <a:pt x="2001" y="3418"/>
                  </a:lnTo>
                  <a:lnTo>
                    <a:pt x="1763" y="3180"/>
                  </a:lnTo>
                  <a:cubicBezTo>
                    <a:pt x="1787" y="3120"/>
                    <a:pt x="1798" y="3061"/>
                    <a:pt x="1798" y="3001"/>
                  </a:cubicBezTo>
                  <a:lnTo>
                    <a:pt x="1798" y="2906"/>
                  </a:lnTo>
                  <a:cubicBezTo>
                    <a:pt x="1858" y="2918"/>
                    <a:pt x="1941" y="2918"/>
                    <a:pt x="2001" y="2918"/>
                  </a:cubicBezTo>
                  <a:cubicBezTo>
                    <a:pt x="2060" y="2918"/>
                    <a:pt x="2132" y="2906"/>
                    <a:pt x="2191" y="2906"/>
                  </a:cubicBezTo>
                  <a:close/>
                  <a:moveTo>
                    <a:pt x="2525" y="3394"/>
                  </a:moveTo>
                  <a:lnTo>
                    <a:pt x="2822" y="3537"/>
                  </a:lnTo>
                  <a:cubicBezTo>
                    <a:pt x="2882" y="3573"/>
                    <a:pt x="2918" y="3644"/>
                    <a:pt x="2918" y="3716"/>
                  </a:cubicBezTo>
                  <a:lnTo>
                    <a:pt x="2918" y="4787"/>
                  </a:lnTo>
                  <a:lnTo>
                    <a:pt x="1072" y="4787"/>
                  </a:lnTo>
                  <a:lnTo>
                    <a:pt x="1072" y="3716"/>
                  </a:lnTo>
                  <a:cubicBezTo>
                    <a:pt x="1072" y="3644"/>
                    <a:pt x="1120" y="3573"/>
                    <a:pt x="1179" y="3537"/>
                  </a:cubicBezTo>
                  <a:lnTo>
                    <a:pt x="1477" y="3394"/>
                  </a:lnTo>
                  <a:lnTo>
                    <a:pt x="1751" y="3656"/>
                  </a:lnTo>
                  <a:cubicBezTo>
                    <a:pt x="1822" y="3728"/>
                    <a:pt x="1906" y="3763"/>
                    <a:pt x="2001" y="3763"/>
                  </a:cubicBezTo>
                  <a:cubicBezTo>
                    <a:pt x="2084" y="3763"/>
                    <a:pt x="2179" y="3728"/>
                    <a:pt x="2251" y="3656"/>
                  </a:cubicBezTo>
                  <a:lnTo>
                    <a:pt x="2525" y="3394"/>
                  </a:lnTo>
                  <a:close/>
                  <a:moveTo>
                    <a:pt x="3680" y="334"/>
                  </a:moveTo>
                  <a:cubicBezTo>
                    <a:pt x="3680" y="334"/>
                    <a:pt x="3692" y="334"/>
                    <a:pt x="3692" y="358"/>
                  </a:cubicBezTo>
                  <a:lnTo>
                    <a:pt x="3692" y="4775"/>
                  </a:lnTo>
                  <a:lnTo>
                    <a:pt x="3680" y="4775"/>
                  </a:lnTo>
                  <a:lnTo>
                    <a:pt x="3299" y="4787"/>
                  </a:lnTo>
                  <a:lnTo>
                    <a:pt x="3299" y="3716"/>
                  </a:lnTo>
                  <a:cubicBezTo>
                    <a:pt x="3299" y="3513"/>
                    <a:pt x="3180" y="3335"/>
                    <a:pt x="3001" y="3227"/>
                  </a:cubicBezTo>
                  <a:lnTo>
                    <a:pt x="2560" y="3001"/>
                  </a:lnTo>
                  <a:lnTo>
                    <a:pt x="2560" y="2989"/>
                  </a:lnTo>
                  <a:lnTo>
                    <a:pt x="2560" y="2739"/>
                  </a:lnTo>
                  <a:cubicBezTo>
                    <a:pt x="2787" y="2573"/>
                    <a:pt x="2941" y="2311"/>
                    <a:pt x="2941" y="2013"/>
                  </a:cubicBezTo>
                  <a:lnTo>
                    <a:pt x="2941" y="1632"/>
                  </a:lnTo>
                  <a:cubicBezTo>
                    <a:pt x="2941" y="1227"/>
                    <a:pt x="2608" y="906"/>
                    <a:pt x="2203" y="906"/>
                  </a:cubicBezTo>
                  <a:lnTo>
                    <a:pt x="1834" y="906"/>
                  </a:lnTo>
                  <a:cubicBezTo>
                    <a:pt x="1429" y="906"/>
                    <a:pt x="1108" y="1239"/>
                    <a:pt x="1108" y="1632"/>
                  </a:cubicBezTo>
                  <a:lnTo>
                    <a:pt x="1108" y="2013"/>
                  </a:lnTo>
                  <a:cubicBezTo>
                    <a:pt x="1108" y="2311"/>
                    <a:pt x="1251" y="2573"/>
                    <a:pt x="1477" y="2739"/>
                  </a:cubicBezTo>
                  <a:lnTo>
                    <a:pt x="1477" y="2989"/>
                  </a:lnTo>
                  <a:lnTo>
                    <a:pt x="1477" y="3001"/>
                  </a:lnTo>
                  <a:lnTo>
                    <a:pt x="1048" y="3227"/>
                  </a:lnTo>
                  <a:cubicBezTo>
                    <a:pt x="870" y="3323"/>
                    <a:pt x="751" y="3513"/>
                    <a:pt x="751" y="3716"/>
                  </a:cubicBezTo>
                  <a:lnTo>
                    <a:pt x="751" y="4787"/>
                  </a:lnTo>
                  <a:lnTo>
                    <a:pt x="358" y="4787"/>
                  </a:lnTo>
                  <a:cubicBezTo>
                    <a:pt x="358" y="4787"/>
                    <a:pt x="346" y="4787"/>
                    <a:pt x="346" y="4775"/>
                  </a:cubicBezTo>
                  <a:lnTo>
                    <a:pt x="346" y="358"/>
                  </a:lnTo>
                  <a:cubicBezTo>
                    <a:pt x="346" y="358"/>
                    <a:pt x="346" y="334"/>
                    <a:pt x="358" y="334"/>
                  </a:cubicBezTo>
                  <a:close/>
                  <a:moveTo>
                    <a:pt x="358" y="1"/>
                  </a:moveTo>
                  <a:cubicBezTo>
                    <a:pt x="167" y="1"/>
                    <a:pt x="1" y="168"/>
                    <a:pt x="1" y="358"/>
                  </a:cubicBezTo>
                  <a:lnTo>
                    <a:pt x="1" y="4775"/>
                  </a:lnTo>
                  <a:cubicBezTo>
                    <a:pt x="1" y="4966"/>
                    <a:pt x="167" y="5132"/>
                    <a:pt x="358" y="5132"/>
                  </a:cubicBezTo>
                  <a:lnTo>
                    <a:pt x="3680" y="5132"/>
                  </a:lnTo>
                  <a:cubicBezTo>
                    <a:pt x="3870" y="5132"/>
                    <a:pt x="4037" y="4966"/>
                    <a:pt x="4037" y="4775"/>
                  </a:cubicBezTo>
                  <a:lnTo>
                    <a:pt x="4037" y="358"/>
                  </a:lnTo>
                  <a:cubicBezTo>
                    <a:pt x="4037" y="168"/>
                    <a:pt x="3870" y="1"/>
                    <a:pt x="3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6" name="Google Shape;11226;p60"/>
            <p:cNvSpPr/>
            <p:nvPr/>
          </p:nvSpPr>
          <p:spPr>
            <a:xfrm>
              <a:off x="3271178" y="4424947"/>
              <a:ext cx="152008" cy="34533"/>
            </a:xfrm>
            <a:custGeom>
              <a:avLst/>
              <a:gdLst/>
              <a:ahLst/>
              <a:cxnLst/>
              <a:rect l="l" t="t" r="r" b="b"/>
              <a:pathLst>
                <a:path w="4776" h="1085" extrusionOk="0">
                  <a:moveTo>
                    <a:pt x="4430" y="346"/>
                  </a:moveTo>
                  <a:cubicBezTo>
                    <a:pt x="4430" y="346"/>
                    <a:pt x="4442" y="346"/>
                    <a:pt x="4442" y="358"/>
                  </a:cubicBezTo>
                  <a:lnTo>
                    <a:pt x="4442" y="727"/>
                  </a:lnTo>
                  <a:lnTo>
                    <a:pt x="4430" y="727"/>
                  </a:lnTo>
                  <a:lnTo>
                    <a:pt x="370" y="739"/>
                  </a:lnTo>
                  <a:cubicBezTo>
                    <a:pt x="370" y="739"/>
                    <a:pt x="358" y="739"/>
                    <a:pt x="358" y="727"/>
                  </a:cubicBezTo>
                  <a:lnTo>
                    <a:pt x="358" y="358"/>
                  </a:lnTo>
                  <a:cubicBezTo>
                    <a:pt x="358" y="358"/>
                    <a:pt x="358" y="346"/>
                    <a:pt x="370" y="346"/>
                  </a:cubicBezTo>
                  <a:close/>
                  <a:moveTo>
                    <a:pt x="358" y="1"/>
                  </a:moveTo>
                  <a:cubicBezTo>
                    <a:pt x="156" y="1"/>
                    <a:pt x="1" y="168"/>
                    <a:pt x="1" y="358"/>
                  </a:cubicBezTo>
                  <a:lnTo>
                    <a:pt x="1" y="727"/>
                  </a:lnTo>
                  <a:cubicBezTo>
                    <a:pt x="1" y="918"/>
                    <a:pt x="156" y="1084"/>
                    <a:pt x="358" y="1084"/>
                  </a:cubicBezTo>
                  <a:lnTo>
                    <a:pt x="4418" y="1084"/>
                  </a:lnTo>
                  <a:cubicBezTo>
                    <a:pt x="4609" y="1084"/>
                    <a:pt x="4775" y="918"/>
                    <a:pt x="4775" y="727"/>
                  </a:cubicBezTo>
                  <a:lnTo>
                    <a:pt x="4775" y="358"/>
                  </a:lnTo>
                  <a:cubicBezTo>
                    <a:pt x="4775" y="168"/>
                    <a:pt x="4621" y="1"/>
                    <a:pt x="4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7" name="Google Shape;11227;p60"/>
            <p:cNvSpPr/>
            <p:nvPr/>
          </p:nvSpPr>
          <p:spPr>
            <a:xfrm>
              <a:off x="3271560" y="4471957"/>
              <a:ext cx="116393" cy="34501"/>
            </a:xfrm>
            <a:custGeom>
              <a:avLst/>
              <a:gdLst/>
              <a:ahLst/>
              <a:cxnLst/>
              <a:rect l="l" t="t" r="r" b="b"/>
              <a:pathLst>
                <a:path w="3657" h="1084" extrusionOk="0">
                  <a:moveTo>
                    <a:pt x="3299" y="334"/>
                  </a:moveTo>
                  <a:cubicBezTo>
                    <a:pt x="3299" y="334"/>
                    <a:pt x="3323" y="334"/>
                    <a:pt x="3323" y="357"/>
                  </a:cubicBezTo>
                  <a:lnTo>
                    <a:pt x="3323" y="727"/>
                  </a:lnTo>
                  <a:lnTo>
                    <a:pt x="358" y="738"/>
                  </a:lnTo>
                  <a:cubicBezTo>
                    <a:pt x="358" y="738"/>
                    <a:pt x="346" y="738"/>
                    <a:pt x="346" y="727"/>
                  </a:cubicBezTo>
                  <a:lnTo>
                    <a:pt x="346" y="357"/>
                  </a:lnTo>
                  <a:cubicBezTo>
                    <a:pt x="346" y="357"/>
                    <a:pt x="346" y="334"/>
                    <a:pt x="358" y="334"/>
                  </a:cubicBezTo>
                  <a:close/>
                  <a:moveTo>
                    <a:pt x="358" y="0"/>
                  </a:moveTo>
                  <a:cubicBezTo>
                    <a:pt x="168" y="0"/>
                    <a:pt x="1" y="155"/>
                    <a:pt x="1" y="357"/>
                  </a:cubicBezTo>
                  <a:lnTo>
                    <a:pt x="1" y="727"/>
                  </a:lnTo>
                  <a:cubicBezTo>
                    <a:pt x="1" y="917"/>
                    <a:pt x="168" y="1084"/>
                    <a:pt x="358" y="1084"/>
                  </a:cubicBezTo>
                  <a:lnTo>
                    <a:pt x="3299" y="1084"/>
                  </a:lnTo>
                  <a:cubicBezTo>
                    <a:pt x="3489" y="1084"/>
                    <a:pt x="3656" y="917"/>
                    <a:pt x="3656" y="727"/>
                  </a:cubicBezTo>
                  <a:lnTo>
                    <a:pt x="3656" y="357"/>
                  </a:lnTo>
                  <a:cubicBezTo>
                    <a:pt x="3656" y="155"/>
                    <a:pt x="3501" y="0"/>
                    <a:pt x="3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8" name="Google Shape;11228;p60"/>
            <p:cNvSpPr/>
            <p:nvPr/>
          </p:nvSpPr>
          <p:spPr>
            <a:xfrm>
              <a:off x="3271178" y="4518552"/>
              <a:ext cx="70148" cy="11394"/>
            </a:xfrm>
            <a:custGeom>
              <a:avLst/>
              <a:gdLst/>
              <a:ahLst/>
              <a:cxnLst/>
              <a:rect l="l" t="t" r="r" b="b"/>
              <a:pathLst>
                <a:path w="2204" h="358" extrusionOk="0">
                  <a:moveTo>
                    <a:pt x="180" y="1"/>
                  </a:moveTo>
                  <a:cubicBezTo>
                    <a:pt x="84" y="1"/>
                    <a:pt x="1" y="84"/>
                    <a:pt x="1" y="179"/>
                  </a:cubicBezTo>
                  <a:cubicBezTo>
                    <a:pt x="1" y="286"/>
                    <a:pt x="72" y="358"/>
                    <a:pt x="180" y="358"/>
                  </a:cubicBezTo>
                  <a:lnTo>
                    <a:pt x="2025" y="358"/>
                  </a:lnTo>
                  <a:cubicBezTo>
                    <a:pt x="2108" y="358"/>
                    <a:pt x="2204" y="286"/>
                    <a:pt x="2204" y="179"/>
                  </a:cubicBezTo>
                  <a:cubicBezTo>
                    <a:pt x="2204" y="84"/>
                    <a:pt x="2120" y="1"/>
                    <a:pt x="2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9" name="Google Shape;11229;p60"/>
            <p:cNvSpPr/>
            <p:nvPr/>
          </p:nvSpPr>
          <p:spPr>
            <a:xfrm>
              <a:off x="3353038" y="4518552"/>
              <a:ext cx="34915" cy="11394"/>
            </a:xfrm>
            <a:custGeom>
              <a:avLst/>
              <a:gdLst/>
              <a:ahLst/>
              <a:cxnLst/>
              <a:rect l="l" t="t" r="r" b="b"/>
              <a:pathLst>
                <a:path w="1097" h="358" extrusionOk="0"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917" y="358"/>
                  </a:lnTo>
                  <a:cubicBezTo>
                    <a:pt x="1013" y="358"/>
                    <a:pt x="1096" y="286"/>
                    <a:pt x="1096" y="179"/>
                  </a:cubicBezTo>
                  <a:cubicBezTo>
                    <a:pt x="1096" y="84"/>
                    <a:pt x="1025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0" name="Google Shape;11230;p60"/>
            <p:cNvSpPr/>
            <p:nvPr/>
          </p:nvSpPr>
          <p:spPr>
            <a:xfrm>
              <a:off x="3271178" y="4554167"/>
              <a:ext cx="23170" cy="11426"/>
            </a:xfrm>
            <a:custGeom>
              <a:avLst/>
              <a:gdLst/>
              <a:ahLst/>
              <a:cxnLst/>
              <a:rect l="l" t="t" r="r" b="b"/>
              <a:pathLst>
                <a:path w="728" h="359" extrusionOk="0">
                  <a:moveTo>
                    <a:pt x="180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72" y="358"/>
                    <a:pt x="180" y="358"/>
                  </a:cubicBezTo>
                  <a:lnTo>
                    <a:pt x="549" y="358"/>
                  </a:lnTo>
                  <a:cubicBezTo>
                    <a:pt x="632" y="358"/>
                    <a:pt x="727" y="287"/>
                    <a:pt x="727" y="179"/>
                  </a:cubicBezTo>
                  <a:cubicBezTo>
                    <a:pt x="727" y="72"/>
                    <a:pt x="632" y="1"/>
                    <a:pt x="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1" name="Google Shape;11231;p60"/>
            <p:cNvSpPr/>
            <p:nvPr/>
          </p:nvSpPr>
          <p:spPr>
            <a:xfrm>
              <a:off x="3306443" y="4554167"/>
              <a:ext cx="58372" cy="11426"/>
            </a:xfrm>
            <a:custGeom>
              <a:avLst/>
              <a:gdLst/>
              <a:ahLst/>
              <a:cxnLst/>
              <a:rect l="l" t="t" r="r" b="b"/>
              <a:pathLst>
                <a:path w="1834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84" y="358"/>
                    <a:pt x="179" y="358"/>
                  </a:cubicBezTo>
                  <a:lnTo>
                    <a:pt x="1655" y="358"/>
                  </a:lnTo>
                  <a:cubicBezTo>
                    <a:pt x="1750" y="358"/>
                    <a:pt x="1834" y="287"/>
                    <a:pt x="1834" y="179"/>
                  </a:cubicBezTo>
                  <a:cubicBezTo>
                    <a:pt x="1834" y="72"/>
                    <a:pt x="1750" y="1"/>
                    <a:pt x="1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2" name="Google Shape;11232;p60"/>
            <p:cNvSpPr/>
            <p:nvPr/>
          </p:nvSpPr>
          <p:spPr>
            <a:xfrm>
              <a:off x="3271178" y="4577306"/>
              <a:ext cx="23170" cy="11394"/>
            </a:xfrm>
            <a:custGeom>
              <a:avLst/>
              <a:gdLst/>
              <a:ahLst/>
              <a:cxnLst/>
              <a:rect l="l" t="t" r="r" b="b"/>
              <a:pathLst>
                <a:path w="728" h="358" extrusionOk="0">
                  <a:moveTo>
                    <a:pt x="180" y="0"/>
                  </a:moveTo>
                  <a:cubicBezTo>
                    <a:pt x="84" y="0"/>
                    <a:pt x="1" y="84"/>
                    <a:pt x="1" y="179"/>
                  </a:cubicBezTo>
                  <a:cubicBezTo>
                    <a:pt x="1" y="286"/>
                    <a:pt x="72" y="357"/>
                    <a:pt x="180" y="357"/>
                  </a:cubicBezTo>
                  <a:lnTo>
                    <a:pt x="549" y="357"/>
                  </a:lnTo>
                  <a:cubicBezTo>
                    <a:pt x="632" y="357"/>
                    <a:pt x="727" y="286"/>
                    <a:pt x="727" y="179"/>
                  </a:cubicBezTo>
                  <a:cubicBezTo>
                    <a:pt x="727" y="84"/>
                    <a:pt x="632" y="0"/>
                    <a:pt x="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3" name="Google Shape;11233;p60"/>
            <p:cNvSpPr/>
            <p:nvPr/>
          </p:nvSpPr>
          <p:spPr>
            <a:xfrm>
              <a:off x="3306443" y="4577306"/>
              <a:ext cx="58372" cy="11394"/>
            </a:xfrm>
            <a:custGeom>
              <a:avLst/>
              <a:gdLst/>
              <a:ahLst/>
              <a:cxnLst/>
              <a:rect l="l" t="t" r="r" b="b"/>
              <a:pathLst>
                <a:path w="1834" h="358" extrusionOk="0">
                  <a:moveTo>
                    <a:pt x="179" y="0"/>
                  </a:moveTo>
                  <a:cubicBezTo>
                    <a:pt x="95" y="0"/>
                    <a:pt x="0" y="84"/>
                    <a:pt x="0" y="179"/>
                  </a:cubicBezTo>
                  <a:cubicBezTo>
                    <a:pt x="0" y="286"/>
                    <a:pt x="84" y="357"/>
                    <a:pt x="179" y="357"/>
                  </a:cubicBezTo>
                  <a:lnTo>
                    <a:pt x="1655" y="357"/>
                  </a:lnTo>
                  <a:cubicBezTo>
                    <a:pt x="1750" y="357"/>
                    <a:pt x="1834" y="286"/>
                    <a:pt x="1834" y="179"/>
                  </a:cubicBezTo>
                  <a:cubicBezTo>
                    <a:pt x="1822" y="84"/>
                    <a:pt x="1750" y="0"/>
                    <a:pt x="1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4" name="Google Shape;11234;p60"/>
            <p:cNvSpPr/>
            <p:nvPr/>
          </p:nvSpPr>
          <p:spPr>
            <a:xfrm>
              <a:off x="3265513" y="4377970"/>
              <a:ext cx="11394" cy="11394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74"/>
                    <a:pt x="72" y="358"/>
                    <a:pt x="179" y="358"/>
                  </a:cubicBezTo>
                  <a:cubicBezTo>
                    <a:pt x="262" y="358"/>
                    <a:pt x="358" y="286"/>
                    <a:pt x="358" y="179"/>
                  </a:cubicBezTo>
                  <a:cubicBezTo>
                    <a:pt x="358" y="72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35" name="Google Shape;11235;p60"/>
          <p:cNvGrpSpPr/>
          <p:nvPr/>
        </p:nvGrpSpPr>
        <p:grpSpPr>
          <a:xfrm>
            <a:off x="2749016" y="4291176"/>
            <a:ext cx="150831" cy="336926"/>
            <a:chOff x="2749016" y="4291176"/>
            <a:chExt cx="150831" cy="336926"/>
          </a:xfrm>
        </p:grpSpPr>
        <p:sp>
          <p:nvSpPr>
            <p:cNvPr id="11236" name="Google Shape;11236;p60"/>
            <p:cNvSpPr/>
            <p:nvPr/>
          </p:nvSpPr>
          <p:spPr>
            <a:xfrm>
              <a:off x="2799399" y="4307472"/>
              <a:ext cx="51942" cy="114865"/>
            </a:xfrm>
            <a:custGeom>
              <a:avLst/>
              <a:gdLst/>
              <a:ahLst/>
              <a:cxnLst/>
              <a:rect l="l" t="t" r="r" b="b"/>
              <a:pathLst>
                <a:path w="1632" h="3609" extrusionOk="0">
                  <a:moveTo>
                    <a:pt x="810" y="1"/>
                  </a:moveTo>
                  <a:cubicBezTo>
                    <a:pt x="727" y="1"/>
                    <a:pt x="667" y="72"/>
                    <a:pt x="667" y="144"/>
                  </a:cubicBezTo>
                  <a:lnTo>
                    <a:pt x="667" y="489"/>
                  </a:lnTo>
                  <a:cubicBezTo>
                    <a:pt x="298" y="525"/>
                    <a:pt x="1" y="846"/>
                    <a:pt x="1" y="1215"/>
                  </a:cubicBezTo>
                  <a:cubicBezTo>
                    <a:pt x="1" y="1620"/>
                    <a:pt x="322" y="1942"/>
                    <a:pt x="727" y="1942"/>
                  </a:cubicBezTo>
                  <a:lnTo>
                    <a:pt x="894" y="1942"/>
                  </a:lnTo>
                  <a:cubicBezTo>
                    <a:pt x="1132" y="1942"/>
                    <a:pt x="1322" y="2144"/>
                    <a:pt x="1322" y="2382"/>
                  </a:cubicBezTo>
                  <a:cubicBezTo>
                    <a:pt x="1322" y="2620"/>
                    <a:pt x="1132" y="2811"/>
                    <a:pt x="894" y="2811"/>
                  </a:cubicBezTo>
                  <a:lnTo>
                    <a:pt x="632" y="2811"/>
                  </a:lnTo>
                  <a:cubicBezTo>
                    <a:pt x="441" y="2811"/>
                    <a:pt x="298" y="2656"/>
                    <a:pt x="298" y="2466"/>
                  </a:cubicBezTo>
                  <a:cubicBezTo>
                    <a:pt x="298" y="2382"/>
                    <a:pt x="215" y="2323"/>
                    <a:pt x="144" y="2323"/>
                  </a:cubicBezTo>
                  <a:cubicBezTo>
                    <a:pt x="48" y="2323"/>
                    <a:pt x="1" y="2394"/>
                    <a:pt x="1" y="2466"/>
                  </a:cubicBezTo>
                  <a:cubicBezTo>
                    <a:pt x="1" y="2823"/>
                    <a:pt x="298" y="3120"/>
                    <a:pt x="644" y="3120"/>
                  </a:cubicBezTo>
                  <a:lnTo>
                    <a:pt x="667" y="3120"/>
                  </a:lnTo>
                  <a:lnTo>
                    <a:pt x="667" y="3466"/>
                  </a:lnTo>
                  <a:cubicBezTo>
                    <a:pt x="667" y="3549"/>
                    <a:pt x="739" y="3609"/>
                    <a:pt x="810" y="3609"/>
                  </a:cubicBezTo>
                  <a:cubicBezTo>
                    <a:pt x="906" y="3609"/>
                    <a:pt x="965" y="3537"/>
                    <a:pt x="965" y="3466"/>
                  </a:cubicBezTo>
                  <a:lnTo>
                    <a:pt x="965" y="3120"/>
                  </a:lnTo>
                  <a:cubicBezTo>
                    <a:pt x="1334" y="3097"/>
                    <a:pt x="1632" y="2763"/>
                    <a:pt x="1632" y="2394"/>
                  </a:cubicBezTo>
                  <a:cubicBezTo>
                    <a:pt x="1632" y="1989"/>
                    <a:pt x="1298" y="1668"/>
                    <a:pt x="906" y="1668"/>
                  </a:cubicBezTo>
                  <a:lnTo>
                    <a:pt x="739" y="1668"/>
                  </a:lnTo>
                  <a:cubicBezTo>
                    <a:pt x="501" y="1668"/>
                    <a:pt x="310" y="1477"/>
                    <a:pt x="310" y="1239"/>
                  </a:cubicBezTo>
                  <a:cubicBezTo>
                    <a:pt x="310" y="1001"/>
                    <a:pt x="501" y="799"/>
                    <a:pt x="739" y="799"/>
                  </a:cubicBezTo>
                  <a:lnTo>
                    <a:pt x="989" y="799"/>
                  </a:lnTo>
                  <a:cubicBezTo>
                    <a:pt x="1191" y="799"/>
                    <a:pt x="1334" y="953"/>
                    <a:pt x="1334" y="1144"/>
                  </a:cubicBezTo>
                  <a:lnTo>
                    <a:pt x="1334" y="1311"/>
                  </a:lnTo>
                  <a:cubicBezTo>
                    <a:pt x="1322" y="1382"/>
                    <a:pt x="1394" y="1453"/>
                    <a:pt x="1489" y="1453"/>
                  </a:cubicBezTo>
                  <a:cubicBezTo>
                    <a:pt x="1572" y="1453"/>
                    <a:pt x="1632" y="1382"/>
                    <a:pt x="1632" y="1311"/>
                  </a:cubicBezTo>
                  <a:lnTo>
                    <a:pt x="1632" y="1144"/>
                  </a:lnTo>
                  <a:cubicBezTo>
                    <a:pt x="1632" y="787"/>
                    <a:pt x="1334" y="489"/>
                    <a:pt x="977" y="489"/>
                  </a:cubicBezTo>
                  <a:lnTo>
                    <a:pt x="965" y="489"/>
                  </a:lnTo>
                  <a:lnTo>
                    <a:pt x="965" y="144"/>
                  </a:lnTo>
                  <a:cubicBezTo>
                    <a:pt x="965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7" name="Google Shape;11237;p60"/>
            <p:cNvSpPr/>
            <p:nvPr/>
          </p:nvSpPr>
          <p:spPr>
            <a:xfrm>
              <a:off x="2750894" y="4291176"/>
              <a:ext cx="147075" cy="336926"/>
            </a:xfrm>
            <a:custGeom>
              <a:avLst/>
              <a:gdLst/>
              <a:ahLst/>
              <a:cxnLst/>
              <a:rect l="l" t="t" r="r" b="b"/>
              <a:pathLst>
                <a:path w="4621" h="10586" extrusionOk="0">
                  <a:moveTo>
                    <a:pt x="2310" y="299"/>
                  </a:moveTo>
                  <a:cubicBezTo>
                    <a:pt x="3406" y="299"/>
                    <a:pt x="4323" y="1192"/>
                    <a:pt x="4323" y="2311"/>
                  </a:cubicBezTo>
                  <a:cubicBezTo>
                    <a:pt x="4323" y="3418"/>
                    <a:pt x="3430" y="4323"/>
                    <a:pt x="2310" y="4323"/>
                  </a:cubicBezTo>
                  <a:cubicBezTo>
                    <a:pt x="1203" y="4311"/>
                    <a:pt x="298" y="3418"/>
                    <a:pt x="298" y="2311"/>
                  </a:cubicBezTo>
                  <a:cubicBezTo>
                    <a:pt x="298" y="1215"/>
                    <a:pt x="1191" y="299"/>
                    <a:pt x="2310" y="299"/>
                  </a:cubicBezTo>
                  <a:close/>
                  <a:moveTo>
                    <a:pt x="4299" y="7288"/>
                  </a:moveTo>
                  <a:lnTo>
                    <a:pt x="4299" y="7621"/>
                  </a:lnTo>
                  <a:lnTo>
                    <a:pt x="3620" y="7621"/>
                  </a:lnTo>
                  <a:cubicBezTo>
                    <a:pt x="3525" y="7621"/>
                    <a:pt x="3465" y="7704"/>
                    <a:pt x="3465" y="7776"/>
                  </a:cubicBezTo>
                  <a:cubicBezTo>
                    <a:pt x="3465" y="7859"/>
                    <a:pt x="3549" y="7919"/>
                    <a:pt x="3620" y="7919"/>
                  </a:cubicBezTo>
                  <a:lnTo>
                    <a:pt x="3787" y="7919"/>
                  </a:lnTo>
                  <a:lnTo>
                    <a:pt x="3727" y="8442"/>
                  </a:lnTo>
                  <a:lnTo>
                    <a:pt x="882" y="8442"/>
                  </a:lnTo>
                  <a:lnTo>
                    <a:pt x="822" y="7919"/>
                  </a:lnTo>
                  <a:lnTo>
                    <a:pt x="2894" y="7919"/>
                  </a:lnTo>
                  <a:cubicBezTo>
                    <a:pt x="2977" y="7919"/>
                    <a:pt x="3037" y="7847"/>
                    <a:pt x="3037" y="7776"/>
                  </a:cubicBezTo>
                  <a:cubicBezTo>
                    <a:pt x="3037" y="7680"/>
                    <a:pt x="2965" y="7621"/>
                    <a:pt x="2894" y="7621"/>
                  </a:cubicBezTo>
                  <a:lnTo>
                    <a:pt x="298" y="7621"/>
                  </a:lnTo>
                  <a:lnTo>
                    <a:pt x="298" y="7288"/>
                  </a:lnTo>
                  <a:close/>
                  <a:moveTo>
                    <a:pt x="3692" y="8776"/>
                  </a:moveTo>
                  <a:lnTo>
                    <a:pt x="3608" y="9455"/>
                  </a:lnTo>
                  <a:lnTo>
                    <a:pt x="1013" y="9455"/>
                  </a:lnTo>
                  <a:lnTo>
                    <a:pt x="929" y="8776"/>
                  </a:lnTo>
                  <a:close/>
                  <a:moveTo>
                    <a:pt x="3573" y="9764"/>
                  </a:moveTo>
                  <a:lnTo>
                    <a:pt x="3501" y="10288"/>
                  </a:lnTo>
                  <a:lnTo>
                    <a:pt x="1120" y="10288"/>
                  </a:lnTo>
                  <a:lnTo>
                    <a:pt x="1060" y="9764"/>
                  </a:lnTo>
                  <a:close/>
                  <a:moveTo>
                    <a:pt x="2310" y="1"/>
                  </a:moveTo>
                  <a:cubicBezTo>
                    <a:pt x="1048" y="1"/>
                    <a:pt x="1" y="1049"/>
                    <a:pt x="1" y="2311"/>
                  </a:cubicBezTo>
                  <a:cubicBezTo>
                    <a:pt x="1" y="3537"/>
                    <a:pt x="953" y="4549"/>
                    <a:pt x="2156" y="4621"/>
                  </a:cubicBezTo>
                  <a:lnTo>
                    <a:pt x="2156" y="6966"/>
                  </a:lnTo>
                  <a:lnTo>
                    <a:pt x="155" y="6966"/>
                  </a:lnTo>
                  <a:cubicBezTo>
                    <a:pt x="60" y="6966"/>
                    <a:pt x="1" y="7049"/>
                    <a:pt x="1" y="7121"/>
                  </a:cubicBezTo>
                  <a:lnTo>
                    <a:pt x="1" y="7788"/>
                  </a:lnTo>
                  <a:cubicBezTo>
                    <a:pt x="1" y="7883"/>
                    <a:pt x="72" y="7942"/>
                    <a:pt x="155" y="7942"/>
                  </a:cubicBezTo>
                  <a:lnTo>
                    <a:pt x="513" y="7942"/>
                  </a:lnTo>
                  <a:lnTo>
                    <a:pt x="822" y="10455"/>
                  </a:lnTo>
                  <a:cubicBezTo>
                    <a:pt x="834" y="10526"/>
                    <a:pt x="894" y="10586"/>
                    <a:pt x="965" y="10586"/>
                  </a:cubicBezTo>
                  <a:lnTo>
                    <a:pt x="3620" y="10586"/>
                  </a:lnTo>
                  <a:cubicBezTo>
                    <a:pt x="3692" y="10586"/>
                    <a:pt x="3763" y="10526"/>
                    <a:pt x="3763" y="10455"/>
                  </a:cubicBezTo>
                  <a:lnTo>
                    <a:pt x="4084" y="7942"/>
                  </a:lnTo>
                  <a:lnTo>
                    <a:pt x="4442" y="7942"/>
                  </a:lnTo>
                  <a:cubicBezTo>
                    <a:pt x="4525" y="7942"/>
                    <a:pt x="4585" y="7859"/>
                    <a:pt x="4585" y="7788"/>
                  </a:cubicBezTo>
                  <a:lnTo>
                    <a:pt x="4585" y="7121"/>
                  </a:lnTo>
                  <a:cubicBezTo>
                    <a:pt x="4620" y="7026"/>
                    <a:pt x="4549" y="6966"/>
                    <a:pt x="4465" y="6966"/>
                  </a:cubicBezTo>
                  <a:lnTo>
                    <a:pt x="2453" y="6966"/>
                  </a:lnTo>
                  <a:lnTo>
                    <a:pt x="2453" y="4621"/>
                  </a:lnTo>
                  <a:cubicBezTo>
                    <a:pt x="3668" y="4549"/>
                    <a:pt x="4620" y="3537"/>
                    <a:pt x="4620" y="2311"/>
                  </a:cubicBezTo>
                  <a:cubicBezTo>
                    <a:pt x="4620" y="1037"/>
                    <a:pt x="3573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8" name="Google Shape;11238;p60"/>
            <p:cNvSpPr/>
            <p:nvPr/>
          </p:nvSpPr>
          <p:spPr>
            <a:xfrm>
              <a:off x="2749016" y="4443917"/>
              <a:ext cx="69734" cy="52706"/>
            </a:xfrm>
            <a:custGeom>
              <a:avLst/>
              <a:gdLst/>
              <a:ahLst/>
              <a:cxnLst/>
              <a:rect l="l" t="t" r="r" b="b"/>
              <a:pathLst>
                <a:path w="2191" h="1656" extrusionOk="0">
                  <a:moveTo>
                    <a:pt x="1107" y="310"/>
                  </a:moveTo>
                  <a:cubicBezTo>
                    <a:pt x="1381" y="310"/>
                    <a:pt x="1643" y="441"/>
                    <a:pt x="1786" y="667"/>
                  </a:cubicBezTo>
                  <a:lnTo>
                    <a:pt x="417" y="667"/>
                  </a:lnTo>
                  <a:cubicBezTo>
                    <a:pt x="572" y="441"/>
                    <a:pt x="822" y="310"/>
                    <a:pt x="1107" y="310"/>
                  </a:cubicBezTo>
                  <a:close/>
                  <a:moveTo>
                    <a:pt x="1786" y="976"/>
                  </a:moveTo>
                  <a:cubicBezTo>
                    <a:pt x="1619" y="1203"/>
                    <a:pt x="1369" y="1334"/>
                    <a:pt x="1107" y="1334"/>
                  </a:cubicBezTo>
                  <a:cubicBezTo>
                    <a:pt x="822" y="1334"/>
                    <a:pt x="572" y="1203"/>
                    <a:pt x="417" y="976"/>
                  </a:cubicBezTo>
                  <a:close/>
                  <a:moveTo>
                    <a:pt x="1107" y="0"/>
                  </a:moveTo>
                  <a:cubicBezTo>
                    <a:pt x="607" y="0"/>
                    <a:pt x="179" y="310"/>
                    <a:pt x="12" y="774"/>
                  </a:cubicBezTo>
                  <a:cubicBezTo>
                    <a:pt x="0" y="798"/>
                    <a:pt x="0" y="846"/>
                    <a:pt x="12" y="881"/>
                  </a:cubicBezTo>
                  <a:cubicBezTo>
                    <a:pt x="179" y="1334"/>
                    <a:pt x="607" y="1655"/>
                    <a:pt x="1107" y="1655"/>
                  </a:cubicBezTo>
                  <a:cubicBezTo>
                    <a:pt x="1596" y="1655"/>
                    <a:pt x="2024" y="1334"/>
                    <a:pt x="2191" y="881"/>
                  </a:cubicBezTo>
                  <a:lnTo>
                    <a:pt x="2191" y="846"/>
                  </a:lnTo>
                  <a:lnTo>
                    <a:pt x="2191" y="822"/>
                  </a:lnTo>
                  <a:lnTo>
                    <a:pt x="2191" y="798"/>
                  </a:lnTo>
                  <a:lnTo>
                    <a:pt x="2191" y="774"/>
                  </a:lnTo>
                  <a:cubicBezTo>
                    <a:pt x="2024" y="310"/>
                    <a:pt x="1596" y="0"/>
                    <a:pt x="11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9" name="Google Shape;11239;p60"/>
            <p:cNvSpPr/>
            <p:nvPr/>
          </p:nvSpPr>
          <p:spPr>
            <a:xfrm>
              <a:off x="2829731" y="4443917"/>
              <a:ext cx="70116" cy="52706"/>
            </a:xfrm>
            <a:custGeom>
              <a:avLst/>
              <a:gdLst/>
              <a:ahLst/>
              <a:cxnLst/>
              <a:rect l="l" t="t" r="r" b="b"/>
              <a:pathLst>
                <a:path w="2203" h="1656" extrusionOk="0">
                  <a:moveTo>
                    <a:pt x="1096" y="310"/>
                  </a:moveTo>
                  <a:cubicBezTo>
                    <a:pt x="1381" y="310"/>
                    <a:pt x="1631" y="441"/>
                    <a:pt x="1786" y="667"/>
                  </a:cubicBezTo>
                  <a:lnTo>
                    <a:pt x="417" y="667"/>
                  </a:lnTo>
                  <a:cubicBezTo>
                    <a:pt x="560" y="441"/>
                    <a:pt x="810" y="310"/>
                    <a:pt x="1096" y="310"/>
                  </a:cubicBezTo>
                  <a:close/>
                  <a:moveTo>
                    <a:pt x="1786" y="976"/>
                  </a:moveTo>
                  <a:cubicBezTo>
                    <a:pt x="1631" y="1203"/>
                    <a:pt x="1381" y="1334"/>
                    <a:pt x="1096" y="1334"/>
                  </a:cubicBezTo>
                  <a:cubicBezTo>
                    <a:pt x="810" y="1334"/>
                    <a:pt x="560" y="1203"/>
                    <a:pt x="417" y="976"/>
                  </a:cubicBezTo>
                  <a:close/>
                  <a:moveTo>
                    <a:pt x="1096" y="0"/>
                  </a:moveTo>
                  <a:cubicBezTo>
                    <a:pt x="607" y="0"/>
                    <a:pt x="179" y="310"/>
                    <a:pt x="12" y="774"/>
                  </a:cubicBezTo>
                  <a:cubicBezTo>
                    <a:pt x="0" y="798"/>
                    <a:pt x="0" y="846"/>
                    <a:pt x="12" y="881"/>
                  </a:cubicBezTo>
                  <a:cubicBezTo>
                    <a:pt x="179" y="1334"/>
                    <a:pt x="607" y="1655"/>
                    <a:pt x="1096" y="1655"/>
                  </a:cubicBezTo>
                  <a:cubicBezTo>
                    <a:pt x="1584" y="1655"/>
                    <a:pt x="2024" y="1334"/>
                    <a:pt x="2179" y="881"/>
                  </a:cubicBezTo>
                  <a:cubicBezTo>
                    <a:pt x="2203" y="846"/>
                    <a:pt x="2203" y="822"/>
                    <a:pt x="2179" y="774"/>
                  </a:cubicBezTo>
                  <a:cubicBezTo>
                    <a:pt x="2024" y="310"/>
                    <a:pt x="1584" y="0"/>
                    <a:pt x="1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40" name="Google Shape;11240;p60"/>
          <p:cNvGrpSpPr/>
          <p:nvPr/>
        </p:nvGrpSpPr>
        <p:grpSpPr>
          <a:xfrm>
            <a:off x="7127716" y="4279432"/>
            <a:ext cx="248254" cy="361942"/>
            <a:chOff x="7127716" y="4279432"/>
            <a:chExt cx="248254" cy="361942"/>
          </a:xfrm>
        </p:grpSpPr>
        <p:sp>
          <p:nvSpPr>
            <p:cNvPr id="11241" name="Google Shape;11241;p60"/>
            <p:cNvSpPr/>
            <p:nvPr/>
          </p:nvSpPr>
          <p:spPr>
            <a:xfrm>
              <a:off x="7167500" y="4279432"/>
              <a:ext cx="169068" cy="226644"/>
            </a:xfrm>
            <a:custGeom>
              <a:avLst/>
              <a:gdLst/>
              <a:ahLst/>
              <a:cxnLst/>
              <a:rect l="l" t="t" r="r" b="b"/>
              <a:pathLst>
                <a:path w="5312" h="7121" extrusionOk="0">
                  <a:moveTo>
                    <a:pt x="4085" y="310"/>
                  </a:moveTo>
                  <a:lnTo>
                    <a:pt x="4085" y="1715"/>
                  </a:lnTo>
                  <a:cubicBezTo>
                    <a:pt x="4085" y="1834"/>
                    <a:pt x="4049" y="1930"/>
                    <a:pt x="4001" y="2037"/>
                  </a:cubicBezTo>
                  <a:lnTo>
                    <a:pt x="3918" y="2204"/>
                  </a:lnTo>
                  <a:cubicBezTo>
                    <a:pt x="3906" y="2239"/>
                    <a:pt x="3906" y="2251"/>
                    <a:pt x="3906" y="2275"/>
                  </a:cubicBezTo>
                  <a:lnTo>
                    <a:pt x="3906" y="2632"/>
                  </a:lnTo>
                  <a:cubicBezTo>
                    <a:pt x="3906" y="2989"/>
                    <a:pt x="3763" y="3311"/>
                    <a:pt x="3501" y="3561"/>
                  </a:cubicBezTo>
                  <a:cubicBezTo>
                    <a:pt x="3283" y="3801"/>
                    <a:pt x="2975" y="3921"/>
                    <a:pt x="2650" y="3921"/>
                  </a:cubicBezTo>
                  <a:cubicBezTo>
                    <a:pt x="2620" y="3921"/>
                    <a:pt x="2591" y="3920"/>
                    <a:pt x="2561" y="3918"/>
                  </a:cubicBezTo>
                  <a:cubicBezTo>
                    <a:pt x="1906" y="3870"/>
                    <a:pt x="1382" y="3311"/>
                    <a:pt x="1382" y="2608"/>
                  </a:cubicBezTo>
                  <a:lnTo>
                    <a:pt x="1382" y="2299"/>
                  </a:lnTo>
                  <a:cubicBezTo>
                    <a:pt x="1382" y="2263"/>
                    <a:pt x="1382" y="2251"/>
                    <a:pt x="1370" y="2215"/>
                  </a:cubicBezTo>
                  <a:lnTo>
                    <a:pt x="1287" y="2061"/>
                  </a:lnTo>
                  <a:cubicBezTo>
                    <a:pt x="1239" y="1953"/>
                    <a:pt x="1204" y="1846"/>
                    <a:pt x="1204" y="1727"/>
                  </a:cubicBezTo>
                  <a:lnTo>
                    <a:pt x="1204" y="1227"/>
                  </a:lnTo>
                  <a:cubicBezTo>
                    <a:pt x="1204" y="727"/>
                    <a:pt x="1608" y="310"/>
                    <a:pt x="2120" y="310"/>
                  </a:cubicBezTo>
                  <a:close/>
                  <a:moveTo>
                    <a:pt x="3204" y="4168"/>
                  </a:moveTo>
                  <a:lnTo>
                    <a:pt x="3204" y="4359"/>
                  </a:lnTo>
                  <a:cubicBezTo>
                    <a:pt x="3204" y="4418"/>
                    <a:pt x="3216" y="4466"/>
                    <a:pt x="3228" y="4525"/>
                  </a:cubicBezTo>
                  <a:lnTo>
                    <a:pt x="2656" y="4942"/>
                  </a:lnTo>
                  <a:lnTo>
                    <a:pt x="2073" y="4525"/>
                  </a:lnTo>
                  <a:cubicBezTo>
                    <a:pt x="2085" y="4478"/>
                    <a:pt x="2096" y="4418"/>
                    <a:pt x="2096" y="4359"/>
                  </a:cubicBezTo>
                  <a:lnTo>
                    <a:pt x="2096" y="4168"/>
                  </a:lnTo>
                  <a:cubicBezTo>
                    <a:pt x="2239" y="4216"/>
                    <a:pt x="2382" y="4263"/>
                    <a:pt x="2549" y="4263"/>
                  </a:cubicBezTo>
                  <a:lnTo>
                    <a:pt x="2656" y="4263"/>
                  </a:lnTo>
                  <a:cubicBezTo>
                    <a:pt x="2847" y="4263"/>
                    <a:pt x="3025" y="4228"/>
                    <a:pt x="3204" y="4168"/>
                  </a:cubicBezTo>
                  <a:close/>
                  <a:moveTo>
                    <a:pt x="2132" y="1"/>
                  </a:moveTo>
                  <a:cubicBezTo>
                    <a:pt x="1442" y="1"/>
                    <a:pt x="894" y="549"/>
                    <a:pt x="894" y="1239"/>
                  </a:cubicBezTo>
                  <a:lnTo>
                    <a:pt x="894" y="1739"/>
                  </a:lnTo>
                  <a:cubicBezTo>
                    <a:pt x="894" y="1906"/>
                    <a:pt x="942" y="2073"/>
                    <a:pt x="1001" y="2215"/>
                  </a:cubicBezTo>
                  <a:lnTo>
                    <a:pt x="1061" y="2346"/>
                  </a:lnTo>
                  <a:lnTo>
                    <a:pt x="1061" y="2620"/>
                  </a:lnTo>
                  <a:cubicBezTo>
                    <a:pt x="1061" y="3180"/>
                    <a:pt x="1346" y="3692"/>
                    <a:pt x="1775" y="3989"/>
                  </a:cubicBezTo>
                  <a:lnTo>
                    <a:pt x="1775" y="4359"/>
                  </a:lnTo>
                  <a:cubicBezTo>
                    <a:pt x="1775" y="4454"/>
                    <a:pt x="1715" y="4525"/>
                    <a:pt x="1644" y="4537"/>
                  </a:cubicBezTo>
                  <a:lnTo>
                    <a:pt x="632" y="4859"/>
                  </a:lnTo>
                  <a:cubicBezTo>
                    <a:pt x="251" y="4966"/>
                    <a:pt x="1" y="5299"/>
                    <a:pt x="1" y="5704"/>
                  </a:cubicBezTo>
                  <a:lnTo>
                    <a:pt x="1" y="6954"/>
                  </a:lnTo>
                  <a:cubicBezTo>
                    <a:pt x="1" y="7037"/>
                    <a:pt x="72" y="7121"/>
                    <a:pt x="168" y="7121"/>
                  </a:cubicBezTo>
                  <a:cubicBezTo>
                    <a:pt x="251" y="7121"/>
                    <a:pt x="334" y="7037"/>
                    <a:pt x="334" y="6954"/>
                  </a:cubicBezTo>
                  <a:lnTo>
                    <a:pt x="334" y="5704"/>
                  </a:lnTo>
                  <a:cubicBezTo>
                    <a:pt x="334" y="5466"/>
                    <a:pt x="477" y="5252"/>
                    <a:pt x="715" y="5180"/>
                  </a:cubicBezTo>
                  <a:lnTo>
                    <a:pt x="1727" y="4871"/>
                  </a:lnTo>
                  <a:cubicBezTo>
                    <a:pt x="1787" y="4859"/>
                    <a:pt x="1835" y="4823"/>
                    <a:pt x="1882" y="4799"/>
                  </a:cubicBezTo>
                  <a:lnTo>
                    <a:pt x="2442" y="5204"/>
                  </a:lnTo>
                  <a:cubicBezTo>
                    <a:pt x="2501" y="5252"/>
                    <a:pt x="2573" y="5287"/>
                    <a:pt x="2656" y="5287"/>
                  </a:cubicBezTo>
                  <a:cubicBezTo>
                    <a:pt x="2728" y="5287"/>
                    <a:pt x="2799" y="5252"/>
                    <a:pt x="2858" y="5204"/>
                  </a:cubicBezTo>
                  <a:lnTo>
                    <a:pt x="3430" y="4799"/>
                  </a:lnTo>
                  <a:cubicBezTo>
                    <a:pt x="3466" y="4823"/>
                    <a:pt x="3513" y="4859"/>
                    <a:pt x="3573" y="4871"/>
                  </a:cubicBezTo>
                  <a:lnTo>
                    <a:pt x="4585" y="5180"/>
                  </a:lnTo>
                  <a:cubicBezTo>
                    <a:pt x="4823" y="5252"/>
                    <a:pt x="4978" y="5466"/>
                    <a:pt x="4978" y="5704"/>
                  </a:cubicBezTo>
                  <a:lnTo>
                    <a:pt x="4978" y="6954"/>
                  </a:lnTo>
                  <a:cubicBezTo>
                    <a:pt x="4978" y="7037"/>
                    <a:pt x="5049" y="7121"/>
                    <a:pt x="5133" y="7121"/>
                  </a:cubicBezTo>
                  <a:cubicBezTo>
                    <a:pt x="5228" y="7121"/>
                    <a:pt x="5299" y="7037"/>
                    <a:pt x="5299" y="6954"/>
                  </a:cubicBezTo>
                  <a:lnTo>
                    <a:pt x="5299" y="5704"/>
                  </a:lnTo>
                  <a:cubicBezTo>
                    <a:pt x="5311" y="5299"/>
                    <a:pt x="5061" y="4954"/>
                    <a:pt x="4692" y="4835"/>
                  </a:cubicBezTo>
                  <a:lnTo>
                    <a:pt x="3680" y="4525"/>
                  </a:lnTo>
                  <a:cubicBezTo>
                    <a:pt x="3609" y="4501"/>
                    <a:pt x="3549" y="4418"/>
                    <a:pt x="3549" y="4347"/>
                  </a:cubicBezTo>
                  <a:lnTo>
                    <a:pt x="3549" y="3978"/>
                  </a:lnTo>
                  <a:cubicBezTo>
                    <a:pt x="3620" y="3930"/>
                    <a:pt x="3692" y="3870"/>
                    <a:pt x="3751" y="3811"/>
                  </a:cubicBezTo>
                  <a:cubicBezTo>
                    <a:pt x="4061" y="3513"/>
                    <a:pt x="4263" y="3085"/>
                    <a:pt x="4263" y="2656"/>
                  </a:cubicBezTo>
                  <a:lnTo>
                    <a:pt x="4263" y="2334"/>
                  </a:lnTo>
                  <a:lnTo>
                    <a:pt x="4323" y="2204"/>
                  </a:lnTo>
                  <a:cubicBezTo>
                    <a:pt x="4394" y="2061"/>
                    <a:pt x="4418" y="1894"/>
                    <a:pt x="4418" y="1727"/>
                  </a:cubicBezTo>
                  <a:lnTo>
                    <a:pt x="4418" y="168"/>
                  </a:lnTo>
                  <a:cubicBezTo>
                    <a:pt x="4418" y="72"/>
                    <a:pt x="4347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2" name="Google Shape;11242;p60"/>
            <p:cNvSpPr/>
            <p:nvPr/>
          </p:nvSpPr>
          <p:spPr>
            <a:xfrm>
              <a:off x="7246719" y="4455279"/>
              <a:ext cx="10248" cy="50033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417"/>
                  </a:lnTo>
                  <a:cubicBezTo>
                    <a:pt x="0" y="1501"/>
                    <a:pt x="72" y="1572"/>
                    <a:pt x="167" y="1572"/>
                  </a:cubicBezTo>
                  <a:cubicBezTo>
                    <a:pt x="250" y="1572"/>
                    <a:pt x="322" y="1501"/>
                    <a:pt x="322" y="141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3" name="Google Shape;11243;p60"/>
            <p:cNvSpPr/>
            <p:nvPr/>
          </p:nvSpPr>
          <p:spPr>
            <a:xfrm>
              <a:off x="7195572" y="4466642"/>
              <a:ext cx="11012" cy="38670"/>
            </a:xfrm>
            <a:custGeom>
              <a:avLst/>
              <a:gdLst/>
              <a:ahLst/>
              <a:cxnLst/>
              <a:rect l="l" t="t" r="r" b="b"/>
              <a:pathLst>
                <a:path w="346" h="1215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1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45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4" name="Google Shape;11244;p60"/>
            <p:cNvSpPr/>
            <p:nvPr/>
          </p:nvSpPr>
          <p:spPr>
            <a:xfrm>
              <a:off x="7297866" y="4466642"/>
              <a:ext cx="10280" cy="38670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5" name="Google Shape;11245;p60"/>
            <p:cNvSpPr/>
            <p:nvPr/>
          </p:nvSpPr>
          <p:spPr>
            <a:xfrm>
              <a:off x="72353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24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6" name="Google Shape;11246;p60"/>
            <p:cNvSpPr/>
            <p:nvPr/>
          </p:nvSpPr>
          <p:spPr>
            <a:xfrm>
              <a:off x="7127716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8" y="715"/>
                    <a:pt x="334" y="620"/>
                    <a:pt x="334" y="512"/>
                  </a:cubicBezTo>
                  <a:cubicBezTo>
                    <a:pt x="334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7" name="Google Shape;11247;p60"/>
            <p:cNvSpPr/>
            <p:nvPr/>
          </p:nvSpPr>
          <p:spPr>
            <a:xfrm>
              <a:off x="7342965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27" y="0"/>
                    <a:pt x="1" y="239"/>
                    <a:pt x="1" y="512"/>
                  </a:cubicBezTo>
                  <a:cubicBezTo>
                    <a:pt x="1" y="798"/>
                    <a:pt x="227" y="1036"/>
                    <a:pt x="513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810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8" name="Google Shape;11248;p60"/>
            <p:cNvSpPr/>
            <p:nvPr/>
          </p:nvSpPr>
          <p:spPr>
            <a:xfrm>
              <a:off x="7159194" y="4517788"/>
              <a:ext cx="186064" cy="84916"/>
            </a:xfrm>
            <a:custGeom>
              <a:avLst/>
              <a:gdLst/>
              <a:ahLst/>
              <a:cxnLst/>
              <a:rect l="l" t="t" r="r" b="b"/>
              <a:pathLst>
                <a:path w="5846" h="2668" extrusionOk="0">
                  <a:moveTo>
                    <a:pt x="2929" y="1"/>
                  </a:moveTo>
                  <a:cubicBezTo>
                    <a:pt x="2834" y="1"/>
                    <a:pt x="2762" y="72"/>
                    <a:pt x="2762" y="168"/>
                  </a:cubicBezTo>
                  <a:lnTo>
                    <a:pt x="2762" y="715"/>
                  </a:lnTo>
                  <a:lnTo>
                    <a:pt x="1607" y="715"/>
                  </a:lnTo>
                  <a:cubicBezTo>
                    <a:pt x="1381" y="715"/>
                    <a:pt x="1167" y="822"/>
                    <a:pt x="1036" y="1013"/>
                  </a:cubicBezTo>
                  <a:lnTo>
                    <a:pt x="60" y="2394"/>
                  </a:lnTo>
                  <a:cubicBezTo>
                    <a:pt x="0" y="2465"/>
                    <a:pt x="24" y="2573"/>
                    <a:pt x="95" y="2632"/>
                  </a:cubicBezTo>
                  <a:cubicBezTo>
                    <a:pt x="127" y="2655"/>
                    <a:pt x="160" y="2665"/>
                    <a:pt x="192" y="2665"/>
                  </a:cubicBezTo>
                  <a:cubicBezTo>
                    <a:pt x="245" y="2665"/>
                    <a:pt x="296" y="2636"/>
                    <a:pt x="333" y="2585"/>
                  </a:cubicBezTo>
                  <a:lnTo>
                    <a:pt x="1322" y="1203"/>
                  </a:lnTo>
                  <a:cubicBezTo>
                    <a:pt x="1393" y="1120"/>
                    <a:pt x="1500" y="1061"/>
                    <a:pt x="1619" y="1061"/>
                  </a:cubicBezTo>
                  <a:lnTo>
                    <a:pt x="2774" y="1061"/>
                  </a:lnTo>
                  <a:lnTo>
                    <a:pt x="2774" y="2311"/>
                  </a:lnTo>
                  <a:cubicBezTo>
                    <a:pt x="2774" y="2394"/>
                    <a:pt x="2858" y="2465"/>
                    <a:pt x="2941" y="2465"/>
                  </a:cubicBezTo>
                  <a:cubicBezTo>
                    <a:pt x="3036" y="2465"/>
                    <a:pt x="3108" y="2394"/>
                    <a:pt x="3108" y="2311"/>
                  </a:cubicBezTo>
                  <a:lnTo>
                    <a:pt x="3108" y="1061"/>
                  </a:lnTo>
                  <a:lnTo>
                    <a:pt x="4262" y="1061"/>
                  </a:lnTo>
                  <a:cubicBezTo>
                    <a:pt x="4382" y="1061"/>
                    <a:pt x="4489" y="1120"/>
                    <a:pt x="4560" y="1203"/>
                  </a:cubicBezTo>
                  <a:lnTo>
                    <a:pt x="5548" y="2585"/>
                  </a:lnTo>
                  <a:cubicBezTo>
                    <a:pt x="5572" y="2632"/>
                    <a:pt x="5632" y="2668"/>
                    <a:pt x="5679" y="2668"/>
                  </a:cubicBezTo>
                  <a:cubicBezTo>
                    <a:pt x="5715" y="2668"/>
                    <a:pt x="5751" y="2644"/>
                    <a:pt x="5775" y="2632"/>
                  </a:cubicBezTo>
                  <a:cubicBezTo>
                    <a:pt x="5834" y="2561"/>
                    <a:pt x="5846" y="2454"/>
                    <a:pt x="5798" y="2382"/>
                  </a:cubicBezTo>
                  <a:lnTo>
                    <a:pt x="4822" y="1001"/>
                  </a:lnTo>
                  <a:cubicBezTo>
                    <a:pt x="4679" y="822"/>
                    <a:pt x="4477" y="703"/>
                    <a:pt x="4251" y="703"/>
                  </a:cubicBezTo>
                  <a:lnTo>
                    <a:pt x="3096" y="703"/>
                  </a:lnTo>
                  <a:lnTo>
                    <a:pt x="3096" y="168"/>
                  </a:lnTo>
                  <a:cubicBezTo>
                    <a:pt x="3096" y="72"/>
                    <a:pt x="3012" y="1"/>
                    <a:pt x="2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9" name="Google Shape;11249;p60"/>
            <p:cNvSpPr/>
            <p:nvPr/>
          </p:nvSpPr>
          <p:spPr>
            <a:xfrm>
              <a:off x="7217915" y="4321126"/>
              <a:ext cx="68238" cy="25812"/>
            </a:xfrm>
            <a:custGeom>
              <a:avLst/>
              <a:gdLst/>
              <a:ahLst/>
              <a:cxnLst/>
              <a:rect l="l" t="t" r="r" b="b"/>
              <a:pathLst>
                <a:path w="2144" h="811" extrusionOk="0">
                  <a:moveTo>
                    <a:pt x="933" y="1"/>
                  </a:moveTo>
                  <a:cubicBezTo>
                    <a:pt x="491" y="1"/>
                    <a:pt x="139" y="113"/>
                    <a:pt x="120" y="120"/>
                  </a:cubicBezTo>
                  <a:cubicBezTo>
                    <a:pt x="36" y="155"/>
                    <a:pt x="1" y="215"/>
                    <a:pt x="1" y="286"/>
                  </a:cubicBezTo>
                  <a:lnTo>
                    <a:pt x="1" y="643"/>
                  </a:lnTo>
                  <a:cubicBezTo>
                    <a:pt x="1" y="727"/>
                    <a:pt x="72" y="810"/>
                    <a:pt x="155" y="810"/>
                  </a:cubicBezTo>
                  <a:cubicBezTo>
                    <a:pt x="251" y="810"/>
                    <a:pt x="322" y="727"/>
                    <a:pt x="322" y="643"/>
                  </a:cubicBezTo>
                  <a:lnTo>
                    <a:pt x="322" y="417"/>
                  </a:lnTo>
                  <a:cubicBezTo>
                    <a:pt x="455" y="384"/>
                    <a:pt x="683" y="341"/>
                    <a:pt x="940" y="341"/>
                  </a:cubicBezTo>
                  <a:cubicBezTo>
                    <a:pt x="1236" y="341"/>
                    <a:pt x="1572" y="398"/>
                    <a:pt x="1846" y="596"/>
                  </a:cubicBezTo>
                  <a:cubicBezTo>
                    <a:pt x="1877" y="622"/>
                    <a:pt x="1914" y="634"/>
                    <a:pt x="1951" y="634"/>
                  </a:cubicBezTo>
                  <a:cubicBezTo>
                    <a:pt x="1999" y="634"/>
                    <a:pt x="2045" y="613"/>
                    <a:pt x="2072" y="572"/>
                  </a:cubicBezTo>
                  <a:cubicBezTo>
                    <a:pt x="2144" y="489"/>
                    <a:pt x="2120" y="393"/>
                    <a:pt x="2048" y="334"/>
                  </a:cubicBezTo>
                  <a:cubicBezTo>
                    <a:pt x="1703" y="74"/>
                    <a:pt x="1289" y="1"/>
                    <a:pt x="9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50" name="Google Shape;11250;p60"/>
          <p:cNvGrpSpPr/>
          <p:nvPr/>
        </p:nvGrpSpPr>
        <p:grpSpPr>
          <a:xfrm>
            <a:off x="7565408" y="4279432"/>
            <a:ext cx="248255" cy="361942"/>
            <a:chOff x="7565408" y="4279432"/>
            <a:chExt cx="248255" cy="361942"/>
          </a:xfrm>
        </p:grpSpPr>
        <p:sp>
          <p:nvSpPr>
            <p:cNvPr id="11251" name="Google Shape;11251;p60"/>
            <p:cNvSpPr/>
            <p:nvPr/>
          </p:nvSpPr>
          <p:spPr>
            <a:xfrm>
              <a:off x="7610126" y="4279432"/>
              <a:ext cx="158055" cy="236892"/>
            </a:xfrm>
            <a:custGeom>
              <a:avLst/>
              <a:gdLst/>
              <a:ahLst/>
              <a:cxnLst/>
              <a:rect l="l" t="t" r="r" b="b"/>
              <a:pathLst>
                <a:path w="4966" h="7443" extrusionOk="0">
                  <a:moveTo>
                    <a:pt x="2501" y="346"/>
                  </a:moveTo>
                  <a:cubicBezTo>
                    <a:pt x="2882" y="346"/>
                    <a:pt x="3191" y="572"/>
                    <a:pt x="3227" y="870"/>
                  </a:cubicBezTo>
                  <a:cubicBezTo>
                    <a:pt x="3001" y="775"/>
                    <a:pt x="2763" y="727"/>
                    <a:pt x="2501" y="727"/>
                  </a:cubicBezTo>
                  <a:cubicBezTo>
                    <a:pt x="2239" y="727"/>
                    <a:pt x="1989" y="775"/>
                    <a:pt x="1763" y="870"/>
                  </a:cubicBezTo>
                  <a:cubicBezTo>
                    <a:pt x="1798" y="572"/>
                    <a:pt x="2108" y="346"/>
                    <a:pt x="2501" y="346"/>
                  </a:cubicBezTo>
                  <a:close/>
                  <a:moveTo>
                    <a:pt x="2501" y="1061"/>
                  </a:moveTo>
                  <a:cubicBezTo>
                    <a:pt x="3394" y="1061"/>
                    <a:pt x="4108" y="1787"/>
                    <a:pt x="4108" y="2668"/>
                  </a:cubicBezTo>
                  <a:cubicBezTo>
                    <a:pt x="4108" y="2799"/>
                    <a:pt x="4084" y="2918"/>
                    <a:pt x="4061" y="3049"/>
                  </a:cubicBezTo>
                  <a:cubicBezTo>
                    <a:pt x="4025" y="2918"/>
                    <a:pt x="3953" y="2799"/>
                    <a:pt x="3846" y="2715"/>
                  </a:cubicBezTo>
                  <a:cubicBezTo>
                    <a:pt x="3191" y="2132"/>
                    <a:pt x="2036" y="1977"/>
                    <a:pt x="1989" y="1977"/>
                  </a:cubicBezTo>
                  <a:cubicBezTo>
                    <a:pt x="1983" y="1976"/>
                    <a:pt x="1977" y="1976"/>
                    <a:pt x="1970" y="1976"/>
                  </a:cubicBezTo>
                  <a:cubicBezTo>
                    <a:pt x="1892" y="1976"/>
                    <a:pt x="1810" y="2044"/>
                    <a:pt x="1810" y="2132"/>
                  </a:cubicBezTo>
                  <a:cubicBezTo>
                    <a:pt x="1798" y="2215"/>
                    <a:pt x="1870" y="2311"/>
                    <a:pt x="1953" y="2311"/>
                  </a:cubicBezTo>
                  <a:cubicBezTo>
                    <a:pt x="1977" y="2311"/>
                    <a:pt x="3072" y="2454"/>
                    <a:pt x="3644" y="2966"/>
                  </a:cubicBezTo>
                  <a:cubicBezTo>
                    <a:pt x="3715" y="3037"/>
                    <a:pt x="3763" y="3144"/>
                    <a:pt x="3763" y="3251"/>
                  </a:cubicBezTo>
                  <a:lnTo>
                    <a:pt x="3763" y="3394"/>
                  </a:lnTo>
                  <a:cubicBezTo>
                    <a:pt x="3751" y="4061"/>
                    <a:pt x="3179" y="4632"/>
                    <a:pt x="2501" y="4632"/>
                  </a:cubicBezTo>
                  <a:cubicBezTo>
                    <a:pt x="1798" y="4632"/>
                    <a:pt x="1251" y="4061"/>
                    <a:pt x="1251" y="3382"/>
                  </a:cubicBezTo>
                  <a:cubicBezTo>
                    <a:pt x="1251" y="3335"/>
                    <a:pt x="1274" y="3275"/>
                    <a:pt x="1310" y="3251"/>
                  </a:cubicBezTo>
                  <a:cubicBezTo>
                    <a:pt x="1441" y="3144"/>
                    <a:pt x="1632" y="2977"/>
                    <a:pt x="1751" y="2739"/>
                  </a:cubicBezTo>
                  <a:cubicBezTo>
                    <a:pt x="1798" y="2656"/>
                    <a:pt x="1763" y="2561"/>
                    <a:pt x="1679" y="2513"/>
                  </a:cubicBezTo>
                  <a:cubicBezTo>
                    <a:pt x="1651" y="2503"/>
                    <a:pt x="1625" y="2497"/>
                    <a:pt x="1600" y="2497"/>
                  </a:cubicBezTo>
                  <a:cubicBezTo>
                    <a:pt x="1538" y="2497"/>
                    <a:pt x="1487" y="2529"/>
                    <a:pt x="1453" y="2596"/>
                  </a:cubicBezTo>
                  <a:cubicBezTo>
                    <a:pt x="1370" y="2775"/>
                    <a:pt x="1215" y="2906"/>
                    <a:pt x="1108" y="2977"/>
                  </a:cubicBezTo>
                  <a:cubicBezTo>
                    <a:pt x="1048" y="3025"/>
                    <a:pt x="989" y="3085"/>
                    <a:pt x="965" y="3156"/>
                  </a:cubicBezTo>
                  <a:cubicBezTo>
                    <a:pt x="917" y="2989"/>
                    <a:pt x="893" y="2835"/>
                    <a:pt x="893" y="2668"/>
                  </a:cubicBezTo>
                  <a:cubicBezTo>
                    <a:pt x="893" y="1775"/>
                    <a:pt x="1620" y="1061"/>
                    <a:pt x="2501" y="1061"/>
                  </a:cubicBezTo>
                  <a:close/>
                  <a:moveTo>
                    <a:pt x="3048" y="4871"/>
                  </a:moveTo>
                  <a:lnTo>
                    <a:pt x="3048" y="5109"/>
                  </a:lnTo>
                  <a:cubicBezTo>
                    <a:pt x="3048" y="5156"/>
                    <a:pt x="3048" y="5192"/>
                    <a:pt x="3060" y="5240"/>
                  </a:cubicBezTo>
                  <a:lnTo>
                    <a:pt x="2501" y="5656"/>
                  </a:lnTo>
                  <a:lnTo>
                    <a:pt x="1929" y="5240"/>
                  </a:lnTo>
                  <a:cubicBezTo>
                    <a:pt x="1941" y="5192"/>
                    <a:pt x="1941" y="5156"/>
                    <a:pt x="1941" y="5109"/>
                  </a:cubicBezTo>
                  <a:lnTo>
                    <a:pt x="1941" y="4871"/>
                  </a:lnTo>
                  <a:cubicBezTo>
                    <a:pt x="2108" y="4930"/>
                    <a:pt x="2298" y="4954"/>
                    <a:pt x="2501" y="4954"/>
                  </a:cubicBezTo>
                  <a:cubicBezTo>
                    <a:pt x="2691" y="4954"/>
                    <a:pt x="2870" y="4930"/>
                    <a:pt x="3048" y="4871"/>
                  </a:cubicBezTo>
                  <a:close/>
                  <a:moveTo>
                    <a:pt x="2477" y="1"/>
                  </a:moveTo>
                  <a:cubicBezTo>
                    <a:pt x="1905" y="1"/>
                    <a:pt x="1429" y="394"/>
                    <a:pt x="1429" y="882"/>
                  </a:cubicBezTo>
                  <a:cubicBezTo>
                    <a:pt x="1429" y="930"/>
                    <a:pt x="1429" y="965"/>
                    <a:pt x="1441" y="1013"/>
                  </a:cubicBezTo>
                  <a:cubicBezTo>
                    <a:pt x="893" y="1358"/>
                    <a:pt x="536" y="1965"/>
                    <a:pt x="536" y="2656"/>
                  </a:cubicBezTo>
                  <a:cubicBezTo>
                    <a:pt x="536" y="3096"/>
                    <a:pt x="691" y="3549"/>
                    <a:pt x="977" y="3882"/>
                  </a:cubicBezTo>
                  <a:cubicBezTo>
                    <a:pt x="1096" y="4216"/>
                    <a:pt x="1322" y="4501"/>
                    <a:pt x="1608" y="4692"/>
                  </a:cubicBezTo>
                  <a:lnTo>
                    <a:pt x="1608" y="5097"/>
                  </a:lnTo>
                  <a:cubicBezTo>
                    <a:pt x="1608" y="5168"/>
                    <a:pt x="1560" y="5240"/>
                    <a:pt x="1489" y="5275"/>
                  </a:cubicBezTo>
                  <a:lnTo>
                    <a:pt x="417" y="5752"/>
                  </a:lnTo>
                  <a:cubicBezTo>
                    <a:pt x="155" y="5871"/>
                    <a:pt x="0" y="6109"/>
                    <a:pt x="0" y="6383"/>
                  </a:cubicBezTo>
                  <a:lnTo>
                    <a:pt x="0" y="7276"/>
                  </a:lnTo>
                  <a:cubicBezTo>
                    <a:pt x="0" y="7371"/>
                    <a:pt x="72" y="7442"/>
                    <a:pt x="155" y="7442"/>
                  </a:cubicBezTo>
                  <a:cubicBezTo>
                    <a:pt x="251" y="7442"/>
                    <a:pt x="322" y="7371"/>
                    <a:pt x="322" y="7276"/>
                  </a:cubicBezTo>
                  <a:lnTo>
                    <a:pt x="322" y="6383"/>
                  </a:lnTo>
                  <a:cubicBezTo>
                    <a:pt x="322" y="6240"/>
                    <a:pt x="417" y="6109"/>
                    <a:pt x="548" y="6049"/>
                  </a:cubicBezTo>
                  <a:lnTo>
                    <a:pt x="1620" y="5573"/>
                  </a:lnTo>
                  <a:cubicBezTo>
                    <a:pt x="1667" y="5549"/>
                    <a:pt x="1691" y="5525"/>
                    <a:pt x="1727" y="5513"/>
                  </a:cubicBezTo>
                  <a:lnTo>
                    <a:pt x="2263" y="5906"/>
                  </a:lnTo>
                  <a:cubicBezTo>
                    <a:pt x="2322" y="5954"/>
                    <a:pt x="2394" y="5990"/>
                    <a:pt x="2465" y="5990"/>
                  </a:cubicBezTo>
                  <a:cubicBezTo>
                    <a:pt x="2537" y="5990"/>
                    <a:pt x="2620" y="5954"/>
                    <a:pt x="2679" y="5906"/>
                  </a:cubicBezTo>
                  <a:lnTo>
                    <a:pt x="3215" y="5513"/>
                  </a:lnTo>
                  <a:cubicBezTo>
                    <a:pt x="3239" y="5537"/>
                    <a:pt x="3287" y="5549"/>
                    <a:pt x="3310" y="5573"/>
                  </a:cubicBezTo>
                  <a:lnTo>
                    <a:pt x="4382" y="6049"/>
                  </a:lnTo>
                  <a:cubicBezTo>
                    <a:pt x="4525" y="6109"/>
                    <a:pt x="4608" y="6240"/>
                    <a:pt x="4608" y="6383"/>
                  </a:cubicBezTo>
                  <a:lnTo>
                    <a:pt x="4608" y="7276"/>
                  </a:lnTo>
                  <a:cubicBezTo>
                    <a:pt x="4608" y="7371"/>
                    <a:pt x="4680" y="7442"/>
                    <a:pt x="4775" y="7442"/>
                  </a:cubicBezTo>
                  <a:cubicBezTo>
                    <a:pt x="4858" y="7442"/>
                    <a:pt x="4942" y="7371"/>
                    <a:pt x="4942" y="7276"/>
                  </a:cubicBezTo>
                  <a:lnTo>
                    <a:pt x="4942" y="6383"/>
                  </a:lnTo>
                  <a:cubicBezTo>
                    <a:pt x="4965" y="6121"/>
                    <a:pt x="4799" y="5871"/>
                    <a:pt x="4549" y="5752"/>
                  </a:cubicBezTo>
                  <a:lnTo>
                    <a:pt x="3477" y="5275"/>
                  </a:lnTo>
                  <a:cubicBezTo>
                    <a:pt x="3406" y="5240"/>
                    <a:pt x="3358" y="5168"/>
                    <a:pt x="3358" y="5097"/>
                  </a:cubicBezTo>
                  <a:lnTo>
                    <a:pt x="3358" y="4692"/>
                  </a:lnTo>
                  <a:cubicBezTo>
                    <a:pt x="3644" y="4501"/>
                    <a:pt x="3870" y="4216"/>
                    <a:pt x="3989" y="3882"/>
                  </a:cubicBezTo>
                  <a:cubicBezTo>
                    <a:pt x="4263" y="3549"/>
                    <a:pt x="4430" y="3096"/>
                    <a:pt x="4430" y="2656"/>
                  </a:cubicBezTo>
                  <a:cubicBezTo>
                    <a:pt x="4430" y="1965"/>
                    <a:pt x="4072" y="1358"/>
                    <a:pt x="3525" y="1013"/>
                  </a:cubicBezTo>
                  <a:cubicBezTo>
                    <a:pt x="3537" y="965"/>
                    <a:pt x="3537" y="930"/>
                    <a:pt x="3537" y="882"/>
                  </a:cubicBezTo>
                  <a:cubicBezTo>
                    <a:pt x="3537" y="394"/>
                    <a:pt x="306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2" name="Google Shape;11252;p60"/>
            <p:cNvSpPr/>
            <p:nvPr/>
          </p:nvSpPr>
          <p:spPr>
            <a:xfrm>
              <a:off x="7684411" y="4478004"/>
              <a:ext cx="10248" cy="38702"/>
            </a:xfrm>
            <a:custGeom>
              <a:avLst/>
              <a:gdLst/>
              <a:ahLst/>
              <a:cxnLst/>
              <a:rect l="l" t="t" r="r" b="b"/>
              <a:pathLst>
                <a:path w="322" h="121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2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3" name="Google Shape;11253;p60"/>
            <p:cNvSpPr/>
            <p:nvPr/>
          </p:nvSpPr>
          <p:spPr>
            <a:xfrm>
              <a:off x="7638929" y="4489366"/>
              <a:ext cx="10248" cy="27340"/>
            </a:xfrm>
            <a:custGeom>
              <a:avLst/>
              <a:gdLst/>
              <a:ahLst/>
              <a:cxnLst/>
              <a:rect l="l" t="t" r="r" b="b"/>
              <a:pathLst>
                <a:path w="322" h="859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703"/>
                  </a:lnTo>
                  <a:cubicBezTo>
                    <a:pt x="0" y="787"/>
                    <a:pt x="72" y="858"/>
                    <a:pt x="167" y="858"/>
                  </a:cubicBezTo>
                  <a:cubicBezTo>
                    <a:pt x="250" y="858"/>
                    <a:pt x="322" y="787"/>
                    <a:pt x="322" y="703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4" name="Google Shape;11254;p60"/>
            <p:cNvSpPr/>
            <p:nvPr/>
          </p:nvSpPr>
          <p:spPr>
            <a:xfrm>
              <a:off x="7729479" y="4489366"/>
              <a:ext cx="10662" cy="27340"/>
            </a:xfrm>
            <a:custGeom>
              <a:avLst/>
              <a:gdLst/>
              <a:ahLst/>
              <a:cxnLst/>
              <a:rect l="l" t="t" r="r" b="b"/>
              <a:pathLst>
                <a:path w="335" h="859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703"/>
                  </a:lnTo>
                  <a:cubicBezTo>
                    <a:pt x="1" y="787"/>
                    <a:pt x="72" y="858"/>
                    <a:pt x="156" y="858"/>
                  </a:cubicBezTo>
                  <a:cubicBezTo>
                    <a:pt x="251" y="858"/>
                    <a:pt x="322" y="787"/>
                    <a:pt x="322" y="703"/>
                  </a:cubicBezTo>
                  <a:lnTo>
                    <a:pt x="322" y="168"/>
                  </a:lnTo>
                  <a:cubicBezTo>
                    <a:pt x="334" y="72"/>
                    <a:pt x="263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5" name="Google Shape;11255;p60"/>
            <p:cNvSpPr/>
            <p:nvPr/>
          </p:nvSpPr>
          <p:spPr>
            <a:xfrm>
              <a:off x="767301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5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25" y="715"/>
                  </a:cubicBezTo>
                  <a:cubicBezTo>
                    <a:pt x="418" y="715"/>
                    <a:pt x="322" y="620"/>
                    <a:pt x="322" y="512"/>
                  </a:cubicBezTo>
                  <a:cubicBezTo>
                    <a:pt x="322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799" y="1036"/>
                    <a:pt x="1037" y="798"/>
                    <a:pt x="1037" y="512"/>
                  </a:cubicBezTo>
                  <a:cubicBezTo>
                    <a:pt x="1037" y="239"/>
                    <a:pt x="799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6" name="Google Shape;11256;p60"/>
            <p:cNvSpPr/>
            <p:nvPr/>
          </p:nvSpPr>
          <p:spPr>
            <a:xfrm>
              <a:off x="7565408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4" y="715"/>
                  </a:cubicBezTo>
                  <a:cubicBezTo>
                    <a:pt x="417" y="715"/>
                    <a:pt x="334" y="620"/>
                    <a:pt x="334" y="512"/>
                  </a:cubicBezTo>
                  <a:cubicBezTo>
                    <a:pt x="334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4" y="1036"/>
                  </a:cubicBezTo>
                  <a:cubicBezTo>
                    <a:pt x="810" y="1036"/>
                    <a:pt x="1048" y="798"/>
                    <a:pt x="1048" y="512"/>
                  </a:cubicBezTo>
                  <a:cubicBezTo>
                    <a:pt x="1048" y="239"/>
                    <a:pt x="81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7" name="Google Shape;11257;p60"/>
            <p:cNvSpPr/>
            <p:nvPr/>
          </p:nvSpPr>
          <p:spPr>
            <a:xfrm>
              <a:off x="77806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2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12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12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8" name="Google Shape;11258;p60"/>
            <p:cNvSpPr/>
            <p:nvPr/>
          </p:nvSpPr>
          <p:spPr>
            <a:xfrm>
              <a:off x="7596090" y="4528801"/>
              <a:ext cx="186859" cy="73362"/>
            </a:xfrm>
            <a:custGeom>
              <a:avLst/>
              <a:gdLst/>
              <a:ahLst/>
              <a:cxnLst/>
              <a:rect l="l" t="t" r="r" b="b"/>
              <a:pathLst>
                <a:path w="5871" h="2305" extrusionOk="0">
                  <a:moveTo>
                    <a:pt x="2942" y="0"/>
                  </a:moveTo>
                  <a:cubicBezTo>
                    <a:pt x="2847" y="0"/>
                    <a:pt x="2775" y="72"/>
                    <a:pt x="2775" y="155"/>
                  </a:cubicBezTo>
                  <a:lnTo>
                    <a:pt x="2775" y="357"/>
                  </a:lnTo>
                  <a:lnTo>
                    <a:pt x="1608" y="357"/>
                  </a:lnTo>
                  <a:cubicBezTo>
                    <a:pt x="1394" y="357"/>
                    <a:pt x="1180" y="453"/>
                    <a:pt x="1049" y="655"/>
                  </a:cubicBezTo>
                  <a:lnTo>
                    <a:pt x="60" y="2036"/>
                  </a:lnTo>
                  <a:cubicBezTo>
                    <a:pt x="1" y="2108"/>
                    <a:pt x="37" y="2215"/>
                    <a:pt x="108" y="2274"/>
                  </a:cubicBezTo>
                  <a:cubicBezTo>
                    <a:pt x="133" y="2295"/>
                    <a:pt x="163" y="2304"/>
                    <a:pt x="193" y="2304"/>
                  </a:cubicBezTo>
                  <a:cubicBezTo>
                    <a:pt x="249" y="2304"/>
                    <a:pt x="308" y="2273"/>
                    <a:pt x="346" y="2227"/>
                  </a:cubicBezTo>
                  <a:lnTo>
                    <a:pt x="1334" y="846"/>
                  </a:lnTo>
                  <a:cubicBezTo>
                    <a:pt x="1406" y="750"/>
                    <a:pt x="1513" y="691"/>
                    <a:pt x="1632" y="691"/>
                  </a:cubicBezTo>
                  <a:lnTo>
                    <a:pt x="2787" y="691"/>
                  </a:lnTo>
                  <a:lnTo>
                    <a:pt x="2787" y="1941"/>
                  </a:lnTo>
                  <a:cubicBezTo>
                    <a:pt x="2787" y="2036"/>
                    <a:pt x="2858" y="2108"/>
                    <a:pt x="2954" y="2108"/>
                  </a:cubicBezTo>
                  <a:cubicBezTo>
                    <a:pt x="3037" y="2108"/>
                    <a:pt x="3120" y="2036"/>
                    <a:pt x="3120" y="1941"/>
                  </a:cubicBezTo>
                  <a:lnTo>
                    <a:pt x="3120" y="691"/>
                  </a:lnTo>
                  <a:lnTo>
                    <a:pt x="4275" y="691"/>
                  </a:lnTo>
                  <a:cubicBezTo>
                    <a:pt x="4394" y="691"/>
                    <a:pt x="4502" y="750"/>
                    <a:pt x="4573" y="846"/>
                  </a:cubicBezTo>
                  <a:lnTo>
                    <a:pt x="5561" y="2227"/>
                  </a:lnTo>
                  <a:cubicBezTo>
                    <a:pt x="5585" y="2274"/>
                    <a:pt x="5645" y="2298"/>
                    <a:pt x="5692" y="2298"/>
                  </a:cubicBezTo>
                  <a:cubicBezTo>
                    <a:pt x="5716" y="2298"/>
                    <a:pt x="5764" y="2286"/>
                    <a:pt x="5775" y="2274"/>
                  </a:cubicBezTo>
                  <a:cubicBezTo>
                    <a:pt x="5859" y="2215"/>
                    <a:pt x="5871" y="2108"/>
                    <a:pt x="5811" y="2036"/>
                  </a:cubicBezTo>
                  <a:lnTo>
                    <a:pt x="4823" y="655"/>
                  </a:lnTo>
                  <a:cubicBezTo>
                    <a:pt x="4692" y="476"/>
                    <a:pt x="4490" y="357"/>
                    <a:pt x="4263" y="357"/>
                  </a:cubicBezTo>
                  <a:lnTo>
                    <a:pt x="3097" y="357"/>
                  </a:lnTo>
                  <a:lnTo>
                    <a:pt x="3097" y="155"/>
                  </a:lnTo>
                  <a:cubicBezTo>
                    <a:pt x="3097" y="72"/>
                    <a:pt x="3025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59" name="Google Shape;11259;p60"/>
          <p:cNvGrpSpPr/>
          <p:nvPr/>
        </p:nvGrpSpPr>
        <p:grpSpPr>
          <a:xfrm>
            <a:off x="6264109" y="4279432"/>
            <a:ext cx="225498" cy="361560"/>
            <a:chOff x="6264109" y="4279432"/>
            <a:chExt cx="225498" cy="361560"/>
          </a:xfrm>
        </p:grpSpPr>
        <p:sp>
          <p:nvSpPr>
            <p:cNvPr id="11260" name="Google Shape;11260;p60"/>
            <p:cNvSpPr/>
            <p:nvPr/>
          </p:nvSpPr>
          <p:spPr>
            <a:xfrm>
              <a:off x="6264109" y="4279432"/>
              <a:ext cx="225498" cy="361560"/>
            </a:xfrm>
            <a:custGeom>
              <a:avLst/>
              <a:gdLst/>
              <a:ahLst/>
              <a:cxnLst/>
              <a:rect l="l" t="t" r="r" b="b"/>
              <a:pathLst>
                <a:path w="7085" h="11360" extrusionOk="0">
                  <a:moveTo>
                    <a:pt x="6716" y="870"/>
                  </a:moveTo>
                  <a:cubicBezTo>
                    <a:pt x="6716" y="870"/>
                    <a:pt x="6728" y="870"/>
                    <a:pt x="6728" y="882"/>
                  </a:cubicBezTo>
                  <a:lnTo>
                    <a:pt x="6728" y="1239"/>
                  </a:lnTo>
                  <a:lnTo>
                    <a:pt x="6751" y="1239"/>
                  </a:lnTo>
                  <a:lnTo>
                    <a:pt x="6192" y="1251"/>
                  </a:lnTo>
                  <a:cubicBezTo>
                    <a:pt x="6108" y="1251"/>
                    <a:pt x="6037" y="1322"/>
                    <a:pt x="6037" y="1418"/>
                  </a:cubicBezTo>
                  <a:cubicBezTo>
                    <a:pt x="6037" y="1501"/>
                    <a:pt x="6108" y="1584"/>
                    <a:pt x="6192" y="1584"/>
                  </a:cubicBezTo>
                  <a:lnTo>
                    <a:pt x="6394" y="1584"/>
                  </a:lnTo>
                  <a:lnTo>
                    <a:pt x="6394" y="7454"/>
                  </a:lnTo>
                  <a:cubicBezTo>
                    <a:pt x="6394" y="7454"/>
                    <a:pt x="6394" y="7478"/>
                    <a:pt x="6370" y="7478"/>
                  </a:cubicBezTo>
                  <a:lnTo>
                    <a:pt x="679" y="7478"/>
                  </a:lnTo>
                  <a:cubicBezTo>
                    <a:pt x="679" y="7478"/>
                    <a:pt x="655" y="7478"/>
                    <a:pt x="655" y="7454"/>
                  </a:cubicBezTo>
                  <a:lnTo>
                    <a:pt x="655" y="1584"/>
                  </a:lnTo>
                  <a:lnTo>
                    <a:pt x="5477" y="1584"/>
                  </a:lnTo>
                  <a:cubicBezTo>
                    <a:pt x="5573" y="1584"/>
                    <a:pt x="5644" y="1501"/>
                    <a:pt x="5644" y="1418"/>
                  </a:cubicBezTo>
                  <a:cubicBezTo>
                    <a:pt x="5644" y="1322"/>
                    <a:pt x="5573" y="1251"/>
                    <a:pt x="5477" y="1251"/>
                  </a:cubicBezTo>
                  <a:lnTo>
                    <a:pt x="322" y="1251"/>
                  </a:lnTo>
                  <a:cubicBezTo>
                    <a:pt x="322" y="1251"/>
                    <a:pt x="298" y="1251"/>
                    <a:pt x="298" y="1239"/>
                  </a:cubicBezTo>
                  <a:lnTo>
                    <a:pt x="298" y="882"/>
                  </a:lnTo>
                  <a:cubicBezTo>
                    <a:pt x="298" y="882"/>
                    <a:pt x="298" y="870"/>
                    <a:pt x="322" y="870"/>
                  </a:cubicBezTo>
                  <a:close/>
                  <a:moveTo>
                    <a:pt x="5358" y="7811"/>
                  </a:moveTo>
                  <a:lnTo>
                    <a:pt x="5858" y="10335"/>
                  </a:lnTo>
                  <a:lnTo>
                    <a:pt x="3691" y="10335"/>
                  </a:lnTo>
                  <a:lnTo>
                    <a:pt x="3691" y="8371"/>
                  </a:lnTo>
                  <a:cubicBezTo>
                    <a:pt x="3691" y="8276"/>
                    <a:pt x="3620" y="8204"/>
                    <a:pt x="3537" y="8204"/>
                  </a:cubicBezTo>
                  <a:cubicBezTo>
                    <a:pt x="3441" y="8204"/>
                    <a:pt x="3370" y="8276"/>
                    <a:pt x="3370" y="8371"/>
                  </a:cubicBezTo>
                  <a:lnTo>
                    <a:pt x="3370" y="10335"/>
                  </a:lnTo>
                  <a:lnTo>
                    <a:pt x="1215" y="10335"/>
                  </a:lnTo>
                  <a:lnTo>
                    <a:pt x="1715" y="7811"/>
                  </a:lnTo>
                  <a:close/>
                  <a:moveTo>
                    <a:pt x="3549" y="1"/>
                  </a:moveTo>
                  <a:cubicBezTo>
                    <a:pt x="3453" y="1"/>
                    <a:pt x="3382" y="72"/>
                    <a:pt x="3382" y="168"/>
                  </a:cubicBezTo>
                  <a:lnTo>
                    <a:pt x="3382" y="537"/>
                  </a:lnTo>
                  <a:lnTo>
                    <a:pt x="346" y="537"/>
                  </a:lnTo>
                  <a:cubicBezTo>
                    <a:pt x="155" y="537"/>
                    <a:pt x="0" y="691"/>
                    <a:pt x="0" y="882"/>
                  </a:cubicBezTo>
                  <a:lnTo>
                    <a:pt x="0" y="1239"/>
                  </a:lnTo>
                  <a:cubicBezTo>
                    <a:pt x="0" y="1430"/>
                    <a:pt x="155" y="1584"/>
                    <a:pt x="346" y="1584"/>
                  </a:cubicBezTo>
                  <a:lnTo>
                    <a:pt x="358" y="1584"/>
                  </a:lnTo>
                  <a:lnTo>
                    <a:pt x="358" y="7454"/>
                  </a:lnTo>
                  <a:cubicBezTo>
                    <a:pt x="358" y="7645"/>
                    <a:pt x="512" y="7799"/>
                    <a:pt x="703" y="7799"/>
                  </a:cubicBezTo>
                  <a:lnTo>
                    <a:pt x="1382" y="7799"/>
                  </a:lnTo>
                  <a:lnTo>
                    <a:pt x="715" y="11157"/>
                  </a:lnTo>
                  <a:cubicBezTo>
                    <a:pt x="703" y="11252"/>
                    <a:pt x="762" y="11347"/>
                    <a:pt x="858" y="11359"/>
                  </a:cubicBezTo>
                  <a:lnTo>
                    <a:pt x="882" y="11359"/>
                  </a:lnTo>
                  <a:cubicBezTo>
                    <a:pt x="953" y="11359"/>
                    <a:pt x="1036" y="11300"/>
                    <a:pt x="1048" y="11217"/>
                  </a:cubicBezTo>
                  <a:lnTo>
                    <a:pt x="1167" y="10645"/>
                  </a:lnTo>
                  <a:lnTo>
                    <a:pt x="3382" y="10645"/>
                  </a:lnTo>
                  <a:lnTo>
                    <a:pt x="3382" y="11193"/>
                  </a:lnTo>
                  <a:cubicBezTo>
                    <a:pt x="3382" y="11288"/>
                    <a:pt x="3453" y="11359"/>
                    <a:pt x="3549" y="11359"/>
                  </a:cubicBezTo>
                  <a:cubicBezTo>
                    <a:pt x="3632" y="11359"/>
                    <a:pt x="3703" y="11288"/>
                    <a:pt x="3703" y="11193"/>
                  </a:cubicBezTo>
                  <a:lnTo>
                    <a:pt x="3703" y="10645"/>
                  </a:lnTo>
                  <a:lnTo>
                    <a:pt x="5930" y="10645"/>
                  </a:lnTo>
                  <a:lnTo>
                    <a:pt x="6049" y="11217"/>
                  </a:lnTo>
                  <a:cubicBezTo>
                    <a:pt x="6061" y="11300"/>
                    <a:pt x="6132" y="11359"/>
                    <a:pt x="6204" y="11359"/>
                  </a:cubicBezTo>
                  <a:lnTo>
                    <a:pt x="6239" y="11359"/>
                  </a:lnTo>
                  <a:cubicBezTo>
                    <a:pt x="6323" y="11336"/>
                    <a:pt x="6382" y="11252"/>
                    <a:pt x="6370" y="11157"/>
                  </a:cubicBezTo>
                  <a:lnTo>
                    <a:pt x="5704" y="7799"/>
                  </a:lnTo>
                  <a:lnTo>
                    <a:pt x="6382" y="7799"/>
                  </a:lnTo>
                  <a:cubicBezTo>
                    <a:pt x="6585" y="7799"/>
                    <a:pt x="6728" y="7645"/>
                    <a:pt x="6728" y="7454"/>
                  </a:cubicBezTo>
                  <a:lnTo>
                    <a:pt x="6728" y="1584"/>
                  </a:lnTo>
                  <a:lnTo>
                    <a:pt x="6739" y="1584"/>
                  </a:lnTo>
                  <a:cubicBezTo>
                    <a:pt x="6942" y="1584"/>
                    <a:pt x="7085" y="1430"/>
                    <a:pt x="7085" y="1239"/>
                  </a:cubicBezTo>
                  <a:lnTo>
                    <a:pt x="7085" y="882"/>
                  </a:lnTo>
                  <a:cubicBezTo>
                    <a:pt x="7085" y="691"/>
                    <a:pt x="6930" y="537"/>
                    <a:pt x="6751" y="537"/>
                  </a:cubicBezTo>
                  <a:lnTo>
                    <a:pt x="3715" y="537"/>
                  </a:lnTo>
                  <a:lnTo>
                    <a:pt x="3715" y="168"/>
                  </a:lnTo>
                  <a:cubicBezTo>
                    <a:pt x="3715" y="72"/>
                    <a:pt x="3632" y="1"/>
                    <a:pt x="3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1" name="Google Shape;11261;p60"/>
            <p:cNvSpPr/>
            <p:nvPr/>
          </p:nvSpPr>
          <p:spPr>
            <a:xfrm>
              <a:off x="6303129" y="4370395"/>
              <a:ext cx="146693" cy="106495"/>
            </a:xfrm>
            <a:custGeom>
              <a:avLst/>
              <a:gdLst/>
              <a:ahLst/>
              <a:cxnLst/>
              <a:rect l="l" t="t" r="r" b="b"/>
              <a:pathLst>
                <a:path w="4609" h="3346" extrusionOk="0">
                  <a:moveTo>
                    <a:pt x="3561" y="0"/>
                  </a:moveTo>
                  <a:cubicBezTo>
                    <a:pt x="3466" y="0"/>
                    <a:pt x="3394" y="72"/>
                    <a:pt x="3394" y="167"/>
                  </a:cubicBezTo>
                  <a:cubicBezTo>
                    <a:pt x="3394" y="250"/>
                    <a:pt x="3466" y="334"/>
                    <a:pt x="3561" y="334"/>
                  </a:cubicBezTo>
                  <a:lnTo>
                    <a:pt x="4049" y="334"/>
                  </a:lnTo>
                  <a:lnTo>
                    <a:pt x="2406" y="1965"/>
                  </a:lnTo>
                  <a:lnTo>
                    <a:pt x="2394" y="1965"/>
                  </a:lnTo>
                  <a:lnTo>
                    <a:pt x="2025" y="1596"/>
                  </a:lnTo>
                  <a:cubicBezTo>
                    <a:pt x="1959" y="1530"/>
                    <a:pt x="1870" y="1498"/>
                    <a:pt x="1781" y="1498"/>
                  </a:cubicBezTo>
                  <a:cubicBezTo>
                    <a:pt x="1692" y="1498"/>
                    <a:pt x="1602" y="1530"/>
                    <a:pt x="1537" y="1596"/>
                  </a:cubicBezTo>
                  <a:lnTo>
                    <a:pt x="60" y="3072"/>
                  </a:lnTo>
                  <a:cubicBezTo>
                    <a:pt x="1" y="3132"/>
                    <a:pt x="1" y="3227"/>
                    <a:pt x="60" y="3310"/>
                  </a:cubicBezTo>
                  <a:cubicBezTo>
                    <a:pt x="84" y="3334"/>
                    <a:pt x="132" y="3346"/>
                    <a:pt x="179" y="3346"/>
                  </a:cubicBezTo>
                  <a:cubicBezTo>
                    <a:pt x="227" y="3346"/>
                    <a:pt x="263" y="3334"/>
                    <a:pt x="298" y="3310"/>
                  </a:cubicBezTo>
                  <a:lnTo>
                    <a:pt x="1775" y="1834"/>
                  </a:lnTo>
                  <a:lnTo>
                    <a:pt x="1787" y="1834"/>
                  </a:lnTo>
                  <a:lnTo>
                    <a:pt x="2156" y="2203"/>
                  </a:lnTo>
                  <a:cubicBezTo>
                    <a:pt x="2215" y="2263"/>
                    <a:pt x="2311" y="2310"/>
                    <a:pt x="2394" y="2310"/>
                  </a:cubicBezTo>
                  <a:cubicBezTo>
                    <a:pt x="2477" y="2310"/>
                    <a:pt x="2573" y="2274"/>
                    <a:pt x="2632" y="2203"/>
                  </a:cubicBezTo>
                  <a:lnTo>
                    <a:pt x="4263" y="572"/>
                  </a:lnTo>
                  <a:lnTo>
                    <a:pt x="4263" y="1060"/>
                  </a:lnTo>
                  <a:cubicBezTo>
                    <a:pt x="4263" y="1143"/>
                    <a:pt x="4347" y="1227"/>
                    <a:pt x="4430" y="1227"/>
                  </a:cubicBezTo>
                  <a:cubicBezTo>
                    <a:pt x="4525" y="1227"/>
                    <a:pt x="4597" y="1143"/>
                    <a:pt x="4597" y="1060"/>
                  </a:cubicBezTo>
                  <a:lnTo>
                    <a:pt x="4597" y="167"/>
                  </a:lnTo>
                  <a:cubicBezTo>
                    <a:pt x="4609" y="72"/>
                    <a:pt x="4537" y="0"/>
                    <a:pt x="4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62" name="Google Shape;11262;p60"/>
          <p:cNvGrpSpPr/>
          <p:nvPr/>
        </p:nvGrpSpPr>
        <p:grpSpPr>
          <a:xfrm>
            <a:off x="7929578" y="4284365"/>
            <a:ext cx="395266" cy="351312"/>
            <a:chOff x="7929578" y="4284365"/>
            <a:chExt cx="395266" cy="351312"/>
          </a:xfrm>
        </p:grpSpPr>
        <p:sp>
          <p:nvSpPr>
            <p:cNvPr id="11263" name="Google Shape;11263;p60"/>
            <p:cNvSpPr/>
            <p:nvPr/>
          </p:nvSpPr>
          <p:spPr>
            <a:xfrm>
              <a:off x="7954213" y="4588668"/>
              <a:ext cx="11394" cy="47009"/>
            </a:xfrm>
            <a:custGeom>
              <a:avLst/>
              <a:gdLst/>
              <a:ahLst/>
              <a:cxnLst/>
              <a:rect l="l" t="t" r="r" b="b"/>
              <a:pathLst>
                <a:path w="358" h="1477" extrusionOk="0">
                  <a:moveTo>
                    <a:pt x="179" y="0"/>
                  </a:moveTo>
                  <a:cubicBezTo>
                    <a:pt x="84" y="0"/>
                    <a:pt x="0" y="84"/>
                    <a:pt x="0" y="179"/>
                  </a:cubicBezTo>
                  <a:lnTo>
                    <a:pt x="0" y="1298"/>
                  </a:lnTo>
                  <a:cubicBezTo>
                    <a:pt x="0" y="1405"/>
                    <a:pt x="84" y="1477"/>
                    <a:pt x="179" y="1477"/>
                  </a:cubicBezTo>
                  <a:cubicBezTo>
                    <a:pt x="286" y="1477"/>
                    <a:pt x="358" y="1405"/>
                    <a:pt x="358" y="1298"/>
                  </a:cubicBezTo>
                  <a:lnTo>
                    <a:pt x="358" y="179"/>
                  </a:lnTo>
                  <a:cubicBezTo>
                    <a:pt x="358" y="96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4" name="Google Shape;11264;p60"/>
            <p:cNvSpPr/>
            <p:nvPr/>
          </p:nvSpPr>
          <p:spPr>
            <a:xfrm>
              <a:off x="7929578" y="4432522"/>
              <a:ext cx="213372" cy="203155"/>
            </a:xfrm>
            <a:custGeom>
              <a:avLst/>
              <a:gdLst/>
              <a:ahLst/>
              <a:cxnLst/>
              <a:rect l="l" t="t" r="r" b="b"/>
              <a:pathLst>
                <a:path w="6704" h="6383" extrusionOk="0">
                  <a:moveTo>
                    <a:pt x="6192" y="1013"/>
                  </a:moveTo>
                  <a:lnTo>
                    <a:pt x="6275" y="1275"/>
                  </a:lnTo>
                  <a:cubicBezTo>
                    <a:pt x="6287" y="1358"/>
                    <a:pt x="6275" y="1430"/>
                    <a:pt x="6216" y="1489"/>
                  </a:cubicBezTo>
                  <a:lnTo>
                    <a:pt x="6108" y="1596"/>
                  </a:lnTo>
                  <a:lnTo>
                    <a:pt x="5858" y="1334"/>
                  </a:lnTo>
                  <a:lnTo>
                    <a:pt x="6192" y="1013"/>
                  </a:lnTo>
                  <a:close/>
                  <a:moveTo>
                    <a:pt x="1941" y="382"/>
                  </a:moveTo>
                  <a:cubicBezTo>
                    <a:pt x="2251" y="382"/>
                    <a:pt x="2536" y="501"/>
                    <a:pt x="2763" y="727"/>
                  </a:cubicBezTo>
                  <a:cubicBezTo>
                    <a:pt x="2965" y="953"/>
                    <a:pt x="3096" y="1251"/>
                    <a:pt x="3132" y="1573"/>
                  </a:cubicBezTo>
                  <a:cubicBezTo>
                    <a:pt x="3144" y="1692"/>
                    <a:pt x="3156" y="1846"/>
                    <a:pt x="3179" y="2001"/>
                  </a:cubicBezTo>
                  <a:cubicBezTo>
                    <a:pt x="2977" y="1680"/>
                    <a:pt x="2656" y="1430"/>
                    <a:pt x="2239" y="1287"/>
                  </a:cubicBezTo>
                  <a:cubicBezTo>
                    <a:pt x="1947" y="1199"/>
                    <a:pt x="1670" y="1191"/>
                    <a:pt x="1579" y="1191"/>
                  </a:cubicBezTo>
                  <a:cubicBezTo>
                    <a:pt x="1559" y="1191"/>
                    <a:pt x="1548" y="1192"/>
                    <a:pt x="1548" y="1192"/>
                  </a:cubicBezTo>
                  <a:cubicBezTo>
                    <a:pt x="1513" y="1192"/>
                    <a:pt x="1465" y="1204"/>
                    <a:pt x="1429" y="1251"/>
                  </a:cubicBezTo>
                  <a:lnTo>
                    <a:pt x="1108" y="1585"/>
                  </a:lnTo>
                  <a:cubicBezTo>
                    <a:pt x="1036" y="1668"/>
                    <a:pt x="1036" y="1787"/>
                    <a:pt x="1108" y="1846"/>
                  </a:cubicBezTo>
                  <a:cubicBezTo>
                    <a:pt x="1143" y="1882"/>
                    <a:pt x="1191" y="1900"/>
                    <a:pt x="1237" y="1900"/>
                  </a:cubicBezTo>
                  <a:cubicBezTo>
                    <a:pt x="1283" y="1900"/>
                    <a:pt x="1328" y="1882"/>
                    <a:pt x="1358" y="1846"/>
                  </a:cubicBezTo>
                  <a:lnTo>
                    <a:pt x="1632" y="1561"/>
                  </a:lnTo>
                  <a:cubicBezTo>
                    <a:pt x="1870" y="1573"/>
                    <a:pt x="2620" y="1668"/>
                    <a:pt x="2906" y="2299"/>
                  </a:cubicBezTo>
                  <a:cubicBezTo>
                    <a:pt x="2834" y="2763"/>
                    <a:pt x="2417" y="3120"/>
                    <a:pt x="1929" y="3120"/>
                  </a:cubicBezTo>
                  <a:cubicBezTo>
                    <a:pt x="1393" y="3120"/>
                    <a:pt x="941" y="2680"/>
                    <a:pt x="941" y="2144"/>
                  </a:cubicBezTo>
                  <a:cubicBezTo>
                    <a:pt x="941" y="2037"/>
                    <a:pt x="870" y="1966"/>
                    <a:pt x="762" y="1966"/>
                  </a:cubicBezTo>
                  <a:cubicBezTo>
                    <a:pt x="751" y="1966"/>
                    <a:pt x="715" y="1966"/>
                    <a:pt x="703" y="1977"/>
                  </a:cubicBezTo>
                  <a:cubicBezTo>
                    <a:pt x="715" y="1835"/>
                    <a:pt x="751" y="1680"/>
                    <a:pt x="751" y="1573"/>
                  </a:cubicBezTo>
                  <a:cubicBezTo>
                    <a:pt x="774" y="1251"/>
                    <a:pt x="893" y="953"/>
                    <a:pt x="1120" y="727"/>
                  </a:cubicBezTo>
                  <a:cubicBezTo>
                    <a:pt x="1334" y="501"/>
                    <a:pt x="1632" y="382"/>
                    <a:pt x="1941" y="382"/>
                  </a:cubicBezTo>
                  <a:close/>
                  <a:moveTo>
                    <a:pt x="631" y="2442"/>
                  </a:moveTo>
                  <a:cubicBezTo>
                    <a:pt x="703" y="2763"/>
                    <a:pt x="917" y="3049"/>
                    <a:pt x="1179" y="3228"/>
                  </a:cubicBezTo>
                  <a:lnTo>
                    <a:pt x="1179" y="3442"/>
                  </a:lnTo>
                  <a:lnTo>
                    <a:pt x="1167" y="3442"/>
                  </a:lnTo>
                  <a:cubicBezTo>
                    <a:pt x="822" y="3382"/>
                    <a:pt x="572" y="3287"/>
                    <a:pt x="417" y="3216"/>
                  </a:cubicBezTo>
                  <a:cubicBezTo>
                    <a:pt x="405" y="3216"/>
                    <a:pt x="417" y="3204"/>
                    <a:pt x="417" y="3204"/>
                  </a:cubicBezTo>
                  <a:cubicBezTo>
                    <a:pt x="501" y="2989"/>
                    <a:pt x="572" y="2728"/>
                    <a:pt x="631" y="2442"/>
                  </a:cubicBezTo>
                  <a:close/>
                  <a:moveTo>
                    <a:pt x="3239" y="2454"/>
                  </a:moveTo>
                  <a:cubicBezTo>
                    <a:pt x="3275" y="2692"/>
                    <a:pt x="3334" y="2942"/>
                    <a:pt x="3418" y="3144"/>
                  </a:cubicBezTo>
                  <a:lnTo>
                    <a:pt x="3084" y="3454"/>
                  </a:lnTo>
                  <a:cubicBezTo>
                    <a:pt x="3037" y="3478"/>
                    <a:pt x="3001" y="3513"/>
                    <a:pt x="2941" y="3513"/>
                  </a:cubicBezTo>
                  <a:lnTo>
                    <a:pt x="2894" y="3513"/>
                  </a:lnTo>
                  <a:cubicBezTo>
                    <a:pt x="2775" y="3513"/>
                    <a:pt x="2679" y="3418"/>
                    <a:pt x="2679" y="3299"/>
                  </a:cubicBezTo>
                  <a:lnTo>
                    <a:pt x="2679" y="3239"/>
                  </a:lnTo>
                  <a:cubicBezTo>
                    <a:pt x="2953" y="3061"/>
                    <a:pt x="3144" y="2787"/>
                    <a:pt x="3239" y="2454"/>
                  </a:cubicBezTo>
                  <a:close/>
                  <a:moveTo>
                    <a:pt x="2358" y="3418"/>
                  </a:moveTo>
                  <a:cubicBezTo>
                    <a:pt x="2370" y="3525"/>
                    <a:pt x="2429" y="3620"/>
                    <a:pt x="2489" y="3692"/>
                  </a:cubicBezTo>
                  <a:lnTo>
                    <a:pt x="2203" y="3954"/>
                  </a:lnTo>
                  <a:cubicBezTo>
                    <a:pt x="2132" y="4031"/>
                    <a:pt x="2033" y="4070"/>
                    <a:pt x="1934" y="4070"/>
                  </a:cubicBezTo>
                  <a:cubicBezTo>
                    <a:pt x="1834" y="4070"/>
                    <a:pt x="1733" y="4031"/>
                    <a:pt x="1655" y="3954"/>
                  </a:cubicBezTo>
                  <a:lnTo>
                    <a:pt x="1489" y="3799"/>
                  </a:lnTo>
                  <a:cubicBezTo>
                    <a:pt x="1524" y="3740"/>
                    <a:pt x="1536" y="3680"/>
                    <a:pt x="1536" y="3620"/>
                  </a:cubicBezTo>
                  <a:lnTo>
                    <a:pt x="1536" y="3418"/>
                  </a:lnTo>
                  <a:cubicBezTo>
                    <a:pt x="1667" y="3466"/>
                    <a:pt x="1810" y="3478"/>
                    <a:pt x="1941" y="3478"/>
                  </a:cubicBezTo>
                  <a:cubicBezTo>
                    <a:pt x="2084" y="3478"/>
                    <a:pt x="2227" y="3454"/>
                    <a:pt x="2358" y="3418"/>
                  </a:cubicBezTo>
                  <a:close/>
                  <a:moveTo>
                    <a:pt x="1941" y="1"/>
                  </a:moveTo>
                  <a:cubicBezTo>
                    <a:pt x="1120" y="1"/>
                    <a:pt x="465" y="656"/>
                    <a:pt x="393" y="1537"/>
                  </a:cubicBezTo>
                  <a:cubicBezTo>
                    <a:pt x="358" y="1882"/>
                    <a:pt x="239" y="2644"/>
                    <a:pt x="72" y="3061"/>
                  </a:cubicBezTo>
                  <a:cubicBezTo>
                    <a:pt x="0" y="3251"/>
                    <a:pt x="96" y="3454"/>
                    <a:pt x="274" y="3537"/>
                  </a:cubicBezTo>
                  <a:cubicBezTo>
                    <a:pt x="405" y="3597"/>
                    <a:pt x="608" y="3692"/>
                    <a:pt x="893" y="3751"/>
                  </a:cubicBezTo>
                  <a:lnTo>
                    <a:pt x="417" y="3990"/>
                  </a:lnTo>
                  <a:cubicBezTo>
                    <a:pt x="155" y="4121"/>
                    <a:pt x="0" y="4371"/>
                    <a:pt x="0" y="4668"/>
                  </a:cubicBezTo>
                  <a:lnTo>
                    <a:pt x="0" y="6204"/>
                  </a:lnTo>
                  <a:cubicBezTo>
                    <a:pt x="0" y="6311"/>
                    <a:pt x="72" y="6383"/>
                    <a:pt x="179" y="6383"/>
                  </a:cubicBezTo>
                  <a:cubicBezTo>
                    <a:pt x="286" y="6383"/>
                    <a:pt x="358" y="6311"/>
                    <a:pt x="358" y="6204"/>
                  </a:cubicBezTo>
                  <a:lnTo>
                    <a:pt x="358" y="4668"/>
                  </a:lnTo>
                  <a:cubicBezTo>
                    <a:pt x="358" y="4525"/>
                    <a:pt x="453" y="4371"/>
                    <a:pt x="584" y="4311"/>
                  </a:cubicBezTo>
                  <a:lnTo>
                    <a:pt x="1191" y="4013"/>
                  </a:lnTo>
                  <a:lnTo>
                    <a:pt x="1405" y="4216"/>
                  </a:lnTo>
                  <a:cubicBezTo>
                    <a:pt x="1548" y="4347"/>
                    <a:pt x="1739" y="4418"/>
                    <a:pt x="1929" y="4418"/>
                  </a:cubicBezTo>
                  <a:cubicBezTo>
                    <a:pt x="2120" y="4418"/>
                    <a:pt x="2310" y="4347"/>
                    <a:pt x="2453" y="4216"/>
                  </a:cubicBezTo>
                  <a:lnTo>
                    <a:pt x="2822" y="3859"/>
                  </a:lnTo>
                  <a:lnTo>
                    <a:pt x="2929" y="3859"/>
                  </a:lnTo>
                  <a:cubicBezTo>
                    <a:pt x="3084" y="3859"/>
                    <a:pt x="3215" y="3799"/>
                    <a:pt x="3322" y="3692"/>
                  </a:cubicBezTo>
                  <a:lnTo>
                    <a:pt x="5584" y="1561"/>
                  </a:lnTo>
                  <a:lnTo>
                    <a:pt x="5835" y="1811"/>
                  </a:lnTo>
                  <a:lnTo>
                    <a:pt x="3001" y="4656"/>
                  </a:lnTo>
                  <a:cubicBezTo>
                    <a:pt x="2822" y="4835"/>
                    <a:pt x="2715" y="5073"/>
                    <a:pt x="2715" y="5347"/>
                  </a:cubicBezTo>
                  <a:lnTo>
                    <a:pt x="2715" y="6192"/>
                  </a:lnTo>
                  <a:cubicBezTo>
                    <a:pt x="2715" y="6299"/>
                    <a:pt x="2787" y="6371"/>
                    <a:pt x="2894" y="6371"/>
                  </a:cubicBezTo>
                  <a:cubicBezTo>
                    <a:pt x="3001" y="6371"/>
                    <a:pt x="3072" y="6299"/>
                    <a:pt x="3072" y="6192"/>
                  </a:cubicBezTo>
                  <a:lnTo>
                    <a:pt x="3072" y="5371"/>
                  </a:lnTo>
                  <a:cubicBezTo>
                    <a:pt x="3072" y="5204"/>
                    <a:pt x="3132" y="5061"/>
                    <a:pt x="3251" y="4954"/>
                  </a:cubicBezTo>
                  <a:lnTo>
                    <a:pt x="6466" y="1739"/>
                  </a:lnTo>
                  <a:cubicBezTo>
                    <a:pt x="6597" y="1608"/>
                    <a:pt x="6656" y="1394"/>
                    <a:pt x="6608" y="1204"/>
                  </a:cubicBezTo>
                  <a:lnTo>
                    <a:pt x="6513" y="727"/>
                  </a:lnTo>
                  <a:lnTo>
                    <a:pt x="6632" y="608"/>
                  </a:lnTo>
                  <a:cubicBezTo>
                    <a:pt x="6704" y="537"/>
                    <a:pt x="6704" y="430"/>
                    <a:pt x="6644" y="358"/>
                  </a:cubicBezTo>
                  <a:cubicBezTo>
                    <a:pt x="6607" y="321"/>
                    <a:pt x="6560" y="303"/>
                    <a:pt x="6513" y="303"/>
                  </a:cubicBezTo>
                  <a:cubicBezTo>
                    <a:pt x="6470" y="303"/>
                    <a:pt x="6428" y="318"/>
                    <a:pt x="6394" y="346"/>
                  </a:cubicBezTo>
                  <a:lnTo>
                    <a:pt x="3727" y="2858"/>
                  </a:lnTo>
                  <a:cubicBezTo>
                    <a:pt x="3608" y="2430"/>
                    <a:pt x="3501" y="1846"/>
                    <a:pt x="3489" y="1537"/>
                  </a:cubicBezTo>
                  <a:cubicBezTo>
                    <a:pt x="3429" y="656"/>
                    <a:pt x="2751" y="1"/>
                    <a:pt x="1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5" name="Google Shape;11265;p60"/>
            <p:cNvSpPr/>
            <p:nvPr/>
          </p:nvSpPr>
          <p:spPr>
            <a:xfrm>
              <a:off x="8090243" y="4284365"/>
              <a:ext cx="234601" cy="196344"/>
            </a:xfrm>
            <a:custGeom>
              <a:avLst/>
              <a:gdLst/>
              <a:ahLst/>
              <a:cxnLst/>
              <a:rect l="l" t="t" r="r" b="b"/>
              <a:pathLst>
                <a:path w="7371" h="6169" extrusionOk="0">
                  <a:moveTo>
                    <a:pt x="572" y="1"/>
                  </a:moveTo>
                  <a:cubicBezTo>
                    <a:pt x="251" y="1"/>
                    <a:pt x="1" y="251"/>
                    <a:pt x="1" y="560"/>
                  </a:cubicBezTo>
                  <a:lnTo>
                    <a:pt x="1" y="5275"/>
                  </a:lnTo>
                  <a:cubicBezTo>
                    <a:pt x="1" y="5382"/>
                    <a:pt x="72" y="5454"/>
                    <a:pt x="179" y="5454"/>
                  </a:cubicBezTo>
                  <a:cubicBezTo>
                    <a:pt x="286" y="5454"/>
                    <a:pt x="358" y="5382"/>
                    <a:pt x="358" y="5275"/>
                  </a:cubicBezTo>
                  <a:lnTo>
                    <a:pt x="358" y="560"/>
                  </a:lnTo>
                  <a:cubicBezTo>
                    <a:pt x="358" y="441"/>
                    <a:pt x="453" y="358"/>
                    <a:pt x="572" y="358"/>
                  </a:cubicBezTo>
                  <a:lnTo>
                    <a:pt x="6787" y="358"/>
                  </a:lnTo>
                  <a:cubicBezTo>
                    <a:pt x="6906" y="358"/>
                    <a:pt x="7002" y="441"/>
                    <a:pt x="7002" y="560"/>
                  </a:cubicBezTo>
                  <a:lnTo>
                    <a:pt x="7002" y="5608"/>
                  </a:lnTo>
                  <a:cubicBezTo>
                    <a:pt x="7002" y="5728"/>
                    <a:pt x="6906" y="5811"/>
                    <a:pt x="6787" y="5811"/>
                  </a:cubicBezTo>
                  <a:lnTo>
                    <a:pt x="2191" y="5811"/>
                  </a:lnTo>
                  <a:cubicBezTo>
                    <a:pt x="2084" y="5811"/>
                    <a:pt x="2013" y="5894"/>
                    <a:pt x="2013" y="5989"/>
                  </a:cubicBezTo>
                  <a:cubicBezTo>
                    <a:pt x="2013" y="6097"/>
                    <a:pt x="2084" y="6168"/>
                    <a:pt x="2191" y="6168"/>
                  </a:cubicBezTo>
                  <a:lnTo>
                    <a:pt x="6787" y="6168"/>
                  </a:lnTo>
                  <a:cubicBezTo>
                    <a:pt x="7097" y="6168"/>
                    <a:pt x="7359" y="5918"/>
                    <a:pt x="7359" y="5608"/>
                  </a:cubicBezTo>
                  <a:lnTo>
                    <a:pt x="7359" y="560"/>
                  </a:lnTo>
                  <a:cubicBezTo>
                    <a:pt x="7371" y="251"/>
                    <a:pt x="7097" y="1"/>
                    <a:pt x="6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6" name="Google Shape;11266;p60"/>
            <p:cNvSpPr/>
            <p:nvPr/>
          </p:nvSpPr>
          <p:spPr>
            <a:xfrm>
              <a:off x="8145591" y="4309382"/>
              <a:ext cx="136063" cy="135299"/>
            </a:xfrm>
            <a:custGeom>
              <a:avLst/>
              <a:gdLst/>
              <a:ahLst/>
              <a:cxnLst/>
              <a:rect l="l" t="t" r="r" b="b"/>
              <a:pathLst>
                <a:path w="4275" h="4251" extrusionOk="0">
                  <a:moveTo>
                    <a:pt x="1953" y="739"/>
                  </a:moveTo>
                  <a:cubicBezTo>
                    <a:pt x="2322" y="739"/>
                    <a:pt x="2655" y="882"/>
                    <a:pt x="2917" y="1084"/>
                  </a:cubicBezTo>
                  <a:lnTo>
                    <a:pt x="1822" y="2179"/>
                  </a:lnTo>
                  <a:cubicBezTo>
                    <a:pt x="1750" y="2263"/>
                    <a:pt x="1750" y="2382"/>
                    <a:pt x="1822" y="2441"/>
                  </a:cubicBezTo>
                  <a:cubicBezTo>
                    <a:pt x="1845" y="2465"/>
                    <a:pt x="1905" y="2501"/>
                    <a:pt x="1953" y="2501"/>
                  </a:cubicBezTo>
                  <a:cubicBezTo>
                    <a:pt x="2000" y="2501"/>
                    <a:pt x="2048" y="2477"/>
                    <a:pt x="2084" y="2441"/>
                  </a:cubicBezTo>
                  <a:lnTo>
                    <a:pt x="2643" y="1882"/>
                  </a:lnTo>
                  <a:cubicBezTo>
                    <a:pt x="2715" y="2001"/>
                    <a:pt x="2762" y="2155"/>
                    <a:pt x="2762" y="2298"/>
                  </a:cubicBezTo>
                  <a:cubicBezTo>
                    <a:pt x="2762" y="2739"/>
                    <a:pt x="2405" y="3096"/>
                    <a:pt x="1965" y="3096"/>
                  </a:cubicBezTo>
                  <a:cubicBezTo>
                    <a:pt x="1536" y="3096"/>
                    <a:pt x="1179" y="2739"/>
                    <a:pt x="1179" y="2298"/>
                  </a:cubicBezTo>
                  <a:cubicBezTo>
                    <a:pt x="1179" y="1870"/>
                    <a:pt x="1536" y="1513"/>
                    <a:pt x="1965" y="1513"/>
                  </a:cubicBezTo>
                  <a:cubicBezTo>
                    <a:pt x="2072" y="1513"/>
                    <a:pt x="2143" y="1441"/>
                    <a:pt x="2143" y="1334"/>
                  </a:cubicBezTo>
                  <a:cubicBezTo>
                    <a:pt x="2143" y="1227"/>
                    <a:pt x="2072" y="1155"/>
                    <a:pt x="1965" y="1155"/>
                  </a:cubicBezTo>
                  <a:cubicBezTo>
                    <a:pt x="1334" y="1155"/>
                    <a:pt x="822" y="1679"/>
                    <a:pt x="822" y="2298"/>
                  </a:cubicBezTo>
                  <a:cubicBezTo>
                    <a:pt x="822" y="2941"/>
                    <a:pt x="1345" y="3453"/>
                    <a:pt x="1965" y="3453"/>
                  </a:cubicBezTo>
                  <a:cubicBezTo>
                    <a:pt x="2607" y="3453"/>
                    <a:pt x="3119" y="2929"/>
                    <a:pt x="3119" y="2298"/>
                  </a:cubicBezTo>
                  <a:cubicBezTo>
                    <a:pt x="3119" y="2060"/>
                    <a:pt x="3036" y="1822"/>
                    <a:pt x="2893" y="1632"/>
                  </a:cubicBezTo>
                  <a:lnTo>
                    <a:pt x="3191" y="1334"/>
                  </a:lnTo>
                  <a:cubicBezTo>
                    <a:pt x="3381" y="1608"/>
                    <a:pt x="3512" y="1953"/>
                    <a:pt x="3512" y="2310"/>
                  </a:cubicBezTo>
                  <a:cubicBezTo>
                    <a:pt x="3512" y="3168"/>
                    <a:pt x="2822" y="3870"/>
                    <a:pt x="1953" y="3870"/>
                  </a:cubicBezTo>
                  <a:cubicBezTo>
                    <a:pt x="1095" y="3870"/>
                    <a:pt x="393" y="3168"/>
                    <a:pt x="393" y="2310"/>
                  </a:cubicBezTo>
                  <a:cubicBezTo>
                    <a:pt x="393" y="1441"/>
                    <a:pt x="1095" y="739"/>
                    <a:pt x="1953" y="739"/>
                  </a:cubicBezTo>
                  <a:close/>
                  <a:moveTo>
                    <a:pt x="3500" y="0"/>
                  </a:moveTo>
                  <a:cubicBezTo>
                    <a:pt x="3393" y="0"/>
                    <a:pt x="3322" y="72"/>
                    <a:pt x="3322" y="179"/>
                  </a:cubicBezTo>
                  <a:lnTo>
                    <a:pt x="3322" y="679"/>
                  </a:lnTo>
                  <a:lnTo>
                    <a:pt x="3179" y="834"/>
                  </a:lnTo>
                  <a:cubicBezTo>
                    <a:pt x="2846" y="548"/>
                    <a:pt x="2417" y="381"/>
                    <a:pt x="1941" y="381"/>
                  </a:cubicBezTo>
                  <a:cubicBezTo>
                    <a:pt x="869" y="381"/>
                    <a:pt x="0" y="1251"/>
                    <a:pt x="0" y="2322"/>
                  </a:cubicBezTo>
                  <a:cubicBezTo>
                    <a:pt x="0" y="3394"/>
                    <a:pt x="869" y="4251"/>
                    <a:pt x="1941" y="4251"/>
                  </a:cubicBezTo>
                  <a:cubicBezTo>
                    <a:pt x="3012" y="4251"/>
                    <a:pt x="3870" y="3394"/>
                    <a:pt x="3870" y="2322"/>
                  </a:cubicBezTo>
                  <a:cubicBezTo>
                    <a:pt x="3870" y="1858"/>
                    <a:pt x="3715" y="1429"/>
                    <a:pt x="3429" y="1084"/>
                  </a:cubicBezTo>
                  <a:lnTo>
                    <a:pt x="3572" y="941"/>
                  </a:lnTo>
                  <a:lnTo>
                    <a:pt x="4084" y="941"/>
                  </a:lnTo>
                  <a:cubicBezTo>
                    <a:pt x="4191" y="941"/>
                    <a:pt x="4262" y="858"/>
                    <a:pt x="4262" y="751"/>
                  </a:cubicBezTo>
                  <a:cubicBezTo>
                    <a:pt x="4262" y="655"/>
                    <a:pt x="4191" y="584"/>
                    <a:pt x="4084" y="584"/>
                  </a:cubicBezTo>
                  <a:lnTo>
                    <a:pt x="3929" y="584"/>
                  </a:lnTo>
                  <a:lnTo>
                    <a:pt x="4203" y="310"/>
                  </a:lnTo>
                  <a:cubicBezTo>
                    <a:pt x="4274" y="239"/>
                    <a:pt x="4274" y="120"/>
                    <a:pt x="4203" y="60"/>
                  </a:cubicBezTo>
                  <a:cubicBezTo>
                    <a:pt x="4167" y="24"/>
                    <a:pt x="4120" y="6"/>
                    <a:pt x="4073" y="6"/>
                  </a:cubicBezTo>
                  <a:cubicBezTo>
                    <a:pt x="4027" y="6"/>
                    <a:pt x="3983" y="24"/>
                    <a:pt x="3953" y="60"/>
                  </a:cubicBezTo>
                  <a:lnTo>
                    <a:pt x="3679" y="322"/>
                  </a:lnTo>
                  <a:lnTo>
                    <a:pt x="3679" y="179"/>
                  </a:lnTo>
                  <a:cubicBezTo>
                    <a:pt x="3679" y="72"/>
                    <a:pt x="3608" y="0"/>
                    <a:pt x="3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67" name="Google Shape;11267;p60"/>
          <p:cNvGrpSpPr/>
          <p:nvPr/>
        </p:nvGrpSpPr>
        <p:grpSpPr>
          <a:xfrm>
            <a:off x="6595502" y="4323777"/>
            <a:ext cx="426315" cy="332826"/>
            <a:chOff x="6639652" y="4323777"/>
            <a:chExt cx="426315" cy="332826"/>
          </a:xfrm>
        </p:grpSpPr>
        <p:sp>
          <p:nvSpPr>
            <p:cNvPr id="11268" name="Google Shape;11268;p60"/>
            <p:cNvSpPr/>
            <p:nvPr/>
          </p:nvSpPr>
          <p:spPr>
            <a:xfrm>
              <a:off x="6639652" y="4323777"/>
              <a:ext cx="426315" cy="332826"/>
            </a:xfrm>
            <a:custGeom>
              <a:avLst/>
              <a:gdLst/>
              <a:ahLst/>
              <a:cxnLst/>
              <a:rect l="l" t="t" r="r" b="b"/>
              <a:pathLst>
                <a:path w="10967" h="8562" extrusionOk="0">
                  <a:moveTo>
                    <a:pt x="10585" y="382"/>
                  </a:moveTo>
                  <a:lnTo>
                    <a:pt x="10609" y="727"/>
                  </a:lnTo>
                  <a:lnTo>
                    <a:pt x="9335" y="727"/>
                  </a:lnTo>
                  <a:cubicBezTo>
                    <a:pt x="9252" y="727"/>
                    <a:pt x="9156" y="799"/>
                    <a:pt x="9156" y="906"/>
                  </a:cubicBezTo>
                  <a:cubicBezTo>
                    <a:pt x="9156" y="989"/>
                    <a:pt x="9240" y="1084"/>
                    <a:pt x="9335" y="1084"/>
                  </a:cubicBezTo>
                  <a:lnTo>
                    <a:pt x="10323" y="1084"/>
                  </a:lnTo>
                  <a:lnTo>
                    <a:pt x="10323" y="6168"/>
                  </a:lnTo>
                  <a:lnTo>
                    <a:pt x="4442" y="6168"/>
                  </a:lnTo>
                  <a:lnTo>
                    <a:pt x="4442" y="6002"/>
                  </a:lnTo>
                  <a:cubicBezTo>
                    <a:pt x="4442" y="5918"/>
                    <a:pt x="4370" y="5823"/>
                    <a:pt x="4263" y="5823"/>
                  </a:cubicBezTo>
                  <a:lnTo>
                    <a:pt x="3977" y="5823"/>
                  </a:lnTo>
                  <a:cubicBezTo>
                    <a:pt x="3953" y="5728"/>
                    <a:pt x="3906" y="5621"/>
                    <a:pt x="3846" y="5513"/>
                  </a:cubicBezTo>
                  <a:lnTo>
                    <a:pt x="4037" y="5323"/>
                  </a:lnTo>
                  <a:cubicBezTo>
                    <a:pt x="4108" y="5252"/>
                    <a:pt x="4108" y="5144"/>
                    <a:pt x="4037" y="5085"/>
                  </a:cubicBezTo>
                  <a:lnTo>
                    <a:pt x="3513" y="4561"/>
                  </a:lnTo>
                  <a:cubicBezTo>
                    <a:pt x="3489" y="4537"/>
                    <a:pt x="3441" y="4513"/>
                    <a:pt x="3394" y="4513"/>
                  </a:cubicBezTo>
                  <a:cubicBezTo>
                    <a:pt x="3358" y="4513"/>
                    <a:pt x="3311" y="4537"/>
                    <a:pt x="3275" y="4561"/>
                  </a:cubicBezTo>
                  <a:lnTo>
                    <a:pt x="3084" y="4751"/>
                  </a:lnTo>
                  <a:cubicBezTo>
                    <a:pt x="2977" y="4692"/>
                    <a:pt x="2882" y="4668"/>
                    <a:pt x="2775" y="4621"/>
                  </a:cubicBezTo>
                  <a:lnTo>
                    <a:pt x="2775" y="4335"/>
                  </a:lnTo>
                  <a:cubicBezTo>
                    <a:pt x="2775" y="4251"/>
                    <a:pt x="2703" y="4156"/>
                    <a:pt x="2596" y="4156"/>
                  </a:cubicBezTo>
                  <a:lnTo>
                    <a:pt x="2168" y="4156"/>
                  </a:lnTo>
                  <a:lnTo>
                    <a:pt x="2168" y="1084"/>
                  </a:lnTo>
                  <a:lnTo>
                    <a:pt x="8728" y="1084"/>
                  </a:lnTo>
                  <a:cubicBezTo>
                    <a:pt x="8811" y="1084"/>
                    <a:pt x="8906" y="1001"/>
                    <a:pt x="8906" y="894"/>
                  </a:cubicBezTo>
                  <a:cubicBezTo>
                    <a:pt x="8906" y="799"/>
                    <a:pt x="8835" y="715"/>
                    <a:pt x="8728" y="715"/>
                  </a:cubicBezTo>
                  <a:lnTo>
                    <a:pt x="1882" y="715"/>
                  </a:lnTo>
                  <a:lnTo>
                    <a:pt x="1882" y="382"/>
                  </a:lnTo>
                  <a:close/>
                  <a:moveTo>
                    <a:pt x="10609" y="6502"/>
                  </a:moveTo>
                  <a:lnTo>
                    <a:pt x="10609" y="6835"/>
                  </a:lnTo>
                  <a:lnTo>
                    <a:pt x="4394" y="6835"/>
                  </a:lnTo>
                  <a:cubicBezTo>
                    <a:pt x="4430" y="6811"/>
                    <a:pt x="4442" y="6764"/>
                    <a:pt x="4442" y="6716"/>
                  </a:cubicBezTo>
                  <a:lnTo>
                    <a:pt x="4442" y="6526"/>
                  </a:lnTo>
                  <a:lnTo>
                    <a:pt x="10490" y="6526"/>
                  </a:lnTo>
                  <a:cubicBezTo>
                    <a:pt x="10526" y="6526"/>
                    <a:pt x="10561" y="6514"/>
                    <a:pt x="10585" y="6502"/>
                  </a:cubicBezTo>
                  <a:close/>
                  <a:moveTo>
                    <a:pt x="2453" y="4501"/>
                  </a:moveTo>
                  <a:lnTo>
                    <a:pt x="2453" y="4740"/>
                  </a:lnTo>
                  <a:cubicBezTo>
                    <a:pt x="2453" y="4811"/>
                    <a:pt x="2513" y="4894"/>
                    <a:pt x="2584" y="4906"/>
                  </a:cubicBezTo>
                  <a:cubicBezTo>
                    <a:pt x="2751" y="4930"/>
                    <a:pt x="2894" y="5013"/>
                    <a:pt x="3049" y="5097"/>
                  </a:cubicBezTo>
                  <a:cubicBezTo>
                    <a:pt x="3078" y="5117"/>
                    <a:pt x="3110" y="5126"/>
                    <a:pt x="3141" y="5126"/>
                  </a:cubicBezTo>
                  <a:cubicBezTo>
                    <a:pt x="3183" y="5126"/>
                    <a:pt x="3223" y="5108"/>
                    <a:pt x="3251" y="5073"/>
                  </a:cubicBezTo>
                  <a:lnTo>
                    <a:pt x="3430" y="4894"/>
                  </a:lnTo>
                  <a:lnTo>
                    <a:pt x="3715" y="5168"/>
                  </a:lnTo>
                  <a:lnTo>
                    <a:pt x="3537" y="5347"/>
                  </a:lnTo>
                  <a:cubicBezTo>
                    <a:pt x="3477" y="5406"/>
                    <a:pt x="3477" y="5502"/>
                    <a:pt x="3501" y="5561"/>
                  </a:cubicBezTo>
                  <a:cubicBezTo>
                    <a:pt x="3596" y="5704"/>
                    <a:pt x="3656" y="5859"/>
                    <a:pt x="3703" y="6025"/>
                  </a:cubicBezTo>
                  <a:cubicBezTo>
                    <a:pt x="3715" y="6097"/>
                    <a:pt x="3787" y="6156"/>
                    <a:pt x="3858" y="6156"/>
                  </a:cubicBezTo>
                  <a:lnTo>
                    <a:pt x="4096" y="6156"/>
                  </a:lnTo>
                  <a:lnTo>
                    <a:pt x="4096" y="6561"/>
                  </a:lnTo>
                  <a:lnTo>
                    <a:pt x="3858" y="6561"/>
                  </a:lnTo>
                  <a:cubicBezTo>
                    <a:pt x="3787" y="6561"/>
                    <a:pt x="3715" y="6621"/>
                    <a:pt x="3703" y="6692"/>
                  </a:cubicBezTo>
                  <a:cubicBezTo>
                    <a:pt x="3656" y="6859"/>
                    <a:pt x="3596" y="7002"/>
                    <a:pt x="3501" y="7157"/>
                  </a:cubicBezTo>
                  <a:cubicBezTo>
                    <a:pt x="3465" y="7228"/>
                    <a:pt x="3477" y="7311"/>
                    <a:pt x="3537" y="7359"/>
                  </a:cubicBezTo>
                  <a:lnTo>
                    <a:pt x="3715" y="7538"/>
                  </a:lnTo>
                  <a:lnTo>
                    <a:pt x="3430" y="7823"/>
                  </a:lnTo>
                  <a:lnTo>
                    <a:pt x="3251" y="7645"/>
                  </a:lnTo>
                  <a:cubicBezTo>
                    <a:pt x="3215" y="7608"/>
                    <a:pt x="3169" y="7594"/>
                    <a:pt x="3126" y="7594"/>
                  </a:cubicBezTo>
                  <a:cubicBezTo>
                    <a:pt x="3098" y="7594"/>
                    <a:pt x="3072" y="7600"/>
                    <a:pt x="3049" y="7609"/>
                  </a:cubicBezTo>
                  <a:cubicBezTo>
                    <a:pt x="2894" y="7704"/>
                    <a:pt x="2751" y="7764"/>
                    <a:pt x="2584" y="7799"/>
                  </a:cubicBezTo>
                  <a:cubicBezTo>
                    <a:pt x="2513" y="7823"/>
                    <a:pt x="2453" y="7895"/>
                    <a:pt x="2453" y="7966"/>
                  </a:cubicBezTo>
                  <a:lnTo>
                    <a:pt x="2453" y="8204"/>
                  </a:lnTo>
                  <a:lnTo>
                    <a:pt x="2048" y="8204"/>
                  </a:lnTo>
                  <a:lnTo>
                    <a:pt x="2048" y="7966"/>
                  </a:lnTo>
                  <a:cubicBezTo>
                    <a:pt x="2048" y="7895"/>
                    <a:pt x="1989" y="7823"/>
                    <a:pt x="1917" y="7799"/>
                  </a:cubicBezTo>
                  <a:cubicBezTo>
                    <a:pt x="1751" y="7764"/>
                    <a:pt x="1596" y="7704"/>
                    <a:pt x="1453" y="7609"/>
                  </a:cubicBezTo>
                  <a:cubicBezTo>
                    <a:pt x="1426" y="7596"/>
                    <a:pt x="1396" y="7589"/>
                    <a:pt x="1366" y="7589"/>
                  </a:cubicBezTo>
                  <a:cubicBezTo>
                    <a:pt x="1317" y="7589"/>
                    <a:pt x="1269" y="7607"/>
                    <a:pt x="1239" y="7645"/>
                  </a:cubicBezTo>
                  <a:lnTo>
                    <a:pt x="1060" y="7823"/>
                  </a:lnTo>
                  <a:lnTo>
                    <a:pt x="786" y="7538"/>
                  </a:lnTo>
                  <a:lnTo>
                    <a:pt x="965" y="7359"/>
                  </a:lnTo>
                  <a:cubicBezTo>
                    <a:pt x="1025" y="7299"/>
                    <a:pt x="1025" y="7216"/>
                    <a:pt x="989" y="7157"/>
                  </a:cubicBezTo>
                  <a:cubicBezTo>
                    <a:pt x="905" y="7002"/>
                    <a:pt x="846" y="6859"/>
                    <a:pt x="798" y="6692"/>
                  </a:cubicBezTo>
                  <a:cubicBezTo>
                    <a:pt x="786" y="6621"/>
                    <a:pt x="703" y="6561"/>
                    <a:pt x="632" y="6561"/>
                  </a:cubicBezTo>
                  <a:lnTo>
                    <a:pt x="393" y="6561"/>
                  </a:lnTo>
                  <a:lnTo>
                    <a:pt x="393" y="6156"/>
                  </a:lnTo>
                  <a:lnTo>
                    <a:pt x="632" y="6156"/>
                  </a:lnTo>
                  <a:cubicBezTo>
                    <a:pt x="703" y="6156"/>
                    <a:pt x="786" y="6097"/>
                    <a:pt x="798" y="6025"/>
                  </a:cubicBezTo>
                  <a:cubicBezTo>
                    <a:pt x="822" y="5859"/>
                    <a:pt x="905" y="5704"/>
                    <a:pt x="989" y="5561"/>
                  </a:cubicBezTo>
                  <a:cubicBezTo>
                    <a:pt x="1036" y="5490"/>
                    <a:pt x="1025" y="5394"/>
                    <a:pt x="965" y="5347"/>
                  </a:cubicBezTo>
                  <a:lnTo>
                    <a:pt x="786" y="5168"/>
                  </a:lnTo>
                  <a:lnTo>
                    <a:pt x="1060" y="4894"/>
                  </a:lnTo>
                  <a:lnTo>
                    <a:pt x="1239" y="5073"/>
                  </a:lnTo>
                  <a:cubicBezTo>
                    <a:pt x="1272" y="5106"/>
                    <a:pt x="1317" y="5121"/>
                    <a:pt x="1361" y="5121"/>
                  </a:cubicBezTo>
                  <a:cubicBezTo>
                    <a:pt x="1394" y="5121"/>
                    <a:pt x="1427" y="5112"/>
                    <a:pt x="1453" y="5097"/>
                  </a:cubicBezTo>
                  <a:cubicBezTo>
                    <a:pt x="1596" y="5013"/>
                    <a:pt x="1751" y="4954"/>
                    <a:pt x="1917" y="4906"/>
                  </a:cubicBezTo>
                  <a:cubicBezTo>
                    <a:pt x="1989" y="4894"/>
                    <a:pt x="2048" y="4811"/>
                    <a:pt x="2048" y="4740"/>
                  </a:cubicBezTo>
                  <a:lnTo>
                    <a:pt x="2048" y="4501"/>
                  </a:lnTo>
                  <a:close/>
                  <a:moveTo>
                    <a:pt x="1715" y="1"/>
                  </a:moveTo>
                  <a:cubicBezTo>
                    <a:pt x="1632" y="1"/>
                    <a:pt x="1536" y="84"/>
                    <a:pt x="1536" y="191"/>
                  </a:cubicBezTo>
                  <a:lnTo>
                    <a:pt x="1536" y="882"/>
                  </a:lnTo>
                  <a:cubicBezTo>
                    <a:pt x="1536" y="977"/>
                    <a:pt x="1608" y="1061"/>
                    <a:pt x="1715" y="1061"/>
                  </a:cubicBezTo>
                  <a:lnTo>
                    <a:pt x="1822" y="1061"/>
                  </a:lnTo>
                  <a:lnTo>
                    <a:pt x="1822" y="4144"/>
                  </a:lnTo>
                  <a:cubicBezTo>
                    <a:pt x="1751" y="4156"/>
                    <a:pt x="1679" y="4240"/>
                    <a:pt x="1679" y="4311"/>
                  </a:cubicBezTo>
                  <a:lnTo>
                    <a:pt x="1679" y="4597"/>
                  </a:lnTo>
                  <a:cubicBezTo>
                    <a:pt x="1572" y="4621"/>
                    <a:pt x="1465" y="4668"/>
                    <a:pt x="1358" y="4728"/>
                  </a:cubicBezTo>
                  <a:lnTo>
                    <a:pt x="1167" y="4537"/>
                  </a:lnTo>
                  <a:cubicBezTo>
                    <a:pt x="1144" y="4501"/>
                    <a:pt x="1096" y="4490"/>
                    <a:pt x="1048" y="4490"/>
                  </a:cubicBezTo>
                  <a:cubicBezTo>
                    <a:pt x="1001" y="4490"/>
                    <a:pt x="965" y="4501"/>
                    <a:pt x="929" y="4537"/>
                  </a:cubicBezTo>
                  <a:lnTo>
                    <a:pt x="405" y="5049"/>
                  </a:lnTo>
                  <a:cubicBezTo>
                    <a:pt x="334" y="5132"/>
                    <a:pt x="334" y="5228"/>
                    <a:pt x="405" y="5287"/>
                  </a:cubicBezTo>
                  <a:lnTo>
                    <a:pt x="608" y="5490"/>
                  </a:lnTo>
                  <a:cubicBezTo>
                    <a:pt x="548" y="5585"/>
                    <a:pt x="513" y="5692"/>
                    <a:pt x="465" y="5799"/>
                  </a:cubicBezTo>
                  <a:lnTo>
                    <a:pt x="191" y="5799"/>
                  </a:lnTo>
                  <a:cubicBezTo>
                    <a:pt x="96" y="5799"/>
                    <a:pt x="1" y="5871"/>
                    <a:pt x="1" y="5978"/>
                  </a:cubicBezTo>
                  <a:lnTo>
                    <a:pt x="1" y="6716"/>
                  </a:lnTo>
                  <a:cubicBezTo>
                    <a:pt x="1" y="6811"/>
                    <a:pt x="84" y="6895"/>
                    <a:pt x="191" y="6895"/>
                  </a:cubicBezTo>
                  <a:lnTo>
                    <a:pt x="465" y="6895"/>
                  </a:lnTo>
                  <a:cubicBezTo>
                    <a:pt x="501" y="7002"/>
                    <a:pt x="548" y="7109"/>
                    <a:pt x="608" y="7216"/>
                  </a:cubicBezTo>
                  <a:lnTo>
                    <a:pt x="405" y="7407"/>
                  </a:lnTo>
                  <a:cubicBezTo>
                    <a:pt x="334" y="7478"/>
                    <a:pt x="334" y="7585"/>
                    <a:pt x="405" y="7645"/>
                  </a:cubicBezTo>
                  <a:lnTo>
                    <a:pt x="929" y="8169"/>
                  </a:lnTo>
                  <a:cubicBezTo>
                    <a:pt x="965" y="8204"/>
                    <a:pt x="1010" y="8222"/>
                    <a:pt x="1053" y="8222"/>
                  </a:cubicBezTo>
                  <a:cubicBezTo>
                    <a:pt x="1096" y="8222"/>
                    <a:pt x="1138" y="8204"/>
                    <a:pt x="1167" y="8169"/>
                  </a:cubicBezTo>
                  <a:lnTo>
                    <a:pt x="1358" y="7966"/>
                  </a:lnTo>
                  <a:cubicBezTo>
                    <a:pt x="1465" y="8026"/>
                    <a:pt x="1572" y="8061"/>
                    <a:pt x="1679" y="8109"/>
                  </a:cubicBezTo>
                  <a:lnTo>
                    <a:pt x="1679" y="8383"/>
                  </a:lnTo>
                  <a:cubicBezTo>
                    <a:pt x="1679" y="8478"/>
                    <a:pt x="1751" y="8561"/>
                    <a:pt x="1858" y="8561"/>
                  </a:cubicBezTo>
                  <a:lnTo>
                    <a:pt x="2596" y="8561"/>
                  </a:lnTo>
                  <a:cubicBezTo>
                    <a:pt x="2679" y="8561"/>
                    <a:pt x="2775" y="8490"/>
                    <a:pt x="2775" y="8383"/>
                  </a:cubicBezTo>
                  <a:lnTo>
                    <a:pt x="2775" y="8109"/>
                  </a:lnTo>
                  <a:cubicBezTo>
                    <a:pt x="2882" y="8073"/>
                    <a:pt x="2989" y="8026"/>
                    <a:pt x="3084" y="7966"/>
                  </a:cubicBezTo>
                  <a:lnTo>
                    <a:pt x="3275" y="8169"/>
                  </a:lnTo>
                  <a:cubicBezTo>
                    <a:pt x="3316" y="8204"/>
                    <a:pt x="3364" y="8222"/>
                    <a:pt x="3407" y="8222"/>
                  </a:cubicBezTo>
                  <a:cubicBezTo>
                    <a:pt x="3450" y="8222"/>
                    <a:pt x="3489" y="8204"/>
                    <a:pt x="3513" y="8169"/>
                  </a:cubicBezTo>
                  <a:lnTo>
                    <a:pt x="4037" y="7645"/>
                  </a:lnTo>
                  <a:cubicBezTo>
                    <a:pt x="4108" y="7573"/>
                    <a:pt x="4108" y="7466"/>
                    <a:pt x="4037" y="7407"/>
                  </a:cubicBezTo>
                  <a:lnTo>
                    <a:pt x="3846" y="7216"/>
                  </a:lnTo>
                  <a:cubicBezTo>
                    <a:pt x="3846" y="7192"/>
                    <a:pt x="3858" y="7192"/>
                    <a:pt x="3858" y="7180"/>
                  </a:cubicBezTo>
                  <a:lnTo>
                    <a:pt x="10764" y="7180"/>
                  </a:lnTo>
                  <a:cubicBezTo>
                    <a:pt x="10859" y="7180"/>
                    <a:pt x="10942" y="7109"/>
                    <a:pt x="10942" y="7002"/>
                  </a:cubicBezTo>
                  <a:lnTo>
                    <a:pt x="10942" y="6299"/>
                  </a:lnTo>
                  <a:cubicBezTo>
                    <a:pt x="10942" y="6216"/>
                    <a:pt x="10871" y="6121"/>
                    <a:pt x="10764" y="6121"/>
                  </a:cubicBezTo>
                  <a:lnTo>
                    <a:pt x="10657" y="6121"/>
                  </a:lnTo>
                  <a:lnTo>
                    <a:pt x="10657" y="1037"/>
                  </a:lnTo>
                  <a:lnTo>
                    <a:pt x="10788" y="1037"/>
                  </a:lnTo>
                  <a:lnTo>
                    <a:pt x="10788" y="1061"/>
                  </a:lnTo>
                  <a:cubicBezTo>
                    <a:pt x="10871" y="1061"/>
                    <a:pt x="10966" y="989"/>
                    <a:pt x="10966" y="882"/>
                  </a:cubicBezTo>
                  <a:lnTo>
                    <a:pt x="10966" y="191"/>
                  </a:lnTo>
                  <a:cubicBezTo>
                    <a:pt x="10966" y="96"/>
                    <a:pt x="10883" y="1"/>
                    <a:pt x="107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9" name="Google Shape;11269;p60"/>
            <p:cNvSpPr/>
            <p:nvPr/>
          </p:nvSpPr>
          <p:spPr>
            <a:xfrm>
              <a:off x="6830793" y="4458937"/>
              <a:ext cx="41244" cy="85675"/>
            </a:xfrm>
            <a:custGeom>
              <a:avLst/>
              <a:gdLst/>
              <a:ahLst/>
              <a:cxnLst/>
              <a:rect l="l" t="t" r="r" b="b"/>
              <a:pathLst>
                <a:path w="1061" h="2204" extrusionOk="0">
                  <a:moveTo>
                    <a:pt x="715" y="358"/>
                  </a:moveTo>
                  <a:lnTo>
                    <a:pt x="715" y="1858"/>
                  </a:lnTo>
                  <a:lnTo>
                    <a:pt x="370" y="1858"/>
                  </a:lnTo>
                  <a:lnTo>
                    <a:pt x="370" y="358"/>
                  </a:lnTo>
                  <a:close/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2025"/>
                  </a:lnTo>
                  <a:cubicBezTo>
                    <a:pt x="1" y="2108"/>
                    <a:pt x="72" y="2203"/>
                    <a:pt x="179" y="2203"/>
                  </a:cubicBezTo>
                  <a:lnTo>
                    <a:pt x="882" y="2203"/>
                  </a:lnTo>
                  <a:cubicBezTo>
                    <a:pt x="965" y="2203"/>
                    <a:pt x="1061" y="2132"/>
                    <a:pt x="1061" y="2025"/>
                  </a:cubicBezTo>
                  <a:lnTo>
                    <a:pt x="1061" y="179"/>
                  </a:lnTo>
                  <a:cubicBezTo>
                    <a:pt x="1061" y="84"/>
                    <a:pt x="989" y="1"/>
                    <a:pt x="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0" name="Google Shape;11270;p60"/>
            <p:cNvSpPr/>
            <p:nvPr/>
          </p:nvSpPr>
          <p:spPr>
            <a:xfrm>
              <a:off x="6879423" y="4426556"/>
              <a:ext cx="41205" cy="118522"/>
            </a:xfrm>
            <a:custGeom>
              <a:avLst/>
              <a:gdLst/>
              <a:ahLst/>
              <a:cxnLst/>
              <a:rect l="l" t="t" r="r" b="b"/>
              <a:pathLst>
                <a:path w="1060" h="3049" extrusionOk="0">
                  <a:moveTo>
                    <a:pt x="702" y="345"/>
                  </a:moveTo>
                  <a:lnTo>
                    <a:pt x="702" y="2691"/>
                  </a:lnTo>
                  <a:lnTo>
                    <a:pt x="357" y="2691"/>
                  </a:lnTo>
                  <a:lnTo>
                    <a:pt x="357" y="345"/>
                  </a:lnTo>
                  <a:close/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lnTo>
                    <a:pt x="0" y="2869"/>
                  </a:lnTo>
                  <a:cubicBezTo>
                    <a:pt x="0" y="2965"/>
                    <a:pt x="71" y="3048"/>
                    <a:pt x="179" y="3048"/>
                  </a:cubicBezTo>
                  <a:lnTo>
                    <a:pt x="881" y="3048"/>
                  </a:lnTo>
                  <a:cubicBezTo>
                    <a:pt x="964" y="3048"/>
                    <a:pt x="1060" y="2977"/>
                    <a:pt x="1060" y="2869"/>
                  </a:cubicBezTo>
                  <a:lnTo>
                    <a:pt x="1060" y="179"/>
                  </a:lnTo>
                  <a:cubicBezTo>
                    <a:pt x="1048" y="72"/>
                    <a:pt x="964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1" name="Google Shape;11271;p60"/>
            <p:cNvSpPr/>
            <p:nvPr/>
          </p:nvSpPr>
          <p:spPr>
            <a:xfrm>
              <a:off x="6927549" y="4443194"/>
              <a:ext cx="41205" cy="101418"/>
            </a:xfrm>
            <a:custGeom>
              <a:avLst/>
              <a:gdLst/>
              <a:ahLst/>
              <a:cxnLst/>
              <a:rect l="l" t="t" r="r" b="b"/>
              <a:pathLst>
                <a:path w="1060" h="2609" extrusionOk="0">
                  <a:moveTo>
                    <a:pt x="715" y="358"/>
                  </a:moveTo>
                  <a:lnTo>
                    <a:pt x="715" y="2263"/>
                  </a:lnTo>
                  <a:lnTo>
                    <a:pt x="369" y="2263"/>
                  </a:lnTo>
                  <a:lnTo>
                    <a:pt x="369" y="358"/>
                  </a:lnTo>
                  <a:close/>
                  <a:moveTo>
                    <a:pt x="179" y="1"/>
                  </a:moveTo>
                  <a:cubicBezTo>
                    <a:pt x="84" y="1"/>
                    <a:pt x="0" y="72"/>
                    <a:pt x="0" y="179"/>
                  </a:cubicBezTo>
                  <a:lnTo>
                    <a:pt x="0" y="2430"/>
                  </a:lnTo>
                  <a:cubicBezTo>
                    <a:pt x="0" y="2513"/>
                    <a:pt x="72" y="2608"/>
                    <a:pt x="179" y="2608"/>
                  </a:cubicBezTo>
                  <a:lnTo>
                    <a:pt x="881" y="2608"/>
                  </a:lnTo>
                  <a:cubicBezTo>
                    <a:pt x="965" y="2608"/>
                    <a:pt x="1060" y="2537"/>
                    <a:pt x="1060" y="2430"/>
                  </a:cubicBezTo>
                  <a:lnTo>
                    <a:pt x="1060" y="179"/>
                  </a:lnTo>
                  <a:cubicBezTo>
                    <a:pt x="1060" y="72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2" name="Google Shape;11272;p60"/>
            <p:cNvSpPr/>
            <p:nvPr/>
          </p:nvSpPr>
          <p:spPr>
            <a:xfrm>
              <a:off x="6976141" y="4387645"/>
              <a:ext cx="41244" cy="156967"/>
            </a:xfrm>
            <a:custGeom>
              <a:avLst/>
              <a:gdLst/>
              <a:ahLst/>
              <a:cxnLst/>
              <a:rect l="l" t="t" r="r" b="b"/>
              <a:pathLst>
                <a:path w="1061" h="4038" extrusionOk="0">
                  <a:moveTo>
                    <a:pt x="679" y="358"/>
                  </a:moveTo>
                  <a:lnTo>
                    <a:pt x="679" y="3692"/>
                  </a:lnTo>
                  <a:lnTo>
                    <a:pt x="346" y="3692"/>
                  </a:lnTo>
                  <a:lnTo>
                    <a:pt x="346" y="358"/>
                  </a:lnTo>
                  <a:close/>
                  <a:moveTo>
                    <a:pt x="179" y="1"/>
                  </a:moveTo>
                  <a:cubicBezTo>
                    <a:pt x="72" y="1"/>
                    <a:pt x="0" y="96"/>
                    <a:pt x="0" y="180"/>
                  </a:cubicBezTo>
                  <a:lnTo>
                    <a:pt x="0" y="3859"/>
                  </a:lnTo>
                  <a:cubicBezTo>
                    <a:pt x="0" y="3942"/>
                    <a:pt x="72" y="4037"/>
                    <a:pt x="179" y="4037"/>
                  </a:cubicBezTo>
                  <a:lnTo>
                    <a:pt x="881" y="4037"/>
                  </a:lnTo>
                  <a:cubicBezTo>
                    <a:pt x="965" y="4037"/>
                    <a:pt x="1060" y="3966"/>
                    <a:pt x="1060" y="3859"/>
                  </a:cubicBezTo>
                  <a:lnTo>
                    <a:pt x="1060" y="180"/>
                  </a:lnTo>
                  <a:cubicBezTo>
                    <a:pt x="1060" y="96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3" name="Google Shape;11273;p60"/>
            <p:cNvSpPr/>
            <p:nvPr/>
          </p:nvSpPr>
          <p:spPr>
            <a:xfrm>
              <a:off x="6745193" y="4404321"/>
              <a:ext cx="50029" cy="13916"/>
            </a:xfrm>
            <a:custGeom>
              <a:avLst/>
              <a:gdLst/>
              <a:ahLst/>
              <a:cxnLst/>
              <a:rect l="l" t="t" r="r" b="b"/>
              <a:pathLst>
                <a:path w="1287" h="358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12" y="274"/>
                    <a:pt x="95" y="358"/>
                    <a:pt x="179" y="358"/>
                  </a:cubicBezTo>
                  <a:lnTo>
                    <a:pt x="1107" y="358"/>
                  </a:lnTo>
                  <a:cubicBezTo>
                    <a:pt x="1191" y="358"/>
                    <a:pt x="1286" y="286"/>
                    <a:pt x="1286" y="179"/>
                  </a:cubicBezTo>
                  <a:cubicBezTo>
                    <a:pt x="1286" y="96"/>
                    <a:pt x="1203" y="1"/>
                    <a:pt x="11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4" name="Google Shape;11274;p60"/>
            <p:cNvSpPr/>
            <p:nvPr/>
          </p:nvSpPr>
          <p:spPr>
            <a:xfrm>
              <a:off x="6745193" y="4426090"/>
              <a:ext cx="69465" cy="13916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74"/>
                    <a:pt x="72" y="357"/>
                    <a:pt x="179" y="357"/>
                  </a:cubicBezTo>
                  <a:lnTo>
                    <a:pt x="1608" y="357"/>
                  </a:lnTo>
                  <a:cubicBezTo>
                    <a:pt x="1703" y="357"/>
                    <a:pt x="1786" y="274"/>
                    <a:pt x="1786" y="179"/>
                  </a:cubicBezTo>
                  <a:cubicBezTo>
                    <a:pt x="1786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5" name="Google Shape;11275;p60"/>
            <p:cNvSpPr/>
            <p:nvPr/>
          </p:nvSpPr>
          <p:spPr>
            <a:xfrm>
              <a:off x="6745193" y="4447353"/>
              <a:ext cx="69465" cy="13955"/>
            </a:xfrm>
            <a:custGeom>
              <a:avLst/>
              <a:gdLst/>
              <a:ahLst/>
              <a:cxnLst/>
              <a:rect l="l" t="t" r="r" b="b"/>
              <a:pathLst>
                <a:path w="1787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72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7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6" name="Google Shape;11276;p60"/>
            <p:cNvSpPr/>
            <p:nvPr/>
          </p:nvSpPr>
          <p:spPr>
            <a:xfrm>
              <a:off x="6745193" y="4468189"/>
              <a:ext cx="69465" cy="13916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63"/>
                    <a:pt x="72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6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7" name="Google Shape;11277;p60"/>
            <p:cNvSpPr/>
            <p:nvPr/>
          </p:nvSpPr>
          <p:spPr>
            <a:xfrm>
              <a:off x="6684551" y="4528830"/>
              <a:ext cx="83809" cy="83809"/>
            </a:xfrm>
            <a:custGeom>
              <a:avLst/>
              <a:gdLst/>
              <a:ahLst/>
              <a:cxnLst/>
              <a:rect l="l" t="t" r="r" b="b"/>
              <a:pathLst>
                <a:path w="2156" h="2156" extrusionOk="0">
                  <a:moveTo>
                    <a:pt x="1084" y="0"/>
                  </a:moveTo>
                  <a:cubicBezTo>
                    <a:pt x="489" y="0"/>
                    <a:pt x="0" y="489"/>
                    <a:pt x="0" y="1084"/>
                  </a:cubicBezTo>
                  <a:cubicBezTo>
                    <a:pt x="0" y="1322"/>
                    <a:pt x="72" y="1548"/>
                    <a:pt x="227" y="1739"/>
                  </a:cubicBezTo>
                  <a:cubicBezTo>
                    <a:pt x="263" y="1782"/>
                    <a:pt x="313" y="1808"/>
                    <a:pt x="365" y="1808"/>
                  </a:cubicBezTo>
                  <a:cubicBezTo>
                    <a:pt x="398" y="1808"/>
                    <a:pt x="432" y="1798"/>
                    <a:pt x="465" y="1774"/>
                  </a:cubicBezTo>
                  <a:cubicBezTo>
                    <a:pt x="536" y="1715"/>
                    <a:pt x="548" y="1608"/>
                    <a:pt x="489" y="1536"/>
                  </a:cubicBezTo>
                  <a:cubicBezTo>
                    <a:pt x="381" y="1405"/>
                    <a:pt x="346" y="1251"/>
                    <a:pt x="346" y="1084"/>
                  </a:cubicBezTo>
                  <a:cubicBezTo>
                    <a:pt x="346" y="679"/>
                    <a:pt x="667" y="358"/>
                    <a:pt x="1072" y="358"/>
                  </a:cubicBezTo>
                  <a:cubicBezTo>
                    <a:pt x="1477" y="358"/>
                    <a:pt x="1798" y="691"/>
                    <a:pt x="1798" y="1084"/>
                  </a:cubicBezTo>
                  <a:cubicBezTo>
                    <a:pt x="1798" y="1322"/>
                    <a:pt x="1679" y="1560"/>
                    <a:pt x="1477" y="1703"/>
                  </a:cubicBezTo>
                  <a:cubicBezTo>
                    <a:pt x="1453" y="1703"/>
                    <a:pt x="1453" y="1715"/>
                    <a:pt x="1441" y="1715"/>
                  </a:cubicBezTo>
                  <a:lnTo>
                    <a:pt x="1429" y="1715"/>
                  </a:lnTo>
                  <a:lnTo>
                    <a:pt x="1417" y="1727"/>
                  </a:lnTo>
                  <a:lnTo>
                    <a:pt x="1394" y="1727"/>
                  </a:lnTo>
                  <a:cubicBezTo>
                    <a:pt x="1382" y="1727"/>
                    <a:pt x="1382" y="1739"/>
                    <a:pt x="1370" y="1739"/>
                  </a:cubicBezTo>
                  <a:cubicBezTo>
                    <a:pt x="1358" y="1739"/>
                    <a:pt x="1358" y="1762"/>
                    <a:pt x="1334" y="1762"/>
                  </a:cubicBezTo>
                  <a:lnTo>
                    <a:pt x="1322" y="1762"/>
                  </a:lnTo>
                  <a:cubicBezTo>
                    <a:pt x="1322" y="1762"/>
                    <a:pt x="1310" y="1762"/>
                    <a:pt x="1310" y="1774"/>
                  </a:cubicBezTo>
                  <a:lnTo>
                    <a:pt x="1298" y="1774"/>
                  </a:lnTo>
                  <a:cubicBezTo>
                    <a:pt x="1274" y="1774"/>
                    <a:pt x="1274" y="1774"/>
                    <a:pt x="1263" y="1786"/>
                  </a:cubicBezTo>
                  <a:cubicBezTo>
                    <a:pt x="1251" y="1786"/>
                    <a:pt x="1251" y="1786"/>
                    <a:pt x="1239" y="1798"/>
                  </a:cubicBezTo>
                  <a:lnTo>
                    <a:pt x="798" y="1798"/>
                  </a:lnTo>
                  <a:cubicBezTo>
                    <a:pt x="786" y="1798"/>
                    <a:pt x="786" y="1798"/>
                    <a:pt x="774" y="1786"/>
                  </a:cubicBezTo>
                  <a:cubicBezTo>
                    <a:pt x="762" y="1786"/>
                    <a:pt x="762" y="1786"/>
                    <a:pt x="739" y="1774"/>
                  </a:cubicBezTo>
                  <a:lnTo>
                    <a:pt x="727" y="1774"/>
                  </a:lnTo>
                  <a:cubicBezTo>
                    <a:pt x="708" y="1766"/>
                    <a:pt x="688" y="1763"/>
                    <a:pt x="668" y="1763"/>
                  </a:cubicBezTo>
                  <a:cubicBezTo>
                    <a:pt x="599" y="1763"/>
                    <a:pt x="528" y="1808"/>
                    <a:pt x="501" y="1882"/>
                  </a:cubicBezTo>
                  <a:cubicBezTo>
                    <a:pt x="477" y="1965"/>
                    <a:pt x="524" y="2072"/>
                    <a:pt x="608" y="2096"/>
                  </a:cubicBezTo>
                  <a:lnTo>
                    <a:pt x="620" y="2096"/>
                  </a:lnTo>
                  <a:cubicBezTo>
                    <a:pt x="643" y="2096"/>
                    <a:pt x="655" y="2120"/>
                    <a:pt x="667" y="2120"/>
                  </a:cubicBezTo>
                  <a:cubicBezTo>
                    <a:pt x="679" y="2120"/>
                    <a:pt x="703" y="2132"/>
                    <a:pt x="715" y="2132"/>
                  </a:cubicBezTo>
                  <a:lnTo>
                    <a:pt x="727" y="2132"/>
                  </a:lnTo>
                  <a:cubicBezTo>
                    <a:pt x="739" y="2132"/>
                    <a:pt x="762" y="2132"/>
                    <a:pt x="762" y="2143"/>
                  </a:cubicBezTo>
                  <a:lnTo>
                    <a:pt x="774" y="2143"/>
                  </a:lnTo>
                  <a:cubicBezTo>
                    <a:pt x="786" y="2143"/>
                    <a:pt x="798" y="2143"/>
                    <a:pt x="822" y="2155"/>
                  </a:cubicBezTo>
                  <a:lnTo>
                    <a:pt x="1132" y="2155"/>
                  </a:lnTo>
                  <a:cubicBezTo>
                    <a:pt x="1143" y="2155"/>
                    <a:pt x="1155" y="2155"/>
                    <a:pt x="1179" y="2143"/>
                  </a:cubicBezTo>
                  <a:lnTo>
                    <a:pt x="1191" y="2143"/>
                  </a:lnTo>
                  <a:cubicBezTo>
                    <a:pt x="1203" y="2143"/>
                    <a:pt x="1215" y="2143"/>
                    <a:pt x="1215" y="2132"/>
                  </a:cubicBezTo>
                  <a:lnTo>
                    <a:pt x="1227" y="2132"/>
                  </a:lnTo>
                  <a:cubicBezTo>
                    <a:pt x="1251" y="2132"/>
                    <a:pt x="1263" y="2120"/>
                    <a:pt x="1274" y="2120"/>
                  </a:cubicBezTo>
                  <a:cubicBezTo>
                    <a:pt x="1286" y="2120"/>
                    <a:pt x="1310" y="2096"/>
                    <a:pt x="1322" y="2096"/>
                  </a:cubicBezTo>
                  <a:lnTo>
                    <a:pt x="1334" y="2096"/>
                  </a:lnTo>
                  <a:cubicBezTo>
                    <a:pt x="1346" y="2096"/>
                    <a:pt x="1346" y="2084"/>
                    <a:pt x="1370" y="2084"/>
                  </a:cubicBezTo>
                  <a:lnTo>
                    <a:pt x="1382" y="2084"/>
                  </a:lnTo>
                  <a:cubicBezTo>
                    <a:pt x="1394" y="2084"/>
                    <a:pt x="1405" y="2072"/>
                    <a:pt x="1429" y="2072"/>
                  </a:cubicBezTo>
                  <a:cubicBezTo>
                    <a:pt x="1441" y="2072"/>
                    <a:pt x="1453" y="2060"/>
                    <a:pt x="1465" y="2060"/>
                  </a:cubicBezTo>
                  <a:lnTo>
                    <a:pt x="1489" y="2060"/>
                  </a:lnTo>
                  <a:cubicBezTo>
                    <a:pt x="1501" y="2060"/>
                    <a:pt x="1501" y="2036"/>
                    <a:pt x="1513" y="2036"/>
                  </a:cubicBezTo>
                  <a:lnTo>
                    <a:pt x="1524" y="2036"/>
                  </a:lnTo>
                  <a:cubicBezTo>
                    <a:pt x="1548" y="2024"/>
                    <a:pt x="1560" y="2024"/>
                    <a:pt x="1572" y="2013"/>
                  </a:cubicBezTo>
                  <a:cubicBezTo>
                    <a:pt x="1870" y="1798"/>
                    <a:pt x="2048" y="1477"/>
                    <a:pt x="2048" y="1120"/>
                  </a:cubicBezTo>
                  <a:cubicBezTo>
                    <a:pt x="2156" y="477"/>
                    <a:pt x="1679" y="0"/>
                    <a:pt x="1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78" name="Google Shape;11278;p60"/>
          <p:cNvGrpSpPr/>
          <p:nvPr/>
        </p:nvGrpSpPr>
        <p:grpSpPr>
          <a:xfrm>
            <a:off x="5357662" y="4297637"/>
            <a:ext cx="287275" cy="326296"/>
            <a:chOff x="5357662" y="4297637"/>
            <a:chExt cx="287275" cy="326296"/>
          </a:xfrm>
        </p:grpSpPr>
        <p:sp>
          <p:nvSpPr>
            <p:cNvPr id="11279" name="Google Shape;11279;p60"/>
            <p:cNvSpPr/>
            <p:nvPr/>
          </p:nvSpPr>
          <p:spPr>
            <a:xfrm>
              <a:off x="5357662" y="4385545"/>
              <a:ext cx="287275" cy="238388"/>
            </a:xfrm>
            <a:custGeom>
              <a:avLst/>
              <a:gdLst/>
              <a:ahLst/>
              <a:cxnLst/>
              <a:rect l="l" t="t" r="r" b="b"/>
              <a:pathLst>
                <a:path w="9026" h="7490" extrusionOk="0">
                  <a:moveTo>
                    <a:pt x="2906" y="5573"/>
                  </a:moveTo>
                  <a:lnTo>
                    <a:pt x="2906" y="7144"/>
                  </a:lnTo>
                  <a:lnTo>
                    <a:pt x="322" y="7144"/>
                  </a:lnTo>
                  <a:lnTo>
                    <a:pt x="322" y="5573"/>
                  </a:lnTo>
                  <a:close/>
                  <a:moveTo>
                    <a:pt x="5799" y="3037"/>
                  </a:moveTo>
                  <a:lnTo>
                    <a:pt x="5799" y="7144"/>
                  </a:lnTo>
                  <a:lnTo>
                    <a:pt x="3227" y="7144"/>
                  </a:lnTo>
                  <a:lnTo>
                    <a:pt x="3227" y="5406"/>
                  </a:lnTo>
                  <a:lnTo>
                    <a:pt x="3227" y="3037"/>
                  </a:lnTo>
                  <a:close/>
                  <a:moveTo>
                    <a:pt x="5966" y="1"/>
                  </a:moveTo>
                  <a:cubicBezTo>
                    <a:pt x="5882" y="1"/>
                    <a:pt x="5799" y="72"/>
                    <a:pt x="5799" y="167"/>
                  </a:cubicBezTo>
                  <a:lnTo>
                    <a:pt x="5799" y="2727"/>
                  </a:lnTo>
                  <a:lnTo>
                    <a:pt x="3061" y="2727"/>
                  </a:lnTo>
                  <a:cubicBezTo>
                    <a:pt x="2977" y="2727"/>
                    <a:pt x="2906" y="2799"/>
                    <a:pt x="2906" y="2894"/>
                  </a:cubicBezTo>
                  <a:lnTo>
                    <a:pt x="2906" y="5251"/>
                  </a:lnTo>
                  <a:lnTo>
                    <a:pt x="156" y="5251"/>
                  </a:lnTo>
                  <a:cubicBezTo>
                    <a:pt x="72" y="5251"/>
                    <a:pt x="1" y="5335"/>
                    <a:pt x="1" y="5418"/>
                  </a:cubicBezTo>
                  <a:lnTo>
                    <a:pt x="1" y="7323"/>
                  </a:lnTo>
                  <a:cubicBezTo>
                    <a:pt x="1" y="7418"/>
                    <a:pt x="72" y="7490"/>
                    <a:pt x="156" y="7490"/>
                  </a:cubicBezTo>
                  <a:lnTo>
                    <a:pt x="8871" y="7490"/>
                  </a:lnTo>
                  <a:cubicBezTo>
                    <a:pt x="8954" y="7490"/>
                    <a:pt x="9026" y="7418"/>
                    <a:pt x="9026" y="7323"/>
                  </a:cubicBezTo>
                  <a:lnTo>
                    <a:pt x="9026" y="1417"/>
                  </a:lnTo>
                  <a:cubicBezTo>
                    <a:pt x="9026" y="1322"/>
                    <a:pt x="8954" y="1251"/>
                    <a:pt x="8871" y="1251"/>
                  </a:cubicBezTo>
                  <a:cubicBezTo>
                    <a:pt x="8776" y="1251"/>
                    <a:pt x="8704" y="1322"/>
                    <a:pt x="8704" y="1417"/>
                  </a:cubicBezTo>
                  <a:lnTo>
                    <a:pt x="8704" y="7144"/>
                  </a:lnTo>
                  <a:lnTo>
                    <a:pt x="6132" y="7144"/>
                  </a:lnTo>
                  <a:lnTo>
                    <a:pt x="6132" y="2870"/>
                  </a:lnTo>
                  <a:lnTo>
                    <a:pt x="6132" y="310"/>
                  </a:lnTo>
                  <a:lnTo>
                    <a:pt x="8704" y="310"/>
                  </a:lnTo>
                  <a:lnTo>
                    <a:pt x="8704" y="763"/>
                  </a:lnTo>
                  <a:cubicBezTo>
                    <a:pt x="8704" y="846"/>
                    <a:pt x="8776" y="929"/>
                    <a:pt x="8871" y="929"/>
                  </a:cubicBezTo>
                  <a:cubicBezTo>
                    <a:pt x="8954" y="929"/>
                    <a:pt x="9026" y="846"/>
                    <a:pt x="9026" y="763"/>
                  </a:cubicBezTo>
                  <a:lnTo>
                    <a:pt x="9026" y="167"/>
                  </a:lnTo>
                  <a:cubicBezTo>
                    <a:pt x="9026" y="72"/>
                    <a:pt x="8954" y="1"/>
                    <a:pt x="88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0" name="Google Shape;11280;p60"/>
            <p:cNvSpPr/>
            <p:nvPr/>
          </p:nvSpPr>
          <p:spPr>
            <a:xfrm>
              <a:off x="5377363" y="4576542"/>
              <a:ext cx="62191" cy="10248"/>
            </a:xfrm>
            <a:custGeom>
              <a:avLst/>
              <a:gdLst/>
              <a:ahLst/>
              <a:cxnLst/>
              <a:rect l="l" t="t" r="r" b="b"/>
              <a:pathLst>
                <a:path w="19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1787" y="322"/>
                  </a:lnTo>
                  <a:cubicBezTo>
                    <a:pt x="1882" y="322"/>
                    <a:pt x="1953" y="250"/>
                    <a:pt x="1953" y="167"/>
                  </a:cubicBezTo>
                  <a:cubicBezTo>
                    <a:pt x="1953" y="72"/>
                    <a:pt x="1882" y="0"/>
                    <a:pt x="1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1" name="Google Shape;11281;p60"/>
            <p:cNvSpPr/>
            <p:nvPr/>
          </p:nvSpPr>
          <p:spPr>
            <a:xfrm>
              <a:off x="5470204" y="4495827"/>
              <a:ext cx="62191" cy="10630"/>
            </a:xfrm>
            <a:custGeom>
              <a:avLst/>
              <a:gdLst/>
              <a:ahLst/>
              <a:cxnLst/>
              <a:rect l="l" t="t" r="r" b="b"/>
              <a:pathLst>
                <a:path w="1954" h="334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8" y="334"/>
                  </a:cubicBezTo>
                  <a:lnTo>
                    <a:pt x="1787" y="334"/>
                  </a:lnTo>
                  <a:cubicBezTo>
                    <a:pt x="1882" y="334"/>
                    <a:pt x="1954" y="262"/>
                    <a:pt x="1954" y="167"/>
                  </a:cubicBezTo>
                  <a:cubicBezTo>
                    <a:pt x="1954" y="84"/>
                    <a:pt x="1882" y="0"/>
                    <a:pt x="1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2" name="Google Shape;11282;p60"/>
            <p:cNvSpPr/>
            <p:nvPr/>
          </p:nvSpPr>
          <p:spPr>
            <a:xfrm>
              <a:off x="5562694" y="4409798"/>
              <a:ext cx="62159" cy="10280"/>
            </a:xfrm>
            <a:custGeom>
              <a:avLst/>
              <a:gdLst/>
              <a:ahLst/>
              <a:cxnLst/>
              <a:rect l="l" t="t" r="r" b="b"/>
              <a:pathLst>
                <a:path w="1953" h="323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786" y="322"/>
                  </a:lnTo>
                  <a:cubicBezTo>
                    <a:pt x="1881" y="322"/>
                    <a:pt x="1953" y="251"/>
                    <a:pt x="1953" y="167"/>
                  </a:cubicBezTo>
                  <a:cubicBezTo>
                    <a:pt x="1953" y="72"/>
                    <a:pt x="1881" y="1"/>
                    <a:pt x="1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3" name="Google Shape;11283;p60"/>
            <p:cNvSpPr/>
            <p:nvPr/>
          </p:nvSpPr>
          <p:spPr>
            <a:xfrm>
              <a:off x="5358043" y="4297637"/>
              <a:ext cx="238388" cy="237624"/>
            </a:xfrm>
            <a:custGeom>
              <a:avLst/>
              <a:gdLst/>
              <a:ahLst/>
              <a:cxnLst/>
              <a:rect l="l" t="t" r="r" b="b"/>
              <a:pathLst>
                <a:path w="7490" h="7466" extrusionOk="0">
                  <a:moveTo>
                    <a:pt x="6061" y="0"/>
                  </a:moveTo>
                  <a:cubicBezTo>
                    <a:pt x="5966" y="0"/>
                    <a:pt x="5894" y="72"/>
                    <a:pt x="5894" y="155"/>
                  </a:cubicBezTo>
                  <a:cubicBezTo>
                    <a:pt x="5894" y="250"/>
                    <a:pt x="5966" y="322"/>
                    <a:pt x="6061" y="322"/>
                  </a:cubicBezTo>
                  <a:lnTo>
                    <a:pt x="6942" y="322"/>
                  </a:lnTo>
                  <a:lnTo>
                    <a:pt x="60" y="7204"/>
                  </a:lnTo>
                  <a:cubicBezTo>
                    <a:pt x="1" y="7263"/>
                    <a:pt x="1" y="7358"/>
                    <a:pt x="60" y="7418"/>
                  </a:cubicBezTo>
                  <a:cubicBezTo>
                    <a:pt x="72" y="7454"/>
                    <a:pt x="120" y="7466"/>
                    <a:pt x="167" y="7466"/>
                  </a:cubicBezTo>
                  <a:cubicBezTo>
                    <a:pt x="215" y="7466"/>
                    <a:pt x="251" y="7454"/>
                    <a:pt x="286" y="7418"/>
                  </a:cubicBezTo>
                  <a:lnTo>
                    <a:pt x="7156" y="548"/>
                  </a:lnTo>
                  <a:lnTo>
                    <a:pt x="7156" y="1429"/>
                  </a:lnTo>
                  <a:cubicBezTo>
                    <a:pt x="7156" y="1512"/>
                    <a:pt x="7240" y="1584"/>
                    <a:pt x="7323" y="1584"/>
                  </a:cubicBezTo>
                  <a:cubicBezTo>
                    <a:pt x="7406" y="1584"/>
                    <a:pt x="7490" y="1512"/>
                    <a:pt x="7490" y="1429"/>
                  </a:cubicBezTo>
                  <a:lnTo>
                    <a:pt x="7490" y="155"/>
                  </a:lnTo>
                  <a:cubicBezTo>
                    <a:pt x="7490" y="72"/>
                    <a:pt x="7406" y="0"/>
                    <a:pt x="73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84" name="Google Shape;11284;p60"/>
          <p:cNvGrpSpPr/>
          <p:nvPr/>
        </p:nvGrpSpPr>
        <p:grpSpPr>
          <a:xfrm>
            <a:off x="5774124" y="4294550"/>
            <a:ext cx="331611" cy="331674"/>
            <a:chOff x="5774124" y="4294550"/>
            <a:chExt cx="331611" cy="331674"/>
          </a:xfrm>
        </p:grpSpPr>
        <p:sp>
          <p:nvSpPr>
            <p:cNvPr id="11285" name="Google Shape;11285;p60"/>
            <p:cNvSpPr/>
            <p:nvPr/>
          </p:nvSpPr>
          <p:spPr>
            <a:xfrm>
              <a:off x="5774124" y="4419664"/>
              <a:ext cx="331611" cy="206560"/>
            </a:xfrm>
            <a:custGeom>
              <a:avLst/>
              <a:gdLst/>
              <a:ahLst/>
              <a:cxnLst/>
              <a:rect l="l" t="t" r="r" b="b"/>
              <a:pathLst>
                <a:path w="10419" h="6490" extrusionOk="0">
                  <a:moveTo>
                    <a:pt x="2751" y="2905"/>
                  </a:moveTo>
                  <a:lnTo>
                    <a:pt x="2751" y="6191"/>
                  </a:lnTo>
                  <a:lnTo>
                    <a:pt x="1429" y="6191"/>
                  </a:lnTo>
                  <a:lnTo>
                    <a:pt x="1429" y="2905"/>
                  </a:lnTo>
                  <a:close/>
                  <a:moveTo>
                    <a:pt x="5847" y="2084"/>
                  </a:moveTo>
                  <a:lnTo>
                    <a:pt x="5847" y="6191"/>
                  </a:lnTo>
                  <a:lnTo>
                    <a:pt x="4525" y="6191"/>
                  </a:lnTo>
                  <a:lnTo>
                    <a:pt x="4525" y="2084"/>
                  </a:lnTo>
                  <a:close/>
                  <a:moveTo>
                    <a:pt x="8942" y="298"/>
                  </a:moveTo>
                  <a:lnTo>
                    <a:pt x="8942" y="6191"/>
                  </a:lnTo>
                  <a:lnTo>
                    <a:pt x="7609" y="6191"/>
                  </a:lnTo>
                  <a:lnTo>
                    <a:pt x="7609" y="298"/>
                  </a:lnTo>
                  <a:close/>
                  <a:moveTo>
                    <a:pt x="7466" y="0"/>
                  </a:moveTo>
                  <a:cubicBezTo>
                    <a:pt x="7383" y="0"/>
                    <a:pt x="7323" y="72"/>
                    <a:pt x="7323" y="155"/>
                  </a:cubicBezTo>
                  <a:lnTo>
                    <a:pt x="7323" y="6191"/>
                  </a:lnTo>
                  <a:lnTo>
                    <a:pt x="6156" y="6191"/>
                  </a:lnTo>
                  <a:lnTo>
                    <a:pt x="6156" y="1941"/>
                  </a:lnTo>
                  <a:cubicBezTo>
                    <a:pt x="6156" y="1846"/>
                    <a:pt x="6085" y="1786"/>
                    <a:pt x="6013" y="1786"/>
                  </a:cubicBezTo>
                  <a:lnTo>
                    <a:pt x="4370" y="1786"/>
                  </a:lnTo>
                  <a:cubicBezTo>
                    <a:pt x="4287" y="1786"/>
                    <a:pt x="4227" y="1858"/>
                    <a:pt x="4227" y="1941"/>
                  </a:cubicBezTo>
                  <a:lnTo>
                    <a:pt x="4227" y="6191"/>
                  </a:lnTo>
                  <a:lnTo>
                    <a:pt x="3061" y="6191"/>
                  </a:lnTo>
                  <a:lnTo>
                    <a:pt x="3061" y="2751"/>
                  </a:lnTo>
                  <a:cubicBezTo>
                    <a:pt x="3061" y="2667"/>
                    <a:pt x="2989" y="2608"/>
                    <a:pt x="2918" y="2608"/>
                  </a:cubicBezTo>
                  <a:lnTo>
                    <a:pt x="1275" y="2608"/>
                  </a:lnTo>
                  <a:cubicBezTo>
                    <a:pt x="1191" y="2608"/>
                    <a:pt x="1132" y="2679"/>
                    <a:pt x="1132" y="2751"/>
                  </a:cubicBezTo>
                  <a:lnTo>
                    <a:pt x="1132" y="6191"/>
                  </a:lnTo>
                  <a:lnTo>
                    <a:pt x="144" y="6191"/>
                  </a:lnTo>
                  <a:cubicBezTo>
                    <a:pt x="60" y="6191"/>
                    <a:pt x="1" y="6263"/>
                    <a:pt x="1" y="6346"/>
                  </a:cubicBezTo>
                  <a:cubicBezTo>
                    <a:pt x="1" y="6430"/>
                    <a:pt x="72" y="6489"/>
                    <a:pt x="144" y="6489"/>
                  </a:cubicBezTo>
                  <a:lnTo>
                    <a:pt x="10264" y="6489"/>
                  </a:lnTo>
                  <a:cubicBezTo>
                    <a:pt x="10359" y="6489"/>
                    <a:pt x="10419" y="6418"/>
                    <a:pt x="10419" y="6346"/>
                  </a:cubicBezTo>
                  <a:cubicBezTo>
                    <a:pt x="10395" y="6251"/>
                    <a:pt x="10323" y="6191"/>
                    <a:pt x="10240" y="6191"/>
                  </a:cubicBezTo>
                  <a:lnTo>
                    <a:pt x="9252" y="6191"/>
                  </a:lnTo>
                  <a:lnTo>
                    <a:pt x="9252" y="155"/>
                  </a:lnTo>
                  <a:cubicBezTo>
                    <a:pt x="9252" y="60"/>
                    <a:pt x="9180" y="0"/>
                    <a:pt x="91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6" name="Google Shape;11286;p60"/>
            <p:cNvSpPr/>
            <p:nvPr/>
          </p:nvSpPr>
          <p:spPr>
            <a:xfrm>
              <a:off x="5778294" y="4294550"/>
              <a:ext cx="316461" cy="191442"/>
            </a:xfrm>
            <a:custGeom>
              <a:avLst/>
              <a:gdLst/>
              <a:ahLst/>
              <a:cxnLst/>
              <a:rect l="l" t="t" r="r" b="b"/>
              <a:pathLst>
                <a:path w="9943" h="6015" extrusionOk="0">
                  <a:moveTo>
                    <a:pt x="9447" y="0"/>
                  </a:moveTo>
                  <a:cubicBezTo>
                    <a:pt x="9433" y="0"/>
                    <a:pt x="9420" y="1"/>
                    <a:pt x="9407" y="2"/>
                  </a:cubicBezTo>
                  <a:lnTo>
                    <a:pt x="8097" y="169"/>
                  </a:lnTo>
                  <a:cubicBezTo>
                    <a:pt x="7847" y="193"/>
                    <a:pt x="7644" y="455"/>
                    <a:pt x="7680" y="705"/>
                  </a:cubicBezTo>
                  <a:cubicBezTo>
                    <a:pt x="7703" y="951"/>
                    <a:pt x="7914" y="1123"/>
                    <a:pt x="8167" y="1123"/>
                  </a:cubicBezTo>
                  <a:cubicBezTo>
                    <a:pt x="8183" y="1123"/>
                    <a:pt x="8200" y="1123"/>
                    <a:pt x="8216" y="1121"/>
                  </a:cubicBezTo>
                  <a:lnTo>
                    <a:pt x="8323" y="1109"/>
                  </a:lnTo>
                  <a:lnTo>
                    <a:pt x="8323" y="1109"/>
                  </a:lnTo>
                  <a:cubicBezTo>
                    <a:pt x="6716" y="2967"/>
                    <a:pt x="4811" y="3919"/>
                    <a:pt x="3465" y="4407"/>
                  </a:cubicBezTo>
                  <a:cubicBezTo>
                    <a:pt x="1787" y="5003"/>
                    <a:pt x="477" y="5062"/>
                    <a:pt x="477" y="5062"/>
                  </a:cubicBezTo>
                  <a:cubicBezTo>
                    <a:pt x="203" y="5074"/>
                    <a:pt x="1" y="5288"/>
                    <a:pt x="13" y="5550"/>
                  </a:cubicBezTo>
                  <a:cubicBezTo>
                    <a:pt x="24" y="5824"/>
                    <a:pt x="239" y="6015"/>
                    <a:pt x="489" y="6015"/>
                  </a:cubicBezTo>
                  <a:lnTo>
                    <a:pt x="501" y="6015"/>
                  </a:lnTo>
                  <a:cubicBezTo>
                    <a:pt x="560" y="6015"/>
                    <a:pt x="1953" y="5967"/>
                    <a:pt x="3775" y="5312"/>
                  </a:cubicBezTo>
                  <a:cubicBezTo>
                    <a:pt x="4811" y="4943"/>
                    <a:pt x="5775" y="4467"/>
                    <a:pt x="6656" y="3872"/>
                  </a:cubicBezTo>
                  <a:cubicBezTo>
                    <a:pt x="6728" y="3824"/>
                    <a:pt x="6740" y="3729"/>
                    <a:pt x="6692" y="3669"/>
                  </a:cubicBezTo>
                  <a:cubicBezTo>
                    <a:pt x="6670" y="3618"/>
                    <a:pt x="6621" y="3594"/>
                    <a:pt x="6573" y="3594"/>
                  </a:cubicBezTo>
                  <a:cubicBezTo>
                    <a:pt x="6542" y="3594"/>
                    <a:pt x="6512" y="3603"/>
                    <a:pt x="6490" y="3622"/>
                  </a:cubicBezTo>
                  <a:cubicBezTo>
                    <a:pt x="5620" y="4205"/>
                    <a:pt x="4692" y="4681"/>
                    <a:pt x="3692" y="5038"/>
                  </a:cubicBezTo>
                  <a:cubicBezTo>
                    <a:pt x="1906" y="5669"/>
                    <a:pt x="560" y="5717"/>
                    <a:pt x="525" y="5717"/>
                  </a:cubicBezTo>
                  <a:cubicBezTo>
                    <a:pt x="429" y="5717"/>
                    <a:pt x="358" y="5646"/>
                    <a:pt x="346" y="5550"/>
                  </a:cubicBezTo>
                  <a:cubicBezTo>
                    <a:pt x="346" y="5467"/>
                    <a:pt x="417" y="5372"/>
                    <a:pt x="501" y="5372"/>
                  </a:cubicBezTo>
                  <a:cubicBezTo>
                    <a:pt x="525" y="5372"/>
                    <a:pt x="1858" y="5336"/>
                    <a:pt x="3596" y="4705"/>
                  </a:cubicBezTo>
                  <a:cubicBezTo>
                    <a:pt x="5061" y="4181"/>
                    <a:pt x="7144" y="3133"/>
                    <a:pt x="8835" y="1014"/>
                  </a:cubicBezTo>
                  <a:cubicBezTo>
                    <a:pt x="8927" y="911"/>
                    <a:pt x="8842" y="763"/>
                    <a:pt x="8718" y="763"/>
                  </a:cubicBezTo>
                  <a:cubicBezTo>
                    <a:pt x="8714" y="763"/>
                    <a:pt x="8709" y="764"/>
                    <a:pt x="8704" y="764"/>
                  </a:cubicBezTo>
                  <a:lnTo>
                    <a:pt x="8216" y="824"/>
                  </a:lnTo>
                  <a:cubicBezTo>
                    <a:pt x="8208" y="825"/>
                    <a:pt x="8200" y="825"/>
                    <a:pt x="8192" y="825"/>
                  </a:cubicBezTo>
                  <a:cubicBezTo>
                    <a:pt x="8109" y="825"/>
                    <a:pt x="8047" y="769"/>
                    <a:pt x="8025" y="693"/>
                  </a:cubicBezTo>
                  <a:cubicBezTo>
                    <a:pt x="7990" y="586"/>
                    <a:pt x="8061" y="478"/>
                    <a:pt x="8168" y="478"/>
                  </a:cubicBezTo>
                  <a:lnTo>
                    <a:pt x="9478" y="312"/>
                  </a:lnTo>
                  <a:cubicBezTo>
                    <a:pt x="9484" y="311"/>
                    <a:pt x="9490" y="311"/>
                    <a:pt x="9496" y="311"/>
                  </a:cubicBezTo>
                  <a:cubicBezTo>
                    <a:pt x="9594" y="311"/>
                    <a:pt x="9669" y="400"/>
                    <a:pt x="9669" y="490"/>
                  </a:cubicBezTo>
                  <a:lnTo>
                    <a:pt x="9669" y="1800"/>
                  </a:lnTo>
                  <a:cubicBezTo>
                    <a:pt x="9669" y="1895"/>
                    <a:pt x="9597" y="1979"/>
                    <a:pt x="9490" y="1979"/>
                  </a:cubicBezTo>
                  <a:cubicBezTo>
                    <a:pt x="9407" y="1979"/>
                    <a:pt x="9311" y="1907"/>
                    <a:pt x="9311" y="1800"/>
                  </a:cubicBezTo>
                  <a:lnTo>
                    <a:pt x="9311" y="1407"/>
                  </a:lnTo>
                  <a:cubicBezTo>
                    <a:pt x="9311" y="1348"/>
                    <a:pt x="9264" y="1288"/>
                    <a:pt x="9204" y="1252"/>
                  </a:cubicBezTo>
                  <a:cubicBezTo>
                    <a:pt x="9187" y="1242"/>
                    <a:pt x="9169" y="1238"/>
                    <a:pt x="9152" y="1238"/>
                  </a:cubicBezTo>
                  <a:cubicBezTo>
                    <a:pt x="9106" y="1238"/>
                    <a:pt x="9060" y="1266"/>
                    <a:pt x="9026" y="1300"/>
                  </a:cubicBezTo>
                  <a:cubicBezTo>
                    <a:pt x="8466" y="2002"/>
                    <a:pt x="7811" y="2633"/>
                    <a:pt x="7097" y="3193"/>
                  </a:cubicBezTo>
                  <a:cubicBezTo>
                    <a:pt x="7037" y="3229"/>
                    <a:pt x="7025" y="3336"/>
                    <a:pt x="7061" y="3395"/>
                  </a:cubicBezTo>
                  <a:cubicBezTo>
                    <a:pt x="7091" y="3433"/>
                    <a:pt x="7144" y="3451"/>
                    <a:pt x="7194" y="3451"/>
                  </a:cubicBezTo>
                  <a:cubicBezTo>
                    <a:pt x="7224" y="3451"/>
                    <a:pt x="7253" y="3445"/>
                    <a:pt x="7275" y="3431"/>
                  </a:cubicBezTo>
                  <a:cubicBezTo>
                    <a:pt x="7895" y="2943"/>
                    <a:pt x="8466" y="2419"/>
                    <a:pt x="8990" y="1824"/>
                  </a:cubicBezTo>
                  <a:cubicBezTo>
                    <a:pt x="9002" y="2074"/>
                    <a:pt x="9204" y="2276"/>
                    <a:pt x="9466" y="2276"/>
                  </a:cubicBezTo>
                  <a:cubicBezTo>
                    <a:pt x="9728" y="2276"/>
                    <a:pt x="9942" y="2074"/>
                    <a:pt x="9942" y="1800"/>
                  </a:cubicBezTo>
                  <a:lnTo>
                    <a:pt x="9942" y="478"/>
                  </a:lnTo>
                  <a:cubicBezTo>
                    <a:pt x="9942" y="347"/>
                    <a:pt x="9883" y="216"/>
                    <a:pt x="9776" y="121"/>
                  </a:cubicBezTo>
                  <a:cubicBezTo>
                    <a:pt x="9679" y="46"/>
                    <a:pt x="9564" y="0"/>
                    <a:pt x="94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87" name="Google Shape;11287;p60"/>
          <p:cNvGrpSpPr/>
          <p:nvPr/>
        </p:nvGrpSpPr>
        <p:grpSpPr>
          <a:xfrm>
            <a:off x="4890434" y="4287389"/>
            <a:ext cx="345997" cy="346029"/>
            <a:chOff x="4890434" y="4287389"/>
            <a:chExt cx="345997" cy="346029"/>
          </a:xfrm>
        </p:grpSpPr>
        <p:sp>
          <p:nvSpPr>
            <p:cNvPr id="11288" name="Google Shape;11288;p60"/>
            <p:cNvSpPr/>
            <p:nvPr/>
          </p:nvSpPr>
          <p:spPr>
            <a:xfrm>
              <a:off x="5111349" y="4400695"/>
              <a:ext cx="54998" cy="54998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46" y="1144"/>
                    <a:pt x="346" y="870"/>
                  </a:cubicBezTo>
                  <a:cubicBezTo>
                    <a:pt x="346" y="584"/>
                    <a:pt x="584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27" y="1346"/>
                    <a:pt x="1727" y="870"/>
                  </a:cubicBezTo>
                  <a:cubicBezTo>
                    <a:pt x="1727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9" name="Google Shape;11289;p60"/>
            <p:cNvSpPr/>
            <p:nvPr/>
          </p:nvSpPr>
          <p:spPr>
            <a:xfrm>
              <a:off x="5113640" y="4466642"/>
              <a:ext cx="70498" cy="51179"/>
            </a:xfrm>
            <a:custGeom>
              <a:avLst/>
              <a:gdLst/>
              <a:ahLst/>
              <a:cxnLst/>
              <a:rect l="l" t="t" r="r" b="b"/>
              <a:pathLst>
                <a:path w="2215" h="1608" extrusionOk="0">
                  <a:moveTo>
                    <a:pt x="786" y="1"/>
                  </a:moveTo>
                  <a:cubicBezTo>
                    <a:pt x="548" y="1"/>
                    <a:pt x="333" y="60"/>
                    <a:pt x="119" y="167"/>
                  </a:cubicBezTo>
                  <a:cubicBezTo>
                    <a:pt x="36" y="203"/>
                    <a:pt x="0" y="310"/>
                    <a:pt x="48" y="405"/>
                  </a:cubicBezTo>
                  <a:cubicBezTo>
                    <a:pt x="73" y="463"/>
                    <a:pt x="132" y="498"/>
                    <a:pt x="198" y="498"/>
                  </a:cubicBezTo>
                  <a:cubicBezTo>
                    <a:pt x="226" y="498"/>
                    <a:pt x="257" y="491"/>
                    <a:pt x="286" y="477"/>
                  </a:cubicBezTo>
                  <a:cubicBezTo>
                    <a:pt x="429" y="382"/>
                    <a:pt x="607" y="346"/>
                    <a:pt x="786" y="346"/>
                  </a:cubicBezTo>
                  <a:cubicBezTo>
                    <a:pt x="1322" y="346"/>
                    <a:pt x="1774" y="727"/>
                    <a:pt x="1857" y="1251"/>
                  </a:cubicBezTo>
                  <a:lnTo>
                    <a:pt x="786" y="1251"/>
                  </a:lnTo>
                  <a:cubicBezTo>
                    <a:pt x="703" y="1251"/>
                    <a:pt x="607" y="1322"/>
                    <a:pt x="607" y="1429"/>
                  </a:cubicBezTo>
                  <a:cubicBezTo>
                    <a:pt x="607" y="1513"/>
                    <a:pt x="679" y="1608"/>
                    <a:pt x="786" y="1608"/>
                  </a:cubicBezTo>
                  <a:lnTo>
                    <a:pt x="2036" y="1608"/>
                  </a:lnTo>
                  <a:cubicBezTo>
                    <a:pt x="2131" y="1608"/>
                    <a:pt x="2215" y="1536"/>
                    <a:pt x="2215" y="1429"/>
                  </a:cubicBezTo>
                  <a:cubicBezTo>
                    <a:pt x="2215" y="643"/>
                    <a:pt x="1572" y="1"/>
                    <a:pt x="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0" name="Google Shape;11290;p60"/>
            <p:cNvSpPr/>
            <p:nvPr/>
          </p:nvSpPr>
          <p:spPr>
            <a:xfrm>
              <a:off x="4943490" y="4467023"/>
              <a:ext cx="70880" cy="51179"/>
            </a:xfrm>
            <a:custGeom>
              <a:avLst/>
              <a:gdLst/>
              <a:ahLst/>
              <a:cxnLst/>
              <a:rect l="l" t="t" r="r" b="b"/>
              <a:pathLst>
                <a:path w="2227" h="1608" extrusionOk="0">
                  <a:moveTo>
                    <a:pt x="1429" y="0"/>
                  </a:moveTo>
                  <a:cubicBezTo>
                    <a:pt x="643" y="0"/>
                    <a:pt x="0" y="643"/>
                    <a:pt x="0" y="1429"/>
                  </a:cubicBezTo>
                  <a:cubicBezTo>
                    <a:pt x="0" y="1524"/>
                    <a:pt x="84" y="1608"/>
                    <a:pt x="179" y="1608"/>
                  </a:cubicBezTo>
                  <a:lnTo>
                    <a:pt x="1453" y="1608"/>
                  </a:lnTo>
                  <a:cubicBezTo>
                    <a:pt x="1536" y="1608"/>
                    <a:pt x="1631" y="1536"/>
                    <a:pt x="1631" y="1429"/>
                  </a:cubicBezTo>
                  <a:cubicBezTo>
                    <a:pt x="1608" y="1322"/>
                    <a:pt x="1536" y="1251"/>
                    <a:pt x="1453" y="1251"/>
                  </a:cubicBezTo>
                  <a:lnTo>
                    <a:pt x="357" y="1251"/>
                  </a:lnTo>
                  <a:cubicBezTo>
                    <a:pt x="453" y="727"/>
                    <a:pt x="893" y="346"/>
                    <a:pt x="1429" y="346"/>
                  </a:cubicBezTo>
                  <a:cubicBezTo>
                    <a:pt x="1608" y="346"/>
                    <a:pt x="1786" y="393"/>
                    <a:pt x="1941" y="477"/>
                  </a:cubicBezTo>
                  <a:cubicBezTo>
                    <a:pt x="1966" y="491"/>
                    <a:pt x="1994" y="498"/>
                    <a:pt x="2022" y="498"/>
                  </a:cubicBezTo>
                  <a:cubicBezTo>
                    <a:pt x="2084" y="498"/>
                    <a:pt x="2146" y="463"/>
                    <a:pt x="2179" y="405"/>
                  </a:cubicBezTo>
                  <a:cubicBezTo>
                    <a:pt x="2227" y="310"/>
                    <a:pt x="2191" y="215"/>
                    <a:pt x="2108" y="167"/>
                  </a:cubicBezTo>
                  <a:cubicBezTo>
                    <a:pt x="1893" y="60"/>
                    <a:pt x="1667" y="0"/>
                    <a:pt x="14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1" name="Google Shape;11291;p60"/>
            <p:cNvSpPr/>
            <p:nvPr/>
          </p:nvSpPr>
          <p:spPr>
            <a:xfrm>
              <a:off x="4961282" y="4400695"/>
              <a:ext cx="54616" cy="54998"/>
            </a:xfrm>
            <a:custGeom>
              <a:avLst/>
              <a:gdLst/>
              <a:ahLst/>
              <a:cxnLst/>
              <a:rect l="l" t="t" r="r" b="b"/>
              <a:pathLst>
                <a:path w="1716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34" y="1144"/>
                    <a:pt x="334" y="870"/>
                  </a:cubicBezTo>
                  <a:cubicBezTo>
                    <a:pt x="358" y="584"/>
                    <a:pt x="572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15" y="1346"/>
                    <a:pt x="1715" y="870"/>
                  </a:cubicBezTo>
                  <a:cubicBezTo>
                    <a:pt x="1715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2" name="Google Shape;11292;p60"/>
            <p:cNvSpPr/>
            <p:nvPr/>
          </p:nvSpPr>
          <p:spPr>
            <a:xfrm>
              <a:off x="5028374" y="4386691"/>
              <a:ext cx="71262" cy="70880"/>
            </a:xfrm>
            <a:custGeom>
              <a:avLst/>
              <a:gdLst/>
              <a:ahLst/>
              <a:cxnLst/>
              <a:rect l="l" t="t" r="r" b="b"/>
              <a:pathLst>
                <a:path w="2239" h="2227" extrusionOk="0">
                  <a:moveTo>
                    <a:pt x="1119" y="358"/>
                  </a:moveTo>
                  <a:cubicBezTo>
                    <a:pt x="1536" y="358"/>
                    <a:pt x="1893" y="691"/>
                    <a:pt x="1893" y="1131"/>
                  </a:cubicBezTo>
                  <a:cubicBezTo>
                    <a:pt x="1893" y="1548"/>
                    <a:pt x="1548" y="1905"/>
                    <a:pt x="1119" y="1905"/>
                  </a:cubicBezTo>
                  <a:cubicBezTo>
                    <a:pt x="703" y="1905"/>
                    <a:pt x="345" y="1560"/>
                    <a:pt x="345" y="1131"/>
                  </a:cubicBezTo>
                  <a:cubicBezTo>
                    <a:pt x="345" y="691"/>
                    <a:pt x="679" y="358"/>
                    <a:pt x="1119" y="358"/>
                  </a:cubicBezTo>
                  <a:close/>
                  <a:moveTo>
                    <a:pt x="1119" y="0"/>
                  </a:moveTo>
                  <a:cubicBezTo>
                    <a:pt x="512" y="0"/>
                    <a:pt x="0" y="500"/>
                    <a:pt x="0" y="1108"/>
                  </a:cubicBezTo>
                  <a:cubicBezTo>
                    <a:pt x="0" y="1739"/>
                    <a:pt x="512" y="2227"/>
                    <a:pt x="1119" y="2227"/>
                  </a:cubicBezTo>
                  <a:cubicBezTo>
                    <a:pt x="1727" y="2227"/>
                    <a:pt x="2239" y="1727"/>
                    <a:pt x="2239" y="1108"/>
                  </a:cubicBezTo>
                  <a:cubicBezTo>
                    <a:pt x="2239" y="500"/>
                    <a:pt x="1727" y="0"/>
                    <a:pt x="1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3" name="Google Shape;11293;p60"/>
            <p:cNvSpPr/>
            <p:nvPr/>
          </p:nvSpPr>
          <p:spPr>
            <a:xfrm>
              <a:off x="5004122" y="4468901"/>
              <a:ext cx="120149" cy="65596"/>
            </a:xfrm>
            <a:custGeom>
              <a:avLst/>
              <a:gdLst/>
              <a:ahLst/>
              <a:cxnLst/>
              <a:rect l="l" t="t" r="r" b="b"/>
              <a:pathLst>
                <a:path w="3775" h="2061" extrusionOk="0">
                  <a:moveTo>
                    <a:pt x="1881" y="346"/>
                  </a:moveTo>
                  <a:cubicBezTo>
                    <a:pt x="2667" y="346"/>
                    <a:pt x="3322" y="942"/>
                    <a:pt x="3393" y="1704"/>
                  </a:cubicBezTo>
                  <a:lnTo>
                    <a:pt x="357" y="1704"/>
                  </a:lnTo>
                  <a:cubicBezTo>
                    <a:pt x="453" y="942"/>
                    <a:pt x="1096" y="346"/>
                    <a:pt x="1881" y="346"/>
                  </a:cubicBezTo>
                  <a:close/>
                  <a:moveTo>
                    <a:pt x="1881" y="1"/>
                  </a:moveTo>
                  <a:cubicBezTo>
                    <a:pt x="834" y="1"/>
                    <a:pt x="0" y="846"/>
                    <a:pt x="0" y="1882"/>
                  </a:cubicBezTo>
                  <a:cubicBezTo>
                    <a:pt x="0" y="1966"/>
                    <a:pt x="84" y="2061"/>
                    <a:pt x="179" y="2061"/>
                  </a:cubicBezTo>
                  <a:lnTo>
                    <a:pt x="3596" y="2061"/>
                  </a:lnTo>
                  <a:cubicBezTo>
                    <a:pt x="3679" y="2061"/>
                    <a:pt x="3774" y="1977"/>
                    <a:pt x="3774" y="1882"/>
                  </a:cubicBezTo>
                  <a:cubicBezTo>
                    <a:pt x="3751" y="834"/>
                    <a:pt x="290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4" name="Google Shape;11294;p60"/>
            <p:cNvSpPr/>
            <p:nvPr/>
          </p:nvSpPr>
          <p:spPr>
            <a:xfrm>
              <a:off x="4890434" y="4287389"/>
              <a:ext cx="345997" cy="346029"/>
            </a:xfrm>
            <a:custGeom>
              <a:avLst/>
              <a:gdLst/>
              <a:ahLst/>
              <a:cxnLst/>
              <a:rect l="l" t="t" r="r" b="b"/>
              <a:pathLst>
                <a:path w="10871" h="10872" extrusionOk="0">
                  <a:moveTo>
                    <a:pt x="5608" y="953"/>
                  </a:moveTo>
                  <a:cubicBezTo>
                    <a:pt x="7954" y="1049"/>
                    <a:pt x="9823" y="2918"/>
                    <a:pt x="9918" y="5252"/>
                  </a:cubicBezTo>
                  <a:lnTo>
                    <a:pt x="9502" y="5252"/>
                  </a:lnTo>
                  <a:cubicBezTo>
                    <a:pt x="9406" y="5252"/>
                    <a:pt x="9323" y="5335"/>
                    <a:pt x="9323" y="5442"/>
                  </a:cubicBezTo>
                  <a:cubicBezTo>
                    <a:pt x="9323" y="5525"/>
                    <a:pt x="9394" y="5621"/>
                    <a:pt x="9502" y="5621"/>
                  </a:cubicBezTo>
                  <a:lnTo>
                    <a:pt x="9918" y="5621"/>
                  </a:lnTo>
                  <a:cubicBezTo>
                    <a:pt x="9847" y="7954"/>
                    <a:pt x="7954" y="9824"/>
                    <a:pt x="5608" y="9919"/>
                  </a:cubicBezTo>
                  <a:lnTo>
                    <a:pt x="5608" y="9502"/>
                  </a:lnTo>
                  <a:cubicBezTo>
                    <a:pt x="5608" y="9407"/>
                    <a:pt x="5537" y="9323"/>
                    <a:pt x="5430" y="9323"/>
                  </a:cubicBezTo>
                  <a:cubicBezTo>
                    <a:pt x="5346" y="9323"/>
                    <a:pt x="5251" y="9395"/>
                    <a:pt x="5251" y="9502"/>
                  </a:cubicBezTo>
                  <a:lnTo>
                    <a:pt x="5251" y="9919"/>
                  </a:lnTo>
                  <a:cubicBezTo>
                    <a:pt x="2917" y="9824"/>
                    <a:pt x="1048" y="7954"/>
                    <a:pt x="953" y="5621"/>
                  </a:cubicBezTo>
                  <a:lnTo>
                    <a:pt x="1370" y="5621"/>
                  </a:lnTo>
                  <a:cubicBezTo>
                    <a:pt x="1465" y="5621"/>
                    <a:pt x="1548" y="5537"/>
                    <a:pt x="1548" y="5442"/>
                  </a:cubicBezTo>
                  <a:cubicBezTo>
                    <a:pt x="1548" y="5347"/>
                    <a:pt x="1477" y="5252"/>
                    <a:pt x="1370" y="5252"/>
                  </a:cubicBezTo>
                  <a:lnTo>
                    <a:pt x="953" y="5252"/>
                  </a:lnTo>
                  <a:cubicBezTo>
                    <a:pt x="1048" y="2918"/>
                    <a:pt x="2917" y="1049"/>
                    <a:pt x="5251" y="953"/>
                  </a:cubicBezTo>
                  <a:lnTo>
                    <a:pt x="5251" y="1370"/>
                  </a:lnTo>
                  <a:cubicBezTo>
                    <a:pt x="5251" y="1465"/>
                    <a:pt x="5334" y="1549"/>
                    <a:pt x="5430" y="1549"/>
                  </a:cubicBezTo>
                  <a:cubicBezTo>
                    <a:pt x="5525" y="1549"/>
                    <a:pt x="5608" y="1477"/>
                    <a:pt x="5608" y="1370"/>
                  </a:cubicBezTo>
                  <a:lnTo>
                    <a:pt x="5608" y="953"/>
                  </a:lnTo>
                  <a:close/>
                  <a:moveTo>
                    <a:pt x="5441" y="1"/>
                  </a:moveTo>
                  <a:cubicBezTo>
                    <a:pt x="5346" y="1"/>
                    <a:pt x="5263" y="84"/>
                    <a:pt x="5263" y="179"/>
                  </a:cubicBezTo>
                  <a:lnTo>
                    <a:pt x="5263" y="596"/>
                  </a:lnTo>
                  <a:cubicBezTo>
                    <a:pt x="2727" y="691"/>
                    <a:pt x="691" y="2727"/>
                    <a:pt x="596" y="5263"/>
                  </a:cubicBezTo>
                  <a:lnTo>
                    <a:pt x="179" y="5263"/>
                  </a:lnTo>
                  <a:cubicBezTo>
                    <a:pt x="96" y="5263"/>
                    <a:pt x="0" y="5335"/>
                    <a:pt x="0" y="5442"/>
                  </a:cubicBezTo>
                  <a:cubicBezTo>
                    <a:pt x="0" y="5525"/>
                    <a:pt x="84" y="5621"/>
                    <a:pt x="179" y="5621"/>
                  </a:cubicBezTo>
                  <a:lnTo>
                    <a:pt x="596" y="5621"/>
                  </a:lnTo>
                  <a:cubicBezTo>
                    <a:pt x="691" y="8145"/>
                    <a:pt x="2727" y="10181"/>
                    <a:pt x="5263" y="10276"/>
                  </a:cubicBezTo>
                  <a:lnTo>
                    <a:pt x="5263" y="10693"/>
                  </a:lnTo>
                  <a:cubicBezTo>
                    <a:pt x="5263" y="10776"/>
                    <a:pt x="5334" y="10871"/>
                    <a:pt x="5441" y="10871"/>
                  </a:cubicBezTo>
                  <a:cubicBezTo>
                    <a:pt x="5525" y="10871"/>
                    <a:pt x="5620" y="10800"/>
                    <a:pt x="5620" y="10693"/>
                  </a:cubicBezTo>
                  <a:lnTo>
                    <a:pt x="5620" y="10276"/>
                  </a:lnTo>
                  <a:cubicBezTo>
                    <a:pt x="8144" y="10181"/>
                    <a:pt x="10180" y="8145"/>
                    <a:pt x="10275" y="5621"/>
                  </a:cubicBezTo>
                  <a:lnTo>
                    <a:pt x="10692" y="5621"/>
                  </a:lnTo>
                  <a:cubicBezTo>
                    <a:pt x="10775" y="5621"/>
                    <a:pt x="10871" y="5537"/>
                    <a:pt x="10871" y="5442"/>
                  </a:cubicBezTo>
                  <a:cubicBezTo>
                    <a:pt x="10871" y="5347"/>
                    <a:pt x="10799" y="5263"/>
                    <a:pt x="10692" y="5263"/>
                  </a:cubicBezTo>
                  <a:lnTo>
                    <a:pt x="10275" y="5263"/>
                  </a:lnTo>
                  <a:cubicBezTo>
                    <a:pt x="10180" y="2727"/>
                    <a:pt x="8144" y="691"/>
                    <a:pt x="5620" y="596"/>
                  </a:cubicBezTo>
                  <a:lnTo>
                    <a:pt x="5620" y="179"/>
                  </a:lnTo>
                  <a:cubicBezTo>
                    <a:pt x="5620" y="96"/>
                    <a:pt x="5537" y="1"/>
                    <a:pt x="5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95" name="Google Shape;11295;p60"/>
          <p:cNvGrpSpPr/>
          <p:nvPr/>
        </p:nvGrpSpPr>
        <p:grpSpPr>
          <a:xfrm>
            <a:off x="2165809" y="3811059"/>
            <a:ext cx="422542" cy="342973"/>
            <a:chOff x="2165809" y="3811059"/>
            <a:chExt cx="422542" cy="342973"/>
          </a:xfrm>
        </p:grpSpPr>
        <p:sp>
          <p:nvSpPr>
            <p:cNvPr id="11296" name="Google Shape;11296;p60"/>
            <p:cNvSpPr/>
            <p:nvPr/>
          </p:nvSpPr>
          <p:spPr>
            <a:xfrm>
              <a:off x="2165809" y="3811059"/>
              <a:ext cx="422542" cy="342973"/>
            </a:xfrm>
            <a:custGeom>
              <a:avLst/>
              <a:gdLst/>
              <a:ahLst/>
              <a:cxnLst/>
              <a:rect l="l" t="t" r="r" b="b"/>
              <a:pathLst>
                <a:path w="13276" h="10776" extrusionOk="0">
                  <a:moveTo>
                    <a:pt x="2084" y="382"/>
                  </a:moveTo>
                  <a:cubicBezTo>
                    <a:pt x="2084" y="382"/>
                    <a:pt x="2108" y="382"/>
                    <a:pt x="2108" y="406"/>
                  </a:cubicBezTo>
                  <a:lnTo>
                    <a:pt x="2108" y="1239"/>
                  </a:lnTo>
                  <a:cubicBezTo>
                    <a:pt x="2108" y="1239"/>
                    <a:pt x="2108" y="1251"/>
                    <a:pt x="2084" y="1251"/>
                  </a:cubicBezTo>
                  <a:lnTo>
                    <a:pt x="1667" y="1251"/>
                  </a:lnTo>
                  <a:cubicBezTo>
                    <a:pt x="1667" y="1251"/>
                    <a:pt x="1655" y="1251"/>
                    <a:pt x="1655" y="1239"/>
                  </a:cubicBezTo>
                  <a:lnTo>
                    <a:pt x="1655" y="406"/>
                  </a:lnTo>
                  <a:lnTo>
                    <a:pt x="2084" y="382"/>
                  </a:lnTo>
                  <a:close/>
                  <a:moveTo>
                    <a:pt x="11645" y="382"/>
                  </a:moveTo>
                  <a:cubicBezTo>
                    <a:pt x="11645" y="382"/>
                    <a:pt x="11657" y="382"/>
                    <a:pt x="11657" y="406"/>
                  </a:cubicBezTo>
                  <a:lnTo>
                    <a:pt x="11657" y="1239"/>
                  </a:lnTo>
                  <a:cubicBezTo>
                    <a:pt x="11657" y="1239"/>
                    <a:pt x="11657" y="1251"/>
                    <a:pt x="11645" y="1251"/>
                  </a:cubicBezTo>
                  <a:lnTo>
                    <a:pt x="11216" y="1251"/>
                  </a:lnTo>
                  <a:cubicBezTo>
                    <a:pt x="11216" y="1251"/>
                    <a:pt x="11192" y="1251"/>
                    <a:pt x="11192" y="1239"/>
                  </a:cubicBezTo>
                  <a:lnTo>
                    <a:pt x="11192" y="406"/>
                  </a:lnTo>
                  <a:lnTo>
                    <a:pt x="11216" y="406"/>
                  </a:lnTo>
                  <a:lnTo>
                    <a:pt x="11645" y="382"/>
                  </a:lnTo>
                  <a:close/>
                  <a:moveTo>
                    <a:pt x="12478" y="1215"/>
                  </a:moveTo>
                  <a:cubicBezTo>
                    <a:pt x="12716" y="1215"/>
                    <a:pt x="12907" y="1418"/>
                    <a:pt x="12907" y="1656"/>
                  </a:cubicBezTo>
                  <a:lnTo>
                    <a:pt x="12907" y="9954"/>
                  </a:lnTo>
                  <a:cubicBezTo>
                    <a:pt x="12895" y="10193"/>
                    <a:pt x="12704" y="10383"/>
                    <a:pt x="12466" y="10383"/>
                  </a:cubicBezTo>
                  <a:lnTo>
                    <a:pt x="834" y="10383"/>
                  </a:lnTo>
                  <a:cubicBezTo>
                    <a:pt x="596" y="10383"/>
                    <a:pt x="405" y="10193"/>
                    <a:pt x="405" y="9954"/>
                  </a:cubicBezTo>
                  <a:lnTo>
                    <a:pt x="405" y="1656"/>
                  </a:lnTo>
                  <a:cubicBezTo>
                    <a:pt x="405" y="1418"/>
                    <a:pt x="596" y="1215"/>
                    <a:pt x="834" y="1215"/>
                  </a:cubicBezTo>
                  <a:lnTo>
                    <a:pt x="1262" y="1215"/>
                  </a:lnTo>
                  <a:lnTo>
                    <a:pt x="1262" y="1239"/>
                  </a:lnTo>
                  <a:cubicBezTo>
                    <a:pt x="1262" y="1453"/>
                    <a:pt x="1441" y="1632"/>
                    <a:pt x="1667" y="1632"/>
                  </a:cubicBezTo>
                  <a:lnTo>
                    <a:pt x="2084" y="1632"/>
                  </a:lnTo>
                  <a:cubicBezTo>
                    <a:pt x="2310" y="1632"/>
                    <a:pt x="2489" y="1453"/>
                    <a:pt x="2489" y="1239"/>
                  </a:cubicBezTo>
                  <a:lnTo>
                    <a:pt x="2489" y="1215"/>
                  </a:lnTo>
                  <a:lnTo>
                    <a:pt x="10823" y="1215"/>
                  </a:lnTo>
                  <a:lnTo>
                    <a:pt x="10823" y="1239"/>
                  </a:lnTo>
                  <a:cubicBezTo>
                    <a:pt x="10823" y="1453"/>
                    <a:pt x="11002" y="1632"/>
                    <a:pt x="11228" y="1632"/>
                  </a:cubicBezTo>
                  <a:lnTo>
                    <a:pt x="11645" y="1632"/>
                  </a:lnTo>
                  <a:cubicBezTo>
                    <a:pt x="11859" y="1632"/>
                    <a:pt x="12038" y="1453"/>
                    <a:pt x="12038" y="1239"/>
                  </a:cubicBezTo>
                  <a:lnTo>
                    <a:pt x="12038" y="1215"/>
                  </a:lnTo>
                  <a:close/>
                  <a:moveTo>
                    <a:pt x="1655" y="1"/>
                  </a:moveTo>
                  <a:cubicBezTo>
                    <a:pt x="1429" y="1"/>
                    <a:pt x="1251" y="179"/>
                    <a:pt x="1251" y="406"/>
                  </a:cubicBezTo>
                  <a:lnTo>
                    <a:pt x="1251" y="834"/>
                  </a:lnTo>
                  <a:lnTo>
                    <a:pt x="822" y="834"/>
                  </a:lnTo>
                  <a:cubicBezTo>
                    <a:pt x="381" y="834"/>
                    <a:pt x="0" y="1203"/>
                    <a:pt x="0" y="1656"/>
                  </a:cubicBezTo>
                  <a:lnTo>
                    <a:pt x="0" y="9954"/>
                  </a:lnTo>
                  <a:cubicBezTo>
                    <a:pt x="0" y="10395"/>
                    <a:pt x="381" y="10776"/>
                    <a:pt x="822" y="10776"/>
                  </a:cubicBezTo>
                  <a:lnTo>
                    <a:pt x="12442" y="10776"/>
                  </a:lnTo>
                  <a:cubicBezTo>
                    <a:pt x="12895" y="10776"/>
                    <a:pt x="13264" y="10395"/>
                    <a:pt x="13264" y="9954"/>
                  </a:cubicBezTo>
                  <a:lnTo>
                    <a:pt x="13264" y="1656"/>
                  </a:lnTo>
                  <a:cubicBezTo>
                    <a:pt x="13276" y="1203"/>
                    <a:pt x="12907" y="834"/>
                    <a:pt x="12466" y="834"/>
                  </a:cubicBezTo>
                  <a:lnTo>
                    <a:pt x="12026" y="834"/>
                  </a:lnTo>
                  <a:lnTo>
                    <a:pt x="12026" y="406"/>
                  </a:lnTo>
                  <a:cubicBezTo>
                    <a:pt x="12026" y="179"/>
                    <a:pt x="11847" y="1"/>
                    <a:pt x="11621" y="1"/>
                  </a:cubicBezTo>
                  <a:lnTo>
                    <a:pt x="11216" y="1"/>
                  </a:lnTo>
                  <a:cubicBezTo>
                    <a:pt x="10990" y="1"/>
                    <a:pt x="10811" y="179"/>
                    <a:pt x="10811" y="406"/>
                  </a:cubicBezTo>
                  <a:lnTo>
                    <a:pt x="10811" y="834"/>
                  </a:lnTo>
                  <a:lnTo>
                    <a:pt x="2477" y="834"/>
                  </a:lnTo>
                  <a:lnTo>
                    <a:pt x="2477" y="406"/>
                  </a:lnTo>
                  <a:cubicBezTo>
                    <a:pt x="2477" y="179"/>
                    <a:pt x="2298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7" name="Google Shape;11297;p60"/>
            <p:cNvSpPr/>
            <p:nvPr/>
          </p:nvSpPr>
          <p:spPr>
            <a:xfrm>
              <a:off x="2193085" y="3877387"/>
              <a:ext cx="368753" cy="12158"/>
            </a:xfrm>
            <a:custGeom>
              <a:avLst/>
              <a:gdLst/>
              <a:ahLst/>
              <a:cxnLst/>
              <a:rect l="l" t="t" r="r" b="b"/>
              <a:pathLst>
                <a:path w="11586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1395" y="381"/>
                  </a:lnTo>
                  <a:cubicBezTo>
                    <a:pt x="11502" y="381"/>
                    <a:pt x="11585" y="298"/>
                    <a:pt x="11585" y="191"/>
                  </a:cubicBezTo>
                  <a:cubicBezTo>
                    <a:pt x="11585" y="84"/>
                    <a:pt x="11502" y="0"/>
                    <a:pt x="11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8" name="Google Shape;11298;p60"/>
            <p:cNvSpPr/>
            <p:nvPr/>
          </p:nvSpPr>
          <p:spPr>
            <a:xfrm>
              <a:off x="2212404" y="3930062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9" name="Google Shape;11299;p60"/>
            <p:cNvSpPr/>
            <p:nvPr/>
          </p:nvSpPr>
          <p:spPr>
            <a:xfrm>
              <a:off x="2305245" y="3930062"/>
              <a:ext cx="51974" cy="12158"/>
            </a:xfrm>
            <a:custGeom>
              <a:avLst/>
              <a:gdLst/>
              <a:ahLst/>
              <a:cxnLst/>
              <a:rect l="l" t="t" r="r" b="b"/>
              <a:pathLst>
                <a:path w="1633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0" name="Google Shape;11300;p60"/>
            <p:cNvSpPr/>
            <p:nvPr/>
          </p:nvSpPr>
          <p:spPr>
            <a:xfrm>
              <a:off x="2489813" y="3930062"/>
              <a:ext cx="52324" cy="12158"/>
            </a:xfrm>
            <a:custGeom>
              <a:avLst/>
              <a:gdLst/>
              <a:ahLst/>
              <a:cxnLst/>
              <a:rect l="l" t="t" r="r" b="b"/>
              <a:pathLst>
                <a:path w="1644" h="382" extrusionOk="0">
                  <a:moveTo>
                    <a:pt x="203" y="0"/>
                  </a:moveTo>
                  <a:cubicBezTo>
                    <a:pt x="95" y="0"/>
                    <a:pt x="0" y="84"/>
                    <a:pt x="0" y="191"/>
                  </a:cubicBezTo>
                  <a:cubicBezTo>
                    <a:pt x="0" y="298"/>
                    <a:pt x="95" y="381"/>
                    <a:pt x="203" y="381"/>
                  </a:cubicBezTo>
                  <a:lnTo>
                    <a:pt x="1441" y="381"/>
                  </a:lnTo>
                  <a:cubicBezTo>
                    <a:pt x="1548" y="381"/>
                    <a:pt x="1643" y="286"/>
                    <a:pt x="1643" y="191"/>
                  </a:cubicBezTo>
                  <a:cubicBezTo>
                    <a:pt x="1643" y="84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1" name="Google Shape;11301;p60"/>
            <p:cNvSpPr/>
            <p:nvPr/>
          </p:nvSpPr>
          <p:spPr>
            <a:xfrm>
              <a:off x="2212404" y="3983118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2" name="Google Shape;11302;p60"/>
            <p:cNvSpPr/>
            <p:nvPr/>
          </p:nvSpPr>
          <p:spPr>
            <a:xfrm>
              <a:off x="2397736" y="3983118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3" y="0"/>
                    <a:pt x="0" y="84"/>
                    <a:pt x="0" y="191"/>
                  </a:cubicBezTo>
                  <a:cubicBezTo>
                    <a:pt x="0" y="298"/>
                    <a:pt x="83" y="381"/>
                    <a:pt x="191" y="381"/>
                  </a:cubicBezTo>
                  <a:lnTo>
                    <a:pt x="1441" y="381"/>
                  </a:lnTo>
                  <a:cubicBezTo>
                    <a:pt x="1548" y="381"/>
                    <a:pt x="1631" y="286"/>
                    <a:pt x="1631" y="191"/>
                  </a:cubicBezTo>
                  <a:cubicBezTo>
                    <a:pt x="1631" y="84"/>
                    <a:pt x="1548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3" name="Google Shape;11303;p60"/>
            <p:cNvSpPr/>
            <p:nvPr/>
          </p:nvSpPr>
          <p:spPr>
            <a:xfrm>
              <a:off x="2212404" y="4036175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98"/>
                    <a:pt x="1632" y="191"/>
                  </a:cubicBezTo>
                  <a:cubicBezTo>
                    <a:pt x="1632" y="83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4" name="Google Shape;11304;p60"/>
            <p:cNvSpPr/>
            <p:nvPr/>
          </p:nvSpPr>
          <p:spPr>
            <a:xfrm>
              <a:off x="2305245" y="4036175"/>
              <a:ext cx="51974" cy="12158"/>
            </a:xfrm>
            <a:custGeom>
              <a:avLst/>
              <a:gdLst/>
              <a:ahLst/>
              <a:cxnLst/>
              <a:rect l="l" t="t" r="r" b="b"/>
              <a:pathLst>
                <a:path w="1633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98"/>
                    <a:pt x="1632" y="191"/>
                  </a:cubicBezTo>
                  <a:cubicBezTo>
                    <a:pt x="1632" y="83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5" name="Google Shape;11305;p60"/>
            <p:cNvSpPr/>
            <p:nvPr/>
          </p:nvSpPr>
          <p:spPr>
            <a:xfrm>
              <a:off x="2489813" y="4036175"/>
              <a:ext cx="52324" cy="12158"/>
            </a:xfrm>
            <a:custGeom>
              <a:avLst/>
              <a:gdLst/>
              <a:ahLst/>
              <a:cxnLst/>
              <a:rect l="l" t="t" r="r" b="b"/>
              <a:pathLst>
                <a:path w="1644" h="382" extrusionOk="0">
                  <a:moveTo>
                    <a:pt x="203" y="0"/>
                  </a:moveTo>
                  <a:cubicBezTo>
                    <a:pt x="95" y="0"/>
                    <a:pt x="0" y="83"/>
                    <a:pt x="0" y="191"/>
                  </a:cubicBezTo>
                  <a:cubicBezTo>
                    <a:pt x="0" y="298"/>
                    <a:pt x="95" y="381"/>
                    <a:pt x="203" y="381"/>
                  </a:cubicBezTo>
                  <a:lnTo>
                    <a:pt x="1441" y="381"/>
                  </a:lnTo>
                  <a:cubicBezTo>
                    <a:pt x="1548" y="381"/>
                    <a:pt x="1643" y="298"/>
                    <a:pt x="1643" y="191"/>
                  </a:cubicBezTo>
                  <a:cubicBezTo>
                    <a:pt x="1643" y="83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6" name="Google Shape;11306;p60"/>
            <p:cNvSpPr/>
            <p:nvPr/>
          </p:nvSpPr>
          <p:spPr>
            <a:xfrm>
              <a:off x="2305245" y="4088467"/>
              <a:ext cx="51974" cy="12540"/>
            </a:xfrm>
            <a:custGeom>
              <a:avLst/>
              <a:gdLst/>
              <a:ahLst/>
              <a:cxnLst/>
              <a:rect l="l" t="t" r="r" b="b"/>
              <a:pathLst>
                <a:path w="1633" h="394" extrusionOk="0">
                  <a:moveTo>
                    <a:pt x="191" y="0"/>
                  </a:moveTo>
                  <a:cubicBezTo>
                    <a:pt x="84" y="0"/>
                    <a:pt x="1" y="95"/>
                    <a:pt x="1" y="191"/>
                  </a:cubicBezTo>
                  <a:cubicBezTo>
                    <a:pt x="1" y="298"/>
                    <a:pt x="84" y="393"/>
                    <a:pt x="191" y="393"/>
                  </a:cubicBezTo>
                  <a:lnTo>
                    <a:pt x="1442" y="393"/>
                  </a:lnTo>
                  <a:cubicBezTo>
                    <a:pt x="1549" y="393"/>
                    <a:pt x="1632" y="298"/>
                    <a:pt x="1632" y="191"/>
                  </a:cubicBezTo>
                  <a:cubicBezTo>
                    <a:pt x="1632" y="95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7" name="Google Shape;11307;p60"/>
            <p:cNvSpPr/>
            <p:nvPr/>
          </p:nvSpPr>
          <p:spPr>
            <a:xfrm>
              <a:off x="2397736" y="4088467"/>
              <a:ext cx="51942" cy="12540"/>
            </a:xfrm>
            <a:custGeom>
              <a:avLst/>
              <a:gdLst/>
              <a:ahLst/>
              <a:cxnLst/>
              <a:rect l="l" t="t" r="r" b="b"/>
              <a:pathLst>
                <a:path w="1632" h="394" extrusionOk="0">
                  <a:moveTo>
                    <a:pt x="191" y="0"/>
                  </a:moveTo>
                  <a:cubicBezTo>
                    <a:pt x="83" y="0"/>
                    <a:pt x="0" y="95"/>
                    <a:pt x="0" y="191"/>
                  </a:cubicBezTo>
                  <a:cubicBezTo>
                    <a:pt x="0" y="298"/>
                    <a:pt x="83" y="393"/>
                    <a:pt x="191" y="393"/>
                  </a:cubicBezTo>
                  <a:lnTo>
                    <a:pt x="1441" y="393"/>
                  </a:lnTo>
                  <a:cubicBezTo>
                    <a:pt x="1548" y="393"/>
                    <a:pt x="1631" y="298"/>
                    <a:pt x="1631" y="191"/>
                  </a:cubicBezTo>
                  <a:cubicBezTo>
                    <a:pt x="1631" y="95"/>
                    <a:pt x="1548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8" name="Google Shape;11308;p60"/>
            <p:cNvSpPr/>
            <p:nvPr/>
          </p:nvSpPr>
          <p:spPr>
            <a:xfrm>
              <a:off x="2489813" y="4088467"/>
              <a:ext cx="52324" cy="12540"/>
            </a:xfrm>
            <a:custGeom>
              <a:avLst/>
              <a:gdLst/>
              <a:ahLst/>
              <a:cxnLst/>
              <a:rect l="l" t="t" r="r" b="b"/>
              <a:pathLst>
                <a:path w="1644" h="394" extrusionOk="0">
                  <a:moveTo>
                    <a:pt x="203" y="0"/>
                  </a:moveTo>
                  <a:cubicBezTo>
                    <a:pt x="95" y="0"/>
                    <a:pt x="0" y="95"/>
                    <a:pt x="0" y="191"/>
                  </a:cubicBezTo>
                  <a:cubicBezTo>
                    <a:pt x="0" y="298"/>
                    <a:pt x="95" y="393"/>
                    <a:pt x="203" y="393"/>
                  </a:cubicBezTo>
                  <a:lnTo>
                    <a:pt x="1441" y="393"/>
                  </a:lnTo>
                  <a:cubicBezTo>
                    <a:pt x="1548" y="393"/>
                    <a:pt x="1643" y="298"/>
                    <a:pt x="1643" y="191"/>
                  </a:cubicBezTo>
                  <a:cubicBezTo>
                    <a:pt x="1643" y="95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9" name="Google Shape;11309;p60"/>
            <p:cNvSpPr/>
            <p:nvPr/>
          </p:nvSpPr>
          <p:spPr>
            <a:xfrm>
              <a:off x="2304863" y="3969751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54" y="1"/>
                  </a:moveTo>
                  <a:cubicBezTo>
                    <a:pt x="1406" y="1"/>
                    <a:pt x="1358" y="21"/>
                    <a:pt x="1323" y="63"/>
                  </a:cubicBezTo>
                  <a:lnTo>
                    <a:pt x="620" y="754"/>
                  </a:lnTo>
                  <a:lnTo>
                    <a:pt x="334" y="480"/>
                  </a:lnTo>
                  <a:cubicBezTo>
                    <a:pt x="299" y="438"/>
                    <a:pt x="251" y="417"/>
                    <a:pt x="203" y="417"/>
                  </a:cubicBezTo>
                  <a:cubicBezTo>
                    <a:pt x="156" y="417"/>
                    <a:pt x="108" y="438"/>
                    <a:pt x="72" y="480"/>
                  </a:cubicBezTo>
                  <a:cubicBezTo>
                    <a:pt x="1" y="551"/>
                    <a:pt x="1" y="670"/>
                    <a:pt x="72" y="742"/>
                  </a:cubicBezTo>
                  <a:lnTo>
                    <a:pt x="489" y="1158"/>
                  </a:lnTo>
                  <a:cubicBezTo>
                    <a:pt x="513" y="1194"/>
                    <a:pt x="572" y="1218"/>
                    <a:pt x="620" y="1218"/>
                  </a:cubicBezTo>
                  <a:cubicBezTo>
                    <a:pt x="668" y="1218"/>
                    <a:pt x="727" y="1206"/>
                    <a:pt x="751" y="1158"/>
                  </a:cubicBezTo>
                  <a:lnTo>
                    <a:pt x="1585" y="325"/>
                  </a:lnTo>
                  <a:cubicBezTo>
                    <a:pt x="1668" y="254"/>
                    <a:pt x="1668" y="134"/>
                    <a:pt x="1585" y="63"/>
                  </a:cubicBezTo>
                  <a:cubicBezTo>
                    <a:pt x="1549" y="21"/>
                    <a:pt x="1501" y="1"/>
                    <a:pt x="1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0" name="Google Shape;11310;p60"/>
            <p:cNvSpPr/>
            <p:nvPr/>
          </p:nvSpPr>
          <p:spPr>
            <a:xfrm>
              <a:off x="2489813" y="3969751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65" y="1"/>
                  </a:moveTo>
                  <a:cubicBezTo>
                    <a:pt x="1417" y="1"/>
                    <a:pt x="1369" y="21"/>
                    <a:pt x="1334" y="63"/>
                  </a:cubicBezTo>
                  <a:lnTo>
                    <a:pt x="631" y="754"/>
                  </a:lnTo>
                  <a:lnTo>
                    <a:pt x="346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8"/>
                  </a:lnTo>
                  <a:cubicBezTo>
                    <a:pt x="524" y="1194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8"/>
                  </a:cubicBezTo>
                  <a:lnTo>
                    <a:pt x="1596" y="325"/>
                  </a:lnTo>
                  <a:cubicBezTo>
                    <a:pt x="1667" y="254"/>
                    <a:pt x="1667" y="134"/>
                    <a:pt x="1596" y="63"/>
                  </a:cubicBezTo>
                  <a:cubicBezTo>
                    <a:pt x="1560" y="21"/>
                    <a:pt x="1512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1" name="Google Shape;11311;p60"/>
            <p:cNvSpPr/>
            <p:nvPr/>
          </p:nvSpPr>
          <p:spPr>
            <a:xfrm>
              <a:off x="2396972" y="4022807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65" y="0"/>
                  </a:moveTo>
                  <a:cubicBezTo>
                    <a:pt x="1417" y="0"/>
                    <a:pt x="1369" y="21"/>
                    <a:pt x="1334" y="63"/>
                  </a:cubicBezTo>
                  <a:lnTo>
                    <a:pt x="631" y="753"/>
                  </a:lnTo>
                  <a:lnTo>
                    <a:pt x="345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8"/>
                  </a:lnTo>
                  <a:cubicBezTo>
                    <a:pt x="536" y="1206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8"/>
                  </a:cubicBezTo>
                  <a:lnTo>
                    <a:pt x="1596" y="325"/>
                  </a:lnTo>
                  <a:cubicBezTo>
                    <a:pt x="1667" y="253"/>
                    <a:pt x="1667" y="134"/>
                    <a:pt x="1596" y="63"/>
                  </a:cubicBezTo>
                  <a:cubicBezTo>
                    <a:pt x="1560" y="21"/>
                    <a:pt x="1512" y="0"/>
                    <a:pt x="1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2" name="Google Shape;11312;p60"/>
            <p:cNvSpPr/>
            <p:nvPr/>
          </p:nvSpPr>
          <p:spPr>
            <a:xfrm>
              <a:off x="2212404" y="4075386"/>
              <a:ext cx="53088" cy="38861"/>
            </a:xfrm>
            <a:custGeom>
              <a:avLst/>
              <a:gdLst/>
              <a:ahLst/>
              <a:cxnLst/>
              <a:rect l="l" t="t" r="r" b="b"/>
              <a:pathLst>
                <a:path w="1668" h="1221" extrusionOk="0">
                  <a:moveTo>
                    <a:pt x="1455" y="0"/>
                  </a:moveTo>
                  <a:cubicBezTo>
                    <a:pt x="1406" y="0"/>
                    <a:pt x="1358" y="18"/>
                    <a:pt x="1322" y="54"/>
                  </a:cubicBezTo>
                  <a:lnTo>
                    <a:pt x="620" y="756"/>
                  </a:lnTo>
                  <a:lnTo>
                    <a:pt x="346" y="471"/>
                  </a:lnTo>
                  <a:cubicBezTo>
                    <a:pt x="304" y="435"/>
                    <a:pt x="254" y="417"/>
                    <a:pt x="205" y="417"/>
                  </a:cubicBezTo>
                  <a:cubicBezTo>
                    <a:pt x="156" y="417"/>
                    <a:pt x="108" y="435"/>
                    <a:pt x="72" y="471"/>
                  </a:cubicBezTo>
                  <a:cubicBezTo>
                    <a:pt x="1" y="554"/>
                    <a:pt x="1" y="673"/>
                    <a:pt x="72" y="745"/>
                  </a:cubicBezTo>
                  <a:lnTo>
                    <a:pt x="489" y="1161"/>
                  </a:lnTo>
                  <a:cubicBezTo>
                    <a:pt x="537" y="1197"/>
                    <a:pt x="584" y="1221"/>
                    <a:pt x="620" y="1221"/>
                  </a:cubicBezTo>
                  <a:cubicBezTo>
                    <a:pt x="668" y="1221"/>
                    <a:pt x="727" y="1197"/>
                    <a:pt x="763" y="1161"/>
                  </a:cubicBezTo>
                  <a:lnTo>
                    <a:pt x="1596" y="328"/>
                  </a:lnTo>
                  <a:cubicBezTo>
                    <a:pt x="1668" y="268"/>
                    <a:pt x="1668" y="137"/>
                    <a:pt x="1596" y="54"/>
                  </a:cubicBezTo>
                  <a:cubicBezTo>
                    <a:pt x="1555" y="18"/>
                    <a:pt x="1504" y="0"/>
                    <a:pt x="14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3" name="Google Shape;11313;p60"/>
            <p:cNvSpPr/>
            <p:nvPr/>
          </p:nvSpPr>
          <p:spPr>
            <a:xfrm>
              <a:off x="2396972" y="3916694"/>
              <a:ext cx="53088" cy="38798"/>
            </a:xfrm>
            <a:custGeom>
              <a:avLst/>
              <a:gdLst/>
              <a:ahLst/>
              <a:cxnLst/>
              <a:rect l="l" t="t" r="r" b="b"/>
              <a:pathLst>
                <a:path w="1668" h="1219" extrusionOk="0">
                  <a:moveTo>
                    <a:pt x="1465" y="1"/>
                  </a:moveTo>
                  <a:cubicBezTo>
                    <a:pt x="1417" y="1"/>
                    <a:pt x="1369" y="21"/>
                    <a:pt x="1334" y="63"/>
                  </a:cubicBezTo>
                  <a:lnTo>
                    <a:pt x="631" y="754"/>
                  </a:lnTo>
                  <a:lnTo>
                    <a:pt x="345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9"/>
                  </a:lnTo>
                  <a:cubicBezTo>
                    <a:pt x="536" y="1206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9"/>
                  </a:cubicBezTo>
                  <a:lnTo>
                    <a:pt x="1596" y="325"/>
                  </a:lnTo>
                  <a:cubicBezTo>
                    <a:pt x="1667" y="266"/>
                    <a:pt x="1667" y="135"/>
                    <a:pt x="1596" y="63"/>
                  </a:cubicBezTo>
                  <a:cubicBezTo>
                    <a:pt x="1560" y="21"/>
                    <a:pt x="1512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14" name="Google Shape;11314;p60"/>
          <p:cNvSpPr/>
          <p:nvPr/>
        </p:nvSpPr>
        <p:spPr>
          <a:xfrm>
            <a:off x="6217513" y="3397651"/>
            <a:ext cx="347524" cy="289917"/>
          </a:xfrm>
          <a:custGeom>
            <a:avLst/>
            <a:gdLst/>
            <a:ahLst/>
            <a:cxnLst/>
            <a:rect l="l" t="t" r="r" b="b"/>
            <a:pathLst>
              <a:path w="10919" h="9109" extrusionOk="0">
                <a:moveTo>
                  <a:pt x="2917" y="310"/>
                </a:moveTo>
                <a:cubicBezTo>
                  <a:pt x="3119" y="310"/>
                  <a:pt x="3286" y="476"/>
                  <a:pt x="3286" y="679"/>
                </a:cubicBezTo>
                <a:lnTo>
                  <a:pt x="3286" y="1036"/>
                </a:lnTo>
                <a:cubicBezTo>
                  <a:pt x="3250" y="1322"/>
                  <a:pt x="3012" y="1560"/>
                  <a:pt x="2715" y="1560"/>
                </a:cubicBezTo>
                <a:cubicBezTo>
                  <a:pt x="2417" y="1560"/>
                  <a:pt x="2179" y="1322"/>
                  <a:pt x="2179" y="1024"/>
                </a:cubicBezTo>
                <a:lnTo>
                  <a:pt x="2179" y="679"/>
                </a:lnTo>
                <a:cubicBezTo>
                  <a:pt x="2179" y="476"/>
                  <a:pt x="2346" y="310"/>
                  <a:pt x="2560" y="310"/>
                </a:cubicBezTo>
                <a:close/>
                <a:moveTo>
                  <a:pt x="5715" y="310"/>
                </a:moveTo>
                <a:cubicBezTo>
                  <a:pt x="5917" y="310"/>
                  <a:pt x="6084" y="476"/>
                  <a:pt x="6084" y="679"/>
                </a:cubicBezTo>
                <a:lnTo>
                  <a:pt x="6084" y="1036"/>
                </a:lnTo>
                <a:cubicBezTo>
                  <a:pt x="6048" y="1322"/>
                  <a:pt x="5810" y="1560"/>
                  <a:pt x="5513" y="1560"/>
                </a:cubicBezTo>
                <a:cubicBezTo>
                  <a:pt x="5215" y="1560"/>
                  <a:pt x="4977" y="1322"/>
                  <a:pt x="4977" y="1024"/>
                </a:cubicBezTo>
                <a:lnTo>
                  <a:pt x="4977" y="679"/>
                </a:lnTo>
                <a:cubicBezTo>
                  <a:pt x="4977" y="476"/>
                  <a:pt x="5144" y="310"/>
                  <a:pt x="5358" y="310"/>
                </a:cubicBezTo>
                <a:close/>
                <a:moveTo>
                  <a:pt x="8513" y="310"/>
                </a:moveTo>
                <a:cubicBezTo>
                  <a:pt x="8715" y="310"/>
                  <a:pt x="8882" y="476"/>
                  <a:pt x="8882" y="679"/>
                </a:cubicBezTo>
                <a:lnTo>
                  <a:pt x="8882" y="1036"/>
                </a:lnTo>
                <a:cubicBezTo>
                  <a:pt x="8846" y="1322"/>
                  <a:pt x="8608" y="1560"/>
                  <a:pt x="8311" y="1560"/>
                </a:cubicBezTo>
                <a:cubicBezTo>
                  <a:pt x="8013" y="1560"/>
                  <a:pt x="7775" y="1322"/>
                  <a:pt x="7775" y="1024"/>
                </a:cubicBezTo>
                <a:lnTo>
                  <a:pt x="7775" y="679"/>
                </a:lnTo>
                <a:cubicBezTo>
                  <a:pt x="7775" y="476"/>
                  <a:pt x="7941" y="310"/>
                  <a:pt x="8156" y="310"/>
                </a:cubicBezTo>
                <a:close/>
                <a:moveTo>
                  <a:pt x="2893" y="1881"/>
                </a:moveTo>
                <a:lnTo>
                  <a:pt x="2893" y="1977"/>
                </a:lnTo>
                <a:cubicBezTo>
                  <a:pt x="2893" y="2036"/>
                  <a:pt x="2905" y="2096"/>
                  <a:pt x="2941" y="2143"/>
                </a:cubicBezTo>
                <a:lnTo>
                  <a:pt x="2715" y="2358"/>
                </a:lnTo>
                <a:lnTo>
                  <a:pt x="2691" y="2358"/>
                </a:lnTo>
                <a:lnTo>
                  <a:pt x="2465" y="2143"/>
                </a:lnTo>
                <a:cubicBezTo>
                  <a:pt x="2500" y="2096"/>
                  <a:pt x="2512" y="2036"/>
                  <a:pt x="2512" y="1977"/>
                </a:cubicBezTo>
                <a:lnTo>
                  <a:pt x="2512" y="1881"/>
                </a:lnTo>
                <a:close/>
                <a:moveTo>
                  <a:pt x="5715" y="1881"/>
                </a:moveTo>
                <a:lnTo>
                  <a:pt x="5715" y="1977"/>
                </a:lnTo>
                <a:cubicBezTo>
                  <a:pt x="5715" y="2036"/>
                  <a:pt x="5727" y="2096"/>
                  <a:pt x="5751" y="2143"/>
                </a:cubicBezTo>
                <a:lnTo>
                  <a:pt x="5536" y="2358"/>
                </a:lnTo>
                <a:lnTo>
                  <a:pt x="5501" y="2358"/>
                </a:lnTo>
                <a:lnTo>
                  <a:pt x="5274" y="2143"/>
                </a:lnTo>
                <a:cubicBezTo>
                  <a:pt x="5310" y="2096"/>
                  <a:pt x="5322" y="2036"/>
                  <a:pt x="5322" y="1977"/>
                </a:cubicBezTo>
                <a:lnTo>
                  <a:pt x="5322" y="1881"/>
                </a:lnTo>
                <a:close/>
                <a:moveTo>
                  <a:pt x="8501" y="1881"/>
                </a:moveTo>
                <a:lnTo>
                  <a:pt x="8501" y="1977"/>
                </a:lnTo>
                <a:cubicBezTo>
                  <a:pt x="8501" y="2036"/>
                  <a:pt x="8525" y="2096"/>
                  <a:pt x="8549" y="2143"/>
                </a:cubicBezTo>
                <a:lnTo>
                  <a:pt x="8334" y="2358"/>
                </a:lnTo>
                <a:lnTo>
                  <a:pt x="8299" y="2358"/>
                </a:lnTo>
                <a:lnTo>
                  <a:pt x="8072" y="2143"/>
                </a:lnTo>
                <a:cubicBezTo>
                  <a:pt x="8108" y="2096"/>
                  <a:pt x="8120" y="2036"/>
                  <a:pt x="8120" y="1977"/>
                </a:cubicBezTo>
                <a:lnTo>
                  <a:pt x="8120" y="1881"/>
                </a:lnTo>
                <a:close/>
                <a:moveTo>
                  <a:pt x="9906" y="3286"/>
                </a:moveTo>
                <a:cubicBezTo>
                  <a:pt x="10120" y="3286"/>
                  <a:pt x="10275" y="3453"/>
                  <a:pt x="10275" y="3655"/>
                </a:cubicBezTo>
                <a:lnTo>
                  <a:pt x="10275" y="4012"/>
                </a:lnTo>
                <a:cubicBezTo>
                  <a:pt x="10263" y="4298"/>
                  <a:pt x="10013" y="4536"/>
                  <a:pt x="9716" y="4536"/>
                </a:cubicBezTo>
                <a:cubicBezTo>
                  <a:pt x="9418" y="4536"/>
                  <a:pt x="9180" y="4298"/>
                  <a:pt x="9180" y="4001"/>
                </a:cubicBezTo>
                <a:lnTo>
                  <a:pt x="9180" y="3655"/>
                </a:lnTo>
                <a:cubicBezTo>
                  <a:pt x="9180" y="3453"/>
                  <a:pt x="9346" y="3286"/>
                  <a:pt x="9549" y="3286"/>
                </a:cubicBezTo>
                <a:close/>
                <a:moveTo>
                  <a:pt x="1512" y="3286"/>
                </a:moveTo>
                <a:cubicBezTo>
                  <a:pt x="1691" y="3286"/>
                  <a:pt x="1857" y="3453"/>
                  <a:pt x="1857" y="3655"/>
                </a:cubicBezTo>
                <a:lnTo>
                  <a:pt x="1857" y="4012"/>
                </a:lnTo>
                <a:cubicBezTo>
                  <a:pt x="1857" y="4310"/>
                  <a:pt x="1619" y="4548"/>
                  <a:pt x="1322" y="4548"/>
                </a:cubicBezTo>
                <a:cubicBezTo>
                  <a:pt x="1024" y="4548"/>
                  <a:pt x="786" y="4310"/>
                  <a:pt x="786" y="4012"/>
                </a:cubicBezTo>
                <a:lnTo>
                  <a:pt x="786" y="3655"/>
                </a:lnTo>
                <a:cubicBezTo>
                  <a:pt x="786" y="3453"/>
                  <a:pt x="953" y="3286"/>
                  <a:pt x="1155" y="3286"/>
                </a:cubicBezTo>
                <a:close/>
                <a:moveTo>
                  <a:pt x="4310" y="3286"/>
                </a:moveTo>
                <a:cubicBezTo>
                  <a:pt x="4489" y="3286"/>
                  <a:pt x="4655" y="3453"/>
                  <a:pt x="4655" y="3655"/>
                </a:cubicBezTo>
                <a:lnTo>
                  <a:pt x="4655" y="4012"/>
                </a:lnTo>
                <a:cubicBezTo>
                  <a:pt x="4655" y="4310"/>
                  <a:pt x="4417" y="4548"/>
                  <a:pt x="4120" y="4548"/>
                </a:cubicBezTo>
                <a:cubicBezTo>
                  <a:pt x="3822" y="4548"/>
                  <a:pt x="3584" y="4310"/>
                  <a:pt x="3584" y="4012"/>
                </a:cubicBezTo>
                <a:lnTo>
                  <a:pt x="3584" y="3655"/>
                </a:lnTo>
                <a:cubicBezTo>
                  <a:pt x="3584" y="3453"/>
                  <a:pt x="3750" y="3286"/>
                  <a:pt x="3953" y="3286"/>
                </a:cubicBezTo>
                <a:close/>
                <a:moveTo>
                  <a:pt x="7108" y="3286"/>
                </a:moveTo>
                <a:cubicBezTo>
                  <a:pt x="7287" y="3286"/>
                  <a:pt x="7453" y="3453"/>
                  <a:pt x="7453" y="3655"/>
                </a:cubicBezTo>
                <a:lnTo>
                  <a:pt x="7453" y="4012"/>
                </a:lnTo>
                <a:cubicBezTo>
                  <a:pt x="7453" y="4310"/>
                  <a:pt x="7215" y="4548"/>
                  <a:pt x="6918" y="4548"/>
                </a:cubicBezTo>
                <a:cubicBezTo>
                  <a:pt x="6620" y="4548"/>
                  <a:pt x="6382" y="4310"/>
                  <a:pt x="6382" y="4012"/>
                </a:cubicBezTo>
                <a:lnTo>
                  <a:pt x="6382" y="3655"/>
                </a:lnTo>
                <a:cubicBezTo>
                  <a:pt x="6382" y="3453"/>
                  <a:pt x="6548" y="3286"/>
                  <a:pt x="6751" y="3286"/>
                </a:cubicBezTo>
                <a:close/>
                <a:moveTo>
                  <a:pt x="1500" y="4858"/>
                </a:moveTo>
                <a:lnTo>
                  <a:pt x="1500" y="4953"/>
                </a:lnTo>
                <a:cubicBezTo>
                  <a:pt x="1500" y="5013"/>
                  <a:pt x="1512" y="5072"/>
                  <a:pt x="1548" y="5120"/>
                </a:cubicBezTo>
                <a:lnTo>
                  <a:pt x="1322" y="5334"/>
                </a:lnTo>
                <a:lnTo>
                  <a:pt x="1286" y="5334"/>
                </a:lnTo>
                <a:lnTo>
                  <a:pt x="1072" y="5120"/>
                </a:lnTo>
                <a:cubicBezTo>
                  <a:pt x="1095" y="5072"/>
                  <a:pt x="1107" y="5013"/>
                  <a:pt x="1107" y="4953"/>
                </a:cubicBezTo>
                <a:lnTo>
                  <a:pt x="1107" y="4858"/>
                </a:lnTo>
                <a:close/>
                <a:moveTo>
                  <a:pt x="4298" y="4858"/>
                </a:moveTo>
                <a:lnTo>
                  <a:pt x="4298" y="4953"/>
                </a:lnTo>
                <a:cubicBezTo>
                  <a:pt x="4298" y="5013"/>
                  <a:pt x="4310" y="5072"/>
                  <a:pt x="4334" y="5120"/>
                </a:cubicBezTo>
                <a:lnTo>
                  <a:pt x="4120" y="5334"/>
                </a:lnTo>
                <a:lnTo>
                  <a:pt x="4084" y="5334"/>
                </a:lnTo>
                <a:lnTo>
                  <a:pt x="3870" y="5120"/>
                </a:lnTo>
                <a:cubicBezTo>
                  <a:pt x="3893" y="5072"/>
                  <a:pt x="3905" y="5013"/>
                  <a:pt x="3905" y="4953"/>
                </a:cubicBezTo>
                <a:lnTo>
                  <a:pt x="3905" y="4858"/>
                </a:lnTo>
                <a:close/>
                <a:moveTo>
                  <a:pt x="7108" y="4858"/>
                </a:moveTo>
                <a:lnTo>
                  <a:pt x="7108" y="4953"/>
                </a:lnTo>
                <a:cubicBezTo>
                  <a:pt x="7108" y="5013"/>
                  <a:pt x="7120" y="5072"/>
                  <a:pt x="7156" y="5120"/>
                </a:cubicBezTo>
                <a:lnTo>
                  <a:pt x="6929" y="5334"/>
                </a:lnTo>
                <a:lnTo>
                  <a:pt x="6906" y="5334"/>
                </a:lnTo>
                <a:lnTo>
                  <a:pt x="6679" y="5120"/>
                </a:lnTo>
                <a:cubicBezTo>
                  <a:pt x="6703" y="5072"/>
                  <a:pt x="6715" y="5013"/>
                  <a:pt x="6715" y="4953"/>
                </a:cubicBezTo>
                <a:lnTo>
                  <a:pt x="6715" y="4858"/>
                </a:lnTo>
                <a:close/>
                <a:moveTo>
                  <a:pt x="9906" y="4858"/>
                </a:moveTo>
                <a:lnTo>
                  <a:pt x="9906" y="4953"/>
                </a:lnTo>
                <a:cubicBezTo>
                  <a:pt x="9906" y="5013"/>
                  <a:pt x="9918" y="5072"/>
                  <a:pt x="9954" y="5120"/>
                </a:cubicBezTo>
                <a:lnTo>
                  <a:pt x="9727" y="5334"/>
                </a:lnTo>
                <a:lnTo>
                  <a:pt x="9704" y="5334"/>
                </a:lnTo>
                <a:lnTo>
                  <a:pt x="9477" y="5120"/>
                </a:lnTo>
                <a:cubicBezTo>
                  <a:pt x="9501" y="5072"/>
                  <a:pt x="9525" y="5013"/>
                  <a:pt x="9525" y="4953"/>
                </a:cubicBezTo>
                <a:lnTo>
                  <a:pt x="9525" y="4858"/>
                </a:lnTo>
                <a:close/>
                <a:moveTo>
                  <a:pt x="2453" y="0"/>
                </a:moveTo>
                <a:cubicBezTo>
                  <a:pt x="2084" y="0"/>
                  <a:pt x="1762" y="310"/>
                  <a:pt x="1762" y="679"/>
                </a:cubicBezTo>
                <a:lnTo>
                  <a:pt x="1762" y="1036"/>
                </a:lnTo>
                <a:cubicBezTo>
                  <a:pt x="1762" y="1322"/>
                  <a:pt x="1905" y="1572"/>
                  <a:pt x="2119" y="1726"/>
                </a:cubicBezTo>
                <a:lnTo>
                  <a:pt x="2119" y="1977"/>
                </a:lnTo>
                <a:cubicBezTo>
                  <a:pt x="2119" y="1977"/>
                  <a:pt x="2119" y="1988"/>
                  <a:pt x="2107" y="1988"/>
                </a:cubicBezTo>
                <a:lnTo>
                  <a:pt x="1691" y="2203"/>
                </a:lnTo>
                <a:cubicBezTo>
                  <a:pt x="1512" y="2286"/>
                  <a:pt x="1405" y="2465"/>
                  <a:pt x="1405" y="2655"/>
                </a:cubicBezTo>
                <a:lnTo>
                  <a:pt x="1405" y="2989"/>
                </a:lnTo>
                <a:lnTo>
                  <a:pt x="1036" y="2989"/>
                </a:lnTo>
                <a:cubicBezTo>
                  <a:pt x="667" y="2989"/>
                  <a:pt x="357" y="3298"/>
                  <a:pt x="357" y="3667"/>
                </a:cubicBezTo>
                <a:lnTo>
                  <a:pt x="357" y="4024"/>
                </a:lnTo>
                <a:cubicBezTo>
                  <a:pt x="357" y="4310"/>
                  <a:pt x="488" y="4560"/>
                  <a:pt x="714" y="4715"/>
                </a:cubicBezTo>
                <a:lnTo>
                  <a:pt x="714" y="4965"/>
                </a:lnTo>
                <a:cubicBezTo>
                  <a:pt x="714" y="4965"/>
                  <a:pt x="714" y="4977"/>
                  <a:pt x="691" y="4977"/>
                </a:cubicBezTo>
                <a:lnTo>
                  <a:pt x="274" y="5191"/>
                </a:lnTo>
                <a:cubicBezTo>
                  <a:pt x="95" y="5275"/>
                  <a:pt x="0" y="5453"/>
                  <a:pt x="0" y="5656"/>
                </a:cubicBezTo>
                <a:lnTo>
                  <a:pt x="0" y="7382"/>
                </a:lnTo>
                <a:cubicBezTo>
                  <a:pt x="0" y="7513"/>
                  <a:pt x="36" y="7644"/>
                  <a:pt x="119" y="7751"/>
                </a:cubicBezTo>
                <a:lnTo>
                  <a:pt x="298" y="8013"/>
                </a:lnTo>
                <a:cubicBezTo>
                  <a:pt x="333" y="8073"/>
                  <a:pt x="357" y="8156"/>
                  <a:pt x="357" y="8227"/>
                </a:cubicBezTo>
                <a:lnTo>
                  <a:pt x="357" y="8942"/>
                </a:lnTo>
                <a:cubicBezTo>
                  <a:pt x="357" y="9025"/>
                  <a:pt x="429" y="9108"/>
                  <a:pt x="512" y="9108"/>
                </a:cubicBezTo>
                <a:cubicBezTo>
                  <a:pt x="607" y="9108"/>
                  <a:pt x="679" y="9025"/>
                  <a:pt x="679" y="8942"/>
                </a:cubicBezTo>
                <a:lnTo>
                  <a:pt x="679" y="8227"/>
                </a:lnTo>
                <a:cubicBezTo>
                  <a:pt x="679" y="8096"/>
                  <a:pt x="631" y="7953"/>
                  <a:pt x="560" y="7858"/>
                </a:cubicBezTo>
                <a:lnTo>
                  <a:pt x="381" y="7584"/>
                </a:lnTo>
                <a:cubicBezTo>
                  <a:pt x="333" y="7525"/>
                  <a:pt x="321" y="7453"/>
                  <a:pt x="321" y="7382"/>
                </a:cubicBezTo>
                <a:lnTo>
                  <a:pt x="321" y="5656"/>
                </a:lnTo>
                <a:cubicBezTo>
                  <a:pt x="321" y="5572"/>
                  <a:pt x="369" y="5513"/>
                  <a:pt x="429" y="5477"/>
                </a:cubicBezTo>
                <a:lnTo>
                  <a:pt x="714" y="5322"/>
                </a:lnTo>
                <a:lnTo>
                  <a:pt x="976" y="5596"/>
                </a:lnTo>
                <a:cubicBezTo>
                  <a:pt x="1036" y="5656"/>
                  <a:pt x="1131" y="5691"/>
                  <a:pt x="1214" y="5691"/>
                </a:cubicBezTo>
                <a:cubicBezTo>
                  <a:pt x="1310" y="5691"/>
                  <a:pt x="1381" y="5667"/>
                  <a:pt x="1453" y="5596"/>
                </a:cubicBezTo>
                <a:lnTo>
                  <a:pt x="1726" y="5322"/>
                </a:lnTo>
                <a:lnTo>
                  <a:pt x="2000" y="5477"/>
                </a:lnTo>
                <a:cubicBezTo>
                  <a:pt x="2060" y="5501"/>
                  <a:pt x="2107" y="5572"/>
                  <a:pt x="2107" y="5656"/>
                </a:cubicBezTo>
                <a:lnTo>
                  <a:pt x="2107" y="7382"/>
                </a:lnTo>
                <a:cubicBezTo>
                  <a:pt x="2107" y="7453"/>
                  <a:pt x="2096" y="7525"/>
                  <a:pt x="2048" y="7584"/>
                </a:cubicBezTo>
                <a:lnTo>
                  <a:pt x="1869" y="7858"/>
                </a:lnTo>
                <a:cubicBezTo>
                  <a:pt x="1798" y="7977"/>
                  <a:pt x="1750" y="8096"/>
                  <a:pt x="1750" y="8227"/>
                </a:cubicBezTo>
                <a:lnTo>
                  <a:pt x="1750" y="8942"/>
                </a:lnTo>
                <a:cubicBezTo>
                  <a:pt x="1750" y="9025"/>
                  <a:pt x="1822" y="9108"/>
                  <a:pt x="1917" y="9108"/>
                </a:cubicBezTo>
                <a:cubicBezTo>
                  <a:pt x="2000" y="9108"/>
                  <a:pt x="2084" y="9025"/>
                  <a:pt x="2084" y="8942"/>
                </a:cubicBezTo>
                <a:lnTo>
                  <a:pt x="2084" y="8227"/>
                </a:lnTo>
                <a:cubicBezTo>
                  <a:pt x="2084" y="8156"/>
                  <a:pt x="2096" y="8073"/>
                  <a:pt x="2143" y="8013"/>
                </a:cubicBezTo>
                <a:lnTo>
                  <a:pt x="2322" y="7751"/>
                </a:lnTo>
                <a:cubicBezTo>
                  <a:pt x="2393" y="7632"/>
                  <a:pt x="2441" y="7513"/>
                  <a:pt x="2441" y="7382"/>
                </a:cubicBezTo>
                <a:lnTo>
                  <a:pt x="2441" y="5656"/>
                </a:lnTo>
                <a:cubicBezTo>
                  <a:pt x="2441" y="5453"/>
                  <a:pt x="2334" y="5275"/>
                  <a:pt x="2155" y="5191"/>
                </a:cubicBezTo>
                <a:lnTo>
                  <a:pt x="1738" y="4977"/>
                </a:lnTo>
                <a:lnTo>
                  <a:pt x="1726" y="4965"/>
                </a:lnTo>
                <a:lnTo>
                  <a:pt x="1726" y="4703"/>
                </a:lnTo>
                <a:cubicBezTo>
                  <a:pt x="1929" y="4536"/>
                  <a:pt x="2084" y="4298"/>
                  <a:pt x="2084" y="4012"/>
                </a:cubicBezTo>
                <a:lnTo>
                  <a:pt x="2084" y="3655"/>
                </a:lnTo>
                <a:cubicBezTo>
                  <a:pt x="2084" y="3405"/>
                  <a:pt x="1929" y="3179"/>
                  <a:pt x="1726" y="3060"/>
                </a:cubicBezTo>
                <a:lnTo>
                  <a:pt x="1726" y="2643"/>
                </a:lnTo>
                <a:cubicBezTo>
                  <a:pt x="1726" y="2572"/>
                  <a:pt x="1762" y="2512"/>
                  <a:pt x="1822" y="2465"/>
                </a:cubicBezTo>
                <a:lnTo>
                  <a:pt x="2107" y="2322"/>
                </a:lnTo>
                <a:lnTo>
                  <a:pt x="2381" y="2584"/>
                </a:lnTo>
                <a:cubicBezTo>
                  <a:pt x="2441" y="2643"/>
                  <a:pt x="2524" y="2691"/>
                  <a:pt x="2619" y="2691"/>
                </a:cubicBezTo>
                <a:cubicBezTo>
                  <a:pt x="2703" y="2691"/>
                  <a:pt x="2774" y="2655"/>
                  <a:pt x="2858" y="2584"/>
                </a:cubicBezTo>
                <a:lnTo>
                  <a:pt x="3119" y="2322"/>
                </a:lnTo>
                <a:lnTo>
                  <a:pt x="3405" y="2465"/>
                </a:lnTo>
                <a:cubicBezTo>
                  <a:pt x="3465" y="2500"/>
                  <a:pt x="3512" y="2572"/>
                  <a:pt x="3512" y="2643"/>
                </a:cubicBezTo>
                <a:lnTo>
                  <a:pt x="3512" y="3060"/>
                </a:lnTo>
                <a:cubicBezTo>
                  <a:pt x="3298" y="3179"/>
                  <a:pt x="3155" y="3405"/>
                  <a:pt x="3155" y="3655"/>
                </a:cubicBezTo>
                <a:lnTo>
                  <a:pt x="3155" y="4012"/>
                </a:lnTo>
                <a:cubicBezTo>
                  <a:pt x="3155" y="4298"/>
                  <a:pt x="3286" y="4548"/>
                  <a:pt x="3512" y="4703"/>
                </a:cubicBezTo>
                <a:lnTo>
                  <a:pt x="3512" y="4953"/>
                </a:lnTo>
                <a:cubicBezTo>
                  <a:pt x="3512" y="4953"/>
                  <a:pt x="3512" y="4965"/>
                  <a:pt x="3489" y="4965"/>
                </a:cubicBezTo>
                <a:lnTo>
                  <a:pt x="3072" y="5179"/>
                </a:lnTo>
                <a:cubicBezTo>
                  <a:pt x="2893" y="5263"/>
                  <a:pt x="2798" y="5441"/>
                  <a:pt x="2798" y="5632"/>
                </a:cubicBezTo>
                <a:lnTo>
                  <a:pt x="2798" y="7358"/>
                </a:lnTo>
                <a:cubicBezTo>
                  <a:pt x="2798" y="7501"/>
                  <a:pt x="2834" y="7632"/>
                  <a:pt x="2917" y="7739"/>
                </a:cubicBezTo>
                <a:lnTo>
                  <a:pt x="3096" y="8001"/>
                </a:lnTo>
                <a:cubicBezTo>
                  <a:pt x="3131" y="8061"/>
                  <a:pt x="3155" y="8132"/>
                  <a:pt x="3155" y="8215"/>
                </a:cubicBezTo>
                <a:lnTo>
                  <a:pt x="3155" y="8930"/>
                </a:lnTo>
                <a:cubicBezTo>
                  <a:pt x="3155" y="9013"/>
                  <a:pt x="3227" y="9085"/>
                  <a:pt x="3310" y="9085"/>
                </a:cubicBezTo>
                <a:cubicBezTo>
                  <a:pt x="3405" y="9085"/>
                  <a:pt x="3477" y="9013"/>
                  <a:pt x="3477" y="8930"/>
                </a:cubicBezTo>
                <a:lnTo>
                  <a:pt x="3477" y="8215"/>
                </a:lnTo>
                <a:cubicBezTo>
                  <a:pt x="3477" y="8073"/>
                  <a:pt x="3429" y="7942"/>
                  <a:pt x="3358" y="7834"/>
                </a:cubicBezTo>
                <a:lnTo>
                  <a:pt x="3179" y="7572"/>
                </a:lnTo>
                <a:cubicBezTo>
                  <a:pt x="3131" y="7513"/>
                  <a:pt x="3119" y="7441"/>
                  <a:pt x="3119" y="7358"/>
                </a:cubicBezTo>
                <a:lnTo>
                  <a:pt x="3119" y="5632"/>
                </a:lnTo>
                <a:cubicBezTo>
                  <a:pt x="3119" y="5560"/>
                  <a:pt x="3167" y="5501"/>
                  <a:pt x="3227" y="5453"/>
                </a:cubicBezTo>
                <a:lnTo>
                  <a:pt x="3512" y="5310"/>
                </a:lnTo>
                <a:lnTo>
                  <a:pt x="3774" y="5572"/>
                </a:lnTo>
                <a:cubicBezTo>
                  <a:pt x="3834" y="5632"/>
                  <a:pt x="3929" y="5679"/>
                  <a:pt x="4012" y="5679"/>
                </a:cubicBezTo>
                <a:cubicBezTo>
                  <a:pt x="4108" y="5679"/>
                  <a:pt x="4179" y="5656"/>
                  <a:pt x="4251" y="5572"/>
                </a:cubicBezTo>
                <a:lnTo>
                  <a:pt x="4524" y="5310"/>
                </a:lnTo>
                <a:lnTo>
                  <a:pt x="4798" y="5453"/>
                </a:lnTo>
                <a:cubicBezTo>
                  <a:pt x="4858" y="5489"/>
                  <a:pt x="4905" y="5560"/>
                  <a:pt x="4905" y="5632"/>
                </a:cubicBezTo>
                <a:lnTo>
                  <a:pt x="4905" y="7358"/>
                </a:lnTo>
                <a:cubicBezTo>
                  <a:pt x="4905" y="7441"/>
                  <a:pt x="4893" y="7513"/>
                  <a:pt x="4846" y="7572"/>
                </a:cubicBezTo>
                <a:lnTo>
                  <a:pt x="4667" y="7834"/>
                </a:lnTo>
                <a:cubicBezTo>
                  <a:pt x="4596" y="7953"/>
                  <a:pt x="4548" y="8073"/>
                  <a:pt x="4548" y="8215"/>
                </a:cubicBezTo>
                <a:lnTo>
                  <a:pt x="4548" y="8930"/>
                </a:lnTo>
                <a:cubicBezTo>
                  <a:pt x="4548" y="9013"/>
                  <a:pt x="4620" y="9085"/>
                  <a:pt x="4715" y="9085"/>
                </a:cubicBezTo>
                <a:cubicBezTo>
                  <a:pt x="4798" y="9085"/>
                  <a:pt x="4882" y="9013"/>
                  <a:pt x="4882" y="8930"/>
                </a:cubicBezTo>
                <a:lnTo>
                  <a:pt x="4882" y="8215"/>
                </a:lnTo>
                <a:cubicBezTo>
                  <a:pt x="4882" y="8132"/>
                  <a:pt x="4893" y="8061"/>
                  <a:pt x="4941" y="8001"/>
                </a:cubicBezTo>
                <a:lnTo>
                  <a:pt x="5120" y="7739"/>
                </a:lnTo>
                <a:cubicBezTo>
                  <a:pt x="5191" y="7620"/>
                  <a:pt x="5239" y="7501"/>
                  <a:pt x="5239" y="7358"/>
                </a:cubicBezTo>
                <a:lnTo>
                  <a:pt x="5239" y="5632"/>
                </a:lnTo>
                <a:cubicBezTo>
                  <a:pt x="5239" y="5441"/>
                  <a:pt x="5132" y="5263"/>
                  <a:pt x="4953" y="5179"/>
                </a:cubicBezTo>
                <a:lnTo>
                  <a:pt x="4536" y="4965"/>
                </a:lnTo>
                <a:lnTo>
                  <a:pt x="4524" y="4953"/>
                </a:lnTo>
                <a:lnTo>
                  <a:pt x="4524" y="4703"/>
                </a:lnTo>
                <a:cubicBezTo>
                  <a:pt x="4727" y="4536"/>
                  <a:pt x="4882" y="4298"/>
                  <a:pt x="4882" y="4012"/>
                </a:cubicBezTo>
                <a:lnTo>
                  <a:pt x="4882" y="3655"/>
                </a:lnTo>
                <a:cubicBezTo>
                  <a:pt x="4882" y="3405"/>
                  <a:pt x="4727" y="3179"/>
                  <a:pt x="4524" y="3060"/>
                </a:cubicBezTo>
                <a:lnTo>
                  <a:pt x="4524" y="2643"/>
                </a:lnTo>
                <a:cubicBezTo>
                  <a:pt x="4524" y="2572"/>
                  <a:pt x="4560" y="2512"/>
                  <a:pt x="4620" y="2465"/>
                </a:cubicBezTo>
                <a:lnTo>
                  <a:pt x="4905" y="2322"/>
                </a:lnTo>
                <a:lnTo>
                  <a:pt x="5179" y="2584"/>
                </a:lnTo>
                <a:cubicBezTo>
                  <a:pt x="5239" y="2643"/>
                  <a:pt x="5322" y="2691"/>
                  <a:pt x="5417" y="2691"/>
                </a:cubicBezTo>
                <a:cubicBezTo>
                  <a:pt x="5501" y="2691"/>
                  <a:pt x="5572" y="2655"/>
                  <a:pt x="5655" y="2584"/>
                </a:cubicBezTo>
                <a:lnTo>
                  <a:pt x="5917" y="2322"/>
                </a:lnTo>
                <a:lnTo>
                  <a:pt x="6203" y="2465"/>
                </a:lnTo>
                <a:cubicBezTo>
                  <a:pt x="6263" y="2500"/>
                  <a:pt x="6310" y="2572"/>
                  <a:pt x="6310" y="2643"/>
                </a:cubicBezTo>
                <a:lnTo>
                  <a:pt x="6310" y="3060"/>
                </a:lnTo>
                <a:cubicBezTo>
                  <a:pt x="6096" y="3179"/>
                  <a:pt x="5953" y="3405"/>
                  <a:pt x="5953" y="3655"/>
                </a:cubicBezTo>
                <a:lnTo>
                  <a:pt x="5953" y="4012"/>
                </a:lnTo>
                <a:cubicBezTo>
                  <a:pt x="5953" y="4298"/>
                  <a:pt x="6084" y="4548"/>
                  <a:pt x="6310" y="4703"/>
                </a:cubicBezTo>
                <a:lnTo>
                  <a:pt x="6310" y="4953"/>
                </a:lnTo>
                <a:cubicBezTo>
                  <a:pt x="6310" y="4953"/>
                  <a:pt x="6310" y="4965"/>
                  <a:pt x="6287" y="4965"/>
                </a:cubicBezTo>
                <a:lnTo>
                  <a:pt x="5870" y="5179"/>
                </a:lnTo>
                <a:cubicBezTo>
                  <a:pt x="5691" y="5263"/>
                  <a:pt x="5596" y="5441"/>
                  <a:pt x="5596" y="5632"/>
                </a:cubicBezTo>
                <a:lnTo>
                  <a:pt x="5596" y="7358"/>
                </a:lnTo>
                <a:cubicBezTo>
                  <a:pt x="5596" y="7501"/>
                  <a:pt x="5632" y="7632"/>
                  <a:pt x="5715" y="7739"/>
                </a:cubicBezTo>
                <a:lnTo>
                  <a:pt x="5894" y="8001"/>
                </a:lnTo>
                <a:cubicBezTo>
                  <a:pt x="5929" y="8061"/>
                  <a:pt x="5953" y="8132"/>
                  <a:pt x="5953" y="8215"/>
                </a:cubicBezTo>
                <a:lnTo>
                  <a:pt x="5953" y="8930"/>
                </a:lnTo>
                <a:cubicBezTo>
                  <a:pt x="5953" y="9013"/>
                  <a:pt x="6025" y="9085"/>
                  <a:pt x="6108" y="9085"/>
                </a:cubicBezTo>
                <a:cubicBezTo>
                  <a:pt x="6203" y="9085"/>
                  <a:pt x="6275" y="9013"/>
                  <a:pt x="6275" y="8930"/>
                </a:cubicBezTo>
                <a:lnTo>
                  <a:pt x="6275" y="8215"/>
                </a:lnTo>
                <a:cubicBezTo>
                  <a:pt x="6275" y="8073"/>
                  <a:pt x="6227" y="7942"/>
                  <a:pt x="6156" y="7834"/>
                </a:cubicBezTo>
                <a:lnTo>
                  <a:pt x="5977" y="7572"/>
                </a:lnTo>
                <a:cubicBezTo>
                  <a:pt x="5929" y="7513"/>
                  <a:pt x="5917" y="7441"/>
                  <a:pt x="5917" y="7358"/>
                </a:cubicBezTo>
                <a:lnTo>
                  <a:pt x="5917" y="5632"/>
                </a:lnTo>
                <a:cubicBezTo>
                  <a:pt x="5917" y="5560"/>
                  <a:pt x="5965" y="5501"/>
                  <a:pt x="6025" y="5453"/>
                </a:cubicBezTo>
                <a:lnTo>
                  <a:pt x="6310" y="5310"/>
                </a:lnTo>
                <a:lnTo>
                  <a:pt x="6572" y="5572"/>
                </a:lnTo>
                <a:cubicBezTo>
                  <a:pt x="6632" y="5632"/>
                  <a:pt x="6727" y="5679"/>
                  <a:pt x="6810" y="5679"/>
                </a:cubicBezTo>
                <a:cubicBezTo>
                  <a:pt x="6906" y="5679"/>
                  <a:pt x="6977" y="5656"/>
                  <a:pt x="7049" y="5572"/>
                </a:cubicBezTo>
                <a:lnTo>
                  <a:pt x="7322" y="5310"/>
                </a:lnTo>
                <a:lnTo>
                  <a:pt x="7596" y="5453"/>
                </a:lnTo>
                <a:cubicBezTo>
                  <a:pt x="7656" y="5489"/>
                  <a:pt x="7703" y="5560"/>
                  <a:pt x="7703" y="5632"/>
                </a:cubicBezTo>
                <a:lnTo>
                  <a:pt x="7703" y="7358"/>
                </a:lnTo>
                <a:cubicBezTo>
                  <a:pt x="7703" y="7441"/>
                  <a:pt x="7691" y="7513"/>
                  <a:pt x="7644" y="7572"/>
                </a:cubicBezTo>
                <a:lnTo>
                  <a:pt x="7465" y="7834"/>
                </a:lnTo>
                <a:cubicBezTo>
                  <a:pt x="7394" y="7953"/>
                  <a:pt x="7346" y="8073"/>
                  <a:pt x="7346" y="8215"/>
                </a:cubicBezTo>
                <a:lnTo>
                  <a:pt x="7346" y="8930"/>
                </a:lnTo>
                <a:cubicBezTo>
                  <a:pt x="7346" y="9013"/>
                  <a:pt x="7418" y="9085"/>
                  <a:pt x="7513" y="9085"/>
                </a:cubicBezTo>
                <a:cubicBezTo>
                  <a:pt x="7596" y="9085"/>
                  <a:pt x="7680" y="9013"/>
                  <a:pt x="7680" y="8930"/>
                </a:cubicBezTo>
                <a:lnTo>
                  <a:pt x="7680" y="8215"/>
                </a:lnTo>
                <a:cubicBezTo>
                  <a:pt x="7680" y="8132"/>
                  <a:pt x="7691" y="8061"/>
                  <a:pt x="7739" y="8001"/>
                </a:cubicBezTo>
                <a:lnTo>
                  <a:pt x="7918" y="7739"/>
                </a:lnTo>
                <a:cubicBezTo>
                  <a:pt x="7989" y="7620"/>
                  <a:pt x="8037" y="7501"/>
                  <a:pt x="8037" y="7358"/>
                </a:cubicBezTo>
                <a:lnTo>
                  <a:pt x="8037" y="5632"/>
                </a:lnTo>
                <a:cubicBezTo>
                  <a:pt x="8037" y="5441"/>
                  <a:pt x="7930" y="5263"/>
                  <a:pt x="7751" y="5179"/>
                </a:cubicBezTo>
                <a:lnTo>
                  <a:pt x="7334" y="4965"/>
                </a:lnTo>
                <a:lnTo>
                  <a:pt x="7322" y="4953"/>
                </a:lnTo>
                <a:lnTo>
                  <a:pt x="7322" y="4703"/>
                </a:lnTo>
                <a:cubicBezTo>
                  <a:pt x="7525" y="4536"/>
                  <a:pt x="7680" y="4298"/>
                  <a:pt x="7680" y="4012"/>
                </a:cubicBezTo>
                <a:lnTo>
                  <a:pt x="7680" y="3655"/>
                </a:lnTo>
                <a:cubicBezTo>
                  <a:pt x="7680" y="3405"/>
                  <a:pt x="7525" y="3179"/>
                  <a:pt x="7322" y="3060"/>
                </a:cubicBezTo>
                <a:lnTo>
                  <a:pt x="7322" y="2643"/>
                </a:lnTo>
                <a:cubicBezTo>
                  <a:pt x="7322" y="2572"/>
                  <a:pt x="7358" y="2512"/>
                  <a:pt x="7418" y="2465"/>
                </a:cubicBezTo>
                <a:lnTo>
                  <a:pt x="7703" y="2322"/>
                </a:lnTo>
                <a:lnTo>
                  <a:pt x="7977" y="2584"/>
                </a:lnTo>
                <a:cubicBezTo>
                  <a:pt x="8037" y="2643"/>
                  <a:pt x="8120" y="2691"/>
                  <a:pt x="8215" y="2691"/>
                </a:cubicBezTo>
                <a:cubicBezTo>
                  <a:pt x="8299" y="2691"/>
                  <a:pt x="8370" y="2655"/>
                  <a:pt x="8453" y="2584"/>
                </a:cubicBezTo>
                <a:lnTo>
                  <a:pt x="8715" y="2322"/>
                </a:lnTo>
                <a:lnTo>
                  <a:pt x="9001" y="2465"/>
                </a:lnTo>
                <a:cubicBezTo>
                  <a:pt x="9061" y="2500"/>
                  <a:pt x="9108" y="2572"/>
                  <a:pt x="9108" y="2643"/>
                </a:cubicBezTo>
                <a:lnTo>
                  <a:pt x="9108" y="3060"/>
                </a:lnTo>
                <a:cubicBezTo>
                  <a:pt x="8894" y="3179"/>
                  <a:pt x="8751" y="3405"/>
                  <a:pt x="8751" y="3655"/>
                </a:cubicBezTo>
                <a:lnTo>
                  <a:pt x="8751" y="4012"/>
                </a:lnTo>
                <a:cubicBezTo>
                  <a:pt x="8751" y="4298"/>
                  <a:pt x="8882" y="4548"/>
                  <a:pt x="9108" y="4703"/>
                </a:cubicBezTo>
                <a:lnTo>
                  <a:pt x="9108" y="4953"/>
                </a:lnTo>
                <a:cubicBezTo>
                  <a:pt x="9108" y="4953"/>
                  <a:pt x="9108" y="4965"/>
                  <a:pt x="9084" y="4965"/>
                </a:cubicBezTo>
                <a:lnTo>
                  <a:pt x="8668" y="5179"/>
                </a:lnTo>
                <a:cubicBezTo>
                  <a:pt x="8489" y="5263"/>
                  <a:pt x="8394" y="5441"/>
                  <a:pt x="8394" y="5632"/>
                </a:cubicBezTo>
                <a:lnTo>
                  <a:pt x="8394" y="7358"/>
                </a:lnTo>
                <a:cubicBezTo>
                  <a:pt x="8394" y="7501"/>
                  <a:pt x="8430" y="7632"/>
                  <a:pt x="8513" y="7739"/>
                </a:cubicBezTo>
                <a:lnTo>
                  <a:pt x="8692" y="8001"/>
                </a:lnTo>
                <a:cubicBezTo>
                  <a:pt x="8727" y="8061"/>
                  <a:pt x="8751" y="8132"/>
                  <a:pt x="8751" y="8215"/>
                </a:cubicBezTo>
                <a:lnTo>
                  <a:pt x="8751" y="8930"/>
                </a:lnTo>
                <a:cubicBezTo>
                  <a:pt x="8751" y="9013"/>
                  <a:pt x="8823" y="9085"/>
                  <a:pt x="8906" y="9085"/>
                </a:cubicBezTo>
                <a:cubicBezTo>
                  <a:pt x="9001" y="9085"/>
                  <a:pt x="9073" y="9013"/>
                  <a:pt x="9073" y="8930"/>
                </a:cubicBezTo>
                <a:lnTo>
                  <a:pt x="9073" y="8215"/>
                </a:lnTo>
                <a:cubicBezTo>
                  <a:pt x="9073" y="8073"/>
                  <a:pt x="9025" y="7942"/>
                  <a:pt x="8954" y="7834"/>
                </a:cubicBezTo>
                <a:lnTo>
                  <a:pt x="8775" y="7572"/>
                </a:lnTo>
                <a:cubicBezTo>
                  <a:pt x="8727" y="7513"/>
                  <a:pt x="8715" y="7441"/>
                  <a:pt x="8715" y="7358"/>
                </a:cubicBezTo>
                <a:lnTo>
                  <a:pt x="8715" y="5632"/>
                </a:lnTo>
                <a:cubicBezTo>
                  <a:pt x="8715" y="5560"/>
                  <a:pt x="8763" y="5501"/>
                  <a:pt x="8823" y="5453"/>
                </a:cubicBezTo>
                <a:lnTo>
                  <a:pt x="9108" y="5310"/>
                </a:lnTo>
                <a:lnTo>
                  <a:pt x="9370" y="5572"/>
                </a:lnTo>
                <a:cubicBezTo>
                  <a:pt x="9430" y="5632"/>
                  <a:pt x="9525" y="5679"/>
                  <a:pt x="9608" y="5679"/>
                </a:cubicBezTo>
                <a:cubicBezTo>
                  <a:pt x="9704" y="5679"/>
                  <a:pt x="9775" y="5656"/>
                  <a:pt x="9846" y="5572"/>
                </a:cubicBezTo>
                <a:lnTo>
                  <a:pt x="10120" y="5310"/>
                </a:lnTo>
                <a:lnTo>
                  <a:pt x="10394" y="5453"/>
                </a:lnTo>
                <a:cubicBezTo>
                  <a:pt x="10454" y="5489"/>
                  <a:pt x="10501" y="5560"/>
                  <a:pt x="10501" y="5632"/>
                </a:cubicBezTo>
                <a:lnTo>
                  <a:pt x="10501" y="7358"/>
                </a:lnTo>
                <a:cubicBezTo>
                  <a:pt x="10501" y="7441"/>
                  <a:pt x="10489" y="7513"/>
                  <a:pt x="10442" y="7572"/>
                </a:cubicBezTo>
                <a:lnTo>
                  <a:pt x="10263" y="7834"/>
                </a:lnTo>
                <a:cubicBezTo>
                  <a:pt x="10192" y="7953"/>
                  <a:pt x="10144" y="8073"/>
                  <a:pt x="10144" y="8215"/>
                </a:cubicBezTo>
                <a:lnTo>
                  <a:pt x="10144" y="8930"/>
                </a:lnTo>
                <a:cubicBezTo>
                  <a:pt x="10144" y="9013"/>
                  <a:pt x="10216" y="9085"/>
                  <a:pt x="10311" y="9085"/>
                </a:cubicBezTo>
                <a:cubicBezTo>
                  <a:pt x="10394" y="9085"/>
                  <a:pt x="10478" y="9013"/>
                  <a:pt x="10478" y="8930"/>
                </a:cubicBezTo>
                <a:lnTo>
                  <a:pt x="10478" y="8215"/>
                </a:lnTo>
                <a:cubicBezTo>
                  <a:pt x="10478" y="8132"/>
                  <a:pt x="10489" y="8061"/>
                  <a:pt x="10537" y="8001"/>
                </a:cubicBezTo>
                <a:lnTo>
                  <a:pt x="10716" y="7739"/>
                </a:lnTo>
                <a:cubicBezTo>
                  <a:pt x="10787" y="7620"/>
                  <a:pt x="10835" y="7501"/>
                  <a:pt x="10835" y="7358"/>
                </a:cubicBezTo>
                <a:lnTo>
                  <a:pt x="10835" y="5632"/>
                </a:lnTo>
                <a:cubicBezTo>
                  <a:pt x="10918" y="5429"/>
                  <a:pt x="10811" y="5251"/>
                  <a:pt x="10632" y="5155"/>
                </a:cubicBezTo>
                <a:lnTo>
                  <a:pt x="10216" y="4953"/>
                </a:lnTo>
                <a:lnTo>
                  <a:pt x="10204" y="4941"/>
                </a:lnTo>
                <a:lnTo>
                  <a:pt x="10204" y="4703"/>
                </a:lnTo>
                <a:cubicBezTo>
                  <a:pt x="10418" y="4536"/>
                  <a:pt x="10561" y="4298"/>
                  <a:pt x="10561" y="4012"/>
                </a:cubicBezTo>
                <a:lnTo>
                  <a:pt x="10561" y="3655"/>
                </a:lnTo>
                <a:cubicBezTo>
                  <a:pt x="10561" y="3286"/>
                  <a:pt x="10251" y="2977"/>
                  <a:pt x="9882" y="2977"/>
                </a:cubicBezTo>
                <a:lnTo>
                  <a:pt x="9501" y="2977"/>
                </a:lnTo>
                <a:lnTo>
                  <a:pt x="9501" y="2643"/>
                </a:lnTo>
                <a:cubicBezTo>
                  <a:pt x="9501" y="2453"/>
                  <a:pt x="9406" y="2274"/>
                  <a:pt x="9227" y="2179"/>
                </a:cubicBezTo>
                <a:lnTo>
                  <a:pt x="8811" y="1977"/>
                </a:lnTo>
                <a:lnTo>
                  <a:pt x="8787" y="1953"/>
                </a:lnTo>
                <a:lnTo>
                  <a:pt x="8787" y="1726"/>
                </a:lnTo>
                <a:cubicBezTo>
                  <a:pt x="9001" y="1560"/>
                  <a:pt x="9144" y="1322"/>
                  <a:pt x="9144" y="1036"/>
                </a:cubicBezTo>
                <a:lnTo>
                  <a:pt x="9144" y="679"/>
                </a:lnTo>
                <a:cubicBezTo>
                  <a:pt x="9144" y="310"/>
                  <a:pt x="8834" y="0"/>
                  <a:pt x="8465" y="0"/>
                </a:cubicBezTo>
                <a:lnTo>
                  <a:pt x="8108" y="0"/>
                </a:lnTo>
                <a:cubicBezTo>
                  <a:pt x="7739" y="0"/>
                  <a:pt x="7418" y="310"/>
                  <a:pt x="7418" y="679"/>
                </a:cubicBezTo>
                <a:lnTo>
                  <a:pt x="7418" y="1036"/>
                </a:lnTo>
                <a:cubicBezTo>
                  <a:pt x="7418" y="1322"/>
                  <a:pt x="7560" y="1572"/>
                  <a:pt x="7775" y="1726"/>
                </a:cubicBezTo>
                <a:lnTo>
                  <a:pt x="7775" y="1977"/>
                </a:lnTo>
                <a:cubicBezTo>
                  <a:pt x="7775" y="1977"/>
                  <a:pt x="7775" y="1988"/>
                  <a:pt x="7763" y="1988"/>
                </a:cubicBezTo>
                <a:lnTo>
                  <a:pt x="7346" y="2203"/>
                </a:lnTo>
                <a:cubicBezTo>
                  <a:pt x="7168" y="2286"/>
                  <a:pt x="7060" y="2465"/>
                  <a:pt x="7060" y="2655"/>
                </a:cubicBezTo>
                <a:lnTo>
                  <a:pt x="7060" y="2989"/>
                </a:lnTo>
                <a:lnTo>
                  <a:pt x="6679" y="2989"/>
                </a:lnTo>
                <a:lnTo>
                  <a:pt x="6679" y="2655"/>
                </a:lnTo>
                <a:cubicBezTo>
                  <a:pt x="6679" y="2465"/>
                  <a:pt x="6572" y="2286"/>
                  <a:pt x="6394" y="2203"/>
                </a:cubicBezTo>
                <a:lnTo>
                  <a:pt x="5977" y="1988"/>
                </a:lnTo>
                <a:lnTo>
                  <a:pt x="5965" y="1977"/>
                </a:lnTo>
                <a:lnTo>
                  <a:pt x="5965" y="1726"/>
                </a:lnTo>
                <a:cubicBezTo>
                  <a:pt x="6167" y="1560"/>
                  <a:pt x="6322" y="1322"/>
                  <a:pt x="6322" y="1036"/>
                </a:cubicBezTo>
                <a:lnTo>
                  <a:pt x="6322" y="679"/>
                </a:lnTo>
                <a:cubicBezTo>
                  <a:pt x="6322" y="310"/>
                  <a:pt x="6013" y="0"/>
                  <a:pt x="5632" y="0"/>
                </a:cubicBezTo>
                <a:lnTo>
                  <a:pt x="5274" y="0"/>
                </a:lnTo>
                <a:cubicBezTo>
                  <a:pt x="4905" y="0"/>
                  <a:pt x="4596" y="310"/>
                  <a:pt x="4596" y="679"/>
                </a:cubicBezTo>
                <a:lnTo>
                  <a:pt x="4596" y="1036"/>
                </a:lnTo>
                <a:cubicBezTo>
                  <a:pt x="4596" y="1322"/>
                  <a:pt x="4727" y="1572"/>
                  <a:pt x="4953" y="1726"/>
                </a:cubicBezTo>
                <a:lnTo>
                  <a:pt x="4953" y="1977"/>
                </a:lnTo>
                <a:cubicBezTo>
                  <a:pt x="4953" y="1977"/>
                  <a:pt x="4953" y="1988"/>
                  <a:pt x="4941" y="1988"/>
                </a:cubicBezTo>
                <a:lnTo>
                  <a:pt x="4524" y="2203"/>
                </a:lnTo>
                <a:cubicBezTo>
                  <a:pt x="4346" y="2286"/>
                  <a:pt x="4239" y="2465"/>
                  <a:pt x="4239" y="2655"/>
                </a:cubicBezTo>
                <a:lnTo>
                  <a:pt x="4239" y="2989"/>
                </a:lnTo>
                <a:lnTo>
                  <a:pt x="3846" y="2989"/>
                </a:lnTo>
                <a:lnTo>
                  <a:pt x="3846" y="2655"/>
                </a:lnTo>
                <a:cubicBezTo>
                  <a:pt x="3846" y="2465"/>
                  <a:pt x="3750" y="2286"/>
                  <a:pt x="3572" y="2203"/>
                </a:cubicBezTo>
                <a:lnTo>
                  <a:pt x="3155" y="1988"/>
                </a:lnTo>
                <a:lnTo>
                  <a:pt x="3131" y="1977"/>
                </a:lnTo>
                <a:lnTo>
                  <a:pt x="3131" y="1726"/>
                </a:lnTo>
                <a:cubicBezTo>
                  <a:pt x="3346" y="1560"/>
                  <a:pt x="3489" y="1322"/>
                  <a:pt x="3489" y="1036"/>
                </a:cubicBezTo>
                <a:lnTo>
                  <a:pt x="3489" y="679"/>
                </a:lnTo>
                <a:cubicBezTo>
                  <a:pt x="3489" y="310"/>
                  <a:pt x="3179" y="0"/>
                  <a:pt x="281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15" name="Google Shape;11315;p60"/>
          <p:cNvGrpSpPr/>
          <p:nvPr/>
        </p:nvGrpSpPr>
        <p:grpSpPr>
          <a:xfrm>
            <a:off x="903530" y="3806125"/>
            <a:ext cx="264550" cy="353222"/>
            <a:chOff x="903530" y="3806125"/>
            <a:chExt cx="264550" cy="353222"/>
          </a:xfrm>
        </p:grpSpPr>
        <p:sp>
          <p:nvSpPr>
            <p:cNvPr id="11316" name="Google Shape;11316;p60"/>
            <p:cNvSpPr/>
            <p:nvPr/>
          </p:nvSpPr>
          <p:spPr>
            <a:xfrm>
              <a:off x="926637" y="3839321"/>
              <a:ext cx="173237" cy="162002"/>
            </a:xfrm>
            <a:custGeom>
              <a:avLst/>
              <a:gdLst/>
              <a:ahLst/>
              <a:cxnLst/>
              <a:rect l="l" t="t" r="r" b="b"/>
              <a:pathLst>
                <a:path w="5443" h="5090" extrusionOk="0">
                  <a:moveTo>
                    <a:pt x="3418" y="1"/>
                  </a:moveTo>
                  <a:cubicBezTo>
                    <a:pt x="2623" y="1"/>
                    <a:pt x="1831" y="307"/>
                    <a:pt x="1227" y="911"/>
                  </a:cubicBezTo>
                  <a:cubicBezTo>
                    <a:pt x="108" y="2030"/>
                    <a:pt x="1" y="3804"/>
                    <a:pt x="989" y="5030"/>
                  </a:cubicBezTo>
                  <a:cubicBezTo>
                    <a:pt x="1013" y="5078"/>
                    <a:pt x="1061" y="5090"/>
                    <a:pt x="1120" y="5090"/>
                  </a:cubicBezTo>
                  <a:cubicBezTo>
                    <a:pt x="1156" y="5090"/>
                    <a:pt x="1192" y="5078"/>
                    <a:pt x="1227" y="5066"/>
                  </a:cubicBezTo>
                  <a:cubicBezTo>
                    <a:pt x="1299" y="5006"/>
                    <a:pt x="1311" y="4899"/>
                    <a:pt x="1251" y="4840"/>
                  </a:cubicBezTo>
                  <a:cubicBezTo>
                    <a:pt x="382" y="3744"/>
                    <a:pt x="477" y="2149"/>
                    <a:pt x="1477" y="1149"/>
                  </a:cubicBezTo>
                  <a:cubicBezTo>
                    <a:pt x="2019" y="607"/>
                    <a:pt x="2735" y="334"/>
                    <a:pt x="3452" y="334"/>
                  </a:cubicBezTo>
                  <a:cubicBezTo>
                    <a:pt x="4059" y="334"/>
                    <a:pt x="4666" y="530"/>
                    <a:pt x="5168" y="923"/>
                  </a:cubicBezTo>
                  <a:cubicBezTo>
                    <a:pt x="5199" y="948"/>
                    <a:pt x="5237" y="961"/>
                    <a:pt x="5273" y="961"/>
                  </a:cubicBezTo>
                  <a:cubicBezTo>
                    <a:pt x="5321" y="961"/>
                    <a:pt x="5367" y="939"/>
                    <a:pt x="5394" y="899"/>
                  </a:cubicBezTo>
                  <a:cubicBezTo>
                    <a:pt x="5442" y="827"/>
                    <a:pt x="5418" y="720"/>
                    <a:pt x="5347" y="672"/>
                  </a:cubicBezTo>
                  <a:cubicBezTo>
                    <a:pt x="4777" y="223"/>
                    <a:pt x="4096" y="1"/>
                    <a:pt x="3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7" name="Google Shape;11317;p60"/>
            <p:cNvSpPr/>
            <p:nvPr/>
          </p:nvSpPr>
          <p:spPr>
            <a:xfrm>
              <a:off x="903530" y="3806125"/>
              <a:ext cx="264550" cy="353222"/>
            </a:xfrm>
            <a:custGeom>
              <a:avLst/>
              <a:gdLst/>
              <a:ahLst/>
              <a:cxnLst/>
              <a:rect l="l" t="t" r="r" b="b"/>
              <a:pathLst>
                <a:path w="8312" h="11098" extrusionOk="0">
                  <a:moveTo>
                    <a:pt x="4144" y="322"/>
                  </a:moveTo>
                  <a:cubicBezTo>
                    <a:pt x="6251" y="322"/>
                    <a:pt x="7966" y="2025"/>
                    <a:pt x="7966" y="4144"/>
                  </a:cubicBezTo>
                  <a:cubicBezTo>
                    <a:pt x="7978" y="5085"/>
                    <a:pt x="7775" y="6002"/>
                    <a:pt x="7371" y="6895"/>
                  </a:cubicBezTo>
                  <a:cubicBezTo>
                    <a:pt x="7037" y="7609"/>
                    <a:pt x="6597" y="8323"/>
                    <a:pt x="6025" y="8978"/>
                  </a:cubicBezTo>
                  <a:cubicBezTo>
                    <a:pt x="5228" y="9919"/>
                    <a:pt x="4418" y="10526"/>
                    <a:pt x="4156" y="10717"/>
                  </a:cubicBezTo>
                  <a:cubicBezTo>
                    <a:pt x="3882" y="10538"/>
                    <a:pt x="3084" y="9931"/>
                    <a:pt x="2275" y="8990"/>
                  </a:cubicBezTo>
                  <a:cubicBezTo>
                    <a:pt x="1715" y="8323"/>
                    <a:pt x="1251" y="7621"/>
                    <a:pt x="929" y="6895"/>
                  </a:cubicBezTo>
                  <a:cubicBezTo>
                    <a:pt x="525" y="6002"/>
                    <a:pt x="310" y="5085"/>
                    <a:pt x="310" y="4144"/>
                  </a:cubicBezTo>
                  <a:cubicBezTo>
                    <a:pt x="310" y="2025"/>
                    <a:pt x="2025" y="322"/>
                    <a:pt x="4144" y="322"/>
                  </a:cubicBezTo>
                  <a:close/>
                  <a:moveTo>
                    <a:pt x="4156" y="1"/>
                  </a:moveTo>
                  <a:cubicBezTo>
                    <a:pt x="1858" y="1"/>
                    <a:pt x="1" y="1870"/>
                    <a:pt x="1" y="4156"/>
                  </a:cubicBezTo>
                  <a:cubicBezTo>
                    <a:pt x="1" y="5121"/>
                    <a:pt x="215" y="6097"/>
                    <a:pt x="644" y="7049"/>
                  </a:cubicBezTo>
                  <a:cubicBezTo>
                    <a:pt x="989" y="7788"/>
                    <a:pt x="1441" y="8514"/>
                    <a:pt x="2037" y="9216"/>
                  </a:cubicBezTo>
                  <a:cubicBezTo>
                    <a:pt x="3037" y="10395"/>
                    <a:pt x="4037" y="11050"/>
                    <a:pt x="4061" y="11062"/>
                  </a:cubicBezTo>
                  <a:cubicBezTo>
                    <a:pt x="4096" y="11074"/>
                    <a:pt x="4120" y="11098"/>
                    <a:pt x="4156" y="11098"/>
                  </a:cubicBezTo>
                  <a:cubicBezTo>
                    <a:pt x="4180" y="11098"/>
                    <a:pt x="4215" y="11074"/>
                    <a:pt x="4239" y="11062"/>
                  </a:cubicBezTo>
                  <a:cubicBezTo>
                    <a:pt x="4287" y="11038"/>
                    <a:pt x="5275" y="10395"/>
                    <a:pt x="6263" y="9216"/>
                  </a:cubicBezTo>
                  <a:cubicBezTo>
                    <a:pt x="6859" y="8538"/>
                    <a:pt x="7323" y="7800"/>
                    <a:pt x="7668" y="7049"/>
                  </a:cubicBezTo>
                  <a:cubicBezTo>
                    <a:pt x="8085" y="6109"/>
                    <a:pt x="8311" y="5144"/>
                    <a:pt x="8311" y="4156"/>
                  </a:cubicBezTo>
                  <a:cubicBezTo>
                    <a:pt x="8311" y="1870"/>
                    <a:pt x="6442" y="1"/>
                    <a:pt x="4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8" name="Google Shape;11318;p60"/>
            <p:cNvSpPr/>
            <p:nvPr/>
          </p:nvSpPr>
          <p:spPr>
            <a:xfrm>
              <a:off x="1008879" y="3904059"/>
              <a:ext cx="54966" cy="18460"/>
            </a:xfrm>
            <a:custGeom>
              <a:avLst/>
              <a:gdLst/>
              <a:ahLst/>
              <a:cxnLst/>
              <a:rect l="l" t="t" r="r" b="b"/>
              <a:pathLst>
                <a:path w="1727" h="580" extrusionOk="0">
                  <a:moveTo>
                    <a:pt x="648" y="1"/>
                  </a:moveTo>
                  <a:cubicBezTo>
                    <a:pt x="492" y="1"/>
                    <a:pt x="319" y="16"/>
                    <a:pt x="132" y="55"/>
                  </a:cubicBezTo>
                  <a:cubicBezTo>
                    <a:pt x="60" y="67"/>
                    <a:pt x="1" y="127"/>
                    <a:pt x="1" y="222"/>
                  </a:cubicBezTo>
                  <a:lnTo>
                    <a:pt x="1" y="401"/>
                  </a:lnTo>
                  <a:cubicBezTo>
                    <a:pt x="1" y="484"/>
                    <a:pt x="72" y="555"/>
                    <a:pt x="155" y="555"/>
                  </a:cubicBezTo>
                  <a:cubicBezTo>
                    <a:pt x="251" y="555"/>
                    <a:pt x="322" y="484"/>
                    <a:pt x="322" y="401"/>
                  </a:cubicBezTo>
                  <a:lnTo>
                    <a:pt x="322" y="365"/>
                  </a:lnTo>
                  <a:cubicBezTo>
                    <a:pt x="434" y="350"/>
                    <a:pt x="539" y="343"/>
                    <a:pt x="636" y="343"/>
                  </a:cubicBezTo>
                  <a:cubicBezTo>
                    <a:pt x="841" y="343"/>
                    <a:pt x="1011" y="372"/>
                    <a:pt x="1132" y="413"/>
                  </a:cubicBezTo>
                  <a:cubicBezTo>
                    <a:pt x="1334" y="472"/>
                    <a:pt x="1453" y="543"/>
                    <a:pt x="1465" y="543"/>
                  </a:cubicBezTo>
                  <a:cubicBezTo>
                    <a:pt x="1501" y="555"/>
                    <a:pt x="1525" y="579"/>
                    <a:pt x="1560" y="579"/>
                  </a:cubicBezTo>
                  <a:cubicBezTo>
                    <a:pt x="1620" y="579"/>
                    <a:pt x="1667" y="543"/>
                    <a:pt x="1691" y="496"/>
                  </a:cubicBezTo>
                  <a:cubicBezTo>
                    <a:pt x="1727" y="401"/>
                    <a:pt x="1703" y="305"/>
                    <a:pt x="1632" y="246"/>
                  </a:cubicBezTo>
                  <a:cubicBezTo>
                    <a:pt x="1613" y="236"/>
                    <a:pt x="1255" y="1"/>
                    <a:pt x="6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9" name="Google Shape;11319;p60"/>
            <p:cNvSpPr/>
            <p:nvPr/>
          </p:nvSpPr>
          <p:spPr>
            <a:xfrm>
              <a:off x="972118" y="3872072"/>
              <a:ext cx="172473" cy="164866"/>
            </a:xfrm>
            <a:custGeom>
              <a:avLst/>
              <a:gdLst/>
              <a:ahLst/>
              <a:cxnLst/>
              <a:rect l="l" t="t" r="r" b="b"/>
              <a:pathLst>
                <a:path w="5419" h="5180" extrusionOk="0">
                  <a:moveTo>
                    <a:pt x="3239" y="346"/>
                  </a:moveTo>
                  <a:lnTo>
                    <a:pt x="3239" y="1144"/>
                  </a:lnTo>
                  <a:cubicBezTo>
                    <a:pt x="3239" y="1287"/>
                    <a:pt x="3203" y="1418"/>
                    <a:pt x="3144" y="1537"/>
                  </a:cubicBezTo>
                  <a:lnTo>
                    <a:pt x="3084" y="1668"/>
                  </a:lnTo>
                  <a:cubicBezTo>
                    <a:pt x="3073" y="1703"/>
                    <a:pt x="3073" y="1715"/>
                    <a:pt x="3073" y="1739"/>
                  </a:cubicBezTo>
                  <a:lnTo>
                    <a:pt x="3073" y="2084"/>
                  </a:lnTo>
                  <a:cubicBezTo>
                    <a:pt x="3073" y="2370"/>
                    <a:pt x="2953" y="2632"/>
                    <a:pt x="2763" y="2846"/>
                  </a:cubicBezTo>
                  <a:cubicBezTo>
                    <a:pt x="2558" y="3028"/>
                    <a:pt x="2311" y="3145"/>
                    <a:pt x="2040" y="3145"/>
                  </a:cubicBezTo>
                  <a:cubicBezTo>
                    <a:pt x="2027" y="3145"/>
                    <a:pt x="2014" y="3144"/>
                    <a:pt x="2001" y="3144"/>
                  </a:cubicBezTo>
                  <a:cubicBezTo>
                    <a:pt x="1406" y="3108"/>
                    <a:pt x="941" y="2620"/>
                    <a:pt x="941" y="2037"/>
                  </a:cubicBezTo>
                  <a:lnTo>
                    <a:pt x="941" y="1739"/>
                  </a:lnTo>
                  <a:cubicBezTo>
                    <a:pt x="941" y="1715"/>
                    <a:pt x="941" y="1703"/>
                    <a:pt x="929" y="1668"/>
                  </a:cubicBezTo>
                  <a:lnTo>
                    <a:pt x="870" y="1537"/>
                  </a:lnTo>
                  <a:cubicBezTo>
                    <a:pt x="810" y="1418"/>
                    <a:pt x="775" y="1287"/>
                    <a:pt x="775" y="1144"/>
                  </a:cubicBezTo>
                  <a:cubicBezTo>
                    <a:pt x="775" y="703"/>
                    <a:pt x="1132" y="346"/>
                    <a:pt x="1584" y="346"/>
                  </a:cubicBezTo>
                  <a:close/>
                  <a:moveTo>
                    <a:pt x="1465" y="3346"/>
                  </a:moveTo>
                  <a:cubicBezTo>
                    <a:pt x="1608" y="3406"/>
                    <a:pt x="1775" y="3453"/>
                    <a:pt x="1953" y="3465"/>
                  </a:cubicBezTo>
                  <a:lnTo>
                    <a:pt x="2001" y="3465"/>
                  </a:lnTo>
                  <a:cubicBezTo>
                    <a:pt x="2180" y="3465"/>
                    <a:pt x="2370" y="3442"/>
                    <a:pt x="2537" y="3370"/>
                  </a:cubicBezTo>
                  <a:lnTo>
                    <a:pt x="2537" y="3584"/>
                  </a:lnTo>
                  <a:cubicBezTo>
                    <a:pt x="2537" y="3632"/>
                    <a:pt x="2549" y="3692"/>
                    <a:pt x="2549" y="3739"/>
                  </a:cubicBezTo>
                  <a:lnTo>
                    <a:pt x="2001" y="4156"/>
                  </a:lnTo>
                  <a:lnTo>
                    <a:pt x="1453" y="3727"/>
                  </a:lnTo>
                  <a:cubicBezTo>
                    <a:pt x="1465" y="3680"/>
                    <a:pt x="1465" y="3632"/>
                    <a:pt x="1465" y="3573"/>
                  </a:cubicBezTo>
                  <a:lnTo>
                    <a:pt x="1465" y="3346"/>
                  </a:lnTo>
                  <a:close/>
                  <a:moveTo>
                    <a:pt x="1251" y="3977"/>
                  </a:moveTo>
                  <a:lnTo>
                    <a:pt x="1834" y="4406"/>
                  </a:lnTo>
                  <a:lnTo>
                    <a:pt x="1834" y="4870"/>
                  </a:lnTo>
                  <a:cubicBezTo>
                    <a:pt x="1334" y="4835"/>
                    <a:pt x="822" y="4680"/>
                    <a:pt x="394" y="4358"/>
                  </a:cubicBezTo>
                  <a:cubicBezTo>
                    <a:pt x="417" y="4335"/>
                    <a:pt x="465" y="4299"/>
                    <a:pt x="501" y="4287"/>
                  </a:cubicBezTo>
                  <a:lnTo>
                    <a:pt x="1132" y="4049"/>
                  </a:lnTo>
                  <a:cubicBezTo>
                    <a:pt x="1179" y="4037"/>
                    <a:pt x="1227" y="4001"/>
                    <a:pt x="1251" y="3977"/>
                  </a:cubicBezTo>
                  <a:close/>
                  <a:moveTo>
                    <a:pt x="2739" y="3989"/>
                  </a:moveTo>
                  <a:cubicBezTo>
                    <a:pt x="2787" y="4025"/>
                    <a:pt x="2822" y="4037"/>
                    <a:pt x="2858" y="4061"/>
                  </a:cubicBezTo>
                  <a:lnTo>
                    <a:pt x="3632" y="4346"/>
                  </a:lnTo>
                  <a:cubicBezTo>
                    <a:pt x="3192" y="4656"/>
                    <a:pt x="2680" y="4835"/>
                    <a:pt x="2168" y="4870"/>
                  </a:cubicBezTo>
                  <a:lnTo>
                    <a:pt x="2168" y="4418"/>
                  </a:lnTo>
                  <a:lnTo>
                    <a:pt x="2739" y="3989"/>
                  </a:lnTo>
                  <a:close/>
                  <a:moveTo>
                    <a:pt x="1596" y="1"/>
                  </a:moveTo>
                  <a:cubicBezTo>
                    <a:pt x="977" y="1"/>
                    <a:pt x="465" y="501"/>
                    <a:pt x="465" y="1132"/>
                  </a:cubicBezTo>
                  <a:cubicBezTo>
                    <a:pt x="465" y="1310"/>
                    <a:pt x="513" y="1501"/>
                    <a:pt x="596" y="1668"/>
                  </a:cubicBezTo>
                  <a:lnTo>
                    <a:pt x="644" y="1751"/>
                  </a:lnTo>
                  <a:lnTo>
                    <a:pt x="644" y="2013"/>
                  </a:lnTo>
                  <a:cubicBezTo>
                    <a:pt x="644" y="2453"/>
                    <a:pt x="858" y="2858"/>
                    <a:pt x="1168" y="3120"/>
                  </a:cubicBezTo>
                  <a:lnTo>
                    <a:pt x="1168" y="3561"/>
                  </a:lnTo>
                  <a:cubicBezTo>
                    <a:pt x="1168" y="3632"/>
                    <a:pt x="1120" y="3704"/>
                    <a:pt x="1048" y="3739"/>
                  </a:cubicBezTo>
                  <a:lnTo>
                    <a:pt x="406" y="3977"/>
                  </a:lnTo>
                  <a:cubicBezTo>
                    <a:pt x="239" y="4037"/>
                    <a:pt x="108" y="4168"/>
                    <a:pt x="36" y="4311"/>
                  </a:cubicBezTo>
                  <a:cubicBezTo>
                    <a:pt x="1" y="4394"/>
                    <a:pt x="25" y="4466"/>
                    <a:pt x="84" y="4513"/>
                  </a:cubicBezTo>
                  <a:cubicBezTo>
                    <a:pt x="644" y="4954"/>
                    <a:pt x="1334" y="5180"/>
                    <a:pt x="2001" y="5180"/>
                  </a:cubicBezTo>
                  <a:cubicBezTo>
                    <a:pt x="2799" y="5180"/>
                    <a:pt x="3596" y="4870"/>
                    <a:pt x="4204" y="4275"/>
                  </a:cubicBezTo>
                  <a:cubicBezTo>
                    <a:pt x="5323" y="3168"/>
                    <a:pt x="5418" y="1406"/>
                    <a:pt x="4442" y="167"/>
                  </a:cubicBezTo>
                  <a:cubicBezTo>
                    <a:pt x="4405" y="124"/>
                    <a:pt x="4351" y="98"/>
                    <a:pt x="4301" y="98"/>
                  </a:cubicBezTo>
                  <a:cubicBezTo>
                    <a:pt x="4269" y="98"/>
                    <a:pt x="4239" y="108"/>
                    <a:pt x="4216" y="132"/>
                  </a:cubicBezTo>
                  <a:cubicBezTo>
                    <a:pt x="4144" y="191"/>
                    <a:pt x="4132" y="298"/>
                    <a:pt x="4192" y="358"/>
                  </a:cubicBezTo>
                  <a:cubicBezTo>
                    <a:pt x="5061" y="1465"/>
                    <a:pt x="4966" y="3049"/>
                    <a:pt x="3965" y="4049"/>
                  </a:cubicBezTo>
                  <a:lnTo>
                    <a:pt x="3906" y="4108"/>
                  </a:lnTo>
                  <a:cubicBezTo>
                    <a:pt x="3870" y="4096"/>
                    <a:pt x="3835" y="4061"/>
                    <a:pt x="3799" y="4049"/>
                  </a:cubicBezTo>
                  <a:lnTo>
                    <a:pt x="2977" y="3739"/>
                  </a:lnTo>
                  <a:cubicBezTo>
                    <a:pt x="2906" y="3704"/>
                    <a:pt x="2858" y="3644"/>
                    <a:pt x="2858" y="3561"/>
                  </a:cubicBezTo>
                  <a:lnTo>
                    <a:pt x="2858" y="3144"/>
                  </a:lnTo>
                  <a:cubicBezTo>
                    <a:pt x="2894" y="3108"/>
                    <a:pt x="2942" y="3084"/>
                    <a:pt x="2965" y="3049"/>
                  </a:cubicBezTo>
                  <a:cubicBezTo>
                    <a:pt x="3239" y="2787"/>
                    <a:pt x="3382" y="2441"/>
                    <a:pt x="3382" y="2072"/>
                  </a:cubicBezTo>
                  <a:lnTo>
                    <a:pt x="3382" y="1751"/>
                  </a:lnTo>
                  <a:lnTo>
                    <a:pt x="3430" y="1668"/>
                  </a:lnTo>
                  <a:cubicBezTo>
                    <a:pt x="3513" y="1501"/>
                    <a:pt x="3561" y="1310"/>
                    <a:pt x="3561" y="1132"/>
                  </a:cubicBezTo>
                  <a:lnTo>
                    <a:pt x="3561" y="167"/>
                  </a:lnTo>
                  <a:cubicBezTo>
                    <a:pt x="3561" y="72"/>
                    <a:pt x="3489" y="1"/>
                    <a:pt x="3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20" name="Google Shape;11320;p60"/>
          <p:cNvGrpSpPr/>
          <p:nvPr/>
        </p:nvGrpSpPr>
        <p:grpSpPr>
          <a:xfrm>
            <a:off x="2611458" y="3816374"/>
            <a:ext cx="426329" cy="332375"/>
            <a:chOff x="2611458" y="3816374"/>
            <a:chExt cx="426329" cy="332375"/>
          </a:xfrm>
        </p:grpSpPr>
        <p:sp>
          <p:nvSpPr>
            <p:cNvPr id="11321" name="Google Shape;11321;p60"/>
            <p:cNvSpPr/>
            <p:nvPr/>
          </p:nvSpPr>
          <p:spPr>
            <a:xfrm>
              <a:off x="2611458" y="3816374"/>
              <a:ext cx="426329" cy="332375"/>
            </a:xfrm>
            <a:custGeom>
              <a:avLst/>
              <a:gdLst/>
              <a:ahLst/>
              <a:cxnLst/>
              <a:rect l="l" t="t" r="r" b="b"/>
              <a:pathLst>
                <a:path w="13395" h="10443" extrusionOk="0">
                  <a:moveTo>
                    <a:pt x="13002" y="429"/>
                  </a:moveTo>
                  <a:lnTo>
                    <a:pt x="12966" y="846"/>
                  </a:lnTo>
                  <a:lnTo>
                    <a:pt x="11418" y="846"/>
                  </a:lnTo>
                  <a:cubicBezTo>
                    <a:pt x="11299" y="846"/>
                    <a:pt x="11216" y="929"/>
                    <a:pt x="11216" y="1048"/>
                  </a:cubicBezTo>
                  <a:cubicBezTo>
                    <a:pt x="11216" y="1167"/>
                    <a:pt x="11299" y="1263"/>
                    <a:pt x="11418" y="1263"/>
                  </a:cubicBezTo>
                  <a:lnTo>
                    <a:pt x="12633" y="1263"/>
                  </a:lnTo>
                  <a:lnTo>
                    <a:pt x="12633" y="7501"/>
                  </a:lnTo>
                  <a:lnTo>
                    <a:pt x="5429" y="7501"/>
                  </a:lnTo>
                  <a:lnTo>
                    <a:pt x="5429" y="7287"/>
                  </a:lnTo>
                  <a:cubicBezTo>
                    <a:pt x="5429" y="7168"/>
                    <a:pt x="5334" y="7085"/>
                    <a:pt x="5215" y="7085"/>
                  </a:cubicBezTo>
                  <a:lnTo>
                    <a:pt x="4870" y="7085"/>
                  </a:lnTo>
                  <a:cubicBezTo>
                    <a:pt x="4834" y="6942"/>
                    <a:pt x="4786" y="6811"/>
                    <a:pt x="4715" y="6692"/>
                  </a:cubicBezTo>
                  <a:lnTo>
                    <a:pt x="4953" y="6454"/>
                  </a:lnTo>
                  <a:cubicBezTo>
                    <a:pt x="5036" y="6358"/>
                    <a:pt x="5036" y="6227"/>
                    <a:pt x="4953" y="6156"/>
                  </a:cubicBezTo>
                  <a:lnTo>
                    <a:pt x="4310" y="5513"/>
                  </a:lnTo>
                  <a:cubicBezTo>
                    <a:pt x="4263" y="5477"/>
                    <a:pt x="4215" y="5454"/>
                    <a:pt x="4155" y="5454"/>
                  </a:cubicBezTo>
                  <a:cubicBezTo>
                    <a:pt x="4096" y="5454"/>
                    <a:pt x="4060" y="5477"/>
                    <a:pt x="4013" y="5513"/>
                  </a:cubicBezTo>
                  <a:lnTo>
                    <a:pt x="3774" y="5751"/>
                  </a:lnTo>
                  <a:cubicBezTo>
                    <a:pt x="3655" y="5692"/>
                    <a:pt x="3524" y="5632"/>
                    <a:pt x="3382" y="5596"/>
                  </a:cubicBezTo>
                  <a:lnTo>
                    <a:pt x="3382" y="5251"/>
                  </a:lnTo>
                  <a:cubicBezTo>
                    <a:pt x="3382" y="5132"/>
                    <a:pt x="3298" y="5037"/>
                    <a:pt x="3179" y="5037"/>
                  </a:cubicBezTo>
                  <a:lnTo>
                    <a:pt x="2655" y="5037"/>
                  </a:lnTo>
                  <a:lnTo>
                    <a:pt x="2655" y="1274"/>
                  </a:lnTo>
                  <a:lnTo>
                    <a:pt x="10704" y="1274"/>
                  </a:lnTo>
                  <a:cubicBezTo>
                    <a:pt x="10823" y="1274"/>
                    <a:pt x="10918" y="1191"/>
                    <a:pt x="10918" y="1072"/>
                  </a:cubicBezTo>
                  <a:cubicBezTo>
                    <a:pt x="10918" y="953"/>
                    <a:pt x="10823" y="858"/>
                    <a:pt x="10704" y="858"/>
                  </a:cubicBezTo>
                  <a:lnTo>
                    <a:pt x="2310" y="858"/>
                  </a:lnTo>
                  <a:lnTo>
                    <a:pt x="2310" y="429"/>
                  </a:lnTo>
                  <a:close/>
                  <a:moveTo>
                    <a:pt x="12966" y="7918"/>
                  </a:moveTo>
                  <a:lnTo>
                    <a:pt x="12966" y="8347"/>
                  </a:lnTo>
                  <a:lnTo>
                    <a:pt x="5358" y="8347"/>
                  </a:lnTo>
                  <a:cubicBezTo>
                    <a:pt x="5394" y="8299"/>
                    <a:pt x="5417" y="8251"/>
                    <a:pt x="5417" y="8192"/>
                  </a:cubicBezTo>
                  <a:lnTo>
                    <a:pt x="5417" y="7954"/>
                  </a:lnTo>
                  <a:lnTo>
                    <a:pt x="12835" y="7954"/>
                  </a:lnTo>
                  <a:cubicBezTo>
                    <a:pt x="12883" y="7954"/>
                    <a:pt x="12930" y="7942"/>
                    <a:pt x="12954" y="7918"/>
                  </a:cubicBezTo>
                  <a:close/>
                  <a:moveTo>
                    <a:pt x="2953" y="5442"/>
                  </a:moveTo>
                  <a:lnTo>
                    <a:pt x="2953" y="5739"/>
                  </a:lnTo>
                  <a:cubicBezTo>
                    <a:pt x="2953" y="5846"/>
                    <a:pt x="3024" y="5918"/>
                    <a:pt x="3120" y="5954"/>
                  </a:cubicBezTo>
                  <a:cubicBezTo>
                    <a:pt x="3310" y="5989"/>
                    <a:pt x="3501" y="6073"/>
                    <a:pt x="3679" y="6192"/>
                  </a:cubicBezTo>
                  <a:cubicBezTo>
                    <a:pt x="3716" y="6215"/>
                    <a:pt x="3755" y="6225"/>
                    <a:pt x="3793" y="6225"/>
                  </a:cubicBezTo>
                  <a:cubicBezTo>
                    <a:pt x="3853" y="6225"/>
                    <a:pt x="3909" y="6200"/>
                    <a:pt x="3953" y="6156"/>
                  </a:cubicBezTo>
                  <a:lnTo>
                    <a:pt x="4155" y="5954"/>
                  </a:lnTo>
                  <a:lnTo>
                    <a:pt x="4501" y="6287"/>
                  </a:lnTo>
                  <a:lnTo>
                    <a:pt x="4298" y="6501"/>
                  </a:lnTo>
                  <a:cubicBezTo>
                    <a:pt x="4215" y="6573"/>
                    <a:pt x="4203" y="6680"/>
                    <a:pt x="4263" y="6763"/>
                  </a:cubicBezTo>
                  <a:cubicBezTo>
                    <a:pt x="4370" y="6942"/>
                    <a:pt x="4453" y="7144"/>
                    <a:pt x="4501" y="7335"/>
                  </a:cubicBezTo>
                  <a:cubicBezTo>
                    <a:pt x="4513" y="7418"/>
                    <a:pt x="4608" y="7501"/>
                    <a:pt x="4715" y="7501"/>
                  </a:cubicBezTo>
                  <a:lnTo>
                    <a:pt x="5013" y="7501"/>
                  </a:lnTo>
                  <a:lnTo>
                    <a:pt x="5013" y="7990"/>
                  </a:lnTo>
                  <a:lnTo>
                    <a:pt x="4715" y="7990"/>
                  </a:lnTo>
                  <a:cubicBezTo>
                    <a:pt x="4608" y="7990"/>
                    <a:pt x="4525" y="8061"/>
                    <a:pt x="4501" y="8156"/>
                  </a:cubicBezTo>
                  <a:cubicBezTo>
                    <a:pt x="4453" y="8347"/>
                    <a:pt x="4382" y="8537"/>
                    <a:pt x="4263" y="8716"/>
                  </a:cubicBezTo>
                  <a:cubicBezTo>
                    <a:pt x="4203" y="8811"/>
                    <a:pt x="4215" y="8906"/>
                    <a:pt x="4298" y="8990"/>
                  </a:cubicBezTo>
                  <a:lnTo>
                    <a:pt x="4501" y="9192"/>
                  </a:lnTo>
                  <a:lnTo>
                    <a:pt x="4155" y="9537"/>
                  </a:lnTo>
                  <a:lnTo>
                    <a:pt x="3953" y="9323"/>
                  </a:lnTo>
                  <a:cubicBezTo>
                    <a:pt x="3912" y="9282"/>
                    <a:pt x="3860" y="9261"/>
                    <a:pt x="3805" y="9261"/>
                  </a:cubicBezTo>
                  <a:cubicBezTo>
                    <a:pt x="3764" y="9261"/>
                    <a:pt x="3720" y="9273"/>
                    <a:pt x="3679" y="9299"/>
                  </a:cubicBezTo>
                  <a:cubicBezTo>
                    <a:pt x="3501" y="9394"/>
                    <a:pt x="3310" y="9490"/>
                    <a:pt x="3120" y="9537"/>
                  </a:cubicBezTo>
                  <a:cubicBezTo>
                    <a:pt x="3024" y="9549"/>
                    <a:pt x="2953" y="9633"/>
                    <a:pt x="2953" y="9740"/>
                  </a:cubicBezTo>
                  <a:lnTo>
                    <a:pt x="2953" y="10037"/>
                  </a:lnTo>
                  <a:lnTo>
                    <a:pt x="2465" y="10037"/>
                  </a:lnTo>
                  <a:lnTo>
                    <a:pt x="2465" y="9740"/>
                  </a:lnTo>
                  <a:cubicBezTo>
                    <a:pt x="2465" y="9633"/>
                    <a:pt x="2393" y="9561"/>
                    <a:pt x="2298" y="9537"/>
                  </a:cubicBezTo>
                  <a:cubicBezTo>
                    <a:pt x="2108" y="9490"/>
                    <a:pt x="1917" y="9418"/>
                    <a:pt x="1738" y="9299"/>
                  </a:cubicBezTo>
                  <a:cubicBezTo>
                    <a:pt x="1697" y="9273"/>
                    <a:pt x="1654" y="9261"/>
                    <a:pt x="1612" y="9261"/>
                  </a:cubicBezTo>
                  <a:cubicBezTo>
                    <a:pt x="1557" y="9261"/>
                    <a:pt x="1505" y="9282"/>
                    <a:pt x="1465" y="9323"/>
                  </a:cubicBezTo>
                  <a:lnTo>
                    <a:pt x="1262" y="9537"/>
                  </a:lnTo>
                  <a:lnTo>
                    <a:pt x="917" y="9192"/>
                  </a:lnTo>
                  <a:lnTo>
                    <a:pt x="1119" y="8990"/>
                  </a:lnTo>
                  <a:cubicBezTo>
                    <a:pt x="1203" y="8906"/>
                    <a:pt x="1215" y="8799"/>
                    <a:pt x="1155" y="8716"/>
                  </a:cubicBezTo>
                  <a:cubicBezTo>
                    <a:pt x="1048" y="8537"/>
                    <a:pt x="965" y="8347"/>
                    <a:pt x="917" y="8156"/>
                  </a:cubicBezTo>
                  <a:cubicBezTo>
                    <a:pt x="905" y="8061"/>
                    <a:pt x="810" y="7990"/>
                    <a:pt x="703" y="7990"/>
                  </a:cubicBezTo>
                  <a:lnTo>
                    <a:pt x="405" y="7990"/>
                  </a:lnTo>
                  <a:lnTo>
                    <a:pt x="405" y="7501"/>
                  </a:lnTo>
                  <a:lnTo>
                    <a:pt x="703" y="7501"/>
                  </a:lnTo>
                  <a:cubicBezTo>
                    <a:pt x="810" y="7501"/>
                    <a:pt x="881" y="7418"/>
                    <a:pt x="917" y="7335"/>
                  </a:cubicBezTo>
                  <a:cubicBezTo>
                    <a:pt x="965" y="7144"/>
                    <a:pt x="1036" y="6942"/>
                    <a:pt x="1155" y="6763"/>
                  </a:cubicBezTo>
                  <a:cubicBezTo>
                    <a:pt x="1215" y="6680"/>
                    <a:pt x="1203" y="6573"/>
                    <a:pt x="1119" y="6501"/>
                  </a:cubicBezTo>
                  <a:lnTo>
                    <a:pt x="917" y="6287"/>
                  </a:lnTo>
                  <a:lnTo>
                    <a:pt x="1262" y="5954"/>
                  </a:lnTo>
                  <a:lnTo>
                    <a:pt x="1465" y="6156"/>
                  </a:lnTo>
                  <a:cubicBezTo>
                    <a:pt x="1508" y="6200"/>
                    <a:pt x="1565" y="6225"/>
                    <a:pt x="1624" y="6225"/>
                  </a:cubicBezTo>
                  <a:cubicBezTo>
                    <a:pt x="1662" y="6225"/>
                    <a:pt x="1701" y="6215"/>
                    <a:pt x="1738" y="6192"/>
                  </a:cubicBezTo>
                  <a:cubicBezTo>
                    <a:pt x="1917" y="6085"/>
                    <a:pt x="2108" y="5989"/>
                    <a:pt x="2298" y="5954"/>
                  </a:cubicBezTo>
                  <a:cubicBezTo>
                    <a:pt x="2393" y="5930"/>
                    <a:pt x="2465" y="5846"/>
                    <a:pt x="2465" y="5739"/>
                  </a:cubicBezTo>
                  <a:lnTo>
                    <a:pt x="2465" y="5442"/>
                  </a:lnTo>
                  <a:close/>
                  <a:moveTo>
                    <a:pt x="2084" y="0"/>
                  </a:moveTo>
                  <a:cubicBezTo>
                    <a:pt x="1977" y="0"/>
                    <a:pt x="1881" y="84"/>
                    <a:pt x="1881" y="203"/>
                  </a:cubicBezTo>
                  <a:lnTo>
                    <a:pt x="1881" y="1048"/>
                  </a:lnTo>
                  <a:cubicBezTo>
                    <a:pt x="1881" y="1167"/>
                    <a:pt x="1977" y="1263"/>
                    <a:pt x="2084" y="1263"/>
                  </a:cubicBezTo>
                  <a:lnTo>
                    <a:pt x="2227" y="1263"/>
                  </a:lnTo>
                  <a:lnTo>
                    <a:pt x="2227" y="5037"/>
                  </a:lnTo>
                  <a:cubicBezTo>
                    <a:pt x="2119" y="5061"/>
                    <a:pt x="2048" y="5144"/>
                    <a:pt x="2048" y="5251"/>
                  </a:cubicBezTo>
                  <a:lnTo>
                    <a:pt x="2048" y="5584"/>
                  </a:lnTo>
                  <a:cubicBezTo>
                    <a:pt x="1905" y="5632"/>
                    <a:pt x="1774" y="5680"/>
                    <a:pt x="1655" y="5751"/>
                  </a:cubicBezTo>
                  <a:lnTo>
                    <a:pt x="1417" y="5513"/>
                  </a:lnTo>
                  <a:cubicBezTo>
                    <a:pt x="1369" y="5465"/>
                    <a:pt x="1334" y="5454"/>
                    <a:pt x="1274" y="5454"/>
                  </a:cubicBezTo>
                  <a:cubicBezTo>
                    <a:pt x="1215" y="5454"/>
                    <a:pt x="1167" y="5465"/>
                    <a:pt x="1119" y="5513"/>
                  </a:cubicBezTo>
                  <a:lnTo>
                    <a:pt x="476" y="6156"/>
                  </a:lnTo>
                  <a:cubicBezTo>
                    <a:pt x="393" y="6239"/>
                    <a:pt x="393" y="6382"/>
                    <a:pt x="476" y="6454"/>
                  </a:cubicBezTo>
                  <a:lnTo>
                    <a:pt x="715" y="6692"/>
                  </a:lnTo>
                  <a:cubicBezTo>
                    <a:pt x="655" y="6811"/>
                    <a:pt x="595" y="6942"/>
                    <a:pt x="560" y="7073"/>
                  </a:cubicBezTo>
                  <a:lnTo>
                    <a:pt x="214" y="7073"/>
                  </a:lnTo>
                  <a:cubicBezTo>
                    <a:pt x="95" y="7073"/>
                    <a:pt x="0" y="7168"/>
                    <a:pt x="0" y="7287"/>
                  </a:cubicBezTo>
                  <a:lnTo>
                    <a:pt x="0" y="8192"/>
                  </a:lnTo>
                  <a:cubicBezTo>
                    <a:pt x="0" y="8311"/>
                    <a:pt x="95" y="8406"/>
                    <a:pt x="214" y="8406"/>
                  </a:cubicBezTo>
                  <a:lnTo>
                    <a:pt x="560" y="8406"/>
                  </a:lnTo>
                  <a:cubicBezTo>
                    <a:pt x="595" y="8537"/>
                    <a:pt x="643" y="8668"/>
                    <a:pt x="715" y="8787"/>
                  </a:cubicBezTo>
                  <a:lnTo>
                    <a:pt x="476" y="9025"/>
                  </a:lnTo>
                  <a:cubicBezTo>
                    <a:pt x="393" y="9121"/>
                    <a:pt x="393" y="9252"/>
                    <a:pt x="476" y="9323"/>
                  </a:cubicBezTo>
                  <a:lnTo>
                    <a:pt x="1119" y="9966"/>
                  </a:lnTo>
                  <a:cubicBezTo>
                    <a:pt x="1167" y="10008"/>
                    <a:pt x="1223" y="10028"/>
                    <a:pt x="1277" y="10028"/>
                  </a:cubicBezTo>
                  <a:cubicBezTo>
                    <a:pt x="1331" y="10028"/>
                    <a:pt x="1381" y="10008"/>
                    <a:pt x="1417" y="9966"/>
                  </a:cubicBezTo>
                  <a:lnTo>
                    <a:pt x="1655" y="9728"/>
                  </a:lnTo>
                  <a:cubicBezTo>
                    <a:pt x="1774" y="9787"/>
                    <a:pt x="1905" y="9847"/>
                    <a:pt x="2048" y="9895"/>
                  </a:cubicBezTo>
                  <a:lnTo>
                    <a:pt x="2048" y="10228"/>
                  </a:lnTo>
                  <a:cubicBezTo>
                    <a:pt x="2048" y="10347"/>
                    <a:pt x="2131" y="10442"/>
                    <a:pt x="2250" y="10442"/>
                  </a:cubicBezTo>
                  <a:lnTo>
                    <a:pt x="3155" y="10442"/>
                  </a:lnTo>
                  <a:cubicBezTo>
                    <a:pt x="3274" y="10442"/>
                    <a:pt x="3370" y="10347"/>
                    <a:pt x="3370" y="10228"/>
                  </a:cubicBezTo>
                  <a:lnTo>
                    <a:pt x="3370" y="9895"/>
                  </a:lnTo>
                  <a:cubicBezTo>
                    <a:pt x="3501" y="9847"/>
                    <a:pt x="3632" y="9799"/>
                    <a:pt x="3751" y="9728"/>
                  </a:cubicBezTo>
                  <a:lnTo>
                    <a:pt x="3989" y="9966"/>
                  </a:lnTo>
                  <a:cubicBezTo>
                    <a:pt x="4036" y="10008"/>
                    <a:pt x="4093" y="10028"/>
                    <a:pt x="4146" y="10028"/>
                  </a:cubicBezTo>
                  <a:cubicBezTo>
                    <a:pt x="4200" y="10028"/>
                    <a:pt x="4251" y="10008"/>
                    <a:pt x="4286" y="9966"/>
                  </a:cubicBezTo>
                  <a:lnTo>
                    <a:pt x="4929" y="9323"/>
                  </a:lnTo>
                  <a:cubicBezTo>
                    <a:pt x="5025" y="9240"/>
                    <a:pt x="5025" y="9097"/>
                    <a:pt x="4929" y="9025"/>
                  </a:cubicBezTo>
                  <a:lnTo>
                    <a:pt x="4691" y="8787"/>
                  </a:lnTo>
                  <a:cubicBezTo>
                    <a:pt x="4691" y="8775"/>
                    <a:pt x="4703" y="8775"/>
                    <a:pt x="4703" y="8763"/>
                  </a:cubicBezTo>
                  <a:lnTo>
                    <a:pt x="13180" y="8763"/>
                  </a:lnTo>
                  <a:cubicBezTo>
                    <a:pt x="13299" y="8763"/>
                    <a:pt x="13383" y="8668"/>
                    <a:pt x="13383" y="8549"/>
                  </a:cubicBezTo>
                  <a:lnTo>
                    <a:pt x="13383" y="7704"/>
                  </a:lnTo>
                  <a:cubicBezTo>
                    <a:pt x="13383" y="7585"/>
                    <a:pt x="13299" y="7489"/>
                    <a:pt x="13180" y="7489"/>
                  </a:cubicBezTo>
                  <a:lnTo>
                    <a:pt x="13037" y="7489"/>
                  </a:lnTo>
                  <a:lnTo>
                    <a:pt x="13037" y="1263"/>
                  </a:lnTo>
                  <a:lnTo>
                    <a:pt x="13192" y="1263"/>
                  </a:lnTo>
                  <a:cubicBezTo>
                    <a:pt x="13311" y="1263"/>
                    <a:pt x="13395" y="1167"/>
                    <a:pt x="13395" y="1048"/>
                  </a:cubicBezTo>
                  <a:lnTo>
                    <a:pt x="13395" y="203"/>
                  </a:lnTo>
                  <a:cubicBezTo>
                    <a:pt x="13395" y="84"/>
                    <a:pt x="13311" y="0"/>
                    <a:pt x="13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2" name="Google Shape;11322;p60"/>
            <p:cNvSpPr/>
            <p:nvPr/>
          </p:nvSpPr>
          <p:spPr>
            <a:xfrm>
              <a:off x="2803568" y="3950909"/>
              <a:ext cx="40198" cy="85648"/>
            </a:xfrm>
            <a:custGeom>
              <a:avLst/>
              <a:gdLst/>
              <a:ahLst/>
              <a:cxnLst/>
              <a:rect l="l" t="t" r="r" b="b"/>
              <a:pathLst>
                <a:path w="1263" h="2691" extrusionOk="0">
                  <a:moveTo>
                    <a:pt x="846" y="417"/>
                  </a:moveTo>
                  <a:lnTo>
                    <a:pt x="846" y="2262"/>
                  </a:lnTo>
                  <a:lnTo>
                    <a:pt x="417" y="2262"/>
                  </a:lnTo>
                  <a:lnTo>
                    <a:pt x="417" y="417"/>
                  </a:lnTo>
                  <a:close/>
                  <a:moveTo>
                    <a:pt x="203" y="0"/>
                  </a:moveTo>
                  <a:cubicBezTo>
                    <a:pt x="84" y="0"/>
                    <a:pt x="1" y="84"/>
                    <a:pt x="1" y="203"/>
                  </a:cubicBezTo>
                  <a:lnTo>
                    <a:pt x="1" y="2477"/>
                  </a:lnTo>
                  <a:cubicBezTo>
                    <a:pt x="1" y="2596"/>
                    <a:pt x="84" y="2691"/>
                    <a:pt x="203" y="2691"/>
                  </a:cubicBezTo>
                  <a:lnTo>
                    <a:pt x="1060" y="2691"/>
                  </a:lnTo>
                  <a:cubicBezTo>
                    <a:pt x="1167" y="2691"/>
                    <a:pt x="1263" y="2596"/>
                    <a:pt x="1263" y="2477"/>
                  </a:cubicBezTo>
                  <a:lnTo>
                    <a:pt x="1263" y="203"/>
                  </a:lnTo>
                  <a:cubicBezTo>
                    <a:pt x="1263" y="84"/>
                    <a:pt x="1179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3" name="Google Shape;11323;p60"/>
            <p:cNvSpPr/>
            <p:nvPr/>
          </p:nvSpPr>
          <p:spPr>
            <a:xfrm>
              <a:off x="2851691" y="3917935"/>
              <a:ext cx="40580" cy="118621"/>
            </a:xfrm>
            <a:custGeom>
              <a:avLst/>
              <a:gdLst/>
              <a:ahLst/>
              <a:cxnLst/>
              <a:rect l="l" t="t" r="r" b="b"/>
              <a:pathLst>
                <a:path w="1275" h="3727" extrusionOk="0">
                  <a:moveTo>
                    <a:pt x="858" y="417"/>
                  </a:moveTo>
                  <a:lnTo>
                    <a:pt x="858" y="3298"/>
                  </a:lnTo>
                  <a:lnTo>
                    <a:pt x="417" y="3298"/>
                  </a:lnTo>
                  <a:lnTo>
                    <a:pt x="417" y="417"/>
                  </a:lnTo>
                  <a:close/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lnTo>
                    <a:pt x="1" y="3513"/>
                  </a:lnTo>
                  <a:cubicBezTo>
                    <a:pt x="1" y="3632"/>
                    <a:pt x="96" y="3727"/>
                    <a:pt x="215" y="3727"/>
                  </a:cubicBezTo>
                  <a:lnTo>
                    <a:pt x="1060" y="3727"/>
                  </a:lnTo>
                  <a:cubicBezTo>
                    <a:pt x="1179" y="3727"/>
                    <a:pt x="1275" y="3632"/>
                    <a:pt x="1275" y="3513"/>
                  </a:cubicBezTo>
                  <a:lnTo>
                    <a:pt x="1275" y="215"/>
                  </a:lnTo>
                  <a:cubicBezTo>
                    <a:pt x="1275" y="96"/>
                    <a:pt x="1179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4" name="Google Shape;11324;p60"/>
            <p:cNvSpPr/>
            <p:nvPr/>
          </p:nvSpPr>
          <p:spPr>
            <a:xfrm>
              <a:off x="2900197" y="3934995"/>
              <a:ext cx="40198" cy="101562"/>
            </a:xfrm>
            <a:custGeom>
              <a:avLst/>
              <a:gdLst/>
              <a:ahLst/>
              <a:cxnLst/>
              <a:rect l="l" t="t" r="r" b="b"/>
              <a:pathLst>
                <a:path w="1263" h="3191" extrusionOk="0">
                  <a:moveTo>
                    <a:pt x="846" y="417"/>
                  </a:moveTo>
                  <a:lnTo>
                    <a:pt x="846" y="2762"/>
                  </a:lnTo>
                  <a:lnTo>
                    <a:pt x="417" y="2762"/>
                  </a:lnTo>
                  <a:lnTo>
                    <a:pt x="417" y="417"/>
                  </a:lnTo>
                  <a:close/>
                  <a:moveTo>
                    <a:pt x="203" y="0"/>
                  </a:moveTo>
                  <a:cubicBezTo>
                    <a:pt x="84" y="0"/>
                    <a:pt x="1" y="95"/>
                    <a:pt x="1" y="214"/>
                  </a:cubicBezTo>
                  <a:lnTo>
                    <a:pt x="1" y="2977"/>
                  </a:lnTo>
                  <a:cubicBezTo>
                    <a:pt x="1" y="3096"/>
                    <a:pt x="84" y="3191"/>
                    <a:pt x="203" y="3191"/>
                  </a:cubicBezTo>
                  <a:lnTo>
                    <a:pt x="1048" y="3191"/>
                  </a:lnTo>
                  <a:cubicBezTo>
                    <a:pt x="1168" y="3191"/>
                    <a:pt x="1263" y="3096"/>
                    <a:pt x="1263" y="2977"/>
                  </a:cubicBezTo>
                  <a:lnTo>
                    <a:pt x="1263" y="214"/>
                  </a:lnTo>
                  <a:cubicBezTo>
                    <a:pt x="1263" y="95"/>
                    <a:pt x="1179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5" name="Google Shape;11325;p60"/>
            <p:cNvSpPr/>
            <p:nvPr/>
          </p:nvSpPr>
          <p:spPr>
            <a:xfrm>
              <a:off x="2948320" y="3879265"/>
              <a:ext cx="40580" cy="156941"/>
            </a:xfrm>
            <a:custGeom>
              <a:avLst/>
              <a:gdLst/>
              <a:ahLst/>
              <a:cxnLst/>
              <a:rect l="l" t="t" r="r" b="b"/>
              <a:pathLst>
                <a:path w="1275" h="4931" extrusionOk="0">
                  <a:moveTo>
                    <a:pt x="858" y="430"/>
                  </a:moveTo>
                  <a:lnTo>
                    <a:pt x="858" y="4525"/>
                  </a:lnTo>
                  <a:lnTo>
                    <a:pt x="418" y="4525"/>
                  </a:lnTo>
                  <a:lnTo>
                    <a:pt x="418" y="430"/>
                  </a:lnTo>
                  <a:close/>
                  <a:moveTo>
                    <a:pt x="215" y="1"/>
                  </a:moveTo>
                  <a:cubicBezTo>
                    <a:pt x="96" y="1"/>
                    <a:pt x="1" y="108"/>
                    <a:pt x="1" y="203"/>
                  </a:cubicBezTo>
                  <a:lnTo>
                    <a:pt x="1" y="4716"/>
                  </a:lnTo>
                  <a:cubicBezTo>
                    <a:pt x="1" y="4835"/>
                    <a:pt x="96" y="4930"/>
                    <a:pt x="215" y="4930"/>
                  </a:cubicBezTo>
                  <a:lnTo>
                    <a:pt x="1060" y="4930"/>
                  </a:lnTo>
                  <a:cubicBezTo>
                    <a:pt x="1180" y="4930"/>
                    <a:pt x="1275" y="4835"/>
                    <a:pt x="1275" y="4716"/>
                  </a:cubicBezTo>
                  <a:lnTo>
                    <a:pt x="1275" y="203"/>
                  </a:lnTo>
                  <a:cubicBezTo>
                    <a:pt x="1275" y="84"/>
                    <a:pt x="1180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6" name="Google Shape;11326;p60"/>
            <p:cNvSpPr/>
            <p:nvPr/>
          </p:nvSpPr>
          <p:spPr>
            <a:xfrm>
              <a:off x="2716807" y="3896325"/>
              <a:ext cx="49269" cy="13304"/>
            </a:xfrm>
            <a:custGeom>
              <a:avLst/>
              <a:gdLst/>
              <a:ahLst/>
              <a:cxnLst/>
              <a:rect l="l" t="t" r="r" b="b"/>
              <a:pathLst>
                <a:path w="1548" h="418" extrusionOk="0">
                  <a:moveTo>
                    <a:pt x="214" y="1"/>
                  </a:moveTo>
                  <a:cubicBezTo>
                    <a:pt x="95" y="1"/>
                    <a:pt x="0" y="84"/>
                    <a:pt x="0" y="203"/>
                  </a:cubicBezTo>
                  <a:cubicBezTo>
                    <a:pt x="0" y="322"/>
                    <a:pt x="107" y="417"/>
                    <a:pt x="214" y="417"/>
                  </a:cubicBezTo>
                  <a:lnTo>
                    <a:pt x="1345" y="417"/>
                  </a:lnTo>
                  <a:cubicBezTo>
                    <a:pt x="1453" y="417"/>
                    <a:pt x="1548" y="322"/>
                    <a:pt x="1548" y="203"/>
                  </a:cubicBezTo>
                  <a:cubicBezTo>
                    <a:pt x="1548" y="84"/>
                    <a:pt x="1453" y="1"/>
                    <a:pt x="13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7" name="Google Shape;11327;p60"/>
            <p:cNvSpPr/>
            <p:nvPr/>
          </p:nvSpPr>
          <p:spPr>
            <a:xfrm>
              <a:off x="2717157" y="3917553"/>
              <a:ext cx="69002" cy="13304"/>
            </a:xfrm>
            <a:custGeom>
              <a:avLst/>
              <a:gdLst/>
              <a:ahLst/>
              <a:cxnLst/>
              <a:rect l="l" t="t" r="r" b="b"/>
              <a:pathLst>
                <a:path w="2168" h="418" extrusionOk="0"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lnTo>
                    <a:pt x="1954" y="417"/>
                  </a:lnTo>
                  <a:cubicBezTo>
                    <a:pt x="2073" y="417"/>
                    <a:pt x="2168" y="334"/>
                    <a:pt x="2168" y="215"/>
                  </a:cubicBezTo>
                  <a:cubicBezTo>
                    <a:pt x="2168" y="96"/>
                    <a:pt x="2061" y="0"/>
                    <a:pt x="1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8" name="Google Shape;11328;p60"/>
            <p:cNvSpPr/>
            <p:nvPr/>
          </p:nvSpPr>
          <p:spPr>
            <a:xfrm>
              <a:off x="2717157" y="3938782"/>
              <a:ext cx="69002" cy="13272"/>
            </a:xfrm>
            <a:custGeom>
              <a:avLst/>
              <a:gdLst/>
              <a:ahLst/>
              <a:cxnLst/>
              <a:rect l="l" t="t" r="r" b="b"/>
              <a:pathLst>
                <a:path w="2168" h="417" extrusionOk="0">
                  <a:moveTo>
                    <a:pt x="215" y="0"/>
                  </a:moveTo>
                  <a:cubicBezTo>
                    <a:pt x="96" y="0"/>
                    <a:pt x="1" y="95"/>
                    <a:pt x="1" y="214"/>
                  </a:cubicBezTo>
                  <a:cubicBezTo>
                    <a:pt x="1" y="334"/>
                    <a:pt x="96" y="417"/>
                    <a:pt x="215" y="417"/>
                  </a:cubicBezTo>
                  <a:lnTo>
                    <a:pt x="1954" y="417"/>
                  </a:lnTo>
                  <a:cubicBezTo>
                    <a:pt x="2073" y="417"/>
                    <a:pt x="2168" y="334"/>
                    <a:pt x="2168" y="214"/>
                  </a:cubicBezTo>
                  <a:cubicBezTo>
                    <a:pt x="2168" y="95"/>
                    <a:pt x="2061" y="0"/>
                    <a:pt x="1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9" name="Google Shape;11329;p60"/>
            <p:cNvSpPr/>
            <p:nvPr/>
          </p:nvSpPr>
          <p:spPr>
            <a:xfrm>
              <a:off x="2717157" y="3960361"/>
              <a:ext cx="69002" cy="13304"/>
            </a:xfrm>
            <a:custGeom>
              <a:avLst/>
              <a:gdLst/>
              <a:ahLst/>
              <a:cxnLst/>
              <a:rect l="l" t="t" r="r" b="b"/>
              <a:pathLst>
                <a:path w="2168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8"/>
                    <a:pt x="215" y="418"/>
                  </a:cubicBezTo>
                  <a:lnTo>
                    <a:pt x="1954" y="418"/>
                  </a:lnTo>
                  <a:cubicBezTo>
                    <a:pt x="2073" y="418"/>
                    <a:pt x="2168" y="322"/>
                    <a:pt x="2168" y="203"/>
                  </a:cubicBezTo>
                  <a:cubicBezTo>
                    <a:pt x="2168" y="84"/>
                    <a:pt x="2061" y="1"/>
                    <a:pt x="1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0" name="Google Shape;11330;p60"/>
            <p:cNvSpPr/>
            <p:nvPr/>
          </p:nvSpPr>
          <p:spPr>
            <a:xfrm>
              <a:off x="2655793" y="4020993"/>
              <a:ext cx="84152" cy="82656"/>
            </a:xfrm>
            <a:custGeom>
              <a:avLst/>
              <a:gdLst/>
              <a:ahLst/>
              <a:cxnLst/>
              <a:rect l="l" t="t" r="r" b="b"/>
              <a:pathLst>
                <a:path w="2644" h="2597" extrusionOk="0">
                  <a:moveTo>
                    <a:pt x="1322" y="1"/>
                  </a:moveTo>
                  <a:cubicBezTo>
                    <a:pt x="595" y="1"/>
                    <a:pt x="0" y="596"/>
                    <a:pt x="0" y="1322"/>
                  </a:cubicBezTo>
                  <a:cubicBezTo>
                    <a:pt x="0" y="1620"/>
                    <a:pt x="84" y="1882"/>
                    <a:pt x="262" y="2120"/>
                  </a:cubicBezTo>
                  <a:cubicBezTo>
                    <a:pt x="312" y="2177"/>
                    <a:pt x="379" y="2204"/>
                    <a:pt x="442" y="2204"/>
                  </a:cubicBezTo>
                  <a:cubicBezTo>
                    <a:pt x="485" y="2204"/>
                    <a:pt x="526" y="2192"/>
                    <a:pt x="560" y="2168"/>
                  </a:cubicBezTo>
                  <a:cubicBezTo>
                    <a:pt x="655" y="2096"/>
                    <a:pt x="667" y="1965"/>
                    <a:pt x="607" y="1870"/>
                  </a:cubicBezTo>
                  <a:cubicBezTo>
                    <a:pt x="488" y="1703"/>
                    <a:pt x="429" y="1525"/>
                    <a:pt x="429" y="1322"/>
                  </a:cubicBezTo>
                  <a:cubicBezTo>
                    <a:pt x="429" y="822"/>
                    <a:pt x="834" y="406"/>
                    <a:pt x="1334" y="406"/>
                  </a:cubicBezTo>
                  <a:cubicBezTo>
                    <a:pt x="1846" y="406"/>
                    <a:pt x="2239" y="810"/>
                    <a:pt x="2239" y="1322"/>
                  </a:cubicBezTo>
                  <a:cubicBezTo>
                    <a:pt x="2239" y="1620"/>
                    <a:pt x="2096" y="1894"/>
                    <a:pt x="1846" y="2061"/>
                  </a:cubicBezTo>
                  <a:cubicBezTo>
                    <a:pt x="1822" y="2061"/>
                    <a:pt x="1822" y="2073"/>
                    <a:pt x="1810" y="2073"/>
                  </a:cubicBezTo>
                  <a:lnTo>
                    <a:pt x="1798" y="2073"/>
                  </a:lnTo>
                  <a:cubicBezTo>
                    <a:pt x="1786" y="2073"/>
                    <a:pt x="1786" y="2096"/>
                    <a:pt x="1762" y="2096"/>
                  </a:cubicBezTo>
                  <a:lnTo>
                    <a:pt x="1750" y="2096"/>
                  </a:lnTo>
                  <a:cubicBezTo>
                    <a:pt x="1738" y="2096"/>
                    <a:pt x="1738" y="2108"/>
                    <a:pt x="1727" y="2108"/>
                  </a:cubicBezTo>
                  <a:cubicBezTo>
                    <a:pt x="1703" y="2108"/>
                    <a:pt x="1691" y="2120"/>
                    <a:pt x="1691" y="2120"/>
                  </a:cubicBezTo>
                  <a:lnTo>
                    <a:pt x="1679" y="2120"/>
                  </a:lnTo>
                  <a:cubicBezTo>
                    <a:pt x="1667" y="2120"/>
                    <a:pt x="1667" y="2120"/>
                    <a:pt x="1643" y="2144"/>
                  </a:cubicBezTo>
                  <a:lnTo>
                    <a:pt x="1631" y="2144"/>
                  </a:lnTo>
                  <a:cubicBezTo>
                    <a:pt x="1619" y="2144"/>
                    <a:pt x="1608" y="2156"/>
                    <a:pt x="1608" y="2156"/>
                  </a:cubicBezTo>
                  <a:cubicBezTo>
                    <a:pt x="1584" y="2156"/>
                    <a:pt x="1572" y="2156"/>
                    <a:pt x="1560" y="2168"/>
                  </a:cubicBezTo>
                  <a:lnTo>
                    <a:pt x="1072" y="2168"/>
                  </a:lnTo>
                  <a:cubicBezTo>
                    <a:pt x="1048" y="2168"/>
                    <a:pt x="1036" y="2168"/>
                    <a:pt x="1024" y="2156"/>
                  </a:cubicBezTo>
                  <a:cubicBezTo>
                    <a:pt x="1012" y="2156"/>
                    <a:pt x="988" y="2144"/>
                    <a:pt x="988" y="2144"/>
                  </a:cubicBezTo>
                  <a:lnTo>
                    <a:pt x="976" y="2144"/>
                  </a:lnTo>
                  <a:cubicBezTo>
                    <a:pt x="951" y="2133"/>
                    <a:pt x="925" y="2127"/>
                    <a:pt x="899" y="2127"/>
                  </a:cubicBezTo>
                  <a:cubicBezTo>
                    <a:pt x="817" y="2127"/>
                    <a:pt x="742" y="2181"/>
                    <a:pt x="715" y="2263"/>
                  </a:cubicBezTo>
                  <a:cubicBezTo>
                    <a:pt x="667" y="2358"/>
                    <a:pt x="726" y="2501"/>
                    <a:pt x="834" y="2525"/>
                  </a:cubicBezTo>
                  <a:lnTo>
                    <a:pt x="846" y="2525"/>
                  </a:lnTo>
                  <a:cubicBezTo>
                    <a:pt x="857" y="2525"/>
                    <a:pt x="869" y="2537"/>
                    <a:pt x="905" y="2537"/>
                  </a:cubicBezTo>
                  <a:cubicBezTo>
                    <a:pt x="917" y="2537"/>
                    <a:pt x="929" y="2561"/>
                    <a:pt x="965" y="2561"/>
                  </a:cubicBezTo>
                  <a:lnTo>
                    <a:pt x="976" y="2561"/>
                  </a:lnTo>
                  <a:cubicBezTo>
                    <a:pt x="988" y="2561"/>
                    <a:pt x="1012" y="2561"/>
                    <a:pt x="1024" y="2573"/>
                  </a:cubicBezTo>
                  <a:lnTo>
                    <a:pt x="1036" y="2573"/>
                  </a:lnTo>
                  <a:cubicBezTo>
                    <a:pt x="1048" y="2573"/>
                    <a:pt x="1072" y="2573"/>
                    <a:pt x="1096" y="2584"/>
                  </a:cubicBezTo>
                  <a:cubicBezTo>
                    <a:pt x="1107" y="2584"/>
                    <a:pt x="1143" y="2584"/>
                    <a:pt x="1155" y="2596"/>
                  </a:cubicBezTo>
                  <a:lnTo>
                    <a:pt x="1429" y="2596"/>
                  </a:lnTo>
                  <a:cubicBezTo>
                    <a:pt x="1441" y="2596"/>
                    <a:pt x="1465" y="2596"/>
                    <a:pt x="1488" y="2584"/>
                  </a:cubicBezTo>
                  <a:cubicBezTo>
                    <a:pt x="1500" y="2584"/>
                    <a:pt x="1524" y="2584"/>
                    <a:pt x="1548" y="2573"/>
                  </a:cubicBezTo>
                  <a:lnTo>
                    <a:pt x="1560" y="2573"/>
                  </a:lnTo>
                  <a:cubicBezTo>
                    <a:pt x="1572" y="2573"/>
                    <a:pt x="1584" y="2573"/>
                    <a:pt x="1608" y="2561"/>
                  </a:cubicBezTo>
                  <a:lnTo>
                    <a:pt x="1619" y="2561"/>
                  </a:lnTo>
                  <a:cubicBezTo>
                    <a:pt x="1631" y="2561"/>
                    <a:pt x="1643" y="2537"/>
                    <a:pt x="1679" y="2537"/>
                  </a:cubicBezTo>
                  <a:cubicBezTo>
                    <a:pt x="1691" y="2537"/>
                    <a:pt x="1703" y="2525"/>
                    <a:pt x="1738" y="2525"/>
                  </a:cubicBezTo>
                  <a:lnTo>
                    <a:pt x="1750" y="2525"/>
                  </a:lnTo>
                  <a:cubicBezTo>
                    <a:pt x="1762" y="2525"/>
                    <a:pt x="1786" y="2513"/>
                    <a:pt x="1798" y="2513"/>
                  </a:cubicBezTo>
                  <a:lnTo>
                    <a:pt x="1810" y="2513"/>
                  </a:lnTo>
                  <a:cubicBezTo>
                    <a:pt x="1822" y="2513"/>
                    <a:pt x="1846" y="2489"/>
                    <a:pt x="1858" y="2477"/>
                  </a:cubicBezTo>
                  <a:cubicBezTo>
                    <a:pt x="1869" y="2465"/>
                    <a:pt x="1881" y="2465"/>
                    <a:pt x="1905" y="2454"/>
                  </a:cubicBezTo>
                  <a:lnTo>
                    <a:pt x="1917" y="2430"/>
                  </a:lnTo>
                  <a:cubicBezTo>
                    <a:pt x="1929" y="2430"/>
                    <a:pt x="1941" y="2418"/>
                    <a:pt x="1941" y="2418"/>
                  </a:cubicBezTo>
                  <a:lnTo>
                    <a:pt x="1965" y="2406"/>
                  </a:lnTo>
                  <a:cubicBezTo>
                    <a:pt x="1977" y="2394"/>
                    <a:pt x="1989" y="2394"/>
                    <a:pt x="2000" y="2370"/>
                  </a:cubicBezTo>
                  <a:cubicBezTo>
                    <a:pt x="2381" y="2120"/>
                    <a:pt x="2584" y="1715"/>
                    <a:pt x="2584" y="1275"/>
                  </a:cubicBezTo>
                  <a:cubicBezTo>
                    <a:pt x="2643" y="596"/>
                    <a:pt x="2048" y="1"/>
                    <a:pt x="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31" name="Google Shape;11331;p60"/>
          <p:cNvSpPr/>
          <p:nvPr/>
        </p:nvSpPr>
        <p:spPr>
          <a:xfrm>
            <a:off x="1752752" y="3803866"/>
            <a:ext cx="356245" cy="356627"/>
          </a:xfrm>
          <a:custGeom>
            <a:avLst/>
            <a:gdLst/>
            <a:ahLst/>
            <a:cxnLst/>
            <a:rect l="l" t="t" r="r" b="b"/>
            <a:pathLst>
              <a:path w="11193" h="11205" extrusionOk="0">
                <a:moveTo>
                  <a:pt x="3763" y="358"/>
                </a:moveTo>
                <a:cubicBezTo>
                  <a:pt x="4096" y="358"/>
                  <a:pt x="4346" y="632"/>
                  <a:pt x="4346" y="941"/>
                </a:cubicBezTo>
                <a:cubicBezTo>
                  <a:pt x="4346" y="1144"/>
                  <a:pt x="4239" y="1346"/>
                  <a:pt x="4061" y="1441"/>
                </a:cubicBezTo>
                <a:cubicBezTo>
                  <a:pt x="4013" y="1477"/>
                  <a:pt x="3977" y="1536"/>
                  <a:pt x="3977" y="1596"/>
                </a:cubicBezTo>
                <a:lnTo>
                  <a:pt x="3977" y="2001"/>
                </a:lnTo>
                <a:cubicBezTo>
                  <a:pt x="3977" y="2096"/>
                  <a:pt x="4049" y="2179"/>
                  <a:pt x="4156" y="2179"/>
                </a:cubicBezTo>
                <a:lnTo>
                  <a:pt x="5394" y="2179"/>
                </a:lnTo>
                <a:lnTo>
                  <a:pt x="5394" y="3406"/>
                </a:lnTo>
                <a:cubicBezTo>
                  <a:pt x="5394" y="3513"/>
                  <a:pt x="5466" y="3584"/>
                  <a:pt x="5573" y="3584"/>
                </a:cubicBezTo>
                <a:lnTo>
                  <a:pt x="5966" y="3584"/>
                </a:lnTo>
                <a:cubicBezTo>
                  <a:pt x="6025" y="3584"/>
                  <a:pt x="6085" y="3561"/>
                  <a:pt x="6120" y="3501"/>
                </a:cubicBezTo>
                <a:cubicBezTo>
                  <a:pt x="6228" y="3322"/>
                  <a:pt x="6418" y="3215"/>
                  <a:pt x="6620" y="3215"/>
                </a:cubicBezTo>
                <a:cubicBezTo>
                  <a:pt x="6954" y="3215"/>
                  <a:pt x="7204" y="3489"/>
                  <a:pt x="7204" y="3799"/>
                </a:cubicBezTo>
                <a:cubicBezTo>
                  <a:pt x="7204" y="4120"/>
                  <a:pt x="6942" y="4382"/>
                  <a:pt x="6620" y="4382"/>
                </a:cubicBezTo>
                <a:cubicBezTo>
                  <a:pt x="6418" y="4382"/>
                  <a:pt x="6228" y="4275"/>
                  <a:pt x="6120" y="4096"/>
                </a:cubicBezTo>
                <a:cubicBezTo>
                  <a:pt x="6085" y="4037"/>
                  <a:pt x="6025" y="4001"/>
                  <a:pt x="5966" y="4001"/>
                </a:cubicBezTo>
                <a:lnTo>
                  <a:pt x="5573" y="4001"/>
                </a:lnTo>
                <a:cubicBezTo>
                  <a:pt x="5466" y="4001"/>
                  <a:pt x="5394" y="4084"/>
                  <a:pt x="5394" y="4180"/>
                </a:cubicBezTo>
                <a:lnTo>
                  <a:pt x="5394" y="5418"/>
                </a:lnTo>
                <a:lnTo>
                  <a:pt x="4334" y="5418"/>
                </a:lnTo>
                <a:lnTo>
                  <a:pt x="4334" y="5299"/>
                </a:lnTo>
                <a:cubicBezTo>
                  <a:pt x="4573" y="5120"/>
                  <a:pt x="4704" y="4834"/>
                  <a:pt x="4704" y="4561"/>
                </a:cubicBezTo>
                <a:cubicBezTo>
                  <a:pt x="4704" y="4037"/>
                  <a:pt x="4287" y="3620"/>
                  <a:pt x="3775" y="3620"/>
                </a:cubicBezTo>
                <a:cubicBezTo>
                  <a:pt x="3251" y="3620"/>
                  <a:pt x="2834" y="4037"/>
                  <a:pt x="2834" y="4561"/>
                </a:cubicBezTo>
                <a:cubicBezTo>
                  <a:pt x="2834" y="4858"/>
                  <a:pt x="2965" y="5132"/>
                  <a:pt x="3203" y="5299"/>
                </a:cubicBezTo>
                <a:lnTo>
                  <a:pt x="3203" y="5430"/>
                </a:lnTo>
                <a:lnTo>
                  <a:pt x="2144" y="5430"/>
                </a:lnTo>
                <a:lnTo>
                  <a:pt x="2144" y="2179"/>
                </a:lnTo>
                <a:lnTo>
                  <a:pt x="3382" y="2179"/>
                </a:lnTo>
                <a:cubicBezTo>
                  <a:pt x="3489" y="2179"/>
                  <a:pt x="3561" y="2096"/>
                  <a:pt x="3561" y="2001"/>
                </a:cubicBezTo>
                <a:lnTo>
                  <a:pt x="3561" y="1596"/>
                </a:lnTo>
                <a:cubicBezTo>
                  <a:pt x="3561" y="1536"/>
                  <a:pt x="3537" y="1477"/>
                  <a:pt x="3465" y="1441"/>
                </a:cubicBezTo>
                <a:cubicBezTo>
                  <a:pt x="3299" y="1346"/>
                  <a:pt x="3191" y="1144"/>
                  <a:pt x="3191" y="941"/>
                </a:cubicBezTo>
                <a:cubicBezTo>
                  <a:pt x="3191" y="608"/>
                  <a:pt x="3453" y="358"/>
                  <a:pt x="3763" y="358"/>
                </a:cubicBezTo>
                <a:close/>
                <a:moveTo>
                  <a:pt x="9014" y="5811"/>
                </a:moveTo>
                <a:lnTo>
                  <a:pt x="9014" y="7799"/>
                </a:lnTo>
                <a:lnTo>
                  <a:pt x="9014" y="8025"/>
                </a:lnTo>
                <a:lnTo>
                  <a:pt x="9014" y="9049"/>
                </a:lnTo>
                <a:lnTo>
                  <a:pt x="7775" y="9049"/>
                </a:lnTo>
                <a:cubicBezTo>
                  <a:pt x="7668" y="9049"/>
                  <a:pt x="7597" y="9121"/>
                  <a:pt x="7597" y="9228"/>
                </a:cubicBezTo>
                <a:lnTo>
                  <a:pt x="7597" y="9633"/>
                </a:lnTo>
                <a:cubicBezTo>
                  <a:pt x="7597" y="9692"/>
                  <a:pt x="7621" y="9752"/>
                  <a:pt x="7680" y="9776"/>
                </a:cubicBezTo>
                <a:cubicBezTo>
                  <a:pt x="7859" y="9883"/>
                  <a:pt x="7966" y="10073"/>
                  <a:pt x="7966" y="10288"/>
                </a:cubicBezTo>
                <a:cubicBezTo>
                  <a:pt x="7966" y="10609"/>
                  <a:pt x="7704" y="10871"/>
                  <a:pt x="7382" y="10871"/>
                </a:cubicBezTo>
                <a:cubicBezTo>
                  <a:pt x="7061" y="10871"/>
                  <a:pt x="6811" y="10597"/>
                  <a:pt x="6811" y="10288"/>
                </a:cubicBezTo>
                <a:cubicBezTo>
                  <a:pt x="6811" y="10073"/>
                  <a:pt x="6906" y="9883"/>
                  <a:pt x="7085" y="9776"/>
                </a:cubicBezTo>
                <a:cubicBezTo>
                  <a:pt x="7144" y="9752"/>
                  <a:pt x="7180" y="9692"/>
                  <a:pt x="7180" y="9633"/>
                </a:cubicBezTo>
                <a:lnTo>
                  <a:pt x="7180" y="9228"/>
                </a:lnTo>
                <a:cubicBezTo>
                  <a:pt x="7180" y="9121"/>
                  <a:pt x="7109" y="9049"/>
                  <a:pt x="7001" y="9049"/>
                </a:cubicBezTo>
                <a:lnTo>
                  <a:pt x="5763" y="9049"/>
                </a:lnTo>
                <a:lnTo>
                  <a:pt x="5763" y="7811"/>
                </a:lnTo>
                <a:cubicBezTo>
                  <a:pt x="5763" y="7716"/>
                  <a:pt x="5692" y="7632"/>
                  <a:pt x="5585" y="7632"/>
                </a:cubicBezTo>
                <a:lnTo>
                  <a:pt x="5180" y="7632"/>
                </a:lnTo>
                <a:cubicBezTo>
                  <a:pt x="5120" y="7632"/>
                  <a:pt x="5061" y="7668"/>
                  <a:pt x="5037" y="7728"/>
                </a:cubicBezTo>
                <a:cubicBezTo>
                  <a:pt x="4930" y="7906"/>
                  <a:pt x="4739" y="8013"/>
                  <a:pt x="4525" y="8013"/>
                </a:cubicBezTo>
                <a:cubicBezTo>
                  <a:pt x="4203" y="8013"/>
                  <a:pt x="3953" y="7740"/>
                  <a:pt x="3953" y="7430"/>
                </a:cubicBezTo>
                <a:cubicBezTo>
                  <a:pt x="3953" y="7120"/>
                  <a:pt x="4215" y="6847"/>
                  <a:pt x="4525" y="6847"/>
                </a:cubicBezTo>
                <a:cubicBezTo>
                  <a:pt x="4739" y="6847"/>
                  <a:pt x="4930" y="6954"/>
                  <a:pt x="5037" y="7132"/>
                </a:cubicBezTo>
                <a:cubicBezTo>
                  <a:pt x="5061" y="7192"/>
                  <a:pt x="5120" y="7216"/>
                  <a:pt x="5180" y="7216"/>
                </a:cubicBezTo>
                <a:lnTo>
                  <a:pt x="5585" y="7216"/>
                </a:lnTo>
                <a:cubicBezTo>
                  <a:pt x="5692" y="7216"/>
                  <a:pt x="5763" y="7144"/>
                  <a:pt x="5763" y="7037"/>
                </a:cubicBezTo>
                <a:lnTo>
                  <a:pt x="5763" y="5811"/>
                </a:lnTo>
                <a:lnTo>
                  <a:pt x="6823" y="5811"/>
                </a:lnTo>
                <a:lnTo>
                  <a:pt x="6823" y="5942"/>
                </a:lnTo>
                <a:cubicBezTo>
                  <a:pt x="6585" y="6120"/>
                  <a:pt x="6454" y="6406"/>
                  <a:pt x="6454" y="6680"/>
                </a:cubicBezTo>
                <a:cubicBezTo>
                  <a:pt x="6454" y="7204"/>
                  <a:pt x="6870" y="7621"/>
                  <a:pt x="7382" y="7621"/>
                </a:cubicBezTo>
                <a:cubicBezTo>
                  <a:pt x="7906" y="7621"/>
                  <a:pt x="8323" y="7204"/>
                  <a:pt x="8323" y="6680"/>
                </a:cubicBezTo>
                <a:cubicBezTo>
                  <a:pt x="8323" y="6382"/>
                  <a:pt x="8192" y="6108"/>
                  <a:pt x="7954" y="5942"/>
                </a:cubicBezTo>
                <a:lnTo>
                  <a:pt x="7954" y="5811"/>
                </a:lnTo>
                <a:close/>
                <a:moveTo>
                  <a:pt x="3799" y="1"/>
                </a:moveTo>
                <a:cubicBezTo>
                  <a:pt x="3275" y="1"/>
                  <a:pt x="2858" y="417"/>
                  <a:pt x="2858" y="941"/>
                </a:cubicBezTo>
                <a:cubicBezTo>
                  <a:pt x="2858" y="1239"/>
                  <a:pt x="3001" y="1525"/>
                  <a:pt x="3239" y="1679"/>
                </a:cubicBezTo>
                <a:lnTo>
                  <a:pt x="3239" y="1822"/>
                </a:lnTo>
                <a:lnTo>
                  <a:pt x="2001" y="1822"/>
                </a:lnTo>
                <a:cubicBezTo>
                  <a:pt x="1894" y="1822"/>
                  <a:pt x="1822" y="1894"/>
                  <a:pt x="1822" y="2001"/>
                </a:cubicBezTo>
                <a:lnTo>
                  <a:pt x="1822" y="5608"/>
                </a:lnTo>
                <a:lnTo>
                  <a:pt x="1822" y="6847"/>
                </a:lnTo>
                <a:lnTo>
                  <a:pt x="1691" y="6847"/>
                </a:lnTo>
                <a:cubicBezTo>
                  <a:pt x="1513" y="6609"/>
                  <a:pt x="1227" y="6478"/>
                  <a:pt x="941" y="6478"/>
                </a:cubicBezTo>
                <a:cubicBezTo>
                  <a:pt x="417" y="6478"/>
                  <a:pt x="1" y="6894"/>
                  <a:pt x="1" y="7406"/>
                </a:cubicBezTo>
                <a:cubicBezTo>
                  <a:pt x="1" y="7930"/>
                  <a:pt x="417" y="8347"/>
                  <a:pt x="941" y="8347"/>
                </a:cubicBezTo>
                <a:cubicBezTo>
                  <a:pt x="1239" y="8347"/>
                  <a:pt x="1525" y="8216"/>
                  <a:pt x="1691" y="7978"/>
                </a:cubicBezTo>
                <a:lnTo>
                  <a:pt x="1822" y="7978"/>
                </a:lnTo>
                <a:lnTo>
                  <a:pt x="1822" y="9216"/>
                </a:lnTo>
                <a:cubicBezTo>
                  <a:pt x="1822" y="9311"/>
                  <a:pt x="1894" y="9395"/>
                  <a:pt x="2001" y="9395"/>
                </a:cubicBezTo>
                <a:lnTo>
                  <a:pt x="2620" y="9395"/>
                </a:lnTo>
                <a:cubicBezTo>
                  <a:pt x="2727" y="9395"/>
                  <a:pt x="2799" y="9311"/>
                  <a:pt x="2799" y="9216"/>
                </a:cubicBezTo>
                <a:cubicBezTo>
                  <a:pt x="2799" y="9109"/>
                  <a:pt x="2727" y="9037"/>
                  <a:pt x="2620" y="9037"/>
                </a:cubicBezTo>
                <a:lnTo>
                  <a:pt x="2179" y="9037"/>
                </a:lnTo>
                <a:lnTo>
                  <a:pt x="2179" y="7799"/>
                </a:lnTo>
                <a:cubicBezTo>
                  <a:pt x="2179" y="7692"/>
                  <a:pt x="2108" y="7621"/>
                  <a:pt x="2001" y="7621"/>
                </a:cubicBezTo>
                <a:lnTo>
                  <a:pt x="1596" y="7621"/>
                </a:lnTo>
                <a:cubicBezTo>
                  <a:pt x="1536" y="7621"/>
                  <a:pt x="1477" y="7644"/>
                  <a:pt x="1453" y="7704"/>
                </a:cubicBezTo>
                <a:cubicBezTo>
                  <a:pt x="1346" y="7882"/>
                  <a:pt x="1155" y="7990"/>
                  <a:pt x="941" y="7990"/>
                </a:cubicBezTo>
                <a:cubicBezTo>
                  <a:pt x="620" y="7990"/>
                  <a:pt x="358" y="7728"/>
                  <a:pt x="358" y="7406"/>
                </a:cubicBezTo>
                <a:cubicBezTo>
                  <a:pt x="358" y="7085"/>
                  <a:pt x="632" y="6835"/>
                  <a:pt x="941" y="6835"/>
                </a:cubicBezTo>
                <a:cubicBezTo>
                  <a:pt x="1155" y="6835"/>
                  <a:pt x="1346" y="6930"/>
                  <a:pt x="1453" y="7109"/>
                </a:cubicBezTo>
                <a:cubicBezTo>
                  <a:pt x="1477" y="7168"/>
                  <a:pt x="1536" y="7204"/>
                  <a:pt x="1596" y="7204"/>
                </a:cubicBezTo>
                <a:lnTo>
                  <a:pt x="2001" y="7204"/>
                </a:lnTo>
                <a:cubicBezTo>
                  <a:pt x="2108" y="7204"/>
                  <a:pt x="2179" y="7132"/>
                  <a:pt x="2179" y="7025"/>
                </a:cubicBezTo>
                <a:lnTo>
                  <a:pt x="2179" y="5787"/>
                </a:lnTo>
                <a:lnTo>
                  <a:pt x="3418" y="5787"/>
                </a:lnTo>
                <a:cubicBezTo>
                  <a:pt x="3513" y="5787"/>
                  <a:pt x="3596" y="5716"/>
                  <a:pt x="3596" y="5608"/>
                </a:cubicBezTo>
                <a:lnTo>
                  <a:pt x="3596" y="5204"/>
                </a:lnTo>
                <a:cubicBezTo>
                  <a:pt x="3596" y="5144"/>
                  <a:pt x="3561" y="5085"/>
                  <a:pt x="3501" y="5061"/>
                </a:cubicBezTo>
                <a:cubicBezTo>
                  <a:pt x="3322" y="4954"/>
                  <a:pt x="3215" y="4763"/>
                  <a:pt x="3215" y="4549"/>
                </a:cubicBezTo>
                <a:cubicBezTo>
                  <a:pt x="3215" y="4227"/>
                  <a:pt x="3489" y="3977"/>
                  <a:pt x="3799" y="3977"/>
                </a:cubicBezTo>
                <a:cubicBezTo>
                  <a:pt x="4132" y="3977"/>
                  <a:pt x="4382" y="4239"/>
                  <a:pt x="4382" y="4549"/>
                </a:cubicBezTo>
                <a:cubicBezTo>
                  <a:pt x="4382" y="4763"/>
                  <a:pt x="4275" y="4954"/>
                  <a:pt x="4096" y="5061"/>
                </a:cubicBezTo>
                <a:cubicBezTo>
                  <a:pt x="4037" y="5085"/>
                  <a:pt x="4013" y="5144"/>
                  <a:pt x="4013" y="5204"/>
                </a:cubicBezTo>
                <a:lnTo>
                  <a:pt x="4013" y="5608"/>
                </a:lnTo>
                <a:cubicBezTo>
                  <a:pt x="4013" y="5716"/>
                  <a:pt x="4084" y="5787"/>
                  <a:pt x="4192" y="5787"/>
                </a:cubicBezTo>
                <a:lnTo>
                  <a:pt x="5418" y="5787"/>
                </a:lnTo>
                <a:lnTo>
                  <a:pt x="5418" y="6847"/>
                </a:lnTo>
                <a:lnTo>
                  <a:pt x="5287" y="6847"/>
                </a:lnTo>
                <a:cubicBezTo>
                  <a:pt x="5108" y="6609"/>
                  <a:pt x="4823" y="6478"/>
                  <a:pt x="4549" y="6478"/>
                </a:cubicBezTo>
                <a:cubicBezTo>
                  <a:pt x="4025" y="6478"/>
                  <a:pt x="3608" y="6894"/>
                  <a:pt x="3608" y="7406"/>
                </a:cubicBezTo>
                <a:cubicBezTo>
                  <a:pt x="3608" y="7930"/>
                  <a:pt x="4025" y="8347"/>
                  <a:pt x="4549" y="8347"/>
                </a:cubicBezTo>
                <a:cubicBezTo>
                  <a:pt x="4846" y="8347"/>
                  <a:pt x="5120" y="8216"/>
                  <a:pt x="5287" y="7978"/>
                </a:cubicBezTo>
                <a:lnTo>
                  <a:pt x="5418" y="7978"/>
                </a:lnTo>
                <a:lnTo>
                  <a:pt x="5418" y="9037"/>
                </a:lnTo>
                <a:lnTo>
                  <a:pt x="3168" y="9037"/>
                </a:lnTo>
                <a:cubicBezTo>
                  <a:pt x="3072" y="9037"/>
                  <a:pt x="3001" y="9109"/>
                  <a:pt x="3001" y="9216"/>
                </a:cubicBezTo>
                <a:cubicBezTo>
                  <a:pt x="3001" y="9311"/>
                  <a:pt x="3072" y="9395"/>
                  <a:pt x="3168" y="9395"/>
                </a:cubicBezTo>
                <a:lnTo>
                  <a:pt x="6835" y="9395"/>
                </a:lnTo>
                <a:lnTo>
                  <a:pt x="6835" y="9526"/>
                </a:lnTo>
                <a:cubicBezTo>
                  <a:pt x="6597" y="9704"/>
                  <a:pt x="6466" y="9990"/>
                  <a:pt x="6466" y="10264"/>
                </a:cubicBezTo>
                <a:cubicBezTo>
                  <a:pt x="6466" y="10788"/>
                  <a:pt x="6882" y="11204"/>
                  <a:pt x="7406" y="11204"/>
                </a:cubicBezTo>
                <a:cubicBezTo>
                  <a:pt x="7918" y="11204"/>
                  <a:pt x="8335" y="10788"/>
                  <a:pt x="8335" y="10264"/>
                </a:cubicBezTo>
                <a:cubicBezTo>
                  <a:pt x="8335" y="9966"/>
                  <a:pt x="8204" y="9692"/>
                  <a:pt x="7966" y="9526"/>
                </a:cubicBezTo>
                <a:lnTo>
                  <a:pt x="7966" y="9395"/>
                </a:lnTo>
                <a:lnTo>
                  <a:pt x="9204" y="9395"/>
                </a:lnTo>
                <a:cubicBezTo>
                  <a:pt x="9311" y="9395"/>
                  <a:pt x="9383" y="9311"/>
                  <a:pt x="9383" y="9216"/>
                </a:cubicBezTo>
                <a:lnTo>
                  <a:pt x="9383" y="8002"/>
                </a:lnTo>
                <a:lnTo>
                  <a:pt x="9383" y="7787"/>
                </a:lnTo>
                <a:lnTo>
                  <a:pt x="9383" y="5596"/>
                </a:lnTo>
                <a:lnTo>
                  <a:pt x="9383" y="4358"/>
                </a:lnTo>
                <a:lnTo>
                  <a:pt x="9514" y="4358"/>
                </a:lnTo>
                <a:cubicBezTo>
                  <a:pt x="9692" y="4596"/>
                  <a:pt x="9978" y="4727"/>
                  <a:pt x="10264" y="4727"/>
                </a:cubicBezTo>
                <a:cubicBezTo>
                  <a:pt x="10776" y="4727"/>
                  <a:pt x="11192" y="4311"/>
                  <a:pt x="11192" y="3799"/>
                </a:cubicBezTo>
                <a:cubicBezTo>
                  <a:pt x="11192" y="3287"/>
                  <a:pt x="10776" y="2858"/>
                  <a:pt x="10264" y="2858"/>
                </a:cubicBezTo>
                <a:cubicBezTo>
                  <a:pt x="9966" y="2858"/>
                  <a:pt x="9680" y="2989"/>
                  <a:pt x="9514" y="3227"/>
                </a:cubicBezTo>
                <a:lnTo>
                  <a:pt x="9383" y="3227"/>
                </a:lnTo>
                <a:lnTo>
                  <a:pt x="9383" y="2001"/>
                </a:lnTo>
                <a:cubicBezTo>
                  <a:pt x="9383" y="1894"/>
                  <a:pt x="9311" y="1822"/>
                  <a:pt x="9204" y="1822"/>
                </a:cubicBezTo>
                <a:lnTo>
                  <a:pt x="8609" y="1822"/>
                </a:lnTo>
                <a:cubicBezTo>
                  <a:pt x="8502" y="1822"/>
                  <a:pt x="8430" y="1894"/>
                  <a:pt x="8430" y="2001"/>
                </a:cubicBezTo>
                <a:cubicBezTo>
                  <a:pt x="8430" y="2096"/>
                  <a:pt x="8502" y="2179"/>
                  <a:pt x="8609" y="2179"/>
                </a:cubicBezTo>
                <a:lnTo>
                  <a:pt x="9026" y="2179"/>
                </a:lnTo>
                <a:lnTo>
                  <a:pt x="9026" y="3406"/>
                </a:lnTo>
                <a:cubicBezTo>
                  <a:pt x="9026" y="3513"/>
                  <a:pt x="9097" y="3584"/>
                  <a:pt x="9204" y="3584"/>
                </a:cubicBezTo>
                <a:lnTo>
                  <a:pt x="9609" y="3584"/>
                </a:lnTo>
                <a:cubicBezTo>
                  <a:pt x="9668" y="3584"/>
                  <a:pt x="9728" y="3561"/>
                  <a:pt x="9752" y="3501"/>
                </a:cubicBezTo>
                <a:cubicBezTo>
                  <a:pt x="9859" y="3322"/>
                  <a:pt x="10049" y="3215"/>
                  <a:pt x="10264" y="3215"/>
                </a:cubicBezTo>
                <a:cubicBezTo>
                  <a:pt x="10585" y="3215"/>
                  <a:pt x="10835" y="3489"/>
                  <a:pt x="10835" y="3799"/>
                </a:cubicBezTo>
                <a:cubicBezTo>
                  <a:pt x="10835" y="4120"/>
                  <a:pt x="10573" y="4382"/>
                  <a:pt x="10264" y="4382"/>
                </a:cubicBezTo>
                <a:cubicBezTo>
                  <a:pt x="10049" y="4382"/>
                  <a:pt x="9859" y="4275"/>
                  <a:pt x="9752" y="4096"/>
                </a:cubicBezTo>
                <a:cubicBezTo>
                  <a:pt x="9728" y="4037"/>
                  <a:pt x="9668" y="4001"/>
                  <a:pt x="9609" y="4001"/>
                </a:cubicBezTo>
                <a:lnTo>
                  <a:pt x="9204" y="4001"/>
                </a:lnTo>
                <a:cubicBezTo>
                  <a:pt x="9097" y="4001"/>
                  <a:pt x="9026" y="4084"/>
                  <a:pt x="9026" y="4180"/>
                </a:cubicBezTo>
                <a:lnTo>
                  <a:pt x="9026" y="5418"/>
                </a:lnTo>
                <a:lnTo>
                  <a:pt x="7787" y="5418"/>
                </a:lnTo>
                <a:cubicBezTo>
                  <a:pt x="7680" y="5418"/>
                  <a:pt x="7609" y="5489"/>
                  <a:pt x="7609" y="5596"/>
                </a:cubicBezTo>
                <a:lnTo>
                  <a:pt x="7609" y="6001"/>
                </a:lnTo>
                <a:cubicBezTo>
                  <a:pt x="7609" y="6061"/>
                  <a:pt x="7644" y="6120"/>
                  <a:pt x="7704" y="6144"/>
                </a:cubicBezTo>
                <a:cubicBezTo>
                  <a:pt x="7883" y="6251"/>
                  <a:pt x="7978" y="6442"/>
                  <a:pt x="7978" y="6656"/>
                </a:cubicBezTo>
                <a:cubicBezTo>
                  <a:pt x="7978" y="6978"/>
                  <a:pt x="7716" y="7240"/>
                  <a:pt x="7406" y="7240"/>
                </a:cubicBezTo>
                <a:cubicBezTo>
                  <a:pt x="7073" y="7240"/>
                  <a:pt x="6823" y="6966"/>
                  <a:pt x="6823" y="6656"/>
                </a:cubicBezTo>
                <a:cubicBezTo>
                  <a:pt x="6823" y="6442"/>
                  <a:pt x="6930" y="6251"/>
                  <a:pt x="7109" y="6144"/>
                </a:cubicBezTo>
                <a:cubicBezTo>
                  <a:pt x="7168" y="6120"/>
                  <a:pt x="7192" y="6061"/>
                  <a:pt x="7192" y="6001"/>
                </a:cubicBezTo>
                <a:lnTo>
                  <a:pt x="7192" y="5596"/>
                </a:lnTo>
                <a:cubicBezTo>
                  <a:pt x="7192" y="5489"/>
                  <a:pt x="7121" y="5418"/>
                  <a:pt x="7013" y="5418"/>
                </a:cubicBezTo>
                <a:lnTo>
                  <a:pt x="5775" y="5418"/>
                </a:lnTo>
                <a:lnTo>
                  <a:pt x="5775" y="4358"/>
                </a:lnTo>
                <a:lnTo>
                  <a:pt x="5918" y="4358"/>
                </a:lnTo>
                <a:cubicBezTo>
                  <a:pt x="6097" y="4596"/>
                  <a:pt x="6370" y="4739"/>
                  <a:pt x="6656" y="4739"/>
                </a:cubicBezTo>
                <a:cubicBezTo>
                  <a:pt x="7180" y="4739"/>
                  <a:pt x="7597" y="4323"/>
                  <a:pt x="7597" y="3799"/>
                </a:cubicBezTo>
                <a:cubicBezTo>
                  <a:pt x="7597" y="3275"/>
                  <a:pt x="7180" y="2858"/>
                  <a:pt x="6656" y="2858"/>
                </a:cubicBezTo>
                <a:cubicBezTo>
                  <a:pt x="6359" y="2858"/>
                  <a:pt x="6073" y="2989"/>
                  <a:pt x="5918" y="3227"/>
                </a:cubicBezTo>
                <a:lnTo>
                  <a:pt x="5775" y="3227"/>
                </a:lnTo>
                <a:lnTo>
                  <a:pt x="5775" y="2179"/>
                </a:lnTo>
                <a:lnTo>
                  <a:pt x="8025" y="2179"/>
                </a:lnTo>
                <a:cubicBezTo>
                  <a:pt x="8133" y="2179"/>
                  <a:pt x="8204" y="2096"/>
                  <a:pt x="8204" y="2001"/>
                </a:cubicBezTo>
                <a:cubicBezTo>
                  <a:pt x="8204" y="1894"/>
                  <a:pt x="8133" y="1822"/>
                  <a:pt x="8025" y="1822"/>
                </a:cubicBezTo>
                <a:lnTo>
                  <a:pt x="4370" y="1822"/>
                </a:lnTo>
                <a:lnTo>
                  <a:pt x="4370" y="1679"/>
                </a:lnTo>
                <a:cubicBezTo>
                  <a:pt x="4608" y="1501"/>
                  <a:pt x="4739" y="1227"/>
                  <a:pt x="4739" y="941"/>
                </a:cubicBezTo>
                <a:cubicBezTo>
                  <a:pt x="4739" y="417"/>
                  <a:pt x="4323" y="1"/>
                  <a:pt x="379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32" name="Google Shape;11332;p60"/>
          <p:cNvGrpSpPr/>
          <p:nvPr/>
        </p:nvGrpSpPr>
        <p:grpSpPr>
          <a:xfrm>
            <a:off x="4019984" y="3805393"/>
            <a:ext cx="293704" cy="353954"/>
            <a:chOff x="4019984" y="3805393"/>
            <a:chExt cx="293704" cy="353954"/>
          </a:xfrm>
        </p:grpSpPr>
        <p:sp>
          <p:nvSpPr>
            <p:cNvPr id="11333" name="Google Shape;11333;p60"/>
            <p:cNvSpPr/>
            <p:nvPr/>
          </p:nvSpPr>
          <p:spPr>
            <a:xfrm>
              <a:off x="4019984" y="3805393"/>
              <a:ext cx="293704" cy="353954"/>
            </a:xfrm>
            <a:custGeom>
              <a:avLst/>
              <a:gdLst/>
              <a:ahLst/>
              <a:cxnLst/>
              <a:rect l="l" t="t" r="r" b="b"/>
              <a:pathLst>
                <a:path w="9228" h="11121" extrusionOk="0">
                  <a:moveTo>
                    <a:pt x="477" y="1084"/>
                  </a:moveTo>
                  <a:cubicBezTo>
                    <a:pt x="727" y="1084"/>
                    <a:pt x="977" y="1215"/>
                    <a:pt x="1108" y="1429"/>
                  </a:cubicBezTo>
                  <a:lnTo>
                    <a:pt x="1251" y="1608"/>
                  </a:lnTo>
                  <a:cubicBezTo>
                    <a:pt x="1382" y="1798"/>
                    <a:pt x="1608" y="1917"/>
                    <a:pt x="1822" y="1917"/>
                  </a:cubicBezTo>
                  <a:lnTo>
                    <a:pt x="1822" y="2620"/>
                  </a:lnTo>
                  <a:cubicBezTo>
                    <a:pt x="1822" y="3120"/>
                    <a:pt x="1906" y="3596"/>
                    <a:pt x="2049" y="4072"/>
                  </a:cubicBezTo>
                  <a:cubicBezTo>
                    <a:pt x="1918" y="4001"/>
                    <a:pt x="1775" y="3929"/>
                    <a:pt x="1620" y="3870"/>
                  </a:cubicBezTo>
                  <a:cubicBezTo>
                    <a:pt x="1298" y="3739"/>
                    <a:pt x="965" y="3596"/>
                    <a:pt x="727" y="3334"/>
                  </a:cubicBezTo>
                  <a:cubicBezTo>
                    <a:pt x="441" y="3024"/>
                    <a:pt x="310" y="2560"/>
                    <a:pt x="310" y="1929"/>
                  </a:cubicBezTo>
                  <a:lnTo>
                    <a:pt x="310" y="1250"/>
                  </a:lnTo>
                  <a:cubicBezTo>
                    <a:pt x="310" y="1203"/>
                    <a:pt x="322" y="1155"/>
                    <a:pt x="358" y="1131"/>
                  </a:cubicBezTo>
                  <a:cubicBezTo>
                    <a:pt x="382" y="1096"/>
                    <a:pt x="429" y="1084"/>
                    <a:pt x="477" y="1084"/>
                  </a:cubicBezTo>
                  <a:close/>
                  <a:moveTo>
                    <a:pt x="8704" y="1084"/>
                  </a:moveTo>
                  <a:cubicBezTo>
                    <a:pt x="8752" y="1084"/>
                    <a:pt x="8799" y="1096"/>
                    <a:pt x="8823" y="1131"/>
                  </a:cubicBezTo>
                  <a:cubicBezTo>
                    <a:pt x="8847" y="1155"/>
                    <a:pt x="8871" y="1203"/>
                    <a:pt x="8871" y="1250"/>
                  </a:cubicBezTo>
                  <a:lnTo>
                    <a:pt x="8871" y="1929"/>
                  </a:lnTo>
                  <a:lnTo>
                    <a:pt x="8883" y="1929"/>
                  </a:lnTo>
                  <a:cubicBezTo>
                    <a:pt x="8883" y="2572"/>
                    <a:pt x="8752" y="3036"/>
                    <a:pt x="8466" y="3334"/>
                  </a:cubicBezTo>
                  <a:cubicBezTo>
                    <a:pt x="8228" y="3596"/>
                    <a:pt x="7883" y="3739"/>
                    <a:pt x="7573" y="3870"/>
                  </a:cubicBezTo>
                  <a:cubicBezTo>
                    <a:pt x="7430" y="3929"/>
                    <a:pt x="7263" y="3989"/>
                    <a:pt x="7133" y="4072"/>
                  </a:cubicBezTo>
                  <a:cubicBezTo>
                    <a:pt x="7275" y="3620"/>
                    <a:pt x="7347" y="3120"/>
                    <a:pt x="7347" y="2620"/>
                  </a:cubicBezTo>
                  <a:lnTo>
                    <a:pt x="7347" y="1917"/>
                  </a:lnTo>
                  <a:cubicBezTo>
                    <a:pt x="7585" y="1917"/>
                    <a:pt x="7799" y="1798"/>
                    <a:pt x="7930" y="1608"/>
                  </a:cubicBezTo>
                  <a:lnTo>
                    <a:pt x="8061" y="1429"/>
                  </a:lnTo>
                  <a:cubicBezTo>
                    <a:pt x="8216" y="1215"/>
                    <a:pt x="8454" y="1084"/>
                    <a:pt x="8704" y="1084"/>
                  </a:cubicBezTo>
                  <a:close/>
                  <a:moveTo>
                    <a:pt x="7347" y="345"/>
                  </a:moveTo>
                  <a:lnTo>
                    <a:pt x="7347" y="726"/>
                  </a:lnTo>
                  <a:lnTo>
                    <a:pt x="5954" y="726"/>
                  </a:lnTo>
                  <a:cubicBezTo>
                    <a:pt x="5859" y="726"/>
                    <a:pt x="5787" y="798"/>
                    <a:pt x="5787" y="893"/>
                  </a:cubicBezTo>
                  <a:cubicBezTo>
                    <a:pt x="5787" y="976"/>
                    <a:pt x="5859" y="1060"/>
                    <a:pt x="5954" y="1060"/>
                  </a:cubicBezTo>
                  <a:lnTo>
                    <a:pt x="7013" y="1060"/>
                  </a:lnTo>
                  <a:lnTo>
                    <a:pt x="7013" y="2620"/>
                  </a:lnTo>
                  <a:cubicBezTo>
                    <a:pt x="7037" y="4036"/>
                    <a:pt x="6359" y="5382"/>
                    <a:pt x="5204" y="6239"/>
                  </a:cubicBezTo>
                  <a:lnTo>
                    <a:pt x="5085" y="6322"/>
                  </a:lnTo>
                  <a:cubicBezTo>
                    <a:pt x="5061" y="6322"/>
                    <a:pt x="5025" y="6310"/>
                    <a:pt x="5001" y="6310"/>
                  </a:cubicBezTo>
                  <a:lnTo>
                    <a:pt x="4192" y="6310"/>
                  </a:lnTo>
                  <a:cubicBezTo>
                    <a:pt x="4168" y="6310"/>
                    <a:pt x="4132" y="6310"/>
                    <a:pt x="4108" y="6322"/>
                  </a:cubicBezTo>
                  <a:lnTo>
                    <a:pt x="3989" y="6239"/>
                  </a:lnTo>
                  <a:cubicBezTo>
                    <a:pt x="2846" y="5382"/>
                    <a:pt x="2156" y="4048"/>
                    <a:pt x="2156" y="2620"/>
                  </a:cubicBezTo>
                  <a:lnTo>
                    <a:pt x="2156" y="1060"/>
                  </a:lnTo>
                  <a:lnTo>
                    <a:pt x="5204" y="1060"/>
                  </a:lnTo>
                  <a:cubicBezTo>
                    <a:pt x="5299" y="1060"/>
                    <a:pt x="5370" y="976"/>
                    <a:pt x="5370" y="893"/>
                  </a:cubicBezTo>
                  <a:cubicBezTo>
                    <a:pt x="5370" y="798"/>
                    <a:pt x="5299" y="726"/>
                    <a:pt x="5204" y="726"/>
                  </a:cubicBezTo>
                  <a:lnTo>
                    <a:pt x="1810" y="726"/>
                  </a:lnTo>
                  <a:lnTo>
                    <a:pt x="1810" y="345"/>
                  </a:lnTo>
                  <a:close/>
                  <a:moveTo>
                    <a:pt x="5001" y="6632"/>
                  </a:moveTo>
                  <a:cubicBezTo>
                    <a:pt x="5061" y="6632"/>
                    <a:pt x="5108" y="6680"/>
                    <a:pt x="5108" y="6739"/>
                  </a:cubicBezTo>
                  <a:lnTo>
                    <a:pt x="5108" y="6858"/>
                  </a:lnTo>
                  <a:cubicBezTo>
                    <a:pt x="5108" y="6918"/>
                    <a:pt x="5061" y="6965"/>
                    <a:pt x="5001" y="6965"/>
                  </a:cubicBezTo>
                  <a:lnTo>
                    <a:pt x="4192" y="6965"/>
                  </a:lnTo>
                  <a:cubicBezTo>
                    <a:pt x="4132" y="6965"/>
                    <a:pt x="4085" y="6918"/>
                    <a:pt x="4085" y="6858"/>
                  </a:cubicBezTo>
                  <a:lnTo>
                    <a:pt x="4085" y="6739"/>
                  </a:lnTo>
                  <a:cubicBezTo>
                    <a:pt x="4085" y="6680"/>
                    <a:pt x="4132" y="6632"/>
                    <a:pt x="4192" y="6632"/>
                  </a:cubicBezTo>
                  <a:close/>
                  <a:moveTo>
                    <a:pt x="4787" y="7287"/>
                  </a:moveTo>
                  <a:lnTo>
                    <a:pt x="4787" y="8882"/>
                  </a:lnTo>
                  <a:lnTo>
                    <a:pt x="4406" y="8882"/>
                  </a:lnTo>
                  <a:lnTo>
                    <a:pt x="4406" y="7287"/>
                  </a:lnTo>
                  <a:close/>
                  <a:moveTo>
                    <a:pt x="5609" y="9216"/>
                  </a:moveTo>
                  <a:cubicBezTo>
                    <a:pt x="5728" y="9216"/>
                    <a:pt x="5823" y="9299"/>
                    <a:pt x="5823" y="9418"/>
                  </a:cubicBezTo>
                  <a:lnTo>
                    <a:pt x="5823" y="9609"/>
                  </a:lnTo>
                  <a:lnTo>
                    <a:pt x="4370" y="9609"/>
                  </a:lnTo>
                  <a:cubicBezTo>
                    <a:pt x="4287" y="9609"/>
                    <a:pt x="4204" y="9680"/>
                    <a:pt x="4204" y="9775"/>
                  </a:cubicBezTo>
                  <a:cubicBezTo>
                    <a:pt x="4204" y="9870"/>
                    <a:pt x="4287" y="9942"/>
                    <a:pt x="4370" y="9942"/>
                  </a:cubicBezTo>
                  <a:lnTo>
                    <a:pt x="6585" y="9942"/>
                  </a:lnTo>
                  <a:cubicBezTo>
                    <a:pt x="6609" y="9942"/>
                    <a:pt x="6621" y="9954"/>
                    <a:pt x="6632" y="9966"/>
                  </a:cubicBezTo>
                  <a:lnTo>
                    <a:pt x="6787" y="10763"/>
                  </a:lnTo>
                  <a:cubicBezTo>
                    <a:pt x="6787" y="10775"/>
                    <a:pt x="6787" y="10787"/>
                    <a:pt x="6763" y="10787"/>
                  </a:cubicBezTo>
                  <a:cubicBezTo>
                    <a:pt x="6763" y="10787"/>
                    <a:pt x="6752" y="10799"/>
                    <a:pt x="6740" y="10799"/>
                  </a:cubicBezTo>
                  <a:lnTo>
                    <a:pt x="2453" y="10799"/>
                  </a:lnTo>
                  <a:cubicBezTo>
                    <a:pt x="2441" y="10799"/>
                    <a:pt x="2418" y="10787"/>
                    <a:pt x="2418" y="10787"/>
                  </a:cubicBezTo>
                  <a:cubicBezTo>
                    <a:pt x="2418" y="10787"/>
                    <a:pt x="2406" y="10775"/>
                    <a:pt x="2406" y="10763"/>
                  </a:cubicBezTo>
                  <a:lnTo>
                    <a:pt x="2561" y="9966"/>
                  </a:lnTo>
                  <a:cubicBezTo>
                    <a:pt x="2561" y="9954"/>
                    <a:pt x="2572" y="9942"/>
                    <a:pt x="2596" y="9942"/>
                  </a:cubicBezTo>
                  <a:lnTo>
                    <a:pt x="3596" y="9942"/>
                  </a:lnTo>
                  <a:cubicBezTo>
                    <a:pt x="3692" y="9942"/>
                    <a:pt x="3763" y="9870"/>
                    <a:pt x="3763" y="9775"/>
                  </a:cubicBezTo>
                  <a:cubicBezTo>
                    <a:pt x="3763" y="9680"/>
                    <a:pt x="3692" y="9609"/>
                    <a:pt x="3596" y="9609"/>
                  </a:cubicBezTo>
                  <a:lnTo>
                    <a:pt x="3370" y="9609"/>
                  </a:lnTo>
                  <a:lnTo>
                    <a:pt x="3370" y="9418"/>
                  </a:lnTo>
                  <a:cubicBezTo>
                    <a:pt x="3370" y="9299"/>
                    <a:pt x="3465" y="9216"/>
                    <a:pt x="3584" y="9216"/>
                  </a:cubicBezTo>
                  <a:close/>
                  <a:moveTo>
                    <a:pt x="1810" y="0"/>
                  </a:moveTo>
                  <a:cubicBezTo>
                    <a:pt x="1656" y="0"/>
                    <a:pt x="1501" y="131"/>
                    <a:pt x="1501" y="310"/>
                  </a:cubicBezTo>
                  <a:lnTo>
                    <a:pt x="1501" y="726"/>
                  </a:lnTo>
                  <a:cubicBezTo>
                    <a:pt x="1501" y="893"/>
                    <a:pt x="1632" y="1036"/>
                    <a:pt x="1810" y="1036"/>
                  </a:cubicBezTo>
                  <a:lnTo>
                    <a:pt x="1846" y="1036"/>
                  </a:lnTo>
                  <a:lnTo>
                    <a:pt x="1846" y="1572"/>
                  </a:lnTo>
                  <a:cubicBezTo>
                    <a:pt x="1727" y="1572"/>
                    <a:pt x="1608" y="1512"/>
                    <a:pt x="1537" y="1417"/>
                  </a:cubicBezTo>
                  <a:lnTo>
                    <a:pt x="1394" y="1238"/>
                  </a:lnTo>
                  <a:cubicBezTo>
                    <a:pt x="1191" y="941"/>
                    <a:pt x="846" y="762"/>
                    <a:pt x="489" y="762"/>
                  </a:cubicBezTo>
                  <a:cubicBezTo>
                    <a:pt x="358" y="762"/>
                    <a:pt x="239" y="798"/>
                    <a:pt x="144" y="905"/>
                  </a:cubicBezTo>
                  <a:cubicBezTo>
                    <a:pt x="60" y="1000"/>
                    <a:pt x="1" y="1131"/>
                    <a:pt x="1" y="1250"/>
                  </a:cubicBezTo>
                  <a:lnTo>
                    <a:pt x="1" y="1929"/>
                  </a:lnTo>
                  <a:cubicBezTo>
                    <a:pt x="1" y="3560"/>
                    <a:pt x="834" y="3894"/>
                    <a:pt x="1501" y="4179"/>
                  </a:cubicBezTo>
                  <a:cubicBezTo>
                    <a:pt x="1870" y="4334"/>
                    <a:pt x="2203" y="4465"/>
                    <a:pt x="2370" y="4786"/>
                  </a:cubicBezTo>
                  <a:cubicBezTo>
                    <a:pt x="2406" y="4882"/>
                    <a:pt x="2394" y="4965"/>
                    <a:pt x="2334" y="5025"/>
                  </a:cubicBezTo>
                  <a:cubicBezTo>
                    <a:pt x="2284" y="5092"/>
                    <a:pt x="2191" y="5124"/>
                    <a:pt x="2108" y="5124"/>
                  </a:cubicBezTo>
                  <a:cubicBezTo>
                    <a:pt x="2073" y="5124"/>
                    <a:pt x="2041" y="5118"/>
                    <a:pt x="2013" y="5108"/>
                  </a:cubicBezTo>
                  <a:cubicBezTo>
                    <a:pt x="1894" y="5060"/>
                    <a:pt x="1870" y="4906"/>
                    <a:pt x="1870" y="4786"/>
                  </a:cubicBezTo>
                  <a:cubicBezTo>
                    <a:pt x="1870" y="4703"/>
                    <a:pt x="1810" y="4632"/>
                    <a:pt x="1727" y="4632"/>
                  </a:cubicBezTo>
                  <a:cubicBezTo>
                    <a:pt x="1632" y="4632"/>
                    <a:pt x="1560" y="4691"/>
                    <a:pt x="1560" y="4775"/>
                  </a:cubicBezTo>
                  <a:cubicBezTo>
                    <a:pt x="1560" y="4929"/>
                    <a:pt x="1572" y="5263"/>
                    <a:pt x="1894" y="5406"/>
                  </a:cubicBezTo>
                  <a:cubicBezTo>
                    <a:pt x="1965" y="5429"/>
                    <a:pt x="2037" y="5441"/>
                    <a:pt x="2108" y="5441"/>
                  </a:cubicBezTo>
                  <a:cubicBezTo>
                    <a:pt x="2275" y="5441"/>
                    <a:pt x="2453" y="5370"/>
                    <a:pt x="2572" y="5251"/>
                  </a:cubicBezTo>
                  <a:cubicBezTo>
                    <a:pt x="2584" y="5239"/>
                    <a:pt x="2608" y="5227"/>
                    <a:pt x="2608" y="5203"/>
                  </a:cubicBezTo>
                  <a:cubicBezTo>
                    <a:pt x="2918" y="5703"/>
                    <a:pt x="3323" y="6144"/>
                    <a:pt x="3811" y="6489"/>
                  </a:cubicBezTo>
                  <a:lnTo>
                    <a:pt x="3834" y="6501"/>
                  </a:lnTo>
                  <a:cubicBezTo>
                    <a:pt x="3799" y="6561"/>
                    <a:pt x="3775" y="6656"/>
                    <a:pt x="3775" y="6727"/>
                  </a:cubicBezTo>
                  <a:lnTo>
                    <a:pt x="3775" y="6846"/>
                  </a:lnTo>
                  <a:cubicBezTo>
                    <a:pt x="3775" y="7037"/>
                    <a:pt x="3918" y="7215"/>
                    <a:pt x="4096" y="7263"/>
                  </a:cubicBezTo>
                  <a:lnTo>
                    <a:pt x="4096" y="8870"/>
                  </a:lnTo>
                  <a:lnTo>
                    <a:pt x="3596" y="8870"/>
                  </a:lnTo>
                  <a:cubicBezTo>
                    <a:pt x="3299" y="8870"/>
                    <a:pt x="3061" y="9108"/>
                    <a:pt x="3061" y="9406"/>
                  </a:cubicBezTo>
                  <a:lnTo>
                    <a:pt x="3061" y="9597"/>
                  </a:lnTo>
                  <a:lnTo>
                    <a:pt x="2620" y="9597"/>
                  </a:lnTo>
                  <a:cubicBezTo>
                    <a:pt x="2441" y="9597"/>
                    <a:pt x="2287" y="9716"/>
                    <a:pt x="2263" y="9894"/>
                  </a:cubicBezTo>
                  <a:lnTo>
                    <a:pt x="2108" y="10680"/>
                  </a:lnTo>
                  <a:cubicBezTo>
                    <a:pt x="2096" y="10787"/>
                    <a:pt x="2108" y="10906"/>
                    <a:pt x="2191" y="10978"/>
                  </a:cubicBezTo>
                  <a:cubicBezTo>
                    <a:pt x="2263" y="11073"/>
                    <a:pt x="2370" y="11121"/>
                    <a:pt x="2465" y="11121"/>
                  </a:cubicBezTo>
                  <a:lnTo>
                    <a:pt x="6752" y="11121"/>
                  </a:lnTo>
                  <a:cubicBezTo>
                    <a:pt x="6859" y="11121"/>
                    <a:pt x="6966" y="11073"/>
                    <a:pt x="7037" y="10978"/>
                  </a:cubicBezTo>
                  <a:cubicBezTo>
                    <a:pt x="7109" y="10894"/>
                    <a:pt x="7144" y="10787"/>
                    <a:pt x="7109" y="10680"/>
                  </a:cubicBezTo>
                  <a:lnTo>
                    <a:pt x="6966" y="9894"/>
                  </a:lnTo>
                  <a:cubicBezTo>
                    <a:pt x="6930" y="9716"/>
                    <a:pt x="6787" y="9597"/>
                    <a:pt x="6609" y="9597"/>
                  </a:cubicBezTo>
                  <a:lnTo>
                    <a:pt x="6156" y="9597"/>
                  </a:lnTo>
                  <a:lnTo>
                    <a:pt x="6156" y="9406"/>
                  </a:lnTo>
                  <a:cubicBezTo>
                    <a:pt x="6156" y="9108"/>
                    <a:pt x="5918" y="8870"/>
                    <a:pt x="5620" y="8870"/>
                  </a:cubicBezTo>
                  <a:lnTo>
                    <a:pt x="5132" y="8870"/>
                  </a:lnTo>
                  <a:lnTo>
                    <a:pt x="5132" y="7263"/>
                  </a:lnTo>
                  <a:cubicBezTo>
                    <a:pt x="5311" y="7215"/>
                    <a:pt x="5442" y="7037"/>
                    <a:pt x="5442" y="6846"/>
                  </a:cubicBezTo>
                  <a:lnTo>
                    <a:pt x="5442" y="6727"/>
                  </a:lnTo>
                  <a:cubicBezTo>
                    <a:pt x="5442" y="6632"/>
                    <a:pt x="5418" y="6561"/>
                    <a:pt x="5382" y="6501"/>
                  </a:cubicBezTo>
                  <a:lnTo>
                    <a:pt x="5418" y="6489"/>
                  </a:lnTo>
                  <a:cubicBezTo>
                    <a:pt x="5894" y="6132"/>
                    <a:pt x="6311" y="5703"/>
                    <a:pt x="6621" y="5203"/>
                  </a:cubicBezTo>
                  <a:cubicBezTo>
                    <a:pt x="6632" y="5227"/>
                    <a:pt x="6656" y="5239"/>
                    <a:pt x="6656" y="5251"/>
                  </a:cubicBezTo>
                  <a:cubicBezTo>
                    <a:pt x="6775" y="5382"/>
                    <a:pt x="6954" y="5441"/>
                    <a:pt x="7109" y="5441"/>
                  </a:cubicBezTo>
                  <a:cubicBezTo>
                    <a:pt x="7192" y="5441"/>
                    <a:pt x="7263" y="5429"/>
                    <a:pt x="7335" y="5406"/>
                  </a:cubicBezTo>
                  <a:cubicBezTo>
                    <a:pt x="7644" y="5263"/>
                    <a:pt x="7668" y="4929"/>
                    <a:pt x="7668" y="4775"/>
                  </a:cubicBezTo>
                  <a:cubicBezTo>
                    <a:pt x="7668" y="4701"/>
                    <a:pt x="7603" y="4628"/>
                    <a:pt x="7531" y="4628"/>
                  </a:cubicBezTo>
                  <a:cubicBezTo>
                    <a:pt x="7521" y="4628"/>
                    <a:pt x="7511" y="4629"/>
                    <a:pt x="7502" y="4632"/>
                  </a:cubicBezTo>
                  <a:cubicBezTo>
                    <a:pt x="7406" y="4632"/>
                    <a:pt x="7335" y="4703"/>
                    <a:pt x="7347" y="4786"/>
                  </a:cubicBezTo>
                  <a:cubicBezTo>
                    <a:pt x="7347" y="4906"/>
                    <a:pt x="7335" y="5048"/>
                    <a:pt x="7216" y="5108"/>
                  </a:cubicBezTo>
                  <a:cubicBezTo>
                    <a:pt x="7188" y="5117"/>
                    <a:pt x="7158" y="5122"/>
                    <a:pt x="7128" y="5122"/>
                  </a:cubicBezTo>
                  <a:cubicBezTo>
                    <a:pt x="7043" y="5122"/>
                    <a:pt x="6956" y="5086"/>
                    <a:pt x="6894" y="5025"/>
                  </a:cubicBezTo>
                  <a:cubicBezTo>
                    <a:pt x="6835" y="4953"/>
                    <a:pt x="6811" y="4882"/>
                    <a:pt x="6859" y="4786"/>
                  </a:cubicBezTo>
                  <a:cubicBezTo>
                    <a:pt x="7025" y="4465"/>
                    <a:pt x="7335" y="4334"/>
                    <a:pt x="7728" y="4179"/>
                  </a:cubicBezTo>
                  <a:cubicBezTo>
                    <a:pt x="8395" y="3917"/>
                    <a:pt x="9228" y="3572"/>
                    <a:pt x="9228" y="1929"/>
                  </a:cubicBezTo>
                  <a:lnTo>
                    <a:pt x="9228" y="1250"/>
                  </a:lnTo>
                  <a:cubicBezTo>
                    <a:pt x="9216" y="1131"/>
                    <a:pt x="9168" y="1000"/>
                    <a:pt x="9061" y="905"/>
                  </a:cubicBezTo>
                  <a:cubicBezTo>
                    <a:pt x="8978" y="822"/>
                    <a:pt x="8859" y="762"/>
                    <a:pt x="8716" y="762"/>
                  </a:cubicBezTo>
                  <a:cubicBezTo>
                    <a:pt x="8359" y="762"/>
                    <a:pt x="8025" y="941"/>
                    <a:pt x="7811" y="1238"/>
                  </a:cubicBezTo>
                  <a:lnTo>
                    <a:pt x="7680" y="1417"/>
                  </a:lnTo>
                  <a:cubicBezTo>
                    <a:pt x="7609" y="1512"/>
                    <a:pt x="7490" y="1572"/>
                    <a:pt x="7371" y="1572"/>
                  </a:cubicBezTo>
                  <a:lnTo>
                    <a:pt x="7371" y="1036"/>
                  </a:lnTo>
                  <a:lnTo>
                    <a:pt x="7394" y="1036"/>
                  </a:lnTo>
                  <a:cubicBezTo>
                    <a:pt x="7561" y="1036"/>
                    <a:pt x="7704" y="905"/>
                    <a:pt x="7704" y="726"/>
                  </a:cubicBezTo>
                  <a:lnTo>
                    <a:pt x="7704" y="310"/>
                  </a:lnTo>
                  <a:cubicBezTo>
                    <a:pt x="7704" y="143"/>
                    <a:pt x="7573" y="0"/>
                    <a:pt x="7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4" name="Google Shape;11334;p60"/>
            <p:cNvSpPr/>
            <p:nvPr/>
          </p:nvSpPr>
          <p:spPr>
            <a:xfrm>
              <a:off x="4118903" y="3867139"/>
              <a:ext cx="93987" cy="87971"/>
            </a:xfrm>
            <a:custGeom>
              <a:avLst/>
              <a:gdLst/>
              <a:ahLst/>
              <a:cxnLst/>
              <a:rect l="l" t="t" r="r" b="b"/>
              <a:pathLst>
                <a:path w="2953" h="2764" extrusionOk="0">
                  <a:moveTo>
                    <a:pt x="1477" y="489"/>
                  </a:moveTo>
                  <a:lnTo>
                    <a:pt x="1727" y="989"/>
                  </a:lnTo>
                  <a:cubicBezTo>
                    <a:pt x="1762" y="1049"/>
                    <a:pt x="1822" y="1096"/>
                    <a:pt x="1881" y="1096"/>
                  </a:cubicBezTo>
                  <a:lnTo>
                    <a:pt x="2441" y="1180"/>
                  </a:lnTo>
                  <a:lnTo>
                    <a:pt x="2036" y="1584"/>
                  </a:lnTo>
                  <a:cubicBezTo>
                    <a:pt x="2000" y="1632"/>
                    <a:pt x="1977" y="1692"/>
                    <a:pt x="1977" y="1763"/>
                  </a:cubicBezTo>
                  <a:lnTo>
                    <a:pt x="2072" y="2335"/>
                  </a:lnTo>
                  <a:lnTo>
                    <a:pt x="1560" y="2061"/>
                  </a:lnTo>
                  <a:cubicBezTo>
                    <a:pt x="1536" y="2049"/>
                    <a:pt x="1500" y="2037"/>
                    <a:pt x="1477" y="2037"/>
                  </a:cubicBezTo>
                  <a:cubicBezTo>
                    <a:pt x="1441" y="2037"/>
                    <a:pt x="1417" y="2049"/>
                    <a:pt x="1381" y="2061"/>
                  </a:cubicBezTo>
                  <a:lnTo>
                    <a:pt x="881" y="2335"/>
                  </a:lnTo>
                  <a:lnTo>
                    <a:pt x="965" y="1763"/>
                  </a:lnTo>
                  <a:cubicBezTo>
                    <a:pt x="988" y="1703"/>
                    <a:pt x="953" y="1632"/>
                    <a:pt x="905" y="1584"/>
                  </a:cubicBezTo>
                  <a:lnTo>
                    <a:pt x="512" y="1180"/>
                  </a:lnTo>
                  <a:lnTo>
                    <a:pt x="1072" y="1096"/>
                  </a:lnTo>
                  <a:cubicBezTo>
                    <a:pt x="1131" y="1084"/>
                    <a:pt x="1191" y="1049"/>
                    <a:pt x="1227" y="989"/>
                  </a:cubicBezTo>
                  <a:lnTo>
                    <a:pt x="1477" y="489"/>
                  </a:lnTo>
                  <a:close/>
                  <a:moveTo>
                    <a:pt x="1477" y="1"/>
                  </a:moveTo>
                  <a:cubicBezTo>
                    <a:pt x="1405" y="1"/>
                    <a:pt x="1322" y="49"/>
                    <a:pt x="1298" y="108"/>
                  </a:cubicBezTo>
                  <a:lnTo>
                    <a:pt x="953" y="799"/>
                  </a:lnTo>
                  <a:lnTo>
                    <a:pt x="191" y="906"/>
                  </a:lnTo>
                  <a:cubicBezTo>
                    <a:pt x="119" y="918"/>
                    <a:pt x="60" y="965"/>
                    <a:pt x="36" y="1037"/>
                  </a:cubicBezTo>
                  <a:cubicBezTo>
                    <a:pt x="0" y="1108"/>
                    <a:pt x="36" y="1180"/>
                    <a:pt x="72" y="1227"/>
                  </a:cubicBezTo>
                  <a:lnTo>
                    <a:pt x="631" y="1763"/>
                  </a:lnTo>
                  <a:lnTo>
                    <a:pt x="488" y="2525"/>
                  </a:lnTo>
                  <a:cubicBezTo>
                    <a:pt x="476" y="2596"/>
                    <a:pt x="512" y="2668"/>
                    <a:pt x="572" y="2716"/>
                  </a:cubicBezTo>
                  <a:cubicBezTo>
                    <a:pt x="604" y="2741"/>
                    <a:pt x="639" y="2753"/>
                    <a:pt x="676" y="2753"/>
                  </a:cubicBezTo>
                  <a:cubicBezTo>
                    <a:pt x="708" y="2753"/>
                    <a:pt x="741" y="2744"/>
                    <a:pt x="774" y="2727"/>
                  </a:cubicBezTo>
                  <a:lnTo>
                    <a:pt x="1465" y="2370"/>
                  </a:lnTo>
                  <a:lnTo>
                    <a:pt x="2143" y="2727"/>
                  </a:lnTo>
                  <a:cubicBezTo>
                    <a:pt x="2179" y="2751"/>
                    <a:pt x="2203" y="2763"/>
                    <a:pt x="2239" y="2763"/>
                  </a:cubicBezTo>
                  <a:cubicBezTo>
                    <a:pt x="2274" y="2763"/>
                    <a:pt x="2310" y="2751"/>
                    <a:pt x="2358" y="2716"/>
                  </a:cubicBezTo>
                  <a:cubicBezTo>
                    <a:pt x="2417" y="2668"/>
                    <a:pt x="2441" y="2596"/>
                    <a:pt x="2429" y="2525"/>
                  </a:cubicBezTo>
                  <a:lnTo>
                    <a:pt x="2298" y="1763"/>
                  </a:lnTo>
                  <a:lnTo>
                    <a:pt x="2846" y="1227"/>
                  </a:lnTo>
                  <a:cubicBezTo>
                    <a:pt x="2917" y="1180"/>
                    <a:pt x="2953" y="1108"/>
                    <a:pt x="2917" y="1037"/>
                  </a:cubicBezTo>
                  <a:cubicBezTo>
                    <a:pt x="2893" y="965"/>
                    <a:pt x="2834" y="918"/>
                    <a:pt x="2751" y="906"/>
                  </a:cubicBezTo>
                  <a:lnTo>
                    <a:pt x="2000" y="799"/>
                  </a:lnTo>
                  <a:lnTo>
                    <a:pt x="1655" y="108"/>
                  </a:lnTo>
                  <a:cubicBezTo>
                    <a:pt x="1619" y="37"/>
                    <a:pt x="1548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35" name="Google Shape;11335;p60"/>
          <p:cNvGrpSpPr/>
          <p:nvPr/>
        </p:nvGrpSpPr>
        <p:grpSpPr>
          <a:xfrm>
            <a:off x="8006505" y="3390044"/>
            <a:ext cx="323654" cy="303189"/>
            <a:chOff x="8006505" y="3390044"/>
            <a:chExt cx="323654" cy="303189"/>
          </a:xfrm>
        </p:grpSpPr>
        <p:sp>
          <p:nvSpPr>
            <p:cNvPr id="11336" name="Google Shape;11336;p60"/>
            <p:cNvSpPr/>
            <p:nvPr/>
          </p:nvSpPr>
          <p:spPr>
            <a:xfrm>
              <a:off x="8006505" y="3390044"/>
              <a:ext cx="323654" cy="303189"/>
            </a:xfrm>
            <a:custGeom>
              <a:avLst/>
              <a:gdLst/>
              <a:ahLst/>
              <a:cxnLst/>
              <a:rect l="l" t="t" r="r" b="b"/>
              <a:pathLst>
                <a:path w="10169" h="9526" extrusionOk="0">
                  <a:moveTo>
                    <a:pt x="5358" y="322"/>
                  </a:moveTo>
                  <a:cubicBezTo>
                    <a:pt x="5704" y="322"/>
                    <a:pt x="5965" y="608"/>
                    <a:pt x="5965" y="930"/>
                  </a:cubicBezTo>
                  <a:lnTo>
                    <a:pt x="5965" y="1311"/>
                  </a:lnTo>
                  <a:cubicBezTo>
                    <a:pt x="5965" y="1584"/>
                    <a:pt x="6192" y="1811"/>
                    <a:pt x="6477" y="1811"/>
                  </a:cubicBezTo>
                  <a:lnTo>
                    <a:pt x="6620" y="1811"/>
                  </a:lnTo>
                  <a:cubicBezTo>
                    <a:pt x="6727" y="1811"/>
                    <a:pt x="6811" y="1906"/>
                    <a:pt x="6811" y="2001"/>
                  </a:cubicBezTo>
                  <a:lnTo>
                    <a:pt x="6811" y="3013"/>
                  </a:lnTo>
                  <a:cubicBezTo>
                    <a:pt x="6811" y="3120"/>
                    <a:pt x="6727" y="3204"/>
                    <a:pt x="6620" y="3204"/>
                  </a:cubicBezTo>
                  <a:lnTo>
                    <a:pt x="3465" y="3204"/>
                  </a:lnTo>
                  <a:cubicBezTo>
                    <a:pt x="3358" y="3204"/>
                    <a:pt x="3275" y="3120"/>
                    <a:pt x="3275" y="3013"/>
                  </a:cubicBezTo>
                  <a:lnTo>
                    <a:pt x="3322" y="2001"/>
                  </a:lnTo>
                  <a:cubicBezTo>
                    <a:pt x="3322" y="1894"/>
                    <a:pt x="3406" y="1811"/>
                    <a:pt x="3513" y="1811"/>
                  </a:cubicBezTo>
                  <a:lnTo>
                    <a:pt x="3656" y="1811"/>
                  </a:lnTo>
                  <a:cubicBezTo>
                    <a:pt x="3941" y="1811"/>
                    <a:pt x="4168" y="1584"/>
                    <a:pt x="4168" y="1311"/>
                  </a:cubicBezTo>
                  <a:lnTo>
                    <a:pt x="4168" y="930"/>
                  </a:lnTo>
                  <a:cubicBezTo>
                    <a:pt x="4168" y="596"/>
                    <a:pt x="4453" y="322"/>
                    <a:pt x="4775" y="322"/>
                  </a:cubicBezTo>
                  <a:close/>
                  <a:moveTo>
                    <a:pt x="9275" y="2239"/>
                  </a:moveTo>
                  <a:cubicBezTo>
                    <a:pt x="9585" y="2239"/>
                    <a:pt x="9847" y="2501"/>
                    <a:pt x="9847" y="2823"/>
                  </a:cubicBezTo>
                  <a:lnTo>
                    <a:pt x="9835" y="8633"/>
                  </a:lnTo>
                  <a:cubicBezTo>
                    <a:pt x="9835" y="8943"/>
                    <a:pt x="9585" y="9204"/>
                    <a:pt x="9252" y="9204"/>
                  </a:cubicBezTo>
                  <a:lnTo>
                    <a:pt x="881" y="9204"/>
                  </a:lnTo>
                  <a:cubicBezTo>
                    <a:pt x="560" y="9204"/>
                    <a:pt x="298" y="8954"/>
                    <a:pt x="298" y="8633"/>
                  </a:cubicBezTo>
                  <a:lnTo>
                    <a:pt x="298" y="2823"/>
                  </a:lnTo>
                  <a:cubicBezTo>
                    <a:pt x="298" y="2513"/>
                    <a:pt x="548" y="2239"/>
                    <a:pt x="881" y="2239"/>
                  </a:cubicBezTo>
                  <a:lnTo>
                    <a:pt x="2977" y="2239"/>
                  </a:lnTo>
                  <a:lnTo>
                    <a:pt x="2977" y="2775"/>
                  </a:lnTo>
                  <a:lnTo>
                    <a:pt x="1001" y="2775"/>
                  </a:lnTo>
                  <a:cubicBezTo>
                    <a:pt x="905" y="2775"/>
                    <a:pt x="834" y="2858"/>
                    <a:pt x="834" y="2942"/>
                  </a:cubicBezTo>
                  <a:lnTo>
                    <a:pt x="834" y="8514"/>
                  </a:lnTo>
                  <a:cubicBezTo>
                    <a:pt x="834" y="8597"/>
                    <a:pt x="905" y="8669"/>
                    <a:pt x="1001" y="8669"/>
                  </a:cubicBezTo>
                  <a:lnTo>
                    <a:pt x="6418" y="8669"/>
                  </a:lnTo>
                  <a:cubicBezTo>
                    <a:pt x="6501" y="8669"/>
                    <a:pt x="6573" y="8597"/>
                    <a:pt x="6573" y="8514"/>
                  </a:cubicBezTo>
                  <a:cubicBezTo>
                    <a:pt x="6573" y="8419"/>
                    <a:pt x="6501" y="8347"/>
                    <a:pt x="6418" y="8347"/>
                  </a:cubicBezTo>
                  <a:lnTo>
                    <a:pt x="1155" y="8347"/>
                  </a:lnTo>
                  <a:lnTo>
                    <a:pt x="1155" y="3108"/>
                  </a:lnTo>
                  <a:lnTo>
                    <a:pt x="2989" y="3108"/>
                  </a:lnTo>
                  <a:cubicBezTo>
                    <a:pt x="3037" y="3347"/>
                    <a:pt x="3239" y="3537"/>
                    <a:pt x="3501" y="3537"/>
                  </a:cubicBezTo>
                  <a:lnTo>
                    <a:pt x="6656" y="3537"/>
                  </a:lnTo>
                  <a:cubicBezTo>
                    <a:pt x="6906" y="3537"/>
                    <a:pt x="7108" y="3359"/>
                    <a:pt x="7156" y="3108"/>
                  </a:cubicBezTo>
                  <a:lnTo>
                    <a:pt x="8990" y="3108"/>
                  </a:lnTo>
                  <a:lnTo>
                    <a:pt x="8990" y="8347"/>
                  </a:lnTo>
                  <a:lnTo>
                    <a:pt x="7216" y="8347"/>
                  </a:lnTo>
                  <a:cubicBezTo>
                    <a:pt x="7132" y="8347"/>
                    <a:pt x="7049" y="8419"/>
                    <a:pt x="7049" y="8514"/>
                  </a:cubicBezTo>
                  <a:cubicBezTo>
                    <a:pt x="7049" y="8597"/>
                    <a:pt x="7132" y="8669"/>
                    <a:pt x="7216" y="8669"/>
                  </a:cubicBezTo>
                  <a:lnTo>
                    <a:pt x="9156" y="8669"/>
                  </a:lnTo>
                  <a:cubicBezTo>
                    <a:pt x="9240" y="8669"/>
                    <a:pt x="9311" y="8597"/>
                    <a:pt x="9311" y="8514"/>
                  </a:cubicBezTo>
                  <a:lnTo>
                    <a:pt x="9311" y="2942"/>
                  </a:lnTo>
                  <a:cubicBezTo>
                    <a:pt x="9311" y="2858"/>
                    <a:pt x="9240" y="2775"/>
                    <a:pt x="9156" y="2775"/>
                  </a:cubicBezTo>
                  <a:lnTo>
                    <a:pt x="7168" y="2775"/>
                  </a:lnTo>
                  <a:lnTo>
                    <a:pt x="7168" y="2239"/>
                  </a:lnTo>
                  <a:close/>
                  <a:moveTo>
                    <a:pt x="4787" y="1"/>
                  </a:moveTo>
                  <a:cubicBezTo>
                    <a:pt x="4275" y="1"/>
                    <a:pt x="3858" y="418"/>
                    <a:pt x="3858" y="930"/>
                  </a:cubicBezTo>
                  <a:lnTo>
                    <a:pt x="3858" y="1311"/>
                  </a:lnTo>
                  <a:cubicBezTo>
                    <a:pt x="3858" y="1406"/>
                    <a:pt x="3763" y="1501"/>
                    <a:pt x="3656" y="1501"/>
                  </a:cubicBezTo>
                  <a:lnTo>
                    <a:pt x="3513" y="1501"/>
                  </a:lnTo>
                  <a:cubicBezTo>
                    <a:pt x="3263" y="1501"/>
                    <a:pt x="3048" y="1680"/>
                    <a:pt x="3001" y="1930"/>
                  </a:cubicBezTo>
                  <a:lnTo>
                    <a:pt x="893" y="1930"/>
                  </a:lnTo>
                  <a:cubicBezTo>
                    <a:pt x="405" y="1930"/>
                    <a:pt x="0" y="2335"/>
                    <a:pt x="0" y="2823"/>
                  </a:cubicBezTo>
                  <a:lnTo>
                    <a:pt x="0" y="8633"/>
                  </a:lnTo>
                  <a:cubicBezTo>
                    <a:pt x="0" y="9121"/>
                    <a:pt x="405" y="9526"/>
                    <a:pt x="893" y="9526"/>
                  </a:cubicBezTo>
                  <a:lnTo>
                    <a:pt x="9263" y="9526"/>
                  </a:lnTo>
                  <a:cubicBezTo>
                    <a:pt x="9764" y="9526"/>
                    <a:pt x="10156" y="9121"/>
                    <a:pt x="10156" y="8633"/>
                  </a:cubicBezTo>
                  <a:lnTo>
                    <a:pt x="10156" y="2823"/>
                  </a:lnTo>
                  <a:cubicBezTo>
                    <a:pt x="10168" y="2335"/>
                    <a:pt x="9764" y="1930"/>
                    <a:pt x="9275" y="1930"/>
                  </a:cubicBezTo>
                  <a:lnTo>
                    <a:pt x="7156" y="1930"/>
                  </a:lnTo>
                  <a:cubicBezTo>
                    <a:pt x="7108" y="1692"/>
                    <a:pt x="6906" y="1501"/>
                    <a:pt x="6656" y="1501"/>
                  </a:cubicBezTo>
                  <a:lnTo>
                    <a:pt x="6501" y="1501"/>
                  </a:lnTo>
                  <a:cubicBezTo>
                    <a:pt x="6394" y="1501"/>
                    <a:pt x="6311" y="1406"/>
                    <a:pt x="6311" y="1311"/>
                  </a:cubicBezTo>
                  <a:lnTo>
                    <a:pt x="6311" y="930"/>
                  </a:lnTo>
                  <a:cubicBezTo>
                    <a:pt x="6311" y="418"/>
                    <a:pt x="5894" y="1"/>
                    <a:pt x="5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7" name="Google Shape;11337;p60"/>
            <p:cNvSpPr/>
            <p:nvPr/>
          </p:nvSpPr>
          <p:spPr>
            <a:xfrm>
              <a:off x="8148997" y="3444247"/>
              <a:ext cx="37907" cy="37938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334"/>
                  </a:moveTo>
                  <a:cubicBezTo>
                    <a:pt x="750" y="334"/>
                    <a:pt x="869" y="453"/>
                    <a:pt x="869" y="596"/>
                  </a:cubicBezTo>
                  <a:cubicBezTo>
                    <a:pt x="869" y="751"/>
                    <a:pt x="750" y="870"/>
                    <a:pt x="595" y="870"/>
                  </a:cubicBezTo>
                  <a:cubicBezTo>
                    <a:pt x="453" y="870"/>
                    <a:pt x="334" y="751"/>
                    <a:pt x="334" y="596"/>
                  </a:cubicBezTo>
                  <a:cubicBezTo>
                    <a:pt x="334" y="453"/>
                    <a:pt x="453" y="334"/>
                    <a:pt x="595" y="334"/>
                  </a:cubicBezTo>
                  <a:close/>
                  <a:moveTo>
                    <a:pt x="595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5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8" name="Google Shape;11338;p60"/>
            <p:cNvSpPr/>
            <p:nvPr/>
          </p:nvSpPr>
          <p:spPr>
            <a:xfrm>
              <a:off x="8089861" y="3526871"/>
              <a:ext cx="165630" cy="104617"/>
            </a:xfrm>
            <a:custGeom>
              <a:avLst/>
              <a:gdLst/>
              <a:ahLst/>
              <a:cxnLst/>
              <a:rect l="l" t="t" r="r" b="b"/>
              <a:pathLst>
                <a:path w="5204" h="3287" extrusionOk="0">
                  <a:moveTo>
                    <a:pt x="739" y="2024"/>
                  </a:moveTo>
                  <a:cubicBezTo>
                    <a:pt x="1001" y="2024"/>
                    <a:pt x="1215" y="2250"/>
                    <a:pt x="1215" y="2500"/>
                  </a:cubicBezTo>
                  <a:cubicBezTo>
                    <a:pt x="1239" y="2762"/>
                    <a:pt x="1013" y="2977"/>
                    <a:pt x="739" y="2977"/>
                  </a:cubicBezTo>
                  <a:cubicBezTo>
                    <a:pt x="477" y="2977"/>
                    <a:pt x="263" y="2750"/>
                    <a:pt x="263" y="2500"/>
                  </a:cubicBezTo>
                  <a:cubicBezTo>
                    <a:pt x="263" y="2227"/>
                    <a:pt x="489" y="2024"/>
                    <a:pt x="739" y="2024"/>
                  </a:cubicBezTo>
                  <a:close/>
                  <a:moveTo>
                    <a:pt x="4823" y="0"/>
                  </a:moveTo>
                  <a:cubicBezTo>
                    <a:pt x="4823" y="0"/>
                    <a:pt x="4811" y="0"/>
                    <a:pt x="4811" y="12"/>
                  </a:cubicBezTo>
                  <a:lnTo>
                    <a:pt x="4370" y="226"/>
                  </a:lnTo>
                  <a:cubicBezTo>
                    <a:pt x="4299" y="262"/>
                    <a:pt x="4275" y="357"/>
                    <a:pt x="4299" y="429"/>
                  </a:cubicBezTo>
                  <a:cubicBezTo>
                    <a:pt x="4334" y="481"/>
                    <a:pt x="4388" y="514"/>
                    <a:pt x="4447" y="514"/>
                  </a:cubicBezTo>
                  <a:cubicBezTo>
                    <a:pt x="4469" y="514"/>
                    <a:pt x="4491" y="510"/>
                    <a:pt x="4513" y="500"/>
                  </a:cubicBezTo>
                  <a:lnTo>
                    <a:pt x="4632" y="441"/>
                  </a:lnTo>
                  <a:lnTo>
                    <a:pt x="4632" y="441"/>
                  </a:lnTo>
                  <a:cubicBezTo>
                    <a:pt x="4418" y="1143"/>
                    <a:pt x="4049" y="1667"/>
                    <a:pt x="3537" y="1988"/>
                  </a:cubicBezTo>
                  <a:cubicBezTo>
                    <a:pt x="3037" y="2306"/>
                    <a:pt x="2479" y="2385"/>
                    <a:pt x="2070" y="2385"/>
                  </a:cubicBezTo>
                  <a:cubicBezTo>
                    <a:pt x="1866" y="2385"/>
                    <a:pt x="1699" y="2365"/>
                    <a:pt x="1596" y="2346"/>
                  </a:cubicBezTo>
                  <a:cubicBezTo>
                    <a:pt x="1537" y="1977"/>
                    <a:pt x="1191" y="1679"/>
                    <a:pt x="799" y="1679"/>
                  </a:cubicBezTo>
                  <a:cubicBezTo>
                    <a:pt x="358" y="1679"/>
                    <a:pt x="1" y="2036"/>
                    <a:pt x="1" y="2477"/>
                  </a:cubicBezTo>
                  <a:cubicBezTo>
                    <a:pt x="1" y="2929"/>
                    <a:pt x="358" y="3286"/>
                    <a:pt x="799" y="3286"/>
                  </a:cubicBezTo>
                  <a:cubicBezTo>
                    <a:pt x="1180" y="3286"/>
                    <a:pt x="1501" y="3012"/>
                    <a:pt x="1572" y="2679"/>
                  </a:cubicBezTo>
                  <a:cubicBezTo>
                    <a:pt x="1691" y="2691"/>
                    <a:pt x="1858" y="2703"/>
                    <a:pt x="2049" y="2703"/>
                  </a:cubicBezTo>
                  <a:cubicBezTo>
                    <a:pt x="2501" y="2703"/>
                    <a:pt x="3120" y="2619"/>
                    <a:pt x="3692" y="2262"/>
                  </a:cubicBezTo>
                  <a:cubicBezTo>
                    <a:pt x="4251" y="1905"/>
                    <a:pt x="4656" y="1334"/>
                    <a:pt x="4894" y="595"/>
                  </a:cubicBezTo>
                  <a:lnTo>
                    <a:pt x="4930" y="631"/>
                  </a:lnTo>
                  <a:cubicBezTo>
                    <a:pt x="4954" y="691"/>
                    <a:pt x="5013" y="726"/>
                    <a:pt x="5073" y="726"/>
                  </a:cubicBezTo>
                  <a:cubicBezTo>
                    <a:pt x="5109" y="726"/>
                    <a:pt x="5120" y="726"/>
                    <a:pt x="5144" y="714"/>
                  </a:cubicBezTo>
                  <a:cubicBezTo>
                    <a:pt x="5180" y="679"/>
                    <a:pt x="5204" y="584"/>
                    <a:pt x="5180" y="500"/>
                  </a:cubicBezTo>
                  <a:lnTo>
                    <a:pt x="4966" y="72"/>
                  </a:lnTo>
                  <a:cubicBezTo>
                    <a:pt x="4966" y="72"/>
                    <a:pt x="4966" y="60"/>
                    <a:pt x="4954" y="60"/>
                  </a:cubicBezTo>
                  <a:lnTo>
                    <a:pt x="4930" y="24"/>
                  </a:lnTo>
                  <a:lnTo>
                    <a:pt x="4906" y="12"/>
                  </a:lnTo>
                  <a:cubicBezTo>
                    <a:pt x="4906" y="12"/>
                    <a:pt x="4894" y="12"/>
                    <a:pt x="4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9" name="Google Shape;11339;p60"/>
            <p:cNvSpPr/>
            <p:nvPr/>
          </p:nvSpPr>
          <p:spPr>
            <a:xfrm>
              <a:off x="8067519" y="3519742"/>
              <a:ext cx="32241" cy="30268"/>
            </a:xfrm>
            <a:custGeom>
              <a:avLst/>
              <a:gdLst/>
              <a:ahLst/>
              <a:cxnLst/>
              <a:rect l="l" t="t" r="r" b="b"/>
              <a:pathLst>
                <a:path w="1013" h="951" extrusionOk="0">
                  <a:moveTo>
                    <a:pt x="173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274" y="474"/>
                  </a:lnTo>
                  <a:lnTo>
                    <a:pt x="60" y="688"/>
                  </a:lnTo>
                  <a:cubicBezTo>
                    <a:pt x="0" y="748"/>
                    <a:pt x="0" y="843"/>
                    <a:pt x="60" y="903"/>
                  </a:cubicBezTo>
                  <a:cubicBezTo>
                    <a:pt x="96" y="938"/>
                    <a:pt x="131" y="950"/>
                    <a:pt x="179" y="950"/>
                  </a:cubicBezTo>
                  <a:cubicBezTo>
                    <a:pt x="227" y="950"/>
                    <a:pt x="274" y="938"/>
                    <a:pt x="298" y="903"/>
                  </a:cubicBezTo>
                  <a:lnTo>
                    <a:pt x="512" y="700"/>
                  </a:lnTo>
                  <a:lnTo>
                    <a:pt x="715" y="903"/>
                  </a:lnTo>
                  <a:cubicBezTo>
                    <a:pt x="750" y="938"/>
                    <a:pt x="786" y="950"/>
                    <a:pt x="834" y="950"/>
                  </a:cubicBezTo>
                  <a:cubicBezTo>
                    <a:pt x="881" y="950"/>
                    <a:pt x="929" y="938"/>
                    <a:pt x="953" y="903"/>
                  </a:cubicBezTo>
                  <a:cubicBezTo>
                    <a:pt x="1012" y="843"/>
                    <a:pt x="1012" y="748"/>
                    <a:pt x="953" y="688"/>
                  </a:cubicBezTo>
                  <a:lnTo>
                    <a:pt x="715" y="474"/>
                  </a:lnTo>
                  <a:lnTo>
                    <a:pt x="929" y="272"/>
                  </a:lnTo>
                  <a:cubicBezTo>
                    <a:pt x="989" y="212"/>
                    <a:pt x="989" y="105"/>
                    <a:pt x="929" y="46"/>
                  </a:cubicBezTo>
                  <a:cubicBezTo>
                    <a:pt x="899" y="16"/>
                    <a:pt x="858" y="1"/>
                    <a:pt x="816" y="1"/>
                  </a:cubicBezTo>
                  <a:cubicBezTo>
                    <a:pt x="774" y="1"/>
                    <a:pt x="733" y="16"/>
                    <a:pt x="703" y="46"/>
                  </a:cubicBezTo>
                  <a:lnTo>
                    <a:pt x="488" y="248"/>
                  </a:lnTo>
                  <a:lnTo>
                    <a:pt x="286" y="46"/>
                  </a:ln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0" name="Google Shape;11340;p60"/>
            <p:cNvSpPr/>
            <p:nvPr/>
          </p:nvSpPr>
          <p:spPr>
            <a:xfrm>
              <a:off x="8244479" y="3601602"/>
              <a:ext cx="32623" cy="30268"/>
            </a:xfrm>
            <a:custGeom>
              <a:avLst/>
              <a:gdLst/>
              <a:ahLst/>
              <a:cxnLst/>
              <a:rect l="l" t="t" r="r" b="b"/>
              <a:pathLst>
                <a:path w="1025" h="951" extrusionOk="0">
                  <a:moveTo>
                    <a:pt x="179" y="1"/>
                  </a:moveTo>
                  <a:cubicBezTo>
                    <a:pt x="140" y="1"/>
                    <a:pt x="102" y="15"/>
                    <a:pt x="72" y="45"/>
                  </a:cubicBezTo>
                  <a:cubicBezTo>
                    <a:pt x="1" y="105"/>
                    <a:pt x="1" y="212"/>
                    <a:pt x="72" y="271"/>
                  </a:cubicBezTo>
                  <a:lnTo>
                    <a:pt x="274" y="474"/>
                  </a:lnTo>
                  <a:lnTo>
                    <a:pt x="72" y="688"/>
                  </a:lnTo>
                  <a:cubicBezTo>
                    <a:pt x="1" y="748"/>
                    <a:pt x="1" y="855"/>
                    <a:pt x="72" y="914"/>
                  </a:cubicBezTo>
                  <a:cubicBezTo>
                    <a:pt x="96" y="938"/>
                    <a:pt x="143" y="950"/>
                    <a:pt x="179" y="950"/>
                  </a:cubicBezTo>
                  <a:cubicBezTo>
                    <a:pt x="227" y="950"/>
                    <a:pt x="274" y="938"/>
                    <a:pt x="298" y="914"/>
                  </a:cubicBezTo>
                  <a:lnTo>
                    <a:pt x="513" y="700"/>
                  </a:lnTo>
                  <a:lnTo>
                    <a:pt x="727" y="914"/>
                  </a:lnTo>
                  <a:cubicBezTo>
                    <a:pt x="751" y="938"/>
                    <a:pt x="798" y="950"/>
                    <a:pt x="846" y="950"/>
                  </a:cubicBezTo>
                  <a:cubicBezTo>
                    <a:pt x="882" y="950"/>
                    <a:pt x="929" y="938"/>
                    <a:pt x="965" y="914"/>
                  </a:cubicBezTo>
                  <a:cubicBezTo>
                    <a:pt x="1024" y="855"/>
                    <a:pt x="1024" y="748"/>
                    <a:pt x="965" y="688"/>
                  </a:cubicBezTo>
                  <a:lnTo>
                    <a:pt x="727" y="474"/>
                  </a:lnTo>
                  <a:lnTo>
                    <a:pt x="929" y="271"/>
                  </a:lnTo>
                  <a:cubicBezTo>
                    <a:pt x="989" y="212"/>
                    <a:pt x="989" y="105"/>
                    <a:pt x="929" y="45"/>
                  </a:cubicBezTo>
                  <a:cubicBezTo>
                    <a:pt x="899" y="15"/>
                    <a:pt x="858" y="1"/>
                    <a:pt x="816" y="1"/>
                  </a:cubicBezTo>
                  <a:cubicBezTo>
                    <a:pt x="774" y="1"/>
                    <a:pt x="733" y="15"/>
                    <a:pt x="703" y="45"/>
                  </a:cubicBezTo>
                  <a:lnTo>
                    <a:pt x="501" y="260"/>
                  </a:lnTo>
                  <a:lnTo>
                    <a:pt x="286" y="45"/>
                  </a:lnTo>
                  <a:cubicBezTo>
                    <a:pt x="257" y="15"/>
                    <a:pt x="218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1" name="Google Shape;11341;p60"/>
            <p:cNvSpPr/>
            <p:nvPr/>
          </p:nvSpPr>
          <p:spPr>
            <a:xfrm>
              <a:off x="8156190" y="3533396"/>
              <a:ext cx="32241" cy="30236"/>
            </a:xfrm>
            <a:custGeom>
              <a:avLst/>
              <a:gdLst/>
              <a:ahLst/>
              <a:cxnLst/>
              <a:rect l="l" t="t" r="r" b="b"/>
              <a:pathLst>
                <a:path w="1013" h="950" extrusionOk="0">
                  <a:moveTo>
                    <a:pt x="167" y="0"/>
                  </a:moveTo>
                  <a:cubicBezTo>
                    <a:pt x="128" y="0"/>
                    <a:pt x="90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lnTo>
                    <a:pt x="262" y="474"/>
                  </a:lnTo>
                  <a:lnTo>
                    <a:pt x="60" y="688"/>
                  </a:lnTo>
                  <a:cubicBezTo>
                    <a:pt x="0" y="748"/>
                    <a:pt x="0" y="855"/>
                    <a:pt x="60" y="914"/>
                  </a:cubicBezTo>
                  <a:cubicBezTo>
                    <a:pt x="84" y="938"/>
                    <a:pt x="131" y="950"/>
                    <a:pt x="179" y="950"/>
                  </a:cubicBezTo>
                  <a:cubicBezTo>
                    <a:pt x="215" y="950"/>
                    <a:pt x="262" y="938"/>
                    <a:pt x="298" y="914"/>
                  </a:cubicBezTo>
                  <a:lnTo>
                    <a:pt x="500" y="700"/>
                  </a:lnTo>
                  <a:lnTo>
                    <a:pt x="715" y="914"/>
                  </a:lnTo>
                  <a:cubicBezTo>
                    <a:pt x="739" y="938"/>
                    <a:pt x="786" y="950"/>
                    <a:pt x="834" y="950"/>
                  </a:cubicBezTo>
                  <a:cubicBezTo>
                    <a:pt x="870" y="950"/>
                    <a:pt x="917" y="938"/>
                    <a:pt x="953" y="914"/>
                  </a:cubicBezTo>
                  <a:cubicBezTo>
                    <a:pt x="1012" y="855"/>
                    <a:pt x="1012" y="748"/>
                    <a:pt x="953" y="688"/>
                  </a:cubicBezTo>
                  <a:lnTo>
                    <a:pt x="715" y="474"/>
                  </a:lnTo>
                  <a:lnTo>
                    <a:pt x="917" y="271"/>
                  </a:lnTo>
                  <a:cubicBezTo>
                    <a:pt x="977" y="212"/>
                    <a:pt x="977" y="105"/>
                    <a:pt x="917" y="45"/>
                  </a:cubicBezTo>
                  <a:cubicBezTo>
                    <a:pt x="887" y="15"/>
                    <a:pt x="849" y="0"/>
                    <a:pt x="810" y="0"/>
                  </a:cubicBezTo>
                  <a:cubicBezTo>
                    <a:pt x="771" y="0"/>
                    <a:pt x="733" y="15"/>
                    <a:pt x="703" y="45"/>
                  </a:cubicBezTo>
                  <a:lnTo>
                    <a:pt x="489" y="259"/>
                  </a:lnTo>
                  <a:lnTo>
                    <a:pt x="274" y="45"/>
                  </a:lnTo>
                  <a:cubicBezTo>
                    <a:pt x="244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42" name="Google Shape;11342;p60"/>
          <p:cNvGrpSpPr/>
          <p:nvPr/>
        </p:nvGrpSpPr>
        <p:grpSpPr>
          <a:xfrm>
            <a:off x="1299146" y="3806507"/>
            <a:ext cx="367990" cy="351312"/>
            <a:chOff x="1299146" y="3806507"/>
            <a:chExt cx="367990" cy="351312"/>
          </a:xfrm>
        </p:grpSpPr>
        <p:sp>
          <p:nvSpPr>
            <p:cNvPr id="11343" name="Google Shape;11343;p60"/>
            <p:cNvSpPr/>
            <p:nvPr/>
          </p:nvSpPr>
          <p:spPr>
            <a:xfrm>
              <a:off x="1299146" y="3844414"/>
              <a:ext cx="321012" cy="313405"/>
            </a:xfrm>
            <a:custGeom>
              <a:avLst/>
              <a:gdLst/>
              <a:ahLst/>
              <a:cxnLst/>
              <a:rect l="l" t="t" r="r" b="b"/>
              <a:pathLst>
                <a:path w="10086" h="9847" extrusionOk="0">
                  <a:moveTo>
                    <a:pt x="8728" y="1"/>
                  </a:moveTo>
                  <a:cubicBezTo>
                    <a:pt x="8383" y="1"/>
                    <a:pt x="8038" y="143"/>
                    <a:pt x="7787" y="405"/>
                  </a:cubicBezTo>
                  <a:lnTo>
                    <a:pt x="6847" y="1346"/>
                  </a:lnTo>
                  <a:cubicBezTo>
                    <a:pt x="6775" y="1417"/>
                    <a:pt x="6775" y="1525"/>
                    <a:pt x="6847" y="1596"/>
                  </a:cubicBezTo>
                  <a:cubicBezTo>
                    <a:pt x="6883" y="1632"/>
                    <a:pt x="6927" y="1650"/>
                    <a:pt x="6972" y="1650"/>
                  </a:cubicBezTo>
                  <a:cubicBezTo>
                    <a:pt x="7017" y="1650"/>
                    <a:pt x="7061" y="1632"/>
                    <a:pt x="7097" y="1596"/>
                  </a:cubicBezTo>
                  <a:lnTo>
                    <a:pt x="8038" y="667"/>
                  </a:lnTo>
                  <a:cubicBezTo>
                    <a:pt x="8228" y="465"/>
                    <a:pt x="8478" y="370"/>
                    <a:pt x="8728" y="370"/>
                  </a:cubicBezTo>
                  <a:cubicBezTo>
                    <a:pt x="8990" y="370"/>
                    <a:pt x="9252" y="465"/>
                    <a:pt x="9431" y="667"/>
                  </a:cubicBezTo>
                  <a:cubicBezTo>
                    <a:pt x="9633" y="858"/>
                    <a:pt x="9728" y="1108"/>
                    <a:pt x="9728" y="1358"/>
                  </a:cubicBezTo>
                  <a:cubicBezTo>
                    <a:pt x="9728" y="1620"/>
                    <a:pt x="9633" y="1882"/>
                    <a:pt x="9431" y="2060"/>
                  </a:cubicBezTo>
                  <a:lnTo>
                    <a:pt x="8157" y="3346"/>
                  </a:lnTo>
                  <a:cubicBezTo>
                    <a:pt x="8014" y="3025"/>
                    <a:pt x="7835" y="2751"/>
                    <a:pt x="7585" y="2489"/>
                  </a:cubicBezTo>
                  <a:cubicBezTo>
                    <a:pt x="7085" y="1995"/>
                    <a:pt x="6427" y="1748"/>
                    <a:pt x="5769" y="1748"/>
                  </a:cubicBezTo>
                  <a:cubicBezTo>
                    <a:pt x="5112" y="1748"/>
                    <a:pt x="4454" y="1995"/>
                    <a:pt x="3954" y="2489"/>
                  </a:cubicBezTo>
                  <a:lnTo>
                    <a:pt x="989" y="5454"/>
                  </a:lnTo>
                  <a:cubicBezTo>
                    <a:pt x="1" y="6454"/>
                    <a:pt x="1" y="8085"/>
                    <a:pt x="989" y="9085"/>
                  </a:cubicBezTo>
                  <a:cubicBezTo>
                    <a:pt x="1501" y="9597"/>
                    <a:pt x="2156" y="9847"/>
                    <a:pt x="2811" y="9847"/>
                  </a:cubicBezTo>
                  <a:cubicBezTo>
                    <a:pt x="3466" y="9847"/>
                    <a:pt x="4120" y="9597"/>
                    <a:pt x="4620" y="9085"/>
                  </a:cubicBezTo>
                  <a:lnTo>
                    <a:pt x="6204" y="7513"/>
                  </a:lnTo>
                  <a:cubicBezTo>
                    <a:pt x="6275" y="7430"/>
                    <a:pt x="6275" y="7323"/>
                    <a:pt x="6204" y="7251"/>
                  </a:cubicBezTo>
                  <a:cubicBezTo>
                    <a:pt x="6182" y="7243"/>
                    <a:pt x="6152" y="7237"/>
                    <a:pt x="6120" y="7237"/>
                  </a:cubicBezTo>
                  <a:cubicBezTo>
                    <a:pt x="6064" y="7237"/>
                    <a:pt x="5999" y="7254"/>
                    <a:pt x="5954" y="7299"/>
                  </a:cubicBezTo>
                  <a:lnTo>
                    <a:pt x="4370" y="8883"/>
                  </a:lnTo>
                  <a:cubicBezTo>
                    <a:pt x="3954" y="9299"/>
                    <a:pt x="3394" y="9537"/>
                    <a:pt x="2811" y="9537"/>
                  </a:cubicBezTo>
                  <a:cubicBezTo>
                    <a:pt x="2215" y="9537"/>
                    <a:pt x="1668" y="9311"/>
                    <a:pt x="1251" y="8883"/>
                  </a:cubicBezTo>
                  <a:cubicBezTo>
                    <a:pt x="382" y="8013"/>
                    <a:pt x="382" y="6597"/>
                    <a:pt x="1251" y="5739"/>
                  </a:cubicBezTo>
                  <a:lnTo>
                    <a:pt x="4204" y="2775"/>
                  </a:lnTo>
                  <a:cubicBezTo>
                    <a:pt x="4620" y="2358"/>
                    <a:pt x="5192" y="2120"/>
                    <a:pt x="5775" y="2120"/>
                  </a:cubicBezTo>
                  <a:cubicBezTo>
                    <a:pt x="6371" y="2120"/>
                    <a:pt x="6918" y="2346"/>
                    <a:pt x="7335" y="2775"/>
                  </a:cubicBezTo>
                  <a:cubicBezTo>
                    <a:pt x="7573" y="3013"/>
                    <a:pt x="7764" y="3310"/>
                    <a:pt x="7871" y="3644"/>
                  </a:cubicBezTo>
                  <a:lnTo>
                    <a:pt x="6478" y="5037"/>
                  </a:lnTo>
                  <a:cubicBezTo>
                    <a:pt x="6275" y="5227"/>
                    <a:pt x="6025" y="5335"/>
                    <a:pt x="5775" y="5335"/>
                  </a:cubicBezTo>
                  <a:cubicBezTo>
                    <a:pt x="5501" y="5335"/>
                    <a:pt x="5251" y="5227"/>
                    <a:pt x="5073" y="5037"/>
                  </a:cubicBezTo>
                  <a:cubicBezTo>
                    <a:pt x="4990" y="4942"/>
                    <a:pt x="4906" y="4834"/>
                    <a:pt x="4847" y="4703"/>
                  </a:cubicBezTo>
                  <a:cubicBezTo>
                    <a:pt x="4828" y="4639"/>
                    <a:pt x="4760" y="4596"/>
                    <a:pt x="4692" y="4596"/>
                  </a:cubicBezTo>
                  <a:cubicBezTo>
                    <a:pt x="4672" y="4596"/>
                    <a:pt x="4651" y="4600"/>
                    <a:pt x="4632" y="4608"/>
                  </a:cubicBezTo>
                  <a:cubicBezTo>
                    <a:pt x="4537" y="4632"/>
                    <a:pt x="4489" y="4739"/>
                    <a:pt x="4525" y="4823"/>
                  </a:cubicBezTo>
                  <a:cubicBezTo>
                    <a:pt x="4597" y="4989"/>
                    <a:pt x="4692" y="5144"/>
                    <a:pt x="4823" y="5275"/>
                  </a:cubicBezTo>
                  <a:cubicBezTo>
                    <a:pt x="5073" y="5525"/>
                    <a:pt x="5418" y="5680"/>
                    <a:pt x="5775" y="5680"/>
                  </a:cubicBezTo>
                  <a:cubicBezTo>
                    <a:pt x="6133" y="5680"/>
                    <a:pt x="6478" y="5537"/>
                    <a:pt x="6728" y="5275"/>
                  </a:cubicBezTo>
                  <a:lnTo>
                    <a:pt x="9681" y="2310"/>
                  </a:lnTo>
                  <a:cubicBezTo>
                    <a:pt x="9943" y="2060"/>
                    <a:pt x="10085" y="1715"/>
                    <a:pt x="10085" y="1358"/>
                  </a:cubicBezTo>
                  <a:cubicBezTo>
                    <a:pt x="10085" y="1001"/>
                    <a:pt x="9954" y="655"/>
                    <a:pt x="9681" y="405"/>
                  </a:cubicBezTo>
                  <a:cubicBezTo>
                    <a:pt x="9431" y="155"/>
                    <a:pt x="9085" y="1"/>
                    <a:pt x="87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4" name="Google Shape;11344;p60"/>
            <p:cNvSpPr/>
            <p:nvPr/>
          </p:nvSpPr>
          <p:spPr>
            <a:xfrm>
              <a:off x="1345391" y="3806507"/>
              <a:ext cx="321744" cy="313819"/>
            </a:xfrm>
            <a:custGeom>
              <a:avLst/>
              <a:gdLst/>
              <a:ahLst/>
              <a:cxnLst/>
              <a:rect l="l" t="t" r="r" b="b"/>
              <a:pathLst>
                <a:path w="10109" h="9860" extrusionOk="0">
                  <a:moveTo>
                    <a:pt x="7281" y="1"/>
                  </a:moveTo>
                  <a:cubicBezTo>
                    <a:pt x="6623" y="1"/>
                    <a:pt x="5965" y="251"/>
                    <a:pt x="5465" y="751"/>
                  </a:cubicBezTo>
                  <a:lnTo>
                    <a:pt x="3894" y="2335"/>
                  </a:lnTo>
                  <a:cubicBezTo>
                    <a:pt x="3810" y="2406"/>
                    <a:pt x="3810" y="2513"/>
                    <a:pt x="3894" y="2585"/>
                  </a:cubicBezTo>
                  <a:cubicBezTo>
                    <a:pt x="3929" y="2620"/>
                    <a:pt x="3974" y="2638"/>
                    <a:pt x="4019" y="2638"/>
                  </a:cubicBezTo>
                  <a:cubicBezTo>
                    <a:pt x="4063" y="2638"/>
                    <a:pt x="4108" y="2620"/>
                    <a:pt x="4144" y="2585"/>
                  </a:cubicBezTo>
                  <a:lnTo>
                    <a:pt x="5715" y="1001"/>
                  </a:lnTo>
                  <a:cubicBezTo>
                    <a:pt x="6150" y="572"/>
                    <a:pt x="6721" y="358"/>
                    <a:pt x="7291" y="358"/>
                  </a:cubicBezTo>
                  <a:cubicBezTo>
                    <a:pt x="7861" y="358"/>
                    <a:pt x="8430" y="572"/>
                    <a:pt x="8859" y="1001"/>
                  </a:cubicBezTo>
                  <a:cubicBezTo>
                    <a:pt x="9728" y="1870"/>
                    <a:pt x="9728" y="3287"/>
                    <a:pt x="8859" y="4144"/>
                  </a:cubicBezTo>
                  <a:lnTo>
                    <a:pt x="5882" y="7097"/>
                  </a:lnTo>
                  <a:cubicBezTo>
                    <a:pt x="5465" y="7514"/>
                    <a:pt x="4894" y="7752"/>
                    <a:pt x="4322" y="7752"/>
                  </a:cubicBezTo>
                  <a:cubicBezTo>
                    <a:pt x="3727" y="7752"/>
                    <a:pt x="3179" y="7526"/>
                    <a:pt x="2763" y="7097"/>
                  </a:cubicBezTo>
                  <a:cubicBezTo>
                    <a:pt x="2513" y="6859"/>
                    <a:pt x="2322" y="6561"/>
                    <a:pt x="2215" y="6228"/>
                  </a:cubicBezTo>
                  <a:lnTo>
                    <a:pt x="3620" y="4835"/>
                  </a:lnTo>
                  <a:cubicBezTo>
                    <a:pt x="3810" y="4632"/>
                    <a:pt x="4060" y="4537"/>
                    <a:pt x="4322" y="4537"/>
                  </a:cubicBezTo>
                  <a:cubicBezTo>
                    <a:pt x="4584" y="4537"/>
                    <a:pt x="4834" y="4632"/>
                    <a:pt x="5013" y="4835"/>
                  </a:cubicBezTo>
                  <a:cubicBezTo>
                    <a:pt x="5108" y="4918"/>
                    <a:pt x="5180" y="5037"/>
                    <a:pt x="5239" y="5156"/>
                  </a:cubicBezTo>
                  <a:cubicBezTo>
                    <a:pt x="5268" y="5232"/>
                    <a:pt x="5334" y="5271"/>
                    <a:pt x="5409" y="5271"/>
                  </a:cubicBezTo>
                  <a:cubicBezTo>
                    <a:pt x="5427" y="5271"/>
                    <a:pt x="5446" y="5268"/>
                    <a:pt x="5465" y="5263"/>
                  </a:cubicBezTo>
                  <a:cubicBezTo>
                    <a:pt x="5549" y="5228"/>
                    <a:pt x="5596" y="5132"/>
                    <a:pt x="5572" y="5037"/>
                  </a:cubicBezTo>
                  <a:cubicBezTo>
                    <a:pt x="5489" y="4871"/>
                    <a:pt x="5406" y="4728"/>
                    <a:pt x="5275" y="4597"/>
                  </a:cubicBezTo>
                  <a:cubicBezTo>
                    <a:pt x="5013" y="4335"/>
                    <a:pt x="4680" y="4192"/>
                    <a:pt x="4322" y="4192"/>
                  </a:cubicBezTo>
                  <a:cubicBezTo>
                    <a:pt x="3965" y="4192"/>
                    <a:pt x="3620" y="4323"/>
                    <a:pt x="3370" y="4597"/>
                  </a:cubicBezTo>
                  <a:lnTo>
                    <a:pt x="1917" y="6037"/>
                  </a:lnTo>
                  <a:cubicBezTo>
                    <a:pt x="1893" y="6049"/>
                    <a:pt x="1882" y="6061"/>
                    <a:pt x="1870" y="6097"/>
                  </a:cubicBezTo>
                  <a:lnTo>
                    <a:pt x="405" y="7549"/>
                  </a:lnTo>
                  <a:cubicBezTo>
                    <a:pt x="155" y="7811"/>
                    <a:pt x="0" y="8145"/>
                    <a:pt x="0" y="8502"/>
                  </a:cubicBezTo>
                  <a:cubicBezTo>
                    <a:pt x="0" y="8859"/>
                    <a:pt x="131" y="9204"/>
                    <a:pt x="405" y="9454"/>
                  </a:cubicBezTo>
                  <a:cubicBezTo>
                    <a:pt x="655" y="9716"/>
                    <a:pt x="1000" y="9859"/>
                    <a:pt x="1358" y="9859"/>
                  </a:cubicBezTo>
                  <a:cubicBezTo>
                    <a:pt x="1715" y="9859"/>
                    <a:pt x="2060" y="9728"/>
                    <a:pt x="2310" y="9454"/>
                  </a:cubicBezTo>
                  <a:lnTo>
                    <a:pt x="3251" y="8526"/>
                  </a:lnTo>
                  <a:cubicBezTo>
                    <a:pt x="3322" y="8442"/>
                    <a:pt x="3322" y="8347"/>
                    <a:pt x="3251" y="8264"/>
                  </a:cubicBezTo>
                  <a:cubicBezTo>
                    <a:pt x="3209" y="8228"/>
                    <a:pt x="3164" y="8210"/>
                    <a:pt x="3120" y="8210"/>
                  </a:cubicBezTo>
                  <a:cubicBezTo>
                    <a:pt x="3075" y="8210"/>
                    <a:pt x="3030" y="8228"/>
                    <a:pt x="2989" y="8264"/>
                  </a:cubicBezTo>
                  <a:lnTo>
                    <a:pt x="2060" y="9204"/>
                  </a:lnTo>
                  <a:cubicBezTo>
                    <a:pt x="1858" y="9395"/>
                    <a:pt x="1608" y="9502"/>
                    <a:pt x="1358" y="9502"/>
                  </a:cubicBezTo>
                  <a:cubicBezTo>
                    <a:pt x="1108" y="9502"/>
                    <a:pt x="834" y="9395"/>
                    <a:pt x="655" y="9204"/>
                  </a:cubicBezTo>
                  <a:cubicBezTo>
                    <a:pt x="465" y="9014"/>
                    <a:pt x="358" y="8764"/>
                    <a:pt x="358" y="8502"/>
                  </a:cubicBezTo>
                  <a:cubicBezTo>
                    <a:pt x="358" y="8252"/>
                    <a:pt x="465" y="7990"/>
                    <a:pt x="655" y="7811"/>
                  </a:cubicBezTo>
                  <a:lnTo>
                    <a:pt x="1941" y="6526"/>
                  </a:lnTo>
                  <a:cubicBezTo>
                    <a:pt x="2072" y="6835"/>
                    <a:pt x="2251" y="7121"/>
                    <a:pt x="2501" y="7371"/>
                  </a:cubicBezTo>
                  <a:cubicBezTo>
                    <a:pt x="3001" y="7859"/>
                    <a:pt x="3632" y="8133"/>
                    <a:pt x="4322" y="8133"/>
                  </a:cubicBezTo>
                  <a:cubicBezTo>
                    <a:pt x="5001" y="8133"/>
                    <a:pt x="5656" y="7871"/>
                    <a:pt x="6132" y="7371"/>
                  </a:cubicBezTo>
                  <a:lnTo>
                    <a:pt x="9097" y="4418"/>
                  </a:lnTo>
                  <a:cubicBezTo>
                    <a:pt x="10109" y="3382"/>
                    <a:pt x="10109" y="1751"/>
                    <a:pt x="9097" y="751"/>
                  </a:cubicBezTo>
                  <a:cubicBezTo>
                    <a:pt x="8597" y="251"/>
                    <a:pt x="7939" y="1"/>
                    <a:pt x="7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45" name="Google Shape;11345;p60"/>
          <p:cNvSpPr/>
          <p:nvPr/>
        </p:nvSpPr>
        <p:spPr>
          <a:xfrm>
            <a:off x="3524716" y="3804184"/>
            <a:ext cx="389187" cy="355927"/>
          </a:xfrm>
          <a:custGeom>
            <a:avLst/>
            <a:gdLst/>
            <a:ahLst/>
            <a:cxnLst/>
            <a:rect l="l" t="t" r="r" b="b"/>
            <a:pathLst>
              <a:path w="12228" h="11183" extrusionOk="0">
                <a:moveTo>
                  <a:pt x="4560" y="3991"/>
                </a:moveTo>
                <a:cubicBezTo>
                  <a:pt x="4739" y="3991"/>
                  <a:pt x="4894" y="4146"/>
                  <a:pt x="4894" y="4324"/>
                </a:cubicBezTo>
                <a:cubicBezTo>
                  <a:pt x="4894" y="4503"/>
                  <a:pt x="4739" y="4646"/>
                  <a:pt x="4560" y="4646"/>
                </a:cubicBezTo>
                <a:cubicBezTo>
                  <a:pt x="4382" y="4646"/>
                  <a:pt x="4239" y="4503"/>
                  <a:pt x="4239" y="4324"/>
                </a:cubicBezTo>
                <a:cubicBezTo>
                  <a:pt x="4251" y="4134"/>
                  <a:pt x="4382" y="3991"/>
                  <a:pt x="4560" y="3991"/>
                </a:cubicBezTo>
                <a:close/>
                <a:moveTo>
                  <a:pt x="5930" y="1419"/>
                </a:moveTo>
                <a:lnTo>
                  <a:pt x="5930" y="2003"/>
                </a:lnTo>
                <a:lnTo>
                  <a:pt x="5941" y="4051"/>
                </a:lnTo>
                <a:lnTo>
                  <a:pt x="5965" y="5872"/>
                </a:lnTo>
                <a:lnTo>
                  <a:pt x="1619" y="4908"/>
                </a:lnTo>
                <a:cubicBezTo>
                  <a:pt x="1869" y="3801"/>
                  <a:pt x="2548" y="2848"/>
                  <a:pt x="3489" y="2229"/>
                </a:cubicBezTo>
                <a:lnTo>
                  <a:pt x="4275" y="3670"/>
                </a:lnTo>
                <a:cubicBezTo>
                  <a:pt x="4025" y="3777"/>
                  <a:pt x="3858" y="4027"/>
                  <a:pt x="3858" y="4313"/>
                </a:cubicBezTo>
                <a:cubicBezTo>
                  <a:pt x="3858" y="4694"/>
                  <a:pt x="4179" y="5027"/>
                  <a:pt x="4572" y="5027"/>
                </a:cubicBezTo>
                <a:cubicBezTo>
                  <a:pt x="4965" y="5027"/>
                  <a:pt x="5287" y="4705"/>
                  <a:pt x="5287" y="4313"/>
                </a:cubicBezTo>
                <a:cubicBezTo>
                  <a:pt x="5287" y="3967"/>
                  <a:pt x="5037" y="3670"/>
                  <a:pt x="4715" y="3610"/>
                </a:cubicBezTo>
                <a:lnTo>
                  <a:pt x="3846" y="2015"/>
                </a:lnTo>
                <a:cubicBezTo>
                  <a:pt x="4477" y="1657"/>
                  <a:pt x="5168" y="1455"/>
                  <a:pt x="5930" y="1419"/>
                </a:cubicBezTo>
                <a:close/>
                <a:moveTo>
                  <a:pt x="6287" y="4265"/>
                </a:moveTo>
                <a:cubicBezTo>
                  <a:pt x="7227" y="4348"/>
                  <a:pt x="7965" y="5158"/>
                  <a:pt x="7965" y="6122"/>
                </a:cubicBezTo>
                <a:cubicBezTo>
                  <a:pt x="7965" y="6491"/>
                  <a:pt x="7846" y="6872"/>
                  <a:pt x="7644" y="7170"/>
                </a:cubicBezTo>
                <a:lnTo>
                  <a:pt x="6287" y="6039"/>
                </a:lnTo>
                <a:lnTo>
                  <a:pt x="6287" y="4265"/>
                </a:lnTo>
                <a:close/>
                <a:moveTo>
                  <a:pt x="6477" y="348"/>
                </a:moveTo>
                <a:cubicBezTo>
                  <a:pt x="9501" y="526"/>
                  <a:pt x="11871" y="3039"/>
                  <a:pt x="11871" y="6063"/>
                </a:cubicBezTo>
                <a:cubicBezTo>
                  <a:pt x="11835" y="7349"/>
                  <a:pt x="11454" y="8539"/>
                  <a:pt x="10728" y="9516"/>
                </a:cubicBezTo>
                <a:cubicBezTo>
                  <a:pt x="10692" y="9563"/>
                  <a:pt x="10644" y="9575"/>
                  <a:pt x="10609" y="9575"/>
                </a:cubicBezTo>
                <a:cubicBezTo>
                  <a:pt x="10561" y="9575"/>
                  <a:pt x="10513" y="9563"/>
                  <a:pt x="10490" y="9527"/>
                </a:cubicBezTo>
                <a:lnTo>
                  <a:pt x="9537" y="8730"/>
                </a:lnTo>
                <a:cubicBezTo>
                  <a:pt x="10013" y="8123"/>
                  <a:pt x="10311" y="7384"/>
                  <a:pt x="10394" y="6610"/>
                </a:cubicBezTo>
                <a:cubicBezTo>
                  <a:pt x="10406" y="6491"/>
                  <a:pt x="10323" y="6396"/>
                  <a:pt x="10204" y="6396"/>
                </a:cubicBezTo>
                <a:cubicBezTo>
                  <a:pt x="10097" y="6396"/>
                  <a:pt x="10025" y="6468"/>
                  <a:pt x="10013" y="6551"/>
                </a:cubicBezTo>
                <a:cubicBezTo>
                  <a:pt x="9930" y="7206"/>
                  <a:pt x="9680" y="7849"/>
                  <a:pt x="9299" y="8384"/>
                </a:cubicBezTo>
                <a:cubicBezTo>
                  <a:pt x="9275" y="8396"/>
                  <a:pt x="9263" y="8432"/>
                  <a:pt x="9251" y="8444"/>
                </a:cubicBezTo>
                <a:cubicBezTo>
                  <a:pt x="9251" y="8444"/>
                  <a:pt x="9251" y="8456"/>
                  <a:pt x="9239" y="8456"/>
                </a:cubicBezTo>
                <a:lnTo>
                  <a:pt x="7954" y="7372"/>
                </a:lnTo>
                <a:cubicBezTo>
                  <a:pt x="8227" y="7003"/>
                  <a:pt x="8370" y="6539"/>
                  <a:pt x="8370" y="6075"/>
                </a:cubicBezTo>
                <a:cubicBezTo>
                  <a:pt x="8370" y="4908"/>
                  <a:pt x="7465" y="3920"/>
                  <a:pt x="6299" y="3836"/>
                </a:cubicBezTo>
                <a:lnTo>
                  <a:pt x="6287" y="2146"/>
                </a:lnTo>
                <a:lnTo>
                  <a:pt x="6418" y="2146"/>
                </a:lnTo>
                <a:cubicBezTo>
                  <a:pt x="6453" y="2146"/>
                  <a:pt x="6501" y="2146"/>
                  <a:pt x="6525" y="2169"/>
                </a:cubicBezTo>
                <a:cubicBezTo>
                  <a:pt x="8358" y="2360"/>
                  <a:pt x="9811" y="3812"/>
                  <a:pt x="10025" y="5646"/>
                </a:cubicBezTo>
                <a:cubicBezTo>
                  <a:pt x="10037" y="5753"/>
                  <a:pt x="10109" y="5813"/>
                  <a:pt x="10216" y="5813"/>
                </a:cubicBezTo>
                <a:cubicBezTo>
                  <a:pt x="10335" y="5813"/>
                  <a:pt x="10430" y="5706"/>
                  <a:pt x="10406" y="5598"/>
                </a:cubicBezTo>
                <a:cubicBezTo>
                  <a:pt x="10192" y="3503"/>
                  <a:pt x="8430" y="1848"/>
                  <a:pt x="6299" y="1765"/>
                </a:cubicBezTo>
                <a:lnTo>
                  <a:pt x="6299" y="526"/>
                </a:lnTo>
                <a:cubicBezTo>
                  <a:pt x="6299" y="479"/>
                  <a:pt x="6322" y="443"/>
                  <a:pt x="6346" y="407"/>
                </a:cubicBezTo>
                <a:cubicBezTo>
                  <a:pt x="6382" y="360"/>
                  <a:pt x="6418" y="348"/>
                  <a:pt x="6477" y="348"/>
                </a:cubicBezTo>
                <a:close/>
                <a:moveTo>
                  <a:pt x="1477" y="5277"/>
                </a:moveTo>
                <a:lnTo>
                  <a:pt x="5870" y="6241"/>
                </a:lnTo>
                <a:lnTo>
                  <a:pt x="4667" y="10575"/>
                </a:lnTo>
                <a:cubicBezTo>
                  <a:pt x="2774" y="9980"/>
                  <a:pt x="1405" y="8206"/>
                  <a:pt x="1405" y="6110"/>
                </a:cubicBezTo>
                <a:cubicBezTo>
                  <a:pt x="1405" y="5825"/>
                  <a:pt x="1441" y="5539"/>
                  <a:pt x="1477" y="5277"/>
                </a:cubicBezTo>
                <a:close/>
                <a:moveTo>
                  <a:pt x="6215" y="6468"/>
                </a:moveTo>
                <a:lnTo>
                  <a:pt x="7549" y="7599"/>
                </a:lnTo>
                <a:lnTo>
                  <a:pt x="9132" y="8920"/>
                </a:lnTo>
                <a:lnTo>
                  <a:pt x="9573" y="9289"/>
                </a:lnTo>
                <a:cubicBezTo>
                  <a:pt x="8680" y="10266"/>
                  <a:pt x="7430" y="10813"/>
                  <a:pt x="6108" y="10813"/>
                </a:cubicBezTo>
                <a:cubicBezTo>
                  <a:pt x="5739" y="10813"/>
                  <a:pt x="5382" y="10766"/>
                  <a:pt x="5037" y="10694"/>
                </a:cubicBezTo>
                <a:lnTo>
                  <a:pt x="6215" y="6468"/>
                </a:lnTo>
                <a:close/>
                <a:moveTo>
                  <a:pt x="6429" y="1"/>
                </a:moveTo>
                <a:cubicBezTo>
                  <a:pt x="6297" y="1"/>
                  <a:pt x="6159" y="59"/>
                  <a:pt x="6060" y="157"/>
                </a:cubicBezTo>
                <a:cubicBezTo>
                  <a:pt x="5953" y="264"/>
                  <a:pt x="5882" y="407"/>
                  <a:pt x="5882" y="562"/>
                </a:cubicBezTo>
                <a:lnTo>
                  <a:pt x="5882" y="1038"/>
                </a:lnTo>
                <a:cubicBezTo>
                  <a:pt x="5084" y="1062"/>
                  <a:pt x="4310" y="1288"/>
                  <a:pt x="3620" y="1669"/>
                </a:cubicBezTo>
                <a:lnTo>
                  <a:pt x="3191" y="872"/>
                </a:lnTo>
                <a:cubicBezTo>
                  <a:pt x="3155" y="812"/>
                  <a:pt x="3084" y="764"/>
                  <a:pt x="3024" y="764"/>
                </a:cubicBezTo>
                <a:lnTo>
                  <a:pt x="393" y="764"/>
                </a:lnTo>
                <a:lnTo>
                  <a:pt x="393" y="443"/>
                </a:lnTo>
                <a:cubicBezTo>
                  <a:pt x="393" y="336"/>
                  <a:pt x="298" y="241"/>
                  <a:pt x="203" y="241"/>
                </a:cubicBezTo>
                <a:cubicBezTo>
                  <a:pt x="95" y="241"/>
                  <a:pt x="0" y="336"/>
                  <a:pt x="0" y="443"/>
                </a:cubicBezTo>
                <a:lnTo>
                  <a:pt x="0" y="1467"/>
                </a:lnTo>
                <a:cubicBezTo>
                  <a:pt x="0" y="1574"/>
                  <a:pt x="95" y="1657"/>
                  <a:pt x="203" y="1657"/>
                </a:cubicBezTo>
                <a:cubicBezTo>
                  <a:pt x="298" y="1657"/>
                  <a:pt x="393" y="1562"/>
                  <a:pt x="393" y="1467"/>
                </a:cubicBezTo>
                <a:lnTo>
                  <a:pt x="393" y="1157"/>
                </a:lnTo>
                <a:lnTo>
                  <a:pt x="2917" y="1157"/>
                </a:lnTo>
                <a:lnTo>
                  <a:pt x="3310" y="1872"/>
                </a:lnTo>
                <a:cubicBezTo>
                  <a:pt x="3024" y="2062"/>
                  <a:pt x="2762" y="2277"/>
                  <a:pt x="2501" y="2527"/>
                </a:cubicBezTo>
                <a:cubicBezTo>
                  <a:pt x="1548" y="3467"/>
                  <a:pt x="1036" y="4753"/>
                  <a:pt x="1036" y="6098"/>
                </a:cubicBezTo>
                <a:cubicBezTo>
                  <a:pt x="1036" y="8885"/>
                  <a:pt x="3310" y="11182"/>
                  <a:pt x="6120" y="11182"/>
                </a:cubicBezTo>
                <a:cubicBezTo>
                  <a:pt x="7573" y="11182"/>
                  <a:pt x="8918" y="10575"/>
                  <a:pt x="9882" y="9516"/>
                </a:cubicBezTo>
                <a:lnTo>
                  <a:pt x="10240" y="9813"/>
                </a:lnTo>
                <a:cubicBezTo>
                  <a:pt x="10347" y="9908"/>
                  <a:pt x="10466" y="9944"/>
                  <a:pt x="10597" y="9944"/>
                </a:cubicBezTo>
                <a:lnTo>
                  <a:pt x="10656" y="9944"/>
                </a:lnTo>
                <a:cubicBezTo>
                  <a:pt x="10811" y="9932"/>
                  <a:pt x="10942" y="9837"/>
                  <a:pt x="11037" y="9718"/>
                </a:cubicBezTo>
                <a:cubicBezTo>
                  <a:pt x="11823" y="8670"/>
                  <a:pt x="12228" y="7420"/>
                  <a:pt x="12228" y="6098"/>
                </a:cubicBezTo>
                <a:cubicBezTo>
                  <a:pt x="12228" y="2884"/>
                  <a:pt x="9692" y="205"/>
                  <a:pt x="6465" y="2"/>
                </a:cubicBezTo>
                <a:cubicBezTo>
                  <a:pt x="6453" y="1"/>
                  <a:pt x="6441" y="1"/>
                  <a:pt x="642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46" name="Google Shape;11346;p60"/>
          <p:cNvGrpSpPr/>
          <p:nvPr/>
        </p:nvGrpSpPr>
        <p:grpSpPr>
          <a:xfrm>
            <a:off x="3095745" y="3805393"/>
            <a:ext cx="352840" cy="354717"/>
            <a:chOff x="3095745" y="3805393"/>
            <a:chExt cx="352840" cy="354717"/>
          </a:xfrm>
        </p:grpSpPr>
        <p:sp>
          <p:nvSpPr>
            <p:cNvPr id="11347" name="Google Shape;11347;p60"/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8" name="Google Shape;11348;p60"/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9" name="Google Shape;11349;p60"/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0" name="Google Shape;11350;p60"/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1" name="Google Shape;11351;p60"/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2" name="Google Shape;11352;p60"/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53" name="Google Shape;11353;p60"/>
          <p:cNvGrpSpPr/>
          <p:nvPr/>
        </p:nvGrpSpPr>
        <p:grpSpPr>
          <a:xfrm>
            <a:off x="7550258" y="3832670"/>
            <a:ext cx="371395" cy="301279"/>
            <a:chOff x="7550258" y="3832670"/>
            <a:chExt cx="371395" cy="301279"/>
          </a:xfrm>
        </p:grpSpPr>
        <p:sp>
          <p:nvSpPr>
            <p:cNvPr id="11354" name="Google Shape;11354;p60"/>
            <p:cNvSpPr/>
            <p:nvPr/>
          </p:nvSpPr>
          <p:spPr>
            <a:xfrm>
              <a:off x="7550258" y="3832670"/>
              <a:ext cx="371395" cy="301279"/>
            </a:xfrm>
            <a:custGeom>
              <a:avLst/>
              <a:gdLst/>
              <a:ahLst/>
              <a:cxnLst/>
              <a:rect l="l" t="t" r="r" b="b"/>
              <a:pathLst>
                <a:path w="11669" h="9466" extrusionOk="0">
                  <a:moveTo>
                    <a:pt x="1822" y="346"/>
                  </a:moveTo>
                  <a:cubicBezTo>
                    <a:pt x="1822" y="346"/>
                    <a:pt x="1834" y="346"/>
                    <a:pt x="1834" y="358"/>
                  </a:cubicBezTo>
                  <a:lnTo>
                    <a:pt x="1834" y="1096"/>
                  </a:lnTo>
                  <a:cubicBezTo>
                    <a:pt x="1834" y="1096"/>
                    <a:pt x="1834" y="1108"/>
                    <a:pt x="1822" y="1108"/>
                  </a:cubicBezTo>
                  <a:lnTo>
                    <a:pt x="1441" y="1108"/>
                  </a:lnTo>
                  <a:cubicBezTo>
                    <a:pt x="1441" y="1108"/>
                    <a:pt x="1429" y="1108"/>
                    <a:pt x="1429" y="1096"/>
                  </a:cubicBezTo>
                  <a:lnTo>
                    <a:pt x="1429" y="358"/>
                  </a:lnTo>
                  <a:lnTo>
                    <a:pt x="1441" y="358"/>
                  </a:lnTo>
                  <a:lnTo>
                    <a:pt x="1822" y="346"/>
                  </a:lnTo>
                  <a:close/>
                  <a:moveTo>
                    <a:pt x="10228" y="346"/>
                  </a:moveTo>
                  <a:cubicBezTo>
                    <a:pt x="10228" y="346"/>
                    <a:pt x="10240" y="346"/>
                    <a:pt x="10240" y="358"/>
                  </a:cubicBezTo>
                  <a:lnTo>
                    <a:pt x="10240" y="1096"/>
                  </a:lnTo>
                  <a:cubicBezTo>
                    <a:pt x="10240" y="1096"/>
                    <a:pt x="10240" y="1108"/>
                    <a:pt x="10228" y="1108"/>
                  </a:cubicBezTo>
                  <a:lnTo>
                    <a:pt x="9859" y="1108"/>
                  </a:lnTo>
                  <a:cubicBezTo>
                    <a:pt x="9859" y="1108"/>
                    <a:pt x="9835" y="1108"/>
                    <a:pt x="9835" y="1096"/>
                  </a:cubicBezTo>
                  <a:lnTo>
                    <a:pt x="9835" y="358"/>
                  </a:lnTo>
                  <a:lnTo>
                    <a:pt x="9859" y="358"/>
                  </a:lnTo>
                  <a:lnTo>
                    <a:pt x="10228" y="346"/>
                  </a:lnTo>
                  <a:close/>
                  <a:moveTo>
                    <a:pt x="10966" y="1096"/>
                  </a:moveTo>
                  <a:cubicBezTo>
                    <a:pt x="11180" y="1096"/>
                    <a:pt x="11347" y="1251"/>
                    <a:pt x="11347" y="1465"/>
                  </a:cubicBezTo>
                  <a:lnTo>
                    <a:pt x="11347" y="8775"/>
                  </a:lnTo>
                  <a:cubicBezTo>
                    <a:pt x="11323" y="8978"/>
                    <a:pt x="11168" y="9144"/>
                    <a:pt x="10954" y="9144"/>
                  </a:cubicBezTo>
                  <a:lnTo>
                    <a:pt x="715" y="9144"/>
                  </a:lnTo>
                  <a:cubicBezTo>
                    <a:pt x="512" y="9144"/>
                    <a:pt x="346" y="8978"/>
                    <a:pt x="346" y="8775"/>
                  </a:cubicBezTo>
                  <a:lnTo>
                    <a:pt x="346" y="1465"/>
                  </a:lnTo>
                  <a:cubicBezTo>
                    <a:pt x="346" y="1251"/>
                    <a:pt x="512" y="1096"/>
                    <a:pt x="715" y="1096"/>
                  </a:cubicBezTo>
                  <a:lnTo>
                    <a:pt x="1084" y="1096"/>
                  </a:lnTo>
                  <a:lnTo>
                    <a:pt x="1084" y="1108"/>
                  </a:lnTo>
                  <a:cubicBezTo>
                    <a:pt x="1084" y="1298"/>
                    <a:pt x="1250" y="1465"/>
                    <a:pt x="1441" y="1465"/>
                  </a:cubicBezTo>
                  <a:lnTo>
                    <a:pt x="1822" y="1465"/>
                  </a:lnTo>
                  <a:cubicBezTo>
                    <a:pt x="2012" y="1465"/>
                    <a:pt x="2179" y="1298"/>
                    <a:pt x="2179" y="1108"/>
                  </a:cubicBezTo>
                  <a:lnTo>
                    <a:pt x="2179" y="1096"/>
                  </a:lnTo>
                  <a:lnTo>
                    <a:pt x="9513" y="1096"/>
                  </a:lnTo>
                  <a:lnTo>
                    <a:pt x="9513" y="1108"/>
                  </a:lnTo>
                  <a:cubicBezTo>
                    <a:pt x="9513" y="1298"/>
                    <a:pt x="9680" y="1465"/>
                    <a:pt x="9871" y="1465"/>
                  </a:cubicBezTo>
                  <a:lnTo>
                    <a:pt x="10240" y="1465"/>
                  </a:lnTo>
                  <a:cubicBezTo>
                    <a:pt x="10430" y="1465"/>
                    <a:pt x="10597" y="1298"/>
                    <a:pt x="10597" y="1108"/>
                  </a:cubicBezTo>
                  <a:lnTo>
                    <a:pt x="10597" y="1096"/>
                  </a:lnTo>
                  <a:close/>
                  <a:moveTo>
                    <a:pt x="1441" y="0"/>
                  </a:moveTo>
                  <a:cubicBezTo>
                    <a:pt x="1250" y="0"/>
                    <a:pt x="1084" y="167"/>
                    <a:pt x="1084" y="358"/>
                  </a:cubicBezTo>
                  <a:lnTo>
                    <a:pt x="1084" y="739"/>
                  </a:lnTo>
                  <a:lnTo>
                    <a:pt x="715" y="739"/>
                  </a:lnTo>
                  <a:cubicBezTo>
                    <a:pt x="310" y="739"/>
                    <a:pt x="0" y="1060"/>
                    <a:pt x="0" y="1453"/>
                  </a:cubicBezTo>
                  <a:lnTo>
                    <a:pt x="0" y="8752"/>
                  </a:lnTo>
                  <a:cubicBezTo>
                    <a:pt x="0" y="9156"/>
                    <a:pt x="334" y="9466"/>
                    <a:pt x="715" y="9466"/>
                  </a:cubicBezTo>
                  <a:lnTo>
                    <a:pt x="10954" y="9466"/>
                  </a:lnTo>
                  <a:cubicBezTo>
                    <a:pt x="11359" y="9466"/>
                    <a:pt x="11668" y="9144"/>
                    <a:pt x="11668" y="8752"/>
                  </a:cubicBezTo>
                  <a:lnTo>
                    <a:pt x="11668" y="1453"/>
                  </a:lnTo>
                  <a:cubicBezTo>
                    <a:pt x="11668" y="1060"/>
                    <a:pt x="11359" y="739"/>
                    <a:pt x="10954" y="739"/>
                  </a:cubicBezTo>
                  <a:lnTo>
                    <a:pt x="10585" y="739"/>
                  </a:lnTo>
                  <a:lnTo>
                    <a:pt x="10585" y="358"/>
                  </a:lnTo>
                  <a:cubicBezTo>
                    <a:pt x="10585" y="167"/>
                    <a:pt x="10418" y="0"/>
                    <a:pt x="10228" y="0"/>
                  </a:cubicBezTo>
                  <a:lnTo>
                    <a:pt x="9859" y="0"/>
                  </a:lnTo>
                  <a:cubicBezTo>
                    <a:pt x="9656" y="0"/>
                    <a:pt x="9490" y="167"/>
                    <a:pt x="9490" y="358"/>
                  </a:cubicBezTo>
                  <a:lnTo>
                    <a:pt x="9490" y="739"/>
                  </a:lnTo>
                  <a:lnTo>
                    <a:pt x="2179" y="739"/>
                  </a:lnTo>
                  <a:lnTo>
                    <a:pt x="2179" y="358"/>
                  </a:lnTo>
                  <a:cubicBezTo>
                    <a:pt x="2179" y="167"/>
                    <a:pt x="2012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5" name="Google Shape;11355;p60"/>
            <p:cNvSpPr/>
            <p:nvPr/>
          </p:nvSpPr>
          <p:spPr>
            <a:xfrm>
              <a:off x="7574129" y="3891009"/>
              <a:ext cx="324418" cy="10662"/>
            </a:xfrm>
            <a:custGeom>
              <a:avLst/>
              <a:gdLst/>
              <a:ahLst/>
              <a:cxnLst/>
              <a:rect l="l" t="t" r="r" b="b"/>
              <a:pathLst>
                <a:path w="10193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10025" y="334"/>
                  </a:lnTo>
                  <a:cubicBezTo>
                    <a:pt x="10121" y="334"/>
                    <a:pt x="10192" y="251"/>
                    <a:pt x="10192" y="168"/>
                  </a:cubicBezTo>
                  <a:cubicBezTo>
                    <a:pt x="10192" y="72"/>
                    <a:pt x="10121" y="1"/>
                    <a:pt x="10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6" name="Google Shape;11356;p60"/>
            <p:cNvSpPr/>
            <p:nvPr/>
          </p:nvSpPr>
          <p:spPr>
            <a:xfrm>
              <a:off x="7591188" y="3937637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1262" y="322"/>
                  </a:lnTo>
                  <a:cubicBezTo>
                    <a:pt x="1346" y="322"/>
                    <a:pt x="1429" y="250"/>
                    <a:pt x="1429" y="155"/>
                  </a:cubicBezTo>
                  <a:cubicBezTo>
                    <a:pt x="1429" y="72"/>
                    <a:pt x="1346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7" name="Google Shape;11357;p60"/>
            <p:cNvSpPr/>
            <p:nvPr/>
          </p:nvSpPr>
          <p:spPr>
            <a:xfrm>
              <a:off x="7672667" y="3937637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55" y="322"/>
                  </a:cubicBezTo>
                  <a:lnTo>
                    <a:pt x="1262" y="322"/>
                  </a:lnTo>
                  <a:cubicBezTo>
                    <a:pt x="1345" y="322"/>
                    <a:pt x="1429" y="250"/>
                    <a:pt x="1429" y="155"/>
                  </a:cubicBezTo>
                  <a:cubicBezTo>
                    <a:pt x="1429" y="72"/>
                    <a:pt x="1345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8" name="Google Shape;11358;p60"/>
            <p:cNvSpPr/>
            <p:nvPr/>
          </p:nvSpPr>
          <p:spPr>
            <a:xfrm>
              <a:off x="7835592" y="3937637"/>
              <a:ext cx="45131" cy="10248"/>
            </a:xfrm>
            <a:custGeom>
              <a:avLst/>
              <a:gdLst/>
              <a:ahLst/>
              <a:cxnLst/>
              <a:rect l="l" t="t" r="r" b="b"/>
              <a:pathLst>
                <a:path w="1418" h="322" extrusionOk="0">
                  <a:moveTo>
                    <a:pt x="155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1263" y="322"/>
                  </a:lnTo>
                  <a:cubicBezTo>
                    <a:pt x="1346" y="322"/>
                    <a:pt x="1418" y="250"/>
                    <a:pt x="1418" y="155"/>
                  </a:cubicBezTo>
                  <a:cubicBezTo>
                    <a:pt x="1418" y="72"/>
                    <a:pt x="1346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9" name="Google Shape;11359;p60"/>
            <p:cNvSpPr/>
            <p:nvPr/>
          </p:nvSpPr>
          <p:spPr>
            <a:xfrm>
              <a:off x="7591188" y="3984232"/>
              <a:ext cx="45481" cy="10662"/>
            </a:xfrm>
            <a:custGeom>
              <a:avLst/>
              <a:gdLst/>
              <a:ahLst/>
              <a:cxnLst/>
              <a:rect l="l" t="t" r="r" b="b"/>
              <a:pathLst>
                <a:path w="1429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1262" y="334"/>
                  </a:lnTo>
                  <a:cubicBezTo>
                    <a:pt x="1346" y="334"/>
                    <a:pt x="1429" y="263"/>
                    <a:pt x="1429" y="168"/>
                  </a:cubicBezTo>
                  <a:cubicBezTo>
                    <a:pt x="1429" y="84"/>
                    <a:pt x="1346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0" name="Google Shape;11360;p60"/>
            <p:cNvSpPr/>
            <p:nvPr/>
          </p:nvSpPr>
          <p:spPr>
            <a:xfrm>
              <a:off x="7754113" y="3984232"/>
              <a:ext cx="45513" cy="10662"/>
            </a:xfrm>
            <a:custGeom>
              <a:avLst/>
              <a:gdLst/>
              <a:ahLst/>
              <a:cxnLst/>
              <a:rect l="l" t="t" r="r" b="b"/>
              <a:pathLst>
                <a:path w="1430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1263" y="334"/>
                  </a:lnTo>
                  <a:cubicBezTo>
                    <a:pt x="1346" y="334"/>
                    <a:pt x="1430" y="263"/>
                    <a:pt x="1430" y="168"/>
                  </a:cubicBezTo>
                  <a:cubicBezTo>
                    <a:pt x="1430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1" name="Google Shape;11361;p60"/>
            <p:cNvSpPr/>
            <p:nvPr/>
          </p:nvSpPr>
          <p:spPr>
            <a:xfrm>
              <a:off x="7591188" y="4030859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1262" y="322"/>
                  </a:lnTo>
                  <a:cubicBezTo>
                    <a:pt x="1346" y="322"/>
                    <a:pt x="1429" y="250"/>
                    <a:pt x="1429" y="167"/>
                  </a:cubicBezTo>
                  <a:cubicBezTo>
                    <a:pt x="1429" y="72"/>
                    <a:pt x="1346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2" name="Google Shape;11362;p60"/>
            <p:cNvSpPr/>
            <p:nvPr/>
          </p:nvSpPr>
          <p:spPr>
            <a:xfrm>
              <a:off x="7672667" y="4030859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250"/>
                    <a:pt x="71" y="322"/>
                    <a:pt x="155" y="322"/>
                  </a:cubicBezTo>
                  <a:lnTo>
                    <a:pt x="1262" y="322"/>
                  </a:lnTo>
                  <a:cubicBezTo>
                    <a:pt x="1345" y="322"/>
                    <a:pt x="1429" y="250"/>
                    <a:pt x="1429" y="167"/>
                  </a:cubicBezTo>
                  <a:cubicBezTo>
                    <a:pt x="1429" y="72"/>
                    <a:pt x="1345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3" name="Google Shape;11363;p60"/>
            <p:cNvSpPr/>
            <p:nvPr/>
          </p:nvSpPr>
          <p:spPr>
            <a:xfrm>
              <a:off x="7835592" y="4030859"/>
              <a:ext cx="45131" cy="10248"/>
            </a:xfrm>
            <a:custGeom>
              <a:avLst/>
              <a:gdLst/>
              <a:ahLst/>
              <a:cxnLst/>
              <a:rect l="l" t="t" r="r" b="b"/>
              <a:pathLst>
                <a:path w="1418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1263" y="322"/>
                  </a:lnTo>
                  <a:cubicBezTo>
                    <a:pt x="1346" y="322"/>
                    <a:pt x="1418" y="250"/>
                    <a:pt x="1418" y="167"/>
                  </a:cubicBezTo>
                  <a:cubicBezTo>
                    <a:pt x="1418" y="72"/>
                    <a:pt x="1346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4" name="Google Shape;11364;p60"/>
            <p:cNvSpPr/>
            <p:nvPr/>
          </p:nvSpPr>
          <p:spPr>
            <a:xfrm>
              <a:off x="7672667" y="4077073"/>
              <a:ext cx="45481" cy="10662"/>
            </a:xfrm>
            <a:custGeom>
              <a:avLst/>
              <a:gdLst/>
              <a:ahLst/>
              <a:cxnLst/>
              <a:rect l="l" t="t" r="r" b="b"/>
              <a:pathLst>
                <a:path w="1429" h="335" extrusionOk="0">
                  <a:moveTo>
                    <a:pt x="155" y="1"/>
                  </a:moveTo>
                  <a:cubicBezTo>
                    <a:pt x="71" y="1"/>
                    <a:pt x="0" y="84"/>
                    <a:pt x="0" y="168"/>
                  </a:cubicBezTo>
                  <a:cubicBezTo>
                    <a:pt x="0" y="263"/>
                    <a:pt x="71" y="334"/>
                    <a:pt x="155" y="334"/>
                  </a:cubicBezTo>
                  <a:lnTo>
                    <a:pt x="1262" y="334"/>
                  </a:lnTo>
                  <a:cubicBezTo>
                    <a:pt x="1345" y="334"/>
                    <a:pt x="1429" y="263"/>
                    <a:pt x="1429" y="168"/>
                  </a:cubicBezTo>
                  <a:cubicBezTo>
                    <a:pt x="1429" y="84"/>
                    <a:pt x="1345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5" name="Google Shape;11365;p60"/>
            <p:cNvSpPr/>
            <p:nvPr/>
          </p:nvSpPr>
          <p:spPr>
            <a:xfrm>
              <a:off x="7754113" y="4077073"/>
              <a:ext cx="45513" cy="10662"/>
            </a:xfrm>
            <a:custGeom>
              <a:avLst/>
              <a:gdLst/>
              <a:ahLst/>
              <a:cxnLst/>
              <a:rect l="l" t="t" r="r" b="b"/>
              <a:pathLst>
                <a:path w="1430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1263" y="334"/>
                  </a:lnTo>
                  <a:cubicBezTo>
                    <a:pt x="1346" y="334"/>
                    <a:pt x="1430" y="263"/>
                    <a:pt x="1430" y="168"/>
                  </a:cubicBezTo>
                  <a:cubicBezTo>
                    <a:pt x="1430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6" name="Google Shape;11366;p60"/>
            <p:cNvSpPr/>
            <p:nvPr/>
          </p:nvSpPr>
          <p:spPr>
            <a:xfrm>
              <a:off x="7835592" y="4077073"/>
              <a:ext cx="45131" cy="10662"/>
            </a:xfrm>
            <a:custGeom>
              <a:avLst/>
              <a:gdLst/>
              <a:ahLst/>
              <a:cxnLst/>
              <a:rect l="l" t="t" r="r" b="b"/>
              <a:pathLst>
                <a:path w="1418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1263" y="334"/>
                  </a:lnTo>
                  <a:cubicBezTo>
                    <a:pt x="1346" y="334"/>
                    <a:pt x="1418" y="263"/>
                    <a:pt x="1418" y="168"/>
                  </a:cubicBezTo>
                  <a:cubicBezTo>
                    <a:pt x="1418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7" name="Google Shape;11367;p60"/>
            <p:cNvSpPr/>
            <p:nvPr/>
          </p:nvSpPr>
          <p:spPr>
            <a:xfrm>
              <a:off x="7672667" y="3972583"/>
              <a:ext cx="46245" cy="34055"/>
            </a:xfrm>
            <a:custGeom>
              <a:avLst/>
              <a:gdLst/>
              <a:ahLst/>
              <a:cxnLst/>
              <a:rect l="l" t="t" r="r" b="b"/>
              <a:pathLst>
                <a:path w="1453" h="1070" extrusionOk="0">
                  <a:moveTo>
                    <a:pt x="1262" y="1"/>
                  </a:moveTo>
                  <a:cubicBezTo>
                    <a:pt x="1217" y="1"/>
                    <a:pt x="1173" y="16"/>
                    <a:pt x="1143" y="45"/>
                  </a:cubicBezTo>
                  <a:lnTo>
                    <a:pt x="536" y="653"/>
                  </a:lnTo>
                  <a:lnTo>
                    <a:pt x="298" y="415"/>
                  </a:lnTo>
                  <a:cubicBezTo>
                    <a:pt x="268" y="385"/>
                    <a:pt x="223" y="370"/>
                    <a:pt x="179" y="370"/>
                  </a:cubicBezTo>
                  <a:cubicBezTo>
                    <a:pt x="134" y="370"/>
                    <a:pt x="89" y="385"/>
                    <a:pt x="60" y="415"/>
                  </a:cubicBezTo>
                  <a:cubicBezTo>
                    <a:pt x="0" y="474"/>
                    <a:pt x="0" y="593"/>
                    <a:pt x="60" y="653"/>
                  </a:cubicBezTo>
                  <a:lnTo>
                    <a:pt x="429" y="1022"/>
                  </a:lnTo>
                  <a:cubicBezTo>
                    <a:pt x="452" y="1057"/>
                    <a:pt x="500" y="1069"/>
                    <a:pt x="548" y="1069"/>
                  </a:cubicBezTo>
                  <a:cubicBezTo>
                    <a:pt x="595" y="1069"/>
                    <a:pt x="631" y="1057"/>
                    <a:pt x="667" y="1022"/>
                  </a:cubicBezTo>
                  <a:lnTo>
                    <a:pt x="1393" y="295"/>
                  </a:lnTo>
                  <a:cubicBezTo>
                    <a:pt x="1453" y="224"/>
                    <a:pt x="1453" y="117"/>
                    <a:pt x="1381" y="45"/>
                  </a:cubicBezTo>
                  <a:cubicBezTo>
                    <a:pt x="1351" y="16"/>
                    <a:pt x="1307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8" name="Google Shape;11368;p60"/>
            <p:cNvSpPr/>
            <p:nvPr/>
          </p:nvSpPr>
          <p:spPr>
            <a:xfrm>
              <a:off x="7835592" y="3972583"/>
              <a:ext cx="45895" cy="34055"/>
            </a:xfrm>
            <a:custGeom>
              <a:avLst/>
              <a:gdLst/>
              <a:ahLst/>
              <a:cxnLst/>
              <a:rect l="l" t="t" r="r" b="b"/>
              <a:pathLst>
                <a:path w="1442" h="1070" extrusionOk="0">
                  <a:moveTo>
                    <a:pt x="1263" y="1"/>
                  </a:moveTo>
                  <a:cubicBezTo>
                    <a:pt x="1218" y="1"/>
                    <a:pt x="1173" y="16"/>
                    <a:pt x="1144" y="45"/>
                  </a:cubicBezTo>
                  <a:lnTo>
                    <a:pt x="536" y="653"/>
                  </a:lnTo>
                  <a:lnTo>
                    <a:pt x="298" y="415"/>
                  </a:lnTo>
                  <a:cubicBezTo>
                    <a:pt x="269" y="385"/>
                    <a:pt x="224" y="370"/>
                    <a:pt x="179" y="370"/>
                  </a:cubicBezTo>
                  <a:cubicBezTo>
                    <a:pt x="135" y="370"/>
                    <a:pt x="90" y="385"/>
                    <a:pt x="60" y="415"/>
                  </a:cubicBezTo>
                  <a:cubicBezTo>
                    <a:pt x="1" y="474"/>
                    <a:pt x="1" y="593"/>
                    <a:pt x="60" y="653"/>
                  </a:cubicBezTo>
                  <a:lnTo>
                    <a:pt x="429" y="1022"/>
                  </a:lnTo>
                  <a:cubicBezTo>
                    <a:pt x="453" y="1057"/>
                    <a:pt x="501" y="1069"/>
                    <a:pt x="548" y="1069"/>
                  </a:cubicBezTo>
                  <a:cubicBezTo>
                    <a:pt x="596" y="1069"/>
                    <a:pt x="632" y="1057"/>
                    <a:pt x="667" y="1022"/>
                  </a:cubicBezTo>
                  <a:lnTo>
                    <a:pt x="1394" y="295"/>
                  </a:lnTo>
                  <a:cubicBezTo>
                    <a:pt x="1441" y="224"/>
                    <a:pt x="1441" y="117"/>
                    <a:pt x="1382" y="45"/>
                  </a:cubicBezTo>
                  <a:cubicBezTo>
                    <a:pt x="1352" y="16"/>
                    <a:pt x="1307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9" name="Google Shape;11369;p60"/>
            <p:cNvSpPr/>
            <p:nvPr/>
          </p:nvSpPr>
          <p:spPr>
            <a:xfrm>
              <a:off x="7754113" y="4019592"/>
              <a:ext cx="46277" cy="34024"/>
            </a:xfrm>
            <a:custGeom>
              <a:avLst/>
              <a:gdLst/>
              <a:ahLst/>
              <a:cxnLst/>
              <a:rect l="l" t="t" r="r" b="b"/>
              <a:pathLst>
                <a:path w="1454" h="1069" extrusionOk="0">
                  <a:moveTo>
                    <a:pt x="1263" y="0"/>
                  </a:moveTo>
                  <a:cubicBezTo>
                    <a:pt x="1218" y="0"/>
                    <a:pt x="1174" y="15"/>
                    <a:pt x="1144" y="45"/>
                  </a:cubicBezTo>
                  <a:lnTo>
                    <a:pt x="537" y="652"/>
                  </a:lnTo>
                  <a:lnTo>
                    <a:pt x="299" y="414"/>
                  </a:lnTo>
                  <a:cubicBezTo>
                    <a:pt x="269" y="384"/>
                    <a:pt x="224" y="369"/>
                    <a:pt x="179" y="369"/>
                  </a:cubicBezTo>
                  <a:cubicBezTo>
                    <a:pt x="135" y="369"/>
                    <a:pt x="90" y="384"/>
                    <a:pt x="60" y="414"/>
                  </a:cubicBezTo>
                  <a:cubicBezTo>
                    <a:pt x="1" y="473"/>
                    <a:pt x="1" y="593"/>
                    <a:pt x="60" y="652"/>
                  </a:cubicBezTo>
                  <a:lnTo>
                    <a:pt x="429" y="1021"/>
                  </a:lnTo>
                  <a:cubicBezTo>
                    <a:pt x="453" y="1057"/>
                    <a:pt x="501" y="1069"/>
                    <a:pt x="549" y="1069"/>
                  </a:cubicBezTo>
                  <a:cubicBezTo>
                    <a:pt x="596" y="1069"/>
                    <a:pt x="632" y="1057"/>
                    <a:pt x="668" y="1021"/>
                  </a:cubicBezTo>
                  <a:lnTo>
                    <a:pt x="1394" y="295"/>
                  </a:lnTo>
                  <a:cubicBezTo>
                    <a:pt x="1453" y="200"/>
                    <a:pt x="1453" y="104"/>
                    <a:pt x="1382" y="45"/>
                  </a:cubicBezTo>
                  <a:cubicBezTo>
                    <a:pt x="1352" y="15"/>
                    <a:pt x="1308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0" name="Google Shape;11370;p60"/>
            <p:cNvSpPr/>
            <p:nvPr/>
          </p:nvSpPr>
          <p:spPr>
            <a:xfrm>
              <a:off x="7591188" y="4065806"/>
              <a:ext cx="46245" cy="34055"/>
            </a:xfrm>
            <a:custGeom>
              <a:avLst/>
              <a:gdLst/>
              <a:ahLst/>
              <a:cxnLst/>
              <a:rect l="l" t="t" r="r" b="b"/>
              <a:pathLst>
                <a:path w="1453" h="1070" extrusionOk="0">
                  <a:moveTo>
                    <a:pt x="1262" y="1"/>
                  </a:moveTo>
                  <a:cubicBezTo>
                    <a:pt x="1218" y="1"/>
                    <a:pt x="1173" y="16"/>
                    <a:pt x="1143" y="45"/>
                  </a:cubicBezTo>
                  <a:lnTo>
                    <a:pt x="536" y="653"/>
                  </a:lnTo>
                  <a:lnTo>
                    <a:pt x="298" y="414"/>
                  </a:lnTo>
                  <a:cubicBezTo>
                    <a:pt x="268" y="385"/>
                    <a:pt x="223" y="370"/>
                    <a:pt x="179" y="370"/>
                  </a:cubicBezTo>
                  <a:cubicBezTo>
                    <a:pt x="134" y="370"/>
                    <a:pt x="89" y="385"/>
                    <a:pt x="60" y="414"/>
                  </a:cubicBezTo>
                  <a:cubicBezTo>
                    <a:pt x="0" y="474"/>
                    <a:pt x="0" y="593"/>
                    <a:pt x="60" y="653"/>
                  </a:cubicBezTo>
                  <a:lnTo>
                    <a:pt x="429" y="1034"/>
                  </a:lnTo>
                  <a:cubicBezTo>
                    <a:pt x="453" y="1057"/>
                    <a:pt x="500" y="1069"/>
                    <a:pt x="548" y="1069"/>
                  </a:cubicBezTo>
                  <a:cubicBezTo>
                    <a:pt x="595" y="1069"/>
                    <a:pt x="631" y="1057"/>
                    <a:pt x="667" y="1034"/>
                  </a:cubicBezTo>
                  <a:lnTo>
                    <a:pt x="1393" y="295"/>
                  </a:lnTo>
                  <a:cubicBezTo>
                    <a:pt x="1453" y="224"/>
                    <a:pt x="1453" y="105"/>
                    <a:pt x="1381" y="45"/>
                  </a:cubicBezTo>
                  <a:cubicBezTo>
                    <a:pt x="1352" y="16"/>
                    <a:pt x="1307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1" name="Google Shape;11371;p60"/>
            <p:cNvSpPr/>
            <p:nvPr/>
          </p:nvSpPr>
          <p:spPr>
            <a:xfrm>
              <a:off x="7754113" y="3925988"/>
              <a:ext cx="46277" cy="34406"/>
            </a:xfrm>
            <a:custGeom>
              <a:avLst/>
              <a:gdLst/>
              <a:ahLst/>
              <a:cxnLst/>
              <a:rect l="l" t="t" r="r" b="b"/>
              <a:pathLst>
                <a:path w="1454" h="1081" extrusionOk="0">
                  <a:moveTo>
                    <a:pt x="1263" y="0"/>
                  </a:moveTo>
                  <a:cubicBezTo>
                    <a:pt x="1218" y="0"/>
                    <a:pt x="1174" y="15"/>
                    <a:pt x="1144" y="45"/>
                  </a:cubicBezTo>
                  <a:lnTo>
                    <a:pt x="537" y="664"/>
                  </a:lnTo>
                  <a:lnTo>
                    <a:pt x="299" y="426"/>
                  </a:lnTo>
                  <a:cubicBezTo>
                    <a:pt x="269" y="396"/>
                    <a:pt x="224" y="381"/>
                    <a:pt x="179" y="381"/>
                  </a:cubicBezTo>
                  <a:cubicBezTo>
                    <a:pt x="135" y="381"/>
                    <a:pt x="90" y="396"/>
                    <a:pt x="60" y="426"/>
                  </a:cubicBezTo>
                  <a:cubicBezTo>
                    <a:pt x="1" y="486"/>
                    <a:pt x="1" y="605"/>
                    <a:pt x="60" y="664"/>
                  </a:cubicBezTo>
                  <a:lnTo>
                    <a:pt x="429" y="1033"/>
                  </a:lnTo>
                  <a:cubicBezTo>
                    <a:pt x="453" y="1057"/>
                    <a:pt x="501" y="1081"/>
                    <a:pt x="549" y="1081"/>
                  </a:cubicBezTo>
                  <a:cubicBezTo>
                    <a:pt x="596" y="1081"/>
                    <a:pt x="632" y="1057"/>
                    <a:pt x="668" y="1033"/>
                  </a:cubicBezTo>
                  <a:lnTo>
                    <a:pt x="1394" y="307"/>
                  </a:lnTo>
                  <a:cubicBezTo>
                    <a:pt x="1453" y="224"/>
                    <a:pt x="1453" y="128"/>
                    <a:pt x="1382" y="45"/>
                  </a:cubicBezTo>
                  <a:cubicBezTo>
                    <a:pt x="1352" y="15"/>
                    <a:pt x="1308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72" name="Google Shape;11372;p60"/>
          <p:cNvSpPr/>
          <p:nvPr/>
        </p:nvSpPr>
        <p:spPr>
          <a:xfrm>
            <a:off x="7114476" y="3808799"/>
            <a:ext cx="350548" cy="350548"/>
          </a:xfrm>
          <a:custGeom>
            <a:avLst/>
            <a:gdLst/>
            <a:ahLst/>
            <a:cxnLst/>
            <a:rect l="l" t="t" r="r" b="b"/>
            <a:pathLst>
              <a:path w="11014" h="11014" extrusionOk="0">
                <a:moveTo>
                  <a:pt x="3739" y="358"/>
                </a:moveTo>
                <a:cubicBezTo>
                  <a:pt x="4048" y="358"/>
                  <a:pt x="4298" y="608"/>
                  <a:pt x="4298" y="917"/>
                </a:cubicBezTo>
                <a:cubicBezTo>
                  <a:pt x="4298" y="1131"/>
                  <a:pt x="4203" y="1310"/>
                  <a:pt x="4024" y="1405"/>
                </a:cubicBezTo>
                <a:cubicBezTo>
                  <a:pt x="3953" y="1441"/>
                  <a:pt x="3929" y="1501"/>
                  <a:pt x="3929" y="1560"/>
                </a:cubicBezTo>
                <a:lnTo>
                  <a:pt x="3929" y="1965"/>
                </a:lnTo>
                <a:cubicBezTo>
                  <a:pt x="3929" y="2048"/>
                  <a:pt x="4001" y="2143"/>
                  <a:pt x="4108" y="2143"/>
                </a:cubicBezTo>
                <a:lnTo>
                  <a:pt x="5334" y="2143"/>
                </a:lnTo>
                <a:lnTo>
                  <a:pt x="5334" y="3358"/>
                </a:lnTo>
                <a:cubicBezTo>
                  <a:pt x="5334" y="3453"/>
                  <a:pt x="5406" y="3536"/>
                  <a:pt x="5513" y="3536"/>
                </a:cubicBezTo>
                <a:lnTo>
                  <a:pt x="5906" y="3536"/>
                </a:lnTo>
                <a:cubicBezTo>
                  <a:pt x="5965" y="3536"/>
                  <a:pt x="6025" y="3513"/>
                  <a:pt x="6060" y="3453"/>
                </a:cubicBezTo>
                <a:cubicBezTo>
                  <a:pt x="6168" y="3275"/>
                  <a:pt x="6358" y="3167"/>
                  <a:pt x="6549" y="3167"/>
                </a:cubicBezTo>
                <a:cubicBezTo>
                  <a:pt x="6858" y="3167"/>
                  <a:pt x="7120" y="3417"/>
                  <a:pt x="7120" y="3727"/>
                </a:cubicBezTo>
                <a:cubicBezTo>
                  <a:pt x="7120" y="4048"/>
                  <a:pt x="6858" y="4298"/>
                  <a:pt x="6549" y="4298"/>
                </a:cubicBezTo>
                <a:cubicBezTo>
                  <a:pt x="6346" y="4298"/>
                  <a:pt x="6168" y="4191"/>
                  <a:pt x="6060" y="4013"/>
                </a:cubicBezTo>
                <a:cubicBezTo>
                  <a:pt x="6025" y="3953"/>
                  <a:pt x="5965" y="3929"/>
                  <a:pt x="5906" y="3929"/>
                </a:cubicBezTo>
                <a:lnTo>
                  <a:pt x="5513" y="3929"/>
                </a:lnTo>
                <a:cubicBezTo>
                  <a:pt x="5417" y="3929"/>
                  <a:pt x="5334" y="4001"/>
                  <a:pt x="5334" y="4108"/>
                </a:cubicBezTo>
                <a:lnTo>
                  <a:pt x="5334" y="5322"/>
                </a:lnTo>
                <a:lnTo>
                  <a:pt x="4286" y="5322"/>
                </a:lnTo>
                <a:lnTo>
                  <a:pt x="4286" y="5191"/>
                </a:lnTo>
                <a:cubicBezTo>
                  <a:pt x="4513" y="5013"/>
                  <a:pt x="4655" y="4739"/>
                  <a:pt x="4655" y="4465"/>
                </a:cubicBezTo>
                <a:cubicBezTo>
                  <a:pt x="4655" y="3953"/>
                  <a:pt x="4239" y="3536"/>
                  <a:pt x="3739" y="3536"/>
                </a:cubicBezTo>
                <a:cubicBezTo>
                  <a:pt x="3227" y="3536"/>
                  <a:pt x="2810" y="3953"/>
                  <a:pt x="2810" y="4465"/>
                </a:cubicBezTo>
                <a:cubicBezTo>
                  <a:pt x="2810" y="4739"/>
                  <a:pt x="2953" y="5025"/>
                  <a:pt x="3191" y="5191"/>
                </a:cubicBezTo>
                <a:lnTo>
                  <a:pt x="3191" y="5322"/>
                </a:lnTo>
                <a:lnTo>
                  <a:pt x="2143" y="5322"/>
                </a:lnTo>
                <a:lnTo>
                  <a:pt x="2143" y="2143"/>
                </a:lnTo>
                <a:lnTo>
                  <a:pt x="3370" y="2143"/>
                </a:lnTo>
                <a:cubicBezTo>
                  <a:pt x="3453" y="2143"/>
                  <a:pt x="3548" y="2060"/>
                  <a:pt x="3548" y="1965"/>
                </a:cubicBezTo>
                <a:lnTo>
                  <a:pt x="3548" y="1560"/>
                </a:lnTo>
                <a:cubicBezTo>
                  <a:pt x="3548" y="1501"/>
                  <a:pt x="3512" y="1441"/>
                  <a:pt x="3453" y="1405"/>
                </a:cubicBezTo>
                <a:cubicBezTo>
                  <a:pt x="3274" y="1298"/>
                  <a:pt x="3167" y="1108"/>
                  <a:pt x="3167" y="917"/>
                </a:cubicBezTo>
                <a:cubicBezTo>
                  <a:pt x="3167" y="608"/>
                  <a:pt x="3429" y="358"/>
                  <a:pt x="3739" y="358"/>
                </a:cubicBezTo>
                <a:close/>
                <a:moveTo>
                  <a:pt x="8870" y="5644"/>
                </a:moveTo>
                <a:lnTo>
                  <a:pt x="8870" y="7632"/>
                </a:lnTo>
                <a:lnTo>
                  <a:pt x="8870" y="7858"/>
                </a:lnTo>
                <a:lnTo>
                  <a:pt x="8870" y="8870"/>
                </a:lnTo>
                <a:lnTo>
                  <a:pt x="7656" y="8870"/>
                </a:lnTo>
                <a:cubicBezTo>
                  <a:pt x="7561" y="8870"/>
                  <a:pt x="7477" y="8942"/>
                  <a:pt x="7477" y="9049"/>
                </a:cubicBezTo>
                <a:lnTo>
                  <a:pt x="7477" y="9442"/>
                </a:lnTo>
                <a:cubicBezTo>
                  <a:pt x="7477" y="9502"/>
                  <a:pt x="7501" y="9561"/>
                  <a:pt x="7561" y="9597"/>
                </a:cubicBezTo>
                <a:cubicBezTo>
                  <a:pt x="7739" y="9704"/>
                  <a:pt x="7846" y="9894"/>
                  <a:pt x="7846" y="10085"/>
                </a:cubicBezTo>
                <a:cubicBezTo>
                  <a:pt x="7846" y="10394"/>
                  <a:pt x="7596" y="10656"/>
                  <a:pt x="7275" y="10656"/>
                </a:cubicBezTo>
                <a:cubicBezTo>
                  <a:pt x="6965" y="10656"/>
                  <a:pt x="6715" y="10394"/>
                  <a:pt x="6715" y="10085"/>
                </a:cubicBezTo>
                <a:cubicBezTo>
                  <a:pt x="6715" y="9883"/>
                  <a:pt x="6822" y="9704"/>
                  <a:pt x="7001" y="9597"/>
                </a:cubicBezTo>
                <a:cubicBezTo>
                  <a:pt x="7061" y="9561"/>
                  <a:pt x="7084" y="9502"/>
                  <a:pt x="7084" y="9442"/>
                </a:cubicBezTo>
                <a:lnTo>
                  <a:pt x="7084" y="9049"/>
                </a:lnTo>
                <a:cubicBezTo>
                  <a:pt x="7084" y="8954"/>
                  <a:pt x="7013" y="8870"/>
                  <a:pt x="6906" y="8870"/>
                </a:cubicBezTo>
                <a:lnTo>
                  <a:pt x="5691" y="8870"/>
                </a:lnTo>
                <a:lnTo>
                  <a:pt x="5691" y="7644"/>
                </a:lnTo>
                <a:cubicBezTo>
                  <a:pt x="5691" y="7549"/>
                  <a:pt x="5608" y="7466"/>
                  <a:pt x="5513" y="7466"/>
                </a:cubicBezTo>
                <a:lnTo>
                  <a:pt x="5108" y="7466"/>
                </a:lnTo>
                <a:cubicBezTo>
                  <a:pt x="5048" y="7466"/>
                  <a:pt x="4989" y="7489"/>
                  <a:pt x="4953" y="7549"/>
                </a:cubicBezTo>
                <a:cubicBezTo>
                  <a:pt x="4846" y="7739"/>
                  <a:pt x="4655" y="7835"/>
                  <a:pt x="4465" y="7835"/>
                </a:cubicBezTo>
                <a:cubicBezTo>
                  <a:pt x="4155" y="7835"/>
                  <a:pt x="3905" y="7585"/>
                  <a:pt x="3905" y="7251"/>
                </a:cubicBezTo>
                <a:cubicBezTo>
                  <a:pt x="3905" y="6942"/>
                  <a:pt x="4155" y="6680"/>
                  <a:pt x="4465" y="6680"/>
                </a:cubicBezTo>
                <a:cubicBezTo>
                  <a:pt x="4679" y="6680"/>
                  <a:pt x="4846" y="6787"/>
                  <a:pt x="4953" y="6954"/>
                </a:cubicBezTo>
                <a:cubicBezTo>
                  <a:pt x="4989" y="7013"/>
                  <a:pt x="5048" y="7049"/>
                  <a:pt x="5108" y="7049"/>
                </a:cubicBezTo>
                <a:lnTo>
                  <a:pt x="5513" y="7049"/>
                </a:lnTo>
                <a:cubicBezTo>
                  <a:pt x="5596" y="7049"/>
                  <a:pt x="5691" y="6977"/>
                  <a:pt x="5691" y="6870"/>
                </a:cubicBezTo>
                <a:lnTo>
                  <a:pt x="5691" y="5644"/>
                </a:lnTo>
                <a:lnTo>
                  <a:pt x="6727" y="5644"/>
                </a:lnTo>
                <a:lnTo>
                  <a:pt x="6727" y="5787"/>
                </a:lnTo>
                <a:cubicBezTo>
                  <a:pt x="6501" y="5965"/>
                  <a:pt x="6358" y="6227"/>
                  <a:pt x="6358" y="6513"/>
                </a:cubicBezTo>
                <a:cubicBezTo>
                  <a:pt x="6358" y="7013"/>
                  <a:pt x="6775" y="7430"/>
                  <a:pt x="7275" y="7430"/>
                </a:cubicBezTo>
                <a:cubicBezTo>
                  <a:pt x="7787" y="7430"/>
                  <a:pt x="8204" y="7013"/>
                  <a:pt x="8204" y="6513"/>
                </a:cubicBezTo>
                <a:cubicBezTo>
                  <a:pt x="8204" y="6227"/>
                  <a:pt x="8073" y="5942"/>
                  <a:pt x="7834" y="5787"/>
                </a:cubicBezTo>
                <a:lnTo>
                  <a:pt x="7834" y="5644"/>
                </a:lnTo>
                <a:close/>
                <a:moveTo>
                  <a:pt x="3739" y="0"/>
                </a:moveTo>
                <a:cubicBezTo>
                  <a:pt x="3227" y="0"/>
                  <a:pt x="2810" y="405"/>
                  <a:pt x="2810" y="917"/>
                </a:cubicBezTo>
                <a:cubicBezTo>
                  <a:pt x="2810" y="1203"/>
                  <a:pt x="2941" y="1489"/>
                  <a:pt x="3179" y="1643"/>
                </a:cubicBezTo>
                <a:lnTo>
                  <a:pt x="3179" y="1786"/>
                </a:lnTo>
                <a:lnTo>
                  <a:pt x="1965" y="1786"/>
                </a:lnTo>
                <a:cubicBezTo>
                  <a:pt x="1869" y="1786"/>
                  <a:pt x="1786" y="1858"/>
                  <a:pt x="1786" y="1965"/>
                </a:cubicBezTo>
                <a:lnTo>
                  <a:pt x="1786" y="5501"/>
                </a:lnTo>
                <a:lnTo>
                  <a:pt x="1786" y="6727"/>
                </a:lnTo>
                <a:lnTo>
                  <a:pt x="1655" y="6727"/>
                </a:lnTo>
                <a:cubicBezTo>
                  <a:pt x="1476" y="6501"/>
                  <a:pt x="1203" y="6346"/>
                  <a:pt x="917" y="6346"/>
                </a:cubicBezTo>
                <a:cubicBezTo>
                  <a:pt x="417" y="6346"/>
                  <a:pt x="0" y="6763"/>
                  <a:pt x="0" y="7275"/>
                </a:cubicBezTo>
                <a:cubicBezTo>
                  <a:pt x="0" y="7775"/>
                  <a:pt x="417" y="8192"/>
                  <a:pt x="917" y="8192"/>
                </a:cubicBezTo>
                <a:cubicBezTo>
                  <a:pt x="1203" y="8192"/>
                  <a:pt x="1488" y="8061"/>
                  <a:pt x="1655" y="7823"/>
                </a:cubicBezTo>
                <a:lnTo>
                  <a:pt x="1786" y="7823"/>
                </a:lnTo>
                <a:lnTo>
                  <a:pt x="1786" y="9049"/>
                </a:lnTo>
                <a:cubicBezTo>
                  <a:pt x="1786" y="9132"/>
                  <a:pt x="1857" y="9228"/>
                  <a:pt x="1965" y="9228"/>
                </a:cubicBezTo>
                <a:lnTo>
                  <a:pt x="2584" y="9228"/>
                </a:lnTo>
                <a:cubicBezTo>
                  <a:pt x="2679" y="9228"/>
                  <a:pt x="2762" y="9144"/>
                  <a:pt x="2762" y="9049"/>
                </a:cubicBezTo>
                <a:cubicBezTo>
                  <a:pt x="2762" y="8942"/>
                  <a:pt x="2691" y="8870"/>
                  <a:pt x="2584" y="8870"/>
                </a:cubicBezTo>
                <a:lnTo>
                  <a:pt x="2143" y="8870"/>
                </a:lnTo>
                <a:lnTo>
                  <a:pt x="2143" y="7644"/>
                </a:lnTo>
                <a:cubicBezTo>
                  <a:pt x="2143" y="7561"/>
                  <a:pt x="2072" y="7466"/>
                  <a:pt x="1965" y="7466"/>
                </a:cubicBezTo>
                <a:lnTo>
                  <a:pt x="1560" y="7466"/>
                </a:lnTo>
                <a:cubicBezTo>
                  <a:pt x="1500" y="7466"/>
                  <a:pt x="1441" y="7501"/>
                  <a:pt x="1417" y="7561"/>
                </a:cubicBezTo>
                <a:cubicBezTo>
                  <a:pt x="1310" y="7739"/>
                  <a:pt x="1119" y="7835"/>
                  <a:pt x="917" y="7835"/>
                </a:cubicBezTo>
                <a:cubicBezTo>
                  <a:pt x="607" y="7835"/>
                  <a:pt x="357" y="7585"/>
                  <a:pt x="357" y="7275"/>
                </a:cubicBezTo>
                <a:cubicBezTo>
                  <a:pt x="357" y="6965"/>
                  <a:pt x="607" y="6704"/>
                  <a:pt x="917" y="6704"/>
                </a:cubicBezTo>
                <a:cubicBezTo>
                  <a:pt x="1131" y="6704"/>
                  <a:pt x="1310" y="6811"/>
                  <a:pt x="1417" y="6989"/>
                </a:cubicBezTo>
                <a:cubicBezTo>
                  <a:pt x="1441" y="7049"/>
                  <a:pt x="1500" y="7085"/>
                  <a:pt x="1560" y="7085"/>
                </a:cubicBezTo>
                <a:lnTo>
                  <a:pt x="1965" y="7085"/>
                </a:lnTo>
                <a:cubicBezTo>
                  <a:pt x="2048" y="7085"/>
                  <a:pt x="2143" y="7001"/>
                  <a:pt x="2143" y="6906"/>
                </a:cubicBezTo>
                <a:lnTo>
                  <a:pt x="2143" y="5680"/>
                </a:lnTo>
                <a:lnTo>
                  <a:pt x="3358" y="5680"/>
                </a:lnTo>
                <a:cubicBezTo>
                  <a:pt x="3453" y="5680"/>
                  <a:pt x="3536" y="5608"/>
                  <a:pt x="3536" y="5501"/>
                </a:cubicBezTo>
                <a:lnTo>
                  <a:pt x="3536" y="5096"/>
                </a:lnTo>
                <a:cubicBezTo>
                  <a:pt x="3536" y="5037"/>
                  <a:pt x="3512" y="4977"/>
                  <a:pt x="3453" y="4953"/>
                </a:cubicBezTo>
                <a:cubicBezTo>
                  <a:pt x="3274" y="4846"/>
                  <a:pt x="3167" y="4656"/>
                  <a:pt x="3167" y="4465"/>
                </a:cubicBezTo>
                <a:cubicBezTo>
                  <a:pt x="3167" y="4144"/>
                  <a:pt x="3417" y="3894"/>
                  <a:pt x="3739" y="3894"/>
                </a:cubicBezTo>
                <a:cubicBezTo>
                  <a:pt x="4048" y="3894"/>
                  <a:pt x="4298" y="4144"/>
                  <a:pt x="4298" y="4465"/>
                </a:cubicBezTo>
                <a:cubicBezTo>
                  <a:pt x="4298" y="4668"/>
                  <a:pt x="4191" y="4846"/>
                  <a:pt x="4013" y="4953"/>
                </a:cubicBezTo>
                <a:cubicBezTo>
                  <a:pt x="3953" y="4977"/>
                  <a:pt x="3929" y="5037"/>
                  <a:pt x="3929" y="5096"/>
                </a:cubicBezTo>
                <a:lnTo>
                  <a:pt x="3929" y="5501"/>
                </a:lnTo>
                <a:cubicBezTo>
                  <a:pt x="3929" y="5596"/>
                  <a:pt x="4001" y="5680"/>
                  <a:pt x="4108" y="5680"/>
                </a:cubicBezTo>
                <a:lnTo>
                  <a:pt x="5322" y="5680"/>
                </a:lnTo>
                <a:lnTo>
                  <a:pt x="5322" y="6727"/>
                </a:lnTo>
                <a:lnTo>
                  <a:pt x="5191" y="6727"/>
                </a:lnTo>
                <a:cubicBezTo>
                  <a:pt x="5013" y="6501"/>
                  <a:pt x="4751" y="6346"/>
                  <a:pt x="4465" y="6346"/>
                </a:cubicBezTo>
                <a:cubicBezTo>
                  <a:pt x="3953" y="6346"/>
                  <a:pt x="3536" y="6763"/>
                  <a:pt x="3536" y="7275"/>
                </a:cubicBezTo>
                <a:cubicBezTo>
                  <a:pt x="3536" y="7775"/>
                  <a:pt x="3953" y="8192"/>
                  <a:pt x="4465" y="8192"/>
                </a:cubicBezTo>
                <a:cubicBezTo>
                  <a:pt x="4751" y="8192"/>
                  <a:pt x="5025" y="8061"/>
                  <a:pt x="5191" y="7823"/>
                </a:cubicBezTo>
                <a:lnTo>
                  <a:pt x="5322" y="7823"/>
                </a:lnTo>
                <a:lnTo>
                  <a:pt x="5322" y="8870"/>
                </a:lnTo>
                <a:lnTo>
                  <a:pt x="3120" y="8870"/>
                </a:lnTo>
                <a:cubicBezTo>
                  <a:pt x="3036" y="8870"/>
                  <a:pt x="2941" y="8942"/>
                  <a:pt x="2941" y="9049"/>
                </a:cubicBezTo>
                <a:cubicBezTo>
                  <a:pt x="2941" y="9144"/>
                  <a:pt x="3024" y="9228"/>
                  <a:pt x="3120" y="9228"/>
                </a:cubicBezTo>
                <a:lnTo>
                  <a:pt x="6727" y="9228"/>
                </a:lnTo>
                <a:lnTo>
                  <a:pt x="6727" y="9359"/>
                </a:lnTo>
                <a:cubicBezTo>
                  <a:pt x="6501" y="9537"/>
                  <a:pt x="6358" y="9799"/>
                  <a:pt x="6358" y="10085"/>
                </a:cubicBezTo>
                <a:cubicBezTo>
                  <a:pt x="6358" y="10597"/>
                  <a:pt x="6775" y="11014"/>
                  <a:pt x="7275" y="11014"/>
                </a:cubicBezTo>
                <a:cubicBezTo>
                  <a:pt x="7787" y="11014"/>
                  <a:pt x="8204" y="10597"/>
                  <a:pt x="8204" y="10085"/>
                </a:cubicBezTo>
                <a:cubicBezTo>
                  <a:pt x="8204" y="9799"/>
                  <a:pt x="8061" y="9525"/>
                  <a:pt x="7823" y="9359"/>
                </a:cubicBezTo>
                <a:lnTo>
                  <a:pt x="7823" y="9228"/>
                </a:lnTo>
                <a:lnTo>
                  <a:pt x="9049" y="9228"/>
                </a:lnTo>
                <a:cubicBezTo>
                  <a:pt x="9132" y="9228"/>
                  <a:pt x="9227" y="9144"/>
                  <a:pt x="9227" y="9049"/>
                </a:cubicBezTo>
                <a:lnTo>
                  <a:pt x="9227" y="7858"/>
                </a:lnTo>
                <a:lnTo>
                  <a:pt x="9227" y="7632"/>
                </a:lnTo>
                <a:lnTo>
                  <a:pt x="9227" y="5501"/>
                </a:lnTo>
                <a:lnTo>
                  <a:pt x="9227" y="4287"/>
                </a:lnTo>
                <a:lnTo>
                  <a:pt x="9358" y="4287"/>
                </a:lnTo>
                <a:cubicBezTo>
                  <a:pt x="9537" y="4501"/>
                  <a:pt x="9811" y="4656"/>
                  <a:pt x="10097" y="4656"/>
                </a:cubicBezTo>
                <a:cubicBezTo>
                  <a:pt x="10597" y="4656"/>
                  <a:pt x="11013" y="4239"/>
                  <a:pt x="11013" y="3727"/>
                </a:cubicBezTo>
                <a:cubicBezTo>
                  <a:pt x="11013" y="3227"/>
                  <a:pt x="10597" y="2810"/>
                  <a:pt x="10097" y="2810"/>
                </a:cubicBezTo>
                <a:cubicBezTo>
                  <a:pt x="9811" y="2810"/>
                  <a:pt x="9525" y="2941"/>
                  <a:pt x="9358" y="3179"/>
                </a:cubicBezTo>
                <a:lnTo>
                  <a:pt x="9227" y="3179"/>
                </a:lnTo>
                <a:lnTo>
                  <a:pt x="9227" y="1965"/>
                </a:lnTo>
                <a:cubicBezTo>
                  <a:pt x="9227" y="1870"/>
                  <a:pt x="9156" y="1786"/>
                  <a:pt x="9049" y="1786"/>
                </a:cubicBezTo>
                <a:lnTo>
                  <a:pt x="8465" y="1786"/>
                </a:lnTo>
                <a:cubicBezTo>
                  <a:pt x="8382" y="1786"/>
                  <a:pt x="8287" y="1858"/>
                  <a:pt x="8287" y="1965"/>
                </a:cubicBezTo>
                <a:cubicBezTo>
                  <a:pt x="8287" y="2048"/>
                  <a:pt x="8358" y="2143"/>
                  <a:pt x="8465" y="2143"/>
                </a:cubicBezTo>
                <a:lnTo>
                  <a:pt x="8870" y="2143"/>
                </a:lnTo>
                <a:lnTo>
                  <a:pt x="8870" y="3358"/>
                </a:lnTo>
                <a:cubicBezTo>
                  <a:pt x="8870" y="3453"/>
                  <a:pt x="8942" y="3536"/>
                  <a:pt x="9049" y="3536"/>
                </a:cubicBezTo>
                <a:lnTo>
                  <a:pt x="9454" y="3536"/>
                </a:lnTo>
                <a:cubicBezTo>
                  <a:pt x="9513" y="3536"/>
                  <a:pt x="9573" y="3513"/>
                  <a:pt x="9597" y="3453"/>
                </a:cubicBezTo>
                <a:cubicBezTo>
                  <a:pt x="9704" y="3275"/>
                  <a:pt x="9894" y="3167"/>
                  <a:pt x="10085" y="3167"/>
                </a:cubicBezTo>
                <a:cubicBezTo>
                  <a:pt x="10406" y="3167"/>
                  <a:pt x="10656" y="3417"/>
                  <a:pt x="10656" y="3727"/>
                </a:cubicBezTo>
                <a:cubicBezTo>
                  <a:pt x="10656" y="4048"/>
                  <a:pt x="10406" y="4298"/>
                  <a:pt x="10085" y="4298"/>
                </a:cubicBezTo>
                <a:cubicBezTo>
                  <a:pt x="9882" y="4298"/>
                  <a:pt x="9704" y="4191"/>
                  <a:pt x="9597" y="4013"/>
                </a:cubicBezTo>
                <a:cubicBezTo>
                  <a:pt x="9573" y="3953"/>
                  <a:pt x="9513" y="3929"/>
                  <a:pt x="9454" y="3929"/>
                </a:cubicBezTo>
                <a:lnTo>
                  <a:pt x="9049" y="3929"/>
                </a:lnTo>
                <a:cubicBezTo>
                  <a:pt x="8966" y="3929"/>
                  <a:pt x="8870" y="4001"/>
                  <a:pt x="8870" y="4108"/>
                </a:cubicBezTo>
                <a:lnTo>
                  <a:pt x="8870" y="5322"/>
                </a:lnTo>
                <a:lnTo>
                  <a:pt x="7644" y="5322"/>
                </a:lnTo>
                <a:cubicBezTo>
                  <a:pt x="7561" y="5322"/>
                  <a:pt x="7465" y="5394"/>
                  <a:pt x="7465" y="5501"/>
                </a:cubicBezTo>
                <a:lnTo>
                  <a:pt x="7465" y="5906"/>
                </a:lnTo>
                <a:cubicBezTo>
                  <a:pt x="7465" y="5965"/>
                  <a:pt x="7501" y="6025"/>
                  <a:pt x="7561" y="6049"/>
                </a:cubicBezTo>
                <a:cubicBezTo>
                  <a:pt x="7739" y="6156"/>
                  <a:pt x="7846" y="6346"/>
                  <a:pt x="7846" y="6549"/>
                </a:cubicBezTo>
                <a:cubicBezTo>
                  <a:pt x="7846" y="6858"/>
                  <a:pt x="7584" y="7108"/>
                  <a:pt x="7275" y="7108"/>
                </a:cubicBezTo>
                <a:cubicBezTo>
                  <a:pt x="6965" y="7108"/>
                  <a:pt x="6715" y="6858"/>
                  <a:pt x="6715" y="6549"/>
                </a:cubicBezTo>
                <a:cubicBezTo>
                  <a:pt x="6715" y="6334"/>
                  <a:pt x="6810" y="6156"/>
                  <a:pt x="7001" y="6049"/>
                </a:cubicBezTo>
                <a:cubicBezTo>
                  <a:pt x="7061" y="6025"/>
                  <a:pt x="7084" y="5965"/>
                  <a:pt x="7084" y="5906"/>
                </a:cubicBezTo>
                <a:lnTo>
                  <a:pt x="7084" y="5501"/>
                </a:lnTo>
                <a:cubicBezTo>
                  <a:pt x="7084" y="5418"/>
                  <a:pt x="7013" y="5322"/>
                  <a:pt x="6906" y="5322"/>
                </a:cubicBezTo>
                <a:lnTo>
                  <a:pt x="5679" y="5322"/>
                </a:lnTo>
                <a:lnTo>
                  <a:pt x="5679" y="4287"/>
                </a:lnTo>
                <a:lnTo>
                  <a:pt x="5822" y="4287"/>
                </a:lnTo>
                <a:cubicBezTo>
                  <a:pt x="6001" y="4501"/>
                  <a:pt x="6263" y="4656"/>
                  <a:pt x="6549" y="4656"/>
                </a:cubicBezTo>
                <a:cubicBezTo>
                  <a:pt x="7061" y="4656"/>
                  <a:pt x="7477" y="4239"/>
                  <a:pt x="7477" y="3727"/>
                </a:cubicBezTo>
                <a:cubicBezTo>
                  <a:pt x="7477" y="3227"/>
                  <a:pt x="7061" y="2810"/>
                  <a:pt x="6549" y="2810"/>
                </a:cubicBezTo>
                <a:cubicBezTo>
                  <a:pt x="6263" y="2810"/>
                  <a:pt x="5989" y="2941"/>
                  <a:pt x="5822" y="3179"/>
                </a:cubicBezTo>
                <a:lnTo>
                  <a:pt x="5679" y="3179"/>
                </a:lnTo>
                <a:lnTo>
                  <a:pt x="5679" y="2143"/>
                </a:lnTo>
                <a:lnTo>
                  <a:pt x="7882" y="2143"/>
                </a:lnTo>
                <a:cubicBezTo>
                  <a:pt x="7977" y="2143"/>
                  <a:pt x="8061" y="2060"/>
                  <a:pt x="8061" y="1965"/>
                </a:cubicBezTo>
                <a:cubicBezTo>
                  <a:pt x="8061" y="1870"/>
                  <a:pt x="7989" y="1786"/>
                  <a:pt x="7882" y="1786"/>
                </a:cubicBezTo>
                <a:lnTo>
                  <a:pt x="4286" y="1786"/>
                </a:lnTo>
                <a:lnTo>
                  <a:pt x="4286" y="1643"/>
                </a:lnTo>
                <a:cubicBezTo>
                  <a:pt x="4513" y="1465"/>
                  <a:pt x="4655" y="1203"/>
                  <a:pt x="4655" y="917"/>
                </a:cubicBezTo>
                <a:cubicBezTo>
                  <a:pt x="4655" y="417"/>
                  <a:pt x="4239" y="0"/>
                  <a:pt x="373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73" name="Google Shape;11373;p60"/>
          <p:cNvGrpSpPr/>
          <p:nvPr/>
        </p:nvGrpSpPr>
        <p:grpSpPr>
          <a:xfrm>
            <a:off x="6659725" y="3808035"/>
            <a:ext cx="367608" cy="350548"/>
            <a:chOff x="6659725" y="3808035"/>
            <a:chExt cx="367608" cy="350548"/>
          </a:xfrm>
        </p:grpSpPr>
        <p:sp>
          <p:nvSpPr>
            <p:cNvPr id="11374" name="Google Shape;11374;p60"/>
            <p:cNvSpPr/>
            <p:nvPr/>
          </p:nvSpPr>
          <p:spPr>
            <a:xfrm>
              <a:off x="6659725" y="3845942"/>
              <a:ext cx="321394" cy="312642"/>
            </a:xfrm>
            <a:custGeom>
              <a:avLst/>
              <a:gdLst/>
              <a:ahLst/>
              <a:cxnLst/>
              <a:rect l="l" t="t" r="r" b="b"/>
              <a:pathLst>
                <a:path w="10098" h="9823" extrusionOk="0">
                  <a:moveTo>
                    <a:pt x="8740" y="0"/>
                  </a:moveTo>
                  <a:cubicBezTo>
                    <a:pt x="8383" y="0"/>
                    <a:pt x="8037" y="131"/>
                    <a:pt x="7787" y="405"/>
                  </a:cubicBezTo>
                  <a:lnTo>
                    <a:pt x="6847" y="1346"/>
                  </a:lnTo>
                  <a:cubicBezTo>
                    <a:pt x="6775" y="1417"/>
                    <a:pt x="6775" y="1524"/>
                    <a:pt x="6847" y="1596"/>
                  </a:cubicBezTo>
                  <a:cubicBezTo>
                    <a:pt x="6882" y="1631"/>
                    <a:pt x="6927" y="1649"/>
                    <a:pt x="6972" y="1649"/>
                  </a:cubicBezTo>
                  <a:cubicBezTo>
                    <a:pt x="7016" y="1649"/>
                    <a:pt x="7061" y="1631"/>
                    <a:pt x="7097" y="1596"/>
                  </a:cubicBezTo>
                  <a:lnTo>
                    <a:pt x="8037" y="655"/>
                  </a:lnTo>
                  <a:cubicBezTo>
                    <a:pt x="8228" y="464"/>
                    <a:pt x="8466" y="357"/>
                    <a:pt x="8740" y="357"/>
                  </a:cubicBezTo>
                  <a:cubicBezTo>
                    <a:pt x="9002" y="357"/>
                    <a:pt x="9264" y="464"/>
                    <a:pt x="9442" y="655"/>
                  </a:cubicBezTo>
                  <a:cubicBezTo>
                    <a:pt x="9633" y="857"/>
                    <a:pt x="9740" y="1096"/>
                    <a:pt x="9740" y="1357"/>
                  </a:cubicBezTo>
                  <a:cubicBezTo>
                    <a:pt x="9740" y="1631"/>
                    <a:pt x="9633" y="1881"/>
                    <a:pt x="9442" y="2060"/>
                  </a:cubicBezTo>
                  <a:lnTo>
                    <a:pt x="8156" y="3334"/>
                  </a:lnTo>
                  <a:cubicBezTo>
                    <a:pt x="8025" y="3024"/>
                    <a:pt x="7847" y="2739"/>
                    <a:pt x="7597" y="2489"/>
                  </a:cubicBezTo>
                  <a:cubicBezTo>
                    <a:pt x="7097" y="1988"/>
                    <a:pt x="6436" y="1738"/>
                    <a:pt x="5777" y="1738"/>
                  </a:cubicBezTo>
                  <a:cubicBezTo>
                    <a:pt x="5117" y="1738"/>
                    <a:pt x="4459" y="1988"/>
                    <a:pt x="3965" y="2489"/>
                  </a:cubicBezTo>
                  <a:lnTo>
                    <a:pt x="1001" y="5453"/>
                  </a:lnTo>
                  <a:cubicBezTo>
                    <a:pt x="1" y="6453"/>
                    <a:pt x="1" y="8084"/>
                    <a:pt x="1001" y="9085"/>
                  </a:cubicBezTo>
                  <a:cubicBezTo>
                    <a:pt x="1501" y="9585"/>
                    <a:pt x="2156" y="9823"/>
                    <a:pt x="2810" y="9823"/>
                  </a:cubicBezTo>
                  <a:cubicBezTo>
                    <a:pt x="3465" y="9823"/>
                    <a:pt x="4120" y="9573"/>
                    <a:pt x="4632" y="9085"/>
                  </a:cubicBezTo>
                  <a:lnTo>
                    <a:pt x="6204" y="7501"/>
                  </a:lnTo>
                  <a:cubicBezTo>
                    <a:pt x="6287" y="7430"/>
                    <a:pt x="6287" y="7322"/>
                    <a:pt x="6204" y="7251"/>
                  </a:cubicBezTo>
                  <a:cubicBezTo>
                    <a:pt x="6176" y="7242"/>
                    <a:pt x="6143" y="7236"/>
                    <a:pt x="6109" y="7236"/>
                  </a:cubicBezTo>
                  <a:cubicBezTo>
                    <a:pt x="6055" y="7236"/>
                    <a:pt x="5997" y="7250"/>
                    <a:pt x="5954" y="7287"/>
                  </a:cubicBezTo>
                  <a:lnTo>
                    <a:pt x="4382" y="8858"/>
                  </a:lnTo>
                  <a:cubicBezTo>
                    <a:pt x="3965" y="9275"/>
                    <a:pt x="3406" y="9513"/>
                    <a:pt x="2810" y="9513"/>
                  </a:cubicBezTo>
                  <a:cubicBezTo>
                    <a:pt x="2215" y="9513"/>
                    <a:pt x="1667" y="9287"/>
                    <a:pt x="1251" y="8858"/>
                  </a:cubicBezTo>
                  <a:cubicBezTo>
                    <a:pt x="394" y="8001"/>
                    <a:pt x="394" y="6596"/>
                    <a:pt x="1251" y="5739"/>
                  </a:cubicBezTo>
                  <a:lnTo>
                    <a:pt x="4215" y="2774"/>
                  </a:lnTo>
                  <a:cubicBezTo>
                    <a:pt x="4632" y="2358"/>
                    <a:pt x="5180" y="2119"/>
                    <a:pt x="5775" y="2119"/>
                  </a:cubicBezTo>
                  <a:cubicBezTo>
                    <a:pt x="6370" y="2119"/>
                    <a:pt x="6918" y="2346"/>
                    <a:pt x="7335" y="2774"/>
                  </a:cubicBezTo>
                  <a:cubicBezTo>
                    <a:pt x="7573" y="3012"/>
                    <a:pt x="7775" y="3310"/>
                    <a:pt x="7871" y="3632"/>
                  </a:cubicBezTo>
                  <a:lnTo>
                    <a:pt x="6478" y="5036"/>
                  </a:lnTo>
                  <a:cubicBezTo>
                    <a:pt x="6287" y="5227"/>
                    <a:pt x="6049" y="5334"/>
                    <a:pt x="5775" y="5334"/>
                  </a:cubicBezTo>
                  <a:cubicBezTo>
                    <a:pt x="5513" y="5334"/>
                    <a:pt x="5251" y="5227"/>
                    <a:pt x="5073" y="5036"/>
                  </a:cubicBezTo>
                  <a:cubicBezTo>
                    <a:pt x="4989" y="4941"/>
                    <a:pt x="4918" y="4822"/>
                    <a:pt x="4858" y="4703"/>
                  </a:cubicBezTo>
                  <a:cubicBezTo>
                    <a:pt x="4829" y="4634"/>
                    <a:pt x="4751" y="4590"/>
                    <a:pt x="4677" y="4590"/>
                  </a:cubicBezTo>
                  <a:cubicBezTo>
                    <a:pt x="4662" y="4590"/>
                    <a:pt x="4647" y="4592"/>
                    <a:pt x="4632" y="4596"/>
                  </a:cubicBezTo>
                  <a:cubicBezTo>
                    <a:pt x="4537" y="4632"/>
                    <a:pt x="4501" y="4739"/>
                    <a:pt x="4525" y="4822"/>
                  </a:cubicBezTo>
                  <a:cubicBezTo>
                    <a:pt x="4596" y="4989"/>
                    <a:pt x="4692" y="5132"/>
                    <a:pt x="4823" y="5275"/>
                  </a:cubicBezTo>
                  <a:cubicBezTo>
                    <a:pt x="5073" y="5525"/>
                    <a:pt x="5418" y="5679"/>
                    <a:pt x="5775" y="5679"/>
                  </a:cubicBezTo>
                  <a:cubicBezTo>
                    <a:pt x="6132" y="5679"/>
                    <a:pt x="6478" y="5537"/>
                    <a:pt x="6728" y="5275"/>
                  </a:cubicBezTo>
                  <a:lnTo>
                    <a:pt x="9692" y="2310"/>
                  </a:lnTo>
                  <a:cubicBezTo>
                    <a:pt x="9942" y="2060"/>
                    <a:pt x="10097" y="1715"/>
                    <a:pt x="10097" y="1357"/>
                  </a:cubicBezTo>
                  <a:cubicBezTo>
                    <a:pt x="10097" y="1000"/>
                    <a:pt x="9954" y="655"/>
                    <a:pt x="9692" y="405"/>
                  </a:cubicBezTo>
                  <a:cubicBezTo>
                    <a:pt x="9442" y="155"/>
                    <a:pt x="9097" y="0"/>
                    <a:pt x="8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5" name="Google Shape;11375;p60"/>
            <p:cNvSpPr/>
            <p:nvPr/>
          </p:nvSpPr>
          <p:spPr>
            <a:xfrm>
              <a:off x="6705588" y="3808035"/>
              <a:ext cx="321744" cy="313787"/>
            </a:xfrm>
            <a:custGeom>
              <a:avLst/>
              <a:gdLst/>
              <a:ahLst/>
              <a:cxnLst/>
              <a:rect l="l" t="t" r="r" b="b"/>
              <a:pathLst>
                <a:path w="10109" h="9859" extrusionOk="0">
                  <a:moveTo>
                    <a:pt x="7281" y="1"/>
                  </a:moveTo>
                  <a:cubicBezTo>
                    <a:pt x="6623" y="1"/>
                    <a:pt x="5965" y="251"/>
                    <a:pt x="5465" y="751"/>
                  </a:cubicBezTo>
                  <a:lnTo>
                    <a:pt x="3894" y="2322"/>
                  </a:lnTo>
                  <a:cubicBezTo>
                    <a:pt x="3810" y="2406"/>
                    <a:pt x="3810" y="2501"/>
                    <a:pt x="3894" y="2584"/>
                  </a:cubicBezTo>
                  <a:cubicBezTo>
                    <a:pt x="3929" y="2620"/>
                    <a:pt x="3974" y="2638"/>
                    <a:pt x="4019" y="2638"/>
                  </a:cubicBezTo>
                  <a:cubicBezTo>
                    <a:pt x="4063" y="2638"/>
                    <a:pt x="4108" y="2620"/>
                    <a:pt x="4144" y="2584"/>
                  </a:cubicBezTo>
                  <a:lnTo>
                    <a:pt x="5715" y="1001"/>
                  </a:lnTo>
                  <a:cubicBezTo>
                    <a:pt x="6150" y="572"/>
                    <a:pt x="6715" y="358"/>
                    <a:pt x="7281" y="358"/>
                  </a:cubicBezTo>
                  <a:cubicBezTo>
                    <a:pt x="7846" y="358"/>
                    <a:pt x="8412" y="572"/>
                    <a:pt x="8847" y="1001"/>
                  </a:cubicBezTo>
                  <a:cubicBezTo>
                    <a:pt x="9704" y="1870"/>
                    <a:pt x="9704" y="3263"/>
                    <a:pt x="8847" y="4132"/>
                  </a:cubicBezTo>
                  <a:lnTo>
                    <a:pt x="5882" y="7085"/>
                  </a:lnTo>
                  <a:cubicBezTo>
                    <a:pt x="5465" y="7501"/>
                    <a:pt x="4918" y="7740"/>
                    <a:pt x="4322" y="7740"/>
                  </a:cubicBezTo>
                  <a:cubicBezTo>
                    <a:pt x="3727" y="7740"/>
                    <a:pt x="3179" y="7525"/>
                    <a:pt x="2763" y="7085"/>
                  </a:cubicBezTo>
                  <a:cubicBezTo>
                    <a:pt x="2524" y="6847"/>
                    <a:pt x="2322" y="6549"/>
                    <a:pt x="2227" y="6227"/>
                  </a:cubicBezTo>
                  <a:lnTo>
                    <a:pt x="3620" y="4823"/>
                  </a:lnTo>
                  <a:cubicBezTo>
                    <a:pt x="3810" y="4632"/>
                    <a:pt x="4048" y="4525"/>
                    <a:pt x="4322" y="4525"/>
                  </a:cubicBezTo>
                  <a:cubicBezTo>
                    <a:pt x="4584" y="4525"/>
                    <a:pt x="4846" y="4632"/>
                    <a:pt x="5025" y="4823"/>
                  </a:cubicBezTo>
                  <a:cubicBezTo>
                    <a:pt x="5108" y="4918"/>
                    <a:pt x="5179" y="5037"/>
                    <a:pt x="5239" y="5156"/>
                  </a:cubicBezTo>
                  <a:cubicBezTo>
                    <a:pt x="5269" y="5225"/>
                    <a:pt x="5347" y="5269"/>
                    <a:pt x="5420" y="5269"/>
                  </a:cubicBezTo>
                  <a:cubicBezTo>
                    <a:pt x="5435" y="5269"/>
                    <a:pt x="5451" y="5267"/>
                    <a:pt x="5465" y="5263"/>
                  </a:cubicBezTo>
                  <a:cubicBezTo>
                    <a:pt x="5560" y="5227"/>
                    <a:pt x="5596" y="5120"/>
                    <a:pt x="5572" y="5037"/>
                  </a:cubicBezTo>
                  <a:cubicBezTo>
                    <a:pt x="5501" y="4870"/>
                    <a:pt x="5406" y="4727"/>
                    <a:pt x="5275" y="4584"/>
                  </a:cubicBezTo>
                  <a:cubicBezTo>
                    <a:pt x="5025" y="4334"/>
                    <a:pt x="4679" y="4192"/>
                    <a:pt x="4322" y="4192"/>
                  </a:cubicBezTo>
                  <a:cubicBezTo>
                    <a:pt x="3965" y="4192"/>
                    <a:pt x="3620" y="4322"/>
                    <a:pt x="3370" y="4584"/>
                  </a:cubicBezTo>
                  <a:lnTo>
                    <a:pt x="1929" y="6037"/>
                  </a:lnTo>
                  <a:cubicBezTo>
                    <a:pt x="1893" y="6049"/>
                    <a:pt x="1881" y="6061"/>
                    <a:pt x="1870" y="6097"/>
                  </a:cubicBezTo>
                  <a:lnTo>
                    <a:pt x="405" y="7549"/>
                  </a:lnTo>
                  <a:cubicBezTo>
                    <a:pt x="155" y="7799"/>
                    <a:pt x="0" y="8144"/>
                    <a:pt x="0" y="8502"/>
                  </a:cubicBezTo>
                  <a:cubicBezTo>
                    <a:pt x="0" y="8859"/>
                    <a:pt x="143" y="9204"/>
                    <a:pt x="405" y="9454"/>
                  </a:cubicBezTo>
                  <a:cubicBezTo>
                    <a:pt x="655" y="9704"/>
                    <a:pt x="1000" y="9859"/>
                    <a:pt x="1358" y="9859"/>
                  </a:cubicBezTo>
                  <a:cubicBezTo>
                    <a:pt x="1715" y="9859"/>
                    <a:pt x="2060" y="9728"/>
                    <a:pt x="2310" y="9454"/>
                  </a:cubicBezTo>
                  <a:lnTo>
                    <a:pt x="3251" y="8513"/>
                  </a:lnTo>
                  <a:cubicBezTo>
                    <a:pt x="3322" y="8442"/>
                    <a:pt x="3322" y="8335"/>
                    <a:pt x="3251" y="8263"/>
                  </a:cubicBezTo>
                  <a:cubicBezTo>
                    <a:pt x="3215" y="8228"/>
                    <a:pt x="3170" y="8210"/>
                    <a:pt x="3126" y="8210"/>
                  </a:cubicBezTo>
                  <a:cubicBezTo>
                    <a:pt x="3081" y="8210"/>
                    <a:pt x="3036" y="8228"/>
                    <a:pt x="3001" y="8263"/>
                  </a:cubicBezTo>
                  <a:lnTo>
                    <a:pt x="2060" y="9204"/>
                  </a:lnTo>
                  <a:cubicBezTo>
                    <a:pt x="1870" y="9395"/>
                    <a:pt x="1631" y="9502"/>
                    <a:pt x="1358" y="9502"/>
                  </a:cubicBezTo>
                  <a:cubicBezTo>
                    <a:pt x="1096" y="9502"/>
                    <a:pt x="834" y="9395"/>
                    <a:pt x="655" y="9204"/>
                  </a:cubicBezTo>
                  <a:cubicBezTo>
                    <a:pt x="465" y="9014"/>
                    <a:pt x="357" y="8775"/>
                    <a:pt x="357" y="8502"/>
                  </a:cubicBezTo>
                  <a:cubicBezTo>
                    <a:pt x="357" y="8240"/>
                    <a:pt x="465" y="7978"/>
                    <a:pt x="655" y="7799"/>
                  </a:cubicBezTo>
                  <a:lnTo>
                    <a:pt x="1941" y="6525"/>
                  </a:lnTo>
                  <a:cubicBezTo>
                    <a:pt x="2072" y="6835"/>
                    <a:pt x="2251" y="7120"/>
                    <a:pt x="2501" y="7370"/>
                  </a:cubicBezTo>
                  <a:cubicBezTo>
                    <a:pt x="2989" y="7859"/>
                    <a:pt x="3632" y="8132"/>
                    <a:pt x="4322" y="8132"/>
                  </a:cubicBezTo>
                  <a:cubicBezTo>
                    <a:pt x="5001" y="8132"/>
                    <a:pt x="5644" y="7859"/>
                    <a:pt x="6132" y="7370"/>
                  </a:cubicBezTo>
                  <a:lnTo>
                    <a:pt x="9097" y="4406"/>
                  </a:lnTo>
                  <a:cubicBezTo>
                    <a:pt x="10109" y="3382"/>
                    <a:pt x="10109" y="1751"/>
                    <a:pt x="9097" y="751"/>
                  </a:cubicBezTo>
                  <a:cubicBezTo>
                    <a:pt x="8597" y="251"/>
                    <a:pt x="7939" y="1"/>
                    <a:pt x="7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76" name="Google Shape;11376;p60"/>
          <p:cNvGrpSpPr/>
          <p:nvPr/>
        </p:nvGrpSpPr>
        <p:grpSpPr>
          <a:xfrm>
            <a:off x="6219391" y="3816756"/>
            <a:ext cx="356627" cy="334252"/>
            <a:chOff x="6219391" y="3816756"/>
            <a:chExt cx="356627" cy="334252"/>
          </a:xfrm>
        </p:grpSpPr>
        <p:sp>
          <p:nvSpPr>
            <p:cNvPr id="11377" name="Google Shape;11377;p60"/>
            <p:cNvSpPr/>
            <p:nvPr/>
          </p:nvSpPr>
          <p:spPr>
            <a:xfrm>
              <a:off x="6219391" y="3816756"/>
              <a:ext cx="306594" cy="334252"/>
            </a:xfrm>
            <a:custGeom>
              <a:avLst/>
              <a:gdLst/>
              <a:ahLst/>
              <a:cxnLst/>
              <a:rect l="l" t="t" r="r" b="b"/>
              <a:pathLst>
                <a:path w="9633" h="10502" extrusionOk="0">
                  <a:moveTo>
                    <a:pt x="8394" y="4179"/>
                  </a:moveTo>
                  <a:cubicBezTo>
                    <a:pt x="8906" y="4251"/>
                    <a:pt x="9299" y="4703"/>
                    <a:pt x="9299" y="5239"/>
                  </a:cubicBezTo>
                  <a:cubicBezTo>
                    <a:pt x="9299" y="5775"/>
                    <a:pt x="8906" y="6215"/>
                    <a:pt x="8394" y="6299"/>
                  </a:cubicBezTo>
                  <a:lnTo>
                    <a:pt x="8394" y="4179"/>
                  </a:lnTo>
                  <a:close/>
                  <a:moveTo>
                    <a:pt x="1203" y="4013"/>
                  </a:moveTo>
                  <a:lnTo>
                    <a:pt x="1203" y="6489"/>
                  </a:lnTo>
                  <a:lnTo>
                    <a:pt x="846" y="6489"/>
                  </a:lnTo>
                  <a:cubicBezTo>
                    <a:pt x="548" y="6489"/>
                    <a:pt x="310" y="6251"/>
                    <a:pt x="310" y="5953"/>
                  </a:cubicBezTo>
                  <a:lnTo>
                    <a:pt x="310" y="4549"/>
                  </a:lnTo>
                  <a:cubicBezTo>
                    <a:pt x="310" y="4251"/>
                    <a:pt x="548" y="4013"/>
                    <a:pt x="846" y="4013"/>
                  </a:cubicBezTo>
                  <a:close/>
                  <a:moveTo>
                    <a:pt x="2596" y="4001"/>
                  </a:moveTo>
                  <a:lnTo>
                    <a:pt x="2596" y="6489"/>
                  </a:lnTo>
                  <a:lnTo>
                    <a:pt x="1525" y="6489"/>
                  </a:lnTo>
                  <a:lnTo>
                    <a:pt x="1525" y="4001"/>
                  </a:lnTo>
                  <a:close/>
                  <a:moveTo>
                    <a:pt x="2799" y="7692"/>
                  </a:moveTo>
                  <a:lnTo>
                    <a:pt x="2799" y="8418"/>
                  </a:lnTo>
                  <a:lnTo>
                    <a:pt x="2477" y="8418"/>
                  </a:lnTo>
                  <a:lnTo>
                    <a:pt x="2679" y="7692"/>
                  </a:lnTo>
                  <a:close/>
                  <a:moveTo>
                    <a:pt x="2560" y="6811"/>
                  </a:moveTo>
                  <a:lnTo>
                    <a:pt x="1941" y="9121"/>
                  </a:lnTo>
                  <a:lnTo>
                    <a:pt x="1525" y="9121"/>
                  </a:lnTo>
                  <a:lnTo>
                    <a:pt x="1525" y="6811"/>
                  </a:lnTo>
                  <a:close/>
                  <a:moveTo>
                    <a:pt x="8061" y="310"/>
                  </a:moveTo>
                  <a:lnTo>
                    <a:pt x="8061" y="10180"/>
                  </a:lnTo>
                  <a:lnTo>
                    <a:pt x="7335" y="10180"/>
                  </a:lnTo>
                  <a:lnTo>
                    <a:pt x="7335" y="3227"/>
                  </a:lnTo>
                  <a:cubicBezTo>
                    <a:pt x="7335" y="3132"/>
                    <a:pt x="7251" y="3060"/>
                    <a:pt x="7168" y="3060"/>
                  </a:cubicBezTo>
                  <a:cubicBezTo>
                    <a:pt x="7085" y="3060"/>
                    <a:pt x="7001" y="3132"/>
                    <a:pt x="7001" y="3227"/>
                  </a:cubicBezTo>
                  <a:lnTo>
                    <a:pt x="7001" y="9085"/>
                  </a:lnTo>
                  <a:cubicBezTo>
                    <a:pt x="6799" y="8811"/>
                    <a:pt x="6489" y="8406"/>
                    <a:pt x="6085" y="8013"/>
                  </a:cubicBezTo>
                  <a:cubicBezTo>
                    <a:pt x="5620" y="7573"/>
                    <a:pt x="5144" y="7216"/>
                    <a:pt x="4656" y="6966"/>
                  </a:cubicBezTo>
                  <a:cubicBezTo>
                    <a:pt x="4084" y="6668"/>
                    <a:pt x="3525" y="6501"/>
                    <a:pt x="2941" y="6489"/>
                  </a:cubicBezTo>
                  <a:lnTo>
                    <a:pt x="2941" y="4001"/>
                  </a:lnTo>
                  <a:cubicBezTo>
                    <a:pt x="3525" y="3965"/>
                    <a:pt x="4084" y="3810"/>
                    <a:pt x="4656" y="3525"/>
                  </a:cubicBezTo>
                  <a:cubicBezTo>
                    <a:pt x="5144" y="3275"/>
                    <a:pt x="5620" y="2917"/>
                    <a:pt x="6085" y="2465"/>
                  </a:cubicBezTo>
                  <a:cubicBezTo>
                    <a:pt x="6489" y="2084"/>
                    <a:pt x="6799" y="1679"/>
                    <a:pt x="7001" y="1393"/>
                  </a:cubicBezTo>
                  <a:lnTo>
                    <a:pt x="7001" y="2441"/>
                  </a:lnTo>
                  <a:cubicBezTo>
                    <a:pt x="7001" y="2524"/>
                    <a:pt x="7085" y="2596"/>
                    <a:pt x="7168" y="2596"/>
                  </a:cubicBezTo>
                  <a:cubicBezTo>
                    <a:pt x="7251" y="2596"/>
                    <a:pt x="7335" y="2524"/>
                    <a:pt x="7335" y="2441"/>
                  </a:cubicBezTo>
                  <a:lnTo>
                    <a:pt x="7335" y="310"/>
                  </a:lnTo>
                  <a:close/>
                  <a:moveTo>
                    <a:pt x="7168" y="0"/>
                  </a:moveTo>
                  <a:cubicBezTo>
                    <a:pt x="7085" y="0"/>
                    <a:pt x="7001" y="72"/>
                    <a:pt x="7001" y="167"/>
                  </a:cubicBezTo>
                  <a:lnTo>
                    <a:pt x="7001" y="822"/>
                  </a:lnTo>
                  <a:cubicBezTo>
                    <a:pt x="6906" y="977"/>
                    <a:pt x="6489" y="1620"/>
                    <a:pt x="5847" y="2251"/>
                  </a:cubicBezTo>
                  <a:cubicBezTo>
                    <a:pt x="5156" y="2905"/>
                    <a:pt x="4084" y="3691"/>
                    <a:pt x="2775" y="3691"/>
                  </a:cubicBezTo>
                  <a:lnTo>
                    <a:pt x="858" y="3691"/>
                  </a:lnTo>
                  <a:cubicBezTo>
                    <a:pt x="382" y="3691"/>
                    <a:pt x="1" y="4072"/>
                    <a:pt x="1" y="4549"/>
                  </a:cubicBezTo>
                  <a:lnTo>
                    <a:pt x="1" y="5953"/>
                  </a:lnTo>
                  <a:cubicBezTo>
                    <a:pt x="1" y="6430"/>
                    <a:pt x="382" y="6811"/>
                    <a:pt x="858" y="6811"/>
                  </a:cubicBezTo>
                  <a:lnTo>
                    <a:pt x="1215" y="6811"/>
                  </a:lnTo>
                  <a:lnTo>
                    <a:pt x="1215" y="9287"/>
                  </a:lnTo>
                  <a:cubicBezTo>
                    <a:pt x="1215" y="9371"/>
                    <a:pt x="1286" y="9454"/>
                    <a:pt x="1382" y="9454"/>
                  </a:cubicBezTo>
                  <a:lnTo>
                    <a:pt x="2084" y="9454"/>
                  </a:lnTo>
                  <a:cubicBezTo>
                    <a:pt x="2156" y="9454"/>
                    <a:pt x="2215" y="9406"/>
                    <a:pt x="2239" y="9335"/>
                  </a:cubicBezTo>
                  <a:lnTo>
                    <a:pt x="2394" y="8751"/>
                  </a:lnTo>
                  <a:lnTo>
                    <a:pt x="2953" y="8751"/>
                  </a:lnTo>
                  <a:cubicBezTo>
                    <a:pt x="3049" y="8751"/>
                    <a:pt x="3120" y="8680"/>
                    <a:pt x="3120" y="8585"/>
                  </a:cubicBezTo>
                  <a:lnTo>
                    <a:pt x="3120" y="7525"/>
                  </a:lnTo>
                  <a:cubicBezTo>
                    <a:pt x="3120" y="7442"/>
                    <a:pt x="3049" y="7370"/>
                    <a:pt x="2953" y="7370"/>
                  </a:cubicBezTo>
                  <a:lnTo>
                    <a:pt x="2763" y="7370"/>
                  </a:lnTo>
                  <a:lnTo>
                    <a:pt x="2918" y="6811"/>
                  </a:lnTo>
                  <a:cubicBezTo>
                    <a:pt x="4168" y="6858"/>
                    <a:pt x="5192" y="7620"/>
                    <a:pt x="5858" y="8263"/>
                  </a:cubicBezTo>
                  <a:cubicBezTo>
                    <a:pt x="6513" y="8882"/>
                    <a:pt x="6930" y="9525"/>
                    <a:pt x="7025" y="9692"/>
                  </a:cubicBezTo>
                  <a:lnTo>
                    <a:pt x="7025" y="10347"/>
                  </a:lnTo>
                  <a:cubicBezTo>
                    <a:pt x="7025" y="10430"/>
                    <a:pt x="7097" y="10502"/>
                    <a:pt x="7180" y="10502"/>
                  </a:cubicBezTo>
                  <a:lnTo>
                    <a:pt x="8240" y="10502"/>
                  </a:lnTo>
                  <a:cubicBezTo>
                    <a:pt x="8335" y="10502"/>
                    <a:pt x="8406" y="10430"/>
                    <a:pt x="8406" y="10347"/>
                  </a:cubicBezTo>
                  <a:lnTo>
                    <a:pt x="8406" y="6632"/>
                  </a:lnTo>
                  <a:cubicBezTo>
                    <a:pt x="9109" y="6549"/>
                    <a:pt x="9633" y="5965"/>
                    <a:pt x="9633" y="5251"/>
                  </a:cubicBezTo>
                  <a:cubicBezTo>
                    <a:pt x="9621" y="4537"/>
                    <a:pt x="9085" y="3941"/>
                    <a:pt x="8394" y="3870"/>
                  </a:cubicBezTo>
                  <a:lnTo>
                    <a:pt x="8394" y="167"/>
                  </a:lnTo>
                  <a:cubicBezTo>
                    <a:pt x="8394" y="72"/>
                    <a:pt x="8311" y="0"/>
                    <a:pt x="8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8" name="Google Shape;11378;p60"/>
            <p:cNvSpPr/>
            <p:nvPr/>
          </p:nvSpPr>
          <p:spPr>
            <a:xfrm>
              <a:off x="6549060" y="3978567"/>
              <a:ext cx="26958" cy="10630"/>
            </a:xfrm>
            <a:custGeom>
              <a:avLst/>
              <a:gdLst/>
              <a:ahLst/>
              <a:cxnLst/>
              <a:rect l="l" t="t" r="r" b="b"/>
              <a:pathLst>
                <a:path w="847" h="334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680" y="334"/>
                  </a:lnTo>
                  <a:cubicBezTo>
                    <a:pt x="763" y="334"/>
                    <a:pt x="846" y="262"/>
                    <a:pt x="846" y="167"/>
                  </a:cubicBezTo>
                  <a:cubicBezTo>
                    <a:pt x="846" y="84"/>
                    <a:pt x="775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9" name="Google Shape;11379;p60"/>
            <p:cNvSpPr/>
            <p:nvPr/>
          </p:nvSpPr>
          <p:spPr>
            <a:xfrm>
              <a:off x="6525572" y="3915357"/>
              <a:ext cx="24666" cy="22311"/>
            </a:xfrm>
            <a:custGeom>
              <a:avLst/>
              <a:gdLst/>
              <a:ahLst/>
              <a:cxnLst/>
              <a:rect l="l" t="t" r="r" b="b"/>
              <a:pathLst>
                <a:path w="775" h="701" extrusionOk="0">
                  <a:moveTo>
                    <a:pt x="605" y="1"/>
                  </a:moveTo>
                  <a:cubicBezTo>
                    <a:pt x="563" y="1"/>
                    <a:pt x="519" y="16"/>
                    <a:pt x="477" y="46"/>
                  </a:cubicBezTo>
                  <a:lnTo>
                    <a:pt x="108" y="415"/>
                  </a:lnTo>
                  <a:cubicBezTo>
                    <a:pt x="1" y="522"/>
                    <a:pt x="84" y="700"/>
                    <a:pt x="227" y="700"/>
                  </a:cubicBezTo>
                  <a:cubicBezTo>
                    <a:pt x="275" y="700"/>
                    <a:pt x="322" y="677"/>
                    <a:pt x="346" y="653"/>
                  </a:cubicBezTo>
                  <a:lnTo>
                    <a:pt x="715" y="284"/>
                  </a:lnTo>
                  <a:cubicBezTo>
                    <a:pt x="775" y="224"/>
                    <a:pt x="775" y="117"/>
                    <a:pt x="715" y="46"/>
                  </a:cubicBezTo>
                  <a:cubicBezTo>
                    <a:pt x="685" y="16"/>
                    <a:pt x="647" y="1"/>
                    <a:pt x="6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0" name="Google Shape;11380;p60"/>
            <p:cNvSpPr/>
            <p:nvPr/>
          </p:nvSpPr>
          <p:spPr>
            <a:xfrm>
              <a:off x="6527099" y="4030191"/>
              <a:ext cx="23139" cy="22661"/>
            </a:xfrm>
            <a:custGeom>
              <a:avLst/>
              <a:gdLst/>
              <a:ahLst/>
              <a:cxnLst/>
              <a:rect l="l" t="t" r="r" b="b"/>
              <a:pathLst>
                <a:path w="727" h="712" extrusionOk="0">
                  <a:moveTo>
                    <a:pt x="183" y="1"/>
                  </a:moveTo>
                  <a:cubicBezTo>
                    <a:pt x="140" y="1"/>
                    <a:pt x="96" y="15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lnTo>
                    <a:pt x="429" y="664"/>
                  </a:lnTo>
                  <a:cubicBezTo>
                    <a:pt x="466" y="696"/>
                    <a:pt x="505" y="711"/>
                    <a:pt x="543" y="711"/>
                  </a:cubicBezTo>
                  <a:cubicBezTo>
                    <a:pt x="590" y="711"/>
                    <a:pt x="634" y="687"/>
                    <a:pt x="667" y="641"/>
                  </a:cubicBezTo>
                  <a:cubicBezTo>
                    <a:pt x="727" y="569"/>
                    <a:pt x="727" y="486"/>
                    <a:pt x="667" y="426"/>
                  </a:cubicBezTo>
                  <a:lnTo>
                    <a:pt x="298" y="45"/>
                  </a:lnTo>
                  <a:cubicBezTo>
                    <a:pt x="268" y="15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81" name="Google Shape;11381;p60"/>
          <p:cNvGrpSpPr/>
          <p:nvPr/>
        </p:nvGrpSpPr>
        <p:grpSpPr>
          <a:xfrm>
            <a:off x="5778676" y="3826972"/>
            <a:ext cx="349052" cy="313055"/>
            <a:chOff x="5778676" y="3826972"/>
            <a:chExt cx="349052" cy="313055"/>
          </a:xfrm>
        </p:grpSpPr>
        <p:sp>
          <p:nvSpPr>
            <p:cNvPr id="11382" name="Google Shape;11382;p60"/>
            <p:cNvSpPr/>
            <p:nvPr/>
          </p:nvSpPr>
          <p:spPr>
            <a:xfrm>
              <a:off x="5923045" y="3890659"/>
              <a:ext cx="27690" cy="48155"/>
            </a:xfrm>
            <a:custGeom>
              <a:avLst/>
              <a:gdLst/>
              <a:ahLst/>
              <a:cxnLst/>
              <a:rect l="l" t="t" r="r" b="b"/>
              <a:pathLst>
                <a:path w="870" h="1513" extrusionOk="0">
                  <a:moveTo>
                    <a:pt x="406" y="286"/>
                  </a:moveTo>
                  <a:lnTo>
                    <a:pt x="406" y="560"/>
                  </a:lnTo>
                  <a:cubicBezTo>
                    <a:pt x="299" y="524"/>
                    <a:pt x="251" y="488"/>
                    <a:pt x="251" y="417"/>
                  </a:cubicBezTo>
                  <a:cubicBezTo>
                    <a:pt x="251" y="345"/>
                    <a:pt x="334" y="298"/>
                    <a:pt x="406" y="286"/>
                  </a:cubicBezTo>
                  <a:close/>
                  <a:moveTo>
                    <a:pt x="513" y="845"/>
                  </a:moveTo>
                  <a:cubicBezTo>
                    <a:pt x="632" y="893"/>
                    <a:pt x="644" y="953"/>
                    <a:pt x="644" y="1012"/>
                  </a:cubicBezTo>
                  <a:cubicBezTo>
                    <a:pt x="644" y="1119"/>
                    <a:pt x="584" y="1155"/>
                    <a:pt x="513" y="1179"/>
                  </a:cubicBezTo>
                  <a:lnTo>
                    <a:pt x="513" y="845"/>
                  </a:lnTo>
                  <a:close/>
                  <a:moveTo>
                    <a:pt x="465" y="0"/>
                  </a:moveTo>
                  <a:cubicBezTo>
                    <a:pt x="441" y="0"/>
                    <a:pt x="406" y="12"/>
                    <a:pt x="406" y="48"/>
                  </a:cubicBezTo>
                  <a:lnTo>
                    <a:pt x="406" y="83"/>
                  </a:lnTo>
                  <a:cubicBezTo>
                    <a:pt x="179" y="119"/>
                    <a:pt x="48" y="238"/>
                    <a:pt x="48" y="441"/>
                  </a:cubicBezTo>
                  <a:cubicBezTo>
                    <a:pt x="48" y="667"/>
                    <a:pt x="215" y="738"/>
                    <a:pt x="406" y="810"/>
                  </a:cubicBezTo>
                  <a:lnTo>
                    <a:pt x="406" y="1191"/>
                  </a:lnTo>
                  <a:cubicBezTo>
                    <a:pt x="299" y="1167"/>
                    <a:pt x="251" y="1143"/>
                    <a:pt x="168" y="1072"/>
                  </a:cubicBezTo>
                  <a:cubicBezTo>
                    <a:pt x="149" y="1058"/>
                    <a:pt x="132" y="1051"/>
                    <a:pt x="116" y="1051"/>
                  </a:cubicBezTo>
                  <a:cubicBezTo>
                    <a:pt x="92" y="1051"/>
                    <a:pt x="70" y="1067"/>
                    <a:pt x="48" y="1095"/>
                  </a:cubicBezTo>
                  <a:cubicBezTo>
                    <a:pt x="1" y="1155"/>
                    <a:pt x="1" y="1215"/>
                    <a:pt x="48" y="1262"/>
                  </a:cubicBezTo>
                  <a:cubicBezTo>
                    <a:pt x="120" y="1357"/>
                    <a:pt x="275" y="1417"/>
                    <a:pt x="406" y="1417"/>
                  </a:cubicBezTo>
                  <a:lnTo>
                    <a:pt x="406" y="1476"/>
                  </a:lnTo>
                  <a:cubicBezTo>
                    <a:pt x="406" y="1500"/>
                    <a:pt x="441" y="1512"/>
                    <a:pt x="465" y="1512"/>
                  </a:cubicBezTo>
                  <a:cubicBezTo>
                    <a:pt x="501" y="1512"/>
                    <a:pt x="525" y="1500"/>
                    <a:pt x="525" y="1476"/>
                  </a:cubicBezTo>
                  <a:lnTo>
                    <a:pt x="525" y="1417"/>
                  </a:lnTo>
                  <a:cubicBezTo>
                    <a:pt x="715" y="1381"/>
                    <a:pt x="870" y="1262"/>
                    <a:pt x="870" y="1024"/>
                  </a:cubicBezTo>
                  <a:cubicBezTo>
                    <a:pt x="870" y="774"/>
                    <a:pt x="739" y="679"/>
                    <a:pt x="525" y="607"/>
                  </a:cubicBezTo>
                  <a:lnTo>
                    <a:pt x="525" y="286"/>
                  </a:lnTo>
                  <a:cubicBezTo>
                    <a:pt x="572" y="286"/>
                    <a:pt x="596" y="298"/>
                    <a:pt x="656" y="322"/>
                  </a:cubicBezTo>
                  <a:cubicBezTo>
                    <a:pt x="682" y="335"/>
                    <a:pt x="713" y="352"/>
                    <a:pt x="745" y="352"/>
                  </a:cubicBezTo>
                  <a:cubicBezTo>
                    <a:pt x="770" y="352"/>
                    <a:pt x="796" y="341"/>
                    <a:pt x="822" y="310"/>
                  </a:cubicBezTo>
                  <a:cubicBezTo>
                    <a:pt x="858" y="262"/>
                    <a:pt x="870" y="202"/>
                    <a:pt x="810" y="155"/>
                  </a:cubicBezTo>
                  <a:cubicBezTo>
                    <a:pt x="739" y="107"/>
                    <a:pt x="620" y="83"/>
                    <a:pt x="525" y="83"/>
                  </a:cubicBezTo>
                  <a:lnTo>
                    <a:pt x="525" y="48"/>
                  </a:lnTo>
                  <a:cubicBezTo>
                    <a:pt x="525" y="12"/>
                    <a:pt x="501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3" name="Google Shape;11383;p60"/>
            <p:cNvSpPr/>
            <p:nvPr/>
          </p:nvSpPr>
          <p:spPr>
            <a:xfrm>
              <a:off x="5976866" y="3843268"/>
              <a:ext cx="80364" cy="80364"/>
            </a:xfrm>
            <a:custGeom>
              <a:avLst/>
              <a:gdLst/>
              <a:ahLst/>
              <a:cxnLst/>
              <a:rect l="l" t="t" r="r" b="b"/>
              <a:pathLst>
                <a:path w="2525" h="2525" extrusionOk="0">
                  <a:moveTo>
                    <a:pt x="1263" y="310"/>
                  </a:moveTo>
                  <a:cubicBezTo>
                    <a:pt x="1786" y="310"/>
                    <a:pt x="2215" y="739"/>
                    <a:pt x="2215" y="1263"/>
                  </a:cubicBezTo>
                  <a:cubicBezTo>
                    <a:pt x="2215" y="1787"/>
                    <a:pt x="1798" y="2215"/>
                    <a:pt x="1263" y="2215"/>
                  </a:cubicBezTo>
                  <a:cubicBezTo>
                    <a:pt x="739" y="2215"/>
                    <a:pt x="310" y="1787"/>
                    <a:pt x="310" y="1263"/>
                  </a:cubicBezTo>
                  <a:cubicBezTo>
                    <a:pt x="310" y="739"/>
                    <a:pt x="739" y="310"/>
                    <a:pt x="1263" y="310"/>
                  </a:cubicBezTo>
                  <a:close/>
                  <a:moveTo>
                    <a:pt x="1263" y="1"/>
                  </a:moveTo>
                  <a:cubicBezTo>
                    <a:pt x="560" y="1"/>
                    <a:pt x="1" y="560"/>
                    <a:pt x="1" y="1263"/>
                  </a:cubicBezTo>
                  <a:cubicBezTo>
                    <a:pt x="1" y="1965"/>
                    <a:pt x="560" y="2525"/>
                    <a:pt x="1263" y="2525"/>
                  </a:cubicBezTo>
                  <a:cubicBezTo>
                    <a:pt x="1965" y="2525"/>
                    <a:pt x="2525" y="1965"/>
                    <a:pt x="2525" y="1263"/>
                  </a:cubicBezTo>
                  <a:cubicBezTo>
                    <a:pt x="2525" y="560"/>
                    <a:pt x="1965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4" name="Google Shape;11384;p60"/>
            <p:cNvSpPr/>
            <p:nvPr/>
          </p:nvSpPr>
          <p:spPr>
            <a:xfrm>
              <a:off x="5879473" y="3826972"/>
              <a:ext cx="193288" cy="144051"/>
            </a:xfrm>
            <a:custGeom>
              <a:avLst/>
              <a:gdLst/>
              <a:ahLst/>
              <a:cxnLst/>
              <a:rect l="l" t="t" r="r" b="b"/>
              <a:pathLst>
                <a:path w="6073" h="4526" extrusionOk="0">
                  <a:moveTo>
                    <a:pt x="1798" y="1775"/>
                  </a:moveTo>
                  <a:cubicBezTo>
                    <a:pt x="2132" y="1775"/>
                    <a:pt x="2430" y="1942"/>
                    <a:pt x="2596" y="2192"/>
                  </a:cubicBezTo>
                  <a:cubicBezTo>
                    <a:pt x="2620" y="2346"/>
                    <a:pt x="2680" y="2477"/>
                    <a:pt x="2739" y="2608"/>
                  </a:cubicBezTo>
                  <a:cubicBezTo>
                    <a:pt x="2739" y="2656"/>
                    <a:pt x="2751" y="2704"/>
                    <a:pt x="2751" y="2727"/>
                  </a:cubicBezTo>
                  <a:cubicBezTo>
                    <a:pt x="2751" y="3251"/>
                    <a:pt x="2322" y="3680"/>
                    <a:pt x="1798" y="3680"/>
                  </a:cubicBezTo>
                  <a:cubicBezTo>
                    <a:pt x="1287" y="3680"/>
                    <a:pt x="846" y="3251"/>
                    <a:pt x="846" y="2727"/>
                  </a:cubicBezTo>
                  <a:cubicBezTo>
                    <a:pt x="846" y="2203"/>
                    <a:pt x="1287" y="1775"/>
                    <a:pt x="1798" y="1775"/>
                  </a:cubicBezTo>
                  <a:close/>
                  <a:moveTo>
                    <a:pt x="1810" y="1251"/>
                  </a:moveTo>
                  <a:cubicBezTo>
                    <a:pt x="2072" y="1251"/>
                    <a:pt x="2334" y="1334"/>
                    <a:pt x="2560" y="1465"/>
                  </a:cubicBezTo>
                  <a:cubicBezTo>
                    <a:pt x="2549" y="1537"/>
                    <a:pt x="2549" y="1632"/>
                    <a:pt x="2537" y="1692"/>
                  </a:cubicBezTo>
                  <a:cubicBezTo>
                    <a:pt x="2322" y="1537"/>
                    <a:pt x="2072" y="1453"/>
                    <a:pt x="1787" y="1453"/>
                  </a:cubicBezTo>
                  <a:cubicBezTo>
                    <a:pt x="1084" y="1453"/>
                    <a:pt x="525" y="2013"/>
                    <a:pt x="525" y="2715"/>
                  </a:cubicBezTo>
                  <a:cubicBezTo>
                    <a:pt x="525" y="3418"/>
                    <a:pt x="1084" y="3978"/>
                    <a:pt x="1787" y="3978"/>
                  </a:cubicBezTo>
                  <a:cubicBezTo>
                    <a:pt x="2382" y="3978"/>
                    <a:pt x="2894" y="3561"/>
                    <a:pt x="3025" y="3001"/>
                  </a:cubicBezTo>
                  <a:lnTo>
                    <a:pt x="3192" y="3156"/>
                  </a:lnTo>
                  <a:cubicBezTo>
                    <a:pt x="3025" y="3775"/>
                    <a:pt x="2465" y="4204"/>
                    <a:pt x="1810" y="4204"/>
                  </a:cubicBezTo>
                  <a:cubicBezTo>
                    <a:pt x="1001" y="4204"/>
                    <a:pt x="334" y="3549"/>
                    <a:pt x="334" y="2727"/>
                  </a:cubicBezTo>
                  <a:cubicBezTo>
                    <a:pt x="334" y="1906"/>
                    <a:pt x="989" y="1251"/>
                    <a:pt x="1810" y="1251"/>
                  </a:cubicBezTo>
                  <a:close/>
                  <a:moveTo>
                    <a:pt x="4299" y="1"/>
                  </a:moveTo>
                  <a:cubicBezTo>
                    <a:pt x="3549" y="1"/>
                    <a:pt x="2894" y="501"/>
                    <a:pt x="2632" y="1168"/>
                  </a:cubicBezTo>
                  <a:cubicBezTo>
                    <a:pt x="2382" y="1037"/>
                    <a:pt x="2084" y="953"/>
                    <a:pt x="1787" y="953"/>
                  </a:cubicBezTo>
                  <a:cubicBezTo>
                    <a:pt x="810" y="953"/>
                    <a:pt x="1" y="1763"/>
                    <a:pt x="1" y="2739"/>
                  </a:cubicBezTo>
                  <a:cubicBezTo>
                    <a:pt x="1" y="3727"/>
                    <a:pt x="810" y="4525"/>
                    <a:pt x="1787" y="4525"/>
                  </a:cubicBezTo>
                  <a:cubicBezTo>
                    <a:pt x="2549" y="4525"/>
                    <a:pt x="3203" y="4049"/>
                    <a:pt x="3453" y="3370"/>
                  </a:cubicBezTo>
                  <a:cubicBezTo>
                    <a:pt x="3703" y="3501"/>
                    <a:pt x="3989" y="3573"/>
                    <a:pt x="4299" y="3573"/>
                  </a:cubicBezTo>
                  <a:cubicBezTo>
                    <a:pt x="4704" y="3573"/>
                    <a:pt x="5108" y="3442"/>
                    <a:pt x="5418" y="3192"/>
                  </a:cubicBezTo>
                  <a:cubicBezTo>
                    <a:pt x="5728" y="2942"/>
                    <a:pt x="5954" y="2596"/>
                    <a:pt x="6049" y="2203"/>
                  </a:cubicBezTo>
                  <a:cubicBezTo>
                    <a:pt x="6073" y="2108"/>
                    <a:pt x="6037" y="2013"/>
                    <a:pt x="5942" y="2001"/>
                  </a:cubicBezTo>
                  <a:cubicBezTo>
                    <a:pt x="5932" y="2000"/>
                    <a:pt x="5921" y="1999"/>
                    <a:pt x="5911" y="1999"/>
                  </a:cubicBezTo>
                  <a:cubicBezTo>
                    <a:pt x="5839" y="1999"/>
                    <a:pt x="5772" y="2037"/>
                    <a:pt x="5751" y="2120"/>
                  </a:cubicBezTo>
                  <a:cubicBezTo>
                    <a:pt x="5597" y="2787"/>
                    <a:pt x="5001" y="3251"/>
                    <a:pt x="4323" y="3251"/>
                  </a:cubicBezTo>
                  <a:cubicBezTo>
                    <a:pt x="3787" y="3251"/>
                    <a:pt x="3311" y="2965"/>
                    <a:pt x="3037" y="2501"/>
                  </a:cubicBezTo>
                  <a:cubicBezTo>
                    <a:pt x="3013" y="2358"/>
                    <a:pt x="2953" y="2203"/>
                    <a:pt x="2882" y="2084"/>
                  </a:cubicBezTo>
                  <a:cubicBezTo>
                    <a:pt x="2680" y="1180"/>
                    <a:pt x="3382" y="322"/>
                    <a:pt x="4311" y="322"/>
                  </a:cubicBezTo>
                  <a:cubicBezTo>
                    <a:pt x="4989" y="322"/>
                    <a:pt x="5585" y="775"/>
                    <a:pt x="5739" y="1453"/>
                  </a:cubicBezTo>
                  <a:cubicBezTo>
                    <a:pt x="5750" y="1528"/>
                    <a:pt x="5818" y="1574"/>
                    <a:pt x="5901" y="1574"/>
                  </a:cubicBezTo>
                  <a:cubicBezTo>
                    <a:pt x="5911" y="1574"/>
                    <a:pt x="5920" y="1574"/>
                    <a:pt x="5930" y="1572"/>
                  </a:cubicBezTo>
                  <a:cubicBezTo>
                    <a:pt x="6013" y="1549"/>
                    <a:pt x="6061" y="1465"/>
                    <a:pt x="6049" y="1370"/>
                  </a:cubicBezTo>
                  <a:cubicBezTo>
                    <a:pt x="5954" y="989"/>
                    <a:pt x="5739" y="644"/>
                    <a:pt x="5418" y="394"/>
                  </a:cubicBezTo>
                  <a:cubicBezTo>
                    <a:pt x="5108" y="144"/>
                    <a:pt x="4704" y="1"/>
                    <a:pt x="4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5" name="Google Shape;11385;p60"/>
            <p:cNvSpPr/>
            <p:nvPr/>
          </p:nvSpPr>
          <p:spPr>
            <a:xfrm>
              <a:off x="6003760" y="3859946"/>
              <a:ext cx="26958" cy="47773"/>
            </a:xfrm>
            <a:custGeom>
              <a:avLst/>
              <a:gdLst/>
              <a:ahLst/>
              <a:cxnLst/>
              <a:rect l="l" t="t" r="r" b="b"/>
              <a:pathLst>
                <a:path w="847" h="1501" extrusionOk="0">
                  <a:moveTo>
                    <a:pt x="382" y="298"/>
                  </a:moveTo>
                  <a:lnTo>
                    <a:pt x="382" y="572"/>
                  </a:lnTo>
                  <a:cubicBezTo>
                    <a:pt x="287" y="536"/>
                    <a:pt x="239" y="501"/>
                    <a:pt x="239" y="429"/>
                  </a:cubicBezTo>
                  <a:cubicBezTo>
                    <a:pt x="239" y="358"/>
                    <a:pt x="310" y="310"/>
                    <a:pt x="382" y="298"/>
                  </a:cubicBezTo>
                  <a:close/>
                  <a:moveTo>
                    <a:pt x="489" y="870"/>
                  </a:moveTo>
                  <a:cubicBezTo>
                    <a:pt x="608" y="917"/>
                    <a:pt x="620" y="977"/>
                    <a:pt x="620" y="1037"/>
                  </a:cubicBezTo>
                  <a:cubicBezTo>
                    <a:pt x="620" y="1132"/>
                    <a:pt x="560" y="1167"/>
                    <a:pt x="489" y="1203"/>
                  </a:cubicBezTo>
                  <a:lnTo>
                    <a:pt x="489" y="870"/>
                  </a:lnTo>
                  <a:close/>
                  <a:moveTo>
                    <a:pt x="441" y="1"/>
                  </a:moveTo>
                  <a:cubicBezTo>
                    <a:pt x="418" y="1"/>
                    <a:pt x="382" y="13"/>
                    <a:pt x="382" y="36"/>
                  </a:cubicBezTo>
                  <a:lnTo>
                    <a:pt x="382" y="84"/>
                  </a:lnTo>
                  <a:cubicBezTo>
                    <a:pt x="156" y="120"/>
                    <a:pt x="25" y="239"/>
                    <a:pt x="25" y="441"/>
                  </a:cubicBezTo>
                  <a:cubicBezTo>
                    <a:pt x="25" y="679"/>
                    <a:pt x="203" y="739"/>
                    <a:pt x="382" y="810"/>
                  </a:cubicBezTo>
                  <a:lnTo>
                    <a:pt x="382" y="1191"/>
                  </a:lnTo>
                  <a:cubicBezTo>
                    <a:pt x="275" y="1167"/>
                    <a:pt x="239" y="1132"/>
                    <a:pt x="144" y="1072"/>
                  </a:cubicBezTo>
                  <a:cubicBezTo>
                    <a:pt x="125" y="1059"/>
                    <a:pt x="108" y="1053"/>
                    <a:pt x="92" y="1053"/>
                  </a:cubicBezTo>
                  <a:cubicBezTo>
                    <a:pt x="37" y="1053"/>
                    <a:pt x="1" y="1121"/>
                    <a:pt x="1" y="1167"/>
                  </a:cubicBezTo>
                  <a:cubicBezTo>
                    <a:pt x="1" y="1203"/>
                    <a:pt x="13" y="1227"/>
                    <a:pt x="25" y="1251"/>
                  </a:cubicBezTo>
                  <a:cubicBezTo>
                    <a:pt x="96" y="1346"/>
                    <a:pt x="251" y="1394"/>
                    <a:pt x="382" y="1394"/>
                  </a:cubicBezTo>
                  <a:lnTo>
                    <a:pt x="382" y="1453"/>
                  </a:lnTo>
                  <a:cubicBezTo>
                    <a:pt x="382" y="1489"/>
                    <a:pt x="418" y="1501"/>
                    <a:pt x="441" y="1501"/>
                  </a:cubicBezTo>
                  <a:cubicBezTo>
                    <a:pt x="477" y="1501"/>
                    <a:pt x="501" y="1489"/>
                    <a:pt x="501" y="1453"/>
                  </a:cubicBezTo>
                  <a:lnTo>
                    <a:pt x="501" y="1394"/>
                  </a:lnTo>
                  <a:cubicBezTo>
                    <a:pt x="703" y="1370"/>
                    <a:pt x="846" y="1251"/>
                    <a:pt x="846" y="1013"/>
                  </a:cubicBezTo>
                  <a:cubicBezTo>
                    <a:pt x="846" y="786"/>
                    <a:pt x="691" y="691"/>
                    <a:pt x="501" y="620"/>
                  </a:cubicBezTo>
                  <a:lnTo>
                    <a:pt x="501" y="298"/>
                  </a:lnTo>
                  <a:cubicBezTo>
                    <a:pt x="584" y="298"/>
                    <a:pt x="608" y="310"/>
                    <a:pt x="680" y="358"/>
                  </a:cubicBezTo>
                  <a:cubicBezTo>
                    <a:pt x="694" y="362"/>
                    <a:pt x="709" y="364"/>
                    <a:pt x="723" y="364"/>
                  </a:cubicBezTo>
                  <a:cubicBezTo>
                    <a:pt x="754" y="364"/>
                    <a:pt x="782" y="351"/>
                    <a:pt x="799" y="310"/>
                  </a:cubicBezTo>
                  <a:cubicBezTo>
                    <a:pt x="834" y="263"/>
                    <a:pt x="846" y="203"/>
                    <a:pt x="787" y="155"/>
                  </a:cubicBezTo>
                  <a:cubicBezTo>
                    <a:pt x="715" y="96"/>
                    <a:pt x="596" y="84"/>
                    <a:pt x="501" y="84"/>
                  </a:cubicBezTo>
                  <a:lnTo>
                    <a:pt x="501" y="36"/>
                  </a:lnTo>
                  <a:cubicBezTo>
                    <a:pt x="501" y="13"/>
                    <a:pt x="477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6" name="Google Shape;11386;p60"/>
            <p:cNvSpPr/>
            <p:nvPr/>
          </p:nvSpPr>
          <p:spPr>
            <a:xfrm>
              <a:off x="5778676" y="3939865"/>
              <a:ext cx="349052" cy="200163"/>
            </a:xfrm>
            <a:custGeom>
              <a:avLst/>
              <a:gdLst/>
              <a:ahLst/>
              <a:cxnLst/>
              <a:rect l="l" t="t" r="r" b="b"/>
              <a:pathLst>
                <a:path w="10967" h="6289" extrusionOk="0">
                  <a:moveTo>
                    <a:pt x="3483" y="1855"/>
                  </a:moveTo>
                  <a:cubicBezTo>
                    <a:pt x="3500" y="1855"/>
                    <a:pt x="3513" y="1868"/>
                    <a:pt x="3513" y="1895"/>
                  </a:cubicBezTo>
                  <a:cubicBezTo>
                    <a:pt x="3584" y="2074"/>
                    <a:pt x="4573" y="4693"/>
                    <a:pt x="4620" y="4776"/>
                  </a:cubicBezTo>
                  <a:cubicBezTo>
                    <a:pt x="4632" y="4788"/>
                    <a:pt x="4620" y="4824"/>
                    <a:pt x="4584" y="4824"/>
                  </a:cubicBezTo>
                  <a:lnTo>
                    <a:pt x="3882" y="5086"/>
                  </a:lnTo>
                  <a:cubicBezTo>
                    <a:pt x="3846" y="4955"/>
                    <a:pt x="2846" y="2300"/>
                    <a:pt x="2775" y="2133"/>
                  </a:cubicBezTo>
                  <a:lnTo>
                    <a:pt x="3465" y="1859"/>
                  </a:lnTo>
                  <a:cubicBezTo>
                    <a:pt x="3471" y="1856"/>
                    <a:pt x="3477" y="1855"/>
                    <a:pt x="3483" y="1855"/>
                  </a:cubicBezTo>
                  <a:close/>
                  <a:moveTo>
                    <a:pt x="2477" y="2228"/>
                  </a:moveTo>
                  <a:lnTo>
                    <a:pt x="3584" y="5193"/>
                  </a:lnTo>
                  <a:cubicBezTo>
                    <a:pt x="3072" y="5407"/>
                    <a:pt x="1739" y="5907"/>
                    <a:pt x="1513" y="6003"/>
                  </a:cubicBezTo>
                  <a:cubicBezTo>
                    <a:pt x="1507" y="6005"/>
                    <a:pt x="1500" y="6007"/>
                    <a:pt x="1493" y="6007"/>
                  </a:cubicBezTo>
                  <a:cubicBezTo>
                    <a:pt x="1468" y="6007"/>
                    <a:pt x="1438" y="5991"/>
                    <a:pt x="1429" y="5955"/>
                  </a:cubicBezTo>
                  <a:lnTo>
                    <a:pt x="358" y="3109"/>
                  </a:lnTo>
                  <a:cubicBezTo>
                    <a:pt x="346" y="3086"/>
                    <a:pt x="358" y="3038"/>
                    <a:pt x="405" y="3026"/>
                  </a:cubicBezTo>
                  <a:cubicBezTo>
                    <a:pt x="1072" y="2764"/>
                    <a:pt x="2013" y="2407"/>
                    <a:pt x="2477" y="2228"/>
                  </a:cubicBezTo>
                  <a:close/>
                  <a:moveTo>
                    <a:pt x="10060" y="0"/>
                  </a:moveTo>
                  <a:cubicBezTo>
                    <a:pt x="9818" y="0"/>
                    <a:pt x="9583" y="125"/>
                    <a:pt x="9407" y="288"/>
                  </a:cubicBezTo>
                  <a:lnTo>
                    <a:pt x="7728" y="1681"/>
                  </a:lnTo>
                  <a:cubicBezTo>
                    <a:pt x="7632" y="1478"/>
                    <a:pt x="7430" y="1264"/>
                    <a:pt x="7061" y="1264"/>
                  </a:cubicBezTo>
                  <a:cubicBezTo>
                    <a:pt x="6668" y="1264"/>
                    <a:pt x="6361" y="1262"/>
                    <a:pt x="6115" y="1262"/>
                  </a:cubicBezTo>
                  <a:cubicBezTo>
                    <a:pt x="5377" y="1262"/>
                    <a:pt x="5192" y="1276"/>
                    <a:pt x="4906" y="1383"/>
                  </a:cubicBezTo>
                  <a:lnTo>
                    <a:pt x="3834" y="1835"/>
                  </a:lnTo>
                  <a:lnTo>
                    <a:pt x="3822" y="1788"/>
                  </a:lnTo>
                  <a:cubicBezTo>
                    <a:pt x="3766" y="1647"/>
                    <a:pt x="3637" y="1551"/>
                    <a:pt x="3491" y="1551"/>
                  </a:cubicBezTo>
                  <a:cubicBezTo>
                    <a:pt x="3451" y="1551"/>
                    <a:pt x="3411" y="1558"/>
                    <a:pt x="3370" y="1574"/>
                  </a:cubicBezTo>
                  <a:lnTo>
                    <a:pt x="2560" y="1871"/>
                  </a:lnTo>
                  <a:cubicBezTo>
                    <a:pt x="2203" y="2014"/>
                    <a:pt x="1084" y="2431"/>
                    <a:pt x="298" y="2728"/>
                  </a:cubicBezTo>
                  <a:cubicBezTo>
                    <a:pt x="108" y="2800"/>
                    <a:pt x="1" y="3026"/>
                    <a:pt x="72" y="3217"/>
                  </a:cubicBezTo>
                  <a:lnTo>
                    <a:pt x="1144" y="6038"/>
                  </a:lnTo>
                  <a:cubicBezTo>
                    <a:pt x="1199" y="6196"/>
                    <a:pt x="1348" y="6288"/>
                    <a:pt x="1501" y="6288"/>
                  </a:cubicBezTo>
                  <a:cubicBezTo>
                    <a:pt x="1545" y="6288"/>
                    <a:pt x="1589" y="6281"/>
                    <a:pt x="1632" y="6265"/>
                  </a:cubicBezTo>
                  <a:cubicBezTo>
                    <a:pt x="1870" y="6181"/>
                    <a:pt x="3501" y="5562"/>
                    <a:pt x="3858" y="5431"/>
                  </a:cubicBezTo>
                  <a:lnTo>
                    <a:pt x="4704" y="5122"/>
                  </a:lnTo>
                  <a:cubicBezTo>
                    <a:pt x="4882" y="5050"/>
                    <a:pt x="4989" y="4848"/>
                    <a:pt x="4918" y="4657"/>
                  </a:cubicBezTo>
                  <a:lnTo>
                    <a:pt x="4894" y="4622"/>
                  </a:lnTo>
                  <a:cubicBezTo>
                    <a:pt x="5454" y="4383"/>
                    <a:pt x="5466" y="4360"/>
                    <a:pt x="6049" y="4360"/>
                  </a:cubicBezTo>
                  <a:cubicBezTo>
                    <a:pt x="6132" y="4360"/>
                    <a:pt x="6204" y="4288"/>
                    <a:pt x="6204" y="4193"/>
                  </a:cubicBezTo>
                  <a:cubicBezTo>
                    <a:pt x="6204" y="4110"/>
                    <a:pt x="6132" y="4026"/>
                    <a:pt x="6049" y="4026"/>
                  </a:cubicBezTo>
                  <a:cubicBezTo>
                    <a:pt x="5418" y="4026"/>
                    <a:pt x="5358" y="4074"/>
                    <a:pt x="4799" y="4312"/>
                  </a:cubicBezTo>
                  <a:lnTo>
                    <a:pt x="3965" y="2097"/>
                  </a:lnTo>
                  <a:lnTo>
                    <a:pt x="5037" y="1645"/>
                  </a:lnTo>
                  <a:cubicBezTo>
                    <a:pt x="5251" y="1571"/>
                    <a:pt x="5403" y="1559"/>
                    <a:pt x="5989" y="1559"/>
                  </a:cubicBezTo>
                  <a:cubicBezTo>
                    <a:pt x="6250" y="1559"/>
                    <a:pt x="6597" y="1562"/>
                    <a:pt x="7073" y="1562"/>
                  </a:cubicBezTo>
                  <a:cubicBezTo>
                    <a:pt x="7240" y="1562"/>
                    <a:pt x="7359" y="1621"/>
                    <a:pt x="7430" y="1740"/>
                  </a:cubicBezTo>
                  <a:cubicBezTo>
                    <a:pt x="7478" y="1835"/>
                    <a:pt x="7490" y="1919"/>
                    <a:pt x="7502" y="1931"/>
                  </a:cubicBezTo>
                  <a:cubicBezTo>
                    <a:pt x="7502" y="1990"/>
                    <a:pt x="7454" y="2276"/>
                    <a:pt x="7180" y="2336"/>
                  </a:cubicBezTo>
                  <a:cubicBezTo>
                    <a:pt x="6740" y="2407"/>
                    <a:pt x="5823" y="2538"/>
                    <a:pt x="5811" y="2538"/>
                  </a:cubicBezTo>
                  <a:cubicBezTo>
                    <a:pt x="5716" y="2562"/>
                    <a:pt x="5656" y="2633"/>
                    <a:pt x="5668" y="2728"/>
                  </a:cubicBezTo>
                  <a:cubicBezTo>
                    <a:pt x="5692" y="2800"/>
                    <a:pt x="5751" y="2859"/>
                    <a:pt x="5823" y="2859"/>
                  </a:cubicBezTo>
                  <a:lnTo>
                    <a:pt x="5847" y="2859"/>
                  </a:lnTo>
                  <a:cubicBezTo>
                    <a:pt x="5870" y="2859"/>
                    <a:pt x="6787" y="2728"/>
                    <a:pt x="7240" y="2645"/>
                  </a:cubicBezTo>
                  <a:cubicBezTo>
                    <a:pt x="7632" y="2574"/>
                    <a:pt x="7787" y="2240"/>
                    <a:pt x="7811" y="2026"/>
                  </a:cubicBezTo>
                  <a:lnTo>
                    <a:pt x="9633" y="514"/>
                  </a:lnTo>
                  <a:cubicBezTo>
                    <a:pt x="9747" y="415"/>
                    <a:pt x="9895" y="311"/>
                    <a:pt x="10058" y="311"/>
                  </a:cubicBezTo>
                  <a:cubicBezTo>
                    <a:pt x="10151" y="311"/>
                    <a:pt x="10248" y="344"/>
                    <a:pt x="10347" y="431"/>
                  </a:cubicBezTo>
                  <a:cubicBezTo>
                    <a:pt x="10645" y="728"/>
                    <a:pt x="10371" y="1073"/>
                    <a:pt x="10299" y="1145"/>
                  </a:cubicBezTo>
                  <a:cubicBezTo>
                    <a:pt x="10228" y="1216"/>
                    <a:pt x="8013" y="3609"/>
                    <a:pt x="8013" y="3609"/>
                  </a:cubicBezTo>
                  <a:cubicBezTo>
                    <a:pt x="7680" y="3990"/>
                    <a:pt x="7251" y="4050"/>
                    <a:pt x="7073" y="4062"/>
                  </a:cubicBezTo>
                  <a:lnTo>
                    <a:pt x="6787" y="4062"/>
                  </a:lnTo>
                  <a:cubicBezTo>
                    <a:pt x="6704" y="4062"/>
                    <a:pt x="6620" y="4133"/>
                    <a:pt x="6620" y="4229"/>
                  </a:cubicBezTo>
                  <a:cubicBezTo>
                    <a:pt x="6620" y="4312"/>
                    <a:pt x="6704" y="4383"/>
                    <a:pt x="6787" y="4383"/>
                  </a:cubicBezTo>
                  <a:lnTo>
                    <a:pt x="7097" y="4383"/>
                  </a:lnTo>
                  <a:cubicBezTo>
                    <a:pt x="7311" y="4371"/>
                    <a:pt x="7859" y="4300"/>
                    <a:pt x="8264" y="3836"/>
                  </a:cubicBezTo>
                  <a:lnTo>
                    <a:pt x="10550" y="1371"/>
                  </a:lnTo>
                  <a:cubicBezTo>
                    <a:pt x="10728" y="1121"/>
                    <a:pt x="10966" y="621"/>
                    <a:pt x="10550" y="204"/>
                  </a:cubicBezTo>
                  <a:cubicBezTo>
                    <a:pt x="10395" y="59"/>
                    <a:pt x="10226" y="0"/>
                    <a:pt x="10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87" name="Google Shape;11387;p60"/>
          <p:cNvGrpSpPr/>
          <p:nvPr/>
        </p:nvGrpSpPr>
        <p:grpSpPr>
          <a:xfrm>
            <a:off x="5355784" y="3834547"/>
            <a:ext cx="299019" cy="297905"/>
            <a:chOff x="5355784" y="3834547"/>
            <a:chExt cx="299019" cy="297905"/>
          </a:xfrm>
        </p:grpSpPr>
        <p:sp>
          <p:nvSpPr>
            <p:cNvPr id="11388" name="Google Shape;11388;p60"/>
            <p:cNvSpPr/>
            <p:nvPr/>
          </p:nvSpPr>
          <p:spPr>
            <a:xfrm>
              <a:off x="5355784" y="3834547"/>
              <a:ext cx="299019" cy="297905"/>
            </a:xfrm>
            <a:custGeom>
              <a:avLst/>
              <a:gdLst/>
              <a:ahLst/>
              <a:cxnLst/>
              <a:rect l="l" t="t" r="r" b="b"/>
              <a:pathLst>
                <a:path w="9395" h="9360" extrusionOk="0">
                  <a:moveTo>
                    <a:pt x="3572" y="5454"/>
                  </a:moveTo>
                  <a:cubicBezTo>
                    <a:pt x="3679" y="5573"/>
                    <a:pt x="3786" y="5704"/>
                    <a:pt x="3929" y="5811"/>
                  </a:cubicBezTo>
                  <a:lnTo>
                    <a:pt x="3405" y="6335"/>
                  </a:lnTo>
                  <a:cubicBezTo>
                    <a:pt x="3393" y="6311"/>
                    <a:pt x="3393" y="6299"/>
                    <a:pt x="3382" y="6287"/>
                  </a:cubicBezTo>
                  <a:lnTo>
                    <a:pt x="3096" y="6002"/>
                  </a:lnTo>
                  <a:cubicBezTo>
                    <a:pt x="3084" y="5990"/>
                    <a:pt x="3060" y="5978"/>
                    <a:pt x="3048" y="5978"/>
                  </a:cubicBezTo>
                  <a:lnTo>
                    <a:pt x="3572" y="5454"/>
                  </a:lnTo>
                  <a:close/>
                  <a:moveTo>
                    <a:pt x="2748" y="6109"/>
                  </a:moveTo>
                  <a:cubicBezTo>
                    <a:pt x="2804" y="6109"/>
                    <a:pt x="2858" y="6133"/>
                    <a:pt x="2893" y="6180"/>
                  </a:cubicBezTo>
                  <a:lnTo>
                    <a:pt x="3179" y="6466"/>
                  </a:lnTo>
                  <a:cubicBezTo>
                    <a:pt x="3274" y="6573"/>
                    <a:pt x="3274" y="6704"/>
                    <a:pt x="3191" y="6788"/>
                  </a:cubicBezTo>
                  <a:lnTo>
                    <a:pt x="3036" y="6954"/>
                  </a:lnTo>
                  <a:lnTo>
                    <a:pt x="2429" y="6347"/>
                  </a:lnTo>
                  <a:lnTo>
                    <a:pt x="2584" y="6180"/>
                  </a:lnTo>
                  <a:cubicBezTo>
                    <a:pt x="2631" y="6133"/>
                    <a:pt x="2691" y="6109"/>
                    <a:pt x="2748" y="6109"/>
                  </a:cubicBezTo>
                  <a:close/>
                  <a:moveTo>
                    <a:pt x="2215" y="6549"/>
                  </a:moveTo>
                  <a:lnTo>
                    <a:pt x="2822" y="7169"/>
                  </a:lnTo>
                  <a:lnTo>
                    <a:pt x="965" y="9026"/>
                  </a:lnTo>
                  <a:cubicBezTo>
                    <a:pt x="923" y="9068"/>
                    <a:pt x="866" y="9088"/>
                    <a:pt x="810" y="9088"/>
                  </a:cubicBezTo>
                  <a:cubicBezTo>
                    <a:pt x="753" y="9088"/>
                    <a:pt x="697" y="9068"/>
                    <a:pt x="655" y="9026"/>
                  </a:cubicBezTo>
                  <a:lnTo>
                    <a:pt x="369" y="8740"/>
                  </a:lnTo>
                  <a:cubicBezTo>
                    <a:pt x="262" y="8657"/>
                    <a:pt x="262" y="8502"/>
                    <a:pt x="357" y="8419"/>
                  </a:cubicBezTo>
                  <a:lnTo>
                    <a:pt x="2215" y="6549"/>
                  </a:lnTo>
                  <a:close/>
                  <a:moveTo>
                    <a:pt x="6096" y="1"/>
                  </a:moveTo>
                  <a:cubicBezTo>
                    <a:pt x="3417" y="1"/>
                    <a:pt x="1869" y="3061"/>
                    <a:pt x="3441" y="5216"/>
                  </a:cubicBezTo>
                  <a:lnTo>
                    <a:pt x="2810" y="5835"/>
                  </a:lnTo>
                  <a:cubicBezTo>
                    <a:pt x="2798" y="5834"/>
                    <a:pt x="2786" y="5834"/>
                    <a:pt x="2774" y="5834"/>
                  </a:cubicBezTo>
                  <a:cubicBezTo>
                    <a:pt x="2643" y="5834"/>
                    <a:pt x="2516" y="5892"/>
                    <a:pt x="2429" y="5990"/>
                  </a:cubicBezTo>
                  <a:lnTo>
                    <a:pt x="191" y="8216"/>
                  </a:lnTo>
                  <a:cubicBezTo>
                    <a:pt x="0" y="8419"/>
                    <a:pt x="0" y="8728"/>
                    <a:pt x="191" y="8919"/>
                  </a:cubicBezTo>
                  <a:lnTo>
                    <a:pt x="465" y="9216"/>
                  </a:lnTo>
                  <a:cubicBezTo>
                    <a:pt x="560" y="9312"/>
                    <a:pt x="685" y="9359"/>
                    <a:pt x="810" y="9359"/>
                  </a:cubicBezTo>
                  <a:cubicBezTo>
                    <a:pt x="935" y="9359"/>
                    <a:pt x="1060" y="9312"/>
                    <a:pt x="1155" y="9216"/>
                  </a:cubicBezTo>
                  <a:lnTo>
                    <a:pt x="3120" y="7252"/>
                  </a:lnTo>
                  <a:lnTo>
                    <a:pt x="3393" y="6990"/>
                  </a:lnTo>
                  <a:cubicBezTo>
                    <a:pt x="3501" y="6883"/>
                    <a:pt x="3536" y="6752"/>
                    <a:pt x="3536" y="6597"/>
                  </a:cubicBezTo>
                  <a:lnTo>
                    <a:pt x="4167" y="5978"/>
                  </a:lnTo>
                  <a:cubicBezTo>
                    <a:pt x="4632" y="6299"/>
                    <a:pt x="5179" y="6526"/>
                    <a:pt x="5763" y="6573"/>
                  </a:cubicBezTo>
                  <a:lnTo>
                    <a:pt x="5775" y="6573"/>
                  </a:lnTo>
                  <a:cubicBezTo>
                    <a:pt x="5846" y="6573"/>
                    <a:pt x="5906" y="6514"/>
                    <a:pt x="5906" y="6454"/>
                  </a:cubicBezTo>
                  <a:cubicBezTo>
                    <a:pt x="5918" y="6371"/>
                    <a:pt x="5858" y="6299"/>
                    <a:pt x="5787" y="6299"/>
                  </a:cubicBezTo>
                  <a:cubicBezTo>
                    <a:pt x="5191" y="6240"/>
                    <a:pt x="4644" y="6002"/>
                    <a:pt x="4191" y="5645"/>
                  </a:cubicBezTo>
                  <a:cubicBezTo>
                    <a:pt x="1977" y="3847"/>
                    <a:pt x="3286" y="287"/>
                    <a:pt x="6096" y="287"/>
                  </a:cubicBezTo>
                  <a:cubicBezTo>
                    <a:pt x="7680" y="287"/>
                    <a:pt x="8942" y="1489"/>
                    <a:pt x="9108" y="3001"/>
                  </a:cubicBezTo>
                  <a:cubicBezTo>
                    <a:pt x="9119" y="3067"/>
                    <a:pt x="9170" y="3122"/>
                    <a:pt x="9233" y="3122"/>
                  </a:cubicBezTo>
                  <a:cubicBezTo>
                    <a:pt x="9239" y="3122"/>
                    <a:pt x="9245" y="3121"/>
                    <a:pt x="9251" y="3120"/>
                  </a:cubicBezTo>
                  <a:cubicBezTo>
                    <a:pt x="9335" y="3097"/>
                    <a:pt x="9394" y="3037"/>
                    <a:pt x="9370" y="2966"/>
                  </a:cubicBezTo>
                  <a:cubicBezTo>
                    <a:pt x="9216" y="1334"/>
                    <a:pt x="7823" y="1"/>
                    <a:pt x="6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9" name="Google Shape;11389;p60"/>
            <p:cNvSpPr/>
            <p:nvPr/>
          </p:nvSpPr>
          <p:spPr>
            <a:xfrm>
              <a:off x="5455054" y="3854280"/>
              <a:ext cx="179666" cy="171296"/>
            </a:xfrm>
            <a:custGeom>
              <a:avLst/>
              <a:gdLst/>
              <a:ahLst/>
              <a:cxnLst/>
              <a:rect l="l" t="t" r="r" b="b"/>
              <a:pathLst>
                <a:path w="5645" h="5382" extrusionOk="0">
                  <a:moveTo>
                    <a:pt x="2953" y="274"/>
                  </a:moveTo>
                  <a:cubicBezTo>
                    <a:pt x="4275" y="274"/>
                    <a:pt x="5358" y="1345"/>
                    <a:pt x="5358" y="2691"/>
                  </a:cubicBezTo>
                  <a:cubicBezTo>
                    <a:pt x="5358" y="4024"/>
                    <a:pt x="4275" y="5096"/>
                    <a:pt x="2953" y="5096"/>
                  </a:cubicBezTo>
                  <a:cubicBezTo>
                    <a:pt x="2322" y="5096"/>
                    <a:pt x="1715" y="4858"/>
                    <a:pt x="1239" y="4405"/>
                  </a:cubicBezTo>
                  <a:cubicBezTo>
                    <a:pt x="298" y="3465"/>
                    <a:pt x="298" y="1929"/>
                    <a:pt x="1239" y="976"/>
                  </a:cubicBezTo>
                  <a:cubicBezTo>
                    <a:pt x="1715" y="500"/>
                    <a:pt x="2322" y="274"/>
                    <a:pt x="2953" y="274"/>
                  </a:cubicBezTo>
                  <a:close/>
                  <a:moveTo>
                    <a:pt x="2958" y="0"/>
                  </a:moveTo>
                  <a:cubicBezTo>
                    <a:pt x="2269" y="0"/>
                    <a:pt x="1578" y="262"/>
                    <a:pt x="1048" y="786"/>
                  </a:cubicBezTo>
                  <a:cubicBezTo>
                    <a:pt x="1" y="1822"/>
                    <a:pt x="1" y="3536"/>
                    <a:pt x="1048" y="4596"/>
                  </a:cubicBezTo>
                  <a:cubicBezTo>
                    <a:pt x="1572" y="5120"/>
                    <a:pt x="2263" y="5382"/>
                    <a:pt x="2953" y="5382"/>
                  </a:cubicBezTo>
                  <a:cubicBezTo>
                    <a:pt x="4430" y="5370"/>
                    <a:pt x="5644" y="4179"/>
                    <a:pt x="5644" y="2691"/>
                  </a:cubicBezTo>
                  <a:cubicBezTo>
                    <a:pt x="5644" y="1977"/>
                    <a:pt x="5358" y="1286"/>
                    <a:pt x="4858" y="786"/>
                  </a:cubicBezTo>
                  <a:cubicBezTo>
                    <a:pt x="4335" y="262"/>
                    <a:pt x="3647" y="0"/>
                    <a:pt x="29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0" name="Google Shape;11390;p60"/>
            <p:cNvSpPr/>
            <p:nvPr/>
          </p:nvSpPr>
          <p:spPr>
            <a:xfrm>
              <a:off x="5508110" y="3886490"/>
              <a:ext cx="81510" cy="99302"/>
            </a:xfrm>
            <a:custGeom>
              <a:avLst/>
              <a:gdLst/>
              <a:ahLst/>
              <a:cxnLst/>
              <a:rect l="l" t="t" r="r" b="b"/>
              <a:pathLst>
                <a:path w="2561" h="3120" extrusionOk="0">
                  <a:moveTo>
                    <a:pt x="1286" y="262"/>
                  </a:moveTo>
                  <a:cubicBezTo>
                    <a:pt x="1596" y="262"/>
                    <a:pt x="1846" y="512"/>
                    <a:pt x="1846" y="834"/>
                  </a:cubicBezTo>
                  <a:cubicBezTo>
                    <a:pt x="1846" y="1143"/>
                    <a:pt x="1596" y="1393"/>
                    <a:pt x="1286" y="1393"/>
                  </a:cubicBezTo>
                  <a:cubicBezTo>
                    <a:pt x="977" y="1393"/>
                    <a:pt x="715" y="1143"/>
                    <a:pt x="715" y="834"/>
                  </a:cubicBezTo>
                  <a:cubicBezTo>
                    <a:pt x="739" y="512"/>
                    <a:pt x="977" y="262"/>
                    <a:pt x="1286" y="262"/>
                  </a:cubicBezTo>
                  <a:close/>
                  <a:moveTo>
                    <a:pt x="1703" y="1667"/>
                  </a:moveTo>
                  <a:cubicBezTo>
                    <a:pt x="2036" y="1667"/>
                    <a:pt x="2310" y="1929"/>
                    <a:pt x="2310" y="2274"/>
                  </a:cubicBezTo>
                  <a:lnTo>
                    <a:pt x="2310" y="2858"/>
                  </a:lnTo>
                  <a:lnTo>
                    <a:pt x="2001" y="2858"/>
                  </a:lnTo>
                  <a:lnTo>
                    <a:pt x="2001" y="2262"/>
                  </a:lnTo>
                  <a:cubicBezTo>
                    <a:pt x="2001" y="2179"/>
                    <a:pt x="1941" y="2119"/>
                    <a:pt x="1870" y="2119"/>
                  </a:cubicBezTo>
                  <a:cubicBezTo>
                    <a:pt x="1786" y="2119"/>
                    <a:pt x="1727" y="2179"/>
                    <a:pt x="1727" y="2262"/>
                  </a:cubicBezTo>
                  <a:lnTo>
                    <a:pt x="1727" y="2858"/>
                  </a:lnTo>
                  <a:lnTo>
                    <a:pt x="870" y="2858"/>
                  </a:lnTo>
                  <a:lnTo>
                    <a:pt x="870" y="2262"/>
                  </a:lnTo>
                  <a:cubicBezTo>
                    <a:pt x="870" y="2179"/>
                    <a:pt x="810" y="2119"/>
                    <a:pt x="727" y="2119"/>
                  </a:cubicBezTo>
                  <a:cubicBezTo>
                    <a:pt x="655" y="2119"/>
                    <a:pt x="596" y="2179"/>
                    <a:pt x="596" y="2262"/>
                  </a:cubicBezTo>
                  <a:lnTo>
                    <a:pt x="596" y="2858"/>
                  </a:lnTo>
                  <a:lnTo>
                    <a:pt x="298" y="2858"/>
                  </a:lnTo>
                  <a:lnTo>
                    <a:pt x="298" y="2274"/>
                  </a:lnTo>
                  <a:cubicBezTo>
                    <a:pt x="298" y="1929"/>
                    <a:pt x="572" y="1667"/>
                    <a:pt x="905" y="1667"/>
                  </a:cubicBezTo>
                  <a:close/>
                  <a:moveTo>
                    <a:pt x="1286" y="0"/>
                  </a:moveTo>
                  <a:cubicBezTo>
                    <a:pt x="822" y="0"/>
                    <a:pt x="453" y="369"/>
                    <a:pt x="453" y="834"/>
                  </a:cubicBezTo>
                  <a:cubicBezTo>
                    <a:pt x="453" y="1048"/>
                    <a:pt x="536" y="1262"/>
                    <a:pt x="691" y="1405"/>
                  </a:cubicBezTo>
                  <a:cubicBezTo>
                    <a:pt x="298" y="1500"/>
                    <a:pt x="1" y="1857"/>
                    <a:pt x="1" y="2274"/>
                  </a:cubicBezTo>
                  <a:lnTo>
                    <a:pt x="1" y="2858"/>
                  </a:lnTo>
                  <a:cubicBezTo>
                    <a:pt x="1" y="3000"/>
                    <a:pt x="120" y="3120"/>
                    <a:pt x="274" y="3120"/>
                  </a:cubicBezTo>
                  <a:lnTo>
                    <a:pt x="2298" y="3120"/>
                  </a:lnTo>
                  <a:cubicBezTo>
                    <a:pt x="2441" y="3120"/>
                    <a:pt x="2560" y="3000"/>
                    <a:pt x="2560" y="2858"/>
                  </a:cubicBezTo>
                  <a:lnTo>
                    <a:pt x="2560" y="2274"/>
                  </a:lnTo>
                  <a:cubicBezTo>
                    <a:pt x="2560" y="1857"/>
                    <a:pt x="2275" y="1500"/>
                    <a:pt x="1882" y="1405"/>
                  </a:cubicBezTo>
                  <a:cubicBezTo>
                    <a:pt x="2025" y="1262"/>
                    <a:pt x="2120" y="1048"/>
                    <a:pt x="2120" y="834"/>
                  </a:cubicBezTo>
                  <a:cubicBezTo>
                    <a:pt x="2120" y="369"/>
                    <a:pt x="1751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1" name="Google Shape;11391;p60"/>
            <p:cNvSpPr/>
            <p:nvPr/>
          </p:nvSpPr>
          <p:spPr>
            <a:xfrm>
              <a:off x="5554706" y="3945530"/>
              <a:ext cx="98952" cy="98251"/>
            </a:xfrm>
            <a:custGeom>
              <a:avLst/>
              <a:gdLst/>
              <a:ahLst/>
              <a:cxnLst/>
              <a:rect l="l" t="t" r="r" b="b"/>
              <a:pathLst>
                <a:path w="3109" h="3087" extrusionOk="0">
                  <a:moveTo>
                    <a:pt x="2959" y="1"/>
                  </a:moveTo>
                  <a:cubicBezTo>
                    <a:pt x="2892" y="1"/>
                    <a:pt x="2823" y="56"/>
                    <a:pt x="2823" y="122"/>
                  </a:cubicBezTo>
                  <a:cubicBezTo>
                    <a:pt x="2680" y="1550"/>
                    <a:pt x="1561" y="2669"/>
                    <a:pt x="132" y="2812"/>
                  </a:cubicBezTo>
                  <a:cubicBezTo>
                    <a:pt x="61" y="2824"/>
                    <a:pt x="1" y="2884"/>
                    <a:pt x="13" y="2967"/>
                  </a:cubicBezTo>
                  <a:cubicBezTo>
                    <a:pt x="13" y="3039"/>
                    <a:pt x="72" y="3086"/>
                    <a:pt x="144" y="3086"/>
                  </a:cubicBezTo>
                  <a:lnTo>
                    <a:pt x="168" y="3086"/>
                  </a:lnTo>
                  <a:cubicBezTo>
                    <a:pt x="1704" y="2931"/>
                    <a:pt x="2942" y="1717"/>
                    <a:pt x="3097" y="145"/>
                  </a:cubicBezTo>
                  <a:cubicBezTo>
                    <a:pt x="3109" y="74"/>
                    <a:pt x="3049" y="2"/>
                    <a:pt x="2978" y="2"/>
                  </a:cubicBezTo>
                  <a:cubicBezTo>
                    <a:pt x="2971" y="1"/>
                    <a:pt x="2965" y="1"/>
                    <a:pt x="29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92" name="Google Shape;11392;p60"/>
          <p:cNvGrpSpPr/>
          <p:nvPr/>
        </p:nvGrpSpPr>
        <p:grpSpPr>
          <a:xfrm>
            <a:off x="8036455" y="3807271"/>
            <a:ext cx="292176" cy="353985"/>
            <a:chOff x="8036455" y="3807271"/>
            <a:chExt cx="292176" cy="353985"/>
          </a:xfrm>
        </p:grpSpPr>
        <p:sp>
          <p:nvSpPr>
            <p:cNvPr id="11393" name="Google Shape;11393;p60"/>
            <p:cNvSpPr/>
            <p:nvPr/>
          </p:nvSpPr>
          <p:spPr>
            <a:xfrm>
              <a:off x="8039479" y="3807271"/>
              <a:ext cx="289153" cy="330465"/>
            </a:xfrm>
            <a:custGeom>
              <a:avLst/>
              <a:gdLst/>
              <a:ahLst/>
              <a:cxnLst/>
              <a:rect l="l" t="t" r="r" b="b"/>
              <a:pathLst>
                <a:path w="9085" h="10383" extrusionOk="0">
                  <a:moveTo>
                    <a:pt x="6049" y="298"/>
                  </a:moveTo>
                  <a:lnTo>
                    <a:pt x="4489" y="1358"/>
                  </a:lnTo>
                  <a:lnTo>
                    <a:pt x="2917" y="298"/>
                  </a:lnTo>
                  <a:close/>
                  <a:moveTo>
                    <a:pt x="2465" y="406"/>
                  </a:moveTo>
                  <a:lnTo>
                    <a:pt x="4203" y="1620"/>
                  </a:lnTo>
                  <a:lnTo>
                    <a:pt x="3203" y="2632"/>
                  </a:lnTo>
                  <a:lnTo>
                    <a:pt x="2203" y="1037"/>
                  </a:lnTo>
                  <a:lnTo>
                    <a:pt x="2465" y="406"/>
                  </a:lnTo>
                  <a:close/>
                  <a:moveTo>
                    <a:pt x="6513" y="382"/>
                  </a:moveTo>
                  <a:lnTo>
                    <a:pt x="6763" y="1025"/>
                  </a:lnTo>
                  <a:lnTo>
                    <a:pt x="5763" y="2632"/>
                  </a:lnTo>
                  <a:lnTo>
                    <a:pt x="4739" y="1572"/>
                  </a:lnTo>
                  <a:lnTo>
                    <a:pt x="6513" y="382"/>
                  </a:lnTo>
                  <a:close/>
                  <a:moveTo>
                    <a:pt x="4501" y="1787"/>
                  </a:moveTo>
                  <a:lnTo>
                    <a:pt x="5334" y="2632"/>
                  </a:lnTo>
                  <a:lnTo>
                    <a:pt x="4941" y="3061"/>
                  </a:lnTo>
                  <a:lnTo>
                    <a:pt x="4036" y="3061"/>
                  </a:lnTo>
                  <a:lnTo>
                    <a:pt x="3667" y="2632"/>
                  </a:lnTo>
                  <a:lnTo>
                    <a:pt x="4501" y="1787"/>
                  </a:lnTo>
                  <a:close/>
                  <a:moveTo>
                    <a:pt x="2405" y="1"/>
                  </a:moveTo>
                  <a:lnTo>
                    <a:pt x="2382" y="13"/>
                  </a:lnTo>
                  <a:lnTo>
                    <a:pt x="2370" y="25"/>
                  </a:lnTo>
                  <a:lnTo>
                    <a:pt x="2358" y="48"/>
                  </a:lnTo>
                  <a:lnTo>
                    <a:pt x="2346" y="60"/>
                  </a:lnTo>
                  <a:lnTo>
                    <a:pt x="2346" y="72"/>
                  </a:lnTo>
                  <a:lnTo>
                    <a:pt x="1989" y="965"/>
                  </a:lnTo>
                  <a:lnTo>
                    <a:pt x="107" y="1739"/>
                  </a:lnTo>
                  <a:cubicBezTo>
                    <a:pt x="48" y="1775"/>
                    <a:pt x="0" y="1834"/>
                    <a:pt x="0" y="1894"/>
                  </a:cubicBezTo>
                  <a:lnTo>
                    <a:pt x="0" y="3620"/>
                  </a:lnTo>
                  <a:cubicBezTo>
                    <a:pt x="0" y="3704"/>
                    <a:pt x="84" y="3775"/>
                    <a:pt x="167" y="3775"/>
                  </a:cubicBezTo>
                  <a:cubicBezTo>
                    <a:pt x="262" y="3775"/>
                    <a:pt x="334" y="3704"/>
                    <a:pt x="334" y="3620"/>
                  </a:cubicBezTo>
                  <a:lnTo>
                    <a:pt x="334" y="1989"/>
                  </a:lnTo>
                  <a:lnTo>
                    <a:pt x="2084" y="1275"/>
                  </a:lnTo>
                  <a:lnTo>
                    <a:pt x="3144" y="2977"/>
                  </a:lnTo>
                  <a:cubicBezTo>
                    <a:pt x="3179" y="3025"/>
                    <a:pt x="3215" y="3049"/>
                    <a:pt x="3263" y="3049"/>
                  </a:cubicBezTo>
                  <a:lnTo>
                    <a:pt x="3370" y="3049"/>
                  </a:lnTo>
                  <a:lnTo>
                    <a:pt x="3382" y="3037"/>
                  </a:lnTo>
                  <a:lnTo>
                    <a:pt x="3513" y="2906"/>
                  </a:lnTo>
                  <a:lnTo>
                    <a:pt x="3870" y="3323"/>
                  </a:lnTo>
                  <a:lnTo>
                    <a:pt x="3429" y="5609"/>
                  </a:lnTo>
                  <a:cubicBezTo>
                    <a:pt x="3417" y="5704"/>
                    <a:pt x="3477" y="5787"/>
                    <a:pt x="3560" y="5799"/>
                  </a:cubicBezTo>
                  <a:lnTo>
                    <a:pt x="3679" y="5799"/>
                  </a:lnTo>
                  <a:cubicBezTo>
                    <a:pt x="3679" y="5799"/>
                    <a:pt x="3691" y="5799"/>
                    <a:pt x="3691" y="5787"/>
                  </a:cubicBezTo>
                  <a:lnTo>
                    <a:pt x="3691" y="5775"/>
                  </a:lnTo>
                  <a:lnTo>
                    <a:pt x="3691" y="5751"/>
                  </a:lnTo>
                  <a:lnTo>
                    <a:pt x="3691" y="5740"/>
                  </a:lnTo>
                  <a:lnTo>
                    <a:pt x="3691" y="5728"/>
                  </a:lnTo>
                  <a:lnTo>
                    <a:pt x="4120" y="3477"/>
                  </a:lnTo>
                  <a:lnTo>
                    <a:pt x="4918" y="3477"/>
                  </a:lnTo>
                  <a:lnTo>
                    <a:pt x="5906" y="8633"/>
                  </a:lnTo>
                  <a:lnTo>
                    <a:pt x="4513" y="9978"/>
                  </a:lnTo>
                  <a:lnTo>
                    <a:pt x="3108" y="8633"/>
                  </a:lnTo>
                  <a:lnTo>
                    <a:pt x="3572" y="6228"/>
                  </a:lnTo>
                  <a:lnTo>
                    <a:pt x="3572" y="6204"/>
                  </a:lnTo>
                  <a:cubicBezTo>
                    <a:pt x="3572" y="6132"/>
                    <a:pt x="3513" y="6049"/>
                    <a:pt x="3441" y="6037"/>
                  </a:cubicBezTo>
                  <a:cubicBezTo>
                    <a:pt x="3433" y="6036"/>
                    <a:pt x="3425" y="6036"/>
                    <a:pt x="3417" y="6036"/>
                  </a:cubicBezTo>
                  <a:cubicBezTo>
                    <a:pt x="3332" y="6036"/>
                    <a:pt x="3262" y="6092"/>
                    <a:pt x="3251" y="6168"/>
                  </a:cubicBezTo>
                  <a:lnTo>
                    <a:pt x="2751" y="8657"/>
                  </a:lnTo>
                  <a:cubicBezTo>
                    <a:pt x="2739" y="8716"/>
                    <a:pt x="2751" y="8764"/>
                    <a:pt x="2798" y="8811"/>
                  </a:cubicBezTo>
                  <a:lnTo>
                    <a:pt x="4382" y="10335"/>
                  </a:lnTo>
                  <a:cubicBezTo>
                    <a:pt x="4406" y="10371"/>
                    <a:pt x="4453" y="10383"/>
                    <a:pt x="4501" y="10383"/>
                  </a:cubicBezTo>
                  <a:cubicBezTo>
                    <a:pt x="4537" y="10383"/>
                    <a:pt x="4584" y="10371"/>
                    <a:pt x="4620" y="10335"/>
                  </a:cubicBezTo>
                  <a:lnTo>
                    <a:pt x="6192" y="8811"/>
                  </a:lnTo>
                  <a:cubicBezTo>
                    <a:pt x="6239" y="8764"/>
                    <a:pt x="6251" y="8716"/>
                    <a:pt x="6239" y="8657"/>
                  </a:cubicBezTo>
                  <a:lnTo>
                    <a:pt x="5215" y="3370"/>
                  </a:lnTo>
                  <a:lnTo>
                    <a:pt x="5572" y="2953"/>
                  </a:lnTo>
                  <a:lnTo>
                    <a:pt x="5703" y="3096"/>
                  </a:lnTo>
                  <a:lnTo>
                    <a:pt x="5715" y="3108"/>
                  </a:lnTo>
                  <a:lnTo>
                    <a:pt x="5822" y="3108"/>
                  </a:lnTo>
                  <a:cubicBezTo>
                    <a:pt x="5870" y="3108"/>
                    <a:pt x="5906" y="3073"/>
                    <a:pt x="5941" y="3037"/>
                  </a:cubicBezTo>
                  <a:lnTo>
                    <a:pt x="7001" y="1334"/>
                  </a:lnTo>
                  <a:lnTo>
                    <a:pt x="8751" y="2049"/>
                  </a:lnTo>
                  <a:lnTo>
                    <a:pt x="8751" y="8228"/>
                  </a:lnTo>
                  <a:cubicBezTo>
                    <a:pt x="8751" y="8311"/>
                    <a:pt x="8823" y="8395"/>
                    <a:pt x="8918" y="8395"/>
                  </a:cubicBezTo>
                  <a:cubicBezTo>
                    <a:pt x="9001" y="8395"/>
                    <a:pt x="9085" y="8311"/>
                    <a:pt x="9085" y="8228"/>
                  </a:cubicBezTo>
                  <a:lnTo>
                    <a:pt x="9085" y="1930"/>
                  </a:lnTo>
                  <a:cubicBezTo>
                    <a:pt x="9073" y="1810"/>
                    <a:pt x="9037" y="1751"/>
                    <a:pt x="8978" y="1739"/>
                  </a:cubicBezTo>
                  <a:lnTo>
                    <a:pt x="7108" y="965"/>
                  </a:lnTo>
                  <a:lnTo>
                    <a:pt x="6751" y="72"/>
                  </a:lnTo>
                  <a:lnTo>
                    <a:pt x="6751" y="60"/>
                  </a:lnTo>
                  <a:cubicBezTo>
                    <a:pt x="6751" y="60"/>
                    <a:pt x="6751" y="48"/>
                    <a:pt x="6727" y="48"/>
                  </a:cubicBezTo>
                  <a:lnTo>
                    <a:pt x="6715" y="25"/>
                  </a:lnTo>
                  <a:lnTo>
                    <a:pt x="6703" y="13"/>
                  </a:lnTo>
                  <a:lnTo>
                    <a:pt x="6692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4" name="Google Shape;11394;p60"/>
            <p:cNvSpPr/>
            <p:nvPr/>
          </p:nvSpPr>
          <p:spPr>
            <a:xfrm>
              <a:off x="8036455" y="3934613"/>
              <a:ext cx="291795" cy="226644"/>
            </a:xfrm>
            <a:custGeom>
              <a:avLst/>
              <a:gdLst/>
              <a:ahLst/>
              <a:cxnLst/>
              <a:rect l="l" t="t" r="r" b="b"/>
              <a:pathLst>
                <a:path w="9168" h="7121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lnTo>
                    <a:pt x="0" y="6953"/>
                  </a:lnTo>
                  <a:cubicBezTo>
                    <a:pt x="0" y="7037"/>
                    <a:pt x="71" y="7120"/>
                    <a:pt x="155" y="7120"/>
                  </a:cubicBezTo>
                  <a:lnTo>
                    <a:pt x="9001" y="7120"/>
                  </a:lnTo>
                  <a:cubicBezTo>
                    <a:pt x="9084" y="7120"/>
                    <a:pt x="9168" y="7037"/>
                    <a:pt x="9168" y="6953"/>
                  </a:cubicBezTo>
                  <a:lnTo>
                    <a:pt x="9168" y="4715"/>
                  </a:lnTo>
                  <a:cubicBezTo>
                    <a:pt x="9168" y="4632"/>
                    <a:pt x="9084" y="4560"/>
                    <a:pt x="9001" y="4560"/>
                  </a:cubicBezTo>
                  <a:cubicBezTo>
                    <a:pt x="8906" y="4560"/>
                    <a:pt x="8834" y="4632"/>
                    <a:pt x="8834" y="4715"/>
                  </a:cubicBezTo>
                  <a:lnTo>
                    <a:pt x="8834" y="6787"/>
                  </a:lnTo>
                  <a:lnTo>
                    <a:pt x="321" y="6787"/>
                  </a:lnTo>
                  <a:lnTo>
                    <a:pt x="321" y="167"/>
                  </a:lnTo>
                  <a:cubicBezTo>
                    <a:pt x="321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95" name="Google Shape;11395;p60"/>
          <p:cNvGrpSpPr/>
          <p:nvPr/>
        </p:nvGrpSpPr>
        <p:grpSpPr>
          <a:xfrm>
            <a:off x="4874902" y="3808799"/>
            <a:ext cx="345615" cy="350835"/>
            <a:chOff x="4874902" y="3808799"/>
            <a:chExt cx="345615" cy="350835"/>
          </a:xfrm>
        </p:grpSpPr>
        <p:sp>
          <p:nvSpPr>
            <p:cNvPr id="11396" name="Google Shape;11396;p60"/>
            <p:cNvSpPr/>
            <p:nvPr/>
          </p:nvSpPr>
          <p:spPr>
            <a:xfrm>
              <a:off x="4874902" y="3808799"/>
              <a:ext cx="345615" cy="350835"/>
            </a:xfrm>
            <a:custGeom>
              <a:avLst/>
              <a:gdLst/>
              <a:ahLst/>
              <a:cxnLst/>
              <a:rect l="l" t="t" r="r" b="b"/>
              <a:pathLst>
                <a:path w="10859" h="11023" extrusionOk="0">
                  <a:moveTo>
                    <a:pt x="6632" y="274"/>
                  </a:moveTo>
                  <a:cubicBezTo>
                    <a:pt x="6858" y="274"/>
                    <a:pt x="7037" y="453"/>
                    <a:pt x="7037" y="679"/>
                  </a:cubicBezTo>
                  <a:cubicBezTo>
                    <a:pt x="7037" y="905"/>
                    <a:pt x="6858" y="1084"/>
                    <a:pt x="6632" y="1084"/>
                  </a:cubicBezTo>
                  <a:lnTo>
                    <a:pt x="4906" y="1084"/>
                  </a:lnTo>
                  <a:cubicBezTo>
                    <a:pt x="4691" y="1084"/>
                    <a:pt x="4513" y="905"/>
                    <a:pt x="4513" y="679"/>
                  </a:cubicBezTo>
                  <a:cubicBezTo>
                    <a:pt x="4513" y="453"/>
                    <a:pt x="4691" y="274"/>
                    <a:pt x="4906" y="274"/>
                  </a:cubicBezTo>
                  <a:close/>
                  <a:moveTo>
                    <a:pt x="5965" y="1405"/>
                  </a:moveTo>
                  <a:lnTo>
                    <a:pt x="5965" y="1965"/>
                  </a:lnTo>
                  <a:lnTo>
                    <a:pt x="5572" y="1965"/>
                  </a:lnTo>
                  <a:lnTo>
                    <a:pt x="5572" y="1405"/>
                  </a:lnTo>
                  <a:close/>
                  <a:moveTo>
                    <a:pt x="5790" y="2285"/>
                  </a:moveTo>
                  <a:cubicBezTo>
                    <a:pt x="7012" y="2285"/>
                    <a:pt x="8209" y="2830"/>
                    <a:pt x="9037" y="3834"/>
                  </a:cubicBezTo>
                  <a:cubicBezTo>
                    <a:pt x="10513" y="5632"/>
                    <a:pt x="10228" y="8287"/>
                    <a:pt x="8430" y="9763"/>
                  </a:cubicBezTo>
                  <a:cubicBezTo>
                    <a:pt x="7647" y="10392"/>
                    <a:pt x="6705" y="10700"/>
                    <a:pt x="5771" y="10700"/>
                  </a:cubicBezTo>
                  <a:cubicBezTo>
                    <a:pt x="4545" y="10700"/>
                    <a:pt x="3331" y="10171"/>
                    <a:pt x="2500" y="9144"/>
                  </a:cubicBezTo>
                  <a:cubicBezTo>
                    <a:pt x="405" y="6573"/>
                    <a:pt x="2000" y="2715"/>
                    <a:pt x="5239" y="2322"/>
                  </a:cubicBezTo>
                  <a:cubicBezTo>
                    <a:pt x="5422" y="2297"/>
                    <a:pt x="5606" y="2285"/>
                    <a:pt x="5790" y="2285"/>
                  </a:cubicBezTo>
                  <a:close/>
                  <a:moveTo>
                    <a:pt x="4917" y="0"/>
                  </a:moveTo>
                  <a:cubicBezTo>
                    <a:pt x="4513" y="0"/>
                    <a:pt x="4203" y="322"/>
                    <a:pt x="4203" y="715"/>
                  </a:cubicBezTo>
                  <a:cubicBezTo>
                    <a:pt x="4203" y="1108"/>
                    <a:pt x="4525" y="1429"/>
                    <a:pt x="4917" y="1429"/>
                  </a:cubicBezTo>
                  <a:lnTo>
                    <a:pt x="5251" y="1429"/>
                  </a:lnTo>
                  <a:lnTo>
                    <a:pt x="5251" y="1989"/>
                  </a:lnTo>
                  <a:cubicBezTo>
                    <a:pt x="1727" y="2393"/>
                    <a:pt x="0" y="6573"/>
                    <a:pt x="2262" y="9359"/>
                  </a:cubicBezTo>
                  <a:cubicBezTo>
                    <a:pt x="3161" y="10454"/>
                    <a:pt x="4471" y="11023"/>
                    <a:pt x="5790" y="11023"/>
                  </a:cubicBezTo>
                  <a:cubicBezTo>
                    <a:pt x="6795" y="11023"/>
                    <a:pt x="7805" y="10693"/>
                    <a:pt x="8644" y="10013"/>
                  </a:cubicBezTo>
                  <a:cubicBezTo>
                    <a:pt x="10585" y="8430"/>
                    <a:pt x="10859" y="5561"/>
                    <a:pt x="9287" y="3632"/>
                  </a:cubicBezTo>
                  <a:cubicBezTo>
                    <a:pt x="8513" y="2679"/>
                    <a:pt x="7430" y="2120"/>
                    <a:pt x="6299" y="1989"/>
                  </a:cubicBezTo>
                  <a:lnTo>
                    <a:pt x="6299" y="1429"/>
                  </a:lnTo>
                  <a:lnTo>
                    <a:pt x="6644" y="1429"/>
                  </a:lnTo>
                  <a:cubicBezTo>
                    <a:pt x="7037" y="1429"/>
                    <a:pt x="7358" y="1096"/>
                    <a:pt x="7358" y="715"/>
                  </a:cubicBezTo>
                  <a:cubicBezTo>
                    <a:pt x="7358" y="310"/>
                    <a:pt x="7025" y="0"/>
                    <a:pt x="6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7" name="Google Shape;11397;p60"/>
            <p:cNvSpPr/>
            <p:nvPr/>
          </p:nvSpPr>
          <p:spPr>
            <a:xfrm>
              <a:off x="4939321" y="4009630"/>
              <a:ext cx="145929" cy="123618"/>
            </a:xfrm>
            <a:custGeom>
              <a:avLst/>
              <a:gdLst/>
              <a:ahLst/>
              <a:cxnLst/>
              <a:rect l="l" t="t" r="r" b="b"/>
              <a:pathLst>
                <a:path w="4585" h="3884" extrusionOk="0">
                  <a:moveTo>
                    <a:pt x="203" y="1"/>
                  </a:moveTo>
                  <a:cubicBezTo>
                    <a:pt x="119" y="1"/>
                    <a:pt x="48" y="72"/>
                    <a:pt x="48" y="155"/>
                  </a:cubicBezTo>
                  <a:cubicBezTo>
                    <a:pt x="48" y="203"/>
                    <a:pt x="0" y="965"/>
                    <a:pt x="429" y="1810"/>
                  </a:cubicBezTo>
                  <a:cubicBezTo>
                    <a:pt x="691" y="2334"/>
                    <a:pt x="1072" y="2799"/>
                    <a:pt x="1548" y="3156"/>
                  </a:cubicBezTo>
                  <a:cubicBezTo>
                    <a:pt x="2212" y="3644"/>
                    <a:pt x="2997" y="3883"/>
                    <a:pt x="3771" y="3883"/>
                  </a:cubicBezTo>
                  <a:cubicBezTo>
                    <a:pt x="3996" y="3883"/>
                    <a:pt x="4221" y="3863"/>
                    <a:pt x="4441" y="3823"/>
                  </a:cubicBezTo>
                  <a:cubicBezTo>
                    <a:pt x="4525" y="3811"/>
                    <a:pt x="4584" y="3715"/>
                    <a:pt x="4572" y="3632"/>
                  </a:cubicBezTo>
                  <a:cubicBezTo>
                    <a:pt x="4540" y="3545"/>
                    <a:pt x="4477" y="3488"/>
                    <a:pt x="4394" y="3488"/>
                  </a:cubicBezTo>
                  <a:cubicBezTo>
                    <a:pt x="4386" y="3488"/>
                    <a:pt x="4378" y="3488"/>
                    <a:pt x="4370" y="3489"/>
                  </a:cubicBezTo>
                  <a:cubicBezTo>
                    <a:pt x="4161" y="3528"/>
                    <a:pt x="3950" y="3547"/>
                    <a:pt x="3739" y="3547"/>
                  </a:cubicBezTo>
                  <a:cubicBezTo>
                    <a:pt x="3035" y="3547"/>
                    <a:pt x="2334" y="3331"/>
                    <a:pt x="1739" y="2882"/>
                  </a:cubicBezTo>
                  <a:cubicBezTo>
                    <a:pt x="286" y="1810"/>
                    <a:pt x="369" y="155"/>
                    <a:pt x="369" y="155"/>
                  </a:cubicBezTo>
                  <a:cubicBezTo>
                    <a:pt x="369" y="72"/>
                    <a:pt x="298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8" name="Google Shape;11398;p60"/>
            <p:cNvSpPr/>
            <p:nvPr/>
          </p:nvSpPr>
          <p:spPr>
            <a:xfrm>
              <a:off x="4942344" y="3897629"/>
              <a:ext cx="205033" cy="101816"/>
            </a:xfrm>
            <a:custGeom>
              <a:avLst/>
              <a:gdLst/>
              <a:ahLst/>
              <a:cxnLst/>
              <a:rect l="l" t="t" r="r" b="b"/>
              <a:pathLst>
                <a:path w="6442" h="3199" extrusionOk="0">
                  <a:moveTo>
                    <a:pt x="3666" y="0"/>
                  </a:moveTo>
                  <a:cubicBezTo>
                    <a:pt x="1972" y="0"/>
                    <a:pt x="363" y="1175"/>
                    <a:pt x="24" y="3008"/>
                  </a:cubicBezTo>
                  <a:cubicBezTo>
                    <a:pt x="0" y="3115"/>
                    <a:pt x="72" y="3198"/>
                    <a:pt x="179" y="3198"/>
                  </a:cubicBezTo>
                  <a:cubicBezTo>
                    <a:pt x="251" y="3198"/>
                    <a:pt x="322" y="3139"/>
                    <a:pt x="334" y="3067"/>
                  </a:cubicBezTo>
                  <a:cubicBezTo>
                    <a:pt x="656" y="1384"/>
                    <a:pt x="2127" y="318"/>
                    <a:pt x="3670" y="318"/>
                  </a:cubicBezTo>
                  <a:cubicBezTo>
                    <a:pt x="4353" y="318"/>
                    <a:pt x="5050" y="527"/>
                    <a:pt x="5668" y="984"/>
                  </a:cubicBezTo>
                  <a:cubicBezTo>
                    <a:pt x="5846" y="1115"/>
                    <a:pt x="5989" y="1257"/>
                    <a:pt x="6144" y="1412"/>
                  </a:cubicBezTo>
                  <a:cubicBezTo>
                    <a:pt x="6180" y="1448"/>
                    <a:pt x="6228" y="1471"/>
                    <a:pt x="6274" y="1471"/>
                  </a:cubicBezTo>
                  <a:cubicBezTo>
                    <a:pt x="6305" y="1471"/>
                    <a:pt x="6334" y="1460"/>
                    <a:pt x="6358" y="1436"/>
                  </a:cubicBezTo>
                  <a:cubicBezTo>
                    <a:pt x="6430" y="1377"/>
                    <a:pt x="6442" y="1269"/>
                    <a:pt x="6382" y="1210"/>
                  </a:cubicBezTo>
                  <a:cubicBezTo>
                    <a:pt x="6216" y="1031"/>
                    <a:pt x="6049" y="876"/>
                    <a:pt x="5858" y="734"/>
                  </a:cubicBezTo>
                  <a:cubicBezTo>
                    <a:pt x="5179" y="230"/>
                    <a:pt x="4414" y="0"/>
                    <a:pt x="36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9" name="Google Shape;11399;p60"/>
            <p:cNvSpPr/>
            <p:nvPr/>
          </p:nvSpPr>
          <p:spPr>
            <a:xfrm>
              <a:off x="5092729" y="3950240"/>
              <a:ext cx="84597" cy="175465"/>
            </a:xfrm>
            <a:custGeom>
              <a:avLst/>
              <a:gdLst/>
              <a:ahLst/>
              <a:cxnLst/>
              <a:rect l="l" t="t" r="r" b="b"/>
              <a:pathLst>
                <a:path w="2658" h="5513" extrusionOk="0">
                  <a:moveTo>
                    <a:pt x="1939" y="0"/>
                  </a:moveTo>
                  <a:cubicBezTo>
                    <a:pt x="1907" y="0"/>
                    <a:pt x="1875" y="11"/>
                    <a:pt x="1848" y="33"/>
                  </a:cubicBezTo>
                  <a:cubicBezTo>
                    <a:pt x="1776" y="81"/>
                    <a:pt x="1741" y="176"/>
                    <a:pt x="1800" y="259"/>
                  </a:cubicBezTo>
                  <a:cubicBezTo>
                    <a:pt x="2145" y="795"/>
                    <a:pt x="2324" y="1414"/>
                    <a:pt x="2324" y="2057"/>
                  </a:cubicBezTo>
                  <a:cubicBezTo>
                    <a:pt x="2324" y="3486"/>
                    <a:pt x="1431" y="4724"/>
                    <a:pt x="169" y="5200"/>
                  </a:cubicBezTo>
                  <a:cubicBezTo>
                    <a:pt x="1" y="5263"/>
                    <a:pt x="55" y="5512"/>
                    <a:pt x="218" y="5512"/>
                  </a:cubicBezTo>
                  <a:cubicBezTo>
                    <a:pt x="239" y="5512"/>
                    <a:pt x="263" y="5508"/>
                    <a:pt x="288" y="5498"/>
                  </a:cubicBezTo>
                  <a:cubicBezTo>
                    <a:pt x="1669" y="4962"/>
                    <a:pt x="2657" y="3605"/>
                    <a:pt x="2657" y="2045"/>
                  </a:cubicBezTo>
                  <a:cubicBezTo>
                    <a:pt x="2622" y="1343"/>
                    <a:pt x="2431" y="676"/>
                    <a:pt x="2074" y="81"/>
                  </a:cubicBezTo>
                  <a:cubicBezTo>
                    <a:pt x="2044" y="29"/>
                    <a:pt x="1992" y="0"/>
                    <a:pt x="19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0" name="Google Shape;11400;p60"/>
            <p:cNvSpPr/>
            <p:nvPr/>
          </p:nvSpPr>
          <p:spPr>
            <a:xfrm>
              <a:off x="5004886" y="3993717"/>
              <a:ext cx="81478" cy="55348"/>
            </a:xfrm>
            <a:custGeom>
              <a:avLst/>
              <a:gdLst/>
              <a:ahLst/>
              <a:cxnLst/>
              <a:rect l="l" t="t" r="r" b="b"/>
              <a:pathLst>
                <a:path w="2560" h="1739" extrusionOk="0">
                  <a:moveTo>
                    <a:pt x="1691" y="334"/>
                  </a:moveTo>
                  <a:cubicBezTo>
                    <a:pt x="1976" y="334"/>
                    <a:pt x="2143" y="655"/>
                    <a:pt x="1976" y="882"/>
                  </a:cubicBezTo>
                  <a:cubicBezTo>
                    <a:pt x="1913" y="974"/>
                    <a:pt x="1806" y="1024"/>
                    <a:pt x="1698" y="1024"/>
                  </a:cubicBezTo>
                  <a:cubicBezTo>
                    <a:pt x="1625" y="1024"/>
                    <a:pt x="1551" y="1001"/>
                    <a:pt x="1488" y="953"/>
                  </a:cubicBezTo>
                  <a:cubicBezTo>
                    <a:pt x="1214" y="763"/>
                    <a:pt x="1369" y="334"/>
                    <a:pt x="1691" y="334"/>
                  </a:cubicBezTo>
                  <a:close/>
                  <a:moveTo>
                    <a:pt x="1691" y="1"/>
                  </a:moveTo>
                  <a:cubicBezTo>
                    <a:pt x="1584" y="1"/>
                    <a:pt x="1334" y="36"/>
                    <a:pt x="1155" y="274"/>
                  </a:cubicBezTo>
                  <a:cubicBezTo>
                    <a:pt x="1024" y="453"/>
                    <a:pt x="988" y="655"/>
                    <a:pt x="1048" y="846"/>
                  </a:cubicBezTo>
                  <a:lnTo>
                    <a:pt x="131" y="1441"/>
                  </a:lnTo>
                  <a:cubicBezTo>
                    <a:pt x="0" y="1536"/>
                    <a:pt x="60" y="1739"/>
                    <a:pt x="214" y="1739"/>
                  </a:cubicBezTo>
                  <a:cubicBezTo>
                    <a:pt x="310" y="1739"/>
                    <a:pt x="262" y="1727"/>
                    <a:pt x="1214" y="1132"/>
                  </a:cubicBezTo>
                  <a:cubicBezTo>
                    <a:pt x="1346" y="1279"/>
                    <a:pt x="1520" y="1349"/>
                    <a:pt x="1692" y="1349"/>
                  </a:cubicBezTo>
                  <a:cubicBezTo>
                    <a:pt x="1896" y="1349"/>
                    <a:pt x="2098" y="1252"/>
                    <a:pt x="2226" y="1072"/>
                  </a:cubicBezTo>
                  <a:cubicBezTo>
                    <a:pt x="2560" y="632"/>
                    <a:pt x="2238" y="1"/>
                    <a:pt x="1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1" name="Google Shape;11401;p60"/>
            <p:cNvSpPr/>
            <p:nvPr/>
          </p:nvSpPr>
          <p:spPr>
            <a:xfrm>
              <a:off x="5053391" y="3915262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775"/>
                  </a:lnTo>
                  <a:cubicBezTo>
                    <a:pt x="0" y="858"/>
                    <a:pt x="83" y="942"/>
                    <a:pt x="167" y="942"/>
                  </a:cubicBezTo>
                  <a:cubicBezTo>
                    <a:pt x="262" y="942"/>
                    <a:pt x="333" y="858"/>
                    <a:pt x="333" y="775"/>
                  </a:cubicBezTo>
                  <a:lnTo>
                    <a:pt x="333" y="168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2" name="Google Shape;11402;p60"/>
            <p:cNvSpPr/>
            <p:nvPr/>
          </p:nvSpPr>
          <p:spPr>
            <a:xfrm>
              <a:off x="5005236" y="3928216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3" y="1"/>
                  </a:moveTo>
                  <a:cubicBezTo>
                    <a:pt x="156" y="1"/>
                    <a:pt x="130" y="8"/>
                    <a:pt x="108" y="23"/>
                  </a:cubicBezTo>
                  <a:cubicBezTo>
                    <a:pt x="25" y="70"/>
                    <a:pt x="1" y="177"/>
                    <a:pt x="49" y="249"/>
                  </a:cubicBezTo>
                  <a:lnTo>
                    <a:pt x="346" y="773"/>
                  </a:lnTo>
                  <a:cubicBezTo>
                    <a:pt x="382" y="808"/>
                    <a:pt x="430" y="844"/>
                    <a:pt x="489" y="844"/>
                  </a:cubicBezTo>
                  <a:cubicBezTo>
                    <a:pt x="525" y="844"/>
                    <a:pt x="549" y="844"/>
                    <a:pt x="561" y="832"/>
                  </a:cubicBezTo>
                  <a:cubicBezTo>
                    <a:pt x="644" y="785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3" name="Google Shape;11403;p60"/>
            <p:cNvSpPr/>
            <p:nvPr/>
          </p:nvSpPr>
          <p:spPr>
            <a:xfrm>
              <a:off x="4970766" y="3962876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89" y="1"/>
                  </a:moveTo>
                  <a:cubicBezTo>
                    <a:pt x="130" y="1"/>
                    <a:pt x="69" y="27"/>
                    <a:pt x="36" y="77"/>
                  </a:cubicBezTo>
                  <a:cubicBezTo>
                    <a:pt x="0" y="160"/>
                    <a:pt x="24" y="255"/>
                    <a:pt x="96" y="303"/>
                  </a:cubicBezTo>
                  <a:lnTo>
                    <a:pt x="620" y="600"/>
                  </a:lnTo>
                  <a:cubicBezTo>
                    <a:pt x="655" y="612"/>
                    <a:pt x="679" y="612"/>
                    <a:pt x="691" y="612"/>
                  </a:cubicBezTo>
                  <a:cubicBezTo>
                    <a:pt x="751" y="612"/>
                    <a:pt x="798" y="589"/>
                    <a:pt x="834" y="541"/>
                  </a:cubicBezTo>
                  <a:cubicBezTo>
                    <a:pt x="893" y="470"/>
                    <a:pt x="858" y="362"/>
                    <a:pt x="786" y="315"/>
                  </a:cubicBezTo>
                  <a:lnTo>
                    <a:pt x="262" y="17"/>
                  </a:lnTo>
                  <a:cubicBezTo>
                    <a:pt x="240" y="6"/>
                    <a:pt x="215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4" name="Google Shape;11404;p60"/>
            <p:cNvSpPr/>
            <p:nvPr/>
          </p:nvSpPr>
          <p:spPr>
            <a:xfrm>
              <a:off x="4958258" y="4010012"/>
              <a:ext cx="29982" cy="10248"/>
            </a:xfrm>
            <a:custGeom>
              <a:avLst/>
              <a:gdLst/>
              <a:ahLst/>
              <a:cxnLst/>
              <a:rect l="l" t="t" r="r" b="b"/>
              <a:pathLst>
                <a:path w="942" h="322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5" name="Google Shape;11405;p60"/>
            <p:cNvSpPr/>
            <p:nvPr/>
          </p:nvSpPr>
          <p:spPr>
            <a:xfrm>
              <a:off x="4969239" y="4047601"/>
              <a:ext cx="30363" cy="20051"/>
            </a:xfrm>
            <a:custGeom>
              <a:avLst/>
              <a:gdLst/>
              <a:ahLst/>
              <a:cxnLst/>
              <a:rect l="l" t="t" r="r" b="b"/>
              <a:pathLst>
                <a:path w="954" h="630" extrusionOk="0">
                  <a:moveTo>
                    <a:pt x="754" y="0"/>
                  </a:moveTo>
                  <a:cubicBezTo>
                    <a:pt x="728" y="0"/>
                    <a:pt x="702" y="7"/>
                    <a:pt x="679" y="22"/>
                  </a:cubicBezTo>
                  <a:lnTo>
                    <a:pt x="156" y="320"/>
                  </a:lnTo>
                  <a:cubicBezTo>
                    <a:pt x="1" y="415"/>
                    <a:pt x="60" y="629"/>
                    <a:pt x="239" y="629"/>
                  </a:cubicBezTo>
                  <a:cubicBezTo>
                    <a:pt x="310" y="629"/>
                    <a:pt x="310" y="605"/>
                    <a:pt x="846" y="308"/>
                  </a:cubicBezTo>
                  <a:cubicBezTo>
                    <a:pt x="918" y="260"/>
                    <a:pt x="953" y="153"/>
                    <a:pt x="906" y="82"/>
                  </a:cubicBezTo>
                  <a:cubicBezTo>
                    <a:pt x="873" y="33"/>
                    <a:pt x="812" y="0"/>
                    <a:pt x="7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6" name="Google Shape;11406;p60"/>
            <p:cNvSpPr/>
            <p:nvPr/>
          </p:nvSpPr>
          <p:spPr>
            <a:xfrm>
              <a:off x="5005236" y="4075641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491" y="0"/>
                  </a:moveTo>
                  <a:cubicBezTo>
                    <a:pt x="440" y="0"/>
                    <a:pt x="391" y="33"/>
                    <a:pt x="358" y="82"/>
                  </a:cubicBezTo>
                  <a:lnTo>
                    <a:pt x="60" y="606"/>
                  </a:lnTo>
                  <a:cubicBezTo>
                    <a:pt x="1" y="701"/>
                    <a:pt x="72" y="844"/>
                    <a:pt x="191" y="844"/>
                  </a:cubicBezTo>
                  <a:cubicBezTo>
                    <a:pt x="251" y="844"/>
                    <a:pt x="299" y="808"/>
                    <a:pt x="322" y="760"/>
                  </a:cubicBezTo>
                  <a:lnTo>
                    <a:pt x="620" y="248"/>
                  </a:lnTo>
                  <a:cubicBezTo>
                    <a:pt x="668" y="165"/>
                    <a:pt x="644" y="70"/>
                    <a:pt x="561" y="22"/>
                  </a:cubicBezTo>
                  <a:cubicBezTo>
                    <a:pt x="538" y="7"/>
                    <a:pt x="514" y="0"/>
                    <a:pt x="4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7" name="Google Shape;11407;p60"/>
            <p:cNvSpPr/>
            <p:nvPr/>
          </p:nvSpPr>
          <p:spPr>
            <a:xfrm>
              <a:off x="5053391" y="4085794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775"/>
                  </a:lnTo>
                  <a:cubicBezTo>
                    <a:pt x="0" y="858"/>
                    <a:pt x="83" y="941"/>
                    <a:pt x="167" y="941"/>
                  </a:cubicBezTo>
                  <a:cubicBezTo>
                    <a:pt x="250" y="941"/>
                    <a:pt x="333" y="858"/>
                    <a:pt x="333" y="775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8" name="Google Shape;11408;p60"/>
            <p:cNvSpPr/>
            <p:nvPr/>
          </p:nvSpPr>
          <p:spPr>
            <a:xfrm>
              <a:off x="5090501" y="4075641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2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25" y="70"/>
                    <a:pt x="1" y="165"/>
                    <a:pt x="48" y="248"/>
                  </a:cubicBezTo>
                  <a:lnTo>
                    <a:pt x="346" y="760"/>
                  </a:lnTo>
                  <a:cubicBezTo>
                    <a:pt x="370" y="815"/>
                    <a:pt x="424" y="844"/>
                    <a:pt x="479" y="844"/>
                  </a:cubicBezTo>
                  <a:cubicBezTo>
                    <a:pt x="507" y="844"/>
                    <a:pt x="536" y="836"/>
                    <a:pt x="560" y="820"/>
                  </a:cubicBezTo>
                  <a:cubicBezTo>
                    <a:pt x="644" y="784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9" name="Google Shape;11409;p60"/>
            <p:cNvSpPr/>
            <p:nvPr/>
          </p:nvSpPr>
          <p:spPr>
            <a:xfrm>
              <a:off x="5117809" y="4048142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95" y="1"/>
                  </a:moveTo>
                  <a:cubicBezTo>
                    <a:pt x="136" y="1"/>
                    <a:pt x="81" y="27"/>
                    <a:pt x="48" y="77"/>
                  </a:cubicBezTo>
                  <a:cubicBezTo>
                    <a:pt x="0" y="160"/>
                    <a:pt x="36" y="243"/>
                    <a:pt x="107" y="291"/>
                  </a:cubicBezTo>
                  <a:cubicBezTo>
                    <a:pt x="643" y="588"/>
                    <a:pt x="631" y="612"/>
                    <a:pt x="714" y="612"/>
                  </a:cubicBezTo>
                  <a:cubicBezTo>
                    <a:pt x="774" y="612"/>
                    <a:pt x="822" y="588"/>
                    <a:pt x="845" y="541"/>
                  </a:cubicBezTo>
                  <a:cubicBezTo>
                    <a:pt x="893" y="469"/>
                    <a:pt x="869" y="362"/>
                    <a:pt x="786" y="315"/>
                  </a:cubicBezTo>
                  <a:lnTo>
                    <a:pt x="274" y="17"/>
                  </a:lnTo>
                  <a:cubicBezTo>
                    <a:pt x="248" y="6"/>
                    <a:pt x="221" y="1"/>
                    <a:pt x="1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0" name="Google Shape;11410;p60"/>
            <p:cNvSpPr/>
            <p:nvPr/>
          </p:nvSpPr>
          <p:spPr>
            <a:xfrm>
              <a:off x="5128790" y="4010012"/>
              <a:ext cx="29950" cy="10248"/>
            </a:xfrm>
            <a:custGeom>
              <a:avLst/>
              <a:gdLst/>
              <a:ahLst/>
              <a:cxnLst/>
              <a:rect l="l" t="t" r="r" b="b"/>
              <a:pathLst>
                <a:path w="941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1" name="Google Shape;11411;p60"/>
            <p:cNvSpPr/>
            <p:nvPr/>
          </p:nvSpPr>
          <p:spPr>
            <a:xfrm>
              <a:off x="5117809" y="3962717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706" y="0"/>
                  </a:moveTo>
                  <a:cubicBezTo>
                    <a:pt x="679" y="0"/>
                    <a:pt x="654" y="7"/>
                    <a:pt x="631" y="22"/>
                  </a:cubicBezTo>
                  <a:lnTo>
                    <a:pt x="107" y="320"/>
                  </a:lnTo>
                  <a:cubicBezTo>
                    <a:pt x="36" y="367"/>
                    <a:pt x="0" y="475"/>
                    <a:pt x="48" y="546"/>
                  </a:cubicBezTo>
                  <a:cubicBezTo>
                    <a:pt x="83" y="594"/>
                    <a:pt x="143" y="617"/>
                    <a:pt x="202" y="617"/>
                  </a:cubicBezTo>
                  <a:cubicBezTo>
                    <a:pt x="226" y="617"/>
                    <a:pt x="262" y="617"/>
                    <a:pt x="274" y="605"/>
                  </a:cubicBezTo>
                  <a:lnTo>
                    <a:pt x="798" y="308"/>
                  </a:lnTo>
                  <a:cubicBezTo>
                    <a:pt x="869" y="260"/>
                    <a:pt x="893" y="165"/>
                    <a:pt x="857" y="82"/>
                  </a:cubicBezTo>
                  <a:cubicBezTo>
                    <a:pt x="825" y="33"/>
                    <a:pt x="764" y="0"/>
                    <a:pt x="7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2" name="Google Shape;11412;p60"/>
            <p:cNvSpPr/>
            <p:nvPr/>
          </p:nvSpPr>
          <p:spPr>
            <a:xfrm>
              <a:off x="5090501" y="3928152"/>
              <a:ext cx="20879" cy="26958"/>
            </a:xfrm>
            <a:custGeom>
              <a:avLst/>
              <a:gdLst/>
              <a:ahLst/>
              <a:cxnLst/>
              <a:rect l="l" t="t" r="r" b="b"/>
              <a:pathLst>
                <a:path w="656" h="847" extrusionOk="0">
                  <a:moveTo>
                    <a:pt x="475" y="0"/>
                  </a:moveTo>
                  <a:cubicBezTo>
                    <a:pt x="424" y="0"/>
                    <a:pt x="370" y="29"/>
                    <a:pt x="346" y="84"/>
                  </a:cubicBezTo>
                  <a:lnTo>
                    <a:pt x="48" y="608"/>
                  </a:lnTo>
                  <a:cubicBezTo>
                    <a:pt x="1" y="679"/>
                    <a:pt x="25" y="787"/>
                    <a:pt x="108" y="834"/>
                  </a:cubicBezTo>
                  <a:cubicBezTo>
                    <a:pt x="132" y="846"/>
                    <a:pt x="168" y="846"/>
                    <a:pt x="179" y="846"/>
                  </a:cubicBezTo>
                  <a:cubicBezTo>
                    <a:pt x="239" y="846"/>
                    <a:pt x="287" y="810"/>
                    <a:pt x="310" y="775"/>
                  </a:cubicBezTo>
                  <a:lnTo>
                    <a:pt x="608" y="251"/>
                  </a:lnTo>
                  <a:cubicBezTo>
                    <a:pt x="656" y="179"/>
                    <a:pt x="620" y="72"/>
                    <a:pt x="549" y="25"/>
                  </a:cubicBezTo>
                  <a:cubicBezTo>
                    <a:pt x="528" y="8"/>
                    <a:pt x="502" y="0"/>
                    <a:pt x="4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4068A91-4C7D-3073-107B-F4684A9E2F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117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767723"/>
            <a:ext cx="7813076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 - Nutzen und Vergleich verschiedener Algorithmen in mehreren Iterationen</a:t>
            </a:r>
            <a:endParaRPr dirty="0"/>
          </a:p>
        </p:txBody>
      </p:sp>
      <p:sp>
        <p:nvSpPr>
          <p:cNvPr id="659" name="Google Shape;659;p31"/>
          <p:cNvSpPr/>
          <p:nvPr/>
        </p:nvSpPr>
        <p:spPr>
          <a:xfrm>
            <a:off x="393678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3" name="Google Shape;663;p31"/>
          <p:cNvGrpSpPr/>
          <p:nvPr/>
        </p:nvGrpSpPr>
        <p:grpSpPr>
          <a:xfrm>
            <a:off x="3828658" y="3854100"/>
            <a:ext cx="3601799" cy="274905"/>
            <a:chOff x="3828658" y="3897730"/>
            <a:chExt cx="3601799" cy="274905"/>
          </a:xfrm>
        </p:grpSpPr>
        <p:sp>
          <p:nvSpPr>
            <p:cNvPr id="664" name="Google Shape;664;p31"/>
            <p:cNvSpPr/>
            <p:nvPr/>
          </p:nvSpPr>
          <p:spPr>
            <a:xfrm>
              <a:off x="3829516" y="3897730"/>
              <a:ext cx="2234837" cy="106414"/>
            </a:xfrm>
            <a:custGeom>
              <a:avLst/>
              <a:gdLst/>
              <a:ahLst/>
              <a:cxnLst/>
              <a:rect l="l" t="t" r="r" b="b"/>
              <a:pathLst>
                <a:path w="31251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30507" y="1487"/>
                  </a:lnTo>
                  <a:cubicBezTo>
                    <a:pt x="30911" y="1487"/>
                    <a:pt x="31251" y="1159"/>
                    <a:pt x="31251" y="744"/>
                  </a:cubicBezTo>
                  <a:cubicBezTo>
                    <a:pt x="31251" y="340"/>
                    <a:pt x="30911" y="0"/>
                    <a:pt x="3050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" name="Google Shape;665;p31"/>
            <p:cNvSpPr/>
            <p:nvPr/>
          </p:nvSpPr>
          <p:spPr>
            <a:xfrm>
              <a:off x="3828658" y="4067150"/>
              <a:ext cx="3601799" cy="105485"/>
            </a:xfrm>
            <a:custGeom>
              <a:avLst/>
              <a:gdLst/>
              <a:ahLst/>
              <a:cxnLst/>
              <a:rect l="l" t="t" r="r" b="b"/>
              <a:pathLst>
                <a:path w="50366" h="1475" extrusionOk="0">
                  <a:moveTo>
                    <a:pt x="743" y="0"/>
                  </a:moveTo>
                  <a:cubicBezTo>
                    <a:pt x="340" y="0"/>
                    <a:pt x="0" y="328"/>
                    <a:pt x="0" y="731"/>
                  </a:cubicBezTo>
                  <a:cubicBezTo>
                    <a:pt x="13" y="1147"/>
                    <a:pt x="340" y="1474"/>
                    <a:pt x="743" y="1474"/>
                  </a:cubicBezTo>
                  <a:lnTo>
                    <a:pt x="49635" y="1474"/>
                  </a:lnTo>
                  <a:cubicBezTo>
                    <a:pt x="50038" y="1474"/>
                    <a:pt x="50366" y="1147"/>
                    <a:pt x="50366" y="731"/>
                  </a:cubicBezTo>
                  <a:cubicBezTo>
                    <a:pt x="50366" y="328"/>
                    <a:pt x="50038" y="0"/>
                    <a:pt x="4963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6" name="Google Shape;666;p31"/>
          <p:cNvGrpSpPr/>
          <p:nvPr/>
        </p:nvGrpSpPr>
        <p:grpSpPr>
          <a:xfrm>
            <a:off x="3811494" y="298330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16957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38404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2684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1"/>
                </a:solidFill>
              </a:rPr>
              <a:t>FP-Growth</a:t>
            </a:r>
            <a:endParaRPr sz="1800" dirty="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147950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07023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2"/>
                </a:solidFill>
              </a:rPr>
              <a:t>Apiori</a:t>
            </a:r>
            <a:endParaRPr sz="1800" dirty="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28130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8720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3"/>
                </a:solidFill>
              </a:rPr>
              <a:t>Clustering</a:t>
            </a:r>
            <a:endParaRPr sz="1800" dirty="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08310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81" name="Google Shape;681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725394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/>
              <a:t>Neural Networks</a:t>
            </a:r>
            <a:endParaRPr sz="1800" dirty="0"/>
          </a:p>
        </p:txBody>
      </p:sp>
      <p:sp>
        <p:nvSpPr>
          <p:cNvPr id="682" name="Google Shape;682;p31"/>
          <p:cNvSpPr txBox="1">
            <a:spLocks noGrp="1"/>
          </p:cNvSpPr>
          <p:nvPr>
            <p:ph type="subTitle" idx="4294967295"/>
          </p:nvPr>
        </p:nvSpPr>
        <p:spPr>
          <a:xfrm>
            <a:off x="1140600" y="3936475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7099AFF-8C7C-4211-85EA-15FD52EA221A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Vorgehen mehrere Iterationen auf Tonspur</a:t>
            </a:r>
          </a:p>
        </p:txBody>
      </p:sp>
    </p:spTree>
    <p:extLst>
      <p:ext uri="{BB962C8B-B14F-4D97-AF65-F5344CB8AC3E}">
        <p14:creationId xmlns:p14="http://schemas.microsoft.com/office/powerpoint/2010/main" val="174818848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1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7" name="Google Shape;11417;p61"/>
          <p:cNvSpPr txBox="1">
            <a:spLocks noGrp="1"/>
          </p:cNvSpPr>
          <p:nvPr>
            <p:ph type="title" idx="4294967295"/>
          </p:nvPr>
        </p:nvSpPr>
        <p:spPr>
          <a:xfrm>
            <a:off x="849675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Help &amp; Support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18" name="Google Shape;11418;p61"/>
          <p:cNvSpPr txBox="1">
            <a:spLocks noGrp="1"/>
          </p:cNvSpPr>
          <p:nvPr>
            <p:ph type="title" idx="4294967295"/>
          </p:nvPr>
        </p:nvSpPr>
        <p:spPr>
          <a:xfrm>
            <a:off x="4858400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Avatar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419" name="Google Shape;11419;p61"/>
          <p:cNvGrpSpPr/>
          <p:nvPr/>
        </p:nvGrpSpPr>
        <p:grpSpPr>
          <a:xfrm>
            <a:off x="2704005" y="4258781"/>
            <a:ext cx="342144" cy="362704"/>
            <a:chOff x="2704005" y="4258781"/>
            <a:chExt cx="342144" cy="362704"/>
          </a:xfrm>
        </p:grpSpPr>
        <p:sp>
          <p:nvSpPr>
            <p:cNvPr id="11420" name="Google Shape;11420;p61"/>
            <p:cNvSpPr/>
            <p:nvPr/>
          </p:nvSpPr>
          <p:spPr>
            <a:xfrm>
              <a:off x="2704005" y="4258781"/>
              <a:ext cx="173543" cy="183554"/>
            </a:xfrm>
            <a:custGeom>
              <a:avLst/>
              <a:gdLst/>
              <a:ahLst/>
              <a:cxnLst/>
              <a:rect l="l" t="t" r="r" b="b"/>
              <a:pathLst>
                <a:path w="5478" h="5794" extrusionOk="0">
                  <a:moveTo>
                    <a:pt x="2646" y="0"/>
                  </a:moveTo>
                  <a:cubicBezTo>
                    <a:pt x="2134" y="0"/>
                    <a:pt x="1626" y="154"/>
                    <a:pt x="1191" y="447"/>
                  </a:cubicBezTo>
                  <a:cubicBezTo>
                    <a:pt x="798" y="709"/>
                    <a:pt x="489" y="1066"/>
                    <a:pt x="298" y="1483"/>
                  </a:cubicBezTo>
                  <a:cubicBezTo>
                    <a:pt x="108" y="1876"/>
                    <a:pt x="1" y="2328"/>
                    <a:pt x="24" y="2769"/>
                  </a:cubicBezTo>
                  <a:cubicBezTo>
                    <a:pt x="24" y="2864"/>
                    <a:pt x="120" y="2936"/>
                    <a:pt x="203" y="2936"/>
                  </a:cubicBezTo>
                  <a:cubicBezTo>
                    <a:pt x="298" y="2936"/>
                    <a:pt x="370" y="2852"/>
                    <a:pt x="370" y="2757"/>
                  </a:cubicBezTo>
                  <a:cubicBezTo>
                    <a:pt x="346" y="1935"/>
                    <a:pt x="715" y="1197"/>
                    <a:pt x="1394" y="733"/>
                  </a:cubicBezTo>
                  <a:cubicBezTo>
                    <a:pt x="1786" y="473"/>
                    <a:pt x="2229" y="348"/>
                    <a:pt x="2668" y="348"/>
                  </a:cubicBezTo>
                  <a:cubicBezTo>
                    <a:pt x="3413" y="348"/>
                    <a:pt x="4146" y="709"/>
                    <a:pt x="4596" y="1376"/>
                  </a:cubicBezTo>
                  <a:cubicBezTo>
                    <a:pt x="5168" y="2209"/>
                    <a:pt x="5120" y="3293"/>
                    <a:pt x="4489" y="4079"/>
                  </a:cubicBezTo>
                  <a:cubicBezTo>
                    <a:pt x="4465" y="4114"/>
                    <a:pt x="4453" y="4162"/>
                    <a:pt x="4465" y="4198"/>
                  </a:cubicBezTo>
                  <a:lnTo>
                    <a:pt x="4525" y="5376"/>
                  </a:lnTo>
                  <a:lnTo>
                    <a:pt x="3453" y="4876"/>
                  </a:lnTo>
                  <a:cubicBezTo>
                    <a:pt x="3418" y="4852"/>
                    <a:pt x="3382" y="4852"/>
                    <a:pt x="3334" y="4852"/>
                  </a:cubicBezTo>
                  <a:cubicBezTo>
                    <a:pt x="3123" y="4915"/>
                    <a:pt x="2908" y="4945"/>
                    <a:pt x="2695" y="4945"/>
                  </a:cubicBezTo>
                  <a:cubicBezTo>
                    <a:pt x="1939" y="4945"/>
                    <a:pt x="1214" y="4565"/>
                    <a:pt x="786" y="3924"/>
                  </a:cubicBezTo>
                  <a:cubicBezTo>
                    <a:pt x="667" y="3745"/>
                    <a:pt x="584" y="3567"/>
                    <a:pt x="524" y="3352"/>
                  </a:cubicBezTo>
                  <a:cubicBezTo>
                    <a:pt x="495" y="3283"/>
                    <a:pt x="433" y="3239"/>
                    <a:pt x="359" y="3239"/>
                  </a:cubicBezTo>
                  <a:cubicBezTo>
                    <a:pt x="343" y="3239"/>
                    <a:pt x="327" y="3241"/>
                    <a:pt x="310" y="3245"/>
                  </a:cubicBezTo>
                  <a:cubicBezTo>
                    <a:pt x="227" y="3281"/>
                    <a:pt x="179" y="3364"/>
                    <a:pt x="203" y="3459"/>
                  </a:cubicBezTo>
                  <a:cubicBezTo>
                    <a:pt x="286" y="3686"/>
                    <a:pt x="382" y="3900"/>
                    <a:pt x="524" y="4090"/>
                  </a:cubicBezTo>
                  <a:cubicBezTo>
                    <a:pt x="1018" y="4840"/>
                    <a:pt x="1844" y="5272"/>
                    <a:pt x="2713" y="5272"/>
                  </a:cubicBezTo>
                  <a:cubicBezTo>
                    <a:pt x="2935" y="5272"/>
                    <a:pt x="3159" y="5244"/>
                    <a:pt x="3382" y="5186"/>
                  </a:cubicBezTo>
                  <a:lnTo>
                    <a:pt x="4644" y="5781"/>
                  </a:lnTo>
                  <a:cubicBezTo>
                    <a:pt x="4668" y="5793"/>
                    <a:pt x="4692" y="5793"/>
                    <a:pt x="4715" y="5793"/>
                  </a:cubicBezTo>
                  <a:cubicBezTo>
                    <a:pt x="4751" y="5793"/>
                    <a:pt x="4775" y="5781"/>
                    <a:pt x="4811" y="5757"/>
                  </a:cubicBezTo>
                  <a:cubicBezTo>
                    <a:pt x="4846" y="5734"/>
                    <a:pt x="4882" y="5674"/>
                    <a:pt x="4882" y="5614"/>
                  </a:cubicBezTo>
                  <a:lnTo>
                    <a:pt x="4823" y="4210"/>
                  </a:lnTo>
                  <a:cubicBezTo>
                    <a:pt x="5442" y="3328"/>
                    <a:pt x="5477" y="2102"/>
                    <a:pt x="4846" y="1162"/>
                  </a:cubicBezTo>
                  <a:cubicBezTo>
                    <a:pt x="4465" y="590"/>
                    <a:pt x="3870" y="185"/>
                    <a:pt x="3168" y="54"/>
                  </a:cubicBezTo>
                  <a:cubicBezTo>
                    <a:pt x="2995" y="18"/>
                    <a:pt x="2820" y="0"/>
                    <a:pt x="2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1" name="Google Shape;11421;p61"/>
            <p:cNvSpPr/>
            <p:nvPr/>
          </p:nvSpPr>
          <p:spPr>
            <a:xfrm>
              <a:off x="2733816" y="4278961"/>
              <a:ext cx="112052" cy="122633"/>
            </a:xfrm>
            <a:custGeom>
              <a:avLst/>
              <a:gdLst/>
              <a:ahLst/>
              <a:cxnLst/>
              <a:rect l="l" t="t" r="r" b="b"/>
              <a:pathLst>
                <a:path w="3537" h="3871" extrusionOk="0">
                  <a:moveTo>
                    <a:pt x="2285" y="0"/>
                  </a:moveTo>
                  <a:cubicBezTo>
                    <a:pt x="2256" y="0"/>
                    <a:pt x="2227" y="8"/>
                    <a:pt x="2203" y="24"/>
                  </a:cubicBezTo>
                  <a:cubicBezTo>
                    <a:pt x="2119" y="60"/>
                    <a:pt x="2096" y="167"/>
                    <a:pt x="2143" y="239"/>
                  </a:cubicBezTo>
                  <a:lnTo>
                    <a:pt x="2227" y="394"/>
                  </a:lnTo>
                  <a:cubicBezTo>
                    <a:pt x="2084" y="346"/>
                    <a:pt x="1917" y="334"/>
                    <a:pt x="1762" y="334"/>
                  </a:cubicBezTo>
                  <a:cubicBezTo>
                    <a:pt x="786" y="334"/>
                    <a:pt x="0" y="1120"/>
                    <a:pt x="0" y="2108"/>
                  </a:cubicBezTo>
                  <a:cubicBezTo>
                    <a:pt x="0" y="3084"/>
                    <a:pt x="786" y="3870"/>
                    <a:pt x="1762" y="3870"/>
                  </a:cubicBezTo>
                  <a:cubicBezTo>
                    <a:pt x="2750" y="3870"/>
                    <a:pt x="3536" y="3084"/>
                    <a:pt x="3536" y="2108"/>
                  </a:cubicBezTo>
                  <a:cubicBezTo>
                    <a:pt x="3477" y="1941"/>
                    <a:pt x="3465" y="1810"/>
                    <a:pt x="3429" y="1679"/>
                  </a:cubicBezTo>
                  <a:cubicBezTo>
                    <a:pt x="3420" y="1603"/>
                    <a:pt x="3349" y="1550"/>
                    <a:pt x="3279" y="1550"/>
                  </a:cubicBezTo>
                  <a:cubicBezTo>
                    <a:pt x="3261" y="1550"/>
                    <a:pt x="3243" y="1553"/>
                    <a:pt x="3227" y="1560"/>
                  </a:cubicBezTo>
                  <a:cubicBezTo>
                    <a:pt x="3131" y="1572"/>
                    <a:pt x="3072" y="1656"/>
                    <a:pt x="3108" y="1763"/>
                  </a:cubicBezTo>
                  <a:cubicBezTo>
                    <a:pt x="3131" y="1870"/>
                    <a:pt x="3155" y="1989"/>
                    <a:pt x="3155" y="2096"/>
                  </a:cubicBezTo>
                  <a:cubicBezTo>
                    <a:pt x="3155" y="2882"/>
                    <a:pt x="2512" y="3525"/>
                    <a:pt x="1715" y="3525"/>
                  </a:cubicBezTo>
                  <a:cubicBezTo>
                    <a:pt x="929" y="3525"/>
                    <a:pt x="286" y="2882"/>
                    <a:pt x="286" y="2096"/>
                  </a:cubicBezTo>
                  <a:cubicBezTo>
                    <a:pt x="286" y="1298"/>
                    <a:pt x="929" y="667"/>
                    <a:pt x="1715" y="667"/>
                  </a:cubicBezTo>
                  <a:cubicBezTo>
                    <a:pt x="1834" y="667"/>
                    <a:pt x="1941" y="679"/>
                    <a:pt x="2060" y="703"/>
                  </a:cubicBezTo>
                  <a:lnTo>
                    <a:pt x="1881" y="751"/>
                  </a:lnTo>
                  <a:cubicBezTo>
                    <a:pt x="1798" y="763"/>
                    <a:pt x="1738" y="858"/>
                    <a:pt x="1762" y="965"/>
                  </a:cubicBezTo>
                  <a:cubicBezTo>
                    <a:pt x="1772" y="1031"/>
                    <a:pt x="1834" y="1083"/>
                    <a:pt x="1913" y="1083"/>
                  </a:cubicBezTo>
                  <a:cubicBezTo>
                    <a:pt x="1934" y="1083"/>
                    <a:pt x="1955" y="1079"/>
                    <a:pt x="1977" y="1072"/>
                  </a:cubicBezTo>
                  <a:lnTo>
                    <a:pt x="2655" y="929"/>
                  </a:lnTo>
                  <a:cubicBezTo>
                    <a:pt x="2762" y="894"/>
                    <a:pt x="2822" y="775"/>
                    <a:pt x="2762" y="679"/>
                  </a:cubicBezTo>
                  <a:lnTo>
                    <a:pt x="2417" y="84"/>
                  </a:lnTo>
                  <a:cubicBezTo>
                    <a:pt x="2394" y="29"/>
                    <a:pt x="2339" y="0"/>
                    <a:pt x="22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2" name="Google Shape;11422;p61"/>
            <p:cNvSpPr/>
            <p:nvPr/>
          </p:nvSpPr>
          <p:spPr>
            <a:xfrm>
              <a:off x="2759445" y="4322711"/>
              <a:ext cx="33993" cy="44542"/>
            </a:xfrm>
            <a:custGeom>
              <a:avLst/>
              <a:gdLst/>
              <a:ahLst/>
              <a:cxnLst/>
              <a:rect l="l" t="t" r="r" b="b"/>
              <a:pathLst>
                <a:path w="1073" h="1406" extrusionOk="0">
                  <a:moveTo>
                    <a:pt x="513" y="1"/>
                  </a:moveTo>
                  <a:cubicBezTo>
                    <a:pt x="239" y="1"/>
                    <a:pt x="36" y="203"/>
                    <a:pt x="36" y="453"/>
                  </a:cubicBezTo>
                  <a:cubicBezTo>
                    <a:pt x="36" y="548"/>
                    <a:pt x="108" y="620"/>
                    <a:pt x="203" y="620"/>
                  </a:cubicBezTo>
                  <a:cubicBezTo>
                    <a:pt x="287" y="620"/>
                    <a:pt x="358" y="548"/>
                    <a:pt x="358" y="453"/>
                  </a:cubicBezTo>
                  <a:cubicBezTo>
                    <a:pt x="358" y="382"/>
                    <a:pt x="417" y="322"/>
                    <a:pt x="513" y="322"/>
                  </a:cubicBezTo>
                  <a:lnTo>
                    <a:pt x="560" y="322"/>
                  </a:lnTo>
                  <a:cubicBezTo>
                    <a:pt x="572" y="322"/>
                    <a:pt x="584" y="334"/>
                    <a:pt x="584" y="334"/>
                  </a:cubicBezTo>
                  <a:lnTo>
                    <a:pt x="584" y="358"/>
                  </a:lnTo>
                  <a:lnTo>
                    <a:pt x="48" y="1144"/>
                  </a:lnTo>
                  <a:cubicBezTo>
                    <a:pt x="13" y="1191"/>
                    <a:pt x="1" y="1263"/>
                    <a:pt x="36" y="1322"/>
                  </a:cubicBezTo>
                  <a:cubicBezTo>
                    <a:pt x="60" y="1382"/>
                    <a:pt x="120" y="1406"/>
                    <a:pt x="179" y="1406"/>
                  </a:cubicBezTo>
                  <a:lnTo>
                    <a:pt x="906" y="1406"/>
                  </a:lnTo>
                  <a:cubicBezTo>
                    <a:pt x="1001" y="1406"/>
                    <a:pt x="1072" y="1334"/>
                    <a:pt x="1072" y="1251"/>
                  </a:cubicBezTo>
                  <a:cubicBezTo>
                    <a:pt x="1072" y="1156"/>
                    <a:pt x="1037" y="1072"/>
                    <a:pt x="929" y="1072"/>
                  </a:cubicBezTo>
                  <a:lnTo>
                    <a:pt x="513" y="1072"/>
                  </a:lnTo>
                  <a:lnTo>
                    <a:pt x="870" y="548"/>
                  </a:lnTo>
                  <a:cubicBezTo>
                    <a:pt x="941" y="441"/>
                    <a:pt x="941" y="310"/>
                    <a:pt x="882" y="191"/>
                  </a:cubicBezTo>
                  <a:cubicBezTo>
                    <a:pt x="822" y="72"/>
                    <a:pt x="691" y="1"/>
                    <a:pt x="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3" name="Google Shape;11423;p61"/>
            <p:cNvSpPr/>
            <p:nvPr/>
          </p:nvSpPr>
          <p:spPr>
            <a:xfrm>
              <a:off x="2791885" y="4321951"/>
              <a:ext cx="26073" cy="44922"/>
            </a:xfrm>
            <a:custGeom>
              <a:avLst/>
              <a:gdLst/>
              <a:ahLst/>
              <a:cxnLst/>
              <a:rect l="l" t="t" r="r" b="b"/>
              <a:pathLst>
                <a:path w="823" h="1418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751"/>
                  </a:lnTo>
                  <a:cubicBezTo>
                    <a:pt x="1" y="834"/>
                    <a:pt x="84" y="918"/>
                    <a:pt x="167" y="918"/>
                  </a:cubicBezTo>
                  <a:lnTo>
                    <a:pt x="501" y="918"/>
                  </a:lnTo>
                  <a:lnTo>
                    <a:pt x="501" y="1251"/>
                  </a:lnTo>
                  <a:cubicBezTo>
                    <a:pt x="501" y="1346"/>
                    <a:pt x="572" y="1418"/>
                    <a:pt x="667" y="1418"/>
                  </a:cubicBezTo>
                  <a:cubicBezTo>
                    <a:pt x="751" y="1418"/>
                    <a:pt x="822" y="1346"/>
                    <a:pt x="822" y="1251"/>
                  </a:cubicBezTo>
                  <a:lnTo>
                    <a:pt x="822" y="751"/>
                  </a:lnTo>
                  <a:lnTo>
                    <a:pt x="822" y="168"/>
                  </a:lnTo>
                  <a:cubicBezTo>
                    <a:pt x="810" y="84"/>
                    <a:pt x="739" y="1"/>
                    <a:pt x="644" y="1"/>
                  </a:cubicBezTo>
                  <a:cubicBezTo>
                    <a:pt x="560" y="1"/>
                    <a:pt x="477" y="84"/>
                    <a:pt x="477" y="168"/>
                  </a:cubicBezTo>
                  <a:lnTo>
                    <a:pt x="477" y="572"/>
                  </a:lnTo>
                  <a:lnTo>
                    <a:pt x="334" y="572"/>
                  </a:lnTo>
                  <a:lnTo>
                    <a:pt x="334" y="168"/>
                  </a:lnTo>
                  <a:cubicBezTo>
                    <a:pt x="334" y="84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4" name="Google Shape;11424;p61"/>
            <p:cNvSpPr/>
            <p:nvPr/>
          </p:nvSpPr>
          <p:spPr>
            <a:xfrm>
              <a:off x="2828095" y="4322648"/>
              <a:ext cx="218053" cy="170597"/>
            </a:xfrm>
            <a:custGeom>
              <a:avLst/>
              <a:gdLst/>
              <a:ahLst/>
              <a:cxnLst/>
              <a:rect l="l" t="t" r="r" b="b"/>
              <a:pathLst>
                <a:path w="6883" h="5385" extrusionOk="0">
                  <a:moveTo>
                    <a:pt x="4111" y="0"/>
                  </a:moveTo>
                  <a:cubicBezTo>
                    <a:pt x="4032" y="0"/>
                    <a:pt x="3952" y="5"/>
                    <a:pt x="3870" y="15"/>
                  </a:cubicBezTo>
                  <a:cubicBezTo>
                    <a:pt x="3251" y="62"/>
                    <a:pt x="2632" y="372"/>
                    <a:pt x="2156" y="860"/>
                  </a:cubicBezTo>
                  <a:cubicBezTo>
                    <a:pt x="1679" y="1348"/>
                    <a:pt x="1382" y="1979"/>
                    <a:pt x="1334" y="2586"/>
                  </a:cubicBezTo>
                  <a:cubicBezTo>
                    <a:pt x="1310" y="3015"/>
                    <a:pt x="1382" y="3420"/>
                    <a:pt x="1549" y="3825"/>
                  </a:cubicBezTo>
                  <a:lnTo>
                    <a:pt x="72" y="5087"/>
                  </a:lnTo>
                  <a:cubicBezTo>
                    <a:pt x="1" y="5146"/>
                    <a:pt x="1" y="5253"/>
                    <a:pt x="60" y="5325"/>
                  </a:cubicBezTo>
                  <a:cubicBezTo>
                    <a:pt x="84" y="5372"/>
                    <a:pt x="132" y="5384"/>
                    <a:pt x="191" y="5384"/>
                  </a:cubicBezTo>
                  <a:cubicBezTo>
                    <a:pt x="227" y="5384"/>
                    <a:pt x="263" y="5372"/>
                    <a:pt x="298" y="5337"/>
                  </a:cubicBezTo>
                  <a:lnTo>
                    <a:pt x="1870" y="3991"/>
                  </a:lnTo>
                  <a:cubicBezTo>
                    <a:pt x="1930" y="3944"/>
                    <a:pt x="1941" y="3848"/>
                    <a:pt x="1918" y="3789"/>
                  </a:cubicBezTo>
                  <a:cubicBezTo>
                    <a:pt x="1739" y="3420"/>
                    <a:pt x="1668" y="3015"/>
                    <a:pt x="1691" y="2598"/>
                  </a:cubicBezTo>
                  <a:cubicBezTo>
                    <a:pt x="1763" y="1491"/>
                    <a:pt x="2811" y="431"/>
                    <a:pt x="3906" y="336"/>
                  </a:cubicBezTo>
                  <a:cubicBezTo>
                    <a:pt x="3965" y="333"/>
                    <a:pt x="4023" y="332"/>
                    <a:pt x="4081" y="332"/>
                  </a:cubicBezTo>
                  <a:cubicBezTo>
                    <a:pt x="4280" y="332"/>
                    <a:pt x="4474" y="350"/>
                    <a:pt x="4668" y="396"/>
                  </a:cubicBezTo>
                  <a:cubicBezTo>
                    <a:pt x="4716" y="419"/>
                    <a:pt x="4716" y="443"/>
                    <a:pt x="4727" y="455"/>
                  </a:cubicBezTo>
                  <a:cubicBezTo>
                    <a:pt x="4727" y="479"/>
                    <a:pt x="4739" y="503"/>
                    <a:pt x="4716" y="539"/>
                  </a:cubicBezTo>
                  <a:lnTo>
                    <a:pt x="3632" y="1622"/>
                  </a:lnTo>
                  <a:cubicBezTo>
                    <a:pt x="3477" y="1765"/>
                    <a:pt x="3394" y="1967"/>
                    <a:pt x="3394" y="2182"/>
                  </a:cubicBezTo>
                  <a:cubicBezTo>
                    <a:pt x="3394" y="2396"/>
                    <a:pt x="3477" y="2598"/>
                    <a:pt x="3632" y="2753"/>
                  </a:cubicBezTo>
                  <a:lnTo>
                    <a:pt x="4132" y="3253"/>
                  </a:lnTo>
                  <a:cubicBezTo>
                    <a:pt x="4287" y="3408"/>
                    <a:pt x="4489" y="3485"/>
                    <a:pt x="4692" y="3485"/>
                  </a:cubicBezTo>
                  <a:cubicBezTo>
                    <a:pt x="4894" y="3485"/>
                    <a:pt x="5097" y="3408"/>
                    <a:pt x="5251" y="3253"/>
                  </a:cubicBezTo>
                  <a:lnTo>
                    <a:pt x="6347" y="2158"/>
                  </a:lnTo>
                  <a:cubicBezTo>
                    <a:pt x="6369" y="2135"/>
                    <a:pt x="6387" y="2127"/>
                    <a:pt x="6403" y="2127"/>
                  </a:cubicBezTo>
                  <a:cubicBezTo>
                    <a:pt x="6413" y="2127"/>
                    <a:pt x="6421" y="2130"/>
                    <a:pt x="6430" y="2134"/>
                  </a:cubicBezTo>
                  <a:cubicBezTo>
                    <a:pt x="6442" y="2134"/>
                    <a:pt x="6466" y="2158"/>
                    <a:pt x="6478" y="2194"/>
                  </a:cubicBezTo>
                  <a:cubicBezTo>
                    <a:pt x="6537" y="2455"/>
                    <a:pt x="6573" y="2705"/>
                    <a:pt x="6537" y="2967"/>
                  </a:cubicBezTo>
                  <a:cubicBezTo>
                    <a:pt x="6478" y="3753"/>
                    <a:pt x="5966" y="4515"/>
                    <a:pt x="5216" y="4944"/>
                  </a:cubicBezTo>
                  <a:cubicBezTo>
                    <a:pt x="5144" y="4980"/>
                    <a:pt x="5108" y="5087"/>
                    <a:pt x="5156" y="5158"/>
                  </a:cubicBezTo>
                  <a:cubicBezTo>
                    <a:pt x="5187" y="5213"/>
                    <a:pt x="5244" y="5242"/>
                    <a:pt x="5300" y="5242"/>
                  </a:cubicBezTo>
                  <a:cubicBezTo>
                    <a:pt x="5329" y="5242"/>
                    <a:pt x="5358" y="5234"/>
                    <a:pt x="5382" y="5218"/>
                  </a:cubicBezTo>
                  <a:cubicBezTo>
                    <a:pt x="6228" y="4741"/>
                    <a:pt x="6823" y="3884"/>
                    <a:pt x="6883" y="2991"/>
                  </a:cubicBezTo>
                  <a:cubicBezTo>
                    <a:pt x="6871" y="2682"/>
                    <a:pt x="6859" y="2384"/>
                    <a:pt x="6775" y="2098"/>
                  </a:cubicBezTo>
                  <a:cubicBezTo>
                    <a:pt x="6752" y="1943"/>
                    <a:pt x="6632" y="1848"/>
                    <a:pt x="6478" y="1801"/>
                  </a:cubicBezTo>
                  <a:cubicBezTo>
                    <a:pt x="6440" y="1788"/>
                    <a:pt x="6402" y="1782"/>
                    <a:pt x="6364" y="1782"/>
                  </a:cubicBezTo>
                  <a:cubicBezTo>
                    <a:pt x="6258" y="1782"/>
                    <a:pt x="6155" y="1829"/>
                    <a:pt x="6085" y="1908"/>
                  </a:cubicBezTo>
                  <a:lnTo>
                    <a:pt x="4978" y="3003"/>
                  </a:lnTo>
                  <a:cubicBezTo>
                    <a:pt x="4888" y="3092"/>
                    <a:pt x="4772" y="3137"/>
                    <a:pt x="4658" y="3137"/>
                  </a:cubicBezTo>
                  <a:cubicBezTo>
                    <a:pt x="4543" y="3137"/>
                    <a:pt x="4430" y="3092"/>
                    <a:pt x="4346" y="3003"/>
                  </a:cubicBezTo>
                  <a:lnTo>
                    <a:pt x="3835" y="2503"/>
                  </a:lnTo>
                  <a:cubicBezTo>
                    <a:pt x="3751" y="2408"/>
                    <a:pt x="3704" y="2301"/>
                    <a:pt x="3704" y="2170"/>
                  </a:cubicBezTo>
                  <a:cubicBezTo>
                    <a:pt x="3704" y="2051"/>
                    <a:pt x="3751" y="1932"/>
                    <a:pt x="3835" y="1848"/>
                  </a:cubicBezTo>
                  <a:lnTo>
                    <a:pt x="4918" y="753"/>
                  </a:lnTo>
                  <a:cubicBezTo>
                    <a:pt x="5025" y="658"/>
                    <a:pt x="5073" y="491"/>
                    <a:pt x="5025" y="360"/>
                  </a:cubicBezTo>
                  <a:cubicBezTo>
                    <a:pt x="4978" y="205"/>
                    <a:pt x="4882" y="98"/>
                    <a:pt x="4727" y="74"/>
                  </a:cubicBezTo>
                  <a:cubicBezTo>
                    <a:pt x="4520" y="31"/>
                    <a:pt x="4320" y="0"/>
                    <a:pt x="41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5" name="Google Shape;11425;p61"/>
            <p:cNvSpPr/>
            <p:nvPr/>
          </p:nvSpPr>
          <p:spPr>
            <a:xfrm>
              <a:off x="2746995" y="4480034"/>
              <a:ext cx="232404" cy="141451"/>
            </a:xfrm>
            <a:custGeom>
              <a:avLst/>
              <a:gdLst/>
              <a:ahLst/>
              <a:cxnLst/>
              <a:rect l="l" t="t" r="r" b="b"/>
              <a:pathLst>
                <a:path w="7336" h="4465" extrusionOk="0">
                  <a:moveTo>
                    <a:pt x="5613" y="0"/>
                  </a:moveTo>
                  <a:cubicBezTo>
                    <a:pt x="5566" y="0"/>
                    <a:pt x="5522" y="19"/>
                    <a:pt x="5490" y="59"/>
                  </a:cubicBezTo>
                  <a:lnTo>
                    <a:pt x="2168" y="3905"/>
                  </a:lnTo>
                  <a:cubicBezTo>
                    <a:pt x="2049" y="4036"/>
                    <a:pt x="1870" y="4119"/>
                    <a:pt x="1692" y="4119"/>
                  </a:cubicBezTo>
                  <a:cubicBezTo>
                    <a:pt x="1513" y="4119"/>
                    <a:pt x="1334" y="4060"/>
                    <a:pt x="1203" y="3929"/>
                  </a:cubicBezTo>
                  <a:lnTo>
                    <a:pt x="549" y="3274"/>
                  </a:lnTo>
                  <a:cubicBezTo>
                    <a:pt x="429" y="3143"/>
                    <a:pt x="358" y="2976"/>
                    <a:pt x="358" y="2786"/>
                  </a:cubicBezTo>
                  <a:cubicBezTo>
                    <a:pt x="370" y="2607"/>
                    <a:pt x="441" y="2429"/>
                    <a:pt x="572" y="2321"/>
                  </a:cubicBezTo>
                  <a:lnTo>
                    <a:pt x="2334" y="821"/>
                  </a:lnTo>
                  <a:cubicBezTo>
                    <a:pt x="2406" y="762"/>
                    <a:pt x="2406" y="655"/>
                    <a:pt x="2346" y="583"/>
                  </a:cubicBezTo>
                  <a:cubicBezTo>
                    <a:pt x="2315" y="546"/>
                    <a:pt x="2271" y="528"/>
                    <a:pt x="2226" y="528"/>
                  </a:cubicBezTo>
                  <a:cubicBezTo>
                    <a:pt x="2185" y="528"/>
                    <a:pt x="2142" y="543"/>
                    <a:pt x="2108" y="571"/>
                  </a:cubicBezTo>
                  <a:lnTo>
                    <a:pt x="358" y="2071"/>
                  </a:lnTo>
                  <a:cubicBezTo>
                    <a:pt x="144" y="2250"/>
                    <a:pt x="25" y="2500"/>
                    <a:pt x="13" y="2786"/>
                  </a:cubicBezTo>
                  <a:cubicBezTo>
                    <a:pt x="1" y="3048"/>
                    <a:pt x="96" y="3322"/>
                    <a:pt x="299" y="3512"/>
                  </a:cubicBezTo>
                  <a:lnTo>
                    <a:pt x="953" y="4167"/>
                  </a:lnTo>
                  <a:cubicBezTo>
                    <a:pt x="1132" y="4357"/>
                    <a:pt x="1394" y="4465"/>
                    <a:pt x="1644" y="4465"/>
                  </a:cubicBezTo>
                  <a:lnTo>
                    <a:pt x="1680" y="4465"/>
                  </a:lnTo>
                  <a:cubicBezTo>
                    <a:pt x="1965" y="4453"/>
                    <a:pt x="2215" y="4334"/>
                    <a:pt x="2394" y="4119"/>
                  </a:cubicBezTo>
                  <a:lnTo>
                    <a:pt x="5633" y="369"/>
                  </a:lnTo>
                  <a:cubicBezTo>
                    <a:pt x="5970" y="502"/>
                    <a:pt x="6298" y="564"/>
                    <a:pt x="6648" y="564"/>
                  </a:cubicBezTo>
                  <a:cubicBezTo>
                    <a:pt x="6706" y="564"/>
                    <a:pt x="6764" y="563"/>
                    <a:pt x="6823" y="559"/>
                  </a:cubicBezTo>
                  <a:cubicBezTo>
                    <a:pt x="6942" y="559"/>
                    <a:pt x="7061" y="535"/>
                    <a:pt x="7180" y="524"/>
                  </a:cubicBezTo>
                  <a:cubicBezTo>
                    <a:pt x="7276" y="488"/>
                    <a:pt x="7335" y="404"/>
                    <a:pt x="7323" y="309"/>
                  </a:cubicBezTo>
                  <a:cubicBezTo>
                    <a:pt x="7301" y="233"/>
                    <a:pt x="7230" y="177"/>
                    <a:pt x="7145" y="177"/>
                  </a:cubicBezTo>
                  <a:cubicBezTo>
                    <a:pt x="7137" y="177"/>
                    <a:pt x="7129" y="177"/>
                    <a:pt x="7121" y="178"/>
                  </a:cubicBezTo>
                  <a:cubicBezTo>
                    <a:pt x="7026" y="190"/>
                    <a:pt x="6918" y="214"/>
                    <a:pt x="6823" y="226"/>
                  </a:cubicBezTo>
                  <a:cubicBezTo>
                    <a:pt x="6774" y="229"/>
                    <a:pt x="6725" y="230"/>
                    <a:pt x="6676" y="230"/>
                  </a:cubicBezTo>
                  <a:cubicBezTo>
                    <a:pt x="6335" y="230"/>
                    <a:pt x="6003" y="157"/>
                    <a:pt x="5680" y="12"/>
                  </a:cubicBezTo>
                  <a:cubicBezTo>
                    <a:pt x="5658" y="4"/>
                    <a:pt x="5635" y="0"/>
                    <a:pt x="56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6" name="Google Shape;11426;p61"/>
            <p:cNvSpPr/>
            <p:nvPr/>
          </p:nvSpPr>
          <p:spPr>
            <a:xfrm>
              <a:off x="2889206" y="4345046"/>
              <a:ext cx="46411" cy="47488"/>
            </a:xfrm>
            <a:custGeom>
              <a:avLst/>
              <a:gdLst/>
              <a:ahLst/>
              <a:cxnLst/>
              <a:rect l="l" t="t" r="r" b="b"/>
              <a:pathLst>
                <a:path w="1465" h="1499" extrusionOk="0">
                  <a:moveTo>
                    <a:pt x="1250" y="0"/>
                  </a:moveTo>
                  <a:cubicBezTo>
                    <a:pt x="1222" y="0"/>
                    <a:pt x="1193" y="7"/>
                    <a:pt x="1167" y="22"/>
                  </a:cubicBezTo>
                  <a:cubicBezTo>
                    <a:pt x="679" y="320"/>
                    <a:pt x="298" y="748"/>
                    <a:pt x="48" y="1260"/>
                  </a:cubicBezTo>
                  <a:cubicBezTo>
                    <a:pt x="1" y="1344"/>
                    <a:pt x="48" y="1439"/>
                    <a:pt x="120" y="1475"/>
                  </a:cubicBezTo>
                  <a:cubicBezTo>
                    <a:pt x="155" y="1498"/>
                    <a:pt x="167" y="1498"/>
                    <a:pt x="191" y="1498"/>
                  </a:cubicBezTo>
                  <a:cubicBezTo>
                    <a:pt x="251" y="1498"/>
                    <a:pt x="310" y="1463"/>
                    <a:pt x="346" y="1403"/>
                  </a:cubicBezTo>
                  <a:cubicBezTo>
                    <a:pt x="548" y="963"/>
                    <a:pt x="905" y="570"/>
                    <a:pt x="1322" y="308"/>
                  </a:cubicBezTo>
                  <a:cubicBezTo>
                    <a:pt x="1429" y="260"/>
                    <a:pt x="1465" y="153"/>
                    <a:pt x="1405" y="82"/>
                  </a:cubicBezTo>
                  <a:cubicBezTo>
                    <a:pt x="1373" y="33"/>
                    <a:pt x="1312" y="0"/>
                    <a:pt x="1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27" name="Google Shape;11427;p61"/>
          <p:cNvGrpSpPr/>
          <p:nvPr/>
        </p:nvGrpSpPr>
        <p:grpSpPr>
          <a:xfrm>
            <a:off x="2157462" y="4258496"/>
            <a:ext cx="347435" cy="363370"/>
            <a:chOff x="2157462" y="4258496"/>
            <a:chExt cx="347435" cy="363370"/>
          </a:xfrm>
        </p:grpSpPr>
        <p:sp>
          <p:nvSpPr>
            <p:cNvPr id="11428" name="Google Shape;11428;p61"/>
            <p:cNvSpPr/>
            <p:nvPr/>
          </p:nvSpPr>
          <p:spPr>
            <a:xfrm>
              <a:off x="2296252" y="4258496"/>
              <a:ext cx="208644" cy="220778"/>
            </a:xfrm>
            <a:custGeom>
              <a:avLst/>
              <a:gdLst/>
              <a:ahLst/>
              <a:cxnLst/>
              <a:rect l="l" t="t" r="r" b="b"/>
              <a:pathLst>
                <a:path w="6586" h="6969" extrusionOk="0">
                  <a:moveTo>
                    <a:pt x="3322" y="0"/>
                  </a:moveTo>
                  <a:cubicBezTo>
                    <a:pt x="3113" y="0"/>
                    <a:pt x="2902" y="21"/>
                    <a:pt x="2692" y="63"/>
                  </a:cubicBezTo>
                  <a:cubicBezTo>
                    <a:pt x="1858" y="218"/>
                    <a:pt x="1144" y="694"/>
                    <a:pt x="668" y="1409"/>
                  </a:cubicBezTo>
                  <a:lnTo>
                    <a:pt x="489" y="1730"/>
                  </a:lnTo>
                  <a:cubicBezTo>
                    <a:pt x="441" y="1813"/>
                    <a:pt x="477" y="1909"/>
                    <a:pt x="560" y="1944"/>
                  </a:cubicBezTo>
                  <a:cubicBezTo>
                    <a:pt x="592" y="1960"/>
                    <a:pt x="623" y="1968"/>
                    <a:pt x="651" y="1968"/>
                  </a:cubicBezTo>
                  <a:cubicBezTo>
                    <a:pt x="707" y="1968"/>
                    <a:pt x="755" y="1936"/>
                    <a:pt x="787" y="1873"/>
                  </a:cubicBezTo>
                  <a:cubicBezTo>
                    <a:pt x="834" y="1766"/>
                    <a:pt x="894" y="1682"/>
                    <a:pt x="953" y="1587"/>
                  </a:cubicBezTo>
                  <a:cubicBezTo>
                    <a:pt x="1370" y="968"/>
                    <a:pt x="2001" y="539"/>
                    <a:pt x="2751" y="385"/>
                  </a:cubicBezTo>
                  <a:cubicBezTo>
                    <a:pt x="2936" y="349"/>
                    <a:pt x="3122" y="331"/>
                    <a:pt x="3307" y="331"/>
                  </a:cubicBezTo>
                  <a:cubicBezTo>
                    <a:pt x="3862" y="331"/>
                    <a:pt x="4409" y="492"/>
                    <a:pt x="4882" y="813"/>
                  </a:cubicBezTo>
                  <a:cubicBezTo>
                    <a:pt x="5502" y="1254"/>
                    <a:pt x="5930" y="1873"/>
                    <a:pt x="6085" y="2623"/>
                  </a:cubicBezTo>
                  <a:cubicBezTo>
                    <a:pt x="6228" y="3361"/>
                    <a:pt x="6085" y="4123"/>
                    <a:pt x="5656" y="4742"/>
                  </a:cubicBezTo>
                  <a:cubicBezTo>
                    <a:pt x="5117" y="5552"/>
                    <a:pt x="4227" y="6005"/>
                    <a:pt x="3296" y="6005"/>
                  </a:cubicBezTo>
                  <a:cubicBezTo>
                    <a:pt x="3036" y="6005"/>
                    <a:pt x="2773" y="5970"/>
                    <a:pt x="2513" y="5897"/>
                  </a:cubicBezTo>
                  <a:cubicBezTo>
                    <a:pt x="2492" y="5887"/>
                    <a:pt x="2475" y="5881"/>
                    <a:pt x="2459" y="5881"/>
                  </a:cubicBezTo>
                  <a:cubicBezTo>
                    <a:pt x="2439" y="5881"/>
                    <a:pt x="2420" y="5890"/>
                    <a:pt x="2394" y="5909"/>
                  </a:cubicBezTo>
                  <a:lnTo>
                    <a:pt x="1037" y="6552"/>
                  </a:lnTo>
                  <a:lnTo>
                    <a:pt x="1108" y="5040"/>
                  </a:lnTo>
                  <a:cubicBezTo>
                    <a:pt x="1108" y="5004"/>
                    <a:pt x="1096" y="4969"/>
                    <a:pt x="1084" y="4921"/>
                  </a:cubicBezTo>
                  <a:cubicBezTo>
                    <a:pt x="549" y="4242"/>
                    <a:pt x="334" y="3337"/>
                    <a:pt x="549" y="2480"/>
                  </a:cubicBezTo>
                  <a:cubicBezTo>
                    <a:pt x="560" y="2397"/>
                    <a:pt x="513" y="2302"/>
                    <a:pt x="430" y="2278"/>
                  </a:cubicBezTo>
                  <a:cubicBezTo>
                    <a:pt x="418" y="2276"/>
                    <a:pt x="406" y="2276"/>
                    <a:pt x="395" y="2276"/>
                  </a:cubicBezTo>
                  <a:cubicBezTo>
                    <a:pt x="314" y="2276"/>
                    <a:pt x="247" y="2313"/>
                    <a:pt x="215" y="2397"/>
                  </a:cubicBezTo>
                  <a:cubicBezTo>
                    <a:pt x="1" y="3314"/>
                    <a:pt x="203" y="4314"/>
                    <a:pt x="775" y="5076"/>
                  </a:cubicBezTo>
                  <a:lnTo>
                    <a:pt x="691" y="6790"/>
                  </a:lnTo>
                  <a:cubicBezTo>
                    <a:pt x="691" y="6850"/>
                    <a:pt x="727" y="6909"/>
                    <a:pt x="775" y="6933"/>
                  </a:cubicBezTo>
                  <a:cubicBezTo>
                    <a:pt x="799" y="6945"/>
                    <a:pt x="834" y="6969"/>
                    <a:pt x="858" y="6969"/>
                  </a:cubicBezTo>
                  <a:cubicBezTo>
                    <a:pt x="894" y="6969"/>
                    <a:pt x="906" y="6969"/>
                    <a:pt x="930" y="6945"/>
                  </a:cubicBezTo>
                  <a:lnTo>
                    <a:pt x="2477" y="6219"/>
                  </a:lnTo>
                  <a:cubicBezTo>
                    <a:pt x="2747" y="6290"/>
                    <a:pt x="3020" y="6324"/>
                    <a:pt x="3290" y="6324"/>
                  </a:cubicBezTo>
                  <a:cubicBezTo>
                    <a:pt x="3652" y="6324"/>
                    <a:pt x="4011" y="6263"/>
                    <a:pt x="4359" y="6147"/>
                  </a:cubicBezTo>
                  <a:cubicBezTo>
                    <a:pt x="5002" y="5921"/>
                    <a:pt x="5549" y="5492"/>
                    <a:pt x="5918" y="4921"/>
                  </a:cubicBezTo>
                  <a:cubicBezTo>
                    <a:pt x="6406" y="4242"/>
                    <a:pt x="6585" y="3397"/>
                    <a:pt x="6430" y="2564"/>
                  </a:cubicBezTo>
                  <a:cubicBezTo>
                    <a:pt x="6264" y="1730"/>
                    <a:pt x="5787" y="1016"/>
                    <a:pt x="5073" y="539"/>
                  </a:cubicBezTo>
                  <a:cubicBezTo>
                    <a:pt x="4548" y="183"/>
                    <a:pt x="3943" y="0"/>
                    <a:pt x="3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9" name="Google Shape;11429;p61"/>
            <p:cNvSpPr/>
            <p:nvPr/>
          </p:nvSpPr>
          <p:spPr>
            <a:xfrm>
              <a:off x="2157462" y="4323313"/>
              <a:ext cx="300643" cy="298552"/>
            </a:xfrm>
            <a:custGeom>
              <a:avLst/>
              <a:gdLst/>
              <a:ahLst/>
              <a:cxnLst/>
              <a:rect l="l" t="t" r="r" b="b"/>
              <a:pathLst>
                <a:path w="9490" h="9424" extrusionOk="0">
                  <a:moveTo>
                    <a:pt x="2453" y="410"/>
                  </a:moveTo>
                  <a:lnTo>
                    <a:pt x="3798" y="2684"/>
                  </a:lnTo>
                  <a:lnTo>
                    <a:pt x="3072" y="3113"/>
                  </a:lnTo>
                  <a:lnTo>
                    <a:pt x="1727" y="839"/>
                  </a:lnTo>
                  <a:lnTo>
                    <a:pt x="2453" y="410"/>
                  </a:lnTo>
                  <a:close/>
                  <a:moveTo>
                    <a:pt x="2533" y="1"/>
                  </a:moveTo>
                  <a:cubicBezTo>
                    <a:pt x="2503" y="1"/>
                    <a:pt x="2475" y="9"/>
                    <a:pt x="2441" y="17"/>
                  </a:cubicBezTo>
                  <a:lnTo>
                    <a:pt x="1429" y="613"/>
                  </a:lnTo>
                  <a:cubicBezTo>
                    <a:pt x="1358" y="660"/>
                    <a:pt x="1322" y="768"/>
                    <a:pt x="1370" y="839"/>
                  </a:cubicBezTo>
                  <a:lnTo>
                    <a:pt x="1477" y="1018"/>
                  </a:lnTo>
                  <a:lnTo>
                    <a:pt x="1060" y="1244"/>
                  </a:lnTo>
                  <a:cubicBezTo>
                    <a:pt x="631" y="1458"/>
                    <a:pt x="298" y="1851"/>
                    <a:pt x="143" y="2315"/>
                  </a:cubicBezTo>
                  <a:cubicBezTo>
                    <a:pt x="0" y="2780"/>
                    <a:pt x="24" y="3268"/>
                    <a:pt x="250" y="3708"/>
                  </a:cubicBezTo>
                  <a:cubicBezTo>
                    <a:pt x="465" y="4137"/>
                    <a:pt x="1084" y="4875"/>
                    <a:pt x="1572" y="5411"/>
                  </a:cubicBezTo>
                  <a:cubicBezTo>
                    <a:pt x="1608" y="5435"/>
                    <a:pt x="1655" y="5471"/>
                    <a:pt x="1691" y="5471"/>
                  </a:cubicBezTo>
                  <a:cubicBezTo>
                    <a:pt x="1739" y="5471"/>
                    <a:pt x="1774" y="5447"/>
                    <a:pt x="1810" y="5423"/>
                  </a:cubicBezTo>
                  <a:cubicBezTo>
                    <a:pt x="1893" y="5363"/>
                    <a:pt x="1893" y="5256"/>
                    <a:pt x="1834" y="5185"/>
                  </a:cubicBezTo>
                  <a:cubicBezTo>
                    <a:pt x="1155" y="4459"/>
                    <a:pt x="715" y="3875"/>
                    <a:pt x="560" y="3577"/>
                  </a:cubicBezTo>
                  <a:cubicBezTo>
                    <a:pt x="215" y="2851"/>
                    <a:pt x="489" y="1946"/>
                    <a:pt x="1215" y="1553"/>
                  </a:cubicBezTo>
                  <a:lnTo>
                    <a:pt x="1655" y="1327"/>
                  </a:lnTo>
                  <a:lnTo>
                    <a:pt x="2584" y="2923"/>
                  </a:lnTo>
                  <a:cubicBezTo>
                    <a:pt x="2501" y="2970"/>
                    <a:pt x="2405" y="3018"/>
                    <a:pt x="2334" y="3089"/>
                  </a:cubicBezTo>
                  <a:cubicBezTo>
                    <a:pt x="1965" y="3411"/>
                    <a:pt x="1905" y="3970"/>
                    <a:pt x="2191" y="4363"/>
                  </a:cubicBezTo>
                  <a:cubicBezTo>
                    <a:pt x="2334" y="4578"/>
                    <a:pt x="4930" y="7161"/>
                    <a:pt x="5132" y="7316"/>
                  </a:cubicBezTo>
                  <a:cubicBezTo>
                    <a:pt x="5299" y="7435"/>
                    <a:pt x="5501" y="7495"/>
                    <a:pt x="5703" y="7495"/>
                  </a:cubicBezTo>
                  <a:cubicBezTo>
                    <a:pt x="5965" y="7495"/>
                    <a:pt x="6215" y="7387"/>
                    <a:pt x="6418" y="7161"/>
                  </a:cubicBezTo>
                  <a:cubicBezTo>
                    <a:pt x="6489" y="7090"/>
                    <a:pt x="6537" y="7006"/>
                    <a:pt x="6585" y="6911"/>
                  </a:cubicBezTo>
                  <a:lnTo>
                    <a:pt x="8168" y="7852"/>
                  </a:lnTo>
                  <a:lnTo>
                    <a:pt x="7954" y="8280"/>
                  </a:lnTo>
                  <a:cubicBezTo>
                    <a:pt x="7676" y="8795"/>
                    <a:pt x="7141" y="9094"/>
                    <a:pt x="6590" y="9094"/>
                  </a:cubicBezTo>
                  <a:cubicBezTo>
                    <a:pt x="6363" y="9094"/>
                    <a:pt x="6133" y="9043"/>
                    <a:pt x="5918" y="8935"/>
                  </a:cubicBezTo>
                  <a:cubicBezTo>
                    <a:pt x="5346" y="8638"/>
                    <a:pt x="3798" y="7268"/>
                    <a:pt x="2334" y="5721"/>
                  </a:cubicBezTo>
                  <a:cubicBezTo>
                    <a:pt x="2304" y="5685"/>
                    <a:pt x="2263" y="5667"/>
                    <a:pt x="2219" y="5667"/>
                  </a:cubicBezTo>
                  <a:cubicBezTo>
                    <a:pt x="2176" y="5667"/>
                    <a:pt x="2132" y="5685"/>
                    <a:pt x="2096" y="5721"/>
                  </a:cubicBezTo>
                  <a:cubicBezTo>
                    <a:pt x="2024" y="5780"/>
                    <a:pt x="2024" y="5887"/>
                    <a:pt x="2096" y="5959"/>
                  </a:cubicBezTo>
                  <a:cubicBezTo>
                    <a:pt x="3394" y="7328"/>
                    <a:pt x="5072" y="8888"/>
                    <a:pt x="5787" y="9233"/>
                  </a:cubicBezTo>
                  <a:cubicBezTo>
                    <a:pt x="6037" y="9364"/>
                    <a:pt x="6323" y="9423"/>
                    <a:pt x="6608" y="9423"/>
                  </a:cubicBezTo>
                  <a:cubicBezTo>
                    <a:pt x="6799" y="9423"/>
                    <a:pt x="6989" y="9400"/>
                    <a:pt x="7192" y="9340"/>
                  </a:cubicBezTo>
                  <a:cubicBezTo>
                    <a:pt x="7644" y="9185"/>
                    <a:pt x="8037" y="8864"/>
                    <a:pt x="8263" y="8423"/>
                  </a:cubicBezTo>
                  <a:lnTo>
                    <a:pt x="8478" y="8007"/>
                  </a:lnTo>
                  <a:lnTo>
                    <a:pt x="8656" y="8114"/>
                  </a:lnTo>
                  <a:cubicBezTo>
                    <a:pt x="8692" y="8126"/>
                    <a:pt x="8716" y="8149"/>
                    <a:pt x="8751" y="8149"/>
                  </a:cubicBezTo>
                  <a:cubicBezTo>
                    <a:pt x="8811" y="8149"/>
                    <a:pt x="8871" y="8114"/>
                    <a:pt x="8894" y="8054"/>
                  </a:cubicBezTo>
                  <a:lnTo>
                    <a:pt x="9490" y="7042"/>
                  </a:lnTo>
                  <a:cubicBezTo>
                    <a:pt x="9442" y="6983"/>
                    <a:pt x="9454" y="6947"/>
                    <a:pt x="9442" y="6899"/>
                  </a:cubicBezTo>
                  <a:cubicBezTo>
                    <a:pt x="9418" y="6852"/>
                    <a:pt x="9394" y="6828"/>
                    <a:pt x="9359" y="6792"/>
                  </a:cubicBezTo>
                  <a:lnTo>
                    <a:pt x="8251" y="6137"/>
                  </a:lnTo>
                  <a:cubicBezTo>
                    <a:pt x="8225" y="6122"/>
                    <a:pt x="8198" y="6116"/>
                    <a:pt x="8171" y="6116"/>
                  </a:cubicBezTo>
                  <a:cubicBezTo>
                    <a:pt x="8113" y="6116"/>
                    <a:pt x="8058" y="6148"/>
                    <a:pt x="8025" y="6197"/>
                  </a:cubicBezTo>
                  <a:cubicBezTo>
                    <a:pt x="7978" y="6268"/>
                    <a:pt x="8001" y="6375"/>
                    <a:pt x="8085" y="6423"/>
                  </a:cubicBezTo>
                  <a:lnTo>
                    <a:pt x="9061" y="7006"/>
                  </a:lnTo>
                  <a:lnTo>
                    <a:pt x="8632" y="7733"/>
                  </a:lnTo>
                  <a:lnTo>
                    <a:pt x="6358" y="6387"/>
                  </a:lnTo>
                  <a:lnTo>
                    <a:pt x="6787" y="5661"/>
                  </a:lnTo>
                  <a:lnTo>
                    <a:pt x="7501" y="6078"/>
                  </a:lnTo>
                  <a:cubicBezTo>
                    <a:pt x="7524" y="6093"/>
                    <a:pt x="7550" y="6099"/>
                    <a:pt x="7576" y="6099"/>
                  </a:cubicBezTo>
                  <a:cubicBezTo>
                    <a:pt x="7634" y="6099"/>
                    <a:pt x="7695" y="6067"/>
                    <a:pt x="7728" y="6018"/>
                  </a:cubicBezTo>
                  <a:cubicBezTo>
                    <a:pt x="7775" y="5947"/>
                    <a:pt x="7739" y="5840"/>
                    <a:pt x="7668" y="5792"/>
                  </a:cubicBezTo>
                  <a:lnTo>
                    <a:pt x="6823" y="5292"/>
                  </a:lnTo>
                  <a:cubicBezTo>
                    <a:pt x="6796" y="5272"/>
                    <a:pt x="6770" y="5263"/>
                    <a:pt x="6744" y="5263"/>
                  </a:cubicBezTo>
                  <a:cubicBezTo>
                    <a:pt x="6723" y="5263"/>
                    <a:pt x="6701" y="5269"/>
                    <a:pt x="6680" y="5280"/>
                  </a:cubicBezTo>
                  <a:cubicBezTo>
                    <a:pt x="6644" y="5292"/>
                    <a:pt x="6608" y="5316"/>
                    <a:pt x="6585" y="5351"/>
                  </a:cubicBezTo>
                  <a:lnTo>
                    <a:pt x="5989" y="6364"/>
                  </a:lnTo>
                  <a:cubicBezTo>
                    <a:pt x="5942" y="6435"/>
                    <a:pt x="5965" y="6542"/>
                    <a:pt x="6049" y="6578"/>
                  </a:cubicBezTo>
                  <a:lnTo>
                    <a:pt x="6263" y="6721"/>
                  </a:lnTo>
                  <a:lnTo>
                    <a:pt x="6251" y="6745"/>
                  </a:lnTo>
                  <a:cubicBezTo>
                    <a:pt x="6227" y="6804"/>
                    <a:pt x="6192" y="6864"/>
                    <a:pt x="6144" y="6923"/>
                  </a:cubicBezTo>
                  <a:cubicBezTo>
                    <a:pt x="6026" y="7062"/>
                    <a:pt x="5856" y="7136"/>
                    <a:pt x="5680" y="7136"/>
                  </a:cubicBezTo>
                  <a:cubicBezTo>
                    <a:pt x="5554" y="7136"/>
                    <a:pt x="5425" y="7098"/>
                    <a:pt x="5311" y="7018"/>
                  </a:cubicBezTo>
                  <a:cubicBezTo>
                    <a:pt x="5132" y="6887"/>
                    <a:pt x="2572" y="4328"/>
                    <a:pt x="2441" y="4149"/>
                  </a:cubicBezTo>
                  <a:cubicBezTo>
                    <a:pt x="2251" y="3887"/>
                    <a:pt x="2298" y="3530"/>
                    <a:pt x="2536" y="3316"/>
                  </a:cubicBezTo>
                  <a:cubicBezTo>
                    <a:pt x="2572" y="3268"/>
                    <a:pt x="2632" y="3232"/>
                    <a:pt x="2715" y="3208"/>
                  </a:cubicBezTo>
                  <a:lnTo>
                    <a:pt x="2739" y="3196"/>
                  </a:lnTo>
                  <a:lnTo>
                    <a:pt x="2870" y="3411"/>
                  </a:lnTo>
                  <a:cubicBezTo>
                    <a:pt x="2906" y="3470"/>
                    <a:pt x="2965" y="3506"/>
                    <a:pt x="3025" y="3506"/>
                  </a:cubicBezTo>
                  <a:cubicBezTo>
                    <a:pt x="3048" y="3506"/>
                    <a:pt x="3084" y="3494"/>
                    <a:pt x="3108" y="3470"/>
                  </a:cubicBezTo>
                  <a:lnTo>
                    <a:pt x="4120" y="2875"/>
                  </a:lnTo>
                  <a:cubicBezTo>
                    <a:pt x="4168" y="2851"/>
                    <a:pt x="4179" y="2815"/>
                    <a:pt x="4203" y="2768"/>
                  </a:cubicBezTo>
                  <a:cubicBezTo>
                    <a:pt x="4215" y="2732"/>
                    <a:pt x="4203" y="2684"/>
                    <a:pt x="4179" y="2637"/>
                  </a:cubicBezTo>
                  <a:lnTo>
                    <a:pt x="2679" y="77"/>
                  </a:lnTo>
                  <a:cubicBezTo>
                    <a:pt x="2644" y="29"/>
                    <a:pt x="2620" y="17"/>
                    <a:pt x="2572" y="6"/>
                  </a:cubicBezTo>
                  <a:cubicBezTo>
                    <a:pt x="2558" y="2"/>
                    <a:pt x="2545" y="1"/>
                    <a:pt x="25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0" name="Google Shape;11430;p61"/>
            <p:cNvSpPr/>
            <p:nvPr/>
          </p:nvSpPr>
          <p:spPr>
            <a:xfrm>
              <a:off x="2339653" y="4297463"/>
              <a:ext cx="123362" cy="123742"/>
            </a:xfrm>
            <a:custGeom>
              <a:avLst/>
              <a:gdLst/>
              <a:ahLst/>
              <a:cxnLst/>
              <a:rect l="l" t="t" r="r" b="b"/>
              <a:pathLst>
                <a:path w="3894" h="3906" extrusionOk="0">
                  <a:moveTo>
                    <a:pt x="1941" y="345"/>
                  </a:moveTo>
                  <a:cubicBezTo>
                    <a:pt x="2834" y="345"/>
                    <a:pt x="3572" y="1072"/>
                    <a:pt x="3572" y="1965"/>
                  </a:cubicBezTo>
                  <a:cubicBezTo>
                    <a:pt x="3572" y="2060"/>
                    <a:pt x="3548" y="2143"/>
                    <a:pt x="3536" y="2238"/>
                  </a:cubicBezTo>
                  <a:lnTo>
                    <a:pt x="1203" y="524"/>
                  </a:lnTo>
                  <a:cubicBezTo>
                    <a:pt x="1429" y="405"/>
                    <a:pt x="1679" y="345"/>
                    <a:pt x="1941" y="345"/>
                  </a:cubicBezTo>
                  <a:close/>
                  <a:moveTo>
                    <a:pt x="893" y="714"/>
                  </a:moveTo>
                  <a:lnTo>
                    <a:pt x="3417" y="2560"/>
                  </a:lnTo>
                  <a:cubicBezTo>
                    <a:pt x="3346" y="2822"/>
                    <a:pt x="3179" y="3024"/>
                    <a:pt x="2989" y="3191"/>
                  </a:cubicBezTo>
                  <a:lnTo>
                    <a:pt x="441" y="1334"/>
                  </a:lnTo>
                  <a:cubicBezTo>
                    <a:pt x="548" y="1095"/>
                    <a:pt x="691" y="881"/>
                    <a:pt x="893" y="714"/>
                  </a:cubicBezTo>
                  <a:close/>
                  <a:moveTo>
                    <a:pt x="357" y="1667"/>
                  </a:moveTo>
                  <a:lnTo>
                    <a:pt x="2703" y="3381"/>
                  </a:lnTo>
                  <a:cubicBezTo>
                    <a:pt x="2465" y="3500"/>
                    <a:pt x="2215" y="3572"/>
                    <a:pt x="1941" y="3572"/>
                  </a:cubicBezTo>
                  <a:cubicBezTo>
                    <a:pt x="1048" y="3572"/>
                    <a:pt x="322" y="2846"/>
                    <a:pt x="322" y="1953"/>
                  </a:cubicBezTo>
                  <a:cubicBezTo>
                    <a:pt x="322" y="1846"/>
                    <a:pt x="333" y="1762"/>
                    <a:pt x="357" y="1667"/>
                  </a:cubicBezTo>
                  <a:close/>
                  <a:moveTo>
                    <a:pt x="1941" y="0"/>
                  </a:moveTo>
                  <a:cubicBezTo>
                    <a:pt x="869" y="0"/>
                    <a:pt x="0" y="881"/>
                    <a:pt x="0" y="1953"/>
                  </a:cubicBezTo>
                  <a:cubicBezTo>
                    <a:pt x="0" y="3024"/>
                    <a:pt x="869" y="3905"/>
                    <a:pt x="1941" y="3905"/>
                  </a:cubicBezTo>
                  <a:cubicBezTo>
                    <a:pt x="3012" y="3905"/>
                    <a:pt x="3893" y="3024"/>
                    <a:pt x="3893" y="1953"/>
                  </a:cubicBezTo>
                  <a:cubicBezTo>
                    <a:pt x="3893" y="881"/>
                    <a:pt x="3012" y="0"/>
                    <a:pt x="1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31" name="Google Shape;11431;p61"/>
          <p:cNvGrpSpPr/>
          <p:nvPr/>
        </p:nvGrpSpPr>
        <p:grpSpPr>
          <a:xfrm>
            <a:off x="4010963" y="3763781"/>
            <a:ext cx="343665" cy="363211"/>
            <a:chOff x="4010963" y="3763781"/>
            <a:chExt cx="343665" cy="363211"/>
          </a:xfrm>
        </p:grpSpPr>
        <p:sp>
          <p:nvSpPr>
            <p:cNvPr id="11432" name="Google Shape;11432;p61"/>
            <p:cNvSpPr/>
            <p:nvPr/>
          </p:nvSpPr>
          <p:spPr>
            <a:xfrm>
              <a:off x="4152415" y="3763781"/>
              <a:ext cx="202213" cy="221760"/>
            </a:xfrm>
            <a:custGeom>
              <a:avLst/>
              <a:gdLst/>
              <a:ahLst/>
              <a:cxnLst/>
              <a:rect l="l" t="t" r="r" b="b"/>
              <a:pathLst>
                <a:path w="6383" h="7000" extrusionOk="0">
                  <a:moveTo>
                    <a:pt x="3206" y="0"/>
                  </a:moveTo>
                  <a:cubicBezTo>
                    <a:pt x="3000" y="0"/>
                    <a:pt x="2792" y="20"/>
                    <a:pt x="2584" y="58"/>
                  </a:cubicBezTo>
                  <a:cubicBezTo>
                    <a:pt x="1751" y="225"/>
                    <a:pt x="1036" y="701"/>
                    <a:pt x="560" y="1416"/>
                  </a:cubicBezTo>
                  <a:cubicBezTo>
                    <a:pt x="179" y="1987"/>
                    <a:pt x="1" y="2654"/>
                    <a:pt x="24" y="3332"/>
                  </a:cubicBezTo>
                  <a:cubicBezTo>
                    <a:pt x="60" y="3987"/>
                    <a:pt x="274" y="4606"/>
                    <a:pt x="667" y="5107"/>
                  </a:cubicBezTo>
                  <a:lnTo>
                    <a:pt x="596" y="6821"/>
                  </a:lnTo>
                  <a:cubicBezTo>
                    <a:pt x="596" y="6881"/>
                    <a:pt x="620" y="6940"/>
                    <a:pt x="667" y="6964"/>
                  </a:cubicBezTo>
                  <a:cubicBezTo>
                    <a:pt x="691" y="6988"/>
                    <a:pt x="727" y="7000"/>
                    <a:pt x="751" y="7000"/>
                  </a:cubicBezTo>
                  <a:cubicBezTo>
                    <a:pt x="786" y="7000"/>
                    <a:pt x="798" y="7000"/>
                    <a:pt x="834" y="6988"/>
                  </a:cubicBezTo>
                  <a:lnTo>
                    <a:pt x="2382" y="6250"/>
                  </a:lnTo>
                  <a:cubicBezTo>
                    <a:pt x="2653" y="6322"/>
                    <a:pt x="2928" y="6359"/>
                    <a:pt x="3203" y="6359"/>
                  </a:cubicBezTo>
                  <a:cubicBezTo>
                    <a:pt x="3557" y="6359"/>
                    <a:pt x="3910" y="6299"/>
                    <a:pt x="4251" y="6178"/>
                  </a:cubicBezTo>
                  <a:cubicBezTo>
                    <a:pt x="4894" y="5952"/>
                    <a:pt x="5442" y="5523"/>
                    <a:pt x="5811" y="4964"/>
                  </a:cubicBezTo>
                  <a:cubicBezTo>
                    <a:pt x="6132" y="4487"/>
                    <a:pt x="6323" y="3952"/>
                    <a:pt x="6347" y="3380"/>
                  </a:cubicBezTo>
                  <a:cubicBezTo>
                    <a:pt x="6382" y="3249"/>
                    <a:pt x="6311" y="3178"/>
                    <a:pt x="6216" y="3178"/>
                  </a:cubicBezTo>
                  <a:cubicBezTo>
                    <a:pt x="6132" y="3178"/>
                    <a:pt x="6037" y="3237"/>
                    <a:pt x="6037" y="3332"/>
                  </a:cubicBezTo>
                  <a:cubicBezTo>
                    <a:pt x="6013" y="3844"/>
                    <a:pt x="5847" y="4333"/>
                    <a:pt x="5561" y="4749"/>
                  </a:cubicBezTo>
                  <a:cubicBezTo>
                    <a:pt x="5032" y="5547"/>
                    <a:pt x="4142" y="6005"/>
                    <a:pt x="3211" y="6005"/>
                  </a:cubicBezTo>
                  <a:cubicBezTo>
                    <a:pt x="2947" y="6005"/>
                    <a:pt x="2680" y="5969"/>
                    <a:pt x="2418" y="5892"/>
                  </a:cubicBezTo>
                  <a:cubicBezTo>
                    <a:pt x="2404" y="5888"/>
                    <a:pt x="2391" y="5885"/>
                    <a:pt x="2378" y="5885"/>
                  </a:cubicBezTo>
                  <a:cubicBezTo>
                    <a:pt x="2354" y="5885"/>
                    <a:pt x="2329" y="5893"/>
                    <a:pt x="2298" y="5916"/>
                  </a:cubicBezTo>
                  <a:lnTo>
                    <a:pt x="953" y="6547"/>
                  </a:lnTo>
                  <a:lnTo>
                    <a:pt x="1024" y="5047"/>
                  </a:lnTo>
                  <a:cubicBezTo>
                    <a:pt x="1024" y="4999"/>
                    <a:pt x="1013" y="4976"/>
                    <a:pt x="989" y="4928"/>
                  </a:cubicBezTo>
                  <a:cubicBezTo>
                    <a:pt x="215" y="3964"/>
                    <a:pt x="179" y="2618"/>
                    <a:pt x="858" y="1594"/>
                  </a:cubicBezTo>
                  <a:cubicBezTo>
                    <a:pt x="1275" y="975"/>
                    <a:pt x="1917" y="535"/>
                    <a:pt x="2656" y="392"/>
                  </a:cubicBezTo>
                  <a:cubicBezTo>
                    <a:pt x="2846" y="352"/>
                    <a:pt x="3037" y="333"/>
                    <a:pt x="3226" y="333"/>
                  </a:cubicBezTo>
                  <a:cubicBezTo>
                    <a:pt x="3783" y="333"/>
                    <a:pt x="4325" y="500"/>
                    <a:pt x="4787" y="820"/>
                  </a:cubicBezTo>
                  <a:cubicBezTo>
                    <a:pt x="5442" y="1273"/>
                    <a:pt x="5870" y="1939"/>
                    <a:pt x="6013" y="2713"/>
                  </a:cubicBezTo>
                  <a:cubicBezTo>
                    <a:pt x="6024" y="2790"/>
                    <a:pt x="6105" y="2846"/>
                    <a:pt x="6182" y="2846"/>
                  </a:cubicBezTo>
                  <a:cubicBezTo>
                    <a:pt x="6189" y="2846"/>
                    <a:pt x="6197" y="2845"/>
                    <a:pt x="6204" y="2844"/>
                  </a:cubicBezTo>
                  <a:cubicBezTo>
                    <a:pt x="6287" y="2832"/>
                    <a:pt x="6347" y="2737"/>
                    <a:pt x="6335" y="2654"/>
                  </a:cubicBezTo>
                  <a:cubicBezTo>
                    <a:pt x="6192" y="1785"/>
                    <a:pt x="5692" y="1011"/>
                    <a:pt x="4965" y="535"/>
                  </a:cubicBezTo>
                  <a:cubicBezTo>
                    <a:pt x="4438" y="177"/>
                    <a:pt x="3829" y="0"/>
                    <a:pt x="32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3" name="Google Shape;11433;p61"/>
            <p:cNvSpPr/>
            <p:nvPr/>
          </p:nvSpPr>
          <p:spPr>
            <a:xfrm>
              <a:off x="4010963" y="3828662"/>
              <a:ext cx="299154" cy="298331"/>
            </a:xfrm>
            <a:custGeom>
              <a:avLst/>
              <a:gdLst/>
              <a:ahLst/>
              <a:cxnLst/>
              <a:rect l="l" t="t" r="r" b="b"/>
              <a:pathLst>
                <a:path w="9443" h="9417" extrusionOk="0">
                  <a:moveTo>
                    <a:pt x="6752" y="5654"/>
                  </a:moveTo>
                  <a:lnTo>
                    <a:pt x="9038" y="6988"/>
                  </a:lnTo>
                  <a:lnTo>
                    <a:pt x="8597" y="7714"/>
                  </a:lnTo>
                  <a:lnTo>
                    <a:pt x="6323" y="6380"/>
                  </a:lnTo>
                  <a:lnTo>
                    <a:pt x="6752" y="5654"/>
                  </a:lnTo>
                  <a:close/>
                  <a:moveTo>
                    <a:pt x="2516" y="1"/>
                  </a:moveTo>
                  <a:cubicBezTo>
                    <a:pt x="2490" y="1"/>
                    <a:pt x="2464" y="7"/>
                    <a:pt x="2441" y="22"/>
                  </a:cubicBezTo>
                  <a:lnTo>
                    <a:pt x="1429" y="618"/>
                  </a:lnTo>
                  <a:cubicBezTo>
                    <a:pt x="1358" y="665"/>
                    <a:pt x="1322" y="773"/>
                    <a:pt x="1370" y="844"/>
                  </a:cubicBezTo>
                  <a:lnTo>
                    <a:pt x="1477" y="1023"/>
                  </a:lnTo>
                  <a:lnTo>
                    <a:pt x="1060" y="1249"/>
                  </a:lnTo>
                  <a:cubicBezTo>
                    <a:pt x="620" y="1463"/>
                    <a:pt x="298" y="1856"/>
                    <a:pt x="144" y="2320"/>
                  </a:cubicBezTo>
                  <a:cubicBezTo>
                    <a:pt x="1" y="2773"/>
                    <a:pt x="25" y="3273"/>
                    <a:pt x="251" y="3713"/>
                  </a:cubicBezTo>
                  <a:cubicBezTo>
                    <a:pt x="548" y="4297"/>
                    <a:pt x="1668" y="5547"/>
                    <a:pt x="2620" y="6511"/>
                  </a:cubicBezTo>
                  <a:cubicBezTo>
                    <a:pt x="2644" y="6547"/>
                    <a:pt x="2692" y="6559"/>
                    <a:pt x="2739" y="6559"/>
                  </a:cubicBezTo>
                  <a:cubicBezTo>
                    <a:pt x="2787" y="6559"/>
                    <a:pt x="2822" y="6547"/>
                    <a:pt x="2858" y="6511"/>
                  </a:cubicBezTo>
                  <a:cubicBezTo>
                    <a:pt x="2918" y="6452"/>
                    <a:pt x="2918" y="6333"/>
                    <a:pt x="2858" y="6273"/>
                  </a:cubicBezTo>
                  <a:cubicBezTo>
                    <a:pt x="1679" y="5083"/>
                    <a:pt x="775" y="4011"/>
                    <a:pt x="548" y="3570"/>
                  </a:cubicBezTo>
                  <a:cubicBezTo>
                    <a:pt x="191" y="2832"/>
                    <a:pt x="477" y="1927"/>
                    <a:pt x="1203" y="1546"/>
                  </a:cubicBezTo>
                  <a:lnTo>
                    <a:pt x="1632" y="1320"/>
                  </a:lnTo>
                  <a:lnTo>
                    <a:pt x="2572" y="2916"/>
                  </a:lnTo>
                  <a:cubicBezTo>
                    <a:pt x="2477" y="2951"/>
                    <a:pt x="2394" y="2999"/>
                    <a:pt x="2322" y="3070"/>
                  </a:cubicBezTo>
                  <a:cubicBezTo>
                    <a:pt x="1941" y="3404"/>
                    <a:pt x="1882" y="3951"/>
                    <a:pt x="2168" y="4356"/>
                  </a:cubicBezTo>
                  <a:cubicBezTo>
                    <a:pt x="2322" y="4559"/>
                    <a:pt x="4906" y="7154"/>
                    <a:pt x="5120" y="7297"/>
                  </a:cubicBezTo>
                  <a:cubicBezTo>
                    <a:pt x="5275" y="7416"/>
                    <a:pt x="5489" y="7476"/>
                    <a:pt x="5680" y="7476"/>
                  </a:cubicBezTo>
                  <a:cubicBezTo>
                    <a:pt x="5954" y="7476"/>
                    <a:pt x="6204" y="7380"/>
                    <a:pt x="6394" y="7154"/>
                  </a:cubicBezTo>
                  <a:cubicBezTo>
                    <a:pt x="6466" y="7083"/>
                    <a:pt x="6513" y="6988"/>
                    <a:pt x="6561" y="6904"/>
                  </a:cubicBezTo>
                  <a:lnTo>
                    <a:pt x="8156" y="7833"/>
                  </a:lnTo>
                  <a:lnTo>
                    <a:pt x="7930" y="8262"/>
                  </a:lnTo>
                  <a:cubicBezTo>
                    <a:pt x="7654" y="8781"/>
                    <a:pt x="7123" y="9083"/>
                    <a:pt x="6580" y="9083"/>
                  </a:cubicBezTo>
                  <a:cubicBezTo>
                    <a:pt x="6352" y="9083"/>
                    <a:pt x="6121" y="9029"/>
                    <a:pt x="5906" y="8916"/>
                  </a:cubicBezTo>
                  <a:cubicBezTo>
                    <a:pt x="5478" y="8702"/>
                    <a:pt x="4477" y="7869"/>
                    <a:pt x="3334" y="6749"/>
                  </a:cubicBezTo>
                  <a:cubicBezTo>
                    <a:pt x="3305" y="6720"/>
                    <a:pt x="3260" y="6705"/>
                    <a:pt x="3215" y="6705"/>
                  </a:cubicBezTo>
                  <a:cubicBezTo>
                    <a:pt x="3171" y="6705"/>
                    <a:pt x="3126" y="6720"/>
                    <a:pt x="3096" y="6749"/>
                  </a:cubicBezTo>
                  <a:cubicBezTo>
                    <a:pt x="3037" y="6809"/>
                    <a:pt x="3037" y="6928"/>
                    <a:pt x="3096" y="6988"/>
                  </a:cubicBezTo>
                  <a:cubicBezTo>
                    <a:pt x="4287" y="8142"/>
                    <a:pt x="5275" y="8976"/>
                    <a:pt x="5740" y="9214"/>
                  </a:cubicBezTo>
                  <a:cubicBezTo>
                    <a:pt x="5990" y="9357"/>
                    <a:pt x="6275" y="9416"/>
                    <a:pt x="6561" y="9416"/>
                  </a:cubicBezTo>
                  <a:cubicBezTo>
                    <a:pt x="6752" y="9416"/>
                    <a:pt x="6942" y="9381"/>
                    <a:pt x="7144" y="9321"/>
                  </a:cubicBezTo>
                  <a:cubicBezTo>
                    <a:pt x="7597" y="9178"/>
                    <a:pt x="7990" y="8845"/>
                    <a:pt x="8216" y="8416"/>
                  </a:cubicBezTo>
                  <a:lnTo>
                    <a:pt x="8430" y="8000"/>
                  </a:lnTo>
                  <a:lnTo>
                    <a:pt x="8609" y="8107"/>
                  </a:lnTo>
                  <a:cubicBezTo>
                    <a:pt x="8645" y="8119"/>
                    <a:pt x="8668" y="8131"/>
                    <a:pt x="8704" y="8131"/>
                  </a:cubicBezTo>
                  <a:cubicBezTo>
                    <a:pt x="8764" y="8131"/>
                    <a:pt x="8823" y="8107"/>
                    <a:pt x="8847" y="8047"/>
                  </a:cubicBezTo>
                  <a:lnTo>
                    <a:pt x="9442" y="7035"/>
                  </a:lnTo>
                  <a:cubicBezTo>
                    <a:pt x="9419" y="6976"/>
                    <a:pt x="9419" y="6928"/>
                    <a:pt x="9419" y="6880"/>
                  </a:cubicBezTo>
                  <a:cubicBezTo>
                    <a:pt x="9407" y="6845"/>
                    <a:pt x="9371" y="6809"/>
                    <a:pt x="9347" y="6785"/>
                  </a:cubicBezTo>
                  <a:lnTo>
                    <a:pt x="6787" y="5273"/>
                  </a:lnTo>
                  <a:cubicBezTo>
                    <a:pt x="6765" y="5262"/>
                    <a:pt x="6740" y="5257"/>
                    <a:pt x="6713" y="5257"/>
                  </a:cubicBezTo>
                  <a:cubicBezTo>
                    <a:pt x="6655" y="5257"/>
                    <a:pt x="6594" y="5283"/>
                    <a:pt x="6561" y="5333"/>
                  </a:cubicBezTo>
                  <a:lnTo>
                    <a:pt x="5966" y="6345"/>
                  </a:lnTo>
                  <a:cubicBezTo>
                    <a:pt x="5930" y="6392"/>
                    <a:pt x="5930" y="6440"/>
                    <a:pt x="5954" y="6476"/>
                  </a:cubicBezTo>
                  <a:cubicBezTo>
                    <a:pt x="5966" y="6523"/>
                    <a:pt x="5990" y="6559"/>
                    <a:pt x="6025" y="6583"/>
                  </a:cubicBezTo>
                  <a:lnTo>
                    <a:pt x="6251" y="6714"/>
                  </a:lnTo>
                  <a:lnTo>
                    <a:pt x="6228" y="6749"/>
                  </a:lnTo>
                  <a:cubicBezTo>
                    <a:pt x="6204" y="6809"/>
                    <a:pt x="6168" y="6869"/>
                    <a:pt x="6132" y="6928"/>
                  </a:cubicBezTo>
                  <a:cubicBezTo>
                    <a:pt x="6008" y="7067"/>
                    <a:pt x="5834" y="7141"/>
                    <a:pt x="5659" y="7141"/>
                  </a:cubicBezTo>
                  <a:cubicBezTo>
                    <a:pt x="5534" y="7141"/>
                    <a:pt x="5408" y="7103"/>
                    <a:pt x="5299" y="7023"/>
                  </a:cubicBezTo>
                  <a:cubicBezTo>
                    <a:pt x="5120" y="6880"/>
                    <a:pt x="2561" y="4321"/>
                    <a:pt x="2418" y="4142"/>
                  </a:cubicBezTo>
                  <a:cubicBezTo>
                    <a:pt x="2227" y="3892"/>
                    <a:pt x="2275" y="3535"/>
                    <a:pt x="2513" y="3309"/>
                  </a:cubicBezTo>
                  <a:cubicBezTo>
                    <a:pt x="2561" y="3273"/>
                    <a:pt x="2620" y="3237"/>
                    <a:pt x="2692" y="3213"/>
                  </a:cubicBezTo>
                  <a:lnTo>
                    <a:pt x="2727" y="3189"/>
                  </a:lnTo>
                  <a:lnTo>
                    <a:pt x="2858" y="3416"/>
                  </a:lnTo>
                  <a:cubicBezTo>
                    <a:pt x="2882" y="3475"/>
                    <a:pt x="2942" y="3511"/>
                    <a:pt x="3001" y="3511"/>
                  </a:cubicBezTo>
                  <a:cubicBezTo>
                    <a:pt x="3037" y="3511"/>
                    <a:pt x="3061" y="3487"/>
                    <a:pt x="3096" y="3475"/>
                  </a:cubicBezTo>
                  <a:lnTo>
                    <a:pt x="4108" y="2880"/>
                  </a:lnTo>
                  <a:cubicBezTo>
                    <a:pt x="4144" y="2844"/>
                    <a:pt x="4168" y="2820"/>
                    <a:pt x="4180" y="2773"/>
                  </a:cubicBezTo>
                  <a:cubicBezTo>
                    <a:pt x="4192" y="2737"/>
                    <a:pt x="4180" y="2689"/>
                    <a:pt x="4168" y="2642"/>
                  </a:cubicBezTo>
                  <a:lnTo>
                    <a:pt x="3442" y="1404"/>
                  </a:lnTo>
                  <a:cubicBezTo>
                    <a:pt x="3409" y="1355"/>
                    <a:pt x="3348" y="1322"/>
                    <a:pt x="3290" y="1322"/>
                  </a:cubicBezTo>
                  <a:cubicBezTo>
                    <a:pt x="3264" y="1322"/>
                    <a:pt x="3238" y="1329"/>
                    <a:pt x="3215" y="1344"/>
                  </a:cubicBezTo>
                  <a:cubicBezTo>
                    <a:pt x="3144" y="1392"/>
                    <a:pt x="3108" y="1499"/>
                    <a:pt x="3156" y="1570"/>
                  </a:cubicBezTo>
                  <a:lnTo>
                    <a:pt x="3787" y="2654"/>
                  </a:lnTo>
                  <a:lnTo>
                    <a:pt x="3061" y="3082"/>
                  </a:lnTo>
                  <a:lnTo>
                    <a:pt x="1727" y="808"/>
                  </a:lnTo>
                  <a:lnTo>
                    <a:pt x="2453" y="380"/>
                  </a:lnTo>
                  <a:lnTo>
                    <a:pt x="2822" y="1011"/>
                  </a:lnTo>
                  <a:cubicBezTo>
                    <a:pt x="2855" y="1060"/>
                    <a:pt x="2917" y="1087"/>
                    <a:pt x="2975" y="1087"/>
                  </a:cubicBezTo>
                  <a:cubicBezTo>
                    <a:pt x="3001" y="1087"/>
                    <a:pt x="3027" y="1081"/>
                    <a:pt x="3049" y="1070"/>
                  </a:cubicBezTo>
                  <a:cubicBezTo>
                    <a:pt x="3120" y="1023"/>
                    <a:pt x="3156" y="915"/>
                    <a:pt x="3108" y="844"/>
                  </a:cubicBezTo>
                  <a:lnTo>
                    <a:pt x="2656" y="82"/>
                  </a:lnTo>
                  <a:cubicBezTo>
                    <a:pt x="2631" y="33"/>
                    <a:pt x="2573" y="1"/>
                    <a:pt x="25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4" name="Google Shape;11434;p61"/>
            <p:cNvSpPr/>
            <p:nvPr/>
          </p:nvSpPr>
          <p:spPr>
            <a:xfrm>
              <a:off x="4187104" y="3787731"/>
              <a:ext cx="133943" cy="146520"/>
            </a:xfrm>
            <a:custGeom>
              <a:avLst/>
              <a:gdLst/>
              <a:ahLst/>
              <a:cxnLst/>
              <a:rect l="l" t="t" r="r" b="b"/>
              <a:pathLst>
                <a:path w="4228" h="4625" extrusionOk="0">
                  <a:moveTo>
                    <a:pt x="2742" y="0"/>
                  </a:moveTo>
                  <a:cubicBezTo>
                    <a:pt x="2716" y="0"/>
                    <a:pt x="2690" y="6"/>
                    <a:pt x="2668" y="17"/>
                  </a:cubicBezTo>
                  <a:cubicBezTo>
                    <a:pt x="2596" y="64"/>
                    <a:pt x="2561" y="171"/>
                    <a:pt x="2608" y="243"/>
                  </a:cubicBezTo>
                  <a:lnTo>
                    <a:pt x="2763" y="493"/>
                  </a:lnTo>
                  <a:cubicBezTo>
                    <a:pt x="2549" y="433"/>
                    <a:pt x="2346" y="398"/>
                    <a:pt x="2120" y="398"/>
                  </a:cubicBezTo>
                  <a:cubicBezTo>
                    <a:pt x="953" y="398"/>
                    <a:pt x="1" y="1350"/>
                    <a:pt x="1" y="2505"/>
                  </a:cubicBezTo>
                  <a:cubicBezTo>
                    <a:pt x="1" y="3672"/>
                    <a:pt x="953" y="4624"/>
                    <a:pt x="2120" y="4624"/>
                  </a:cubicBezTo>
                  <a:cubicBezTo>
                    <a:pt x="3275" y="4624"/>
                    <a:pt x="4228" y="3672"/>
                    <a:pt x="4228" y="2505"/>
                  </a:cubicBezTo>
                  <a:cubicBezTo>
                    <a:pt x="4228" y="2362"/>
                    <a:pt x="4204" y="2195"/>
                    <a:pt x="4168" y="2029"/>
                  </a:cubicBezTo>
                  <a:cubicBezTo>
                    <a:pt x="4158" y="1958"/>
                    <a:pt x="4096" y="1904"/>
                    <a:pt x="4012" y="1904"/>
                  </a:cubicBezTo>
                  <a:cubicBezTo>
                    <a:pt x="3998" y="1904"/>
                    <a:pt x="3982" y="1906"/>
                    <a:pt x="3966" y="1910"/>
                  </a:cubicBezTo>
                  <a:cubicBezTo>
                    <a:pt x="3870" y="1922"/>
                    <a:pt x="3811" y="2017"/>
                    <a:pt x="3847" y="2124"/>
                  </a:cubicBezTo>
                  <a:cubicBezTo>
                    <a:pt x="3870" y="2255"/>
                    <a:pt x="3894" y="2386"/>
                    <a:pt x="3894" y="2517"/>
                  </a:cubicBezTo>
                  <a:cubicBezTo>
                    <a:pt x="3894" y="3505"/>
                    <a:pt x="3085" y="4303"/>
                    <a:pt x="2108" y="4303"/>
                  </a:cubicBezTo>
                  <a:cubicBezTo>
                    <a:pt x="1120" y="4303"/>
                    <a:pt x="322" y="3505"/>
                    <a:pt x="322" y="2517"/>
                  </a:cubicBezTo>
                  <a:cubicBezTo>
                    <a:pt x="322" y="1541"/>
                    <a:pt x="1120" y="731"/>
                    <a:pt x="2108" y="731"/>
                  </a:cubicBezTo>
                  <a:cubicBezTo>
                    <a:pt x="2299" y="731"/>
                    <a:pt x="2477" y="767"/>
                    <a:pt x="2656" y="826"/>
                  </a:cubicBezTo>
                  <a:lnTo>
                    <a:pt x="2299" y="910"/>
                  </a:lnTo>
                  <a:cubicBezTo>
                    <a:pt x="2204" y="933"/>
                    <a:pt x="2144" y="1017"/>
                    <a:pt x="2180" y="1124"/>
                  </a:cubicBezTo>
                  <a:cubicBezTo>
                    <a:pt x="2190" y="1195"/>
                    <a:pt x="2260" y="1248"/>
                    <a:pt x="2339" y="1248"/>
                  </a:cubicBezTo>
                  <a:cubicBezTo>
                    <a:pt x="2353" y="1248"/>
                    <a:pt x="2368" y="1247"/>
                    <a:pt x="2382" y="1243"/>
                  </a:cubicBezTo>
                  <a:lnTo>
                    <a:pt x="3204" y="1052"/>
                  </a:lnTo>
                  <a:cubicBezTo>
                    <a:pt x="3311" y="1017"/>
                    <a:pt x="3370" y="898"/>
                    <a:pt x="3311" y="791"/>
                  </a:cubicBezTo>
                  <a:lnTo>
                    <a:pt x="2894" y="76"/>
                  </a:lnTo>
                  <a:cubicBezTo>
                    <a:pt x="2861" y="27"/>
                    <a:pt x="2800" y="0"/>
                    <a:pt x="27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5" name="Google Shape;11435;p61"/>
            <p:cNvSpPr/>
            <p:nvPr/>
          </p:nvSpPr>
          <p:spPr>
            <a:xfrm>
              <a:off x="4220685" y="3840669"/>
              <a:ext cx="39632" cy="52462"/>
            </a:xfrm>
            <a:custGeom>
              <a:avLst/>
              <a:gdLst/>
              <a:ahLst/>
              <a:cxnLst/>
              <a:rect l="l" t="t" r="r" b="b"/>
              <a:pathLst>
                <a:path w="1251" h="1656" extrusionOk="0">
                  <a:moveTo>
                    <a:pt x="572" y="1"/>
                  </a:moveTo>
                  <a:cubicBezTo>
                    <a:pt x="274" y="1"/>
                    <a:pt x="12" y="239"/>
                    <a:pt x="12" y="524"/>
                  </a:cubicBezTo>
                  <a:cubicBezTo>
                    <a:pt x="12" y="608"/>
                    <a:pt x="96" y="679"/>
                    <a:pt x="179" y="679"/>
                  </a:cubicBezTo>
                  <a:cubicBezTo>
                    <a:pt x="274" y="679"/>
                    <a:pt x="346" y="608"/>
                    <a:pt x="346" y="524"/>
                  </a:cubicBezTo>
                  <a:cubicBezTo>
                    <a:pt x="346" y="417"/>
                    <a:pt x="429" y="322"/>
                    <a:pt x="548" y="322"/>
                  </a:cubicBezTo>
                  <a:lnTo>
                    <a:pt x="608" y="322"/>
                  </a:lnTo>
                  <a:cubicBezTo>
                    <a:pt x="655" y="322"/>
                    <a:pt x="667" y="358"/>
                    <a:pt x="691" y="370"/>
                  </a:cubicBezTo>
                  <a:cubicBezTo>
                    <a:pt x="703" y="382"/>
                    <a:pt x="703" y="417"/>
                    <a:pt x="691" y="429"/>
                  </a:cubicBezTo>
                  <a:lnTo>
                    <a:pt x="48" y="1382"/>
                  </a:lnTo>
                  <a:cubicBezTo>
                    <a:pt x="12" y="1429"/>
                    <a:pt x="1" y="1501"/>
                    <a:pt x="36" y="1560"/>
                  </a:cubicBezTo>
                  <a:cubicBezTo>
                    <a:pt x="60" y="1620"/>
                    <a:pt x="120" y="1656"/>
                    <a:pt x="179" y="1656"/>
                  </a:cubicBezTo>
                  <a:lnTo>
                    <a:pt x="1072" y="1656"/>
                  </a:lnTo>
                  <a:cubicBezTo>
                    <a:pt x="1167" y="1656"/>
                    <a:pt x="1239" y="1572"/>
                    <a:pt x="1239" y="1489"/>
                  </a:cubicBezTo>
                  <a:cubicBezTo>
                    <a:pt x="1251" y="1406"/>
                    <a:pt x="1179" y="1322"/>
                    <a:pt x="1084" y="1322"/>
                  </a:cubicBezTo>
                  <a:lnTo>
                    <a:pt x="513" y="1322"/>
                  </a:lnTo>
                  <a:lnTo>
                    <a:pt x="989" y="620"/>
                  </a:lnTo>
                  <a:cubicBezTo>
                    <a:pt x="1072" y="513"/>
                    <a:pt x="1072" y="358"/>
                    <a:pt x="1001" y="227"/>
                  </a:cubicBezTo>
                  <a:cubicBezTo>
                    <a:pt x="929" y="84"/>
                    <a:pt x="786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6" name="Google Shape;11436;p61"/>
            <p:cNvSpPr/>
            <p:nvPr/>
          </p:nvSpPr>
          <p:spPr>
            <a:xfrm>
              <a:off x="4259905" y="3840669"/>
              <a:ext cx="29082" cy="52082"/>
            </a:xfrm>
            <a:custGeom>
              <a:avLst/>
              <a:gdLst/>
              <a:ahLst/>
              <a:cxnLst/>
              <a:rect l="l" t="t" r="r" b="b"/>
              <a:pathLst>
                <a:path w="918" h="1644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70"/>
                  </a:lnTo>
                  <a:cubicBezTo>
                    <a:pt x="1" y="953"/>
                    <a:pt x="72" y="1025"/>
                    <a:pt x="156" y="1025"/>
                  </a:cubicBezTo>
                  <a:lnTo>
                    <a:pt x="596" y="1025"/>
                  </a:lnTo>
                  <a:lnTo>
                    <a:pt x="596" y="1477"/>
                  </a:lnTo>
                  <a:cubicBezTo>
                    <a:pt x="596" y="1560"/>
                    <a:pt x="668" y="1644"/>
                    <a:pt x="751" y="1644"/>
                  </a:cubicBezTo>
                  <a:cubicBezTo>
                    <a:pt x="846" y="1644"/>
                    <a:pt x="918" y="1560"/>
                    <a:pt x="918" y="1477"/>
                  </a:cubicBezTo>
                  <a:lnTo>
                    <a:pt x="918" y="846"/>
                  </a:lnTo>
                  <a:lnTo>
                    <a:pt x="918" y="155"/>
                  </a:lnTo>
                  <a:cubicBezTo>
                    <a:pt x="918" y="72"/>
                    <a:pt x="846" y="1"/>
                    <a:pt x="739" y="1"/>
                  </a:cubicBezTo>
                  <a:cubicBezTo>
                    <a:pt x="656" y="1"/>
                    <a:pt x="584" y="72"/>
                    <a:pt x="584" y="167"/>
                  </a:cubicBezTo>
                  <a:lnTo>
                    <a:pt x="584" y="703"/>
                  </a:lnTo>
                  <a:lnTo>
                    <a:pt x="322" y="703"/>
                  </a:lnTo>
                  <a:lnTo>
                    <a:pt x="322" y="167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37" name="Google Shape;11437;p61"/>
          <p:cNvGrpSpPr/>
          <p:nvPr/>
        </p:nvGrpSpPr>
        <p:grpSpPr>
          <a:xfrm>
            <a:off x="2214042" y="3810509"/>
            <a:ext cx="368153" cy="311193"/>
            <a:chOff x="2214042" y="3810509"/>
            <a:chExt cx="368153" cy="311193"/>
          </a:xfrm>
        </p:grpSpPr>
        <p:sp>
          <p:nvSpPr>
            <p:cNvPr id="11438" name="Google Shape;11438;p61"/>
            <p:cNvSpPr/>
            <p:nvPr/>
          </p:nvSpPr>
          <p:spPr>
            <a:xfrm>
              <a:off x="2214042" y="3810509"/>
              <a:ext cx="368153" cy="311193"/>
            </a:xfrm>
            <a:custGeom>
              <a:avLst/>
              <a:gdLst/>
              <a:ahLst/>
              <a:cxnLst/>
              <a:rect l="l" t="t" r="r" b="b"/>
              <a:pathLst>
                <a:path w="11621" h="9823" extrusionOk="0">
                  <a:moveTo>
                    <a:pt x="11264" y="6227"/>
                  </a:moveTo>
                  <a:lnTo>
                    <a:pt x="11264" y="6834"/>
                  </a:lnTo>
                  <a:lnTo>
                    <a:pt x="9644" y="6834"/>
                  </a:lnTo>
                  <a:lnTo>
                    <a:pt x="9406" y="6525"/>
                  </a:lnTo>
                  <a:lnTo>
                    <a:pt x="9180" y="6227"/>
                  </a:lnTo>
                  <a:close/>
                  <a:moveTo>
                    <a:pt x="8787" y="6239"/>
                  </a:moveTo>
                  <a:lnTo>
                    <a:pt x="9061" y="6608"/>
                  </a:lnTo>
                  <a:lnTo>
                    <a:pt x="8406" y="7191"/>
                  </a:lnTo>
                  <a:lnTo>
                    <a:pt x="7894" y="7191"/>
                  </a:lnTo>
                  <a:lnTo>
                    <a:pt x="7025" y="6239"/>
                  </a:lnTo>
                  <a:close/>
                  <a:moveTo>
                    <a:pt x="8632" y="7537"/>
                  </a:moveTo>
                  <a:lnTo>
                    <a:pt x="8632" y="7953"/>
                  </a:lnTo>
                  <a:lnTo>
                    <a:pt x="7561" y="7953"/>
                  </a:lnTo>
                  <a:lnTo>
                    <a:pt x="7561" y="7537"/>
                  </a:lnTo>
                  <a:close/>
                  <a:moveTo>
                    <a:pt x="6584" y="0"/>
                  </a:moveTo>
                  <a:cubicBezTo>
                    <a:pt x="4596" y="0"/>
                    <a:pt x="2786" y="1179"/>
                    <a:pt x="1977" y="2977"/>
                  </a:cubicBezTo>
                  <a:cubicBezTo>
                    <a:pt x="1941" y="3072"/>
                    <a:pt x="1977" y="3167"/>
                    <a:pt x="2072" y="3203"/>
                  </a:cubicBezTo>
                  <a:cubicBezTo>
                    <a:pt x="2094" y="3216"/>
                    <a:pt x="2118" y="3222"/>
                    <a:pt x="2142" y="3222"/>
                  </a:cubicBezTo>
                  <a:cubicBezTo>
                    <a:pt x="2208" y="3222"/>
                    <a:pt x="2272" y="3177"/>
                    <a:pt x="2298" y="3108"/>
                  </a:cubicBezTo>
                  <a:cubicBezTo>
                    <a:pt x="3048" y="1429"/>
                    <a:pt x="4739" y="333"/>
                    <a:pt x="6584" y="333"/>
                  </a:cubicBezTo>
                  <a:cubicBezTo>
                    <a:pt x="9109" y="333"/>
                    <a:pt x="11192" y="2358"/>
                    <a:pt x="11287" y="4846"/>
                  </a:cubicBezTo>
                  <a:lnTo>
                    <a:pt x="10835" y="4846"/>
                  </a:lnTo>
                  <a:cubicBezTo>
                    <a:pt x="10716" y="4108"/>
                    <a:pt x="10371" y="3405"/>
                    <a:pt x="9823" y="2870"/>
                  </a:cubicBezTo>
                  <a:cubicBezTo>
                    <a:pt x="9240" y="2310"/>
                    <a:pt x="8489" y="1941"/>
                    <a:pt x="7680" y="1857"/>
                  </a:cubicBezTo>
                  <a:cubicBezTo>
                    <a:pt x="7674" y="1857"/>
                    <a:pt x="7668" y="1856"/>
                    <a:pt x="7661" y="1856"/>
                  </a:cubicBezTo>
                  <a:cubicBezTo>
                    <a:pt x="7583" y="1856"/>
                    <a:pt x="7500" y="1924"/>
                    <a:pt x="7489" y="2012"/>
                  </a:cubicBezTo>
                  <a:cubicBezTo>
                    <a:pt x="7477" y="2096"/>
                    <a:pt x="7549" y="2191"/>
                    <a:pt x="7632" y="2203"/>
                  </a:cubicBezTo>
                  <a:cubicBezTo>
                    <a:pt x="9061" y="2358"/>
                    <a:pt x="10240" y="3453"/>
                    <a:pt x="10478" y="4846"/>
                  </a:cubicBezTo>
                  <a:lnTo>
                    <a:pt x="4168" y="4846"/>
                  </a:lnTo>
                  <a:cubicBezTo>
                    <a:pt x="4406" y="3441"/>
                    <a:pt x="5584" y="2334"/>
                    <a:pt x="7013" y="2191"/>
                  </a:cubicBezTo>
                  <a:cubicBezTo>
                    <a:pt x="7096" y="2167"/>
                    <a:pt x="7180" y="2096"/>
                    <a:pt x="7156" y="2012"/>
                  </a:cubicBezTo>
                  <a:cubicBezTo>
                    <a:pt x="7145" y="1924"/>
                    <a:pt x="7083" y="1856"/>
                    <a:pt x="6998" y="1856"/>
                  </a:cubicBezTo>
                  <a:cubicBezTo>
                    <a:pt x="6991" y="1856"/>
                    <a:pt x="6984" y="1857"/>
                    <a:pt x="6977" y="1857"/>
                  </a:cubicBezTo>
                  <a:cubicBezTo>
                    <a:pt x="5370" y="2024"/>
                    <a:pt x="4060" y="3262"/>
                    <a:pt x="3822" y="4846"/>
                  </a:cubicBezTo>
                  <a:lnTo>
                    <a:pt x="1882" y="4846"/>
                  </a:lnTo>
                  <a:cubicBezTo>
                    <a:pt x="1893" y="4477"/>
                    <a:pt x="1953" y="4108"/>
                    <a:pt x="2060" y="3751"/>
                  </a:cubicBezTo>
                  <a:cubicBezTo>
                    <a:pt x="2084" y="3655"/>
                    <a:pt x="2024" y="3572"/>
                    <a:pt x="1941" y="3548"/>
                  </a:cubicBezTo>
                  <a:cubicBezTo>
                    <a:pt x="1922" y="3541"/>
                    <a:pt x="1903" y="3538"/>
                    <a:pt x="1885" y="3538"/>
                  </a:cubicBezTo>
                  <a:cubicBezTo>
                    <a:pt x="1814" y="3538"/>
                    <a:pt x="1755" y="3589"/>
                    <a:pt x="1727" y="3655"/>
                  </a:cubicBezTo>
                  <a:cubicBezTo>
                    <a:pt x="1608" y="4060"/>
                    <a:pt x="1548" y="4477"/>
                    <a:pt x="1536" y="4905"/>
                  </a:cubicBezTo>
                  <a:lnTo>
                    <a:pt x="119" y="5417"/>
                  </a:lnTo>
                  <a:cubicBezTo>
                    <a:pt x="48" y="5441"/>
                    <a:pt x="0" y="5501"/>
                    <a:pt x="0" y="5584"/>
                  </a:cubicBezTo>
                  <a:lnTo>
                    <a:pt x="0" y="6072"/>
                  </a:lnTo>
                  <a:cubicBezTo>
                    <a:pt x="0" y="6156"/>
                    <a:pt x="72" y="6239"/>
                    <a:pt x="167" y="6239"/>
                  </a:cubicBezTo>
                  <a:lnTo>
                    <a:pt x="2572" y="6239"/>
                  </a:lnTo>
                  <a:cubicBezTo>
                    <a:pt x="2667" y="6239"/>
                    <a:pt x="2739" y="6156"/>
                    <a:pt x="2739" y="6072"/>
                  </a:cubicBezTo>
                  <a:cubicBezTo>
                    <a:pt x="2739" y="5977"/>
                    <a:pt x="2667" y="5906"/>
                    <a:pt x="2572" y="5906"/>
                  </a:cubicBezTo>
                  <a:lnTo>
                    <a:pt x="346" y="5906"/>
                  </a:lnTo>
                  <a:lnTo>
                    <a:pt x="346" y="5703"/>
                  </a:lnTo>
                  <a:lnTo>
                    <a:pt x="1727" y="5203"/>
                  </a:lnTo>
                  <a:lnTo>
                    <a:pt x="11264" y="5203"/>
                  </a:lnTo>
                  <a:lnTo>
                    <a:pt x="11264" y="5739"/>
                  </a:lnTo>
                  <a:lnTo>
                    <a:pt x="11264" y="5906"/>
                  </a:lnTo>
                  <a:lnTo>
                    <a:pt x="3251" y="5906"/>
                  </a:lnTo>
                  <a:cubicBezTo>
                    <a:pt x="3155" y="5906"/>
                    <a:pt x="3084" y="5989"/>
                    <a:pt x="3084" y="6072"/>
                  </a:cubicBezTo>
                  <a:cubicBezTo>
                    <a:pt x="3084" y="6168"/>
                    <a:pt x="3155" y="6239"/>
                    <a:pt x="3251" y="6239"/>
                  </a:cubicBezTo>
                  <a:lnTo>
                    <a:pt x="6549" y="6239"/>
                  </a:lnTo>
                  <a:lnTo>
                    <a:pt x="7418" y="7191"/>
                  </a:lnTo>
                  <a:lnTo>
                    <a:pt x="7382" y="7191"/>
                  </a:lnTo>
                  <a:cubicBezTo>
                    <a:pt x="7299" y="7191"/>
                    <a:pt x="7216" y="7263"/>
                    <a:pt x="7216" y="7358"/>
                  </a:cubicBezTo>
                  <a:lnTo>
                    <a:pt x="7216" y="8108"/>
                  </a:lnTo>
                  <a:cubicBezTo>
                    <a:pt x="7216" y="8204"/>
                    <a:pt x="7299" y="8275"/>
                    <a:pt x="7382" y="8275"/>
                  </a:cubicBezTo>
                  <a:lnTo>
                    <a:pt x="7930" y="8275"/>
                  </a:lnTo>
                  <a:lnTo>
                    <a:pt x="7930" y="9656"/>
                  </a:lnTo>
                  <a:cubicBezTo>
                    <a:pt x="7930" y="9751"/>
                    <a:pt x="8013" y="9823"/>
                    <a:pt x="8097" y="9823"/>
                  </a:cubicBezTo>
                  <a:cubicBezTo>
                    <a:pt x="8192" y="9823"/>
                    <a:pt x="8263" y="9751"/>
                    <a:pt x="8263" y="9656"/>
                  </a:cubicBezTo>
                  <a:lnTo>
                    <a:pt x="8263" y="8275"/>
                  </a:lnTo>
                  <a:lnTo>
                    <a:pt x="8811" y="8275"/>
                  </a:lnTo>
                  <a:cubicBezTo>
                    <a:pt x="8906" y="8275"/>
                    <a:pt x="8978" y="8204"/>
                    <a:pt x="8978" y="8108"/>
                  </a:cubicBezTo>
                  <a:lnTo>
                    <a:pt x="8978" y="7358"/>
                  </a:lnTo>
                  <a:cubicBezTo>
                    <a:pt x="8978" y="7275"/>
                    <a:pt x="8930" y="7239"/>
                    <a:pt x="8882" y="7203"/>
                  </a:cubicBezTo>
                  <a:lnTo>
                    <a:pt x="9240" y="6882"/>
                  </a:lnTo>
                  <a:lnTo>
                    <a:pt x="9418" y="7096"/>
                  </a:lnTo>
                  <a:cubicBezTo>
                    <a:pt x="9454" y="7144"/>
                    <a:pt x="9513" y="7180"/>
                    <a:pt x="9561" y="7180"/>
                  </a:cubicBezTo>
                  <a:lnTo>
                    <a:pt x="11466" y="7180"/>
                  </a:lnTo>
                  <a:cubicBezTo>
                    <a:pt x="11549" y="7180"/>
                    <a:pt x="11621" y="7096"/>
                    <a:pt x="11621" y="7013"/>
                  </a:cubicBezTo>
                  <a:lnTo>
                    <a:pt x="11621" y="6072"/>
                  </a:lnTo>
                  <a:lnTo>
                    <a:pt x="11621" y="5739"/>
                  </a:lnTo>
                  <a:lnTo>
                    <a:pt x="11621" y="5036"/>
                  </a:lnTo>
                  <a:cubicBezTo>
                    <a:pt x="11621" y="3691"/>
                    <a:pt x="11109" y="2429"/>
                    <a:pt x="10156" y="1476"/>
                  </a:cubicBezTo>
                  <a:cubicBezTo>
                    <a:pt x="9204" y="524"/>
                    <a:pt x="7930" y="0"/>
                    <a:pt x="6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9" name="Google Shape;11439;p61"/>
            <p:cNvSpPr/>
            <p:nvPr/>
          </p:nvSpPr>
          <p:spPr>
            <a:xfrm>
              <a:off x="2451674" y="3927060"/>
              <a:ext cx="70932" cy="32092"/>
            </a:xfrm>
            <a:custGeom>
              <a:avLst/>
              <a:gdLst/>
              <a:ahLst/>
              <a:cxnLst/>
              <a:rect l="l" t="t" r="r" b="b"/>
              <a:pathLst>
                <a:path w="2239" h="1013" extrusionOk="0">
                  <a:moveTo>
                    <a:pt x="1727" y="322"/>
                  </a:moveTo>
                  <a:cubicBezTo>
                    <a:pt x="1822" y="322"/>
                    <a:pt x="1905" y="393"/>
                    <a:pt x="1905" y="500"/>
                  </a:cubicBezTo>
                  <a:cubicBezTo>
                    <a:pt x="1893" y="607"/>
                    <a:pt x="1822" y="679"/>
                    <a:pt x="1727" y="679"/>
                  </a:cubicBezTo>
                  <a:lnTo>
                    <a:pt x="512" y="679"/>
                  </a:lnTo>
                  <a:cubicBezTo>
                    <a:pt x="417" y="679"/>
                    <a:pt x="334" y="607"/>
                    <a:pt x="334" y="500"/>
                  </a:cubicBezTo>
                  <a:cubicBezTo>
                    <a:pt x="334" y="417"/>
                    <a:pt x="405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6"/>
                    <a:pt x="0" y="500"/>
                  </a:cubicBezTo>
                  <a:cubicBezTo>
                    <a:pt x="0" y="786"/>
                    <a:pt x="226" y="1012"/>
                    <a:pt x="512" y="1012"/>
                  </a:cubicBezTo>
                  <a:lnTo>
                    <a:pt x="1727" y="1012"/>
                  </a:lnTo>
                  <a:cubicBezTo>
                    <a:pt x="2012" y="1012"/>
                    <a:pt x="2239" y="786"/>
                    <a:pt x="2239" y="500"/>
                  </a:cubicBezTo>
                  <a:cubicBezTo>
                    <a:pt x="2239" y="238"/>
                    <a:pt x="2012" y="0"/>
                    <a:pt x="1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40" name="Google Shape;11440;p61"/>
          <p:cNvGrpSpPr/>
          <p:nvPr/>
        </p:nvGrpSpPr>
        <p:grpSpPr>
          <a:xfrm>
            <a:off x="1768938" y="3782219"/>
            <a:ext cx="367805" cy="367773"/>
            <a:chOff x="1768938" y="3782219"/>
            <a:chExt cx="367805" cy="367773"/>
          </a:xfrm>
        </p:grpSpPr>
        <p:sp>
          <p:nvSpPr>
            <p:cNvPr id="11441" name="Google Shape;11441;p61"/>
            <p:cNvSpPr/>
            <p:nvPr/>
          </p:nvSpPr>
          <p:spPr>
            <a:xfrm>
              <a:off x="1884380" y="3782219"/>
              <a:ext cx="252363" cy="198412"/>
            </a:xfrm>
            <a:custGeom>
              <a:avLst/>
              <a:gdLst/>
              <a:ahLst/>
              <a:cxnLst/>
              <a:rect l="l" t="t" r="r" b="b"/>
              <a:pathLst>
                <a:path w="7966" h="6263" extrusionOk="0">
                  <a:moveTo>
                    <a:pt x="5346" y="0"/>
                  </a:moveTo>
                  <a:cubicBezTo>
                    <a:pt x="5299" y="0"/>
                    <a:pt x="5263" y="12"/>
                    <a:pt x="5227" y="48"/>
                  </a:cubicBezTo>
                  <a:lnTo>
                    <a:pt x="3382" y="1893"/>
                  </a:lnTo>
                  <a:lnTo>
                    <a:pt x="2893" y="1405"/>
                  </a:lnTo>
                  <a:cubicBezTo>
                    <a:pt x="2864" y="1375"/>
                    <a:pt x="2819" y="1360"/>
                    <a:pt x="2774" y="1360"/>
                  </a:cubicBezTo>
                  <a:cubicBezTo>
                    <a:pt x="2730" y="1360"/>
                    <a:pt x="2685" y="1375"/>
                    <a:pt x="2655" y="1405"/>
                  </a:cubicBezTo>
                  <a:lnTo>
                    <a:pt x="60" y="3989"/>
                  </a:lnTo>
                  <a:cubicBezTo>
                    <a:pt x="0" y="4048"/>
                    <a:pt x="0" y="4167"/>
                    <a:pt x="60" y="4227"/>
                  </a:cubicBezTo>
                  <a:cubicBezTo>
                    <a:pt x="90" y="4257"/>
                    <a:pt x="134" y="4272"/>
                    <a:pt x="179" y="4272"/>
                  </a:cubicBezTo>
                  <a:cubicBezTo>
                    <a:pt x="223" y="4272"/>
                    <a:pt x="268" y="4257"/>
                    <a:pt x="298" y="4227"/>
                  </a:cubicBezTo>
                  <a:lnTo>
                    <a:pt x="2774" y="1762"/>
                  </a:lnTo>
                  <a:lnTo>
                    <a:pt x="6215" y="5191"/>
                  </a:lnTo>
                  <a:lnTo>
                    <a:pt x="5418" y="5989"/>
                  </a:lnTo>
                  <a:cubicBezTo>
                    <a:pt x="5358" y="6049"/>
                    <a:pt x="5358" y="6168"/>
                    <a:pt x="5418" y="6227"/>
                  </a:cubicBezTo>
                  <a:cubicBezTo>
                    <a:pt x="5453" y="6251"/>
                    <a:pt x="5501" y="6263"/>
                    <a:pt x="5537" y="6263"/>
                  </a:cubicBezTo>
                  <a:cubicBezTo>
                    <a:pt x="5584" y="6263"/>
                    <a:pt x="5632" y="6251"/>
                    <a:pt x="5656" y="6227"/>
                  </a:cubicBezTo>
                  <a:lnTo>
                    <a:pt x="6573" y="5310"/>
                  </a:lnTo>
                  <a:cubicBezTo>
                    <a:pt x="6632" y="5251"/>
                    <a:pt x="6632" y="5132"/>
                    <a:pt x="6573" y="5072"/>
                  </a:cubicBezTo>
                  <a:lnTo>
                    <a:pt x="6072" y="4584"/>
                  </a:lnTo>
                  <a:lnTo>
                    <a:pt x="7918" y="2739"/>
                  </a:lnTo>
                  <a:cubicBezTo>
                    <a:pt x="7966" y="2667"/>
                    <a:pt x="7966" y="2560"/>
                    <a:pt x="7906" y="2489"/>
                  </a:cubicBezTo>
                  <a:lnTo>
                    <a:pt x="6882" y="1465"/>
                  </a:lnTo>
                  <a:cubicBezTo>
                    <a:pt x="6852" y="1435"/>
                    <a:pt x="6808" y="1420"/>
                    <a:pt x="6763" y="1420"/>
                  </a:cubicBezTo>
                  <a:cubicBezTo>
                    <a:pt x="6718" y="1420"/>
                    <a:pt x="6674" y="1435"/>
                    <a:pt x="6644" y="1465"/>
                  </a:cubicBezTo>
                  <a:cubicBezTo>
                    <a:pt x="6584" y="1524"/>
                    <a:pt x="6584" y="1643"/>
                    <a:pt x="6644" y="1703"/>
                  </a:cubicBezTo>
                  <a:lnTo>
                    <a:pt x="7549" y="2608"/>
                  </a:lnTo>
                  <a:lnTo>
                    <a:pt x="5822" y="4334"/>
                  </a:lnTo>
                  <a:lnTo>
                    <a:pt x="3620" y="2131"/>
                  </a:lnTo>
                  <a:lnTo>
                    <a:pt x="5346" y="405"/>
                  </a:lnTo>
                  <a:lnTo>
                    <a:pt x="6168" y="1226"/>
                  </a:lnTo>
                  <a:cubicBezTo>
                    <a:pt x="6197" y="1256"/>
                    <a:pt x="6242" y="1271"/>
                    <a:pt x="6287" y="1271"/>
                  </a:cubicBezTo>
                  <a:cubicBezTo>
                    <a:pt x="6331" y="1271"/>
                    <a:pt x="6376" y="1256"/>
                    <a:pt x="6406" y="1226"/>
                  </a:cubicBezTo>
                  <a:cubicBezTo>
                    <a:pt x="6465" y="1167"/>
                    <a:pt x="6465" y="1048"/>
                    <a:pt x="6406" y="988"/>
                  </a:cubicBezTo>
                  <a:lnTo>
                    <a:pt x="5465" y="48"/>
                  </a:lnTo>
                  <a:cubicBezTo>
                    <a:pt x="5441" y="12"/>
                    <a:pt x="5394" y="0"/>
                    <a:pt x="5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2" name="Google Shape;11442;p61"/>
            <p:cNvSpPr/>
            <p:nvPr/>
          </p:nvSpPr>
          <p:spPr>
            <a:xfrm>
              <a:off x="2034480" y="3821914"/>
              <a:ext cx="31743" cy="31236"/>
            </a:xfrm>
            <a:custGeom>
              <a:avLst/>
              <a:gdLst/>
              <a:ahLst/>
              <a:cxnLst/>
              <a:rect l="l" t="t" r="r" b="b"/>
              <a:pathLst>
                <a:path w="1002" h="986" extrusionOk="0">
                  <a:moveTo>
                    <a:pt x="501" y="426"/>
                  </a:moveTo>
                  <a:lnTo>
                    <a:pt x="584" y="509"/>
                  </a:lnTo>
                  <a:lnTo>
                    <a:pt x="501" y="581"/>
                  </a:lnTo>
                  <a:lnTo>
                    <a:pt x="430" y="509"/>
                  </a:lnTo>
                  <a:lnTo>
                    <a:pt x="501" y="426"/>
                  </a:lnTo>
                  <a:close/>
                  <a:moveTo>
                    <a:pt x="501" y="0"/>
                  </a:moveTo>
                  <a:cubicBezTo>
                    <a:pt x="456" y="0"/>
                    <a:pt x="412" y="15"/>
                    <a:pt x="382" y="45"/>
                  </a:cubicBezTo>
                  <a:lnTo>
                    <a:pt x="60" y="366"/>
                  </a:lnTo>
                  <a:cubicBezTo>
                    <a:pt x="1" y="426"/>
                    <a:pt x="1" y="545"/>
                    <a:pt x="60" y="605"/>
                  </a:cubicBezTo>
                  <a:lnTo>
                    <a:pt x="382" y="938"/>
                  </a:lnTo>
                  <a:cubicBezTo>
                    <a:pt x="418" y="962"/>
                    <a:pt x="465" y="986"/>
                    <a:pt x="501" y="986"/>
                  </a:cubicBezTo>
                  <a:cubicBezTo>
                    <a:pt x="549" y="986"/>
                    <a:pt x="596" y="962"/>
                    <a:pt x="620" y="938"/>
                  </a:cubicBezTo>
                  <a:lnTo>
                    <a:pt x="953" y="605"/>
                  </a:lnTo>
                  <a:cubicBezTo>
                    <a:pt x="977" y="581"/>
                    <a:pt x="1001" y="533"/>
                    <a:pt x="1001" y="485"/>
                  </a:cubicBezTo>
                  <a:cubicBezTo>
                    <a:pt x="1001" y="450"/>
                    <a:pt x="977" y="402"/>
                    <a:pt x="953" y="366"/>
                  </a:cubicBezTo>
                  <a:lnTo>
                    <a:pt x="620" y="45"/>
                  </a:lnTo>
                  <a:cubicBezTo>
                    <a:pt x="590" y="15"/>
                    <a:pt x="54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3" name="Google Shape;11443;p61"/>
            <p:cNvSpPr/>
            <p:nvPr/>
          </p:nvSpPr>
          <p:spPr>
            <a:xfrm>
              <a:off x="2065431" y="3852359"/>
              <a:ext cx="31712" cy="31332"/>
            </a:xfrm>
            <a:custGeom>
              <a:avLst/>
              <a:gdLst/>
              <a:ahLst/>
              <a:cxnLst/>
              <a:rect l="l" t="t" r="r" b="b"/>
              <a:pathLst>
                <a:path w="1001" h="989" extrusionOk="0">
                  <a:moveTo>
                    <a:pt x="500" y="441"/>
                  </a:moveTo>
                  <a:lnTo>
                    <a:pt x="572" y="513"/>
                  </a:lnTo>
                  <a:lnTo>
                    <a:pt x="500" y="584"/>
                  </a:lnTo>
                  <a:lnTo>
                    <a:pt x="417" y="513"/>
                  </a:lnTo>
                  <a:lnTo>
                    <a:pt x="500" y="441"/>
                  </a:lnTo>
                  <a:close/>
                  <a:moveTo>
                    <a:pt x="500" y="1"/>
                  </a:moveTo>
                  <a:cubicBezTo>
                    <a:pt x="453" y="1"/>
                    <a:pt x="405" y="25"/>
                    <a:pt x="381" y="48"/>
                  </a:cubicBezTo>
                  <a:lnTo>
                    <a:pt x="48" y="382"/>
                  </a:lnTo>
                  <a:cubicBezTo>
                    <a:pt x="24" y="406"/>
                    <a:pt x="0" y="453"/>
                    <a:pt x="0" y="501"/>
                  </a:cubicBezTo>
                  <a:cubicBezTo>
                    <a:pt x="0" y="536"/>
                    <a:pt x="24" y="584"/>
                    <a:pt x="48" y="608"/>
                  </a:cubicBezTo>
                  <a:lnTo>
                    <a:pt x="381" y="941"/>
                  </a:lnTo>
                  <a:cubicBezTo>
                    <a:pt x="405" y="977"/>
                    <a:pt x="453" y="989"/>
                    <a:pt x="500" y="989"/>
                  </a:cubicBezTo>
                  <a:cubicBezTo>
                    <a:pt x="536" y="989"/>
                    <a:pt x="584" y="965"/>
                    <a:pt x="619" y="941"/>
                  </a:cubicBezTo>
                  <a:lnTo>
                    <a:pt x="941" y="608"/>
                  </a:lnTo>
                  <a:cubicBezTo>
                    <a:pt x="1000" y="560"/>
                    <a:pt x="1000" y="441"/>
                    <a:pt x="941" y="382"/>
                  </a:cubicBezTo>
                  <a:lnTo>
                    <a:pt x="619" y="48"/>
                  </a:lnTo>
                  <a:cubicBezTo>
                    <a:pt x="584" y="13"/>
                    <a:pt x="53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4" name="Google Shape;11444;p61"/>
            <p:cNvSpPr/>
            <p:nvPr/>
          </p:nvSpPr>
          <p:spPr>
            <a:xfrm>
              <a:off x="1768938" y="3922625"/>
              <a:ext cx="281413" cy="227367"/>
            </a:xfrm>
            <a:custGeom>
              <a:avLst/>
              <a:gdLst/>
              <a:ahLst/>
              <a:cxnLst/>
              <a:rect l="l" t="t" r="r" b="b"/>
              <a:pathLst>
                <a:path w="8883" h="7177" extrusionOk="0">
                  <a:moveTo>
                    <a:pt x="3347" y="0"/>
                  </a:moveTo>
                  <a:cubicBezTo>
                    <a:pt x="3302" y="0"/>
                    <a:pt x="3257" y="15"/>
                    <a:pt x="3228" y="45"/>
                  </a:cubicBezTo>
                  <a:lnTo>
                    <a:pt x="811" y="2450"/>
                  </a:lnTo>
                  <a:cubicBezTo>
                    <a:pt x="287" y="2962"/>
                    <a:pt x="1" y="3664"/>
                    <a:pt x="1" y="4414"/>
                  </a:cubicBezTo>
                  <a:cubicBezTo>
                    <a:pt x="1" y="5153"/>
                    <a:pt x="287" y="5843"/>
                    <a:pt x="811" y="6379"/>
                  </a:cubicBezTo>
                  <a:cubicBezTo>
                    <a:pt x="1323" y="6891"/>
                    <a:pt x="2025" y="7177"/>
                    <a:pt x="2775" y="7177"/>
                  </a:cubicBezTo>
                  <a:cubicBezTo>
                    <a:pt x="3513" y="7177"/>
                    <a:pt x="4204" y="6891"/>
                    <a:pt x="4740" y="6379"/>
                  </a:cubicBezTo>
                  <a:lnTo>
                    <a:pt x="8847" y="2271"/>
                  </a:lnTo>
                  <a:cubicBezTo>
                    <a:pt x="8883" y="2188"/>
                    <a:pt x="8883" y="2093"/>
                    <a:pt x="8812" y="2033"/>
                  </a:cubicBezTo>
                  <a:cubicBezTo>
                    <a:pt x="8782" y="2003"/>
                    <a:pt x="8737" y="1989"/>
                    <a:pt x="8693" y="1989"/>
                  </a:cubicBezTo>
                  <a:cubicBezTo>
                    <a:pt x="8648" y="1989"/>
                    <a:pt x="8603" y="2003"/>
                    <a:pt x="8573" y="2033"/>
                  </a:cubicBezTo>
                  <a:lnTo>
                    <a:pt x="4466" y="6141"/>
                  </a:lnTo>
                  <a:cubicBezTo>
                    <a:pt x="4001" y="6593"/>
                    <a:pt x="3394" y="6855"/>
                    <a:pt x="2751" y="6855"/>
                  </a:cubicBezTo>
                  <a:cubicBezTo>
                    <a:pt x="2096" y="6855"/>
                    <a:pt x="1489" y="6593"/>
                    <a:pt x="1049" y="6141"/>
                  </a:cubicBezTo>
                  <a:cubicBezTo>
                    <a:pt x="584" y="5677"/>
                    <a:pt x="322" y="5069"/>
                    <a:pt x="322" y="4426"/>
                  </a:cubicBezTo>
                  <a:cubicBezTo>
                    <a:pt x="322" y="3772"/>
                    <a:pt x="584" y="3164"/>
                    <a:pt x="1049" y="2712"/>
                  </a:cubicBezTo>
                  <a:lnTo>
                    <a:pt x="3466" y="283"/>
                  </a:lnTo>
                  <a:cubicBezTo>
                    <a:pt x="3525" y="223"/>
                    <a:pt x="3525" y="104"/>
                    <a:pt x="3466" y="45"/>
                  </a:cubicBezTo>
                  <a:cubicBezTo>
                    <a:pt x="3436" y="15"/>
                    <a:pt x="3391" y="0"/>
                    <a:pt x="3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5" name="Google Shape;11445;p61"/>
            <p:cNvSpPr/>
            <p:nvPr/>
          </p:nvSpPr>
          <p:spPr>
            <a:xfrm>
              <a:off x="1847790" y="3937704"/>
              <a:ext cx="143352" cy="127417"/>
            </a:xfrm>
            <a:custGeom>
              <a:avLst/>
              <a:gdLst/>
              <a:ahLst/>
              <a:cxnLst/>
              <a:rect l="l" t="t" r="r" b="b"/>
              <a:pathLst>
                <a:path w="4525" h="4022" extrusionOk="0">
                  <a:moveTo>
                    <a:pt x="3537" y="343"/>
                  </a:moveTo>
                  <a:cubicBezTo>
                    <a:pt x="3584" y="343"/>
                    <a:pt x="3632" y="367"/>
                    <a:pt x="3667" y="402"/>
                  </a:cubicBezTo>
                  <a:cubicBezTo>
                    <a:pt x="3751" y="486"/>
                    <a:pt x="3751" y="581"/>
                    <a:pt x="3667" y="664"/>
                  </a:cubicBezTo>
                  <a:cubicBezTo>
                    <a:pt x="3632" y="700"/>
                    <a:pt x="3587" y="718"/>
                    <a:pt x="3542" y="718"/>
                  </a:cubicBezTo>
                  <a:cubicBezTo>
                    <a:pt x="3498" y="718"/>
                    <a:pt x="3453" y="700"/>
                    <a:pt x="3417" y="664"/>
                  </a:cubicBezTo>
                  <a:cubicBezTo>
                    <a:pt x="3334" y="581"/>
                    <a:pt x="3334" y="462"/>
                    <a:pt x="3406" y="402"/>
                  </a:cubicBezTo>
                  <a:cubicBezTo>
                    <a:pt x="3441" y="379"/>
                    <a:pt x="3477" y="343"/>
                    <a:pt x="3537" y="343"/>
                  </a:cubicBezTo>
                  <a:close/>
                  <a:moveTo>
                    <a:pt x="2024" y="486"/>
                  </a:moveTo>
                  <a:cubicBezTo>
                    <a:pt x="2072" y="486"/>
                    <a:pt x="2108" y="498"/>
                    <a:pt x="2155" y="545"/>
                  </a:cubicBezTo>
                  <a:cubicBezTo>
                    <a:pt x="2227" y="617"/>
                    <a:pt x="2227" y="724"/>
                    <a:pt x="2155" y="795"/>
                  </a:cubicBezTo>
                  <a:cubicBezTo>
                    <a:pt x="2120" y="831"/>
                    <a:pt x="2075" y="849"/>
                    <a:pt x="2030" y="849"/>
                  </a:cubicBezTo>
                  <a:cubicBezTo>
                    <a:pt x="1986" y="849"/>
                    <a:pt x="1941" y="831"/>
                    <a:pt x="1905" y="795"/>
                  </a:cubicBezTo>
                  <a:cubicBezTo>
                    <a:pt x="1810" y="724"/>
                    <a:pt x="1810" y="605"/>
                    <a:pt x="1893" y="545"/>
                  </a:cubicBezTo>
                  <a:cubicBezTo>
                    <a:pt x="1917" y="509"/>
                    <a:pt x="1965" y="486"/>
                    <a:pt x="2024" y="486"/>
                  </a:cubicBezTo>
                  <a:close/>
                  <a:moveTo>
                    <a:pt x="3953" y="1676"/>
                  </a:moveTo>
                  <a:cubicBezTo>
                    <a:pt x="4001" y="1676"/>
                    <a:pt x="4048" y="1688"/>
                    <a:pt x="4084" y="1724"/>
                  </a:cubicBezTo>
                  <a:cubicBezTo>
                    <a:pt x="4156" y="1807"/>
                    <a:pt x="4156" y="1926"/>
                    <a:pt x="4072" y="1986"/>
                  </a:cubicBezTo>
                  <a:cubicBezTo>
                    <a:pt x="4037" y="2022"/>
                    <a:pt x="3992" y="2039"/>
                    <a:pt x="3947" y="2039"/>
                  </a:cubicBezTo>
                  <a:cubicBezTo>
                    <a:pt x="3903" y="2039"/>
                    <a:pt x="3858" y="2022"/>
                    <a:pt x="3822" y="1986"/>
                  </a:cubicBezTo>
                  <a:cubicBezTo>
                    <a:pt x="3751" y="1914"/>
                    <a:pt x="3751" y="1807"/>
                    <a:pt x="3822" y="1724"/>
                  </a:cubicBezTo>
                  <a:cubicBezTo>
                    <a:pt x="3858" y="1700"/>
                    <a:pt x="3894" y="1676"/>
                    <a:pt x="3953" y="1676"/>
                  </a:cubicBezTo>
                  <a:close/>
                  <a:moveTo>
                    <a:pt x="655" y="3129"/>
                  </a:moveTo>
                  <a:cubicBezTo>
                    <a:pt x="727" y="3129"/>
                    <a:pt x="786" y="3165"/>
                    <a:pt x="846" y="3200"/>
                  </a:cubicBezTo>
                  <a:cubicBezTo>
                    <a:pt x="893" y="3248"/>
                    <a:pt x="917" y="3319"/>
                    <a:pt x="917" y="3403"/>
                  </a:cubicBezTo>
                  <a:cubicBezTo>
                    <a:pt x="917" y="3474"/>
                    <a:pt x="893" y="3546"/>
                    <a:pt x="846" y="3593"/>
                  </a:cubicBezTo>
                  <a:cubicBezTo>
                    <a:pt x="798" y="3641"/>
                    <a:pt x="727" y="3665"/>
                    <a:pt x="655" y="3665"/>
                  </a:cubicBezTo>
                  <a:cubicBezTo>
                    <a:pt x="584" y="3665"/>
                    <a:pt x="524" y="3641"/>
                    <a:pt x="465" y="3593"/>
                  </a:cubicBezTo>
                  <a:cubicBezTo>
                    <a:pt x="417" y="3546"/>
                    <a:pt x="381" y="3474"/>
                    <a:pt x="381" y="3403"/>
                  </a:cubicBezTo>
                  <a:cubicBezTo>
                    <a:pt x="381" y="3319"/>
                    <a:pt x="417" y="3260"/>
                    <a:pt x="465" y="3200"/>
                  </a:cubicBezTo>
                  <a:cubicBezTo>
                    <a:pt x="512" y="3141"/>
                    <a:pt x="584" y="3129"/>
                    <a:pt x="655" y="3129"/>
                  </a:cubicBezTo>
                  <a:close/>
                  <a:moveTo>
                    <a:pt x="3513" y="0"/>
                  </a:moveTo>
                  <a:cubicBezTo>
                    <a:pt x="3379" y="0"/>
                    <a:pt x="3245" y="51"/>
                    <a:pt x="3144" y="152"/>
                  </a:cubicBezTo>
                  <a:cubicBezTo>
                    <a:pt x="2977" y="319"/>
                    <a:pt x="2941" y="557"/>
                    <a:pt x="3036" y="748"/>
                  </a:cubicBezTo>
                  <a:lnTo>
                    <a:pt x="2132" y="1652"/>
                  </a:lnTo>
                  <a:lnTo>
                    <a:pt x="1572" y="2212"/>
                  </a:lnTo>
                  <a:lnTo>
                    <a:pt x="1334" y="1974"/>
                  </a:lnTo>
                  <a:cubicBezTo>
                    <a:pt x="1215" y="1855"/>
                    <a:pt x="1215" y="1676"/>
                    <a:pt x="1334" y="1569"/>
                  </a:cubicBezTo>
                  <a:lnTo>
                    <a:pt x="1774" y="1141"/>
                  </a:lnTo>
                  <a:cubicBezTo>
                    <a:pt x="1846" y="1164"/>
                    <a:pt x="1917" y="1200"/>
                    <a:pt x="1989" y="1200"/>
                  </a:cubicBezTo>
                  <a:cubicBezTo>
                    <a:pt x="2132" y="1200"/>
                    <a:pt x="2263" y="1152"/>
                    <a:pt x="2370" y="1045"/>
                  </a:cubicBezTo>
                  <a:cubicBezTo>
                    <a:pt x="2572" y="843"/>
                    <a:pt x="2572" y="509"/>
                    <a:pt x="2370" y="307"/>
                  </a:cubicBezTo>
                  <a:cubicBezTo>
                    <a:pt x="2263" y="200"/>
                    <a:pt x="2129" y="146"/>
                    <a:pt x="1995" y="146"/>
                  </a:cubicBezTo>
                  <a:cubicBezTo>
                    <a:pt x="1861" y="146"/>
                    <a:pt x="1727" y="200"/>
                    <a:pt x="1620" y="307"/>
                  </a:cubicBezTo>
                  <a:cubicBezTo>
                    <a:pt x="1453" y="462"/>
                    <a:pt x="1429" y="700"/>
                    <a:pt x="1512" y="902"/>
                  </a:cubicBezTo>
                  <a:lnTo>
                    <a:pt x="1084" y="1331"/>
                  </a:lnTo>
                  <a:cubicBezTo>
                    <a:pt x="846" y="1569"/>
                    <a:pt x="846" y="1974"/>
                    <a:pt x="1084" y="2224"/>
                  </a:cubicBezTo>
                  <a:lnTo>
                    <a:pt x="1322" y="2462"/>
                  </a:lnTo>
                  <a:lnTo>
                    <a:pt x="905" y="2879"/>
                  </a:lnTo>
                  <a:cubicBezTo>
                    <a:pt x="812" y="2827"/>
                    <a:pt x="709" y="2802"/>
                    <a:pt x="607" y="2802"/>
                  </a:cubicBezTo>
                  <a:cubicBezTo>
                    <a:pt x="450" y="2802"/>
                    <a:pt x="295" y="2863"/>
                    <a:pt x="179" y="2986"/>
                  </a:cubicBezTo>
                  <a:cubicBezTo>
                    <a:pt x="60" y="3105"/>
                    <a:pt x="0" y="3248"/>
                    <a:pt x="0" y="3415"/>
                  </a:cubicBezTo>
                  <a:cubicBezTo>
                    <a:pt x="0" y="3581"/>
                    <a:pt x="60" y="3724"/>
                    <a:pt x="179" y="3843"/>
                  </a:cubicBezTo>
                  <a:cubicBezTo>
                    <a:pt x="298" y="3962"/>
                    <a:pt x="441" y="4022"/>
                    <a:pt x="608" y="4022"/>
                  </a:cubicBezTo>
                  <a:cubicBezTo>
                    <a:pt x="774" y="4022"/>
                    <a:pt x="917" y="3962"/>
                    <a:pt x="1036" y="3843"/>
                  </a:cubicBezTo>
                  <a:cubicBezTo>
                    <a:pt x="1155" y="3724"/>
                    <a:pt x="1215" y="3581"/>
                    <a:pt x="1215" y="3415"/>
                  </a:cubicBezTo>
                  <a:cubicBezTo>
                    <a:pt x="1215" y="3307"/>
                    <a:pt x="1191" y="3200"/>
                    <a:pt x="1143" y="3117"/>
                  </a:cubicBezTo>
                  <a:lnTo>
                    <a:pt x="2227" y="2033"/>
                  </a:lnTo>
                  <a:lnTo>
                    <a:pt x="2513" y="2307"/>
                  </a:lnTo>
                  <a:cubicBezTo>
                    <a:pt x="2679" y="2474"/>
                    <a:pt x="2905" y="2569"/>
                    <a:pt x="3108" y="2569"/>
                  </a:cubicBezTo>
                  <a:cubicBezTo>
                    <a:pt x="3322" y="2569"/>
                    <a:pt x="3513" y="2486"/>
                    <a:pt x="3679" y="2343"/>
                  </a:cubicBezTo>
                  <a:cubicBezTo>
                    <a:pt x="3751" y="2367"/>
                    <a:pt x="3822" y="2403"/>
                    <a:pt x="3894" y="2403"/>
                  </a:cubicBezTo>
                  <a:cubicBezTo>
                    <a:pt x="4037" y="2403"/>
                    <a:pt x="4168" y="2355"/>
                    <a:pt x="4275" y="2248"/>
                  </a:cubicBezTo>
                  <a:cubicBezTo>
                    <a:pt x="4525" y="2033"/>
                    <a:pt x="4525" y="1700"/>
                    <a:pt x="4310" y="1498"/>
                  </a:cubicBezTo>
                  <a:cubicBezTo>
                    <a:pt x="4209" y="1391"/>
                    <a:pt x="4075" y="1337"/>
                    <a:pt x="3941" y="1337"/>
                  </a:cubicBezTo>
                  <a:cubicBezTo>
                    <a:pt x="3807" y="1337"/>
                    <a:pt x="3673" y="1391"/>
                    <a:pt x="3572" y="1498"/>
                  </a:cubicBezTo>
                  <a:cubicBezTo>
                    <a:pt x="3406" y="1652"/>
                    <a:pt x="3382" y="1891"/>
                    <a:pt x="3465" y="2093"/>
                  </a:cubicBezTo>
                  <a:cubicBezTo>
                    <a:pt x="3377" y="2175"/>
                    <a:pt x="3267" y="2214"/>
                    <a:pt x="3155" y="2214"/>
                  </a:cubicBezTo>
                  <a:cubicBezTo>
                    <a:pt x="3023" y="2214"/>
                    <a:pt x="2889" y="2160"/>
                    <a:pt x="2786" y="2057"/>
                  </a:cubicBezTo>
                  <a:lnTo>
                    <a:pt x="2501" y="1772"/>
                  </a:lnTo>
                  <a:lnTo>
                    <a:pt x="3286" y="986"/>
                  </a:lnTo>
                  <a:cubicBezTo>
                    <a:pt x="3358" y="1021"/>
                    <a:pt x="3441" y="1045"/>
                    <a:pt x="3513" y="1045"/>
                  </a:cubicBezTo>
                  <a:cubicBezTo>
                    <a:pt x="3644" y="1045"/>
                    <a:pt x="3775" y="998"/>
                    <a:pt x="3882" y="902"/>
                  </a:cubicBezTo>
                  <a:cubicBezTo>
                    <a:pt x="4096" y="688"/>
                    <a:pt x="4096" y="367"/>
                    <a:pt x="3882" y="152"/>
                  </a:cubicBezTo>
                  <a:cubicBezTo>
                    <a:pt x="3781" y="51"/>
                    <a:pt x="3647" y="0"/>
                    <a:pt x="3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46" name="Google Shape;11446;p61"/>
          <p:cNvGrpSpPr/>
          <p:nvPr/>
        </p:nvGrpSpPr>
        <p:grpSpPr>
          <a:xfrm>
            <a:off x="2681385" y="3798439"/>
            <a:ext cx="325544" cy="327413"/>
            <a:chOff x="2681385" y="3798439"/>
            <a:chExt cx="325544" cy="327413"/>
          </a:xfrm>
        </p:grpSpPr>
        <p:sp>
          <p:nvSpPr>
            <p:cNvPr id="11447" name="Google Shape;11447;p61"/>
            <p:cNvSpPr/>
            <p:nvPr/>
          </p:nvSpPr>
          <p:spPr>
            <a:xfrm>
              <a:off x="2713826" y="3830975"/>
              <a:ext cx="58101" cy="56866"/>
            </a:xfrm>
            <a:custGeom>
              <a:avLst/>
              <a:gdLst/>
              <a:ahLst/>
              <a:cxnLst/>
              <a:rect l="l" t="t" r="r" b="b"/>
              <a:pathLst>
                <a:path w="1834" h="1795" extrusionOk="0">
                  <a:moveTo>
                    <a:pt x="165" y="0"/>
                  </a:moveTo>
                  <a:cubicBezTo>
                    <a:pt x="128" y="0"/>
                    <a:pt x="89" y="15"/>
                    <a:pt x="60" y="45"/>
                  </a:cubicBezTo>
                  <a:cubicBezTo>
                    <a:pt x="0" y="104"/>
                    <a:pt x="0" y="188"/>
                    <a:pt x="60" y="247"/>
                  </a:cubicBezTo>
                  <a:lnTo>
                    <a:pt x="1560" y="1747"/>
                  </a:lnTo>
                  <a:cubicBezTo>
                    <a:pt x="1596" y="1783"/>
                    <a:pt x="1643" y="1795"/>
                    <a:pt x="1667" y="1795"/>
                  </a:cubicBezTo>
                  <a:cubicBezTo>
                    <a:pt x="1703" y="1795"/>
                    <a:pt x="1738" y="1783"/>
                    <a:pt x="1774" y="1747"/>
                  </a:cubicBezTo>
                  <a:cubicBezTo>
                    <a:pt x="1834" y="1688"/>
                    <a:pt x="1834" y="1604"/>
                    <a:pt x="1774" y="1545"/>
                  </a:cubicBezTo>
                  <a:lnTo>
                    <a:pt x="262" y="45"/>
                  </a:lnTo>
                  <a:cubicBezTo>
                    <a:pt x="238" y="15"/>
                    <a:pt x="203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8" name="Google Shape;11448;p61"/>
            <p:cNvSpPr/>
            <p:nvPr/>
          </p:nvSpPr>
          <p:spPr>
            <a:xfrm>
              <a:off x="2683255" y="3880110"/>
              <a:ext cx="75462" cy="28100"/>
            </a:xfrm>
            <a:custGeom>
              <a:avLst/>
              <a:gdLst/>
              <a:ahLst/>
              <a:cxnLst/>
              <a:rect l="l" t="t" r="r" b="b"/>
              <a:pathLst>
                <a:path w="2382" h="887" extrusionOk="0">
                  <a:moveTo>
                    <a:pt x="189" y="0"/>
                  </a:moveTo>
                  <a:cubicBezTo>
                    <a:pt x="119" y="0"/>
                    <a:pt x="55" y="52"/>
                    <a:pt x="25" y="113"/>
                  </a:cubicBezTo>
                  <a:cubicBezTo>
                    <a:pt x="1" y="184"/>
                    <a:pt x="60" y="280"/>
                    <a:pt x="132" y="303"/>
                  </a:cubicBezTo>
                  <a:lnTo>
                    <a:pt x="2168" y="887"/>
                  </a:lnTo>
                  <a:lnTo>
                    <a:pt x="2215" y="887"/>
                  </a:lnTo>
                  <a:cubicBezTo>
                    <a:pt x="2275" y="887"/>
                    <a:pt x="2346" y="839"/>
                    <a:pt x="2370" y="780"/>
                  </a:cubicBezTo>
                  <a:cubicBezTo>
                    <a:pt x="2382" y="696"/>
                    <a:pt x="2334" y="613"/>
                    <a:pt x="2263" y="589"/>
                  </a:cubicBezTo>
                  <a:lnTo>
                    <a:pt x="227" y="6"/>
                  </a:lnTo>
                  <a:cubicBezTo>
                    <a:pt x="214" y="2"/>
                    <a:pt x="201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9" name="Google Shape;11449;p61"/>
            <p:cNvSpPr/>
            <p:nvPr/>
          </p:nvSpPr>
          <p:spPr>
            <a:xfrm>
              <a:off x="2681385" y="3918918"/>
              <a:ext cx="75082" cy="29272"/>
            </a:xfrm>
            <a:custGeom>
              <a:avLst/>
              <a:gdLst/>
              <a:ahLst/>
              <a:cxnLst/>
              <a:rect l="l" t="t" r="r" b="b"/>
              <a:pathLst>
                <a:path w="2370" h="924" extrusionOk="0">
                  <a:moveTo>
                    <a:pt x="2186" y="1"/>
                  </a:moveTo>
                  <a:cubicBezTo>
                    <a:pt x="2172" y="1"/>
                    <a:pt x="2158" y="3"/>
                    <a:pt x="2143" y="7"/>
                  </a:cubicBezTo>
                  <a:lnTo>
                    <a:pt x="119" y="626"/>
                  </a:lnTo>
                  <a:cubicBezTo>
                    <a:pt x="48" y="662"/>
                    <a:pt x="0" y="733"/>
                    <a:pt x="12" y="817"/>
                  </a:cubicBezTo>
                  <a:cubicBezTo>
                    <a:pt x="24" y="876"/>
                    <a:pt x="84" y="924"/>
                    <a:pt x="155" y="924"/>
                  </a:cubicBezTo>
                  <a:lnTo>
                    <a:pt x="203" y="924"/>
                  </a:lnTo>
                  <a:lnTo>
                    <a:pt x="2227" y="305"/>
                  </a:lnTo>
                  <a:cubicBezTo>
                    <a:pt x="2322" y="269"/>
                    <a:pt x="2370" y="198"/>
                    <a:pt x="2334" y="102"/>
                  </a:cubicBezTo>
                  <a:cubicBezTo>
                    <a:pt x="2304" y="44"/>
                    <a:pt x="2251" y="1"/>
                    <a:pt x="2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0" name="Google Shape;11450;p61"/>
            <p:cNvSpPr/>
            <p:nvPr/>
          </p:nvSpPr>
          <p:spPr>
            <a:xfrm>
              <a:off x="2762835" y="3800340"/>
              <a:ext cx="29462" cy="74321"/>
            </a:xfrm>
            <a:custGeom>
              <a:avLst/>
              <a:gdLst/>
              <a:ahLst/>
              <a:cxnLst/>
              <a:rect l="l" t="t" r="r" b="b"/>
              <a:pathLst>
                <a:path w="930" h="2346" extrusionOk="0">
                  <a:moveTo>
                    <a:pt x="188" y="1"/>
                  </a:moveTo>
                  <a:cubicBezTo>
                    <a:pt x="170" y="1"/>
                    <a:pt x="152" y="4"/>
                    <a:pt x="132" y="12"/>
                  </a:cubicBezTo>
                  <a:cubicBezTo>
                    <a:pt x="60" y="35"/>
                    <a:pt x="1" y="107"/>
                    <a:pt x="37" y="202"/>
                  </a:cubicBezTo>
                  <a:lnTo>
                    <a:pt x="608" y="2238"/>
                  </a:lnTo>
                  <a:cubicBezTo>
                    <a:pt x="632" y="2298"/>
                    <a:pt x="691" y="2345"/>
                    <a:pt x="763" y="2345"/>
                  </a:cubicBezTo>
                  <a:lnTo>
                    <a:pt x="799" y="2345"/>
                  </a:lnTo>
                  <a:cubicBezTo>
                    <a:pt x="882" y="2333"/>
                    <a:pt x="930" y="2238"/>
                    <a:pt x="906" y="2155"/>
                  </a:cubicBezTo>
                  <a:lnTo>
                    <a:pt x="334" y="107"/>
                  </a:lnTo>
                  <a:cubicBezTo>
                    <a:pt x="306" y="50"/>
                    <a:pt x="255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1" name="Google Shape;11451;p61"/>
            <p:cNvSpPr/>
            <p:nvPr/>
          </p:nvSpPr>
          <p:spPr>
            <a:xfrm>
              <a:off x="2801326" y="3798439"/>
              <a:ext cx="30951" cy="73941"/>
            </a:xfrm>
            <a:custGeom>
              <a:avLst/>
              <a:gdLst/>
              <a:ahLst/>
              <a:cxnLst/>
              <a:rect l="l" t="t" r="r" b="b"/>
              <a:pathLst>
                <a:path w="977" h="2334" extrusionOk="0">
                  <a:moveTo>
                    <a:pt x="802" y="0"/>
                  </a:moveTo>
                  <a:cubicBezTo>
                    <a:pt x="740" y="0"/>
                    <a:pt x="686" y="45"/>
                    <a:pt x="667" y="119"/>
                  </a:cubicBezTo>
                  <a:lnTo>
                    <a:pt x="36" y="2143"/>
                  </a:lnTo>
                  <a:cubicBezTo>
                    <a:pt x="0" y="2215"/>
                    <a:pt x="48" y="2298"/>
                    <a:pt x="143" y="2334"/>
                  </a:cubicBezTo>
                  <a:lnTo>
                    <a:pt x="179" y="2334"/>
                  </a:lnTo>
                  <a:cubicBezTo>
                    <a:pt x="238" y="2334"/>
                    <a:pt x="298" y="2286"/>
                    <a:pt x="334" y="2227"/>
                  </a:cubicBezTo>
                  <a:lnTo>
                    <a:pt x="965" y="203"/>
                  </a:lnTo>
                  <a:cubicBezTo>
                    <a:pt x="977" y="119"/>
                    <a:pt x="929" y="36"/>
                    <a:pt x="858" y="12"/>
                  </a:cubicBezTo>
                  <a:cubicBezTo>
                    <a:pt x="839" y="4"/>
                    <a:pt x="820" y="0"/>
                    <a:pt x="8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2" name="Google Shape;11452;p61"/>
            <p:cNvSpPr/>
            <p:nvPr/>
          </p:nvSpPr>
          <p:spPr>
            <a:xfrm>
              <a:off x="2851095" y="3944262"/>
              <a:ext cx="124534" cy="127670"/>
            </a:xfrm>
            <a:custGeom>
              <a:avLst/>
              <a:gdLst/>
              <a:ahLst/>
              <a:cxnLst/>
              <a:rect l="l" t="t" r="r" b="b"/>
              <a:pathLst>
                <a:path w="3931" h="4030" extrusionOk="0">
                  <a:moveTo>
                    <a:pt x="1918" y="1195"/>
                  </a:moveTo>
                  <a:lnTo>
                    <a:pt x="2144" y="1422"/>
                  </a:lnTo>
                  <a:lnTo>
                    <a:pt x="1989" y="1565"/>
                  </a:lnTo>
                  <a:lnTo>
                    <a:pt x="1775" y="1350"/>
                  </a:lnTo>
                  <a:lnTo>
                    <a:pt x="1918" y="1195"/>
                  </a:lnTo>
                  <a:close/>
                  <a:moveTo>
                    <a:pt x="1644" y="1624"/>
                  </a:moveTo>
                  <a:lnTo>
                    <a:pt x="1704" y="1684"/>
                  </a:lnTo>
                  <a:lnTo>
                    <a:pt x="1668" y="1731"/>
                  </a:lnTo>
                  <a:lnTo>
                    <a:pt x="1608" y="1672"/>
                  </a:lnTo>
                  <a:lnTo>
                    <a:pt x="1644" y="1624"/>
                  </a:lnTo>
                  <a:close/>
                  <a:moveTo>
                    <a:pt x="2632" y="1898"/>
                  </a:moveTo>
                  <a:lnTo>
                    <a:pt x="2858" y="2124"/>
                  </a:lnTo>
                  <a:lnTo>
                    <a:pt x="2704" y="2267"/>
                  </a:lnTo>
                  <a:lnTo>
                    <a:pt x="2477" y="2041"/>
                  </a:lnTo>
                  <a:lnTo>
                    <a:pt x="2632" y="1898"/>
                  </a:lnTo>
                  <a:close/>
                  <a:moveTo>
                    <a:pt x="2347" y="2338"/>
                  </a:moveTo>
                  <a:lnTo>
                    <a:pt x="2406" y="2398"/>
                  </a:lnTo>
                  <a:lnTo>
                    <a:pt x="2370" y="2446"/>
                  </a:lnTo>
                  <a:lnTo>
                    <a:pt x="2311" y="2386"/>
                  </a:lnTo>
                  <a:lnTo>
                    <a:pt x="2347" y="2338"/>
                  </a:lnTo>
                  <a:close/>
                  <a:moveTo>
                    <a:pt x="3335" y="2612"/>
                  </a:moveTo>
                  <a:lnTo>
                    <a:pt x="3561" y="2839"/>
                  </a:lnTo>
                  <a:lnTo>
                    <a:pt x="3406" y="2981"/>
                  </a:lnTo>
                  <a:lnTo>
                    <a:pt x="3180" y="2755"/>
                  </a:lnTo>
                  <a:lnTo>
                    <a:pt x="3335" y="2612"/>
                  </a:lnTo>
                  <a:close/>
                  <a:moveTo>
                    <a:pt x="3049" y="3041"/>
                  </a:moveTo>
                  <a:lnTo>
                    <a:pt x="3109" y="3100"/>
                  </a:lnTo>
                  <a:lnTo>
                    <a:pt x="3061" y="3148"/>
                  </a:lnTo>
                  <a:lnTo>
                    <a:pt x="3001" y="3089"/>
                  </a:lnTo>
                  <a:lnTo>
                    <a:pt x="3049" y="3041"/>
                  </a:lnTo>
                  <a:close/>
                  <a:moveTo>
                    <a:pt x="176" y="0"/>
                  </a:moveTo>
                  <a:cubicBezTo>
                    <a:pt x="154" y="0"/>
                    <a:pt x="130" y="6"/>
                    <a:pt x="108" y="17"/>
                  </a:cubicBezTo>
                  <a:cubicBezTo>
                    <a:pt x="25" y="64"/>
                    <a:pt x="1" y="160"/>
                    <a:pt x="49" y="231"/>
                  </a:cubicBezTo>
                  <a:cubicBezTo>
                    <a:pt x="322" y="719"/>
                    <a:pt x="668" y="1184"/>
                    <a:pt x="1073" y="1588"/>
                  </a:cubicBezTo>
                  <a:lnTo>
                    <a:pt x="1596" y="2100"/>
                  </a:lnTo>
                  <a:lnTo>
                    <a:pt x="2025" y="2541"/>
                  </a:lnTo>
                  <a:lnTo>
                    <a:pt x="2989" y="3505"/>
                  </a:lnTo>
                  <a:lnTo>
                    <a:pt x="3466" y="3982"/>
                  </a:lnTo>
                  <a:cubicBezTo>
                    <a:pt x="3501" y="4005"/>
                    <a:pt x="3537" y="4029"/>
                    <a:pt x="3573" y="4029"/>
                  </a:cubicBezTo>
                  <a:cubicBezTo>
                    <a:pt x="3597" y="4029"/>
                    <a:pt x="3644" y="4005"/>
                    <a:pt x="3680" y="3982"/>
                  </a:cubicBezTo>
                  <a:cubicBezTo>
                    <a:pt x="3740" y="3922"/>
                    <a:pt x="3740" y="3827"/>
                    <a:pt x="3680" y="3767"/>
                  </a:cubicBezTo>
                  <a:lnTo>
                    <a:pt x="3299" y="3398"/>
                  </a:lnTo>
                  <a:lnTo>
                    <a:pt x="3347" y="3350"/>
                  </a:lnTo>
                  <a:cubicBezTo>
                    <a:pt x="3347" y="3339"/>
                    <a:pt x="3370" y="3339"/>
                    <a:pt x="3406" y="3339"/>
                  </a:cubicBezTo>
                  <a:cubicBezTo>
                    <a:pt x="3454" y="3339"/>
                    <a:pt x="3478" y="3327"/>
                    <a:pt x="3513" y="3291"/>
                  </a:cubicBezTo>
                  <a:lnTo>
                    <a:pt x="3871" y="2934"/>
                  </a:lnTo>
                  <a:cubicBezTo>
                    <a:pt x="3930" y="2874"/>
                    <a:pt x="3930" y="2791"/>
                    <a:pt x="3871" y="2731"/>
                  </a:cubicBezTo>
                  <a:lnTo>
                    <a:pt x="3442" y="2303"/>
                  </a:lnTo>
                  <a:cubicBezTo>
                    <a:pt x="3412" y="2273"/>
                    <a:pt x="3373" y="2258"/>
                    <a:pt x="3335" y="2258"/>
                  </a:cubicBezTo>
                  <a:cubicBezTo>
                    <a:pt x="3296" y="2258"/>
                    <a:pt x="3257" y="2273"/>
                    <a:pt x="3228" y="2303"/>
                  </a:cubicBezTo>
                  <a:lnTo>
                    <a:pt x="2870" y="2660"/>
                  </a:lnTo>
                  <a:cubicBezTo>
                    <a:pt x="2847" y="2684"/>
                    <a:pt x="2823" y="2731"/>
                    <a:pt x="2823" y="2755"/>
                  </a:cubicBezTo>
                  <a:cubicBezTo>
                    <a:pt x="2823" y="2791"/>
                    <a:pt x="2847" y="2815"/>
                    <a:pt x="2858" y="2850"/>
                  </a:cubicBezTo>
                  <a:lnTo>
                    <a:pt x="2811" y="2898"/>
                  </a:lnTo>
                  <a:lnTo>
                    <a:pt x="2585" y="2672"/>
                  </a:lnTo>
                  <a:lnTo>
                    <a:pt x="2632" y="2624"/>
                  </a:lnTo>
                  <a:cubicBezTo>
                    <a:pt x="2668" y="2636"/>
                    <a:pt x="2692" y="2660"/>
                    <a:pt x="2728" y="2660"/>
                  </a:cubicBezTo>
                  <a:cubicBezTo>
                    <a:pt x="2763" y="2660"/>
                    <a:pt x="2799" y="2636"/>
                    <a:pt x="2823" y="2612"/>
                  </a:cubicBezTo>
                  <a:lnTo>
                    <a:pt x="3180" y="2255"/>
                  </a:lnTo>
                  <a:cubicBezTo>
                    <a:pt x="3239" y="2196"/>
                    <a:pt x="3239" y="2100"/>
                    <a:pt x="3180" y="2041"/>
                  </a:cubicBezTo>
                  <a:lnTo>
                    <a:pt x="2751" y="1612"/>
                  </a:lnTo>
                  <a:cubicBezTo>
                    <a:pt x="2722" y="1582"/>
                    <a:pt x="2686" y="1568"/>
                    <a:pt x="2650" y="1568"/>
                  </a:cubicBezTo>
                  <a:cubicBezTo>
                    <a:pt x="2614" y="1568"/>
                    <a:pt x="2579" y="1582"/>
                    <a:pt x="2549" y="1612"/>
                  </a:cubicBezTo>
                  <a:lnTo>
                    <a:pt x="2192" y="1969"/>
                  </a:lnTo>
                  <a:cubicBezTo>
                    <a:pt x="2156" y="2005"/>
                    <a:pt x="2144" y="2041"/>
                    <a:pt x="2144" y="2077"/>
                  </a:cubicBezTo>
                  <a:cubicBezTo>
                    <a:pt x="2144" y="2100"/>
                    <a:pt x="2156" y="2136"/>
                    <a:pt x="2168" y="2160"/>
                  </a:cubicBezTo>
                  <a:lnTo>
                    <a:pt x="2132" y="2207"/>
                  </a:lnTo>
                  <a:lnTo>
                    <a:pt x="1906" y="1981"/>
                  </a:lnTo>
                  <a:lnTo>
                    <a:pt x="1954" y="1946"/>
                  </a:lnTo>
                  <a:cubicBezTo>
                    <a:pt x="1977" y="1957"/>
                    <a:pt x="2013" y="1969"/>
                    <a:pt x="2037" y="1969"/>
                  </a:cubicBezTo>
                  <a:cubicBezTo>
                    <a:pt x="2085" y="1969"/>
                    <a:pt x="2108" y="1957"/>
                    <a:pt x="2144" y="1922"/>
                  </a:cubicBezTo>
                  <a:lnTo>
                    <a:pt x="2501" y="1565"/>
                  </a:lnTo>
                  <a:cubicBezTo>
                    <a:pt x="2525" y="1541"/>
                    <a:pt x="2549" y="1493"/>
                    <a:pt x="2549" y="1469"/>
                  </a:cubicBezTo>
                  <a:cubicBezTo>
                    <a:pt x="2549" y="1422"/>
                    <a:pt x="2525" y="1386"/>
                    <a:pt x="2501" y="1362"/>
                  </a:cubicBezTo>
                  <a:lnTo>
                    <a:pt x="2073" y="934"/>
                  </a:lnTo>
                  <a:cubicBezTo>
                    <a:pt x="2037" y="898"/>
                    <a:pt x="1989" y="886"/>
                    <a:pt x="1966" y="886"/>
                  </a:cubicBezTo>
                  <a:cubicBezTo>
                    <a:pt x="1930" y="886"/>
                    <a:pt x="1894" y="898"/>
                    <a:pt x="1858" y="934"/>
                  </a:cubicBezTo>
                  <a:lnTo>
                    <a:pt x="1501" y="1291"/>
                  </a:lnTo>
                  <a:cubicBezTo>
                    <a:pt x="1454" y="1326"/>
                    <a:pt x="1442" y="1422"/>
                    <a:pt x="1489" y="1481"/>
                  </a:cubicBezTo>
                  <a:lnTo>
                    <a:pt x="1442" y="1529"/>
                  </a:lnTo>
                  <a:lnTo>
                    <a:pt x="1299" y="1374"/>
                  </a:lnTo>
                  <a:cubicBezTo>
                    <a:pt x="906" y="993"/>
                    <a:pt x="584" y="553"/>
                    <a:pt x="311" y="76"/>
                  </a:cubicBezTo>
                  <a:cubicBezTo>
                    <a:pt x="278" y="27"/>
                    <a:pt x="228" y="0"/>
                    <a:pt x="1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3" name="Google Shape;11453;p61"/>
            <p:cNvSpPr/>
            <p:nvPr/>
          </p:nvSpPr>
          <p:spPr>
            <a:xfrm>
              <a:off x="2750416" y="3870163"/>
              <a:ext cx="256513" cy="255689"/>
            </a:xfrm>
            <a:custGeom>
              <a:avLst/>
              <a:gdLst/>
              <a:ahLst/>
              <a:cxnLst/>
              <a:rect l="l" t="t" r="r" b="b"/>
              <a:pathLst>
                <a:path w="8097" h="8071" extrusionOk="0">
                  <a:moveTo>
                    <a:pt x="3663" y="4506"/>
                  </a:moveTo>
                  <a:cubicBezTo>
                    <a:pt x="3704" y="4506"/>
                    <a:pt x="3745" y="4512"/>
                    <a:pt x="3786" y="4523"/>
                  </a:cubicBezTo>
                  <a:lnTo>
                    <a:pt x="3834" y="4558"/>
                  </a:lnTo>
                  <a:lnTo>
                    <a:pt x="3167" y="5237"/>
                  </a:lnTo>
                  <a:cubicBezTo>
                    <a:pt x="3108" y="5035"/>
                    <a:pt x="3143" y="4820"/>
                    <a:pt x="3298" y="4666"/>
                  </a:cubicBezTo>
                  <a:cubicBezTo>
                    <a:pt x="3399" y="4565"/>
                    <a:pt x="3528" y="4506"/>
                    <a:pt x="3663" y="4506"/>
                  </a:cubicBezTo>
                  <a:close/>
                  <a:moveTo>
                    <a:pt x="4036" y="4773"/>
                  </a:moveTo>
                  <a:lnTo>
                    <a:pt x="4084" y="4820"/>
                  </a:lnTo>
                  <a:lnTo>
                    <a:pt x="3369" y="5535"/>
                  </a:lnTo>
                  <a:lnTo>
                    <a:pt x="3310" y="5475"/>
                  </a:lnTo>
                  <a:lnTo>
                    <a:pt x="4036" y="4773"/>
                  </a:lnTo>
                  <a:close/>
                  <a:moveTo>
                    <a:pt x="4310" y="5035"/>
                  </a:moveTo>
                  <a:lnTo>
                    <a:pt x="4536" y="5261"/>
                  </a:lnTo>
                  <a:lnTo>
                    <a:pt x="3822" y="5975"/>
                  </a:lnTo>
                  <a:lnTo>
                    <a:pt x="3596" y="5749"/>
                  </a:lnTo>
                  <a:lnTo>
                    <a:pt x="4310" y="5035"/>
                  </a:lnTo>
                  <a:close/>
                  <a:moveTo>
                    <a:pt x="4739" y="5451"/>
                  </a:moveTo>
                  <a:lnTo>
                    <a:pt x="4798" y="5511"/>
                  </a:lnTo>
                  <a:lnTo>
                    <a:pt x="4084" y="6225"/>
                  </a:lnTo>
                  <a:lnTo>
                    <a:pt x="4024" y="6166"/>
                  </a:lnTo>
                  <a:lnTo>
                    <a:pt x="4739" y="5451"/>
                  </a:lnTo>
                  <a:close/>
                  <a:moveTo>
                    <a:pt x="5024" y="5737"/>
                  </a:moveTo>
                  <a:lnTo>
                    <a:pt x="5251" y="5963"/>
                  </a:lnTo>
                  <a:lnTo>
                    <a:pt x="4536" y="6678"/>
                  </a:lnTo>
                  <a:lnTo>
                    <a:pt x="4310" y="6451"/>
                  </a:lnTo>
                  <a:lnTo>
                    <a:pt x="5024" y="5737"/>
                  </a:lnTo>
                  <a:close/>
                  <a:moveTo>
                    <a:pt x="5453" y="6166"/>
                  </a:moveTo>
                  <a:lnTo>
                    <a:pt x="5513" y="6225"/>
                  </a:lnTo>
                  <a:lnTo>
                    <a:pt x="4798" y="6940"/>
                  </a:lnTo>
                  <a:lnTo>
                    <a:pt x="4739" y="6880"/>
                  </a:lnTo>
                  <a:lnTo>
                    <a:pt x="5453" y="6166"/>
                  </a:lnTo>
                  <a:close/>
                  <a:moveTo>
                    <a:pt x="5727" y="6440"/>
                  </a:moveTo>
                  <a:lnTo>
                    <a:pt x="5763" y="6487"/>
                  </a:lnTo>
                  <a:cubicBezTo>
                    <a:pt x="5798" y="6666"/>
                    <a:pt x="5739" y="6856"/>
                    <a:pt x="5620" y="6975"/>
                  </a:cubicBezTo>
                  <a:cubicBezTo>
                    <a:pt x="5509" y="7078"/>
                    <a:pt x="5367" y="7131"/>
                    <a:pt x="5221" y="7131"/>
                  </a:cubicBezTo>
                  <a:cubicBezTo>
                    <a:pt x="5163" y="7131"/>
                    <a:pt x="5105" y="7123"/>
                    <a:pt x="5048" y="7106"/>
                  </a:cubicBezTo>
                  <a:lnTo>
                    <a:pt x="5727" y="6440"/>
                  </a:lnTo>
                  <a:close/>
                  <a:moveTo>
                    <a:pt x="3274" y="4058"/>
                  </a:moveTo>
                  <a:cubicBezTo>
                    <a:pt x="3358" y="4118"/>
                    <a:pt x="3429" y="4177"/>
                    <a:pt x="3489" y="4249"/>
                  </a:cubicBezTo>
                  <a:cubicBezTo>
                    <a:pt x="3334" y="4273"/>
                    <a:pt x="3191" y="4368"/>
                    <a:pt x="3072" y="4475"/>
                  </a:cubicBezTo>
                  <a:cubicBezTo>
                    <a:pt x="2774" y="4773"/>
                    <a:pt x="2738" y="5249"/>
                    <a:pt x="2977" y="5582"/>
                  </a:cubicBezTo>
                  <a:cubicBezTo>
                    <a:pt x="3012" y="5618"/>
                    <a:pt x="3024" y="5642"/>
                    <a:pt x="3060" y="5678"/>
                  </a:cubicBezTo>
                  <a:lnTo>
                    <a:pt x="3250" y="5868"/>
                  </a:lnTo>
                  <a:lnTo>
                    <a:pt x="4584" y="7213"/>
                  </a:lnTo>
                  <a:cubicBezTo>
                    <a:pt x="4620" y="7237"/>
                    <a:pt x="4643" y="7273"/>
                    <a:pt x="4691" y="7297"/>
                  </a:cubicBezTo>
                  <a:cubicBezTo>
                    <a:pt x="4846" y="7404"/>
                    <a:pt x="5024" y="7464"/>
                    <a:pt x="5203" y="7464"/>
                  </a:cubicBezTo>
                  <a:cubicBezTo>
                    <a:pt x="5417" y="7464"/>
                    <a:pt x="5644" y="7368"/>
                    <a:pt x="5810" y="7213"/>
                  </a:cubicBezTo>
                  <a:cubicBezTo>
                    <a:pt x="5929" y="7094"/>
                    <a:pt x="6001" y="6940"/>
                    <a:pt x="6036" y="6797"/>
                  </a:cubicBezTo>
                  <a:lnTo>
                    <a:pt x="6227" y="6987"/>
                  </a:lnTo>
                  <a:cubicBezTo>
                    <a:pt x="6203" y="7118"/>
                    <a:pt x="6108" y="7261"/>
                    <a:pt x="5989" y="7356"/>
                  </a:cubicBezTo>
                  <a:cubicBezTo>
                    <a:pt x="5775" y="7577"/>
                    <a:pt x="5492" y="7687"/>
                    <a:pt x="5209" y="7687"/>
                  </a:cubicBezTo>
                  <a:cubicBezTo>
                    <a:pt x="4926" y="7687"/>
                    <a:pt x="4643" y="7577"/>
                    <a:pt x="4429" y="7356"/>
                  </a:cubicBezTo>
                  <a:lnTo>
                    <a:pt x="2905" y="5844"/>
                  </a:lnTo>
                  <a:cubicBezTo>
                    <a:pt x="2703" y="5630"/>
                    <a:pt x="2584" y="5356"/>
                    <a:pt x="2584" y="5070"/>
                  </a:cubicBezTo>
                  <a:cubicBezTo>
                    <a:pt x="2584" y="4785"/>
                    <a:pt x="2703" y="4499"/>
                    <a:pt x="2905" y="4296"/>
                  </a:cubicBezTo>
                  <a:cubicBezTo>
                    <a:pt x="3012" y="4189"/>
                    <a:pt x="3143" y="4106"/>
                    <a:pt x="3274" y="4058"/>
                  </a:cubicBezTo>
                  <a:close/>
                  <a:moveTo>
                    <a:pt x="7596" y="7047"/>
                  </a:moveTo>
                  <a:lnTo>
                    <a:pt x="7739" y="7202"/>
                  </a:lnTo>
                  <a:lnTo>
                    <a:pt x="7227" y="7714"/>
                  </a:lnTo>
                  <a:lnTo>
                    <a:pt x="7072" y="7571"/>
                  </a:lnTo>
                  <a:lnTo>
                    <a:pt x="7596" y="7047"/>
                  </a:lnTo>
                  <a:close/>
                  <a:moveTo>
                    <a:pt x="2470" y="1"/>
                  </a:moveTo>
                  <a:cubicBezTo>
                    <a:pt x="2432" y="1"/>
                    <a:pt x="2392" y="20"/>
                    <a:pt x="2357" y="46"/>
                  </a:cubicBezTo>
                  <a:lnTo>
                    <a:pt x="1298" y="1106"/>
                  </a:lnTo>
                  <a:cubicBezTo>
                    <a:pt x="1238" y="1165"/>
                    <a:pt x="1238" y="1260"/>
                    <a:pt x="1298" y="1320"/>
                  </a:cubicBezTo>
                  <a:cubicBezTo>
                    <a:pt x="1328" y="1350"/>
                    <a:pt x="1366" y="1365"/>
                    <a:pt x="1405" y="1365"/>
                  </a:cubicBezTo>
                  <a:cubicBezTo>
                    <a:pt x="1444" y="1365"/>
                    <a:pt x="1482" y="1350"/>
                    <a:pt x="1512" y="1320"/>
                  </a:cubicBezTo>
                  <a:lnTo>
                    <a:pt x="2381" y="439"/>
                  </a:lnTo>
                  <a:lnTo>
                    <a:pt x="2500" y="832"/>
                  </a:lnTo>
                  <a:lnTo>
                    <a:pt x="833" y="2499"/>
                  </a:lnTo>
                  <a:lnTo>
                    <a:pt x="452" y="2380"/>
                  </a:lnTo>
                  <a:lnTo>
                    <a:pt x="1095" y="1737"/>
                  </a:lnTo>
                  <a:cubicBezTo>
                    <a:pt x="1095" y="1737"/>
                    <a:pt x="1095" y="1725"/>
                    <a:pt x="1107" y="1725"/>
                  </a:cubicBezTo>
                  <a:cubicBezTo>
                    <a:pt x="1155" y="1665"/>
                    <a:pt x="1155" y="1570"/>
                    <a:pt x="1095" y="1510"/>
                  </a:cubicBezTo>
                  <a:cubicBezTo>
                    <a:pt x="1066" y="1481"/>
                    <a:pt x="1027" y="1466"/>
                    <a:pt x="988" y="1466"/>
                  </a:cubicBezTo>
                  <a:cubicBezTo>
                    <a:pt x="950" y="1466"/>
                    <a:pt x="911" y="1481"/>
                    <a:pt x="881" y="1510"/>
                  </a:cubicBezTo>
                  <a:lnTo>
                    <a:pt x="60" y="2332"/>
                  </a:lnTo>
                  <a:cubicBezTo>
                    <a:pt x="24" y="2380"/>
                    <a:pt x="0" y="2415"/>
                    <a:pt x="24" y="2475"/>
                  </a:cubicBezTo>
                  <a:cubicBezTo>
                    <a:pt x="36" y="2522"/>
                    <a:pt x="83" y="2570"/>
                    <a:pt x="119" y="2582"/>
                  </a:cubicBezTo>
                  <a:lnTo>
                    <a:pt x="833" y="2796"/>
                  </a:lnTo>
                  <a:lnTo>
                    <a:pt x="1107" y="2868"/>
                  </a:lnTo>
                  <a:cubicBezTo>
                    <a:pt x="1810" y="3070"/>
                    <a:pt x="2441" y="3392"/>
                    <a:pt x="3012" y="3820"/>
                  </a:cubicBezTo>
                  <a:cubicBezTo>
                    <a:pt x="2893" y="3880"/>
                    <a:pt x="2786" y="3963"/>
                    <a:pt x="2703" y="4058"/>
                  </a:cubicBezTo>
                  <a:cubicBezTo>
                    <a:pt x="2429" y="4320"/>
                    <a:pt x="2286" y="4677"/>
                    <a:pt x="2286" y="5058"/>
                  </a:cubicBezTo>
                  <a:cubicBezTo>
                    <a:pt x="2286" y="5428"/>
                    <a:pt x="2429" y="5785"/>
                    <a:pt x="2703" y="6047"/>
                  </a:cubicBezTo>
                  <a:lnTo>
                    <a:pt x="4215" y="7571"/>
                  </a:lnTo>
                  <a:cubicBezTo>
                    <a:pt x="4489" y="7833"/>
                    <a:pt x="4858" y="7987"/>
                    <a:pt x="5215" y="7987"/>
                  </a:cubicBezTo>
                  <a:cubicBezTo>
                    <a:pt x="5572" y="7987"/>
                    <a:pt x="5929" y="7856"/>
                    <a:pt x="6215" y="7571"/>
                  </a:cubicBezTo>
                  <a:cubicBezTo>
                    <a:pt x="6310" y="7464"/>
                    <a:pt x="6417" y="7333"/>
                    <a:pt x="6477" y="7178"/>
                  </a:cubicBezTo>
                  <a:lnTo>
                    <a:pt x="6763" y="7464"/>
                  </a:lnTo>
                  <a:cubicBezTo>
                    <a:pt x="6703" y="7523"/>
                    <a:pt x="6715" y="7618"/>
                    <a:pt x="6763" y="7678"/>
                  </a:cubicBezTo>
                  <a:lnTo>
                    <a:pt x="7120" y="8035"/>
                  </a:lnTo>
                  <a:cubicBezTo>
                    <a:pt x="7144" y="8059"/>
                    <a:pt x="7191" y="8071"/>
                    <a:pt x="7227" y="8071"/>
                  </a:cubicBezTo>
                  <a:cubicBezTo>
                    <a:pt x="7251" y="8071"/>
                    <a:pt x="7299" y="8059"/>
                    <a:pt x="7322" y="8035"/>
                  </a:cubicBezTo>
                  <a:lnTo>
                    <a:pt x="8061" y="7297"/>
                  </a:lnTo>
                  <a:cubicBezTo>
                    <a:pt x="8084" y="7273"/>
                    <a:pt x="8096" y="7225"/>
                    <a:pt x="8096" y="7202"/>
                  </a:cubicBezTo>
                  <a:cubicBezTo>
                    <a:pt x="8096" y="7166"/>
                    <a:pt x="8084" y="7142"/>
                    <a:pt x="8061" y="7106"/>
                  </a:cubicBezTo>
                  <a:lnTo>
                    <a:pt x="7703" y="6749"/>
                  </a:lnTo>
                  <a:cubicBezTo>
                    <a:pt x="7674" y="6719"/>
                    <a:pt x="7635" y="6704"/>
                    <a:pt x="7596" y="6704"/>
                  </a:cubicBezTo>
                  <a:cubicBezTo>
                    <a:pt x="7557" y="6704"/>
                    <a:pt x="7519" y="6719"/>
                    <a:pt x="7489" y="6749"/>
                  </a:cubicBezTo>
                  <a:lnTo>
                    <a:pt x="7251" y="6511"/>
                  </a:lnTo>
                  <a:cubicBezTo>
                    <a:pt x="7221" y="6481"/>
                    <a:pt x="7185" y="6466"/>
                    <a:pt x="7150" y="6466"/>
                  </a:cubicBezTo>
                  <a:cubicBezTo>
                    <a:pt x="7114" y="6466"/>
                    <a:pt x="7078" y="6481"/>
                    <a:pt x="7049" y="6511"/>
                  </a:cubicBezTo>
                  <a:cubicBezTo>
                    <a:pt x="6989" y="6571"/>
                    <a:pt x="6989" y="6666"/>
                    <a:pt x="7049" y="6725"/>
                  </a:cubicBezTo>
                  <a:lnTo>
                    <a:pt x="7287" y="6963"/>
                  </a:lnTo>
                  <a:lnTo>
                    <a:pt x="6977" y="7273"/>
                  </a:lnTo>
                  <a:lnTo>
                    <a:pt x="6525" y="6821"/>
                  </a:lnTo>
                  <a:lnTo>
                    <a:pt x="3905" y="4189"/>
                  </a:lnTo>
                  <a:cubicBezTo>
                    <a:pt x="3739" y="4023"/>
                    <a:pt x="3572" y="3880"/>
                    <a:pt x="3417" y="3749"/>
                  </a:cubicBezTo>
                  <a:cubicBezTo>
                    <a:pt x="2762" y="3213"/>
                    <a:pt x="2012" y="2820"/>
                    <a:pt x="1203" y="2582"/>
                  </a:cubicBezTo>
                  <a:lnTo>
                    <a:pt x="1179" y="2582"/>
                  </a:lnTo>
                  <a:lnTo>
                    <a:pt x="2607" y="1153"/>
                  </a:lnTo>
                  <a:lnTo>
                    <a:pt x="2607" y="1165"/>
                  </a:lnTo>
                  <a:cubicBezTo>
                    <a:pt x="2691" y="1439"/>
                    <a:pt x="2786" y="1701"/>
                    <a:pt x="2893" y="1963"/>
                  </a:cubicBezTo>
                  <a:cubicBezTo>
                    <a:pt x="2929" y="2022"/>
                    <a:pt x="2965" y="2046"/>
                    <a:pt x="3024" y="2046"/>
                  </a:cubicBezTo>
                  <a:cubicBezTo>
                    <a:pt x="3048" y="2046"/>
                    <a:pt x="3072" y="2046"/>
                    <a:pt x="3084" y="2034"/>
                  </a:cubicBezTo>
                  <a:cubicBezTo>
                    <a:pt x="3167" y="1999"/>
                    <a:pt x="3191" y="1915"/>
                    <a:pt x="3167" y="1844"/>
                  </a:cubicBezTo>
                  <a:cubicBezTo>
                    <a:pt x="3060" y="1606"/>
                    <a:pt x="2965" y="1344"/>
                    <a:pt x="2893" y="1094"/>
                  </a:cubicBezTo>
                  <a:lnTo>
                    <a:pt x="2607" y="117"/>
                  </a:lnTo>
                  <a:cubicBezTo>
                    <a:pt x="2596" y="70"/>
                    <a:pt x="2548" y="22"/>
                    <a:pt x="2512" y="10"/>
                  </a:cubicBezTo>
                  <a:cubicBezTo>
                    <a:pt x="2499" y="4"/>
                    <a:pt x="2485" y="1"/>
                    <a:pt x="24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54" name="Google Shape;11454;p61"/>
          <p:cNvGrpSpPr/>
          <p:nvPr/>
        </p:nvGrpSpPr>
        <p:grpSpPr>
          <a:xfrm>
            <a:off x="6243928" y="4263502"/>
            <a:ext cx="274254" cy="350824"/>
            <a:chOff x="6243928" y="4263502"/>
            <a:chExt cx="274254" cy="350824"/>
          </a:xfrm>
        </p:grpSpPr>
        <p:sp>
          <p:nvSpPr>
            <p:cNvPr id="11455" name="Google Shape;11455;p61"/>
            <p:cNvSpPr/>
            <p:nvPr/>
          </p:nvSpPr>
          <p:spPr>
            <a:xfrm>
              <a:off x="6342390" y="4373653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3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4" y="429"/>
                    <a:pt x="334" y="333"/>
                  </a:cubicBezTo>
                  <a:lnTo>
                    <a:pt x="334" y="155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6" name="Google Shape;11456;p61"/>
            <p:cNvSpPr/>
            <p:nvPr/>
          </p:nvSpPr>
          <p:spPr>
            <a:xfrm>
              <a:off x="6407999" y="43736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3"/>
                  </a:lnTo>
                  <a:cubicBezTo>
                    <a:pt x="1" y="429"/>
                    <a:pt x="72" y="500"/>
                    <a:pt x="168" y="500"/>
                  </a:cubicBezTo>
                  <a:cubicBezTo>
                    <a:pt x="251" y="500"/>
                    <a:pt x="322" y="429"/>
                    <a:pt x="322" y="333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7" name="Google Shape;11457;p61"/>
            <p:cNvSpPr/>
            <p:nvPr/>
          </p:nvSpPr>
          <p:spPr>
            <a:xfrm>
              <a:off x="6336719" y="4357053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513" y="322"/>
                  </a:lnTo>
                  <a:cubicBezTo>
                    <a:pt x="596" y="322"/>
                    <a:pt x="667" y="250"/>
                    <a:pt x="667" y="167"/>
                  </a:cubicBezTo>
                  <a:cubicBezTo>
                    <a:pt x="667" y="72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8" name="Google Shape;11458;p61"/>
            <p:cNvSpPr/>
            <p:nvPr/>
          </p:nvSpPr>
          <p:spPr>
            <a:xfrm>
              <a:off x="6402740" y="4357053"/>
              <a:ext cx="21131" cy="10201"/>
            </a:xfrm>
            <a:custGeom>
              <a:avLst/>
              <a:gdLst/>
              <a:ahLst/>
              <a:cxnLst/>
              <a:rect l="l" t="t" r="r" b="b"/>
              <a:pathLst>
                <a:path w="667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12" y="322"/>
                  </a:lnTo>
                  <a:cubicBezTo>
                    <a:pt x="596" y="322"/>
                    <a:pt x="667" y="250"/>
                    <a:pt x="667" y="167"/>
                  </a:cubicBezTo>
                  <a:cubicBezTo>
                    <a:pt x="667" y="72"/>
                    <a:pt x="59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9" name="Google Shape;11459;p61"/>
            <p:cNvSpPr/>
            <p:nvPr/>
          </p:nvSpPr>
          <p:spPr>
            <a:xfrm>
              <a:off x="6243928" y="4263502"/>
              <a:ext cx="274254" cy="350824"/>
            </a:xfrm>
            <a:custGeom>
              <a:avLst/>
              <a:gdLst/>
              <a:ahLst/>
              <a:cxnLst/>
              <a:rect l="l" t="t" r="r" b="b"/>
              <a:pathLst>
                <a:path w="8657" h="11074" extrusionOk="0">
                  <a:moveTo>
                    <a:pt x="1501" y="4406"/>
                  </a:moveTo>
                  <a:cubicBezTo>
                    <a:pt x="1596" y="4453"/>
                    <a:pt x="1691" y="4489"/>
                    <a:pt x="1799" y="4489"/>
                  </a:cubicBezTo>
                  <a:lnTo>
                    <a:pt x="1918" y="4489"/>
                  </a:lnTo>
                  <a:cubicBezTo>
                    <a:pt x="1977" y="4942"/>
                    <a:pt x="2191" y="5382"/>
                    <a:pt x="2489" y="5739"/>
                  </a:cubicBezTo>
                  <a:cubicBezTo>
                    <a:pt x="2584" y="5858"/>
                    <a:pt x="2692" y="5954"/>
                    <a:pt x="2811" y="6049"/>
                  </a:cubicBezTo>
                  <a:cubicBezTo>
                    <a:pt x="2156" y="5977"/>
                    <a:pt x="1620" y="5644"/>
                    <a:pt x="1358" y="5442"/>
                  </a:cubicBezTo>
                  <a:cubicBezTo>
                    <a:pt x="1275" y="5382"/>
                    <a:pt x="1263" y="5287"/>
                    <a:pt x="1298" y="5215"/>
                  </a:cubicBezTo>
                  <a:cubicBezTo>
                    <a:pt x="1370" y="5049"/>
                    <a:pt x="1453" y="4787"/>
                    <a:pt x="1501" y="4406"/>
                  </a:cubicBezTo>
                  <a:close/>
                  <a:moveTo>
                    <a:pt x="7097" y="4394"/>
                  </a:moveTo>
                  <a:cubicBezTo>
                    <a:pt x="7156" y="4787"/>
                    <a:pt x="7252" y="5049"/>
                    <a:pt x="7323" y="5215"/>
                  </a:cubicBezTo>
                  <a:cubicBezTo>
                    <a:pt x="7347" y="5287"/>
                    <a:pt x="7335" y="5394"/>
                    <a:pt x="7264" y="5442"/>
                  </a:cubicBezTo>
                  <a:cubicBezTo>
                    <a:pt x="6990" y="5644"/>
                    <a:pt x="6454" y="5977"/>
                    <a:pt x="5787" y="6049"/>
                  </a:cubicBezTo>
                  <a:cubicBezTo>
                    <a:pt x="5906" y="5942"/>
                    <a:pt x="6025" y="5835"/>
                    <a:pt x="6132" y="5715"/>
                  </a:cubicBezTo>
                  <a:cubicBezTo>
                    <a:pt x="6430" y="5358"/>
                    <a:pt x="6621" y="4930"/>
                    <a:pt x="6692" y="4489"/>
                  </a:cubicBezTo>
                  <a:lnTo>
                    <a:pt x="6787" y="4489"/>
                  </a:lnTo>
                  <a:cubicBezTo>
                    <a:pt x="6906" y="4489"/>
                    <a:pt x="7002" y="4453"/>
                    <a:pt x="7097" y="4394"/>
                  </a:cubicBezTo>
                  <a:close/>
                  <a:moveTo>
                    <a:pt x="4299" y="334"/>
                  </a:moveTo>
                  <a:cubicBezTo>
                    <a:pt x="5835" y="334"/>
                    <a:pt x="7085" y="1584"/>
                    <a:pt x="7085" y="3120"/>
                  </a:cubicBezTo>
                  <a:lnTo>
                    <a:pt x="7085" y="3370"/>
                  </a:lnTo>
                  <a:cubicBezTo>
                    <a:pt x="6990" y="3322"/>
                    <a:pt x="6906" y="3310"/>
                    <a:pt x="6811" y="3310"/>
                  </a:cubicBezTo>
                  <a:lnTo>
                    <a:pt x="6728" y="3310"/>
                  </a:lnTo>
                  <a:cubicBezTo>
                    <a:pt x="6680" y="3310"/>
                    <a:pt x="6632" y="3299"/>
                    <a:pt x="6585" y="3251"/>
                  </a:cubicBezTo>
                  <a:cubicBezTo>
                    <a:pt x="6561" y="3215"/>
                    <a:pt x="6525" y="3179"/>
                    <a:pt x="6525" y="3120"/>
                  </a:cubicBezTo>
                  <a:cubicBezTo>
                    <a:pt x="6525" y="2382"/>
                    <a:pt x="6168" y="1715"/>
                    <a:pt x="5597" y="1286"/>
                  </a:cubicBezTo>
                  <a:cubicBezTo>
                    <a:pt x="5503" y="1224"/>
                    <a:pt x="5373" y="1189"/>
                    <a:pt x="5255" y="1189"/>
                  </a:cubicBezTo>
                  <a:cubicBezTo>
                    <a:pt x="5237" y="1189"/>
                    <a:pt x="5220" y="1190"/>
                    <a:pt x="5204" y="1191"/>
                  </a:cubicBezTo>
                  <a:cubicBezTo>
                    <a:pt x="5073" y="1227"/>
                    <a:pt x="4954" y="1298"/>
                    <a:pt x="4882" y="1417"/>
                  </a:cubicBezTo>
                  <a:cubicBezTo>
                    <a:pt x="4739" y="1608"/>
                    <a:pt x="4525" y="1727"/>
                    <a:pt x="4287" y="1727"/>
                  </a:cubicBezTo>
                  <a:cubicBezTo>
                    <a:pt x="4049" y="1727"/>
                    <a:pt x="3823" y="1608"/>
                    <a:pt x="3692" y="1417"/>
                  </a:cubicBezTo>
                  <a:cubicBezTo>
                    <a:pt x="3608" y="1298"/>
                    <a:pt x="3489" y="1227"/>
                    <a:pt x="3358" y="1191"/>
                  </a:cubicBezTo>
                  <a:cubicBezTo>
                    <a:pt x="3327" y="1185"/>
                    <a:pt x="3296" y="1183"/>
                    <a:pt x="3266" y="1183"/>
                  </a:cubicBezTo>
                  <a:cubicBezTo>
                    <a:pt x="3166" y="1183"/>
                    <a:pt x="3068" y="1214"/>
                    <a:pt x="2977" y="1286"/>
                  </a:cubicBezTo>
                  <a:cubicBezTo>
                    <a:pt x="2858" y="1358"/>
                    <a:pt x="2751" y="1465"/>
                    <a:pt x="2668" y="1548"/>
                  </a:cubicBezTo>
                  <a:cubicBezTo>
                    <a:pt x="2596" y="1608"/>
                    <a:pt x="2596" y="1715"/>
                    <a:pt x="2668" y="1775"/>
                  </a:cubicBezTo>
                  <a:cubicBezTo>
                    <a:pt x="2697" y="1804"/>
                    <a:pt x="2736" y="1819"/>
                    <a:pt x="2775" y="1819"/>
                  </a:cubicBezTo>
                  <a:cubicBezTo>
                    <a:pt x="2814" y="1819"/>
                    <a:pt x="2852" y="1804"/>
                    <a:pt x="2882" y="1775"/>
                  </a:cubicBezTo>
                  <a:cubicBezTo>
                    <a:pt x="2977" y="1691"/>
                    <a:pt x="3061" y="1608"/>
                    <a:pt x="3156" y="1536"/>
                  </a:cubicBezTo>
                  <a:cubicBezTo>
                    <a:pt x="3181" y="1520"/>
                    <a:pt x="3212" y="1503"/>
                    <a:pt x="3245" y="1503"/>
                  </a:cubicBezTo>
                  <a:cubicBezTo>
                    <a:pt x="3259" y="1503"/>
                    <a:pt x="3273" y="1506"/>
                    <a:pt x="3287" y="1513"/>
                  </a:cubicBezTo>
                  <a:cubicBezTo>
                    <a:pt x="3334" y="1524"/>
                    <a:pt x="3382" y="1536"/>
                    <a:pt x="3406" y="1584"/>
                  </a:cubicBezTo>
                  <a:cubicBezTo>
                    <a:pt x="3596" y="1882"/>
                    <a:pt x="3918" y="2048"/>
                    <a:pt x="4275" y="2048"/>
                  </a:cubicBezTo>
                  <a:cubicBezTo>
                    <a:pt x="4608" y="2048"/>
                    <a:pt x="4942" y="1870"/>
                    <a:pt x="5132" y="1584"/>
                  </a:cubicBezTo>
                  <a:cubicBezTo>
                    <a:pt x="5168" y="1536"/>
                    <a:pt x="5192" y="1524"/>
                    <a:pt x="5251" y="1513"/>
                  </a:cubicBezTo>
                  <a:cubicBezTo>
                    <a:pt x="5265" y="1506"/>
                    <a:pt x="5278" y="1503"/>
                    <a:pt x="5291" y="1503"/>
                  </a:cubicBezTo>
                  <a:cubicBezTo>
                    <a:pt x="5321" y="1503"/>
                    <a:pt x="5349" y="1520"/>
                    <a:pt x="5382" y="1536"/>
                  </a:cubicBezTo>
                  <a:cubicBezTo>
                    <a:pt x="5894" y="1894"/>
                    <a:pt x="6192" y="2477"/>
                    <a:pt x="6192" y="3096"/>
                  </a:cubicBezTo>
                  <a:cubicBezTo>
                    <a:pt x="6192" y="3239"/>
                    <a:pt x="6251" y="3370"/>
                    <a:pt x="6335" y="3453"/>
                  </a:cubicBezTo>
                  <a:cubicBezTo>
                    <a:pt x="6430" y="3549"/>
                    <a:pt x="6561" y="3608"/>
                    <a:pt x="6692" y="3608"/>
                  </a:cubicBezTo>
                  <a:lnTo>
                    <a:pt x="6787" y="3608"/>
                  </a:lnTo>
                  <a:cubicBezTo>
                    <a:pt x="6859" y="3608"/>
                    <a:pt x="6930" y="3632"/>
                    <a:pt x="6990" y="3691"/>
                  </a:cubicBezTo>
                  <a:cubicBezTo>
                    <a:pt x="7037" y="3751"/>
                    <a:pt x="7073" y="3834"/>
                    <a:pt x="7073" y="3906"/>
                  </a:cubicBezTo>
                  <a:cubicBezTo>
                    <a:pt x="7049" y="4037"/>
                    <a:pt x="6918" y="4144"/>
                    <a:pt x="6775" y="4144"/>
                  </a:cubicBezTo>
                  <a:lnTo>
                    <a:pt x="6692" y="4144"/>
                  </a:lnTo>
                  <a:lnTo>
                    <a:pt x="6692" y="4156"/>
                  </a:lnTo>
                  <a:cubicBezTo>
                    <a:pt x="6692" y="4072"/>
                    <a:pt x="6621" y="3989"/>
                    <a:pt x="6537" y="3989"/>
                  </a:cubicBezTo>
                  <a:cubicBezTo>
                    <a:pt x="6442" y="3989"/>
                    <a:pt x="6371" y="4072"/>
                    <a:pt x="6371" y="4156"/>
                  </a:cubicBezTo>
                  <a:cubicBezTo>
                    <a:pt x="6371" y="4668"/>
                    <a:pt x="6192" y="5144"/>
                    <a:pt x="5859" y="5513"/>
                  </a:cubicBezTo>
                  <a:cubicBezTo>
                    <a:pt x="5597" y="5823"/>
                    <a:pt x="5251" y="6049"/>
                    <a:pt x="4870" y="6156"/>
                  </a:cubicBezTo>
                  <a:lnTo>
                    <a:pt x="4954" y="5942"/>
                  </a:lnTo>
                  <a:cubicBezTo>
                    <a:pt x="4966" y="5894"/>
                    <a:pt x="4966" y="5835"/>
                    <a:pt x="4942" y="5799"/>
                  </a:cubicBezTo>
                  <a:cubicBezTo>
                    <a:pt x="4906" y="5751"/>
                    <a:pt x="4870" y="5715"/>
                    <a:pt x="4811" y="5715"/>
                  </a:cubicBezTo>
                  <a:lnTo>
                    <a:pt x="3763" y="5715"/>
                  </a:lnTo>
                  <a:cubicBezTo>
                    <a:pt x="3704" y="5715"/>
                    <a:pt x="3656" y="5751"/>
                    <a:pt x="3632" y="5799"/>
                  </a:cubicBezTo>
                  <a:cubicBezTo>
                    <a:pt x="3596" y="5835"/>
                    <a:pt x="3596" y="5894"/>
                    <a:pt x="3620" y="5942"/>
                  </a:cubicBezTo>
                  <a:lnTo>
                    <a:pt x="3704" y="6156"/>
                  </a:lnTo>
                  <a:cubicBezTo>
                    <a:pt x="3346" y="6049"/>
                    <a:pt x="2989" y="5823"/>
                    <a:pt x="2739" y="5525"/>
                  </a:cubicBezTo>
                  <a:cubicBezTo>
                    <a:pt x="2406" y="5144"/>
                    <a:pt x="2227" y="4668"/>
                    <a:pt x="2227" y="4156"/>
                  </a:cubicBezTo>
                  <a:cubicBezTo>
                    <a:pt x="2227" y="4072"/>
                    <a:pt x="2156" y="3989"/>
                    <a:pt x="2072" y="3989"/>
                  </a:cubicBezTo>
                  <a:cubicBezTo>
                    <a:pt x="1977" y="3989"/>
                    <a:pt x="1906" y="4072"/>
                    <a:pt x="1906" y="4156"/>
                  </a:cubicBezTo>
                  <a:lnTo>
                    <a:pt x="1906" y="4168"/>
                  </a:lnTo>
                  <a:lnTo>
                    <a:pt x="1799" y="4168"/>
                  </a:lnTo>
                  <a:cubicBezTo>
                    <a:pt x="1727" y="4168"/>
                    <a:pt x="1656" y="4144"/>
                    <a:pt x="1596" y="4084"/>
                  </a:cubicBezTo>
                  <a:cubicBezTo>
                    <a:pt x="1549" y="4025"/>
                    <a:pt x="1513" y="3953"/>
                    <a:pt x="1513" y="3870"/>
                  </a:cubicBezTo>
                  <a:cubicBezTo>
                    <a:pt x="1525" y="3739"/>
                    <a:pt x="1668" y="3632"/>
                    <a:pt x="1810" y="3632"/>
                  </a:cubicBezTo>
                  <a:lnTo>
                    <a:pt x="1870" y="3632"/>
                  </a:lnTo>
                  <a:cubicBezTo>
                    <a:pt x="2013" y="3632"/>
                    <a:pt x="2144" y="3572"/>
                    <a:pt x="2227" y="3489"/>
                  </a:cubicBezTo>
                  <a:cubicBezTo>
                    <a:pt x="2322" y="3394"/>
                    <a:pt x="2382" y="3263"/>
                    <a:pt x="2382" y="3132"/>
                  </a:cubicBezTo>
                  <a:cubicBezTo>
                    <a:pt x="2382" y="2846"/>
                    <a:pt x="2441" y="2584"/>
                    <a:pt x="2561" y="2322"/>
                  </a:cubicBezTo>
                  <a:cubicBezTo>
                    <a:pt x="2608" y="2251"/>
                    <a:pt x="2561" y="2144"/>
                    <a:pt x="2489" y="2120"/>
                  </a:cubicBezTo>
                  <a:cubicBezTo>
                    <a:pt x="2466" y="2107"/>
                    <a:pt x="2442" y="2101"/>
                    <a:pt x="2418" y="2101"/>
                  </a:cubicBezTo>
                  <a:cubicBezTo>
                    <a:pt x="2357" y="2101"/>
                    <a:pt x="2301" y="2140"/>
                    <a:pt x="2275" y="2191"/>
                  </a:cubicBezTo>
                  <a:cubicBezTo>
                    <a:pt x="2144" y="2489"/>
                    <a:pt x="2072" y="2798"/>
                    <a:pt x="2072" y="3132"/>
                  </a:cubicBezTo>
                  <a:cubicBezTo>
                    <a:pt x="2072" y="3179"/>
                    <a:pt x="2049" y="3215"/>
                    <a:pt x="2001" y="3263"/>
                  </a:cubicBezTo>
                  <a:cubicBezTo>
                    <a:pt x="1977" y="3299"/>
                    <a:pt x="1930" y="3322"/>
                    <a:pt x="1870" y="3322"/>
                  </a:cubicBezTo>
                  <a:lnTo>
                    <a:pt x="1810" y="3322"/>
                  </a:lnTo>
                  <a:cubicBezTo>
                    <a:pt x="1703" y="3322"/>
                    <a:pt x="1608" y="3358"/>
                    <a:pt x="1513" y="3394"/>
                  </a:cubicBezTo>
                  <a:lnTo>
                    <a:pt x="1513" y="3120"/>
                  </a:lnTo>
                  <a:cubicBezTo>
                    <a:pt x="1513" y="1584"/>
                    <a:pt x="2763" y="334"/>
                    <a:pt x="4299" y="334"/>
                  </a:cubicBezTo>
                  <a:close/>
                  <a:moveTo>
                    <a:pt x="4585" y="6049"/>
                  </a:moveTo>
                  <a:lnTo>
                    <a:pt x="4394" y="6525"/>
                  </a:lnTo>
                  <a:cubicBezTo>
                    <a:pt x="4370" y="6549"/>
                    <a:pt x="4346" y="6585"/>
                    <a:pt x="4299" y="6585"/>
                  </a:cubicBezTo>
                  <a:cubicBezTo>
                    <a:pt x="4251" y="6585"/>
                    <a:pt x="4227" y="6549"/>
                    <a:pt x="4216" y="6525"/>
                  </a:cubicBezTo>
                  <a:lnTo>
                    <a:pt x="4013" y="6049"/>
                  </a:lnTo>
                  <a:close/>
                  <a:moveTo>
                    <a:pt x="2822" y="7001"/>
                  </a:moveTo>
                  <a:lnTo>
                    <a:pt x="4013" y="7668"/>
                  </a:lnTo>
                  <a:lnTo>
                    <a:pt x="3156" y="8394"/>
                  </a:lnTo>
                  <a:lnTo>
                    <a:pt x="3144" y="8394"/>
                  </a:lnTo>
                  <a:lnTo>
                    <a:pt x="2584" y="7442"/>
                  </a:lnTo>
                  <a:lnTo>
                    <a:pt x="2811" y="7001"/>
                  </a:lnTo>
                  <a:close/>
                  <a:moveTo>
                    <a:pt x="5335" y="6347"/>
                  </a:moveTo>
                  <a:lnTo>
                    <a:pt x="5335" y="6870"/>
                  </a:lnTo>
                  <a:lnTo>
                    <a:pt x="5144" y="6966"/>
                  </a:lnTo>
                  <a:cubicBezTo>
                    <a:pt x="5073" y="7013"/>
                    <a:pt x="5037" y="7120"/>
                    <a:pt x="5085" y="7192"/>
                  </a:cubicBezTo>
                  <a:cubicBezTo>
                    <a:pt x="5117" y="7241"/>
                    <a:pt x="5178" y="7273"/>
                    <a:pt x="5236" y="7273"/>
                  </a:cubicBezTo>
                  <a:cubicBezTo>
                    <a:pt x="5263" y="7273"/>
                    <a:pt x="5288" y="7266"/>
                    <a:pt x="5311" y="7251"/>
                  </a:cubicBezTo>
                  <a:lnTo>
                    <a:pt x="5775" y="7001"/>
                  </a:lnTo>
                  <a:lnTo>
                    <a:pt x="5787" y="7001"/>
                  </a:lnTo>
                  <a:lnTo>
                    <a:pt x="6013" y="7442"/>
                  </a:lnTo>
                  <a:lnTo>
                    <a:pt x="5489" y="8394"/>
                  </a:lnTo>
                  <a:lnTo>
                    <a:pt x="5478" y="8394"/>
                  </a:lnTo>
                  <a:lnTo>
                    <a:pt x="4597" y="7656"/>
                  </a:lnTo>
                  <a:lnTo>
                    <a:pt x="4751" y="7585"/>
                  </a:lnTo>
                  <a:cubicBezTo>
                    <a:pt x="4823" y="7537"/>
                    <a:pt x="4847" y="7430"/>
                    <a:pt x="4811" y="7359"/>
                  </a:cubicBezTo>
                  <a:cubicBezTo>
                    <a:pt x="4778" y="7310"/>
                    <a:pt x="4717" y="7277"/>
                    <a:pt x="4659" y="7277"/>
                  </a:cubicBezTo>
                  <a:cubicBezTo>
                    <a:pt x="4633" y="7277"/>
                    <a:pt x="4607" y="7284"/>
                    <a:pt x="4585" y="7299"/>
                  </a:cubicBezTo>
                  <a:lnTo>
                    <a:pt x="4311" y="7442"/>
                  </a:lnTo>
                  <a:lnTo>
                    <a:pt x="3263" y="6870"/>
                  </a:lnTo>
                  <a:lnTo>
                    <a:pt x="3263" y="6347"/>
                  </a:lnTo>
                  <a:cubicBezTo>
                    <a:pt x="3454" y="6430"/>
                    <a:pt x="3656" y="6513"/>
                    <a:pt x="3870" y="6537"/>
                  </a:cubicBezTo>
                  <a:lnTo>
                    <a:pt x="3918" y="6656"/>
                  </a:lnTo>
                  <a:cubicBezTo>
                    <a:pt x="3977" y="6823"/>
                    <a:pt x="4132" y="6918"/>
                    <a:pt x="4299" y="6918"/>
                  </a:cubicBezTo>
                  <a:cubicBezTo>
                    <a:pt x="4477" y="6918"/>
                    <a:pt x="4632" y="6823"/>
                    <a:pt x="4680" y="6656"/>
                  </a:cubicBezTo>
                  <a:lnTo>
                    <a:pt x="4727" y="6537"/>
                  </a:lnTo>
                  <a:cubicBezTo>
                    <a:pt x="4942" y="6489"/>
                    <a:pt x="5144" y="6430"/>
                    <a:pt x="5335" y="6347"/>
                  </a:cubicBezTo>
                  <a:close/>
                  <a:moveTo>
                    <a:pt x="4311" y="0"/>
                  </a:moveTo>
                  <a:cubicBezTo>
                    <a:pt x="2608" y="0"/>
                    <a:pt x="1203" y="1405"/>
                    <a:pt x="1203" y="3120"/>
                  </a:cubicBezTo>
                  <a:lnTo>
                    <a:pt x="1203" y="3977"/>
                  </a:lnTo>
                  <a:cubicBezTo>
                    <a:pt x="1203" y="4525"/>
                    <a:pt x="1096" y="4870"/>
                    <a:pt x="1013" y="5084"/>
                  </a:cubicBezTo>
                  <a:cubicBezTo>
                    <a:pt x="906" y="5299"/>
                    <a:pt x="965" y="5561"/>
                    <a:pt x="1156" y="5704"/>
                  </a:cubicBezTo>
                  <a:cubicBezTo>
                    <a:pt x="1489" y="5942"/>
                    <a:pt x="2132" y="6347"/>
                    <a:pt x="2930" y="6406"/>
                  </a:cubicBezTo>
                  <a:lnTo>
                    <a:pt x="2930" y="6692"/>
                  </a:lnTo>
                  <a:cubicBezTo>
                    <a:pt x="2894" y="6674"/>
                    <a:pt x="2861" y="6665"/>
                    <a:pt x="2828" y="6665"/>
                  </a:cubicBezTo>
                  <a:cubicBezTo>
                    <a:pt x="2796" y="6665"/>
                    <a:pt x="2763" y="6674"/>
                    <a:pt x="2727" y="6692"/>
                  </a:cubicBezTo>
                  <a:cubicBezTo>
                    <a:pt x="2632" y="6716"/>
                    <a:pt x="2561" y="6775"/>
                    <a:pt x="2525" y="6847"/>
                  </a:cubicBezTo>
                  <a:lnTo>
                    <a:pt x="2275" y="7359"/>
                  </a:lnTo>
                  <a:lnTo>
                    <a:pt x="858" y="7775"/>
                  </a:lnTo>
                  <a:cubicBezTo>
                    <a:pt x="358" y="7918"/>
                    <a:pt x="1" y="8394"/>
                    <a:pt x="1" y="8918"/>
                  </a:cubicBezTo>
                  <a:lnTo>
                    <a:pt x="1" y="10919"/>
                  </a:lnTo>
                  <a:cubicBezTo>
                    <a:pt x="1" y="11002"/>
                    <a:pt x="72" y="11073"/>
                    <a:pt x="167" y="11073"/>
                  </a:cubicBezTo>
                  <a:cubicBezTo>
                    <a:pt x="251" y="11073"/>
                    <a:pt x="322" y="11002"/>
                    <a:pt x="322" y="10919"/>
                  </a:cubicBezTo>
                  <a:lnTo>
                    <a:pt x="322" y="8918"/>
                  </a:lnTo>
                  <a:cubicBezTo>
                    <a:pt x="322" y="8752"/>
                    <a:pt x="370" y="8609"/>
                    <a:pt x="441" y="8478"/>
                  </a:cubicBezTo>
                  <a:lnTo>
                    <a:pt x="1370" y="9264"/>
                  </a:lnTo>
                  <a:cubicBezTo>
                    <a:pt x="1489" y="9371"/>
                    <a:pt x="1549" y="9514"/>
                    <a:pt x="1549" y="9668"/>
                  </a:cubicBezTo>
                  <a:lnTo>
                    <a:pt x="1549" y="10895"/>
                  </a:lnTo>
                  <a:cubicBezTo>
                    <a:pt x="1549" y="10990"/>
                    <a:pt x="1620" y="11061"/>
                    <a:pt x="1703" y="11061"/>
                  </a:cubicBezTo>
                  <a:cubicBezTo>
                    <a:pt x="1799" y="11061"/>
                    <a:pt x="1870" y="10990"/>
                    <a:pt x="1870" y="10895"/>
                  </a:cubicBezTo>
                  <a:lnTo>
                    <a:pt x="1870" y="9668"/>
                  </a:lnTo>
                  <a:cubicBezTo>
                    <a:pt x="1870" y="9406"/>
                    <a:pt x="1763" y="9168"/>
                    <a:pt x="1572" y="9014"/>
                  </a:cubicBezTo>
                  <a:lnTo>
                    <a:pt x="656" y="8216"/>
                  </a:lnTo>
                  <a:cubicBezTo>
                    <a:pt x="739" y="8144"/>
                    <a:pt x="834" y="8097"/>
                    <a:pt x="953" y="8073"/>
                  </a:cubicBezTo>
                  <a:lnTo>
                    <a:pt x="2346" y="7656"/>
                  </a:lnTo>
                  <a:lnTo>
                    <a:pt x="2858" y="8549"/>
                  </a:lnTo>
                  <a:cubicBezTo>
                    <a:pt x="2894" y="8633"/>
                    <a:pt x="2989" y="8692"/>
                    <a:pt x="3096" y="8716"/>
                  </a:cubicBezTo>
                  <a:lnTo>
                    <a:pt x="3156" y="8716"/>
                  </a:lnTo>
                  <a:cubicBezTo>
                    <a:pt x="3227" y="8716"/>
                    <a:pt x="3311" y="8680"/>
                    <a:pt x="3382" y="8633"/>
                  </a:cubicBezTo>
                  <a:lnTo>
                    <a:pt x="4335" y="7823"/>
                  </a:lnTo>
                  <a:lnTo>
                    <a:pt x="5287" y="8633"/>
                  </a:lnTo>
                  <a:cubicBezTo>
                    <a:pt x="5347" y="8692"/>
                    <a:pt x="5418" y="8716"/>
                    <a:pt x="5501" y="8716"/>
                  </a:cubicBezTo>
                  <a:lnTo>
                    <a:pt x="5561" y="8716"/>
                  </a:lnTo>
                  <a:cubicBezTo>
                    <a:pt x="5668" y="8692"/>
                    <a:pt x="5740" y="8633"/>
                    <a:pt x="5799" y="8549"/>
                  </a:cubicBezTo>
                  <a:lnTo>
                    <a:pt x="6311" y="7656"/>
                  </a:lnTo>
                  <a:lnTo>
                    <a:pt x="7704" y="8073"/>
                  </a:lnTo>
                  <a:cubicBezTo>
                    <a:pt x="7811" y="8097"/>
                    <a:pt x="7918" y="8156"/>
                    <a:pt x="8002" y="8216"/>
                  </a:cubicBezTo>
                  <a:lnTo>
                    <a:pt x="7085" y="9014"/>
                  </a:lnTo>
                  <a:cubicBezTo>
                    <a:pt x="6894" y="9168"/>
                    <a:pt x="6787" y="9406"/>
                    <a:pt x="6787" y="9668"/>
                  </a:cubicBezTo>
                  <a:lnTo>
                    <a:pt x="6787" y="10895"/>
                  </a:lnTo>
                  <a:cubicBezTo>
                    <a:pt x="6787" y="10990"/>
                    <a:pt x="6859" y="11061"/>
                    <a:pt x="6954" y="11061"/>
                  </a:cubicBezTo>
                  <a:cubicBezTo>
                    <a:pt x="7037" y="11061"/>
                    <a:pt x="7109" y="10990"/>
                    <a:pt x="7109" y="10895"/>
                  </a:cubicBezTo>
                  <a:lnTo>
                    <a:pt x="7109" y="9668"/>
                  </a:lnTo>
                  <a:cubicBezTo>
                    <a:pt x="7109" y="9514"/>
                    <a:pt x="7192" y="9371"/>
                    <a:pt x="7287" y="9264"/>
                  </a:cubicBezTo>
                  <a:lnTo>
                    <a:pt x="8216" y="8478"/>
                  </a:lnTo>
                  <a:cubicBezTo>
                    <a:pt x="8287" y="8609"/>
                    <a:pt x="8335" y="8752"/>
                    <a:pt x="8335" y="8918"/>
                  </a:cubicBezTo>
                  <a:lnTo>
                    <a:pt x="8335" y="10919"/>
                  </a:lnTo>
                  <a:cubicBezTo>
                    <a:pt x="8335" y="11002"/>
                    <a:pt x="8407" y="11073"/>
                    <a:pt x="8502" y="11073"/>
                  </a:cubicBezTo>
                  <a:cubicBezTo>
                    <a:pt x="8585" y="11073"/>
                    <a:pt x="8657" y="11002"/>
                    <a:pt x="8657" y="10919"/>
                  </a:cubicBezTo>
                  <a:lnTo>
                    <a:pt x="8657" y="8918"/>
                  </a:lnTo>
                  <a:cubicBezTo>
                    <a:pt x="8633" y="8382"/>
                    <a:pt x="8276" y="7906"/>
                    <a:pt x="7764" y="7763"/>
                  </a:cubicBezTo>
                  <a:lnTo>
                    <a:pt x="6359" y="7347"/>
                  </a:lnTo>
                  <a:lnTo>
                    <a:pt x="6097" y="6835"/>
                  </a:lnTo>
                  <a:cubicBezTo>
                    <a:pt x="6061" y="6763"/>
                    <a:pt x="5978" y="6692"/>
                    <a:pt x="5906" y="6668"/>
                  </a:cubicBezTo>
                  <a:cubicBezTo>
                    <a:pt x="5870" y="6662"/>
                    <a:pt x="5835" y="6659"/>
                    <a:pt x="5801" y="6659"/>
                  </a:cubicBezTo>
                  <a:cubicBezTo>
                    <a:pt x="5766" y="6659"/>
                    <a:pt x="5734" y="6662"/>
                    <a:pt x="5704" y="6668"/>
                  </a:cubicBezTo>
                  <a:lnTo>
                    <a:pt x="5704" y="6394"/>
                  </a:lnTo>
                  <a:cubicBezTo>
                    <a:pt x="6502" y="6347"/>
                    <a:pt x="7156" y="5942"/>
                    <a:pt x="7466" y="5692"/>
                  </a:cubicBezTo>
                  <a:cubicBezTo>
                    <a:pt x="7668" y="5537"/>
                    <a:pt x="7728" y="5287"/>
                    <a:pt x="7621" y="5061"/>
                  </a:cubicBezTo>
                  <a:cubicBezTo>
                    <a:pt x="7525" y="4870"/>
                    <a:pt x="7430" y="4513"/>
                    <a:pt x="7430" y="3965"/>
                  </a:cubicBezTo>
                  <a:lnTo>
                    <a:pt x="7430" y="3120"/>
                  </a:lnTo>
                  <a:cubicBezTo>
                    <a:pt x="7430" y="1405"/>
                    <a:pt x="6025" y="0"/>
                    <a:pt x="43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0" name="Google Shape;11460;p61"/>
            <p:cNvSpPr/>
            <p:nvPr/>
          </p:nvSpPr>
          <p:spPr>
            <a:xfrm>
              <a:off x="6375559" y="4549033"/>
              <a:ext cx="10233" cy="10201"/>
            </a:xfrm>
            <a:custGeom>
              <a:avLst/>
              <a:gdLst/>
              <a:ahLst/>
              <a:cxnLst/>
              <a:rect l="l" t="t" r="r" b="b"/>
              <a:pathLst>
                <a:path w="323" h="322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cubicBezTo>
                    <a:pt x="251" y="322"/>
                    <a:pt x="322" y="251"/>
                    <a:pt x="322" y="155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1" name="Google Shape;11461;p61"/>
            <p:cNvSpPr/>
            <p:nvPr/>
          </p:nvSpPr>
          <p:spPr>
            <a:xfrm>
              <a:off x="6375559" y="4587493"/>
              <a:ext cx="10233" cy="10613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56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2" name="Google Shape;11462;p61"/>
            <p:cNvSpPr/>
            <p:nvPr/>
          </p:nvSpPr>
          <p:spPr>
            <a:xfrm>
              <a:off x="6342009" y="4406442"/>
              <a:ext cx="76222" cy="32472"/>
            </a:xfrm>
            <a:custGeom>
              <a:avLst/>
              <a:gdLst/>
              <a:ahLst/>
              <a:cxnLst/>
              <a:rect l="l" t="t" r="r" b="b"/>
              <a:pathLst>
                <a:path w="2406" h="1025" extrusionOk="0">
                  <a:moveTo>
                    <a:pt x="1012" y="334"/>
                  </a:moveTo>
                  <a:cubicBezTo>
                    <a:pt x="953" y="430"/>
                    <a:pt x="834" y="525"/>
                    <a:pt x="703" y="525"/>
                  </a:cubicBezTo>
                  <a:lnTo>
                    <a:pt x="381" y="525"/>
                  </a:lnTo>
                  <a:cubicBezTo>
                    <a:pt x="441" y="406"/>
                    <a:pt x="560" y="334"/>
                    <a:pt x="703" y="334"/>
                  </a:cubicBezTo>
                  <a:close/>
                  <a:moveTo>
                    <a:pt x="1727" y="334"/>
                  </a:moveTo>
                  <a:cubicBezTo>
                    <a:pt x="1858" y="334"/>
                    <a:pt x="1977" y="406"/>
                    <a:pt x="2036" y="525"/>
                  </a:cubicBezTo>
                  <a:lnTo>
                    <a:pt x="1727" y="525"/>
                  </a:lnTo>
                  <a:cubicBezTo>
                    <a:pt x="1584" y="525"/>
                    <a:pt x="1477" y="453"/>
                    <a:pt x="1417" y="334"/>
                  </a:cubicBezTo>
                  <a:close/>
                  <a:moveTo>
                    <a:pt x="679" y="1"/>
                  </a:moveTo>
                  <a:cubicBezTo>
                    <a:pt x="310" y="1"/>
                    <a:pt x="0" y="311"/>
                    <a:pt x="0" y="692"/>
                  </a:cubicBezTo>
                  <a:lnTo>
                    <a:pt x="0" y="870"/>
                  </a:lnTo>
                  <a:cubicBezTo>
                    <a:pt x="0" y="953"/>
                    <a:pt x="72" y="1025"/>
                    <a:pt x="167" y="1025"/>
                  </a:cubicBezTo>
                  <a:cubicBezTo>
                    <a:pt x="250" y="1025"/>
                    <a:pt x="322" y="953"/>
                    <a:pt x="322" y="870"/>
                  </a:cubicBezTo>
                  <a:lnTo>
                    <a:pt x="322" y="846"/>
                  </a:lnTo>
                  <a:lnTo>
                    <a:pt x="679" y="846"/>
                  </a:lnTo>
                  <a:cubicBezTo>
                    <a:pt x="893" y="846"/>
                    <a:pt x="1084" y="763"/>
                    <a:pt x="1203" y="608"/>
                  </a:cubicBezTo>
                  <a:cubicBezTo>
                    <a:pt x="1322" y="763"/>
                    <a:pt x="1512" y="846"/>
                    <a:pt x="1727" y="846"/>
                  </a:cubicBezTo>
                  <a:lnTo>
                    <a:pt x="2084" y="846"/>
                  </a:lnTo>
                  <a:lnTo>
                    <a:pt x="2084" y="870"/>
                  </a:lnTo>
                  <a:cubicBezTo>
                    <a:pt x="2084" y="953"/>
                    <a:pt x="2155" y="1025"/>
                    <a:pt x="2251" y="1025"/>
                  </a:cubicBezTo>
                  <a:cubicBezTo>
                    <a:pt x="2334" y="1025"/>
                    <a:pt x="2405" y="953"/>
                    <a:pt x="2405" y="870"/>
                  </a:cubicBezTo>
                  <a:lnTo>
                    <a:pt x="2405" y="692"/>
                  </a:lnTo>
                  <a:cubicBezTo>
                    <a:pt x="2405" y="299"/>
                    <a:pt x="2108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63" name="Google Shape;11463;p61"/>
          <p:cNvGrpSpPr/>
          <p:nvPr/>
        </p:nvGrpSpPr>
        <p:grpSpPr>
          <a:xfrm>
            <a:off x="3560600" y="3763338"/>
            <a:ext cx="352345" cy="363655"/>
            <a:chOff x="3560600" y="3763338"/>
            <a:chExt cx="352345" cy="363655"/>
          </a:xfrm>
        </p:grpSpPr>
        <p:sp>
          <p:nvSpPr>
            <p:cNvPr id="11464" name="Google Shape;11464;p61"/>
            <p:cNvSpPr/>
            <p:nvPr/>
          </p:nvSpPr>
          <p:spPr>
            <a:xfrm>
              <a:off x="3665841" y="3763338"/>
              <a:ext cx="143352" cy="173543"/>
            </a:xfrm>
            <a:custGeom>
              <a:avLst/>
              <a:gdLst/>
              <a:ahLst/>
              <a:cxnLst/>
              <a:rect l="l" t="t" r="r" b="b"/>
              <a:pathLst>
                <a:path w="4525" h="5478" extrusionOk="0">
                  <a:moveTo>
                    <a:pt x="2251" y="1"/>
                  </a:moveTo>
                  <a:cubicBezTo>
                    <a:pt x="1691" y="1"/>
                    <a:pt x="1179" y="191"/>
                    <a:pt x="774" y="549"/>
                  </a:cubicBezTo>
                  <a:cubicBezTo>
                    <a:pt x="370" y="906"/>
                    <a:pt x="108" y="1382"/>
                    <a:pt x="12" y="1918"/>
                  </a:cubicBezTo>
                  <a:cubicBezTo>
                    <a:pt x="0" y="2013"/>
                    <a:pt x="60" y="2096"/>
                    <a:pt x="143" y="2120"/>
                  </a:cubicBezTo>
                  <a:cubicBezTo>
                    <a:pt x="151" y="2121"/>
                    <a:pt x="159" y="2122"/>
                    <a:pt x="167" y="2122"/>
                  </a:cubicBezTo>
                  <a:cubicBezTo>
                    <a:pt x="252" y="2122"/>
                    <a:pt x="324" y="2064"/>
                    <a:pt x="346" y="1977"/>
                  </a:cubicBezTo>
                  <a:cubicBezTo>
                    <a:pt x="477" y="1049"/>
                    <a:pt x="1286" y="346"/>
                    <a:pt x="2239" y="346"/>
                  </a:cubicBezTo>
                  <a:cubicBezTo>
                    <a:pt x="3299" y="346"/>
                    <a:pt x="4168" y="1203"/>
                    <a:pt x="4168" y="2263"/>
                  </a:cubicBezTo>
                  <a:cubicBezTo>
                    <a:pt x="4168" y="3096"/>
                    <a:pt x="3632" y="3847"/>
                    <a:pt x="2822" y="4097"/>
                  </a:cubicBezTo>
                  <a:cubicBezTo>
                    <a:pt x="2775" y="4108"/>
                    <a:pt x="2751" y="4144"/>
                    <a:pt x="2739" y="4168"/>
                  </a:cubicBezTo>
                  <a:lnTo>
                    <a:pt x="2239" y="4990"/>
                  </a:lnTo>
                  <a:lnTo>
                    <a:pt x="1751" y="4168"/>
                  </a:lnTo>
                  <a:cubicBezTo>
                    <a:pt x="1739" y="4144"/>
                    <a:pt x="1691" y="4108"/>
                    <a:pt x="1667" y="4097"/>
                  </a:cubicBezTo>
                  <a:cubicBezTo>
                    <a:pt x="977" y="3870"/>
                    <a:pt x="477" y="3287"/>
                    <a:pt x="358" y="2573"/>
                  </a:cubicBezTo>
                  <a:cubicBezTo>
                    <a:pt x="347" y="2496"/>
                    <a:pt x="266" y="2440"/>
                    <a:pt x="189" y="2440"/>
                  </a:cubicBezTo>
                  <a:cubicBezTo>
                    <a:pt x="182" y="2440"/>
                    <a:pt x="174" y="2441"/>
                    <a:pt x="167" y="2442"/>
                  </a:cubicBezTo>
                  <a:cubicBezTo>
                    <a:pt x="72" y="2454"/>
                    <a:pt x="12" y="2549"/>
                    <a:pt x="24" y="2632"/>
                  </a:cubicBezTo>
                  <a:cubicBezTo>
                    <a:pt x="108" y="3049"/>
                    <a:pt x="286" y="3418"/>
                    <a:pt x="548" y="3739"/>
                  </a:cubicBezTo>
                  <a:cubicBezTo>
                    <a:pt x="798" y="4037"/>
                    <a:pt x="1132" y="4251"/>
                    <a:pt x="1501" y="4394"/>
                  </a:cubicBezTo>
                  <a:lnTo>
                    <a:pt x="2108" y="5406"/>
                  </a:lnTo>
                  <a:cubicBezTo>
                    <a:pt x="2144" y="5442"/>
                    <a:pt x="2203" y="5478"/>
                    <a:pt x="2263" y="5478"/>
                  </a:cubicBezTo>
                  <a:cubicBezTo>
                    <a:pt x="2322" y="5478"/>
                    <a:pt x="2382" y="5442"/>
                    <a:pt x="2406" y="5406"/>
                  </a:cubicBezTo>
                  <a:lnTo>
                    <a:pt x="3025" y="4394"/>
                  </a:lnTo>
                  <a:cubicBezTo>
                    <a:pt x="3930" y="4073"/>
                    <a:pt x="4525" y="3227"/>
                    <a:pt x="4525" y="2263"/>
                  </a:cubicBezTo>
                  <a:cubicBezTo>
                    <a:pt x="4489" y="1013"/>
                    <a:pt x="3477" y="1"/>
                    <a:pt x="2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5" name="Google Shape;11465;p61"/>
            <p:cNvSpPr/>
            <p:nvPr/>
          </p:nvSpPr>
          <p:spPr>
            <a:xfrm>
              <a:off x="3696761" y="3794099"/>
              <a:ext cx="82653" cy="78661"/>
            </a:xfrm>
            <a:custGeom>
              <a:avLst/>
              <a:gdLst/>
              <a:ahLst/>
              <a:cxnLst/>
              <a:rect l="l" t="t" r="r" b="b"/>
              <a:pathLst>
                <a:path w="2609" h="2483" extrusionOk="0">
                  <a:moveTo>
                    <a:pt x="1584" y="328"/>
                  </a:moveTo>
                  <a:cubicBezTo>
                    <a:pt x="1727" y="328"/>
                    <a:pt x="1882" y="387"/>
                    <a:pt x="2001" y="506"/>
                  </a:cubicBezTo>
                  <a:cubicBezTo>
                    <a:pt x="2239" y="732"/>
                    <a:pt x="2239" y="1102"/>
                    <a:pt x="2001" y="1340"/>
                  </a:cubicBezTo>
                  <a:cubicBezTo>
                    <a:pt x="1888" y="1453"/>
                    <a:pt x="1736" y="1509"/>
                    <a:pt x="1584" y="1509"/>
                  </a:cubicBezTo>
                  <a:cubicBezTo>
                    <a:pt x="1433" y="1509"/>
                    <a:pt x="1281" y="1453"/>
                    <a:pt x="1168" y="1340"/>
                  </a:cubicBezTo>
                  <a:cubicBezTo>
                    <a:pt x="941" y="1113"/>
                    <a:pt x="941" y="732"/>
                    <a:pt x="1168" y="506"/>
                  </a:cubicBezTo>
                  <a:cubicBezTo>
                    <a:pt x="1287" y="387"/>
                    <a:pt x="1430" y="328"/>
                    <a:pt x="1584" y="328"/>
                  </a:cubicBezTo>
                  <a:close/>
                  <a:moveTo>
                    <a:pt x="1584" y="0"/>
                  </a:moveTo>
                  <a:cubicBezTo>
                    <a:pt x="1346" y="0"/>
                    <a:pt x="1108" y="89"/>
                    <a:pt x="929" y="268"/>
                  </a:cubicBezTo>
                  <a:cubicBezTo>
                    <a:pt x="596" y="590"/>
                    <a:pt x="572" y="1090"/>
                    <a:pt x="822" y="1447"/>
                  </a:cubicBezTo>
                  <a:lnTo>
                    <a:pt x="60" y="2197"/>
                  </a:lnTo>
                  <a:cubicBezTo>
                    <a:pt x="1" y="2256"/>
                    <a:pt x="1" y="2375"/>
                    <a:pt x="60" y="2435"/>
                  </a:cubicBezTo>
                  <a:cubicBezTo>
                    <a:pt x="96" y="2471"/>
                    <a:pt x="144" y="2483"/>
                    <a:pt x="179" y="2483"/>
                  </a:cubicBezTo>
                  <a:cubicBezTo>
                    <a:pt x="227" y="2483"/>
                    <a:pt x="275" y="2471"/>
                    <a:pt x="298" y="2435"/>
                  </a:cubicBezTo>
                  <a:lnTo>
                    <a:pt x="1060" y="1685"/>
                  </a:lnTo>
                  <a:cubicBezTo>
                    <a:pt x="1227" y="1780"/>
                    <a:pt x="1406" y="1840"/>
                    <a:pt x="1584" y="1840"/>
                  </a:cubicBezTo>
                  <a:cubicBezTo>
                    <a:pt x="1822" y="1840"/>
                    <a:pt x="2061" y="1756"/>
                    <a:pt x="2239" y="1578"/>
                  </a:cubicBezTo>
                  <a:cubicBezTo>
                    <a:pt x="2608" y="1209"/>
                    <a:pt x="2608" y="625"/>
                    <a:pt x="2239" y="268"/>
                  </a:cubicBezTo>
                  <a:cubicBezTo>
                    <a:pt x="2061" y="89"/>
                    <a:pt x="1822" y="0"/>
                    <a:pt x="1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6" name="Google Shape;11466;p61"/>
            <p:cNvSpPr/>
            <p:nvPr/>
          </p:nvSpPr>
          <p:spPr>
            <a:xfrm>
              <a:off x="3560600" y="3916574"/>
              <a:ext cx="352345" cy="210419"/>
            </a:xfrm>
            <a:custGeom>
              <a:avLst/>
              <a:gdLst/>
              <a:ahLst/>
              <a:cxnLst/>
              <a:rect l="l" t="t" r="r" b="b"/>
              <a:pathLst>
                <a:path w="11122" h="6642" extrusionOk="0">
                  <a:moveTo>
                    <a:pt x="3037" y="391"/>
                  </a:moveTo>
                  <a:lnTo>
                    <a:pt x="5394" y="1176"/>
                  </a:lnTo>
                  <a:lnTo>
                    <a:pt x="5394" y="1296"/>
                  </a:lnTo>
                  <a:lnTo>
                    <a:pt x="3037" y="510"/>
                  </a:lnTo>
                  <a:lnTo>
                    <a:pt x="3037" y="391"/>
                  </a:lnTo>
                  <a:close/>
                  <a:moveTo>
                    <a:pt x="8085" y="391"/>
                  </a:moveTo>
                  <a:lnTo>
                    <a:pt x="8085" y="510"/>
                  </a:lnTo>
                  <a:lnTo>
                    <a:pt x="5728" y="1296"/>
                  </a:lnTo>
                  <a:lnTo>
                    <a:pt x="5728" y="1176"/>
                  </a:lnTo>
                  <a:lnTo>
                    <a:pt x="8085" y="391"/>
                  </a:lnTo>
                  <a:close/>
                  <a:moveTo>
                    <a:pt x="2691" y="855"/>
                  </a:moveTo>
                  <a:lnTo>
                    <a:pt x="2691" y="4975"/>
                  </a:lnTo>
                  <a:lnTo>
                    <a:pt x="2680" y="4975"/>
                  </a:lnTo>
                  <a:lnTo>
                    <a:pt x="786" y="5594"/>
                  </a:lnTo>
                  <a:lnTo>
                    <a:pt x="786" y="1486"/>
                  </a:lnTo>
                  <a:lnTo>
                    <a:pt x="2691" y="855"/>
                  </a:lnTo>
                  <a:close/>
                  <a:moveTo>
                    <a:pt x="8085" y="867"/>
                  </a:moveTo>
                  <a:lnTo>
                    <a:pt x="8085" y="4975"/>
                  </a:lnTo>
                  <a:lnTo>
                    <a:pt x="8049" y="4975"/>
                  </a:lnTo>
                  <a:lnTo>
                    <a:pt x="5728" y="5748"/>
                  </a:lnTo>
                  <a:lnTo>
                    <a:pt x="5728" y="1641"/>
                  </a:lnTo>
                  <a:lnTo>
                    <a:pt x="5763" y="1641"/>
                  </a:lnTo>
                  <a:lnTo>
                    <a:pt x="8085" y="867"/>
                  </a:lnTo>
                  <a:close/>
                  <a:moveTo>
                    <a:pt x="3037" y="879"/>
                  </a:moveTo>
                  <a:lnTo>
                    <a:pt x="5358" y="1653"/>
                  </a:lnTo>
                  <a:lnTo>
                    <a:pt x="5394" y="1653"/>
                  </a:lnTo>
                  <a:lnTo>
                    <a:pt x="5394" y="5760"/>
                  </a:lnTo>
                  <a:lnTo>
                    <a:pt x="3072" y="4986"/>
                  </a:lnTo>
                  <a:lnTo>
                    <a:pt x="3037" y="4986"/>
                  </a:lnTo>
                  <a:lnTo>
                    <a:pt x="3037" y="879"/>
                  </a:lnTo>
                  <a:close/>
                  <a:moveTo>
                    <a:pt x="3037" y="5320"/>
                  </a:moveTo>
                  <a:lnTo>
                    <a:pt x="5394" y="6106"/>
                  </a:lnTo>
                  <a:lnTo>
                    <a:pt x="5394" y="6225"/>
                  </a:lnTo>
                  <a:lnTo>
                    <a:pt x="3037" y="5439"/>
                  </a:lnTo>
                  <a:lnTo>
                    <a:pt x="3037" y="5320"/>
                  </a:lnTo>
                  <a:close/>
                  <a:moveTo>
                    <a:pt x="8085" y="5320"/>
                  </a:moveTo>
                  <a:lnTo>
                    <a:pt x="8085" y="5439"/>
                  </a:lnTo>
                  <a:lnTo>
                    <a:pt x="5728" y="6225"/>
                  </a:lnTo>
                  <a:lnTo>
                    <a:pt x="5728" y="6106"/>
                  </a:lnTo>
                  <a:lnTo>
                    <a:pt x="8085" y="5320"/>
                  </a:lnTo>
                  <a:close/>
                  <a:moveTo>
                    <a:pt x="2715" y="414"/>
                  </a:moveTo>
                  <a:lnTo>
                    <a:pt x="2715" y="510"/>
                  </a:lnTo>
                  <a:lnTo>
                    <a:pt x="584" y="1224"/>
                  </a:lnTo>
                  <a:cubicBezTo>
                    <a:pt x="513" y="1248"/>
                    <a:pt x="465" y="1307"/>
                    <a:pt x="465" y="1391"/>
                  </a:cubicBezTo>
                  <a:lnTo>
                    <a:pt x="465" y="5856"/>
                  </a:lnTo>
                  <a:cubicBezTo>
                    <a:pt x="465" y="5915"/>
                    <a:pt x="489" y="5951"/>
                    <a:pt x="536" y="5987"/>
                  </a:cubicBezTo>
                  <a:cubicBezTo>
                    <a:pt x="571" y="6004"/>
                    <a:pt x="613" y="6015"/>
                    <a:pt x="651" y="6015"/>
                  </a:cubicBezTo>
                  <a:cubicBezTo>
                    <a:pt x="665" y="6015"/>
                    <a:pt x="678" y="6014"/>
                    <a:pt x="691" y="6010"/>
                  </a:cubicBezTo>
                  <a:lnTo>
                    <a:pt x="2715" y="5344"/>
                  </a:lnTo>
                  <a:lnTo>
                    <a:pt x="2715" y="5463"/>
                  </a:lnTo>
                  <a:lnTo>
                    <a:pt x="358" y="6249"/>
                  </a:lnTo>
                  <a:lnTo>
                    <a:pt x="358" y="1200"/>
                  </a:lnTo>
                  <a:lnTo>
                    <a:pt x="2715" y="414"/>
                  </a:lnTo>
                  <a:close/>
                  <a:moveTo>
                    <a:pt x="2864" y="1"/>
                  </a:moveTo>
                  <a:cubicBezTo>
                    <a:pt x="2846" y="1"/>
                    <a:pt x="2828" y="4"/>
                    <a:pt x="2811" y="10"/>
                  </a:cubicBezTo>
                  <a:lnTo>
                    <a:pt x="120" y="903"/>
                  </a:lnTo>
                  <a:cubicBezTo>
                    <a:pt x="48" y="938"/>
                    <a:pt x="1" y="998"/>
                    <a:pt x="1" y="1069"/>
                  </a:cubicBezTo>
                  <a:lnTo>
                    <a:pt x="1" y="6475"/>
                  </a:lnTo>
                  <a:cubicBezTo>
                    <a:pt x="1" y="6534"/>
                    <a:pt x="36" y="6582"/>
                    <a:pt x="72" y="6606"/>
                  </a:cubicBezTo>
                  <a:cubicBezTo>
                    <a:pt x="108" y="6618"/>
                    <a:pt x="132" y="6641"/>
                    <a:pt x="179" y="6641"/>
                  </a:cubicBezTo>
                  <a:cubicBezTo>
                    <a:pt x="191" y="6641"/>
                    <a:pt x="215" y="6641"/>
                    <a:pt x="239" y="6618"/>
                  </a:cubicBezTo>
                  <a:lnTo>
                    <a:pt x="2870" y="5748"/>
                  </a:lnTo>
                  <a:lnTo>
                    <a:pt x="5513" y="6618"/>
                  </a:lnTo>
                  <a:cubicBezTo>
                    <a:pt x="5525" y="6630"/>
                    <a:pt x="5543" y="6635"/>
                    <a:pt x="5561" y="6635"/>
                  </a:cubicBezTo>
                  <a:cubicBezTo>
                    <a:pt x="5579" y="6635"/>
                    <a:pt x="5597" y="6630"/>
                    <a:pt x="5608" y="6618"/>
                  </a:cubicBezTo>
                  <a:lnTo>
                    <a:pt x="8252" y="5737"/>
                  </a:lnTo>
                  <a:lnTo>
                    <a:pt x="10883" y="6606"/>
                  </a:lnTo>
                  <a:cubicBezTo>
                    <a:pt x="10895" y="6606"/>
                    <a:pt x="10907" y="6630"/>
                    <a:pt x="10942" y="6630"/>
                  </a:cubicBezTo>
                  <a:cubicBezTo>
                    <a:pt x="10966" y="6630"/>
                    <a:pt x="11014" y="6606"/>
                    <a:pt x="11050" y="6594"/>
                  </a:cubicBezTo>
                  <a:cubicBezTo>
                    <a:pt x="11085" y="6558"/>
                    <a:pt x="11121" y="6510"/>
                    <a:pt x="11121" y="6463"/>
                  </a:cubicBezTo>
                  <a:lnTo>
                    <a:pt x="11121" y="3510"/>
                  </a:lnTo>
                  <a:cubicBezTo>
                    <a:pt x="11121" y="3427"/>
                    <a:pt x="11050" y="3355"/>
                    <a:pt x="10954" y="3355"/>
                  </a:cubicBezTo>
                  <a:cubicBezTo>
                    <a:pt x="10871" y="3355"/>
                    <a:pt x="10788" y="3427"/>
                    <a:pt x="10788" y="3510"/>
                  </a:cubicBezTo>
                  <a:lnTo>
                    <a:pt x="10788" y="6225"/>
                  </a:lnTo>
                  <a:lnTo>
                    <a:pt x="8442" y="5439"/>
                  </a:lnTo>
                  <a:lnTo>
                    <a:pt x="8442" y="5320"/>
                  </a:lnTo>
                  <a:lnTo>
                    <a:pt x="10466" y="5987"/>
                  </a:lnTo>
                  <a:cubicBezTo>
                    <a:pt x="10482" y="5991"/>
                    <a:pt x="10499" y="5993"/>
                    <a:pt x="10516" y="5993"/>
                  </a:cubicBezTo>
                  <a:cubicBezTo>
                    <a:pt x="10551" y="5993"/>
                    <a:pt x="10585" y="5983"/>
                    <a:pt x="10609" y="5951"/>
                  </a:cubicBezTo>
                  <a:cubicBezTo>
                    <a:pt x="10657" y="5927"/>
                    <a:pt x="10692" y="5868"/>
                    <a:pt x="10692" y="5820"/>
                  </a:cubicBezTo>
                  <a:lnTo>
                    <a:pt x="10692" y="3486"/>
                  </a:lnTo>
                  <a:cubicBezTo>
                    <a:pt x="10692" y="3391"/>
                    <a:pt x="10609" y="3320"/>
                    <a:pt x="10526" y="3320"/>
                  </a:cubicBezTo>
                  <a:cubicBezTo>
                    <a:pt x="10431" y="3320"/>
                    <a:pt x="10359" y="3391"/>
                    <a:pt x="10359" y="3486"/>
                  </a:cubicBezTo>
                  <a:lnTo>
                    <a:pt x="10359" y="5582"/>
                  </a:lnTo>
                  <a:lnTo>
                    <a:pt x="8466" y="4963"/>
                  </a:lnTo>
                  <a:lnTo>
                    <a:pt x="8442" y="4963"/>
                  </a:lnTo>
                  <a:lnTo>
                    <a:pt x="8442" y="855"/>
                  </a:lnTo>
                  <a:lnTo>
                    <a:pt x="10347" y="1486"/>
                  </a:lnTo>
                  <a:lnTo>
                    <a:pt x="10347" y="2843"/>
                  </a:lnTo>
                  <a:cubicBezTo>
                    <a:pt x="10347" y="2939"/>
                    <a:pt x="10419" y="3010"/>
                    <a:pt x="10514" y="3010"/>
                  </a:cubicBezTo>
                  <a:cubicBezTo>
                    <a:pt x="10597" y="3010"/>
                    <a:pt x="10669" y="2939"/>
                    <a:pt x="10669" y="2843"/>
                  </a:cubicBezTo>
                  <a:lnTo>
                    <a:pt x="10669" y="1367"/>
                  </a:lnTo>
                  <a:cubicBezTo>
                    <a:pt x="10669" y="1296"/>
                    <a:pt x="10633" y="1236"/>
                    <a:pt x="10550" y="1212"/>
                  </a:cubicBezTo>
                  <a:lnTo>
                    <a:pt x="8430" y="498"/>
                  </a:lnTo>
                  <a:lnTo>
                    <a:pt x="8430" y="379"/>
                  </a:lnTo>
                  <a:lnTo>
                    <a:pt x="10776" y="1165"/>
                  </a:lnTo>
                  <a:lnTo>
                    <a:pt x="10776" y="2831"/>
                  </a:lnTo>
                  <a:cubicBezTo>
                    <a:pt x="10776" y="2939"/>
                    <a:pt x="10847" y="3022"/>
                    <a:pt x="10942" y="3022"/>
                  </a:cubicBezTo>
                  <a:cubicBezTo>
                    <a:pt x="11026" y="3022"/>
                    <a:pt x="11109" y="2951"/>
                    <a:pt x="11109" y="2855"/>
                  </a:cubicBezTo>
                  <a:lnTo>
                    <a:pt x="11109" y="1069"/>
                  </a:lnTo>
                  <a:cubicBezTo>
                    <a:pt x="11109" y="998"/>
                    <a:pt x="11062" y="938"/>
                    <a:pt x="10990" y="903"/>
                  </a:cubicBezTo>
                  <a:lnTo>
                    <a:pt x="8287" y="10"/>
                  </a:lnTo>
                  <a:cubicBezTo>
                    <a:pt x="8275" y="4"/>
                    <a:pt x="8258" y="1"/>
                    <a:pt x="8240" y="1"/>
                  </a:cubicBezTo>
                  <a:cubicBezTo>
                    <a:pt x="8222" y="1"/>
                    <a:pt x="8204" y="4"/>
                    <a:pt x="8192" y="10"/>
                  </a:cubicBezTo>
                  <a:lnTo>
                    <a:pt x="5549" y="891"/>
                  </a:lnTo>
                  <a:lnTo>
                    <a:pt x="2918" y="10"/>
                  </a:lnTo>
                  <a:cubicBezTo>
                    <a:pt x="2900" y="4"/>
                    <a:pt x="2882" y="1"/>
                    <a:pt x="28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67" name="Google Shape;11467;p61"/>
          <p:cNvGrpSpPr/>
          <p:nvPr/>
        </p:nvGrpSpPr>
        <p:grpSpPr>
          <a:xfrm>
            <a:off x="5790556" y="4261252"/>
            <a:ext cx="279513" cy="356083"/>
            <a:chOff x="5790556" y="4261252"/>
            <a:chExt cx="279513" cy="356083"/>
          </a:xfrm>
        </p:grpSpPr>
        <p:sp>
          <p:nvSpPr>
            <p:cNvPr id="11468" name="Google Shape;11468;p61"/>
            <p:cNvSpPr/>
            <p:nvPr/>
          </p:nvSpPr>
          <p:spPr>
            <a:xfrm>
              <a:off x="5892027" y="4400423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9" name="Google Shape;11469;p61"/>
            <p:cNvSpPr/>
            <p:nvPr/>
          </p:nvSpPr>
          <p:spPr>
            <a:xfrm>
              <a:off x="5959157" y="4400423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0" name="Google Shape;11470;p61"/>
            <p:cNvSpPr/>
            <p:nvPr/>
          </p:nvSpPr>
          <p:spPr>
            <a:xfrm>
              <a:off x="5907867" y="4450667"/>
              <a:ext cx="45651" cy="16157"/>
            </a:xfrm>
            <a:custGeom>
              <a:avLst/>
              <a:gdLst/>
              <a:ahLst/>
              <a:cxnLst/>
              <a:rect l="l" t="t" r="r" b="b"/>
              <a:pathLst>
                <a:path w="1441" h="510" extrusionOk="0">
                  <a:moveTo>
                    <a:pt x="183" y="1"/>
                  </a:moveTo>
                  <a:cubicBezTo>
                    <a:pt x="140" y="1"/>
                    <a:pt x="95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03" y="427"/>
                    <a:pt x="441" y="510"/>
                    <a:pt x="691" y="510"/>
                  </a:cubicBezTo>
                  <a:cubicBezTo>
                    <a:pt x="965" y="510"/>
                    <a:pt x="1203" y="427"/>
                    <a:pt x="1334" y="284"/>
                  </a:cubicBezTo>
                  <a:cubicBezTo>
                    <a:pt x="1441" y="212"/>
                    <a:pt x="1441" y="105"/>
                    <a:pt x="1358" y="46"/>
                  </a:cubicBezTo>
                  <a:cubicBezTo>
                    <a:pt x="1328" y="16"/>
                    <a:pt x="1289" y="1"/>
                    <a:pt x="1249" y="1"/>
                  </a:cubicBezTo>
                  <a:cubicBezTo>
                    <a:pt x="1209" y="1"/>
                    <a:pt x="1167" y="16"/>
                    <a:pt x="1131" y="46"/>
                  </a:cubicBezTo>
                  <a:cubicBezTo>
                    <a:pt x="1060" y="105"/>
                    <a:pt x="917" y="188"/>
                    <a:pt x="715" y="188"/>
                  </a:cubicBezTo>
                  <a:cubicBezTo>
                    <a:pt x="500" y="188"/>
                    <a:pt x="357" y="105"/>
                    <a:pt x="298" y="46"/>
                  </a:cubicBezTo>
                  <a:cubicBezTo>
                    <a:pt x="268" y="16"/>
                    <a:pt x="226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1" name="Google Shape;11471;p61"/>
            <p:cNvSpPr/>
            <p:nvPr/>
          </p:nvSpPr>
          <p:spPr>
            <a:xfrm>
              <a:off x="5790556" y="4261252"/>
              <a:ext cx="279513" cy="356083"/>
            </a:xfrm>
            <a:custGeom>
              <a:avLst/>
              <a:gdLst/>
              <a:ahLst/>
              <a:cxnLst/>
              <a:rect l="l" t="t" r="r" b="b"/>
              <a:pathLst>
                <a:path w="8823" h="11240" extrusionOk="0">
                  <a:moveTo>
                    <a:pt x="4441" y="2893"/>
                  </a:moveTo>
                  <a:cubicBezTo>
                    <a:pt x="4608" y="3048"/>
                    <a:pt x="4787" y="3203"/>
                    <a:pt x="4965" y="3334"/>
                  </a:cubicBezTo>
                  <a:lnTo>
                    <a:pt x="3906" y="3334"/>
                  </a:lnTo>
                  <a:cubicBezTo>
                    <a:pt x="4084" y="3203"/>
                    <a:pt x="4251" y="3048"/>
                    <a:pt x="4441" y="2893"/>
                  </a:cubicBezTo>
                  <a:close/>
                  <a:moveTo>
                    <a:pt x="6215" y="810"/>
                  </a:moveTo>
                  <a:cubicBezTo>
                    <a:pt x="6954" y="1262"/>
                    <a:pt x="7430" y="1976"/>
                    <a:pt x="7430" y="2798"/>
                  </a:cubicBezTo>
                  <a:cubicBezTo>
                    <a:pt x="7430" y="3310"/>
                    <a:pt x="7251" y="3798"/>
                    <a:pt x="6894" y="4203"/>
                  </a:cubicBezTo>
                  <a:cubicBezTo>
                    <a:pt x="6632" y="4060"/>
                    <a:pt x="5727" y="3608"/>
                    <a:pt x="4668" y="2655"/>
                  </a:cubicBezTo>
                  <a:cubicBezTo>
                    <a:pt x="5192" y="2155"/>
                    <a:pt x="5727" y="1548"/>
                    <a:pt x="6215" y="810"/>
                  </a:cubicBezTo>
                  <a:close/>
                  <a:moveTo>
                    <a:pt x="4430" y="333"/>
                  </a:moveTo>
                  <a:cubicBezTo>
                    <a:pt x="4977" y="333"/>
                    <a:pt x="5477" y="441"/>
                    <a:pt x="5930" y="667"/>
                  </a:cubicBezTo>
                  <a:cubicBezTo>
                    <a:pt x="4322" y="3012"/>
                    <a:pt x="2346" y="4036"/>
                    <a:pt x="1953" y="4215"/>
                  </a:cubicBezTo>
                  <a:cubicBezTo>
                    <a:pt x="1620" y="3786"/>
                    <a:pt x="1417" y="3310"/>
                    <a:pt x="1417" y="2798"/>
                  </a:cubicBezTo>
                  <a:cubicBezTo>
                    <a:pt x="1417" y="1429"/>
                    <a:pt x="2763" y="333"/>
                    <a:pt x="4430" y="333"/>
                  </a:cubicBezTo>
                  <a:close/>
                  <a:moveTo>
                    <a:pt x="5370" y="3643"/>
                  </a:moveTo>
                  <a:cubicBezTo>
                    <a:pt x="6037" y="4143"/>
                    <a:pt x="6561" y="4393"/>
                    <a:pt x="6739" y="4477"/>
                  </a:cubicBezTo>
                  <a:cubicBezTo>
                    <a:pt x="6799" y="4513"/>
                    <a:pt x="6858" y="4524"/>
                    <a:pt x="6930" y="4524"/>
                  </a:cubicBezTo>
                  <a:cubicBezTo>
                    <a:pt x="7073" y="4524"/>
                    <a:pt x="7216" y="4632"/>
                    <a:pt x="7227" y="4774"/>
                  </a:cubicBezTo>
                  <a:cubicBezTo>
                    <a:pt x="7239" y="4858"/>
                    <a:pt x="7216" y="4929"/>
                    <a:pt x="7156" y="4989"/>
                  </a:cubicBezTo>
                  <a:cubicBezTo>
                    <a:pt x="7097" y="5048"/>
                    <a:pt x="7013" y="5072"/>
                    <a:pt x="6942" y="5072"/>
                  </a:cubicBezTo>
                  <a:lnTo>
                    <a:pt x="6835" y="5072"/>
                  </a:lnTo>
                  <a:lnTo>
                    <a:pt x="6835" y="5060"/>
                  </a:lnTo>
                  <a:cubicBezTo>
                    <a:pt x="6835" y="4977"/>
                    <a:pt x="6763" y="4894"/>
                    <a:pt x="6680" y="4894"/>
                  </a:cubicBezTo>
                  <a:cubicBezTo>
                    <a:pt x="6585" y="4894"/>
                    <a:pt x="6513" y="4977"/>
                    <a:pt x="6513" y="5060"/>
                  </a:cubicBezTo>
                  <a:lnTo>
                    <a:pt x="6513" y="5251"/>
                  </a:lnTo>
                  <a:lnTo>
                    <a:pt x="6323" y="5251"/>
                  </a:lnTo>
                  <a:cubicBezTo>
                    <a:pt x="6227" y="5251"/>
                    <a:pt x="6156" y="5334"/>
                    <a:pt x="6156" y="5417"/>
                  </a:cubicBezTo>
                  <a:cubicBezTo>
                    <a:pt x="6156" y="5513"/>
                    <a:pt x="6227" y="5584"/>
                    <a:pt x="6323" y="5584"/>
                  </a:cubicBezTo>
                  <a:lnTo>
                    <a:pt x="6513" y="5584"/>
                  </a:lnTo>
                  <a:lnTo>
                    <a:pt x="6513" y="6656"/>
                  </a:lnTo>
                  <a:cubicBezTo>
                    <a:pt x="6549" y="7834"/>
                    <a:pt x="5608" y="8787"/>
                    <a:pt x="4430" y="8787"/>
                  </a:cubicBezTo>
                  <a:cubicBezTo>
                    <a:pt x="3251" y="8787"/>
                    <a:pt x="2298" y="7834"/>
                    <a:pt x="2298" y="6656"/>
                  </a:cubicBezTo>
                  <a:lnTo>
                    <a:pt x="2298" y="5584"/>
                  </a:lnTo>
                  <a:lnTo>
                    <a:pt x="5644" y="5584"/>
                  </a:lnTo>
                  <a:cubicBezTo>
                    <a:pt x="5739" y="5584"/>
                    <a:pt x="5811" y="5513"/>
                    <a:pt x="5811" y="5417"/>
                  </a:cubicBezTo>
                  <a:cubicBezTo>
                    <a:pt x="5811" y="5334"/>
                    <a:pt x="5739" y="5251"/>
                    <a:pt x="5644" y="5251"/>
                  </a:cubicBezTo>
                  <a:lnTo>
                    <a:pt x="2298" y="5251"/>
                  </a:lnTo>
                  <a:lnTo>
                    <a:pt x="2298" y="5060"/>
                  </a:lnTo>
                  <a:cubicBezTo>
                    <a:pt x="2298" y="4977"/>
                    <a:pt x="2227" y="4894"/>
                    <a:pt x="2132" y="4894"/>
                  </a:cubicBezTo>
                  <a:cubicBezTo>
                    <a:pt x="2048" y="4894"/>
                    <a:pt x="1977" y="4977"/>
                    <a:pt x="1977" y="5060"/>
                  </a:cubicBezTo>
                  <a:lnTo>
                    <a:pt x="1977" y="5072"/>
                  </a:lnTo>
                  <a:lnTo>
                    <a:pt x="1870" y="5072"/>
                  </a:lnTo>
                  <a:cubicBezTo>
                    <a:pt x="1798" y="5072"/>
                    <a:pt x="1715" y="5048"/>
                    <a:pt x="1655" y="4989"/>
                  </a:cubicBezTo>
                  <a:cubicBezTo>
                    <a:pt x="1596" y="4929"/>
                    <a:pt x="1584" y="4858"/>
                    <a:pt x="1584" y="4774"/>
                  </a:cubicBezTo>
                  <a:cubicBezTo>
                    <a:pt x="1596" y="4643"/>
                    <a:pt x="1739" y="4524"/>
                    <a:pt x="1882" y="4524"/>
                  </a:cubicBezTo>
                  <a:cubicBezTo>
                    <a:pt x="1953" y="4524"/>
                    <a:pt x="2013" y="4513"/>
                    <a:pt x="2072" y="4477"/>
                  </a:cubicBezTo>
                  <a:cubicBezTo>
                    <a:pt x="2251" y="4393"/>
                    <a:pt x="2775" y="4143"/>
                    <a:pt x="3441" y="3643"/>
                  </a:cubicBezTo>
                  <a:close/>
                  <a:moveTo>
                    <a:pt x="4418" y="0"/>
                  </a:moveTo>
                  <a:cubicBezTo>
                    <a:pt x="2584" y="0"/>
                    <a:pt x="1084" y="1250"/>
                    <a:pt x="1084" y="2798"/>
                  </a:cubicBezTo>
                  <a:cubicBezTo>
                    <a:pt x="1084" y="3334"/>
                    <a:pt x="1262" y="3846"/>
                    <a:pt x="1584" y="4286"/>
                  </a:cubicBezTo>
                  <a:cubicBezTo>
                    <a:pt x="1405" y="4382"/>
                    <a:pt x="1274" y="4560"/>
                    <a:pt x="1262" y="4763"/>
                  </a:cubicBezTo>
                  <a:cubicBezTo>
                    <a:pt x="1239" y="4929"/>
                    <a:pt x="1298" y="5108"/>
                    <a:pt x="1405" y="5227"/>
                  </a:cubicBezTo>
                  <a:cubicBezTo>
                    <a:pt x="1524" y="5346"/>
                    <a:pt x="1691" y="5417"/>
                    <a:pt x="1858" y="5417"/>
                  </a:cubicBezTo>
                  <a:lnTo>
                    <a:pt x="1953" y="5417"/>
                  </a:lnTo>
                  <a:lnTo>
                    <a:pt x="1953" y="6668"/>
                  </a:lnTo>
                  <a:cubicBezTo>
                    <a:pt x="1953" y="7144"/>
                    <a:pt x="2096" y="7596"/>
                    <a:pt x="2334" y="7977"/>
                  </a:cubicBezTo>
                  <a:lnTo>
                    <a:pt x="881" y="8394"/>
                  </a:lnTo>
                  <a:cubicBezTo>
                    <a:pt x="369" y="8537"/>
                    <a:pt x="0" y="9037"/>
                    <a:pt x="0" y="9573"/>
                  </a:cubicBezTo>
                  <a:lnTo>
                    <a:pt x="0" y="11073"/>
                  </a:lnTo>
                  <a:cubicBezTo>
                    <a:pt x="0" y="11156"/>
                    <a:pt x="84" y="11240"/>
                    <a:pt x="167" y="11240"/>
                  </a:cubicBezTo>
                  <a:cubicBezTo>
                    <a:pt x="262" y="11240"/>
                    <a:pt x="334" y="11156"/>
                    <a:pt x="334" y="11073"/>
                  </a:cubicBezTo>
                  <a:lnTo>
                    <a:pt x="334" y="9573"/>
                  </a:lnTo>
                  <a:cubicBezTo>
                    <a:pt x="334" y="9180"/>
                    <a:pt x="596" y="8823"/>
                    <a:pt x="977" y="8715"/>
                  </a:cubicBezTo>
                  <a:lnTo>
                    <a:pt x="1405" y="8584"/>
                  </a:lnTo>
                  <a:lnTo>
                    <a:pt x="1405" y="11073"/>
                  </a:lnTo>
                  <a:cubicBezTo>
                    <a:pt x="1405" y="11156"/>
                    <a:pt x="1477" y="11240"/>
                    <a:pt x="1572" y="11240"/>
                  </a:cubicBezTo>
                  <a:cubicBezTo>
                    <a:pt x="1655" y="11240"/>
                    <a:pt x="1727" y="11156"/>
                    <a:pt x="1727" y="11073"/>
                  </a:cubicBezTo>
                  <a:lnTo>
                    <a:pt x="1727" y="8501"/>
                  </a:lnTo>
                  <a:lnTo>
                    <a:pt x="2525" y="8263"/>
                  </a:lnTo>
                  <a:cubicBezTo>
                    <a:pt x="2560" y="8299"/>
                    <a:pt x="2596" y="8346"/>
                    <a:pt x="2644" y="8394"/>
                  </a:cubicBezTo>
                  <a:lnTo>
                    <a:pt x="2644" y="8954"/>
                  </a:lnTo>
                  <a:cubicBezTo>
                    <a:pt x="2644" y="9049"/>
                    <a:pt x="2715" y="9120"/>
                    <a:pt x="2798" y="9120"/>
                  </a:cubicBezTo>
                  <a:cubicBezTo>
                    <a:pt x="2894" y="9120"/>
                    <a:pt x="2965" y="9049"/>
                    <a:pt x="2965" y="8954"/>
                  </a:cubicBezTo>
                  <a:lnTo>
                    <a:pt x="2965" y="8680"/>
                  </a:lnTo>
                  <a:cubicBezTo>
                    <a:pt x="3370" y="8954"/>
                    <a:pt x="3858" y="9120"/>
                    <a:pt x="4382" y="9120"/>
                  </a:cubicBezTo>
                  <a:cubicBezTo>
                    <a:pt x="4906" y="9120"/>
                    <a:pt x="5394" y="8954"/>
                    <a:pt x="5799" y="8680"/>
                  </a:cubicBezTo>
                  <a:lnTo>
                    <a:pt x="5799" y="11073"/>
                  </a:lnTo>
                  <a:cubicBezTo>
                    <a:pt x="5799" y="11156"/>
                    <a:pt x="5870" y="11240"/>
                    <a:pt x="5954" y="11240"/>
                  </a:cubicBezTo>
                  <a:cubicBezTo>
                    <a:pt x="6049" y="11240"/>
                    <a:pt x="6120" y="11156"/>
                    <a:pt x="6120" y="11073"/>
                  </a:cubicBezTo>
                  <a:lnTo>
                    <a:pt x="6120" y="8394"/>
                  </a:lnTo>
                  <a:cubicBezTo>
                    <a:pt x="6168" y="8346"/>
                    <a:pt x="6192" y="8299"/>
                    <a:pt x="6239" y="8263"/>
                  </a:cubicBezTo>
                  <a:lnTo>
                    <a:pt x="7025" y="8477"/>
                  </a:lnTo>
                  <a:lnTo>
                    <a:pt x="7025" y="11061"/>
                  </a:lnTo>
                  <a:cubicBezTo>
                    <a:pt x="7025" y="11144"/>
                    <a:pt x="7108" y="11216"/>
                    <a:pt x="7192" y="11216"/>
                  </a:cubicBezTo>
                  <a:cubicBezTo>
                    <a:pt x="7287" y="11216"/>
                    <a:pt x="7358" y="11144"/>
                    <a:pt x="7358" y="11061"/>
                  </a:cubicBezTo>
                  <a:lnTo>
                    <a:pt x="7358" y="8573"/>
                  </a:lnTo>
                  <a:lnTo>
                    <a:pt x="7787" y="8704"/>
                  </a:lnTo>
                  <a:cubicBezTo>
                    <a:pt x="8156" y="8811"/>
                    <a:pt x="8430" y="9168"/>
                    <a:pt x="8430" y="9549"/>
                  </a:cubicBezTo>
                  <a:lnTo>
                    <a:pt x="8430" y="11061"/>
                  </a:lnTo>
                  <a:cubicBezTo>
                    <a:pt x="8430" y="11144"/>
                    <a:pt x="8501" y="11216"/>
                    <a:pt x="8597" y="11216"/>
                  </a:cubicBezTo>
                  <a:cubicBezTo>
                    <a:pt x="8680" y="11216"/>
                    <a:pt x="8751" y="11144"/>
                    <a:pt x="8751" y="11061"/>
                  </a:cubicBezTo>
                  <a:lnTo>
                    <a:pt x="8751" y="9549"/>
                  </a:lnTo>
                  <a:cubicBezTo>
                    <a:pt x="8823" y="9037"/>
                    <a:pt x="8466" y="8549"/>
                    <a:pt x="7942" y="8394"/>
                  </a:cubicBezTo>
                  <a:lnTo>
                    <a:pt x="6501" y="7977"/>
                  </a:lnTo>
                  <a:cubicBezTo>
                    <a:pt x="6739" y="7608"/>
                    <a:pt x="6870" y="7144"/>
                    <a:pt x="6870" y="6668"/>
                  </a:cubicBezTo>
                  <a:lnTo>
                    <a:pt x="6870" y="5417"/>
                  </a:lnTo>
                  <a:lnTo>
                    <a:pt x="6977" y="5417"/>
                  </a:lnTo>
                  <a:cubicBezTo>
                    <a:pt x="7132" y="5417"/>
                    <a:pt x="7299" y="5346"/>
                    <a:pt x="7418" y="5227"/>
                  </a:cubicBezTo>
                  <a:cubicBezTo>
                    <a:pt x="7537" y="5108"/>
                    <a:pt x="7585" y="4929"/>
                    <a:pt x="7573" y="4763"/>
                  </a:cubicBezTo>
                  <a:cubicBezTo>
                    <a:pt x="7549" y="4560"/>
                    <a:pt x="7418" y="4393"/>
                    <a:pt x="7239" y="4286"/>
                  </a:cubicBezTo>
                  <a:cubicBezTo>
                    <a:pt x="7573" y="3846"/>
                    <a:pt x="7751" y="3334"/>
                    <a:pt x="7751" y="2798"/>
                  </a:cubicBezTo>
                  <a:cubicBezTo>
                    <a:pt x="7751" y="1250"/>
                    <a:pt x="6263" y="0"/>
                    <a:pt x="4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2" name="Google Shape;11472;p61"/>
            <p:cNvSpPr/>
            <p:nvPr/>
          </p:nvSpPr>
          <p:spPr>
            <a:xfrm>
              <a:off x="5875807" y="4562244"/>
              <a:ext cx="10201" cy="55092"/>
            </a:xfrm>
            <a:custGeom>
              <a:avLst/>
              <a:gdLst/>
              <a:ahLst/>
              <a:cxnLst/>
              <a:rect l="l" t="t" r="r" b="b"/>
              <a:pathLst>
                <a:path w="322" h="1739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572"/>
                  </a:lnTo>
                  <a:cubicBezTo>
                    <a:pt x="0" y="1667"/>
                    <a:pt x="72" y="1739"/>
                    <a:pt x="155" y="1739"/>
                  </a:cubicBezTo>
                  <a:cubicBezTo>
                    <a:pt x="250" y="1739"/>
                    <a:pt x="322" y="1667"/>
                    <a:pt x="322" y="1572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3" name="Google Shape;11473;p61"/>
            <p:cNvSpPr/>
            <p:nvPr/>
          </p:nvSpPr>
          <p:spPr>
            <a:xfrm>
              <a:off x="5925576" y="4567883"/>
              <a:ext cx="10613" cy="10233"/>
            </a:xfrm>
            <a:custGeom>
              <a:avLst/>
              <a:gdLst/>
              <a:ahLst/>
              <a:cxnLst/>
              <a:rect l="l" t="t" r="r" b="b"/>
              <a:pathLst>
                <a:path w="335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22" y="251"/>
                    <a:pt x="322" y="156"/>
                  </a:cubicBezTo>
                  <a:cubicBezTo>
                    <a:pt x="334" y="60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4" name="Google Shape;11474;p61"/>
            <p:cNvSpPr/>
            <p:nvPr/>
          </p:nvSpPr>
          <p:spPr>
            <a:xfrm>
              <a:off x="5925576" y="4600703"/>
              <a:ext cx="10613" cy="10613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7"/>
                  </a:cubicBez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75" name="Google Shape;11475;p61"/>
          <p:cNvGrpSpPr/>
          <p:nvPr/>
        </p:nvGrpSpPr>
        <p:grpSpPr>
          <a:xfrm>
            <a:off x="5341333" y="4261252"/>
            <a:ext cx="278752" cy="356463"/>
            <a:chOff x="5341333" y="4261252"/>
            <a:chExt cx="278752" cy="356463"/>
          </a:xfrm>
        </p:grpSpPr>
        <p:sp>
          <p:nvSpPr>
            <p:cNvPr id="11476" name="Google Shape;11476;p61"/>
            <p:cNvSpPr/>
            <p:nvPr/>
          </p:nvSpPr>
          <p:spPr>
            <a:xfrm>
              <a:off x="5442773" y="4383442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7" name="Google Shape;11477;p61"/>
            <p:cNvSpPr/>
            <p:nvPr/>
          </p:nvSpPr>
          <p:spPr>
            <a:xfrm>
              <a:off x="5509174" y="4383442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50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8" name="Google Shape;11478;p61"/>
            <p:cNvSpPr/>
            <p:nvPr/>
          </p:nvSpPr>
          <p:spPr>
            <a:xfrm>
              <a:off x="5458232" y="4422377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9" y="1"/>
                  </a:moveTo>
                  <a:cubicBezTo>
                    <a:pt x="147" y="1"/>
                    <a:pt x="102" y="16"/>
                    <a:pt x="61" y="46"/>
                  </a:cubicBezTo>
                  <a:cubicBezTo>
                    <a:pt x="1" y="105"/>
                    <a:pt x="1" y="212"/>
                    <a:pt x="61" y="284"/>
                  </a:cubicBezTo>
                  <a:cubicBezTo>
                    <a:pt x="215" y="427"/>
                    <a:pt x="453" y="510"/>
                    <a:pt x="703" y="510"/>
                  </a:cubicBezTo>
                  <a:cubicBezTo>
                    <a:pt x="953" y="510"/>
                    <a:pt x="1215" y="427"/>
                    <a:pt x="1346" y="284"/>
                  </a:cubicBezTo>
                  <a:cubicBezTo>
                    <a:pt x="1430" y="224"/>
                    <a:pt x="1430" y="129"/>
                    <a:pt x="1370" y="46"/>
                  </a:cubicBezTo>
                  <a:cubicBezTo>
                    <a:pt x="1340" y="16"/>
                    <a:pt x="1302" y="1"/>
                    <a:pt x="1260" y="1"/>
                  </a:cubicBezTo>
                  <a:cubicBezTo>
                    <a:pt x="1218" y="1"/>
                    <a:pt x="1174" y="16"/>
                    <a:pt x="1132" y="46"/>
                  </a:cubicBezTo>
                  <a:cubicBezTo>
                    <a:pt x="1073" y="105"/>
                    <a:pt x="930" y="189"/>
                    <a:pt x="715" y="189"/>
                  </a:cubicBezTo>
                  <a:cubicBezTo>
                    <a:pt x="513" y="189"/>
                    <a:pt x="358" y="105"/>
                    <a:pt x="299" y="46"/>
                  </a:cubicBezTo>
                  <a:cubicBezTo>
                    <a:pt x="269" y="16"/>
                    <a:pt x="230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9" name="Google Shape;11479;p61"/>
            <p:cNvSpPr/>
            <p:nvPr/>
          </p:nvSpPr>
          <p:spPr>
            <a:xfrm>
              <a:off x="5437134" y="4572793"/>
              <a:ext cx="10581" cy="44162"/>
            </a:xfrm>
            <a:custGeom>
              <a:avLst/>
              <a:gdLst/>
              <a:ahLst/>
              <a:cxnLst/>
              <a:rect l="l" t="t" r="r" b="b"/>
              <a:pathLst>
                <a:path w="334" h="139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1227"/>
                  </a:lnTo>
                  <a:cubicBezTo>
                    <a:pt x="0" y="1310"/>
                    <a:pt x="72" y="1394"/>
                    <a:pt x="167" y="1394"/>
                  </a:cubicBezTo>
                  <a:cubicBezTo>
                    <a:pt x="250" y="1394"/>
                    <a:pt x="334" y="1310"/>
                    <a:pt x="334" y="1227"/>
                  </a:cubicBezTo>
                  <a:lnTo>
                    <a:pt x="334" y="167"/>
                  </a:lnTo>
                  <a:cubicBezTo>
                    <a:pt x="334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0" name="Google Shape;11480;p61"/>
            <p:cNvSpPr/>
            <p:nvPr/>
          </p:nvSpPr>
          <p:spPr>
            <a:xfrm>
              <a:off x="5341333" y="4261252"/>
              <a:ext cx="278752" cy="356463"/>
            </a:xfrm>
            <a:custGeom>
              <a:avLst/>
              <a:gdLst/>
              <a:ahLst/>
              <a:cxnLst/>
              <a:rect l="l" t="t" r="r" b="b"/>
              <a:pathLst>
                <a:path w="8799" h="11252" extrusionOk="0">
                  <a:moveTo>
                    <a:pt x="4941" y="333"/>
                  </a:moveTo>
                  <a:cubicBezTo>
                    <a:pt x="4941" y="333"/>
                    <a:pt x="4953" y="333"/>
                    <a:pt x="4953" y="345"/>
                  </a:cubicBezTo>
                  <a:lnTo>
                    <a:pt x="4953" y="1084"/>
                  </a:lnTo>
                  <a:cubicBezTo>
                    <a:pt x="4953" y="1250"/>
                    <a:pt x="4894" y="1417"/>
                    <a:pt x="4798" y="1536"/>
                  </a:cubicBezTo>
                  <a:lnTo>
                    <a:pt x="4429" y="2000"/>
                  </a:lnTo>
                  <a:lnTo>
                    <a:pt x="4393" y="2000"/>
                  </a:lnTo>
                  <a:lnTo>
                    <a:pt x="4024" y="1536"/>
                  </a:lnTo>
                  <a:cubicBezTo>
                    <a:pt x="3917" y="1417"/>
                    <a:pt x="3858" y="1250"/>
                    <a:pt x="3858" y="1084"/>
                  </a:cubicBezTo>
                  <a:lnTo>
                    <a:pt x="3893" y="333"/>
                  </a:lnTo>
                  <a:close/>
                  <a:moveTo>
                    <a:pt x="2310" y="3143"/>
                  </a:moveTo>
                  <a:lnTo>
                    <a:pt x="2310" y="3500"/>
                  </a:lnTo>
                  <a:cubicBezTo>
                    <a:pt x="2310" y="3608"/>
                    <a:pt x="2227" y="3691"/>
                    <a:pt x="2119" y="3691"/>
                  </a:cubicBezTo>
                  <a:lnTo>
                    <a:pt x="1941" y="3691"/>
                  </a:lnTo>
                  <a:lnTo>
                    <a:pt x="1941" y="3143"/>
                  </a:lnTo>
                  <a:close/>
                  <a:moveTo>
                    <a:pt x="6894" y="3143"/>
                  </a:moveTo>
                  <a:lnTo>
                    <a:pt x="6894" y="3691"/>
                  </a:lnTo>
                  <a:lnTo>
                    <a:pt x="6703" y="3691"/>
                  </a:lnTo>
                  <a:cubicBezTo>
                    <a:pt x="6596" y="3691"/>
                    <a:pt x="6513" y="3608"/>
                    <a:pt x="6513" y="3500"/>
                  </a:cubicBezTo>
                  <a:lnTo>
                    <a:pt x="6513" y="3143"/>
                  </a:lnTo>
                  <a:close/>
                  <a:moveTo>
                    <a:pt x="1607" y="3191"/>
                  </a:moveTo>
                  <a:lnTo>
                    <a:pt x="1607" y="3751"/>
                  </a:lnTo>
                  <a:cubicBezTo>
                    <a:pt x="1417" y="3846"/>
                    <a:pt x="1286" y="4012"/>
                    <a:pt x="1274" y="4227"/>
                  </a:cubicBezTo>
                  <a:cubicBezTo>
                    <a:pt x="1250" y="4393"/>
                    <a:pt x="1310" y="4572"/>
                    <a:pt x="1417" y="4691"/>
                  </a:cubicBezTo>
                  <a:cubicBezTo>
                    <a:pt x="1536" y="4810"/>
                    <a:pt x="1703" y="4882"/>
                    <a:pt x="1869" y="4882"/>
                  </a:cubicBezTo>
                  <a:lnTo>
                    <a:pt x="1976" y="4882"/>
                  </a:lnTo>
                  <a:cubicBezTo>
                    <a:pt x="2012" y="5132"/>
                    <a:pt x="2096" y="5394"/>
                    <a:pt x="2203" y="5608"/>
                  </a:cubicBezTo>
                  <a:lnTo>
                    <a:pt x="1953" y="5608"/>
                  </a:lnTo>
                  <a:lnTo>
                    <a:pt x="1953" y="5632"/>
                  </a:lnTo>
                  <a:cubicBezTo>
                    <a:pt x="1274" y="5632"/>
                    <a:pt x="703" y="5072"/>
                    <a:pt x="703" y="4382"/>
                  </a:cubicBezTo>
                  <a:cubicBezTo>
                    <a:pt x="703" y="3810"/>
                    <a:pt x="1084" y="3334"/>
                    <a:pt x="1607" y="3191"/>
                  </a:cubicBezTo>
                  <a:close/>
                  <a:moveTo>
                    <a:pt x="7239" y="3194"/>
                  </a:moveTo>
                  <a:cubicBezTo>
                    <a:pt x="7745" y="3341"/>
                    <a:pt x="8132" y="3814"/>
                    <a:pt x="8132" y="4382"/>
                  </a:cubicBezTo>
                  <a:cubicBezTo>
                    <a:pt x="8132" y="5060"/>
                    <a:pt x="7572" y="5632"/>
                    <a:pt x="6882" y="5632"/>
                  </a:cubicBezTo>
                  <a:lnTo>
                    <a:pt x="6620" y="5632"/>
                  </a:lnTo>
                  <a:cubicBezTo>
                    <a:pt x="6727" y="5405"/>
                    <a:pt x="6799" y="5155"/>
                    <a:pt x="6846" y="4894"/>
                  </a:cubicBezTo>
                  <a:lnTo>
                    <a:pt x="6953" y="4894"/>
                  </a:lnTo>
                  <a:cubicBezTo>
                    <a:pt x="7275" y="4894"/>
                    <a:pt x="7549" y="4655"/>
                    <a:pt x="7572" y="4358"/>
                  </a:cubicBezTo>
                  <a:cubicBezTo>
                    <a:pt x="7596" y="4203"/>
                    <a:pt x="7537" y="4024"/>
                    <a:pt x="7430" y="3905"/>
                  </a:cubicBezTo>
                  <a:cubicBezTo>
                    <a:pt x="7370" y="3846"/>
                    <a:pt x="7310" y="3798"/>
                    <a:pt x="7239" y="3751"/>
                  </a:cubicBezTo>
                  <a:lnTo>
                    <a:pt x="7239" y="3194"/>
                  </a:lnTo>
                  <a:close/>
                  <a:moveTo>
                    <a:pt x="5239" y="655"/>
                  </a:moveTo>
                  <a:cubicBezTo>
                    <a:pt x="5703" y="822"/>
                    <a:pt x="6096" y="1084"/>
                    <a:pt x="6406" y="1465"/>
                  </a:cubicBezTo>
                  <a:cubicBezTo>
                    <a:pt x="6727" y="1846"/>
                    <a:pt x="6929" y="2322"/>
                    <a:pt x="7001" y="2810"/>
                  </a:cubicBezTo>
                  <a:lnTo>
                    <a:pt x="5953" y="2810"/>
                  </a:lnTo>
                  <a:cubicBezTo>
                    <a:pt x="5870" y="2810"/>
                    <a:pt x="5798" y="2893"/>
                    <a:pt x="5798" y="2977"/>
                  </a:cubicBezTo>
                  <a:cubicBezTo>
                    <a:pt x="5798" y="3072"/>
                    <a:pt x="5870" y="3143"/>
                    <a:pt x="5953" y="3143"/>
                  </a:cubicBezTo>
                  <a:lnTo>
                    <a:pt x="6144" y="3143"/>
                  </a:lnTo>
                  <a:lnTo>
                    <a:pt x="6144" y="3500"/>
                  </a:lnTo>
                  <a:cubicBezTo>
                    <a:pt x="6144" y="3786"/>
                    <a:pt x="6382" y="4024"/>
                    <a:pt x="6668" y="4024"/>
                  </a:cubicBezTo>
                  <a:lnTo>
                    <a:pt x="6941" y="4024"/>
                  </a:lnTo>
                  <a:cubicBezTo>
                    <a:pt x="7013" y="4024"/>
                    <a:pt x="7084" y="4048"/>
                    <a:pt x="7144" y="4108"/>
                  </a:cubicBezTo>
                  <a:cubicBezTo>
                    <a:pt x="7203" y="4167"/>
                    <a:pt x="7227" y="4239"/>
                    <a:pt x="7227" y="4322"/>
                  </a:cubicBezTo>
                  <a:cubicBezTo>
                    <a:pt x="7203" y="4453"/>
                    <a:pt x="7072" y="4572"/>
                    <a:pt x="6929" y="4572"/>
                  </a:cubicBezTo>
                  <a:lnTo>
                    <a:pt x="6846" y="4572"/>
                  </a:lnTo>
                  <a:lnTo>
                    <a:pt x="6846" y="4560"/>
                  </a:lnTo>
                  <a:cubicBezTo>
                    <a:pt x="6846" y="4465"/>
                    <a:pt x="6775" y="4393"/>
                    <a:pt x="6691" y="4393"/>
                  </a:cubicBezTo>
                  <a:cubicBezTo>
                    <a:pt x="6596" y="4393"/>
                    <a:pt x="6525" y="4465"/>
                    <a:pt x="6525" y="4560"/>
                  </a:cubicBezTo>
                  <a:cubicBezTo>
                    <a:pt x="6537" y="5727"/>
                    <a:pt x="5584" y="6679"/>
                    <a:pt x="4405" y="6679"/>
                  </a:cubicBezTo>
                  <a:cubicBezTo>
                    <a:pt x="3239" y="6679"/>
                    <a:pt x="2286" y="5727"/>
                    <a:pt x="2286" y="4560"/>
                  </a:cubicBezTo>
                  <a:cubicBezTo>
                    <a:pt x="2286" y="4465"/>
                    <a:pt x="2203" y="4393"/>
                    <a:pt x="2119" y="4393"/>
                  </a:cubicBezTo>
                  <a:cubicBezTo>
                    <a:pt x="2024" y="4393"/>
                    <a:pt x="1953" y="4465"/>
                    <a:pt x="1953" y="4560"/>
                  </a:cubicBezTo>
                  <a:lnTo>
                    <a:pt x="1953" y="4572"/>
                  </a:lnTo>
                  <a:lnTo>
                    <a:pt x="1846" y="4572"/>
                  </a:lnTo>
                  <a:cubicBezTo>
                    <a:pt x="1774" y="4572"/>
                    <a:pt x="1703" y="4536"/>
                    <a:pt x="1643" y="4477"/>
                  </a:cubicBezTo>
                  <a:cubicBezTo>
                    <a:pt x="1584" y="4417"/>
                    <a:pt x="1572" y="4346"/>
                    <a:pt x="1572" y="4274"/>
                  </a:cubicBezTo>
                  <a:cubicBezTo>
                    <a:pt x="1584" y="4143"/>
                    <a:pt x="1715" y="4024"/>
                    <a:pt x="1869" y="4024"/>
                  </a:cubicBezTo>
                  <a:lnTo>
                    <a:pt x="2107" y="4024"/>
                  </a:lnTo>
                  <a:cubicBezTo>
                    <a:pt x="2381" y="4024"/>
                    <a:pt x="2619" y="3786"/>
                    <a:pt x="2619" y="3500"/>
                  </a:cubicBezTo>
                  <a:lnTo>
                    <a:pt x="2619" y="3143"/>
                  </a:lnTo>
                  <a:lnTo>
                    <a:pt x="5275" y="3143"/>
                  </a:lnTo>
                  <a:cubicBezTo>
                    <a:pt x="5358" y="3143"/>
                    <a:pt x="5441" y="3072"/>
                    <a:pt x="5441" y="2977"/>
                  </a:cubicBezTo>
                  <a:cubicBezTo>
                    <a:pt x="5441" y="2893"/>
                    <a:pt x="5358" y="2810"/>
                    <a:pt x="5275" y="2810"/>
                  </a:cubicBezTo>
                  <a:lnTo>
                    <a:pt x="1762" y="2810"/>
                  </a:lnTo>
                  <a:cubicBezTo>
                    <a:pt x="1822" y="2310"/>
                    <a:pt x="2024" y="1846"/>
                    <a:pt x="2357" y="1465"/>
                  </a:cubicBezTo>
                  <a:cubicBezTo>
                    <a:pt x="2667" y="1084"/>
                    <a:pt x="3072" y="810"/>
                    <a:pt x="3512" y="655"/>
                  </a:cubicBezTo>
                  <a:lnTo>
                    <a:pt x="3512" y="1084"/>
                  </a:lnTo>
                  <a:cubicBezTo>
                    <a:pt x="3512" y="1322"/>
                    <a:pt x="3596" y="1548"/>
                    <a:pt x="3739" y="1738"/>
                  </a:cubicBezTo>
                  <a:lnTo>
                    <a:pt x="4108" y="2203"/>
                  </a:lnTo>
                  <a:cubicBezTo>
                    <a:pt x="4167" y="2274"/>
                    <a:pt x="4274" y="2334"/>
                    <a:pt x="4382" y="2334"/>
                  </a:cubicBezTo>
                  <a:cubicBezTo>
                    <a:pt x="4489" y="2334"/>
                    <a:pt x="4572" y="2298"/>
                    <a:pt x="4643" y="2203"/>
                  </a:cubicBezTo>
                  <a:lnTo>
                    <a:pt x="5024" y="1738"/>
                  </a:lnTo>
                  <a:cubicBezTo>
                    <a:pt x="5167" y="1560"/>
                    <a:pt x="5239" y="1322"/>
                    <a:pt x="5239" y="1084"/>
                  </a:cubicBezTo>
                  <a:lnTo>
                    <a:pt x="5239" y="655"/>
                  </a:lnTo>
                  <a:close/>
                  <a:moveTo>
                    <a:pt x="5477" y="6763"/>
                  </a:moveTo>
                  <a:lnTo>
                    <a:pt x="5477" y="7953"/>
                  </a:lnTo>
                  <a:cubicBezTo>
                    <a:pt x="5215" y="8263"/>
                    <a:pt x="4822" y="8442"/>
                    <a:pt x="4405" y="8442"/>
                  </a:cubicBezTo>
                  <a:cubicBezTo>
                    <a:pt x="3989" y="8442"/>
                    <a:pt x="3608" y="8263"/>
                    <a:pt x="3334" y="7953"/>
                  </a:cubicBezTo>
                  <a:lnTo>
                    <a:pt x="3334" y="6763"/>
                  </a:lnTo>
                  <a:cubicBezTo>
                    <a:pt x="3667" y="6918"/>
                    <a:pt x="4024" y="7001"/>
                    <a:pt x="4405" y="7001"/>
                  </a:cubicBezTo>
                  <a:cubicBezTo>
                    <a:pt x="4798" y="7001"/>
                    <a:pt x="5155" y="6906"/>
                    <a:pt x="5477" y="6763"/>
                  </a:cubicBezTo>
                  <a:close/>
                  <a:moveTo>
                    <a:pt x="5477" y="8406"/>
                  </a:moveTo>
                  <a:lnTo>
                    <a:pt x="5477" y="8858"/>
                  </a:lnTo>
                  <a:cubicBezTo>
                    <a:pt x="5155" y="9049"/>
                    <a:pt x="4798" y="9144"/>
                    <a:pt x="4405" y="9144"/>
                  </a:cubicBezTo>
                  <a:cubicBezTo>
                    <a:pt x="4024" y="9144"/>
                    <a:pt x="3667" y="9037"/>
                    <a:pt x="3334" y="8858"/>
                  </a:cubicBezTo>
                  <a:lnTo>
                    <a:pt x="3334" y="8406"/>
                  </a:lnTo>
                  <a:cubicBezTo>
                    <a:pt x="3631" y="8644"/>
                    <a:pt x="4001" y="8763"/>
                    <a:pt x="4405" y="8763"/>
                  </a:cubicBezTo>
                  <a:cubicBezTo>
                    <a:pt x="4810" y="8763"/>
                    <a:pt x="5167" y="8632"/>
                    <a:pt x="5477" y="8406"/>
                  </a:cubicBezTo>
                  <a:close/>
                  <a:moveTo>
                    <a:pt x="3870" y="0"/>
                  </a:moveTo>
                  <a:cubicBezTo>
                    <a:pt x="3691" y="0"/>
                    <a:pt x="3548" y="131"/>
                    <a:pt x="3536" y="298"/>
                  </a:cubicBezTo>
                  <a:cubicBezTo>
                    <a:pt x="2977" y="464"/>
                    <a:pt x="2488" y="786"/>
                    <a:pt x="2107" y="1238"/>
                  </a:cubicBezTo>
                  <a:cubicBezTo>
                    <a:pt x="1715" y="1715"/>
                    <a:pt x="1476" y="2274"/>
                    <a:pt x="1417" y="2893"/>
                  </a:cubicBezTo>
                  <a:cubicBezTo>
                    <a:pt x="798" y="3096"/>
                    <a:pt x="345" y="3691"/>
                    <a:pt x="345" y="4382"/>
                  </a:cubicBezTo>
                  <a:cubicBezTo>
                    <a:pt x="345" y="5239"/>
                    <a:pt x="1048" y="5953"/>
                    <a:pt x="1929" y="5953"/>
                  </a:cubicBezTo>
                  <a:lnTo>
                    <a:pt x="2369" y="5953"/>
                  </a:lnTo>
                  <a:lnTo>
                    <a:pt x="2500" y="6132"/>
                  </a:lnTo>
                  <a:lnTo>
                    <a:pt x="1298" y="6846"/>
                  </a:lnTo>
                  <a:cubicBezTo>
                    <a:pt x="1167" y="6918"/>
                    <a:pt x="1072" y="7060"/>
                    <a:pt x="1060" y="7203"/>
                  </a:cubicBezTo>
                  <a:cubicBezTo>
                    <a:pt x="1036" y="7358"/>
                    <a:pt x="1072" y="7501"/>
                    <a:pt x="1167" y="7620"/>
                  </a:cubicBezTo>
                  <a:lnTo>
                    <a:pt x="1512" y="8037"/>
                  </a:lnTo>
                  <a:lnTo>
                    <a:pt x="1000" y="8192"/>
                  </a:lnTo>
                  <a:cubicBezTo>
                    <a:pt x="405" y="8370"/>
                    <a:pt x="0" y="8918"/>
                    <a:pt x="0" y="9525"/>
                  </a:cubicBezTo>
                  <a:lnTo>
                    <a:pt x="0" y="11073"/>
                  </a:lnTo>
                  <a:cubicBezTo>
                    <a:pt x="0" y="11168"/>
                    <a:pt x="83" y="11240"/>
                    <a:pt x="167" y="11240"/>
                  </a:cubicBezTo>
                  <a:cubicBezTo>
                    <a:pt x="262" y="11240"/>
                    <a:pt x="333" y="11168"/>
                    <a:pt x="333" y="11073"/>
                  </a:cubicBezTo>
                  <a:lnTo>
                    <a:pt x="333" y="9525"/>
                  </a:lnTo>
                  <a:cubicBezTo>
                    <a:pt x="333" y="9049"/>
                    <a:pt x="643" y="8632"/>
                    <a:pt x="1095" y="8501"/>
                  </a:cubicBezTo>
                  <a:lnTo>
                    <a:pt x="1726" y="8311"/>
                  </a:lnTo>
                  <a:lnTo>
                    <a:pt x="2203" y="8906"/>
                  </a:lnTo>
                  <a:cubicBezTo>
                    <a:pt x="2250" y="8965"/>
                    <a:pt x="2286" y="9049"/>
                    <a:pt x="2286" y="9120"/>
                  </a:cubicBezTo>
                  <a:lnTo>
                    <a:pt x="2286" y="11049"/>
                  </a:lnTo>
                  <a:cubicBezTo>
                    <a:pt x="2286" y="11132"/>
                    <a:pt x="2357" y="11204"/>
                    <a:pt x="2441" y="11204"/>
                  </a:cubicBezTo>
                  <a:cubicBezTo>
                    <a:pt x="2536" y="11204"/>
                    <a:pt x="2608" y="11132"/>
                    <a:pt x="2608" y="11049"/>
                  </a:cubicBezTo>
                  <a:lnTo>
                    <a:pt x="2608" y="9144"/>
                  </a:lnTo>
                  <a:cubicBezTo>
                    <a:pt x="2608" y="8977"/>
                    <a:pt x="2548" y="8823"/>
                    <a:pt x="2465" y="8704"/>
                  </a:cubicBezTo>
                  <a:lnTo>
                    <a:pt x="1417" y="7418"/>
                  </a:lnTo>
                  <a:cubicBezTo>
                    <a:pt x="1393" y="7370"/>
                    <a:pt x="1369" y="7322"/>
                    <a:pt x="1369" y="7263"/>
                  </a:cubicBezTo>
                  <a:cubicBezTo>
                    <a:pt x="1393" y="7203"/>
                    <a:pt x="1417" y="7156"/>
                    <a:pt x="1465" y="7132"/>
                  </a:cubicBezTo>
                  <a:lnTo>
                    <a:pt x="2727" y="6370"/>
                  </a:lnTo>
                  <a:cubicBezTo>
                    <a:pt x="2798" y="6441"/>
                    <a:pt x="2893" y="6501"/>
                    <a:pt x="2977" y="6560"/>
                  </a:cubicBezTo>
                  <a:lnTo>
                    <a:pt x="2977" y="9299"/>
                  </a:lnTo>
                  <a:cubicBezTo>
                    <a:pt x="2977" y="9394"/>
                    <a:pt x="3060" y="9466"/>
                    <a:pt x="3143" y="9466"/>
                  </a:cubicBezTo>
                  <a:cubicBezTo>
                    <a:pt x="3239" y="9466"/>
                    <a:pt x="3310" y="9394"/>
                    <a:pt x="3310" y="9299"/>
                  </a:cubicBezTo>
                  <a:lnTo>
                    <a:pt x="3310" y="9227"/>
                  </a:lnTo>
                  <a:cubicBezTo>
                    <a:pt x="3631" y="9394"/>
                    <a:pt x="4012" y="9477"/>
                    <a:pt x="4382" y="9477"/>
                  </a:cubicBezTo>
                  <a:cubicBezTo>
                    <a:pt x="4751" y="9477"/>
                    <a:pt x="5108" y="9394"/>
                    <a:pt x="5453" y="9227"/>
                  </a:cubicBezTo>
                  <a:lnTo>
                    <a:pt x="5453" y="11073"/>
                  </a:lnTo>
                  <a:cubicBezTo>
                    <a:pt x="5453" y="11156"/>
                    <a:pt x="5525" y="11240"/>
                    <a:pt x="5620" y="11240"/>
                  </a:cubicBezTo>
                  <a:cubicBezTo>
                    <a:pt x="5703" y="11240"/>
                    <a:pt x="5775" y="11156"/>
                    <a:pt x="5775" y="11073"/>
                  </a:cubicBezTo>
                  <a:lnTo>
                    <a:pt x="5775" y="6572"/>
                  </a:lnTo>
                  <a:cubicBezTo>
                    <a:pt x="5870" y="6513"/>
                    <a:pt x="5953" y="6441"/>
                    <a:pt x="6037" y="6382"/>
                  </a:cubicBezTo>
                  <a:lnTo>
                    <a:pt x="7299" y="7144"/>
                  </a:lnTo>
                  <a:cubicBezTo>
                    <a:pt x="7334" y="7180"/>
                    <a:pt x="7370" y="7215"/>
                    <a:pt x="7382" y="7275"/>
                  </a:cubicBezTo>
                  <a:cubicBezTo>
                    <a:pt x="7394" y="7334"/>
                    <a:pt x="7382" y="7382"/>
                    <a:pt x="7334" y="7430"/>
                  </a:cubicBezTo>
                  <a:lnTo>
                    <a:pt x="6298" y="8727"/>
                  </a:lnTo>
                  <a:cubicBezTo>
                    <a:pt x="6191" y="8834"/>
                    <a:pt x="6144" y="9001"/>
                    <a:pt x="6144" y="9156"/>
                  </a:cubicBezTo>
                  <a:lnTo>
                    <a:pt x="6144" y="11073"/>
                  </a:lnTo>
                  <a:cubicBezTo>
                    <a:pt x="6144" y="11156"/>
                    <a:pt x="6227" y="11240"/>
                    <a:pt x="6310" y="11240"/>
                  </a:cubicBezTo>
                  <a:cubicBezTo>
                    <a:pt x="6406" y="11240"/>
                    <a:pt x="6477" y="11156"/>
                    <a:pt x="6477" y="11073"/>
                  </a:cubicBezTo>
                  <a:lnTo>
                    <a:pt x="6477" y="9144"/>
                  </a:lnTo>
                  <a:cubicBezTo>
                    <a:pt x="6477" y="9049"/>
                    <a:pt x="6501" y="8977"/>
                    <a:pt x="6548" y="8918"/>
                  </a:cubicBezTo>
                  <a:lnTo>
                    <a:pt x="7025" y="8323"/>
                  </a:lnTo>
                  <a:lnTo>
                    <a:pt x="7668" y="8513"/>
                  </a:lnTo>
                  <a:cubicBezTo>
                    <a:pt x="8108" y="8644"/>
                    <a:pt x="8430" y="9061"/>
                    <a:pt x="8430" y="9537"/>
                  </a:cubicBezTo>
                  <a:lnTo>
                    <a:pt x="8430" y="11085"/>
                  </a:lnTo>
                  <a:cubicBezTo>
                    <a:pt x="8430" y="11180"/>
                    <a:pt x="8501" y="11251"/>
                    <a:pt x="8584" y="11251"/>
                  </a:cubicBezTo>
                  <a:cubicBezTo>
                    <a:pt x="8680" y="11251"/>
                    <a:pt x="8751" y="11180"/>
                    <a:pt x="8751" y="11085"/>
                  </a:cubicBezTo>
                  <a:lnTo>
                    <a:pt x="8751" y="9537"/>
                  </a:lnTo>
                  <a:cubicBezTo>
                    <a:pt x="8799" y="8906"/>
                    <a:pt x="8394" y="8346"/>
                    <a:pt x="7799" y="8192"/>
                  </a:cubicBezTo>
                  <a:lnTo>
                    <a:pt x="7299" y="8037"/>
                  </a:lnTo>
                  <a:lnTo>
                    <a:pt x="7632" y="7620"/>
                  </a:lnTo>
                  <a:cubicBezTo>
                    <a:pt x="7727" y="7501"/>
                    <a:pt x="7775" y="7358"/>
                    <a:pt x="7739" y="7203"/>
                  </a:cubicBezTo>
                  <a:cubicBezTo>
                    <a:pt x="7715" y="7060"/>
                    <a:pt x="7620" y="6941"/>
                    <a:pt x="7501" y="6846"/>
                  </a:cubicBezTo>
                  <a:lnTo>
                    <a:pt x="6298" y="6132"/>
                  </a:lnTo>
                  <a:lnTo>
                    <a:pt x="6429" y="5953"/>
                  </a:lnTo>
                  <a:lnTo>
                    <a:pt x="6882" y="5953"/>
                  </a:lnTo>
                  <a:cubicBezTo>
                    <a:pt x="7739" y="5953"/>
                    <a:pt x="8453" y="5251"/>
                    <a:pt x="8453" y="4382"/>
                  </a:cubicBezTo>
                  <a:cubicBezTo>
                    <a:pt x="8453" y="3691"/>
                    <a:pt x="8013" y="3096"/>
                    <a:pt x="7382" y="2893"/>
                  </a:cubicBezTo>
                  <a:cubicBezTo>
                    <a:pt x="7346" y="2274"/>
                    <a:pt x="7108" y="1715"/>
                    <a:pt x="6703" y="1238"/>
                  </a:cubicBezTo>
                  <a:cubicBezTo>
                    <a:pt x="6334" y="786"/>
                    <a:pt x="5834" y="464"/>
                    <a:pt x="5275" y="298"/>
                  </a:cubicBezTo>
                  <a:cubicBezTo>
                    <a:pt x="5263" y="131"/>
                    <a:pt x="5108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1" name="Google Shape;11481;p61"/>
            <p:cNvSpPr/>
            <p:nvPr/>
          </p:nvSpPr>
          <p:spPr>
            <a:xfrm>
              <a:off x="5436753" y="4366842"/>
              <a:ext cx="21511" cy="10613"/>
            </a:xfrm>
            <a:custGeom>
              <a:avLst/>
              <a:gdLst/>
              <a:ahLst/>
              <a:cxnLst/>
              <a:rect l="l" t="t" r="r" b="b"/>
              <a:pathLst>
                <a:path w="679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524" y="334"/>
                  </a:lnTo>
                  <a:cubicBezTo>
                    <a:pt x="608" y="334"/>
                    <a:pt x="679" y="251"/>
                    <a:pt x="679" y="167"/>
                  </a:cubicBezTo>
                  <a:cubicBezTo>
                    <a:pt x="679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2" name="Google Shape;11482;p61"/>
            <p:cNvSpPr/>
            <p:nvPr/>
          </p:nvSpPr>
          <p:spPr>
            <a:xfrm>
              <a:off x="5503503" y="4366842"/>
              <a:ext cx="21923" cy="10613"/>
            </a:xfrm>
            <a:custGeom>
              <a:avLst/>
              <a:gdLst/>
              <a:ahLst/>
              <a:cxnLst/>
              <a:rect l="l" t="t" r="r" b="b"/>
              <a:pathLst>
                <a:path w="692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525" y="334"/>
                  </a:lnTo>
                  <a:cubicBezTo>
                    <a:pt x="620" y="334"/>
                    <a:pt x="691" y="251"/>
                    <a:pt x="691" y="167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483" name="Google Shape;11483;p61"/>
          <p:cNvSpPr/>
          <p:nvPr/>
        </p:nvSpPr>
        <p:spPr>
          <a:xfrm>
            <a:off x="1322345" y="3836582"/>
            <a:ext cx="367805" cy="259871"/>
          </a:xfrm>
          <a:custGeom>
            <a:avLst/>
            <a:gdLst/>
            <a:ahLst/>
            <a:cxnLst/>
            <a:rect l="l" t="t" r="r" b="b"/>
            <a:pathLst>
              <a:path w="11610" h="8203" extrusionOk="0">
                <a:moveTo>
                  <a:pt x="8950" y="1"/>
                </a:moveTo>
                <a:cubicBezTo>
                  <a:pt x="8803" y="1"/>
                  <a:pt x="8662" y="36"/>
                  <a:pt x="8597" y="153"/>
                </a:cubicBezTo>
                <a:cubicBezTo>
                  <a:pt x="8276" y="749"/>
                  <a:pt x="7228" y="1975"/>
                  <a:pt x="6633" y="2642"/>
                </a:cubicBezTo>
                <a:cubicBezTo>
                  <a:pt x="6359" y="2939"/>
                  <a:pt x="5978" y="3118"/>
                  <a:pt x="5573" y="3154"/>
                </a:cubicBezTo>
                <a:lnTo>
                  <a:pt x="4978" y="3154"/>
                </a:lnTo>
                <a:lnTo>
                  <a:pt x="4978" y="2999"/>
                </a:lnTo>
                <a:cubicBezTo>
                  <a:pt x="4978" y="2916"/>
                  <a:pt x="4906" y="2832"/>
                  <a:pt x="4811" y="2832"/>
                </a:cubicBezTo>
                <a:lnTo>
                  <a:pt x="3263" y="2832"/>
                </a:lnTo>
                <a:lnTo>
                  <a:pt x="3263" y="2749"/>
                </a:lnTo>
                <a:cubicBezTo>
                  <a:pt x="3263" y="2666"/>
                  <a:pt x="3192" y="2582"/>
                  <a:pt x="3097" y="2582"/>
                </a:cubicBezTo>
                <a:lnTo>
                  <a:pt x="168" y="2582"/>
                </a:lnTo>
                <a:cubicBezTo>
                  <a:pt x="72" y="2582"/>
                  <a:pt x="1" y="2666"/>
                  <a:pt x="1" y="2749"/>
                </a:cubicBezTo>
                <a:lnTo>
                  <a:pt x="1" y="5440"/>
                </a:lnTo>
                <a:cubicBezTo>
                  <a:pt x="1" y="5535"/>
                  <a:pt x="72" y="5606"/>
                  <a:pt x="168" y="5606"/>
                </a:cubicBezTo>
                <a:cubicBezTo>
                  <a:pt x="263" y="5606"/>
                  <a:pt x="334" y="5535"/>
                  <a:pt x="334" y="5440"/>
                </a:cubicBezTo>
                <a:lnTo>
                  <a:pt x="334" y="2916"/>
                </a:lnTo>
                <a:lnTo>
                  <a:pt x="2894" y="2916"/>
                </a:lnTo>
                <a:lnTo>
                  <a:pt x="2894" y="7857"/>
                </a:lnTo>
                <a:lnTo>
                  <a:pt x="334" y="7857"/>
                </a:lnTo>
                <a:lnTo>
                  <a:pt x="334" y="6118"/>
                </a:lnTo>
                <a:cubicBezTo>
                  <a:pt x="334" y="6023"/>
                  <a:pt x="263" y="5952"/>
                  <a:pt x="168" y="5952"/>
                </a:cubicBezTo>
                <a:cubicBezTo>
                  <a:pt x="72" y="5952"/>
                  <a:pt x="1" y="6023"/>
                  <a:pt x="1" y="6118"/>
                </a:cubicBezTo>
                <a:lnTo>
                  <a:pt x="1" y="8035"/>
                </a:lnTo>
                <a:cubicBezTo>
                  <a:pt x="1" y="8119"/>
                  <a:pt x="72" y="8202"/>
                  <a:pt x="168" y="8202"/>
                </a:cubicBezTo>
                <a:lnTo>
                  <a:pt x="3073" y="8202"/>
                </a:lnTo>
                <a:cubicBezTo>
                  <a:pt x="3156" y="8202"/>
                  <a:pt x="3239" y="8119"/>
                  <a:pt x="3239" y="8035"/>
                </a:cubicBezTo>
                <a:lnTo>
                  <a:pt x="3239" y="7964"/>
                </a:lnTo>
                <a:lnTo>
                  <a:pt x="4787" y="7964"/>
                </a:lnTo>
                <a:cubicBezTo>
                  <a:pt x="4871" y="7964"/>
                  <a:pt x="4942" y="7881"/>
                  <a:pt x="4942" y="7797"/>
                </a:cubicBezTo>
                <a:lnTo>
                  <a:pt x="4942" y="7642"/>
                </a:lnTo>
                <a:lnTo>
                  <a:pt x="5859" y="7642"/>
                </a:lnTo>
                <a:cubicBezTo>
                  <a:pt x="5954" y="7642"/>
                  <a:pt x="6061" y="7690"/>
                  <a:pt x="6156" y="7750"/>
                </a:cubicBezTo>
                <a:cubicBezTo>
                  <a:pt x="6287" y="7869"/>
                  <a:pt x="6430" y="7964"/>
                  <a:pt x="6597" y="8023"/>
                </a:cubicBezTo>
                <a:cubicBezTo>
                  <a:pt x="6764" y="8083"/>
                  <a:pt x="6930" y="8107"/>
                  <a:pt x="7109" y="8107"/>
                </a:cubicBezTo>
                <a:lnTo>
                  <a:pt x="7776" y="8107"/>
                </a:lnTo>
                <a:cubicBezTo>
                  <a:pt x="7859" y="8107"/>
                  <a:pt x="7942" y="8035"/>
                  <a:pt x="7942" y="7940"/>
                </a:cubicBezTo>
                <a:cubicBezTo>
                  <a:pt x="7942" y="7857"/>
                  <a:pt x="7859" y="7785"/>
                  <a:pt x="7776" y="7785"/>
                </a:cubicBezTo>
                <a:lnTo>
                  <a:pt x="7109" y="7785"/>
                </a:lnTo>
                <a:cubicBezTo>
                  <a:pt x="6966" y="7785"/>
                  <a:pt x="6835" y="7750"/>
                  <a:pt x="6716" y="7702"/>
                </a:cubicBezTo>
                <a:cubicBezTo>
                  <a:pt x="6597" y="7666"/>
                  <a:pt x="6478" y="7583"/>
                  <a:pt x="6371" y="7500"/>
                </a:cubicBezTo>
                <a:cubicBezTo>
                  <a:pt x="6228" y="7381"/>
                  <a:pt x="6049" y="7309"/>
                  <a:pt x="5859" y="7309"/>
                </a:cubicBezTo>
                <a:lnTo>
                  <a:pt x="4942" y="7309"/>
                </a:lnTo>
                <a:lnTo>
                  <a:pt x="4942" y="4987"/>
                </a:lnTo>
                <a:cubicBezTo>
                  <a:pt x="4942" y="4892"/>
                  <a:pt x="4871" y="4821"/>
                  <a:pt x="4775" y="4821"/>
                </a:cubicBezTo>
                <a:cubicBezTo>
                  <a:pt x="4692" y="4821"/>
                  <a:pt x="4621" y="4892"/>
                  <a:pt x="4621" y="4987"/>
                </a:cubicBezTo>
                <a:lnTo>
                  <a:pt x="4621" y="7619"/>
                </a:lnTo>
                <a:lnTo>
                  <a:pt x="3251" y="7619"/>
                </a:lnTo>
                <a:lnTo>
                  <a:pt x="3251" y="3166"/>
                </a:lnTo>
                <a:lnTo>
                  <a:pt x="4621" y="3166"/>
                </a:lnTo>
                <a:lnTo>
                  <a:pt x="4621" y="4309"/>
                </a:lnTo>
                <a:cubicBezTo>
                  <a:pt x="4621" y="4404"/>
                  <a:pt x="4692" y="4475"/>
                  <a:pt x="4775" y="4475"/>
                </a:cubicBezTo>
                <a:cubicBezTo>
                  <a:pt x="4871" y="4475"/>
                  <a:pt x="4942" y="4404"/>
                  <a:pt x="4942" y="4309"/>
                </a:cubicBezTo>
                <a:lnTo>
                  <a:pt x="4942" y="3475"/>
                </a:lnTo>
                <a:lnTo>
                  <a:pt x="5561" y="3475"/>
                </a:lnTo>
                <a:cubicBezTo>
                  <a:pt x="6049" y="3451"/>
                  <a:pt x="6526" y="3225"/>
                  <a:pt x="6847" y="2868"/>
                </a:cubicBezTo>
                <a:cubicBezTo>
                  <a:pt x="7597" y="2047"/>
                  <a:pt x="8538" y="951"/>
                  <a:pt x="8859" y="344"/>
                </a:cubicBezTo>
                <a:cubicBezTo>
                  <a:pt x="8877" y="337"/>
                  <a:pt x="8900" y="334"/>
                  <a:pt x="8928" y="334"/>
                </a:cubicBezTo>
                <a:cubicBezTo>
                  <a:pt x="8994" y="334"/>
                  <a:pt x="9085" y="351"/>
                  <a:pt x="9169" y="368"/>
                </a:cubicBezTo>
                <a:cubicBezTo>
                  <a:pt x="9443" y="534"/>
                  <a:pt x="9574" y="856"/>
                  <a:pt x="9502" y="1177"/>
                </a:cubicBezTo>
                <a:lnTo>
                  <a:pt x="8812" y="2797"/>
                </a:lnTo>
                <a:cubicBezTo>
                  <a:pt x="8800" y="2856"/>
                  <a:pt x="8800" y="2916"/>
                  <a:pt x="8835" y="2963"/>
                </a:cubicBezTo>
                <a:cubicBezTo>
                  <a:pt x="8859" y="2999"/>
                  <a:pt x="8919" y="3035"/>
                  <a:pt x="8978" y="3035"/>
                </a:cubicBezTo>
                <a:lnTo>
                  <a:pt x="10836" y="3035"/>
                </a:lnTo>
                <a:cubicBezTo>
                  <a:pt x="11074" y="3035"/>
                  <a:pt x="11276" y="3225"/>
                  <a:pt x="11276" y="3463"/>
                </a:cubicBezTo>
                <a:lnTo>
                  <a:pt x="11276" y="3523"/>
                </a:lnTo>
                <a:cubicBezTo>
                  <a:pt x="11276" y="3761"/>
                  <a:pt x="11074" y="3952"/>
                  <a:pt x="10836" y="3952"/>
                </a:cubicBezTo>
                <a:lnTo>
                  <a:pt x="9859" y="3952"/>
                </a:lnTo>
                <a:cubicBezTo>
                  <a:pt x="9764" y="3952"/>
                  <a:pt x="9693" y="4035"/>
                  <a:pt x="9693" y="4118"/>
                </a:cubicBezTo>
                <a:cubicBezTo>
                  <a:pt x="9693" y="4213"/>
                  <a:pt x="9764" y="4285"/>
                  <a:pt x="9859" y="4285"/>
                </a:cubicBezTo>
                <a:lnTo>
                  <a:pt x="10621" y="4285"/>
                </a:lnTo>
                <a:cubicBezTo>
                  <a:pt x="10859" y="4285"/>
                  <a:pt x="11038" y="4475"/>
                  <a:pt x="11038" y="4702"/>
                </a:cubicBezTo>
                <a:lnTo>
                  <a:pt x="11038" y="4785"/>
                </a:lnTo>
                <a:cubicBezTo>
                  <a:pt x="11038" y="5023"/>
                  <a:pt x="10836" y="5202"/>
                  <a:pt x="10621" y="5202"/>
                </a:cubicBezTo>
                <a:lnTo>
                  <a:pt x="9859" y="5202"/>
                </a:lnTo>
                <a:cubicBezTo>
                  <a:pt x="9764" y="5202"/>
                  <a:pt x="9693" y="5285"/>
                  <a:pt x="9693" y="5368"/>
                </a:cubicBezTo>
                <a:cubicBezTo>
                  <a:pt x="9693" y="5464"/>
                  <a:pt x="9764" y="5535"/>
                  <a:pt x="9859" y="5535"/>
                </a:cubicBezTo>
                <a:lnTo>
                  <a:pt x="10443" y="5535"/>
                </a:lnTo>
                <a:cubicBezTo>
                  <a:pt x="10657" y="5535"/>
                  <a:pt x="10859" y="5714"/>
                  <a:pt x="10859" y="5952"/>
                </a:cubicBezTo>
                <a:lnTo>
                  <a:pt x="10859" y="6071"/>
                </a:lnTo>
                <a:cubicBezTo>
                  <a:pt x="10859" y="6297"/>
                  <a:pt x="10681" y="6488"/>
                  <a:pt x="10443" y="6488"/>
                </a:cubicBezTo>
                <a:lnTo>
                  <a:pt x="9859" y="6488"/>
                </a:lnTo>
                <a:cubicBezTo>
                  <a:pt x="9764" y="6488"/>
                  <a:pt x="9693" y="6559"/>
                  <a:pt x="9693" y="6654"/>
                </a:cubicBezTo>
                <a:cubicBezTo>
                  <a:pt x="9693" y="6738"/>
                  <a:pt x="9764" y="6809"/>
                  <a:pt x="9859" y="6809"/>
                </a:cubicBezTo>
                <a:lnTo>
                  <a:pt x="10086" y="6809"/>
                </a:lnTo>
                <a:cubicBezTo>
                  <a:pt x="10288" y="6809"/>
                  <a:pt x="10467" y="6988"/>
                  <a:pt x="10467" y="7202"/>
                </a:cubicBezTo>
                <a:lnTo>
                  <a:pt x="10467" y="7369"/>
                </a:lnTo>
                <a:cubicBezTo>
                  <a:pt x="10467" y="7571"/>
                  <a:pt x="10288" y="7750"/>
                  <a:pt x="10086" y="7750"/>
                </a:cubicBezTo>
                <a:lnTo>
                  <a:pt x="8442" y="7750"/>
                </a:lnTo>
                <a:cubicBezTo>
                  <a:pt x="8359" y="7750"/>
                  <a:pt x="8276" y="7821"/>
                  <a:pt x="8276" y="7916"/>
                </a:cubicBezTo>
                <a:cubicBezTo>
                  <a:pt x="8276" y="8000"/>
                  <a:pt x="8359" y="8083"/>
                  <a:pt x="8442" y="8083"/>
                </a:cubicBezTo>
                <a:lnTo>
                  <a:pt x="10086" y="8083"/>
                </a:lnTo>
                <a:cubicBezTo>
                  <a:pt x="10478" y="8083"/>
                  <a:pt x="10812" y="7750"/>
                  <a:pt x="10812" y="7345"/>
                </a:cubicBezTo>
                <a:lnTo>
                  <a:pt x="10812" y="7214"/>
                </a:lnTo>
                <a:cubicBezTo>
                  <a:pt x="10812" y="7047"/>
                  <a:pt x="10764" y="6904"/>
                  <a:pt x="10681" y="6785"/>
                </a:cubicBezTo>
                <a:cubicBezTo>
                  <a:pt x="10979" y="6678"/>
                  <a:pt x="11181" y="6392"/>
                  <a:pt x="11181" y="6071"/>
                </a:cubicBezTo>
                <a:lnTo>
                  <a:pt x="11181" y="5952"/>
                </a:lnTo>
                <a:cubicBezTo>
                  <a:pt x="11181" y="5761"/>
                  <a:pt x="11109" y="5583"/>
                  <a:pt x="10990" y="5440"/>
                </a:cubicBezTo>
                <a:cubicBezTo>
                  <a:pt x="11217" y="5309"/>
                  <a:pt x="11371" y="5071"/>
                  <a:pt x="11371" y="4785"/>
                </a:cubicBezTo>
                <a:lnTo>
                  <a:pt x="11371" y="4702"/>
                </a:lnTo>
                <a:cubicBezTo>
                  <a:pt x="11371" y="4511"/>
                  <a:pt x="11300" y="4333"/>
                  <a:pt x="11181" y="4190"/>
                </a:cubicBezTo>
                <a:cubicBezTo>
                  <a:pt x="11431" y="4059"/>
                  <a:pt x="11598" y="3809"/>
                  <a:pt x="11598" y="3511"/>
                </a:cubicBezTo>
                <a:lnTo>
                  <a:pt x="11598" y="3451"/>
                </a:lnTo>
                <a:cubicBezTo>
                  <a:pt x="11610" y="3023"/>
                  <a:pt x="11276" y="2678"/>
                  <a:pt x="10836" y="2678"/>
                </a:cubicBezTo>
                <a:lnTo>
                  <a:pt x="9228" y="2678"/>
                </a:lnTo>
                <a:lnTo>
                  <a:pt x="9824" y="1273"/>
                </a:lnTo>
                <a:cubicBezTo>
                  <a:pt x="9824" y="1273"/>
                  <a:pt x="9824" y="1261"/>
                  <a:pt x="9847" y="1261"/>
                </a:cubicBezTo>
                <a:cubicBezTo>
                  <a:pt x="9978" y="784"/>
                  <a:pt x="9764" y="296"/>
                  <a:pt x="9335" y="58"/>
                </a:cubicBezTo>
                <a:cubicBezTo>
                  <a:pt x="9324" y="46"/>
                  <a:pt x="9312" y="46"/>
                  <a:pt x="9288" y="46"/>
                </a:cubicBezTo>
                <a:cubicBezTo>
                  <a:pt x="9196" y="25"/>
                  <a:pt x="9071" y="1"/>
                  <a:pt x="895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484" name="Google Shape;11484;p61"/>
          <p:cNvGrpSpPr/>
          <p:nvPr/>
        </p:nvGrpSpPr>
        <p:grpSpPr>
          <a:xfrm>
            <a:off x="3103646" y="3766076"/>
            <a:ext cx="360233" cy="362451"/>
            <a:chOff x="3107608" y="3763401"/>
            <a:chExt cx="360233" cy="362451"/>
          </a:xfrm>
        </p:grpSpPr>
        <p:sp>
          <p:nvSpPr>
            <p:cNvPr id="11485" name="Google Shape;11485;p61"/>
            <p:cNvSpPr/>
            <p:nvPr/>
          </p:nvSpPr>
          <p:spPr>
            <a:xfrm>
              <a:off x="3323349" y="3763401"/>
              <a:ext cx="144492" cy="152729"/>
            </a:xfrm>
            <a:custGeom>
              <a:avLst/>
              <a:gdLst/>
              <a:ahLst/>
              <a:cxnLst/>
              <a:rect l="l" t="t" r="r" b="b"/>
              <a:pathLst>
                <a:path w="4561" h="4821" extrusionOk="0">
                  <a:moveTo>
                    <a:pt x="2354" y="0"/>
                  </a:moveTo>
                  <a:cubicBezTo>
                    <a:pt x="1649" y="0"/>
                    <a:pt x="958" y="340"/>
                    <a:pt x="524" y="975"/>
                  </a:cubicBezTo>
                  <a:cubicBezTo>
                    <a:pt x="1" y="1761"/>
                    <a:pt x="36" y="2761"/>
                    <a:pt x="584" y="3511"/>
                  </a:cubicBezTo>
                  <a:lnTo>
                    <a:pt x="536" y="4642"/>
                  </a:lnTo>
                  <a:cubicBezTo>
                    <a:pt x="536" y="4702"/>
                    <a:pt x="572" y="4761"/>
                    <a:pt x="620" y="4797"/>
                  </a:cubicBezTo>
                  <a:cubicBezTo>
                    <a:pt x="644" y="4809"/>
                    <a:pt x="679" y="4821"/>
                    <a:pt x="703" y="4821"/>
                  </a:cubicBezTo>
                  <a:cubicBezTo>
                    <a:pt x="739" y="4821"/>
                    <a:pt x="751" y="4821"/>
                    <a:pt x="775" y="4809"/>
                  </a:cubicBezTo>
                  <a:lnTo>
                    <a:pt x="1810" y="4333"/>
                  </a:lnTo>
                  <a:cubicBezTo>
                    <a:pt x="1987" y="4375"/>
                    <a:pt x="2166" y="4395"/>
                    <a:pt x="2342" y="4395"/>
                  </a:cubicBezTo>
                  <a:cubicBezTo>
                    <a:pt x="3067" y="4395"/>
                    <a:pt x="3756" y="4048"/>
                    <a:pt x="4168" y="3416"/>
                  </a:cubicBezTo>
                  <a:cubicBezTo>
                    <a:pt x="4323" y="3214"/>
                    <a:pt x="4430" y="2975"/>
                    <a:pt x="4489" y="2725"/>
                  </a:cubicBezTo>
                  <a:cubicBezTo>
                    <a:pt x="4501" y="2630"/>
                    <a:pt x="4454" y="2547"/>
                    <a:pt x="4370" y="2511"/>
                  </a:cubicBezTo>
                  <a:cubicBezTo>
                    <a:pt x="4360" y="2510"/>
                    <a:pt x="4351" y="2509"/>
                    <a:pt x="4341" y="2509"/>
                  </a:cubicBezTo>
                  <a:cubicBezTo>
                    <a:pt x="4258" y="2509"/>
                    <a:pt x="4188" y="2555"/>
                    <a:pt x="4156" y="2630"/>
                  </a:cubicBezTo>
                  <a:cubicBezTo>
                    <a:pt x="4108" y="2844"/>
                    <a:pt x="4025" y="3035"/>
                    <a:pt x="3906" y="3225"/>
                  </a:cubicBezTo>
                  <a:cubicBezTo>
                    <a:pt x="3551" y="3749"/>
                    <a:pt x="2961" y="4059"/>
                    <a:pt x="2349" y="4059"/>
                  </a:cubicBezTo>
                  <a:cubicBezTo>
                    <a:pt x="2182" y="4059"/>
                    <a:pt x="2013" y="4036"/>
                    <a:pt x="1846" y="3987"/>
                  </a:cubicBezTo>
                  <a:cubicBezTo>
                    <a:pt x="1831" y="3982"/>
                    <a:pt x="1816" y="3980"/>
                    <a:pt x="1801" y="3980"/>
                  </a:cubicBezTo>
                  <a:cubicBezTo>
                    <a:pt x="1779" y="3980"/>
                    <a:pt x="1755" y="3985"/>
                    <a:pt x="1727" y="3999"/>
                  </a:cubicBezTo>
                  <a:lnTo>
                    <a:pt x="894" y="4392"/>
                  </a:lnTo>
                  <a:lnTo>
                    <a:pt x="941" y="3464"/>
                  </a:lnTo>
                  <a:cubicBezTo>
                    <a:pt x="941" y="3416"/>
                    <a:pt x="929" y="3392"/>
                    <a:pt x="917" y="3344"/>
                  </a:cubicBezTo>
                  <a:cubicBezTo>
                    <a:pt x="405" y="2713"/>
                    <a:pt x="382" y="1832"/>
                    <a:pt x="822" y="1154"/>
                  </a:cubicBezTo>
                  <a:cubicBezTo>
                    <a:pt x="1096" y="749"/>
                    <a:pt x="1513" y="475"/>
                    <a:pt x="2001" y="368"/>
                  </a:cubicBezTo>
                  <a:cubicBezTo>
                    <a:pt x="2120" y="348"/>
                    <a:pt x="2239" y="337"/>
                    <a:pt x="2357" y="337"/>
                  </a:cubicBezTo>
                  <a:cubicBezTo>
                    <a:pt x="2723" y="337"/>
                    <a:pt x="3079" y="438"/>
                    <a:pt x="3394" y="654"/>
                  </a:cubicBezTo>
                  <a:cubicBezTo>
                    <a:pt x="3870" y="963"/>
                    <a:pt x="4168" y="1475"/>
                    <a:pt x="4215" y="2035"/>
                  </a:cubicBezTo>
                  <a:cubicBezTo>
                    <a:pt x="4226" y="2123"/>
                    <a:pt x="4299" y="2191"/>
                    <a:pt x="4376" y="2191"/>
                  </a:cubicBezTo>
                  <a:cubicBezTo>
                    <a:pt x="4382" y="2191"/>
                    <a:pt x="4388" y="2190"/>
                    <a:pt x="4394" y="2190"/>
                  </a:cubicBezTo>
                  <a:cubicBezTo>
                    <a:pt x="4489" y="2166"/>
                    <a:pt x="4561" y="2094"/>
                    <a:pt x="4549" y="2011"/>
                  </a:cubicBezTo>
                  <a:cubicBezTo>
                    <a:pt x="4489" y="1332"/>
                    <a:pt x="4132" y="737"/>
                    <a:pt x="3572" y="368"/>
                  </a:cubicBezTo>
                  <a:cubicBezTo>
                    <a:pt x="3196" y="120"/>
                    <a:pt x="2773" y="0"/>
                    <a:pt x="23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6" name="Google Shape;11486;p61"/>
            <p:cNvSpPr/>
            <p:nvPr/>
          </p:nvSpPr>
          <p:spPr>
            <a:xfrm>
              <a:off x="3107608" y="3863256"/>
              <a:ext cx="333844" cy="262596"/>
            </a:xfrm>
            <a:custGeom>
              <a:avLst/>
              <a:gdLst/>
              <a:ahLst/>
              <a:cxnLst/>
              <a:rect l="l" t="t" r="r" b="b"/>
              <a:pathLst>
                <a:path w="10538" h="8289" extrusionOk="0">
                  <a:moveTo>
                    <a:pt x="4894" y="2121"/>
                  </a:moveTo>
                  <a:lnTo>
                    <a:pt x="5108" y="2324"/>
                  </a:lnTo>
                  <a:lnTo>
                    <a:pt x="4822" y="2609"/>
                  </a:lnTo>
                  <a:lnTo>
                    <a:pt x="4537" y="2883"/>
                  </a:lnTo>
                  <a:lnTo>
                    <a:pt x="4334" y="2681"/>
                  </a:lnTo>
                  <a:lnTo>
                    <a:pt x="4894" y="2121"/>
                  </a:lnTo>
                  <a:close/>
                  <a:moveTo>
                    <a:pt x="5894" y="3431"/>
                  </a:moveTo>
                  <a:cubicBezTo>
                    <a:pt x="5965" y="3431"/>
                    <a:pt x="6025" y="3455"/>
                    <a:pt x="6084" y="3502"/>
                  </a:cubicBezTo>
                  <a:lnTo>
                    <a:pt x="6275" y="3693"/>
                  </a:lnTo>
                  <a:cubicBezTo>
                    <a:pt x="6382" y="3800"/>
                    <a:pt x="6382" y="3967"/>
                    <a:pt x="6275" y="4062"/>
                  </a:cubicBezTo>
                  <a:cubicBezTo>
                    <a:pt x="6227" y="4110"/>
                    <a:pt x="6156" y="4145"/>
                    <a:pt x="6084" y="4145"/>
                  </a:cubicBezTo>
                  <a:cubicBezTo>
                    <a:pt x="6013" y="4145"/>
                    <a:pt x="5953" y="4110"/>
                    <a:pt x="5894" y="4062"/>
                  </a:cubicBezTo>
                  <a:lnTo>
                    <a:pt x="5703" y="3872"/>
                  </a:lnTo>
                  <a:cubicBezTo>
                    <a:pt x="5596" y="3764"/>
                    <a:pt x="5596" y="3586"/>
                    <a:pt x="5703" y="3502"/>
                  </a:cubicBezTo>
                  <a:cubicBezTo>
                    <a:pt x="5739" y="3455"/>
                    <a:pt x="5810" y="3431"/>
                    <a:pt x="5894" y="3431"/>
                  </a:cubicBezTo>
                  <a:close/>
                  <a:moveTo>
                    <a:pt x="6453" y="1955"/>
                  </a:moveTo>
                  <a:lnTo>
                    <a:pt x="8085" y="3919"/>
                  </a:lnTo>
                  <a:cubicBezTo>
                    <a:pt x="8406" y="4324"/>
                    <a:pt x="8454" y="4812"/>
                    <a:pt x="8192" y="5062"/>
                  </a:cubicBezTo>
                  <a:lnTo>
                    <a:pt x="7275" y="5991"/>
                  </a:lnTo>
                  <a:cubicBezTo>
                    <a:pt x="7159" y="6102"/>
                    <a:pt x="7004" y="6155"/>
                    <a:pt x="6835" y="6155"/>
                  </a:cubicBezTo>
                  <a:cubicBezTo>
                    <a:pt x="6606" y="6155"/>
                    <a:pt x="6351" y="6057"/>
                    <a:pt x="6132" y="5872"/>
                  </a:cubicBezTo>
                  <a:lnTo>
                    <a:pt x="4167" y="4241"/>
                  </a:lnTo>
                  <a:lnTo>
                    <a:pt x="4167" y="4062"/>
                  </a:lnTo>
                  <a:cubicBezTo>
                    <a:pt x="4191" y="3824"/>
                    <a:pt x="4298" y="3610"/>
                    <a:pt x="4465" y="3443"/>
                  </a:cubicBezTo>
                  <a:lnTo>
                    <a:pt x="4941" y="2967"/>
                  </a:lnTo>
                  <a:lnTo>
                    <a:pt x="5358" y="3383"/>
                  </a:lnTo>
                  <a:cubicBezTo>
                    <a:pt x="5239" y="3610"/>
                    <a:pt x="5263" y="3907"/>
                    <a:pt x="5453" y="4098"/>
                  </a:cubicBezTo>
                  <a:lnTo>
                    <a:pt x="5656" y="4288"/>
                  </a:lnTo>
                  <a:cubicBezTo>
                    <a:pt x="5775" y="4407"/>
                    <a:pt x="5918" y="4467"/>
                    <a:pt x="6084" y="4467"/>
                  </a:cubicBezTo>
                  <a:cubicBezTo>
                    <a:pt x="6191" y="4467"/>
                    <a:pt x="6287" y="4431"/>
                    <a:pt x="6370" y="4395"/>
                  </a:cubicBezTo>
                  <a:lnTo>
                    <a:pt x="7239" y="5265"/>
                  </a:lnTo>
                  <a:cubicBezTo>
                    <a:pt x="7275" y="5300"/>
                    <a:pt x="7323" y="5312"/>
                    <a:pt x="7358" y="5312"/>
                  </a:cubicBezTo>
                  <a:cubicBezTo>
                    <a:pt x="7406" y="5312"/>
                    <a:pt x="7454" y="5300"/>
                    <a:pt x="7477" y="5265"/>
                  </a:cubicBezTo>
                  <a:cubicBezTo>
                    <a:pt x="7537" y="5217"/>
                    <a:pt x="7537" y="5086"/>
                    <a:pt x="7477" y="5026"/>
                  </a:cubicBezTo>
                  <a:lnTo>
                    <a:pt x="6608" y="4157"/>
                  </a:lnTo>
                  <a:cubicBezTo>
                    <a:pt x="6727" y="3931"/>
                    <a:pt x="6692" y="3633"/>
                    <a:pt x="6501" y="3443"/>
                  </a:cubicBezTo>
                  <a:lnTo>
                    <a:pt x="6311" y="3252"/>
                  </a:lnTo>
                  <a:cubicBezTo>
                    <a:pt x="6188" y="3130"/>
                    <a:pt x="6032" y="3073"/>
                    <a:pt x="5880" y="3073"/>
                  </a:cubicBezTo>
                  <a:cubicBezTo>
                    <a:pt x="5779" y="3073"/>
                    <a:pt x="5681" y="3098"/>
                    <a:pt x="5596" y="3145"/>
                  </a:cubicBezTo>
                  <a:lnTo>
                    <a:pt x="5179" y="2729"/>
                  </a:lnTo>
                  <a:lnTo>
                    <a:pt x="5453" y="2443"/>
                  </a:lnTo>
                  <a:lnTo>
                    <a:pt x="5656" y="2252"/>
                  </a:lnTo>
                  <a:cubicBezTo>
                    <a:pt x="5834" y="2074"/>
                    <a:pt x="6084" y="1967"/>
                    <a:pt x="6334" y="1955"/>
                  </a:cubicBezTo>
                  <a:close/>
                  <a:moveTo>
                    <a:pt x="1928" y="1"/>
                  </a:moveTo>
                  <a:cubicBezTo>
                    <a:pt x="1921" y="1"/>
                    <a:pt x="1913" y="1"/>
                    <a:pt x="1905" y="2"/>
                  </a:cubicBezTo>
                  <a:cubicBezTo>
                    <a:pt x="1477" y="62"/>
                    <a:pt x="1072" y="252"/>
                    <a:pt x="762" y="550"/>
                  </a:cubicBezTo>
                  <a:cubicBezTo>
                    <a:pt x="0" y="1312"/>
                    <a:pt x="0" y="2562"/>
                    <a:pt x="762" y="3324"/>
                  </a:cubicBezTo>
                  <a:lnTo>
                    <a:pt x="1393" y="3967"/>
                  </a:lnTo>
                  <a:cubicBezTo>
                    <a:pt x="1750" y="4324"/>
                    <a:pt x="1810" y="4884"/>
                    <a:pt x="1524" y="5300"/>
                  </a:cubicBezTo>
                  <a:cubicBezTo>
                    <a:pt x="1489" y="5360"/>
                    <a:pt x="1500" y="5455"/>
                    <a:pt x="1548" y="5515"/>
                  </a:cubicBezTo>
                  <a:lnTo>
                    <a:pt x="2131" y="6086"/>
                  </a:lnTo>
                  <a:cubicBezTo>
                    <a:pt x="2155" y="6122"/>
                    <a:pt x="2203" y="6134"/>
                    <a:pt x="2239" y="6134"/>
                  </a:cubicBezTo>
                  <a:lnTo>
                    <a:pt x="2262" y="6134"/>
                  </a:lnTo>
                  <a:cubicBezTo>
                    <a:pt x="2298" y="6134"/>
                    <a:pt x="2346" y="6110"/>
                    <a:pt x="2381" y="6074"/>
                  </a:cubicBezTo>
                  <a:cubicBezTo>
                    <a:pt x="3084" y="5193"/>
                    <a:pt x="3001" y="3931"/>
                    <a:pt x="2215" y="3145"/>
                  </a:cubicBezTo>
                  <a:lnTo>
                    <a:pt x="1572" y="2502"/>
                  </a:lnTo>
                  <a:cubicBezTo>
                    <a:pt x="1429" y="2359"/>
                    <a:pt x="1334" y="2145"/>
                    <a:pt x="1334" y="1919"/>
                  </a:cubicBezTo>
                  <a:cubicBezTo>
                    <a:pt x="1334" y="1705"/>
                    <a:pt x="1429" y="1502"/>
                    <a:pt x="1572" y="1347"/>
                  </a:cubicBezTo>
                  <a:cubicBezTo>
                    <a:pt x="1727" y="1193"/>
                    <a:pt x="1929" y="1109"/>
                    <a:pt x="2155" y="1109"/>
                  </a:cubicBezTo>
                  <a:cubicBezTo>
                    <a:pt x="2381" y="1109"/>
                    <a:pt x="2572" y="1193"/>
                    <a:pt x="2739" y="1347"/>
                  </a:cubicBezTo>
                  <a:lnTo>
                    <a:pt x="3965" y="2574"/>
                  </a:lnTo>
                  <a:cubicBezTo>
                    <a:pt x="3941" y="2609"/>
                    <a:pt x="3929" y="2657"/>
                    <a:pt x="3929" y="2693"/>
                  </a:cubicBezTo>
                  <a:cubicBezTo>
                    <a:pt x="3929" y="2740"/>
                    <a:pt x="3941" y="2788"/>
                    <a:pt x="3965" y="2812"/>
                  </a:cubicBezTo>
                  <a:lnTo>
                    <a:pt x="4298" y="3145"/>
                  </a:lnTo>
                  <a:lnTo>
                    <a:pt x="4227" y="3217"/>
                  </a:lnTo>
                  <a:cubicBezTo>
                    <a:pt x="3929" y="3514"/>
                    <a:pt x="3775" y="3931"/>
                    <a:pt x="3834" y="4348"/>
                  </a:cubicBezTo>
                  <a:cubicBezTo>
                    <a:pt x="3870" y="4586"/>
                    <a:pt x="3965" y="4812"/>
                    <a:pt x="4120" y="5003"/>
                  </a:cubicBezTo>
                  <a:lnTo>
                    <a:pt x="6275" y="7777"/>
                  </a:lnTo>
                  <a:cubicBezTo>
                    <a:pt x="6513" y="8086"/>
                    <a:pt x="6870" y="8265"/>
                    <a:pt x="7263" y="8289"/>
                  </a:cubicBezTo>
                  <a:lnTo>
                    <a:pt x="7346" y="8289"/>
                  </a:lnTo>
                  <a:cubicBezTo>
                    <a:pt x="7704" y="8289"/>
                    <a:pt x="8049" y="8146"/>
                    <a:pt x="8311" y="7896"/>
                  </a:cubicBezTo>
                  <a:lnTo>
                    <a:pt x="9549" y="6658"/>
                  </a:lnTo>
                  <a:cubicBezTo>
                    <a:pt x="9609" y="6598"/>
                    <a:pt x="9609" y="6479"/>
                    <a:pt x="9549" y="6419"/>
                  </a:cubicBezTo>
                  <a:cubicBezTo>
                    <a:pt x="9519" y="6390"/>
                    <a:pt x="9475" y="6375"/>
                    <a:pt x="9430" y="6375"/>
                  </a:cubicBezTo>
                  <a:cubicBezTo>
                    <a:pt x="9385" y="6375"/>
                    <a:pt x="9341" y="6390"/>
                    <a:pt x="9311" y="6419"/>
                  </a:cubicBezTo>
                  <a:lnTo>
                    <a:pt x="8073" y="7658"/>
                  </a:lnTo>
                  <a:cubicBezTo>
                    <a:pt x="7880" y="7850"/>
                    <a:pt x="7613" y="7956"/>
                    <a:pt x="7332" y="7956"/>
                  </a:cubicBezTo>
                  <a:cubicBezTo>
                    <a:pt x="7317" y="7956"/>
                    <a:pt x="7302" y="7956"/>
                    <a:pt x="7287" y="7955"/>
                  </a:cubicBezTo>
                  <a:cubicBezTo>
                    <a:pt x="6989" y="7932"/>
                    <a:pt x="6727" y="7789"/>
                    <a:pt x="6549" y="7562"/>
                  </a:cubicBezTo>
                  <a:lnTo>
                    <a:pt x="4501" y="4943"/>
                  </a:lnTo>
                  <a:lnTo>
                    <a:pt x="5918" y="6122"/>
                  </a:lnTo>
                  <a:cubicBezTo>
                    <a:pt x="6203" y="6360"/>
                    <a:pt x="6525" y="6479"/>
                    <a:pt x="6846" y="6479"/>
                  </a:cubicBezTo>
                  <a:cubicBezTo>
                    <a:pt x="7108" y="6479"/>
                    <a:pt x="7346" y="6384"/>
                    <a:pt x="7525" y="6205"/>
                  </a:cubicBezTo>
                  <a:lnTo>
                    <a:pt x="8454" y="5288"/>
                  </a:lnTo>
                  <a:cubicBezTo>
                    <a:pt x="8835" y="4895"/>
                    <a:pt x="8787" y="4217"/>
                    <a:pt x="8358" y="3681"/>
                  </a:cubicBezTo>
                  <a:lnTo>
                    <a:pt x="7192" y="2264"/>
                  </a:lnTo>
                  <a:lnTo>
                    <a:pt x="9811" y="4300"/>
                  </a:lnTo>
                  <a:cubicBezTo>
                    <a:pt x="10049" y="4479"/>
                    <a:pt x="10180" y="4753"/>
                    <a:pt x="10192" y="5050"/>
                  </a:cubicBezTo>
                  <a:cubicBezTo>
                    <a:pt x="10204" y="5348"/>
                    <a:pt x="10109" y="5634"/>
                    <a:pt x="9894" y="5836"/>
                  </a:cubicBezTo>
                  <a:cubicBezTo>
                    <a:pt x="9835" y="5896"/>
                    <a:pt x="9835" y="6015"/>
                    <a:pt x="9894" y="6074"/>
                  </a:cubicBezTo>
                  <a:cubicBezTo>
                    <a:pt x="9924" y="6104"/>
                    <a:pt x="9969" y="6119"/>
                    <a:pt x="10013" y="6119"/>
                  </a:cubicBezTo>
                  <a:cubicBezTo>
                    <a:pt x="10058" y="6119"/>
                    <a:pt x="10103" y="6104"/>
                    <a:pt x="10132" y="6074"/>
                  </a:cubicBezTo>
                  <a:cubicBezTo>
                    <a:pt x="10382" y="5824"/>
                    <a:pt x="10537" y="5455"/>
                    <a:pt x="10502" y="5062"/>
                  </a:cubicBezTo>
                  <a:cubicBezTo>
                    <a:pt x="10478" y="4681"/>
                    <a:pt x="10299" y="4324"/>
                    <a:pt x="9990" y="4086"/>
                  </a:cubicBezTo>
                  <a:lnTo>
                    <a:pt x="7227" y="1943"/>
                  </a:lnTo>
                  <a:lnTo>
                    <a:pt x="7215" y="1919"/>
                  </a:lnTo>
                  <a:cubicBezTo>
                    <a:pt x="7025" y="1776"/>
                    <a:pt x="6799" y="1669"/>
                    <a:pt x="6561" y="1645"/>
                  </a:cubicBezTo>
                  <a:cubicBezTo>
                    <a:pt x="6498" y="1636"/>
                    <a:pt x="6436" y="1632"/>
                    <a:pt x="6374" y="1632"/>
                  </a:cubicBezTo>
                  <a:cubicBezTo>
                    <a:pt x="6022" y="1632"/>
                    <a:pt x="5683" y="1773"/>
                    <a:pt x="5429" y="2026"/>
                  </a:cubicBezTo>
                  <a:lnTo>
                    <a:pt x="5358" y="2097"/>
                  </a:lnTo>
                  <a:lnTo>
                    <a:pt x="5025" y="1776"/>
                  </a:lnTo>
                  <a:cubicBezTo>
                    <a:pt x="5001" y="1740"/>
                    <a:pt x="4953" y="1728"/>
                    <a:pt x="4906" y="1728"/>
                  </a:cubicBezTo>
                  <a:cubicBezTo>
                    <a:pt x="4870" y="1728"/>
                    <a:pt x="4822" y="1740"/>
                    <a:pt x="4787" y="1776"/>
                  </a:cubicBezTo>
                  <a:lnTo>
                    <a:pt x="3560" y="538"/>
                  </a:lnTo>
                  <a:cubicBezTo>
                    <a:pt x="3298" y="288"/>
                    <a:pt x="2989" y="109"/>
                    <a:pt x="2643" y="38"/>
                  </a:cubicBezTo>
                  <a:cubicBezTo>
                    <a:pt x="2627" y="31"/>
                    <a:pt x="2610" y="27"/>
                    <a:pt x="2593" y="27"/>
                  </a:cubicBezTo>
                  <a:cubicBezTo>
                    <a:pt x="2525" y="27"/>
                    <a:pt x="2460" y="81"/>
                    <a:pt x="2441" y="157"/>
                  </a:cubicBezTo>
                  <a:cubicBezTo>
                    <a:pt x="2405" y="240"/>
                    <a:pt x="2465" y="335"/>
                    <a:pt x="2560" y="359"/>
                  </a:cubicBezTo>
                  <a:cubicBezTo>
                    <a:pt x="2846" y="431"/>
                    <a:pt x="3096" y="585"/>
                    <a:pt x="3298" y="788"/>
                  </a:cubicBezTo>
                  <a:lnTo>
                    <a:pt x="4537" y="2026"/>
                  </a:lnTo>
                  <a:lnTo>
                    <a:pt x="4215" y="2359"/>
                  </a:lnTo>
                  <a:lnTo>
                    <a:pt x="2977" y="1121"/>
                  </a:lnTo>
                  <a:cubicBezTo>
                    <a:pt x="2751" y="895"/>
                    <a:pt x="2465" y="776"/>
                    <a:pt x="2155" y="776"/>
                  </a:cubicBezTo>
                  <a:cubicBezTo>
                    <a:pt x="1846" y="776"/>
                    <a:pt x="1560" y="895"/>
                    <a:pt x="1334" y="1121"/>
                  </a:cubicBezTo>
                  <a:cubicBezTo>
                    <a:pt x="1119" y="1347"/>
                    <a:pt x="1000" y="1621"/>
                    <a:pt x="1000" y="1943"/>
                  </a:cubicBezTo>
                  <a:cubicBezTo>
                    <a:pt x="1000" y="2252"/>
                    <a:pt x="1119" y="2538"/>
                    <a:pt x="1334" y="2752"/>
                  </a:cubicBezTo>
                  <a:lnTo>
                    <a:pt x="1977" y="3395"/>
                  </a:lnTo>
                  <a:cubicBezTo>
                    <a:pt x="2608" y="4026"/>
                    <a:pt x="2703" y="4991"/>
                    <a:pt x="2227" y="5729"/>
                  </a:cubicBezTo>
                  <a:lnTo>
                    <a:pt x="1893" y="5396"/>
                  </a:lnTo>
                  <a:cubicBezTo>
                    <a:pt x="2167" y="4860"/>
                    <a:pt x="2084" y="4181"/>
                    <a:pt x="1655" y="3741"/>
                  </a:cubicBezTo>
                  <a:lnTo>
                    <a:pt x="1012" y="3098"/>
                  </a:lnTo>
                  <a:cubicBezTo>
                    <a:pt x="381" y="2478"/>
                    <a:pt x="381" y="1431"/>
                    <a:pt x="1012" y="812"/>
                  </a:cubicBezTo>
                  <a:cubicBezTo>
                    <a:pt x="1262" y="550"/>
                    <a:pt x="1596" y="395"/>
                    <a:pt x="1953" y="347"/>
                  </a:cubicBezTo>
                  <a:cubicBezTo>
                    <a:pt x="2036" y="335"/>
                    <a:pt x="2108" y="252"/>
                    <a:pt x="2096" y="157"/>
                  </a:cubicBezTo>
                  <a:cubicBezTo>
                    <a:pt x="2085" y="69"/>
                    <a:pt x="2023" y="1"/>
                    <a:pt x="19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7" name="Google Shape;11487;p61"/>
            <p:cNvSpPr/>
            <p:nvPr/>
          </p:nvSpPr>
          <p:spPr>
            <a:xfrm>
              <a:off x="3361840" y="3799453"/>
              <a:ext cx="74701" cy="71438"/>
            </a:xfrm>
            <a:custGeom>
              <a:avLst/>
              <a:gdLst/>
              <a:ahLst/>
              <a:cxnLst/>
              <a:rect l="l" t="t" r="r" b="b"/>
              <a:pathLst>
                <a:path w="2358" h="2255" extrusionOk="0">
                  <a:moveTo>
                    <a:pt x="1441" y="337"/>
                  </a:moveTo>
                  <a:cubicBezTo>
                    <a:pt x="1572" y="337"/>
                    <a:pt x="1691" y="385"/>
                    <a:pt x="1798" y="480"/>
                  </a:cubicBezTo>
                  <a:cubicBezTo>
                    <a:pt x="1988" y="682"/>
                    <a:pt x="1988" y="1004"/>
                    <a:pt x="1798" y="1194"/>
                  </a:cubicBezTo>
                  <a:cubicBezTo>
                    <a:pt x="1703" y="1296"/>
                    <a:pt x="1572" y="1346"/>
                    <a:pt x="1441" y="1346"/>
                  </a:cubicBezTo>
                  <a:cubicBezTo>
                    <a:pt x="1310" y="1346"/>
                    <a:pt x="1179" y="1296"/>
                    <a:pt x="1084" y="1194"/>
                  </a:cubicBezTo>
                  <a:cubicBezTo>
                    <a:pt x="893" y="1004"/>
                    <a:pt x="893" y="682"/>
                    <a:pt x="1084" y="480"/>
                  </a:cubicBezTo>
                  <a:cubicBezTo>
                    <a:pt x="1191" y="385"/>
                    <a:pt x="1310" y="337"/>
                    <a:pt x="1441" y="337"/>
                  </a:cubicBezTo>
                  <a:close/>
                  <a:moveTo>
                    <a:pt x="1424" y="1"/>
                  </a:moveTo>
                  <a:cubicBezTo>
                    <a:pt x="1209" y="1"/>
                    <a:pt x="994" y="81"/>
                    <a:pt x="833" y="242"/>
                  </a:cubicBezTo>
                  <a:cubicBezTo>
                    <a:pt x="548" y="528"/>
                    <a:pt x="500" y="980"/>
                    <a:pt x="726" y="1302"/>
                  </a:cubicBezTo>
                  <a:lnTo>
                    <a:pt x="60" y="1968"/>
                  </a:lnTo>
                  <a:cubicBezTo>
                    <a:pt x="0" y="2028"/>
                    <a:pt x="0" y="2147"/>
                    <a:pt x="60" y="2206"/>
                  </a:cubicBezTo>
                  <a:cubicBezTo>
                    <a:pt x="83" y="2242"/>
                    <a:pt x="131" y="2254"/>
                    <a:pt x="167" y="2254"/>
                  </a:cubicBezTo>
                  <a:cubicBezTo>
                    <a:pt x="214" y="2254"/>
                    <a:pt x="262" y="2242"/>
                    <a:pt x="286" y="2206"/>
                  </a:cubicBezTo>
                  <a:lnTo>
                    <a:pt x="964" y="1540"/>
                  </a:lnTo>
                  <a:cubicBezTo>
                    <a:pt x="1095" y="1635"/>
                    <a:pt x="1262" y="1671"/>
                    <a:pt x="1417" y="1671"/>
                  </a:cubicBezTo>
                  <a:cubicBezTo>
                    <a:pt x="1643" y="1671"/>
                    <a:pt x="1857" y="1587"/>
                    <a:pt x="2012" y="1421"/>
                  </a:cubicBezTo>
                  <a:cubicBezTo>
                    <a:pt x="2357" y="1111"/>
                    <a:pt x="2357" y="575"/>
                    <a:pt x="2024" y="242"/>
                  </a:cubicBezTo>
                  <a:cubicBezTo>
                    <a:pt x="1857" y="81"/>
                    <a:pt x="1640" y="1"/>
                    <a:pt x="14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88" name="Google Shape;11488;p61"/>
          <p:cNvGrpSpPr/>
          <p:nvPr/>
        </p:nvGrpSpPr>
        <p:grpSpPr>
          <a:xfrm>
            <a:off x="889343" y="3801227"/>
            <a:ext cx="351585" cy="339705"/>
            <a:chOff x="889343" y="3801227"/>
            <a:chExt cx="351585" cy="339705"/>
          </a:xfrm>
        </p:grpSpPr>
        <p:sp>
          <p:nvSpPr>
            <p:cNvPr id="11489" name="Google Shape;11489;p61"/>
            <p:cNvSpPr/>
            <p:nvPr/>
          </p:nvSpPr>
          <p:spPr>
            <a:xfrm>
              <a:off x="1014954" y="4068479"/>
              <a:ext cx="35862" cy="10233"/>
            </a:xfrm>
            <a:custGeom>
              <a:avLst/>
              <a:gdLst/>
              <a:ahLst/>
              <a:cxnLst/>
              <a:rect l="l" t="t" r="r" b="b"/>
              <a:pathLst>
                <a:path w="1132" h="323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977" y="322"/>
                  </a:lnTo>
                  <a:cubicBezTo>
                    <a:pt x="1060" y="322"/>
                    <a:pt x="1131" y="251"/>
                    <a:pt x="1131" y="168"/>
                  </a:cubicBezTo>
                  <a:cubicBezTo>
                    <a:pt x="1131" y="72"/>
                    <a:pt x="1060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0" name="Google Shape;11490;p61"/>
            <p:cNvSpPr/>
            <p:nvPr/>
          </p:nvSpPr>
          <p:spPr>
            <a:xfrm>
              <a:off x="889343" y="3801227"/>
              <a:ext cx="351585" cy="339705"/>
            </a:xfrm>
            <a:custGeom>
              <a:avLst/>
              <a:gdLst/>
              <a:ahLst/>
              <a:cxnLst/>
              <a:rect l="l" t="t" r="r" b="b"/>
              <a:pathLst>
                <a:path w="11098" h="10723" extrusionOk="0">
                  <a:moveTo>
                    <a:pt x="3894" y="746"/>
                  </a:moveTo>
                  <a:lnTo>
                    <a:pt x="3894" y="746"/>
                  </a:lnTo>
                  <a:cubicBezTo>
                    <a:pt x="3763" y="1079"/>
                    <a:pt x="3572" y="1281"/>
                    <a:pt x="3418" y="1400"/>
                  </a:cubicBezTo>
                  <a:cubicBezTo>
                    <a:pt x="3465" y="1115"/>
                    <a:pt x="3644" y="865"/>
                    <a:pt x="3894" y="746"/>
                  </a:cubicBezTo>
                  <a:close/>
                  <a:moveTo>
                    <a:pt x="4823" y="662"/>
                  </a:moveTo>
                  <a:cubicBezTo>
                    <a:pt x="5275" y="662"/>
                    <a:pt x="5656" y="1043"/>
                    <a:pt x="5656" y="1496"/>
                  </a:cubicBezTo>
                  <a:lnTo>
                    <a:pt x="5656" y="2008"/>
                  </a:lnTo>
                  <a:cubicBezTo>
                    <a:pt x="4715" y="1912"/>
                    <a:pt x="4418" y="1067"/>
                    <a:pt x="4323" y="662"/>
                  </a:cubicBezTo>
                  <a:close/>
                  <a:moveTo>
                    <a:pt x="3108" y="2377"/>
                  </a:moveTo>
                  <a:lnTo>
                    <a:pt x="3108" y="2508"/>
                  </a:lnTo>
                  <a:cubicBezTo>
                    <a:pt x="3108" y="2591"/>
                    <a:pt x="3108" y="2674"/>
                    <a:pt x="3120" y="2746"/>
                  </a:cubicBezTo>
                  <a:cubicBezTo>
                    <a:pt x="3060" y="2710"/>
                    <a:pt x="3037" y="2651"/>
                    <a:pt x="3037" y="2555"/>
                  </a:cubicBezTo>
                  <a:cubicBezTo>
                    <a:pt x="3037" y="2484"/>
                    <a:pt x="3060" y="2424"/>
                    <a:pt x="3108" y="2377"/>
                  </a:cubicBezTo>
                  <a:close/>
                  <a:moveTo>
                    <a:pt x="5966" y="2377"/>
                  </a:moveTo>
                  <a:cubicBezTo>
                    <a:pt x="6013" y="2424"/>
                    <a:pt x="6037" y="2484"/>
                    <a:pt x="6037" y="2555"/>
                  </a:cubicBezTo>
                  <a:cubicBezTo>
                    <a:pt x="6037" y="2627"/>
                    <a:pt x="5989" y="2710"/>
                    <a:pt x="5954" y="2746"/>
                  </a:cubicBezTo>
                  <a:cubicBezTo>
                    <a:pt x="5966" y="2674"/>
                    <a:pt x="5966" y="2603"/>
                    <a:pt x="5966" y="2508"/>
                  </a:cubicBezTo>
                  <a:lnTo>
                    <a:pt x="5966" y="2377"/>
                  </a:lnTo>
                  <a:close/>
                  <a:moveTo>
                    <a:pt x="6870" y="3460"/>
                  </a:moveTo>
                  <a:lnTo>
                    <a:pt x="6870" y="3746"/>
                  </a:lnTo>
                  <a:lnTo>
                    <a:pt x="5430" y="3746"/>
                  </a:lnTo>
                  <a:cubicBezTo>
                    <a:pt x="5513" y="3651"/>
                    <a:pt x="5608" y="3567"/>
                    <a:pt x="5680" y="3460"/>
                  </a:cubicBezTo>
                  <a:close/>
                  <a:moveTo>
                    <a:pt x="4108" y="1055"/>
                  </a:moveTo>
                  <a:cubicBezTo>
                    <a:pt x="4323" y="1698"/>
                    <a:pt x="4823" y="2258"/>
                    <a:pt x="5656" y="2317"/>
                  </a:cubicBezTo>
                  <a:lnTo>
                    <a:pt x="5656" y="2508"/>
                  </a:lnTo>
                  <a:cubicBezTo>
                    <a:pt x="5656" y="2984"/>
                    <a:pt x="5394" y="3424"/>
                    <a:pt x="5001" y="3663"/>
                  </a:cubicBezTo>
                  <a:lnTo>
                    <a:pt x="4799" y="3758"/>
                  </a:lnTo>
                  <a:cubicBezTo>
                    <a:pt x="4721" y="3811"/>
                    <a:pt x="4629" y="3838"/>
                    <a:pt x="4535" y="3838"/>
                  </a:cubicBezTo>
                  <a:cubicBezTo>
                    <a:pt x="4442" y="3838"/>
                    <a:pt x="4346" y="3811"/>
                    <a:pt x="4263" y="3758"/>
                  </a:cubicBezTo>
                  <a:lnTo>
                    <a:pt x="4073" y="3663"/>
                  </a:lnTo>
                  <a:cubicBezTo>
                    <a:pt x="3668" y="3424"/>
                    <a:pt x="3418" y="2984"/>
                    <a:pt x="3418" y="2508"/>
                  </a:cubicBezTo>
                  <a:lnTo>
                    <a:pt x="3418" y="2174"/>
                  </a:lnTo>
                  <a:lnTo>
                    <a:pt x="3418" y="1769"/>
                  </a:lnTo>
                  <a:cubicBezTo>
                    <a:pt x="3584" y="1698"/>
                    <a:pt x="3882" y="1484"/>
                    <a:pt x="4108" y="1055"/>
                  </a:cubicBezTo>
                  <a:close/>
                  <a:moveTo>
                    <a:pt x="4977" y="4055"/>
                  </a:moveTo>
                  <a:lnTo>
                    <a:pt x="4977" y="4591"/>
                  </a:lnTo>
                  <a:lnTo>
                    <a:pt x="4537" y="4913"/>
                  </a:lnTo>
                  <a:lnTo>
                    <a:pt x="4084" y="4591"/>
                  </a:lnTo>
                  <a:lnTo>
                    <a:pt x="4084" y="4055"/>
                  </a:lnTo>
                  <a:lnTo>
                    <a:pt x="4120" y="4055"/>
                  </a:lnTo>
                  <a:cubicBezTo>
                    <a:pt x="4251" y="4139"/>
                    <a:pt x="4382" y="4163"/>
                    <a:pt x="4537" y="4163"/>
                  </a:cubicBezTo>
                  <a:cubicBezTo>
                    <a:pt x="4680" y="4163"/>
                    <a:pt x="4823" y="4139"/>
                    <a:pt x="4954" y="4055"/>
                  </a:cubicBezTo>
                  <a:close/>
                  <a:moveTo>
                    <a:pt x="4084" y="4972"/>
                  </a:moveTo>
                  <a:lnTo>
                    <a:pt x="4299" y="5115"/>
                  </a:lnTo>
                  <a:lnTo>
                    <a:pt x="4084" y="5365"/>
                  </a:lnTo>
                  <a:lnTo>
                    <a:pt x="4084" y="4972"/>
                  </a:lnTo>
                  <a:close/>
                  <a:moveTo>
                    <a:pt x="4977" y="4984"/>
                  </a:moveTo>
                  <a:lnTo>
                    <a:pt x="4977" y="5389"/>
                  </a:lnTo>
                  <a:lnTo>
                    <a:pt x="4775" y="5127"/>
                  </a:lnTo>
                  <a:lnTo>
                    <a:pt x="4977" y="4984"/>
                  </a:lnTo>
                  <a:close/>
                  <a:moveTo>
                    <a:pt x="4977" y="5925"/>
                  </a:moveTo>
                  <a:lnTo>
                    <a:pt x="4977" y="6330"/>
                  </a:lnTo>
                  <a:lnTo>
                    <a:pt x="4942" y="6008"/>
                  </a:lnTo>
                  <a:lnTo>
                    <a:pt x="4977" y="5925"/>
                  </a:lnTo>
                  <a:close/>
                  <a:moveTo>
                    <a:pt x="4084" y="5925"/>
                  </a:moveTo>
                  <a:lnTo>
                    <a:pt x="4144" y="6008"/>
                  </a:lnTo>
                  <a:lnTo>
                    <a:pt x="4084" y="6353"/>
                  </a:lnTo>
                  <a:lnTo>
                    <a:pt x="4084" y="5925"/>
                  </a:lnTo>
                  <a:close/>
                  <a:moveTo>
                    <a:pt x="3775" y="4889"/>
                  </a:moveTo>
                  <a:lnTo>
                    <a:pt x="3775" y="7139"/>
                  </a:lnTo>
                  <a:lnTo>
                    <a:pt x="1632" y="7139"/>
                  </a:lnTo>
                  <a:lnTo>
                    <a:pt x="1632" y="6615"/>
                  </a:lnTo>
                  <a:cubicBezTo>
                    <a:pt x="1632" y="6044"/>
                    <a:pt x="1977" y="5520"/>
                    <a:pt x="2513" y="5306"/>
                  </a:cubicBezTo>
                  <a:cubicBezTo>
                    <a:pt x="2537" y="5294"/>
                    <a:pt x="2584" y="5282"/>
                    <a:pt x="2620" y="5270"/>
                  </a:cubicBezTo>
                  <a:lnTo>
                    <a:pt x="3775" y="4889"/>
                  </a:lnTo>
                  <a:close/>
                  <a:moveTo>
                    <a:pt x="4537" y="5341"/>
                  </a:moveTo>
                  <a:lnTo>
                    <a:pt x="4775" y="5627"/>
                  </a:lnTo>
                  <a:lnTo>
                    <a:pt x="4620" y="5901"/>
                  </a:lnTo>
                  <a:cubicBezTo>
                    <a:pt x="4608" y="5937"/>
                    <a:pt x="4596" y="5960"/>
                    <a:pt x="4608" y="6008"/>
                  </a:cubicBezTo>
                  <a:lnTo>
                    <a:pt x="4787" y="7139"/>
                  </a:lnTo>
                  <a:lnTo>
                    <a:pt x="4299" y="7139"/>
                  </a:lnTo>
                  <a:lnTo>
                    <a:pt x="4477" y="6008"/>
                  </a:lnTo>
                  <a:cubicBezTo>
                    <a:pt x="4477" y="5984"/>
                    <a:pt x="4465" y="5937"/>
                    <a:pt x="4442" y="5901"/>
                  </a:cubicBezTo>
                  <a:lnTo>
                    <a:pt x="4299" y="5627"/>
                  </a:lnTo>
                  <a:lnTo>
                    <a:pt x="4537" y="5341"/>
                  </a:lnTo>
                  <a:close/>
                  <a:moveTo>
                    <a:pt x="6882" y="4044"/>
                  </a:moveTo>
                  <a:lnTo>
                    <a:pt x="6859" y="4591"/>
                  </a:lnTo>
                  <a:cubicBezTo>
                    <a:pt x="6859" y="4651"/>
                    <a:pt x="6882" y="4698"/>
                    <a:pt x="6930" y="4734"/>
                  </a:cubicBezTo>
                  <a:cubicBezTo>
                    <a:pt x="6966" y="4746"/>
                    <a:pt x="6990" y="4758"/>
                    <a:pt x="7025" y="4758"/>
                  </a:cubicBezTo>
                  <a:cubicBezTo>
                    <a:pt x="7049" y="4758"/>
                    <a:pt x="7061" y="4758"/>
                    <a:pt x="7085" y="4746"/>
                  </a:cubicBezTo>
                  <a:lnTo>
                    <a:pt x="8109" y="4270"/>
                  </a:lnTo>
                  <a:cubicBezTo>
                    <a:pt x="8156" y="4282"/>
                    <a:pt x="8180" y="4282"/>
                    <a:pt x="8228" y="4294"/>
                  </a:cubicBezTo>
                  <a:lnTo>
                    <a:pt x="8192" y="7985"/>
                  </a:lnTo>
                  <a:lnTo>
                    <a:pt x="870" y="7985"/>
                  </a:lnTo>
                  <a:lnTo>
                    <a:pt x="870" y="4055"/>
                  </a:lnTo>
                  <a:lnTo>
                    <a:pt x="3775" y="4055"/>
                  </a:lnTo>
                  <a:lnTo>
                    <a:pt x="3775" y="4567"/>
                  </a:lnTo>
                  <a:lnTo>
                    <a:pt x="2525" y="4972"/>
                  </a:lnTo>
                  <a:cubicBezTo>
                    <a:pt x="2275" y="5044"/>
                    <a:pt x="2060" y="5175"/>
                    <a:pt x="1870" y="5341"/>
                  </a:cubicBezTo>
                  <a:cubicBezTo>
                    <a:pt x="1525" y="5663"/>
                    <a:pt x="1322" y="6115"/>
                    <a:pt x="1322" y="6615"/>
                  </a:cubicBezTo>
                  <a:lnTo>
                    <a:pt x="1322" y="7294"/>
                  </a:lnTo>
                  <a:cubicBezTo>
                    <a:pt x="1322" y="7377"/>
                    <a:pt x="1394" y="7449"/>
                    <a:pt x="1477" y="7449"/>
                  </a:cubicBezTo>
                  <a:lnTo>
                    <a:pt x="7621" y="7449"/>
                  </a:lnTo>
                  <a:cubicBezTo>
                    <a:pt x="7704" y="7449"/>
                    <a:pt x="7775" y="7377"/>
                    <a:pt x="7775" y="7294"/>
                  </a:cubicBezTo>
                  <a:lnTo>
                    <a:pt x="7775" y="6711"/>
                  </a:lnTo>
                  <a:cubicBezTo>
                    <a:pt x="7775" y="6615"/>
                    <a:pt x="7704" y="6544"/>
                    <a:pt x="7621" y="6544"/>
                  </a:cubicBezTo>
                  <a:cubicBezTo>
                    <a:pt x="7525" y="6544"/>
                    <a:pt x="7454" y="6615"/>
                    <a:pt x="7454" y="6711"/>
                  </a:cubicBezTo>
                  <a:lnTo>
                    <a:pt x="7454" y="7139"/>
                  </a:lnTo>
                  <a:lnTo>
                    <a:pt x="5311" y="7139"/>
                  </a:lnTo>
                  <a:lnTo>
                    <a:pt x="5311" y="4889"/>
                  </a:lnTo>
                  <a:lnTo>
                    <a:pt x="6466" y="5270"/>
                  </a:lnTo>
                  <a:cubicBezTo>
                    <a:pt x="6882" y="5401"/>
                    <a:pt x="7228" y="5722"/>
                    <a:pt x="7382" y="6139"/>
                  </a:cubicBezTo>
                  <a:cubicBezTo>
                    <a:pt x="7401" y="6212"/>
                    <a:pt x="7461" y="6243"/>
                    <a:pt x="7525" y="6243"/>
                  </a:cubicBezTo>
                  <a:cubicBezTo>
                    <a:pt x="7545" y="6243"/>
                    <a:pt x="7565" y="6240"/>
                    <a:pt x="7585" y="6234"/>
                  </a:cubicBezTo>
                  <a:cubicBezTo>
                    <a:pt x="7680" y="6199"/>
                    <a:pt x="7704" y="6115"/>
                    <a:pt x="7680" y="6020"/>
                  </a:cubicBezTo>
                  <a:cubicBezTo>
                    <a:pt x="7502" y="5520"/>
                    <a:pt x="7085" y="5115"/>
                    <a:pt x="6573" y="4948"/>
                  </a:cubicBezTo>
                  <a:lnTo>
                    <a:pt x="5323" y="4556"/>
                  </a:lnTo>
                  <a:lnTo>
                    <a:pt x="5323" y="4044"/>
                  </a:lnTo>
                  <a:close/>
                  <a:moveTo>
                    <a:pt x="4787" y="9199"/>
                  </a:moveTo>
                  <a:lnTo>
                    <a:pt x="4918" y="9818"/>
                  </a:lnTo>
                  <a:lnTo>
                    <a:pt x="4120" y="9818"/>
                  </a:lnTo>
                  <a:lnTo>
                    <a:pt x="4263" y="9199"/>
                  </a:lnTo>
                  <a:close/>
                  <a:moveTo>
                    <a:pt x="5858" y="10128"/>
                  </a:moveTo>
                  <a:lnTo>
                    <a:pt x="5858" y="10425"/>
                  </a:lnTo>
                  <a:lnTo>
                    <a:pt x="3227" y="10425"/>
                  </a:lnTo>
                  <a:lnTo>
                    <a:pt x="3227" y="10128"/>
                  </a:lnTo>
                  <a:close/>
                  <a:moveTo>
                    <a:pt x="8622" y="1"/>
                  </a:moveTo>
                  <a:cubicBezTo>
                    <a:pt x="8115" y="1"/>
                    <a:pt x="7612" y="175"/>
                    <a:pt x="7216" y="519"/>
                  </a:cubicBezTo>
                  <a:cubicBezTo>
                    <a:pt x="7156" y="579"/>
                    <a:pt x="7144" y="686"/>
                    <a:pt x="7204" y="746"/>
                  </a:cubicBezTo>
                  <a:cubicBezTo>
                    <a:pt x="7237" y="778"/>
                    <a:pt x="7280" y="797"/>
                    <a:pt x="7322" y="797"/>
                  </a:cubicBezTo>
                  <a:cubicBezTo>
                    <a:pt x="7357" y="797"/>
                    <a:pt x="7391" y="784"/>
                    <a:pt x="7418" y="757"/>
                  </a:cubicBezTo>
                  <a:cubicBezTo>
                    <a:pt x="7764" y="464"/>
                    <a:pt x="8195" y="314"/>
                    <a:pt x="8630" y="314"/>
                  </a:cubicBezTo>
                  <a:cubicBezTo>
                    <a:pt x="8989" y="314"/>
                    <a:pt x="9351" y="416"/>
                    <a:pt x="9668" y="626"/>
                  </a:cubicBezTo>
                  <a:cubicBezTo>
                    <a:pt x="10514" y="1186"/>
                    <a:pt x="10752" y="2353"/>
                    <a:pt x="10180" y="3198"/>
                  </a:cubicBezTo>
                  <a:cubicBezTo>
                    <a:pt x="9883" y="3639"/>
                    <a:pt x="9430" y="3925"/>
                    <a:pt x="8930" y="3996"/>
                  </a:cubicBezTo>
                  <a:lnTo>
                    <a:pt x="8883" y="3996"/>
                  </a:lnTo>
                  <a:cubicBezTo>
                    <a:pt x="8799" y="4014"/>
                    <a:pt x="8716" y="4023"/>
                    <a:pt x="8631" y="4023"/>
                  </a:cubicBezTo>
                  <a:cubicBezTo>
                    <a:pt x="8546" y="4023"/>
                    <a:pt x="8460" y="4014"/>
                    <a:pt x="8371" y="3996"/>
                  </a:cubicBezTo>
                  <a:cubicBezTo>
                    <a:pt x="8287" y="3984"/>
                    <a:pt x="8192" y="3972"/>
                    <a:pt x="8109" y="3936"/>
                  </a:cubicBezTo>
                  <a:cubicBezTo>
                    <a:pt x="8099" y="3933"/>
                    <a:pt x="8089" y="3932"/>
                    <a:pt x="8078" y="3932"/>
                  </a:cubicBezTo>
                  <a:cubicBezTo>
                    <a:pt x="8049" y="3932"/>
                    <a:pt x="8019" y="3943"/>
                    <a:pt x="8002" y="3960"/>
                  </a:cubicBezTo>
                  <a:lnTo>
                    <a:pt x="7156" y="4341"/>
                  </a:lnTo>
                  <a:lnTo>
                    <a:pt x="7204" y="3401"/>
                  </a:lnTo>
                  <a:cubicBezTo>
                    <a:pt x="7204" y="3365"/>
                    <a:pt x="7180" y="3329"/>
                    <a:pt x="7168" y="3305"/>
                  </a:cubicBezTo>
                  <a:cubicBezTo>
                    <a:pt x="6680" y="2686"/>
                    <a:pt x="6632" y="1829"/>
                    <a:pt x="7049" y="1174"/>
                  </a:cubicBezTo>
                  <a:cubicBezTo>
                    <a:pt x="7097" y="1103"/>
                    <a:pt x="7085" y="996"/>
                    <a:pt x="7001" y="948"/>
                  </a:cubicBezTo>
                  <a:cubicBezTo>
                    <a:pt x="6976" y="931"/>
                    <a:pt x="6946" y="923"/>
                    <a:pt x="6917" y="923"/>
                  </a:cubicBezTo>
                  <a:cubicBezTo>
                    <a:pt x="6863" y="923"/>
                    <a:pt x="6810" y="949"/>
                    <a:pt x="6787" y="996"/>
                  </a:cubicBezTo>
                  <a:cubicBezTo>
                    <a:pt x="6382" y="1650"/>
                    <a:pt x="6347" y="2448"/>
                    <a:pt x="6692" y="3103"/>
                  </a:cubicBezTo>
                  <a:lnTo>
                    <a:pt x="5858" y="3103"/>
                  </a:lnTo>
                  <a:cubicBezTo>
                    <a:pt x="5858" y="3091"/>
                    <a:pt x="5870" y="3091"/>
                    <a:pt x="5870" y="3079"/>
                  </a:cubicBezTo>
                  <a:cubicBezTo>
                    <a:pt x="6156" y="3043"/>
                    <a:pt x="6382" y="2805"/>
                    <a:pt x="6382" y="2531"/>
                  </a:cubicBezTo>
                  <a:cubicBezTo>
                    <a:pt x="6382" y="2270"/>
                    <a:pt x="6216" y="2067"/>
                    <a:pt x="5978" y="1996"/>
                  </a:cubicBezTo>
                  <a:lnTo>
                    <a:pt x="5978" y="1460"/>
                  </a:lnTo>
                  <a:cubicBezTo>
                    <a:pt x="5978" y="817"/>
                    <a:pt x="5454" y="305"/>
                    <a:pt x="4835" y="305"/>
                  </a:cubicBezTo>
                  <a:lnTo>
                    <a:pt x="4263" y="305"/>
                  </a:lnTo>
                  <a:cubicBezTo>
                    <a:pt x="4227" y="305"/>
                    <a:pt x="4180" y="305"/>
                    <a:pt x="4132" y="329"/>
                  </a:cubicBezTo>
                  <a:cubicBezTo>
                    <a:pt x="3549" y="400"/>
                    <a:pt x="3120" y="888"/>
                    <a:pt x="3120" y="1472"/>
                  </a:cubicBezTo>
                  <a:lnTo>
                    <a:pt x="3120" y="2008"/>
                  </a:lnTo>
                  <a:cubicBezTo>
                    <a:pt x="2894" y="2079"/>
                    <a:pt x="2715" y="2293"/>
                    <a:pt x="2715" y="2543"/>
                  </a:cubicBezTo>
                  <a:cubicBezTo>
                    <a:pt x="2715" y="2829"/>
                    <a:pt x="2941" y="3079"/>
                    <a:pt x="3227" y="3091"/>
                  </a:cubicBezTo>
                  <a:cubicBezTo>
                    <a:pt x="3227" y="3103"/>
                    <a:pt x="3239" y="3103"/>
                    <a:pt x="3239" y="3127"/>
                  </a:cubicBezTo>
                  <a:lnTo>
                    <a:pt x="155" y="3127"/>
                  </a:lnTo>
                  <a:cubicBezTo>
                    <a:pt x="72" y="3127"/>
                    <a:pt x="1" y="3198"/>
                    <a:pt x="1" y="3282"/>
                  </a:cubicBezTo>
                  <a:lnTo>
                    <a:pt x="1" y="9020"/>
                  </a:lnTo>
                  <a:cubicBezTo>
                    <a:pt x="1" y="9104"/>
                    <a:pt x="72" y="9175"/>
                    <a:pt x="155" y="9175"/>
                  </a:cubicBezTo>
                  <a:lnTo>
                    <a:pt x="1441" y="9175"/>
                  </a:lnTo>
                  <a:cubicBezTo>
                    <a:pt x="1525" y="9175"/>
                    <a:pt x="1608" y="9104"/>
                    <a:pt x="1608" y="9020"/>
                  </a:cubicBezTo>
                  <a:cubicBezTo>
                    <a:pt x="1608" y="8925"/>
                    <a:pt x="1525" y="8854"/>
                    <a:pt x="1441" y="8854"/>
                  </a:cubicBezTo>
                  <a:lnTo>
                    <a:pt x="322" y="8854"/>
                  </a:lnTo>
                  <a:lnTo>
                    <a:pt x="322" y="3436"/>
                  </a:lnTo>
                  <a:lnTo>
                    <a:pt x="3418" y="3436"/>
                  </a:lnTo>
                  <a:cubicBezTo>
                    <a:pt x="3489" y="3544"/>
                    <a:pt x="3572" y="3627"/>
                    <a:pt x="3668" y="3722"/>
                  </a:cubicBezTo>
                  <a:lnTo>
                    <a:pt x="739" y="3722"/>
                  </a:lnTo>
                  <a:cubicBezTo>
                    <a:pt x="655" y="3722"/>
                    <a:pt x="572" y="3794"/>
                    <a:pt x="572" y="3877"/>
                  </a:cubicBezTo>
                  <a:lnTo>
                    <a:pt x="572" y="8127"/>
                  </a:lnTo>
                  <a:cubicBezTo>
                    <a:pt x="572" y="8211"/>
                    <a:pt x="655" y="8282"/>
                    <a:pt x="739" y="8282"/>
                  </a:cubicBezTo>
                  <a:lnTo>
                    <a:pt x="8394" y="8282"/>
                  </a:lnTo>
                  <a:cubicBezTo>
                    <a:pt x="8478" y="8282"/>
                    <a:pt x="8549" y="8211"/>
                    <a:pt x="8549" y="8127"/>
                  </a:cubicBezTo>
                  <a:lnTo>
                    <a:pt x="8549" y="4317"/>
                  </a:lnTo>
                  <a:lnTo>
                    <a:pt x="8787" y="4317"/>
                  </a:lnTo>
                  <a:lnTo>
                    <a:pt x="8787" y="8842"/>
                  </a:lnTo>
                  <a:lnTo>
                    <a:pt x="2096" y="8842"/>
                  </a:lnTo>
                  <a:cubicBezTo>
                    <a:pt x="2001" y="8842"/>
                    <a:pt x="1929" y="8913"/>
                    <a:pt x="1929" y="8997"/>
                  </a:cubicBezTo>
                  <a:cubicBezTo>
                    <a:pt x="1929" y="9092"/>
                    <a:pt x="2001" y="9163"/>
                    <a:pt x="2096" y="9163"/>
                  </a:cubicBezTo>
                  <a:lnTo>
                    <a:pt x="3989" y="9163"/>
                  </a:lnTo>
                  <a:lnTo>
                    <a:pt x="3846" y="9794"/>
                  </a:lnTo>
                  <a:lnTo>
                    <a:pt x="3108" y="9794"/>
                  </a:lnTo>
                  <a:cubicBezTo>
                    <a:pt x="3013" y="9794"/>
                    <a:pt x="2941" y="9866"/>
                    <a:pt x="2941" y="9949"/>
                  </a:cubicBezTo>
                  <a:lnTo>
                    <a:pt x="2941" y="10568"/>
                  </a:lnTo>
                  <a:cubicBezTo>
                    <a:pt x="2941" y="10652"/>
                    <a:pt x="3013" y="10723"/>
                    <a:pt x="3108" y="10723"/>
                  </a:cubicBezTo>
                  <a:lnTo>
                    <a:pt x="6049" y="10723"/>
                  </a:lnTo>
                  <a:cubicBezTo>
                    <a:pt x="6144" y="10723"/>
                    <a:pt x="6216" y="10652"/>
                    <a:pt x="6216" y="10568"/>
                  </a:cubicBezTo>
                  <a:lnTo>
                    <a:pt x="6216" y="9973"/>
                  </a:lnTo>
                  <a:cubicBezTo>
                    <a:pt x="6216" y="9878"/>
                    <a:pt x="6144" y="9806"/>
                    <a:pt x="6049" y="9806"/>
                  </a:cubicBezTo>
                  <a:lnTo>
                    <a:pt x="5311" y="9806"/>
                  </a:lnTo>
                  <a:lnTo>
                    <a:pt x="5180" y="9175"/>
                  </a:lnTo>
                  <a:lnTo>
                    <a:pt x="8930" y="9175"/>
                  </a:lnTo>
                  <a:cubicBezTo>
                    <a:pt x="9014" y="9175"/>
                    <a:pt x="9085" y="9104"/>
                    <a:pt x="9085" y="9008"/>
                  </a:cubicBezTo>
                  <a:lnTo>
                    <a:pt x="9085" y="4282"/>
                  </a:lnTo>
                  <a:cubicBezTo>
                    <a:pt x="9621" y="4163"/>
                    <a:pt x="10121" y="3853"/>
                    <a:pt x="10442" y="3353"/>
                  </a:cubicBezTo>
                  <a:cubicBezTo>
                    <a:pt x="11097" y="2377"/>
                    <a:pt x="10835" y="1019"/>
                    <a:pt x="9835" y="365"/>
                  </a:cubicBezTo>
                  <a:cubicBezTo>
                    <a:pt x="9467" y="121"/>
                    <a:pt x="9043" y="1"/>
                    <a:pt x="86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1" name="Google Shape;11491;p61"/>
            <p:cNvSpPr/>
            <p:nvPr/>
          </p:nvSpPr>
          <p:spPr>
            <a:xfrm>
              <a:off x="1148865" y="3851598"/>
              <a:ext cx="27181" cy="51733"/>
            </a:xfrm>
            <a:custGeom>
              <a:avLst/>
              <a:gdLst/>
              <a:ahLst/>
              <a:cxnLst/>
              <a:rect l="l" t="t" r="r" b="b"/>
              <a:pathLst>
                <a:path w="858" h="1633" extrusionOk="0">
                  <a:moveTo>
                    <a:pt x="179" y="1"/>
                  </a:moveTo>
                  <a:cubicBezTo>
                    <a:pt x="95" y="1"/>
                    <a:pt x="24" y="72"/>
                    <a:pt x="24" y="168"/>
                  </a:cubicBezTo>
                  <a:cubicBezTo>
                    <a:pt x="24" y="251"/>
                    <a:pt x="95" y="322"/>
                    <a:pt x="179" y="322"/>
                  </a:cubicBezTo>
                  <a:lnTo>
                    <a:pt x="274" y="322"/>
                  </a:lnTo>
                  <a:lnTo>
                    <a:pt x="274" y="1311"/>
                  </a:lnTo>
                  <a:lnTo>
                    <a:pt x="167" y="1311"/>
                  </a:lnTo>
                  <a:cubicBezTo>
                    <a:pt x="83" y="1311"/>
                    <a:pt x="0" y="1382"/>
                    <a:pt x="0" y="1477"/>
                  </a:cubicBezTo>
                  <a:cubicBezTo>
                    <a:pt x="0" y="1561"/>
                    <a:pt x="83" y="1632"/>
                    <a:pt x="167" y="1632"/>
                  </a:cubicBezTo>
                  <a:lnTo>
                    <a:pt x="691" y="1632"/>
                  </a:lnTo>
                  <a:cubicBezTo>
                    <a:pt x="774" y="1632"/>
                    <a:pt x="857" y="1561"/>
                    <a:pt x="857" y="1477"/>
                  </a:cubicBezTo>
                  <a:cubicBezTo>
                    <a:pt x="857" y="1358"/>
                    <a:pt x="774" y="1299"/>
                    <a:pt x="691" y="1299"/>
                  </a:cubicBezTo>
                  <a:lnTo>
                    <a:pt x="583" y="1299"/>
                  </a:lnTo>
                  <a:lnTo>
                    <a:pt x="583" y="168"/>
                  </a:lnTo>
                  <a:cubicBezTo>
                    <a:pt x="583" y="72"/>
                    <a:pt x="512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2" name="Google Shape;11492;p61"/>
            <p:cNvSpPr/>
            <p:nvPr/>
          </p:nvSpPr>
          <p:spPr>
            <a:xfrm>
              <a:off x="1152255" y="3836138"/>
              <a:ext cx="15111" cy="15111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1"/>
                  </a:moveTo>
                  <a:cubicBezTo>
                    <a:pt x="107" y="1"/>
                    <a:pt x="0" y="96"/>
                    <a:pt x="0" y="239"/>
                  </a:cubicBezTo>
                  <a:cubicBezTo>
                    <a:pt x="0" y="370"/>
                    <a:pt x="107" y="477"/>
                    <a:pt x="238" y="477"/>
                  </a:cubicBezTo>
                  <a:cubicBezTo>
                    <a:pt x="369" y="477"/>
                    <a:pt x="476" y="370"/>
                    <a:pt x="476" y="239"/>
                  </a:cubicBezTo>
                  <a:cubicBezTo>
                    <a:pt x="476" y="96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3" name="Google Shape;11493;p61"/>
            <p:cNvSpPr/>
            <p:nvPr/>
          </p:nvSpPr>
          <p:spPr>
            <a:xfrm>
              <a:off x="1022494" y="3867438"/>
              <a:ext cx="19642" cy="29843"/>
            </a:xfrm>
            <a:custGeom>
              <a:avLst/>
              <a:gdLst/>
              <a:ahLst/>
              <a:cxnLst/>
              <a:rect l="l" t="t" r="r" b="b"/>
              <a:pathLst>
                <a:path w="620" h="942" extrusionOk="0">
                  <a:moveTo>
                    <a:pt x="167" y="1"/>
                  </a:moveTo>
                  <a:cubicBezTo>
                    <a:pt x="84" y="1"/>
                    <a:pt x="0" y="84"/>
                    <a:pt x="0" y="168"/>
                  </a:cubicBezTo>
                  <a:lnTo>
                    <a:pt x="0" y="775"/>
                  </a:lnTo>
                  <a:cubicBezTo>
                    <a:pt x="0" y="870"/>
                    <a:pt x="84" y="942"/>
                    <a:pt x="167" y="942"/>
                  </a:cubicBezTo>
                  <a:lnTo>
                    <a:pt x="441" y="942"/>
                  </a:lnTo>
                  <a:cubicBezTo>
                    <a:pt x="524" y="942"/>
                    <a:pt x="596" y="870"/>
                    <a:pt x="596" y="775"/>
                  </a:cubicBezTo>
                  <a:cubicBezTo>
                    <a:pt x="620" y="692"/>
                    <a:pt x="536" y="620"/>
                    <a:pt x="453" y="620"/>
                  </a:cubicBezTo>
                  <a:lnTo>
                    <a:pt x="334" y="620"/>
                  </a:lnTo>
                  <a:lnTo>
                    <a:pt x="334" y="168"/>
                  </a:ln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94" name="Google Shape;11494;p61"/>
          <p:cNvGrpSpPr/>
          <p:nvPr/>
        </p:nvGrpSpPr>
        <p:grpSpPr>
          <a:xfrm>
            <a:off x="4896609" y="4260872"/>
            <a:ext cx="278784" cy="355323"/>
            <a:chOff x="4896609" y="4260872"/>
            <a:chExt cx="278784" cy="355323"/>
          </a:xfrm>
        </p:grpSpPr>
        <p:sp>
          <p:nvSpPr>
            <p:cNvPr id="11495" name="Google Shape;11495;p61"/>
            <p:cNvSpPr/>
            <p:nvPr/>
          </p:nvSpPr>
          <p:spPr>
            <a:xfrm>
              <a:off x="4997700" y="43781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346"/>
                  </a:lnTo>
                  <a:cubicBezTo>
                    <a:pt x="0" y="430"/>
                    <a:pt x="72" y="513"/>
                    <a:pt x="167" y="513"/>
                  </a:cubicBezTo>
                  <a:cubicBezTo>
                    <a:pt x="250" y="513"/>
                    <a:pt x="322" y="430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6" name="Google Shape;11496;p61"/>
            <p:cNvSpPr/>
            <p:nvPr/>
          </p:nvSpPr>
          <p:spPr>
            <a:xfrm>
              <a:off x="5064830" y="43781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346"/>
                  </a:lnTo>
                  <a:cubicBezTo>
                    <a:pt x="1" y="430"/>
                    <a:pt x="72" y="513"/>
                    <a:pt x="156" y="513"/>
                  </a:cubicBezTo>
                  <a:cubicBezTo>
                    <a:pt x="251" y="513"/>
                    <a:pt x="322" y="430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7" name="Google Shape;11497;p61"/>
            <p:cNvSpPr/>
            <p:nvPr/>
          </p:nvSpPr>
          <p:spPr>
            <a:xfrm>
              <a:off x="5013160" y="4417498"/>
              <a:ext cx="46063" cy="15777"/>
            </a:xfrm>
            <a:custGeom>
              <a:avLst/>
              <a:gdLst/>
              <a:ahLst/>
              <a:cxnLst/>
              <a:rect l="l" t="t" r="r" b="b"/>
              <a:pathLst>
                <a:path w="1454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200"/>
                    <a:pt x="60" y="283"/>
                  </a:cubicBezTo>
                  <a:cubicBezTo>
                    <a:pt x="215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53" y="200"/>
                    <a:pt x="1453" y="104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8" name="Google Shape;11498;p61"/>
            <p:cNvSpPr/>
            <p:nvPr/>
          </p:nvSpPr>
          <p:spPr>
            <a:xfrm>
              <a:off x="4896609" y="4260872"/>
              <a:ext cx="278784" cy="355323"/>
            </a:xfrm>
            <a:custGeom>
              <a:avLst/>
              <a:gdLst/>
              <a:ahLst/>
              <a:cxnLst/>
              <a:rect l="l" t="t" r="r" b="b"/>
              <a:pathLst>
                <a:path w="8800" h="11216" extrusionOk="0">
                  <a:moveTo>
                    <a:pt x="4418" y="322"/>
                  </a:moveTo>
                  <a:cubicBezTo>
                    <a:pt x="5108" y="322"/>
                    <a:pt x="5751" y="441"/>
                    <a:pt x="6299" y="655"/>
                  </a:cubicBezTo>
                  <a:cubicBezTo>
                    <a:pt x="6454" y="715"/>
                    <a:pt x="6537" y="845"/>
                    <a:pt x="6537" y="1000"/>
                  </a:cubicBezTo>
                  <a:lnTo>
                    <a:pt x="6537" y="1441"/>
                  </a:lnTo>
                  <a:cubicBezTo>
                    <a:pt x="5978" y="1203"/>
                    <a:pt x="5227" y="1048"/>
                    <a:pt x="4418" y="1048"/>
                  </a:cubicBezTo>
                  <a:cubicBezTo>
                    <a:pt x="3596" y="1048"/>
                    <a:pt x="2870" y="1203"/>
                    <a:pt x="2287" y="1441"/>
                  </a:cubicBezTo>
                  <a:lnTo>
                    <a:pt x="2287" y="1000"/>
                  </a:lnTo>
                  <a:cubicBezTo>
                    <a:pt x="2287" y="845"/>
                    <a:pt x="2394" y="715"/>
                    <a:pt x="2525" y="655"/>
                  </a:cubicBezTo>
                  <a:cubicBezTo>
                    <a:pt x="3060" y="441"/>
                    <a:pt x="3715" y="322"/>
                    <a:pt x="4418" y="322"/>
                  </a:cubicBezTo>
                  <a:close/>
                  <a:moveTo>
                    <a:pt x="1870" y="4715"/>
                  </a:moveTo>
                  <a:cubicBezTo>
                    <a:pt x="1929" y="4715"/>
                    <a:pt x="1977" y="4763"/>
                    <a:pt x="1977" y="4822"/>
                  </a:cubicBezTo>
                  <a:cubicBezTo>
                    <a:pt x="1953" y="4882"/>
                    <a:pt x="1917" y="4929"/>
                    <a:pt x="1870" y="4929"/>
                  </a:cubicBezTo>
                  <a:cubicBezTo>
                    <a:pt x="1810" y="4929"/>
                    <a:pt x="1763" y="4882"/>
                    <a:pt x="1763" y="4822"/>
                  </a:cubicBezTo>
                  <a:cubicBezTo>
                    <a:pt x="1763" y="4763"/>
                    <a:pt x="1810" y="4715"/>
                    <a:pt x="1870" y="4715"/>
                  </a:cubicBezTo>
                  <a:close/>
                  <a:moveTo>
                    <a:pt x="6954" y="4715"/>
                  </a:moveTo>
                  <a:cubicBezTo>
                    <a:pt x="7013" y="4715"/>
                    <a:pt x="7061" y="4763"/>
                    <a:pt x="7061" y="4822"/>
                  </a:cubicBezTo>
                  <a:cubicBezTo>
                    <a:pt x="7061" y="4882"/>
                    <a:pt x="7013" y="4929"/>
                    <a:pt x="6954" y="4929"/>
                  </a:cubicBezTo>
                  <a:cubicBezTo>
                    <a:pt x="6894" y="4929"/>
                    <a:pt x="6859" y="4882"/>
                    <a:pt x="6859" y="4822"/>
                  </a:cubicBezTo>
                  <a:cubicBezTo>
                    <a:pt x="6859" y="4763"/>
                    <a:pt x="6894" y="4715"/>
                    <a:pt x="6954" y="4715"/>
                  </a:cubicBezTo>
                  <a:close/>
                  <a:moveTo>
                    <a:pt x="4382" y="1417"/>
                  </a:moveTo>
                  <a:cubicBezTo>
                    <a:pt x="6001" y="1417"/>
                    <a:pt x="7394" y="2072"/>
                    <a:pt x="7394" y="2822"/>
                  </a:cubicBezTo>
                  <a:cubicBezTo>
                    <a:pt x="7394" y="3143"/>
                    <a:pt x="7168" y="3382"/>
                    <a:pt x="6954" y="3536"/>
                  </a:cubicBezTo>
                  <a:lnTo>
                    <a:pt x="6656" y="3536"/>
                  </a:lnTo>
                  <a:cubicBezTo>
                    <a:pt x="6561" y="3536"/>
                    <a:pt x="6466" y="3453"/>
                    <a:pt x="6466" y="3346"/>
                  </a:cubicBezTo>
                  <a:lnTo>
                    <a:pt x="6466" y="2643"/>
                  </a:lnTo>
                  <a:cubicBezTo>
                    <a:pt x="6466" y="2500"/>
                    <a:pt x="6394" y="2286"/>
                    <a:pt x="6025" y="2096"/>
                  </a:cubicBezTo>
                  <a:cubicBezTo>
                    <a:pt x="6000" y="2081"/>
                    <a:pt x="5973" y="2074"/>
                    <a:pt x="5947" y="2074"/>
                  </a:cubicBezTo>
                  <a:cubicBezTo>
                    <a:pt x="5888" y="2074"/>
                    <a:pt x="5832" y="2109"/>
                    <a:pt x="5799" y="2167"/>
                  </a:cubicBezTo>
                  <a:cubicBezTo>
                    <a:pt x="5751" y="2250"/>
                    <a:pt x="5787" y="2346"/>
                    <a:pt x="5870" y="2393"/>
                  </a:cubicBezTo>
                  <a:cubicBezTo>
                    <a:pt x="6037" y="2489"/>
                    <a:pt x="6144" y="2572"/>
                    <a:pt x="6144" y="2643"/>
                  </a:cubicBezTo>
                  <a:lnTo>
                    <a:pt x="6144" y="3346"/>
                  </a:lnTo>
                  <a:cubicBezTo>
                    <a:pt x="6144" y="3632"/>
                    <a:pt x="6382" y="3870"/>
                    <a:pt x="6656" y="3870"/>
                  </a:cubicBezTo>
                  <a:lnTo>
                    <a:pt x="6930" y="3870"/>
                  </a:lnTo>
                  <a:cubicBezTo>
                    <a:pt x="7001" y="3870"/>
                    <a:pt x="7073" y="3893"/>
                    <a:pt x="7132" y="3953"/>
                  </a:cubicBezTo>
                  <a:cubicBezTo>
                    <a:pt x="7192" y="4013"/>
                    <a:pt x="7216" y="4096"/>
                    <a:pt x="7216" y="4167"/>
                  </a:cubicBezTo>
                  <a:cubicBezTo>
                    <a:pt x="7192" y="4298"/>
                    <a:pt x="7061" y="4417"/>
                    <a:pt x="6918" y="4417"/>
                  </a:cubicBezTo>
                  <a:lnTo>
                    <a:pt x="6835" y="4417"/>
                  </a:lnTo>
                  <a:lnTo>
                    <a:pt x="6835" y="4394"/>
                  </a:lnTo>
                  <a:cubicBezTo>
                    <a:pt x="6835" y="4298"/>
                    <a:pt x="6763" y="4227"/>
                    <a:pt x="6680" y="4227"/>
                  </a:cubicBezTo>
                  <a:cubicBezTo>
                    <a:pt x="6585" y="4227"/>
                    <a:pt x="6513" y="4298"/>
                    <a:pt x="6513" y="4394"/>
                  </a:cubicBezTo>
                  <a:cubicBezTo>
                    <a:pt x="6537" y="5227"/>
                    <a:pt x="6049" y="5977"/>
                    <a:pt x="5287" y="6322"/>
                  </a:cubicBezTo>
                  <a:lnTo>
                    <a:pt x="4573" y="6037"/>
                  </a:lnTo>
                  <a:lnTo>
                    <a:pt x="4573" y="5977"/>
                  </a:lnTo>
                  <a:cubicBezTo>
                    <a:pt x="4573" y="5894"/>
                    <a:pt x="4501" y="5822"/>
                    <a:pt x="4418" y="5822"/>
                  </a:cubicBezTo>
                  <a:cubicBezTo>
                    <a:pt x="4323" y="5822"/>
                    <a:pt x="4251" y="5894"/>
                    <a:pt x="4251" y="5977"/>
                  </a:cubicBezTo>
                  <a:lnTo>
                    <a:pt x="4251" y="6037"/>
                  </a:lnTo>
                  <a:lnTo>
                    <a:pt x="3537" y="6322"/>
                  </a:lnTo>
                  <a:cubicBezTo>
                    <a:pt x="2775" y="5977"/>
                    <a:pt x="2287" y="5227"/>
                    <a:pt x="2287" y="4394"/>
                  </a:cubicBezTo>
                  <a:cubicBezTo>
                    <a:pt x="2287" y="4298"/>
                    <a:pt x="2215" y="4227"/>
                    <a:pt x="2120" y="4227"/>
                  </a:cubicBezTo>
                  <a:cubicBezTo>
                    <a:pt x="2037" y="4227"/>
                    <a:pt x="1953" y="4298"/>
                    <a:pt x="1953" y="4394"/>
                  </a:cubicBezTo>
                  <a:lnTo>
                    <a:pt x="1953" y="4405"/>
                  </a:lnTo>
                  <a:lnTo>
                    <a:pt x="1858" y="4405"/>
                  </a:lnTo>
                  <a:cubicBezTo>
                    <a:pt x="1775" y="4405"/>
                    <a:pt x="1703" y="4370"/>
                    <a:pt x="1644" y="4310"/>
                  </a:cubicBezTo>
                  <a:cubicBezTo>
                    <a:pt x="1584" y="4251"/>
                    <a:pt x="1572" y="4179"/>
                    <a:pt x="1572" y="4108"/>
                  </a:cubicBezTo>
                  <a:cubicBezTo>
                    <a:pt x="1584" y="3977"/>
                    <a:pt x="1715" y="3858"/>
                    <a:pt x="1870" y="3858"/>
                  </a:cubicBezTo>
                  <a:lnTo>
                    <a:pt x="2108" y="3858"/>
                  </a:lnTo>
                  <a:cubicBezTo>
                    <a:pt x="2394" y="3858"/>
                    <a:pt x="2632" y="3620"/>
                    <a:pt x="2632" y="3334"/>
                  </a:cubicBezTo>
                  <a:lnTo>
                    <a:pt x="2632" y="2631"/>
                  </a:lnTo>
                  <a:cubicBezTo>
                    <a:pt x="2632" y="2560"/>
                    <a:pt x="2751" y="2405"/>
                    <a:pt x="3084" y="2286"/>
                  </a:cubicBezTo>
                  <a:cubicBezTo>
                    <a:pt x="3430" y="2155"/>
                    <a:pt x="3906" y="2096"/>
                    <a:pt x="4394" y="2096"/>
                  </a:cubicBezTo>
                  <a:cubicBezTo>
                    <a:pt x="4692" y="2096"/>
                    <a:pt x="4989" y="2131"/>
                    <a:pt x="5251" y="2167"/>
                  </a:cubicBezTo>
                  <a:cubicBezTo>
                    <a:pt x="5264" y="2171"/>
                    <a:pt x="5276" y="2172"/>
                    <a:pt x="5289" y="2172"/>
                  </a:cubicBezTo>
                  <a:cubicBezTo>
                    <a:pt x="5361" y="2172"/>
                    <a:pt x="5432" y="2117"/>
                    <a:pt x="5442" y="2036"/>
                  </a:cubicBezTo>
                  <a:cubicBezTo>
                    <a:pt x="5454" y="1953"/>
                    <a:pt x="5394" y="1858"/>
                    <a:pt x="5299" y="1846"/>
                  </a:cubicBezTo>
                  <a:cubicBezTo>
                    <a:pt x="5025" y="1786"/>
                    <a:pt x="4704" y="1774"/>
                    <a:pt x="4394" y="1774"/>
                  </a:cubicBezTo>
                  <a:cubicBezTo>
                    <a:pt x="3858" y="1774"/>
                    <a:pt x="3358" y="1846"/>
                    <a:pt x="2965" y="1988"/>
                  </a:cubicBezTo>
                  <a:cubicBezTo>
                    <a:pt x="2418" y="2203"/>
                    <a:pt x="2298" y="2453"/>
                    <a:pt x="2298" y="2643"/>
                  </a:cubicBezTo>
                  <a:lnTo>
                    <a:pt x="2298" y="3346"/>
                  </a:lnTo>
                  <a:cubicBezTo>
                    <a:pt x="2298" y="3453"/>
                    <a:pt x="2215" y="3536"/>
                    <a:pt x="2108" y="3536"/>
                  </a:cubicBezTo>
                  <a:lnTo>
                    <a:pt x="1810" y="3536"/>
                  </a:lnTo>
                  <a:cubicBezTo>
                    <a:pt x="1596" y="3382"/>
                    <a:pt x="1382" y="3143"/>
                    <a:pt x="1382" y="2822"/>
                  </a:cubicBezTo>
                  <a:cubicBezTo>
                    <a:pt x="1382" y="2048"/>
                    <a:pt x="2751" y="1417"/>
                    <a:pt x="4382" y="1417"/>
                  </a:cubicBezTo>
                  <a:close/>
                  <a:moveTo>
                    <a:pt x="4394" y="6322"/>
                  </a:moveTo>
                  <a:lnTo>
                    <a:pt x="4977" y="6560"/>
                  </a:lnTo>
                  <a:lnTo>
                    <a:pt x="4668" y="6894"/>
                  </a:lnTo>
                  <a:cubicBezTo>
                    <a:pt x="4590" y="6965"/>
                    <a:pt x="4498" y="7001"/>
                    <a:pt x="4406" y="7001"/>
                  </a:cubicBezTo>
                  <a:cubicBezTo>
                    <a:pt x="4314" y="7001"/>
                    <a:pt x="4221" y="6965"/>
                    <a:pt x="4144" y="6894"/>
                  </a:cubicBezTo>
                  <a:lnTo>
                    <a:pt x="3811" y="6560"/>
                  </a:lnTo>
                  <a:lnTo>
                    <a:pt x="4394" y="6322"/>
                  </a:lnTo>
                  <a:close/>
                  <a:moveTo>
                    <a:pt x="4406" y="0"/>
                  </a:moveTo>
                  <a:cubicBezTo>
                    <a:pt x="3680" y="0"/>
                    <a:pt x="2989" y="119"/>
                    <a:pt x="2406" y="345"/>
                  </a:cubicBezTo>
                  <a:cubicBezTo>
                    <a:pt x="2132" y="441"/>
                    <a:pt x="1953" y="703"/>
                    <a:pt x="1953" y="1000"/>
                  </a:cubicBezTo>
                  <a:lnTo>
                    <a:pt x="1953" y="1607"/>
                  </a:lnTo>
                  <a:cubicBezTo>
                    <a:pt x="1406" y="1917"/>
                    <a:pt x="1072" y="2334"/>
                    <a:pt x="1072" y="2798"/>
                  </a:cubicBezTo>
                  <a:cubicBezTo>
                    <a:pt x="1072" y="3096"/>
                    <a:pt x="1215" y="3393"/>
                    <a:pt x="1489" y="3643"/>
                  </a:cubicBezTo>
                  <a:cubicBezTo>
                    <a:pt x="1358" y="3751"/>
                    <a:pt x="1286" y="3882"/>
                    <a:pt x="1275" y="4048"/>
                  </a:cubicBezTo>
                  <a:cubicBezTo>
                    <a:pt x="1251" y="4215"/>
                    <a:pt x="1310" y="4394"/>
                    <a:pt x="1417" y="4513"/>
                  </a:cubicBezTo>
                  <a:cubicBezTo>
                    <a:pt x="1453" y="4536"/>
                    <a:pt x="1477" y="4572"/>
                    <a:pt x="1513" y="4584"/>
                  </a:cubicBezTo>
                  <a:cubicBezTo>
                    <a:pt x="1465" y="4644"/>
                    <a:pt x="1453" y="4715"/>
                    <a:pt x="1453" y="4810"/>
                  </a:cubicBezTo>
                  <a:cubicBezTo>
                    <a:pt x="1453" y="5048"/>
                    <a:pt x="1644" y="5239"/>
                    <a:pt x="1882" y="5239"/>
                  </a:cubicBezTo>
                  <a:cubicBezTo>
                    <a:pt x="1965" y="5239"/>
                    <a:pt x="2048" y="5203"/>
                    <a:pt x="2120" y="5167"/>
                  </a:cubicBezTo>
                  <a:cubicBezTo>
                    <a:pt x="2346" y="5798"/>
                    <a:pt x="2822" y="6334"/>
                    <a:pt x="3453" y="6620"/>
                  </a:cubicBezTo>
                  <a:lnTo>
                    <a:pt x="3930" y="7096"/>
                  </a:lnTo>
                  <a:cubicBezTo>
                    <a:pt x="4073" y="7227"/>
                    <a:pt x="4251" y="7311"/>
                    <a:pt x="4430" y="7311"/>
                  </a:cubicBezTo>
                  <a:cubicBezTo>
                    <a:pt x="4608" y="7311"/>
                    <a:pt x="4787" y="7227"/>
                    <a:pt x="4918" y="7096"/>
                  </a:cubicBezTo>
                  <a:lnTo>
                    <a:pt x="5394" y="6620"/>
                  </a:lnTo>
                  <a:lnTo>
                    <a:pt x="5477" y="6572"/>
                  </a:lnTo>
                  <a:lnTo>
                    <a:pt x="5477" y="7144"/>
                  </a:lnTo>
                  <a:cubicBezTo>
                    <a:pt x="5477" y="7442"/>
                    <a:pt x="5692" y="7727"/>
                    <a:pt x="5978" y="7811"/>
                  </a:cubicBezTo>
                  <a:lnTo>
                    <a:pt x="6942" y="8096"/>
                  </a:lnTo>
                  <a:cubicBezTo>
                    <a:pt x="6573" y="8513"/>
                    <a:pt x="5537" y="9597"/>
                    <a:pt x="4406" y="10180"/>
                  </a:cubicBezTo>
                  <a:cubicBezTo>
                    <a:pt x="3275" y="9608"/>
                    <a:pt x="2251" y="8525"/>
                    <a:pt x="1882" y="8096"/>
                  </a:cubicBezTo>
                  <a:lnTo>
                    <a:pt x="2846" y="7811"/>
                  </a:lnTo>
                  <a:cubicBezTo>
                    <a:pt x="3144" y="7727"/>
                    <a:pt x="3334" y="7453"/>
                    <a:pt x="3334" y="7144"/>
                  </a:cubicBezTo>
                  <a:lnTo>
                    <a:pt x="3334" y="7013"/>
                  </a:lnTo>
                  <a:cubicBezTo>
                    <a:pt x="3334" y="6918"/>
                    <a:pt x="3263" y="6846"/>
                    <a:pt x="3180" y="6846"/>
                  </a:cubicBezTo>
                  <a:cubicBezTo>
                    <a:pt x="3084" y="6846"/>
                    <a:pt x="3013" y="6918"/>
                    <a:pt x="3013" y="7013"/>
                  </a:cubicBezTo>
                  <a:lnTo>
                    <a:pt x="3013" y="7144"/>
                  </a:lnTo>
                  <a:cubicBezTo>
                    <a:pt x="3013" y="7311"/>
                    <a:pt x="2906" y="7442"/>
                    <a:pt x="2739" y="7489"/>
                  </a:cubicBezTo>
                  <a:lnTo>
                    <a:pt x="882" y="8037"/>
                  </a:lnTo>
                  <a:cubicBezTo>
                    <a:pt x="358" y="8180"/>
                    <a:pt x="1" y="8680"/>
                    <a:pt x="1" y="9216"/>
                  </a:cubicBezTo>
                  <a:lnTo>
                    <a:pt x="1" y="11061"/>
                  </a:lnTo>
                  <a:cubicBezTo>
                    <a:pt x="1" y="11144"/>
                    <a:pt x="84" y="11216"/>
                    <a:pt x="167" y="11216"/>
                  </a:cubicBezTo>
                  <a:cubicBezTo>
                    <a:pt x="263" y="11216"/>
                    <a:pt x="334" y="11144"/>
                    <a:pt x="334" y="11061"/>
                  </a:cubicBezTo>
                  <a:lnTo>
                    <a:pt x="334" y="9216"/>
                  </a:lnTo>
                  <a:cubicBezTo>
                    <a:pt x="334" y="8823"/>
                    <a:pt x="596" y="8465"/>
                    <a:pt x="977" y="8358"/>
                  </a:cubicBezTo>
                  <a:lnTo>
                    <a:pt x="1513" y="8192"/>
                  </a:lnTo>
                  <a:cubicBezTo>
                    <a:pt x="1775" y="8525"/>
                    <a:pt x="2965" y="9847"/>
                    <a:pt x="4323" y="10501"/>
                  </a:cubicBezTo>
                  <a:cubicBezTo>
                    <a:pt x="4346" y="10525"/>
                    <a:pt x="4370" y="10525"/>
                    <a:pt x="4394" y="10525"/>
                  </a:cubicBezTo>
                  <a:cubicBezTo>
                    <a:pt x="4430" y="10525"/>
                    <a:pt x="4442" y="10525"/>
                    <a:pt x="4465" y="10501"/>
                  </a:cubicBezTo>
                  <a:cubicBezTo>
                    <a:pt x="5823" y="9847"/>
                    <a:pt x="7013" y="8525"/>
                    <a:pt x="7287" y="8192"/>
                  </a:cubicBezTo>
                  <a:lnTo>
                    <a:pt x="7823" y="8358"/>
                  </a:lnTo>
                  <a:cubicBezTo>
                    <a:pt x="8192" y="8465"/>
                    <a:pt x="8454" y="8823"/>
                    <a:pt x="8454" y="9216"/>
                  </a:cubicBezTo>
                  <a:lnTo>
                    <a:pt x="8454" y="11061"/>
                  </a:lnTo>
                  <a:cubicBezTo>
                    <a:pt x="8454" y="11144"/>
                    <a:pt x="8537" y="11216"/>
                    <a:pt x="8621" y="11216"/>
                  </a:cubicBezTo>
                  <a:cubicBezTo>
                    <a:pt x="8716" y="11216"/>
                    <a:pt x="8787" y="11144"/>
                    <a:pt x="8787" y="11061"/>
                  </a:cubicBezTo>
                  <a:lnTo>
                    <a:pt x="8787" y="9216"/>
                  </a:lnTo>
                  <a:cubicBezTo>
                    <a:pt x="8799" y="8692"/>
                    <a:pt x="8442" y="8215"/>
                    <a:pt x="7930" y="8049"/>
                  </a:cubicBezTo>
                  <a:lnTo>
                    <a:pt x="6061" y="7501"/>
                  </a:lnTo>
                  <a:cubicBezTo>
                    <a:pt x="5918" y="7453"/>
                    <a:pt x="5799" y="7311"/>
                    <a:pt x="5799" y="7156"/>
                  </a:cubicBezTo>
                  <a:lnTo>
                    <a:pt x="5799" y="6394"/>
                  </a:lnTo>
                  <a:cubicBezTo>
                    <a:pt x="6228" y="6096"/>
                    <a:pt x="6561" y="5668"/>
                    <a:pt x="6716" y="5179"/>
                  </a:cubicBezTo>
                  <a:cubicBezTo>
                    <a:pt x="6799" y="5215"/>
                    <a:pt x="6870" y="5251"/>
                    <a:pt x="6954" y="5251"/>
                  </a:cubicBezTo>
                  <a:cubicBezTo>
                    <a:pt x="7192" y="5251"/>
                    <a:pt x="7394" y="5060"/>
                    <a:pt x="7394" y="4822"/>
                  </a:cubicBezTo>
                  <a:cubicBezTo>
                    <a:pt x="7394" y="4727"/>
                    <a:pt x="7359" y="4655"/>
                    <a:pt x="7335" y="4596"/>
                  </a:cubicBezTo>
                  <a:cubicBezTo>
                    <a:pt x="7466" y="4489"/>
                    <a:pt x="7549" y="4346"/>
                    <a:pt x="7573" y="4179"/>
                  </a:cubicBezTo>
                  <a:cubicBezTo>
                    <a:pt x="7585" y="4013"/>
                    <a:pt x="7525" y="3834"/>
                    <a:pt x="7418" y="3715"/>
                  </a:cubicBezTo>
                  <a:cubicBezTo>
                    <a:pt x="7406" y="3691"/>
                    <a:pt x="7371" y="3679"/>
                    <a:pt x="7347" y="3643"/>
                  </a:cubicBezTo>
                  <a:cubicBezTo>
                    <a:pt x="7609" y="3393"/>
                    <a:pt x="7752" y="3096"/>
                    <a:pt x="7752" y="2798"/>
                  </a:cubicBezTo>
                  <a:cubicBezTo>
                    <a:pt x="7752" y="2334"/>
                    <a:pt x="7418" y="1917"/>
                    <a:pt x="6870" y="1607"/>
                  </a:cubicBezTo>
                  <a:lnTo>
                    <a:pt x="6870" y="1000"/>
                  </a:lnTo>
                  <a:cubicBezTo>
                    <a:pt x="6870" y="715"/>
                    <a:pt x="6692" y="453"/>
                    <a:pt x="6418" y="345"/>
                  </a:cubicBezTo>
                  <a:cubicBezTo>
                    <a:pt x="5835" y="119"/>
                    <a:pt x="5144" y="0"/>
                    <a:pt x="4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9" name="Google Shape;11499;p61"/>
            <p:cNvSpPr/>
            <p:nvPr/>
          </p:nvSpPr>
          <p:spPr>
            <a:xfrm>
              <a:off x="4992030" y="4361203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50"/>
                    <a:pt x="691" y="167"/>
                  </a:cubicBezTo>
                  <a:cubicBezTo>
                    <a:pt x="691" y="72"/>
                    <a:pt x="608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0" name="Google Shape;11500;p61"/>
            <p:cNvSpPr/>
            <p:nvPr/>
          </p:nvSpPr>
          <p:spPr>
            <a:xfrm>
              <a:off x="5059191" y="4361203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50"/>
                    <a:pt x="679" y="167"/>
                  </a:cubicBezTo>
                  <a:cubicBezTo>
                    <a:pt x="679" y="72"/>
                    <a:pt x="607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01" name="Google Shape;11501;p61"/>
          <p:cNvGrpSpPr/>
          <p:nvPr/>
        </p:nvGrpSpPr>
        <p:grpSpPr>
          <a:xfrm>
            <a:off x="7598438" y="4266131"/>
            <a:ext cx="260283" cy="345914"/>
            <a:chOff x="7598438" y="4266131"/>
            <a:chExt cx="260283" cy="345914"/>
          </a:xfrm>
        </p:grpSpPr>
        <p:sp>
          <p:nvSpPr>
            <p:cNvPr id="11502" name="Google Shape;11502;p61"/>
            <p:cNvSpPr/>
            <p:nvPr/>
          </p:nvSpPr>
          <p:spPr>
            <a:xfrm>
              <a:off x="7598438" y="4266131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6525" y="3477"/>
                  </a:moveTo>
                  <a:cubicBezTo>
                    <a:pt x="6644" y="3513"/>
                    <a:pt x="6763" y="3525"/>
                    <a:pt x="6882" y="3537"/>
                  </a:cubicBezTo>
                  <a:lnTo>
                    <a:pt x="6882" y="4430"/>
                  </a:lnTo>
                  <a:cubicBezTo>
                    <a:pt x="6882" y="4882"/>
                    <a:pt x="6941" y="5251"/>
                    <a:pt x="7060" y="5549"/>
                  </a:cubicBezTo>
                  <a:cubicBezTo>
                    <a:pt x="7072" y="5597"/>
                    <a:pt x="7072" y="5656"/>
                    <a:pt x="7060" y="5692"/>
                  </a:cubicBezTo>
                  <a:cubicBezTo>
                    <a:pt x="7037" y="5740"/>
                    <a:pt x="7001" y="5775"/>
                    <a:pt x="6953" y="5787"/>
                  </a:cubicBezTo>
                  <a:cubicBezTo>
                    <a:pt x="6608" y="5906"/>
                    <a:pt x="6120" y="6049"/>
                    <a:pt x="5572" y="6156"/>
                  </a:cubicBezTo>
                  <a:cubicBezTo>
                    <a:pt x="6144" y="5728"/>
                    <a:pt x="6525" y="5025"/>
                    <a:pt x="6525" y="4251"/>
                  </a:cubicBezTo>
                  <a:lnTo>
                    <a:pt x="6525" y="3477"/>
                  </a:lnTo>
                  <a:close/>
                  <a:moveTo>
                    <a:pt x="4120" y="334"/>
                  </a:moveTo>
                  <a:cubicBezTo>
                    <a:pt x="5644" y="334"/>
                    <a:pt x="6882" y="1572"/>
                    <a:pt x="6882" y="3096"/>
                  </a:cubicBezTo>
                  <a:lnTo>
                    <a:pt x="6882" y="3239"/>
                  </a:lnTo>
                  <a:cubicBezTo>
                    <a:pt x="6596" y="3192"/>
                    <a:pt x="6322" y="3132"/>
                    <a:pt x="6060" y="3061"/>
                  </a:cubicBezTo>
                  <a:cubicBezTo>
                    <a:pt x="6043" y="3054"/>
                    <a:pt x="6026" y="3051"/>
                    <a:pt x="6010" y="3051"/>
                  </a:cubicBezTo>
                  <a:cubicBezTo>
                    <a:pt x="5937" y="3051"/>
                    <a:pt x="5880" y="3112"/>
                    <a:pt x="5870" y="3180"/>
                  </a:cubicBezTo>
                  <a:cubicBezTo>
                    <a:pt x="5834" y="3263"/>
                    <a:pt x="5894" y="3358"/>
                    <a:pt x="5989" y="3370"/>
                  </a:cubicBezTo>
                  <a:cubicBezTo>
                    <a:pt x="6060" y="3382"/>
                    <a:pt x="6132" y="3418"/>
                    <a:pt x="6203" y="3430"/>
                  </a:cubicBezTo>
                  <a:lnTo>
                    <a:pt x="6203" y="4275"/>
                  </a:lnTo>
                  <a:cubicBezTo>
                    <a:pt x="6191" y="5394"/>
                    <a:pt x="5275" y="6323"/>
                    <a:pt x="4120" y="6323"/>
                  </a:cubicBezTo>
                  <a:cubicBezTo>
                    <a:pt x="2989" y="6323"/>
                    <a:pt x="2060" y="5394"/>
                    <a:pt x="2060" y="4251"/>
                  </a:cubicBezTo>
                  <a:lnTo>
                    <a:pt x="2060" y="3573"/>
                  </a:lnTo>
                  <a:cubicBezTo>
                    <a:pt x="2060" y="3477"/>
                    <a:pt x="1976" y="3406"/>
                    <a:pt x="1893" y="3406"/>
                  </a:cubicBezTo>
                  <a:cubicBezTo>
                    <a:pt x="1798" y="3406"/>
                    <a:pt x="1726" y="3477"/>
                    <a:pt x="1726" y="3573"/>
                  </a:cubicBezTo>
                  <a:lnTo>
                    <a:pt x="1726" y="4251"/>
                  </a:lnTo>
                  <a:cubicBezTo>
                    <a:pt x="1726" y="5025"/>
                    <a:pt x="2096" y="5716"/>
                    <a:pt x="2679" y="6156"/>
                  </a:cubicBezTo>
                  <a:cubicBezTo>
                    <a:pt x="2131" y="6037"/>
                    <a:pt x="1643" y="5906"/>
                    <a:pt x="1298" y="5787"/>
                  </a:cubicBezTo>
                  <a:cubicBezTo>
                    <a:pt x="1250" y="5775"/>
                    <a:pt x="1203" y="5740"/>
                    <a:pt x="1191" y="5692"/>
                  </a:cubicBezTo>
                  <a:cubicBezTo>
                    <a:pt x="1179" y="5656"/>
                    <a:pt x="1179" y="5609"/>
                    <a:pt x="1191" y="5561"/>
                  </a:cubicBezTo>
                  <a:cubicBezTo>
                    <a:pt x="1310" y="5263"/>
                    <a:pt x="1369" y="4882"/>
                    <a:pt x="1369" y="4442"/>
                  </a:cubicBezTo>
                  <a:lnTo>
                    <a:pt x="1369" y="3239"/>
                  </a:lnTo>
                  <a:cubicBezTo>
                    <a:pt x="1405" y="3239"/>
                    <a:pt x="1417" y="3227"/>
                    <a:pt x="1429" y="3227"/>
                  </a:cubicBezTo>
                  <a:cubicBezTo>
                    <a:pt x="1476" y="3216"/>
                    <a:pt x="2417" y="2942"/>
                    <a:pt x="3227" y="2275"/>
                  </a:cubicBezTo>
                  <a:cubicBezTo>
                    <a:pt x="3286" y="2221"/>
                    <a:pt x="3361" y="2195"/>
                    <a:pt x="3435" y="2195"/>
                  </a:cubicBezTo>
                  <a:cubicBezTo>
                    <a:pt x="3509" y="2195"/>
                    <a:pt x="3584" y="2221"/>
                    <a:pt x="3643" y="2275"/>
                  </a:cubicBezTo>
                  <a:cubicBezTo>
                    <a:pt x="3965" y="2513"/>
                    <a:pt x="4501" y="2858"/>
                    <a:pt x="5251" y="3132"/>
                  </a:cubicBezTo>
                  <a:cubicBezTo>
                    <a:pt x="5273" y="3141"/>
                    <a:pt x="5295" y="3144"/>
                    <a:pt x="5315" y="3144"/>
                  </a:cubicBezTo>
                  <a:cubicBezTo>
                    <a:pt x="5382" y="3144"/>
                    <a:pt x="5438" y="3104"/>
                    <a:pt x="5465" y="3049"/>
                  </a:cubicBezTo>
                  <a:cubicBezTo>
                    <a:pt x="5489" y="2954"/>
                    <a:pt x="5453" y="2870"/>
                    <a:pt x="5370" y="2835"/>
                  </a:cubicBezTo>
                  <a:cubicBezTo>
                    <a:pt x="4655" y="2573"/>
                    <a:pt x="4155" y="2239"/>
                    <a:pt x="3858" y="2025"/>
                  </a:cubicBezTo>
                  <a:cubicBezTo>
                    <a:pt x="3735" y="1931"/>
                    <a:pt x="3591" y="1883"/>
                    <a:pt x="3449" y="1883"/>
                  </a:cubicBezTo>
                  <a:cubicBezTo>
                    <a:pt x="3302" y="1883"/>
                    <a:pt x="3157" y="1934"/>
                    <a:pt x="3036" y="2037"/>
                  </a:cubicBezTo>
                  <a:cubicBezTo>
                    <a:pt x="2357" y="2584"/>
                    <a:pt x="1560" y="2870"/>
                    <a:pt x="1381" y="2918"/>
                  </a:cubicBezTo>
                  <a:cubicBezTo>
                    <a:pt x="1476" y="1465"/>
                    <a:pt x="2667" y="334"/>
                    <a:pt x="4120" y="334"/>
                  </a:cubicBezTo>
                  <a:close/>
                  <a:moveTo>
                    <a:pt x="4989" y="6466"/>
                  </a:moveTo>
                  <a:lnTo>
                    <a:pt x="4989" y="6823"/>
                  </a:lnTo>
                  <a:lnTo>
                    <a:pt x="4715" y="7871"/>
                  </a:lnTo>
                  <a:cubicBezTo>
                    <a:pt x="4536" y="7978"/>
                    <a:pt x="4334" y="8014"/>
                    <a:pt x="4120" y="8014"/>
                  </a:cubicBezTo>
                  <a:cubicBezTo>
                    <a:pt x="3917" y="8014"/>
                    <a:pt x="3703" y="7954"/>
                    <a:pt x="3524" y="7871"/>
                  </a:cubicBezTo>
                  <a:lnTo>
                    <a:pt x="3262" y="6823"/>
                  </a:lnTo>
                  <a:lnTo>
                    <a:pt x="3262" y="6466"/>
                  </a:lnTo>
                  <a:cubicBezTo>
                    <a:pt x="3524" y="6573"/>
                    <a:pt x="3822" y="6633"/>
                    <a:pt x="4120" y="6633"/>
                  </a:cubicBezTo>
                  <a:cubicBezTo>
                    <a:pt x="4417" y="6633"/>
                    <a:pt x="4715" y="6573"/>
                    <a:pt x="4989" y="6466"/>
                  </a:cubicBezTo>
                  <a:close/>
                  <a:moveTo>
                    <a:pt x="2619" y="9895"/>
                  </a:moveTo>
                  <a:lnTo>
                    <a:pt x="2619" y="10597"/>
                  </a:lnTo>
                  <a:lnTo>
                    <a:pt x="1226" y="10597"/>
                  </a:lnTo>
                  <a:lnTo>
                    <a:pt x="1226" y="9895"/>
                  </a:lnTo>
                  <a:lnTo>
                    <a:pt x="1762" y="9895"/>
                  </a:lnTo>
                  <a:lnTo>
                    <a:pt x="1762" y="9907"/>
                  </a:lnTo>
                  <a:cubicBezTo>
                    <a:pt x="1762" y="10002"/>
                    <a:pt x="1834" y="10074"/>
                    <a:pt x="1917" y="10074"/>
                  </a:cubicBezTo>
                  <a:cubicBezTo>
                    <a:pt x="2012" y="10074"/>
                    <a:pt x="2084" y="10002"/>
                    <a:pt x="2084" y="9907"/>
                  </a:cubicBezTo>
                  <a:lnTo>
                    <a:pt x="2084" y="9895"/>
                  </a:lnTo>
                  <a:close/>
                  <a:moveTo>
                    <a:pt x="4108" y="1"/>
                  </a:moveTo>
                  <a:cubicBezTo>
                    <a:pt x="2417" y="1"/>
                    <a:pt x="1048" y="1370"/>
                    <a:pt x="1048" y="3061"/>
                  </a:cubicBezTo>
                  <a:lnTo>
                    <a:pt x="1048" y="4430"/>
                  </a:lnTo>
                  <a:cubicBezTo>
                    <a:pt x="1048" y="4942"/>
                    <a:pt x="953" y="5251"/>
                    <a:pt x="881" y="5430"/>
                  </a:cubicBezTo>
                  <a:cubicBezTo>
                    <a:pt x="833" y="5561"/>
                    <a:pt x="833" y="5692"/>
                    <a:pt x="893" y="5811"/>
                  </a:cubicBezTo>
                  <a:cubicBezTo>
                    <a:pt x="953" y="5930"/>
                    <a:pt x="1060" y="6037"/>
                    <a:pt x="1191" y="6085"/>
                  </a:cubicBezTo>
                  <a:cubicBezTo>
                    <a:pt x="1607" y="6216"/>
                    <a:pt x="2238" y="6406"/>
                    <a:pt x="2917" y="6525"/>
                  </a:cubicBezTo>
                  <a:lnTo>
                    <a:pt x="2917" y="6752"/>
                  </a:lnTo>
                  <a:lnTo>
                    <a:pt x="2250" y="7061"/>
                  </a:lnTo>
                  <a:cubicBezTo>
                    <a:pt x="2143" y="7109"/>
                    <a:pt x="2060" y="7216"/>
                    <a:pt x="2024" y="7335"/>
                  </a:cubicBezTo>
                  <a:cubicBezTo>
                    <a:pt x="2012" y="7407"/>
                    <a:pt x="2012" y="7466"/>
                    <a:pt x="2024" y="7537"/>
                  </a:cubicBezTo>
                  <a:lnTo>
                    <a:pt x="786" y="7978"/>
                  </a:lnTo>
                  <a:cubicBezTo>
                    <a:pt x="310" y="8133"/>
                    <a:pt x="0" y="8585"/>
                    <a:pt x="0" y="9085"/>
                  </a:cubicBezTo>
                  <a:lnTo>
                    <a:pt x="0" y="10752"/>
                  </a:lnTo>
                  <a:cubicBezTo>
                    <a:pt x="0" y="10847"/>
                    <a:pt x="71" y="10919"/>
                    <a:pt x="167" y="10919"/>
                  </a:cubicBezTo>
                  <a:cubicBezTo>
                    <a:pt x="250" y="10919"/>
                    <a:pt x="333" y="10847"/>
                    <a:pt x="333" y="10752"/>
                  </a:cubicBezTo>
                  <a:lnTo>
                    <a:pt x="333" y="9085"/>
                  </a:lnTo>
                  <a:cubicBezTo>
                    <a:pt x="333" y="8716"/>
                    <a:pt x="572" y="8395"/>
                    <a:pt x="905" y="8276"/>
                  </a:cubicBezTo>
                  <a:lnTo>
                    <a:pt x="2203" y="7811"/>
                  </a:lnTo>
                  <a:lnTo>
                    <a:pt x="2369" y="8014"/>
                  </a:lnTo>
                  <a:lnTo>
                    <a:pt x="2191" y="8276"/>
                  </a:lnTo>
                  <a:cubicBezTo>
                    <a:pt x="2096" y="8419"/>
                    <a:pt x="2084" y="8597"/>
                    <a:pt x="2143" y="8764"/>
                  </a:cubicBezTo>
                  <a:lnTo>
                    <a:pt x="2512" y="9550"/>
                  </a:lnTo>
                  <a:lnTo>
                    <a:pt x="2024" y="9550"/>
                  </a:lnTo>
                  <a:lnTo>
                    <a:pt x="2024" y="9371"/>
                  </a:lnTo>
                  <a:cubicBezTo>
                    <a:pt x="2024" y="9276"/>
                    <a:pt x="1953" y="9204"/>
                    <a:pt x="1857" y="9204"/>
                  </a:cubicBezTo>
                  <a:cubicBezTo>
                    <a:pt x="1774" y="9204"/>
                    <a:pt x="1703" y="9276"/>
                    <a:pt x="1703" y="9371"/>
                  </a:cubicBezTo>
                  <a:lnTo>
                    <a:pt x="1703" y="9550"/>
                  </a:lnTo>
                  <a:lnTo>
                    <a:pt x="1000" y="9550"/>
                  </a:lnTo>
                  <a:cubicBezTo>
                    <a:pt x="905" y="9550"/>
                    <a:pt x="833" y="9621"/>
                    <a:pt x="833" y="9716"/>
                  </a:cubicBezTo>
                  <a:lnTo>
                    <a:pt x="833" y="10740"/>
                  </a:lnTo>
                  <a:cubicBezTo>
                    <a:pt x="833" y="10836"/>
                    <a:pt x="905" y="10907"/>
                    <a:pt x="1000" y="10907"/>
                  </a:cubicBezTo>
                  <a:lnTo>
                    <a:pt x="2715" y="10907"/>
                  </a:lnTo>
                  <a:cubicBezTo>
                    <a:pt x="2798" y="10907"/>
                    <a:pt x="2869" y="10836"/>
                    <a:pt x="2869" y="10740"/>
                  </a:cubicBezTo>
                  <a:lnTo>
                    <a:pt x="2869" y="10359"/>
                  </a:lnTo>
                  <a:lnTo>
                    <a:pt x="3084" y="10800"/>
                  </a:lnTo>
                  <a:cubicBezTo>
                    <a:pt x="3108" y="10859"/>
                    <a:pt x="3167" y="10895"/>
                    <a:pt x="3227" y="10895"/>
                  </a:cubicBezTo>
                  <a:cubicBezTo>
                    <a:pt x="3262" y="10895"/>
                    <a:pt x="3274" y="10895"/>
                    <a:pt x="3286" y="10871"/>
                  </a:cubicBezTo>
                  <a:cubicBezTo>
                    <a:pt x="3370" y="10847"/>
                    <a:pt x="3405" y="10740"/>
                    <a:pt x="3370" y="10669"/>
                  </a:cubicBezTo>
                  <a:lnTo>
                    <a:pt x="2417" y="8609"/>
                  </a:lnTo>
                  <a:cubicBezTo>
                    <a:pt x="2381" y="8550"/>
                    <a:pt x="2393" y="8490"/>
                    <a:pt x="2429" y="8430"/>
                  </a:cubicBezTo>
                  <a:lnTo>
                    <a:pt x="2667" y="8073"/>
                  </a:lnTo>
                  <a:cubicBezTo>
                    <a:pt x="2715" y="8014"/>
                    <a:pt x="2691" y="7942"/>
                    <a:pt x="2667" y="7895"/>
                  </a:cubicBezTo>
                  <a:lnTo>
                    <a:pt x="2334" y="7454"/>
                  </a:lnTo>
                  <a:cubicBezTo>
                    <a:pt x="2322" y="7418"/>
                    <a:pt x="2322" y="7395"/>
                    <a:pt x="2322" y="7383"/>
                  </a:cubicBezTo>
                  <a:cubicBezTo>
                    <a:pt x="2322" y="7359"/>
                    <a:pt x="2334" y="7335"/>
                    <a:pt x="2369" y="7323"/>
                  </a:cubicBezTo>
                  <a:lnTo>
                    <a:pt x="2953" y="7049"/>
                  </a:lnTo>
                  <a:lnTo>
                    <a:pt x="3286" y="8371"/>
                  </a:lnTo>
                  <a:cubicBezTo>
                    <a:pt x="3316" y="8450"/>
                    <a:pt x="3370" y="8496"/>
                    <a:pt x="3442" y="8496"/>
                  </a:cubicBezTo>
                  <a:cubicBezTo>
                    <a:pt x="3457" y="8496"/>
                    <a:pt x="3472" y="8494"/>
                    <a:pt x="3489" y="8490"/>
                  </a:cubicBezTo>
                  <a:cubicBezTo>
                    <a:pt x="3572" y="8466"/>
                    <a:pt x="3620" y="8383"/>
                    <a:pt x="3608" y="8299"/>
                  </a:cubicBezTo>
                  <a:lnTo>
                    <a:pt x="3584" y="8252"/>
                  </a:lnTo>
                  <a:lnTo>
                    <a:pt x="3584" y="8252"/>
                  </a:lnTo>
                  <a:cubicBezTo>
                    <a:pt x="3751" y="8311"/>
                    <a:pt x="3917" y="8335"/>
                    <a:pt x="4084" y="8335"/>
                  </a:cubicBezTo>
                  <a:cubicBezTo>
                    <a:pt x="4239" y="8335"/>
                    <a:pt x="4405" y="8299"/>
                    <a:pt x="4572" y="8252"/>
                  </a:cubicBezTo>
                  <a:lnTo>
                    <a:pt x="4572" y="8252"/>
                  </a:lnTo>
                  <a:lnTo>
                    <a:pt x="4084" y="10121"/>
                  </a:lnTo>
                  <a:lnTo>
                    <a:pt x="3786" y="9002"/>
                  </a:lnTo>
                  <a:cubicBezTo>
                    <a:pt x="3755" y="8918"/>
                    <a:pt x="3696" y="8881"/>
                    <a:pt x="3618" y="8881"/>
                  </a:cubicBezTo>
                  <a:cubicBezTo>
                    <a:pt x="3607" y="8881"/>
                    <a:pt x="3596" y="8881"/>
                    <a:pt x="3584" y="8883"/>
                  </a:cubicBezTo>
                  <a:cubicBezTo>
                    <a:pt x="3500" y="8907"/>
                    <a:pt x="3453" y="8990"/>
                    <a:pt x="3465" y="9073"/>
                  </a:cubicBezTo>
                  <a:lnTo>
                    <a:pt x="3917" y="10788"/>
                  </a:lnTo>
                  <a:cubicBezTo>
                    <a:pt x="3929" y="10859"/>
                    <a:pt x="4001" y="10907"/>
                    <a:pt x="4060" y="10907"/>
                  </a:cubicBezTo>
                  <a:cubicBezTo>
                    <a:pt x="4143" y="10907"/>
                    <a:pt x="4203" y="10859"/>
                    <a:pt x="4215" y="10788"/>
                  </a:cubicBezTo>
                  <a:lnTo>
                    <a:pt x="5191" y="7061"/>
                  </a:lnTo>
                  <a:lnTo>
                    <a:pt x="5775" y="7335"/>
                  </a:lnTo>
                  <a:cubicBezTo>
                    <a:pt x="5810" y="7347"/>
                    <a:pt x="5822" y="7383"/>
                    <a:pt x="5822" y="7395"/>
                  </a:cubicBezTo>
                  <a:cubicBezTo>
                    <a:pt x="5822" y="7407"/>
                    <a:pt x="5822" y="7430"/>
                    <a:pt x="5810" y="7466"/>
                  </a:cubicBezTo>
                  <a:lnTo>
                    <a:pt x="5477" y="7918"/>
                  </a:lnTo>
                  <a:cubicBezTo>
                    <a:pt x="5429" y="7978"/>
                    <a:pt x="5429" y="8049"/>
                    <a:pt x="5477" y="8097"/>
                  </a:cubicBezTo>
                  <a:lnTo>
                    <a:pt x="5715" y="8454"/>
                  </a:lnTo>
                  <a:cubicBezTo>
                    <a:pt x="5751" y="8514"/>
                    <a:pt x="5763" y="8573"/>
                    <a:pt x="5727" y="8633"/>
                  </a:cubicBezTo>
                  <a:lnTo>
                    <a:pt x="4774" y="10681"/>
                  </a:lnTo>
                  <a:cubicBezTo>
                    <a:pt x="4751" y="10752"/>
                    <a:pt x="4774" y="10859"/>
                    <a:pt x="4858" y="10895"/>
                  </a:cubicBezTo>
                  <a:cubicBezTo>
                    <a:pt x="4870" y="10907"/>
                    <a:pt x="4894" y="10907"/>
                    <a:pt x="4917" y="10907"/>
                  </a:cubicBezTo>
                  <a:cubicBezTo>
                    <a:pt x="4977" y="10907"/>
                    <a:pt x="5036" y="10871"/>
                    <a:pt x="5060" y="10812"/>
                  </a:cubicBezTo>
                  <a:lnTo>
                    <a:pt x="6013" y="8764"/>
                  </a:lnTo>
                  <a:cubicBezTo>
                    <a:pt x="6084" y="8597"/>
                    <a:pt x="6072" y="8419"/>
                    <a:pt x="5965" y="8276"/>
                  </a:cubicBezTo>
                  <a:lnTo>
                    <a:pt x="5786" y="8014"/>
                  </a:lnTo>
                  <a:lnTo>
                    <a:pt x="5953" y="7811"/>
                  </a:lnTo>
                  <a:lnTo>
                    <a:pt x="7251" y="8276"/>
                  </a:lnTo>
                  <a:cubicBezTo>
                    <a:pt x="7596" y="8395"/>
                    <a:pt x="7834" y="8716"/>
                    <a:pt x="7834" y="9085"/>
                  </a:cubicBezTo>
                  <a:lnTo>
                    <a:pt x="7834" y="10752"/>
                  </a:lnTo>
                  <a:cubicBezTo>
                    <a:pt x="7834" y="10847"/>
                    <a:pt x="7906" y="10919"/>
                    <a:pt x="7989" y="10919"/>
                  </a:cubicBezTo>
                  <a:cubicBezTo>
                    <a:pt x="8084" y="10919"/>
                    <a:pt x="8156" y="10847"/>
                    <a:pt x="8156" y="10752"/>
                  </a:cubicBezTo>
                  <a:lnTo>
                    <a:pt x="8156" y="9085"/>
                  </a:lnTo>
                  <a:cubicBezTo>
                    <a:pt x="8215" y="8585"/>
                    <a:pt x="7906" y="8133"/>
                    <a:pt x="7430" y="7978"/>
                  </a:cubicBezTo>
                  <a:lnTo>
                    <a:pt x="6191" y="7537"/>
                  </a:lnTo>
                  <a:cubicBezTo>
                    <a:pt x="6203" y="7478"/>
                    <a:pt x="6203" y="7407"/>
                    <a:pt x="6191" y="7335"/>
                  </a:cubicBezTo>
                  <a:cubicBezTo>
                    <a:pt x="6167" y="7216"/>
                    <a:pt x="6084" y="7121"/>
                    <a:pt x="5965" y="7061"/>
                  </a:cubicBezTo>
                  <a:lnTo>
                    <a:pt x="5298" y="6752"/>
                  </a:lnTo>
                  <a:lnTo>
                    <a:pt x="5298" y="6525"/>
                  </a:lnTo>
                  <a:cubicBezTo>
                    <a:pt x="5989" y="6406"/>
                    <a:pt x="6608" y="6228"/>
                    <a:pt x="7025" y="6085"/>
                  </a:cubicBezTo>
                  <a:cubicBezTo>
                    <a:pt x="7156" y="6037"/>
                    <a:pt x="7263" y="5954"/>
                    <a:pt x="7322" y="5811"/>
                  </a:cubicBezTo>
                  <a:cubicBezTo>
                    <a:pt x="7382" y="5692"/>
                    <a:pt x="7382" y="5549"/>
                    <a:pt x="7334" y="5430"/>
                  </a:cubicBezTo>
                  <a:cubicBezTo>
                    <a:pt x="7263" y="5251"/>
                    <a:pt x="7180" y="4918"/>
                    <a:pt x="7180" y="4430"/>
                  </a:cubicBezTo>
                  <a:lnTo>
                    <a:pt x="7180" y="3061"/>
                  </a:lnTo>
                  <a:cubicBezTo>
                    <a:pt x="7180" y="1370"/>
                    <a:pt x="5810" y="1"/>
                    <a:pt x="4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3" name="Google Shape;11503;p61"/>
            <p:cNvSpPr/>
            <p:nvPr/>
          </p:nvSpPr>
          <p:spPr>
            <a:xfrm>
              <a:off x="7686319" y="4368743"/>
              <a:ext cx="21131" cy="10581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500" y="334"/>
                  </a:lnTo>
                  <a:cubicBezTo>
                    <a:pt x="596" y="334"/>
                    <a:pt x="667" y="250"/>
                    <a:pt x="667" y="167"/>
                  </a:cubicBezTo>
                  <a:cubicBezTo>
                    <a:pt x="667" y="72"/>
                    <a:pt x="59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4" name="Google Shape;11504;p61"/>
            <p:cNvSpPr/>
            <p:nvPr/>
          </p:nvSpPr>
          <p:spPr>
            <a:xfrm>
              <a:off x="7751199" y="4368743"/>
              <a:ext cx="21131" cy="10581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512" y="334"/>
                  </a:lnTo>
                  <a:cubicBezTo>
                    <a:pt x="595" y="334"/>
                    <a:pt x="667" y="250"/>
                    <a:pt x="667" y="167"/>
                  </a:cubicBezTo>
                  <a:cubicBezTo>
                    <a:pt x="667" y="72"/>
                    <a:pt x="595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5" name="Google Shape;11505;p61"/>
            <p:cNvSpPr/>
            <p:nvPr/>
          </p:nvSpPr>
          <p:spPr>
            <a:xfrm>
              <a:off x="7794189" y="4558474"/>
              <a:ext cx="37731" cy="37731"/>
            </a:xfrm>
            <a:custGeom>
              <a:avLst/>
              <a:gdLst/>
              <a:ahLst/>
              <a:cxnLst/>
              <a:rect l="l" t="t" r="r" b="b"/>
              <a:pathLst>
                <a:path w="1191" h="1191" extrusionOk="0">
                  <a:moveTo>
                    <a:pt x="596" y="0"/>
                  </a:moveTo>
                  <a:cubicBezTo>
                    <a:pt x="500" y="0"/>
                    <a:pt x="429" y="72"/>
                    <a:pt x="429" y="155"/>
                  </a:cubicBezTo>
                  <a:lnTo>
                    <a:pt x="429" y="429"/>
                  </a:lnTo>
                  <a:lnTo>
                    <a:pt x="167" y="429"/>
                  </a:lnTo>
                  <a:cubicBezTo>
                    <a:pt x="72" y="429"/>
                    <a:pt x="0" y="500"/>
                    <a:pt x="0" y="595"/>
                  </a:cubicBezTo>
                  <a:cubicBezTo>
                    <a:pt x="0" y="679"/>
                    <a:pt x="72" y="750"/>
                    <a:pt x="167" y="750"/>
                  </a:cubicBezTo>
                  <a:lnTo>
                    <a:pt x="429" y="750"/>
                  </a:lnTo>
                  <a:lnTo>
                    <a:pt x="429" y="1024"/>
                  </a:lnTo>
                  <a:cubicBezTo>
                    <a:pt x="429" y="1107"/>
                    <a:pt x="500" y="1191"/>
                    <a:pt x="596" y="1191"/>
                  </a:cubicBezTo>
                  <a:cubicBezTo>
                    <a:pt x="679" y="1191"/>
                    <a:pt x="762" y="1107"/>
                    <a:pt x="762" y="1024"/>
                  </a:cubicBezTo>
                  <a:lnTo>
                    <a:pt x="762" y="750"/>
                  </a:lnTo>
                  <a:lnTo>
                    <a:pt x="1024" y="750"/>
                  </a:lnTo>
                  <a:cubicBezTo>
                    <a:pt x="1120" y="750"/>
                    <a:pt x="1191" y="679"/>
                    <a:pt x="1191" y="595"/>
                  </a:cubicBezTo>
                  <a:cubicBezTo>
                    <a:pt x="1191" y="500"/>
                    <a:pt x="1120" y="429"/>
                    <a:pt x="1024" y="429"/>
                  </a:cubicBezTo>
                  <a:lnTo>
                    <a:pt x="762" y="429"/>
                  </a:lnTo>
                  <a:lnTo>
                    <a:pt x="762" y="155"/>
                  </a:lnTo>
                  <a:cubicBezTo>
                    <a:pt x="762" y="72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6" name="Google Shape;11506;p61"/>
            <p:cNvSpPr/>
            <p:nvPr/>
          </p:nvSpPr>
          <p:spPr>
            <a:xfrm>
              <a:off x="7691197" y="4385343"/>
              <a:ext cx="10613" cy="15492"/>
            </a:xfrm>
            <a:custGeom>
              <a:avLst/>
              <a:gdLst/>
              <a:ahLst/>
              <a:cxnLst/>
              <a:rect l="l" t="t" r="r" b="b"/>
              <a:pathLst>
                <a:path w="335" h="489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84" y="488"/>
                    <a:pt x="168" y="488"/>
                  </a:cubicBezTo>
                  <a:cubicBezTo>
                    <a:pt x="263" y="488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7" name="Google Shape;11507;p61"/>
            <p:cNvSpPr/>
            <p:nvPr/>
          </p:nvSpPr>
          <p:spPr>
            <a:xfrm>
              <a:off x="7756458" y="4385343"/>
              <a:ext cx="10233" cy="15492"/>
            </a:xfrm>
            <a:custGeom>
              <a:avLst/>
              <a:gdLst/>
              <a:ahLst/>
              <a:cxnLst/>
              <a:rect l="l" t="t" r="r" b="b"/>
              <a:pathLst>
                <a:path w="323" h="48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67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8" name="Google Shape;11508;p61"/>
            <p:cNvSpPr/>
            <p:nvPr/>
          </p:nvSpPr>
          <p:spPr>
            <a:xfrm>
              <a:off x="7699878" y="4415122"/>
              <a:ext cx="58893" cy="32092"/>
            </a:xfrm>
            <a:custGeom>
              <a:avLst/>
              <a:gdLst/>
              <a:ahLst/>
              <a:cxnLst/>
              <a:rect l="l" t="t" r="r" b="b"/>
              <a:pathLst>
                <a:path w="1859" h="1013" extrusionOk="0">
                  <a:moveTo>
                    <a:pt x="1501" y="322"/>
                  </a:moveTo>
                  <a:cubicBezTo>
                    <a:pt x="1430" y="537"/>
                    <a:pt x="1191" y="679"/>
                    <a:pt x="918" y="679"/>
                  </a:cubicBezTo>
                  <a:cubicBezTo>
                    <a:pt x="656" y="679"/>
                    <a:pt x="418" y="537"/>
                    <a:pt x="346" y="322"/>
                  </a:cubicBezTo>
                  <a:close/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620"/>
                    <a:pt x="418" y="1013"/>
                    <a:pt x="918" y="1013"/>
                  </a:cubicBezTo>
                  <a:cubicBezTo>
                    <a:pt x="1430" y="1013"/>
                    <a:pt x="1846" y="632"/>
                    <a:pt x="1846" y="156"/>
                  </a:cubicBezTo>
                  <a:cubicBezTo>
                    <a:pt x="1858" y="72"/>
                    <a:pt x="1787" y="1"/>
                    <a:pt x="1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09" name="Google Shape;11509;p61"/>
          <p:cNvGrpSpPr/>
          <p:nvPr/>
        </p:nvGrpSpPr>
        <p:grpSpPr>
          <a:xfrm>
            <a:off x="1767069" y="3360146"/>
            <a:ext cx="286324" cy="348163"/>
            <a:chOff x="1767069" y="3360146"/>
            <a:chExt cx="286324" cy="348163"/>
          </a:xfrm>
        </p:grpSpPr>
        <p:sp>
          <p:nvSpPr>
            <p:cNvPr id="11510" name="Google Shape;11510;p61"/>
            <p:cNvSpPr/>
            <p:nvPr/>
          </p:nvSpPr>
          <p:spPr>
            <a:xfrm>
              <a:off x="1767069" y="3404277"/>
              <a:ext cx="228223" cy="304033"/>
            </a:xfrm>
            <a:custGeom>
              <a:avLst/>
              <a:gdLst/>
              <a:ahLst/>
              <a:cxnLst/>
              <a:rect l="l" t="t" r="r" b="b"/>
              <a:pathLst>
                <a:path w="7204" h="9597" extrusionOk="0">
                  <a:moveTo>
                    <a:pt x="2072" y="7537"/>
                  </a:moveTo>
                  <a:lnTo>
                    <a:pt x="2072" y="9049"/>
                  </a:lnTo>
                  <a:lnTo>
                    <a:pt x="572" y="7537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7382"/>
                  </a:lnTo>
                  <a:cubicBezTo>
                    <a:pt x="0" y="7418"/>
                    <a:pt x="12" y="7465"/>
                    <a:pt x="48" y="7501"/>
                  </a:cubicBezTo>
                  <a:lnTo>
                    <a:pt x="2096" y="9549"/>
                  </a:lnTo>
                  <a:cubicBezTo>
                    <a:pt x="2132" y="9585"/>
                    <a:pt x="2179" y="9597"/>
                    <a:pt x="2215" y="9597"/>
                  </a:cubicBezTo>
                  <a:lnTo>
                    <a:pt x="7025" y="9597"/>
                  </a:lnTo>
                  <a:cubicBezTo>
                    <a:pt x="7120" y="9597"/>
                    <a:pt x="7192" y="9513"/>
                    <a:pt x="7192" y="9430"/>
                  </a:cubicBezTo>
                  <a:lnTo>
                    <a:pt x="7192" y="7811"/>
                  </a:lnTo>
                  <a:cubicBezTo>
                    <a:pt x="7204" y="7715"/>
                    <a:pt x="7132" y="7644"/>
                    <a:pt x="7037" y="7644"/>
                  </a:cubicBezTo>
                  <a:cubicBezTo>
                    <a:pt x="6954" y="7644"/>
                    <a:pt x="6882" y="7715"/>
                    <a:pt x="6882" y="7811"/>
                  </a:cubicBezTo>
                  <a:lnTo>
                    <a:pt x="6882" y="9263"/>
                  </a:lnTo>
                  <a:lnTo>
                    <a:pt x="2382" y="9263"/>
                  </a:lnTo>
                  <a:lnTo>
                    <a:pt x="2382" y="7382"/>
                  </a:lnTo>
                  <a:cubicBezTo>
                    <a:pt x="2382" y="7287"/>
                    <a:pt x="2310" y="7215"/>
                    <a:pt x="2215" y="7215"/>
                  </a:cubicBezTo>
                  <a:lnTo>
                    <a:pt x="334" y="7215"/>
                  </a:lnTo>
                  <a:lnTo>
                    <a:pt x="334" y="322"/>
                  </a:lnTo>
                  <a:lnTo>
                    <a:pt x="1858" y="322"/>
                  </a:lnTo>
                  <a:cubicBezTo>
                    <a:pt x="1953" y="322"/>
                    <a:pt x="2024" y="250"/>
                    <a:pt x="2024" y="155"/>
                  </a:cubicBezTo>
                  <a:cubicBezTo>
                    <a:pt x="2024" y="72"/>
                    <a:pt x="1953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1" name="Google Shape;11511;p61"/>
            <p:cNvSpPr/>
            <p:nvPr/>
          </p:nvSpPr>
          <p:spPr>
            <a:xfrm>
              <a:off x="1799509" y="3360146"/>
              <a:ext cx="253884" cy="276883"/>
            </a:xfrm>
            <a:custGeom>
              <a:avLst/>
              <a:gdLst/>
              <a:ahLst/>
              <a:cxnLst/>
              <a:rect l="l" t="t" r="r" b="b"/>
              <a:pathLst>
                <a:path w="8014" h="8740" extrusionOk="0">
                  <a:moveTo>
                    <a:pt x="4406" y="3751"/>
                  </a:moveTo>
                  <a:cubicBezTo>
                    <a:pt x="4525" y="3870"/>
                    <a:pt x="4680" y="3965"/>
                    <a:pt x="4822" y="4048"/>
                  </a:cubicBezTo>
                  <a:lnTo>
                    <a:pt x="4822" y="4132"/>
                  </a:lnTo>
                  <a:lnTo>
                    <a:pt x="334" y="4132"/>
                  </a:lnTo>
                  <a:lnTo>
                    <a:pt x="334" y="3751"/>
                  </a:lnTo>
                  <a:close/>
                  <a:moveTo>
                    <a:pt x="5870" y="0"/>
                  </a:moveTo>
                  <a:cubicBezTo>
                    <a:pt x="4941" y="0"/>
                    <a:pt x="4156" y="583"/>
                    <a:pt x="3846" y="1405"/>
                  </a:cubicBezTo>
                  <a:lnTo>
                    <a:pt x="1477" y="1405"/>
                  </a:lnTo>
                  <a:cubicBezTo>
                    <a:pt x="1393" y="1405"/>
                    <a:pt x="1310" y="1476"/>
                    <a:pt x="1310" y="1572"/>
                  </a:cubicBezTo>
                  <a:cubicBezTo>
                    <a:pt x="1310" y="1655"/>
                    <a:pt x="1393" y="1726"/>
                    <a:pt x="1477" y="1726"/>
                  </a:cubicBezTo>
                  <a:lnTo>
                    <a:pt x="3739" y="1726"/>
                  </a:lnTo>
                  <a:cubicBezTo>
                    <a:pt x="3715" y="1869"/>
                    <a:pt x="3691" y="2012"/>
                    <a:pt x="3691" y="2167"/>
                  </a:cubicBezTo>
                  <a:cubicBezTo>
                    <a:pt x="3691" y="2643"/>
                    <a:pt x="3858" y="3084"/>
                    <a:pt x="4108" y="3441"/>
                  </a:cubicBezTo>
                  <a:lnTo>
                    <a:pt x="167" y="3441"/>
                  </a:lnTo>
                  <a:cubicBezTo>
                    <a:pt x="84" y="3441"/>
                    <a:pt x="0" y="3512"/>
                    <a:pt x="0" y="3608"/>
                  </a:cubicBezTo>
                  <a:lnTo>
                    <a:pt x="0" y="4310"/>
                  </a:lnTo>
                  <a:cubicBezTo>
                    <a:pt x="0" y="4393"/>
                    <a:pt x="84" y="4465"/>
                    <a:pt x="167" y="4465"/>
                  </a:cubicBezTo>
                  <a:lnTo>
                    <a:pt x="4977" y="4465"/>
                  </a:lnTo>
                  <a:cubicBezTo>
                    <a:pt x="5061" y="4465"/>
                    <a:pt x="5144" y="4393"/>
                    <a:pt x="5144" y="4310"/>
                  </a:cubicBezTo>
                  <a:lnTo>
                    <a:pt x="5144" y="4203"/>
                  </a:lnTo>
                  <a:cubicBezTo>
                    <a:pt x="5358" y="4274"/>
                    <a:pt x="5596" y="4322"/>
                    <a:pt x="5834" y="4322"/>
                  </a:cubicBezTo>
                  <a:lnTo>
                    <a:pt x="5834" y="8573"/>
                  </a:lnTo>
                  <a:cubicBezTo>
                    <a:pt x="5834" y="8668"/>
                    <a:pt x="5918" y="8739"/>
                    <a:pt x="6001" y="8739"/>
                  </a:cubicBezTo>
                  <a:cubicBezTo>
                    <a:pt x="6096" y="8739"/>
                    <a:pt x="6168" y="8668"/>
                    <a:pt x="6168" y="8573"/>
                  </a:cubicBezTo>
                  <a:lnTo>
                    <a:pt x="6168" y="4286"/>
                  </a:lnTo>
                  <a:cubicBezTo>
                    <a:pt x="6549" y="4227"/>
                    <a:pt x="6906" y="4084"/>
                    <a:pt x="7204" y="3834"/>
                  </a:cubicBezTo>
                  <a:cubicBezTo>
                    <a:pt x="7585" y="3512"/>
                    <a:pt x="7847" y="3096"/>
                    <a:pt x="7954" y="2619"/>
                  </a:cubicBezTo>
                  <a:cubicBezTo>
                    <a:pt x="7978" y="2536"/>
                    <a:pt x="7918" y="2441"/>
                    <a:pt x="7835" y="2429"/>
                  </a:cubicBezTo>
                  <a:cubicBezTo>
                    <a:pt x="7825" y="2428"/>
                    <a:pt x="7815" y="2427"/>
                    <a:pt x="7806" y="2427"/>
                  </a:cubicBezTo>
                  <a:cubicBezTo>
                    <a:pt x="7723" y="2427"/>
                    <a:pt x="7655" y="2473"/>
                    <a:pt x="7644" y="2548"/>
                  </a:cubicBezTo>
                  <a:cubicBezTo>
                    <a:pt x="7466" y="3381"/>
                    <a:pt x="6704" y="3989"/>
                    <a:pt x="5858" y="3989"/>
                  </a:cubicBezTo>
                  <a:cubicBezTo>
                    <a:pt x="4846" y="3989"/>
                    <a:pt x="4025" y="3179"/>
                    <a:pt x="4025" y="2167"/>
                  </a:cubicBezTo>
                  <a:cubicBezTo>
                    <a:pt x="4025" y="1155"/>
                    <a:pt x="4846" y="333"/>
                    <a:pt x="5858" y="333"/>
                  </a:cubicBezTo>
                  <a:cubicBezTo>
                    <a:pt x="6787" y="333"/>
                    <a:pt x="7585" y="1048"/>
                    <a:pt x="7680" y="1965"/>
                  </a:cubicBezTo>
                  <a:cubicBezTo>
                    <a:pt x="7704" y="2060"/>
                    <a:pt x="7775" y="2119"/>
                    <a:pt x="7858" y="2119"/>
                  </a:cubicBezTo>
                  <a:cubicBezTo>
                    <a:pt x="7954" y="2107"/>
                    <a:pt x="8013" y="2024"/>
                    <a:pt x="8013" y="1941"/>
                  </a:cubicBezTo>
                  <a:cubicBezTo>
                    <a:pt x="7954" y="1417"/>
                    <a:pt x="7716" y="929"/>
                    <a:pt x="7311" y="572"/>
                  </a:cubicBezTo>
                  <a:cubicBezTo>
                    <a:pt x="6906" y="214"/>
                    <a:pt x="6406" y="0"/>
                    <a:pt x="5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2" name="Google Shape;11512;p61"/>
            <p:cNvSpPr/>
            <p:nvPr/>
          </p:nvSpPr>
          <p:spPr>
            <a:xfrm>
              <a:off x="1948120" y="3388532"/>
              <a:ext cx="78852" cy="75367"/>
            </a:xfrm>
            <a:custGeom>
              <a:avLst/>
              <a:gdLst/>
              <a:ahLst/>
              <a:cxnLst/>
              <a:rect l="l" t="t" r="r" b="b"/>
              <a:pathLst>
                <a:path w="2489" h="2379" extrusionOk="0">
                  <a:moveTo>
                    <a:pt x="1513" y="330"/>
                  </a:moveTo>
                  <a:cubicBezTo>
                    <a:pt x="1667" y="330"/>
                    <a:pt x="1798" y="390"/>
                    <a:pt x="1917" y="497"/>
                  </a:cubicBezTo>
                  <a:cubicBezTo>
                    <a:pt x="2132" y="700"/>
                    <a:pt x="2132" y="1057"/>
                    <a:pt x="1905" y="1283"/>
                  </a:cubicBezTo>
                  <a:cubicBezTo>
                    <a:pt x="1792" y="1396"/>
                    <a:pt x="1646" y="1453"/>
                    <a:pt x="1504" y="1453"/>
                  </a:cubicBezTo>
                  <a:cubicBezTo>
                    <a:pt x="1361" y="1453"/>
                    <a:pt x="1221" y="1396"/>
                    <a:pt x="1120" y="1283"/>
                  </a:cubicBezTo>
                  <a:cubicBezTo>
                    <a:pt x="893" y="1057"/>
                    <a:pt x="893" y="700"/>
                    <a:pt x="1120" y="497"/>
                  </a:cubicBezTo>
                  <a:cubicBezTo>
                    <a:pt x="1215" y="390"/>
                    <a:pt x="1370" y="330"/>
                    <a:pt x="1513" y="330"/>
                  </a:cubicBezTo>
                  <a:close/>
                  <a:moveTo>
                    <a:pt x="1518" y="0"/>
                  </a:moveTo>
                  <a:cubicBezTo>
                    <a:pt x="1292" y="0"/>
                    <a:pt x="1066" y="86"/>
                    <a:pt x="893" y="259"/>
                  </a:cubicBezTo>
                  <a:cubicBezTo>
                    <a:pt x="584" y="569"/>
                    <a:pt x="548" y="1033"/>
                    <a:pt x="786" y="1390"/>
                  </a:cubicBezTo>
                  <a:lnTo>
                    <a:pt x="60" y="2116"/>
                  </a:lnTo>
                  <a:cubicBezTo>
                    <a:pt x="0" y="2176"/>
                    <a:pt x="0" y="2283"/>
                    <a:pt x="60" y="2343"/>
                  </a:cubicBezTo>
                  <a:cubicBezTo>
                    <a:pt x="96" y="2366"/>
                    <a:pt x="131" y="2378"/>
                    <a:pt x="179" y="2378"/>
                  </a:cubicBezTo>
                  <a:cubicBezTo>
                    <a:pt x="227" y="2378"/>
                    <a:pt x="274" y="2366"/>
                    <a:pt x="298" y="2343"/>
                  </a:cubicBezTo>
                  <a:lnTo>
                    <a:pt x="1024" y="1604"/>
                  </a:lnTo>
                  <a:cubicBezTo>
                    <a:pt x="1179" y="1712"/>
                    <a:pt x="1358" y="1759"/>
                    <a:pt x="1536" y="1759"/>
                  </a:cubicBezTo>
                  <a:cubicBezTo>
                    <a:pt x="1763" y="1759"/>
                    <a:pt x="1977" y="1664"/>
                    <a:pt x="2155" y="1509"/>
                  </a:cubicBezTo>
                  <a:cubicBezTo>
                    <a:pt x="2489" y="1164"/>
                    <a:pt x="2489" y="592"/>
                    <a:pt x="2144" y="259"/>
                  </a:cubicBezTo>
                  <a:cubicBezTo>
                    <a:pt x="1971" y="86"/>
                    <a:pt x="1745" y="0"/>
                    <a:pt x="15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3" name="Google Shape;11513;p61"/>
            <p:cNvSpPr/>
            <p:nvPr/>
          </p:nvSpPr>
          <p:spPr>
            <a:xfrm>
              <a:off x="1800270" y="3513636"/>
              <a:ext cx="162582" cy="10233"/>
            </a:xfrm>
            <a:custGeom>
              <a:avLst/>
              <a:gdLst/>
              <a:ahLst/>
              <a:cxnLst/>
              <a:rect l="l" t="t" r="r" b="b"/>
              <a:pathLst>
                <a:path w="513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4965" y="322"/>
                  </a:lnTo>
                  <a:cubicBezTo>
                    <a:pt x="5060" y="322"/>
                    <a:pt x="5132" y="251"/>
                    <a:pt x="5132" y="156"/>
                  </a:cubicBezTo>
                  <a:cubicBezTo>
                    <a:pt x="5132" y="72"/>
                    <a:pt x="5060" y="1"/>
                    <a:pt x="4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4" name="Google Shape;11514;p61"/>
            <p:cNvSpPr/>
            <p:nvPr/>
          </p:nvSpPr>
          <p:spPr>
            <a:xfrm>
              <a:off x="1800270" y="3536287"/>
              <a:ext cx="162582" cy="10201"/>
            </a:xfrm>
            <a:custGeom>
              <a:avLst/>
              <a:gdLst/>
              <a:ahLst/>
              <a:cxnLst/>
              <a:rect l="l" t="t" r="r" b="b"/>
              <a:pathLst>
                <a:path w="5132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4965" y="322"/>
                  </a:lnTo>
                  <a:cubicBezTo>
                    <a:pt x="5060" y="322"/>
                    <a:pt x="5132" y="250"/>
                    <a:pt x="5132" y="155"/>
                  </a:cubicBezTo>
                  <a:cubicBezTo>
                    <a:pt x="5132" y="72"/>
                    <a:pt x="5060" y="0"/>
                    <a:pt x="4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5" name="Google Shape;11515;p61"/>
            <p:cNvSpPr/>
            <p:nvPr/>
          </p:nvSpPr>
          <p:spPr>
            <a:xfrm>
              <a:off x="1800270" y="3558146"/>
              <a:ext cx="162582" cy="10613"/>
            </a:xfrm>
            <a:custGeom>
              <a:avLst/>
              <a:gdLst/>
              <a:ahLst/>
              <a:cxnLst/>
              <a:rect l="l" t="t" r="r" b="b"/>
              <a:pathLst>
                <a:path w="513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4965" y="334"/>
                  </a:lnTo>
                  <a:cubicBezTo>
                    <a:pt x="5060" y="334"/>
                    <a:pt x="5132" y="263"/>
                    <a:pt x="5132" y="168"/>
                  </a:cubicBezTo>
                  <a:cubicBezTo>
                    <a:pt x="5132" y="84"/>
                    <a:pt x="5060" y="1"/>
                    <a:pt x="4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6" name="Google Shape;11516;p61"/>
            <p:cNvSpPr/>
            <p:nvPr/>
          </p:nvSpPr>
          <p:spPr>
            <a:xfrm>
              <a:off x="1800270" y="3580798"/>
              <a:ext cx="162582" cy="10581"/>
            </a:xfrm>
            <a:custGeom>
              <a:avLst/>
              <a:gdLst/>
              <a:ahLst/>
              <a:cxnLst/>
              <a:rect l="l" t="t" r="r" b="b"/>
              <a:pathLst>
                <a:path w="5132" h="33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4965" y="334"/>
                  </a:lnTo>
                  <a:cubicBezTo>
                    <a:pt x="5060" y="334"/>
                    <a:pt x="5132" y="262"/>
                    <a:pt x="5132" y="167"/>
                  </a:cubicBezTo>
                  <a:cubicBezTo>
                    <a:pt x="5132" y="84"/>
                    <a:pt x="5060" y="0"/>
                    <a:pt x="4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17" name="Google Shape;11517;p61"/>
          <p:cNvGrpSpPr/>
          <p:nvPr/>
        </p:nvGrpSpPr>
        <p:grpSpPr>
          <a:xfrm>
            <a:off x="7149944" y="4266131"/>
            <a:ext cx="260283" cy="345914"/>
            <a:chOff x="7149944" y="4266131"/>
            <a:chExt cx="260283" cy="345914"/>
          </a:xfrm>
        </p:grpSpPr>
        <p:sp>
          <p:nvSpPr>
            <p:cNvPr id="11518" name="Google Shape;11518;p61"/>
            <p:cNvSpPr/>
            <p:nvPr/>
          </p:nvSpPr>
          <p:spPr>
            <a:xfrm>
              <a:off x="7149944" y="4266131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096" y="1025"/>
                  </a:moveTo>
                  <a:cubicBezTo>
                    <a:pt x="5001" y="1025"/>
                    <a:pt x="5775" y="1608"/>
                    <a:pt x="6049" y="2442"/>
                  </a:cubicBezTo>
                  <a:cubicBezTo>
                    <a:pt x="5882" y="2358"/>
                    <a:pt x="5704" y="2299"/>
                    <a:pt x="5489" y="2239"/>
                  </a:cubicBezTo>
                  <a:cubicBezTo>
                    <a:pt x="5477" y="2236"/>
                    <a:pt x="5464" y="2234"/>
                    <a:pt x="5451" y="2234"/>
                  </a:cubicBezTo>
                  <a:cubicBezTo>
                    <a:pt x="5379" y="2234"/>
                    <a:pt x="5309" y="2288"/>
                    <a:pt x="5299" y="2358"/>
                  </a:cubicBezTo>
                  <a:cubicBezTo>
                    <a:pt x="5275" y="2454"/>
                    <a:pt x="5335" y="2537"/>
                    <a:pt x="5418" y="2561"/>
                  </a:cubicBezTo>
                  <a:cubicBezTo>
                    <a:pt x="5704" y="2632"/>
                    <a:pt x="5942" y="2739"/>
                    <a:pt x="6132" y="2835"/>
                  </a:cubicBezTo>
                  <a:cubicBezTo>
                    <a:pt x="6144" y="2930"/>
                    <a:pt x="6144" y="3013"/>
                    <a:pt x="6144" y="3108"/>
                  </a:cubicBezTo>
                  <a:lnTo>
                    <a:pt x="6144" y="4442"/>
                  </a:lnTo>
                  <a:cubicBezTo>
                    <a:pt x="6156" y="5561"/>
                    <a:pt x="5227" y="6502"/>
                    <a:pt x="4096" y="6502"/>
                  </a:cubicBezTo>
                  <a:cubicBezTo>
                    <a:pt x="2965" y="6502"/>
                    <a:pt x="2025" y="5573"/>
                    <a:pt x="2025" y="4430"/>
                  </a:cubicBezTo>
                  <a:lnTo>
                    <a:pt x="2025" y="3096"/>
                  </a:lnTo>
                  <a:cubicBezTo>
                    <a:pt x="2025" y="3001"/>
                    <a:pt x="2025" y="2918"/>
                    <a:pt x="2048" y="2823"/>
                  </a:cubicBezTo>
                  <a:cubicBezTo>
                    <a:pt x="2525" y="2537"/>
                    <a:pt x="3275" y="2382"/>
                    <a:pt x="4084" y="2382"/>
                  </a:cubicBezTo>
                  <a:cubicBezTo>
                    <a:pt x="4311" y="2382"/>
                    <a:pt x="4525" y="2394"/>
                    <a:pt x="4751" y="2418"/>
                  </a:cubicBezTo>
                  <a:cubicBezTo>
                    <a:pt x="4762" y="2421"/>
                    <a:pt x="4773" y="2422"/>
                    <a:pt x="4784" y="2422"/>
                  </a:cubicBezTo>
                  <a:cubicBezTo>
                    <a:pt x="4863" y="2422"/>
                    <a:pt x="4919" y="2350"/>
                    <a:pt x="4930" y="2287"/>
                  </a:cubicBezTo>
                  <a:cubicBezTo>
                    <a:pt x="4942" y="2203"/>
                    <a:pt x="4870" y="2120"/>
                    <a:pt x="4799" y="2108"/>
                  </a:cubicBezTo>
                  <a:cubicBezTo>
                    <a:pt x="4573" y="2073"/>
                    <a:pt x="4334" y="2061"/>
                    <a:pt x="4096" y="2061"/>
                  </a:cubicBezTo>
                  <a:cubicBezTo>
                    <a:pt x="3358" y="2061"/>
                    <a:pt x="2656" y="2203"/>
                    <a:pt x="2144" y="2442"/>
                  </a:cubicBezTo>
                  <a:cubicBezTo>
                    <a:pt x="2417" y="1608"/>
                    <a:pt x="3203" y="1025"/>
                    <a:pt x="4096" y="1025"/>
                  </a:cubicBezTo>
                  <a:close/>
                  <a:moveTo>
                    <a:pt x="4132" y="322"/>
                  </a:moveTo>
                  <a:cubicBezTo>
                    <a:pt x="5442" y="322"/>
                    <a:pt x="6549" y="1263"/>
                    <a:pt x="6775" y="2537"/>
                  </a:cubicBezTo>
                  <a:lnTo>
                    <a:pt x="7680" y="7645"/>
                  </a:lnTo>
                  <a:cubicBezTo>
                    <a:pt x="7692" y="7716"/>
                    <a:pt x="7668" y="7799"/>
                    <a:pt x="7597" y="7835"/>
                  </a:cubicBezTo>
                  <a:lnTo>
                    <a:pt x="7001" y="8180"/>
                  </a:lnTo>
                  <a:lnTo>
                    <a:pt x="5632" y="7692"/>
                  </a:lnTo>
                  <a:cubicBezTo>
                    <a:pt x="5418" y="7621"/>
                    <a:pt x="5287" y="7418"/>
                    <a:pt x="5287" y="7204"/>
                  </a:cubicBezTo>
                  <a:lnTo>
                    <a:pt x="5287" y="6502"/>
                  </a:lnTo>
                  <a:cubicBezTo>
                    <a:pt x="6001" y="6085"/>
                    <a:pt x="6478" y="5311"/>
                    <a:pt x="6478" y="4430"/>
                  </a:cubicBezTo>
                  <a:lnTo>
                    <a:pt x="6478" y="3096"/>
                  </a:lnTo>
                  <a:cubicBezTo>
                    <a:pt x="6478" y="2954"/>
                    <a:pt x="6466" y="2811"/>
                    <a:pt x="6454" y="2680"/>
                  </a:cubicBezTo>
                  <a:cubicBezTo>
                    <a:pt x="6358" y="2120"/>
                    <a:pt x="6061" y="1620"/>
                    <a:pt x="5644" y="1251"/>
                  </a:cubicBezTo>
                  <a:cubicBezTo>
                    <a:pt x="5215" y="894"/>
                    <a:pt x="4668" y="679"/>
                    <a:pt x="4108" y="679"/>
                  </a:cubicBezTo>
                  <a:cubicBezTo>
                    <a:pt x="3549" y="679"/>
                    <a:pt x="3001" y="870"/>
                    <a:pt x="2584" y="1251"/>
                  </a:cubicBezTo>
                  <a:cubicBezTo>
                    <a:pt x="2144" y="1608"/>
                    <a:pt x="1870" y="2108"/>
                    <a:pt x="1775" y="2680"/>
                  </a:cubicBezTo>
                  <a:cubicBezTo>
                    <a:pt x="1751" y="2811"/>
                    <a:pt x="1751" y="2954"/>
                    <a:pt x="1751" y="3096"/>
                  </a:cubicBezTo>
                  <a:lnTo>
                    <a:pt x="1751" y="4430"/>
                  </a:lnTo>
                  <a:cubicBezTo>
                    <a:pt x="1751" y="5311"/>
                    <a:pt x="2227" y="6085"/>
                    <a:pt x="2941" y="6502"/>
                  </a:cubicBezTo>
                  <a:lnTo>
                    <a:pt x="2941" y="7204"/>
                  </a:lnTo>
                  <a:cubicBezTo>
                    <a:pt x="2941" y="7418"/>
                    <a:pt x="2798" y="7621"/>
                    <a:pt x="2596" y="7692"/>
                  </a:cubicBezTo>
                  <a:lnTo>
                    <a:pt x="1227" y="8180"/>
                  </a:lnTo>
                  <a:lnTo>
                    <a:pt x="655" y="7835"/>
                  </a:lnTo>
                  <a:cubicBezTo>
                    <a:pt x="596" y="7799"/>
                    <a:pt x="560" y="7716"/>
                    <a:pt x="572" y="7645"/>
                  </a:cubicBezTo>
                  <a:lnTo>
                    <a:pt x="1477" y="2537"/>
                  </a:lnTo>
                  <a:cubicBezTo>
                    <a:pt x="1703" y="1251"/>
                    <a:pt x="2822" y="322"/>
                    <a:pt x="4132" y="322"/>
                  </a:cubicBezTo>
                  <a:close/>
                  <a:moveTo>
                    <a:pt x="4096" y="1"/>
                  </a:moveTo>
                  <a:cubicBezTo>
                    <a:pt x="2644" y="1"/>
                    <a:pt x="1382" y="1037"/>
                    <a:pt x="1120" y="2477"/>
                  </a:cubicBezTo>
                  <a:lnTo>
                    <a:pt x="215" y="7585"/>
                  </a:lnTo>
                  <a:cubicBezTo>
                    <a:pt x="179" y="7799"/>
                    <a:pt x="274" y="8002"/>
                    <a:pt x="453" y="8109"/>
                  </a:cubicBezTo>
                  <a:lnTo>
                    <a:pt x="786" y="8311"/>
                  </a:lnTo>
                  <a:cubicBezTo>
                    <a:pt x="310" y="8478"/>
                    <a:pt x="1" y="8931"/>
                    <a:pt x="1" y="9431"/>
                  </a:cubicBezTo>
                  <a:lnTo>
                    <a:pt x="1" y="10752"/>
                  </a:lnTo>
                  <a:cubicBezTo>
                    <a:pt x="1" y="10847"/>
                    <a:pt x="84" y="10919"/>
                    <a:pt x="167" y="10919"/>
                  </a:cubicBezTo>
                  <a:cubicBezTo>
                    <a:pt x="251" y="10919"/>
                    <a:pt x="334" y="10847"/>
                    <a:pt x="334" y="10752"/>
                  </a:cubicBezTo>
                  <a:lnTo>
                    <a:pt x="334" y="9431"/>
                  </a:lnTo>
                  <a:cubicBezTo>
                    <a:pt x="334" y="9121"/>
                    <a:pt x="489" y="8835"/>
                    <a:pt x="763" y="8669"/>
                  </a:cubicBezTo>
                  <a:cubicBezTo>
                    <a:pt x="1024" y="8931"/>
                    <a:pt x="1382" y="9133"/>
                    <a:pt x="1822" y="9300"/>
                  </a:cubicBezTo>
                  <a:cubicBezTo>
                    <a:pt x="1834" y="9312"/>
                    <a:pt x="1858" y="9312"/>
                    <a:pt x="1882" y="9312"/>
                  </a:cubicBezTo>
                  <a:cubicBezTo>
                    <a:pt x="1941" y="9312"/>
                    <a:pt x="2001" y="9264"/>
                    <a:pt x="2025" y="9204"/>
                  </a:cubicBezTo>
                  <a:cubicBezTo>
                    <a:pt x="2060" y="9121"/>
                    <a:pt x="2025" y="9026"/>
                    <a:pt x="1941" y="9002"/>
                  </a:cubicBezTo>
                  <a:cubicBezTo>
                    <a:pt x="1608" y="8871"/>
                    <a:pt x="1334" y="8716"/>
                    <a:pt x="1108" y="8538"/>
                  </a:cubicBezTo>
                  <a:lnTo>
                    <a:pt x="2679" y="7990"/>
                  </a:lnTo>
                  <a:cubicBezTo>
                    <a:pt x="3025" y="7871"/>
                    <a:pt x="3251" y="7561"/>
                    <a:pt x="3251" y="7204"/>
                  </a:cubicBezTo>
                  <a:lnTo>
                    <a:pt x="3251" y="6645"/>
                  </a:lnTo>
                  <a:cubicBezTo>
                    <a:pt x="3513" y="6752"/>
                    <a:pt x="3811" y="6811"/>
                    <a:pt x="4108" y="6811"/>
                  </a:cubicBezTo>
                  <a:cubicBezTo>
                    <a:pt x="4406" y="6811"/>
                    <a:pt x="4703" y="6752"/>
                    <a:pt x="4977" y="6645"/>
                  </a:cubicBezTo>
                  <a:lnTo>
                    <a:pt x="4977" y="7204"/>
                  </a:lnTo>
                  <a:cubicBezTo>
                    <a:pt x="4977" y="7561"/>
                    <a:pt x="5192" y="7871"/>
                    <a:pt x="5537" y="7990"/>
                  </a:cubicBezTo>
                  <a:lnTo>
                    <a:pt x="7120" y="8538"/>
                  </a:lnTo>
                  <a:cubicBezTo>
                    <a:pt x="6442" y="9073"/>
                    <a:pt x="5335" y="9383"/>
                    <a:pt x="4108" y="9383"/>
                  </a:cubicBezTo>
                  <a:cubicBezTo>
                    <a:pt x="3572" y="9383"/>
                    <a:pt x="3072" y="9323"/>
                    <a:pt x="2596" y="9204"/>
                  </a:cubicBezTo>
                  <a:cubicBezTo>
                    <a:pt x="2586" y="9203"/>
                    <a:pt x="2577" y="9203"/>
                    <a:pt x="2567" y="9203"/>
                  </a:cubicBezTo>
                  <a:cubicBezTo>
                    <a:pt x="2484" y="9203"/>
                    <a:pt x="2415" y="9249"/>
                    <a:pt x="2394" y="9323"/>
                  </a:cubicBezTo>
                  <a:cubicBezTo>
                    <a:pt x="2382" y="9419"/>
                    <a:pt x="2429" y="9502"/>
                    <a:pt x="2513" y="9514"/>
                  </a:cubicBezTo>
                  <a:cubicBezTo>
                    <a:pt x="2775" y="9573"/>
                    <a:pt x="3037" y="9621"/>
                    <a:pt x="3310" y="9669"/>
                  </a:cubicBezTo>
                  <a:lnTo>
                    <a:pt x="3632" y="10800"/>
                  </a:lnTo>
                  <a:cubicBezTo>
                    <a:pt x="3644" y="10871"/>
                    <a:pt x="3727" y="10919"/>
                    <a:pt x="3787" y="10919"/>
                  </a:cubicBezTo>
                  <a:lnTo>
                    <a:pt x="3822" y="10919"/>
                  </a:lnTo>
                  <a:cubicBezTo>
                    <a:pt x="3918" y="10883"/>
                    <a:pt x="3965" y="10800"/>
                    <a:pt x="3930" y="10728"/>
                  </a:cubicBezTo>
                  <a:lnTo>
                    <a:pt x="3644" y="9716"/>
                  </a:lnTo>
                  <a:lnTo>
                    <a:pt x="3644" y="9716"/>
                  </a:lnTo>
                  <a:cubicBezTo>
                    <a:pt x="3811" y="9728"/>
                    <a:pt x="3965" y="9728"/>
                    <a:pt x="4120" y="9728"/>
                  </a:cubicBezTo>
                  <a:cubicBezTo>
                    <a:pt x="4287" y="9728"/>
                    <a:pt x="4442" y="9728"/>
                    <a:pt x="4596" y="9716"/>
                  </a:cubicBezTo>
                  <a:lnTo>
                    <a:pt x="4596" y="9716"/>
                  </a:lnTo>
                  <a:lnTo>
                    <a:pt x="4322" y="10728"/>
                  </a:lnTo>
                  <a:cubicBezTo>
                    <a:pt x="4287" y="10812"/>
                    <a:pt x="4346" y="10907"/>
                    <a:pt x="4418" y="10919"/>
                  </a:cubicBezTo>
                  <a:lnTo>
                    <a:pt x="4465" y="10919"/>
                  </a:lnTo>
                  <a:cubicBezTo>
                    <a:pt x="4537" y="10919"/>
                    <a:pt x="4596" y="10871"/>
                    <a:pt x="4620" y="10800"/>
                  </a:cubicBezTo>
                  <a:lnTo>
                    <a:pt x="4942" y="9669"/>
                  </a:lnTo>
                  <a:cubicBezTo>
                    <a:pt x="5989" y="9550"/>
                    <a:pt x="6894" y="9192"/>
                    <a:pt x="7454" y="8669"/>
                  </a:cubicBezTo>
                  <a:cubicBezTo>
                    <a:pt x="7728" y="8823"/>
                    <a:pt x="7894" y="9097"/>
                    <a:pt x="7894" y="9419"/>
                  </a:cubicBezTo>
                  <a:lnTo>
                    <a:pt x="7894" y="10740"/>
                  </a:lnTo>
                  <a:cubicBezTo>
                    <a:pt x="7894" y="10824"/>
                    <a:pt x="7966" y="10907"/>
                    <a:pt x="8049" y="10907"/>
                  </a:cubicBezTo>
                  <a:cubicBezTo>
                    <a:pt x="8144" y="10907"/>
                    <a:pt x="8216" y="10824"/>
                    <a:pt x="8216" y="10740"/>
                  </a:cubicBezTo>
                  <a:lnTo>
                    <a:pt x="8216" y="9431"/>
                  </a:lnTo>
                  <a:cubicBezTo>
                    <a:pt x="8192" y="8931"/>
                    <a:pt x="7859" y="8478"/>
                    <a:pt x="7406" y="8311"/>
                  </a:cubicBezTo>
                  <a:lnTo>
                    <a:pt x="7740" y="8109"/>
                  </a:lnTo>
                  <a:cubicBezTo>
                    <a:pt x="7918" y="8002"/>
                    <a:pt x="8013" y="7799"/>
                    <a:pt x="7978" y="7585"/>
                  </a:cubicBezTo>
                  <a:lnTo>
                    <a:pt x="7073" y="2477"/>
                  </a:lnTo>
                  <a:cubicBezTo>
                    <a:pt x="6823" y="1037"/>
                    <a:pt x="5573" y="1"/>
                    <a:pt x="4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9" name="Google Shape;11519;p61"/>
            <p:cNvSpPr/>
            <p:nvPr/>
          </p:nvSpPr>
          <p:spPr>
            <a:xfrm>
              <a:off x="7257815" y="4428808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8" y="0"/>
                  </a:moveTo>
                  <a:cubicBezTo>
                    <a:pt x="138" y="0"/>
                    <a:pt x="96" y="15"/>
                    <a:pt x="60" y="45"/>
                  </a:cubicBezTo>
                  <a:cubicBezTo>
                    <a:pt x="1" y="105"/>
                    <a:pt x="1" y="200"/>
                    <a:pt x="60" y="259"/>
                  </a:cubicBezTo>
                  <a:cubicBezTo>
                    <a:pt x="203" y="402"/>
                    <a:pt x="441" y="486"/>
                    <a:pt x="691" y="486"/>
                  </a:cubicBezTo>
                  <a:cubicBezTo>
                    <a:pt x="941" y="486"/>
                    <a:pt x="1179" y="414"/>
                    <a:pt x="1322" y="259"/>
                  </a:cubicBezTo>
                  <a:cubicBezTo>
                    <a:pt x="1382" y="200"/>
                    <a:pt x="1382" y="105"/>
                    <a:pt x="1322" y="45"/>
                  </a:cubicBezTo>
                  <a:cubicBezTo>
                    <a:pt x="1287" y="15"/>
                    <a:pt x="1245" y="0"/>
                    <a:pt x="1205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906" y="164"/>
                    <a:pt x="691" y="164"/>
                  </a:cubicBezTo>
                  <a:cubicBezTo>
                    <a:pt x="477" y="164"/>
                    <a:pt x="346" y="81"/>
                    <a:pt x="286" y="45"/>
                  </a:cubicBezTo>
                  <a:cubicBezTo>
                    <a:pt x="257" y="15"/>
                    <a:pt x="218" y="0"/>
                    <a:pt x="1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0" name="Google Shape;11520;p61"/>
            <p:cNvSpPr/>
            <p:nvPr/>
          </p:nvSpPr>
          <p:spPr>
            <a:xfrm>
              <a:off x="7241975" y="4390602"/>
              <a:ext cx="10581" cy="15523"/>
            </a:xfrm>
            <a:custGeom>
              <a:avLst/>
              <a:gdLst/>
              <a:ahLst/>
              <a:cxnLst/>
              <a:rect l="l" t="t" r="r" b="b"/>
              <a:pathLst>
                <a:path w="334" h="490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322"/>
                  </a:lnTo>
                  <a:cubicBezTo>
                    <a:pt x="1" y="418"/>
                    <a:pt x="72" y="489"/>
                    <a:pt x="167" y="489"/>
                  </a:cubicBezTo>
                  <a:cubicBezTo>
                    <a:pt x="251" y="489"/>
                    <a:pt x="334" y="418"/>
                    <a:pt x="334" y="322"/>
                  </a:cubicBezTo>
                  <a:lnTo>
                    <a:pt x="334" y="156"/>
                  </a:lnTo>
                  <a:cubicBezTo>
                    <a:pt x="310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1" name="Google Shape;11521;p61"/>
            <p:cNvSpPr/>
            <p:nvPr/>
          </p:nvSpPr>
          <p:spPr>
            <a:xfrm>
              <a:off x="7307236" y="4390602"/>
              <a:ext cx="10201" cy="15523"/>
            </a:xfrm>
            <a:custGeom>
              <a:avLst/>
              <a:gdLst/>
              <a:ahLst/>
              <a:cxnLst/>
              <a:rect l="l" t="t" r="r" b="b"/>
              <a:pathLst>
                <a:path w="322" h="490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22"/>
                  </a:lnTo>
                  <a:cubicBezTo>
                    <a:pt x="0" y="418"/>
                    <a:pt x="72" y="489"/>
                    <a:pt x="155" y="489"/>
                  </a:cubicBezTo>
                  <a:cubicBezTo>
                    <a:pt x="250" y="489"/>
                    <a:pt x="322" y="418"/>
                    <a:pt x="322" y="322"/>
                  </a:cubicBezTo>
                  <a:lnTo>
                    <a:pt x="322" y="156"/>
                  </a:lnTo>
                  <a:cubicBezTo>
                    <a:pt x="310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2" name="Google Shape;11522;p61"/>
            <p:cNvSpPr/>
            <p:nvPr/>
          </p:nvSpPr>
          <p:spPr>
            <a:xfrm>
              <a:off x="7236336" y="4374382"/>
              <a:ext cx="21131" cy="10613"/>
            </a:xfrm>
            <a:custGeom>
              <a:avLst/>
              <a:gdLst/>
              <a:ahLst/>
              <a:cxnLst/>
              <a:rect l="l" t="t" r="r" b="b"/>
              <a:pathLst>
                <a:path w="667" h="335" extrusionOk="0">
                  <a:moveTo>
                    <a:pt x="167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67" y="334"/>
                  </a:cubicBezTo>
                  <a:lnTo>
                    <a:pt x="512" y="334"/>
                  </a:lnTo>
                  <a:cubicBezTo>
                    <a:pt x="595" y="334"/>
                    <a:pt x="667" y="251"/>
                    <a:pt x="667" y="168"/>
                  </a:cubicBezTo>
                  <a:cubicBezTo>
                    <a:pt x="667" y="72"/>
                    <a:pt x="595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3" name="Google Shape;11523;p61"/>
            <p:cNvSpPr/>
            <p:nvPr/>
          </p:nvSpPr>
          <p:spPr>
            <a:xfrm>
              <a:off x="7301565" y="4374382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501" y="334"/>
                  </a:lnTo>
                  <a:cubicBezTo>
                    <a:pt x="596" y="334"/>
                    <a:pt x="668" y="251"/>
                    <a:pt x="668" y="168"/>
                  </a:cubicBezTo>
                  <a:cubicBezTo>
                    <a:pt x="668" y="72"/>
                    <a:pt x="596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24" name="Google Shape;11524;p61"/>
          <p:cNvGrpSpPr/>
          <p:nvPr/>
        </p:nvGrpSpPr>
        <p:grpSpPr>
          <a:xfrm>
            <a:off x="6695051" y="4259351"/>
            <a:ext cx="270104" cy="360233"/>
            <a:chOff x="6695051" y="4259351"/>
            <a:chExt cx="270104" cy="360233"/>
          </a:xfrm>
        </p:grpSpPr>
        <p:sp>
          <p:nvSpPr>
            <p:cNvPr id="11525" name="Google Shape;11525;p61"/>
            <p:cNvSpPr/>
            <p:nvPr/>
          </p:nvSpPr>
          <p:spPr>
            <a:xfrm>
              <a:off x="6790852" y="4383442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6" name="Google Shape;11526;p61"/>
            <p:cNvSpPr/>
            <p:nvPr/>
          </p:nvSpPr>
          <p:spPr>
            <a:xfrm>
              <a:off x="6858742" y="4383442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7" name="Google Shape;11527;p61"/>
            <p:cNvSpPr/>
            <p:nvPr/>
          </p:nvSpPr>
          <p:spPr>
            <a:xfrm>
              <a:off x="6695051" y="4259351"/>
              <a:ext cx="270104" cy="360233"/>
            </a:xfrm>
            <a:custGeom>
              <a:avLst/>
              <a:gdLst/>
              <a:ahLst/>
              <a:cxnLst/>
              <a:rect l="l" t="t" r="r" b="b"/>
              <a:pathLst>
                <a:path w="8526" h="11371" extrusionOk="0">
                  <a:moveTo>
                    <a:pt x="4263" y="310"/>
                  </a:moveTo>
                  <a:cubicBezTo>
                    <a:pt x="5835" y="310"/>
                    <a:pt x="7121" y="1596"/>
                    <a:pt x="7121" y="3168"/>
                  </a:cubicBezTo>
                  <a:lnTo>
                    <a:pt x="7121" y="3781"/>
                  </a:lnTo>
                  <a:lnTo>
                    <a:pt x="7121" y="3781"/>
                  </a:lnTo>
                  <a:cubicBezTo>
                    <a:pt x="7030" y="3736"/>
                    <a:pt x="6949" y="3703"/>
                    <a:pt x="6847" y="3703"/>
                  </a:cubicBezTo>
                  <a:lnTo>
                    <a:pt x="6763" y="3703"/>
                  </a:lnTo>
                  <a:cubicBezTo>
                    <a:pt x="6597" y="3703"/>
                    <a:pt x="6430" y="3680"/>
                    <a:pt x="6263" y="3632"/>
                  </a:cubicBezTo>
                  <a:cubicBezTo>
                    <a:pt x="6251" y="3628"/>
                    <a:pt x="6238" y="3627"/>
                    <a:pt x="6225" y="3627"/>
                  </a:cubicBezTo>
                  <a:cubicBezTo>
                    <a:pt x="6153" y="3627"/>
                    <a:pt x="6081" y="3680"/>
                    <a:pt x="6061" y="3751"/>
                  </a:cubicBezTo>
                  <a:cubicBezTo>
                    <a:pt x="6025" y="3846"/>
                    <a:pt x="6085" y="3930"/>
                    <a:pt x="6180" y="3965"/>
                  </a:cubicBezTo>
                  <a:cubicBezTo>
                    <a:pt x="6370" y="4025"/>
                    <a:pt x="6561" y="4037"/>
                    <a:pt x="6763" y="4037"/>
                  </a:cubicBezTo>
                  <a:lnTo>
                    <a:pt x="6847" y="4037"/>
                  </a:lnTo>
                  <a:cubicBezTo>
                    <a:pt x="7001" y="4037"/>
                    <a:pt x="7132" y="4156"/>
                    <a:pt x="7132" y="4322"/>
                  </a:cubicBezTo>
                  <a:cubicBezTo>
                    <a:pt x="7132" y="4477"/>
                    <a:pt x="7013" y="4596"/>
                    <a:pt x="6847" y="4596"/>
                  </a:cubicBezTo>
                  <a:lnTo>
                    <a:pt x="6740" y="4596"/>
                  </a:lnTo>
                  <a:lnTo>
                    <a:pt x="6740" y="4584"/>
                  </a:lnTo>
                  <a:cubicBezTo>
                    <a:pt x="6740" y="4489"/>
                    <a:pt x="6668" y="4418"/>
                    <a:pt x="6585" y="4418"/>
                  </a:cubicBezTo>
                  <a:cubicBezTo>
                    <a:pt x="6489" y="4418"/>
                    <a:pt x="6418" y="4489"/>
                    <a:pt x="6418" y="4584"/>
                  </a:cubicBezTo>
                  <a:cubicBezTo>
                    <a:pt x="6418" y="5775"/>
                    <a:pt x="5454" y="6739"/>
                    <a:pt x="4263" y="6739"/>
                  </a:cubicBezTo>
                  <a:cubicBezTo>
                    <a:pt x="3072" y="6739"/>
                    <a:pt x="2096" y="5775"/>
                    <a:pt x="2096" y="4584"/>
                  </a:cubicBezTo>
                  <a:cubicBezTo>
                    <a:pt x="2096" y="4489"/>
                    <a:pt x="2025" y="4418"/>
                    <a:pt x="1941" y="4418"/>
                  </a:cubicBezTo>
                  <a:cubicBezTo>
                    <a:pt x="1846" y="4418"/>
                    <a:pt x="1775" y="4489"/>
                    <a:pt x="1775" y="4584"/>
                  </a:cubicBezTo>
                  <a:lnTo>
                    <a:pt x="1775" y="4596"/>
                  </a:lnTo>
                  <a:lnTo>
                    <a:pt x="1667" y="4596"/>
                  </a:lnTo>
                  <a:cubicBezTo>
                    <a:pt x="1525" y="4596"/>
                    <a:pt x="1382" y="4477"/>
                    <a:pt x="1382" y="4322"/>
                  </a:cubicBezTo>
                  <a:cubicBezTo>
                    <a:pt x="1382" y="4168"/>
                    <a:pt x="1501" y="4037"/>
                    <a:pt x="1667" y="4037"/>
                  </a:cubicBezTo>
                  <a:lnTo>
                    <a:pt x="1763" y="4037"/>
                  </a:lnTo>
                  <a:cubicBezTo>
                    <a:pt x="2953" y="4037"/>
                    <a:pt x="3906" y="3013"/>
                    <a:pt x="4239" y="2560"/>
                  </a:cubicBezTo>
                  <a:lnTo>
                    <a:pt x="4275" y="2560"/>
                  </a:lnTo>
                  <a:cubicBezTo>
                    <a:pt x="4477" y="2834"/>
                    <a:pt x="4930" y="3334"/>
                    <a:pt x="5525" y="3680"/>
                  </a:cubicBezTo>
                  <a:cubicBezTo>
                    <a:pt x="5547" y="3694"/>
                    <a:pt x="5573" y="3701"/>
                    <a:pt x="5600" y="3701"/>
                  </a:cubicBezTo>
                  <a:cubicBezTo>
                    <a:pt x="5658" y="3701"/>
                    <a:pt x="5719" y="3669"/>
                    <a:pt x="5751" y="3620"/>
                  </a:cubicBezTo>
                  <a:cubicBezTo>
                    <a:pt x="5787" y="3549"/>
                    <a:pt x="5763" y="3441"/>
                    <a:pt x="5692" y="3394"/>
                  </a:cubicBezTo>
                  <a:cubicBezTo>
                    <a:pt x="5156" y="3084"/>
                    <a:pt x="4727" y="2608"/>
                    <a:pt x="4525" y="2358"/>
                  </a:cubicBezTo>
                  <a:cubicBezTo>
                    <a:pt x="4465" y="2263"/>
                    <a:pt x="4358" y="2215"/>
                    <a:pt x="4263" y="2215"/>
                  </a:cubicBezTo>
                  <a:cubicBezTo>
                    <a:pt x="4156" y="2215"/>
                    <a:pt x="4049" y="2263"/>
                    <a:pt x="3989" y="2358"/>
                  </a:cubicBezTo>
                  <a:cubicBezTo>
                    <a:pt x="3025" y="3572"/>
                    <a:pt x="2120" y="3703"/>
                    <a:pt x="1775" y="3703"/>
                  </a:cubicBezTo>
                  <a:lnTo>
                    <a:pt x="1679" y="3703"/>
                  </a:lnTo>
                  <a:cubicBezTo>
                    <a:pt x="1584" y="3703"/>
                    <a:pt x="1489" y="3739"/>
                    <a:pt x="1406" y="3787"/>
                  </a:cubicBezTo>
                  <a:lnTo>
                    <a:pt x="1406" y="3168"/>
                  </a:lnTo>
                  <a:cubicBezTo>
                    <a:pt x="1406" y="1596"/>
                    <a:pt x="2679" y="310"/>
                    <a:pt x="4263" y="310"/>
                  </a:cubicBezTo>
                  <a:close/>
                  <a:moveTo>
                    <a:pt x="6120" y="6239"/>
                  </a:moveTo>
                  <a:cubicBezTo>
                    <a:pt x="6144" y="6323"/>
                    <a:pt x="6192" y="6418"/>
                    <a:pt x="6251" y="6489"/>
                  </a:cubicBezTo>
                  <a:cubicBezTo>
                    <a:pt x="6263" y="6501"/>
                    <a:pt x="6263" y="6537"/>
                    <a:pt x="6251" y="6549"/>
                  </a:cubicBezTo>
                  <a:cubicBezTo>
                    <a:pt x="6120" y="6716"/>
                    <a:pt x="6061" y="6906"/>
                    <a:pt x="6061" y="7120"/>
                  </a:cubicBezTo>
                  <a:cubicBezTo>
                    <a:pt x="6061" y="7335"/>
                    <a:pt x="6132" y="7549"/>
                    <a:pt x="6263" y="7716"/>
                  </a:cubicBezTo>
                  <a:cubicBezTo>
                    <a:pt x="6287" y="7740"/>
                    <a:pt x="6287" y="7751"/>
                    <a:pt x="6263" y="7787"/>
                  </a:cubicBezTo>
                  <a:cubicBezTo>
                    <a:pt x="6192" y="7871"/>
                    <a:pt x="6132" y="7978"/>
                    <a:pt x="6108" y="8085"/>
                  </a:cubicBezTo>
                  <a:lnTo>
                    <a:pt x="5870" y="7990"/>
                  </a:lnTo>
                  <a:cubicBezTo>
                    <a:pt x="5644" y="7918"/>
                    <a:pt x="5513" y="7716"/>
                    <a:pt x="5513" y="7478"/>
                  </a:cubicBezTo>
                  <a:lnTo>
                    <a:pt x="5513" y="6739"/>
                  </a:lnTo>
                  <a:cubicBezTo>
                    <a:pt x="5751" y="6608"/>
                    <a:pt x="5942" y="6442"/>
                    <a:pt x="6120" y="6239"/>
                  </a:cubicBezTo>
                  <a:close/>
                  <a:moveTo>
                    <a:pt x="2394" y="6251"/>
                  </a:moveTo>
                  <a:cubicBezTo>
                    <a:pt x="2572" y="6442"/>
                    <a:pt x="2787" y="6620"/>
                    <a:pt x="3013" y="6751"/>
                  </a:cubicBezTo>
                  <a:lnTo>
                    <a:pt x="3013" y="7490"/>
                  </a:lnTo>
                  <a:cubicBezTo>
                    <a:pt x="3013" y="7728"/>
                    <a:pt x="2858" y="7918"/>
                    <a:pt x="2644" y="8002"/>
                  </a:cubicBezTo>
                  <a:lnTo>
                    <a:pt x="2418" y="8097"/>
                  </a:lnTo>
                  <a:cubicBezTo>
                    <a:pt x="2382" y="7990"/>
                    <a:pt x="2322" y="7894"/>
                    <a:pt x="2251" y="7799"/>
                  </a:cubicBezTo>
                  <a:cubicBezTo>
                    <a:pt x="2239" y="7763"/>
                    <a:pt x="2239" y="7751"/>
                    <a:pt x="2251" y="7728"/>
                  </a:cubicBezTo>
                  <a:cubicBezTo>
                    <a:pt x="2382" y="7561"/>
                    <a:pt x="2453" y="7347"/>
                    <a:pt x="2453" y="7144"/>
                  </a:cubicBezTo>
                  <a:cubicBezTo>
                    <a:pt x="2477" y="6918"/>
                    <a:pt x="2394" y="6716"/>
                    <a:pt x="2263" y="6561"/>
                  </a:cubicBezTo>
                  <a:cubicBezTo>
                    <a:pt x="2251" y="6549"/>
                    <a:pt x="2251" y="6525"/>
                    <a:pt x="2263" y="6501"/>
                  </a:cubicBezTo>
                  <a:cubicBezTo>
                    <a:pt x="2322" y="6430"/>
                    <a:pt x="2370" y="6347"/>
                    <a:pt x="2394" y="6251"/>
                  </a:cubicBezTo>
                  <a:close/>
                  <a:moveTo>
                    <a:pt x="1787" y="4954"/>
                  </a:moveTo>
                  <a:cubicBezTo>
                    <a:pt x="1834" y="5299"/>
                    <a:pt x="1953" y="5608"/>
                    <a:pt x="2120" y="5894"/>
                  </a:cubicBezTo>
                  <a:lnTo>
                    <a:pt x="2120" y="5954"/>
                  </a:lnTo>
                  <a:cubicBezTo>
                    <a:pt x="2120" y="6085"/>
                    <a:pt x="2072" y="6204"/>
                    <a:pt x="2001" y="6311"/>
                  </a:cubicBezTo>
                  <a:cubicBezTo>
                    <a:pt x="1894" y="6442"/>
                    <a:pt x="1894" y="6644"/>
                    <a:pt x="2001" y="6775"/>
                  </a:cubicBezTo>
                  <a:cubicBezTo>
                    <a:pt x="2084" y="6882"/>
                    <a:pt x="2120" y="7001"/>
                    <a:pt x="2120" y="7132"/>
                  </a:cubicBezTo>
                  <a:cubicBezTo>
                    <a:pt x="2120" y="7263"/>
                    <a:pt x="2072" y="7394"/>
                    <a:pt x="1977" y="7501"/>
                  </a:cubicBezTo>
                  <a:cubicBezTo>
                    <a:pt x="1858" y="7656"/>
                    <a:pt x="1858" y="7859"/>
                    <a:pt x="1977" y="8013"/>
                  </a:cubicBezTo>
                  <a:cubicBezTo>
                    <a:pt x="2025" y="8073"/>
                    <a:pt x="2072" y="8132"/>
                    <a:pt x="2084" y="8204"/>
                  </a:cubicBezTo>
                  <a:lnTo>
                    <a:pt x="1560" y="8383"/>
                  </a:lnTo>
                  <a:cubicBezTo>
                    <a:pt x="1465" y="8275"/>
                    <a:pt x="1382" y="8132"/>
                    <a:pt x="1382" y="7966"/>
                  </a:cubicBezTo>
                  <a:cubicBezTo>
                    <a:pt x="1382" y="7835"/>
                    <a:pt x="1429" y="7692"/>
                    <a:pt x="1525" y="7597"/>
                  </a:cubicBezTo>
                  <a:cubicBezTo>
                    <a:pt x="1644" y="7442"/>
                    <a:pt x="1644" y="7240"/>
                    <a:pt x="1525" y="7085"/>
                  </a:cubicBezTo>
                  <a:cubicBezTo>
                    <a:pt x="1429" y="6978"/>
                    <a:pt x="1382" y="6847"/>
                    <a:pt x="1382" y="6716"/>
                  </a:cubicBezTo>
                  <a:cubicBezTo>
                    <a:pt x="1382" y="6585"/>
                    <a:pt x="1429" y="6466"/>
                    <a:pt x="1501" y="6358"/>
                  </a:cubicBezTo>
                  <a:cubicBezTo>
                    <a:pt x="1608" y="6227"/>
                    <a:pt x="1608" y="6025"/>
                    <a:pt x="1501" y="5894"/>
                  </a:cubicBezTo>
                  <a:cubicBezTo>
                    <a:pt x="1417" y="5787"/>
                    <a:pt x="1382" y="5668"/>
                    <a:pt x="1382" y="5537"/>
                  </a:cubicBezTo>
                  <a:cubicBezTo>
                    <a:pt x="1382" y="5299"/>
                    <a:pt x="1525" y="5096"/>
                    <a:pt x="1727" y="5001"/>
                  </a:cubicBezTo>
                  <a:cubicBezTo>
                    <a:pt x="1739" y="4989"/>
                    <a:pt x="1775" y="4977"/>
                    <a:pt x="1787" y="4954"/>
                  </a:cubicBezTo>
                  <a:close/>
                  <a:moveTo>
                    <a:pt x="6716" y="4942"/>
                  </a:moveTo>
                  <a:cubicBezTo>
                    <a:pt x="6728" y="4954"/>
                    <a:pt x="6740" y="4977"/>
                    <a:pt x="6775" y="4989"/>
                  </a:cubicBezTo>
                  <a:cubicBezTo>
                    <a:pt x="6978" y="5073"/>
                    <a:pt x="7121" y="5287"/>
                    <a:pt x="7121" y="5525"/>
                  </a:cubicBezTo>
                  <a:cubicBezTo>
                    <a:pt x="7121" y="5656"/>
                    <a:pt x="7073" y="5775"/>
                    <a:pt x="7001" y="5882"/>
                  </a:cubicBezTo>
                  <a:cubicBezTo>
                    <a:pt x="6894" y="6013"/>
                    <a:pt x="6894" y="6204"/>
                    <a:pt x="7001" y="6347"/>
                  </a:cubicBezTo>
                  <a:cubicBezTo>
                    <a:pt x="7085" y="6442"/>
                    <a:pt x="7121" y="6561"/>
                    <a:pt x="7121" y="6704"/>
                  </a:cubicBezTo>
                  <a:cubicBezTo>
                    <a:pt x="7121" y="6835"/>
                    <a:pt x="7073" y="6966"/>
                    <a:pt x="6978" y="7073"/>
                  </a:cubicBezTo>
                  <a:cubicBezTo>
                    <a:pt x="6859" y="7240"/>
                    <a:pt x="6859" y="7442"/>
                    <a:pt x="7001" y="7597"/>
                  </a:cubicBezTo>
                  <a:cubicBezTo>
                    <a:pt x="7085" y="7692"/>
                    <a:pt x="7132" y="7835"/>
                    <a:pt x="7132" y="7966"/>
                  </a:cubicBezTo>
                  <a:cubicBezTo>
                    <a:pt x="7132" y="8132"/>
                    <a:pt x="7073" y="8275"/>
                    <a:pt x="6954" y="8383"/>
                  </a:cubicBezTo>
                  <a:lnTo>
                    <a:pt x="6418" y="8192"/>
                  </a:lnTo>
                  <a:cubicBezTo>
                    <a:pt x="6442" y="8109"/>
                    <a:pt x="6478" y="8049"/>
                    <a:pt x="6525" y="7990"/>
                  </a:cubicBezTo>
                  <a:cubicBezTo>
                    <a:pt x="6644" y="7847"/>
                    <a:pt x="6644" y="7632"/>
                    <a:pt x="6525" y="7490"/>
                  </a:cubicBezTo>
                  <a:cubicBezTo>
                    <a:pt x="6430" y="7382"/>
                    <a:pt x="6382" y="7251"/>
                    <a:pt x="6382" y="7120"/>
                  </a:cubicBezTo>
                  <a:cubicBezTo>
                    <a:pt x="6382" y="6978"/>
                    <a:pt x="6430" y="6859"/>
                    <a:pt x="6501" y="6763"/>
                  </a:cubicBezTo>
                  <a:cubicBezTo>
                    <a:pt x="6609" y="6620"/>
                    <a:pt x="6609" y="6430"/>
                    <a:pt x="6501" y="6299"/>
                  </a:cubicBezTo>
                  <a:cubicBezTo>
                    <a:pt x="6418" y="6192"/>
                    <a:pt x="6382" y="6073"/>
                    <a:pt x="6382" y="5942"/>
                  </a:cubicBezTo>
                  <a:lnTo>
                    <a:pt x="6382" y="5882"/>
                  </a:lnTo>
                  <a:cubicBezTo>
                    <a:pt x="6549" y="5596"/>
                    <a:pt x="6668" y="5287"/>
                    <a:pt x="6716" y="4942"/>
                  </a:cubicBezTo>
                  <a:close/>
                  <a:moveTo>
                    <a:pt x="5180" y="6918"/>
                  </a:moveTo>
                  <a:lnTo>
                    <a:pt x="5180" y="7490"/>
                  </a:lnTo>
                  <a:cubicBezTo>
                    <a:pt x="5180" y="7847"/>
                    <a:pt x="5394" y="8156"/>
                    <a:pt x="5716" y="8287"/>
                  </a:cubicBezTo>
                  <a:cubicBezTo>
                    <a:pt x="5680" y="8561"/>
                    <a:pt x="5597" y="8799"/>
                    <a:pt x="5442" y="9025"/>
                  </a:cubicBezTo>
                  <a:cubicBezTo>
                    <a:pt x="5382" y="9097"/>
                    <a:pt x="5406" y="9204"/>
                    <a:pt x="5477" y="9264"/>
                  </a:cubicBezTo>
                  <a:cubicBezTo>
                    <a:pt x="5513" y="9275"/>
                    <a:pt x="5537" y="9287"/>
                    <a:pt x="5585" y="9287"/>
                  </a:cubicBezTo>
                  <a:cubicBezTo>
                    <a:pt x="5620" y="9287"/>
                    <a:pt x="5692" y="9264"/>
                    <a:pt x="5716" y="9216"/>
                  </a:cubicBezTo>
                  <a:cubicBezTo>
                    <a:pt x="5894" y="8978"/>
                    <a:pt x="6001" y="8692"/>
                    <a:pt x="6049" y="8406"/>
                  </a:cubicBezTo>
                  <a:lnTo>
                    <a:pt x="6585" y="8609"/>
                  </a:lnTo>
                  <a:cubicBezTo>
                    <a:pt x="6466" y="9109"/>
                    <a:pt x="6192" y="9573"/>
                    <a:pt x="5787" y="9918"/>
                  </a:cubicBezTo>
                  <a:cubicBezTo>
                    <a:pt x="5370" y="10288"/>
                    <a:pt x="4823" y="10490"/>
                    <a:pt x="4263" y="10490"/>
                  </a:cubicBezTo>
                  <a:cubicBezTo>
                    <a:pt x="3692" y="10490"/>
                    <a:pt x="3156" y="10288"/>
                    <a:pt x="2727" y="9930"/>
                  </a:cubicBezTo>
                  <a:cubicBezTo>
                    <a:pt x="2322" y="9585"/>
                    <a:pt x="2060" y="9109"/>
                    <a:pt x="1965" y="8609"/>
                  </a:cubicBezTo>
                  <a:lnTo>
                    <a:pt x="2501" y="8406"/>
                  </a:lnTo>
                  <a:cubicBezTo>
                    <a:pt x="2560" y="8799"/>
                    <a:pt x="2739" y="9168"/>
                    <a:pt x="3025" y="9442"/>
                  </a:cubicBezTo>
                  <a:cubicBezTo>
                    <a:pt x="3346" y="9764"/>
                    <a:pt x="3799" y="9930"/>
                    <a:pt x="4263" y="9930"/>
                  </a:cubicBezTo>
                  <a:cubicBezTo>
                    <a:pt x="4561" y="9930"/>
                    <a:pt x="4858" y="9859"/>
                    <a:pt x="5120" y="9704"/>
                  </a:cubicBezTo>
                  <a:cubicBezTo>
                    <a:pt x="5192" y="9656"/>
                    <a:pt x="5227" y="9561"/>
                    <a:pt x="5180" y="9478"/>
                  </a:cubicBezTo>
                  <a:cubicBezTo>
                    <a:pt x="5147" y="9429"/>
                    <a:pt x="5091" y="9402"/>
                    <a:pt x="5033" y="9402"/>
                  </a:cubicBezTo>
                  <a:cubicBezTo>
                    <a:pt x="5006" y="9402"/>
                    <a:pt x="4979" y="9407"/>
                    <a:pt x="4954" y="9418"/>
                  </a:cubicBezTo>
                  <a:cubicBezTo>
                    <a:pt x="4751" y="9537"/>
                    <a:pt x="4501" y="9597"/>
                    <a:pt x="4263" y="9597"/>
                  </a:cubicBezTo>
                  <a:cubicBezTo>
                    <a:pt x="3501" y="9597"/>
                    <a:pt x="2894" y="9037"/>
                    <a:pt x="2834" y="8287"/>
                  </a:cubicBezTo>
                  <a:cubicBezTo>
                    <a:pt x="3144" y="8156"/>
                    <a:pt x="3370" y="7835"/>
                    <a:pt x="3370" y="7490"/>
                  </a:cubicBezTo>
                  <a:lnTo>
                    <a:pt x="3370" y="6918"/>
                  </a:lnTo>
                  <a:cubicBezTo>
                    <a:pt x="3644" y="7025"/>
                    <a:pt x="3942" y="7085"/>
                    <a:pt x="4275" y="7085"/>
                  </a:cubicBezTo>
                  <a:cubicBezTo>
                    <a:pt x="4584" y="7085"/>
                    <a:pt x="4894" y="7025"/>
                    <a:pt x="5180" y="6918"/>
                  </a:cubicBezTo>
                  <a:close/>
                  <a:moveTo>
                    <a:pt x="4263" y="1"/>
                  </a:moveTo>
                  <a:cubicBezTo>
                    <a:pt x="2489" y="1"/>
                    <a:pt x="1060" y="1429"/>
                    <a:pt x="1060" y="3203"/>
                  </a:cubicBezTo>
                  <a:lnTo>
                    <a:pt x="1060" y="4346"/>
                  </a:lnTo>
                  <a:cubicBezTo>
                    <a:pt x="1060" y="4573"/>
                    <a:pt x="1179" y="4751"/>
                    <a:pt x="1346" y="4870"/>
                  </a:cubicBezTo>
                  <a:cubicBezTo>
                    <a:pt x="1167" y="5037"/>
                    <a:pt x="1060" y="5275"/>
                    <a:pt x="1060" y="5537"/>
                  </a:cubicBezTo>
                  <a:cubicBezTo>
                    <a:pt x="1060" y="5751"/>
                    <a:pt x="1132" y="5954"/>
                    <a:pt x="1251" y="6108"/>
                  </a:cubicBezTo>
                  <a:cubicBezTo>
                    <a:pt x="1263" y="6120"/>
                    <a:pt x="1263" y="6144"/>
                    <a:pt x="1251" y="6168"/>
                  </a:cubicBezTo>
                  <a:cubicBezTo>
                    <a:pt x="1120" y="6323"/>
                    <a:pt x="1060" y="6525"/>
                    <a:pt x="1060" y="6728"/>
                  </a:cubicBezTo>
                  <a:cubicBezTo>
                    <a:pt x="1060" y="6942"/>
                    <a:pt x="1132" y="7144"/>
                    <a:pt x="1263" y="7311"/>
                  </a:cubicBezTo>
                  <a:cubicBezTo>
                    <a:pt x="1286" y="7335"/>
                    <a:pt x="1286" y="7359"/>
                    <a:pt x="1263" y="7382"/>
                  </a:cubicBezTo>
                  <a:cubicBezTo>
                    <a:pt x="1132" y="7549"/>
                    <a:pt x="1060" y="7751"/>
                    <a:pt x="1060" y="7966"/>
                  </a:cubicBezTo>
                  <a:cubicBezTo>
                    <a:pt x="1060" y="8156"/>
                    <a:pt x="1120" y="8347"/>
                    <a:pt x="1239" y="8502"/>
                  </a:cubicBezTo>
                  <a:lnTo>
                    <a:pt x="822" y="8644"/>
                  </a:lnTo>
                  <a:cubicBezTo>
                    <a:pt x="334" y="8823"/>
                    <a:pt x="1" y="9287"/>
                    <a:pt x="1" y="9811"/>
                  </a:cubicBezTo>
                  <a:lnTo>
                    <a:pt x="1" y="11192"/>
                  </a:lnTo>
                  <a:cubicBezTo>
                    <a:pt x="1" y="11288"/>
                    <a:pt x="72" y="11359"/>
                    <a:pt x="167" y="11359"/>
                  </a:cubicBezTo>
                  <a:cubicBezTo>
                    <a:pt x="251" y="11359"/>
                    <a:pt x="334" y="11288"/>
                    <a:pt x="334" y="11192"/>
                  </a:cubicBezTo>
                  <a:lnTo>
                    <a:pt x="334" y="9811"/>
                  </a:lnTo>
                  <a:cubicBezTo>
                    <a:pt x="334" y="9418"/>
                    <a:pt x="560" y="9085"/>
                    <a:pt x="929" y="8966"/>
                  </a:cubicBezTo>
                  <a:lnTo>
                    <a:pt x="1656" y="8704"/>
                  </a:lnTo>
                  <a:cubicBezTo>
                    <a:pt x="1775" y="9275"/>
                    <a:pt x="2072" y="9787"/>
                    <a:pt x="2513" y="10180"/>
                  </a:cubicBezTo>
                  <a:cubicBezTo>
                    <a:pt x="3013" y="10597"/>
                    <a:pt x="3620" y="10835"/>
                    <a:pt x="4263" y="10835"/>
                  </a:cubicBezTo>
                  <a:cubicBezTo>
                    <a:pt x="4894" y="10835"/>
                    <a:pt x="5525" y="10597"/>
                    <a:pt x="6013" y="10180"/>
                  </a:cubicBezTo>
                  <a:cubicBezTo>
                    <a:pt x="6442" y="9787"/>
                    <a:pt x="6763" y="9287"/>
                    <a:pt x="6859" y="8728"/>
                  </a:cubicBezTo>
                  <a:lnTo>
                    <a:pt x="7597" y="8978"/>
                  </a:lnTo>
                  <a:cubicBezTo>
                    <a:pt x="7954" y="9109"/>
                    <a:pt x="8192" y="9454"/>
                    <a:pt x="8192" y="9823"/>
                  </a:cubicBezTo>
                  <a:lnTo>
                    <a:pt x="8192" y="11204"/>
                  </a:lnTo>
                  <a:cubicBezTo>
                    <a:pt x="8192" y="11300"/>
                    <a:pt x="8264" y="11371"/>
                    <a:pt x="8347" y="11371"/>
                  </a:cubicBezTo>
                  <a:cubicBezTo>
                    <a:pt x="8442" y="11371"/>
                    <a:pt x="8514" y="11300"/>
                    <a:pt x="8514" y="11204"/>
                  </a:cubicBezTo>
                  <a:lnTo>
                    <a:pt x="8514" y="9823"/>
                  </a:lnTo>
                  <a:cubicBezTo>
                    <a:pt x="8525" y="9287"/>
                    <a:pt x="8204" y="8823"/>
                    <a:pt x="7692" y="8644"/>
                  </a:cubicBezTo>
                  <a:lnTo>
                    <a:pt x="7275" y="8502"/>
                  </a:lnTo>
                  <a:cubicBezTo>
                    <a:pt x="7382" y="8347"/>
                    <a:pt x="7454" y="8156"/>
                    <a:pt x="7454" y="7966"/>
                  </a:cubicBezTo>
                  <a:cubicBezTo>
                    <a:pt x="7454" y="7751"/>
                    <a:pt x="7382" y="7549"/>
                    <a:pt x="7251" y="7382"/>
                  </a:cubicBezTo>
                  <a:cubicBezTo>
                    <a:pt x="7240" y="7347"/>
                    <a:pt x="7240" y="7335"/>
                    <a:pt x="7251" y="7311"/>
                  </a:cubicBezTo>
                  <a:cubicBezTo>
                    <a:pt x="7382" y="7144"/>
                    <a:pt x="7454" y="6942"/>
                    <a:pt x="7454" y="6728"/>
                  </a:cubicBezTo>
                  <a:cubicBezTo>
                    <a:pt x="7454" y="6525"/>
                    <a:pt x="7382" y="6311"/>
                    <a:pt x="7263" y="6168"/>
                  </a:cubicBezTo>
                  <a:cubicBezTo>
                    <a:pt x="7251" y="6144"/>
                    <a:pt x="7251" y="6120"/>
                    <a:pt x="7263" y="6108"/>
                  </a:cubicBezTo>
                  <a:cubicBezTo>
                    <a:pt x="7394" y="5942"/>
                    <a:pt x="7454" y="5751"/>
                    <a:pt x="7454" y="5537"/>
                  </a:cubicBezTo>
                  <a:cubicBezTo>
                    <a:pt x="7454" y="5287"/>
                    <a:pt x="7359" y="5037"/>
                    <a:pt x="7180" y="4870"/>
                  </a:cubicBezTo>
                  <a:cubicBezTo>
                    <a:pt x="7335" y="4763"/>
                    <a:pt x="7454" y="4573"/>
                    <a:pt x="7454" y="4358"/>
                  </a:cubicBezTo>
                  <a:lnTo>
                    <a:pt x="7454" y="3203"/>
                  </a:lnTo>
                  <a:cubicBezTo>
                    <a:pt x="7454" y="1441"/>
                    <a:pt x="6025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8" name="Google Shape;11528;p61"/>
            <p:cNvSpPr/>
            <p:nvPr/>
          </p:nvSpPr>
          <p:spPr>
            <a:xfrm>
              <a:off x="6799152" y="4414362"/>
              <a:ext cx="61523" cy="33232"/>
            </a:xfrm>
            <a:custGeom>
              <a:avLst/>
              <a:gdLst/>
              <a:ahLst/>
              <a:cxnLst/>
              <a:rect l="l" t="t" r="r" b="b"/>
              <a:pathLst>
                <a:path w="1942" h="1049" extrusionOk="0">
                  <a:moveTo>
                    <a:pt x="1572" y="334"/>
                  </a:moveTo>
                  <a:cubicBezTo>
                    <a:pt x="1489" y="561"/>
                    <a:pt x="1251" y="715"/>
                    <a:pt x="977" y="715"/>
                  </a:cubicBezTo>
                  <a:cubicBezTo>
                    <a:pt x="691" y="715"/>
                    <a:pt x="453" y="561"/>
                    <a:pt x="358" y="334"/>
                  </a:cubicBezTo>
                  <a:close/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656"/>
                    <a:pt x="441" y="1049"/>
                    <a:pt x="977" y="1049"/>
                  </a:cubicBezTo>
                  <a:cubicBezTo>
                    <a:pt x="1513" y="1049"/>
                    <a:pt x="1941" y="644"/>
                    <a:pt x="1941" y="168"/>
                  </a:cubicBezTo>
                  <a:cubicBezTo>
                    <a:pt x="1941" y="84"/>
                    <a:pt x="1870" y="1"/>
                    <a:pt x="1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29" name="Google Shape;11529;p61"/>
          <p:cNvGrpSpPr/>
          <p:nvPr/>
        </p:nvGrpSpPr>
        <p:grpSpPr>
          <a:xfrm>
            <a:off x="8047661" y="4257451"/>
            <a:ext cx="277263" cy="362514"/>
            <a:chOff x="8047661" y="4257451"/>
            <a:chExt cx="277263" cy="362514"/>
          </a:xfrm>
        </p:grpSpPr>
        <p:sp>
          <p:nvSpPr>
            <p:cNvPr id="11530" name="Google Shape;11530;p61"/>
            <p:cNvSpPr/>
            <p:nvPr/>
          </p:nvSpPr>
          <p:spPr>
            <a:xfrm>
              <a:off x="8164211" y="4425418"/>
              <a:ext cx="44542" cy="16157"/>
            </a:xfrm>
            <a:custGeom>
              <a:avLst/>
              <a:gdLst/>
              <a:ahLst/>
              <a:cxnLst/>
              <a:rect l="l" t="t" r="r" b="b"/>
              <a:pathLst>
                <a:path w="1406" h="510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215" y="414"/>
                    <a:pt x="453" y="509"/>
                    <a:pt x="703" y="509"/>
                  </a:cubicBezTo>
                  <a:cubicBezTo>
                    <a:pt x="953" y="509"/>
                    <a:pt x="1203" y="414"/>
                    <a:pt x="1346" y="283"/>
                  </a:cubicBezTo>
                  <a:cubicBezTo>
                    <a:pt x="1405" y="223"/>
                    <a:pt x="1405" y="116"/>
                    <a:pt x="1346" y="45"/>
                  </a:cubicBezTo>
                  <a:cubicBezTo>
                    <a:pt x="1316" y="15"/>
                    <a:pt x="1274" y="0"/>
                    <a:pt x="1231" y="0"/>
                  </a:cubicBezTo>
                  <a:cubicBezTo>
                    <a:pt x="1188" y="0"/>
                    <a:pt x="1143" y="15"/>
                    <a:pt x="1108" y="45"/>
                  </a:cubicBezTo>
                  <a:cubicBezTo>
                    <a:pt x="1048" y="104"/>
                    <a:pt x="893" y="176"/>
                    <a:pt x="703" y="176"/>
                  </a:cubicBezTo>
                  <a:cubicBezTo>
                    <a:pt x="512" y="176"/>
                    <a:pt x="358" y="104"/>
                    <a:pt x="298" y="45"/>
                  </a:cubicBez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1" name="Google Shape;11531;p61"/>
            <p:cNvSpPr/>
            <p:nvPr/>
          </p:nvSpPr>
          <p:spPr>
            <a:xfrm>
              <a:off x="8141940" y="4575423"/>
              <a:ext cx="10613" cy="43813"/>
            </a:xfrm>
            <a:custGeom>
              <a:avLst/>
              <a:gdLst/>
              <a:ahLst/>
              <a:cxnLst/>
              <a:rect l="l" t="t" r="r" b="b"/>
              <a:pathLst>
                <a:path w="335" h="1383" extrusionOk="0">
                  <a:moveTo>
                    <a:pt x="168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1215"/>
                  </a:lnTo>
                  <a:cubicBezTo>
                    <a:pt x="1" y="1311"/>
                    <a:pt x="84" y="1382"/>
                    <a:pt x="168" y="1382"/>
                  </a:cubicBezTo>
                  <a:cubicBezTo>
                    <a:pt x="263" y="1382"/>
                    <a:pt x="334" y="1311"/>
                    <a:pt x="334" y="1215"/>
                  </a:cubicBezTo>
                  <a:lnTo>
                    <a:pt x="334" y="156"/>
                  </a:lnTo>
                  <a:cubicBezTo>
                    <a:pt x="334" y="72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2" name="Google Shape;11532;p61"/>
            <p:cNvSpPr/>
            <p:nvPr/>
          </p:nvSpPr>
          <p:spPr>
            <a:xfrm>
              <a:off x="8125720" y="4375522"/>
              <a:ext cx="121873" cy="42293"/>
            </a:xfrm>
            <a:custGeom>
              <a:avLst/>
              <a:gdLst/>
              <a:ahLst/>
              <a:cxnLst/>
              <a:rect l="l" t="t" r="r" b="b"/>
              <a:pathLst>
                <a:path w="3847" h="1335" extrusionOk="0">
                  <a:moveTo>
                    <a:pt x="3156" y="322"/>
                  </a:moveTo>
                  <a:cubicBezTo>
                    <a:pt x="3335" y="322"/>
                    <a:pt x="3490" y="477"/>
                    <a:pt x="3490" y="667"/>
                  </a:cubicBezTo>
                  <a:cubicBezTo>
                    <a:pt x="3490" y="775"/>
                    <a:pt x="3454" y="870"/>
                    <a:pt x="3359" y="929"/>
                  </a:cubicBezTo>
                  <a:cubicBezTo>
                    <a:pt x="3302" y="970"/>
                    <a:pt x="3229" y="994"/>
                    <a:pt x="3154" y="994"/>
                  </a:cubicBezTo>
                  <a:cubicBezTo>
                    <a:pt x="3119" y="994"/>
                    <a:pt x="3083" y="988"/>
                    <a:pt x="3049" y="977"/>
                  </a:cubicBezTo>
                  <a:lnTo>
                    <a:pt x="2644" y="834"/>
                  </a:lnTo>
                  <a:cubicBezTo>
                    <a:pt x="2513" y="786"/>
                    <a:pt x="2418" y="655"/>
                    <a:pt x="2418" y="513"/>
                  </a:cubicBezTo>
                  <a:lnTo>
                    <a:pt x="2418" y="322"/>
                  </a:lnTo>
                  <a:lnTo>
                    <a:pt x="2799" y="322"/>
                  </a:lnTo>
                  <a:lnTo>
                    <a:pt x="2799" y="489"/>
                  </a:lnTo>
                  <a:cubicBezTo>
                    <a:pt x="2799" y="572"/>
                    <a:pt x="2870" y="655"/>
                    <a:pt x="2954" y="655"/>
                  </a:cubicBezTo>
                  <a:cubicBezTo>
                    <a:pt x="3049" y="655"/>
                    <a:pt x="3120" y="572"/>
                    <a:pt x="3120" y="489"/>
                  </a:cubicBezTo>
                  <a:lnTo>
                    <a:pt x="3120" y="322"/>
                  </a:lnTo>
                  <a:close/>
                  <a:moveTo>
                    <a:pt x="680" y="310"/>
                  </a:moveTo>
                  <a:lnTo>
                    <a:pt x="680" y="477"/>
                  </a:lnTo>
                  <a:cubicBezTo>
                    <a:pt x="680" y="560"/>
                    <a:pt x="751" y="632"/>
                    <a:pt x="846" y="632"/>
                  </a:cubicBezTo>
                  <a:cubicBezTo>
                    <a:pt x="930" y="632"/>
                    <a:pt x="1013" y="560"/>
                    <a:pt x="1013" y="477"/>
                  </a:cubicBezTo>
                  <a:lnTo>
                    <a:pt x="1013" y="322"/>
                  </a:lnTo>
                  <a:lnTo>
                    <a:pt x="1382" y="322"/>
                  </a:lnTo>
                  <a:lnTo>
                    <a:pt x="1382" y="513"/>
                  </a:lnTo>
                  <a:lnTo>
                    <a:pt x="1394" y="513"/>
                  </a:lnTo>
                  <a:cubicBezTo>
                    <a:pt x="1394" y="655"/>
                    <a:pt x="1311" y="786"/>
                    <a:pt x="1168" y="834"/>
                  </a:cubicBezTo>
                  <a:lnTo>
                    <a:pt x="775" y="977"/>
                  </a:lnTo>
                  <a:cubicBezTo>
                    <a:pt x="734" y="995"/>
                    <a:pt x="691" y="1005"/>
                    <a:pt x="648" y="1005"/>
                  </a:cubicBezTo>
                  <a:cubicBezTo>
                    <a:pt x="580" y="1005"/>
                    <a:pt x="512" y="981"/>
                    <a:pt x="453" y="929"/>
                  </a:cubicBezTo>
                  <a:cubicBezTo>
                    <a:pt x="370" y="870"/>
                    <a:pt x="311" y="775"/>
                    <a:pt x="311" y="655"/>
                  </a:cubicBezTo>
                  <a:cubicBezTo>
                    <a:pt x="311" y="477"/>
                    <a:pt x="453" y="310"/>
                    <a:pt x="656" y="310"/>
                  </a:cubicBezTo>
                  <a:close/>
                  <a:moveTo>
                    <a:pt x="668" y="1"/>
                  </a:moveTo>
                  <a:cubicBezTo>
                    <a:pt x="299" y="1"/>
                    <a:pt x="1" y="298"/>
                    <a:pt x="1" y="667"/>
                  </a:cubicBezTo>
                  <a:cubicBezTo>
                    <a:pt x="1" y="894"/>
                    <a:pt x="96" y="1096"/>
                    <a:pt x="275" y="1215"/>
                  </a:cubicBezTo>
                  <a:cubicBezTo>
                    <a:pt x="394" y="1287"/>
                    <a:pt x="537" y="1334"/>
                    <a:pt x="668" y="1334"/>
                  </a:cubicBezTo>
                  <a:cubicBezTo>
                    <a:pt x="739" y="1334"/>
                    <a:pt x="834" y="1322"/>
                    <a:pt x="906" y="1287"/>
                  </a:cubicBezTo>
                  <a:lnTo>
                    <a:pt x="1311" y="1144"/>
                  </a:lnTo>
                  <a:cubicBezTo>
                    <a:pt x="1561" y="1036"/>
                    <a:pt x="1739" y="798"/>
                    <a:pt x="1739" y="513"/>
                  </a:cubicBezTo>
                  <a:lnTo>
                    <a:pt x="1739" y="322"/>
                  </a:lnTo>
                  <a:lnTo>
                    <a:pt x="2108" y="322"/>
                  </a:lnTo>
                  <a:lnTo>
                    <a:pt x="2108" y="513"/>
                  </a:lnTo>
                  <a:cubicBezTo>
                    <a:pt x="2108" y="798"/>
                    <a:pt x="2287" y="1048"/>
                    <a:pt x="2537" y="1144"/>
                  </a:cubicBezTo>
                  <a:lnTo>
                    <a:pt x="2942" y="1287"/>
                  </a:lnTo>
                  <a:cubicBezTo>
                    <a:pt x="3013" y="1322"/>
                    <a:pt x="3097" y="1334"/>
                    <a:pt x="3180" y="1334"/>
                  </a:cubicBezTo>
                  <a:cubicBezTo>
                    <a:pt x="3311" y="1334"/>
                    <a:pt x="3454" y="1287"/>
                    <a:pt x="3573" y="1215"/>
                  </a:cubicBezTo>
                  <a:cubicBezTo>
                    <a:pt x="3751" y="1096"/>
                    <a:pt x="3847" y="894"/>
                    <a:pt x="3847" y="667"/>
                  </a:cubicBezTo>
                  <a:cubicBezTo>
                    <a:pt x="3835" y="298"/>
                    <a:pt x="3537" y="1"/>
                    <a:pt x="3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3" name="Google Shape;11533;p61"/>
            <p:cNvSpPr/>
            <p:nvPr/>
          </p:nvSpPr>
          <p:spPr>
            <a:xfrm>
              <a:off x="8047661" y="4257451"/>
              <a:ext cx="277263" cy="362514"/>
            </a:xfrm>
            <a:custGeom>
              <a:avLst/>
              <a:gdLst/>
              <a:ahLst/>
              <a:cxnLst/>
              <a:rect l="l" t="t" r="r" b="b"/>
              <a:pathLst>
                <a:path w="8752" h="11443" extrusionOk="0">
                  <a:moveTo>
                    <a:pt x="5168" y="370"/>
                  </a:moveTo>
                  <a:cubicBezTo>
                    <a:pt x="6775" y="370"/>
                    <a:pt x="8073" y="1680"/>
                    <a:pt x="8073" y="3275"/>
                  </a:cubicBezTo>
                  <a:cubicBezTo>
                    <a:pt x="8073" y="4394"/>
                    <a:pt x="7430" y="5383"/>
                    <a:pt x="6465" y="5883"/>
                  </a:cubicBezTo>
                  <a:cubicBezTo>
                    <a:pt x="6644" y="5597"/>
                    <a:pt x="6763" y="5287"/>
                    <a:pt x="6811" y="4942"/>
                  </a:cubicBezTo>
                  <a:lnTo>
                    <a:pt x="6894" y="4942"/>
                  </a:lnTo>
                  <a:cubicBezTo>
                    <a:pt x="7227" y="4942"/>
                    <a:pt x="7489" y="4704"/>
                    <a:pt x="7525" y="4394"/>
                  </a:cubicBezTo>
                  <a:cubicBezTo>
                    <a:pt x="7537" y="4228"/>
                    <a:pt x="7478" y="4049"/>
                    <a:pt x="7370" y="3930"/>
                  </a:cubicBezTo>
                  <a:cubicBezTo>
                    <a:pt x="7251" y="3799"/>
                    <a:pt x="7085" y="3740"/>
                    <a:pt x="6930" y="3740"/>
                  </a:cubicBezTo>
                  <a:lnTo>
                    <a:pt x="6656" y="3740"/>
                  </a:lnTo>
                  <a:cubicBezTo>
                    <a:pt x="6549" y="3740"/>
                    <a:pt x="6477" y="3644"/>
                    <a:pt x="6477" y="3561"/>
                  </a:cubicBezTo>
                  <a:lnTo>
                    <a:pt x="6477" y="2680"/>
                  </a:lnTo>
                  <a:cubicBezTo>
                    <a:pt x="6477" y="2394"/>
                    <a:pt x="6239" y="2156"/>
                    <a:pt x="5954" y="2156"/>
                  </a:cubicBezTo>
                  <a:lnTo>
                    <a:pt x="5775" y="2156"/>
                  </a:lnTo>
                  <a:cubicBezTo>
                    <a:pt x="5692" y="2156"/>
                    <a:pt x="5620" y="2227"/>
                    <a:pt x="5620" y="2323"/>
                  </a:cubicBezTo>
                  <a:cubicBezTo>
                    <a:pt x="5620" y="2406"/>
                    <a:pt x="5692" y="2489"/>
                    <a:pt x="5775" y="2489"/>
                  </a:cubicBezTo>
                  <a:lnTo>
                    <a:pt x="5954" y="2489"/>
                  </a:lnTo>
                  <a:cubicBezTo>
                    <a:pt x="6061" y="2489"/>
                    <a:pt x="6132" y="2573"/>
                    <a:pt x="6132" y="2668"/>
                  </a:cubicBezTo>
                  <a:lnTo>
                    <a:pt x="6132" y="3537"/>
                  </a:lnTo>
                  <a:cubicBezTo>
                    <a:pt x="6132" y="3823"/>
                    <a:pt x="6370" y="4061"/>
                    <a:pt x="6656" y="4061"/>
                  </a:cubicBezTo>
                  <a:lnTo>
                    <a:pt x="6930" y="4061"/>
                  </a:lnTo>
                  <a:cubicBezTo>
                    <a:pt x="7001" y="4061"/>
                    <a:pt x="7073" y="4097"/>
                    <a:pt x="7132" y="4156"/>
                  </a:cubicBezTo>
                  <a:cubicBezTo>
                    <a:pt x="7192" y="4216"/>
                    <a:pt x="7204" y="4287"/>
                    <a:pt x="7204" y="4359"/>
                  </a:cubicBezTo>
                  <a:cubicBezTo>
                    <a:pt x="7192" y="4490"/>
                    <a:pt x="7061" y="4597"/>
                    <a:pt x="6906" y="4597"/>
                  </a:cubicBezTo>
                  <a:lnTo>
                    <a:pt x="6835" y="4597"/>
                  </a:lnTo>
                  <a:cubicBezTo>
                    <a:pt x="6835" y="4513"/>
                    <a:pt x="6763" y="4430"/>
                    <a:pt x="6668" y="4430"/>
                  </a:cubicBezTo>
                  <a:cubicBezTo>
                    <a:pt x="6585" y="4430"/>
                    <a:pt x="6513" y="4513"/>
                    <a:pt x="6513" y="4597"/>
                  </a:cubicBezTo>
                  <a:cubicBezTo>
                    <a:pt x="6489" y="5764"/>
                    <a:pt x="5537" y="6704"/>
                    <a:pt x="4382" y="6704"/>
                  </a:cubicBezTo>
                  <a:cubicBezTo>
                    <a:pt x="3215" y="6704"/>
                    <a:pt x="2263" y="5752"/>
                    <a:pt x="2263" y="4585"/>
                  </a:cubicBezTo>
                  <a:cubicBezTo>
                    <a:pt x="2263" y="4490"/>
                    <a:pt x="2191" y="4418"/>
                    <a:pt x="2108" y="4418"/>
                  </a:cubicBezTo>
                  <a:cubicBezTo>
                    <a:pt x="2013" y="4418"/>
                    <a:pt x="1941" y="4490"/>
                    <a:pt x="1941" y="4585"/>
                  </a:cubicBezTo>
                  <a:lnTo>
                    <a:pt x="1941" y="4597"/>
                  </a:lnTo>
                  <a:lnTo>
                    <a:pt x="1846" y="4597"/>
                  </a:lnTo>
                  <a:cubicBezTo>
                    <a:pt x="1774" y="4597"/>
                    <a:pt x="1703" y="4573"/>
                    <a:pt x="1643" y="4513"/>
                  </a:cubicBezTo>
                  <a:cubicBezTo>
                    <a:pt x="1584" y="4454"/>
                    <a:pt x="1572" y="4382"/>
                    <a:pt x="1572" y="4299"/>
                  </a:cubicBezTo>
                  <a:cubicBezTo>
                    <a:pt x="1584" y="4168"/>
                    <a:pt x="1715" y="4061"/>
                    <a:pt x="1870" y="4061"/>
                  </a:cubicBezTo>
                  <a:lnTo>
                    <a:pt x="2108" y="4061"/>
                  </a:lnTo>
                  <a:cubicBezTo>
                    <a:pt x="2382" y="4061"/>
                    <a:pt x="2620" y="3823"/>
                    <a:pt x="2620" y="3537"/>
                  </a:cubicBezTo>
                  <a:lnTo>
                    <a:pt x="2620" y="2668"/>
                  </a:lnTo>
                  <a:cubicBezTo>
                    <a:pt x="2620" y="2561"/>
                    <a:pt x="2715" y="2489"/>
                    <a:pt x="2798" y="2489"/>
                  </a:cubicBezTo>
                  <a:lnTo>
                    <a:pt x="5084" y="2489"/>
                  </a:lnTo>
                  <a:cubicBezTo>
                    <a:pt x="5168" y="2489"/>
                    <a:pt x="5239" y="2406"/>
                    <a:pt x="5239" y="2323"/>
                  </a:cubicBezTo>
                  <a:cubicBezTo>
                    <a:pt x="5239" y="2227"/>
                    <a:pt x="5168" y="2156"/>
                    <a:pt x="5084" y="2156"/>
                  </a:cubicBezTo>
                  <a:lnTo>
                    <a:pt x="2798" y="2156"/>
                  </a:lnTo>
                  <a:cubicBezTo>
                    <a:pt x="2525" y="2156"/>
                    <a:pt x="2286" y="2394"/>
                    <a:pt x="2286" y="2680"/>
                  </a:cubicBezTo>
                  <a:lnTo>
                    <a:pt x="2286" y="3561"/>
                  </a:lnTo>
                  <a:cubicBezTo>
                    <a:pt x="2286" y="3656"/>
                    <a:pt x="2191" y="3740"/>
                    <a:pt x="2108" y="3740"/>
                  </a:cubicBezTo>
                  <a:lnTo>
                    <a:pt x="1870" y="3740"/>
                  </a:lnTo>
                  <a:cubicBezTo>
                    <a:pt x="1536" y="3740"/>
                    <a:pt x="1274" y="3978"/>
                    <a:pt x="1239" y="4287"/>
                  </a:cubicBezTo>
                  <a:cubicBezTo>
                    <a:pt x="1227" y="4454"/>
                    <a:pt x="1286" y="4633"/>
                    <a:pt x="1393" y="4752"/>
                  </a:cubicBezTo>
                  <a:cubicBezTo>
                    <a:pt x="1512" y="4883"/>
                    <a:pt x="1667" y="4942"/>
                    <a:pt x="1834" y="4942"/>
                  </a:cubicBezTo>
                  <a:lnTo>
                    <a:pt x="1953" y="4942"/>
                  </a:lnTo>
                  <a:cubicBezTo>
                    <a:pt x="2001" y="5287"/>
                    <a:pt x="2120" y="5597"/>
                    <a:pt x="2298" y="5883"/>
                  </a:cubicBezTo>
                  <a:cubicBezTo>
                    <a:pt x="1334" y="5406"/>
                    <a:pt x="691" y="4394"/>
                    <a:pt x="691" y="3275"/>
                  </a:cubicBezTo>
                  <a:cubicBezTo>
                    <a:pt x="691" y="1668"/>
                    <a:pt x="2001" y="370"/>
                    <a:pt x="3596" y="370"/>
                  </a:cubicBezTo>
                  <a:close/>
                  <a:moveTo>
                    <a:pt x="5442" y="6799"/>
                  </a:moveTo>
                  <a:lnTo>
                    <a:pt x="5442" y="8157"/>
                  </a:lnTo>
                  <a:cubicBezTo>
                    <a:pt x="5168" y="8466"/>
                    <a:pt x="4787" y="8633"/>
                    <a:pt x="4382" y="8633"/>
                  </a:cubicBezTo>
                  <a:cubicBezTo>
                    <a:pt x="3977" y="8633"/>
                    <a:pt x="3596" y="8454"/>
                    <a:pt x="3322" y="8157"/>
                  </a:cubicBezTo>
                  <a:lnTo>
                    <a:pt x="3322" y="6799"/>
                  </a:lnTo>
                  <a:cubicBezTo>
                    <a:pt x="3656" y="6954"/>
                    <a:pt x="4013" y="7038"/>
                    <a:pt x="4382" y="7038"/>
                  </a:cubicBezTo>
                  <a:cubicBezTo>
                    <a:pt x="4763" y="7038"/>
                    <a:pt x="5120" y="6954"/>
                    <a:pt x="5442" y="6799"/>
                  </a:cubicBezTo>
                  <a:close/>
                  <a:moveTo>
                    <a:pt x="5442" y="8609"/>
                  </a:moveTo>
                  <a:lnTo>
                    <a:pt x="5442" y="9050"/>
                  </a:lnTo>
                  <a:cubicBezTo>
                    <a:pt x="5108" y="9240"/>
                    <a:pt x="4751" y="9335"/>
                    <a:pt x="4382" y="9335"/>
                  </a:cubicBezTo>
                  <a:cubicBezTo>
                    <a:pt x="4013" y="9335"/>
                    <a:pt x="3632" y="9228"/>
                    <a:pt x="3322" y="9050"/>
                  </a:cubicBezTo>
                  <a:lnTo>
                    <a:pt x="3322" y="8609"/>
                  </a:lnTo>
                  <a:cubicBezTo>
                    <a:pt x="3620" y="8847"/>
                    <a:pt x="3989" y="8966"/>
                    <a:pt x="4382" y="8966"/>
                  </a:cubicBezTo>
                  <a:cubicBezTo>
                    <a:pt x="4763" y="8966"/>
                    <a:pt x="5144" y="8824"/>
                    <a:pt x="5442" y="8609"/>
                  </a:cubicBezTo>
                  <a:close/>
                  <a:moveTo>
                    <a:pt x="3596" y="1"/>
                  </a:moveTo>
                  <a:cubicBezTo>
                    <a:pt x="1810" y="1"/>
                    <a:pt x="346" y="1465"/>
                    <a:pt x="346" y="3251"/>
                  </a:cubicBezTo>
                  <a:cubicBezTo>
                    <a:pt x="346" y="4704"/>
                    <a:pt x="1334" y="5990"/>
                    <a:pt x="2727" y="6371"/>
                  </a:cubicBezTo>
                  <a:cubicBezTo>
                    <a:pt x="2798" y="6442"/>
                    <a:pt x="2894" y="6526"/>
                    <a:pt x="2977" y="6585"/>
                  </a:cubicBezTo>
                  <a:lnTo>
                    <a:pt x="2977" y="7192"/>
                  </a:lnTo>
                  <a:cubicBezTo>
                    <a:pt x="2644" y="7264"/>
                    <a:pt x="2382" y="7514"/>
                    <a:pt x="2251" y="7669"/>
                  </a:cubicBezTo>
                  <a:cubicBezTo>
                    <a:pt x="2203" y="7728"/>
                    <a:pt x="2167" y="7788"/>
                    <a:pt x="2144" y="7859"/>
                  </a:cubicBezTo>
                  <a:lnTo>
                    <a:pt x="1001" y="8204"/>
                  </a:lnTo>
                  <a:cubicBezTo>
                    <a:pt x="405" y="8383"/>
                    <a:pt x="0" y="8931"/>
                    <a:pt x="0" y="9538"/>
                  </a:cubicBezTo>
                  <a:lnTo>
                    <a:pt x="0" y="11252"/>
                  </a:lnTo>
                  <a:cubicBezTo>
                    <a:pt x="0" y="11348"/>
                    <a:pt x="84" y="11419"/>
                    <a:pt x="167" y="11419"/>
                  </a:cubicBezTo>
                  <a:cubicBezTo>
                    <a:pt x="250" y="11419"/>
                    <a:pt x="334" y="11348"/>
                    <a:pt x="334" y="11252"/>
                  </a:cubicBezTo>
                  <a:lnTo>
                    <a:pt x="334" y="9538"/>
                  </a:lnTo>
                  <a:cubicBezTo>
                    <a:pt x="334" y="9085"/>
                    <a:pt x="643" y="8645"/>
                    <a:pt x="1084" y="8526"/>
                  </a:cubicBezTo>
                  <a:lnTo>
                    <a:pt x="2144" y="8216"/>
                  </a:lnTo>
                  <a:lnTo>
                    <a:pt x="2251" y="8978"/>
                  </a:lnTo>
                  <a:cubicBezTo>
                    <a:pt x="2263" y="9038"/>
                    <a:pt x="2239" y="9109"/>
                    <a:pt x="2179" y="9157"/>
                  </a:cubicBezTo>
                  <a:lnTo>
                    <a:pt x="1822" y="9419"/>
                  </a:lnTo>
                  <a:cubicBezTo>
                    <a:pt x="1655" y="9538"/>
                    <a:pt x="1584" y="9752"/>
                    <a:pt x="1620" y="9943"/>
                  </a:cubicBezTo>
                  <a:lnTo>
                    <a:pt x="1917" y="11300"/>
                  </a:lnTo>
                  <a:cubicBezTo>
                    <a:pt x="1941" y="11371"/>
                    <a:pt x="2013" y="11431"/>
                    <a:pt x="2084" y="11431"/>
                  </a:cubicBezTo>
                  <a:lnTo>
                    <a:pt x="2120" y="11431"/>
                  </a:lnTo>
                  <a:cubicBezTo>
                    <a:pt x="2203" y="11419"/>
                    <a:pt x="2263" y="11324"/>
                    <a:pt x="2251" y="11240"/>
                  </a:cubicBezTo>
                  <a:lnTo>
                    <a:pt x="1953" y="9883"/>
                  </a:lnTo>
                  <a:cubicBezTo>
                    <a:pt x="1941" y="9812"/>
                    <a:pt x="1965" y="9740"/>
                    <a:pt x="2024" y="9693"/>
                  </a:cubicBezTo>
                  <a:lnTo>
                    <a:pt x="2382" y="9419"/>
                  </a:lnTo>
                  <a:cubicBezTo>
                    <a:pt x="2536" y="9300"/>
                    <a:pt x="2608" y="9121"/>
                    <a:pt x="2596" y="8931"/>
                  </a:cubicBezTo>
                  <a:lnTo>
                    <a:pt x="2477" y="8050"/>
                  </a:lnTo>
                  <a:cubicBezTo>
                    <a:pt x="2465" y="7990"/>
                    <a:pt x="2489" y="7954"/>
                    <a:pt x="2513" y="7907"/>
                  </a:cubicBezTo>
                  <a:cubicBezTo>
                    <a:pt x="2608" y="7800"/>
                    <a:pt x="2786" y="7633"/>
                    <a:pt x="3001" y="7561"/>
                  </a:cubicBezTo>
                  <a:lnTo>
                    <a:pt x="3001" y="9514"/>
                  </a:lnTo>
                  <a:cubicBezTo>
                    <a:pt x="3001" y="9597"/>
                    <a:pt x="3072" y="9681"/>
                    <a:pt x="3156" y="9681"/>
                  </a:cubicBezTo>
                  <a:cubicBezTo>
                    <a:pt x="3251" y="9681"/>
                    <a:pt x="3322" y="9597"/>
                    <a:pt x="3322" y="9514"/>
                  </a:cubicBezTo>
                  <a:lnTo>
                    <a:pt x="3322" y="9443"/>
                  </a:lnTo>
                  <a:cubicBezTo>
                    <a:pt x="3644" y="9597"/>
                    <a:pt x="4025" y="9681"/>
                    <a:pt x="4382" y="9681"/>
                  </a:cubicBezTo>
                  <a:cubicBezTo>
                    <a:pt x="4739" y="9681"/>
                    <a:pt x="5108" y="9586"/>
                    <a:pt x="5430" y="9443"/>
                  </a:cubicBezTo>
                  <a:lnTo>
                    <a:pt x="5430" y="11264"/>
                  </a:lnTo>
                  <a:cubicBezTo>
                    <a:pt x="5430" y="11360"/>
                    <a:pt x="5513" y="11431"/>
                    <a:pt x="5596" y="11431"/>
                  </a:cubicBezTo>
                  <a:cubicBezTo>
                    <a:pt x="5692" y="11431"/>
                    <a:pt x="5763" y="11360"/>
                    <a:pt x="5763" y="11264"/>
                  </a:cubicBezTo>
                  <a:lnTo>
                    <a:pt x="5763" y="7573"/>
                  </a:lnTo>
                  <a:cubicBezTo>
                    <a:pt x="5989" y="7657"/>
                    <a:pt x="6144" y="7811"/>
                    <a:pt x="6239" y="7919"/>
                  </a:cubicBezTo>
                  <a:cubicBezTo>
                    <a:pt x="6263" y="7966"/>
                    <a:pt x="6287" y="8014"/>
                    <a:pt x="6287" y="8073"/>
                  </a:cubicBezTo>
                  <a:lnTo>
                    <a:pt x="6168" y="8943"/>
                  </a:lnTo>
                  <a:cubicBezTo>
                    <a:pt x="6132" y="9145"/>
                    <a:pt x="6204" y="9324"/>
                    <a:pt x="6370" y="9443"/>
                  </a:cubicBezTo>
                  <a:lnTo>
                    <a:pt x="6727" y="9705"/>
                  </a:lnTo>
                  <a:cubicBezTo>
                    <a:pt x="6787" y="9752"/>
                    <a:pt x="6823" y="9824"/>
                    <a:pt x="6799" y="9895"/>
                  </a:cubicBezTo>
                  <a:lnTo>
                    <a:pt x="6501" y="11252"/>
                  </a:lnTo>
                  <a:cubicBezTo>
                    <a:pt x="6489" y="11348"/>
                    <a:pt x="6537" y="11431"/>
                    <a:pt x="6644" y="11443"/>
                  </a:cubicBezTo>
                  <a:lnTo>
                    <a:pt x="6668" y="11443"/>
                  </a:lnTo>
                  <a:cubicBezTo>
                    <a:pt x="6739" y="11443"/>
                    <a:pt x="6823" y="11383"/>
                    <a:pt x="6835" y="11312"/>
                  </a:cubicBezTo>
                  <a:lnTo>
                    <a:pt x="7132" y="9955"/>
                  </a:lnTo>
                  <a:cubicBezTo>
                    <a:pt x="7180" y="9764"/>
                    <a:pt x="7097" y="9562"/>
                    <a:pt x="6942" y="9443"/>
                  </a:cubicBezTo>
                  <a:lnTo>
                    <a:pt x="6585" y="9169"/>
                  </a:lnTo>
                  <a:cubicBezTo>
                    <a:pt x="6525" y="9121"/>
                    <a:pt x="6501" y="9062"/>
                    <a:pt x="6501" y="8990"/>
                  </a:cubicBezTo>
                  <a:lnTo>
                    <a:pt x="6608" y="8228"/>
                  </a:lnTo>
                  <a:lnTo>
                    <a:pt x="7668" y="8550"/>
                  </a:lnTo>
                  <a:cubicBezTo>
                    <a:pt x="8109" y="8681"/>
                    <a:pt x="8430" y="9097"/>
                    <a:pt x="8430" y="9562"/>
                  </a:cubicBezTo>
                  <a:lnTo>
                    <a:pt x="8430" y="11264"/>
                  </a:lnTo>
                  <a:cubicBezTo>
                    <a:pt x="8430" y="11360"/>
                    <a:pt x="8501" y="11431"/>
                    <a:pt x="8585" y="11431"/>
                  </a:cubicBezTo>
                  <a:cubicBezTo>
                    <a:pt x="8680" y="11431"/>
                    <a:pt x="8751" y="11360"/>
                    <a:pt x="8751" y="11264"/>
                  </a:cubicBezTo>
                  <a:lnTo>
                    <a:pt x="8751" y="9562"/>
                  </a:lnTo>
                  <a:cubicBezTo>
                    <a:pt x="8751" y="8931"/>
                    <a:pt x="8335" y="8383"/>
                    <a:pt x="7763" y="8204"/>
                  </a:cubicBezTo>
                  <a:lnTo>
                    <a:pt x="6608" y="7859"/>
                  </a:lnTo>
                  <a:cubicBezTo>
                    <a:pt x="6596" y="7788"/>
                    <a:pt x="6549" y="7728"/>
                    <a:pt x="6513" y="7669"/>
                  </a:cubicBezTo>
                  <a:cubicBezTo>
                    <a:pt x="6370" y="7514"/>
                    <a:pt x="6120" y="7276"/>
                    <a:pt x="5775" y="7192"/>
                  </a:cubicBezTo>
                  <a:lnTo>
                    <a:pt x="5775" y="6585"/>
                  </a:lnTo>
                  <a:cubicBezTo>
                    <a:pt x="5870" y="6526"/>
                    <a:pt x="5954" y="6442"/>
                    <a:pt x="6037" y="6371"/>
                  </a:cubicBezTo>
                  <a:cubicBezTo>
                    <a:pt x="7430" y="5990"/>
                    <a:pt x="8418" y="4704"/>
                    <a:pt x="8418" y="3251"/>
                  </a:cubicBezTo>
                  <a:cubicBezTo>
                    <a:pt x="8418" y="1465"/>
                    <a:pt x="6954" y="1"/>
                    <a:pt x="5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34" name="Google Shape;11534;p61"/>
          <p:cNvGrpSpPr/>
          <p:nvPr/>
        </p:nvGrpSpPr>
        <p:grpSpPr>
          <a:xfrm>
            <a:off x="6248078" y="3784468"/>
            <a:ext cx="277263" cy="356115"/>
            <a:chOff x="6248078" y="3784468"/>
            <a:chExt cx="277263" cy="356115"/>
          </a:xfrm>
        </p:grpSpPr>
        <p:sp>
          <p:nvSpPr>
            <p:cNvPr id="11535" name="Google Shape;11535;p61"/>
            <p:cNvSpPr/>
            <p:nvPr/>
          </p:nvSpPr>
          <p:spPr>
            <a:xfrm>
              <a:off x="6337099" y="3874630"/>
              <a:ext cx="43402" cy="43402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34"/>
                  </a:moveTo>
                  <a:cubicBezTo>
                    <a:pt x="882" y="334"/>
                    <a:pt x="1048" y="488"/>
                    <a:pt x="1048" y="691"/>
                  </a:cubicBezTo>
                  <a:cubicBezTo>
                    <a:pt x="1048" y="881"/>
                    <a:pt x="882" y="1048"/>
                    <a:pt x="691" y="1048"/>
                  </a:cubicBezTo>
                  <a:cubicBezTo>
                    <a:pt x="501" y="1048"/>
                    <a:pt x="334" y="881"/>
                    <a:pt x="334" y="691"/>
                  </a:cubicBezTo>
                  <a:cubicBezTo>
                    <a:pt x="334" y="488"/>
                    <a:pt x="489" y="334"/>
                    <a:pt x="691" y="334"/>
                  </a:cubicBezTo>
                  <a:close/>
                  <a:moveTo>
                    <a:pt x="691" y="0"/>
                  </a:moveTo>
                  <a:cubicBezTo>
                    <a:pt x="298" y="0"/>
                    <a:pt x="1" y="310"/>
                    <a:pt x="1" y="691"/>
                  </a:cubicBezTo>
                  <a:cubicBezTo>
                    <a:pt x="1" y="1072"/>
                    <a:pt x="322" y="1369"/>
                    <a:pt x="691" y="1369"/>
                  </a:cubicBezTo>
                  <a:cubicBezTo>
                    <a:pt x="1072" y="1369"/>
                    <a:pt x="1370" y="1060"/>
                    <a:pt x="1370" y="691"/>
                  </a:cubicBezTo>
                  <a:cubicBezTo>
                    <a:pt x="1370" y="298"/>
                    <a:pt x="1060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6" name="Google Shape;11536;p61"/>
            <p:cNvSpPr/>
            <p:nvPr/>
          </p:nvSpPr>
          <p:spPr>
            <a:xfrm>
              <a:off x="6392919" y="3874630"/>
              <a:ext cx="43402" cy="43402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34"/>
                  </a:moveTo>
                  <a:cubicBezTo>
                    <a:pt x="882" y="334"/>
                    <a:pt x="1037" y="488"/>
                    <a:pt x="1037" y="691"/>
                  </a:cubicBezTo>
                  <a:cubicBezTo>
                    <a:pt x="1037" y="881"/>
                    <a:pt x="882" y="1048"/>
                    <a:pt x="679" y="1048"/>
                  </a:cubicBezTo>
                  <a:cubicBezTo>
                    <a:pt x="489" y="1048"/>
                    <a:pt x="322" y="881"/>
                    <a:pt x="322" y="691"/>
                  </a:cubicBezTo>
                  <a:cubicBezTo>
                    <a:pt x="322" y="488"/>
                    <a:pt x="489" y="334"/>
                    <a:pt x="679" y="334"/>
                  </a:cubicBezTo>
                  <a:close/>
                  <a:moveTo>
                    <a:pt x="679" y="0"/>
                  </a:moveTo>
                  <a:cubicBezTo>
                    <a:pt x="298" y="0"/>
                    <a:pt x="1" y="310"/>
                    <a:pt x="1" y="691"/>
                  </a:cubicBezTo>
                  <a:cubicBezTo>
                    <a:pt x="1" y="1072"/>
                    <a:pt x="310" y="1369"/>
                    <a:pt x="679" y="1369"/>
                  </a:cubicBezTo>
                  <a:cubicBezTo>
                    <a:pt x="1060" y="1369"/>
                    <a:pt x="1370" y="1060"/>
                    <a:pt x="1370" y="691"/>
                  </a:cubicBezTo>
                  <a:cubicBezTo>
                    <a:pt x="1370" y="298"/>
                    <a:pt x="1060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7" name="Google Shape;11537;p61"/>
            <p:cNvSpPr/>
            <p:nvPr/>
          </p:nvSpPr>
          <p:spPr>
            <a:xfrm>
              <a:off x="6381609" y="391346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8" name="Google Shape;11538;p61"/>
            <p:cNvSpPr/>
            <p:nvPr/>
          </p:nvSpPr>
          <p:spPr>
            <a:xfrm>
              <a:off x="6248078" y="3784468"/>
              <a:ext cx="277263" cy="356115"/>
            </a:xfrm>
            <a:custGeom>
              <a:avLst/>
              <a:gdLst/>
              <a:ahLst/>
              <a:cxnLst/>
              <a:rect l="l" t="t" r="r" b="b"/>
              <a:pathLst>
                <a:path w="8752" h="11241" extrusionOk="0">
                  <a:moveTo>
                    <a:pt x="5954" y="4751"/>
                  </a:moveTo>
                  <a:lnTo>
                    <a:pt x="5954" y="5335"/>
                  </a:lnTo>
                  <a:cubicBezTo>
                    <a:pt x="5954" y="5561"/>
                    <a:pt x="5823" y="5751"/>
                    <a:pt x="5609" y="5835"/>
                  </a:cubicBezTo>
                  <a:lnTo>
                    <a:pt x="4751" y="6180"/>
                  </a:lnTo>
                  <a:cubicBezTo>
                    <a:pt x="4632" y="6233"/>
                    <a:pt x="4501" y="6260"/>
                    <a:pt x="4369" y="6260"/>
                  </a:cubicBezTo>
                  <a:cubicBezTo>
                    <a:pt x="4236" y="6260"/>
                    <a:pt x="4102" y="6233"/>
                    <a:pt x="3977" y="6180"/>
                  </a:cubicBezTo>
                  <a:lnTo>
                    <a:pt x="3108" y="5835"/>
                  </a:lnTo>
                  <a:cubicBezTo>
                    <a:pt x="2906" y="5751"/>
                    <a:pt x="2775" y="5561"/>
                    <a:pt x="2775" y="5335"/>
                  </a:cubicBezTo>
                  <a:lnTo>
                    <a:pt x="2775" y="4751"/>
                  </a:lnTo>
                  <a:lnTo>
                    <a:pt x="3156" y="4882"/>
                  </a:lnTo>
                  <a:cubicBezTo>
                    <a:pt x="3215" y="5108"/>
                    <a:pt x="3406" y="5275"/>
                    <a:pt x="3668" y="5275"/>
                  </a:cubicBezTo>
                  <a:lnTo>
                    <a:pt x="3680" y="5275"/>
                  </a:lnTo>
                  <a:lnTo>
                    <a:pt x="3680" y="5287"/>
                  </a:lnTo>
                  <a:cubicBezTo>
                    <a:pt x="3680" y="5382"/>
                    <a:pt x="3751" y="5454"/>
                    <a:pt x="3846" y="5454"/>
                  </a:cubicBezTo>
                  <a:cubicBezTo>
                    <a:pt x="3930" y="5454"/>
                    <a:pt x="4001" y="5382"/>
                    <a:pt x="4001" y="5287"/>
                  </a:cubicBezTo>
                  <a:lnTo>
                    <a:pt x="4001" y="5275"/>
                  </a:lnTo>
                  <a:lnTo>
                    <a:pt x="4192" y="5275"/>
                  </a:lnTo>
                  <a:lnTo>
                    <a:pt x="4192" y="5287"/>
                  </a:lnTo>
                  <a:cubicBezTo>
                    <a:pt x="4192" y="5382"/>
                    <a:pt x="4275" y="5454"/>
                    <a:pt x="4358" y="5454"/>
                  </a:cubicBezTo>
                  <a:cubicBezTo>
                    <a:pt x="4454" y="5454"/>
                    <a:pt x="4525" y="5382"/>
                    <a:pt x="4525" y="5287"/>
                  </a:cubicBezTo>
                  <a:lnTo>
                    <a:pt x="4525" y="5275"/>
                  </a:lnTo>
                  <a:lnTo>
                    <a:pt x="4716" y="5275"/>
                  </a:lnTo>
                  <a:lnTo>
                    <a:pt x="4716" y="5287"/>
                  </a:lnTo>
                  <a:cubicBezTo>
                    <a:pt x="4716" y="5382"/>
                    <a:pt x="4787" y="5454"/>
                    <a:pt x="4882" y="5454"/>
                  </a:cubicBezTo>
                  <a:cubicBezTo>
                    <a:pt x="4966" y="5454"/>
                    <a:pt x="5049" y="5382"/>
                    <a:pt x="5049" y="5287"/>
                  </a:cubicBezTo>
                  <a:lnTo>
                    <a:pt x="5049" y="5275"/>
                  </a:lnTo>
                  <a:lnTo>
                    <a:pt x="5061" y="5275"/>
                  </a:lnTo>
                  <a:cubicBezTo>
                    <a:pt x="5299" y="5275"/>
                    <a:pt x="5501" y="5108"/>
                    <a:pt x="5561" y="4882"/>
                  </a:cubicBezTo>
                  <a:lnTo>
                    <a:pt x="5954" y="4751"/>
                  </a:lnTo>
                  <a:close/>
                  <a:moveTo>
                    <a:pt x="4716" y="6537"/>
                  </a:moveTo>
                  <a:lnTo>
                    <a:pt x="4716" y="6882"/>
                  </a:lnTo>
                  <a:lnTo>
                    <a:pt x="4001" y="6882"/>
                  </a:lnTo>
                  <a:lnTo>
                    <a:pt x="4001" y="6537"/>
                  </a:lnTo>
                  <a:cubicBezTo>
                    <a:pt x="4120" y="6573"/>
                    <a:pt x="4239" y="6585"/>
                    <a:pt x="4358" y="6585"/>
                  </a:cubicBezTo>
                  <a:cubicBezTo>
                    <a:pt x="4477" y="6585"/>
                    <a:pt x="4596" y="6573"/>
                    <a:pt x="4716" y="6537"/>
                  </a:cubicBezTo>
                  <a:close/>
                  <a:moveTo>
                    <a:pt x="4739" y="7204"/>
                  </a:moveTo>
                  <a:lnTo>
                    <a:pt x="4739" y="7585"/>
                  </a:lnTo>
                  <a:lnTo>
                    <a:pt x="4001" y="7585"/>
                  </a:lnTo>
                  <a:lnTo>
                    <a:pt x="4001" y="7204"/>
                  </a:lnTo>
                  <a:close/>
                  <a:moveTo>
                    <a:pt x="4358" y="346"/>
                  </a:moveTo>
                  <a:cubicBezTo>
                    <a:pt x="5823" y="346"/>
                    <a:pt x="7013" y="1536"/>
                    <a:pt x="7013" y="3001"/>
                  </a:cubicBezTo>
                  <a:lnTo>
                    <a:pt x="7013" y="4227"/>
                  </a:lnTo>
                  <a:cubicBezTo>
                    <a:pt x="7013" y="4906"/>
                    <a:pt x="6823" y="5501"/>
                    <a:pt x="6442" y="6073"/>
                  </a:cubicBezTo>
                  <a:cubicBezTo>
                    <a:pt x="6109" y="6597"/>
                    <a:pt x="5668" y="7013"/>
                    <a:pt x="5275" y="7382"/>
                  </a:cubicBezTo>
                  <a:cubicBezTo>
                    <a:pt x="5192" y="7466"/>
                    <a:pt x="5132" y="7525"/>
                    <a:pt x="5061" y="7585"/>
                  </a:cubicBezTo>
                  <a:lnTo>
                    <a:pt x="5061" y="6406"/>
                  </a:lnTo>
                  <a:lnTo>
                    <a:pt x="5739" y="6132"/>
                  </a:lnTo>
                  <a:cubicBezTo>
                    <a:pt x="6073" y="6001"/>
                    <a:pt x="6299" y="5692"/>
                    <a:pt x="6299" y="5335"/>
                  </a:cubicBezTo>
                  <a:lnTo>
                    <a:pt x="6299" y="4620"/>
                  </a:lnTo>
                  <a:cubicBezTo>
                    <a:pt x="6501" y="4501"/>
                    <a:pt x="6656" y="4275"/>
                    <a:pt x="6656" y="4025"/>
                  </a:cubicBezTo>
                  <a:lnTo>
                    <a:pt x="6656" y="3001"/>
                  </a:lnTo>
                  <a:cubicBezTo>
                    <a:pt x="6656" y="2441"/>
                    <a:pt x="6442" y="1906"/>
                    <a:pt x="6085" y="1489"/>
                  </a:cubicBezTo>
                  <a:cubicBezTo>
                    <a:pt x="6054" y="1452"/>
                    <a:pt x="6013" y="1434"/>
                    <a:pt x="5969" y="1434"/>
                  </a:cubicBezTo>
                  <a:cubicBezTo>
                    <a:pt x="5929" y="1434"/>
                    <a:pt x="5886" y="1449"/>
                    <a:pt x="5847" y="1477"/>
                  </a:cubicBezTo>
                  <a:cubicBezTo>
                    <a:pt x="5775" y="1536"/>
                    <a:pt x="5775" y="1644"/>
                    <a:pt x="5835" y="1715"/>
                  </a:cubicBezTo>
                  <a:cubicBezTo>
                    <a:pt x="6144" y="2072"/>
                    <a:pt x="6323" y="2537"/>
                    <a:pt x="6323" y="3001"/>
                  </a:cubicBezTo>
                  <a:lnTo>
                    <a:pt x="6323" y="4025"/>
                  </a:lnTo>
                  <a:cubicBezTo>
                    <a:pt x="6323" y="4168"/>
                    <a:pt x="6228" y="4323"/>
                    <a:pt x="6073" y="4370"/>
                  </a:cubicBezTo>
                  <a:lnTo>
                    <a:pt x="5370" y="4608"/>
                  </a:lnTo>
                  <a:cubicBezTo>
                    <a:pt x="5299" y="4632"/>
                    <a:pt x="5251" y="4692"/>
                    <a:pt x="5251" y="4751"/>
                  </a:cubicBezTo>
                  <a:cubicBezTo>
                    <a:pt x="5251" y="4858"/>
                    <a:pt x="5168" y="4942"/>
                    <a:pt x="5061" y="4942"/>
                  </a:cubicBezTo>
                  <a:lnTo>
                    <a:pt x="3668" y="4942"/>
                  </a:lnTo>
                  <a:cubicBezTo>
                    <a:pt x="3561" y="4942"/>
                    <a:pt x="3465" y="4858"/>
                    <a:pt x="3465" y="4751"/>
                  </a:cubicBezTo>
                  <a:cubicBezTo>
                    <a:pt x="3465" y="4680"/>
                    <a:pt x="3430" y="4620"/>
                    <a:pt x="3346" y="4608"/>
                  </a:cubicBezTo>
                  <a:lnTo>
                    <a:pt x="2656" y="4370"/>
                  </a:lnTo>
                  <a:cubicBezTo>
                    <a:pt x="2501" y="4323"/>
                    <a:pt x="2394" y="4168"/>
                    <a:pt x="2394" y="4025"/>
                  </a:cubicBezTo>
                  <a:lnTo>
                    <a:pt x="2394" y="3001"/>
                  </a:lnTo>
                  <a:cubicBezTo>
                    <a:pt x="2394" y="1929"/>
                    <a:pt x="3275" y="1048"/>
                    <a:pt x="4346" y="1048"/>
                  </a:cubicBezTo>
                  <a:cubicBezTo>
                    <a:pt x="4692" y="1048"/>
                    <a:pt x="5037" y="1132"/>
                    <a:pt x="5311" y="1298"/>
                  </a:cubicBezTo>
                  <a:cubicBezTo>
                    <a:pt x="5337" y="1313"/>
                    <a:pt x="5364" y="1320"/>
                    <a:pt x="5391" y="1320"/>
                  </a:cubicBezTo>
                  <a:cubicBezTo>
                    <a:pt x="5449" y="1320"/>
                    <a:pt x="5504" y="1288"/>
                    <a:pt x="5537" y="1239"/>
                  </a:cubicBezTo>
                  <a:cubicBezTo>
                    <a:pt x="5585" y="1167"/>
                    <a:pt x="5549" y="1060"/>
                    <a:pt x="5478" y="1013"/>
                  </a:cubicBezTo>
                  <a:cubicBezTo>
                    <a:pt x="5132" y="822"/>
                    <a:pt x="4739" y="715"/>
                    <a:pt x="4346" y="715"/>
                  </a:cubicBezTo>
                  <a:cubicBezTo>
                    <a:pt x="3096" y="715"/>
                    <a:pt x="2072" y="1727"/>
                    <a:pt x="2072" y="3001"/>
                  </a:cubicBezTo>
                  <a:lnTo>
                    <a:pt x="2072" y="4025"/>
                  </a:lnTo>
                  <a:cubicBezTo>
                    <a:pt x="2072" y="4275"/>
                    <a:pt x="2203" y="4501"/>
                    <a:pt x="2430" y="4620"/>
                  </a:cubicBezTo>
                  <a:lnTo>
                    <a:pt x="2430" y="5335"/>
                  </a:lnTo>
                  <a:cubicBezTo>
                    <a:pt x="2430" y="5692"/>
                    <a:pt x="2632" y="6001"/>
                    <a:pt x="2977" y="6132"/>
                  </a:cubicBezTo>
                  <a:lnTo>
                    <a:pt x="3668" y="6406"/>
                  </a:lnTo>
                  <a:lnTo>
                    <a:pt x="3668" y="7585"/>
                  </a:lnTo>
                  <a:cubicBezTo>
                    <a:pt x="3584" y="7525"/>
                    <a:pt x="3525" y="7442"/>
                    <a:pt x="3453" y="7382"/>
                  </a:cubicBezTo>
                  <a:cubicBezTo>
                    <a:pt x="3072" y="7013"/>
                    <a:pt x="2620" y="6585"/>
                    <a:pt x="2275" y="6073"/>
                  </a:cubicBezTo>
                  <a:cubicBezTo>
                    <a:pt x="1894" y="5501"/>
                    <a:pt x="1715" y="4882"/>
                    <a:pt x="1715" y="4227"/>
                  </a:cubicBezTo>
                  <a:lnTo>
                    <a:pt x="1715" y="3001"/>
                  </a:lnTo>
                  <a:cubicBezTo>
                    <a:pt x="1715" y="1536"/>
                    <a:pt x="2906" y="346"/>
                    <a:pt x="4358" y="346"/>
                  </a:cubicBezTo>
                  <a:close/>
                  <a:moveTo>
                    <a:pt x="4751" y="7906"/>
                  </a:moveTo>
                  <a:lnTo>
                    <a:pt x="4751" y="7918"/>
                  </a:lnTo>
                  <a:lnTo>
                    <a:pt x="4739" y="7918"/>
                  </a:lnTo>
                  <a:cubicBezTo>
                    <a:pt x="4585" y="8085"/>
                    <a:pt x="4466" y="8240"/>
                    <a:pt x="4382" y="8394"/>
                  </a:cubicBezTo>
                  <a:cubicBezTo>
                    <a:pt x="4287" y="8240"/>
                    <a:pt x="4156" y="8085"/>
                    <a:pt x="4025" y="7918"/>
                  </a:cubicBezTo>
                  <a:lnTo>
                    <a:pt x="4025" y="7906"/>
                  </a:lnTo>
                  <a:close/>
                  <a:moveTo>
                    <a:pt x="4382" y="1"/>
                  </a:moveTo>
                  <a:cubicBezTo>
                    <a:pt x="2739" y="1"/>
                    <a:pt x="1406" y="1346"/>
                    <a:pt x="1406" y="2977"/>
                  </a:cubicBezTo>
                  <a:lnTo>
                    <a:pt x="1406" y="4215"/>
                  </a:lnTo>
                  <a:cubicBezTo>
                    <a:pt x="1406" y="5477"/>
                    <a:pt x="2013" y="6347"/>
                    <a:pt x="2668" y="7049"/>
                  </a:cubicBezTo>
                  <a:cubicBezTo>
                    <a:pt x="2549" y="7156"/>
                    <a:pt x="2382" y="7251"/>
                    <a:pt x="2215" y="7311"/>
                  </a:cubicBezTo>
                  <a:lnTo>
                    <a:pt x="882" y="7716"/>
                  </a:lnTo>
                  <a:cubicBezTo>
                    <a:pt x="358" y="7859"/>
                    <a:pt x="1" y="8335"/>
                    <a:pt x="1" y="8871"/>
                  </a:cubicBezTo>
                  <a:lnTo>
                    <a:pt x="1" y="11073"/>
                  </a:lnTo>
                  <a:cubicBezTo>
                    <a:pt x="1" y="11169"/>
                    <a:pt x="72" y="11240"/>
                    <a:pt x="167" y="11240"/>
                  </a:cubicBezTo>
                  <a:cubicBezTo>
                    <a:pt x="251" y="11240"/>
                    <a:pt x="322" y="11169"/>
                    <a:pt x="322" y="11073"/>
                  </a:cubicBezTo>
                  <a:lnTo>
                    <a:pt x="322" y="8871"/>
                  </a:lnTo>
                  <a:cubicBezTo>
                    <a:pt x="322" y="8752"/>
                    <a:pt x="358" y="8633"/>
                    <a:pt x="405" y="8537"/>
                  </a:cubicBezTo>
                  <a:lnTo>
                    <a:pt x="1394" y="9407"/>
                  </a:lnTo>
                  <a:cubicBezTo>
                    <a:pt x="1513" y="9514"/>
                    <a:pt x="1572" y="9668"/>
                    <a:pt x="1572" y="9811"/>
                  </a:cubicBezTo>
                  <a:lnTo>
                    <a:pt x="1572" y="11073"/>
                  </a:lnTo>
                  <a:cubicBezTo>
                    <a:pt x="1572" y="11169"/>
                    <a:pt x="1656" y="11240"/>
                    <a:pt x="1739" y="11240"/>
                  </a:cubicBezTo>
                  <a:cubicBezTo>
                    <a:pt x="1834" y="11240"/>
                    <a:pt x="1906" y="11169"/>
                    <a:pt x="1906" y="11073"/>
                  </a:cubicBezTo>
                  <a:lnTo>
                    <a:pt x="1906" y="9811"/>
                  </a:lnTo>
                  <a:cubicBezTo>
                    <a:pt x="1906" y="9561"/>
                    <a:pt x="1799" y="9323"/>
                    <a:pt x="1608" y="9156"/>
                  </a:cubicBezTo>
                  <a:lnTo>
                    <a:pt x="584" y="8252"/>
                  </a:lnTo>
                  <a:cubicBezTo>
                    <a:pt x="679" y="8144"/>
                    <a:pt x="822" y="8061"/>
                    <a:pt x="965" y="8013"/>
                  </a:cubicBezTo>
                  <a:lnTo>
                    <a:pt x="2310" y="7609"/>
                  </a:lnTo>
                  <a:cubicBezTo>
                    <a:pt x="2525" y="7549"/>
                    <a:pt x="2727" y="7430"/>
                    <a:pt x="2882" y="7263"/>
                  </a:cubicBezTo>
                  <a:cubicBezTo>
                    <a:pt x="3001" y="7382"/>
                    <a:pt x="3120" y="7502"/>
                    <a:pt x="3239" y="7609"/>
                  </a:cubicBezTo>
                  <a:cubicBezTo>
                    <a:pt x="3763" y="8097"/>
                    <a:pt x="4215" y="8537"/>
                    <a:pt x="4215" y="8942"/>
                  </a:cubicBezTo>
                  <a:cubicBezTo>
                    <a:pt x="4215" y="9037"/>
                    <a:pt x="4287" y="9109"/>
                    <a:pt x="4370" y="9109"/>
                  </a:cubicBezTo>
                  <a:cubicBezTo>
                    <a:pt x="4466" y="9109"/>
                    <a:pt x="4537" y="9037"/>
                    <a:pt x="4537" y="8942"/>
                  </a:cubicBezTo>
                  <a:cubicBezTo>
                    <a:pt x="4537" y="8514"/>
                    <a:pt x="4989" y="8097"/>
                    <a:pt x="5501" y="7609"/>
                  </a:cubicBezTo>
                  <a:cubicBezTo>
                    <a:pt x="5620" y="7502"/>
                    <a:pt x="5739" y="7382"/>
                    <a:pt x="5859" y="7263"/>
                  </a:cubicBezTo>
                  <a:cubicBezTo>
                    <a:pt x="6025" y="7430"/>
                    <a:pt x="6216" y="7549"/>
                    <a:pt x="6442" y="7609"/>
                  </a:cubicBezTo>
                  <a:lnTo>
                    <a:pt x="7787" y="8013"/>
                  </a:lnTo>
                  <a:cubicBezTo>
                    <a:pt x="7930" y="8049"/>
                    <a:pt x="8061" y="8133"/>
                    <a:pt x="8168" y="8252"/>
                  </a:cubicBezTo>
                  <a:lnTo>
                    <a:pt x="7144" y="9156"/>
                  </a:lnTo>
                  <a:cubicBezTo>
                    <a:pt x="6954" y="9323"/>
                    <a:pt x="6847" y="9561"/>
                    <a:pt x="6847" y="9811"/>
                  </a:cubicBezTo>
                  <a:lnTo>
                    <a:pt x="6847" y="11073"/>
                  </a:lnTo>
                  <a:cubicBezTo>
                    <a:pt x="6847" y="11169"/>
                    <a:pt x="6918" y="11240"/>
                    <a:pt x="7013" y="11240"/>
                  </a:cubicBezTo>
                  <a:cubicBezTo>
                    <a:pt x="7097" y="11240"/>
                    <a:pt x="7168" y="11169"/>
                    <a:pt x="7168" y="11073"/>
                  </a:cubicBezTo>
                  <a:lnTo>
                    <a:pt x="7168" y="9811"/>
                  </a:lnTo>
                  <a:cubicBezTo>
                    <a:pt x="7168" y="9668"/>
                    <a:pt x="7252" y="9514"/>
                    <a:pt x="7347" y="9407"/>
                  </a:cubicBezTo>
                  <a:lnTo>
                    <a:pt x="8347" y="8537"/>
                  </a:lnTo>
                  <a:cubicBezTo>
                    <a:pt x="8395" y="8633"/>
                    <a:pt x="8418" y="8752"/>
                    <a:pt x="8418" y="8871"/>
                  </a:cubicBezTo>
                  <a:lnTo>
                    <a:pt x="8418" y="11073"/>
                  </a:lnTo>
                  <a:cubicBezTo>
                    <a:pt x="8418" y="11169"/>
                    <a:pt x="8502" y="11240"/>
                    <a:pt x="8585" y="11240"/>
                  </a:cubicBezTo>
                  <a:cubicBezTo>
                    <a:pt x="8680" y="11240"/>
                    <a:pt x="8752" y="11169"/>
                    <a:pt x="8752" y="11073"/>
                  </a:cubicBezTo>
                  <a:lnTo>
                    <a:pt x="8752" y="8871"/>
                  </a:lnTo>
                  <a:cubicBezTo>
                    <a:pt x="8752" y="8359"/>
                    <a:pt x="8395" y="7859"/>
                    <a:pt x="7871" y="7716"/>
                  </a:cubicBezTo>
                  <a:lnTo>
                    <a:pt x="6537" y="7311"/>
                  </a:lnTo>
                  <a:cubicBezTo>
                    <a:pt x="6359" y="7263"/>
                    <a:pt x="6204" y="7180"/>
                    <a:pt x="6085" y="7049"/>
                  </a:cubicBezTo>
                  <a:cubicBezTo>
                    <a:pt x="6740" y="6359"/>
                    <a:pt x="7359" y="5477"/>
                    <a:pt x="7359" y="4215"/>
                  </a:cubicBezTo>
                  <a:lnTo>
                    <a:pt x="7359" y="2977"/>
                  </a:lnTo>
                  <a:cubicBezTo>
                    <a:pt x="7359" y="1346"/>
                    <a:pt x="6013" y="1"/>
                    <a:pt x="4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9" name="Google Shape;11539;p61"/>
            <p:cNvSpPr/>
            <p:nvPr/>
          </p:nvSpPr>
          <p:spPr>
            <a:xfrm>
              <a:off x="6381609" y="4085840"/>
              <a:ext cx="10201" cy="54743"/>
            </a:xfrm>
            <a:custGeom>
              <a:avLst/>
              <a:gdLst/>
              <a:ahLst/>
              <a:cxnLst/>
              <a:rect l="l" t="t" r="r" b="b"/>
              <a:pathLst>
                <a:path w="322" h="1728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560"/>
                  </a:lnTo>
                  <a:cubicBezTo>
                    <a:pt x="0" y="1656"/>
                    <a:pt x="72" y="1727"/>
                    <a:pt x="167" y="1727"/>
                  </a:cubicBezTo>
                  <a:cubicBezTo>
                    <a:pt x="251" y="1727"/>
                    <a:pt x="322" y="1656"/>
                    <a:pt x="322" y="15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40" name="Google Shape;11540;p61"/>
          <p:cNvGrpSpPr/>
          <p:nvPr/>
        </p:nvGrpSpPr>
        <p:grpSpPr>
          <a:xfrm>
            <a:off x="5800725" y="3785989"/>
            <a:ext cx="277644" cy="354594"/>
            <a:chOff x="5800725" y="3785989"/>
            <a:chExt cx="277644" cy="354594"/>
          </a:xfrm>
        </p:grpSpPr>
        <p:sp>
          <p:nvSpPr>
            <p:cNvPr id="11541" name="Google Shape;11541;p61"/>
            <p:cNvSpPr/>
            <p:nvPr/>
          </p:nvSpPr>
          <p:spPr>
            <a:xfrm>
              <a:off x="5901055" y="3896869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2" name="Google Shape;11542;p61"/>
            <p:cNvSpPr/>
            <p:nvPr/>
          </p:nvSpPr>
          <p:spPr>
            <a:xfrm>
              <a:off x="5968217" y="389686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3" name="Google Shape;11543;p61"/>
            <p:cNvSpPr/>
            <p:nvPr/>
          </p:nvSpPr>
          <p:spPr>
            <a:xfrm>
              <a:off x="5916547" y="3935804"/>
              <a:ext cx="45271" cy="16157"/>
            </a:xfrm>
            <a:custGeom>
              <a:avLst/>
              <a:gdLst/>
              <a:ahLst/>
              <a:cxnLst/>
              <a:rect l="l" t="t" r="r" b="b"/>
              <a:pathLst>
                <a:path w="1429" h="510" extrusionOk="0">
                  <a:moveTo>
                    <a:pt x="188" y="1"/>
                  </a:moveTo>
                  <a:cubicBezTo>
                    <a:pt x="146" y="1"/>
                    <a:pt x="101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14" y="427"/>
                    <a:pt x="453" y="510"/>
                    <a:pt x="703" y="510"/>
                  </a:cubicBezTo>
                  <a:cubicBezTo>
                    <a:pt x="976" y="510"/>
                    <a:pt x="1215" y="427"/>
                    <a:pt x="1345" y="284"/>
                  </a:cubicBezTo>
                  <a:cubicBezTo>
                    <a:pt x="1429" y="212"/>
                    <a:pt x="1429" y="105"/>
                    <a:pt x="1369" y="46"/>
                  </a:cubicBezTo>
                  <a:cubicBezTo>
                    <a:pt x="1340" y="16"/>
                    <a:pt x="1301" y="1"/>
                    <a:pt x="1259" y="1"/>
                  </a:cubicBezTo>
                  <a:cubicBezTo>
                    <a:pt x="1217" y="1"/>
                    <a:pt x="1173" y="16"/>
                    <a:pt x="1131" y="46"/>
                  </a:cubicBezTo>
                  <a:cubicBezTo>
                    <a:pt x="1072" y="105"/>
                    <a:pt x="929" y="188"/>
                    <a:pt x="714" y="188"/>
                  </a:cubicBezTo>
                  <a:cubicBezTo>
                    <a:pt x="512" y="188"/>
                    <a:pt x="357" y="105"/>
                    <a:pt x="298" y="46"/>
                  </a:cubicBezTo>
                  <a:cubicBezTo>
                    <a:pt x="268" y="16"/>
                    <a:pt x="229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4" name="Google Shape;11544;p61"/>
            <p:cNvSpPr/>
            <p:nvPr/>
          </p:nvSpPr>
          <p:spPr>
            <a:xfrm>
              <a:off x="5895416" y="3879888"/>
              <a:ext cx="21891" cy="10233"/>
            </a:xfrm>
            <a:custGeom>
              <a:avLst/>
              <a:gdLst/>
              <a:ahLst/>
              <a:cxnLst/>
              <a:rect l="l" t="t" r="r" b="b"/>
              <a:pathLst>
                <a:path w="69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68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5" name="Google Shape;11545;p61"/>
            <p:cNvSpPr/>
            <p:nvPr/>
          </p:nvSpPr>
          <p:spPr>
            <a:xfrm>
              <a:off x="5961786" y="3879888"/>
              <a:ext cx="21923" cy="10233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8" y="1"/>
                  </a:moveTo>
                  <a:cubicBezTo>
                    <a:pt x="84" y="1"/>
                    <a:pt x="1" y="72"/>
                    <a:pt x="1" y="168"/>
                  </a:cubicBezTo>
                  <a:cubicBezTo>
                    <a:pt x="1" y="251"/>
                    <a:pt x="84" y="322"/>
                    <a:pt x="168" y="322"/>
                  </a:cubicBezTo>
                  <a:lnTo>
                    <a:pt x="525" y="322"/>
                  </a:lnTo>
                  <a:cubicBezTo>
                    <a:pt x="620" y="322"/>
                    <a:pt x="691" y="251"/>
                    <a:pt x="691" y="168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6" name="Google Shape;11546;p61"/>
            <p:cNvSpPr/>
            <p:nvPr/>
          </p:nvSpPr>
          <p:spPr>
            <a:xfrm>
              <a:off x="5800725" y="3785989"/>
              <a:ext cx="277644" cy="354594"/>
            </a:xfrm>
            <a:custGeom>
              <a:avLst/>
              <a:gdLst/>
              <a:ahLst/>
              <a:cxnLst/>
              <a:rect l="l" t="t" r="r" b="b"/>
              <a:pathLst>
                <a:path w="8764" h="11193" extrusionOk="0">
                  <a:moveTo>
                    <a:pt x="4716" y="310"/>
                  </a:moveTo>
                  <a:cubicBezTo>
                    <a:pt x="5323" y="310"/>
                    <a:pt x="5859" y="572"/>
                    <a:pt x="5978" y="905"/>
                  </a:cubicBezTo>
                  <a:cubicBezTo>
                    <a:pt x="6005" y="979"/>
                    <a:pt x="6062" y="1024"/>
                    <a:pt x="6130" y="1024"/>
                  </a:cubicBezTo>
                  <a:cubicBezTo>
                    <a:pt x="6150" y="1024"/>
                    <a:pt x="6171" y="1020"/>
                    <a:pt x="6192" y="1012"/>
                  </a:cubicBezTo>
                  <a:cubicBezTo>
                    <a:pt x="6275" y="988"/>
                    <a:pt x="6323" y="893"/>
                    <a:pt x="6299" y="810"/>
                  </a:cubicBezTo>
                  <a:cubicBezTo>
                    <a:pt x="6275" y="774"/>
                    <a:pt x="6275" y="750"/>
                    <a:pt x="6264" y="715"/>
                  </a:cubicBezTo>
                  <a:lnTo>
                    <a:pt x="6264" y="715"/>
                  </a:lnTo>
                  <a:cubicBezTo>
                    <a:pt x="6609" y="834"/>
                    <a:pt x="6859" y="1167"/>
                    <a:pt x="6859" y="1548"/>
                  </a:cubicBezTo>
                  <a:lnTo>
                    <a:pt x="6859" y="3322"/>
                  </a:lnTo>
                  <a:lnTo>
                    <a:pt x="6668" y="3322"/>
                  </a:lnTo>
                  <a:cubicBezTo>
                    <a:pt x="6561" y="3322"/>
                    <a:pt x="6478" y="3227"/>
                    <a:pt x="6478" y="3132"/>
                  </a:cubicBezTo>
                  <a:lnTo>
                    <a:pt x="6478" y="2953"/>
                  </a:lnTo>
                  <a:cubicBezTo>
                    <a:pt x="6478" y="2191"/>
                    <a:pt x="5918" y="1619"/>
                    <a:pt x="5894" y="1608"/>
                  </a:cubicBezTo>
                  <a:cubicBezTo>
                    <a:pt x="5858" y="1571"/>
                    <a:pt x="5815" y="1556"/>
                    <a:pt x="5770" y="1556"/>
                  </a:cubicBezTo>
                  <a:cubicBezTo>
                    <a:pt x="5756" y="1556"/>
                    <a:pt x="5742" y="1557"/>
                    <a:pt x="5728" y="1560"/>
                  </a:cubicBezTo>
                  <a:cubicBezTo>
                    <a:pt x="5195" y="1728"/>
                    <a:pt x="4526" y="1884"/>
                    <a:pt x="3873" y="1884"/>
                  </a:cubicBezTo>
                  <a:cubicBezTo>
                    <a:pt x="3418" y="1884"/>
                    <a:pt x="2971" y="1808"/>
                    <a:pt x="2585" y="1608"/>
                  </a:cubicBezTo>
                  <a:cubicBezTo>
                    <a:pt x="2251" y="1441"/>
                    <a:pt x="2049" y="1227"/>
                    <a:pt x="1953" y="1072"/>
                  </a:cubicBezTo>
                  <a:cubicBezTo>
                    <a:pt x="2311" y="988"/>
                    <a:pt x="2573" y="846"/>
                    <a:pt x="2811" y="750"/>
                  </a:cubicBezTo>
                  <a:cubicBezTo>
                    <a:pt x="3347" y="512"/>
                    <a:pt x="3763" y="310"/>
                    <a:pt x="4716" y="310"/>
                  </a:cubicBezTo>
                  <a:close/>
                  <a:moveTo>
                    <a:pt x="2049" y="1679"/>
                  </a:moveTo>
                  <a:cubicBezTo>
                    <a:pt x="2156" y="1762"/>
                    <a:pt x="2275" y="1846"/>
                    <a:pt x="2406" y="1905"/>
                  </a:cubicBezTo>
                  <a:cubicBezTo>
                    <a:pt x="2787" y="2096"/>
                    <a:pt x="3227" y="2203"/>
                    <a:pt x="3716" y="2215"/>
                  </a:cubicBezTo>
                  <a:cubicBezTo>
                    <a:pt x="3770" y="2217"/>
                    <a:pt x="3825" y="2218"/>
                    <a:pt x="3881" y="2218"/>
                  </a:cubicBezTo>
                  <a:cubicBezTo>
                    <a:pt x="4435" y="2218"/>
                    <a:pt x="5056" y="2111"/>
                    <a:pt x="5716" y="1905"/>
                  </a:cubicBezTo>
                  <a:cubicBezTo>
                    <a:pt x="5847" y="2072"/>
                    <a:pt x="6133" y="2453"/>
                    <a:pt x="6133" y="2953"/>
                  </a:cubicBezTo>
                  <a:lnTo>
                    <a:pt x="6133" y="3132"/>
                  </a:lnTo>
                  <a:cubicBezTo>
                    <a:pt x="6133" y="3405"/>
                    <a:pt x="6371" y="3644"/>
                    <a:pt x="6656" y="3644"/>
                  </a:cubicBezTo>
                  <a:lnTo>
                    <a:pt x="6918" y="3644"/>
                  </a:lnTo>
                  <a:cubicBezTo>
                    <a:pt x="6990" y="3644"/>
                    <a:pt x="7073" y="3679"/>
                    <a:pt x="7133" y="3739"/>
                  </a:cubicBezTo>
                  <a:cubicBezTo>
                    <a:pt x="7192" y="3798"/>
                    <a:pt x="7204" y="3870"/>
                    <a:pt x="7204" y="3941"/>
                  </a:cubicBezTo>
                  <a:cubicBezTo>
                    <a:pt x="7192" y="4084"/>
                    <a:pt x="7049" y="4203"/>
                    <a:pt x="6906" y="4203"/>
                  </a:cubicBezTo>
                  <a:lnTo>
                    <a:pt x="6835" y="4203"/>
                  </a:lnTo>
                  <a:lnTo>
                    <a:pt x="6835" y="4179"/>
                  </a:lnTo>
                  <a:cubicBezTo>
                    <a:pt x="6835" y="4096"/>
                    <a:pt x="6752" y="4025"/>
                    <a:pt x="6668" y="4025"/>
                  </a:cubicBezTo>
                  <a:cubicBezTo>
                    <a:pt x="6573" y="4025"/>
                    <a:pt x="6502" y="4096"/>
                    <a:pt x="6502" y="4179"/>
                  </a:cubicBezTo>
                  <a:cubicBezTo>
                    <a:pt x="6502" y="5358"/>
                    <a:pt x="5549" y="6311"/>
                    <a:pt x="4394" y="6311"/>
                  </a:cubicBezTo>
                  <a:cubicBezTo>
                    <a:pt x="3227" y="6311"/>
                    <a:pt x="2275" y="5358"/>
                    <a:pt x="2275" y="4203"/>
                  </a:cubicBezTo>
                  <a:cubicBezTo>
                    <a:pt x="2275" y="4108"/>
                    <a:pt x="2204" y="4036"/>
                    <a:pt x="2108" y="4036"/>
                  </a:cubicBezTo>
                  <a:cubicBezTo>
                    <a:pt x="2025" y="4036"/>
                    <a:pt x="1953" y="4108"/>
                    <a:pt x="1953" y="4203"/>
                  </a:cubicBezTo>
                  <a:lnTo>
                    <a:pt x="1953" y="4215"/>
                  </a:lnTo>
                  <a:lnTo>
                    <a:pt x="1846" y="4215"/>
                  </a:lnTo>
                  <a:cubicBezTo>
                    <a:pt x="1775" y="4215"/>
                    <a:pt x="1692" y="4179"/>
                    <a:pt x="1632" y="4120"/>
                  </a:cubicBezTo>
                  <a:cubicBezTo>
                    <a:pt x="1572" y="4060"/>
                    <a:pt x="1561" y="3989"/>
                    <a:pt x="1561" y="3917"/>
                  </a:cubicBezTo>
                  <a:cubicBezTo>
                    <a:pt x="1572" y="3786"/>
                    <a:pt x="1715" y="3667"/>
                    <a:pt x="1858" y="3667"/>
                  </a:cubicBezTo>
                  <a:lnTo>
                    <a:pt x="2096" y="3667"/>
                  </a:lnTo>
                  <a:cubicBezTo>
                    <a:pt x="2382" y="3667"/>
                    <a:pt x="2620" y="3429"/>
                    <a:pt x="2620" y="3143"/>
                  </a:cubicBezTo>
                  <a:lnTo>
                    <a:pt x="2620" y="2512"/>
                  </a:lnTo>
                  <a:cubicBezTo>
                    <a:pt x="2620" y="2429"/>
                    <a:pt x="2549" y="2346"/>
                    <a:pt x="2454" y="2346"/>
                  </a:cubicBezTo>
                  <a:cubicBezTo>
                    <a:pt x="2370" y="2346"/>
                    <a:pt x="2287" y="2429"/>
                    <a:pt x="2287" y="2512"/>
                  </a:cubicBezTo>
                  <a:lnTo>
                    <a:pt x="2287" y="3143"/>
                  </a:lnTo>
                  <a:cubicBezTo>
                    <a:pt x="2287" y="3251"/>
                    <a:pt x="2204" y="3334"/>
                    <a:pt x="2096" y="3334"/>
                  </a:cubicBezTo>
                  <a:lnTo>
                    <a:pt x="1906" y="3334"/>
                  </a:lnTo>
                  <a:lnTo>
                    <a:pt x="1906" y="2322"/>
                  </a:lnTo>
                  <a:cubicBezTo>
                    <a:pt x="1906" y="1941"/>
                    <a:pt x="2013" y="1762"/>
                    <a:pt x="2049" y="1679"/>
                  </a:cubicBezTo>
                  <a:close/>
                  <a:moveTo>
                    <a:pt x="5478" y="6406"/>
                  </a:moveTo>
                  <a:lnTo>
                    <a:pt x="5478" y="6799"/>
                  </a:lnTo>
                  <a:lnTo>
                    <a:pt x="5442" y="6799"/>
                  </a:lnTo>
                  <a:lnTo>
                    <a:pt x="5132" y="7870"/>
                  </a:lnTo>
                  <a:cubicBezTo>
                    <a:pt x="4906" y="7989"/>
                    <a:pt x="4644" y="8073"/>
                    <a:pt x="4394" y="8073"/>
                  </a:cubicBezTo>
                  <a:cubicBezTo>
                    <a:pt x="4120" y="8073"/>
                    <a:pt x="3870" y="8013"/>
                    <a:pt x="3644" y="7870"/>
                  </a:cubicBezTo>
                  <a:lnTo>
                    <a:pt x="3335" y="6799"/>
                  </a:lnTo>
                  <a:lnTo>
                    <a:pt x="3335" y="6406"/>
                  </a:lnTo>
                  <a:cubicBezTo>
                    <a:pt x="3656" y="6561"/>
                    <a:pt x="4013" y="6644"/>
                    <a:pt x="4406" y="6644"/>
                  </a:cubicBezTo>
                  <a:cubicBezTo>
                    <a:pt x="4787" y="6644"/>
                    <a:pt x="5144" y="6549"/>
                    <a:pt x="5478" y="6406"/>
                  </a:cubicBezTo>
                  <a:close/>
                  <a:moveTo>
                    <a:pt x="2644" y="10156"/>
                  </a:moveTo>
                  <a:lnTo>
                    <a:pt x="2644" y="10871"/>
                  </a:lnTo>
                  <a:lnTo>
                    <a:pt x="1215" y="10871"/>
                  </a:lnTo>
                  <a:lnTo>
                    <a:pt x="1215" y="10156"/>
                  </a:lnTo>
                  <a:lnTo>
                    <a:pt x="1775" y="10156"/>
                  </a:lnTo>
                  <a:lnTo>
                    <a:pt x="1775" y="10168"/>
                  </a:lnTo>
                  <a:cubicBezTo>
                    <a:pt x="1775" y="10251"/>
                    <a:pt x="1846" y="10335"/>
                    <a:pt x="1930" y="10335"/>
                  </a:cubicBezTo>
                  <a:cubicBezTo>
                    <a:pt x="2025" y="10335"/>
                    <a:pt x="2096" y="10251"/>
                    <a:pt x="2096" y="10168"/>
                  </a:cubicBezTo>
                  <a:lnTo>
                    <a:pt x="2096" y="10156"/>
                  </a:lnTo>
                  <a:close/>
                  <a:moveTo>
                    <a:pt x="4728" y="0"/>
                  </a:moveTo>
                  <a:cubicBezTo>
                    <a:pt x="3704" y="0"/>
                    <a:pt x="3227" y="203"/>
                    <a:pt x="2692" y="465"/>
                  </a:cubicBezTo>
                  <a:cubicBezTo>
                    <a:pt x="2394" y="596"/>
                    <a:pt x="2096" y="726"/>
                    <a:pt x="1668" y="846"/>
                  </a:cubicBezTo>
                  <a:cubicBezTo>
                    <a:pt x="1620" y="857"/>
                    <a:pt x="1572" y="893"/>
                    <a:pt x="1561" y="941"/>
                  </a:cubicBezTo>
                  <a:cubicBezTo>
                    <a:pt x="1549" y="977"/>
                    <a:pt x="1549" y="1024"/>
                    <a:pt x="1561" y="1072"/>
                  </a:cubicBezTo>
                  <a:cubicBezTo>
                    <a:pt x="1561" y="1084"/>
                    <a:pt x="1632" y="1250"/>
                    <a:pt x="1834" y="1453"/>
                  </a:cubicBezTo>
                  <a:cubicBezTo>
                    <a:pt x="1751" y="1560"/>
                    <a:pt x="1596" y="1810"/>
                    <a:pt x="1596" y="2322"/>
                  </a:cubicBezTo>
                  <a:lnTo>
                    <a:pt x="1596" y="3393"/>
                  </a:lnTo>
                  <a:cubicBezTo>
                    <a:pt x="1394" y="3477"/>
                    <a:pt x="1263" y="3655"/>
                    <a:pt x="1251" y="3870"/>
                  </a:cubicBezTo>
                  <a:cubicBezTo>
                    <a:pt x="1239" y="4036"/>
                    <a:pt x="1299" y="4215"/>
                    <a:pt x="1394" y="4334"/>
                  </a:cubicBezTo>
                  <a:cubicBezTo>
                    <a:pt x="1513" y="4453"/>
                    <a:pt x="1680" y="4525"/>
                    <a:pt x="1846" y="4525"/>
                  </a:cubicBezTo>
                  <a:lnTo>
                    <a:pt x="1965" y="4525"/>
                  </a:lnTo>
                  <a:cubicBezTo>
                    <a:pt x="2049" y="5203"/>
                    <a:pt x="2442" y="5822"/>
                    <a:pt x="2989" y="6191"/>
                  </a:cubicBezTo>
                  <a:lnTo>
                    <a:pt x="2989" y="6715"/>
                  </a:lnTo>
                  <a:lnTo>
                    <a:pt x="2263" y="7084"/>
                  </a:lnTo>
                  <a:cubicBezTo>
                    <a:pt x="2156" y="7132"/>
                    <a:pt x="2084" y="7227"/>
                    <a:pt x="2073" y="7334"/>
                  </a:cubicBezTo>
                  <a:cubicBezTo>
                    <a:pt x="2049" y="7370"/>
                    <a:pt x="2049" y="7406"/>
                    <a:pt x="2049" y="7442"/>
                  </a:cubicBezTo>
                  <a:lnTo>
                    <a:pt x="858" y="7799"/>
                  </a:lnTo>
                  <a:cubicBezTo>
                    <a:pt x="346" y="7965"/>
                    <a:pt x="1" y="8430"/>
                    <a:pt x="1" y="8954"/>
                  </a:cubicBezTo>
                  <a:lnTo>
                    <a:pt x="1" y="11025"/>
                  </a:lnTo>
                  <a:cubicBezTo>
                    <a:pt x="1" y="11121"/>
                    <a:pt x="72" y="11192"/>
                    <a:pt x="168" y="11192"/>
                  </a:cubicBezTo>
                  <a:cubicBezTo>
                    <a:pt x="251" y="11192"/>
                    <a:pt x="322" y="11121"/>
                    <a:pt x="322" y="11025"/>
                  </a:cubicBezTo>
                  <a:lnTo>
                    <a:pt x="322" y="8954"/>
                  </a:lnTo>
                  <a:cubicBezTo>
                    <a:pt x="322" y="8573"/>
                    <a:pt x="584" y="8227"/>
                    <a:pt x="953" y="8108"/>
                  </a:cubicBezTo>
                  <a:lnTo>
                    <a:pt x="2192" y="7739"/>
                  </a:lnTo>
                  <a:lnTo>
                    <a:pt x="2406" y="8025"/>
                  </a:lnTo>
                  <a:lnTo>
                    <a:pt x="2156" y="8275"/>
                  </a:lnTo>
                  <a:cubicBezTo>
                    <a:pt x="1989" y="8442"/>
                    <a:pt x="1965" y="8680"/>
                    <a:pt x="2073" y="8870"/>
                  </a:cubicBezTo>
                  <a:lnTo>
                    <a:pt x="2549" y="9811"/>
                  </a:lnTo>
                  <a:lnTo>
                    <a:pt x="2096" y="9811"/>
                  </a:lnTo>
                  <a:lnTo>
                    <a:pt x="2096" y="9609"/>
                  </a:lnTo>
                  <a:cubicBezTo>
                    <a:pt x="2096" y="9525"/>
                    <a:pt x="2025" y="9454"/>
                    <a:pt x="1930" y="9454"/>
                  </a:cubicBezTo>
                  <a:cubicBezTo>
                    <a:pt x="1846" y="9454"/>
                    <a:pt x="1775" y="9525"/>
                    <a:pt x="1775" y="9609"/>
                  </a:cubicBezTo>
                  <a:lnTo>
                    <a:pt x="1775" y="9811"/>
                  </a:lnTo>
                  <a:lnTo>
                    <a:pt x="1061" y="9811"/>
                  </a:lnTo>
                  <a:cubicBezTo>
                    <a:pt x="965" y="9811"/>
                    <a:pt x="894" y="9882"/>
                    <a:pt x="894" y="9966"/>
                  </a:cubicBezTo>
                  <a:lnTo>
                    <a:pt x="894" y="11025"/>
                  </a:lnTo>
                  <a:cubicBezTo>
                    <a:pt x="894" y="11121"/>
                    <a:pt x="965" y="11192"/>
                    <a:pt x="1061" y="11192"/>
                  </a:cubicBezTo>
                  <a:lnTo>
                    <a:pt x="2811" y="11192"/>
                  </a:lnTo>
                  <a:cubicBezTo>
                    <a:pt x="2906" y="11192"/>
                    <a:pt x="2977" y="11121"/>
                    <a:pt x="2977" y="11025"/>
                  </a:cubicBezTo>
                  <a:lnTo>
                    <a:pt x="2977" y="10668"/>
                  </a:lnTo>
                  <a:lnTo>
                    <a:pt x="3180" y="11097"/>
                  </a:lnTo>
                  <a:cubicBezTo>
                    <a:pt x="3216" y="11156"/>
                    <a:pt x="3275" y="11192"/>
                    <a:pt x="3335" y="11192"/>
                  </a:cubicBezTo>
                  <a:cubicBezTo>
                    <a:pt x="3358" y="11192"/>
                    <a:pt x="3382" y="11192"/>
                    <a:pt x="3406" y="11180"/>
                  </a:cubicBezTo>
                  <a:cubicBezTo>
                    <a:pt x="3477" y="11133"/>
                    <a:pt x="3525" y="11037"/>
                    <a:pt x="3477" y="10954"/>
                  </a:cubicBezTo>
                  <a:lnTo>
                    <a:pt x="2370" y="8716"/>
                  </a:lnTo>
                  <a:cubicBezTo>
                    <a:pt x="2334" y="8644"/>
                    <a:pt x="2346" y="8561"/>
                    <a:pt x="2394" y="8513"/>
                  </a:cubicBezTo>
                  <a:lnTo>
                    <a:pt x="2739" y="8168"/>
                  </a:lnTo>
                  <a:cubicBezTo>
                    <a:pt x="2799" y="8108"/>
                    <a:pt x="2799" y="8025"/>
                    <a:pt x="2751" y="7965"/>
                  </a:cubicBezTo>
                  <a:lnTo>
                    <a:pt x="2382" y="7477"/>
                  </a:lnTo>
                  <a:cubicBezTo>
                    <a:pt x="2370" y="7454"/>
                    <a:pt x="2370" y="7442"/>
                    <a:pt x="2370" y="7430"/>
                  </a:cubicBezTo>
                  <a:cubicBezTo>
                    <a:pt x="2370" y="7418"/>
                    <a:pt x="2382" y="7394"/>
                    <a:pt x="2394" y="7394"/>
                  </a:cubicBezTo>
                  <a:lnTo>
                    <a:pt x="3037" y="7073"/>
                  </a:lnTo>
                  <a:lnTo>
                    <a:pt x="3501" y="8632"/>
                  </a:lnTo>
                  <a:cubicBezTo>
                    <a:pt x="3522" y="8716"/>
                    <a:pt x="3598" y="8754"/>
                    <a:pt x="3673" y="8754"/>
                  </a:cubicBezTo>
                  <a:cubicBezTo>
                    <a:pt x="3683" y="8754"/>
                    <a:pt x="3693" y="8753"/>
                    <a:pt x="3704" y="8751"/>
                  </a:cubicBezTo>
                  <a:cubicBezTo>
                    <a:pt x="3799" y="8716"/>
                    <a:pt x="3835" y="8632"/>
                    <a:pt x="3823" y="8549"/>
                  </a:cubicBezTo>
                  <a:lnTo>
                    <a:pt x="3751" y="8287"/>
                  </a:lnTo>
                  <a:lnTo>
                    <a:pt x="3751" y="8287"/>
                  </a:lnTo>
                  <a:cubicBezTo>
                    <a:pt x="3954" y="8358"/>
                    <a:pt x="4168" y="8394"/>
                    <a:pt x="4370" y="8394"/>
                  </a:cubicBezTo>
                  <a:cubicBezTo>
                    <a:pt x="4597" y="8394"/>
                    <a:pt x="4811" y="8358"/>
                    <a:pt x="5001" y="8287"/>
                  </a:cubicBezTo>
                  <a:lnTo>
                    <a:pt x="5001" y="8287"/>
                  </a:lnTo>
                  <a:lnTo>
                    <a:pt x="4370" y="10442"/>
                  </a:lnTo>
                  <a:lnTo>
                    <a:pt x="4013" y="9228"/>
                  </a:lnTo>
                  <a:cubicBezTo>
                    <a:pt x="3992" y="9144"/>
                    <a:pt x="3917" y="9106"/>
                    <a:pt x="3842" y="9106"/>
                  </a:cubicBezTo>
                  <a:cubicBezTo>
                    <a:pt x="3832" y="9106"/>
                    <a:pt x="3821" y="9107"/>
                    <a:pt x="3811" y="9108"/>
                  </a:cubicBezTo>
                  <a:cubicBezTo>
                    <a:pt x="3716" y="9120"/>
                    <a:pt x="3680" y="9228"/>
                    <a:pt x="3692" y="9311"/>
                  </a:cubicBezTo>
                  <a:lnTo>
                    <a:pt x="4192" y="11073"/>
                  </a:lnTo>
                  <a:cubicBezTo>
                    <a:pt x="4216" y="11144"/>
                    <a:pt x="4287" y="11192"/>
                    <a:pt x="4359" y="11192"/>
                  </a:cubicBezTo>
                  <a:cubicBezTo>
                    <a:pt x="4430" y="11192"/>
                    <a:pt x="4490" y="11144"/>
                    <a:pt x="4525" y="11073"/>
                  </a:cubicBezTo>
                  <a:lnTo>
                    <a:pt x="5704" y="7049"/>
                  </a:lnTo>
                  <a:lnTo>
                    <a:pt x="6335" y="7382"/>
                  </a:lnTo>
                  <a:lnTo>
                    <a:pt x="6371" y="7406"/>
                  </a:lnTo>
                  <a:cubicBezTo>
                    <a:pt x="6371" y="7430"/>
                    <a:pt x="6371" y="7442"/>
                    <a:pt x="6359" y="7454"/>
                  </a:cubicBezTo>
                  <a:lnTo>
                    <a:pt x="5978" y="7942"/>
                  </a:lnTo>
                  <a:cubicBezTo>
                    <a:pt x="5942" y="8001"/>
                    <a:pt x="5942" y="8108"/>
                    <a:pt x="6002" y="8156"/>
                  </a:cubicBezTo>
                  <a:lnTo>
                    <a:pt x="6335" y="8501"/>
                  </a:lnTo>
                  <a:cubicBezTo>
                    <a:pt x="6395" y="8561"/>
                    <a:pt x="6418" y="8644"/>
                    <a:pt x="6371" y="8704"/>
                  </a:cubicBezTo>
                  <a:lnTo>
                    <a:pt x="5252" y="10942"/>
                  </a:lnTo>
                  <a:cubicBezTo>
                    <a:pt x="5204" y="11013"/>
                    <a:pt x="5240" y="11121"/>
                    <a:pt x="5323" y="11156"/>
                  </a:cubicBezTo>
                  <a:cubicBezTo>
                    <a:pt x="5359" y="11180"/>
                    <a:pt x="5371" y="11180"/>
                    <a:pt x="5406" y="11180"/>
                  </a:cubicBezTo>
                  <a:cubicBezTo>
                    <a:pt x="5466" y="11180"/>
                    <a:pt x="5525" y="11144"/>
                    <a:pt x="5549" y="11085"/>
                  </a:cubicBezTo>
                  <a:lnTo>
                    <a:pt x="6668" y="8858"/>
                  </a:lnTo>
                  <a:cubicBezTo>
                    <a:pt x="6776" y="8656"/>
                    <a:pt x="6728" y="8418"/>
                    <a:pt x="6573" y="8263"/>
                  </a:cubicBezTo>
                  <a:lnTo>
                    <a:pt x="6323" y="8001"/>
                  </a:lnTo>
                  <a:lnTo>
                    <a:pt x="6549" y="7727"/>
                  </a:lnTo>
                  <a:lnTo>
                    <a:pt x="7788" y="8096"/>
                  </a:lnTo>
                  <a:cubicBezTo>
                    <a:pt x="8157" y="8216"/>
                    <a:pt x="8407" y="8561"/>
                    <a:pt x="8407" y="8942"/>
                  </a:cubicBezTo>
                  <a:lnTo>
                    <a:pt x="8407" y="11013"/>
                  </a:lnTo>
                  <a:cubicBezTo>
                    <a:pt x="8407" y="11097"/>
                    <a:pt x="8478" y="11180"/>
                    <a:pt x="8573" y="11180"/>
                  </a:cubicBezTo>
                  <a:cubicBezTo>
                    <a:pt x="8657" y="11180"/>
                    <a:pt x="8740" y="11097"/>
                    <a:pt x="8740" y="11013"/>
                  </a:cubicBezTo>
                  <a:lnTo>
                    <a:pt x="8740" y="8942"/>
                  </a:lnTo>
                  <a:cubicBezTo>
                    <a:pt x="8764" y="8442"/>
                    <a:pt x="8419" y="7965"/>
                    <a:pt x="7907" y="7811"/>
                  </a:cubicBezTo>
                  <a:lnTo>
                    <a:pt x="6716" y="7454"/>
                  </a:lnTo>
                  <a:cubicBezTo>
                    <a:pt x="6716" y="7430"/>
                    <a:pt x="6716" y="7382"/>
                    <a:pt x="6692" y="7358"/>
                  </a:cubicBezTo>
                  <a:cubicBezTo>
                    <a:pt x="6668" y="7251"/>
                    <a:pt x="6597" y="7144"/>
                    <a:pt x="6502" y="7096"/>
                  </a:cubicBezTo>
                  <a:lnTo>
                    <a:pt x="5775" y="6727"/>
                  </a:lnTo>
                  <a:lnTo>
                    <a:pt x="5775" y="6203"/>
                  </a:lnTo>
                  <a:cubicBezTo>
                    <a:pt x="6323" y="5822"/>
                    <a:pt x="6716" y="5227"/>
                    <a:pt x="6799" y="4536"/>
                  </a:cubicBezTo>
                  <a:lnTo>
                    <a:pt x="6906" y="4536"/>
                  </a:lnTo>
                  <a:cubicBezTo>
                    <a:pt x="7228" y="4536"/>
                    <a:pt x="7502" y="4298"/>
                    <a:pt x="7526" y="4001"/>
                  </a:cubicBezTo>
                  <a:cubicBezTo>
                    <a:pt x="7549" y="3834"/>
                    <a:pt x="7490" y="3655"/>
                    <a:pt x="7383" y="3536"/>
                  </a:cubicBezTo>
                  <a:cubicBezTo>
                    <a:pt x="7323" y="3477"/>
                    <a:pt x="7264" y="3441"/>
                    <a:pt x="7192" y="3393"/>
                  </a:cubicBezTo>
                  <a:lnTo>
                    <a:pt x="7192" y="1572"/>
                  </a:lnTo>
                  <a:cubicBezTo>
                    <a:pt x="7192" y="905"/>
                    <a:pt x="6633" y="357"/>
                    <a:pt x="5966" y="357"/>
                  </a:cubicBezTo>
                  <a:lnTo>
                    <a:pt x="5942" y="357"/>
                  </a:lnTo>
                  <a:cubicBezTo>
                    <a:pt x="5644" y="131"/>
                    <a:pt x="5204" y="0"/>
                    <a:pt x="4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7" name="Google Shape;11547;p61"/>
            <p:cNvSpPr/>
            <p:nvPr/>
          </p:nvSpPr>
          <p:spPr>
            <a:xfrm>
              <a:off x="6012727" y="4085840"/>
              <a:ext cx="37731" cy="37763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1"/>
                  </a:moveTo>
                  <a:cubicBezTo>
                    <a:pt x="512" y="1"/>
                    <a:pt x="441" y="72"/>
                    <a:pt x="441" y="167"/>
                  </a:cubicBezTo>
                  <a:lnTo>
                    <a:pt x="441" y="429"/>
                  </a:lnTo>
                  <a:lnTo>
                    <a:pt x="167" y="429"/>
                  </a:lnTo>
                  <a:cubicBezTo>
                    <a:pt x="84" y="429"/>
                    <a:pt x="0" y="513"/>
                    <a:pt x="0" y="596"/>
                  </a:cubicBezTo>
                  <a:cubicBezTo>
                    <a:pt x="0" y="691"/>
                    <a:pt x="84" y="763"/>
                    <a:pt x="167" y="763"/>
                  </a:cubicBezTo>
                  <a:lnTo>
                    <a:pt x="441" y="763"/>
                  </a:lnTo>
                  <a:lnTo>
                    <a:pt x="441" y="1025"/>
                  </a:lnTo>
                  <a:cubicBezTo>
                    <a:pt x="441" y="1120"/>
                    <a:pt x="512" y="1191"/>
                    <a:pt x="595" y="1191"/>
                  </a:cubicBezTo>
                  <a:cubicBezTo>
                    <a:pt x="691" y="1191"/>
                    <a:pt x="762" y="1120"/>
                    <a:pt x="762" y="1025"/>
                  </a:cubicBezTo>
                  <a:lnTo>
                    <a:pt x="762" y="763"/>
                  </a:lnTo>
                  <a:lnTo>
                    <a:pt x="1024" y="763"/>
                  </a:lnTo>
                  <a:cubicBezTo>
                    <a:pt x="1119" y="763"/>
                    <a:pt x="1191" y="691"/>
                    <a:pt x="1191" y="596"/>
                  </a:cubicBezTo>
                  <a:cubicBezTo>
                    <a:pt x="1191" y="513"/>
                    <a:pt x="1119" y="429"/>
                    <a:pt x="1024" y="429"/>
                  </a:cubicBezTo>
                  <a:lnTo>
                    <a:pt x="762" y="429"/>
                  </a:lnTo>
                  <a:lnTo>
                    <a:pt x="762" y="167"/>
                  </a:lnTo>
                  <a:cubicBezTo>
                    <a:pt x="762" y="72"/>
                    <a:pt x="691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48" name="Google Shape;11548;p61"/>
          <p:cNvGrpSpPr/>
          <p:nvPr/>
        </p:nvGrpSpPr>
        <p:grpSpPr>
          <a:xfrm>
            <a:off x="2206122" y="3360748"/>
            <a:ext cx="308183" cy="347561"/>
            <a:chOff x="2206122" y="3360748"/>
            <a:chExt cx="308183" cy="347561"/>
          </a:xfrm>
        </p:grpSpPr>
        <p:sp>
          <p:nvSpPr>
            <p:cNvPr id="11549" name="Google Shape;11549;p61"/>
            <p:cNvSpPr/>
            <p:nvPr/>
          </p:nvSpPr>
          <p:spPr>
            <a:xfrm>
              <a:off x="2206122" y="3543859"/>
              <a:ext cx="199932" cy="164451"/>
            </a:xfrm>
            <a:custGeom>
              <a:avLst/>
              <a:gdLst/>
              <a:ahLst/>
              <a:cxnLst/>
              <a:rect l="l" t="t" r="r" b="b"/>
              <a:pathLst>
                <a:path w="6311" h="5191" extrusionOk="0">
                  <a:moveTo>
                    <a:pt x="289" y="1"/>
                  </a:moveTo>
                  <a:cubicBezTo>
                    <a:pt x="219" y="1"/>
                    <a:pt x="162" y="52"/>
                    <a:pt x="143" y="118"/>
                  </a:cubicBezTo>
                  <a:cubicBezTo>
                    <a:pt x="48" y="476"/>
                    <a:pt x="0" y="845"/>
                    <a:pt x="0" y="1214"/>
                  </a:cubicBezTo>
                  <a:cubicBezTo>
                    <a:pt x="0" y="3405"/>
                    <a:pt x="1786" y="5191"/>
                    <a:pt x="3977" y="5191"/>
                  </a:cubicBezTo>
                  <a:cubicBezTo>
                    <a:pt x="4787" y="5191"/>
                    <a:pt x="5584" y="4941"/>
                    <a:pt x="6251" y="4476"/>
                  </a:cubicBezTo>
                  <a:cubicBezTo>
                    <a:pt x="6275" y="4429"/>
                    <a:pt x="6311" y="4321"/>
                    <a:pt x="6251" y="4250"/>
                  </a:cubicBezTo>
                  <a:cubicBezTo>
                    <a:pt x="6221" y="4204"/>
                    <a:pt x="6166" y="4183"/>
                    <a:pt x="6111" y="4183"/>
                  </a:cubicBezTo>
                  <a:cubicBezTo>
                    <a:pt x="6081" y="4183"/>
                    <a:pt x="6050" y="4189"/>
                    <a:pt x="6025" y="4202"/>
                  </a:cubicBezTo>
                  <a:cubicBezTo>
                    <a:pt x="5418" y="4643"/>
                    <a:pt x="4691" y="4857"/>
                    <a:pt x="3941" y="4857"/>
                  </a:cubicBezTo>
                  <a:cubicBezTo>
                    <a:pt x="1929" y="4857"/>
                    <a:pt x="298" y="3226"/>
                    <a:pt x="298" y="1214"/>
                  </a:cubicBezTo>
                  <a:cubicBezTo>
                    <a:pt x="298" y="869"/>
                    <a:pt x="346" y="535"/>
                    <a:pt x="441" y="202"/>
                  </a:cubicBezTo>
                  <a:cubicBezTo>
                    <a:pt x="477" y="118"/>
                    <a:pt x="417" y="23"/>
                    <a:pt x="346" y="11"/>
                  </a:cubicBezTo>
                  <a:cubicBezTo>
                    <a:pt x="326" y="4"/>
                    <a:pt x="307" y="1"/>
                    <a:pt x="2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0" name="Google Shape;11550;p61"/>
            <p:cNvSpPr/>
            <p:nvPr/>
          </p:nvSpPr>
          <p:spPr>
            <a:xfrm>
              <a:off x="2216291" y="3360748"/>
              <a:ext cx="298014" cy="312872"/>
            </a:xfrm>
            <a:custGeom>
              <a:avLst/>
              <a:gdLst/>
              <a:ahLst/>
              <a:cxnLst/>
              <a:rect l="l" t="t" r="r" b="b"/>
              <a:pathLst>
                <a:path w="9407" h="9876" extrusionOk="0">
                  <a:moveTo>
                    <a:pt x="6830" y="0"/>
                  </a:moveTo>
                  <a:cubicBezTo>
                    <a:pt x="6032" y="0"/>
                    <a:pt x="5248" y="384"/>
                    <a:pt x="4763" y="1100"/>
                  </a:cubicBezTo>
                  <a:cubicBezTo>
                    <a:pt x="4632" y="1315"/>
                    <a:pt x="4513" y="1529"/>
                    <a:pt x="4454" y="1791"/>
                  </a:cubicBezTo>
                  <a:cubicBezTo>
                    <a:pt x="4418" y="1874"/>
                    <a:pt x="4478" y="1969"/>
                    <a:pt x="4561" y="1981"/>
                  </a:cubicBezTo>
                  <a:cubicBezTo>
                    <a:pt x="4574" y="1985"/>
                    <a:pt x="4587" y="1987"/>
                    <a:pt x="4600" y="1987"/>
                  </a:cubicBezTo>
                  <a:cubicBezTo>
                    <a:pt x="4671" y="1987"/>
                    <a:pt x="4741" y="1935"/>
                    <a:pt x="4751" y="1874"/>
                  </a:cubicBezTo>
                  <a:cubicBezTo>
                    <a:pt x="4811" y="1672"/>
                    <a:pt x="4894" y="1469"/>
                    <a:pt x="5037" y="1279"/>
                  </a:cubicBezTo>
                  <a:cubicBezTo>
                    <a:pt x="5455" y="652"/>
                    <a:pt x="6135" y="315"/>
                    <a:pt x="6830" y="315"/>
                  </a:cubicBezTo>
                  <a:cubicBezTo>
                    <a:pt x="7244" y="315"/>
                    <a:pt x="7664" y="435"/>
                    <a:pt x="8037" y="684"/>
                  </a:cubicBezTo>
                  <a:cubicBezTo>
                    <a:pt x="8514" y="1017"/>
                    <a:pt x="8847" y="1481"/>
                    <a:pt x="8966" y="2065"/>
                  </a:cubicBezTo>
                  <a:cubicBezTo>
                    <a:pt x="9085" y="2636"/>
                    <a:pt x="8966" y="3220"/>
                    <a:pt x="8633" y="3684"/>
                  </a:cubicBezTo>
                  <a:cubicBezTo>
                    <a:pt x="8230" y="4289"/>
                    <a:pt x="7574" y="4641"/>
                    <a:pt x="6873" y="4641"/>
                  </a:cubicBezTo>
                  <a:cubicBezTo>
                    <a:pt x="6829" y="4641"/>
                    <a:pt x="6784" y="4639"/>
                    <a:pt x="6740" y="4636"/>
                  </a:cubicBezTo>
                  <a:lnTo>
                    <a:pt x="6716" y="4636"/>
                  </a:lnTo>
                  <a:cubicBezTo>
                    <a:pt x="6549" y="4625"/>
                    <a:pt x="6406" y="4613"/>
                    <a:pt x="6240" y="4565"/>
                  </a:cubicBezTo>
                  <a:cubicBezTo>
                    <a:pt x="6220" y="4560"/>
                    <a:pt x="6204" y="4557"/>
                    <a:pt x="6189" y="4557"/>
                  </a:cubicBezTo>
                  <a:cubicBezTo>
                    <a:pt x="6168" y="4557"/>
                    <a:pt x="6148" y="4563"/>
                    <a:pt x="6121" y="4577"/>
                  </a:cubicBezTo>
                  <a:lnTo>
                    <a:pt x="5120" y="5053"/>
                  </a:lnTo>
                  <a:lnTo>
                    <a:pt x="5168" y="3958"/>
                  </a:lnTo>
                  <a:cubicBezTo>
                    <a:pt x="5168" y="3910"/>
                    <a:pt x="5156" y="3886"/>
                    <a:pt x="5144" y="3851"/>
                  </a:cubicBezTo>
                  <a:cubicBezTo>
                    <a:pt x="4823" y="3470"/>
                    <a:pt x="4668" y="2993"/>
                    <a:pt x="4680" y="2481"/>
                  </a:cubicBezTo>
                  <a:cubicBezTo>
                    <a:pt x="4680" y="2398"/>
                    <a:pt x="4608" y="2315"/>
                    <a:pt x="4513" y="2315"/>
                  </a:cubicBezTo>
                  <a:cubicBezTo>
                    <a:pt x="4418" y="2315"/>
                    <a:pt x="4347" y="2398"/>
                    <a:pt x="4347" y="2481"/>
                  </a:cubicBezTo>
                  <a:cubicBezTo>
                    <a:pt x="4347" y="2708"/>
                    <a:pt x="4382" y="2934"/>
                    <a:pt x="4442" y="3136"/>
                  </a:cubicBezTo>
                  <a:cubicBezTo>
                    <a:pt x="4168" y="3077"/>
                    <a:pt x="3894" y="3053"/>
                    <a:pt x="3620" y="3053"/>
                  </a:cubicBezTo>
                  <a:cubicBezTo>
                    <a:pt x="2858" y="3053"/>
                    <a:pt x="2132" y="3255"/>
                    <a:pt x="1489" y="3660"/>
                  </a:cubicBezTo>
                  <a:cubicBezTo>
                    <a:pt x="882" y="4041"/>
                    <a:pt x="370" y="4601"/>
                    <a:pt x="48" y="5256"/>
                  </a:cubicBezTo>
                  <a:cubicBezTo>
                    <a:pt x="1" y="5327"/>
                    <a:pt x="48" y="5434"/>
                    <a:pt x="120" y="5458"/>
                  </a:cubicBezTo>
                  <a:cubicBezTo>
                    <a:pt x="156" y="5470"/>
                    <a:pt x="167" y="5470"/>
                    <a:pt x="191" y="5470"/>
                  </a:cubicBezTo>
                  <a:cubicBezTo>
                    <a:pt x="251" y="5470"/>
                    <a:pt x="322" y="5446"/>
                    <a:pt x="346" y="5387"/>
                  </a:cubicBezTo>
                  <a:cubicBezTo>
                    <a:pt x="965" y="4136"/>
                    <a:pt x="2227" y="3362"/>
                    <a:pt x="3620" y="3362"/>
                  </a:cubicBezTo>
                  <a:cubicBezTo>
                    <a:pt x="3942" y="3362"/>
                    <a:pt x="4263" y="3410"/>
                    <a:pt x="4573" y="3482"/>
                  </a:cubicBezTo>
                  <a:cubicBezTo>
                    <a:pt x="4644" y="3660"/>
                    <a:pt x="4751" y="3827"/>
                    <a:pt x="4859" y="3970"/>
                  </a:cubicBezTo>
                  <a:lnTo>
                    <a:pt x="4799" y="5279"/>
                  </a:lnTo>
                  <a:cubicBezTo>
                    <a:pt x="4799" y="5339"/>
                    <a:pt x="4823" y="5387"/>
                    <a:pt x="4870" y="5410"/>
                  </a:cubicBezTo>
                  <a:cubicBezTo>
                    <a:pt x="4894" y="5434"/>
                    <a:pt x="4930" y="5446"/>
                    <a:pt x="4954" y="5446"/>
                  </a:cubicBezTo>
                  <a:cubicBezTo>
                    <a:pt x="4989" y="5446"/>
                    <a:pt x="5001" y="5446"/>
                    <a:pt x="5037" y="5434"/>
                  </a:cubicBezTo>
                  <a:lnTo>
                    <a:pt x="6228" y="4875"/>
                  </a:lnTo>
                  <a:cubicBezTo>
                    <a:pt x="6359" y="4910"/>
                    <a:pt x="6502" y="4934"/>
                    <a:pt x="6644" y="4958"/>
                  </a:cubicBezTo>
                  <a:cubicBezTo>
                    <a:pt x="7061" y="5565"/>
                    <a:pt x="7264" y="6268"/>
                    <a:pt x="7264" y="7006"/>
                  </a:cubicBezTo>
                  <a:cubicBezTo>
                    <a:pt x="7264" y="7994"/>
                    <a:pt x="6883" y="8911"/>
                    <a:pt x="6180" y="9613"/>
                  </a:cubicBezTo>
                  <a:cubicBezTo>
                    <a:pt x="6121" y="9673"/>
                    <a:pt x="6121" y="9780"/>
                    <a:pt x="6180" y="9839"/>
                  </a:cubicBezTo>
                  <a:cubicBezTo>
                    <a:pt x="6204" y="9863"/>
                    <a:pt x="6252" y="9875"/>
                    <a:pt x="6299" y="9875"/>
                  </a:cubicBezTo>
                  <a:cubicBezTo>
                    <a:pt x="6347" y="9875"/>
                    <a:pt x="6371" y="9863"/>
                    <a:pt x="6418" y="9839"/>
                  </a:cubicBezTo>
                  <a:cubicBezTo>
                    <a:pt x="7192" y="9077"/>
                    <a:pt x="7609" y="8077"/>
                    <a:pt x="7609" y="7006"/>
                  </a:cubicBezTo>
                  <a:cubicBezTo>
                    <a:pt x="7609" y="6279"/>
                    <a:pt x="7418" y="5577"/>
                    <a:pt x="7037" y="4958"/>
                  </a:cubicBezTo>
                  <a:cubicBezTo>
                    <a:pt x="7787" y="4898"/>
                    <a:pt x="8490" y="4505"/>
                    <a:pt x="8930" y="3851"/>
                  </a:cubicBezTo>
                  <a:cubicBezTo>
                    <a:pt x="9276" y="3303"/>
                    <a:pt x="9407" y="2648"/>
                    <a:pt x="9276" y="1993"/>
                  </a:cubicBezTo>
                  <a:cubicBezTo>
                    <a:pt x="9145" y="1338"/>
                    <a:pt x="8776" y="791"/>
                    <a:pt x="8216" y="422"/>
                  </a:cubicBezTo>
                  <a:cubicBezTo>
                    <a:pt x="7789" y="137"/>
                    <a:pt x="7307" y="0"/>
                    <a:pt x="68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1" name="Google Shape;11551;p61"/>
            <p:cNvSpPr/>
            <p:nvPr/>
          </p:nvSpPr>
          <p:spPr>
            <a:xfrm>
              <a:off x="2392812" y="3401615"/>
              <a:ext cx="83033" cy="80372"/>
            </a:xfrm>
            <a:custGeom>
              <a:avLst/>
              <a:gdLst/>
              <a:ahLst/>
              <a:cxnLst/>
              <a:rect l="l" t="t" r="r" b="b"/>
              <a:pathLst>
                <a:path w="2621" h="2537" extrusionOk="0">
                  <a:moveTo>
                    <a:pt x="1608" y="334"/>
                  </a:moveTo>
                  <a:cubicBezTo>
                    <a:pt x="1775" y="334"/>
                    <a:pt x="1918" y="394"/>
                    <a:pt x="2037" y="513"/>
                  </a:cubicBezTo>
                  <a:cubicBezTo>
                    <a:pt x="2275" y="739"/>
                    <a:pt x="2275" y="1132"/>
                    <a:pt x="2037" y="1370"/>
                  </a:cubicBezTo>
                  <a:cubicBezTo>
                    <a:pt x="1918" y="1489"/>
                    <a:pt x="1763" y="1549"/>
                    <a:pt x="1608" y="1549"/>
                  </a:cubicBezTo>
                  <a:cubicBezTo>
                    <a:pt x="1453" y="1549"/>
                    <a:pt x="1299" y="1489"/>
                    <a:pt x="1180" y="1370"/>
                  </a:cubicBezTo>
                  <a:cubicBezTo>
                    <a:pt x="941" y="1132"/>
                    <a:pt x="941" y="751"/>
                    <a:pt x="1180" y="513"/>
                  </a:cubicBezTo>
                  <a:cubicBezTo>
                    <a:pt x="1299" y="394"/>
                    <a:pt x="1442" y="334"/>
                    <a:pt x="1608" y="334"/>
                  </a:cubicBezTo>
                  <a:close/>
                  <a:moveTo>
                    <a:pt x="1608" y="1"/>
                  </a:moveTo>
                  <a:cubicBezTo>
                    <a:pt x="1358" y="1"/>
                    <a:pt x="1120" y="108"/>
                    <a:pt x="953" y="275"/>
                  </a:cubicBezTo>
                  <a:cubicBezTo>
                    <a:pt x="620" y="596"/>
                    <a:pt x="596" y="1108"/>
                    <a:pt x="846" y="1477"/>
                  </a:cubicBezTo>
                  <a:lnTo>
                    <a:pt x="60" y="2263"/>
                  </a:lnTo>
                  <a:cubicBezTo>
                    <a:pt x="1" y="2322"/>
                    <a:pt x="1" y="2430"/>
                    <a:pt x="60" y="2489"/>
                  </a:cubicBezTo>
                  <a:cubicBezTo>
                    <a:pt x="84" y="2525"/>
                    <a:pt x="132" y="2537"/>
                    <a:pt x="179" y="2537"/>
                  </a:cubicBezTo>
                  <a:cubicBezTo>
                    <a:pt x="227" y="2537"/>
                    <a:pt x="263" y="2525"/>
                    <a:pt x="299" y="2489"/>
                  </a:cubicBezTo>
                  <a:lnTo>
                    <a:pt x="1084" y="1703"/>
                  </a:lnTo>
                  <a:cubicBezTo>
                    <a:pt x="1251" y="1822"/>
                    <a:pt x="1430" y="1870"/>
                    <a:pt x="1620" y="1870"/>
                  </a:cubicBezTo>
                  <a:cubicBezTo>
                    <a:pt x="1858" y="1870"/>
                    <a:pt x="2096" y="1775"/>
                    <a:pt x="2275" y="1596"/>
                  </a:cubicBezTo>
                  <a:cubicBezTo>
                    <a:pt x="2620" y="1227"/>
                    <a:pt x="2620" y="644"/>
                    <a:pt x="2263" y="275"/>
                  </a:cubicBezTo>
                  <a:cubicBezTo>
                    <a:pt x="2084" y="96"/>
                    <a:pt x="1846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2" name="Google Shape;11552;p61"/>
            <p:cNvSpPr/>
            <p:nvPr/>
          </p:nvSpPr>
          <p:spPr>
            <a:xfrm>
              <a:off x="2229502" y="3535147"/>
              <a:ext cx="201833" cy="94723"/>
            </a:xfrm>
            <a:custGeom>
              <a:avLst/>
              <a:gdLst/>
              <a:ahLst/>
              <a:cxnLst/>
              <a:rect l="l" t="t" r="r" b="b"/>
              <a:pathLst>
                <a:path w="6371" h="2990" extrusionOk="0">
                  <a:moveTo>
                    <a:pt x="3191" y="310"/>
                  </a:moveTo>
                  <a:cubicBezTo>
                    <a:pt x="3477" y="310"/>
                    <a:pt x="3751" y="346"/>
                    <a:pt x="4025" y="393"/>
                  </a:cubicBezTo>
                  <a:cubicBezTo>
                    <a:pt x="4191" y="584"/>
                    <a:pt x="4275" y="834"/>
                    <a:pt x="4275" y="1084"/>
                  </a:cubicBezTo>
                  <a:cubicBezTo>
                    <a:pt x="4275" y="1703"/>
                    <a:pt x="3787" y="2191"/>
                    <a:pt x="3179" y="2191"/>
                  </a:cubicBezTo>
                  <a:cubicBezTo>
                    <a:pt x="2560" y="2191"/>
                    <a:pt x="2072" y="1703"/>
                    <a:pt x="2072" y="1084"/>
                  </a:cubicBezTo>
                  <a:cubicBezTo>
                    <a:pt x="2108" y="846"/>
                    <a:pt x="2191" y="596"/>
                    <a:pt x="2358" y="393"/>
                  </a:cubicBezTo>
                  <a:cubicBezTo>
                    <a:pt x="2620" y="346"/>
                    <a:pt x="2906" y="310"/>
                    <a:pt x="3191" y="310"/>
                  </a:cubicBezTo>
                  <a:close/>
                  <a:moveTo>
                    <a:pt x="1905" y="489"/>
                  </a:moveTo>
                  <a:lnTo>
                    <a:pt x="1905" y="489"/>
                  </a:lnTo>
                  <a:cubicBezTo>
                    <a:pt x="1822" y="691"/>
                    <a:pt x="1775" y="894"/>
                    <a:pt x="1775" y="1108"/>
                  </a:cubicBezTo>
                  <a:cubicBezTo>
                    <a:pt x="1775" y="1894"/>
                    <a:pt x="2417" y="2513"/>
                    <a:pt x="3191" y="2513"/>
                  </a:cubicBezTo>
                  <a:cubicBezTo>
                    <a:pt x="3965" y="2513"/>
                    <a:pt x="4608" y="1882"/>
                    <a:pt x="4608" y="1108"/>
                  </a:cubicBezTo>
                  <a:cubicBezTo>
                    <a:pt x="4608" y="894"/>
                    <a:pt x="4561" y="691"/>
                    <a:pt x="4465" y="489"/>
                  </a:cubicBezTo>
                  <a:lnTo>
                    <a:pt x="4465" y="489"/>
                  </a:lnTo>
                  <a:cubicBezTo>
                    <a:pt x="5180" y="691"/>
                    <a:pt x="5751" y="1060"/>
                    <a:pt x="6001" y="1489"/>
                  </a:cubicBezTo>
                  <a:cubicBezTo>
                    <a:pt x="5620" y="2191"/>
                    <a:pt x="4465" y="2668"/>
                    <a:pt x="3203" y="2668"/>
                  </a:cubicBezTo>
                  <a:cubicBezTo>
                    <a:pt x="1929" y="2668"/>
                    <a:pt x="798" y="2191"/>
                    <a:pt x="381" y="1489"/>
                  </a:cubicBezTo>
                  <a:cubicBezTo>
                    <a:pt x="632" y="1060"/>
                    <a:pt x="1191" y="691"/>
                    <a:pt x="1905" y="489"/>
                  </a:cubicBezTo>
                  <a:close/>
                  <a:moveTo>
                    <a:pt x="3191" y="1"/>
                  </a:moveTo>
                  <a:cubicBezTo>
                    <a:pt x="2858" y="1"/>
                    <a:pt x="2548" y="36"/>
                    <a:pt x="2239" y="96"/>
                  </a:cubicBezTo>
                  <a:cubicBezTo>
                    <a:pt x="1179" y="286"/>
                    <a:pt x="358" y="786"/>
                    <a:pt x="36" y="1429"/>
                  </a:cubicBezTo>
                  <a:cubicBezTo>
                    <a:pt x="0" y="1477"/>
                    <a:pt x="0" y="1536"/>
                    <a:pt x="36" y="1584"/>
                  </a:cubicBezTo>
                  <a:cubicBezTo>
                    <a:pt x="465" y="2429"/>
                    <a:pt x="1727" y="2989"/>
                    <a:pt x="3191" y="2989"/>
                  </a:cubicBezTo>
                  <a:cubicBezTo>
                    <a:pt x="4644" y="2989"/>
                    <a:pt x="5918" y="2429"/>
                    <a:pt x="6347" y="1584"/>
                  </a:cubicBezTo>
                  <a:cubicBezTo>
                    <a:pt x="6370" y="1525"/>
                    <a:pt x="6370" y="1477"/>
                    <a:pt x="6347" y="1429"/>
                  </a:cubicBezTo>
                  <a:cubicBezTo>
                    <a:pt x="6013" y="786"/>
                    <a:pt x="5204" y="286"/>
                    <a:pt x="4144" y="96"/>
                  </a:cubicBezTo>
                  <a:cubicBezTo>
                    <a:pt x="3822" y="36"/>
                    <a:pt x="3513" y="1"/>
                    <a:pt x="3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3" name="Google Shape;11553;p61"/>
            <p:cNvSpPr/>
            <p:nvPr/>
          </p:nvSpPr>
          <p:spPr>
            <a:xfrm>
              <a:off x="2236281" y="3609215"/>
              <a:ext cx="81893" cy="38364"/>
            </a:xfrm>
            <a:custGeom>
              <a:avLst/>
              <a:gdLst/>
              <a:ahLst/>
              <a:cxnLst/>
              <a:rect l="l" t="t" r="r" b="b"/>
              <a:pathLst>
                <a:path w="2585" h="1211" extrusionOk="0">
                  <a:moveTo>
                    <a:pt x="180" y="1"/>
                  </a:moveTo>
                  <a:cubicBezTo>
                    <a:pt x="140" y="1"/>
                    <a:pt x="101" y="15"/>
                    <a:pt x="72" y="44"/>
                  </a:cubicBezTo>
                  <a:cubicBezTo>
                    <a:pt x="1" y="103"/>
                    <a:pt x="1" y="211"/>
                    <a:pt x="60" y="270"/>
                  </a:cubicBezTo>
                  <a:cubicBezTo>
                    <a:pt x="525" y="818"/>
                    <a:pt x="1418" y="1175"/>
                    <a:pt x="2406" y="1211"/>
                  </a:cubicBezTo>
                  <a:cubicBezTo>
                    <a:pt x="2501" y="1211"/>
                    <a:pt x="2573" y="1127"/>
                    <a:pt x="2573" y="1056"/>
                  </a:cubicBezTo>
                  <a:cubicBezTo>
                    <a:pt x="2584" y="949"/>
                    <a:pt x="2513" y="877"/>
                    <a:pt x="2430" y="877"/>
                  </a:cubicBezTo>
                  <a:cubicBezTo>
                    <a:pt x="1513" y="853"/>
                    <a:pt x="703" y="532"/>
                    <a:pt x="298" y="56"/>
                  </a:cubicBezTo>
                  <a:cubicBezTo>
                    <a:pt x="267" y="18"/>
                    <a:pt x="223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54" name="Google Shape;11554;p61"/>
          <p:cNvGrpSpPr/>
          <p:nvPr/>
        </p:nvGrpSpPr>
        <p:grpSpPr>
          <a:xfrm>
            <a:off x="5353403" y="3785609"/>
            <a:ext cx="277992" cy="354974"/>
            <a:chOff x="5353403" y="3785609"/>
            <a:chExt cx="277992" cy="354974"/>
          </a:xfrm>
        </p:grpSpPr>
        <p:sp>
          <p:nvSpPr>
            <p:cNvPr id="11555" name="Google Shape;11555;p61"/>
            <p:cNvSpPr/>
            <p:nvPr/>
          </p:nvSpPr>
          <p:spPr>
            <a:xfrm>
              <a:off x="5476734" y="3952562"/>
              <a:ext cx="33232" cy="15998"/>
            </a:xfrm>
            <a:custGeom>
              <a:avLst/>
              <a:gdLst/>
              <a:ahLst/>
              <a:cxnLst/>
              <a:rect l="l" t="t" r="r" b="b"/>
              <a:pathLst>
                <a:path w="1049" h="505" extrusionOk="0">
                  <a:moveTo>
                    <a:pt x="189" y="0"/>
                  </a:moveTo>
                  <a:cubicBezTo>
                    <a:pt x="154" y="0"/>
                    <a:pt x="117" y="10"/>
                    <a:pt x="84" y="29"/>
                  </a:cubicBezTo>
                  <a:cubicBezTo>
                    <a:pt x="12" y="64"/>
                    <a:pt x="0" y="171"/>
                    <a:pt x="48" y="255"/>
                  </a:cubicBezTo>
                  <a:cubicBezTo>
                    <a:pt x="155" y="398"/>
                    <a:pt x="334" y="505"/>
                    <a:pt x="536" y="505"/>
                  </a:cubicBezTo>
                  <a:cubicBezTo>
                    <a:pt x="727" y="505"/>
                    <a:pt x="917" y="410"/>
                    <a:pt x="1024" y="255"/>
                  </a:cubicBezTo>
                  <a:cubicBezTo>
                    <a:pt x="1048" y="171"/>
                    <a:pt x="1024" y="76"/>
                    <a:pt x="953" y="29"/>
                  </a:cubicBezTo>
                  <a:cubicBezTo>
                    <a:pt x="924" y="10"/>
                    <a:pt x="890" y="0"/>
                    <a:pt x="856" y="0"/>
                  </a:cubicBezTo>
                  <a:cubicBezTo>
                    <a:pt x="805" y="0"/>
                    <a:pt x="755" y="21"/>
                    <a:pt x="727" y="64"/>
                  </a:cubicBezTo>
                  <a:cubicBezTo>
                    <a:pt x="691" y="124"/>
                    <a:pt x="608" y="171"/>
                    <a:pt x="524" y="171"/>
                  </a:cubicBezTo>
                  <a:cubicBezTo>
                    <a:pt x="429" y="171"/>
                    <a:pt x="346" y="136"/>
                    <a:pt x="310" y="64"/>
                  </a:cubicBezTo>
                  <a:cubicBezTo>
                    <a:pt x="289" y="21"/>
                    <a:pt x="241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6" name="Google Shape;11556;p61"/>
            <p:cNvSpPr/>
            <p:nvPr/>
          </p:nvSpPr>
          <p:spPr>
            <a:xfrm>
              <a:off x="5457124" y="390254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7" name="Google Shape;11557;p61"/>
            <p:cNvSpPr/>
            <p:nvPr/>
          </p:nvSpPr>
          <p:spPr>
            <a:xfrm>
              <a:off x="5518234" y="390254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46"/>
                  </a:cubicBezTo>
                  <a:lnTo>
                    <a:pt x="333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8" name="Google Shape;11558;p61"/>
            <p:cNvSpPr/>
            <p:nvPr/>
          </p:nvSpPr>
          <p:spPr>
            <a:xfrm>
              <a:off x="5353403" y="3785609"/>
              <a:ext cx="277992" cy="354974"/>
            </a:xfrm>
            <a:custGeom>
              <a:avLst/>
              <a:gdLst/>
              <a:ahLst/>
              <a:cxnLst/>
              <a:rect l="l" t="t" r="r" b="b"/>
              <a:pathLst>
                <a:path w="8775" h="11205" extrusionOk="0">
                  <a:moveTo>
                    <a:pt x="2822" y="846"/>
                  </a:moveTo>
                  <a:lnTo>
                    <a:pt x="2822" y="2274"/>
                  </a:lnTo>
                  <a:cubicBezTo>
                    <a:pt x="2822" y="2274"/>
                    <a:pt x="2822" y="2286"/>
                    <a:pt x="2810" y="2286"/>
                  </a:cubicBezTo>
                  <a:lnTo>
                    <a:pt x="2453" y="2286"/>
                  </a:lnTo>
                  <a:cubicBezTo>
                    <a:pt x="2453" y="2286"/>
                    <a:pt x="2441" y="2286"/>
                    <a:pt x="2441" y="2274"/>
                  </a:cubicBezTo>
                  <a:lnTo>
                    <a:pt x="2441" y="1215"/>
                  </a:lnTo>
                  <a:lnTo>
                    <a:pt x="2453" y="1215"/>
                  </a:lnTo>
                  <a:cubicBezTo>
                    <a:pt x="2453" y="1155"/>
                    <a:pt x="2477" y="1096"/>
                    <a:pt x="2524" y="1072"/>
                  </a:cubicBezTo>
                  <a:lnTo>
                    <a:pt x="2822" y="846"/>
                  </a:lnTo>
                  <a:close/>
                  <a:moveTo>
                    <a:pt x="4739" y="322"/>
                  </a:moveTo>
                  <a:cubicBezTo>
                    <a:pt x="4739" y="322"/>
                    <a:pt x="4763" y="322"/>
                    <a:pt x="4763" y="346"/>
                  </a:cubicBezTo>
                  <a:lnTo>
                    <a:pt x="4763" y="2274"/>
                  </a:lnTo>
                  <a:cubicBezTo>
                    <a:pt x="4763" y="2274"/>
                    <a:pt x="4763" y="2286"/>
                    <a:pt x="4739" y="2286"/>
                  </a:cubicBezTo>
                  <a:lnTo>
                    <a:pt x="4048" y="2286"/>
                  </a:lnTo>
                  <a:cubicBezTo>
                    <a:pt x="4048" y="2286"/>
                    <a:pt x="4024" y="2286"/>
                    <a:pt x="4024" y="2274"/>
                  </a:cubicBezTo>
                  <a:lnTo>
                    <a:pt x="4024" y="346"/>
                  </a:lnTo>
                  <a:cubicBezTo>
                    <a:pt x="4024" y="334"/>
                    <a:pt x="4030" y="328"/>
                    <a:pt x="4033" y="328"/>
                  </a:cubicBezTo>
                  <a:cubicBezTo>
                    <a:pt x="4036" y="328"/>
                    <a:pt x="4036" y="334"/>
                    <a:pt x="4024" y="346"/>
                  </a:cubicBezTo>
                  <a:lnTo>
                    <a:pt x="4739" y="322"/>
                  </a:lnTo>
                  <a:close/>
                  <a:moveTo>
                    <a:pt x="5965" y="846"/>
                  </a:moveTo>
                  <a:lnTo>
                    <a:pt x="6263" y="1072"/>
                  </a:lnTo>
                  <a:cubicBezTo>
                    <a:pt x="6310" y="1096"/>
                    <a:pt x="6334" y="1155"/>
                    <a:pt x="6334" y="1215"/>
                  </a:cubicBezTo>
                  <a:lnTo>
                    <a:pt x="6334" y="2274"/>
                  </a:lnTo>
                  <a:cubicBezTo>
                    <a:pt x="6334" y="2274"/>
                    <a:pt x="6334" y="2286"/>
                    <a:pt x="6322" y="2286"/>
                  </a:cubicBezTo>
                  <a:lnTo>
                    <a:pt x="5965" y="2286"/>
                  </a:lnTo>
                  <a:cubicBezTo>
                    <a:pt x="5965" y="2286"/>
                    <a:pt x="5953" y="2286"/>
                    <a:pt x="5953" y="2274"/>
                  </a:cubicBezTo>
                  <a:lnTo>
                    <a:pt x="5953" y="846"/>
                  </a:lnTo>
                  <a:close/>
                  <a:moveTo>
                    <a:pt x="5072" y="596"/>
                  </a:moveTo>
                  <a:cubicBezTo>
                    <a:pt x="5263" y="631"/>
                    <a:pt x="5441" y="715"/>
                    <a:pt x="5620" y="822"/>
                  </a:cubicBezTo>
                  <a:lnTo>
                    <a:pt x="5620" y="2274"/>
                  </a:lnTo>
                  <a:cubicBezTo>
                    <a:pt x="5620" y="2465"/>
                    <a:pt x="5775" y="2620"/>
                    <a:pt x="5965" y="2620"/>
                  </a:cubicBezTo>
                  <a:lnTo>
                    <a:pt x="6322" y="2620"/>
                  </a:lnTo>
                  <a:cubicBezTo>
                    <a:pt x="6513" y="2620"/>
                    <a:pt x="6668" y="2465"/>
                    <a:pt x="6668" y="2274"/>
                  </a:cubicBezTo>
                  <a:lnTo>
                    <a:pt x="6668" y="1798"/>
                  </a:lnTo>
                  <a:cubicBezTo>
                    <a:pt x="6870" y="2155"/>
                    <a:pt x="7001" y="2572"/>
                    <a:pt x="7037" y="2989"/>
                  </a:cubicBezTo>
                  <a:lnTo>
                    <a:pt x="6501" y="2989"/>
                  </a:lnTo>
                  <a:cubicBezTo>
                    <a:pt x="6406" y="2989"/>
                    <a:pt x="6334" y="3060"/>
                    <a:pt x="6334" y="3155"/>
                  </a:cubicBezTo>
                  <a:cubicBezTo>
                    <a:pt x="6334" y="3239"/>
                    <a:pt x="6406" y="3310"/>
                    <a:pt x="6501" y="3310"/>
                  </a:cubicBezTo>
                  <a:lnTo>
                    <a:pt x="6858" y="3310"/>
                  </a:lnTo>
                  <a:lnTo>
                    <a:pt x="6858" y="3536"/>
                  </a:lnTo>
                  <a:cubicBezTo>
                    <a:pt x="6799" y="3572"/>
                    <a:pt x="6763" y="3632"/>
                    <a:pt x="6763" y="3691"/>
                  </a:cubicBezTo>
                  <a:cubicBezTo>
                    <a:pt x="6763" y="3775"/>
                    <a:pt x="6846" y="3846"/>
                    <a:pt x="6929" y="3846"/>
                  </a:cubicBezTo>
                  <a:cubicBezTo>
                    <a:pt x="7001" y="3846"/>
                    <a:pt x="7084" y="3882"/>
                    <a:pt x="7144" y="3941"/>
                  </a:cubicBezTo>
                  <a:cubicBezTo>
                    <a:pt x="7203" y="4001"/>
                    <a:pt x="7215" y="4072"/>
                    <a:pt x="7215" y="4144"/>
                  </a:cubicBezTo>
                  <a:cubicBezTo>
                    <a:pt x="7203" y="4287"/>
                    <a:pt x="7060" y="4406"/>
                    <a:pt x="6918" y="4406"/>
                  </a:cubicBezTo>
                  <a:lnTo>
                    <a:pt x="6846" y="4406"/>
                  </a:lnTo>
                  <a:lnTo>
                    <a:pt x="6846" y="4394"/>
                  </a:lnTo>
                  <a:cubicBezTo>
                    <a:pt x="6846" y="4298"/>
                    <a:pt x="6763" y="4227"/>
                    <a:pt x="6679" y="4227"/>
                  </a:cubicBezTo>
                  <a:cubicBezTo>
                    <a:pt x="6584" y="4227"/>
                    <a:pt x="6513" y="4298"/>
                    <a:pt x="6513" y="4394"/>
                  </a:cubicBezTo>
                  <a:cubicBezTo>
                    <a:pt x="6513" y="5096"/>
                    <a:pt x="6156" y="5763"/>
                    <a:pt x="5572" y="6144"/>
                  </a:cubicBezTo>
                  <a:lnTo>
                    <a:pt x="5572" y="6108"/>
                  </a:lnTo>
                  <a:lnTo>
                    <a:pt x="5489" y="5370"/>
                  </a:lnTo>
                  <a:cubicBezTo>
                    <a:pt x="5441" y="5013"/>
                    <a:pt x="5155" y="4763"/>
                    <a:pt x="4798" y="4763"/>
                  </a:cubicBezTo>
                  <a:lnTo>
                    <a:pt x="3989" y="4763"/>
                  </a:lnTo>
                  <a:cubicBezTo>
                    <a:pt x="3631" y="4763"/>
                    <a:pt x="3334" y="5025"/>
                    <a:pt x="3298" y="5370"/>
                  </a:cubicBezTo>
                  <a:lnTo>
                    <a:pt x="3215" y="6108"/>
                  </a:lnTo>
                  <a:lnTo>
                    <a:pt x="3215" y="6144"/>
                  </a:lnTo>
                  <a:cubicBezTo>
                    <a:pt x="2977" y="5965"/>
                    <a:pt x="2774" y="5763"/>
                    <a:pt x="2619" y="5525"/>
                  </a:cubicBezTo>
                  <a:cubicBezTo>
                    <a:pt x="2393" y="5180"/>
                    <a:pt x="2274" y="4787"/>
                    <a:pt x="2274" y="4370"/>
                  </a:cubicBezTo>
                  <a:cubicBezTo>
                    <a:pt x="2274" y="4287"/>
                    <a:pt x="2203" y="4203"/>
                    <a:pt x="2107" y="4203"/>
                  </a:cubicBezTo>
                  <a:cubicBezTo>
                    <a:pt x="2024" y="4203"/>
                    <a:pt x="1941" y="4287"/>
                    <a:pt x="1941" y="4370"/>
                  </a:cubicBezTo>
                  <a:lnTo>
                    <a:pt x="1941" y="4394"/>
                  </a:lnTo>
                  <a:lnTo>
                    <a:pt x="1846" y="4394"/>
                  </a:lnTo>
                  <a:cubicBezTo>
                    <a:pt x="1762" y="4394"/>
                    <a:pt x="1691" y="4358"/>
                    <a:pt x="1631" y="4298"/>
                  </a:cubicBezTo>
                  <a:cubicBezTo>
                    <a:pt x="1572" y="4239"/>
                    <a:pt x="1560" y="4167"/>
                    <a:pt x="1560" y="4096"/>
                  </a:cubicBezTo>
                  <a:cubicBezTo>
                    <a:pt x="1572" y="3953"/>
                    <a:pt x="1703" y="3834"/>
                    <a:pt x="1857" y="3834"/>
                  </a:cubicBezTo>
                  <a:cubicBezTo>
                    <a:pt x="1941" y="3834"/>
                    <a:pt x="2024" y="3763"/>
                    <a:pt x="2024" y="3667"/>
                  </a:cubicBezTo>
                  <a:cubicBezTo>
                    <a:pt x="2024" y="3596"/>
                    <a:pt x="1976" y="3536"/>
                    <a:pt x="1905" y="3525"/>
                  </a:cubicBezTo>
                  <a:lnTo>
                    <a:pt x="1905" y="3310"/>
                  </a:lnTo>
                  <a:lnTo>
                    <a:pt x="5775" y="3310"/>
                  </a:lnTo>
                  <a:cubicBezTo>
                    <a:pt x="5858" y="3310"/>
                    <a:pt x="5929" y="3239"/>
                    <a:pt x="5929" y="3155"/>
                  </a:cubicBezTo>
                  <a:cubicBezTo>
                    <a:pt x="5929" y="3060"/>
                    <a:pt x="5858" y="2989"/>
                    <a:pt x="5775" y="2989"/>
                  </a:cubicBezTo>
                  <a:lnTo>
                    <a:pt x="1726" y="2989"/>
                  </a:lnTo>
                  <a:cubicBezTo>
                    <a:pt x="1750" y="2572"/>
                    <a:pt x="1869" y="2155"/>
                    <a:pt x="2096" y="1798"/>
                  </a:cubicBezTo>
                  <a:lnTo>
                    <a:pt x="2096" y="2274"/>
                  </a:lnTo>
                  <a:cubicBezTo>
                    <a:pt x="2096" y="2465"/>
                    <a:pt x="2238" y="2620"/>
                    <a:pt x="2441" y="2620"/>
                  </a:cubicBezTo>
                  <a:lnTo>
                    <a:pt x="2798" y="2620"/>
                  </a:lnTo>
                  <a:cubicBezTo>
                    <a:pt x="2989" y="2620"/>
                    <a:pt x="3131" y="2465"/>
                    <a:pt x="3131" y="2274"/>
                  </a:cubicBezTo>
                  <a:lnTo>
                    <a:pt x="3131" y="822"/>
                  </a:lnTo>
                  <a:cubicBezTo>
                    <a:pt x="3310" y="727"/>
                    <a:pt x="3489" y="655"/>
                    <a:pt x="3691" y="596"/>
                  </a:cubicBezTo>
                  <a:lnTo>
                    <a:pt x="3691" y="2274"/>
                  </a:lnTo>
                  <a:cubicBezTo>
                    <a:pt x="3691" y="2465"/>
                    <a:pt x="3834" y="2620"/>
                    <a:pt x="4024" y="2620"/>
                  </a:cubicBezTo>
                  <a:lnTo>
                    <a:pt x="4727" y="2620"/>
                  </a:lnTo>
                  <a:cubicBezTo>
                    <a:pt x="4917" y="2620"/>
                    <a:pt x="5072" y="2465"/>
                    <a:pt x="5072" y="2274"/>
                  </a:cubicBezTo>
                  <a:lnTo>
                    <a:pt x="5072" y="596"/>
                  </a:lnTo>
                  <a:close/>
                  <a:moveTo>
                    <a:pt x="4822" y="5072"/>
                  </a:moveTo>
                  <a:cubicBezTo>
                    <a:pt x="5001" y="5072"/>
                    <a:pt x="5155" y="5203"/>
                    <a:pt x="5179" y="5406"/>
                  </a:cubicBezTo>
                  <a:lnTo>
                    <a:pt x="5263" y="6144"/>
                  </a:lnTo>
                  <a:cubicBezTo>
                    <a:pt x="5263" y="6275"/>
                    <a:pt x="5191" y="6430"/>
                    <a:pt x="5060" y="6501"/>
                  </a:cubicBezTo>
                  <a:lnTo>
                    <a:pt x="4560" y="6739"/>
                  </a:lnTo>
                  <a:cubicBezTo>
                    <a:pt x="4513" y="6763"/>
                    <a:pt x="4459" y="6775"/>
                    <a:pt x="4404" y="6775"/>
                  </a:cubicBezTo>
                  <a:cubicBezTo>
                    <a:pt x="4349" y="6775"/>
                    <a:pt x="4292" y="6763"/>
                    <a:pt x="4239" y="6739"/>
                  </a:cubicBezTo>
                  <a:lnTo>
                    <a:pt x="3751" y="6501"/>
                  </a:lnTo>
                  <a:cubicBezTo>
                    <a:pt x="3608" y="6430"/>
                    <a:pt x="3536" y="6299"/>
                    <a:pt x="3548" y="6144"/>
                  </a:cubicBezTo>
                  <a:lnTo>
                    <a:pt x="3643" y="5406"/>
                  </a:lnTo>
                  <a:cubicBezTo>
                    <a:pt x="3655" y="5227"/>
                    <a:pt x="3822" y="5072"/>
                    <a:pt x="4001" y="5072"/>
                  </a:cubicBezTo>
                  <a:close/>
                  <a:moveTo>
                    <a:pt x="5489" y="6561"/>
                  </a:moveTo>
                  <a:lnTo>
                    <a:pt x="5489" y="7120"/>
                  </a:lnTo>
                  <a:cubicBezTo>
                    <a:pt x="5489" y="7370"/>
                    <a:pt x="5620" y="7608"/>
                    <a:pt x="5822" y="7716"/>
                  </a:cubicBezTo>
                  <a:cubicBezTo>
                    <a:pt x="5465" y="8168"/>
                    <a:pt x="4953" y="8418"/>
                    <a:pt x="4405" y="8418"/>
                  </a:cubicBezTo>
                  <a:cubicBezTo>
                    <a:pt x="3846" y="8418"/>
                    <a:pt x="3334" y="8168"/>
                    <a:pt x="3000" y="7739"/>
                  </a:cubicBezTo>
                  <a:cubicBezTo>
                    <a:pt x="3215" y="7620"/>
                    <a:pt x="3346" y="7394"/>
                    <a:pt x="3346" y="7144"/>
                  </a:cubicBezTo>
                  <a:lnTo>
                    <a:pt x="3346" y="6573"/>
                  </a:lnTo>
                  <a:lnTo>
                    <a:pt x="3370" y="6573"/>
                  </a:lnTo>
                  <a:cubicBezTo>
                    <a:pt x="3429" y="6668"/>
                    <a:pt x="3524" y="6727"/>
                    <a:pt x="3608" y="6787"/>
                  </a:cubicBezTo>
                  <a:lnTo>
                    <a:pt x="4096" y="7025"/>
                  </a:lnTo>
                  <a:cubicBezTo>
                    <a:pt x="4203" y="7073"/>
                    <a:pt x="4310" y="7096"/>
                    <a:pt x="4417" y="7096"/>
                  </a:cubicBezTo>
                  <a:cubicBezTo>
                    <a:pt x="4513" y="7096"/>
                    <a:pt x="4620" y="7073"/>
                    <a:pt x="4727" y="7025"/>
                  </a:cubicBezTo>
                  <a:lnTo>
                    <a:pt x="5215" y="6787"/>
                  </a:lnTo>
                  <a:cubicBezTo>
                    <a:pt x="5322" y="6739"/>
                    <a:pt x="5394" y="6668"/>
                    <a:pt x="5453" y="6573"/>
                  </a:cubicBezTo>
                  <a:cubicBezTo>
                    <a:pt x="5465" y="6573"/>
                    <a:pt x="5465" y="6573"/>
                    <a:pt x="5489" y="6561"/>
                  </a:cubicBezTo>
                  <a:close/>
                  <a:moveTo>
                    <a:pt x="2298" y="7966"/>
                  </a:moveTo>
                  <a:lnTo>
                    <a:pt x="2298" y="9299"/>
                  </a:lnTo>
                  <a:lnTo>
                    <a:pt x="2107" y="9299"/>
                  </a:lnTo>
                  <a:cubicBezTo>
                    <a:pt x="1976" y="9299"/>
                    <a:pt x="1857" y="9347"/>
                    <a:pt x="1750" y="9406"/>
                  </a:cubicBezTo>
                  <a:lnTo>
                    <a:pt x="1750" y="8120"/>
                  </a:lnTo>
                  <a:lnTo>
                    <a:pt x="2298" y="7966"/>
                  </a:lnTo>
                  <a:close/>
                  <a:moveTo>
                    <a:pt x="6501" y="7966"/>
                  </a:moveTo>
                  <a:lnTo>
                    <a:pt x="7049" y="8120"/>
                  </a:lnTo>
                  <a:lnTo>
                    <a:pt x="7049" y="9406"/>
                  </a:lnTo>
                  <a:cubicBezTo>
                    <a:pt x="6941" y="9347"/>
                    <a:pt x="6822" y="9299"/>
                    <a:pt x="6691" y="9299"/>
                  </a:cubicBezTo>
                  <a:lnTo>
                    <a:pt x="6501" y="9299"/>
                  </a:lnTo>
                  <a:lnTo>
                    <a:pt x="6501" y="7966"/>
                  </a:lnTo>
                  <a:close/>
                  <a:moveTo>
                    <a:pt x="4048" y="0"/>
                  </a:moveTo>
                  <a:cubicBezTo>
                    <a:pt x="3881" y="0"/>
                    <a:pt x="3762" y="96"/>
                    <a:pt x="3715" y="250"/>
                  </a:cubicBezTo>
                  <a:cubicBezTo>
                    <a:pt x="3477" y="310"/>
                    <a:pt x="3239" y="381"/>
                    <a:pt x="3036" y="500"/>
                  </a:cubicBezTo>
                  <a:cubicBezTo>
                    <a:pt x="3012" y="500"/>
                    <a:pt x="3012" y="488"/>
                    <a:pt x="3000" y="488"/>
                  </a:cubicBezTo>
                  <a:cubicBezTo>
                    <a:pt x="2965" y="468"/>
                    <a:pt x="2922" y="456"/>
                    <a:pt x="2878" y="456"/>
                  </a:cubicBezTo>
                  <a:cubicBezTo>
                    <a:pt x="2819" y="456"/>
                    <a:pt x="2757" y="477"/>
                    <a:pt x="2703" y="524"/>
                  </a:cubicBezTo>
                  <a:lnTo>
                    <a:pt x="2322" y="798"/>
                  </a:lnTo>
                  <a:cubicBezTo>
                    <a:pt x="2179" y="905"/>
                    <a:pt x="2107" y="1060"/>
                    <a:pt x="2107" y="1215"/>
                  </a:cubicBezTo>
                  <a:lnTo>
                    <a:pt x="2107" y="1227"/>
                  </a:lnTo>
                  <a:cubicBezTo>
                    <a:pt x="1691" y="1727"/>
                    <a:pt x="1453" y="2346"/>
                    <a:pt x="1405" y="2989"/>
                  </a:cubicBezTo>
                  <a:lnTo>
                    <a:pt x="1214" y="2989"/>
                  </a:lnTo>
                  <a:cubicBezTo>
                    <a:pt x="1131" y="2989"/>
                    <a:pt x="1048" y="3060"/>
                    <a:pt x="1048" y="3155"/>
                  </a:cubicBezTo>
                  <a:cubicBezTo>
                    <a:pt x="1048" y="3239"/>
                    <a:pt x="1131" y="3310"/>
                    <a:pt x="1214" y="3310"/>
                  </a:cubicBezTo>
                  <a:lnTo>
                    <a:pt x="1572" y="3310"/>
                  </a:lnTo>
                  <a:lnTo>
                    <a:pt x="1572" y="3584"/>
                  </a:lnTo>
                  <a:cubicBezTo>
                    <a:pt x="1381" y="3667"/>
                    <a:pt x="1250" y="3846"/>
                    <a:pt x="1226" y="4060"/>
                  </a:cubicBezTo>
                  <a:cubicBezTo>
                    <a:pt x="1214" y="4227"/>
                    <a:pt x="1274" y="4406"/>
                    <a:pt x="1381" y="4525"/>
                  </a:cubicBezTo>
                  <a:cubicBezTo>
                    <a:pt x="1500" y="4644"/>
                    <a:pt x="1667" y="4715"/>
                    <a:pt x="1822" y="4715"/>
                  </a:cubicBezTo>
                  <a:lnTo>
                    <a:pt x="1941" y="4715"/>
                  </a:lnTo>
                  <a:cubicBezTo>
                    <a:pt x="1988" y="5060"/>
                    <a:pt x="2119" y="5394"/>
                    <a:pt x="2298" y="5691"/>
                  </a:cubicBezTo>
                  <a:cubicBezTo>
                    <a:pt x="2477" y="5965"/>
                    <a:pt x="2703" y="6203"/>
                    <a:pt x="2977" y="6382"/>
                  </a:cubicBezTo>
                  <a:lnTo>
                    <a:pt x="2977" y="7144"/>
                  </a:lnTo>
                  <a:cubicBezTo>
                    <a:pt x="2977" y="7311"/>
                    <a:pt x="2869" y="7442"/>
                    <a:pt x="2715" y="7477"/>
                  </a:cubicBezTo>
                  <a:lnTo>
                    <a:pt x="869" y="8037"/>
                  </a:lnTo>
                  <a:cubicBezTo>
                    <a:pt x="357" y="8180"/>
                    <a:pt x="0" y="8656"/>
                    <a:pt x="0" y="9192"/>
                  </a:cubicBezTo>
                  <a:lnTo>
                    <a:pt x="0" y="11037"/>
                  </a:lnTo>
                  <a:cubicBezTo>
                    <a:pt x="0" y="11133"/>
                    <a:pt x="71" y="11204"/>
                    <a:pt x="155" y="11204"/>
                  </a:cubicBezTo>
                  <a:cubicBezTo>
                    <a:pt x="250" y="11204"/>
                    <a:pt x="322" y="11133"/>
                    <a:pt x="322" y="11037"/>
                  </a:cubicBezTo>
                  <a:lnTo>
                    <a:pt x="322" y="9192"/>
                  </a:lnTo>
                  <a:cubicBezTo>
                    <a:pt x="322" y="8811"/>
                    <a:pt x="595" y="8454"/>
                    <a:pt x="964" y="8347"/>
                  </a:cubicBezTo>
                  <a:lnTo>
                    <a:pt x="1393" y="8216"/>
                  </a:lnTo>
                  <a:lnTo>
                    <a:pt x="1393" y="11037"/>
                  </a:lnTo>
                  <a:cubicBezTo>
                    <a:pt x="1393" y="11133"/>
                    <a:pt x="1465" y="11204"/>
                    <a:pt x="1560" y="11204"/>
                  </a:cubicBezTo>
                  <a:cubicBezTo>
                    <a:pt x="1643" y="11204"/>
                    <a:pt x="1715" y="11133"/>
                    <a:pt x="1715" y="11037"/>
                  </a:cubicBezTo>
                  <a:lnTo>
                    <a:pt x="1715" y="9978"/>
                  </a:lnTo>
                  <a:cubicBezTo>
                    <a:pt x="1715" y="9787"/>
                    <a:pt x="1881" y="9621"/>
                    <a:pt x="2084" y="9621"/>
                  </a:cubicBezTo>
                  <a:lnTo>
                    <a:pt x="2774" y="9621"/>
                  </a:lnTo>
                  <a:cubicBezTo>
                    <a:pt x="2869" y="9621"/>
                    <a:pt x="2941" y="9549"/>
                    <a:pt x="2941" y="9466"/>
                  </a:cubicBezTo>
                  <a:cubicBezTo>
                    <a:pt x="2941" y="9371"/>
                    <a:pt x="2869" y="9299"/>
                    <a:pt x="2774" y="9299"/>
                  </a:cubicBezTo>
                  <a:lnTo>
                    <a:pt x="2584" y="9299"/>
                  </a:lnTo>
                  <a:lnTo>
                    <a:pt x="2584" y="7858"/>
                  </a:lnTo>
                  <a:lnTo>
                    <a:pt x="2631" y="7835"/>
                  </a:lnTo>
                  <a:cubicBezTo>
                    <a:pt x="3012" y="8406"/>
                    <a:pt x="3655" y="8751"/>
                    <a:pt x="4358" y="8751"/>
                  </a:cubicBezTo>
                  <a:cubicBezTo>
                    <a:pt x="5060" y="8751"/>
                    <a:pt x="5679" y="8406"/>
                    <a:pt x="6084" y="7835"/>
                  </a:cubicBezTo>
                  <a:lnTo>
                    <a:pt x="6120" y="7858"/>
                  </a:lnTo>
                  <a:lnTo>
                    <a:pt x="6120" y="9299"/>
                  </a:lnTo>
                  <a:lnTo>
                    <a:pt x="3477" y="9299"/>
                  </a:lnTo>
                  <a:cubicBezTo>
                    <a:pt x="3381" y="9299"/>
                    <a:pt x="3310" y="9371"/>
                    <a:pt x="3310" y="9466"/>
                  </a:cubicBezTo>
                  <a:cubicBezTo>
                    <a:pt x="3310" y="9549"/>
                    <a:pt x="3381" y="9621"/>
                    <a:pt x="3477" y="9621"/>
                  </a:cubicBezTo>
                  <a:lnTo>
                    <a:pt x="6632" y="9621"/>
                  </a:lnTo>
                  <a:cubicBezTo>
                    <a:pt x="6822" y="9621"/>
                    <a:pt x="6989" y="9787"/>
                    <a:pt x="6989" y="9978"/>
                  </a:cubicBezTo>
                  <a:lnTo>
                    <a:pt x="6989" y="11037"/>
                  </a:lnTo>
                  <a:cubicBezTo>
                    <a:pt x="6989" y="11133"/>
                    <a:pt x="7060" y="11204"/>
                    <a:pt x="7156" y="11204"/>
                  </a:cubicBezTo>
                  <a:cubicBezTo>
                    <a:pt x="7239" y="11204"/>
                    <a:pt x="7310" y="11133"/>
                    <a:pt x="7310" y="11037"/>
                  </a:cubicBezTo>
                  <a:lnTo>
                    <a:pt x="7310" y="8216"/>
                  </a:lnTo>
                  <a:lnTo>
                    <a:pt x="7751" y="8347"/>
                  </a:lnTo>
                  <a:cubicBezTo>
                    <a:pt x="8120" y="8454"/>
                    <a:pt x="8382" y="8811"/>
                    <a:pt x="8382" y="9192"/>
                  </a:cubicBezTo>
                  <a:lnTo>
                    <a:pt x="8382" y="11037"/>
                  </a:lnTo>
                  <a:cubicBezTo>
                    <a:pt x="8382" y="11133"/>
                    <a:pt x="8465" y="11204"/>
                    <a:pt x="8549" y="11204"/>
                  </a:cubicBezTo>
                  <a:cubicBezTo>
                    <a:pt x="8644" y="11204"/>
                    <a:pt x="8715" y="11133"/>
                    <a:pt x="8715" y="11037"/>
                  </a:cubicBezTo>
                  <a:lnTo>
                    <a:pt x="8715" y="9192"/>
                  </a:lnTo>
                  <a:cubicBezTo>
                    <a:pt x="8775" y="8656"/>
                    <a:pt x="8418" y="8180"/>
                    <a:pt x="7894" y="8037"/>
                  </a:cubicBezTo>
                  <a:lnTo>
                    <a:pt x="6048" y="7489"/>
                  </a:lnTo>
                  <a:cubicBezTo>
                    <a:pt x="5906" y="7442"/>
                    <a:pt x="5798" y="7287"/>
                    <a:pt x="5798" y="7144"/>
                  </a:cubicBezTo>
                  <a:lnTo>
                    <a:pt x="5798" y="6382"/>
                  </a:lnTo>
                  <a:cubicBezTo>
                    <a:pt x="6358" y="6001"/>
                    <a:pt x="6739" y="5382"/>
                    <a:pt x="6822" y="4715"/>
                  </a:cubicBezTo>
                  <a:lnTo>
                    <a:pt x="6929" y="4715"/>
                  </a:lnTo>
                  <a:cubicBezTo>
                    <a:pt x="7263" y="4715"/>
                    <a:pt x="7525" y="4477"/>
                    <a:pt x="7561" y="4179"/>
                  </a:cubicBezTo>
                  <a:cubicBezTo>
                    <a:pt x="7572" y="4013"/>
                    <a:pt x="7513" y="3834"/>
                    <a:pt x="7406" y="3715"/>
                  </a:cubicBezTo>
                  <a:cubicBezTo>
                    <a:pt x="7346" y="3656"/>
                    <a:pt x="7287" y="3608"/>
                    <a:pt x="7215" y="3572"/>
                  </a:cubicBezTo>
                  <a:lnTo>
                    <a:pt x="7215" y="3310"/>
                  </a:lnTo>
                  <a:lnTo>
                    <a:pt x="7572" y="3310"/>
                  </a:lnTo>
                  <a:cubicBezTo>
                    <a:pt x="7656" y="3310"/>
                    <a:pt x="7739" y="3239"/>
                    <a:pt x="7739" y="3155"/>
                  </a:cubicBezTo>
                  <a:cubicBezTo>
                    <a:pt x="7739" y="3060"/>
                    <a:pt x="7656" y="2989"/>
                    <a:pt x="7572" y="2989"/>
                  </a:cubicBezTo>
                  <a:lnTo>
                    <a:pt x="7382" y="2989"/>
                  </a:lnTo>
                  <a:cubicBezTo>
                    <a:pt x="7346" y="2346"/>
                    <a:pt x="7096" y="1727"/>
                    <a:pt x="6679" y="1227"/>
                  </a:cubicBezTo>
                  <a:lnTo>
                    <a:pt x="6679" y="1215"/>
                  </a:lnTo>
                  <a:cubicBezTo>
                    <a:pt x="6679" y="1048"/>
                    <a:pt x="6608" y="905"/>
                    <a:pt x="6465" y="798"/>
                  </a:cubicBezTo>
                  <a:lnTo>
                    <a:pt x="6084" y="524"/>
                  </a:lnTo>
                  <a:cubicBezTo>
                    <a:pt x="6024" y="487"/>
                    <a:pt x="5964" y="463"/>
                    <a:pt x="5900" y="463"/>
                  </a:cubicBezTo>
                  <a:cubicBezTo>
                    <a:pt x="5864" y="463"/>
                    <a:pt x="5826" y="471"/>
                    <a:pt x="5786" y="488"/>
                  </a:cubicBezTo>
                  <a:cubicBezTo>
                    <a:pt x="5775" y="488"/>
                    <a:pt x="5775" y="500"/>
                    <a:pt x="5751" y="500"/>
                  </a:cubicBezTo>
                  <a:cubicBezTo>
                    <a:pt x="5536" y="381"/>
                    <a:pt x="5310" y="310"/>
                    <a:pt x="5072" y="250"/>
                  </a:cubicBezTo>
                  <a:cubicBezTo>
                    <a:pt x="5024" y="96"/>
                    <a:pt x="4905" y="0"/>
                    <a:pt x="4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9" name="Google Shape;11559;p61"/>
            <p:cNvSpPr/>
            <p:nvPr/>
          </p:nvSpPr>
          <p:spPr>
            <a:xfrm>
              <a:off x="5420533" y="4102440"/>
              <a:ext cx="10581" cy="1020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22"/>
                    <a:pt x="167" y="322"/>
                  </a:cubicBezTo>
                  <a:cubicBezTo>
                    <a:pt x="262" y="322"/>
                    <a:pt x="334" y="251"/>
                    <a:pt x="334" y="167"/>
                  </a:cubicBez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0" name="Google Shape;11560;p61"/>
            <p:cNvSpPr/>
            <p:nvPr/>
          </p:nvSpPr>
          <p:spPr>
            <a:xfrm>
              <a:off x="5554064" y="4102440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61" name="Google Shape;11561;p61"/>
          <p:cNvGrpSpPr/>
          <p:nvPr/>
        </p:nvGrpSpPr>
        <p:grpSpPr>
          <a:xfrm>
            <a:off x="4896229" y="3785989"/>
            <a:ext cx="278784" cy="354594"/>
            <a:chOff x="4896229" y="3785989"/>
            <a:chExt cx="278784" cy="354594"/>
          </a:xfrm>
        </p:grpSpPr>
        <p:sp>
          <p:nvSpPr>
            <p:cNvPr id="11562" name="Google Shape;11562;p61"/>
            <p:cNvSpPr/>
            <p:nvPr/>
          </p:nvSpPr>
          <p:spPr>
            <a:xfrm>
              <a:off x="4896229" y="3785989"/>
              <a:ext cx="278784" cy="354594"/>
            </a:xfrm>
            <a:custGeom>
              <a:avLst/>
              <a:gdLst/>
              <a:ahLst/>
              <a:cxnLst/>
              <a:rect l="l" t="t" r="r" b="b"/>
              <a:pathLst>
                <a:path w="8800" h="11193" extrusionOk="0">
                  <a:moveTo>
                    <a:pt x="4418" y="488"/>
                  </a:moveTo>
                  <a:lnTo>
                    <a:pt x="4763" y="1536"/>
                  </a:lnTo>
                  <a:lnTo>
                    <a:pt x="4442" y="2072"/>
                  </a:lnTo>
                  <a:cubicBezTo>
                    <a:pt x="4442" y="2072"/>
                    <a:pt x="4442" y="2084"/>
                    <a:pt x="4418" y="2084"/>
                  </a:cubicBezTo>
                  <a:cubicBezTo>
                    <a:pt x="4406" y="2084"/>
                    <a:pt x="4406" y="2084"/>
                    <a:pt x="4406" y="2072"/>
                  </a:cubicBezTo>
                  <a:lnTo>
                    <a:pt x="4085" y="1536"/>
                  </a:lnTo>
                  <a:lnTo>
                    <a:pt x="4418" y="488"/>
                  </a:lnTo>
                  <a:close/>
                  <a:moveTo>
                    <a:pt x="5049" y="1703"/>
                  </a:moveTo>
                  <a:cubicBezTo>
                    <a:pt x="6120" y="1977"/>
                    <a:pt x="6882" y="2965"/>
                    <a:pt x="6882" y="4084"/>
                  </a:cubicBezTo>
                  <a:lnTo>
                    <a:pt x="6882" y="4465"/>
                  </a:lnTo>
                  <a:cubicBezTo>
                    <a:pt x="6823" y="4501"/>
                    <a:pt x="6787" y="4560"/>
                    <a:pt x="6787" y="4620"/>
                  </a:cubicBezTo>
                  <a:cubicBezTo>
                    <a:pt x="6787" y="4703"/>
                    <a:pt x="6871" y="4775"/>
                    <a:pt x="6954" y="4775"/>
                  </a:cubicBezTo>
                  <a:cubicBezTo>
                    <a:pt x="7025" y="4775"/>
                    <a:pt x="7097" y="4810"/>
                    <a:pt x="7168" y="4870"/>
                  </a:cubicBezTo>
                  <a:cubicBezTo>
                    <a:pt x="7228" y="4929"/>
                    <a:pt x="7240" y="5001"/>
                    <a:pt x="7240" y="5072"/>
                  </a:cubicBezTo>
                  <a:cubicBezTo>
                    <a:pt x="7228" y="5215"/>
                    <a:pt x="7085" y="5334"/>
                    <a:pt x="6942" y="5334"/>
                  </a:cubicBezTo>
                  <a:lnTo>
                    <a:pt x="6871" y="5334"/>
                  </a:lnTo>
                  <a:lnTo>
                    <a:pt x="6871" y="5310"/>
                  </a:lnTo>
                  <a:cubicBezTo>
                    <a:pt x="6871" y="5227"/>
                    <a:pt x="6787" y="5156"/>
                    <a:pt x="6704" y="5156"/>
                  </a:cubicBezTo>
                  <a:cubicBezTo>
                    <a:pt x="6609" y="5156"/>
                    <a:pt x="6537" y="5227"/>
                    <a:pt x="6537" y="5310"/>
                  </a:cubicBezTo>
                  <a:cubicBezTo>
                    <a:pt x="6537" y="6477"/>
                    <a:pt x="5585" y="7430"/>
                    <a:pt x="4430" y="7430"/>
                  </a:cubicBezTo>
                  <a:cubicBezTo>
                    <a:pt x="3263" y="7418"/>
                    <a:pt x="2310" y="6465"/>
                    <a:pt x="2310" y="5298"/>
                  </a:cubicBezTo>
                  <a:cubicBezTo>
                    <a:pt x="2310" y="5215"/>
                    <a:pt x="2239" y="5132"/>
                    <a:pt x="2144" y="5132"/>
                  </a:cubicBezTo>
                  <a:cubicBezTo>
                    <a:pt x="2060" y="5132"/>
                    <a:pt x="1989" y="5215"/>
                    <a:pt x="1989" y="5298"/>
                  </a:cubicBezTo>
                  <a:lnTo>
                    <a:pt x="1989" y="5310"/>
                  </a:lnTo>
                  <a:lnTo>
                    <a:pt x="1882" y="5310"/>
                  </a:lnTo>
                  <a:cubicBezTo>
                    <a:pt x="1810" y="5310"/>
                    <a:pt x="1727" y="5287"/>
                    <a:pt x="1668" y="5227"/>
                  </a:cubicBezTo>
                  <a:cubicBezTo>
                    <a:pt x="1608" y="5168"/>
                    <a:pt x="1596" y="5096"/>
                    <a:pt x="1596" y="5013"/>
                  </a:cubicBezTo>
                  <a:cubicBezTo>
                    <a:pt x="1608" y="4882"/>
                    <a:pt x="1751" y="4763"/>
                    <a:pt x="1894" y="4763"/>
                  </a:cubicBezTo>
                  <a:cubicBezTo>
                    <a:pt x="1989" y="4763"/>
                    <a:pt x="2060" y="4691"/>
                    <a:pt x="2060" y="4596"/>
                  </a:cubicBezTo>
                  <a:cubicBezTo>
                    <a:pt x="2060" y="4525"/>
                    <a:pt x="2013" y="4465"/>
                    <a:pt x="1941" y="4453"/>
                  </a:cubicBezTo>
                  <a:lnTo>
                    <a:pt x="1941" y="4084"/>
                  </a:lnTo>
                  <a:cubicBezTo>
                    <a:pt x="1941" y="2965"/>
                    <a:pt x="2703" y="1977"/>
                    <a:pt x="3775" y="1703"/>
                  </a:cubicBezTo>
                  <a:lnTo>
                    <a:pt x="4108" y="2250"/>
                  </a:lnTo>
                  <a:cubicBezTo>
                    <a:pt x="4168" y="2358"/>
                    <a:pt x="4287" y="2417"/>
                    <a:pt x="4406" y="2417"/>
                  </a:cubicBezTo>
                  <a:cubicBezTo>
                    <a:pt x="4525" y="2417"/>
                    <a:pt x="4644" y="2358"/>
                    <a:pt x="4704" y="2250"/>
                  </a:cubicBezTo>
                  <a:lnTo>
                    <a:pt x="5049" y="1703"/>
                  </a:lnTo>
                  <a:close/>
                  <a:moveTo>
                    <a:pt x="3025" y="7846"/>
                  </a:moveTo>
                  <a:lnTo>
                    <a:pt x="3025" y="7858"/>
                  </a:lnTo>
                  <a:lnTo>
                    <a:pt x="3025" y="8168"/>
                  </a:lnTo>
                  <a:cubicBezTo>
                    <a:pt x="3025" y="8323"/>
                    <a:pt x="2942" y="8454"/>
                    <a:pt x="2787" y="8513"/>
                  </a:cubicBezTo>
                  <a:lnTo>
                    <a:pt x="2418" y="8263"/>
                  </a:lnTo>
                  <a:cubicBezTo>
                    <a:pt x="2310" y="8192"/>
                    <a:pt x="2299" y="8085"/>
                    <a:pt x="2322" y="8001"/>
                  </a:cubicBezTo>
                  <a:cubicBezTo>
                    <a:pt x="2358" y="7930"/>
                    <a:pt x="2418" y="7846"/>
                    <a:pt x="2537" y="7846"/>
                  </a:cubicBezTo>
                  <a:close/>
                  <a:moveTo>
                    <a:pt x="6311" y="7870"/>
                  </a:moveTo>
                  <a:cubicBezTo>
                    <a:pt x="6430" y="7870"/>
                    <a:pt x="6501" y="7954"/>
                    <a:pt x="6525" y="8037"/>
                  </a:cubicBezTo>
                  <a:cubicBezTo>
                    <a:pt x="6549" y="8108"/>
                    <a:pt x="6537" y="8216"/>
                    <a:pt x="6430" y="8287"/>
                  </a:cubicBezTo>
                  <a:lnTo>
                    <a:pt x="6061" y="8549"/>
                  </a:lnTo>
                  <a:cubicBezTo>
                    <a:pt x="5906" y="8466"/>
                    <a:pt x="5823" y="8335"/>
                    <a:pt x="5823" y="8192"/>
                  </a:cubicBezTo>
                  <a:lnTo>
                    <a:pt x="5823" y="7870"/>
                  </a:lnTo>
                  <a:close/>
                  <a:moveTo>
                    <a:pt x="6406" y="7334"/>
                  </a:moveTo>
                  <a:cubicBezTo>
                    <a:pt x="6894" y="7334"/>
                    <a:pt x="7299" y="7739"/>
                    <a:pt x="7299" y="8227"/>
                  </a:cubicBezTo>
                  <a:cubicBezTo>
                    <a:pt x="7240" y="9049"/>
                    <a:pt x="6716" y="9763"/>
                    <a:pt x="5990" y="10049"/>
                  </a:cubicBezTo>
                  <a:lnTo>
                    <a:pt x="5990" y="9990"/>
                  </a:lnTo>
                  <a:cubicBezTo>
                    <a:pt x="5990" y="9894"/>
                    <a:pt x="5906" y="9823"/>
                    <a:pt x="5823" y="9823"/>
                  </a:cubicBezTo>
                  <a:cubicBezTo>
                    <a:pt x="5739" y="9823"/>
                    <a:pt x="5656" y="9894"/>
                    <a:pt x="5656" y="9990"/>
                  </a:cubicBezTo>
                  <a:lnTo>
                    <a:pt x="5656" y="10132"/>
                  </a:lnTo>
                  <a:cubicBezTo>
                    <a:pt x="5537" y="10156"/>
                    <a:pt x="5418" y="10168"/>
                    <a:pt x="5299" y="10168"/>
                  </a:cubicBezTo>
                  <a:lnTo>
                    <a:pt x="3549" y="10168"/>
                  </a:lnTo>
                  <a:cubicBezTo>
                    <a:pt x="3430" y="10168"/>
                    <a:pt x="3311" y="10156"/>
                    <a:pt x="3192" y="10132"/>
                  </a:cubicBezTo>
                  <a:lnTo>
                    <a:pt x="3192" y="9990"/>
                  </a:lnTo>
                  <a:cubicBezTo>
                    <a:pt x="3192" y="9894"/>
                    <a:pt x="3120" y="9823"/>
                    <a:pt x="3025" y="9823"/>
                  </a:cubicBezTo>
                  <a:cubicBezTo>
                    <a:pt x="2942" y="9823"/>
                    <a:pt x="2858" y="9894"/>
                    <a:pt x="2858" y="9990"/>
                  </a:cubicBezTo>
                  <a:lnTo>
                    <a:pt x="2858" y="10049"/>
                  </a:lnTo>
                  <a:cubicBezTo>
                    <a:pt x="2132" y="9763"/>
                    <a:pt x="1608" y="9061"/>
                    <a:pt x="1608" y="8227"/>
                  </a:cubicBezTo>
                  <a:cubicBezTo>
                    <a:pt x="1608" y="7739"/>
                    <a:pt x="2013" y="7334"/>
                    <a:pt x="2501" y="7334"/>
                  </a:cubicBezTo>
                  <a:lnTo>
                    <a:pt x="3037" y="7334"/>
                  </a:lnTo>
                  <a:lnTo>
                    <a:pt x="3037" y="7358"/>
                  </a:lnTo>
                  <a:lnTo>
                    <a:pt x="3037" y="7549"/>
                  </a:lnTo>
                  <a:lnTo>
                    <a:pt x="2549" y="7549"/>
                  </a:lnTo>
                  <a:cubicBezTo>
                    <a:pt x="2299" y="7549"/>
                    <a:pt x="2084" y="7692"/>
                    <a:pt x="2025" y="7930"/>
                  </a:cubicBezTo>
                  <a:cubicBezTo>
                    <a:pt x="1953" y="8168"/>
                    <a:pt x="2037" y="8406"/>
                    <a:pt x="2251" y="8549"/>
                  </a:cubicBezTo>
                  <a:lnTo>
                    <a:pt x="4156" y="9811"/>
                  </a:lnTo>
                  <a:cubicBezTo>
                    <a:pt x="4239" y="9870"/>
                    <a:pt x="4346" y="9894"/>
                    <a:pt x="4442" y="9894"/>
                  </a:cubicBezTo>
                  <a:cubicBezTo>
                    <a:pt x="4525" y="9894"/>
                    <a:pt x="4632" y="9870"/>
                    <a:pt x="4727" y="9811"/>
                  </a:cubicBezTo>
                  <a:lnTo>
                    <a:pt x="5228" y="9466"/>
                  </a:lnTo>
                  <a:cubicBezTo>
                    <a:pt x="5299" y="9418"/>
                    <a:pt x="5323" y="9323"/>
                    <a:pt x="5275" y="9239"/>
                  </a:cubicBezTo>
                  <a:cubicBezTo>
                    <a:pt x="5247" y="9197"/>
                    <a:pt x="5197" y="9175"/>
                    <a:pt x="5146" y="9175"/>
                  </a:cubicBezTo>
                  <a:cubicBezTo>
                    <a:pt x="5112" y="9175"/>
                    <a:pt x="5077" y="9185"/>
                    <a:pt x="5049" y="9204"/>
                  </a:cubicBezTo>
                  <a:lnTo>
                    <a:pt x="4549" y="9537"/>
                  </a:lnTo>
                  <a:cubicBezTo>
                    <a:pt x="4519" y="9561"/>
                    <a:pt x="4480" y="9573"/>
                    <a:pt x="4442" y="9573"/>
                  </a:cubicBezTo>
                  <a:cubicBezTo>
                    <a:pt x="4403" y="9573"/>
                    <a:pt x="4364" y="9561"/>
                    <a:pt x="4335" y="9537"/>
                  </a:cubicBezTo>
                  <a:lnTo>
                    <a:pt x="3120" y="8727"/>
                  </a:lnTo>
                  <a:cubicBezTo>
                    <a:pt x="3275" y="8585"/>
                    <a:pt x="3382" y="8394"/>
                    <a:pt x="3382" y="8192"/>
                  </a:cubicBezTo>
                  <a:lnTo>
                    <a:pt x="3382" y="7501"/>
                  </a:lnTo>
                  <a:cubicBezTo>
                    <a:pt x="3715" y="7668"/>
                    <a:pt x="4061" y="7739"/>
                    <a:pt x="4454" y="7739"/>
                  </a:cubicBezTo>
                  <a:cubicBezTo>
                    <a:pt x="4835" y="7739"/>
                    <a:pt x="5204" y="7656"/>
                    <a:pt x="5525" y="7501"/>
                  </a:cubicBezTo>
                  <a:lnTo>
                    <a:pt x="5525" y="8192"/>
                  </a:lnTo>
                  <a:cubicBezTo>
                    <a:pt x="5525" y="8394"/>
                    <a:pt x="5632" y="8597"/>
                    <a:pt x="5799" y="8727"/>
                  </a:cubicBezTo>
                  <a:lnTo>
                    <a:pt x="5692" y="8799"/>
                  </a:lnTo>
                  <a:cubicBezTo>
                    <a:pt x="5609" y="8847"/>
                    <a:pt x="5597" y="8942"/>
                    <a:pt x="5644" y="9025"/>
                  </a:cubicBezTo>
                  <a:cubicBezTo>
                    <a:pt x="5680" y="9061"/>
                    <a:pt x="5728" y="9097"/>
                    <a:pt x="5775" y="9097"/>
                  </a:cubicBezTo>
                  <a:cubicBezTo>
                    <a:pt x="5811" y="9097"/>
                    <a:pt x="5835" y="9085"/>
                    <a:pt x="5870" y="9061"/>
                  </a:cubicBezTo>
                  <a:lnTo>
                    <a:pt x="6656" y="8549"/>
                  </a:lnTo>
                  <a:cubicBezTo>
                    <a:pt x="6871" y="8406"/>
                    <a:pt x="6954" y="8156"/>
                    <a:pt x="6882" y="7930"/>
                  </a:cubicBezTo>
                  <a:cubicBezTo>
                    <a:pt x="6799" y="7704"/>
                    <a:pt x="6597" y="7549"/>
                    <a:pt x="6359" y="7549"/>
                  </a:cubicBezTo>
                  <a:lnTo>
                    <a:pt x="5870" y="7549"/>
                  </a:lnTo>
                  <a:lnTo>
                    <a:pt x="5870" y="7358"/>
                  </a:lnTo>
                  <a:lnTo>
                    <a:pt x="5870" y="7334"/>
                  </a:lnTo>
                  <a:close/>
                  <a:moveTo>
                    <a:pt x="4406" y="0"/>
                  </a:moveTo>
                  <a:cubicBezTo>
                    <a:pt x="4311" y="0"/>
                    <a:pt x="4215" y="72"/>
                    <a:pt x="4168" y="167"/>
                  </a:cubicBezTo>
                  <a:lnTo>
                    <a:pt x="3775" y="1358"/>
                  </a:lnTo>
                  <a:cubicBezTo>
                    <a:pt x="2501" y="1643"/>
                    <a:pt x="1596" y="2786"/>
                    <a:pt x="1596" y="4084"/>
                  </a:cubicBezTo>
                  <a:lnTo>
                    <a:pt x="1596" y="4513"/>
                  </a:lnTo>
                  <a:cubicBezTo>
                    <a:pt x="1406" y="4596"/>
                    <a:pt x="1275" y="4775"/>
                    <a:pt x="1251" y="4989"/>
                  </a:cubicBezTo>
                  <a:cubicBezTo>
                    <a:pt x="1239" y="5156"/>
                    <a:pt x="1298" y="5322"/>
                    <a:pt x="1406" y="5453"/>
                  </a:cubicBezTo>
                  <a:cubicBezTo>
                    <a:pt x="1525" y="5572"/>
                    <a:pt x="1691" y="5644"/>
                    <a:pt x="1846" y="5644"/>
                  </a:cubicBezTo>
                  <a:lnTo>
                    <a:pt x="1965" y="5644"/>
                  </a:lnTo>
                  <a:cubicBezTo>
                    <a:pt x="2049" y="6180"/>
                    <a:pt x="2287" y="6644"/>
                    <a:pt x="2644" y="7013"/>
                  </a:cubicBezTo>
                  <a:lnTo>
                    <a:pt x="2465" y="7013"/>
                  </a:lnTo>
                  <a:cubicBezTo>
                    <a:pt x="1787" y="7013"/>
                    <a:pt x="1239" y="7561"/>
                    <a:pt x="1239" y="8227"/>
                  </a:cubicBezTo>
                  <a:cubicBezTo>
                    <a:pt x="1239" y="8489"/>
                    <a:pt x="1287" y="8727"/>
                    <a:pt x="1358" y="8942"/>
                  </a:cubicBezTo>
                  <a:lnTo>
                    <a:pt x="882" y="9085"/>
                  </a:lnTo>
                  <a:cubicBezTo>
                    <a:pt x="358" y="9228"/>
                    <a:pt x="1" y="9704"/>
                    <a:pt x="1" y="10240"/>
                  </a:cubicBezTo>
                  <a:lnTo>
                    <a:pt x="1" y="11025"/>
                  </a:lnTo>
                  <a:cubicBezTo>
                    <a:pt x="1" y="11121"/>
                    <a:pt x="84" y="11192"/>
                    <a:pt x="167" y="11192"/>
                  </a:cubicBezTo>
                  <a:cubicBezTo>
                    <a:pt x="263" y="11192"/>
                    <a:pt x="334" y="11121"/>
                    <a:pt x="334" y="11025"/>
                  </a:cubicBezTo>
                  <a:lnTo>
                    <a:pt x="334" y="10240"/>
                  </a:lnTo>
                  <a:cubicBezTo>
                    <a:pt x="334" y="9847"/>
                    <a:pt x="596" y="9489"/>
                    <a:pt x="977" y="9394"/>
                  </a:cubicBezTo>
                  <a:lnTo>
                    <a:pt x="1477" y="9239"/>
                  </a:lnTo>
                  <a:cubicBezTo>
                    <a:pt x="1751" y="9775"/>
                    <a:pt x="2239" y="10192"/>
                    <a:pt x="2822" y="10382"/>
                  </a:cubicBezTo>
                  <a:lnTo>
                    <a:pt x="2822" y="11025"/>
                  </a:lnTo>
                  <a:cubicBezTo>
                    <a:pt x="2822" y="11121"/>
                    <a:pt x="2894" y="11192"/>
                    <a:pt x="2977" y="11192"/>
                  </a:cubicBezTo>
                  <a:cubicBezTo>
                    <a:pt x="3072" y="11192"/>
                    <a:pt x="3144" y="11121"/>
                    <a:pt x="3144" y="11025"/>
                  </a:cubicBezTo>
                  <a:lnTo>
                    <a:pt x="3144" y="10466"/>
                  </a:lnTo>
                  <a:cubicBezTo>
                    <a:pt x="3263" y="10478"/>
                    <a:pt x="3382" y="10490"/>
                    <a:pt x="3501" y="10490"/>
                  </a:cubicBezTo>
                  <a:lnTo>
                    <a:pt x="5263" y="10490"/>
                  </a:lnTo>
                  <a:cubicBezTo>
                    <a:pt x="5382" y="10490"/>
                    <a:pt x="5501" y="10478"/>
                    <a:pt x="5620" y="10466"/>
                  </a:cubicBezTo>
                  <a:lnTo>
                    <a:pt x="5620" y="11025"/>
                  </a:lnTo>
                  <a:cubicBezTo>
                    <a:pt x="5620" y="11121"/>
                    <a:pt x="5692" y="11192"/>
                    <a:pt x="5775" y="11192"/>
                  </a:cubicBezTo>
                  <a:cubicBezTo>
                    <a:pt x="5870" y="11192"/>
                    <a:pt x="5942" y="11121"/>
                    <a:pt x="5942" y="11025"/>
                  </a:cubicBezTo>
                  <a:lnTo>
                    <a:pt x="5942" y="10382"/>
                  </a:lnTo>
                  <a:cubicBezTo>
                    <a:pt x="6525" y="10192"/>
                    <a:pt x="7013" y="9775"/>
                    <a:pt x="7287" y="9239"/>
                  </a:cubicBezTo>
                  <a:lnTo>
                    <a:pt x="7787" y="9394"/>
                  </a:lnTo>
                  <a:cubicBezTo>
                    <a:pt x="8156" y="9489"/>
                    <a:pt x="8430" y="9847"/>
                    <a:pt x="8430" y="10240"/>
                  </a:cubicBezTo>
                  <a:lnTo>
                    <a:pt x="8430" y="11025"/>
                  </a:lnTo>
                  <a:cubicBezTo>
                    <a:pt x="8430" y="11121"/>
                    <a:pt x="8502" y="11192"/>
                    <a:pt x="8585" y="11192"/>
                  </a:cubicBezTo>
                  <a:cubicBezTo>
                    <a:pt x="8680" y="11192"/>
                    <a:pt x="8752" y="11121"/>
                    <a:pt x="8752" y="11025"/>
                  </a:cubicBezTo>
                  <a:lnTo>
                    <a:pt x="8752" y="10240"/>
                  </a:lnTo>
                  <a:cubicBezTo>
                    <a:pt x="8799" y="9704"/>
                    <a:pt x="8442" y="9228"/>
                    <a:pt x="7918" y="9085"/>
                  </a:cubicBezTo>
                  <a:lnTo>
                    <a:pt x="7442" y="8942"/>
                  </a:lnTo>
                  <a:cubicBezTo>
                    <a:pt x="7514" y="8727"/>
                    <a:pt x="7561" y="8489"/>
                    <a:pt x="7561" y="8227"/>
                  </a:cubicBezTo>
                  <a:cubicBezTo>
                    <a:pt x="7561" y="7561"/>
                    <a:pt x="7013" y="7013"/>
                    <a:pt x="6347" y="7013"/>
                  </a:cubicBezTo>
                  <a:lnTo>
                    <a:pt x="6168" y="7013"/>
                  </a:lnTo>
                  <a:cubicBezTo>
                    <a:pt x="6525" y="6644"/>
                    <a:pt x="6763" y="6180"/>
                    <a:pt x="6835" y="5644"/>
                  </a:cubicBezTo>
                  <a:lnTo>
                    <a:pt x="6942" y="5644"/>
                  </a:lnTo>
                  <a:cubicBezTo>
                    <a:pt x="7263" y="5644"/>
                    <a:pt x="7537" y="5406"/>
                    <a:pt x="7561" y="5108"/>
                  </a:cubicBezTo>
                  <a:cubicBezTo>
                    <a:pt x="7573" y="4941"/>
                    <a:pt x="7514" y="4763"/>
                    <a:pt x="7418" y="4644"/>
                  </a:cubicBezTo>
                  <a:cubicBezTo>
                    <a:pt x="7359" y="4584"/>
                    <a:pt x="7299" y="4536"/>
                    <a:pt x="7216" y="4489"/>
                  </a:cubicBezTo>
                  <a:lnTo>
                    <a:pt x="7216" y="4084"/>
                  </a:lnTo>
                  <a:cubicBezTo>
                    <a:pt x="7216" y="2786"/>
                    <a:pt x="6311" y="1643"/>
                    <a:pt x="5049" y="1358"/>
                  </a:cubicBezTo>
                  <a:lnTo>
                    <a:pt x="4644" y="167"/>
                  </a:lnTo>
                  <a:cubicBezTo>
                    <a:pt x="4620" y="60"/>
                    <a:pt x="4513" y="0"/>
                    <a:pt x="4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3" name="Google Shape;11563;p61"/>
            <p:cNvSpPr/>
            <p:nvPr/>
          </p:nvSpPr>
          <p:spPr>
            <a:xfrm>
              <a:off x="4997700" y="393231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0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4" name="Google Shape;11564;p61"/>
            <p:cNvSpPr/>
            <p:nvPr/>
          </p:nvSpPr>
          <p:spPr>
            <a:xfrm>
              <a:off x="5064830" y="3932319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6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60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5" name="Google Shape;11565;p61"/>
            <p:cNvSpPr/>
            <p:nvPr/>
          </p:nvSpPr>
          <p:spPr>
            <a:xfrm>
              <a:off x="5013160" y="397090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212"/>
                    <a:pt x="60" y="283"/>
                  </a:cubicBezTo>
                  <a:cubicBezTo>
                    <a:pt x="215" y="414"/>
                    <a:pt x="453" y="509"/>
                    <a:pt x="703" y="509"/>
                  </a:cubicBezTo>
                  <a:cubicBezTo>
                    <a:pt x="977" y="509"/>
                    <a:pt x="1215" y="414"/>
                    <a:pt x="1346" y="283"/>
                  </a:cubicBezTo>
                  <a:cubicBezTo>
                    <a:pt x="1429" y="223"/>
                    <a:pt x="1453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6" name="Google Shape;11566;p61"/>
            <p:cNvSpPr/>
            <p:nvPr/>
          </p:nvSpPr>
          <p:spPr>
            <a:xfrm>
              <a:off x="4991649" y="3915370"/>
              <a:ext cx="28322" cy="16252"/>
            </a:xfrm>
            <a:custGeom>
              <a:avLst/>
              <a:gdLst/>
              <a:ahLst/>
              <a:cxnLst/>
              <a:rect l="l" t="t" r="r" b="b"/>
              <a:pathLst>
                <a:path w="894" h="513" extrusionOk="0">
                  <a:moveTo>
                    <a:pt x="177" y="0"/>
                  </a:moveTo>
                  <a:cubicBezTo>
                    <a:pt x="109" y="0"/>
                    <a:pt x="52" y="45"/>
                    <a:pt x="25" y="119"/>
                  </a:cubicBezTo>
                  <a:cubicBezTo>
                    <a:pt x="1" y="202"/>
                    <a:pt x="37" y="298"/>
                    <a:pt x="132" y="322"/>
                  </a:cubicBezTo>
                  <a:lnTo>
                    <a:pt x="656" y="500"/>
                  </a:lnTo>
                  <a:cubicBezTo>
                    <a:pt x="668" y="500"/>
                    <a:pt x="680" y="512"/>
                    <a:pt x="703" y="512"/>
                  </a:cubicBezTo>
                  <a:cubicBezTo>
                    <a:pt x="775" y="512"/>
                    <a:pt x="834" y="476"/>
                    <a:pt x="846" y="393"/>
                  </a:cubicBezTo>
                  <a:cubicBezTo>
                    <a:pt x="894" y="310"/>
                    <a:pt x="846" y="202"/>
                    <a:pt x="763" y="191"/>
                  </a:cubicBezTo>
                  <a:lnTo>
                    <a:pt x="239" y="12"/>
                  </a:lnTo>
                  <a:cubicBezTo>
                    <a:pt x="218" y="4"/>
                    <a:pt x="197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7" name="Google Shape;11567;p61"/>
            <p:cNvSpPr/>
            <p:nvPr/>
          </p:nvSpPr>
          <p:spPr>
            <a:xfrm>
              <a:off x="5052760" y="3915370"/>
              <a:ext cx="28322" cy="16252"/>
            </a:xfrm>
            <a:custGeom>
              <a:avLst/>
              <a:gdLst/>
              <a:ahLst/>
              <a:cxnLst/>
              <a:rect l="l" t="t" r="r" b="b"/>
              <a:pathLst>
                <a:path w="894" h="513" extrusionOk="0">
                  <a:moveTo>
                    <a:pt x="718" y="0"/>
                  </a:moveTo>
                  <a:cubicBezTo>
                    <a:pt x="698" y="0"/>
                    <a:pt x="677" y="4"/>
                    <a:pt x="656" y="12"/>
                  </a:cubicBezTo>
                  <a:lnTo>
                    <a:pt x="144" y="191"/>
                  </a:lnTo>
                  <a:cubicBezTo>
                    <a:pt x="48" y="214"/>
                    <a:pt x="1" y="310"/>
                    <a:pt x="36" y="393"/>
                  </a:cubicBezTo>
                  <a:cubicBezTo>
                    <a:pt x="60" y="476"/>
                    <a:pt x="120" y="512"/>
                    <a:pt x="179" y="512"/>
                  </a:cubicBezTo>
                  <a:cubicBezTo>
                    <a:pt x="191" y="512"/>
                    <a:pt x="215" y="512"/>
                    <a:pt x="227" y="500"/>
                  </a:cubicBezTo>
                  <a:lnTo>
                    <a:pt x="751" y="322"/>
                  </a:lnTo>
                  <a:cubicBezTo>
                    <a:pt x="858" y="298"/>
                    <a:pt x="894" y="191"/>
                    <a:pt x="870" y="119"/>
                  </a:cubicBezTo>
                  <a:cubicBezTo>
                    <a:pt x="842" y="45"/>
                    <a:pt x="786" y="0"/>
                    <a:pt x="7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68" name="Google Shape;11568;p61"/>
          <p:cNvGrpSpPr/>
          <p:nvPr/>
        </p:nvGrpSpPr>
        <p:grpSpPr>
          <a:xfrm>
            <a:off x="7592387" y="3787858"/>
            <a:ext cx="273874" cy="351204"/>
            <a:chOff x="7592387" y="3787858"/>
            <a:chExt cx="273874" cy="351204"/>
          </a:xfrm>
        </p:grpSpPr>
        <p:sp>
          <p:nvSpPr>
            <p:cNvPr id="11569" name="Google Shape;11569;p61"/>
            <p:cNvSpPr/>
            <p:nvPr/>
          </p:nvSpPr>
          <p:spPr>
            <a:xfrm>
              <a:off x="7592387" y="3787858"/>
              <a:ext cx="273874" cy="351204"/>
            </a:xfrm>
            <a:custGeom>
              <a:avLst/>
              <a:gdLst/>
              <a:ahLst/>
              <a:cxnLst/>
              <a:rect l="l" t="t" r="r" b="b"/>
              <a:pathLst>
                <a:path w="8645" h="11086" extrusionOk="0">
                  <a:moveTo>
                    <a:pt x="4692" y="1358"/>
                  </a:moveTo>
                  <a:lnTo>
                    <a:pt x="4692" y="1894"/>
                  </a:lnTo>
                  <a:cubicBezTo>
                    <a:pt x="4692" y="2084"/>
                    <a:pt x="4525" y="2251"/>
                    <a:pt x="4334" y="2251"/>
                  </a:cubicBezTo>
                  <a:cubicBezTo>
                    <a:pt x="4120" y="2251"/>
                    <a:pt x="3977" y="2084"/>
                    <a:pt x="3977" y="1894"/>
                  </a:cubicBezTo>
                  <a:lnTo>
                    <a:pt x="3977" y="1358"/>
                  </a:lnTo>
                  <a:close/>
                  <a:moveTo>
                    <a:pt x="4311" y="334"/>
                  </a:moveTo>
                  <a:lnTo>
                    <a:pt x="6799" y="1001"/>
                  </a:lnTo>
                  <a:lnTo>
                    <a:pt x="7740" y="2561"/>
                  </a:lnTo>
                  <a:lnTo>
                    <a:pt x="7073" y="3227"/>
                  </a:lnTo>
                  <a:lnTo>
                    <a:pt x="7073" y="2418"/>
                  </a:lnTo>
                  <a:cubicBezTo>
                    <a:pt x="7073" y="2239"/>
                    <a:pt x="6918" y="2072"/>
                    <a:pt x="6728" y="2072"/>
                  </a:cubicBezTo>
                  <a:lnTo>
                    <a:pt x="6549" y="2072"/>
                  </a:lnTo>
                  <a:cubicBezTo>
                    <a:pt x="6454" y="2072"/>
                    <a:pt x="6382" y="2144"/>
                    <a:pt x="6382" y="2239"/>
                  </a:cubicBezTo>
                  <a:cubicBezTo>
                    <a:pt x="6382" y="2322"/>
                    <a:pt x="6454" y="2394"/>
                    <a:pt x="6549" y="2394"/>
                  </a:cubicBezTo>
                  <a:lnTo>
                    <a:pt x="6728" y="2394"/>
                  </a:lnTo>
                  <a:cubicBezTo>
                    <a:pt x="6728" y="2394"/>
                    <a:pt x="6739" y="2394"/>
                    <a:pt x="6739" y="2418"/>
                  </a:cubicBezTo>
                  <a:lnTo>
                    <a:pt x="6739" y="3108"/>
                  </a:lnTo>
                  <a:lnTo>
                    <a:pt x="1870" y="3108"/>
                  </a:lnTo>
                  <a:lnTo>
                    <a:pt x="1870" y="2418"/>
                  </a:lnTo>
                  <a:cubicBezTo>
                    <a:pt x="1870" y="2418"/>
                    <a:pt x="1870" y="2394"/>
                    <a:pt x="1894" y="2394"/>
                  </a:cubicBezTo>
                  <a:lnTo>
                    <a:pt x="3858" y="2394"/>
                  </a:lnTo>
                  <a:cubicBezTo>
                    <a:pt x="3977" y="2501"/>
                    <a:pt x="4132" y="2572"/>
                    <a:pt x="4299" y="2572"/>
                  </a:cubicBezTo>
                  <a:cubicBezTo>
                    <a:pt x="4477" y="2572"/>
                    <a:pt x="4632" y="2513"/>
                    <a:pt x="4751" y="2394"/>
                  </a:cubicBezTo>
                  <a:lnTo>
                    <a:pt x="5847" y="2394"/>
                  </a:lnTo>
                  <a:cubicBezTo>
                    <a:pt x="5942" y="2394"/>
                    <a:pt x="6013" y="2322"/>
                    <a:pt x="6013" y="2239"/>
                  </a:cubicBezTo>
                  <a:cubicBezTo>
                    <a:pt x="6013" y="2144"/>
                    <a:pt x="5942" y="2072"/>
                    <a:pt x="5847" y="2072"/>
                  </a:cubicBezTo>
                  <a:lnTo>
                    <a:pt x="4942" y="2072"/>
                  </a:lnTo>
                  <a:cubicBezTo>
                    <a:pt x="4954" y="2013"/>
                    <a:pt x="4965" y="1953"/>
                    <a:pt x="4965" y="1894"/>
                  </a:cubicBezTo>
                  <a:lnTo>
                    <a:pt x="4965" y="1191"/>
                  </a:lnTo>
                  <a:cubicBezTo>
                    <a:pt x="4965" y="1096"/>
                    <a:pt x="4894" y="1025"/>
                    <a:pt x="4811" y="1025"/>
                  </a:cubicBezTo>
                  <a:lnTo>
                    <a:pt x="3763" y="1025"/>
                  </a:lnTo>
                  <a:cubicBezTo>
                    <a:pt x="3680" y="1025"/>
                    <a:pt x="3596" y="1096"/>
                    <a:pt x="3596" y="1191"/>
                  </a:cubicBezTo>
                  <a:lnTo>
                    <a:pt x="3596" y="1894"/>
                  </a:lnTo>
                  <a:cubicBezTo>
                    <a:pt x="3596" y="1953"/>
                    <a:pt x="3620" y="2013"/>
                    <a:pt x="3632" y="2072"/>
                  </a:cubicBezTo>
                  <a:lnTo>
                    <a:pt x="1858" y="2072"/>
                  </a:lnTo>
                  <a:cubicBezTo>
                    <a:pt x="1679" y="2072"/>
                    <a:pt x="1513" y="2215"/>
                    <a:pt x="1513" y="2418"/>
                  </a:cubicBezTo>
                  <a:lnTo>
                    <a:pt x="1513" y="3227"/>
                  </a:lnTo>
                  <a:lnTo>
                    <a:pt x="894" y="2561"/>
                  </a:lnTo>
                  <a:lnTo>
                    <a:pt x="1834" y="1001"/>
                  </a:lnTo>
                  <a:lnTo>
                    <a:pt x="4311" y="334"/>
                  </a:lnTo>
                  <a:close/>
                  <a:moveTo>
                    <a:pt x="6680" y="3442"/>
                  </a:moveTo>
                  <a:cubicBezTo>
                    <a:pt x="6561" y="3561"/>
                    <a:pt x="6323" y="3668"/>
                    <a:pt x="6120" y="3739"/>
                  </a:cubicBezTo>
                  <a:cubicBezTo>
                    <a:pt x="5644" y="3906"/>
                    <a:pt x="5013" y="3977"/>
                    <a:pt x="4334" y="3977"/>
                  </a:cubicBezTo>
                  <a:cubicBezTo>
                    <a:pt x="3644" y="3977"/>
                    <a:pt x="3025" y="3882"/>
                    <a:pt x="2548" y="3739"/>
                  </a:cubicBezTo>
                  <a:cubicBezTo>
                    <a:pt x="2334" y="3668"/>
                    <a:pt x="2096" y="3561"/>
                    <a:pt x="1977" y="3442"/>
                  </a:cubicBezTo>
                  <a:close/>
                  <a:moveTo>
                    <a:pt x="1906" y="3787"/>
                  </a:moveTo>
                  <a:cubicBezTo>
                    <a:pt x="1977" y="3858"/>
                    <a:pt x="2108" y="3918"/>
                    <a:pt x="2263" y="3977"/>
                  </a:cubicBezTo>
                  <a:lnTo>
                    <a:pt x="2263" y="4144"/>
                  </a:lnTo>
                  <a:cubicBezTo>
                    <a:pt x="2263" y="4239"/>
                    <a:pt x="2167" y="4323"/>
                    <a:pt x="2084" y="4323"/>
                  </a:cubicBezTo>
                  <a:lnTo>
                    <a:pt x="1906" y="4323"/>
                  </a:lnTo>
                  <a:lnTo>
                    <a:pt x="1906" y="3787"/>
                  </a:lnTo>
                  <a:close/>
                  <a:moveTo>
                    <a:pt x="6775" y="3787"/>
                  </a:moveTo>
                  <a:lnTo>
                    <a:pt x="6775" y="4323"/>
                  </a:lnTo>
                  <a:lnTo>
                    <a:pt x="6597" y="4323"/>
                  </a:lnTo>
                  <a:cubicBezTo>
                    <a:pt x="6489" y="4323"/>
                    <a:pt x="6418" y="4227"/>
                    <a:pt x="6418" y="4144"/>
                  </a:cubicBezTo>
                  <a:lnTo>
                    <a:pt x="6418" y="3977"/>
                  </a:lnTo>
                  <a:lnTo>
                    <a:pt x="6394" y="3977"/>
                  </a:lnTo>
                  <a:cubicBezTo>
                    <a:pt x="6549" y="3918"/>
                    <a:pt x="6668" y="3846"/>
                    <a:pt x="6775" y="3787"/>
                  </a:cubicBezTo>
                  <a:close/>
                  <a:moveTo>
                    <a:pt x="6037" y="4096"/>
                  </a:moveTo>
                  <a:lnTo>
                    <a:pt x="6037" y="4156"/>
                  </a:lnTo>
                  <a:cubicBezTo>
                    <a:pt x="6037" y="4442"/>
                    <a:pt x="6263" y="4656"/>
                    <a:pt x="6549" y="4656"/>
                  </a:cubicBezTo>
                  <a:lnTo>
                    <a:pt x="6799" y="4656"/>
                  </a:lnTo>
                  <a:cubicBezTo>
                    <a:pt x="6870" y="4656"/>
                    <a:pt x="6954" y="4692"/>
                    <a:pt x="7013" y="4751"/>
                  </a:cubicBezTo>
                  <a:cubicBezTo>
                    <a:pt x="7049" y="4811"/>
                    <a:pt x="7085" y="4882"/>
                    <a:pt x="7085" y="4954"/>
                  </a:cubicBezTo>
                  <a:cubicBezTo>
                    <a:pt x="7073" y="5097"/>
                    <a:pt x="6930" y="5192"/>
                    <a:pt x="6787" y="5192"/>
                  </a:cubicBezTo>
                  <a:lnTo>
                    <a:pt x="6716" y="5192"/>
                  </a:lnTo>
                  <a:lnTo>
                    <a:pt x="6716" y="5180"/>
                  </a:lnTo>
                  <a:cubicBezTo>
                    <a:pt x="6716" y="5097"/>
                    <a:pt x="6632" y="5013"/>
                    <a:pt x="6549" y="5013"/>
                  </a:cubicBezTo>
                  <a:cubicBezTo>
                    <a:pt x="6454" y="5013"/>
                    <a:pt x="6382" y="5097"/>
                    <a:pt x="6382" y="5180"/>
                  </a:cubicBezTo>
                  <a:cubicBezTo>
                    <a:pt x="6382" y="6323"/>
                    <a:pt x="5442" y="7264"/>
                    <a:pt x="4299" y="7264"/>
                  </a:cubicBezTo>
                  <a:cubicBezTo>
                    <a:pt x="4292" y="7264"/>
                    <a:pt x="4284" y="7264"/>
                    <a:pt x="4277" y="7264"/>
                  </a:cubicBezTo>
                  <a:cubicBezTo>
                    <a:pt x="3156" y="7264"/>
                    <a:pt x="2227" y="6339"/>
                    <a:pt x="2227" y="5180"/>
                  </a:cubicBezTo>
                  <a:cubicBezTo>
                    <a:pt x="2227" y="5097"/>
                    <a:pt x="2156" y="5013"/>
                    <a:pt x="2072" y="5013"/>
                  </a:cubicBezTo>
                  <a:cubicBezTo>
                    <a:pt x="1977" y="5013"/>
                    <a:pt x="1906" y="5097"/>
                    <a:pt x="1906" y="5180"/>
                  </a:cubicBezTo>
                  <a:lnTo>
                    <a:pt x="1906" y="5192"/>
                  </a:lnTo>
                  <a:lnTo>
                    <a:pt x="1798" y="5192"/>
                  </a:lnTo>
                  <a:cubicBezTo>
                    <a:pt x="1727" y="5192"/>
                    <a:pt x="1656" y="5168"/>
                    <a:pt x="1596" y="5109"/>
                  </a:cubicBezTo>
                  <a:cubicBezTo>
                    <a:pt x="1548" y="5049"/>
                    <a:pt x="1513" y="4978"/>
                    <a:pt x="1513" y="4894"/>
                  </a:cubicBezTo>
                  <a:cubicBezTo>
                    <a:pt x="1536" y="4763"/>
                    <a:pt x="1667" y="4656"/>
                    <a:pt x="1810" y="4656"/>
                  </a:cubicBezTo>
                  <a:lnTo>
                    <a:pt x="2048" y="4656"/>
                  </a:lnTo>
                  <a:cubicBezTo>
                    <a:pt x="2334" y="4656"/>
                    <a:pt x="2560" y="4442"/>
                    <a:pt x="2560" y="4156"/>
                  </a:cubicBezTo>
                  <a:lnTo>
                    <a:pt x="2560" y="4096"/>
                  </a:lnTo>
                  <a:cubicBezTo>
                    <a:pt x="3049" y="4227"/>
                    <a:pt x="3656" y="4323"/>
                    <a:pt x="4299" y="4323"/>
                  </a:cubicBezTo>
                  <a:cubicBezTo>
                    <a:pt x="4942" y="4323"/>
                    <a:pt x="5549" y="4239"/>
                    <a:pt x="6037" y="4096"/>
                  </a:cubicBezTo>
                  <a:close/>
                  <a:moveTo>
                    <a:pt x="2846" y="7859"/>
                  </a:moveTo>
                  <a:lnTo>
                    <a:pt x="4037" y="8526"/>
                  </a:lnTo>
                  <a:lnTo>
                    <a:pt x="3168" y="9264"/>
                  </a:lnTo>
                  <a:lnTo>
                    <a:pt x="3156" y="9264"/>
                  </a:lnTo>
                  <a:lnTo>
                    <a:pt x="2608" y="8311"/>
                  </a:lnTo>
                  <a:lnTo>
                    <a:pt x="2822" y="7859"/>
                  </a:lnTo>
                  <a:close/>
                  <a:moveTo>
                    <a:pt x="5370" y="7371"/>
                  </a:moveTo>
                  <a:lnTo>
                    <a:pt x="5370" y="7716"/>
                  </a:lnTo>
                  <a:lnTo>
                    <a:pt x="5180" y="7811"/>
                  </a:lnTo>
                  <a:cubicBezTo>
                    <a:pt x="5108" y="7859"/>
                    <a:pt x="5073" y="7966"/>
                    <a:pt x="5120" y="8037"/>
                  </a:cubicBezTo>
                  <a:cubicBezTo>
                    <a:pt x="5153" y="8086"/>
                    <a:pt x="5208" y="8119"/>
                    <a:pt x="5266" y="8119"/>
                  </a:cubicBezTo>
                  <a:cubicBezTo>
                    <a:pt x="5293" y="8119"/>
                    <a:pt x="5320" y="8112"/>
                    <a:pt x="5346" y="8097"/>
                  </a:cubicBezTo>
                  <a:lnTo>
                    <a:pt x="5799" y="7847"/>
                  </a:lnTo>
                  <a:lnTo>
                    <a:pt x="5823" y="7847"/>
                  </a:lnTo>
                  <a:lnTo>
                    <a:pt x="6037" y="8287"/>
                  </a:lnTo>
                  <a:lnTo>
                    <a:pt x="5501" y="9264"/>
                  </a:lnTo>
                  <a:lnTo>
                    <a:pt x="5489" y="9264"/>
                  </a:lnTo>
                  <a:lnTo>
                    <a:pt x="4608" y="8514"/>
                  </a:lnTo>
                  <a:lnTo>
                    <a:pt x="4763" y="8442"/>
                  </a:lnTo>
                  <a:cubicBezTo>
                    <a:pt x="4834" y="8395"/>
                    <a:pt x="4870" y="8287"/>
                    <a:pt x="4823" y="8216"/>
                  </a:cubicBezTo>
                  <a:cubicBezTo>
                    <a:pt x="4790" y="8167"/>
                    <a:pt x="4729" y="8135"/>
                    <a:pt x="4671" y="8135"/>
                  </a:cubicBezTo>
                  <a:cubicBezTo>
                    <a:pt x="4645" y="8135"/>
                    <a:pt x="4619" y="8142"/>
                    <a:pt x="4596" y="8157"/>
                  </a:cubicBezTo>
                  <a:lnTo>
                    <a:pt x="4334" y="8311"/>
                  </a:lnTo>
                  <a:lnTo>
                    <a:pt x="3275" y="7728"/>
                  </a:lnTo>
                  <a:lnTo>
                    <a:pt x="3275" y="7371"/>
                  </a:lnTo>
                  <a:cubicBezTo>
                    <a:pt x="3584" y="7514"/>
                    <a:pt x="3942" y="7609"/>
                    <a:pt x="4334" y="7609"/>
                  </a:cubicBezTo>
                  <a:cubicBezTo>
                    <a:pt x="4704" y="7609"/>
                    <a:pt x="5061" y="7514"/>
                    <a:pt x="5370" y="7371"/>
                  </a:cubicBezTo>
                  <a:close/>
                  <a:moveTo>
                    <a:pt x="4311" y="8692"/>
                  </a:moveTo>
                  <a:lnTo>
                    <a:pt x="4668" y="8990"/>
                  </a:lnTo>
                  <a:lnTo>
                    <a:pt x="4596" y="9228"/>
                  </a:lnTo>
                  <a:cubicBezTo>
                    <a:pt x="4573" y="9300"/>
                    <a:pt x="4513" y="9347"/>
                    <a:pt x="4418" y="9347"/>
                  </a:cubicBezTo>
                  <a:lnTo>
                    <a:pt x="4227" y="9347"/>
                  </a:lnTo>
                  <a:cubicBezTo>
                    <a:pt x="4156" y="9347"/>
                    <a:pt x="4072" y="9300"/>
                    <a:pt x="4049" y="9228"/>
                  </a:cubicBezTo>
                  <a:lnTo>
                    <a:pt x="3977" y="8990"/>
                  </a:lnTo>
                  <a:lnTo>
                    <a:pt x="4311" y="8692"/>
                  </a:lnTo>
                  <a:close/>
                  <a:moveTo>
                    <a:pt x="4275" y="1"/>
                  </a:moveTo>
                  <a:lnTo>
                    <a:pt x="1667" y="703"/>
                  </a:lnTo>
                  <a:cubicBezTo>
                    <a:pt x="1620" y="715"/>
                    <a:pt x="1596" y="727"/>
                    <a:pt x="1560" y="775"/>
                  </a:cubicBezTo>
                  <a:lnTo>
                    <a:pt x="513" y="2501"/>
                  </a:lnTo>
                  <a:cubicBezTo>
                    <a:pt x="477" y="2561"/>
                    <a:pt x="489" y="2656"/>
                    <a:pt x="548" y="2692"/>
                  </a:cubicBezTo>
                  <a:lnTo>
                    <a:pt x="1548" y="3692"/>
                  </a:lnTo>
                  <a:lnTo>
                    <a:pt x="1548" y="4394"/>
                  </a:lnTo>
                  <a:cubicBezTo>
                    <a:pt x="1358" y="4477"/>
                    <a:pt x="1215" y="4656"/>
                    <a:pt x="1203" y="4870"/>
                  </a:cubicBezTo>
                  <a:cubicBezTo>
                    <a:pt x="1191" y="5037"/>
                    <a:pt x="1251" y="5216"/>
                    <a:pt x="1358" y="5335"/>
                  </a:cubicBezTo>
                  <a:cubicBezTo>
                    <a:pt x="1477" y="5454"/>
                    <a:pt x="1620" y="5525"/>
                    <a:pt x="1798" y="5525"/>
                  </a:cubicBezTo>
                  <a:lnTo>
                    <a:pt x="1917" y="5525"/>
                  </a:lnTo>
                  <a:cubicBezTo>
                    <a:pt x="2001" y="6204"/>
                    <a:pt x="2394" y="6787"/>
                    <a:pt x="2929" y="7180"/>
                  </a:cubicBezTo>
                  <a:lnTo>
                    <a:pt x="2929" y="7549"/>
                  </a:lnTo>
                  <a:cubicBezTo>
                    <a:pt x="2894" y="7531"/>
                    <a:pt x="2861" y="7523"/>
                    <a:pt x="2827" y="7523"/>
                  </a:cubicBezTo>
                  <a:cubicBezTo>
                    <a:pt x="2793" y="7523"/>
                    <a:pt x="2757" y="7531"/>
                    <a:pt x="2715" y="7549"/>
                  </a:cubicBezTo>
                  <a:cubicBezTo>
                    <a:pt x="2632" y="7573"/>
                    <a:pt x="2560" y="7633"/>
                    <a:pt x="2525" y="7716"/>
                  </a:cubicBezTo>
                  <a:lnTo>
                    <a:pt x="2275" y="8216"/>
                  </a:lnTo>
                  <a:lnTo>
                    <a:pt x="858" y="8633"/>
                  </a:lnTo>
                  <a:cubicBezTo>
                    <a:pt x="358" y="8788"/>
                    <a:pt x="1" y="9264"/>
                    <a:pt x="1" y="9776"/>
                  </a:cubicBezTo>
                  <a:lnTo>
                    <a:pt x="1" y="10907"/>
                  </a:lnTo>
                  <a:cubicBezTo>
                    <a:pt x="1" y="11002"/>
                    <a:pt x="72" y="11074"/>
                    <a:pt x="155" y="11074"/>
                  </a:cubicBezTo>
                  <a:cubicBezTo>
                    <a:pt x="251" y="11074"/>
                    <a:pt x="322" y="11002"/>
                    <a:pt x="322" y="10907"/>
                  </a:cubicBezTo>
                  <a:lnTo>
                    <a:pt x="322" y="9776"/>
                  </a:lnTo>
                  <a:cubicBezTo>
                    <a:pt x="322" y="9621"/>
                    <a:pt x="370" y="9466"/>
                    <a:pt x="441" y="9335"/>
                  </a:cubicBezTo>
                  <a:lnTo>
                    <a:pt x="1370" y="10121"/>
                  </a:lnTo>
                  <a:cubicBezTo>
                    <a:pt x="1489" y="10228"/>
                    <a:pt x="1548" y="10371"/>
                    <a:pt x="1548" y="10526"/>
                  </a:cubicBezTo>
                  <a:lnTo>
                    <a:pt x="1548" y="10895"/>
                  </a:lnTo>
                  <a:cubicBezTo>
                    <a:pt x="1548" y="10990"/>
                    <a:pt x="1620" y="11062"/>
                    <a:pt x="1703" y="11062"/>
                  </a:cubicBezTo>
                  <a:cubicBezTo>
                    <a:pt x="1798" y="11062"/>
                    <a:pt x="1870" y="10990"/>
                    <a:pt x="1870" y="10895"/>
                  </a:cubicBezTo>
                  <a:lnTo>
                    <a:pt x="1870" y="10526"/>
                  </a:lnTo>
                  <a:cubicBezTo>
                    <a:pt x="1870" y="10276"/>
                    <a:pt x="1763" y="10038"/>
                    <a:pt x="1572" y="9871"/>
                  </a:cubicBezTo>
                  <a:lnTo>
                    <a:pt x="655" y="9085"/>
                  </a:lnTo>
                  <a:cubicBezTo>
                    <a:pt x="739" y="9002"/>
                    <a:pt x="834" y="8966"/>
                    <a:pt x="953" y="8930"/>
                  </a:cubicBezTo>
                  <a:lnTo>
                    <a:pt x="2346" y="8514"/>
                  </a:lnTo>
                  <a:lnTo>
                    <a:pt x="2858" y="9407"/>
                  </a:lnTo>
                  <a:cubicBezTo>
                    <a:pt x="2894" y="9502"/>
                    <a:pt x="2989" y="9561"/>
                    <a:pt x="3096" y="9573"/>
                  </a:cubicBezTo>
                  <a:lnTo>
                    <a:pt x="3156" y="9573"/>
                  </a:lnTo>
                  <a:cubicBezTo>
                    <a:pt x="3227" y="9573"/>
                    <a:pt x="3310" y="9538"/>
                    <a:pt x="3370" y="9502"/>
                  </a:cubicBezTo>
                  <a:lnTo>
                    <a:pt x="3703" y="9216"/>
                  </a:lnTo>
                  <a:lnTo>
                    <a:pt x="3751" y="9335"/>
                  </a:lnTo>
                  <a:cubicBezTo>
                    <a:pt x="3775" y="9419"/>
                    <a:pt x="3822" y="9502"/>
                    <a:pt x="3894" y="9561"/>
                  </a:cubicBezTo>
                  <a:lnTo>
                    <a:pt x="3656" y="10883"/>
                  </a:lnTo>
                  <a:cubicBezTo>
                    <a:pt x="3644" y="10966"/>
                    <a:pt x="3703" y="11062"/>
                    <a:pt x="3787" y="11074"/>
                  </a:cubicBezTo>
                  <a:lnTo>
                    <a:pt x="3822" y="11074"/>
                  </a:lnTo>
                  <a:cubicBezTo>
                    <a:pt x="3894" y="11074"/>
                    <a:pt x="3977" y="11014"/>
                    <a:pt x="3989" y="10943"/>
                  </a:cubicBezTo>
                  <a:lnTo>
                    <a:pt x="4203" y="9692"/>
                  </a:lnTo>
                  <a:lnTo>
                    <a:pt x="4465" y="9692"/>
                  </a:lnTo>
                  <a:lnTo>
                    <a:pt x="4680" y="10943"/>
                  </a:lnTo>
                  <a:cubicBezTo>
                    <a:pt x="4704" y="11014"/>
                    <a:pt x="4775" y="11074"/>
                    <a:pt x="4846" y="11074"/>
                  </a:cubicBezTo>
                  <a:lnTo>
                    <a:pt x="4882" y="11074"/>
                  </a:lnTo>
                  <a:cubicBezTo>
                    <a:pt x="4965" y="11062"/>
                    <a:pt x="5025" y="10966"/>
                    <a:pt x="5013" y="10883"/>
                  </a:cubicBezTo>
                  <a:lnTo>
                    <a:pt x="4775" y="9561"/>
                  </a:lnTo>
                  <a:cubicBezTo>
                    <a:pt x="4834" y="9502"/>
                    <a:pt x="4894" y="9419"/>
                    <a:pt x="4906" y="9335"/>
                  </a:cubicBezTo>
                  <a:lnTo>
                    <a:pt x="4942" y="9228"/>
                  </a:lnTo>
                  <a:lnTo>
                    <a:pt x="5263" y="9514"/>
                  </a:lnTo>
                  <a:cubicBezTo>
                    <a:pt x="5323" y="9573"/>
                    <a:pt x="5406" y="9585"/>
                    <a:pt x="5489" y="9585"/>
                  </a:cubicBezTo>
                  <a:lnTo>
                    <a:pt x="5549" y="9585"/>
                  </a:lnTo>
                  <a:cubicBezTo>
                    <a:pt x="5656" y="9573"/>
                    <a:pt x="5727" y="9514"/>
                    <a:pt x="5787" y="9419"/>
                  </a:cubicBezTo>
                  <a:lnTo>
                    <a:pt x="6299" y="8526"/>
                  </a:lnTo>
                  <a:lnTo>
                    <a:pt x="7692" y="8942"/>
                  </a:lnTo>
                  <a:cubicBezTo>
                    <a:pt x="7799" y="8978"/>
                    <a:pt x="7906" y="9038"/>
                    <a:pt x="7990" y="9097"/>
                  </a:cubicBezTo>
                  <a:lnTo>
                    <a:pt x="7073" y="9883"/>
                  </a:lnTo>
                  <a:cubicBezTo>
                    <a:pt x="6870" y="10050"/>
                    <a:pt x="6775" y="10288"/>
                    <a:pt x="6775" y="10538"/>
                  </a:cubicBezTo>
                  <a:lnTo>
                    <a:pt x="6775" y="10907"/>
                  </a:lnTo>
                  <a:cubicBezTo>
                    <a:pt x="6775" y="11002"/>
                    <a:pt x="6847" y="11074"/>
                    <a:pt x="6930" y="11074"/>
                  </a:cubicBezTo>
                  <a:cubicBezTo>
                    <a:pt x="7025" y="11074"/>
                    <a:pt x="7097" y="11002"/>
                    <a:pt x="7097" y="10907"/>
                  </a:cubicBezTo>
                  <a:lnTo>
                    <a:pt x="7097" y="10538"/>
                  </a:lnTo>
                  <a:cubicBezTo>
                    <a:pt x="7097" y="10395"/>
                    <a:pt x="7168" y="10240"/>
                    <a:pt x="7275" y="10133"/>
                  </a:cubicBezTo>
                  <a:lnTo>
                    <a:pt x="8204" y="9347"/>
                  </a:lnTo>
                  <a:cubicBezTo>
                    <a:pt x="8275" y="9478"/>
                    <a:pt x="8323" y="9633"/>
                    <a:pt x="8323" y="9800"/>
                  </a:cubicBezTo>
                  <a:lnTo>
                    <a:pt x="8323" y="10931"/>
                  </a:lnTo>
                  <a:cubicBezTo>
                    <a:pt x="8323" y="11014"/>
                    <a:pt x="8394" y="11085"/>
                    <a:pt x="8478" y="11085"/>
                  </a:cubicBezTo>
                  <a:cubicBezTo>
                    <a:pt x="8573" y="11085"/>
                    <a:pt x="8644" y="11014"/>
                    <a:pt x="8644" y="10931"/>
                  </a:cubicBezTo>
                  <a:lnTo>
                    <a:pt x="8644" y="9800"/>
                  </a:lnTo>
                  <a:cubicBezTo>
                    <a:pt x="8644" y="9240"/>
                    <a:pt x="8287" y="8764"/>
                    <a:pt x="7787" y="8621"/>
                  </a:cubicBezTo>
                  <a:lnTo>
                    <a:pt x="6370" y="8204"/>
                  </a:lnTo>
                  <a:lnTo>
                    <a:pt x="6120" y="7692"/>
                  </a:lnTo>
                  <a:cubicBezTo>
                    <a:pt x="6073" y="7621"/>
                    <a:pt x="6001" y="7549"/>
                    <a:pt x="5918" y="7537"/>
                  </a:cubicBezTo>
                  <a:cubicBezTo>
                    <a:pt x="5882" y="7525"/>
                    <a:pt x="5847" y="7520"/>
                    <a:pt x="5812" y="7520"/>
                  </a:cubicBezTo>
                  <a:cubicBezTo>
                    <a:pt x="5778" y="7520"/>
                    <a:pt x="5745" y="7525"/>
                    <a:pt x="5716" y="7537"/>
                  </a:cubicBezTo>
                  <a:lnTo>
                    <a:pt x="5716" y="7180"/>
                  </a:lnTo>
                  <a:cubicBezTo>
                    <a:pt x="6251" y="6799"/>
                    <a:pt x="6632" y="6204"/>
                    <a:pt x="6728" y="5525"/>
                  </a:cubicBezTo>
                  <a:lnTo>
                    <a:pt x="6811" y="5525"/>
                  </a:lnTo>
                  <a:cubicBezTo>
                    <a:pt x="7120" y="5525"/>
                    <a:pt x="7394" y="5287"/>
                    <a:pt x="7418" y="4989"/>
                  </a:cubicBezTo>
                  <a:cubicBezTo>
                    <a:pt x="7442" y="4823"/>
                    <a:pt x="7382" y="4644"/>
                    <a:pt x="7275" y="4525"/>
                  </a:cubicBezTo>
                  <a:cubicBezTo>
                    <a:pt x="7216" y="4466"/>
                    <a:pt x="7156" y="4418"/>
                    <a:pt x="7085" y="4394"/>
                  </a:cubicBezTo>
                  <a:lnTo>
                    <a:pt x="7085" y="3692"/>
                  </a:lnTo>
                  <a:lnTo>
                    <a:pt x="8073" y="2692"/>
                  </a:lnTo>
                  <a:cubicBezTo>
                    <a:pt x="8144" y="2632"/>
                    <a:pt x="8144" y="2561"/>
                    <a:pt x="8109" y="2501"/>
                  </a:cubicBezTo>
                  <a:lnTo>
                    <a:pt x="7061" y="775"/>
                  </a:lnTo>
                  <a:cubicBezTo>
                    <a:pt x="7049" y="751"/>
                    <a:pt x="7001" y="715"/>
                    <a:pt x="6966" y="703"/>
                  </a:cubicBezTo>
                  <a:lnTo>
                    <a:pt x="435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0" name="Google Shape;11570;p61"/>
            <p:cNvSpPr/>
            <p:nvPr/>
          </p:nvSpPr>
          <p:spPr>
            <a:xfrm>
              <a:off x="7691197" y="3930830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8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60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1" name="Google Shape;11571;p61"/>
            <p:cNvSpPr/>
            <p:nvPr/>
          </p:nvSpPr>
          <p:spPr>
            <a:xfrm>
              <a:off x="7757218" y="393083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22" y="60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2" name="Google Shape;11572;p61"/>
            <p:cNvSpPr/>
            <p:nvPr/>
          </p:nvSpPr>
          <p:spPr>
            <a:xfrm>
              <a:off x="7713088" y="3974580"/>
              <a:ext cx="32472" cy="10581"/>
            </a:xfrm>
            <a:custGeom>
              <a:avLst/>
              <a:gdLst/>
              <a:ahLst/>
              <a:cxnLst/>
              <a:rect l="l" t="t" r="r" b="b"/>
              <a:pathLst>
                <a:path w="1025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858" y="334"/>
                  </a:lnTo>
                  <a:cubicBezTo>
                    <a:pt x="953" y="334"/>
                    <a:pt x="1024" y="250"/>
                    <a:pt x="1024" y="167"/>
                  </a:cubicBezTo>
                  <a:cubicBezTo>
                    <a:pt x="1024" y="60"/>
                    <a:pt x="953" y="0"/>
                    <a:pt x="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73" name="Google Shape;11573;p61"/>
          <p:cNvGrpSpPr/>
          <p:nvPr/>
        </p:nvGrpSpPr>
        <p:grpSpPr>
          <a:xfrm>
            <a:off x="7145794" y="3787858"/>
            <a:ext cx="274254" cy="350444"/>
            <a:chOff x="7145794" y="3787858"/>
            <a:chExt cx="274254" cy="350444"/>
          </a:xfrm>
        </p:grpSpPr>
        <p:sp>
          <p:nvSpPr>
            <p:cNvPr id="11574" name="Google Shape;11574;p61"/>
            <p:cNvSpPr/>
            <p:nvPr/>
          </p:nvSpPr>
          <p:spPr>
            <a:xfrm>
              <a:off x="7247265" y="3891959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5" name="Google Shape;11575;p61"/>
            <p:cNvSpPr/>
            <p:nvPr/>
          </p:nvSpPr>
          <p:spPr>
            <a:xfrm>
              <a:off x="7307616" y="3891959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6" name="Google Shape;11576;p61"/>
            <p:cNvSpPr/>
            <p:nvPr/>
          </p:nvSpPr>
          <p:spPr>
            <a:xfrm>
              <a:off x="7145794" y="3787858"/>
              <a:ext cx="274254" cy="350444"/>
            </a:xfrm>
            <a:custGeom>
              <a:avLst/>
              <a:gdLst/>
              <a:ahLst/>
              <a:cxnLst/>
              <a:rect l="l" t="t" r="r" b="b"/>
              <a:pathLst>
                <a:path w="8657" h="11062" extrusionOk="0">
                  <a:moveTo>
                    <a:pt x="2775" y="882"/>
                  </a:moveTo>
                  <a:lnTo>
                    <a:pt x="2775" y="2596"/>
                  </a:lnTo>
                  <a:lnTo>
                    <a:pt x="1894" y="2596"/>
                  </a:lnTo>
                  <a:cubicBezTo>
                    <a:pt x="1917" y="1906"/>
                    <a:pt x="2263" y="1299"/>
                    <a:pt x="2775" y="882"/>
                  </a:cubicBezTo>
                  <a:close/>
                  <a:moveTo>
                    <a:pt x="4299" y="334"/>
                  </a:moveTo>
                  <a:cubicBezTo>
                    <a:pt x="4751" y="334"/>
                    <a:pt x="5168" y="453"/>
                    <a:pt x="5525" y="656"/>
                  </a:cubicBezTo>
                  <a:lnTo>
                    <a:pt x="5525" y="1727"/>
                  </a:lnTo>
                  <a:cubicBezTo>
                    <a:pt x="5525" y="1822"/>
                    <a:pt x="5596" y="1894"/>
                    <a:pt x="5692" y="1894"/>
                  </a:cubicBezTo>
                  <a:cubicBezTo>
                    <a:pt x="5775" y="1894"/>
                    <a:pt x="5847" y="1822"/>
                    <a:pt x="5847" y="1727"/>
                  </a:cubicBezTo>
                  <a:lnTo>
                    <a:pt x="5847" y="894"/>
                  </a:lnTo>
                  <a:cubicBezTo>
                    <a:pt x="6358" y="1310"/>
                    <a:pt x="6680" y="1918"/>
                    <a:pt x="6728" y="2608"/>
                  </a:cubicBezTo>
                  <a:lnTo>
                    <a:pt x="5847" y="2608"/>
                  </a:lnTo>
                  <a:lnTo>
                    <a:pt x="5847" y="2430"/>
                  </a:lnTo>
                  <a:cubicBezTo>
                    <a:pt x="5847" y="2334"/>
                    <a:pt x="5775" y="2263"/>
                    <a:pt x="5692" y="2263"/>
                  </a:cubicBezTo>
                  <a:cubicBezTo>
                    <a:pt x="5596" y="2263"/>
                    <a:pt x="5525" y="2334"/>
                    <a:pt x="5525" y="2430"/>
                  </a:cubicBezTo>
                  <a:lnTo>
                    <a:pt x="5525" y="2608"/>
                  </a:lnTo>
                  <a:lnTo>
                    <a:pt x="3084" y="2608"/>
                  </a:lnTo>
                  <a:lnTo>
                    <a:pt x="3084" y="656"/>
                  </a:lnTo>
                  <a:cubicBezTo>
                    <a:pt x="3441" y="453"/>
                    <a:pt x="3858" y="334"/>
                    <a:pt x="4299" y="334"/>
                  </a:cubicBezTo>
                  <a:close/>
                  <a:moveTo>
                    <a:pt x="4501" y="2918"/>
                  </a:moveTo>
                  <a:lnTo>
                    <a:pt x="4501" y="3632"/>
                  </a:lnTo>
                  <a:lnTo>
                    <a:pt x="4120" y="3632"/>
                  </a:lnTo>
                  <a:lnTo>
                    <a:pt x="4120" y="3620"/>
                  </a:lnTo>
                  <a:lnTo>
                    <a:pt x="4120" y="2918"/>
                  </a:lnTo>
                  <a:close/>
                  <a:moveTo>
                    <a:pt x="3799" y="2918"/>
                  </a:moveTo>
                  <a:lnTo>
                    <a:pt x="3799" y="3620"/>
                  </a:lnTo>
                  <a:cubicBezTo>
                    <a:pt x="3799" y="3799"/>
                    <a:pt x="3703" y="3966"/>
                    <a:pt x="3549" y="4037"/>
                  </a:cubicBezTo>
                  <a:cubicBezTo>
                    <a:pt x="3476" y="4073"/>
                    <a:pt x="3400" y="4092"/>
                    <a:pt x="3326" y="4092"/>
                  </a:cubicBezTo>
                  <a:cubicBezTo>
                    <a:pt x="3230" y="4092"/>
                    <a:pt x="3136" y="4062"/>
                    <a:pt x="3049" y="4001"/>
                  </a:cubicBezTo>
                  <a:lnTo>
                    <a:pt x="1858" y="3180"/>
                  </a:lnTo>
                  <a:lnTo>
                    <a:pt x="1858" y="2918"/>
                  </a:lnTo>
                  <a:close/>
                  <a:moveTo>
                    <a:pt x="6739" y="2918"/>
                  </a:moveTo>
                  <a:lnTo>
                    <a:pt x="6739" y="3180"/>
                  </a:lnTo>
                  <a:lnTo>
                    <a:pt x="5549" y="4001"/>
                  </a:lnTo>
                  <a:cubicBezTo>
                    <a:pt x="5468" y="4062"/>
                    <a:pt x="5377" y="4092"/>
                    <a:pt x="5282" y="4092"/>
                  </a:cubicBezTo>
                  <a:cubicBezTo>
                    <a:pt x="5209" y="4092"/>
                    <a:pt x="5134" y="4073"/>
                    <a:pt x="5061" y="4037"/>
                  </a:cubicBezTo>
                  <a:cubicBezTo>
                    <a:pt x="4894" y="3942"/>
                    <a:pt x="4811" y="3799"/>
                    <a:pt x="4811" y="3620"/>
                  </a:cubicBezTo>
                  <a:lnTo>
                    <a:pt x="4811" y="2918"/>
                  </a:lnTo>
                  <a:close/>
                  <a:moveTo>
                    <a:pt x="6906" y="3465"/>
                  </a:moveTo>
                  <a:cubicBezTo>
                    <a:pt x="7001" y="3513"/>
                    <a:pt x="7073" y="3585"/>
                    <a:pt x="7073" y="3692"/>
                  </a:cubicBezTo>
                  <a:cubicBezTo>
                    <a:pt x="7085" y="3763"/>
                    <a:pt x="7061" y="3846"/>
                    <a:pt x="7001" y="3906"/>
                  </a:cubicBezTo>
                  <a:cubicBezTo>
                    <a:pt x="6954" y="3966"/>
                    <a:pt x="6882" y="3989"/>
                    <a:pt x="6787" y="3989"/>
                  </a:cubicBezTo>
                  <a:lnTo>
                    <a:pt x="6680" y="3989"/>
                  </a:lnTo>
                  <a:lnTo>
                    <a:pt x="6680" y="3977"/>
                  </a:lnTo>
                  <a:cubicBezTo>
                    <a:pt x="6680" y="3882"/>
                    <a:pt x="6609" y="3811"/>
                    <a:pt x="6525" y="3811"/>
                  </a:cubicBezTo>
                  <a:cubicBezTo>
                    <a:pt x="6430" y="3811"/>
                    <a:pt x="6358" y="3882"/>
                    <a:pt x="6358" y="3977"/>
                  </a:cubicBezTo>
                  <a:cubicBezTo>
                    <a:pt x="6406" y="5120"/>
                    <a:pt x="5466" y="6061"/>
                    <a:pt x="4323" y="6061"/>
                  </a:cubicBezTo>
                  <a:cubicBezTo>
                    <a:pt x="3168" y="6061"/>
                    <a:pt x="2239" y="5120"/>
                    <a:pt x="2239" y="3977"/>
                  </a:cubicBezTo>
                  <a:cubicBezTo>
                    <a:pt x="2239" y="3882"/>
                    <a:pt x="2156" y="3811"/>
                    <a:pt x="2072" y="3811"/>
                  </a:cubicBezTo>
                  <a:cubicBezTo>
                    <a:pt x="1977" y="3811"/>
                    <a:pt x="1906" y="3882"/>
                    <a:pt x="1906" y="3977"/>
                  </a:cubicBezTo>
                  <a:lnTo>
                    <a:pt x="1906" y="3989"/>
                  </a:lnTo>
                  <a:lnTo>
                    <a:pt x="1798" y="3989"/>
                  </a:lnTo>
                  <a:cubicBezTo>
                    <a:pt x="1727" y="3989"/>
                    <a:pt x="1656" y="3966"/>
                    <a:pt x="1596" y="3906"/>
                  </a:cubicBezTo>
                  <a:cubicBezTo>
                    <a:pt x="1548" y="3846"/>
                    <a:pt x="1525" y="3763"/>
                    <a:pt x="1525" y="3692"/>
                  </a:cubicBezTo>
                  <a:cubicBezTo>
                    <a:pt x="1536" y="3608"/>
                    <a:pt x="1596" y="3513"/>
                    <a:pt x="1679" y="3465"/>
                  </a:cubicBezTo>
                  <a:lnTo>
                    <a:pt x="2858" y="4287"/>
                  </a:lnTo>
                  <a:cubicBezTo>
                    <a:pt x="2989" y="4382"/>
                    <a:pt x="3156" y="4442"/>
                    <a:pt x="3310" y="4442"/>
                  </a:cubicBezTo>
                  <a:cubicBezTo>
                    <a:pt x="3430" y="4442"/>
                    <a:pt x="3561" y="4406"/>
                    <a:pt x="3680" y="4347"/>
                  </a:cubicBezTo>
                  <a:cubicBezTo>
                    <a:pt x="3846" y="4263"/>
                    <a:pt x="3965" y="4144"/>
                    <a:pt x="4037" y="3977"/>
                  </a:cubicBezTo>
                  <a:lnTo>
                    <a:pt x="4561" y="3977"/>
                  </a:lnTo>
                  <a:cubicBezTo>
                    <a:pt x="4632" y="4120"/>
                    <a:pt x="4751" y="4263"/>
                    <a:pt x="4918" y="4347"/>
                  </a:cubicBezTo>
                  <a:cubicBezTo>
                    <a:pt x="5037" y="4406"/>
                    <a:pt x="5156" y="4442"/>
                    <a:pt x="5287" y="4442"/>
                  </a:cubicBezTo>
                  <a:cubicBezTo>
                    <a:pt x="5454" y="4442"/>
                    <a:pt x="5596" y="4394"/>
                    <a:pt x="5727" y="4287"/>
                  </a:cubicBezTo>
                  <a:lnTo>
                    <a:pt x="6906" y="3465"/>
                  </a:lnTo>
                  <a:close/>
                  <a:moveTo>
                    <a:pt x="4323" y="8633"/>
                  </a:moveTo>
                  <a:cubicBezTo>
                    <a:pt x="4620" y="8633"/>
                    <a:pt x="4858" y="8871"/>
                    <a:pt x="4858" y="9169"/>
                  </a:cubicBezTo>
                  <a:cubicBezTo>
                    <a:pt x="4834" y="9466"/>
                    <a:pt x="4596" y="9704"/>
                    <a:pt x="4323" y="9704"/>
                  </a:cubicBezTo>
                  <a:cubicBezTo>
                    <a:pt x="4025" y="9704"/>
                    <a:pt x="3787" y="9466"/>
                    <a:pt x="3787" y="9169"/>
                  </a:cubicBezTo>
                  <a:cubicBezTo>
                    <a:pt x="3787" y="8871"/>
                    <a:pt x="4025" y="8633"/>
                    <a:pt x="4323" y="8633"/>
                  </a:cubicBezTo>
                  <a:close/>
                  <a:moveTo>
                    <a:pt x="4323" y="1"/>
                  </a:moveTo>
                  <a:cubicBezTo>
                    <a:pt x="2799" y="1"/>
                    <a:pt x="1560" y="1239"/>
                    <a:pt x="1560" y="2751"/>
                  </a:cubicBezTo>
                  <a:lnTo>
                    <a:pt x="1560" y="3168"/>
                  </a:lnTo>
                  <a:cubicBezTo>
                    <a:pt x="1370" y="3263"/>
                    <a:pt x="1239" y="3442"/>
                    <a:pt x="1227" y="3644"/>
                  </a:cubicBezTo>
                  <a:cubicBezTo>
                    <a:pt x="1203" y="3811"/>
                    <a:pt x="1263" y="3989"/>
                    <a:pt x="1370" y="4108"/>
                  </a:cubicBezTo>
                  <a:cubicBezTo>
                    <a:pt x="1489" y="4227"/>
                    <a:pt x="1644" y="4299"/>
                    <a:pt x="1822" y="4299"/>
                  </a:cubicBezTo>
                  <a:lnTo>
                    <a:pt x="1941" y="4299"/>
                  </a:lnTo>
                  <a:cubicBezTo>
                    <a:pt x="2025" y="4989"/>
                    <a:pt x="2418" y="5573"/>
                    <a:pt x="2953" y="5954"/>
                  </a:cubicBezTo>
                  <a:lnTo>
                    <a:pt x="2953" y="6704"/>
                  </a:lnTo>
                  <a:cubicBezTo>
                    <a:pt x="2953" y="6859"/>
                    <a:pt x="2846" y="7002"/>
                    <a:pt x="2691" y="7037"/>
                  </a:cubicBezTo>
                  <a:lnTo>
                    <a:pt x="870" y="7573"/>
                  </a:lnTo>
                  <a:cubicBezTo>
                    <a:pt x="358" y="7728"/>
                    <a:pt x="1" y="8204"/>
                    <a:pt x="1" y="8728"/>
                  </a:cubicBezTo>
                  <a:lnTo>
                    <a:pt x="1" y="10895"/>
                  </a:lnTo>
                  <a:cubicBezTo>
                    <a:pt x="1" y="10990"/>
                    <a:pt x="72" y="11062"/>
                    <a:pt x="167" y="11062"/>
                  </a:cubicBezTo>
                  <a:cubicBezTo>
                    <a:pt x="251" y="11062"/>
                    <a:pt x="322" y="10990"/>
                    <a:pt x="322" y="10895"/>
                  </a:cubicBezTo>
                  <a:lnTo>
                    <a:pt x="322" y="8728"/>
                  </a:lnTo>
                  <a:cubicBezTo>
                    <a:pt x="322" y="8561"/>
                    <a:pt x="370" y="8407"/>
                    <a:pt x="441" y="8276"/>
                  </a:cubicBezTo>
                  <a:lnTo>
                    <a:pt x="1370" y="9061"/>
                  </a:lnTo>
                  <a:cubicBezTo>
                    <a:pt x="1489" y="9169"/>
                    <a:pt x="1548" y="9323"/>
                    <a:pt x="1548" y="9466"/>
                  </a:cubicBezTo>
                  <a:lnTo>
                    <a:pt x="1548" y="10883"/>
                  </a:lnTo>
                  <a:cubicBezTo>
                    <a:pt x="1548" y="10966"/>
                    <a:pt x="1620" y="11050"/>
                    <a:pt x="1715" y="11050"/>
                  </a:cubicBezTo>
                  <a:cubicBezTo>
                    <a:pt x="1798" y="11050"/>
                    <a:pt x="1870" y="10966"/>
                    <a:pt x="1870" y="10883"/>
                  </a:cubicBezTo>
                  <a:lnTo>
                    <a:pt x="1870" y="9466"/>
                  </a:lnTo>
                  <a:cubicBezTo>
                    <a:pt x="1870" y="9216"/>
                    <a:pt x="1775" y="8978"/>
                    <a:pt x="1572" y="8811"/>
                  </a:cubicBezTo>
                  <a:lnTo>
                    <a:pt x="655" y="8026"/>
                  </a:lnTo>
                  <a:cubicBezTo>
                    <a:pt x="739" y="7954"/>
                    <a:pt x="834" y="7906"/>
                    <a:pt x="953" y="7871"/>
                  </a:cubicBezTo>
                  <a:lnTo>
                    <a:pt x="1334" y="7752"/>
                  </a:lnTo>
                  <a:lnTo>
                    <a:pt x="2787" y="8466"/>
                  </a:lnTo>
                  <a:cubicBezTo>
                    <a:pt x="2810" y="8490"/>
                    <a:pt x="2822" y="8490"/>
                    <a:pt x="2858" y="8490"/>
                  </a:cubicBezTo>
                  <a:cubicBezTo>
                    <a:pt x="2918" y="8490"/>
                    <a:pt x="2977" y="8454"/>
                    <a:pt x="3001" y="8395"/>
                  </a:cubicBezTo>
                  <a:cubicBezTo>
                    <a:pt x="3049" y="8323"/>
                    <a:pt x="3025" y="8216"/>
                    <a:pt x="2929" y="8168"/>
                  </a:cubicBezTo>
                  <a:lnTo>
                    <a:pt x="1798" y="7609"/>
                  </a:lnTo>
                  <a:lnTo>
                    <a:pt x="2787" y="7323"/>
                  </a:lnTo>
                  <a:cubicBezTo>
                    <a:pt x="3060" y="7240"/>
                    <a:pt x="3275" y="6966"/>
                    <a:pt x="3275" y="6668"/>
                  </a:cubicBezTo>
                  <a:lnTo>
                    <a:pt x="3275" y="6121"/>
                  </a:lnTo>
                  <a:cubicBezTo>
                    <a:pt x="3584" y="6263"/>
                    <a:pt x="3942" y="6359"/>
                    <a:pt x="4334" y="6359"/>
                  </a:cubicBezTo>
                  <a:cubicBezTo>
                    <a:pt x="4715" y="6359"/>
                    <a:pt x="5061" y="6263"/>
                    <a:pt x="5382" y="6121"/>
                  </a:cubicBezTo>
                  <a:lnTo>
                    <a:pt x="5382" y="6668"/>
                  </a:lnTo>
                  <a:cubicBezTo>
                    <a:pt x="5382" y="6966"/>
                    <a:pt x="5596" y="7240"/>
                    <a:pt x="5882" y="7323"/>
                  </a:cubicBezTo>
                  <a:lnTo>
                    <a:pt x="6859" y="7609"/>
                  </a:lnTo>
                  <a:lnTo>
                    <a:pt x="4965" y="8549"/>
                  </a:lnTo>
                  <a:cubicBezTo>
                    <a:pt x="4823" y="8383"/>
                    <a:pt x="4596" y="8276"/>
                    <a:pt x="4346" y="8276"/>
                  </a:cubicBezTo>
                  <a:cubicBezTo>
                    <a:pt x="4096" y="8276"/>
                    <a:pt x="3870" y="8383"/>
                    <a:pt x="3715" y="8549"/>
                  </a:cubicBezTo>
                  <a:lnTo>
                    <a:pt x="3561" y="8454"/>
                  </a:lnTo>
                  <a:cubicBezTo>
                    <a:pt x="3535" y="8440"/>
                    <a:pt x="3508" y="8433"/>
                    <a:pt x="3482" y="8433"/>
                  </a:cubicBezTo>
                  <a:cubicBezTo>
                    <a:pt x="3423" y="8433"/>
                    <a:pt x="3367" y="8468"/>
                    <a:pt x="3334" y="8526"/>
                  </a:cubicBezTo>
                  <a:cubicBezTo>
                    <a:pt x="3287" y="8609"/>
                    <a:pt x="3322" y="8704"/>
                    <a:pt x="3406" y="8752"/>
                  </a:cubicBezTo>
                  <a:lnTo>
                    <a:pt x="3537" y="8823"/>
                  </a:lnTo>
                  <a:cubicBezTo>
                    <a:pt x="3513" y="8919"/>
                    <a:pt x="3477" y="9026"/>
                    <a:pt x="3477" y="9121"/>
                  </a:cubicBezTo>
                  <a:cubicBezTo>
                    <a:pt x="3477" y="9538"/>
                    <a:pt x="3775" y="9883"/>
                    <a:pt x="4180" y="9954"/>
                  </a:cubicBezTo>
                  <a:lnTo>
                    <a:pt x="4180" y="10847"/>
                  </a:lnTo>
                  <a:cubicBezTo>
                    <a:pt x="4180" y="10943"/>
                    <a:pt x="4251" y="11014"/>
                    <a:pt x="4346" y="11014"/>
                  </a:cubicBezTo>
                  <a:cubicBezTo>
                    <a:pt x="4430" y="11014"/>
                    <a:pt x="4513" y="10943"/>
                    <a:pt x="4513" y="10847"/>
                  </a:cubicBezTo>
                  <a:lnTo>
                    <a:pt x="4513" y="9954"/>
                  </a:lnTo>
                  <a:cubicBezTo>
                    <a:pt x="4894" y="9883"/>
                    <a:pt x="5204" y="9538"/>
                    <a:pt x="5204" y="9121"/>
                  </a:cubicBezTo>
                  <a:cubicBezTo>
                    <a:pt x="5204" y="9026"/>
                    <a:pt x="5192" y="8919"/>
                    <a:pt x="5144" y="8823"/>
                  </a:cubicBezTo>
                  <a:lnTo>
                    <a:pt x="7323" y="7740"/>
                  </a:lnTo>
                  <a:lnTo>
                    <a:pt x="7704" y="7859"/>
                  </a:lnTo>
                  <a:cubicBezTo>
                    <a:pt x="7811" y="7895"/>
                    <a:pt x="7918" y="7954"/>
                    <a:pt x="8002" y="8014"/>
                  </a:cubicBezTo>
                  <a:lnTo>
                    <a:pt x="7085" y="8799"/>
                  </a:lnTo>
                  <a:cubicBezTo>
                    <a:pt x="6894" y="8966"/>
                    <a:pt x="6787" y="9204"/>
                    <a:pt x="6787" y="9454"/>
                  </a:cubicBezTo>
                  <a:lnTo>
                    <a:pt x="6787" y="10871"/>
                  </a:lnTo>
                  <a:cubicBezTo>
                    <a:pt x="6787" y="10954"/>
                    <a:pt x="6859" y="11026"/>
                    <a:pt x="6954" y="11026"/>
                  </a:cubicBezTo>
                  <a:cubicBezTo>
                    <a:pt x="7037" y="11026"/>
                    <a:pt x="7109" y="10954"/>
                    <a:pt x="7109" y="10871"/>
                  </a:cubicBezTo>
                  <a:lnTo>
                    <a:pt x="7109" y="9454"/>
                  </a:lnTo>
                  <a:cubicBezTo>
                    <a:pt x="7109" y="9300"/>
                    <a:pt x="7192" y="9157"/>
                    <a:pt x="7287" y="9049"/>
                  </a:cubicBezTo>
                  <a:lnTo>
                    <a:pt x="8216" y="8264"/>
                  </a:lnTo>
                  <a:cubicBezTo>
                    <a:pt x="8287" y="8395"/>
                    <a:pt x="8335" y="8549"/>
                    <a:pt x="8335" y="8704"/>
                  </a:cubicBezTo>
                  <a:lnTo>
                    <a:pt x="8335" y="10883"/>
                  </a:lnTo>
                  <a:cubicBezTo>
                    <a:pt x="8335" y="10966"/>
                    <a:pt x="8406" y="11050"/>
                    <a:pt x="8502" y="11050"/>
                  </a:cubicBezTo>
                  <a:cubicBezTo>
                    <a:pt x="8585" y="11050"/>
                    <a:pt x="8656" y="10966"/>
                    <a:pt x="8656" y="10883"/>
                  </a:cubicBezTo>
                  <a:lnTo>
                    <a:pt x="8656" y="8704"/>
                  </a:lnTo>
                  <a:cubicBezTo>
                    <a:pt x="8633" y="8204"/>
                    <a:pt x="8275" y="7728"/>
                    <a:pt x="7775" y="7573"/>
                  </a:cubicBezTo>
                  <a:lnTo>
                    <a:pt x="5942" y="7037"/>
                  </a:lnTo>
                  <a:cubicBezTo>
                    <a:pt x="5787" y="7002"/>
                    <a:pt x="5692" y="6859"/>
                    <a:pt x="5692" y="6704"/>
                  </a:cubicBezTo>
                  <a:lnTo>
                    <a:pt x="5692" y="5954"/>
                  </a:lnTo>
                  <a:cubicBezTo>
                    <a:pt x="6228" y="5585"/>
                    <a:pt x="6609" y="4989"/>
                    <a:pt x="6704" y="4299"/>
                  </a:cubicBezTo>
                  <a:lnTo>
                    <a:pt x="6823" y="4299"/>
                  </a:lnTo>
                  <a:cubicBezTo>
                    <a:pt x="6978" y="4299"/>
                    <a:pt x="7144" y="4227"/>
                    <a:pt x="7263" y="4108"/>
                  </a:cubicBezTo>
                  <a:cubicBezTo>
                    <a:pt x="7382" y="3989"/>
                    <a:pt x="7430" y="3811"/>
                    <a:pt x="7418" y="3644"/>
                  </a:cubicBezTo>
                  <a:cubicBezTo>
                    <a:pt x="7394" y="3442"/>
                    <a:pt x="7263" y="3263"/>
                    <a:pt x="7073" y="3168"/>
                  </a:cubicBezTo>
                  <a:lnTo>
                    <a:pt x="7073" y="2751"/>
                  </a:lnTo>
                  <a:cubicBezTo>
                    <a:pt x="7073" y="1239"/>
                    <a:pt x="5835" y="1"/>
                    <a:pt x="4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7" name="Google Shape;11577;p61"/>
            <p:cNvSpPr/>
            <p:nvPr/>
          </p:nvSpPr>
          <p:spPr>
            <a:xfrm>
              <a:off x="7260824" y="3930925"/>
              <a:ext cx="43813" cy="15396"/>
            </a:xfrm>
            <a:custGeom>
              <a:avLst/>
              <a:gdLst/>
              <a:ahLst/>
              <a:cxnLst/>
              <a:rect l="l" t="t" r="r" b="b"/>
              <a:pathLst>
                <a:path w="1383" h="486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191" y="402"/>
                    <a:pt x="430" y="485"/>
                    <a:pt x="703" y="485"/>
                  </a:cubicBezTo>
                  <a:cubicBezTo>
                    <a:pt x="965" y="485"/>
                    <a:pt x="1192" y="402"/>
                    <a:pt x="1346" y="259"/>
                  </a:cubicBezTo>
                  <a:cubicBezTo>
                    <a:pt x="1370" y="200"/>
                    <a:pt x="1382" y="104"/>
                    <a:pt x="1311" y="45"/>
                  </a:cubicBezTo>
                  <a:cubicBezTo>
                    <a:pt x="1281" y="15"/>
                    <a:pt x="1239" y="0"/>
                    <a:pt x="1198" y="0"/>
                  </a:cubicBezTo>
                  <a:cubicBezTo>
                    <a:pt x="1156" y="0"/>
                    <a:pt x="1114" y="15"/>
                    <a:pt x="1084" y="45"/>
                  </a:cubicBezTo>
                  <a:cubicBezTo>
                    <a:pt x="1025" y="104"/>
                    <a:pt x="894" y="152"/>
                    <a:pt x="692" y="152"/>
                  </a:cubicBezTo>
                  <a:cubicBezTo>
                    <a:pt x="477" y="152"/>
                    <a:pt x="346" y="81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8" name="Google Shape;11578;p61"/>
            <p:cNvSpPr/>
            <p:nvPr/>
          </p:nvSpPr>
          <p:spPr>
            <a:xfrm>
              <a:off x="7260476" y="3837532"/>
              <a:ext cx="44162" cy="21289"/>
            </a:xfrm>
            <a:custGeom>
              <a:avLst/>
              <a:gdLst/>
              <a:ahLst/>
              <a:cxnLst/>
              <a:rect l="l" t="t" r="r" b="b"/>
              <a:pathLst>
                <a:path w="1394" h="672" extrusionOk="0">
                  <a:moveTo>
                    <a:pt x="170" y="0"/>
                  </a:moveTo>
                  <a:cubicBezTo>
                    <a:pt x="119" y="0"/>
                    <a:pt x="70" y="25"/>
                    <a:pt x="48" y="76"/>
                  </a:cubicBezTo>
                  <a:cubicBezTo>
                    <a:pt x="0" y="147"/>
                    <a:pt x="12" y="254"/>
                    <a:pt x="83" y="290"/>
                  </a:cubicBezTo>
                  <a:lnTo>
                    <a:pt x="607" y="635"/>
                  </a:lnTo>
                  <a:cubicBezTo>
                    <a:pt x="643" y="647"/>
                    <a:pt x="667" y="671"/>
                    <a:pt x="691" y="671"/>
                  </a:cubicBezTo>
                  <a:cubicBezTo>
                    <a:pt x="726" y="671"/>
                    <a:pt x="762" y="647"/>
                    <a:pt x="786" y="635"/>
                  </a:cubicBezTo>
                  <a:lnTo>
                    <a:pt x="1310" y="290"/>
                  </a:lnTo>
                  <a:cubicBezTo>
                    <a:pt x="1381" y="231"/>
                    <a:pt x="1393" y="147"/>
                    <a:pt x="1357" y="76"/>
                  </a:cubicBezTo>
                  <a:cubicBezTo>
                    <a:pt x="1328" y="25"/>
                    <a:pt x="1276" y="0"/>
                    <a:pt x="1224" y="0"/>
                  </a:cubicBezTo>
                  <a:cubicBezTo>
                    <a:pt x="1191" y="0"/>
                    <a:pt x="1159" y="10"/>
                    <a:pt x="1131" y="28"/>
                  </a:cubicBezTo>
                  <a:lnTo>
                    <a:pt x="703" y="314"/>
                  </a:lnTo>
                  <a:lnTo>
                    <a:pt x="262" y="28"/>
                  </a:lnTo>
                  <a:cubicBezTo>
                    <a:pt x="234" y="10"/>
                    <a:pt x="202" y="0"/>
                    <a:pt x="1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9" name="Google Shape;11579;p61"/>
            <p:cNvSpPr/>
            <p:nvPr/>
          </p:nvSpPr>
          <p:spPr>
            <a:xfrm>
              <a:off x="7277425" y="3821059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80" name="Google Shape;11580;p61"/>
          <p:cNvGrpSpPr/>
          <p:nvPr/>
        </p:nvGrpSpPr>
        <p:grpSpPr>
          <a:xfrm>
            <a:off x="8054060" y="3787098"/>
            <a:ext cx="266334" cy="353834"/>
            <a:chOff x="8054060" y="3787098"/>
            <a:chExt cx="266334" cy="353834"/>
          </a:xfrm>
        </p:grpSpPr>
        <p:sp>
          <p:nvSpPr>
            <p:cNvPr id="11581" name="Google Shape;11581;p61"/>
            <p:cNvSpPr/>
            <p:nvPr/>
          </p:nvSpPr>
          <p:spPr>
            <a:xfrm>
              <a:off x="8164972" y="3974675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9" y="0"/>
                  </a:moveTo>
                  <a:cubicBezTo>
                    <a:pt x="140" y="0"/>
                    <a:pt x="101" y="15"/>
                    <a:pt x="72" y="45"/>
                  </a:cubicBezTo>
                  <a:cubicBezTo>
                    <a:pt x="0" y="104"/>
                    <a:pt x="0" y="212"/>
                    <a:pt x="72" y="271"/>
                  </a:cubicBezTo>
                  <a:cubicBezTo>
                    <a:pt x="203" y="402"/>
                    <a:pt x="441" y="485"/>
                    <a:pt x="703" y="485"/>
                  </a:cubicBezTo>
                  <a:cubicBezTo>
                    <a:pt x="965" y="485"/>
                    <a:pt x="1191" y="402"/>
                    <a:pt x="1346" y="271"/>
                  </a:cubicBezTo>
                  <a:cubicBezTo>
                    <a:pt x="1381" y="212"/>
                    <a:pt x="1381" y="104"/>
                    <a:pt x="1322" y="45"/>
                  </a:cubicBezTo>
                  <a:cubicBezTo>
                    <a:pt x="1292" y="15"/>
                    <a:pt x="1250" y="0"/>
                    <a:pt x="1209" y="0"/>
                  </a:cubicBezTo>
                  <a:cubicBezTo>
                    <a:pt x="1167" y="0"/>
                    <a:pt x="1125" y="15"/>
                    <a:pt x="1096" y="45"/>
                  </a:cubicBezTo>
                  <a:cubicBezTo>
                    <a:pt x="1036" y="104"/>
                    <a:pt x="881" y="176"/>
                    <a:pt x="691" y="176"/>
                  </a:cubicBezTo>
                  <a:cubicBezTo>
                    <a:pt x="500" y="176"/>
                    <a:pt x="346" y="104"/>
                    <a:pt x="286" y="45"/>
                  </a:cubicBezTo>
                  <a:cubicBezTo>
                    <a:pt x="256" y="15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2" name="Google Shape;11582;p61"/>
            <p:cNvSpPr/>
            <p:nvPr/>
          </p:nvSpPr>
          <p:spPr>
            <a:xfrm>
              <a:off x="8148371" y="393045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3" name="Google Shape;11583;p61"/>
            <p:cNvSpPr/>
            <p:nvPr/>
          </p:nvSpPr>
          <p:spPr>
            <a:xfrm>
              <a:off x="8214361" y="3930450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4" name="Google Shape;11584;p61"/>
            <p:cNvSpPr/>
            <p:nvPr/>
          </p:nvSpPr>
          <p:spPr>
            <a:xfrm>
              <a:off x="8054060" y="3787098"/>
              <a:ext cx="266334" cy="353834"/>
            </a:xfrm>
            <a:custGeom>
              <a:avLst/>
              <a:gdLst/>
              <a:ahLst/>
              <a:cxnLst/>
              <a:rect l="l" t="t" r="r" b="b"/>
              <a:pathLst>
                <a:path w="8407" h="11169" extrusionOk="0">
                  <a:moveTo>
                    <a:pt x="4537" y="1370"/>
                  </a:moveTo>
                  <a:lnTo>
                    <a:pt x="4537" y="1906"/>
                  </a:lnTo>
                  <a:cubicBezTo>
                    <a:pt x="4537" y="2096"/>
                    <a:pt x="4370" y="2263"/>
                    <a:pt x="4180" y="2263"/>
                  </a:cubicBezTo>
                  <a:cubicBezTo>
                    <a:pt x="3977" y="2263"/>
                    <a:pt x="3823" y="2096"/>
                    <a:pt x="3823" y="1906"/>
                  </a:cubicBezTo>
                  <a:lnTo>
                    <a:pt x="3823" y="1370"/>
                  </a:lnTo>
                  <a:close/>
                  <a:moveTo>
                    <a:pt x="4180" y="322"/>
                  </a:moveTo>
                  <a:lnTo>
                    <a:pt x="6680" y="989"/>
                  </a:lnTo>
                  <a:lnTo>
                    <a:pt x="7633" y="2573"/>
                  </a:lnTo>
                  <a:lnTo>
                    <a:pt x="6966" y="3239"/>
                  </a:lnTo>
                  <a:lnTo>
                    <a:pt x="6966" y="2406"/>
                  </a:lnTo>
                  <a:cubicBezTo>
                    <a:pt x="6966" y="2227"/>
                    <a:pt x="6811" y="2061"/>
                    <a:pt x="6621" y="2061"/>
                  </a:cubicBezTo>
                  <a:lnTo>
                    <a:pt x="6442" y="2061"/>
                  </a:lnTo>
                  <a:cubicBezTo>
                    <a:pt x="6347" y="2061"/>
                    <a:pt x="6275" y="2144"/>
                    <a:pt x="6275" y="2227"/>
                  </a:cubicBezTo>
                  <a:cubicBezTo>
                    <a:pt x="6275" y="2323"/>
                    <a:pt x="6347" y="2394"/>
                    <a:pt x="6442" y="2394"/>
                  </a:cubicBezTo>
                  <a:lnTo>
                    <a:pt x="6621" y="2394"/>
                  </a:lnTo>
                  <a:cubicBezTo>
                    <a:pt x="6621" y="2394"/>
                    <a:pt x="6633" y="2394"/>
                    <a:pt x="6633" y="2406"/>
                  </a:cubicBezTo>
                  <a:lnTo>
                    <a:pt x="6633" y="3120"/>
                  </a:lnTo>
                  <a:lnTo>
                    <a:pt x="1739" y="3120"/>
                  </a:lnTo>
                  <a:lnTo>
                    <a:pt x="1739" y="2406"/>
                  </a:lnTo>
                  <a:cubicBezTo>
                    <a:pt x="1739" y="2406"/>
                    <a:pt x="1739" y="2394"/>
                    <a:pt x="1751" y="2394"/>
                  </a:cubicBezTo>
                  <a:lnTo>
                    <a:pt x="3727" y="2394"/>
                  </a:lnTo>
                  <a:cubicBezTo>
                    <a:pt x="3847" y="2501"/>
                    <a:pt x="4013" y="2573"/>
                    <a:pt x="4192" y="2573"/>
                  </a:cubicBezTo>
                  <a:cubicBezTo>
                    <a:pt x="4370" y="2573"/>
                    <a:pt x="4513" y="2513"/>
                    <a:pt x="4656" y="2394"/>
                  </a:cubicBezTo>
                  <a:lnTo>
                    <a:pt x="5763" y="2394"/>
                  </a:lnTo>
                  <a:cubicBezTo>
                    <a:pt x="5859" y="2394"/>
                    <a:pt x="5930" y="2323"/>
                    <a:pt x="5930" y="2227"/>
                  </a:cubicBezTo>
                  <a:cubicBezTo>
                    <a:pt x="5930" y="2144"/>
                    <a:pt x="5859" y="2061"/>
                    <a:pt x="5763" y="2061"/>
                  </a:cubicBezTo>
                  <a:lnTo>
                    <a:pt x="4859" y="2061"/>
                  </a:lnTo>
                  <a:cubicBezTo>
                    <a:pt x="4870" y="2001"/>
                    <a:pt x="4894" y="1942"/>
                    <a:pt x="4894" y="1882"/>
                  </a:cubicBezTo>
                  <a:lnTo>
                    <a:pt x="4894" y="1180"/>
                  </a:lnTo>
                  <a:cubicBezTo>
                    <a:pt x="4894" y="1096"/>
                    <a:pt x="4811" y="1025"/>
                    <a:pt x="4728" y="1025"/>
                  </a:cubicBezTo>
                  <a:lnTo>
                    <a:pt x="3692" y="1025"/>
                  </a:lnTo>
                  <a:cubicBezTo>
                    <a:pt x="3596" y="1025"/>
                    <a:pt x="3525" y="1096"/>
                    <a:pt x="3525" y="1180"/>
                  </a:cubicBezTo>
                  <a:lnTo>
                    <a:pt x="3525" y="1882"/>
                  </a:lnTo>
                  <a:cubicBezTo>
                    <a:pt x="3525" y="1942"/>
                    <a:pt x="3537" y="2001"/>
                    <a:pt x="3549" y="2061"/>
                  </a:cubicBezTo>
                  <a:lnTo>
                    <a:pt x="1763" y="2061"/>
                  </a:lnTo>
                  <a:cubicBezTo>
                    <a:pt x="1584" y="2061"/>
                    <a:pt x="1430" y="2215"/>
                    <a:pt x="1430" y="2406"/>
                  </a:cubicBezTo>
                  <a:lnTo>
                    <a:pt x="1430" y="3239"/>
                  </a:lnTo>
                  <a:lnTo>
                    <a:pt x="727" y="2573"/>
                  </a:lnTo>
                  <a:lnTo>
                    <a:pt x="1680" y="989"/>
                  </a:lnTo>
                  <a:lnTo>
                    <a:pt x="4180" y="322"/>
                  </a:lnTo>
                  <a:close/>
                  <a:moveTo>
                    <a:pt x="6549" y="3454"/>
                  </a:moveTo>
                  <a:cubicBezTo>
                    <a:pt x="6430" y="3573"/>
                    <a:pt x="6180" y="3668"/>
                    <a:pt x="5978" y="3751"/>
                  </a:cubicBezTo>
                  <a:cubicBezTo>
                    <a:pt x="5501" y="3906"/>
                    <a:pt x="4859" y="4001"/>
                    <a:pt x="4180" y="4001"/>
                  </a:cubicBezTo>
                  <a:cubicBezTo>
                    <a:pt x="3489" y="4001"/>
                    <a:pt x="2858" y="3906"/>
                    <a:pt x="2382" y="3751"/>
                  </a:cubicBezTo>
                  <a:cubicBezTo>
                    <a:pt x="2168" y="3692"/>
                    <a:pt x="1930" y="3573"/>
                    <a:pt x="1811" y="3454"/>
                  </a:cubicBezTo>
                  <a:close/>
                  <a:moveTo>
                    <a:pt x="1739" y="3787"/>
                  </a:moveTo>
                  <a:cubicBezTo>
                    <a:pt x="1822" y="3870"/>
                    <a:pt x="1942" y="3942"/>
                    <a:pt x="2096" y="4001"/>
                  </a:cubicBezTo>
                  <a:lnTo>
                    <a:pt x="2096" y="4168"/>
                  </a:lnTo>
                  <a:cubicBezTo>
                    <a:pt x="2096" y="4263"/>
                    <a:pt x="2001" y="4347"/>
                    <a:pt x="1918" y="4347"/>
                  </a:cubicBezTo>
                  <a:lnTo>
                    <a:pt x="1739" y="4347"/>
                  </a:lnTo>
                  <a:lnTo>
                    <a:pt x="1739" y="3787"/>
                  </a:lnTo>
                  <a:close/>
                  <a:moveTo>
                    <a:pt x="6621" y="3811"/>
                  </a:moveTo>
                  <a:lnTo>
                    <a:pt x="6621" y="4359"/>
                  </a:lnTo>
                  <a:lnTo>
                    <a:pt x="6442" y="4359"/>
                  </a:lnTo>
                  <a:cubicBezTo>
                    <a:pt x="6394" y="4359"/>
                    <a:pt x="6347" y="4347"/>
                    <a:pt x="6299" y="4299"/>
                  </a:cubicBezTo>
                  <a:cubicBezTo>
                    <a:pt x="6275" y="4263"/>
                    <a:pt x="6240" y="4228"/>
                    <a:pt x="6240" y="4168"/>
                  </a:cubicBezTo>
                  <a:lnTo>
                    <a:pt x="6240" y="4001"/>
                  </a:lnTo>
                  <a:lnTo>
                    <a:pt x="6252" y="4001"/>
                  </a:lnTo>
                  <a:cubicBezTo>
                    <a:pt x="6394" y="3942"/>
                    <a:pt x="6525" y="3870"/>
                    <a:pt x="6621" y="3811"/>
                  </a:cubicBezTo>
                  <a:close/>
                  <a:moveTo>
                    <a:pt x="5930" y="4120"/>
                  </a:moveTo>
                  <a:lnTo>
                    <a:pt x="5930" y="4180"/>
                  </a:lnTo>
                  <a:cubicBezTo>
                    <a:pt x="5930" y="4311"/>
                    <a:pt x="5990" y="4442"/>
                    <a:pt x="6085" y="4537"/>
                  </a:cubicBezTo>
                  <a:cubicBezTo>
                    <a:pt x="6168" y="4621"/>
                    <a:pt x="6311" y="4680"/>
                    <a:pt x="6442" y="4680"/>
                  </a:cubicBezTo>
                  <a:lnTo>
                    <a:pt x="6704" y="4680"/>
                  </a:lnTo>
                  <a:cubicBezTo>
                    <a:pt x="6859" y="4680"/>
                    <a:pt x="6978" y="4799"/>
                    <a:pt x="6978" y="4954"/>
                  </a:cubicBezTo>
                  <a:cubicBezTo>
                    <a:pt x="6978" y="5097"/>
                    <a:pt x="6859" y="5216"/>
                    <a:pt x="6704" y="5216"/>
                  </a:cubicBezTo>
                  <a:lnTo>
                    <a:pt x="6609" y="5216"/>
                  </a:lnTo>
                  <a:lnTo>
                    <a:pt x="6609" y="5204"/>
                  </a:lnTo>
                  <a:cubicBezTo>
                    <a:pt x="6609" y="5109"/>
                    <a:pt x="6525" y="5037"/>
                    <a:pt x="6442" y="5037"/>
                  </a:cubicBezTo>
                  <a:cubicBezTo>
                    <a:pt x="6347" y="5037"/>
                    <a:pt x="6275" y="5109"/>
                    <a:pt x="6275" y="5204"/>
                  </a:cubicBezTo>
                  <a:cubicBezTo>
                    <a:pt x="6275" y="6359"/>
                    <a:pt x="5335" y="7299"/>
                    <a:pt x="4180" y="7299"/>
                  </a:cubicBezTo>
                  <a:cubicBezTo>
                    <a:pt x="3013" y="7299"/>
                    <a:pt x="2084" y="6371"/>
                    <a:pt x="2084" y="5204"/>
                  </a:cubicBezTo>
                  <a:cubicBezTo>
                    <a:pt x="2084" y="5109"/>
                    <a:pt x="2001" y="5037"/>
                    <a:pt x="1918" y="5037"/>
                  </a:cubicBezTo>
                  <a:cubicBezTo>
                    <a:pt x="1822" y="5037"/>
                    <a:pt x="1751" y="5109"/>
                    <a:pt x="1751" y="5204"/>
                  </a:cubicBezTo>
                  <a:lnTo>
                    <a:pt x="1751" y="5216"/>
                  </a:lnTo>
                  <a:lnTo>
                    <a:pt x="1644" y="5216"/>
                  </a:lnTo>
                  <a:cubicBezTo>
                    <a:pt x="1501" y="5216"/>
                    <a:pt x="1382" y="5097"/>
                    <a:pt x="1382" y="4954"/>
                  </a:cubicBezTo>
                  <a:cubicBezTo>
                    <a:pt x="1382" y="4799"/>
                    <a:pt x="1501" y="4680"/>
                    <a:pt x="1644" y="4680"/>
                  </a:cubicBezTo>
                  <a:lnTo>
                    <a:pt x="1918" y="4680"/>
                  </a:lnTo>
                  <a:cubicBezTo>
                    <a:pt x="2203" y="4680"/>
                    <a:pt x="2418" y="4466"/>
                    <a:pt x="2418" y="4180"/>
                  </a:cubicBezTo>
                  <a:lnTo>
                    <a:pt x="2418" y="4120"/>
                  </a:lnTo>
                  <a:cubicBezTo>
                    <a:pt x="2918" y="4251"/>
                    <a:pt x="3525" y="4347"/>
                    <a:pt x="4180" y="4347"/>
                  </a:cubicBezTo>
                  <a:cubicBezTo>
                    <a:pt x="4835" y="4347"/>
                    <a:pt x="5442" y="4263"/>
                    <a:pt x="5930" y="4120"/>
                  </a:cubicBezTo>
                  <a:close/>
                  <a:moveTo>
                    <a:pt x="1751" y="5549"/>
                  </a:moveTo>
                  <a:cubicBezTo>
                    <a:pt x="1858" y="6299"/>
                    <a:pt x="2311" y="6942"/>
                    <a:pt x="2942" y="7311"/>
                  </a:cubicBezTo>
                  <a:lnTo>
                    <a:pt x="2942" y="7728"/>
                  </a:lnTo>
                  <a:cubicBezTo>
                    <a:pt x="2858" y="7728"/>
                    <a:pt x="2763" y="7764"/>
                    <a:pt x="2692" y="7835"/>
                  </a:cubicBezTo>
                  <a:lnTo>
                    <a:pt x="2323" y="8228"/>
                  </a:lnTo>
                  <a:cubicBezTo>
                    <a:pt x="2299" y="8240"/>
                    <a:pt x="2287" y="8264"/>
                    <a:pt x="2275" y="8300"/>
                  </a:cubicBezTo>
                  <a:lnTo>
                    <a:pt x="1025" y="8752"/>
                  </a:lnTo>
                  <a:lnTo>
                    <a:pt x="1025" y="8347"/>
                  </a:lnTo>
                  <a:cubicBezTo>
                    <a:pt x="1025" y="7514"/>
                    <a:pt x="1215" y="7049"/>
                    <a:pt x="1406" y="6597"/>
                  </a:cubicBezTo>
                  <a:cubicBezTo>
                    <a:pt x="1549" y="6276"/>
                    <a:pt x="1680" y="5966"/>
                    <a:pt x="1703" y="5549"/>
                  </a:cubicBezTo>
                  <a:close/>
                  <a:moveTo>
                    <a:pt x="5061" y="7466"/>
                  </a:moveTo>
                  <a:lnTo>
                    <a:pt x="5061" y="7930"/>
                  </a:lnTo>
                  <a:lnTo>
                    <a:pt x="4180" y="8812"/>
                  </a:lnTo>
                  <a:lnTo>
                    <a:pt x="3299" y="7930"/>
                  </a:lnTo>
                  <a:lnTo>
                    <a:pt x="3299" y="7466"/>
                  </a:lnTo>
                  <a:cubicBezTo>
                    <a:pt x="3561" y="7573"/>
                    <a:pt x="3858" y="7633"/>
                    <a:pt x="4180" y="7633"/>
                  </a:cubicBezTo>
                  <a:cubicBezTo>
                    <a:pt x="4489" y="7633"/>
                    <a:pt x="4787" y="7573"/>
                    <a:pt x="5061" y="7466"/>
                  </a:cubicBezTo>
                  <a:close/>
                  <a:moveTo>
                    <a:pt x="2977" y="8061"/>
                  </a:moveTo>
                  <a:lnTo>
                    <a:pt x="3942" y="9026"/>
                  </a:lnTo>
                  <a:lnTo>
                    <a:pt x="3192" y="9645"/>
                  </a:lnTo>
                  <a:lnTo>
                    <a:pt x="3180" y="9645"/>
                  </a:lnTo>
                  <a:lnTo>
                    <a:pt x="2632" y="8395"/>
                  </a:lnTo>
                  <a:lnTo>
                    <a:pt x="2954" y="8061"/>
                  </a:lnTo>
                  <a:close/>
                  <a:moveTo>
                    <a:pt x="4180" y="9252"/>
                  </a:moveTo>
                  <a:lnTo>
                    <a:pt x="4501" y="9538"/>
                  </a:lnTo>
                  <a:lnTo>
                    <a:pt x="4442" y="9728"/>
                  </a:lnTo>
                  <a:cubicBezTo>
                    <a:pt x="4418" y="9800"/>
                    <a:pt x="4358" y="9859"/>
                    <a:pt x="4263" y="9859"/>
                  </a:cubicBezTo>
                  <a:lnTo>
                    <a:pt x="4073" y="9859"/>
                  </a:lnTo>
                  <a:cubicBezTo>
                    <a:pt x="4001" y="9859"/>
                    <a:pt x="3930" y="9824"/>
                    <a:pt x="3894" y="9728"/>
                  </a:cubicBezTo>
                  <a:lnTo>
                    <a:pt x="3835" y="9538"/>
                  </a:lnTo>
                  <a:lnTo>
                    <a:pt x="4180" y="9252"/>
                  </a:lnTo>
                  <a:close/>
                  <a:moveTo>
                    <a:pt x="4132" y="1"/>
                  </a:moveTo>
                  <a:lnTo>
                    <a:pt x="1513" y="691"/>
                  </a:lnTo>
                  <a:cubicBezTo>
                    <a:pt x="1465" y="715"/>
                    <a:pt x="1441" y="739"/>
                    <a:pt x="1406" y="775"/>
                  </a:cubicBezTo>
                  <a:lnTo>
                    <a:pt x="370" y="2513"/>
                  </a:lnTo>
                  <a:cubicBezTo>
                    <a:pt x="322" y="2573"/>
                    <a:pt x="334" y="2656"/>
                    <a:pt x="394" y="2704"/>
                  </a:cubicBezTo>
                  <a:lnTo>
                    <a:pt x="1394" y="3704"/>
                  </a:lnTo>
                  <a:lnTo>
                    <a:pt x="1394" y="4406"/>
                  </a:lnTo>
                  <a:cubicBezTo>
                    <a:pt x="1191" y="4490"/>
                    <a:pt x="1049" y="4704"/>
                    <a:pt x="1049" y="4954"/>
                  </a:cubicBezTo>
                  <a:cubicBezTo>
                    <a:pt x="1049" y="5192"/>
                    <a:pt x="1203" y="5394"/>
                    <a:pt x="1394" y="5490"/>
                  </a:cubicBezTo>
                  <a:cubicBezTo>
                    <a:pt x="1382" y="5871"/>
                    <a:pt x="1263" y="6156"/>
                    <a:pt x="1108" y="6490"/>
                  </a:cubicBezTo>
                  <a:cubicBezTo>
                    <a:pt x="918" y="6930"/>
                    <a:pt x="691" y="7454"/>
                    <a:pt x="691" y="8347"/>
                  </a:cubicBezTo>
                  <a:lnTo>
                    <a:pt x="691" y="8871"/>
                  </a:lnTo>
                  <a:cubicBezTo>
                    <a:pt x="275" y="9062"/>
                    <a:pt x="1" y="9490"/>
                    <a:pt x="1" y="9966"/>
                  </a:cubicBezTo>
                  <a:lnTo>
                    <a:pt x="1" y="10967"/>
                  </a:lnTo>
                  <a:cubicBezTo>
                    <a:pt x="1" y="11050"/>
                    <a:pt x="72" y="11133"/>
                    <a:pt x="156" y="11133"/>
                  </a:cubicBezTo>
                  <a:cubicBezTo>
                    <a:pt x="251" y="11133"/>
                    <a:pt x="322" y="11050"/>
                    <a:pt x="322" y="10967"/>
                  </a:cubicBezTo>
                  <a:lnTo>
                    <a:pt x="322" y="9966"/>
                  </a:lnTo>
                  <a:cubicBezTo>
                    <a:pt x="322" y="9859"/>
                    <a:pt x="334" y="9764"/>
                    <a:pt x="382" y="9657"/>
                  </a:cubicBezTo>
                  <a:lnTo>
                    <a:pt x="1203" y="10359"/>
                  </a:lnTo>
                  <a:cubicBezTo>
                    <a:pt x="1322" y="10455"/>
                    <a:pt x="1394" y="10609"/>
                    <a:pt x="1394" y="10752"/>
                  </a:cubicBezTo>
                  <a:lnTo>
                    <a:pt x="1394" y="10967"/>
                  </a:lnTo>
                  <a:cubicBezTo>
                    <a:pt x="1394" y="11050"/>
                    <a:pt x="1465" y="11133"/>
                    <a:pt x="1561" y="11133"/>
                  </a:cubicBezTo>
                  <a:cubicBezTo>
                    <a:pt x="1644" y="11133"/>
                    <a:pt x="1715" y="11050"/>
                    <a:pt x="1715" y="10967"/>
                  </a:cubicBezTo>
                  <a:lnTo>
                    <a:pt x="1715" y="10752"/>
                  </a:lnTo>
                  <a:cubicBezTo>
                    <a:pt x="1715" y="10502"/>
                    <a:pt x="1620" y="10264"/>
                    <a:pt x="1418" y="10097"/>
                  </a:cubicBezTo>
                  <a:lnTo>
                    <a:pt x="560" y="9359"/>
                  </a:lnTo>
                  <a:cubicBezTo>
                    <a:pt x="644" y="9252"/>
                    <a:pt x="787" y="9169"/>
                    <a:pt x="918" y="9121"/>
                  </a:cubicBezTo>
                  <a:lnTo>
                    <a:pt x="2382" y="8609"/>
                  </a:lnTo>
                  <a:lnTo>
                    <a:pt x="2894" y="9776"/>
                  </a:lnTo>
                  <a:cubicBezTo>
                    <a:pt x="2942" y="9883"/>
                    <a:pt x="3037" y="9943"/>
                    <a:pt x="3132" y="9966"/>
                  </a:cubicBezTo>
                  <a:cubicBezTo>
                    <a:pt x="3168" y="9966"/>
                    <a:pt x="3180" y="9978"/>
                    <a:pt x="3204" y="9978"/>
                  </a:cubicBezTo>
                  <a:cubicBezTo>
                    <a:pt x="3287" y="9978"/>
                    <a:pt x="3358" y="9955"/>
                    <a:pt x="3418" y="9907"/>
                  </a:cubicBezTo>
                  <a:lnTo>
                    <a:pt x="3585" y="9776"/>
                  </a:lnTo>
                  <a:lnTo>
                    <a:pt x="3608" y="9847"/>
                  </a:lnTo>
                  <a:cubicBezTo>
                    <a:pt x="3644" y="9943"/>
                    <a:pt x="3692" y="10014"/>
                    <a:pt x="3763" y="10074"/>
                  </a:cubicBezTo>
                  <a:lnTo>
                    <a:pt x="3608" y="10967"/>
                  </a:lnTo>
                  <a:cubicBezTo>
                    <a:pt x="3596" y="11050"/>
                    <a:pt x="3656" y="11145"/>
                    <a:pt x="3751" y="11157"/>
                  </a:cubicBezTo>
                  <a:lnTo>
                    <a:pt x="3775" y="11157"/>
                  </a:lnTo>
                  <a:cubicBezTo>
                    <a:pt x="3847" y="11157"/>
                    <a:pt x="3930" y="11098"/>
                    <a:pt x="3942" y="11026"/>
                  </a:cubicBezTo>
                  <a:lnTo>
                    <a:pt x="4073" y="10216"/>
                  </a:lnTo>
                  <a:lnTo>
                    <a:pt x="4323" y="10216"/>
                  </a:lnTo>
                  <a:lnTo>
                    <a:pt x="4466" y="11026"/>
                  </a:lnTo>
                  <a:cubicBezTo>
                    <a:pt x="4478" y="11098"/>
                    <a:pt x="4549" y="11157"/>
                    <a:pt x="4620" y="11157"/>
                  </a:cubicBezTo>
                  <a:lnTo>
                    <a:pt x="4656" y="11157"/>
                  </a:lnTo>
                  <a:cubicBezTo>
                    <a:pt x="4739" y="11145"/>
                    <a:pt x="4799" y="11050"/>
                    <a:pt x="4787" y="10967"/>
                  </a:cubicBezTo>
                  <a:lnTo>
                    <a:pt x="4644" y="10086"/>
                  </a:lnTo>
                  <a:cubicBezTo>
                    <a:pt x="4704" y="10026"/>
                    <a:pt x="4763" y="9955"/>
                    <a:pt x="4787" y="9859"/>
                  </a:cubicBezTo>
                  <a:lnTo>
                    <a:pt x="4823" y="9788"/>
                  </a:lnTo>
                  <a:lnTo>
                    <a:pt x="4978" y="9919"/>
                  </a:lnTo>
                  <a:cubicBezTo>
                    <a:pt x="5037" y="9966"/>
                    <a:pt x="5120" y="10002"/>
                    <a:pt x="5192" y="10002"/>
                  </a:cubicBezTo>
                  <a:cubicBezTo>
                    <a:pt x="5216" y="10002"/>
                    <a:pt x="5240" y="10002"/>
                    <a:pt x="5263" y="9978"/>
                  </a:cubicBezTo>
                  <a:cubicBezTo>
                    <a:pt x="5371" y="9955"/>
                    <a:pt x="5454" y="9895"/>
                    <a:pt x="5501" y="9788"/>
                  </a:cubicBezTo>
                  <a:lnTo>
                    <a:pt x="5752" y="9240"/>
                  </a:lnTo>
                  <a:cubicBezTo>
                    <a:pt x="5787" y="9145"/>
                    <a:pt x="5752" y="9062"/>
                    <a:pt x="5668" y="9026"/>
                  </a:cubicBezTo>
                  <a:cubicBezTo>
                    <a:pt x="5646" y="9020"/>
                    <a:pt x="5624" y="9017"/>
                    <a:pt x="5603" y="9017"/>
                  </a:cubicBezTo>
                  <a:cubicBezTo>
                    <a:pt x="5536" y="9017"/>
                    <a:pt x="5481" y="9048"/>
                    <a:pt x="5454" y="9121"/>
                  </a:cubicBezTo>
                  <a:lnTo>
                    <a:pt x="5204" y="9669"/>
                  </a:lnTo>
                  <a:lnTo>
                    <a:pt x="5180" y="9669"/>
                  </a:lnTo>
                  <a:lnTo>
                    <a:pt x="4442" y="9062"/>
                  </a:lnTo>
                  <a:lnTo>
                    <a:pt x="5418" y="8097"/>
                  </a:lnTo>
                  <a:lnTo>
                    <a:pt x="5430" y="8097"/>
                  </a:lnTo>
                  <a:lnTo>
                    <a:pt x="5752" y="8419"/>
                  </a:lnTo>
                  <a:lnTo>
                    <a:pt x="5728" y="8490"/>
                  </a:lnTo>
                  <a:cubicBezTo>
                    <a:pt x="5692" y="8585"/>
                    <a:pt x="5728" y="8669"/>
                    <a:pt x="5811" y="8704"/>
                  </a:cubicBezTo>
                  <a:cubicBezTo>
                    <a:pt x="5833" y="8711"/>
                    <a:pt x="5854" y="8714"/>
                    <a:pt x="5875" y="8714"/>
                  </a:cubicBezTo>
                  <a:cubicBezTo>
                    <a:pt x="5935" y="8714"/>
                    <a:pt x="5990" y="8689"/>
                    <a:pt x="6025" y="8645"/>
                  </a:cubicBezTo>
                  <a:lnTo>
                    <a:pt x="7478" y="9169"/>
                  </a:lnTo>
                  <a:cubicBezTo>
                    <a:pt x="7621" y="9204"/>
                    <a:pt x="7752" y="9300"/>
                    <a:pt x="7835" y="9407"/>
                  </a:cubicBezTo>
                  <a:lnTo>
                    <a:pt x="6978" y="10145"/>
                  </a:lnTo>
                  <a:cubicBezTo>
                    <a:pt x="6787" y="10312"/>
                    <a:pt x="6680" y="10550"/>
                    <a:pt x="6680" y="10800"/>
                  </a:cubicBezTo>
                  <a:lnTo>
                    <a:pt x="6680" y="11014"/>
                  </a:lnTo>
                  <a:cubicBezTo>
                    <a:pt x="6680" y="11098"/>
                    <a:pt x="6752" y="11169"/>
                    <a:pt x="6847" y="11169"/>
                  </a:cubicBezTo>
                  <a:cubicBezTo>
                    <a:pt x="6930" y="11169"/>
                    <a:pt x="7002" y="11098"/>
                    <a:pt x="7002" y="11014"/>
                  </a:cubicBezTo>
                  <a:lnTo>
                    <a:pt x="7002" y="10800"/>
                  </a:lnTo>
                  <a:cubicBezTo>
                    <a:pt x="7002" y="10657"/>
                    <a:pt x="7085" y="10502"/>
                    <a:pt x="7204" y="10395"/>
                  </a:cubicBezTo>
                  <a:lnTo>
                    <a:pt x="8014" y="9705"/>
                  </a:lnTo>
                  <a:cubicBezTo>
                    <a:pt x="8049" y="9800"/>
                    <a:pt x="8073" y="9907"/>
                    <a:pt x="8073" y="10014"/>
                  </a:cubicBezTo>
                  <a:lnTo>
                    <a:pt x="8073" y="11014"/>
                  </a:lnTo>
                  <a:cubicBezTo>
                    <a:pt x="8073" y="11098"/>
                    <a:pt x="8157" y="11169"/>
                    <a:pt x="8240" y="11169"/>
                  </a:cubicBezTo>
                  <a:cubicBezTo>
                    <a:pt x="8335" y="11169"/>
                    <a:pt x="8407" y="11098"/>
                    <a:pt x="8407" y="11014"/>
                  </a:cubicBezTo>
                  <a:lnTo>
                    <a:pt x="8407" y="10014"/>
                  </a:lnTo>
                  <a:cubicBezTo>
                    <a:pt x="8347" y="9443"/>
                    <a:pt x="8014" y="8990"/>
                    <a:pt x="7537" y="8823"/>
                  </a:cubicBezTo>
                  <a:lnTo>
                    <a:pt x="6085" y="8300"/>
                  </a:lnTo>
                  <a:cubicBezTo>
                    <a:pt x="6073" y="8264"/>
                    <a:pt x="6073" y="8252"/>
                    <a:pt x="6037" y="8228"/>
                  </a:cubicBezTo>
                  <a:lnTo>
                    <a:pt x="5632" y="7823"/>
                  </a:lnTo>
                  <a:cubicBezTo>
                    <a:pt x="5561" y="7752"/>
                    <a:pt x="5478" y="7716"/>
                    <a:pt x="5382" y="7716"/>
                  </a:cubicBezTo>
                  <a:lnTo>
                    <a:pt x="5382" y="7299"/>
                  </a:lnTo>
                  <a:cubicBezTo>
                    <a:pt x="6025" y="6930"/>
                    <a:pt x="6466" y="6287"/>
                    <a:pt x="6573" y="5537"/>
                  </a:cubicBezTo>
                  <a:lnTo>
                    <a:pt x="6692" y="5537"/>
                  </a:lnTo>
                  <a:cubicBezTo>
                    <a:pt x="7025" y="5537"/>
                    <a:pt x="7287" y="5263"/>
                    <a:pt x="7287" y="4942"/>
                  </a:cubicBezTo>
                  <a:cubicBezTo>
                    <a:pt x="7287" y="4692"/>
                    <a:pt x="7145" y="4490"/>
                    <a:pt x="6942" y="4382"/>
                  </a:cubicBezTo>
                  <a:lnTo>
                    <a:pt x="6942" y="3680"/>
                  </a:lnTo>
                  <a:lnTo>
                    <a:pt x="7942" y="2692"/>
                  </a:lnTo>
                  <a:cubicBezTo>
                    <a:pt x="8002" y="2632"/>
                    <a:pt x="8002" y="2549"/>
                    <a:pt x="7978" y="2489"/>
                  </a:cubicBezTo>
                  <a:lnTo>
                    <a:pt x="6930" y="751"/>
                  </a:lnTo>
                  <a:cubicBezTo>
                    <a:pt x="6918" y="727"/>
                    <a:pt x="6871" y="691"/>
                    <a:pt x="6823" y="680"/>
                  </a:cubicBezTo>
                  <a:lnTo>
                    <a:pt x="422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85" name="Google Shape;11585;p61"/>
          <p:cNvGrpSpPr/>
          <p:nvPr/>
        </p:nvGrpSpPr>
        <p:grpSpPr>
          <a:xfrm>
            <a:off x="6702211" y="3782599"/>
            <a:ext cx="270104" cy="361754"/>
            <a:chOff x="6702211" y="3782599"/>
            <a:chExt cx="270104" cy="361754"/>
          </a:xfrm>
        </p:grpSpPr>
        <p:sp>
          <p:nvSpPr>
            <p:cNvPr id="11586" name="Google Shape;11586;p61"/>
            <p:cNvSpPr/>
            <p:nvPr/>
          </p:nvSpPr>
          <p:spPr>
            <a:xfrm>
              <a:off x="6798011" y="3907070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7" name="Google Shape;11587;p61"/>
            <p:cNvSpPr/>
            <p:nvPr/>
          </p:nvSpPr>
          <p:spPr>
            <a:xfrm>
              <a:off x="6865933" y="3907070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345"/>
                  </a:lnTo>
                  <a:cubicBezTo>
                    <a:pt x="0" y="441"/>
                    <a:pt x="72" y="512"/>
                    <a:pt x="155" y="512"/>
                  </a:cubicBezTo>
                  <a:cubicBezTo>
                    <a:pt x="250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22" y="83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8" name="Google Shape;11588;p61"/>
            <p:cNvSpPr/>
            <p:nvPr/>
          </p:nvSpPr>
          <p:spPr>
            <a:xfrm>
              <a:off x="6814231" y="3946765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0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cubicBezTo>
                    <a:pt x="215" y="438"/>
                    <a:pt x="453" y="509"/>
                    <a:pt x="715" y="509"/>
                  </a:cubicBezTo>
                  <a:cubicBezTo>
                    <a:pt x="989" y="509"/>
                    <a:pt x="1227" y="414"/>
                    <a:pt x="1370" y="283"/>
                  </a:cubicBezTo>
                  <a:cubicBezTo>
                    <a:pt x="1430" y="212"/>
                    <a:pt x="1430" y="104"/>
                    <a:pt x="1370" y="45"/>
                  </a:cubicBezTo>
                  <a:cubicBezTo>
                    <a:pt x="1340" y="15"/>
                    <a:pt x="1302" y="0"/>
                    <a:pt x="1260" y="0"/>
                  </a:cubicBezTo>
                  <a:cubicBezTo>
                    <a:pt x="1218" y="0"/>
                    <a:pt x="1174" y="15"/>
                    <a:pt x="1132" y="45"/>
                  </a:cubicBezTo>
                  <a:cubicBezTo>
                    <a:pt x="1073" y="104"/>
                    <a:pt x="930" y="176"/>
                    <a:pt x="715" y="176"/>
                  </a:cubicBezTo>
                  <a:cubicBezTo>
                    <a:pt x="513" y="176"/>
                    <a:pt x="358" y="104"/>
                    <a:pt x="299" y="45"/>
                  </a:cubicBez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9" name="Google Shape;11589;p61"/>
            <p:cNvSpPr/>
            <p:nvPr/>
          </p:nvSpPr>
          <p:spPr>
            <a:xfrm>
              <a:off x="6702211" y="3782599"/>
              <a:ext cx="270104" cy="361754"/>
            </a:xfrm>
            <a:custGeom>
              <a:avLst/>
              <a:gdLst/>
              <a:ahLst/>
              <a:cxnLst/>
              <a:rect l="l" t="t" r="r" b="b"/>
              <a:pathLst>
                <a:path w="8526" h="11419" extrusionOk="0">
                  <a:moveTo>
                    <a:pt x="4251" y="322"/>
                  </a:moveTo>
                  <a:cubicBezTo>
                    <a:pt x="5835" y="322"/>
                    <a:pt x="7109" y="1595"/>
                    <a:pt x="7109" y="3179"/>
                  </a:cubicBezTo>
                  <a:lnTo>
                    <a:pt x="7133" y="3810"/>
                  </a:lnTo>
                  <a:cubicBezTo>
                    <a:pt x="7037" y="3774"/>
                    <a:pt x="6954" y="3739"/>
                    <a:pt x="6847" y="3739"/>
                  </a:cubicBezTo>
                  <a:lnTo>
                    <a:pt x="6573" y="3739"/>
                  </a:lnTo>
                  <a:cubicBezTo>
                    <a:pt x="5835" y="3739"/>
                    <a:pt x="5025" y="3441"/>
                    <a:pt x="4335" y="2905"/>
                  </a:cubicBezTo>
                  <a:cubicBezTo>
                    <a:pt x="3632" y="2369"/>
                    <a:pt x="3061" y="1643"/>
                    <a:pt x="2692" y="774"/>
                  </a:cubicBezTo>
                  <a:cubicBezTo>
                    <a:pt x="3144" y="476"/>
                    <a:pt x="3680" y="322"/>
                    <a:pt x="4251" y="322"/>
                  </a:cubicBezTo>
                  <a:close/>
                  <a:moveTo>
                    <a:pt x="2406" y="976"/>
                  </a:moveTo>
                  <a:cubicBezTo>
                    <a:pt x="2811" y="1846"/>
                    <a:pt x="3394" y="2608"/>
                    <a:pt x="4120" y="3155"/>
                  </a:cubicBezTo>
                  <a:cubicBezTo>
                    <a:pt x="4882" y="3739"/>
                    <a:pt x="5740" y="4048"/>
                    <a:pt x="6561" y="4048"/>
                  </a:cubicBezTo>
                  <a:lnTo>
                    <a:pt x="6835" y="4048"/>
                  </a:lnTo>
                  <a:cubicBezTo>
                    <a:pt x="6906" y="4048"/>
                    <a:pt x="6978" y="4084"/>
                    <a:pt x="7037" y="4143"/>
                  </a:cubicBezTo>
                  <a:cubicBezTo>
                    <a:pt x="7097" y="4227"/>
                    <a:pt x="7133" y="4310"/>
                    <a:pt x="7109" y="4393"/>
                  </a:cubicBezTo>
                  <a:cubicBezTo>
                    <a:pt x="7097" y="4524"/>
                    <a:pt x="6966" y="4643"/>
                    <a:pt x="6811" y="4643"/>
                  </a:cubicBezTo>
                  <a:lnTo>
                    <a:pt x="6740" y="4643"/>
                  </a:lnTo>
                  <a:lnTo>
                    <a:pt x="6740" y="4632"/>
                  </a:lnTo>
                  <a:cubicBezTo>
                    <a:pt x="6740" y="4548"/>
                    <a:pt x="6668" y="4465"/>
                    <a:pt x="6573" y="4465"/>
                  </a:cubicBezTo>
                  <a:cubicBezTo>
                    <a:pt x="6490" y="4465"/>
                    <a:pt x="6418" y="4548"/>
                    <a:pt x="6418" y="4632"/>
                  </a:cubicBezTo>
                  <a:cubicBezTo>
                    <a:pt x="6418" y="5822"/>
                    <a:pt x="5442" y="6775"/>
                    <a:pt x="4251" y="6775"/>
                  </a:cubicBezTo>
                  <a:cubicBezTo>
                    <a:pt x="3061" y="6775"/>
                    <a:pt x="2096" y="5810"/>
                    <a:pt x="2096" y="4620"/>
                  </a:cubicBezTo>
                  <a:cubicBezTo>
                    <a:pt x="2096" y="4524"/>
                    <a:pt x="2025" y="4453"/>
                    <a:pt x="1930" y="4453"/>
                  </a:cubicBezTo>
                  <a:cubicBezTo>
                    <a:pt x="1846" y="4453"/>
                    <a:pt x="1775" y="4524"/>
                    <a:pt x="1775" y="4620"/>
                  </a:cubicBezTo>
                  <a:lnTo>
                    <a:pt x="1775" y="4632"/>
                  </a:lnTo>
                  <a:lnTo>
                    <a:pt x="1668" y="4632"/>
                  </a:lnTo>
                  <a:cubicBezTo>
                    <a:pt x="1596" y="4632"/>
                    <a:pt x="1513" y="4608"/>
                    <a:pt x="1453" y="4548"/>
                  </a:cubicBezTo>
                  <a:cubicBezTo>
                    <a:pt x="1394" y="4489"/>
                    <a:pt x="1382" y="4405"/>
                    <a:pt x="1382" y="4322"/>
                  </a:cubicBezTo>
                  <a:cubicBezTo>
                    <a:pt x="1394" y="4191"/>
                    <a:pt x="1537" y="4072"/>
                    <a:pt x="1680" y="4072"/>
                  </a:cubicBezTo>
                  <a:lnTo>
                    <a:pt x="1739" y="4072"/>
                  </a:lnTo>
                  <a:cubicBezTo>
                    <a:pt x="1930" y="4072"/>
                    <a:pt x="2096" y="3989"/>
                    <a:pt x="2227" y="3858"/>
                  </a:cubicBezTo>
                  <a:cubicBezTo>
                    <a:pt x="2370" y="3727"/>
                    <a:pt x="2442" y="3548"/>
                    <a:pt x="2442" y="3370"/>
                  </a:cubicBezTo>
                  <a:lnTo>
                    <a:pt x="2442" y="3191"/>
                  </a:lnTo>
                  <a:cubicBezTo>
                    <a:pt x="2442" y="2965"/>
                    <a:pt x="2549" y="2738"/>
                    <a:pt x="2727" y="2608"/>
                  </a:cubicBezTo>
                  <a:cubicBezTo>
                    <a:pt x="2799" y="2548"/>
                    <a:pt x="2811" y="2441"/>
                    <a:pt x="2751" y="2369"/>
                  </a:cubicBezTo>
                  <a:cubicBezTo>
                    <a:pt x="2717" y="2329"/>
                    <a:pt x="2668" y="2307"/>
                    <a:pt x="2619" y="2307"/>
                  </a:cubicBezTo>
                  <a:cubicBezTo>
                    <a:pt x="2581" y="2307"/>
                    <a:pt x="2544" y="2320"/>
                    <a:pt x="2513" y="2346"/>
                  </a:cubicBezTo>
                  <a:cubicBezTo>
                    <a:pt x="2251" y="2548"/>
                    <a:pt x="2096" y="2846"/>
                    <a:pt x="2096" y="3191"/>
                  </a:cubicBezTo>
                  <a:lnTo>
                    <a:pt x="2096" y="3370"/>
                  </a:lnTo>
                  <a:cubicBezTo>
                    <a:pt x="2096" y="3477"/>
                    <a:pt x="2049" y="3560"/>
                    <a:pt x="1989" y="3620"/>
                  </a:cubicBezTo>
                  <a:cubicBezTo>
                    <a:pt x="1918" y="3691"/>
                    <a:pt x="1834" y="3727"/>
                    <a:pt x="1739" y="3727"/>
                  </a:cubicBezTo>
                  <a:lnTo>
                    <a:pt x="1680" y="3727"/>
                  </a:lnTo>
                  <a:cubicBezTo>
                    <a:pt x="1572" y="3727"/>
                    <a:pt x="1477" y="3751"/>
                    <a:pt x="1382" y="3798"/>
                  </a:cubicBezTo>
                  <a:lnTo>
                    <a:pt x="1382" y="3179"/>
                  </a:lnTo>
                  <a:cubicBezTo>
                    <a:pt x="1382" y="2298"/>
                    <a:pt x="1787" y="1512"/>
                    <a:pt x="2406" y="976"/>
                  </a:cubicBezTo>
                  <a:close/>
                  <a:moveTo>
                    <a:pt x="1394" y="4905"/>
                  </a:moveTo>
                  <a:cubicBezTo>
                    <a:pt x="1489" y="4941"/>
                    <a:pt x="1572" y="4965"/>
                    <a:pt x="1668" y="4965"/>
                  </a:cubicBezTo>
                  <a:lnTo>
                    <a:pt x="1787" y="4965"/>
                  </a:lnTo>
                  <a:cubicBezTo>
                    <a:pt x="1894" y="5739"/>
                    <a:pt x="2370" y="6394"/>
                    <a:pt x="3001" y="6775"/>
                  </a:cubicBezTo>
                  <a:lnTo>
                    <a:pt x="3001" y="7501"/>
                  </a:lnTo>
                  <a:lnTo>
                    <a:pt x="3025" y="7501"/>
                  </a:lnTo>
                  <a:cubicBezTo>
                    <a:pt x="3025" y="7703"/>
                    <a:pt x="2918" y="7894"/>
                    <a:pt x="2739" y="7977"/>
                  </a:cubicBezTo>
                  <a:cubicBezTo>
                    <a:pt x="2453" y="7715"/>
                    <a:pt x="1513" y="6668"/>
                    <a:pt x="1394" y="4905"/>
                  </a:cubicBezTo>
                  <a:close/>
                  <a:moveTo>
                    <a:pt x="7454" y="8954"/>
                  </a:moveTo>
                  <a:lnTo>
                    <a:pt x="7585" y="8989"/>
                  </a:lnTo>
                  <a:cubicBezTo>
                    <a:pt x="7740" y="9037"/>
                    <a:pt x="7859" y="9132"/>
                    <a:pt x="7966" y="9227"/>
                  </a:cubicBezTo>
                  <a:lnTo>
                    <a:pt x="7454" y="9668"/>
                  </a:lnTo>
                  <a:lnTo>
                    <a:pt x="7454" y="8954"/>
                  </a:lnTo>
                  <a:close/>
                  <a:moveTo>
                    <a:pt x="2311" y="8489"/>
                  </a:moveTo>
                  <a:cubicBezTo>
                    <a:pt x="2632" y="9275"/>
                    <a:pt x="3406" y="9787"/>
                    <a:pt x="4251" y="9787"/>
                  </a:cubicBezTo>
                  <a:cubicBezTo>
                    <a:pt x="4763" y="9787"/>
                    <a:pt x="5251" y="9596"/>
                    <a:pt x="5621" y="9275"/>
                  </a:cubicBezTo>
                  <a:cubicBezTo>
                    <a:pt x="5680" y="9394"/>
                    <a:pt x="5763" y="9501"/>
                    <a:pt x="5823" y="9608"/>
                  </a:cubicBezTo>
                  <a:cubicBezTo>
                    <a:pt x="5371" y="9966"/>
                    <a:pt x="4823" y="10156"/>
                    <a:pt x="4251" y="10156"/>
                  </a:cubicBezTo>
                  <a:cubicBezTo>
                    <a:pt x="3239" y="10156"/>
                    <a:pt x="2334" y="9549"/>
                    <a:pt x="1953" y="8620"/>
                  </a:cubicBezTo>
                  <a:lnTo>
                    <a:pt x="2311" y="8489"/>
                  </a:lnTo>
                  <a:close/>
                  <a:moveTo>
                    <a:pt x="4251" y="0"/>
                  </a:moveTo>
                  <a:cubicBezTo>
                    <a:pt x="2489" y="0"/>
                    <a:pt x="1060" y="1429"/>
                    <a:pt x="1060" y="3203"/>
                  </a:cubicBezTo>
                  <a:lnTo>
                    <a:pt x="1060" y="4572"/>
                  </a:lnTo>
                  <a:cubicBezTo>
                    <a:pt x="1060" y="5858"/>
                    <a:pt x="1477" y="6787"/>
                    <a:pt x="1834" y="7370"/>
                  </a:cubicBezTo>
                  <a:cubicBezTo>
                    <a:pt x="2037" y="7715"/>
                    <a:pt x="2263" y="7965"/>
                    <a:pt x="2406" y="8132"/>
                  </a:cubicBezTo>
                  <a:lnTo>
                    <a:pt x="822" y="8692"/>
                  </a:lnTo>
                  <a:cubicBezTo>
                    <a:pt x="322" y="8870"/>
                    <a:pt x="1" y="9335"/>
                    <a:pt x="1" y="9858"/>
                  </a:cubicBezTo>
                  <a:lnTo>
                    <a:pt x="1" y="11240"/>
                  </a:lnTo>
                  <a:cubicBezTo>
                    <a:pt x="1" y="11323"/>
                    <a:pt x="72" y="11406"/>
                    <a:pt x="167" y="11406"/>
                  </a:cubicBezTo>
                  <a:cubicBezTo>
                    <a:pt x="251" y="11406"/>
                    <a:pt x="322" y="11323"/>
                    <a:pt x="322" y="11240"/>
                  </a:cubicBezTo>
                  <a:lnTo>
                    <a:pt x="322" y="9858"/>
                  </a:lnTo>
                  <a:cubicBezTo>
                    <a:pt x="322" y="9751"/>
                    <a:pt x="334" y="9632"/>
                    <a:pt x="382" y="9537"/>
                  </a:cubicBezTo>
                  <a:lnTo>
                    <a:pt x="1239" y="10275"/>
                  </a:lnTo>
                  <a:cubicBezTo>
                    <a:pt x="1358" y="10370"/>
                    <a:pt x="1430" y="10525"/>
                    <a:pt x="1430" y="10692"/>
                  </a:cubicBezTo>
                  <a:lnTo>
                    <a:pt x="1430" y="11251"/>
                  </a:lnTo>
                  <a:cubicBezTo>
                    <a:pt x="1430" y="11347"/>
                    <a:pt x="1501" y="11418"/>
                    <a:pt x="1596" y="11418"/>
                  </a:cubicBezTo>
                  <a:cubicBezTo>
                    <a:pt x="1680" y="11418"/>
                    <a:pt x="1751" y="11347"/>
                    <a:pt x="1751" y="11251"/>
                  </a:cubicBezTo>
                  <a:lnTo>
                    <a:pt x="1751" y="10692"/>
                  </a:lnTo>
                  <a:cubicBezTo>
                    <a:pt x="1751" y="10430"/>
                    <a:pt x="1632" y="10180"/>
                    <a:pt x="1441" y="10013"/>
                  </a:cubicBezTo>
                  <a:lnTo>
                    <a:pt x="560" y="9263"/>
                  </a:lnTo>
                  <a:cubicBezTo>
                    <a:pt x="668" y="9156"/>
                    <a:pt x="787" y="9061"/>
                    <a:pt x="929" y="9025"/>
                  </a:cubicBezTo>
                  <a:lnTo>
                    <a:pt x="1632" y="8763"/>
                  </a:lnTo>
                  <a:cubicBezTo>
                    <a:pt x="2072" y="9823"/>
                    <a:pt x="3108" y="10525"/>
                    <a:pt x="4275" y="10525"/>
                  </a:cubicBezTo>
                  <a:cubicBezTo>
                    <a:pt x="4906" y="10525"/>
                    <a:pt x="5525" y="10311"/>
                    <a:pt x="6013" y="9930"/>
                  </a:cubicBezTo>
                  <a:cubicBezTo>
                    <a:pt x="6240" y="10311"/>
                    <a:pt x="6418" y="10728"/>
                    <a:pt x="6418" y="11251"/>
                  </a:cubicBezTo>
                  <a:cubicBezTo>
                    <a:pt x="6418" y="11347"/>
                    <a:pt x="6490" y="11418"/>
                    <a:pt x="6573" y="11418"/>
                  </a:cubicBezTo>
                  <a:cubicBezTo>
                    <a:pt x="6668" y="11418"/>
                    <a:pt x="6740" y="11347"/>
                    <a:pt x="6740" y="11251"/>
                  </a:cubicBezTo>
                  <a:cubicBezTo>
                    <a:pt x="6740" y="10513"/>
                    <a:pt x="6430" y="9989"/>
                    <a:pt x="6109" y="9477"/>
                  </a:cubicBezTo>
                  <a:cubicBezTo>
                    <a:pt x="5787" y="8942"/>
                    <a:pt x="5490" y="8453"/>
                    <a:pt x="5490" y="7691"/>
                  </a:cubicBezTo>
                  <a:lnTo>
                    <a:pt x="5490" y="7513"/>
                  </a:lnTo>
                  <a:cubicBezTo>
                    <a:pt x="5490" y="7430"/>
                    <a:pt x="5418" y="7358"/>
                    <a:pt x="5323" y="7358"/>
                  </a:cubicBezTo>
                  <a:cubicBezTo>
                    <a:pt x="5240" y="7358"/>
                    <a:pt x="5168" y="7430"/>
                    <a:pt x="5168" y="7513"/>
                  </a:cubicBezTo>
                  <a:lnTo>
                    <a:pt x="5168" y="7691"/>
                  </a:lnTo>
                  <a:cubicBezTo>
                    <a:pt x="5168" y="8227"/>
                    <a:pt x="5299" y="8644"/>
                    <a:pt x="5478" y="9025"/>
                  </a:cubicBezTo>
                  <a:cubicBezTo>
                    <a:pt x="5144" y="9335"/>
                    <a:pt x="4716" y="9501"/>
                    <a:pt x="4251" y="9501"/>
                  </a:cubicBezTo>
                  <a:cubicBezTo>
                    <a:pt x="3537" y="9501"/>
                    <a:pt x="2906" y="9085"/>
                    <a:pt x="2620" y="8442"/>
                  </a:cubicBezTo>
                  <a:lnTo>
                    <a:pt x="2763" y="8382"/>
                  </a:lnTo>
                  <a:cubicBezTo>
                    <a:pt x="3120" y="8263"/>
                    <a:pt x="3346" y="7918"/>
                    <a:pt x="3346" y="7549"/>
                  </a:cubicBezTo>
                  <a:lnTo>
                    <a:pt x="3346" y="6977"/>
                  </a:lnTo>
                  <a:cubicBezTo>
                    <a:pt x="3632" y="7084"/>
                    <a:pt x="3930" y="7144"/>
                    <a:pt x="4251" y="7144"/>
                  </a:cubicBezTo>
                  <a:cubicBezTo>
                    <a:pt x="5501" y="7144"/>
                    <a:pt x="6549" y="6203"/>
                    <a:pt x="6704" y="5001"/>
                  </a:cubicBezTo>
                  <a:lnTo>
                    <a:pt x="6811" y="5001"/>
                  </a:lnTo>
                  <a:cubicBezTo>
                    <a:pt x="6918" y="5001"/>
                    <a:pt x="7025" y="4977"/>
                    <a:pt x="7109" y="4929"/>
                  </a:cubicBezTo>
                  <a:lnTo>
                    <a:pt x="7109" y="11251"/>
                  </a:lnTo>
                  <a:cubicBezTo>
                    <a:pt x="7109" y="11347"/>
                    <a:pt x="7180" y="11418"/>
                    <a:pt x="7276" y="11418"/>
                  </a:cubicBezTo>
                  <a:cubicBezTo>
                    <a:pt x="7359" y="11418"/>
                    <a:pt x="7442" y="11347"/>
                    <a:pt x="7442" y="11251"/>
                  </a:cubicBezTo>
                  <a:lnTo>
                    <a:pt x="7442" y="10108"/>
                  </a:lnTo>
                  <a:lnTo>
                    <a:pt x="8121" y="9525"/>
                  </a:lnTo>
                  <a:cubicBezTo>
                    <a:pt x="8168" y="9632"/>
                    <a:pt x="8180" y="9739"/>
                    <a:pt x="8180" y="9847"/>
                  </a:cubicBezTo>
                  <a:lnTo>
                    <a:pt x="8180" y="11228"/>
                  </a:lnTo>
                  <a:cubicBezTo>
                    <a:pt x="8180" y="11311"/>
                    <a:pt x="8252" y="11394"/>
                    <a:pt x="8347" y="11394"/>
                  </a:cubicBezTo>
                  <a:cubicBezTo>
                    <a:pt x="8430" y="11394"/>
                    <a:pt x="8514" y="11311"/>
                    <a:pt x="8514" y="11228"/>
                  </a:cubicBezTo>
                  <a:lnTo>
                    <a:pt x="8514" y="9847"/>
                  </a:lnTo>
                  <a:cubicBezTo>
                    <a:pt x="8526" y="9323"/>
                    <a:pt x="8204" y="8846"/>
                    <a:pt x="7692" y="8680"/>
                  </a:cubicBezTo>
                  <a:lnTo>
                    <a:pt x="7454" y="8596"/>
                  </a:lnTo>
                  <a:lnTo>
                    <a:pt x="7454" y="3203"/>
                  </a:lnTo>
                  <a:cubicBezTo>
                    <a:pt x="7454" y="1453"/>
                    <a:pt x="6025" y="0"/>
                    <a:pt x="4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0" name="Google Shape;11590;p61"/>
            <p:cNvSpPr/>
            <p:nvPr/>
          </p:nvSpPr>
          <p:spPr>
            <a:xfrm>
              <a:off x="6785941" y="3884229"/>
              <a:ext cx="29082" cy="16442"/>
            </a:xfrm>
            <a:custGeom>
              <a:avLst/>
              <a:gdLst/>
              <a:ahLst/>
              <a:cxnLst/>
              <a:rect l="l" t="t" r="r" b="b"/>
              <a:pathLst>
                <a:path w="918" h="519" extrusionOk="0">
                  <a:moveTo>
                    <a:pt x="717" y="1"/>
                  </a:moveTo>
                  <a:cubicBezTo>
                    <a:pt x="701" y="1"/>
                    <a:pt x="684" y="3"/>
                    <a:pt x="668" y="7"/>
                  </a:cubicBezTo>
                  <a:lnTo>
                    <a:pt x="144" y="185"/>
                  </a:lnTo>
                  <a:cubicBezTo>
                    <a:pt x="49" y="221"/>
                    <a:pt x="1" y="304"/>
                    <a:pt x="37" y="400"/>
                  </a:cubicBezTo>
                  <a:cubicBezTo>
                    <a:pt x="61" y="471"/>
                    <a:pt x="120" y="519"/>
                    <a:pt x="191" y="519"/>
                  </a:cubicBezTo>
                  <a:cubicBezTo>
                    <a:pt x="215" y="519"/>
                    <a:pt x="227" y="519"/>
                    <a:pt x="263" y="495"/>
                  </a:cubicBezTo>
                  <a:lnTo>
                    <a:pt x="787" y="316"/>
                  </a:lnTo>
                  <a:cubicBezTo>
                    <a:pt x="870" y="304"/>
                    <a:pt x="918" y="209"/>
                    <a:pt x="882" y="114"/>
                  </a:cubicBezTo>
                  <a:cubicBezTo>
                    <a:pt x="862" y="45"/>
                    <a:pt x="794" y="1"/>
                    <a:pt x="7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91" name="Google Shape;11591;p61"/>
          <p:cNvGrpSpPr/>
          <p:nvPr/>
        </p:nvGrpSpPr>
        <p:grpSpPr>
          <a:xfrm>
            <a:off x="3516886" y="3438727"/>
            <a:ext cx="391854" cy="269922"/>
            <a:chOff x="3516850" y="3406526"/>
            <a:chExt cx="369674" cy="254644"/>
          </a:xfrm>
        </p:grpSpPr>
        <p:sp>
          <p:nvSpPr>
            <p:cNvPr id="11592" name="Google Shape;11592;p61"/>
            <p:cNvSpPr/>
            <p:nvPr/>
          </p:nvSpPr>
          <p:spPr>
            <a:xfrm>
              <a:off x="3570421" y="356457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3" name="Google Shape;11593;p61"/>
            <p:cNvSpPr/>
            <p:nvPr/>
          </p:nvSpPr>
          <p:spPr>
            <a:xfrm>
              <a:off x="3516850" y="3406526"/>
              <a:ext cx="184473" cy="253503"/>
            </a:xfrm>
            <a:custGeom>
              <a:avLst/>
              <a:gdLst/>
              <a:ahLst/>
              <a:cxnLst/>
              <a:rect l="l" t="t" r="r" b="b"/>
              <a:pathLst>
                <a:path w="5823" h="8002" extrusionOk="0">
                  <a:moveTo>
                    <a:pt x="3060" y="382"/>
                  </a:moveTo>
                  <a:cubicBezTo>
                    <a:pt x="3275" y="382"/>
                    <a:pt x="3453" y="560"/>
                    <a:pt x="3453" y="774"/>
                  </a:cubicBezTo>
                  <a:lnTo>
                    <a:pt x="3453" y="882"/>
                  </a:lnTo>
                  <a:lnTo>
                    <a:pt x="3453" y="917"/>
                  </a:lnTo>
                  <a:cubicBezTo>
                    <a:pt x="3465" y="1084"/>
                    <a:pt x="3453" y="2489"/>
                    <a:pt x="3453" y="3346"/>
                  </a:cubicBezTo>
                  <a:cubicBezTo>
                    <a:pt x="3453" y="3441"/>
                    <a:pt x="3525" y="3513"/>
                    <a:pt x="3620" y="3525"/>
                  </a:cubicBezTo>
                  <a:cubicBezTo>
                    <a:pt x="3703" y="3525"/>
                    <a:pt x="3775" y="3453"/>
                    <a:pt x="3775" y="3358"/>
                  </a:cubicBezTo>
                  <a:cubicBezTo>
                    <a:pt x="3775" y="3358"/>
                    <a:pt x="3799" y="2751"/>
                    <a:pt x="3799" y="2156"/>
                  </a:cubicBezTo>
                  <a:lnTo>
                    <a:pt x="3799" y="953"/>
                  </a:lnTo>
                  <a:cubicBezTo>
                    <a:pt x="3870" y="882"/>
                    <a:pt x="3953" y="846"/>
                    <a:pt x="4061" y="846"/>
                  </a:cubicBezTo>
                  <a:cubicBezTo>
                    <a:pt x="4275" y="846"/>
                    <a:pt x="4453" y="1024"/>
                    <a:pt x="4453" y="1227"/>
                  </a:cubicBezTo>
                  <a:lnTo>
                    <a:pt x="4453" y="1608"/>
                  </a:lnTo>
                  <a:lnTo>
                    <a:pt x="4453" y="3358"/>
                  </a:lnTo>
                  <a:cubicBezTo>
                    <a:pt x="4453" y="3453"/>
                    <a:pt x="4525" y="3525"/>
                    <a:pt x="4608" y="3525"/>
                  </a:cubicBezTo>
                  <a:cubicBezTo>
                    <a:pt x="4703" y="3525"/>
                    <a:pt x="4775" y="3453"/>
                    <a:pt x="4775" y="3358"/>
                  </a:cubicBezTo>
                  <a:lnTo>
                    <a:pt x="4775" y="1691"/>
                  </a:lnTo>
                  <a:cubicBezTo>
                    <a:pt x="4823" y="1667"/>
                    <a:pt x="4870" y="1644"/>
                    <a:pt x="4906" y="1644"/>
                  </a:cubicBezTo>
                  <a:cubicBezTo>
                    <a:pt x="5061" y="1644"/>
                    <a:pt x="5180" y="1763"/>
                    <a:pt x="5180" y="1917"/>
                  </a:cubicBezTo>
                  <a:lnTo>
                    <a:pt x="5192" y="6930"/>
                  </a:lnTo>
                  <a:lnTo>
                    <a:pt x="3179" y="6930"/>
                  </a:lnTo>
                  <a:lnTo>
                    <a:pt x="3179" y="6358"/>
                  </a:lnTo>
                  <a:cubicBezTo>
                    <a:pt x="3179" y="6204"/>
                    <a:pt x="3168" y="6061"/>
                    <a:pt x="3156" y="5906"/>
                  </a:cubicBezTo>
                  <a:cubicBezTo>
                    <a:pt x="3145" y="5833"/>
                    <a:pt x="3070" y="5759"/>
                    <a:pt x="2995" y="5759"/>
                  </a:cubicBezTo>
                  <a:cubicBezTo>
                    <a:pt x="2985" y="5759"/>
                    <a:pt x="2975" y="5760"/>
                    <a:pt x="2965" y="5763"/>
                  </a:cubicBezTo>
                  <a:cubicBezTo>
                    <a:pt x="2870" y="5775"/>
                    <a:pt x="2798" y="5858"/>
                    <a:pt x="2810" y="5954"/>
                  </a:cubicBezTo>
                  <a:cubicBezTo>
                    <a:pt x="2822" y="6085"/>
                    <a:pt x="2846" y="6216"/>
                    <a:pt x="2846" y="6358"/>
                  </a:cubicBezTo>
                  <a:lnTo>
                    <a:pt x="2846" y="6918"/>
                  </a:lnTo>
                  <a:lnTo>
                    <a:pt x="1679" y="6918"/>
                  </a:lnTo>
                  <a:lnTo>
                    <a:pt x="1679" y="4989"/>
                  </a:lnTo>
                  <a:lnTo>
                    <a:pt x="1679" y="4965"/>
                  </a:lnTo>
                  <a:cubicBezTo>
                    <a:pt x="1679" y="4930"/>
                    <a:pt x="1667" y="4894"/>
                    <a:pt x="1632" y="4858"/>
                  </a:cubicBezTo>
                  <a:lnTo>
                    <a:pt x="501" y="3727"/>
                  </a:lnTo>
                  <a:cubicBezTo>
                    <a:pt x="370" y="3596"/>
                    <a:pt x="370" y="3370"/>
                    <a:pt x="501" y="3251"/>
                  </a:cubicBezTo>
                  <a:cubicBezTo>
                    <a:pt x="572" y="3185"/>
                    <a:pt x="661" y="3153"/>
                    <a:pt x="751" y="3153"/>
                  </a:cubicBezTo>
                  <a:cubicBezTo>
                    <a:pt x="840" y="3153"/>
                    <a:pt x="929" y="3185"/>
                    <a:pt x="1001" y="3251"/>
                  </a:cubicBezTo>
                  <a:lnTo>
                    <a:pt x="1417" y="3656"/>
                  </a:lnTo>
                  <a:lnTo>
                    <a:pt x="1965" y="4203"/>
                  </a:lnTo>
                  <a:cubicBezTo>
                    <a:pt x="2275" y="4525"/>
                    <a:pt x="2525" y="4906"/>
                    <a:pt x="2679" y="5323"/>
                  </a:cubicBezTo>
                  <a:cubicBezTo>
                    <a:pt x="2698" y="5399"/>
                    <a:pt x="2771" y="5437"/>
                    <a:pt x="2848" y="5437"/>
                  </a:cubicBezTo>
                  <a:cubicBezTo>
                    <a:pt x="2867" y="5437"/>
                    <a:pt x="2887" y="5435"/>
                    <a:pt x="2906" y="5430"/>
                  </a:cubicBezTo>
                  <a:cubicBezTo>
                    <a:pt x="2989" y="5394"/>
                    <a:pt x="3037" y="5299"/>
                    <a:pt x="3001" y="5204"/>
                  </a:cubicBezTo>
                  <a:cubicBezTo>
                    <a:pt x="2846" y="4751"/>
                    <a:pt x="2560" y="4311"/>
                    <a:pt x="2203" y="3977"/>
                  </a:cubicBezTo>
                  <a:lnTo>
                    <a:pt x="1691" y="3477"/>
                  </a:lnTo>
                  <a:lnTo>
                    <a:pt x="1691" y="1072"/>
                  </a:lnTo>
                  <a:cubicBezTo>
                    <a:pt x="1691" y="858"/>
                    <a:pt x="1870" y="679"/>
                    <a:pt x="2084" y="679"/>
                  </a:cubicBezTo>
                  <a:cubicBezTo>
                    <a:pt x="2191" y="679"/>
                    <a:pt x="2275" y="727"/>
                    <a:pt x="2346" y="798"/>
                  </a:cubicBezTo>
                  <a:lnTo>
                    <a:pt x="2346" y="3346"/>
                  </a:lnTo>
                  <a:cubicBezTo>
                    <a:pt x="2346" y="3441"/>
                    <a:pt x="2429" y="3513"/>
                    <a:pt x="2513" y="3513"/>
                  </a:cubicBezTo>
                  <a:cubicBezTo>
                    <a:pt x="2608" y="3513"/>
                    <a:pt x="2679" y="3441"/>
                    <a:pt x="2679" y="3346"/>
                  </a:cubicBezTo>
                  <a:lnTo>
                    <a:pt x="2679" y="739"/>
                  </a:lnTo>
                  <a:cubicBezTo>
                    <a:pt x="2691" y="536"/>
                    <a:pt x="2858" y="382"/>
                    <a:pt x="3060" y="382"/>
                  </a:cubicBezTo>
                  <a:close/>
                  <a:moveTo>
                    <a:pt x="3072" y="1"/>
                  </a:moveTo>
                  <a:cubicBezTo>
                    <a:pt x="2798" y="1"/>
                    <a:pt x="2560" y="167"/>
                    <a:pt x="2441" y="405"/>
                  </a:cubicBezTo>
                  <a:cubicBezTo>
                    <a:pt x="2334" y="346"/>
                    <a:pt x="2215" y="310"/>
                    <a:pt x="2084" y="310"/>
                  </a:cubicBezTo>
                  <a:cubicBezTo>
                    <a:pt x="1679" y="310"/>
                    <a:pt x="1358" y="643"/>
                    <a:pt x="1358" y="1036"/>
                  </a:cubicBezTo>
                  <a:lnTo>
                    <a:pt x="1358" y="3120"/>
                  </a:lnTo>
                  <a:lnTo>
                    <a:pt x="1239" y="3001"/>
                  </a:lnTo>
                  <a:cubicBezTo>
                    <a:pt x="1102" y="2870"/>
                    <a:pt x="926" y="2804"/>
                    <a:pt x="751" y="2804"/>
                  </a:cubicBezTo>
                  <a:cubicBezTo>
                    <a:pt x="575" y="2804"/>
                    <a:pt x="399" y="2870"/>
                    <a:pt x="262" y="3001"/>
                  </a:cubicBezTo>
                  <a:cubicBezTo>
                    <a:pt x="1" y="3275"/>
                    <a:pt x="1" y="3703"/>
                    <a:pt x="262" y="3977"/>
                  </a:cubicBezTo>
                  <a:lnTo>
                    <a:pt x="1358" y="5061"/>
                  </a:lnTo>
                  <a:lnTo>
                    <a:pt x="1358" y="6918"/>
                  </a:lnTo>
                  <a:lnTo>
                    <a:pt x="1251" y="6918"/>
                  </a:lnTo>
                  <a:cubicBezTo>
                    <a:pt x="1155" y="6918"/>
                    <a:pt x="1084" y="6990"/>
                    <a:pt x="1084" y="7085"/>
                  </a:cubicBezTo>
                  <a:lnTo>
                    <a:pt x="1084" y="7847"/>
                  </a:lnTo>
                  <a:cubicBezTo>
                    <a:pt x="1084" y="7930"/>
                    <a:pt x="1155" y="8002"/>
                    <a:pt x="1251" y="8002"/>
                  </a:cubicBezTo>
                  <a:lnTo>
                    <a:pt x="4061" y="8002"/>
                  </a:lnTo>
                  <a:cubicBezTo>
                    <a:pt x="4156" y="8002"/>
                    <a:pt x="4227" y="7930"/>
                    <a:pt x="4227" y="7847"/>
                  </a:cubicBezTo>
                  <a:cubicBezTo>
                    <a:pt x="4227" y="7752"/>
                    <a:pt x="4156" y="7680"/>
                    <a:pt x="4061" y="7680"/>
                  </a:cubicBezTo>
                  <a:lnTo>
                    <a:pt x="1417" y="7680"/>
                  </a:lnTo>
                  <a:lnTo>
                    <a:pt x="1417" y="7263"/>
                  </a:lnTo>
                  <a:lnTo>
                    <a:pt x="5465" y="7263"/>
                  </a:lnTo>
                  <a:lnTo>
                    <a:pt x="5465" y="7680"/>
                  </a:lnTo>
                  <a:lnTo>
                    <a:pt x="4715" y="7680"/>
                  </a:lnTo>
                  <a:cubicBezTo>
                    <a:pt x="4632" y="7680"/>
                    <a:pt x="4549" y="7752"/>
                    <a:pt x="4549" y="7847"/>
                  </a:cubicBezTo>
                  <a:cubicBezTo>
                    <a:pt x="4549" y="7930"/>
                    <a:pt x="4632" y="8002"/>
                    <a:pt x="4715" y="8002"/>
                  </a:cubicBezTo>
                  <a:lnTo>
                    <a:pt x="5644" y="8002"/>
                  </a:lnTo>
                  <a:cubicBezTo>
                    <a:pt x="5727" y="8002"/>
                    <a:pt x="5799" y="7930"/>
                    <a:pt x="5799" y="7847"/>
                  </a:cubicBezTo>
                  <a:lnTo>
                    <a:pt x="5799" y="7097"/>
                  </a:lnTo>
                  <a:cubicBezTo>
                    <a:pt x="5823" y="7013"/>
                    <a:pt x="5739" y="6930"/>
                    <a:pt x="5656" y="6930"/>
                  </a:cubicBezTo>
                  <a:lnTo>
                    <a:pt x="5549" y="6930"/>
                  </a:lnTo>
                  <a:lnTo>
                    <a:pt x="5549" y="1894"/>
                  </a:lnTo>
                  <a:cubicBezTo>
                    <a:pt x="5549" y="1548"/>
                    <a:pt x="5287" y="1275"/>
                    <a:pt x="4942" y="1275"/>
                  </a:cubicBezTo>
                  <a:cubicBezTo>
                    <a:pt x="4894" y="1275"/>
                    <a:pt x="4846" y="1275"/>
                    <a:pt x="4799" y="1298"/>
                  </a:cubicBezTo>
                  <a:lnTo>
                    <a:pt x="4799" y="1191"/>
                  </a:lnTo>
                  <a:cubicBezTo>
                    <a:pt x="4799" y="786"/>
                    <a:pt x="4477" y="465"/>
                    <a:pt x="4072" y="465"/>
                  </a:cubicBezTo>
                  <a:cubicBezTo>
                    <a:pt x="3965" y="465"/>
                    <a:pt x="3870" y="489"/>
                    <a:pt x="3775" y="524"/>
                  </a:cubicBezTo>
                  <a:cubicBezTo>
                    <a:pt x="3691" y="227"/>
                    <a:pt x="3406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4" name="Google Shape;11594;p61"/>
            <p:cNvSpPr/>
            <p:nvPr/>
          </p:nvSpPr>
          <p:spPr>
            <a:xfrm>
              <a:off x="3768073" y="3480087"/>
              <a:ext cx="11341" cy="37731"/>
            </a:xfrm>
            <a:custGeom>
              <a:avLst/>
              <a:gdLst/>
              <a:ahLst/>
              <a:cxnLst/>
              <a:rect l="l" t="t" r="r" b="b"/>
              <a:pathLst>
                <a:path w="358" h="1191" extrusionOk="0">
                  <a:moveTo>
                    <a:pt x="167" y="0"/>
                  </a:moveTo>
                  <a:cubicBezTo>
                    <a:pt x="72" y="0"/>
                    <a:pt x="0" y="84"/>
                    <a:pt x="0" y="179"/>
                  </a:cubicBezTo>
                  <a:cubicBezTo>
                    <a:pt x="12" y="405"/>
                    <a:pt x="12" y="667"/>
                    <a:pt x="12" y="1012"/>
                  </a:cubicBezTo>
                  <a:cubicBezTo>
                    <a:pt x="12" y="1096"/>
                    <a:pt x="95" y="1191"/>
                    <a:pt x="179" y="1191"/>
                  </a:cubicBezTo>
                  <a:cubicBezTo>
                    <a:pt x="274" y="1191"/>
                    <a:pt x="345" y="1119"/>
                    <a:pt x="345" y="1024"/>
                  </a:cubicBezTo>
                  <a:cubicBezTo>
                    <a:pt x="357" y="667"/>
                    <a:pt x="357" y="381"/>
                    <a:pt x="345" y="167"/>
                  </a:cubicBezTo>
                  <a:cubicBezTo>
                    <a:pt x="345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5" name="Google Shape;11595;p61"/>
            <p:cNvSpPr/>
            <p:nvPr/>
          </p:nvSpPr>
          <p:spPr>
            <a:xfrm>
              <a:off x="3705061" y="3407286"/>
              <a:ext cx="181463" cy="253884"/>
            </a:xfrm>
            <a:custGeom>
              <a:avLst/>
              <a:gdLst/>
              <a:ahLst/>
              <a:cxnLst/>
              <a:rect l="l" t="t" r="r" b="b"/>
              <a:pathLst>
                <a:path w="5728" h="8014" extrusionOk="0">
                  <a:moveTo>
                    <a:pt x="2692" y="358"/>
                  </a:moveTo>
                  <a:cubicBezTo>
                    <a:pt x="2894" y="358"/>
                    <a:pt x="3061" y="524"/>
                    <a:pt x="3073" y="715"/>
                  </a:cubicBezTo>
                  <a:lnTo>
                    <a:pt x="3073" y="3322"/>
                  </a:lnTo>
                  <a:cubicBezTo>
                    <a:pt x="3073" y="3406"/>
                    <a:pt x="3156" y="3489"/>
                    <a:pt x="3239" y="3489"/>
                  </a:cubicBezTo>
                  <a:cubicBezTo>
                    <a:pt x="3334" y="3489"/>
                    <a:pt x="3406" y="3406"/>
                    <a:pt x="3406" y="3322"/>
                  </a:cubicBezTo>
                  <a:lnTo>
                    <a:pt x="3406" y="774"/>
                  </a:lnTo>
                  <a:cubicBezTo>
                    <a:pt x="3477" y="703"/>
                    <a:pt x="3573" y="655"/>
                    <a:pt x="3668" y="655"/>
                  </a:cubicBezTo>
                  <a:cubicBezTo>
                    <a:pt x="3882" y="655"/>
                    <a:pt x="4061" y="834"/>
                    <a:pt x="4061" y="1048"/>
                  </a:cubicBezTo>
                  <a:lnTo>
                    <a:pt x="4061" y="3453"/>
                  </a:lnTo>
                  <a:lnTo>
                    <a:pt x="3549" y="3941"/>
                  </a:lnTo>
                  <a:cubicBezTo>
                    <a:pt x="2918" y="4572"/>
                    <a:pt x="2561" y="5430"/>
                    <a:pt x="2561" y="6323"/>
                  </a:cubicBezTo>
                  <a:lnTo>
                    <a:pt x="2561" y="6894"/>
                  </a:lnTo>
                  <a:lnTo>
                    <a:pt x="548" y="6894"/>
                  </a:lnTo>
                  <a:lnTo>
                    <a:pt x="596" y="1870"/>
                  </a:lnTo>
                  <a:cubicBezTo>
                    <a:pt x="596" y="1715"/>
                    <a:pt x="715" y="1596"/>
                    <a:pt x="858" y="1596"/>
                  </a:cubicBezTo>
                  <a:cubicBezTo>
                    <a:pt x="906" y="1596"/>
                    <a:pt x="953" y="1608"/>
                    <a:pt x="989" y="1643"/>
                  </a:cubicBezTo>
                  <a:lnTo>
                    <a:pt x="989" y="3310"/>
                  </a:lnTo>
                  <a:cubicBezTo>
                    <a:pt x="989" y="3394"/>
                    <a:pt x="1072" y="3477"/>
                    <a:pt x="1156" y="3477"/>
                  </a:cubicBezTo>
                  <a:cubicBezTo>
                    <a:pt x="1251" y="3477"/>
                    <a:pt x="1322" y="3394"/>
                    <a:pt x="1322" y="3310"/>
                  </a:cubicBezTo>
                  <a:lnTo>
                    <a:pt x="1322" y="1548"/>
                  </a:lnTo>
                  <a:lnTo>
                    <a:pt x="1322" y="1179"/>
                  </a:lnTo>
                  <a:cubicBezTo>
                    <a:pt x="1322" y="977"/>
                    <a:pt x="1501" y="798"/>
                    <a:pt x="1703" y="798"/>
                  </a:cubicBezTo>
                  <a:cubicBezTo>
                    <a:pt x="1810" y="798"/>
                    <a:pt x="1906" y="834"/>
                    <a:pt x="1977" y="917"/>
                  </a:cubicBezTo>
                  <a:lnTo>
                    <a:pt x="1977" y="1846"/>
                  </a:lnTo>
                  <a:cubicBezTo>
                    <a:pt x="1977" y="1941"/>
                    <a:pt x="2049" y="2013"/>
                    <a:pt x="2144" y="2013"/>
                  </a:cubicBezTo>
                  <a:cubicBezTo>
                    <a:pt x="2227" y="2013"/>
                    <a:pt x="2299" y="1941"/>
                    <a:pt x="2299" y="1846"/>
                  </a:cubicBezTo>
                  <a:lnTo>
                    <a:pt x="2299" y="858"/>
                  </a:lnTo>
                  <a:lnTo>
                    <a:pt x="2299" y="750"/>
                  </a:lnTo>
                  <a:cubicBezTo>
                    <a:pt x="2299" y="536"/>
                    <a:pt x="2477" y="358"/>
                    <a:pt x="2692" y="358"/>
                  </a:cubicBezTo>
                  <a:close/>
                  <a:moveTo>
                    <a:pt x="5037" y="3132"/>
                  </a:moveTo>
                  <a:cubicBezTo>
                    <a:pt x="5132" y="3132"/>
                    <a:pt x="5216" y="3156"/>
                    <a:pt x="5275" y="3239"/>
                  </a:cubicBezTo>
                  <a:cubicBezTo>
                    <a:pt x="5335" y="3286"/>
                    <a:pt x="5382" y="3382"/>
                    <a:pt x="5382" y="3477"/>
                  </a:cubicBezTo>
                  <a:cubicBezTo>
                    <a:pt x="5382" y="3560"/>
                    <a:pt x="5359" y="3656"/>
                    <a:pt x="5275" y="3715"/>
                  </a:cubicBezTo>
                  <a:lnTo>
                    <a:pt x="4144" y="4858"/>
                  </a:lnTo>
                  <a:cubicBezTo>
                    <a:pt x="4120" y="4882"/>
                    <a:pt x="4108" y="4930"/>
                    <a:pt x="4108" y="4977"/>
                  </a:cubicBezTo>
                  <a:lnTo>
                    <a:pt x="4108" y="6906"/>
                  </a:lnTo>
                  <a:lnTo>
                    <a:pt x="2942" y="6906"/>
                  </a:lnTo>
                  <a:lnTo>
                    <a:pt x="2942" y="6334"/>
                  </a:lnTo>
                  <a:cubicBezTo>
                    <a:pt x="2942" y="5525"/>
                    <a:pt x="3275" y="4751"/>
                    <a:pt x="3835" y="4191"/>
                  </a:cubicBezTo>
                  <a:lnTo>
                    <a:pt x="4382" y="3632"/>
                  </a:lnTo>
                  <a:lnTo>
                    <a:pt x="4799" y="3239"/>
                  </a:lnTo>
                  <a:cubicBezTo>
                    <a:pt x="4858" y="3179"/>
                    <a:pt x="4954" y="3132"/>
                    <a:pt x="5037" y="3132"/>
                  </a:cubicBezTo>
                  <a:close/>
                  <a:moveTo>
                    <a:pt x="4370" y="7251"/>
                  </a:moveTo>
                  <a:lnTo>
                    <a:pt x="4382" y="7668"/>
                  </a:lnTo>
                  <a:lnTo>
                    <a:pt x="322" y="7668"/>
                  </a:lnTo>
                  <a:lnTo>
                    <a:pt x="322" y="7251"/>
                  </a:lnTo>
                  <a:close/>
                  <a:moveTo>
                    <a:pt x="2739" y="0"/>
                  </a:moveTo>
                  <a:cubicBezTo>
                    <a:pt x="2406" y="0"/>
                    <a:pt x="2120" y="227"/>
                    <a:pt x="2037" y="524"/>
                  </a:cubicBezTo>
                  <a:cubicBezTo>
                    <a:pt x="1941" y="477"/>
                    <a:pt x="1846" y="465"/>
                    <a:pt x="1739" y="465"/>
                  </a:cubicBezTo>
                  <a:cubicBezTo>
                    <a:pt x="1334" y="465"/>
                    <a:pt x="1013" y="798"/>
                    <a:pt x="1013" y="1191"/>
                  </a:cubicBezTo>
                  <a:lnTo>
                    <a:pt x="1013" y="1298"/>
                  </a:lnTo>
                  <a:cubicBezTo>
                    <a:pt x="965" y="1286"/>
                    <a:pt x="918" y="1286"/>
                    <a:pt x="870" y="1286"/>
                  </a:cubicBezTo>
                  <a:cubicBezTo>
                    <a:pt x="537" y="1286"/>
                    <a:pt x="263" y="1548"/>
                    <a:pt x="263" y="1893"/>
                  </a:cubicBezTo>
                  <a:lnTo>
                    <a:pt x="263" y="6918"/>
                  </a:lnTo>
                  <a:lnTo>
                    <a:pt x="156" y="6918"/>
                  </a:lnTo>
                  <a:cubicBezTo>
                    <a:pt x="72" y="6918"/>
                    <a:pt x="1" y="7001"/>
                    <a:pt x="1" y="7085"/>
                  </a:cubicBezTo>
                  <a:lnTo>
                    <a:pt x="1" y="7847"/>
                  </a:lnTo>
                  <a:cubicBezTo>
                    <a:pt x="1" y="7942"/>
                    <a:pt x="72" y="8013"/>
                    <a:pt x="156" y="8013"/>
                  </a:cubicBezTo>
                  <a:lnTo>
                    <a:pt x="4561" y="8013"/>
                  </a:lnTo>
                  <a:cubicBezTo>
                    <a:pt x="4656" y="8013"/>
                    <a:pt x="4728" y="7942"/>
                    <a:pt x="4728" y="7847"/>
                  </a:cubicBezTo>
                  <a:lnTo>
                    <a:pt x="4728" y="7073"/>
                  </a:lnTo>
                  <a:cubicBezTo>
                    <a:pt x="4728" y="6989"/>
                    <a:pt x="4656" y="6906"/>
                    <a:pt x="4561" y="6906"/>
                  </a:cubicBezTo>
                  <a:lnTo>
                    <a:pt x="4466" y="6906"/>
                  </a:lnTo>
                  <a:lnTo>
                    <a:pt x="4466" y="5049"/>
                  </a:lnTo>
                  <a:lnTo>
                    <a:pt x="5537" y="3965"/>
                  </a:lnTo>
                  <a:cubicBezTo>
                    <a:pt x="5668" y="3834"/>
                    <a:pt x="5728" y="3667"/>
                    <a:pt x="5728" y="3489"/>
                  </a:cubicBezTo>
                  <a:cubicBezTo>
                    <a:pt x="5728" y="3310"/>
                    <a:pt x="5656" y="3132"/>
                    <a:pt x="5537" y="3013"/>
                  </a:cubicBezTo>
                  <a:cubicBezTo>
                    <a:pt x="5394" y="2882"/>
                    <a:pt x="5239" y="2822"/>
                    <a:pt x="5061" y="2822"/>
                  </a:cubicBezTo>
                  <a:cubicBezTo>
                    <a:pt x="4870" y="2822"/>
                    <a:pt x="4704" y="2894"/>
                    <a:pt x="4573" y="3013"/>
                  </a:cubicBezTo>
                  <a:lnTo>
                    <a:pt x="4466" y="3132"/>
                  </a:lnTo>
                  <a:lnTo>
                    <a:pt x="4466" y="1048"/>
                  </a:lnTo>
                  <a:cubicBezTo>
                    <a:pt x="4466" y="643"/>
                    <a:pt x="4132" y="310"/>
                    <a:pt x="3727" y="310"/>
                  </a:cubicBezTo>
                  <a:cubicBezTo>
                    <a:pt x="3608" y="310"/>
                    <a:pt x="3489" y="346"/>
                    <a:pt x="3370" y="405"/>
                  </a:cubicBezTo>
                  <a:cubicBezTo>
                    <a:pt x="3251" y="167"/>
                    <a:pt x="3001" y="0"/>
                    <a:pt x="2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96" name="Google Shape;11596;p61"/>
          <p:cNvGrpSpPr/>
          <p:nvPr/>
        </p:nvGrpSpPr>
        <p:grpSpPr>
          <a:xfrm>
            <a:off x="1310655" y="3360527"/>
            <a:ext cx="306314" cy="347403"/>
            <a:chOff x="1310655" y="3360527"/>
            <a:chExt cx="306314" cy="347403"/>
          </a:xfrm>
        </p:grpSpPr>
        <p:sp>
          <p:nvSpPr>
            <p:cNvPr id="11597" name="Google Shape;11597;p61"/>
            <p:cNvSpPr/>
            <p:nvPr/>
          </p:nvSpPr>
          <p:spPr>
            <a:xfrm>
              <a:off x="1440416" y="3531630"/>
              <a:ext cx="151652" cy="176299"/>
            </a:xfrm>
            <a:custGeom>
              <a:avLst/>
              <a:gdLst/>
              <a:ahLst/>
              <a:cxnLst/>
              <a:rect l="l" t="t" r="r" b="b"/>
              <a:pathLst>
                <a:path w="4787" h="5565" extrusionOk="0">
                  <a:moveTo>
                    <a:pt x="1851" y="0"/>
                  </a:moveTo>
                  <a:cubicBezTo>
                    <a:pt x="1838" y="0"/>
                    <a:pt x="1824" y="2"/>
                    <a:pt x="1810" y="4"/>
                  </a:cubicBezTo>
                  <a:cubicBezTo>
                    <a:pt x="1751" y="28"/>
                    <a:pt x="1715" y="52"/>
                    <a:pt x="1691" y="112"/>
                  </a:cubicBezTo>
                  <a:lnTo>
                    <a:pt x="1275" y="1255"/>
                  </a:lnTo>
                  <a:cubicBezTo>
                    <a:pt x="429" y="1767"/>
                    <a:pt x="1" y="2731"/>
                    <a:pt x="191" y="3695"/>
                  </a:cubicBezTo>
                  <a:cubicBezTo>
                    <a:pt x="310" y="4314"/>
                    <a:pt x="667" y="4826"/>
                    <a:pt x="1179" y="5172"/>
                  </a:cubicBezTo>
                  <a:cubicBezTo>
                    <a:pt x="1560" y="5422"/>
                    <a:pt x="2013" y="5565"/>
                    <a:pt x="2453" y="5565"/>
                  </a:cubicBezTo>
                  <a:cubicBezTo>
                    <a:pt x="2608" y="5565"/>
                    <a:pt x="2751" y="5541"/>
                    <a:pt x="2918" y="5517"/>
                  </a:cubicBezTo>
                  <a:cubicBezTo>
                    <a:pt x="3799" y="5338"/>
                    <a:pt x="4489" y="4672"/>
                    <a:pt x="4715" y="3803"/>
                  </a:cubicBezTo>
                  <a:cubicBezTo>
                    <a:pt x="4727" y="3719"/>
                    <a:pt x="4692" y="3624"/>
                    <a:pt x="4596" y="3612"/>
                  </a:cubicBezTo>
                  <a:cubicBezTo>
                    <a:pt x="4586" y="3611"/>
                    <a:pt x="4576" y="3610"/>
                    <a:pt x="4565" y="3610"/>
                  </a:cubicBezTo>
                  <a:cubicBezTo>
                    <a:pt x="4491" y="3610"/>
                    <a:pt x="4416" y="3648"/>
                    <a:pt x="4406" y="3731"/>
                  </a:cubicBezTo>
                  <a:cubicBezTo>
                    <a:pt x="4215" y="4469"/>
                    <a:pt x="3620" y="5053"/>
                    <a:pt x="2858" y="5207"/>
                  </a:cubicBezTo>
                  <a:cubicBezTo>
                    <a:pt x="2728" y="5231"/>
                    <a:pt x="2597" y="5243"/>
                    <a:pt x="2468" y="5243"/>
                  </a:cubicBezTo>
                  <a:cubicBezTo>
                    <a:pt x="2075" y="5243"/>
                    <a:pt x="1692" y="5134"/>
                    <a:pt x="1370" y="4910"/>
                  </a:cubicBezTo>
                  <a:cubicBezTo>
                    <a:pt x="917" y="4612"/>
                    <a:pt x="620" y="4160"/>
                    <a:pt x="524" y="3636"/>
                  </a:cubicBezTo>
                  <a:cubicBezTo>
                    <a:pt x="346" y="2790"/>
                    <a:pt x="739" y="1933"/>
                    <a:pt x="1501" y="1517"/>
                  </a:cubicBezTo>
                  <a:cubicBezTo>
                    <a:pt x="1537" y="1493"/>
                    <a:pt x="1560" y="1469"/>
                    <a:pt x="1572" y="1421"/>
                  </a:cubicBezTo>
                  <a:lnTo>
                    <a:pt x="1918" y="469"/>
                  </a:lnTo>
                  <a:lnTo>
                    <a:pt x="2608" y="1219"/>
                  </a:lnTo>
                  <a:cubicBezTo>
                    <a:pt x="2632" y="1243"/>
                    <a:pt x="2668" y="1255"/>
                    <a:pt x="2703" y="1255"/>
                  </a:cubicBezTo>
                  <a:cubicBezTo>
                    <a:pt x="3572" y="1362"/>
                    <a:pt x="4275" y="2005"/>
                    <a:pt x="4430" y="2850"/>
                  </a:cubicBezTo>
                  <a:cubicBezTo>
                    <a:pt x="4454" y="2945"/>
                    <a:pt x="4465" y="3041"/>
                    <a:pt x="4465" y="3136"/>
                  </a:cubicBezTo>
                  <a:cubicBezTo>
                    <a:pt x="4465" y="3209"/>
                    <a:pt x="4521" y="3283"/>
                    <a:pt x="4599" y="3283"/>
                  </a:cubicBezTo>
                  <a:cubicBezTo>
                    <a:pt x="4610" y="3283"/>
                    <a:pt x="4621" y="3281"/>
                    <a:pt x="4632" y="3279"/>
                  </a:cubicBezTo>
                  <a:cubicBezTo>
                    <a:pt x="4715" y="3279"/>
                    <a:pt x="4787" y="3207"/>
                    <a:pt x="4775" y="3124"/>
                  </a:cubicBezTo>
                  <a:cubicBezTo>
                    <a:pt x="4775" y="3017"/>
                    <a:pt x="4763" y="2898"/>
                    <a:pt x="4727" y="2790"/>
                  </a:cubicBezTo>
                  <a:cubicBezTo>
                    <a:pt x="4537" y="1826"/>
                    <a:pt x="3763" y="1100"/>
                    <a:pt x="2787" y="945"/>
                  </a:cubicBezTo>
                  <a:lnTo>
                    <a:pt x="1965" y="52"/>
                  </a:lnTo>
                  <a:cubicBezTo>
                    <a:pt x="1929" y="16"/>
                    <a:pt x="1892" y="0"/>
                    <a:pt x="18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8" name="Google Shape;11598;p61"/>
            <p:cNvSpPr/>
            <p:nvPr/>
          </p:nvSpPr>
          <p:spPr>
            <a:xfrm>
              <a:off x="1486447" y="3589478"/>
              <a:ext cx="64152" cy="75842"/>
            </a:xfrm>
            <a:custGeom>
              <a:avLst/>
              <a:gdLst/>
              <a:ahLst/>
              <a:cxnLst/>
              <a:rect l="l" t="t" r="r" b="b"/>
              <a:pathLst>
                <a:path w="2025" h="2394" extrusionOk="0">
                  <a:moveTo>
                    <a:pt x="1691" y="1179"/>
                  </a:moveTo>
                  <a:lnTo>
                    <a:pt x="1691" y="2084"/>
                  </a:lnTo>
                  <a:lnTo>
                    <a:pt x="298" y="2084"/>
                  </a:lnTo>
                  <a:lnTo>
                    <a:pt x="298" y="1179"/>
                  </a:lnTo>
                  <a:close/>
                  <a:moveTo>
                    <a:pt x="1012" y="0"/>
                  </a:moveTo>
                  <a:cubicBezTo>
                    <a:pt x="715" y="0"/>
                    <a:pt x="476" y="238"/>
                    <a:pt x="476" y="536"/>
                  </a:cubicBezTo>
                  <a:lnTo>
                    <a:pt x="476" y="845"/>
                  </a:lnTo>
                  <a:lnTo>
                    <a:pt x="167" y="845"/>
                  </a:lnTo>
                  <a:cubicBezTo>
                    <a:pt x="84" y="845"/>
                    <a:pt x="0" y="917"/>
                    <a:pt x="0" y="1012"/>
                  </a:cubicBezTo>
                  <a:lnTo>
                    <a:pt x="0" y="2227"/>
                  </a:lnTo>
                  <a:cubicBezTo>
                    <a:pt x="0" y="2322"/>
                    <a:pt x="84" y="2393"/>
                    <a:pt x="167" y="2393"/>
                  </a:cubicBezTo>
                  <a:lnTo>
                    <a:pt x="1869" y="2393"/>
                  </a:lnTo>
                  <a:cubicBezTo>
                    <a:pt x="1953" y="2393"/>
                    <a:pt x="2024" y="2322"/>
                    <a:pt x="2024" y="2227"/>
                  </a:cubicBezTo>
                  <a:lnTo>
                    <a:pt x="2024" y="1012"/>
                  </a:lnTo>
                  <a:cubicBezTo>
                    <a:pt x="2012" y="917"/>
                    <a:pt x="1941" y="845"/>
                    <a:pt x="1846" y="845"/>
                  </a:cubicBezTo>
                  <a:lnTo>
                    <a:pt x="774" y="845"/>
                  </a:lnTo>
                  <a:lnTo>
                    <a:pt x="774" y="536"/>
                  </a:lnTo>
                  <a:cubicBezTo>
                    <a:pt x="774" y="417"/>
                    <a:pt x="881" y="310"/>
                    <a:pt x="1000" y="310"/>
                  </a:cubicBezTo>
                  <a:cubicBezTo>
                    <a:pt x="1119" y="310"/>
                    <a:pt x="1227" y="417"/>
                    <a:pt x="1227" y="536"/>
                  </a:cubicBezTo>
                  <a:cubicBezTo>
                    <a:pt x="1227" y="619"/>
                    <a:pt x="1298" y="703"/>
                    <a:pt x="1393" y="703"/>
                  </a:cubicBezTo>
                  <a:cubicBezTo>
                    <a:pt x="1477" y="703"/>
                    <a:pt x="1548" y="619"/>
                    <a:pt x="1548" y="536"/>
                  </a:cubicBezTo>
                  <a:cubicBezTo>
                    <a:pt x="1548" y="238"/>
                    <a:pt x="1310" y="0"/>
                    <a:pt x="10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9" name="Google Shape;11599;p61"/>
            <p:cNvSpPr/>
            <p:nvPr/>
          </p:nvSpPr>
          <p:spPr>
            <a:xfrm>
              <a:off x="1310655" y="3360527"/>
              <a:ext cx="306314" cy="334572"/>
            </a:xfrm>
            <a:custGeom>
              <a:avLst/>
              <a:gdLst/>
              <a:ahLst/>
              <a:cxnLst/>
              <a:rect l="l" t="t" r="r" b="b"/>
              <a:pathLst>
                <a:path w="9669" h="10561" extrusionOk="0">
                  <a:moveTo>
                    <a:pt x="2430" y="7941"/>
                  </a:moveTo>
                  <a:lnTo>
                    <a:pt x="3120" y="8644"/>
                  </a:lnTo>
                  <a:lnTo>
                    <a:pt x="2989" y="8775"/>
                  </a:lnTo>
                  <a:lnTo>
                    <a:pt x="2656" y="8430"/>
                  </a:lnTo>
                  <a:cubicBezTo>
                    <a:pt x="2626" y="8400"/>
                    <a:pt x="2585" y="8385"/>
                    <a:pt x="2543" y="8385"/>
                  </a:cubicBezTo>
                  <a:cubicBezTo>
                    <a:pt x="2501" y="8385"/>
                    <a:pt x="2459" y="8400"/>
                    <a:pt x="2430" y="8430"/>
                  </a:cubicBezTo>
                  <a:lnTo>
                    <a:pt x="2073" y="8787"/>
                  </a:lnTo>
                  <a:cubicBezTo>
                    <a:pt x="2037" y="8823"/>
                    <a:pt x="2025" y="8858"/>
                    <a:pt x="2025" y="8906"/>
                  </a:cubicBezTo>
                  <a:cubicBezTo>
                    <a:pt x="2025" y="8953"/>
                    <a:pt x="2037" y="9001"/>
                    <a:pt x="2073" y="9025"/>
                  </a:cubicBezTo>
                  <a:lnTo>
                    <a:pt x="2418" y="9370"/>
                  </a:lnTo>
                  <a:lnTo>
                    <a:pt x="2275" y="9501"/>
                  </a:lnTo>
                  <a:lnTo>
                    <a:pt x="1942" y="9156"/>
                  </a:lnTo>
                  <a:cubicBezTo>
                    <a:pt x="1912" y="9126"/>
                    <a:pt x="1870" y="9111"/>
                    <a:pt x="1828" y="9111"/>
                  </a:cubicBezTo>
                  <a:cubicBezTo>
                    <a:pt x="1787" y="9111"/>
                    <a:pt x="1745" y="9126"/>
                    <a:pt x="1715" y="9156"/>
                  </a:cubicBezTo>
                  <a:lnTo>
                    <a:pt x="1358" y="9513"/>
                  </a:lnTo>
                  <a:cubicBezTo>
                    <a:pt x="1322" y="9549"/>
                    <a:pt x="1311" y="9585"/>
                    <a:pt x="1311" y="9632"/>
                  </a:cubicBezTo>
                  <a:cubicBezTo>
                    <a:pt x="1311" y="9680"/>
                    <a:pt x="1322" y="9727"/>
                    <a:pt x="1358" y="9751"/>
                  </a:cubicBezTo>
                  <a:lnTo>
                    <a:pt x="1703" y="10096"/>
                  </a:lnTo>
                  <a:lnTo>
                    <a:pt x="1584" y="10192"/>
                  </a:lnTo>
                  <a:lnTo>
                    <a:pt x="882" y="9489"/>
                  </a:lnTo>
                  <a:lnTo>
                    <a:pt x="2430" y="7941"/>
                  </a:lnTo>
                  <a:close/>
                  <a:moveTo>
                    <a:pt x="6496" y="1"/>
                  </a:moveTo>
                  <a:cubicBezTo>
                    <a:pt x="5951" y="1"/>
                    <a:pt x="5469" y="199"/>
                    <a:pt x="5121" y="548"/>
                  </a:cubicBezTo>
                  <a:cubicBezTo>
                    <a:pt x="4704" y="964"/>
                    <a:pt x="4513" y="1572"/>
                    <a:pt x="4597" y="2238"/>
                  </a:cubicBezTo>
                  <a:cubicBezTo>
                    <a:pt x="4656" y="2727"/>
                    <a:pt x="4871" y="3227"/>
                    <a:pt x="5180" y="3655"/>
                  </a:cubicBezTo>
                  <a:lnTo>
                    <a:pt x="3501" y="5334"/>
                  </a:lnTo>
                  <a:cubicBezTo>
                    <a:pt x="3442" y="5394"/>
                    <a:pt x="3442" y="5501"/>
                    <a:pt x="3501" y="5560"/>
                  </a:cubicBezTo>
                  <a:cubicBezTo>
                    <a:pt x="3525" y="5584"/>
                    <a:pt x="3573" y="5608"/>
                    <a:pt x="3620" y="5608"/>
                  </a:cubicBezTo>
                  <a:cubicBezTo>
                    <a:pt x="3668" y="5608"/>
                    <a:pt x="3704" y="5584"/>
                    <a:pt x="3739" y="5560"/>
                  </a:cubicBezTo>
                  <a:lnTo>
                    <a:pt x="5406" y="3893"/>
                  </a:lnTo>
                  <a:cubicBezTo>
                    <a:pt x="5454" y="3953"/>
                    <a:pt x="5502" y="4000"/>
                    <a:pt x="5549" y="4060"/>
                  </a:cubicBezTo>
                  <a:cubicBezTo>
                    <a:pt x="5609" y="4120"/>
                    <a:pt x="5656" y="4155"/>
                    <a:pt x="5716" y="4203"/>
                  </a:cubicBezTo>
                  <a:lnTo>
                    <a:pt x="2334" y="7584"/>
                  </a:lnTo>
                  <a:lnTo>
                    <a:pt x="691" y="9239"/>
                  </a:lnTo>
                  <a:lnTo>
                    <a:pt x="370" y="8918"/>
                  </a:lnTo>
                  <a:lnTo>
                    <a:pt x="3299" y="5989"/>
                  </a:lnTo>
                  <a:cubicBezTo>
                    <a:pt x="3358" y="5929"/>
                    <a:pt x="3358" y="5822"/>
                    <a:pt x="3299" y="5763"/>
                  </a:cubicBezTo>
                  <a:cubicBezTo>
                    <a:pt x="3275" y="5733"/>
                    <a:pt x="3236" y="5718"/>
                    <a:pt x="3196" y="5718"/>
                  </a:cubicBezTo>
                  <a:cubicBezTo>
                    <a:pt x="3156" y="5718"/>
                    <a:pt x="3114" y="5733"/>
                    <a:pt x="3085" y="5763"/>
                  </a:cubicBezTo>
                  <a:lnTo>
                    <a:pt x="48" y="8799"/>
                  </a:lnTo>
                  <a:cubicBezTo>
                    <a:pt x="13" y="8834"/>
                    <a:pt x="1" y="8882"/>
                    <a:pt x="1" y="8918"/>
                  </a:cubicBezTo>
                  <a:cubicBezTo>
                    <a:pt x="1" y="8965"/>
                    <a:pt x="13" y="9013"/>
                    <a:pt x="48" y="9037"/>
                  </a:cubicBezTo>
                  <a:lnTo>
                    <a:pt x="596" y="9585"/>
                  </a:lnTo>
                  <a:lnTo>
                    <a:pt x="1513" y="10513"/>
                  </a:lnTo>
                  <a:cubicBezTo>
                    <a:pt x="1549" y="10549"/>
                    <a:pt x="1596" y="10561"/>
                    <a:pt x="1632" y="10561"/>
                  </a:cubicBezTo>
                  <a:cubicBezTo>
                    <a:pt x="1680" y="10561"/>
                    <a:pt x="1727" y="10537"/>
                    <a:pt x="1763" y="10513"/>
                  </a:cubicBezTo>
                  <a:lnTo>
                    <a:pt x="2108" y="10156"/>
                  </a:lnTo>
                  <a:cubicBezTo>
                    <a:pt x="2144" y="10120"/>
                    <a:pt x="2156" y="10085"/>
                    <a:pt x="2156" y="10037"/>
                  </a:cubicBezTo>
                  <a:cubicBezTo>
                    <a:pt x="2156" y="9989"/>
                    <a:pt x="2144" y="9954"/>
                    <a:pt x="2108" y="9918"/>
                  </a:cubicBezTo>
                  <a:lnTo>
                    <a:pt x="1775" y="9573"/>
                  </a:lnTo>
                  <a:lnTo>
                    <a:pt x="1906" y="9442"/>
                  </a:lnTo>
                  <a:lnTo>
                    <a:pt x="2251" y="9787"/>
                  </a:lnTo>
                  <a:cubicBezTo>
                    <a:pt x="2281" y="9817"/>
                    <a:pt x="2320" y="9832"/>
                    <a:pt x="2358" y="9832"/>
                  </a:cubicBezTo>
                  <a:cubicBezTo>
                    <a:pt x="2397" y="9832"/>
                    <a:pt x="2436" y="9817"/>
                    <a:pt x="2465" y="9787"/>
                  </a:cubicBezTo>
                  <a:lnTo>
                    <a:pt x="2823" y="9430"/>
                  </a:lnTo>
                  <a:cubicBezTo>
                    <a:pt x="2858" y="9394"/>
                    <a:pt x="2870" y="9358"/>
                    <a:pt x="2870" y="9311"/>
                  </a:cubicBezTo>
                  <a:cubicBezTo>
                    <a:pt x="2870" y="9263"/>
                    <a:pt x="2858" y="9215"/>
                    <a:pt x="2823" y="9192"/>
                  </a:cubicBezTo>
                  <a:lnTo>
                    <a:pt x="2489" y="8846"/>
                  </a:lnTo>
                  <a:lnTo>
                    <a:pt x="2620" y="8715"/>
                  </a:lnTo>
                  <a:lnTo>
                    <a:pt x="2966" y="9061"/>
                  </a:lnTo>
                  <a:cubicBezTo>
                    <a:pt x="2995" y="9090"/>
                    <a:pt x="3034" y="9105"/>
                    <a:pt x="3073" y="9105"/>
                  </a:cubicBezTo>
                  <a:cubicBezTo>
                    <a:pt x="3111" y="9105"/>
                    <a:pt x="3150" y="9090"/>
                    <a:pt x="3180" y="9061"/>
                  </a:cubicBezTo>
                  <a:lnTo>
                    <a:pt x="3537" y="8703"/>
                  </a:lnTo>
                  <a:cubicBezTo>
                    <a:pt x="3597" y="8644"/>
                    <a:pt x="3597" y="8537"/>
                    <a:pt x="3537" y="8477"/>
                  </a:cubicBezTo>
                  <a:lnTo>
                    <a:pt x="2727" y="7656"/>
                  </a:lnTo>
                  <a:lnTo>
                    <a:pt x="6014" y="4370"/>
                  </a:lnTo>
                  <a:cubicBezTo>
                    <a:pt x="6549" y="4751"/>
                    <a:pt x="7168" y="4977"/>
                    <a:pt x="7752" y="4977"/>
                  </a:cubicBezTo>
                  <a:cubicBezTo>
                    <a:pt x="8026" y="4977"/>
                    <a:pt x="8276" y="4929"/>
                    <a:pt x="8514" y="4846"/>
                  </a:cubicBezTo>
                  <a:cubicBezTo>
                    <a:pt x="8597" y="4810"/>
                    <a:pt x="8633" y="4727"/>
                    <a:pt x="8597" y="4632"/>
                  </a:cubicBezTo>
                  <a:cubicBezTo>
                    <a:pt x="8580" y="4570"/>
                    <a:pt x="8523" y="4534"/>
                    <a:pt x="8461" y="4534"/>
                  </a:cubicBezTo>
                  <a:cubicBezTo>
                    <a:pt x="8439" y="4534"/>
                    <a:pt x="8417" y="4539"/>
                    <a:pt x="8395" y="4548"/>
                  </a:cubicBezTo>
                  <a:cubicBezTo>
                    <a:pt x="8192" y="4625"/>
                    <a:pt x="7973" y="4662"/>
                    <a:pt x="7746" y="4662"/>
                  </a:cubicBezTo>
                  <a:cubicBezTo>
                    <a:pt x="7093" y="4662"/>
                    <a:pt x="6380" y="4355"/>
                    <a:pt x="5823" y="3798"/>
                  </a:cubicBezTo>
                  <a:cubicBezTo>
                    <a:pt x="4847" y="2834"/>
                    <a:pt x="4668" y="1453"/>
                    <a:pt x="5406" y="726"/>
                  </a:cubicBezTo>
                  <a:cubicBezTo>
                    <a:pt x="5707" y="421"/>
                    <a:pt x="6119" y="272"/>
                    <a:pt x="6568" y="272"/>
                  </a:cubicBezTo>
                  <a:cubicBezTo>
                    <a:pt x="7204" y="272"/>
                    <a:pt x="7913" y="571"/>
                    <a:pt x="8478" y="1143"/>
                  </a:cubicBezTo>
                  <a:cubicBezTo>
                    <a:pt x="9454" y="2107"/>
                    <a:pt x="9633" y="3489"/>
                    <a:pt x="8895" y="4215"/>
                  </a:cubicBezTo>
                  <a:lnTo>
                    <a:pt x="8883" y="4239"/>
                  </a:lnTo>
                  <a:cubicBezTo>
                    <a:pt x="8823" y="4298"/>
                    <a:pt x="8823" y="4393"/>
                    <a:pt x="8883" y="4453"/>
                  </a:cubicBezTo>
                  <a:cubicBezTo>
                    <a:pt x="8913" y="4483"/>
                    <a:pt x="8954" y="4498"/>
                    <a:pt x="8996" y="4498"/>
                  </a:cubicBezTo>
                  <a:cubicBezTo>
                    <a:pt x="9038" y="4498"/>
                    <a:pt x="9079" y="4483"/>
                    <a:pt x="9109" y="4453"/>
                  </a:cubicBezTo>
                  <a:lnTo>
                    <a:pt x="9121" y="4441"/>
                  </a:lnTo>
                  <a:cubicBezTo>
                    <a:pt x="9502" y="4072"/>
                    <a:pt x="9669" y="3465"/>
                    <a:pt x="9585" y="2786"/>
                  </a:cubicBezTo>
                  <a:cubicBezTo>
                    <a:pt x="9502" y="2131"/>
                    <a:pt x="9169" y="1476"/>
                    <a:pt x="8645" y="964"/>
                  </a:cubicBezTo>
                  <a:cubicBezTo>
                    <a:pt x="8133" y="441"/>
                    <a:pt x="7478" y="95"/>
                    <a:pt x="6823" y="24"/>
                  </a:cubicBezTo>
                  <a:cubicBezTo>
                    <a:pt x="6712" y="8"/>
                    <a:pt x="6603" y="1"/>
                    <a:pt x="64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0" name="Google Shape;11600;p61"/>
            <p:cNvSpPr/>
            <p:nvPr/>
          </p:nvSpPr>
          <p:spPr>
            <a:xfrm>
              <a:off x="1474377" y="3380453"/>
              <a:ext cx="122221" cy="118895"/>
            </a:xfrm>
            <a:custGeom>
              <a:avLst/>
              <a:gdLst/>
              <a:ahLst/>
              <a:cxnLst/>
              <a:rect l="l" t="t" r="r" b="b"/>
              <a:pathLst>
                <a:path w="3858" h="3753" extrusionOk="0">
                  <a:moveTo>
                    <a:pt x="1488" y="312"/>
                  </a:moveTo>
                  <a:cubicBezTo>
                    <a:pt x="1953" y="312"/>
                    <a:pt x="2453" y="526"/>
                    <a:pt x="2858" y="943"/>
                  </a:cubicBezTo>
                  <a:cubicBezTo>
                    <a:pt x="3536" y="1621"/>
                    <a:pt x="3691" y="2609"/>
                    <a:pt x="3167" y="3133"/>
                  </a:cubicBezTo>
                  <a:cubicBezTo>
                    <a:pt x="2965" y="3336"/>
                    <a:pt x="2667" y="3443"/>
                    <a:pt x="2346" y="3443"/>
                  </a:cubicBezTo>
                  <a:cubicBezTo>
                    <a:pt x="1881" y="3443"/>
                    <a:pt x="1381" y="3229"/>
                    <a:pt x="976" y="2812"/>
                  </a:cubicBezTo>
                  <a:cubicBezTo>
                    <a:pt x="631" y="2479"/>
                    <a:pt x="429" y="2050"/>
                    <a:pt x="369" y="1645"/>
                  </a:cubicBezTo>
                  <a:cubicBezTo>
                    <a:pt x="322" y="1240"/>
                    <a:pt x="429" y="883"/>
                    <a:pt x="667" y="633"/>
                  </a:cubicBezTo>
                  <a:cubicBezTo>
                    <a:pt x="869" y="419"/>
                    <a:pt x="1167" y="312"/>
                    <a:pt x="1488" y="312"/>
                  </a:cubicBezTo>
                  <a:close/>
                  <a:moveTo>
                    <a:pt x="1518" y="1"/>
                  </a:moveTo>
                  <a:cubicBezTo>
                    <a:pt x="1106" y="1"/>
                    <a:pt x="738" y="143"/>
                    <a:pt x="465" y="407"/>
                  </a:cubicBezTo>
                  <a:cubicBezTo>
                    <a:pt x="143" y="716"/>
                    <a:pt x="0" y="1181"/>
                    <a:pt x="72" y="1681"/>
                  </a:cubicBezTo>
                  <a:cubicBezTo>
                    <a:pt x="131" y="2181"/>
                    <a:pt x="381" y="2657"/>
                    <a:pt x="774" y="3038"/>
                  </a:cubicBezTo>
                  <a:cubicBezTo>
                    <a:pt x="1227" y="3502"/>
                    <a:pt x="1822" y="3752"/>
                    <a:pt x="2358" y="3752"/>
                  </a:cubicBezTo>
                  <a:cubicBezTo>
                    <a:pt x="2762" y="3752"/>
                    <a:pt x="3132" y="3622"/>
                    <a:pt x="3405" y="3348"/>
                  </a:cubicBezTo>
                  <a:cubicBezTo>
                    <a:pt x="3703" y="3038"/>
                    <a:pt x="3858" y="2574"/>
                    <a:pt x="3798" y="2074"/>
                  </a:cubicBezTo>
                  <a:cubicBezTo>
                    <a:pt x="3739" y="1586"/>
                    <a:pt x="3477" y="1109"/>
                    <a:pt x="3096" y="716"/>
                  </a:cubicBezTo>
                  <a:cubicBezTo>
                    <a:pt x="2703" y="335"/>
                    <a:pt x="2215" y="73"/>
                    <a:pt x="1738" y="14"/>
                  </a:cubicBezTo>
                  <a:cubicBezTo>
                    <a:pt x="1664" y="5"/>
                    <a:pt x="1590" y="1"/>
                    <a:pt x="15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1" name="Google Shape;11601;p61"/>
            <p:cNvSpPr/>
            <p:nvPr/>
          </p:nvSpPr>
          <p:spPr>
            <a:xfrm>
              <a:off x="1510207" y="3632848"/>
              <a:ext cx="15492" cy="17741"/>
            </a:xfrm>
            <a:custGeom>
              <a:avLst/>
              <a:gdLst/>
              <a:ahLst/>
              <a:cxnLst/>
              <a:rect l="l" t="t" r="r" b="b"/>
              <a:pathLst>
                <a:path w="489" h="560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27"/>
                    <a:pt x="24" y="262"/>
                    <a:pt x="72" y="298"/>
                  </a:cubicBezTo>
                  <a:lnTo>
                    <a:pt x="72" y="405"/>
                  </a:lnTo>
                  <a:cubicBezTo>
                    <a:pt x="72" y="488"/>
                    <a:pt x="143" y="560"/>
                    <a:pt x="238" y="560"/>
                  </a:cubicBezTo>
                  <a:cubicBezTo>
                    <a:pt x="322" y="560"/>
                    <a:pt x="393" y="488"/>
                    <a:pt x="393" y="405"/>
                  </a:cubicBezTo>
                  <a:lnTo>
                    <a:pt x="393" y="298"/>
                  </a:lnTo>
                  <a:cubicBezTo>
                    <a:pt x="441" y="262"/>
                    <a:pt x="477" y="227"/>
                    <a:pt x="477" y="167"/>
                  </a:cubicBezTo>
                  <a:cubicBezTo>
                    <a:pt x="488" y="72"/>
                    <a:pt x="417" y="0"/>
                    <a:pt x="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02" name="Google Shape;11602;p61"/>
          <p:cNvGrpSpPr/>
          <p:nvPr/>
        </p:nvGrpSpPr>
        <p:grpSpPr>
          <a:xfrm>
            <a:off x="3119678" y="3360146"/>
            <a:ext cx="269343" cy="348543"/>
            <a:chOff x="3119678" y="3360146"/>
            <a:chExt cx="269343" cy="348543"/>
          </a:xfrm>
        </p:grpSpPr>
        <p:sp>
          <p:nvSpPr>
            <p:cNvPr id="11603" name="Google Shape;11603;p61"/>
            <p:cNvSpPr/>
            <p:nvPr/>
          </p:nvSpPr>
          <p:spPr>
            <a:xfrm>
              <a:off x="3268289" y="3498271"/>
              <a:ext cx="43782" cy="46728"/>
            </a:xfrm>
            <a:custGeom>
              <a:avLst/>
              <a:gdLst/>
              <a:ahLst/>
              <a:cxnLst/>
              <a:rect l="l" t="t" r="r" b="b"/>
              <a:pathLst>
                <a:path w="1382" h="1475" extrusionOk="0">
                  <a:moveTo>
                    <a:pt x="196" y="0"/>
                  </a:moveTo>
                  <a:cubicBezTo>
                    <a:pt x="137" y="0"/>
                    <a:pt x="81" y="35"/>
                    <a:pt x="48" y="93"/>
                  </a:cubicBezTo>
                  <a:cubicBezTo>
                    <a:pt x="0" y="164"/>
                    <a:pt x="36" y="272"/>
                    <a:pt x="119" y="319"/>
                  </a:cubicBezTo>
                  <a:cubicBezTo>
                    <a:pt x="584" y="557"/>
                    <a:pt x="905" y="926"/>
                    <a:pt x="1048" y="1355"/>
                  </a:cubicBezTo>
                  <a:cubicBezTo>
                    <a:pt x="1060" y="1438"/>
                    <a:pt x="1131" y="1474"/>
                    <a:pt x="1191" y="1474"/>
                  </a:cubicBezTo>
                  <a:cubicBezTo>
                    <a:pt x="1203" y="1474"/>
                    <a:pt x="1227" y="1474"/>
                    <a:pt x="1239" y="1462"/>
                  </a:cubicBezTo>
                  <a:cubicBezTo>
                    <a:pt x="1322" y="1415"/>
                    <a:pt x="1381" y="1331"/>
                    <a:pt x="1358" y="1236"/>
                  </a:cubicBezTo>
                  <a:cubicBezTo>
                    <a:pt x="1191" y="736"/>
                    <a:pt x="810" y="284"/>
                    <a:pt x="274" y="22"/>
                  </a:cubicBezTo>
                  <a:cubicBezTo>
                    <a:pt x="249" y="7"/>
                    <a:pt x="222" y="0"/>
                    <a:pt x="1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4" name="Google Shape;11604;p61"/>
            <p:cNvSpPr/>
            <p:nvPr/>
          </p:nvSpPr>
          <p:spPr>
            <a:xfrm>
              <a:off x="3147208" y="3475176"/>
              <a:ext cx="214664" cy="233513"/>
            </a:xfrm>
            <a:custGeom>
              <a:avLst/>
              <a:gdLst/>
              <a:ahLst/>
              <a:cxnLst/>
              <a:rect l="l" t="t" r="r" b="b"/>
              <a:pathLst>
                <a:path w="6776" h="7371" extrusionOk="0">
                  <a:moveTo>
                    <a:pt x="3537" y="4608"/>
                  </a:moveTo>
                  <a:lnTo>
                    <a:pt x="3537" y="4989"/>
                  </a:lnTo>
                  <a:lnTo>
                    <a:pt x="3179" y="4989"/>
                  </a:lnTo>
                  <a:lnTo>
                    <a:pt x="3179" y="4608"/>
                  </a:lnTo>
                  <a:cubicBezTo>
                    <a:pt x="3239" y="4620"/>
                    <a:pt x="3298" y="4620"/>
                    <a:pt x="3358" y="4620"/>
                  </a:cubicBezTo>
                  <a:cubicBezTo>
                    <a:pt x="3417" y="4620"/>
                    <a:pt x="3477" y="4620"/>
                    <a:pt x="3537" y="4608"/>
                  </a:cubicBezTo>
                  <a:close/>
                  <a:moveTo>
                    <a:pt x="5977" y="5299"/>
                  </a:moveTo>
                  <a:lnTo>
                    <a:pt x="5977" y="5763"/>
                  </a:lnTo>
                  <a:lnTo>
                    <a:pt x="798" y="5763"/>
                  </a:lnTo>
                  <a:lnTo>
                    <a:pt x="798" y="5299"/>
                  </a:lnTo>
                  <a:close/>
                  <a:moveTo>
                    <a:pt x="3406" y="0"/>
                  </a:moveTo>
                  <a:cubicBezTo>
                    <a:pt x="2751" y="0"/>
                    <a:pt x="2132" y="262"/>
                    <a:pt x="1667" y="715"/>
                  </a:cubicBezTo>
                  <a:cubicBezTo>
                    <a:pt x="1203" y="1179"/>
                    <a:pt x="953" y="1798"/>
                    <a:pt x="953" y="2465"/>
                  </a:cubicBezTo>
                  <a:lnTo>
                    <a:pt x="953" y="2715"/>
                  </a:lnTo>
                  <a:cubicBezTo>
                    <a:pt x="953" y="2798"/>
                    <a:pt x="1024" y="2882"/>
                    <a:pt x="1120" y="2882"/>
                  </a:cubicBezTo>
                  <a:cubicBezTo>
                    <a:pt x="1203" y="2882"/>
                    <a:pt x="1274" y="2798"/>
                    <a:pt x="1274" y="2715"/>
                  </a:cubicBezTo>
                  <a:lnTo>
                    <a:pt x="1274" y="2465"/>
                  </a:lnTo>
                  <a:cubicBezTo>
                    <a:pt x="1274" y="1894"/>
                    <a:pt x="1501" y="1358"/>
                    <a:pt x="1905" y="953"/>
                  </a:cubicBezTo>
                  <a:cubicBezTo>
                    <a:pt x="2310" y="548"/>
                    <a:pt x="2846" y="334"/>
                    <a:pt x="3406" y="334"/>
                  </a:cubicBezTo>
                  <a:cubicBezTo>
                    <a:pt x="4584" y="334"/>
                    <a:pt x="5549" y="1286"/>
                    <a:pt x="5549" y="2477"/>
                  </a:cubicBezTo>
                  <a:lnTo>
                    <a:pt x="5549" y="4989"/>
                  </a:lnTo>
                  <a:lnTo>
                    <a:pt x="3882" y="4989"/>
                  </a:lnTo>
                  <a:lnTo>
                    <a:pt x="3882" y="4489"/>
                  </a:lnTo>
                  <a:cubicBezTo>
                    <a:pt x="4060" y="4382"/>
                    <a:pt x="4215" y="4203"/>
                    <a:pt x="4299" y="3989"/>
                  </a:cubicBezTo>
                  <a:cubicBezTo>
                    <a:pt x="4334" y="3906"/>
                    <a:pt x="4287" y="3810"/>
                    <a:pt x="4215" y="3787"/>
                  </a:cubicBezTo>
                  <a:cubicBezTo>
                    <a:pt x="4193" y="3778"/>
                    <a:pt x="4171" y="3775"/>
                    <a:pt x="4149" y="3775"/>
                  </a:cubicBezTo>
                  <a:cubicBezTo>
                    <a:pt x="4079" y="3775"/>
                    <a:pt x="4019" y="3815"/>
                    <a:pt x="4001" y="3870"/>
                  </a:cubicBezTo>
                  <a:cubicBezTo>
                    <a:pt x="3941" y="4037"/>
                    <a:pt x="3822" y="4156"/>
                    <a:pt x="3668" y="4227"/>
                  </a:cubicBezTo>
                  <a:lnTo>
                    <a:pt x="3656" y="4227"/>
                  </a:lnTo>
                  <a:cubicBezTo>
                    <a:pt x="3572" y="4263"/>
                    <a:pt x="3477" y="4287"/>
                    <a:pt x="3394" y="4287"/>
                  </a:cubicBezTo>
                  <a:cubicBezTo>
                    <a:pt x="3036" y="4287"/>
                    <a:pt x="2739" y="3989"/>
                    <a:pt x="2739" y="3632"/>
                  </a:cubicBezTo>
                  <a:cubicBezTo>
                    <a:pt x="2739" y="3275"/>
                    <a:pt x="3036" y="2977"/>
                    <a:pt x="3394" y="2977"/>
                  </a:cubicBezTo>
                  <a:cubicBezTo>
                    <a:pt x="3644" y="2977"/>
                    <a:pt x="3882" y="3132"/>
                    <a:pt x="3989" y="3370"/>
                  </a:cubicBezTo>
                  <a:cubicBezTo>
                    <a:pt x="4006" y="3421"/>
                    <a:pt x="4067" y="3461"/>
                    <a:pt x="4126" y="3461"/>
                  </a:cubicBezTo>
                  <a:cubicBezTo>
                    <a:pt x="4149" y="3461"/>
                    <a:pt x="4171" y="3455"/>
                    <a:pt x="4191" y="3441"/>
                  </a:cubicBezTo>
                  <a:cubicBezTo>
                    <a:pt x="4263" y="3418"/>
                    <a:pt x="4310" y="3310"/>
                    <a:pt x="4263" y="3239"/>
                  </a:cubicBezTo>
                  <a:cubicBezTo>
                    <a:pt x="4108" y="2894"/>
                    <a:pt x="3763" y="2667"/>
                    <a:pt x="3370" y="2667"/>
                  </a:cubicBezTo>
                  <a:cubicBezTo>
                    <a:pt x="2834" y="2667"/>
                    <a:pt x="2394" y="3096"/>
                    <a:pt x="2394" y="3656"/>
                  </a:cubicBezTo>
                  <a:cubicBezTo>
                    <a:pt x="2394" y="4013"/>
                    <a:pt x="2584" y="4322"/>
                    <a:pt x="2870" y="4489"/>
                  </a:cubicBezTo>
                  <a:lnTo>
                    <a:pt x="2870" y="4989"/>
                  </a:lnTo>
                  <a:lnTo>
                    <a:pt x="1262" y="4989"/>
                  </a:lnTo>
                  <a:lnTo>
                    <a:pt x="1262" y="3358"/>
                  </a:lnTo>
                  <a:cubicBezTo>
                    <a:pt x="1262" y="3263"/>
                    <a:pt x="1191" y="3191"/>
                    <a:pt x="1096" y="3191"/>
                  </a:cubicBezTo>
                  <a:cubicBezTo>
                    <a:pt x="1012" y="3191"/>
                    <a:pt x="941" y="3263"/>
                    <a:pt x="941" y="3358"/>
                  </a:cubicBezTo>
                  <a:lnTo>
                    <a:pt x="941" y="4989"/>
                  </a:lnTo>
                  <a:lnTo>
                    <a:pt x="655" y="4989"/>
                  </a:lnTo>
                  <a:cubicBezTo>
                    <a:pt x="560" y="4989"/>
                    <a:pt x="489" y="5061"/>
                    <a:pt x="489" y="5156"/>
                  </a:cubicBezTo>
                  <a:lnTo>
                    <a:pt x="489" y="5775"/>
                  </a:lnTo>
                  <a:lnTo>
                    <a:pt x="167" y="5775"/>
                  </a:lnTo>
                  <a:cubicBezTo>
                    <a:pt x="72" y="5775"/>
                    <a:pt x="0" y="5858"/>
                    <a:pt x="0" y="5942"/>
                  </a:cubicBezTo>
                  <a:lnTo>
                    <a:pt x="0" y="7204"/>
                  </a:lnTo>
                  <a:cubicBezTo>
                    <a:pt x="0" y="7299"/>
                    <a:pt x="72" y="7370"/>
                    <a:pt x="167" y="7370"/>
                  </a:cubicBezTo>
                  <a:lnTo>
                    <a:pt x="3918" y="7370"/>
                  </a:lnTo>
                  <a:cubicBezTo>
                    <a:pt x="4001" y="7370"/>
                    <a:pt x="4072" y="7299"/>
                    <a:pt x="4072" y="7204"/>
                  </a:cubicBezTo>
                  <a:cubicBezTo>
                    <a:pt x="4072" y="7120"/>
                    <a:pt x="4001" y="7049"/>
                    <a:pt x="3918" y="7049"/>
                  </a:cubicBezTo>
                  <a:lnTo>
                    <a:pt x="322" y="7049"/>
                  </a:lnTo>
                  <a:lnTo>
                    <a:pt x="322" y="6108"/>
                  </a:lnTo>
                  <a:lnTo>
                    <a:pt x="6442" y="6108"/>
                  </a:lnTo>
                  <a:lnTo>
                    <a:pt x="6442" y="7049"/>
                  </a:lnTo>
                  <a:lnTo>
                    <a:pt x="4537" y="7049"/>
                  </a:lnTo>
                  <a:cubicBezTo>
                    <a:pt x="4453" y="7049"/>
                    <a:pt x="4370" y="7120"/>
                    <a:pt x="4370" y="7204"/>
                  </a:cubicBezTo>
                  <a:cubicBezTo>
                    <a:pt x="4370" y="7299"/>
                    <a:pt x="4453" y="7370"/>
                    <a:pt x="4537" y="7370"/>
                  </a:cubicBezTo>
                  <a:lnTo>
                    <a:pt x="6608" y="7370"/>
                  </a:lnTo>
                  <a:cubicBezTo>
                    <a:pt x="6692" y="7370"/>
                    <a:pt x="6775" y="7299"/>
                    <a:pt x="6775" y="7204"/>
                  </a:cubicBezTo>
                  <a:lnTo>
                    <a:pt x="6775" y="5942"/>
                  </a:lnTo>
                  <a:cubicBezTo>
                    <a:pt x="6775" y="5835"/>
                    <a:pt x="6716" y="5763"/>
                    <a:pt x="6620" y="5763"/>
                  </a:cubicBezTo>
                  <a:lnTo>
                    <a:pt x="6311" y="5763"/>
                  </a:lnTo>
                  <a:lnTo>
                    <a:pt x="6311" y="5144"/>
                  </a:lnTo>
                  <a:cubicBezTo>
                    <a:pt x="6311" y="5049"/>
                    <a:pt x="6239" y="4977"/>
                    <a:pt x="6144" y="4977"/>
                  </a:cubicBezTo>
                  <a:lnTo>
                    <a:pt x="5858" y="4977"/>
                  </a:lnTo>
                  <a:lnTo>
                    <a:pt x="5858" y="2465"/>
                  </a:lnTo>
                  <a:cubicBezTo>
                    <a:pt x="5858" y="1108"/>
                    <a:pt x="4763" y="0"/>
                    <a:pt x="3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5" name="Google Shape;11605;p61"/>
            <p:cNvSpPr/>
            <p:nvPr/>
          </p:nvSpPr>
          <p:spPr>
            <a:xfrm>
              <a:off x="3249408" y="3360146"/>
              <a:ext cx="10613" cy="97321"/>
            </a:xfrm>
            <a:custGeom>
              <a:avLst/>
              <a:gdLst/>
              <a:ahLst/>
              <a:cxnLst/>
              <a:rect l="l" t="t" r="r" b="b"/>
              <a:pathLst>
                <a:path w="335" h="3072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2905"/>
                  </a:lnTo>
                  <a:cubicBezTo>
                    <a:pt x="1" y="3000"/>
                    <a:pt x="72" y="3072"/>
                    <a:pt x="168" y="3072"/>
                  </a:cubicBezTo>
                  <a:cubicBezTo>
                    <a:pt x="251" y="3072"/>
                    <a:pt x="334" y="3000"/>
                    <a:pt x="334" y="2905"/>
                  </a:cubicBezTo>
                  <a:lnTo>
                    <a:pt x="334" y="167"/>
                  </a:lnTo>
                  <a:cubicBezTo>
                    <a:pt x="334" y="83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6" name="Google Shape;11606;p61"/>
            <p:cNvSpPr/>
            <p:nvPr/>
          </p:nvSpPr>
          <p:spPr>
            <a:xfrm>
              <a:off x="3175879" y="3377919"/>
              <a:ext cx="54331" cy="86740"/>
            </a:xfrm>
            <a:custGeom>
              <a:avLst/>
              <a:gdLst/>
              <a:ahLst/>
              <a:cxnLst/>
              <a:rect l="l" t="t" r="r" b="b"/>
              <a:pathLst>
                <a:path w="1715" h="2738" extrusionOk="0">
                  <a:moveTo>
                    <a:pt x="188" y="1"/>
                  </a:moveTo>
                  <a:cubicBezTo>
                    <a:pt x="161" y="1"/>
                    <a:pt x="134" y="8"/>
                    <a:pt x="107" y="22"/>
                  </a:cubicBezTo>
                  <a:cubicBezTo>
                    <a:pt x="36" y="70"/>
                    <a:pt x="0" y="153"/>
                    <a:pt x="48" y="249"/>
                  </a:cubicBezTo>
                  <a:lnTo>
                    <a:pt x="1381" y="2642"/>
                  </a:lnTo>
                  <a:cubicBezTo>
                    <a:pt x="1417" y="2701"/>
                    <a:pt x="1477" y="2737"/>
                    <a:pt x="1524" y="2737"/>
                  </a:cubicBezTo>
                  <a:cubicBezTo>
                    <a:pt x="1548" y="2737"/>
                    <a:pt x="1584" y="2737"/>
                    <a:pt x="1596" y="2713"/>
                  </a:cubicBezTo>
                  <a:cubicBezTo>
                    <a:pt x="1679" y="2654"/>
                    <a:pt x="1715" y="2559"/>
                    <a:pt x="1667" y="2475"/>
                  </a:cubicBezTo>
                  <a:lnTo>
                    <a:pt x="334" y="82"/>
                  </a:lnTo>
                  <a:cubicBezTo>
                    <a:pt x="301" y="33"/>
                    <a:pt x="246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7" name="Google Shape;11607;p61"/>
            <p:cNvSpPr/>
            <p:nvPr/>
          </p:nvSpPr>
          <p:spPr>
            <a:xfrm>
              <a:off x="3119678" y="3429399"/>
              <a:ext cx="89401" cy="50720"/>
            </a:xfrm>
            <a:custGeom>
              <a:avLst/>
              <a:gdLst/>
              <a:ahLst/>
              <a:cxnLst/>
              <a:rect l="l" t="t" r="r" b="b"/>
              <a:pathLst>
                <a:path w="2822" h="1601" extrusionOk="0">
                  <a:moveTo>
                    <a:pt x="200" y="0"/>
                  </a:moveTo>
                  <a:cubicBezTo>
                    <a:pt x="142" y="0"/>
                    <a:pt x="81" y="27"/>
                    <a:pt x="48" y="76"/>
                  </a:cubicBezTo>
                  <a:cubicBezTo>
                    <a:pt x="0" y="160"/>
                    <a:pt x="36" y="255"/>
                    <a:pt x="107" y="302"/>
                  </a:cubicBezTo>
                  <a:lnTo>
                    <a:pt x="2536" y="1588"/>
                  </a:lnTo>
                  <a:cubicBezTo>
                    <a:pt x="2560" y="1600"/>
                    <a:pt x="2584" y="1600"/>
                    <a:pt x="2608" y="1600"/>
                  </a:cubicBezTo>
                  <a:cubicBezTo>
                    <a:pt x="2667" y="1600"/>
                    <a:pt x="2727" y="1565"/>
                    <a:pt x="2762" y="1505"/>
                  </a:cubicBezTo>
                  <a:cubicBezTo>
                    <a:pt x="2822" y="1445"/>
                    <a:pt x="2786" y="1350"/>
                    <a:pt x="2703" y="1303"/>
                  </a:cubicBezTo>
                  <a:lnTo>
                    <a:pt x="274" y="17"/>
                  </a:lnTo>
                  <a:cubicBezTo>
                    <a:pt x="252" y="6"/>
                    <a:pt x="226" y="0"/>
                    <a:pt x="2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8" name="Google Shape;11608;p61"/>
            <p:cNvSpPr/>
            <p:nvPr/>
          </p:nvSpPr>
          <p:spPr>
            <a:xfrm>
              <a:off x="3279219" y="3377919"/>
              <a:ext cx="54363" cy="85980"/>
            </a:xfrm>
            <a:custGeom>
              <a:avLst/>
              <a:gdLst/>
              <a:ahLst/>
              <a:cxnLst/>
              <a:rect l="l" t="t" r="r" b="b"/>
              <a:pathLst>
                <a:path w="1716" h="2714" extrusionOk="0">
                  <a:moveTo>
                    <a:pt x="1533" y="1"/>
                  </a:moveTo>
                  <a:cubicBezTo>
                    <a:pt x="1475" y="1"/>
                    <a:pt x="1414" y="33"/>
                    <a:pt x="1382" y="82"/>
                  </a:cubicBezTo>
                  <a:lnTo>
                    <a:pt x="48" y="2475"/>
                  </a:lnTo>
                  <a:cubicBezTo>
                    <a:pt x="1" y="2559"/>
                    <a:pt x="24" y="2654"/>
                    <a:pt x="108" y="2701"/>
                  </a:cubicBezTo>
                  <a:cubicBezTo>
                    <a:pt x="132" y="2713"/>
                    <a:pt x="143" y="2713"/>
                    <a:pt x="179" y="2713"/>
                  </a:cubicBezTo>
                  <a:cubicBezTo>
                    <a:pt x="239" y="2713"/>
                    <a:pt x="286" y="2689"/>
                    <a:pt x="310" y="2630"/>
                  </a:cubicBezTo>
                  <a:lnTo>
                    <a:pt x="1656" y="237"/>
                  </a:lnTo>
                  <a:cubicBezTo>
                    <a:pt x="1715" y="153"/>
                    <a:pt x="1679" y="70"/>
                    <a:pt x="1608" y="22"/>
                  </a:cubicBezTo>
                  <a:cubicBezTo>
                    <a:pt x="1585" y="8"/>
                    <a:pt x="1560" y="1"/>
                    <a:pt x="15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9" name="Google Shape;11609;p61"/>
            <p:cNvSpPr/>
            <p:nvPr/>
          </p:nvSpPr>
          <p:spPr>
            <a:xfrm>
              <a:off x="3300349" y="3429399"/>
              <a:ext cx="88672" cy="51100"/>
            </a:xfrm>
            <a:custGeom>
              <a:avLst/>
              <a:gdLst/>
              <a:ahLst/>
              <a:cxnLst/>
              <a:rect l="l" t="t" r="r" b="b"/>
              <a:pathLst>
                <a:path w="2799" h="1613" extrusionOk="0">
                  <a:moveTo>
                    <a:pt x="2615" y="0"/>
                  </a:moveTo>
                  <a:cubicBezTo>
                    <a:pt x="2589" y="0"/>
                    <a:pt x="2562" y="6"/>
                    <a:pt x="2536" y="17"/>
                  </a:cubicBezTo>
                  <a:lnTo>
                    <a:pt x="107" y="1303"/>
                  </a:lnTo>
                  <a:cubicBezTo>
                    <a:pt x="36" y="1350"/>
                    <a:pt x="0" y="1434"/>
                    <a:pt x="48" y="1529"/>
                  </a:cubicBezTo>
                  <a:cubicBezTo>
                    <a:pt x="72" y="1588"/>
                    <a:pt x="131" y="1612"/>
                    <a:pt x="191" y="1612"/>
                  </a:cubicBezTo>
                  <a:cubicBezTo>
                    <a:pt x="227" y="1612"/>
                    <a:pt x="238" y="1612"/>
                    <a:pt x="274" y="1600"/>
                  </a:cubicBezTo>
                  <a:lnTo>
                    <a:pt x="2691" y="314"/>
                  </a:lnTo>
                  <a:cubicBezTo>
                    <a:pt x="2774" y="255"/>
                    <a:pt x="2798" y="172"/>
                    <a:pt x="2751" y="76"/>
                  </a:cubicBezTo>
                  <a:cubicBezTo>
                    <a:pt x="2726" y="27"/>
                    <a:pt x="2673" y="0"/>
                    <a:pt x="26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10" name="Google Shape;11610;p61"/>
          <p:cNvGrpSpPr/>
          <p:nvPr/>
        </p:nvGrpSpPr>
        <p:grpSpPr>
          <a:xfrm>
            <a:off x="3967213" y="3356947"/>
            <a:ext cx="368185" cy="354753"/>
            <a:chOff x="3967213" y="3356947"/>
            <a:chExt cx="368185" cy="354753"/>
          </a:xfrm>
        </p:grpSpPr>
        <p:sp>
          <p:nvSpPr>
            <p:cNvPr id="11611" name="Google Shape;11611;p61"/>
            <p:cNvSpPr/>
            <p:nvPr/>
          </p:nvSpPr>
          <p:spPr>
            <a:xfrm>
              <a:off x="4180705" y="3356947"/>
              <a:ext cx="154693" cy="164292"/>
            </a:xfrm>
            <a:custGeom>
              <a:avLst/>
              <a:gdLst/>
              <a:ahLst/>
              <a:cxnLst/>
              <a:rect l="l" t="t" r="r" b="b"/>
              <a:pathLst>
                <a:path w="4883" h="5186" extrusionOk="0">
                  <a:moveTo>
                    <a:pt x="2526" y="0"/>
                  </a:moveTo>
                  <a:cubicBezTo>
                    <a:pt x="1765" y="0"/>
                    <a:pt x="1017" y="368"/>
                    <a:pt x="560" y="1042"/>
                  </a:cubicBezTo>
                  <a:cubicBezTo>
                    <a:pt x="1" y="1875"/>
                    <a:pt x="24" y="2959"/>
                    <a:pt x="632" y="3768"/>
                  </a:cubicBezTo>
                  <a:lnTo>
                    <a:pt x="572" y="5006"/>
                  </a:lnTo>
                  <a:cubicBezTo>
                    <a:pt x="572" y="5066"/>
                    <a:pt x="608" y="5126"/>
                    <a:pt x="655" y="5149"/>
                  </a:cubicBezTo>
                  <a:cubicBezTo>
                    <a:pt x="679" y="5161"/>
                    <a:pt x="715" y="5185"/>
                    <a:pt x="739" y="5185"/>
                  </a:cubicBezTo>
                  <a:cubicBezTo>
                    <a:pt x="774" y="5185"/>
                    <a:pt x="786" y="5185"/>
                    <a:pt x="810" y="5161"/>
                  </a:cubicBezTo>
                  <a:lnTo>
                    <a:pt x="1929" y="4649"/>
                  </a:lnTo>
                  <a:cubicBezTo>
                    <a:pt x="2120" y="4685"/>
                    <a:pt x="2334" y="4721"/>
                    <a:pt x="2525" y="4721"/>
                  </a:cubicBezTo>
                  <a:cubicBezTo>
                    <a:pt x="3299" y="4721"/>
                    <a:pt x="4049" y="4328"/>
                    <a:pt x="4489" y="3673"/>
                  </a:cubicBezTo>
                  <a:cubicBezTo>
                    <a:pt x="4703" y="3363"/>
                    <a:pt x="4834" y="3006"/>
                    <a:pt x="4882" y="2637"/>
                  </a:cubicBezTo>
                  <a:cubicBezTo>
                    <a:pt x="4882" y="2518"/>
                    <a:pt x="4811" y="2447"/>
                    <a:pt x="4715" y="2423"/>
                  </a:cubicBezTo>
                  <a:cubicBezTo>
                    <a:pt x="4709" y="2422"/>
                    <a:pt x="4703" y="2422"/>
                    <a:pt x="4697" y="2422"/>
                  </a:cubicBezTo>
                  <a:cubicBezTo>
                    <a:pt x="4619" y="2422"/>
                    <a:pt x="4536" y="2489"/>
                    <a:pt x="4525" y="2578"/>
                  </a:cubicBezTo>
                  <a:cubicBezTo>
                    <a:pt x="4489" y="2899"/>
                    <a:pt x="4370" y="3197"/>
                    <a:pt x="4192" y="3471"/>
                  </a:cubicBezTo>
                  <a:cubicBezTo>
                    <a:pt x="3809" y="4040"/>
                    <a:pt x="3177" y="4368"/>
                    <a:pt x="2514" y="4368"/>
                  </a:cubicBezTo>
                  <a:cubicBezTo>
                    <a:pt x="2332" y="4368"/>
                    <a:pt x="2147" y="4343"/>
                    <a:pt x="1965" y="4292"/>
                  </a:cubicBezTo>
                  <a:cubicBezTo>
                    <a:pt x="1944" y="4281"/>
                    <a:pt x="1927" y="4275"/>
                    <a:pt x="1911" y="4275"/>
                  </a:cubicBezTo>
                  <a:cubicBezTo>
                    <a:pt x="1891" y="4275"/>
                    <a:pt x="1872" y="4284"/>
                    <a:pt x="1846" y="4304"/>
                  </a:cubicBezTo>
                  <a:lnTo>
                    <a:pt x="917" y="4733"/>
                  </a:lnTo>
                  <a:lnTo>
                    <a:pt x="965" y="3721"/>
                  </a:lnTo>
                  <a:cubicBezTo>
                    <a:pt x="965" y="3673"/>
                    <a:pt x="953" y="3649"/>
                    <a:pt x="929" y="3602"/>
                  </a:cubicBezTo>
                  <a:cubicBezTo>
                    <a:pt x="382" y="2923"/>
                    <a:pt x="358" y="1947"/>
                    <a:pt x="846" y="1220"/>
                  </a:cubicBezTo>
                  <a:cubicBezTo>
                    <a:pt x="1235" y="644"/>
                    <a:pt x="1873" y="327"/>
                    <a:pt x="2524" y="327"/>
                  </a:cubicBezTo>
                  <a:cubicBezTo>
                    <a:pt x="2909" y="327"/>
                    <a:pt x="3299" y="438"/>
                    <a:pt x="3644" y="673"/>
                  </a:cubicBezTo>
                  <a:cubicBezTo>
                    <a:pt x="4084" y="970"/>
                    <a:pt x="4406" y="1435"/>
                    <a:pt x="4501" y="1970"/>
                  </a:cubicBezTo>
                  <a:cubicBezTo>
                    <a:pt x="4523" y="2047"/>
                    <a:pt x="4594" y="2103"/>
                    <a:pt x="4679" y="2103"/>
                  </a:cubicBezTo>
                  <a:cubicBezTo>
                    <a:pt x="4687" y="2103"/>
                    <a:pt x="4695" y="2102"/>
                    <a:pt x="4703" y="2101"/>
                  </a:cubicBezTo>
                  <a:cubicBezTo>
                    <a:pt x="4787" y="2089"/>
                    <a:pt x="4846" y="1994"/>
                    <a:pt x="4834" y="1911"/>
                  </a:cubicBezTo>
                  <a:cubicBezTo>
                    <a:pt x="4715" y="1280"/>
                    <a:pt x="4358" y="744"/>
                    <a:pt x="3834" y="399"/>
                  </a:cubicBezTo>
                  <a:cubicBezTo>
                    <a:pt x="3432" y="129"/>
                    <a:pt x="2977" y="0"/>
                    <a:pt x="25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2" name="Google Shape;11612;p61"/>
            <p:cNvSpPr/>
            <p:nvPr/>
          </p:nvSpPr>
          <p:spPr>
            <a:xfrm>
              <a:off x="4093585" y="3484237"/>
              <a:ext cx="21891" cy="37002"/>
            </a:xfrm>
            <a:custGeom>
              <a:avLst/>
              <a:gdLst/>
              <a:ahLst/>
              <a:cxnLst/>
              <a:rect l="l" t="t" r="r" b="b"/>
              <a:pathLst>
                <a:path w="691" h="1168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000"/>
                  </a:lnTo>
                  <a:cubicBezTo>
                    <a:pt x="0" y="1084"/>
                    <a:pt x="72" y="1167"/>
                    <a:pt x="155" y="1167"/>
                  </a:cubicBezTo>
                  <a:lnTo>
                    <a:pt x="536" y="1167"/>
                  </a:lnTo>
                  <a:cubicBezTo>
                    <a:pt x="619" y="1167"/>
                    <a:pt x="691" y="1084"/>
                    <a:pt x="691" y="1000"/>
                  </a:cubicBezTo>
                  <a:cubicBezTo>
                    <a:pt x="691" y="893"/>
                    <a:pt x="619" y="822"/>
                    <a:pt x="512" y="822"/>
                  </a:cubicBezTo>
                  <a:lnTo>
                    <a:pt x="322" y="822"/>
                  </a:ln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3" name="Google Shape;11613;p61"/>
            <p:cNvSpPr/>
            <p:nvPr/>
          </p:nvSpPr>
          <p:spPr>
            <a:xfrm>
              <a:off x="3967213" y="3408047"/>
              <a:ext cx="275394" cy="303653"/>
            </a:xfrm>
            <a:custGeom>
              <a:avLst/>
              <a:gdLst/>
              <a:ahLst/>
              <a:cxnLst/>
              <a:rect l="l" t="t" r="r" b="b"/>
              <a:pathLst>
                <a:path w="8693" h="9585" extrusionOk="0">
                  <a:moveTo>
                    <a:pt x="3549" y="417"/>
                  </a:moveTo>
                  <a:lnTo>
                    <a:pt x="3549" y="417"/>
                  </a:lnTo>
                  <a:cubicBezTo>
                    <a:pt x="3346" y="1024"/>
                    <a:pt x="3001" y="1322"/>
                    <a:pt x="2775" y="1465"/>
                  </a:cubicBezTo>
                  <a:cubicBezTo>
                    <a:pt x="2799" y="976"/>
                    <a:pt x="3120" y="572"/>
                    <a:pt x="3549" y="417"/>
                  </a:cubicBezTo>
                  <a:close/>
                  <a:moveTo>
                    <a:pt x="4727" y="334"/>
                  </a:moveTo>
                  <a:cubicBezTo>
                    <a:pt x="5382" y="334"/>
                    <a:pt x="5906" y="869"/>
                    <a:pt x="5906" y="1524"/>
                  </a:cubicBezTo>
                  <a:lnTo>
                    <a:pt x="5906" y="2262"/>
                  </a:lnTo>
                  <a:cubicBezTo>
                    <a:pt x="4501" y="2155"/>
                    <a:pt x="4108" y="846"/>
                    <a:pt x="4001" y="334"/>
                  </a:cubicBezTo>
                  <a:close/>
                  <a:moveTo>
                    <a:pt x="2441" y="2643"/>
                  </a:moveTo>
                  <a:lnTo>
                    <a:pt x="2441" y="2893"/>
                  </a:lnTo>
                  <a:cubicBezTo>
                    <a:pt x="2441" y="3036"/>
                    <a:pt x="2453" y="3179"/>
                    <a:pt x="2477" y="3310"/>
                  </a:cubicBezTo>
                  <a:cubicBezTo>
                    <a:pt x="2334" y="3251"/>
                    <a:pt x="2239" y="3120"/>
                    <a:pt x="2239" y="2977"/>
                  </a:cubicBezTo>
                  <a:cubicBezTo>
                    <a:pt x="2239" y="2822"/>
                    <a:pt x="2322" y="2703"/>
                    <a:pt x="2441" y="2643"/>
                  </a:cubicBezTo>
                  <a:close/>
                  <a:moveTo>
                    <a:pt x="6251" y="2655"/>
                  </a:moveTo>
                  <a:cubicBezTo>
                    <a:pt x="6359" y="2715"/>
                    <a:pt x="6442" y="2834"/>
                    <a:pt x="6442" y="2989"/>
                  </a:cubicBezTo>
                  <a:cubicBezTo>
                    <a:pt x="6442" y="3155"/>
                    <a:pt x="6335" y="3286"/>
                    <a:pt x="6204" y="3334"/>
                  </a:cubicBezTo>
                  <a:cubicBezTo>
                    <a:pt x="6228" y="3179"/>
                    <a:pt x="6251" y="3048"/>
                    <a:pt x="6251" y="2917"/>
                  </a:cubicBezTo>
                  <a:lnTo>
                    <a:pt x="6251" y="2655"/>
                  </a:lnTo>
                  <a:close/>
                  <a:moveTo>
                    <a:pt x="3775" y="786"/>
                  </a:moveTo>
                  <a:cubicBezTo>
                    <a:pt x="3846" y="1012"/>
                    <a:pt x="3953" y="1274"/>
                    <a:pt x="4120" y="1524"/>
                  </a:cubicBezTo>
                  <a:cubicBezTo>
                    <a:pt x="4537" y="2167"/>
                    <a:pt x="5144" y="2536"/>
                    <a:pt x="5906" y="2584"/>
                  </a:cubicBezTo>
                  <a:lnTo>
                    <a:pt x="5906" y="2893"/>
                  </a:lnTo>
                  <a:cubicBezTo>
                    <a:pt x="5906" y="3548"/>
                    <a:pt x="5549" y="4179"/>
                    <a:pt x="4977" y="4501"/>
                  </a:cubicBezTo>
                  <a:lnTo>
                    <a:pt x="4727" y="4656"/>
                  </a:lnTo>
                  <a:cubicBezTo>
                    <a:pt x="4608" y="4721"/>
                    <a:pt x="4474" y="4754"/>
                    <a:pt x="4340" y="4754"/>
                  </a:cubicBezTo>
                  <a:cubicBezTo>
                    <a:pt x="4206" y="4754"/>
                    <a:pt x="4073" y="4721"/>
                    <a:pt x="3953" y="4656"/>
                  </a:cubicBezTo>
                  <a:lnTo>
                    <a:pt x="3703" y="4501"/>
                  </a:lnTo>
                  <a:cubicBezTo>
                    <a:pt x="3120" y="4179"/>
                    <a:pt x="2775" y="3572"/>
                    <a:pt x="2775" y="2893"/>
                  </a:cubicBezTo>
                  <a:lnTo>
                    <a:pt x="2775" y="2417"/>
                  </a:lnTo>
                  <a:lnTo>
                    <a:pt x="2775" y="1858"/>
                  </a:lnTo>
                  <a:cubicBezTo>
                    <a:pt x="3001" y="1750"/>
                    <a:pt x="3465" y="1465"/>
                    <a:pt x="3775" y="786"/>
                  </a:cubicBezTo>
                  <a:close/>
                  <a:moveTo>
                    <a:pt x="5001" y="4906"/>
                  </a:moveTo>
                  <a:lnTo>
                    <a:pt x="5001" y="5751"/>
                  </a:lnTo>
                  <a:lnTo>
                    <a:pt x="4965" y="5775"/>
                  </a:lnTo>
                  <a:lnTo>
                    <a:pt x="4334" y="6203"/>
                  </a:lnTo>
                  <a:lnTo>
                    <a:pt x="3692" y="5751"/>
                  </a:lnTo>
                  <a:lnTo>
                    <a:pt x="3692" y="4906"/>
                  </a:lnTo>
                  <a:lnTo>
                    <a:pt x="3775" y="4953"/>
                  </a:lnTo>
                  <a:cubicBezTo>
                    <a:pt x="3953" y="5048"/>
                    <a:pt x="4144" y="5096"/>
                    <a:pt x="4346" y="5096"/>
                  </a:cubicBezTo>
                  <a:cubicBezTo>
                    <a:pt x="4537" y="5096"/>
                    <a:pt x="4727" y="5048"/>
                    <a:pt x="4906" y="4953"/>
                  </a:cubicBezTo>
                  <a:lnTo>
                    <a:pt x="5001" y="4906"/>
                  </a:lnTo>
                  <a:close/>
                  <a:moveTo>
                    <a:pt x="3680" y="6168"/>
                  </a:moveTo>
                  <a:lnTo>
                    <a:pt x="4084" y="6453"/>
                  </a:lnTo>
                  <a:lnTo>
                    <a:pt x="3680" y="6930"/>
                  </a:lnTo>
                  <a:lnTo>
                    <a:pt x="3680" y="6263"/>
                  </a:lnTo>
                  <a:lnTo>
                    <a:pt x="3680" y="6168"/>
                  </a:lnTo>
                  <a:close/>
                  <a:moveTo>
                    <a:pt x="4977" y="6168"/>
                  </a:moveTo>
                  <a:lnTo>
                    <a:pt x="4977" y="6263"/>
                  </a:lnTo>
                  <a:lnTo>
                    <a:pt x="4977" y="6930"/>
                  </a:lnTo>
                  <a:lnTo>
                    <a:pt x="4573" y="6453"/>
                  </a:lnTo>
                  <a:lnTo>
                    <a:pt x="4977" y="6168"/>
                  </a:lnTo>
                  <a:close/>
                  <a:moveTo>
                    <a:pt x="4977" y="7453"/>
                  </a:moveTo>
                  <a:lnTo>
                    <a:pt x="4977" y="8406"/>
                  </a:lnTo>
                  <a:lnTo>
                    <a:pt x="4906" y="7656"/>
                  </a:lnTo>
                  <a:lnTo>
                    <a:pt x="4977" y="7453"/>
                  </a:lnTo>
                  <a:close/>
                  <a:moveTo>
                    <a:pt x="3692" y="7453"/>
                  </a:moveTo>
                  <a:lnTo>
                    <a:pt x="3763" y="7656"/>
                  </a:lnTo>
                  <a:lnTo>
                    <a:pt x="3692" y="8418"/>
                  </a:lnTo>
                  <a:lnTo>
                    <a:pt x="3692" y="7453"/>
                  </a:lnTo>
                  <a:close/>
                  <a:moveTo>
                    <a:pt x="4311" y="6703"/>
                  </a:moveTo>
                  <a:lnTo>
                    <a:pt x="4704" y="7168"/>
                  </a:lnTo>
                  <a:lnTo>
                    <a:pt x="4537" y="7584"/>
                  </a:lnTo>
                  <a:cubicBezTo>
                    <a:pt x="4525" y="7620"/>
                    <a:pt x="4525" y="7632"/>
                    <a:pt x="4525" y="7656"/>
                  </a:cubicBezTo>
                  <a:lnTo>
                    <a:pt x="4680" y="9251"/>
                  </a:lnTo>
                  <a:lnTo>
                    <a:pt x="3942" y="9251"/>
                  </a:lnTo>
                  <a:lnTo>
                    <a:pt x="4108" y="7656"/>
                  </a:lnTo>
                  <a:cubicBezTo>
                    <a:pt x="4108" y="7632"/>
                    <a:pt x="4108" y="7596"/>
                    <a:pt x="4084" y="7584"/>
                  </a:cubicBezTo>
                  <a:lnTo>
                    <a:pt x="3930" y="7168"/>
                  </a:lnTo>
                  <a:lnTo>
                    <a:pt x="4311" y="6703"/>
                  </a:lnTo>
                  <a:close/>
                  <a:moveTo>
                    <a:pt x="3965" y="0"/>
                  </a:moveTo>
                  <a:cubicBezTo>
                    <a:pt x="3906" y="0"/>
                    <a:pt x="3846" y="0"/>
                    <a:pt x="3787" y="12"/>
                  </a:cubicBezTo>
                  <a:cubicBezTo>
                    <a:pt x="3013" y="95"/>
                    <a:pt x="2453" y="750"/>
                    <a:pt x="2441" y="1524"/>
                  </a:cubicBezTo>
                  <a:lnTo>
                    <a:pt x="2441" y="1750"/>
                  </a:lnTo>
                  <a:lnTo>
                    <a:pt x="2441" y="2286"/>
                  </a:lnTo>
                  <a:cubicBezTo>
                    <a:pt x="2120" y="2358"/>
                    <a:pt x="1894" y="2643"/>
                    <a:pt x="1894" y="2977"/>
                  </a:cubicBezTo>
                  <a:cubicBezTo>
                    <a:pt x="1894" y="3358"/>
                    <a:pt x="2191" y="3667"/>
                    <a:pt x="2584" y="3691"/>
                  </a:cubicBezTo>
                  <a:cubicBezTo>
                    <a:pt x="2739" y="4084"/>
                    <a:pt x="3001" y="4441"/>
                    <a:pt x="3358" y="4703"/>
                  </a:cubicBezTo>
                  <a:lnTo>
                    <a:pt x="3358" y="5727"/>
                  </a:lnTo>
                  <a:lnTo>
                    <a:pt x="1620" y="6275"/>
                  </a:lnTo>
                  <a:cubicBezTo>
                    <a:pt x="655" y="6584"/>
                    <a:pt x="12" y="7465"/>
                    <a:pt x="1" y="8489"/>
                  </a:cubicBezTo>
                  <a:lnTo>
                    <a:pt x="1" y="9418"/>
                  </a:lnTo>
                  <a:cubicBezTo>
                    <a:pt x="1" y="9501"/>
                    <a:pt x="72" y="9585"/>
                    <a:pt x="155" y="9585"/>
                  </a:cubicBezTo>
                  <a:lnTo>
                    <a:pt x="1822" y="9585"/>
                  </a:lnTo>
                  <a:cubicBezTo>
                    <a:pt x="1917" y="9585"/>
                    <a:pt x="1989" y="9501"/>
                    <a:pt x="1989" y="9418"/>
                  </a:cubicBezTo>
                  <a:cubicBezTo>
                    <a:pt x="1989" y="9323"/>
                    <a:pt x="1917" y="9251"/>
                    <a:pt x="1822" y="9251"/>
                  </a:cubicBezTo>
                  <a:lnTo>
                    <a:pt x="334" y="9251"/>
                  </a:lnTo>
                  <a:lnTo>
                    <a:pt x="334" y="8489"/>
                  </a:lnTo>
                  <a:cubicBezTo>
                    <a:pt x="334" y="8299"/>
                    <a:pt x="370" y="8120"/>
                    <a:pt x="417" y="7942"/>
                  </a:cubicBezTo>
                  <a:cubicBezTo>
                    <a:pt x="429" y="7894"/>
                    <a:pt x="441" y="7834"/>
                    <a:pt x="453" y="7799"/>
                  </a:cubicBezTo>
                  <a:cubicBezTo>
                    <a:pt x="477" y="7751"/>
                    <a:pt x="501" y="7704"/>
                    <a:pt x="513" y="7644"/>
                  </a:cubicBezTo>
                  <a:cubicBezTo>
                    <a:pt x="739" y="7156"/>
                    <a:pt x="1167" y="6763"/>
                    <a:pt x="1703" y="6608"/>
                  </a:cubicBezTo>
                  <a:lnTo>
                    <a:pt x="2703" y="6287"/>
                  </a:lnTo>
                  <a:lnTo>
                    <a:pt x="3358" y="6084"/>
                  </a:lnTo>
                  <a:lnTo>
                    <a:pt x="3358" y="9251"/>
                  </a:lnTo>
                  <a:lnTo>
                    <a:pt x="2513" y="9251"/>
                  </a:lnTo>
                  <a:cubicBezTo>
                    <a:pt x="2418" y="9251"/>
                    <a:pt x="2346" y="9323"/>
                    <a:pt x="2346" y="9418"/>
                  </a:cubicBezTo>
                  <a:cubicBezTo>
                    <a:pt x="2346" y="9501"/>
                    <a:pt x="2418" y="9585"/>
                    <a:pt x="2513" y="9585"/>
                  </a:cubicBezTo>
                  <a:lnTo>
                    <a:pt x="8525" y="9585"/>
                  </a:lnTo>
                  <a:cubicBezTo>
                    <a:pt x="8609" y="9585"/>
                    <a:pt x="8692" y="9501"/>
                    <a:pt x="8692" y="9418"/>
                  </a:cubicBezTo>
                  <a:lnTo>
                    <a:pt x="8692" y="8489"/>
                  </a:lnTo>
                  <a:cubicBezTo>
                    <a:pt x="8692" y="7930"/>
                    <a:pt x="8466" y="7358"/>
                    <a:pt x="8073" y="6942"/>
                  </a:cubicBezTo>
                  <a:cubicBezTo>
                    <a:pt x="8042" y="6904"/>
                    <a:pt x="8001" y="6886"/>
                    <a:pt x="7957" y="6886"/>
                  </a:cubicBezTo>
                  <a:cubicBezTo>
                    <a:pt x="7917" y="6886"/>
                    <a:pt x="7875" y="6901"/>
                    <a:pt x="7835" y="6930"/>
                  </a:cubicBezTo>
                  <a:cubicBezTo>
                    <a:pt x="7763" y="6989"/>
                    <a:pt x="7763" y="7096"/>
                    <a:pt x="7823" y="7168"/>
                  </a:cubicBezTo>
                  <a:cubicBezTo>
                    <a:pt x="8156" y="7537"/>
                    <a:pt x="8335" y="8001"/>
                    <a:pt x="8335" y="8489"/>
                  </a:cubicBezTo>
                  <a:lnTo>
                    <a:pt x="8335" y="9251"/>
                  </a:lnTo>
                  <a:lnTo>
                    <a:pt x="5311" y="9251"/>
                  </a:lnTo>
                  <a:lnTo>
                    <a:pt x="5311" y="6084"/>
                  </a:lnTo>
                  <a:lnTo>
                    <a:pt x="6942" y="6608"/>
                  </a:lnTo>
                  <a:cubicBezTo>
                    <a:pt x="7085" y="6644"/>
                    <a:pt x="7216" y="6703"/>
                    <a:pt x="7335" y="6763"/>
                  </a:cubicBezTo>
                  <a:cubicBezTo>
                    <a:pt x="7359" y="6779"/>
                    <a:pt x="7388" y="6787"/>
                    <a:pt x="7418" y="6787"/>
                  </a:cubicBezTo>
                  <a:cubicBezTo>
                    <a:pt x="7474" y="6787"/>
                    <a:pt x="7534" y="6758"/>
                    <a:pt x="7573" y="6703"/>
                  </a:cubicBezTo>
                  <a:cubicBezTo>
                    <a:pt x="7621" y="6632"/>
                    <a:pt x="7585" y="6525"/>
                    <a:pt x="7513" y="6465"/>
                  </a:cubicBezTo>
                  <a:cubicBezTo>
                    <a:pt x="7359" y="6394"/>
                    <a:pt x="7216" y="6322"/>
                    <a:pt x="7061" y="6275"/>
                  </a:cubicBezTo>
                  <a:lnTo>
                    <a:pt x="5323" y="5715"/>
                  </a:lnTo>
                  <a:lnTo>
                    <a:pt x="5323" y="4679"/>
                  </a:lnTo>
                  <a:cubicBezTo>
                    <a:pt x="5680" y="4429"/>
                    <a:pt x="5954" y="4072"/>
                    <a:pt x="6097" y="3667"/>
                  </a:cubicBezTo>
                  <a:cubicBezTo>
                    <a:pt x="6466" y="3655"/>
                    <a:pt x="6787" y="3346"/>
                    <a:pt x="6787" y="2953"/>
                  </a:cubicBezTo>
                  <a:cubicBezTo>
                    <a:pt x="6787" y="2631"/>
                    <a:pt x="6561" y="2346"/>
                    <a:pt x="6251" y="2274"/>
                  </a:cubicBezTo>
                  <a:lnTo>
                    <a:pt x="6251" y="1512"/>
                  </a:lnTo>
                  <a:cubicBezTo>
                    <a:pt x="6251" y="679"/>
                    <a:pt x="5561" y="0"/>
                    <a:pt x="4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4" name="Google Shape;11614;p61"/>
            <p:cNvSpPr/>
            <p:nvPr/>
          </p:nvSpPr>
          <p:spPr>
            <a:xfrm>
              <a:off x="4239154" y="3387518"/>
              <a:ext cx="44922" cy="65071"/>
            </a:xfrm>
            <a:custGeom>
              <a:avLst/>
              <a:gdLst/>
              <a:ahLst/>
              <a:cxnLst/>
              <a:rect l="l" t="t" r="r" b="b"/>
              <a:pathLst>
                <a:path w="1418" h="2054" extrusionOk="0">
                  <a:moveTo>
                    <a:pt x="664" y="1"/>
                  </a:moveTo>
                  <a:cubicBezTo>
                    <a:pt x="396" y="1"/>
                    <a:pt x="158" y="171"/>
                    <a:pt x="49" y="422"/>
                  </a:cubicBezTo>
                  <a:cubicBezTo>
                    <a:pt x="1" y="505"/>
                    <a:pt x="49" y="612"/>
                    <a:pt x="132" y="648"/>
                  </a:cubicBezTo>
                  <a:cubicBezTo>
                    <a:pt x="156" y="657"/>
                    <a:pt x="181" y="662"/>
                    <a:pt x="204" y="662"/>
                  </a:cubicBezTo>
                  <a:cubicBezTo>
                    <a:pt x="272" y="662"/>
                    <a:pt x="332" y="624"/>
                    <a:pt x="358" y="553"/>
                  </a:cubicBezTo>
                  <a:cubicBezTo>
                    <a:pt x="412" y="436"/>
                    <a:pt x="532" y="347"/>
                    <a:pt x="668" y="347"/>
                  </a:cubicBezTo>
                  <a:cubicBezTo>
                    <a:pt x="683" y="347"/>
                    <a:pt x="699" y="348"/>
                    <a:pt x="715" y="351"/>
                  </a:cubicBezTo>
                  <a:cubicBezTo>
                    <a:pt x="894" y="362"/>
                    <a:pt x="1037" y="505"/>
                    <a:pt x="1049" y="684"/>
                  </a:cubicBezTo>
                  <a:cubicBezTo>
                    <a:pt x="1049" y="767"/>
                    <a:pt x="1037" y="851"/>
                    <a:pt x="1001" y="910"/>
                  </a:cubicBezTo>
                  <a:cubicBezTo>
                    <a:pt x="953" y="982"/>
                    <a:pt x="882" y="1029"/>
                    <a:pt x="799" y="1065"/>
                  </a:cubicBezTo>
                  <a:cubicBezTo>
                    <a:pt x="561" y="1136"/>
                    <a:pt x="406" y="1208"/>
                    <a:pt x="406" y="1374"/>
                  </a:cubicBezTo>
                  <a:lnTo>
                    <a:pt x="406" y="1898"/>
                  </a:lnTo>
                  <a:cubicBezTo>
                    <a:pt x="406" y="1982"/>
                    <a:pt x="477" y="2053"/>
                    <a:pt x="561" y="2053"/>
                  </a:cubicBezTo>
                  <a:cubicBezTo>
                    <a:pt x="656" y="2053"/>
                    <a:pt x="727" y="1982"/>
                    <a:pt x="727" y="1898"/>
                  </a:cubicBezTo>
                  <a:lnTo>
                    <a:pt x="727" y="1446"/>
                  </a:lnTo>
                  <a:cubicBezTo>
                    <a:pt x="763" y="1434"/>
                    <a:pt x="799" y="1422"/>
                    <a:pt x="882" y="1386"/>
                  </a:cubicBezTo>
                  <a:cubicBezTo>
                    <a:pt x="1037" y="1339"/>
                    <a:pt x="1180" y="1243"/>
                    <a:pt x="1263" y="1101"/>
                  </a:cubicBezTo>
                  <a:cubicBezTo>
                    <a:pt x="1370" y="958"/>
                    <a:pt x="1418" y="803"/>
                    <a:pt x="1394" y="660"/>
                  </a:cubicBezTo>
                  <a:cubicBezTo>
                    <a:pt x="1370" y="315"/>
                    <a:pt x="1096" y="29"/>
                    <a:pt x="739" y="5"/>
                  </a:cubicBezTo>
                  <a:cubicBezTo>
                    <a:pt x="714" y="2"/>
                    <a:pt x="689" y="1"/>
                    <a:pt x="6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5" name="Google Shape;11615;p61"/>
            <p:cNvSpPr/>
            <p:nvPr/>
          </p:nvSpPr>
          <p:spPr>
            <a:xfrm>
              <a:off x="4250876" y="3457816"/>
              <a:ext cx="14351" cy="14383"/>
            </a:xfrm>
            <a:custGeom>
              <a:avLst/>
              <a:gdLst/>
              <a:ahLst/>
              <a:cxnLst/>
              <a:rect l="l" t="t" r="r" b="b"/>
              <a:pathLst>
                <a:path w="453" h="454" extrusionOk="0">
                  <a:moveTo>
                    <a:pt x="226" y="1"/>
                  </a:moveTo>
                  <a:cubicBezTo>
                    <a:pt x="107" y="1"/>
                    <a:pt x="0" y="108"/>
                    <a:pt x="0" y="227"/>
                  </a:cubicBezTo>
                  <a:cubicBezTo>
                    <a:pt x="0" y="346"/>
                    <a:pt x="107" y="453"/>
                    <a:pt x="226" y="453"/>
                  </a:cubicBezTo>
                  <a:cubicBezTo>
                    <a:pt x="345" y="453"/>
                    <a:pt x="453" y="346"/>
                    <a:pt x="453" y="227"/>
                  </a:cubicBezTo>
                  <a:cubicBezTo>
                    <a:pt x="453" y="108"/>
                    <a:pt x="345" y="1"/>
                    <a:pt x="2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16" name="Google Shape;11616;p61"/>
          <p:cNvGrpSpPr/>
          <p:nvPr/>
        </p:nvGrpSpPr>
        <p:grpSpPr>
          <a:xfrm>
            <a:off x="871254" y="3360146"/>
            <a:ext cx="285183" cy="347023"/>
            <a:chOff x="871254" y="3360146"/>
            <a:chExt cx="285183" cy="347023"/>
          </a:xfrm>
        </p:grpSpPr>
        <p:sp>
          <p:nvSpPr>
            <p:cNvPr id="11617" name="Google Shape;11617;p61"/>
            <p:cNvSpPr/>
            <p:nvPr/>
          </p:nvSpPr>
          <p:spPr>
            <a:xfrm>
              <a:off x="871254" y="3360146"/>
              <a:ext cx="135052" cy="164863"/>
            </a:xfrm>
            <a:custGeom>
              <a:avLst/>
              <a:gdLst/>
              <a:ahLst/>
              <a:cxnLst/>
              <a:rect l="l" t="t" r="r" b="b"/>
              <a:pathLst>
                <a:path w="4263" h="5204" extrusionOk="0">
                  <a:moveTo>
                    <a:pt x="4084" y="0"/>
                  </a:moveTo>
                  <a:cubicBezTo>
                    <a:pt x="2965" y="107"/>
                    <a:pt x="1941" y="619"/>
                    <a:pt x="1179" y="1453"/>
                  </a:cubicBezTo>
                  <a:cubicBezTo>
                    <a:pt x="417" y="2286"/>
                    <a:pt x="0" y="3358"/>
                    <a:pt x="0" y="4489"/>
                  </a:cubicBezTo>
                  <a:cubicBezTo>
                    <a:pt x="0" y="4679"/>
                    <a:pt x="12" y="4870"/>
                    <a:pt x="36" y="5060"/>
                  </a:cubicBezTo>
                  <a:cubicBezTo>
                    <a:pt x="48" y="5144"/>
                    <a:pt x="107" y="5203"/>
                    <a:pt x="191" y="5203"/>
                  </a:cubicBezTo>
                  <a:lnTo>
                    <a:pt x="214" y="5203"/>
                  </a:lnTo>
                  <a:cubicBezTo>
                    <a:pt x="298" y="5179"/>
                    <a:pt x="357" y="5108"/>
                    <a:pt x="345" y="5025"/>
                  </a:cubicBezTo>
                  <a:cubicBezTo>
                    <a:pt x="310" y="4834"/>
                    <a:pt x="310" y="4667"/>
                    <a:pt x="310" y="4477"/>
                  </a:cubicBezTo>
                  <a:cubicBezTo>
                    <a:pt x="310" y="2310"/>
                    <a:pt x="1941" y="524"/>
                    <a:pt x="4096" y="310"/>
                  </a:cubicBezTo>
                  <a:cubicBezTo>
                    <a:pt x="4107" y="312"/>
                    <a:pt x="4118" y="313"/>
                    <a:pt x="4128" y="313"/>
                  </a:cubicBezTo>
                  <a:cubicBezTo>
                    <a:pt x="4215" y="313"/>
                    <a:pt x="4263" y="229"/>
                    <a:pt x="4263" y="155"/>
                  </a:cubicBezTo>
                  <a:cubicBezTo>
                    <a:pt x="4239" y="60"/>
                    <a:pt x="4167" y="0"/>
                    <a:pt x="4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8" name="Google Shape;11618;p61"/>
            <p:cNvSpPr/>
            <p:nvPr/>
          </p:nvSpPr>
          <p:spPr>
            <a:xfrm>
              <a:off x="876132" y="3360146"/>
              <a:ext cx="280305" cy="347023"/>
            </a:xfrm>
            <a:custGeom>
              <a:avLst/>
              <a:gdLst/>
              <a:ahLst/>
              <a:cxnLst/>
              <a:rect l="l" t="t" r="r" b="b"/>
              <a:pathLst>
                <a:path w="8848" h="10954" extrusionOk="0">
                  <a:moveTo>
                    <a:pt x="4585" y="0"/>
                  </a:moveTo>
                  <a:cubicBezTo>
                    <a:pt x="4490" y="0"/>
                    <a:pt x="4418" y="60"/>
                    <a:pt x="4418" y="155"/>
                  </a:cubicBezTo>
                  <a:cubicBezTo>
                    <a:pt x="4418" y="238"/>
                    <a:pt x="4478" y="322"/>
                    <a:pt x="4561" y="322"/>
                  </a:cubicBezTo>
                  <a:cubicBezTo>
                    <a:pt x="6787" y="441"/>
                    <a:pt x="8526" y="2262"/>
                    <a:pt x="8526" y="4489"/>
                  </a:cubicBezTo>
                  <a:cubicBezTo>
                    <a:pt x="8526" y="6298"/>
                    <a:pt x="7359" y="7906"/>
                    <a:pt x="5621" y="8454"/>
                  </a:cubicBezTo>
                  <a:cubicBezTo>
                    <a:pt x="5597" y="8477"/>
                    <a:pt x="5549" y="8489"/>
                    <a:pt x="5537" y="8537"/>
                  </a:cubicBezTo>
                  <a:lnTo>
                    <a:pt x="4347" y="10501"/>
                  </a:lnTo>
                  <a:lnTo>
                    <a:pt x="3156" y="8537"/>
                  </a:lnTo>
                  <a:cubicBezTo>
                    <a:pt x="3132" y="8501"/>
                    <a:pt x="3108" y="8477"/>
                    <a:pt x="3061" y="8454"/>
                  </a:cubicBezTo>
                  <a:cubicBezTo>
                    <a:pt x="1727" y="8025"/>
                    <a:pt x="715" y="6965"/>
                    <a:pt x="322" y="5632"/>
                  </a:cubicBezTo>
                  <a:cubicBezTo>
                    <a:pt x="303" y="5556"/>
                    <a:pt x="238" y="5517"/>
                    <a:pt x="177" y="5517"/>
                  </a:cubicBezTo>
                  <a:cubicBezTo>
                    <a:pt x="161" y="5517"/>
                    <a:pt x="146" y="5520"/>
                    <a:pt x="132" y="5525"/>
                  </a:cubicBezTo>
                  <a:cubicBezTo>
                    <a:pt x="37" y="5560"/>
                    <a:pt x="1" y="5644"/>
                    <a:pt x="25" y="5715"/>
                  </a:cubicBezTo>
                  <a:cubicBezTo>
                    <a:pt x="239" y="6429"/>
                    <a:pt x="608" y="7084"/>
                    <a:pt x="1132" y="7608"/>
                  </a:cubicBezTo>
                  <a:cubicBezTo>
                    <a:pt x="1632" y="8132"/>
                    <a:pt x="2239" y="8513"/>
                    <a:pt x="2930" y="8739"/>
                  </a:cubicBezTo>
                  <a:lnTo>
                    <a:pt x="4228" y="10882"/>
                  </a:lnTo>
                  <a:cubicBezTo>
                    <a:pt x="4251" y="10930"/>
                    <a:pt x="4299" y="10954"/>
                    <a:pt x="4359" y="10954"/>
                  </a:cubicBezTo>
                  <a:cubicBezTo>
                    <a:pt x="4418" y="10954"/>
                    <a:pt x="4466" y="10930"/>
                    <a:pt x="4490" y="10882"/>
                  </a:cubicBezTo>
                  <a:lnTo>
                    <a:pt x="5787" y="8739"/>
                  </a:lnTo>
                  <a:cubicBezTo>
                    <a:pt x="6668" y="8442"/>
                    <a:pt x="7407" y="7894"/>
                    <a:pt x="7978" y="7144"/>
                  </a:cubicBezTo>
                  <a:cubicBezTo>
                    <a:pt x="8550" y="6370"/>
                    <a:pt x="8847" y="5441"/>
                    <a:pt x="8847" y="4465"/>
                  </a:cubicBezTo>
                  <a:cubicBezTo>
                    <a:pt x="8847" y="2107"/>
                    <a:pt x="6978" y="119"/>
                    <a:pt x="4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9" name="Google Shape;11619;p61"/>
            <p:cNvSpPr/>
            <p:nvPr/>
          </p:nvSpPr>
          <p:spPr>
            <a:xfrm>
              <a:off x="950073" y="3450656"/>
              <a:ext cx="792" cy="1172"/>
            </a:xfrm>
            <a:custGeom>
              <a:avLst/>
              <a:gdLst/>
              <a:ahLst/>
              <a:cxnLst/>
              <a:rect l="l" t="t" r="r" b="b"/>
              <a:pathLst>
                <a:path w="25" h="37" extrusionOk="0">
                  <a:moveTo>
                    <a:pt x="24" y="1"/>
                  </a:moveTo>
                  <a:lnTo>
                    <a:pt x="12" y="24"/>
                  </a:lnTo>
                  <a:cubicBezTo>
                    <a:pt x="12" y="24"/>
                    <a:pt x="0" y="24"/>
                    <a:pt x="0" y="36"/>
                  </a:cubicBezTo>
                  <a:cubicBezTo>
                    <a:pt x="12" y="24"/>
                    <a:pt x="24" y="24"/>
                    <a:pt x="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0" name="Google Shape;11620;p61"/>
            <p:cNvSpPr/>
            <p:nvPr/>
          </p:nvSpPr>
          <p:spPr>
            <a:xfrm>
              <a:off x="923304" y="3434784"/>
              <a:ext cx="178042" cy="156594"/>
            </a:xfrm>
            <a:custGeom>
              <a:avLst/>
              <a:gdLst/>
              <a:ahLst/>
              <a:cxnLst/>
              <a:rect l="l" t="t" r="r" b="b"/>
              <a:pathLst>
                <a:path w="5620" h="4943" extrusionOk="0">
                  <a:moveTo>
                    <a:pt x="845" y="549"/>
                  </a:moveTo>
                  <a:cubicBezTo>
                    <a:pt x="844" y="550"/>
                    <a:pt x="842" y="552"/>
                    <a:pt x="841" y="553"/>
                  </a:cubicBezTo>
                  <a:lnTo>
                    <a:pt x="841" y="553"/>
                  </a:lnTo>
                  <a:cubicBezTo>
                    <a:pt x="842" y="552"/>
                    <a:pt x="844" y="550"/>
                    <a:pt x="845" y="549"/>
                  </a:cubicBezTo>
                  <a:close/>
                  <a:moveTo>
                    <a:pt x="4548" y="2561"/>
                  </a:moveTo>
                  <a:lnTo>
                    <a:pt x="4548" y="3145"/>
                  </a:lnTo>
                  <a:cubicBezTo>
                    <a:pt x="4548" y="3228"/>
                    <a:pt x="4620" y="3300"/>
                    <a:pt x="4715" y="3300"/>
                  </a:cubicBezTo>
                  <a:lnTo>
                    <a:pt x="5298" y="3300"/>
                  </a:lnTo>
                  <a:lnTo>
                    <a:pt x="5298" y="3871"/>
                  </a:lnTo>
                  <a:lnTo>
                    <a:pt x="4715" y="3871"/>
                  </a:lnTo>
                  <a:cubicBezTo>
                    <a:pt x="4620" y="3871"/>
                    <a:pt x="4548" y="3942"/>
                    <a:pt x="4548" y="4038"/>
                  </a:cubicBezTo>
                  <a:lnTo>
                    <a:pt x="4548" y="4609"/>
                  </a:lnTo>
                  <a:lnTo>
                    <a:pt x="3989" y="4609"/>
                  </a:lnTo>
                  <a:lnTo>
                    <a:pt x="3989" y="4038"/>
                  </a:lnTo>
                  <a:cubicBezTo>
                    <a:pt x="3989" y="3942"/>
                    <a:pt x="3905" y="3871"/>
                    <a:pt x="3822" y="3871"/>
                  </a:cubicBezTo>
                  <a:lnTo>
                    <a:pt x="3239" y="3871"/>
                  </a:lnTo>
                  <a:lnTo>
                    <a:pt x="3239" y="3300"/>
                  </a:lnTo>
                  <a:lnTo>
                    <a:pt x="3822" y="3300"/>
                  </a:lnTo>
                  <a:cubicBezTo>
                    <a:pt x="3905" y="3300"/>
                    <a:pt x="3989" y="3228"/>
                    <a:pt x="3989" y="3145"/>
                  </a:cubicBezTo>
                  <a:lnTo>
                    <a:pt x="3989" y="2561"/>
                  </a:lnTo>
                  <a:close/>
                  <a:moveTo>
                    <a:pt x="1441" y="0"/>
                  </a:moveTo>
                  <a:cubicBezTo>
                    <a:pt x="1159" y="0"/>
                    <a:pt x="895" y="90"/>
                    <a:pt x="667" y="263"/>
                  </a:cubicBezTo>
                  <a:cubicBezTo>
                    <a:pt x="0" y="787"/>
                    <a:pt x="0" y="1716"/>
                    <a:pt x="274" y="2347"/>
                  </a:cubicBezTo>
                  <a:cubicBezTo>
                    <a:pt x="441" y="2704"/>
                    <a:pt x="679" y="3038"/>
                    <a:pt x="988" y="3371"/>
                  </a:cubicBezTo>
                  <a:cubicBezTo>
                    <a:pt x="1441" y="3859"/>
                    <a:pt x="1941" y="4228"/>
                    <a:pt x="2405" y="4585"/>
                  </a:cubicBezTo>
                  <a:cubicBezTo>
                    <a:pt x="2441" y="4597"/>
                    <a:pt x="2465" y="4609"/>
                    <a:pt x="2500" y="4609"/>
                  </a:cubicBezTo>
                  <a:cubicBezTo>
                    <a:pt x="2524" y="4609"/>
                    <a:pt x="2560" y="4597"/>
                    <a:pt x="2584" y="4585"/>
                  </a:cubicBezTo>
                  <a:cubicBezTo>
                    <a:pt x="2798" y="4454"/>
                    <a:pt x="2977" y="4312"/>
                    <a:pt x="3131" y="4193"/>
                  </a:cubicBezTo>
                  <a:lnTo>
                    <a:pt x="3667" y="4193"/>
                  </a:lnTo>
                  <a:lnTo>
                    <a:pt x="3667" y="4776"/>
                  </a:lnTo>
                  <a:cubicBezTo>
                    <a:pt x="3667" y="4859"/>
                    <a:pt x="3739" y="4943"/>
                    <a:pt x="3834" y="4943"/>
                  </a:cubicBezTo>
                  <a:lnTo>
                    <a:pt x="4715" y="4943"/>
                  </a:lnTo>
                  <a:cubicBezTo>
                    <a:pt x="4798" y="4943"/>
                    <a:pt x="4870" y="4859"/>
                    <a:pt x="4870" y="4776"/>
                  </a:cubicBezTo>
                  <a:lnTo>
                    <a:pt x="4870" y="4193"/>
                  </a:lnTo>
                  <a:lnTo>
                    <a:pt x="5453" y="4193"/>
                  </a:lnTo>
                  <a:cubicBezTo>
                    <a:pt x="5548" y="4193"/>
                    <a:pt x="5620" y="4121"/>
                    <a:pt x="5620" y="4026"/>
                  </a:cubicBezTo>
                  <a:lnTo>
                    <a:pt x="5620" y="3157"/>
                  </a:lnTo>
                  <a:cubicBezTo>
                    <a:pt x="5620" y="3050"/>
                    <a:pt x="5548" y="2978"/>
                    <a:pt x="5453" y="2978"/>
                  </a:cubicBezTo>
                  <a:lnTo>
                    <a:pt x="4882" y="2978"/>
                  </a:lnTo>
                  <a:lnTo>
                    <a:pt x="4882" y="2395"/>
                  </a:lnTo>
                  <a:cubicBezTo>
                    <a:pt x="4882" y="2323"/>
                    <a:pt x="4834" y="2276"/>
                    <a:pt x="4775" y="2252"/>
                  </a:cubicBezTo>
                  <a:cubicBezTo>
                    <a:pt x="4798" y="2157"/>
                    <a:pt x="4834" y="2073"/>
                    <a:pt x="4858" y="1966"/>
                  </a:cubicBezTo>
                  <a:cubicBezTo>
                    <a:pt x="4882" y="1871"/>
                    <a:pt x="4834" y="1787"/>
                    <a:pt x="4739" y="1776"/>
                  </a:cubicBezTo>
                  <a:cubicBezTo>
                    <a:pt x="4725" y="1771"/>
                    <a:pt x="4710" y="1769"/>
                    <a:pt x="4695" y="1769"/>
                  </a:cubicBezTo>
                  <a:cubicBezTo>
                    <a:pt x="4625" y="1769"/>
                    <a:pt x="4558" y="1816"/>
                    <a:pt x="4548" y="1895"/>
                  </a:cubicBezTo>
                  <a:cubicBezTo>
                    <a:pt x="4525" y="2014"/>
                    <a:pt x="4489" y="2109"/>
                    <a:pt x="4429" y="2228"/>
                  </a:cubicBezTo>
                  <a:lnTo>
                    <a:pt x="3834" y="2228"/>
                  </a:lnTo>
                  <a:cubicBezTo>
                    <a:pt x="3739" y="2228"/>
                    <a:pt x="3667" y="2311"/>
                    <a:pt x="3667" y="2395"/>
                  </a:cubicBezTo>
                  <a:lnTo>
                    <a:pt x="3667" y="2978"/>
                  </a:lnTo>
                  <a:lnTo>
                    <a:pt x="3096" y="2978"/>
                  </a:lnTo>
                  <a:cubicBezTo>
                    <a:pt x="3001" y="2978"/>
                    <a:pt x="2929" y="3050"/>
                    <a:pt x="2929" y="3145"/>
                  </a:cubicBezTo>
                  <a:lnTo>
                    <a:pt x="2929" y="3942"/>
                  </a:lnTo>
                  <a:cubicBezTo>
                    <a:pt x="2798" y="4050"/>
                    <a:pt x="2655" y="4157"/>
                    <a:pt x="2500" y="4252"/>
                  </a:cubicBezTo>
                  <a:cubicBezTo>
                    <a:pt x="2060" y="3942"/>
                    <a:pt x="1619" y="3585"/>
                    <a:pt x="1215" y="3169"/>
                  </a:cubicBezTo>
                  <a:cubicBezTo>
                    <a:pt x="917" y="2859"/>
                    <a:pt x="715" y="2549"/>
                    <a:pt x="560" y="2228"/>
                  </a:cubicBezTo>
                  <a:cubicBezTo>
                    <a:pt x="322" y="1718"/>
                    <a:pt x="322" y="970"/>
                    <a:pt x="841" y="553"/>
                  </a:cubicBezTo>
                  <a:lnTo>
                    <a:pt x="841" y="553"/>
                  </a:lnTo>
                  <a:cubicBezTo>
                    <a:pt x="770" y="610"/>
                    <a:pt x="665" y="692"/>
                    <a:pt x="665" y="692"/>
                  </a:cubicBezTo>
                  <a:cubicBezTo>
                    <a:pt x="664" y="692"/>
                    <a:pt x="713" y="653"/>
                    <a:pt x="857" y="537"/>
                  </a:cubicBezTo>
                  <a:cubicBezTo>
                    <a:pt x="887" y="514"/>
                    <a:pt x="899" y="505"/>
                    <a:pt x="899" y="505"/>
                  </a:cubicBezTo>
                  <a:lnTo>
                    <a:pt x="899" y="505"/>
                  </a:lnTo>
                  <a:cubicBezTo>
                    <a:pt x="899" y="505"/>
                    <a:pt x="887" y="514"/>
                    <a:pt x="869" y="525"/>
                  </a:cubicBezTo>
                  <a:cubicBezTo>
                    <a:pt x="1045" y="396"/>
                    <a:pt x="1250" y="331"/>
                    <a:pt x="1461" y="331"/>
                  </a:cubicBezTo>
                  <a:cubicBezTo>
                    <a:pt x="1521" y="331"/>
                    <a:pt x="1582" y="336"/>
                    <a:pt x="1643" y="347"/>
                  </a:cubicBezTo>
                  <a:cubicBezTo>
                    <a:pt x="1941" y="406"/>
                    <a:pt x="2191" y="561"/>
                    <a:pt x="2358" y="799"/>
                  </a:cubicBezTo>
                  <a:cubicBezTo>
                    <a:pt x="2396" y="866"/>
                    <a:pt x="2445" y="893"/>
                    <a:pt x="2495" y="893"/>
                  </a:cubicBezTo>
                  <a:cubicBezTo>
                    <a:pt x="2552" y="893"/>
                    <a:pt x="2611" y="857"/>
                    <a:pt x="2655" y="799"/>
                  </a:cubicBezTo>
                  <a:cubicBezTo>
                    <a:pt x="2903" y="497"/>
                    <a:pt x="3171" y="342"/>
                    <a:pt x="3440" y="342"/>
                  </a:cubicBezTo>
                  <a:cubicBezTo>
                    <a:pt x="3468" y="342"/>
                    <a:pt x="3496" y="343"/>
                    <a:pt x="3524" y="347"/>
                  </a:cubicBezTo>
                  <a:lnTo>
                    <a:pt x="3536" y="347"/>
                  </a:lnTo>
                  <a:cubicBezTo>
                    <a:pt x="3763" y="347"/>
                    <a:pt x="3929" y="383"/>
                    <a:pt x="4072" y="478"/>
                  </a:cubicBezTo>
                  <a:cubicBezTo>
                    <a:pt x="4227" y="561"/>
                    <a:pt x="4358" y="716"/>
                    <a:pt x="4441" y="894"/>
                  </a:cubicBezTo>
                  <a:cubicBezTo>
                    <a:pt x="4501" y="1014"/>
                    <a:pt x="4548" y="1133"/>
                    <a:pt x="4560" y="1264"/>
                  </a:cubicBezTo>
                  <a:cubicBezTo>
                    <a:pt x="4584" y="1335"/>
                    <a:pt x="4644" y="1395"/>
                    <a:pt x="4727" y="1395"/>
                  </a:cubicBezTo>
                  <a:lnTo>
                    <a:pt x="4763" y="1395"/>
                  </a:lnTo>
                  <a:cubicBezTo>
                    <a:pt x="4846" y="1383"/>
                    <a:pt x="4906" y="1287"/>
                    <a:pt x="4894" y="1204"/>
                  </a:cubicBezTo>
                  <a:cubicBezTo>
                    <a:pt x="4858" y="1037"/>
                    <a:pt x="4822" y="883"/>
                    <a:pt x="4739" y="740"/>
                  </a:cubicBezTo>
                  <a:cubicBezTo>
                    <a:pt x="4620" y="525"/>
                    <a:pt x="4465" y="323"/>
                    <a:pt x="4251" y="192"/>
                  </a:cubicBezTo>
                  <a:cubicBezTo>
                    <a:pt x="4060" y="73"/>
                    <a:pt x="3834" y="13"/>
                    <a:pt x="3548" y="13"/>
                  </a:cubicBezTo>
                  <a:cubicBezTo>
                    <a:pt x="3514" y="10"/>
                    <a:pt x="3479" y="8"/>
                    <a:pt x="3445" y="8"/>
                  </a:cubicBezTo>
                  <a:cubicBezTo>
                    <a:pt x="3115" y="8"/>
                    <a:pt x="2805" y="165"/>
                    <a:pt x="2524" y="478"/>
                  </a:cubicBezTo>
                  <a:cubicBezTo>
                    <a:pt x="2322" y="240"/>
                    <a:pt x="2036" y="85"/>
                    <a:pt x="1703" y="25"/>
                  </a:cubicBezTo>
                  <a:cubicBezTo>
                    <a:pt x="1614" y="9"/>
                    <a:pt x="1527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21" name="Google Shape;11621;p61"/>
          <p:cNvGrpSpPr/>
          <p:nvPr/>
        </p:nvGrpSpPr>
        <p:grpSpPr>
          <a:xfrm>
            <a:off x="2665165" y="3360146"/>
            <a:ext cx="281794" cy="349684"/>
            <a:chOff x="2665165" y="3360146"/>
            <a:chExt cx="281794" cy="349684"/>
          </a:xfrm>
        </p:grpSpPr>
        <p:sp>
          <p:nvSpPr>
            <p:cNvPr id="11622" name="Google Shape;11622;p61"/>
            <p:cNvSpPr/>
            <p:nvPr/>
          </p:nvSpPr>
          <p:spPr>
            <a:xfrm>
              <a:off x="2665165" y="3495547"/>
              <a:ext cx="136572" cy="214284"/>
            </a:xfrm>
            <a:custGeom>
              <a:avLst/>
              <a:gdLst/>
              <a:ahLst/>
              <a:cxnLst/>
              <a:rect l="l" t="t" r="r" b="b"/>
              <a:pathLst>
                <a:path w="4311" h="6764" extrusionOk="0">
                  <a:moveTo>
                    <a:pt x="3977" y="4453"/>
                  </a:moveTo>
                  <a:lnTo>
                    <a:pt x="3977" y="5049"/>
                  </a:lnTo>
                  <a:lnTo>
                    <a:pt x="2441" y="5049"/>
                  </a:lnTo>
                  <a:lnTo>
                    <a:pt x="2441" y="4453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1727"/>
                  </a:lnTo>
                  <a:cubicBezTo>
                    <a:pt x="0" y="1858"/>
                    <a:pt x="84" y="2001"/>
                    <a:pt x="179" y="2072"/>
                  </a:cubicBezTo>
                  <a:lnTo>
                    <a:pt x="1167" y="2751"/>
                  </a:lnTo>
                  <a:cubicBezTo>
                    <a:pt x="1196" y="2770"/>
                    <a:pt x="1230" y="2779"/>
                    <a:pt x="1264" y="2779"/>
                  </a:cubicBezTo>
                  <a:cubicBezTo>
                    <a:pt x="1315" y="2779"/>
                    <a:pt x="1365" y="2758"/>
                    <a:pt x="1393" y="2715"/>
                  </a:cubicBezTo>
                  <a:cubicBezTo>
                    <a:pt x="1429" y="2632"/>
                    <a:pt x="1417" y="2536"/>
                    <a:pt x="1346" y="2489"/>
                  </a:cubicBezTo>
                  <a:lnTo>
                    <a:pt x="357" y="1798"/>
                  </a:lnTo>
                  <a:cubicBezTo>
                    <a:pt x="334" y="1786"/>
                    <a:pt x="322" y="1763"/>
                    <a:pt x="322" y="1727"/>
                  </a:cubicBezTo>
                  <a:lnTo>
                    <a:pt x="322" y="334"/>
                  </a:lnTo>
                  <a:lnTo>
                    <a:pt x="655" y="334"/>
                  </a:lnTo>
                  <a:cubicBezTo>
                    <a:pt x="679" y="334"/>
                    <a:pt x="679" y="346"/>
                    <a:pt x="679" y="346"/>
                  </a:cubicBezTo>
                  <a:lnTo>
                    <a:pt x="679" y="1251"/>
                  </a:lnTo>
                  <a:cubicBezTo>
                    <a:pt x="679" y="1382"/>
                    <a:pt x="750" y="1524"/>
                    <a:pt x="857" y="1596"/>
                  </a:cubicBezTo>
                  <a:lnTo>
                    <a:pt x="2286" y="2560"/>
                  </a:lnTo>
                  <a:cubicBezTo>
                    <a:pt x="2405" y="2656"/>
                    <a:pt x="2548" y="2691"/>
                    <a:pt x="2703" y="2691"/>
                  </a:cubicBezTo>
                  <a:lnTo>
                    <a:pt x="2822" y="2691"/>
                  </a:lnTo>
                  <a:cubicBezTo>
                    <a:pt x="2941" y="2691"/>
                    <a:pt x="3060" y="2656"/>
                    <a:pt x="3143" y="2560"/>
                  </a:cubicBezTo>
                  <a:lnTo>
                    <a:pt x="3191" y="2513"/>
                  </a:lnTo>
                  <a:cubicBezTo>
                    <a:pt x="3251" y="2453"/>
                    <a:pt x="3274" y="2382"/>
                    <a:pt x="3274" y="2298"/>
                  </a:cubicBezTo>
                  <a:cubicBezTo>
                    <a:pt x="3274" y="2203"/>
                    <a:pt x="3239" y="2132"/>
                    <a:pt x="3179" y="2072"/>
                  </a:cubicBezTo>
                  <a:lnTo>
                    <a:pt x="2524" y="1477"/>
                  </a:lnTo>
                  <a:lnTo>
                    <a:pt x="2524" y="1465"/>
                  </a:lnTo>
                  <a:lnTo>
                    <a:pt x="2727" y="1251"/>
                  </a:lnTo>
                  <a:lnTo>
                    <a:pt x="3905" y="2179"/>
                  </a:lnTo>
                  <a:cubicBezTo>
                    <a:pt x="3929" y="2191"/>
                    <a:pt x="3929" y="2215"/>
                    <a:pt x="3929" y="2251"/>
                  </a:cubicBezTo>
                  <a:lnTo>
                    <a:pt x="3929" y="4156"/>
                  </a:lnTo>
                  <a:lnTo>
                    <a:pt x="2643" y="4156"/>
                  </a:lnTo>
                  <a:lnTo>
                    <a:pt x="2643" y="3620"/>
                  </a:lnTo>
                  <a:cubicBezTo>
                    <a:pt x="2643" y="3465"/>
                    <a:pt x="2560" y="3346"/>
                    <a:pt x="2465" y="3263"/>
                  </a:cubicBezTo>
                  <a:lnTo>
                    <a:pt x="1869" y="2846"/>
                  </a:lnTo>
                  <a:cubicBezTo>
                    <a:pt x="1837" y="2828"/>
                    <a:pt x="1804" y="2818"/>
                    <a:pt x="1771" y="2818"/>
                  </a:cubicBezTo>
                  <a:cubicBezTo>
                    <a:pt x="1720" y="2818"/>
                    <a:pt x="1673" y="2842"/>
                    <a:pt x="1643" y="2894"/>
                  </a:cubicBezTo>
                  <a:cubicBezTo>
                    <a:pt x="1596" y="2965"/>
                    <a:pt x="1608" y="3072"/>
                    <a:pt x="1691" y="3108"/>
                  </a:cubicBezTo>
                  <a:lnTo>
                    <a:pt x="2286" y="3525"/>
                  </a:lnTo>
                  <a:cubicBezTo>
                    <a:pt x="2310" y="3548"/>
                    <a:pt x="2322" y="3584"/>
                    <a:pt x="2322" y="3620"/>
                  </a:cubicBezTo>
                  <a:lnTo>
                    <a:pt x="2322" y="4156"/>
                  </a:lnTo>
                  <a:lnTo>
                    <a:pt x="2286" y="4156"/>
                  </a:lnTo>
                  <a:cubicBezTo>
                    <a:pt x="2191" y="4156"/>
                    <a:pt x="2120" y="4227"/>
                    <a:pt x="2120" y="4322"/>
                  </a:cubicBezTo>
                  <a:lnTo>
                    <a:pt x="2120" y="5584"/>
                  </a:lnTo>
                  <a:lnTo>
                    <a:pt x="2120" y="6596"/>
                  </a:lnTo>
                  <a:cubicBezTo>
                    <a:pt x="2120" y="6680"/>
                    <a:pt x="2191" y="6763"/>
                    <a:pt x="2286" y="6763"/>
                  </a:cubicBezTo>
                  <a:lnTo>
                    <a:pt x="2834" y="6763"/>
                  </a:lnTo>
                  <a:cubicBezTo>
                    <a:pt x="2917" y="6763"/>
                    <a:pt x="3001" y="6680"/>
                    <a:pt x="3001" y="6596"/>
                  </a:cubicBezTo>
                  <a:cubicBezTo>
                    <a:pt x="3001" y="6501"/>
                    <a:pt x="2917" y="6430"/>
                    <a:pt x="2834" y="6430"/>
                  </a:cubicBezTo>
                  <a:lnTo>
                    <a:pt x="2429" y="6430"/>
                  </a:lnTo>
                  <a:lnTo>
                    <a:pt x="2429" y="5406"/>
                  </a:lnTo>
                  <a:lnTo>
                    <a:pt x="3965" y="5406"/>
                  </a:lnTo>
                  <a:lnTo>
                    <a:pt x="3965" y="5584"/>
                  </a:lnTo>
                  <a:lnTo>
                    <a:pt x="3965" y="6430"/>
                  </a:lnTo>
                  <a:lnTo>
                    <a:pt x="3477" y="6430"/>
                  </a:lnTo>
                  <a:cubicBezTo>
                    <a:pt x="3382" y="6430"/>
                    <a:pt x="3310" y="6501"/>
                    <a:pt x="3310" y="6596"/>
                  </a:cubicBezTo>
                  <a:cubicBezTo>
                    <a:pt x="3310" y="6680"/>
                    <a:pt x="3382" y="6763"/>
                    <a:pt x="3477" y="6763"/>
                  </a:cubicBezTo>
                  <a:lnTo>
                    <a:pt x="4144" y="6763"/>
                  </a:lnTo>
                  <a:cubicBezTo>
                    <a:pt x="4227" y="6763"/>
                    <a:pt x="4310" y="6680"/>
                    <a:pt x="4310" y="6596"/>
                  </a:cubicBezTo>
                  <a:lnTo>
                    <a:pt x="4310" y="5251"/>
                  </a:lnTo>
                  <a:lnTo>
                    <a:pt x="4286" y="4287"/>
                  </a:lnTo>
                  <a:lnTo>
                    <a:pt x="4286" y="2215"/>
                  </a:lnTo>
                  <a:cubicBezTo>
                    <a:pt x="4286" y="2084"/>
                    <a:pt x="4227" y="1965"/>
                    <a:pt x="4132" y="1894"/>
                  </a:cubicBezTo>
                  <a:lnTo>
                    <a:pt x="2846" y="881"/>
                  </a:lnTo>
                  <a:cubicBezTo>
                    <a:pt x="2818" y="859"/>
                    <a:pt x="2782" y="847"/>
                    <a:pt x="2746" y="847"/>
                  </a:cubicBezTo>
                  <a:cubicBezTo>
                    <a:pt x="2707" y="847"/>
                    <a:pt x="2669" y="862"/>
                    <a:pt x="2643" y="893"/>
                  </a:cubicBezTo>
                  <a:lnTo>
                    <a:pt x="2322" y="1203"/>
                  </a:lnTo>
                  <a:cubicBezTo>
                    <a:pt x="2262" y="1262"/>
                    <a:pt x="2215" y="1358"/>
                    <a:pt x="2215" y="1441"/>
                  </a:cubicBezTo>
                  <a:cubicBezTo>
                    <a:pt x="2215" y="1536"/>
                    <a:pt x="2262" y="1620"/>
                    <a:pt x="2322" y="1679"/>
                  </a:cubicBezTo>
                  <a:lnTo>
                    <a:pt x="2977" y="2275"/>
                  </a:lnTo>
                  <a:lnTo>
                    <a:pt x="2941" y="2322"/>
                  </a:lnTo>
                  <a:cubicBezTo>
                    <a:pt x="2905" y="2358"/>
                    <a:pt x="2882" y="2370"/>
                    <a:pt x="2846" y="2370"/>
                  </a:cubicBezTo>
                  <a:lnTo>
                    <a:pt x="2727" y="2370"/>
                  </a:lnTo>
                  <a:cubicBezTo>
                    <a:pt x="2643" y="2370"/>
                    <a:pt x="2560" y="2334"/>
                    <a:pt x="2489" y="2298"/>
                  </a:cubicBezTo>
                  <a:lnTo>
                    <a:pt x="1060" y="1322"/>
                  </a:lnTo>
                  <a:cubicBezTo>
                    <a:pt x="1024" y="1310"/>
                    <a:pt x="1012" y="1286"/>
                    <a:pt x="1012" y="1251"/>
                  </a:cubicBezTo>
                  <a:lnTo>
                    <a:pt x="1012" y="346"/>
                  </a:lnTo>
                  <a:cubicBezTo>
                    <a:pt x="1012" y="155"/>
                    <a:pt x="869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3" name="Google Shape;11623;p61"/>
            <p:cNvSpPr/>
            <p:nvPr/>
          </p:nvSpPr>
          <p:spPr>
            <a:xfrm>
              <a:off x="2811495" y="3494786"/>
              <a:ext cx="135464" cy="212003"/>
            </a:xfrm>
            <a:custGeom>
              <a:avLst/>
              <a:gdLst/>
              <a:ahLst/>
              <a:cxnLst/>
              <a:rect l="l" t="t" r="r" b="b"/>
              <a:pathLst>
                <a:path w="4276" h="6692" extrusionOk="0">
                  <a:moveTo>
                    <a:pt x="3942" y="322"/>
                  </a:moveTo>
                  <a:lnTo>
                    <a:pt x="3942" y="1727"/>
                  </a:lnTo>
                  <a:lnTo>
                    <a:pt x="3954" y="1727"/>
                  </a:lnTo>
                  <a:cubicBezTo>
                    <a:pt x="3954" y="1751"/>
                    <a:pt x="3942" y="1787"/>
                    <a:pt x="3918" y="1798"/>
                  </a:cubicBezTo>
                  <a:lnTo>
                    <a:pt x="1811" y="3251"/>
                  </a:lnTo>
                  <a:cubicBezTo>
                    <a:pt x="1692" y="3334"/>
                    <a:pt x="1632" y="3465"/>
                    <a:pt x="1632" y="3608"/>
                  </a:cubicBezTo>
                  <a:lnTo>
                    <a:pt x="1632" y="4144"/>
                  </a:lnTo>
                  <a:lnTo>
                    <a:pt x="334" y="4144"/>
                  </a:lnTo>
                  <a:lnTo>
                    <a:pt x="334" y="2239"/>
                  </a:lnTo>
                  <a:cubicBezTo>
                    <a:pt x="334" y="2215"/>
                    <a:pt x="358" y="2179"/>
                    <a:pt x="370" y="2168"/>
                  </a:cubicBezTo>
                  <a:lnTo>
                    <a:pt x="632" y="1965"/>
                  </a:lnTo>
                  <a:lnTo>
                    <a:pt x="1525" y="1251"/>
                  </a:lnTo>
                  <a:lnTo>
                    <a:pt x="1739" y="1453"/>
                  </a:lnTo>
                  <a:lnTo>
                    <a:pt x="1739" y="1465"/>
                  </a:lnTo>
                  <a:lnTo>
                    <a:pt x="1084" y="2060"/>
                  </a:lnTo>
                  <a:cubicBezTo>
                    <a:pt x="1025" y="2120"/>
                    <a:pt x="977" y="2203"/>
                    <a:pt x="977" y="2287"/>
                  </a:cubicBezTo>
                  <a:cubicBezTo>
                    <a:pt x="977" y="2382"/>
                    <a:pt x="1013" y="2453"/>
                    <a:pt x="1072" y="2513"/>
                  </a:cubicBezTo>
                  <a:lnTo>
                    <a:pt x="1108" y="2560"/>
                  </a:lnTo>
                  <a:cubicBezTo>
                    <a:pt x="1203" y="2644"/>
                    <a:pt x="1322" y="2691"/>
                    <a:pt x="1441" y="2691"/>
                  </a:cubicBezTo>
                  <a:lnTo>
                    <a:pt x="1561" y="2691"/>
                  </a:lnTo>
                  <a:cubicBezTo>
                    <a:pt x="1703" y="2691"/>
                    <a:pt x="1858" y="2644"/>
                    <a:pt x="1977" y="2560"/>
                  </a:cubicBezTo>
                  <a:lnTo>
                    <a:pt x="3406" y="1584"/>
                  </a:lnTo>
                  <a:cubicBezTo>
                    <a:pt x="3525" y="1513"/>
                    <a:pt x="3585" y="1382"/>
                    <a:pt x="3585" y="1251"/>
                  </a:cubicBezTo>
                  <a:lnTo>
                    <a:pt x="3585" y="334"/>
                  </a:lnTo>
                  <a:cubicBezTo>
                    <a:pt x="3585" y="322"/>
                    <a:pt x="3597" y="322"/>
                    <a:pt x="3597" y="322"/>
                  </a:cubicBezTo>
                  <a:close/>
                  <a:moveTo>
                    <a:pt x="1858" y="4477"/>
                  </a:moveTo>
                  <a:lnTo>
                    <a:pt x="1858" y="5073"/>
                  </a:lnTo>
                  <a:lnTo>
                    <a:pt x="322" y="5073"/>
                  </a:lnTo>
                  <a:lnTo>
                    <a:pt x="322" y="4477"/>
                  </a:lnTo>
                  <a:close/>
                  <a:moveTo>
                    <a:pt x="1858" y="5382"/>
                  </a:moveTo>
                  <a:lnTo>
                    <a:pt x="1858" y="6406"/>
                  </a:lnTo>
                  <a:lnTo>
                    <a:pt x="322" y="6406"/>
                  </a:lnTo>
                  <a:lnTo>
                    <a:pt x="322" y="5561"/>
                  </a:lnTo>
                  <a:lnTo>
                    <a:pt x="322" y="5382"/>
                  </a:lnTo>
                  <a:close/>
                  <a:moveTo>
                    <a:pt x="3620" y="1"/>
                  </a:moveTo>
                  <a:cubicBezTo>
                    <a:pt x="3418" y="1"/>
                    <a:pt x="3275" y="143"/>
                    <a:pt x="3275" y="334"/>
                  </a:cubicBezTo>
                  <a:lnTo>
                    <a:pt x="3275" y="1251"/>
                  </a:lnTo>
                  <a:cubicBezTo>
                    <a:pt x="3275" y="1275"/>
                    <a:pt x="3263" y="1310"/>
                    <a:pt x="3227" y="1322"/>
                  </a:cubicBezTo>
                  <a:lnTo>
                    <a:pt x="1799" y="2287"/>
                  </a:lnTo>
                  <a:cubicBezTo>
                    <a:pt x="1727" y="2334"/>
                    <a:pt x="1656" y="2358"/>
                    <a:pt x="1561" y="2358"/>
                  </a:cubicBezTo>
                  <a:lnTo>
                    <a:pt x="1441" y="2358"/>
                  </a:lnTo>
                  <a:cubicBezTo>
                    <a:pt x="1418" y="2358"/>
                    <a:pt x="1370" y="2346"/>
                    <a:pt x="1358" y="2322"/>
                  </a:cubicBezTo>
                  <a:lnTo>
                    <a:pt x="1311" y="2275"/>
                  </a:lnTo>
                  <a:lnTo>
                    <a:pt x="1965" y="1679"/>
                  </a:lnTo>
                  <a:cubicBezTo>
                    <a:pt x="2037" y="1620"/>
                    <a:pt x="2073" y="1525"/>
                    <a:pt x="2073" y="1441"/>
                  </a:cubicBezTo>
                  <a:cubicBezTo>
                    <a:pt x="2073" y="1346"/>
                    <a:pt x="2037" y="1263"/>
                    <a:pt x="1965" y="1203"/>
                  </a:cubicBezTo>
                  <a:lnTo>
                    <a:pt x="1656" y="894"/>
                  </a:lnTo>
                  <a:cubicBezTo>
                    <a:pt x="1622" y="860"/>
                    <a:pt x="1577" y="845"/>
                    <a:pt x="1534" y="845"/>
                  </a:cubicBezTo>
                  <a:cubicBezTo>
                    <a:pt x="1500" y="845"/>
                    <a:pt x="1467" y="854"/>
                    <a:pt x="1441" y="870"/>
                  </a:cubicBezTo>
                  <a:lnTo>
                    <a:pt x="429" y="1667"/>
                  </a:lnTo>
                  <a:lnTo>
                    <a:pt x="168" y="1870"/>
                  </a:lnTo>
                  <a:cubicBezTo>
                    <a:pt x="60" y="1941"/>
                    <a:pt x="1" y="2060"/>
                    <a:pt x="1" y="2203"/>
                  </a:cubicBezTo>
                  <a:lnTo>
                    <a:pt x="1" y="4263"/>
                  </a:lnTo>
                  <a:lnTo>
                    <a:pt x="1" y="5192"/>
                  </a:lnTo>
                  <a:lnTo>
                    <a:pt x="1" y="6525"/>
                  </a:lnTo>
                  <a:cubicBezTo>
                    <a:pt x="1" y="6620"/>
                    <a:pt x="72" y="6692"/>
                    <a:pt x="168" y="6692"/>
                  </a:cubicBezTo>
                  <a:lnTo>
                    <a:pt x="2025" y="6692"/>
                  </a:lnTo>
                  <a:cubicBezTo>
                    <a:pt x="2108" y="6692"/>
                    <a:pt x="2192" y="6620"/>
                    <a:pt x="2192" y="6525"/>
                  </a:cubicBezTo>
                  <a:lnTo>
                    <a:pt x="2192" y="5513"/>
                  </a:lnTo>
                  <a:lnTo>
                    <a:pt x="2192" y="4251"/>
                  </a:lnTo>
                  <a:cubicBezTo>
                    <a:pt x="2192" y="4168"/>
                    <a:pt x="2108" y="4084"/>
                    <a:pt x="2025" y="4084"/>
                  </a:cubicBezTo>
                  <a:lnTo>
                    <a:pt x="1953" y="4084"/>
                  </a:lnTo>
                  <a:lnTo>
                    <a:pt x="1953" y="3549"/>
                  </a:lnTo>
                  <a:cubicBezTo>
                    <a:pt x="1953" y="3525"/>
                    <a:pt x="1965" y="3477"/>
                    <a:pt x="1989" y="3465"/>
                  </a:cubicBezTo>
                  <a:lnTo>
                    <a:pt x="4097" y="2001"/>
                  </a:lnTo>
                  <a:cubicBezTo>
                    <a:pt x="4216" y="1929"/>
                    <a:pt x="4275" y="1798"/>
                    <a:pt x="4275" y="1667"/>
                  </a:cubicBezTo>
                  <a:lnTo>
                    <a:pt x="4275" y="96"/>
                  </a:lnTo>
                  <a:cubicBezTo>
                    <a:pt x="4275" y="72"/>
                    <a:pt x="4216" y="1"/>
                    <a:pt x="4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4" name="Google Shape;11624;p61"/>
            <p:cNvSpPr/>
            <p:nvPr/>
          </p:nvSpPr>
          <p:spPr>
            <a:xfrm>
              <a:off x="2731915" y="3360146"/>
              <a:ext cx="149403" cy="181812"/>
            </a:xfrm>
            <a:custGeom>
              <a:avLst/>
              <a:gdLst/>
              <a:ahLst/>
              <a:cxnLst/>
              <a:rect l="l" t="t" r="r" b="b"/>
              <a:pathLst>
                <a:path w="4716" h="5739" extrusionOk="0">
                  <a:moveTo>
                    <a:pt x="2358" y="0"/>
                  </a:moveTo>
                  <a:cubicBezTo>
                    <a:pt x="1156" y="0"/>
                    <a:pt x="155" y="893"/>
                    <a:pt x="13" y="2084"/>
                  </a:cubicBezTo>
                  <a:cubicBezTo>
                    <a:pt x="1" y="2179"/>
                    <a:pt x="72" y="2250"/>
                    <a:pt x="143" y="2262"/>
                  </a:cubicBezTo>
                  <a:cubicBezTo>
                    <a:pt x="155" y="2265"/>
                    <a:pt x="166" y="2266"/>
                    <a:pt x="176" y="2266"/>
                  </a:cubicBezTo>
                  <a:cubicBezTo>
                    <a:pt x="255" y="2266"/>
                    <a:pt x="312" y="2194"/>
                    <a:pt x="322" y="2131"/>
                  </a:cubicBezTo>
                  <a:cubicBezTo>
                    <a:pt x="441" y="1107"/>
                    <a:pt x="1322" y="333"/>
                    <a:pt x="2346" y="333"/>
                  </a:cubicBezTo>
                  <a:cubicBezTo>
                    <a:pt x="3477" y="333"/>
                    <a:pt x="4382" y="1250"/>
                    <a:pt x="4382" y="2369"/>
                  </a:cubicBezTo>
                  <a:cubicBezTo>
                    <a:pt x="4382" y="3262"/>
                    <a:pt x="3823" y="4036"/>
                    <a:pt x="2977" y="4322"/>
                  </a:cubicBezTo>
                  <a:cubicBezTo>
                    <a:pt x="2941" y="4334"/>
                    <a:pt x="2894" y="4346"/>
                    <a:pt x="2882" y="4393"/>
                  </a:cubicBezTo>
                  <a:lnTo>
                    <a:pt x="2346" y="5286"/>
                  </a:lnTo>
                  <a:lnTo>
                    <a:pt x="1810" y="4393"/>
                  </a:lnTo>
                  <a:cubicBezTo>
                    <a:pt x="1798" y="4370"/>
                    <a:pt x="1763" y="4334"/>
                    <a:pt x="1727" y="4322"/>
                  </a:cubicBezTo>
                  <a:cubicBezTo>
                    <a:pt x="989" y="4084"/>
                    <a:pt x="477" y="3477"/>
                    <a:pt x="334" y="2727"/>
                  </a:cubicBezTo>
                  <a:cubicBezTo>
                    <a:pt x="323" y="2650"/>
                    <a:pt x="252" y="2594"/>
                    <a:pt x="177" y="2594"/>
                  </a:cubicBezTo>
                  <a:cubicBezTo>
                    <a:pt x="170" y="2594"/>
                    <a:pt x="163" y="2595"/>
                    <a:pt x="155" y="2596"/>
                  </a:cubicBezTo>
                  <a:cubicBezTo>
                    <a:pt x="72" y="2608"/>
                    <a:pt x="13" y="2703"/>
                    <a:pt x="24" y="2774"/>
                  </a:cubicBezTo>
                  <a:cubicBezTo>
                    <a:pt x="179" y="3620"/>
                    <a:pt x="775" y="4322"/>
                    <a:pt x="1572" y="4608"/>
                  </a:cubicBezTo>
                  <a:lnTo>
                    <a:pt x="2215" y="5656"/>
                  </a:lnTo>
                  <a:cubicBezTo>
                    <a:pt x="2239" y="5703"/>
                    <a:pt x="2287" y="5739"/>
                    <a:pt x="2346" y="5739"/>
                  </a:cubicBezTo>
                  <a:cubicBezTo>
                    <a:pt x="2406" y="5739"/>
                    <a:pt x="2453" y="5703"/>
                    <a:pt x="2477" y="5656"/>
                  </a:cubicBezTo>
                  <a:lnTo>
                    <a:pt x="3120" y="4608"/>
                  </a:lnTo>
                  <a:cubicBezTo>
                    <a:pt x="4073" y="4274"/>
                    <a:pt x="4704" y="3381"/>
                    <a:pt x="4704" y="2369"/>
                  </a:cubicBezTo>
                  <a:cubicBezTo>
                    <a:pt x="4715" y="1060"/>
                    <a:pt x="3656" y="0"/>
                    <a:pt x="2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5" name="Google Shape;11625;p61"/>
            <p:cNvSpPr/>
            <p:nvPr/>
          </p:nvSpPr>
          <p:spPr>
            <a:xfrm>
              <a:off x="2760585" y="3389545"/>
              <a:ext cx="92442" cy="91333"/>
            </a:xfrm>
            <a:custGeom>
              <a:avLst/>
              <a:gdLst/>
              <a:ahLst/>
              <a:cxnLst/>
              <a:rect l="l" t="t" r="r" b="b"/>
              <a:pathLst>
                <a:path w="2918" h="2883" extrusionOk="0">
                  <a:moveTo>
                    <a:pt x="1453" y="679"/>
                  </a:moveTo>
                  <a:cubicBezTo>
                    <a:pt x="1858" y="679"/>
                    <a:pt x="2203" y="1025"/>
                    <a:pt x="2203" y="1430"/>
                  </a:cubicBezTo>
                  <a:cubicBezTo>
                    <a:pt x="2203" y="1846"/>
                    <a:pt x="1870" y="2168"/>
                    <a:pt x="1453" y="2168"/>
                  </a:cubicBezTo>
                  <a:cubicBezTo>
                    <a:pt x="1036" y="2168"/>
                    <a:pt x="715" y="1846"/>
                    <a:pt x="715" y="1430"/>
                  </a:cubicBezTo>
                  <a:cubicBezTo>
                    <a:pt x="715" y="1013"/>
                    <a:pt x="1036" y="679"/>
                    <a:pt x="1453" y="679"/>
                  </a:cubicBezTo>
                  <a:close/>
                  <a:moveTo>
                    <a:pt x="1453" y="1"/>
                  </a:moveTo>
                  <a:cubicBezTo>
                    <a:pt x="1370" y="1"/>
                    <a:pt x="1286" y="72"/>
                    <a:pt x="1286" y="167"/>
                  </a:cubicBezTo>
                  <a:lnTo>
                    <a:pt x="1286" y="382"/>
                  </a:lnTo>
                  <a:cubicBezTo>
                    <a:pt x="1108" y="417"/>
                    <a:pt x="953" y="477"/>
                    <a:pt x="810" y="572"/>
                  </a:cubicBezTo>
                  <a:lnTo>
                    <a:pt x="655" y="417"/>
                  </a:lnTo>
                  <a:cubicBezTo>
                    <a:pt x="626" y="388"/>
                    <a:pt x="584" y="373"/>
                    <a:pt x="542" y="373"/>
                  </a:cubicBezTo>
                  <a:cubicBezTo>
                    <a:pt x="501" y="373"/>
                    <a:pt x="459" y="388"/>
                    <a:pt x="429" y="417"/>
                  </a:cubicBezTo>
                  <a:cubicBezTo>
                    <a:pt x="370" y="477"/>
                    <a:pt x="370" y="572"/>
                    <a:pt x="429" y="632"/>
                  </a:cubicBezTo>
                  <a:lnTo>
                    <a:pt x="596" y="798"/>
                  </a:lnTo>
                  <a:cubicBezTo>
                    <a:pt x="489" y="929"/>
                    <a:pt x="429" y="1096"/>
                    <a:pt x="393" y="1275"/>
                  </a:cubicBezTo>
                  <a:lnTo>
                    <a:pt x="167" y="1275"/>
                  </a:lnTo>
                  <a:cubicBezTo>
                    <a:pt x="72" y="1275"/>
                    <a:pt x="0" y="1358"/>
                    <a:pt x="0" y="1441"/>
                  </a:cubicBezTo>
                  <a:cubicBezTo>
                    <a:pt x="0" y="1537"/>
                    <a:pt x="72" y="1608"/>
                    <a:pt x="167" y="1608"/>
                  </a:cubicBezTo>
                  <a:lnTo>
                    <a:pt x="381" y="1608"/>
                  </a:lnTo>
                  <a:cubicBezTo>
                    <a:pt x="417" y="1787"/>
                    <a:pt x="477" y="1953"/>
                    <a:pt x="572" y="2084"/>
                  </a:cubicBezTo>
                  <a:lnTo>
                    <a:pt x="417" y="2251"/>
                  </a:lnTo>
                  <a:cubicBezTo>
                    <a:pt x="358" y="2311"/>
                    <a:pt x="358" y="2406"/>
                    <a:pt x="417" y="2465"/>
                  </a:cubicBezTo>
                  <a:cubicBezTo>
                    <a:pt x="441" y="2501"/>
                    <a:pt x="489" y="2513"/>
                    <a:pt x="536" y="2513"/>
                  </a:cubicBezTo>
                  <a:cubicBezTo>
                    <a:pt x="572" y="2513"/>
                    <a:pt x="620" y="2501"/>
                    <a:pt x="655" y="2465"/>
                  </a:cubicBezTo>
                  <a:lnTo>
                    <a:pt x="810" y="2311"/>
                  </a:lnTo>
                  <a:cubicBezTo>
                    <a:pt x="953" y="2406"/>
                    <a:pt x="1108" y="2465"/>
                    <a:pt x="1286" y="2501"/>
                  </a:cubicBezTo>
                  <a:lnTo>
                    <a:pt x="1286" y="2727"/>
                  </a:lnTo>
                  <a:cubicBezTo>
                    <a:pt x="1286" y="2811"/>
                    <a:pt x="1370" y="2882"/>
                    <a:pt x="1453" y="2882"/>
                  </a:cubicBezTo>
                  <a:cubicBezTo>
                    <a:pt x="1548" y="2882"/>
                    <a:pt x="1620" y="2811"/>
                    <a:pt x="1620" y="2727"/>
                  </a:cubicBezTo>
                  <a:lnTo>
                    <a:pt x="1620" y="2501"/>
                  </a:lnTo>
                  <a:cubicBezTo>
                    <a:pt x="1798" y="2465"/>
                    <a:pt x="1965" y="2406"/>
                    <a:pt x="2096" y="2311"/>
                  </a:cubicBezTo>
                  <a:lnTo>
                    <a:pt x="2263" y="2465"/>
                  </a:lnTo>
                  <a:cubicBezTo>
                    <a:pt x="2286" y="2501"/>
                    <a:pt x="2334" y="2513"/>
                    <a:pt x="2382" y="2513"/>
                  </a:cubicBezTo>
                  <a:cubicBezTo>
                    <a:pt x="2417" y="2513"/>
                    <a:pt x="2465" y="2501"/>
                    <a:pt x="2501" y="2465"/>
                  </a:cubicBezTo>
                  <a:cubicBezTo>
                    <a:pt x="2560" y="2406"/>
                    <a:pt x="2560" y="2311"/>
                    <a:pt x="2501" y="2251"/>
                  </a:cubicBezTo>
                  <a:lnTo>
                    <a:pt x="2334" y="2084"/>
                  </a:lnTo>
                  <a:cubicBezTo>
                    <a:pt x="2441" y="1953"/>
                    <a:pt x="2501" y="1787"/>
                    <a:pt x="2525" y="1608"/>
                  </a:cubicBezTo>
                  <a:lnTo>
                    <a:pt x="2751" y="1608"/>
                  </a:lnTo>
                  <a:cubicBezTo>
                    <a:pt x="2834" y="1608"/>
                    <a:pt x="2918" y="1537"/>
                    <a:pt x="2918" y="1441"/>
                  </a:cubicBezTo>
                  <a:cubicBezTo>
                    <a:pt x="2882" y="1358"/>
                    <a:pt x="2822" y="1275"/>
                    <a:pt x="2739" y="1275"/>
                  </a:cubicBezTo>
                  <a:lnTo>
                    <a:pt x="2513" y="1275"/>
                  </a:lnTo>
                  <a:cubicBezTo>
                    <a:pt x="2477" y="1096"/>
                    <a:pt x="2417" y="941"/>
                    <a:pt x="2322" y="798"/>
                  </a:cubicBezTo>
                  <a:lnTo>
                    <a:pt x="2489" y="632"/>
                  </a:lnTo>
                  <a:cubicBezTo>
                    <a:pt x="2548" y="572"/>
                    <a:pt x="2548" y="477"/>
                    <a:pt x="2489" y="417"/>
                  </a:cubicBezTo>
                  <a:cubicBezTo>
                    <a:pt x="2459" y="388"/>
                    <a:pt x="2417" y="373"/>
                    <a:pt x="2376" y="373"/>
                  </a:cubicBezTo>
                  <a:cubicBezTo>
                    <a:pt x="2334" y="373"/>
                    <a:pt x="2292" y="388"/>
                    <a:pt x="2263" y="417"/>
                  </a:cubicBezTo>
                  <a:lnTo>
                    <a:pt x="2096" y="572"/>
                  </a:lnTo>
                  <a:cubicBezTo>
                    <a:pt x="1965" y="477"/>
                    <a:pt x="1798" y="417"/>
                    <a:pt x="1620" y="382"/>
                  </a:cubicBezTo>
                  <a:lnTo>
                    <a:pt x="1620" y="167"/>
                  </a:lnTo>
                  <a:cubicBezTo>
                    <a:pt x="1620" y="72"/>
                    <a:pt x="1548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6" name="Google Shape;11626;p61"/>
            <p:cNvSpPr/>
            <p:nvPr/>
          </p:nvSpPr>
          <p:spPr>
            <a:xfrm>
              <a:off x="2789636" y="3417836"/>
              <a:ext cx="33961" cy="33993"/>
            </a:xfrm>
            <a:custGeom>
              <a:avLst/>
              <a:gdLst/>
              <a:ahLst/>
              <a:cxnLst/>
              <a:rect l="l" t="t" r="r" b="b"/>
              <a:pathLst>
                <a:path w="1072" h="1073" extrusionOk="0">
                  <a:moveTo>
                    <a:pt x="536" y="346"/>
                  </a:moveTo>
                  <a:cubicBezTo>
                    <a:pt x="655" y="346"/>
                    <a:pt x="750" y="429"/>
                    <a:pt x="750" y="548"/>
                  </a:cubicBezTo>
                  <a:cubicBezTo>
                    <a:pt x="750" y="656"/>
                    <a:pt x="643" y="763"/>
                    <a:pt x="536" y="763"/>
                  </a:cubicBezTo>
                  <a:cubicBezTo>
                    <a:pt x="417" y="763"/>
                    <a:pt x="334" y="667"/>
                    <a:pt x="334" y="548"/>
                  </a:cubicBezTo>
                  <a:cubicBezTo>
                    <a:pt x="334" y="429"/>
                    <a:pt x="417" y="346"/>
                    <a:pt x="536" y="346"/>
                  </a:cubicBezTo>
                  <a:close/>
                  <a:moveTo>
                    <a:pt x="536" y="1"/>
                  </a:moveTo>
                  <a:cubicBezTo>
                    <a:pt x="238" y="1"/>
                    <a:pt x="0" y="239"/>
                    <a:pt x="0" y="537"/>
                  </a:cubicBezTo>
                  <a:cubicBezTo>
                    <a:pt x="0" y="834"/>
                    <a:pt x="238" y="1072"/>
                    <a:pt x="536" y="1072"/>
                  </a:cubicBezTo>
                  <a:cubicBezTo>
                    <a:pt x="834" y="1072"/>
                    <a:pt x="1072" y="834"/>
                    <a:pt x="1072" y="537"/>
                  </a:cubicBezTo>
                  <a:cubicBezTo>
                    <a:pt x="1072" y="251"/>
                    <a:pt x="822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27" name="Google Shape;11627;p61"/>
          <p:cNvGrpSpPr/>
          <p:nvPr/>
        </p:nvGrpSpPr>
        <p:grpSpPr>
          <a:xfrm>
            <a:off x="7156344" y="3347696"/>
            <a:ext cx="264465" cy="353074"/>
            <a:chOff x="7156344" y="3347696"/>
            <a:chExt cx="264465" cy="353074"/>
          </a:xfrm>
        </p:grpSpPr>
        <p:sp>
          <p:nvSpPr>
            <p:cNvPr id="11628" name="Google Shape;11628;p61"/>
            <p:cNvSpPr/>
            <p:nvPr/>
          </p:nvSpPr>
          <p:spPr>
            <a:xfrm>
              <a:off x="7248754" y="3468397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9" name="Google Shape;11629;p61"/>
            <p:cNvSpPr/>
            <p:nvPr/>
          </p:nvSpPr>
          <p:spPr>
            <a:xfrm>
              <a:off x="7314775" y="346839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5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0" name="Google Shape;11630;p61"/>
            <p:cNvSpPr/>
            <p:nvPr/>
          </p:nvSpPr>
          <p:spPr>
            <a:xfrm>
              <a:off x="7156344" y="3347696"/>
              <a:ext cx="264465" cy="353074"/>
            </a:xfrm>
            <a:custGeom>
              <a:avLst/>
              <a:gdLst/>
              <a:ahLst/>
              <a:cxnLst/>
              <a:rect l="l" t="t" r="r" b="b"/>
              <a:pathLst>
                <a:path w="8348" h="11145" extrusionOk="0">
                  <a:moveTo>
                    <a:pt x="4111" y="310"/>
                  </a:moveTo>
                  <a:cubicBezTo>
                    <a:pt x="4118" y="310"/>
                    <a:pt x="4125" y="310"/>
                    <a:pt x="4132" y="310"/>
                  </a:cubicBezTo>
                  <a:cubicBezTo>
                    <a:pt x="5573" y="322"/>
                    <a:pt x="6740" y="1512"/>
                    <a:pt x="6740" y="2953"/>
                  </a:cubicBezTo>
                  <a:lnTo>
                    <a:pt x="6740" y="3643"/>
                  </a:lnTo>
                  <a:lnTo>
                    <a:pt x="6526" y="3643"/>
                  </a:lnTo>
                  <a:cubicBezTo>
                    <a:pt x="6430" y="3643"/>
                    <a:pt x="6311" y="3632"/>
                    <a:pt x="6216" y="3596"/>
                  </a:cubicBezTo>
                  <a:cubicBezTo>
                    <a:pt x="5859" y="3489"/>
                    <a:pt x="4978" y="3167"/>
                    <a:pt x="4359" y="2119"/>
                  </a:cubicBezTo>
                  <a:cubicBezTo>
                    <a:pt x="4311" y="2048"/>
                    <a:pt x="4299" y="1977"/>
                    <a:pt x="4299" y="1905"/>
                  </a:cubicBezTo>
                  <a:lnTo>
                    <a:pt x="4299" y="1548"/>
                  </a:lnTo>
                  <a:cubicBezTo>
                    <a:pt x="4299" y="1453"/>
                    <a:pt x="4228" y="1381"/>
                    <a:pt x="4132" y="1381"/>
                  </a:cubicBezTo>
                  <a:cubicBezTo>
                    <a:pt x="4049" y="1381"/>
                    <a:pt x="3966" y="1453"/>
                    <a:pt x="3966" y="1548"/>
                  </a:cubicBezTo>
                  <a:lnTo>
                    <a:pt x="3966" y="1905"/>
                  </a:lnTo>
                  <a:cubicBezTo>
                    <a:pt x="3966" y="1977"/>
                    <a:pt x="3954" y="2060"/>
                    <a:pt x="3906" y="2119"/>
                  </a:cubicBezTo>
                  <a:cubicBezTo>
                    <a:pt x="3275" y="3167"/>
                    <a:pt x="2406" y="3489"/>
                    <a:pt x="2049" y="3596"/>
                  </a:cubicBezTo>
                  <a:cubicBezTo>
                    <a:pt x="1942" y="3632"/>
                    <a:pt x="1846" y="3643"/>
                    <a:pt x="1739" y="3643"/>
                  </a:cubicBezTo>
                  <a:lnTo>
                    <a:pt x="1620" y="3643"/>
                  </a:lnTo>
                  <a:cubicBezTo>
                    <a:pt x="1584" y="3643"/>
                    <a:pt x="1561" y="3643"/>
                    <a:pt x="1513" y="3655"/>
                  </a:cubicBezTo>
                  <a:lnTo>
                    <a:pt x="1513" y="2941"/>
                  </a:lnTo>
                  <a:cubicBezTo>
                    <a:pt x="1501" y="1496"/>
                    <a:pt x="2680" y="310"/>
                    <a:pt x="4111" y="310"/>
                  </a:cubicBezTo>
                  <a:close/>
                  <a:moveTo>
                    <a:pt x="1799" y="5013"/>
                  </a:moveTo>
                  <a:cubicBezTo>
                    <a:pt x="1882" y="5322"/>
                    <a:pt x="2049" y="5620"/>
                    <a:pt x="2275" y="5894"/>
                  </a:cubicBezTo>
                  <a:cubicBezTo>
                    <a:pt x="2168" y="6013"/>
                    <a:pt x="2025" y="6084"/>
                    <a:pt x="1858" y="6084"/>
                  </a:cubicBezTo>
                  <a:cubicBezTo>
                    <a:pt x="1561" y="6084"/>
                    <a:pt x="1323" y="5846"/>
                    <a:pt x="1323" y="5548"/>
                  </a:cubicBezTo>
                  <a:cubicBezTo>
                    <a:pt x="1323" y="5275"/>
                    <a:pt x="1525" y="5060"/>
                    <a:pt x="1799" y="5013"/>
                  </a:cubicBezTo>
                  <a:close/>
                  <a:moveTo>
                    <a:pt x="6454" y="5013"/>
                  </a:moveTo>
                  <a:cubicBezTo>
                    <a:pt x="6704" y="5037"/>
                    <a:pt x="6918" y="5263"/>
                    <a:pt x="6918" y="5548"/>
                  </a:cubicBezTo>
                  <a:cubicBezTo>
                    <a:pt x="6918" y="5846"/>
                    <a:pt x="6680" y="6084"/>
                    <a:pt x="6383" y="6084"/>
                  </a:cubicBezTo>
                  <a:cubicBezTo>
                    <a:pt x="6216" y="6084"/>
                    <a:pt x="6073" y="6013"/>
                    <a:pt x="5978" y="5894"/>
                  </a:cubicBezTo>
                  <a:cubicBezTo>
                    <a:pt x="6204" y="5632"/>
                    <a:pt x="6347" y="5334"/>
                    <a:pt x="6454" y="5013"/>
                  </a:cubicBezTo>
                  <a:close/>
                  <a:moveTo>
                    <a:pt x="4132" y="2381"/>
                  </a:moveTo>
                  <a:cubicBezTo>
                    <a:pt x="4823" y="3453"/>
                    <a:pt x="5752" y="3810"/>
                    <a:pt x="6145" y="3905"/>
                  </a:cubicBezTo>
                  <a:cubicBezTo>
                    <a:pt x="6276" y="3941"/>
                    <a:pt x="6406" y="3965"/>
                    <a:pt x="6549" y="3965"/>
                  </a:cubicBezTo>
                  <a:lnTo>
                    <a:pt x="6668" y="3965"/>
                  </a:lnTo>
                  <a:cubicBezTo>
                    <a:pt x="6740" y="3965"/>
                    <a:pt x="6811" y="4001"/>
                    <a:pt x="6871" y="4060"/>
                  </a:cubicBezTo>
                  <a:cubicBezTo>
                    <a:pt x="6930" y="4120"/>
                    <a:pt x="6942" y="4191"/>
                    <a:pt x="6942" y="4263"/>
                  </a:cubicBezTo>
                  <a:cubicBezTo>
                    <a:pt x="6930" y="4405"/>
                    <a:pt x="6799" y="4501"/>
                    <a:pt x="6645" y="4501"/>
                  </a:cubicBezTo>
                  <a:lnTo>
                    <a:pt x="6573" y="4501"/>
                  </a:lnTo>
                  <a:cubicBezTo>
                    <a:pt x="6573" y="4417"/>
                    <a:pt x="6514" y="4346"/>
                    <a:pt x="6430" y="4322"/>
                  </a:cubicBezTo>
                  <a:cubicBezTo>
                    <a:pt x="6335" y="4322"/>
                    <a:pt x="6264" y="4382"/>
                    <a:pt x="6252" y="4477"/>
                  </a:cubicBezTo>
                  <a:cubicBezTo>
                    <a:pt x="6204" y="5001"/>
                    <a:pt x="5966" y="5489"/>
                    <a:pt x="5573" y="5858"/>
                  </a:cubicBezTo>
                  <a:cubicBezTo>
                    <a:pt x="5192" y="6215"/>
                    <a:pt x="4680" y="6430"/>
                    <a:pt x="4144" y="6430"/>
                  </a:cubicBezTo>
                  <a:cubicBezTo>
                    <a:pt x="3585" y="6430"/>
                    <a:pt x="3073" y="6227"/>
                    <a:pt x="2692" y="5858"/>
                  </a:cubicBezTo>
                  <a:cubicBezTo>
                    <a:pt x="2299" y="5501"/>
                    <a:pt x="2061" y="5013"/>
                    <a:pt x="2025" y="4477"/>
                  </a:cubicBezTo>
                  <a:cubicBezTo>
                    <a:pt x="2025" y="4389"/>
                    <a:pt x="1943" y="4321"/>
                    <a:pt x="1865" y="4321"/>
                  </a:cubicBezTo>
                  <a:cubicBezTo>
                    <a:pt x="1859" y="4321"/>
                    <a:pt x="1852" y="4321"/>
                    <a:pt x="1846" y="4322"/>
                  </a:cubicBezTo>
                  <a:cubicBezTo>
                    <a:pt x="1751" y="4322"/>
                    <a:pt x="1680" y="4417"/>
                    <a:pt x="1692" y="4501"/>
                  </a:cubicBezTo>
                  <a:lnTo>
                    <a:pt x="1620" y="4501"/>
                  </a:lnTo>
                  <a:cubicBezTo>
                    <a:pt x="1465" y="4501"/>
                    <a:pt x="1334" y="4405"/>
                    <a:pt x="1323" y="4263"/>
                  </a:cubicBezTo>
                  <a:cubicBezTo>
                    <a:pt x="1311" y="4191"/>
                    <a:pt x="1334" y="4120"/>
                    <a:pt x="1394" y="4060"/>
                  </a:cubicBezTo>
                  <a:cubicBezTo>
                    <a:pt x="1442" y="4001"/>
                    <a:pt x="1513" y="3965"/>
                    <a:pt x="1608" y="3965"/>
                  </a:cubicBezTo>
                  <a:lnTo>
                    <a:pt x="1727" y="3965"/>
                  </a:lnTo>
                  <a:cubicBezTo>
                    <a:pt x="1858" y="3965"/>
                    <a:pt x="2001" y="3953"/>
                    <a:pt x="2120" y="3905"/>
                  </a:cubicBezTo>
                  <a:cubicBezTo>
                    <a:pt x="2513" y="3810"/>
                    <a:pt x="3430" y="3453"/>
                    <a:pt x="4132" y="2381"/>
                  </a:cubicBezTo>
                  <a:close/>
                  <a:moveTo>
                    <a:pt x="5740" y="6108"/>
                  </a:moveTo>
                  <a:cubicBezTo>
                    <a:pt x="5871" y="6251"/>
                    <a:pt x="6037" y="6346"/>
                    <a:pt x="6228" y="6382"/>
                  </a:cubicBezTo>
                  <a:cubicBezTo>
                    <a:pt x="6287" y="6739"/>
                    <a:pt x="6406" y="6953"/>
                    <a:pt x="6526" y="7203"/>
                  </a:cubicBezTo>
                  <a:cubicBezTo>
                    <a:pt x="6645" y="7418"/>
                    <a:pt x="6764" y="7656"/>
                    <a:pt x="6871" y="8061"/>
                  </a:cubicBezTo>
                  <a:lnTo>
                    <a:pt x="5680" y="7644"/>
                  </a:lnTo>
                  <a:cubicBezTo>
                    <a:pt x="5478" y="7573"/>
                    <a:pt x="5323" y="7358"/>
                    <a:pt x="5323" y="7144"/>
                  </a:cubicBezTo>
                  <a:lnTo>
                    <a:pt x="5323" y="6430"/>
                  </a:lnTo>
                  <a:cubicBezTo>
                    <a:pt x="5478" y="6334"/>
                    <a:pt x="5621" y="6227"/>
                    <a:pt x="5740" y="6108"/>
                  </a:cubicBezTo>
                  <a:close/>
                  <a:moveTo>
                    <a:pt x="4978" y="6584"/>
                  </a:moveTo>
                  <a:lnTo>
                    <a:pt x="4978" y="7144"/>
                  </a:lnTo>
                  <a:cubicBezTo>
                    <a:pt x="4978" y="7442"/>
                    <a:pt x="5144" y="7715"/>
                    <a:pt x="5383" y="7870"/>
                  </a:cubicBezTo>
                  <a:cubicBezTo>
                    <a:pt x="5252" y="8132"/>
                    <a:pt x="4847" y="8727"/>
                    <a:pt x="4049" y="9370"/>
                  </a:cubicBezTo>
                  <a:cubicBezTo>
                    <a:pt x="3823" y="9180"/>
                    <a:pt x="3644" y="8989"/>
                    <a:pt x="3489" y="8823"/>
                  </a:cubicBezTo>
                  <a:cubicBezTo>
                    <a:pt x="3132" y="8406"/>
                    <a:pt x="2930" y="8061"/>
                    <a:pt x="2823" y="7870"/>
                  </a:cubicBezTo>
                  <a:cubicBezTo>
                    <a:pt x="3073" y="7715"/>
                    <a:pt x="3228" y="7442"/>
                    <a:pt x="3228" y="7144"/>
                  </a:cubicBezTo>
                  <a:lnTo>
                    <a:pt x="3228" y="6584"/>
                  </a:lnTo>
                  <a:cubicBezTo>
                    <a:pt x="3513" y="6691"/>
                    <a:pt x="3811" y="6751"/>
                    <a:pt x="4109" y="6751"/>
                  </a:cubicBezTo>
                  <a:cubicBezTo>
                    <a:pt x="4418" y="6751"/>
                    <a:pt x="4716" y="6691"/>
                    <a:pt x="4978" y="6584"/>
                  </a:cubicBezTo>
                  <a:close/>
                  <a:moveTo>
                    <a:pt x="4144" y="0"/>
                  </a:moveTo>
                  <a:cubicBezTo>
                    <a:pt x="2525" y="0"/>
                    <a:pt x="1203" y="1322"/>
                    <a:pt x="1203" y="2941"/>
                  </a:cubicBezTo>
                  <a:lnTo>
                    <a:pt x="1203" y="3822"/>
                  </a:lnTo>
                  <a:lnTo>
                    <a:pt x="1192" y="3834"/>
                  </a:lnTo>
                  <a:cubicBezTo>
                    <a:pt x="1072" y="3953"/>
                    <a:pt x="1025" y="4132"/>
                    <a:pt x="1037" y="4298"/>
                  </a:cubicBezTo>
                  <a:cubicBezTo>
                    <a:pt x="1072" y="4536"/>
                    <a:pt x="1227" y="4727"/>
                    <a:pt x="1453" y="4798"/>
                  </a:cubicBezTo>
                  <a:cubicBezTo>
                    <a:pt x="1203" y="4953"/>
                    <a:pt x="1037" y="5227"/>
                    <a:pt x="1037" y="5548"/>
                  </a:cubicBezTo>
                  <a:cubicBezTo>
                    <a:pt x="1037" y="6025"/>
                    <a:pt x="1430" y="6406"/>
                    <a:pt x="1906" y="6406"/>
                  </a:cubicBezTo>
                  <a:cubicBezTo>
                    <a:pt x="2144" y="6406"/>
                    <a:pt x="2382" y="6299"/>
                    <a:pt x="2537" y="6120"/>
                  </a:cubicBezTo>
                  <a:cubicBezTo>
                    <a:pt x="2680" y="6239"/>
                    <a:pt x="2811" y="6346"/>
                    <a:pt x="2954" y="6441"/>
                  </a:cubicBezTo>
                  <a:lnTo>
                    <a:pt x="2954" y="7156"/>
                  </a:lnTo>
                  <a:cubicBezTo>
                    <a:pt x="2954" y="7370"/>
                    <a:pt x="2811" y="7584"/>
                    <a:pt x="2596" y="7656"/>
                  </a:cubicBezTo>
                  <a:lnTo>
                    <a:pt x="799" y="8299"/>
                  </a:lnTo>
                  <a:cubicBezTo>
                    <a:pt x="322" y="8466"/>
                    <a:pt x="1" y="8918"/>
                    <a:pt x="1" y="9442"/>
                  </a:cubicBezTo>
                  <a:lnTo>
                    <a:pt x="1" y="10966"/>
                  </a:lnTo>
                  <a:cubicBezTo>
                    <a:pt x="1" y="11049"/>
                    <a:pt x="72" y="11121"/>
                    <a:pt x="156" y="11121"/>
                  </a:cubicBezTo>
                  <a:cubicBezTo>
                    <a:pt x="251" y="11121"/>
                    <a:pt x="322" y="11049"/>
                    <a:pt x="322" y="10966"/>
                  </a:cubicBezTo>
                  <a:lnTo>
                    <a:pt x="322" y="9442"/>
                  </a:lnTo>
                  <a:cubicBezTo>
                    <a:pt x="322" y="9073"/>
                    <a:pt x="561" y="8727"/>
                    <a:pt x="918" y="8608"/>
                  </a:cubicBezTo>
                  <a:lnTo>
                    <a:pt x="1394" y="8442"/>
                  </a:lnTo>
                  <a:cubicBezTo>
                    <a:pt x="1477" y="8954"/>
                    <a:pt x="1573" y="9478"/>
                    <a:pt x="1692" y="9966"/>
                  </a:cubicBezTo>
                  <a:cubicBezTo>
                    <a:pt x="1704" y="10037"/>
                    <a:pt x="1775" y="10097"/>
                    <a:pt x="1858" y="10097"/>
                  </a:cubicBezTo>
                  <a:lnTo>
                    <a:pt x="1882" y="10097"/>
                  </a:lnTo>
                  <a:cubicBezTo>
                    <a:pt x="1977" y="10085"/>
                    <a:pt x="2037" y="9990"/>
                    <a:pt x="2001" y="9906"/>
                  </a:cubicBezTo>
                  <a:cubicBezTo>
                    <a:pt x="1894" y="9418"/>
                    <a:pt x="1799" y="8858"/>
                    <a:pt x="1704" y="8358"/>
                  </a:cubicBezTo>
                  <a:lnTo>
                    <a:pt x="1965" y="8263"/>
                  </a:lnTo>
                  <a:cubicBezTo>
                    <a:pt x="2275" y="9275"/>
                    <a:pt x="2656" y="10382"/>
                    <a:pt x="3180" y="11085"/>
                  </a:cubicBezTo>
                  <a:cubicBezTo>
                    <a:pt x="3216" y="11121"/>
                    <a:pt x="3251" y="11144"/>
                    <a:pt x="3311" y="11144"/>
                  </a:cubicBezTo>
                  <a:cubicBezTo>
                    <a:pt x="3347" y="11144"/>
                    <a:pt x="3394" y="11121"/>
                    <a:pt x="3418" y="11109"/>
                  </a:cubicBezTo>
                  <a:cubicBezTo>
                    <a:pt x="3489" y="11049"/>
                    <a:pt x="3513" y="10966"/>
                    <a:pt x="3454" y="10882"/>
                  </a:cubicBezTo>
                  <a:cubicBezTo>
                    <a:pt x="2894" y="10144"/>
                    <a:pt x="2466" y="8823"/>
                    <a:pt x="2275" y="8144"/>
                  </a:cubicBezTo>
                  <a:lnTo>
                    <a:pt x="2596" y="8025"/>
                  </a:lnTo>
                  <a:cubicBezTo>
                    <a:pt x="2704" y="8227"/>
                    <a:pt x="2930" y="8596"/>
                    <a:pt x="3311" y="9061"/>
                  </a:cubicBezTo>
                  <a:cubicBezTo>
                    <a:pt x="3835" y="9656"/>
                    <a:pt x="4740" y="10490"/>
                    <a:pt x="6216" y="11121"/>
                  </a:cubicBezTo>
                  <a:cubicBezTo>
                    <a:pt x="6228" y="11144"/>
                    <a:pt x="6264" y="11144"/>
                    <a:pt x="6276" y="11144"/>
                  </a:cubicBezTo>
                  <a:cubicBezTo>
                    <a:pt x="6335" y="11144"/>
                    <a:pt x="6395" y="11109"/>
                    <a:pt x="6430" y="11037"/>
                  </a:cubicBezTo>
                  <a:cubicBezTo>
                    <a:pt x="6454" y="10942"/>
                    <a:pt x="6430" y="10859"/>
                    <a:pt x="6335" y="10823"/>
                  </a:cubicBezTo>
                  <a:cubicBezTo>
                    <a:pt x="5502" y="10454"/>
                    <a:pt x="4847" y="10025"/>
                    <a:pt x="4359" y="9620"/>
                  </a:cubicBezTo>
                  <a:cubicBezTo>
                    <a:pt x="5204" y="8918"/>
                    <a:pt x="5621" y="8299"/>
                    <a:pt x="5775" y="8025"/>
                  </a:cubicBezTo>
                  <a:lnTo>
                    <a:pt x="6097" y="8144"/>
                  </a:lnTo>
                  <a:cubicBezTo>
                    <a:pt x="5918" y="8727"/>
                    <a:pt x="5728" y="9251"/>
                    <a:pt x="5502" y="9692"/>
                  </a:cubicBezTo>
                  <a:cubicBezTo>
                    <a:pt x="5454" y="9775"/>
                    <a:pt x="5502" y="9870"/>
                    <a:pt x="5573" y="9918"/>
                  </a:cubicBezTo>
                  <a:cubicBezTo>
                    <a:pt x="5609" y="9930"/>
                    <a:pt x="5621" y="9930"/>
                    <a:pt x="5656" y="9930"/>
                  </a:cubicBezTo>
                  <a:cubicBezTo>
                    <a:pt x="5716" y="9930"/>
                    <a:pt x="5775" y="9906"/>
                    <a:pt x="5799" y="9847"/>
                  </a:cubicBezTo>
                  <a:cubicBezTo>
                    <a:pt x="6014" y="9382"/>
                    <a:pt x="6216" y="8858"/>
                    <a:pt x="6395" y="8263"/>
                  </a:cubicBezTo>
                  <a:lnTo>
                    <a:pt x="7419" y="8620"/>
                  </a:lnTo>
                  <a:cubicBezTo>
                    <a:pt x="7776" y="8739"/>
                    <a:pt x="8014" y="9085"/>
                    <a:pt x="8014" y="9454"/>
                  </a:cubicBezTo>
                  <a:lnTo>
                    <a:pt x="8014" y="10978"/>
                  </a:lnTo>
                  <a:cubicBezTo>
                    <a:pt x="8014" y="11061"/>
                    <a:pt x="8097" y="11144"/>
                    <a:pt x="8181" y="11144"/>
                  </a:cubicBezTo>
                  <a:cubicBezTo>
                    <a:pt x="8276" y="11144"/>
                    <a:pt x="8347" y="11061"/>
                    <a:pt x="8347" y="10978"/>
                  </a:cubicBezTo>
                  <a:lnTo>
                    <a:pt x="8347" y="9454"/>
                  </a:lnTo>
                  <a:cubicBezTo>
                    <a:pt x="8288" y="8906"/>
                    <a:pt x="7978" y="8454"/>
                    <a:pt x="7478" y="8287"/>
                  </a:cubicBezTo>
                  <a:lnTo>
                    <a:pt x="7240" y="8192"/>
                  </a:lnTo>
                  <a:cubicBezTo>
                    <a:pt x="7145" y="7620"/>
                    <a:pt x="6978" y="7323"/>
                    <a:pt x="6847" y="7049"/>
                  </a:cubicBezTo>
                  <a:cubicBezTo>
                    <a:pt x="6740" y="6846"/>
                    <a:pt x="6633" y="6656"/>
                    <a:pt x="6585" y="6382"/>
                  </a:cubicBezTo>
                  <a:cubicBezTo>
                    <a:pt x="6978" y="6287"/>
                    <a:pt x="7264" y="5953"/>
                    <a:pt x="7264" y="5548"/>
                  </a:cubicBezTo>
                  <a:cubicBezTo>
                    <a:pt x="7264" y="5227"/>
                    <a:pt x="7097" y="4953"/>
                    <a:pt x="6847" y="4798"/>
                  </a:cubicBezTo>
                  <a:cubicBezTo>
                    <a:pt x="7061" y="4727"/>
                    <a:pt x="7240" y="4536"/>
                    <a:pt x="7264" y="4298"/>
                  </a:cubicBezTo>
                  <a:cubicBezTo>
                    <a:pt x="7276" y="4132"/>
                    <a:pt x="7216" y="3953"/>
                    <a:pt x="7109" y="3834"/>
                  </a:cubicBezTo>
                  <a:lnTo>
                    <a:pt x="7097" y="3822"/>
                  </a:lnTo>
                  <a:lnTo>
                    <a:pt x="7097" y="2941"/>
                  </a:lnTo>
                  <a:cubicBezTo>
                    <a:pt x="7097" y="1322"/>
                    <a:pt x="5775" y="0"/>
                    <a:pt x="4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1" name="Google Shape;11631;p61"/>
            <p:cNvSpPr/>
            <p:nvPr/>
          </p:nvSpPr>
          <p:spPr>
            <a:xfrm>
              <a:off x="7212544" y="3678023"/>
              <a:ext cx="14763" cy="21226"/>
            </a:xfrm>
            <a:custGeom>
              <a:avLst/>
              <a:gdLst/>
              <a:ahLst/>
              <a:cxnLst/>
              <a:rect l="l" t="t" r="r" b="b"/>
              <a:pathLst>
                <a:path w="466" h="670" extrusionOk="0">
                  <a:moveTo>
                    <a:pt x="175" y="1"/>
                  </a:moveTo>
                  <a:cubicBezTo>
                    <a:pt x="165" y="1"/>
                    <a:pt x="154" y="2"/>
                    <a:pt x="144" y="3"/>
                  </a:cubicBezTo>
                  <a:cubicBezTo>
                    <a:pt x="49" y="27"/>
                    <a:pt x="1" y="122"/>
                    <a:pt x="25" y="205"/>
                  </a:cubicBezTo>
                  <a:cubicBezTo>
                    <a:pt x="49" y="348"/>
                    <a:pt x="96" y="467"/>
                    <a:pt x="132" y="563"/>
                  </a:cubicBezTo>
                  <a:cubicBezTo>
                    <a:pt x="156" y="646"/>
                    <a:pt x="215" y="670"/>
                    <a:pt x="275" y="670"/>
                  </a:cubicBezTo>
                  <a:cubicBezTo>
                    <a:pt x="287" y="670"/>
                    <a:pt x="311" y="670"/>
                    <a:pt x="334" y="658"/>
                  </a:cubicBezTo>
                  <a:cubicBezTo>
                    <a:pt x="430" y="646"/>
                    <a:pt x="465" y="551"/>
                    <a:pt x="453" y="467"/>
                  </a:cubicBezTo>
                  <a:cubicBezTo>
                    <a:pt x="430" y="360"/>
                    <a:pt x="382" y="253"/>
                    <a:pt x="346" y="122"/>
                  </a:cubicBezTo>
                  <a:cubicBezTo>
                    <a:pt x="325" y="39"/>
                    <a:pt x="250" y="1"/>
                    <a:pt x="1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2" name="Google Shape;11632;p61"/>
            <p:cNvSpPr/>
            <p:nvPr/>
          </p:nvSpPr>
          <p:spPr>
            <a:xfrm>
              <a:off x="7257055" y="3498936"/>
              <a:ext cx="60382" cy="32472"/>
            </a:xfrm>
            <a:custGeom>
              <a:avLst/>
              <a:gdLst/>
              <a:ahLst/>
              <a:cxnLst/>
              <a:rect l="l" t="t" r="r" b="b"/>
              <a:pathLst>
                <a:path w="1906" h="1025" extrusionOk="0">
                  <a:moveTo>
                    <a:pt x="1525" y="322"/>
                  </a:moveTo>
                  <a:cubicBezTo>
                    <a:pt x="1465" y="536"/>
                    <a:pt x="1227" y="703"/>
                    <a:pt x="941" y="703"/>
                  </a:cubicBezTo>
                  <a:cubicBezTo>
                    <a:pt x="656" y="703"/>
                    <a:pt x="430" y="548"/>
                    <a:pt x="346" y="322"/>
                  </a:cubicBezTo>
                  <a:close/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644"/>
                    <a:pt x="430" y="1025"/>
                    <a:pt x="953" y="1025"/>
                  </a:cubicBezTo>
                  <a:cubicBezTo>
                    <a:pt x="1477" y="1025"/>
                    <a:pt x="1906" y="644"/>
                    <a:pt x="1906" y="167"/>
                  </a:cubicBezTo>
                  <a:cubicBezTo>
                    <a:pt x="1894" y="72"/>
                    <a:pt x="1823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33" name="Google Shape;11633;p61"/>
          <p:cNvGrpSpPr/>
          <p:nvPr/>
        </p:nvGrpSpPr>
        <p:grpSpPr>
          <a:xfrm>
            <a:off x="6703732" y="3346936"/>
            <a:ext cx="264813" cy="352693"/>
            <a:chOff x="6703732" y="3346936"/>
            <a:chExt cx="264813" cy="352693"/>
          </a:xfrm>
        </p:grpSpPr>
        <p:sp>
          <p:nvSpPr>
            <p:cNvPr id="11634" name="Google Shape;11634;p61"/>
            <p:cNvSpPr/>
            <p:nvPr/>
          </p:nvSpPr>
          <p:spPr>
            <a:xfrm>
              <a:off x="6797283" y="3468777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5" name="Google Shape;11635;p61"/>
            <p:cNvSpPr/>
            <p:nvPr/>
          </p:nvSpPr>
          <p:spPr>
            <a:xfrm>
              <a:off x="6863272" y="3468777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6" name="Google Shape;11636;p61"/>
            <p:cNvSpPr/>
            <p:nvPr/>
          </p:nvSpPr>
          <p:spPr>
            <a:xfrm>
              <a:off x="6814231" y="3507712"/>
              <a:ext cx="43433" cy="15777"/>
            </a:xfrm>
            <a:custGeom>
              <a:avLst/>
              <a:gdLst/>
              <a:ahLst/>
              <a:cxnLst/>
              <a:rect l="l" t="t" r="r" b="b"/>
              <a:pathLst>
                <a:path w="1371" h="498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2" y="402"/>
                    <a:pt x="1346" y="271"/>
                  </a:cubicBezTo>
                  <a:cubicBezTo>
                    <a:pt x="1370" y="212"/>
                    <a:pt x="1370" y="105"/>
                    <a:pt x="1311" y="45"/>
                  </a:cubicBezTo>
                  <a:cubicBezTo>
                    <a:pt x="1281" y="15"/>
                    <a:pt x="1242" y="0"/>
                    <a:pt x="1203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882" y="188"/>
                    <a:pt x="692" y="188"/>
                  </a:cubicBezTo>
                  <a:cubicBezTo>
                    <a:pt x="477" y="188"/>
                    <a:pt x="346" y="105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7" name="Google Shape;11637;p61"/>
            <p:cNvSpPr/>
            <p:nvPr/>
          </p:nvSpPr>
          <p:spPr>
            <a:xfrm>
              <a:off x="6902143" y="3489876"/>
              <a:ext cx="32" cy="412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13"/>
                  </a:moveTo>
                  <a:cubicBezTo>
                    <a:pt x="0" y="1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8" name="Google Shape;11638;p61"/>
            <p:cNvSpPr/>
            <p:nvPr/>
          </p:nvSpPr>
          <p:spPr>
            <a:xfrm>
              <a:off x="6703732" y="3346936"/>
              <a:ext cx="264813" cy="352693"/>
            </a:xfrm>
            <a:custGeom>
              <a:avLst/>
              <a:gdLst/>
              <a:ahLst/>
              <a:cxnLst/>
              <a:rect l="l" t="t" r="r" b="b"/>
              <a:pathLst>
                <a:path w="8359" h="11133" extrusionOk="0">
                  <a:moveTo>
                    <a:pt x="4120" y="346"/>
                  </a:moveTo>
                  <a:cubicBezTo>
                    <a:pt x="5668" y="346"/>
                    <a:pt x="6918" y="1596"/>
                    <a:pt x="6918" y="3144"/>
                  </a:cubicBezTo>
                  <a:lnTo>
                    <a:pt x="6918" y="8081"/>
                  </a:lnTo>
                  <a:lnTo>
                    <a:pt x="6918" y="8081"/>
                  </a:lnTo>
                  <a:lnTo>
                    <a:pt x="6049" y="7787"/>
                  </a:lnTo>
                  <a:cubicBezTo>
                    <a:pt x="6037" y="7763"/>
                    <a:pt x="6037" y="7739"/>
                    <a:pt x="6013" y="7716"/>
                  </a:cubicBezTo>
                  <a:lnTo>
                    <a:pt x="5608" y="7311"/>
                  </a:lnTo>
                  <a:cubicBezTo>
                    <a:pt x="5537" y="7239"/>
                    <a:pt x="5442" y="7204"/>
                    <a:pt x="5358" y="7204"/>
                  </a:cubicBezTo>
                  <a:lnTo>
                    <a:pt x="5358" y="6608"/>
                  </a:lnTo>
                  <a:cubicBezTo>
                    <a:pt x="5727" y="6406"/>
                    <a:pt x="6037" y="6084"/>
                    <a:pt x="6251" y="5715"/>
                  </a:cubicBezTo>
                  <a:lnTo>
                    <a:pt x="6251" y="7299"/>
                  </a:lnTo>
                  <a:cubicBezTo>
                    <a:pt x="6251" y="7382"/>
                    <a:pt x="6323" y="7466"/>
                    <a:pt x="6406" y="7466"/>
                  </a:cubicBezTo>
                  <a:cubicBezTo>
                    <a:pt x="6501" y="7466"/>
                    <a:pt x="6573" y="7382"/>
                    <a:pt x="6573" y="7299"/>
                  </a:cubicBezTo>
                  <a:lnTo>
                    <a:pt x="6573" y="4144"/>
                  </a:lnTo>
                  <a:cubicBezTo>
                    <a:pt x="6573" y="3882"/>
                    <a:pt x="6394" y="3667"/>
                    <a:pt x="6144" y="3620"/>
                  </a:cubicBezTo>
                  <a:cubicBezTo>
                    <a:pt x="5858" y="3572"/>
                    <a:pt x="5108" y="3370"/>
                    <a:pt x="4418" y="2370"/>
                  </a:cubicBezTo>
                  <a:cubicBezTo>
                    <a:pt x="4358" y="2274"/>
                    <a:pt x="4251" y="2215"/>
                    <a:pt x="4132" y="2215"/>
                  </a:cubicBezTo>
                  <a:cubicBezTo>
                    <a:pt x="4025" y="2215"/>
                    <a:pt x="3918" y="2274"/>
                    <a:pt x="3846" y="2370"/>
                  </a:cubicBezTo>
                  <a:cubicBezTo>
                    <a:pt x="3739" y="2536"/>
                    <a:pt x="3608" y="2679"/>
                    <a:pt x="3477" y="2810"/>
                  </a:cubicBezTo>
                  <a:cubicBezTo>
                    <a:pt x="3418" y="2870"/>
                    <a:pt x="3418" y="2977"/>
                    <a:pt x="3489" y="3036"/>
                  </a:cubicBezTo>
                  <a:cubicBezTo>
                    <a:pt x="3517" y="3065"/>
                    <a:pt x="3557" y="3080"/>
                    <a:pt x="3596" y="3080"/>
                  </a:cubicBezTo>
                  <a:cubicBezTo>
                    <a:pt x="3640" y="3080"/>
                    <a:pt x="3684" y="3062"/>
                    <a:pt x="3715" y="3025"/>
                  </a:cubicBezTo>
                  <a:cubicBezTo>
                    <a:pt x="3858" y="2870"/>
                    <a:pt x="3977" y="2715"/>
                    <a:pt x="4120" y="2536"/>
                  </a:cubicBezTo>
                  <a:lnTo>
                    <a:pt x="4144" y="2536"/>
                  </a:lnTo>
                  <a:cubicBezTo>
                    <a:pt x="4299" y="2739"/>
                    <a:pt x="4537" y="3036"/>
                    <a:pt x="4846" y="3322"/>
                  </a:cubicBezTo>
                  <a:cubicBezTo>
                    <a:pt x="5227" y="3656"/>
                    <a:pt x="5644" y="3858"/>
                    <a:pt x="6085" y="3929"/>
                  </a:cubicBezTo>
                  <a:cubicBezTo>
                    <a:pt x="6168" y="3953"/>
                    <a:pt x="6227" y="4037"/>
                    <a:pt x="6227" y="4120"/>
                  </a:cubicBezTo>
                  <a:lnTo>
                    <a:pt x="6227" y="4501"/>
                  </a:lnTo>
                  <a:cubicBezTo>
                    <a:pt x="6227" y="5656"/>
                    <a:pt x="5287" y="6596"/>
                    <a:pt x="4132" y="6596"/>
                  </a:cubicBezTo>
                  <a:cubicBezTo>
                    <a:pt x="2965" y="6596"/>
                    <a:pt x="2036" y="5656"/>
                    <a:pt x="2036" y="4513"/>
                  </a:cubicBezTo>
                  <a:lnTo>
                    <a:pt x="2036" y="4144"/>
                  </a:lnTo>
                  <a:cubicBezTo>
                    <a:pt x="2036" y="4048"/>
                    <a:pt x="2096" y="3965"/>
                    <a:pt x="2179" y="3953"/>
                  </a:cubicBezTo>
                  <a:cubicBezTo>
                    <a:pt x="2525" y="3894"/>
                    <a:pt x="2846" y="3751"/>
                    <a:pt x="3179" y="3537"/>
                  </a:cubicBezTo>
                  <a:cubicBezTo>
                    <a:pt x="3251" y="3489"/>
                    <a:pt x="3263" y="3382"/>
                    <a:pt x="3227" y="3310"/>
                  </a:cubicBezTo>
                  <a:cubicBezTo>
                    <a:pt x="3196" y="3264"/>
                    <a:pt x="3141" y="3238"/>
                    <a:pt x="3086" y="3238"/>
                  </a:cubicBezTo>
                  <a:cubicBezTo>
                    <a:pt x="3056" y="3238"/>
                    <a:pt x="3026" y="3246"/>
                    <a:pt x="3001" y="3263"/>
                  </a:cubicBezTo>
                  <a:cubicBezTo>
                    <a:pt x="2715" y="3453"/>
                    <a:pt x="2429" y="3572"/>
                    <a:pt x="2132" y="3632"/>
                  </a:cubicBezTo>
                  <a:cubicBezTo>
                    <a:pt x="1894" y="3679"/>
                    <a:pt x="1703" y="3894"/>
                    <a:pt x="1703" y="4156"/>
                  </a:cubicBezTo>
                  <a:lnTo>
                    <a:pt x="1703" y="7311"/>
                  </a:lnTo>
                  <a:cubicBezTo>
                    <a:pt x="1703" y="7406"/>
                    <a:pt x="1774" y="7477"/>
                    <a:pt x="1870" y="7477"/>
                  </a:cubicBezTo>
                  <a:cubicBezTo>
                    <a:pt x="1953" y="7477"/>
                    <a:pt x="2036" y="7406"/>
                    <a:pt x="2036" y="7311"/>
                  </a:cubicBezTo>
                  <a:lnTo>
                    <a:pt x="2036" y="5739"/>
                  </a:lnTo>
                  <a:cubicBezTo>
                    <a:pt x="2239" y="6108"/>
                    <a:pt x="2548" y="6418"/>
                    <a:pt x="2929" y="6632"/>
                  </a:cubicBezTo>
                  <a:lnTo>
                    <a:pt x="2929" y="7227"/>
                  </a:lnTo>
                  <a:cubicBezTo>
                    <a:pt x="2834" y="7227"/>
                    <a:pt x="2751" y="7251"/>
                    <a:pt x="2667" y="7323"/>
                  </a:cubicBezTo>
                  <a:lnTo>
                    <a:pt x="2275" y="7728"/>
                  </a:lnTo>
                  <a:cubicBezTo>
                    <a:pt x="2251" y="7739"/>
                    <a:pt x="2239" y="7775"/>
                    <a:pt x="2227" y="7799"/>
                  </a:cubicBezTo>
                  <a:lnTo>
                    <a:pt x="1322" y="8120"/>
                  </a:lnTo>
                  <a:lnTo>
                    <a:pt x="1322" y="3144"/>
                  </a:lnTo>
                  <a:cubicBezTo>
                    <a:pt x="1322" y="1596"/>
                    <a:pt x="2572" y="346"/>
                    <a:pt x="4120" y="346"/>
                  </a:cubicBezTo>
                  <a:close/>
                  <a:moveTo>
                    <a:pt x="5037" y="6787"/>
                  </a:moveTo>
                  <a:lnTo>
                    <a:pt x="5037" y="7418"/>
                  </a:lnTo>
                  <a:lnTo>
                    <a:pt x="4168" y="8299"/>
                  </a:lnTo>
                  <a:lnTo>
                    <a:pt x="3287" y="7418"/>
                  </a:lnTo>
                  <a:lnTo>
                    <a:pt x="3287" y="6787"/>
                  </a:lnTo>
                  <a:cubicBezTo>
                    <a:pt x="3548" y="6894"/>
                    <a:pt x="3846" y="6954"/>
                    <a:pt x="4168" y="6954"/>
                  </a:cubicBezTo>
                  <a:cubicBezTo>
                    <a:pt x="4477" y="6954"/>
                    <a:pt x="4775" y="6894"/>
                    <a:pt x="5037" y="6787"/>
                  </a:cubicBezTo>
                  <a:close/>
                  <a:moveTo>
                    <a:pt x="2953" y="7549"/>
                  </a:moveTo>
                  <a:lnTo>
                    <a:pt x="3929" y="8513"/>
                  </a:lnTo>
                  <a:lnTo>
                    <a:pt x="3191" y="9132"/>
                  </a:lnTo>
                  <a:lnTo>
                    <a:pt x="3167" y="9132"/>
                  </a:lnTo>
                  <a:lnTo>
                    <a:pt x="2620" y="7882"/>
                  </a:lnTo>
                  <a:lnTo>
                    <a:pt x="2941" y="7549"/>
                  </a:lnTo>
                  <a:close/>
                  <a:moveTo>
                    <a:pt x="5346" y="7561"/>
                  </a:moveTo>
                  <a:lnTo>
                    <a:pt x="5680" y="7894"/>
                  </a:lnTo>
                  <a:lnTo>
                    <a:pt x="5644" y="7966"/>
                  </a:lnTo>
                  <a:cubicBezTo>
                    <a:pt x="5620" y="8061"/>
                    <a:pt x="5644" y="8144"/>
                    <a:pt x="5739" y="8168"/>
                  </a:cubicBezTo>
                  <a:cubicBezTo>
                    <a:pt x="5759" y="8178"/>
                    <a:pt x="5782" y="8183"/>
                    <a:pt x="5804" y="8183"/>
                  </a:cubicBezTo>
                  <a:cubicBezTo>
                    <a:pt x="5860" y="8183"/>
                    <a:pt x="5916" y="8155"/>
                    <a:pt x="5942" y="8120"/>
                  </a:cubicBezTo>
                  <a:lnTo>
                    <a:pt x="6180" y="8192"/>
                  </a:lnTo>
                  <a:lnTo>
                    <a:pt x="6168" y="8359"/>
                  </a:lnTo>
                  <a:cubicBezTo>
                    <a:pt x="6037" y="9347"/>
                    <a:pt x="5180" y="10109"/>
                    <a:pt x="4168" y="10109"/>
                  </a:cubicBezTo>
                  <a:cubicBezTo>
                    <a:pt x="3156" y="10109"/>
                    <a:pt x="2286" y="9347"/>
                    <a:pt x="2155" y="8359"/>
                  </a:cubicBezTo>
                  <a:lnTo>
                    <a:pt x="2120" y="8168"/>
                  </a:lnTo>
                  <a:lnTo>
                    <a:pt x="2346" y="8097"/>
                  </a:lnTo>
                  <a:lnTo>
                    <a:pt x="2870" y="9263"/>
                  </a:lnTo>
                  <a:cubicBezTo>
                    <a:pt x="2917" y="9359"/>
                    <a:pt x="3001" y="9418"/>
                    <a:pt x="3108" y="9454"/>
                  </a:cubicBezTo>
                  <a:cubicBezTo>
                    <a:pt x="3132" y="9454"/>
                    <a:pt x="3156" y="9466"/>
                    <a:pt x="3179" y="9466"/>
                  </a:cubicBezTo>
                  <a:cubicBezTo>
                    <a:pt x="3251" y="9466"/>
                    <a:pt x="3334" y="9442"/>
                    <a:pt x="3394" y="9394"/>
                  </a:cubicBezTo>
                  <a:lnTo>
                    <a:pt x="4144" y="8751"/>
                  </a:lnTo>
                  <a:lnTo>
                    <a:pt x="4906" y="9394"/>
                  </a:lnTo>
                  <a:cubicBezTo>
                    <a:pt x="4965" y="9442"/>
                    <a:pt x="5037" y="9466"/>
                    <a:pt x="5120" y="9466"/>
                  </a:cubicBezTo>
                  <a:cubicBezTo>
                    <a:pt x="5144" y="9466"/>
                    <a:pt x="5156" y="9466"/>
                    <a:pt x="5192" y="9454"/>
                  </a:cubicBezTo>
                  <a:cubicBezTo>
                    <a:pt x="5299" y="9418"/>
                    <a:pt x="5382" y="9359"/>
                    <a:pt x="5430" y="9263"/>
                  </a:cubicBezTo>
                  <a:lnTo>
                    <a:pt x="5680" y="8704"/>
                  </a:lnTo>
                  <a:cubicBezTo>
                    <a:pt x="5715" y="8620"/>
                    <a:pt x="5680" y="8525"/>
                    <a:pt x="5596" y="8501"/>
                  </a:cubicBezTo>
                  <a:cubicBezTo>
                    <a:pt x="5571" y="8492"/>
                    <a:pt x="5547" y="8488"/>
                    <a:pt x="5525" y="8488"/>
                  </a:cubicBezTo>
                  <a:cubicBezTo>
                    <a:pt x="5461" y="8488"/>
                    <a:pt x="5408" y="8523"/>
                    <a:pt x="5382" y="8585"/>
                  </a:cubicBezTo>
                  <a:lnTo>
                    <a:pt x="5132" y="9144"/>
                  </a:lnTo>
                  <a:lnTo>
                    <a:pt x="5096" y="9144"/>
                  </a:lnTo>
                  <a:lnTo>
                    <a:pt x="4370" y="8525"/>
                  </a:lnTo>
                  <a:lnTo>
                    <a:pt x="5334" y="7561"/>
                  </a:lnTo>
                  <a:close/>
                  <a:moveTo>
                    <a:pt x="4168" y="0"/>
                  </a:moveTo>
                  <a:cubicBezTo>
                    <a:pt x="2441" y="0"/>
                    <a:pt x="1036" y="1405"/>
                    <a:pt x="1036" y="3132"/>
                  </a:cubicBezTo>
                  <a:lnTo>
                    <a:pt x="1036" y="8216"/>
                  </a:lnTo>
                  <a:lnTo>
                    <a:pt x="798" y="8311"/>
                  </a:lnTo>
                  <a:cubicBezTo>
                    <a:pt x="322" y="8478"/>
                    <a:pt x="0" y="8930"/>
                    <a:pt x="0" y="9454"/>
                  </a:cubicBezTo>
                  <a:lnTo>
                    <a:pt x="0" y="10978"/>
                  </a:lnTo>
                  <a:cubicBezTo>
                    <a:pt x="0" y="11061"/>
                    <a:pt x="72" y="11133"/>
                    <a:pt x="155" y="11133"/>
                  </a:cubicBezTo>
                  <a:cubicBezTo>
                    <a:pt x="250" y="11133"/>
                    <a:pt x="322" y="11061"/>
                    <a:pt x="322" y="10978"/>
                  </a:cubicBezTo>
                  <a:lnTo>
                    <a:pt x="322" y="9454"/>
                  </a:lnTo>
                  <a:cubicBezTo>
                    <a:pt x="322" y="9347"/>
                    <a:pt x="334" y="9252"/>
                    <a:pt x="381" y="9144"/>
                  </a:cubicBezTo>
                  <a:lnTo>
                    <a:pt x="1203" y="9847"/>
                  </a:lnTo>
                  <a:cubicBezTo>
                    <a:pt x="1322" y="9942"/>
                    <a:pt x="1393" y="10097"/>
                    <a:pt x="1393" y="10240"/>
                  </a:cubicBezTo>
                  <a:lnTo>
                    <a:pt x="1393" y="10978"/>
                  </a:lnTo>
                  <a:cubicBezTo>
                    <a:pt x="1393" y="11061"/>
                    <a:pt x="1465" y="11133"/>
                    <a:pt x="1560" y="11133"/>
                  </a:cubicBezTo>
                  <a:cubicBezTo>
                    <a:pt x="1643" y="11133"/>
                    <a:pt x="1715" y="11061"/>
                    <a:pt x="1715" y="10978"/>
                  </a:cubicBezTo>
                  <a:lnTo>
                    <a:pt x="1715" y="10240"/>
                  </a:lnTo>
                  <a:cubicBezTo>
                    <a:pt x="1715" y="9990"/>
                    <a:pt x="1620" y="9752"/>
                    <a:pt x="1417" y="9585"/>
                  </a:cubicBezTo>
                  <a:lnTo>
                    <a:pt x="560" y="8847"/>
                  </a:lnTo>
                  <a:cubicBezTo>
                    <a:pt x="643" y="8740"/>
                    <a:pt x="786" y="8656"/>
                    <a:pt x="917" y="8609"/>
                  </a:cubicBezTo>
                  <a:lnTo>
                    <a:pt x="1822" y="8275"/>
                  </a:lnTo>
                  <a:lnTo>
                    <a:pt x="1834" y="8382"/>
                  </a:lnTo>
                  <a:cubicBezTo>
                    <a:pt x="1917" y="8954"/>
                    <a:pt x="2191" y="9466"/>
                    <a:pt x="2632" y="9847"/>
                  </a:cubicBezTo>
                  <a:cubicBezTo>
                    <a:pt x="3060" y="10216"/>
                    <a:pt x="3608" y="10418"/>
                    <a:pt x="4180" y="10418"/>
                  </a:cubicBezTo>
                  <a:cubicBezTo>
                    <a:pt x="4739" y="10418"/>
                    <a:pt x="5287" y="10216"/>
                    <a:pt x="5727" y="9847"/>
                  </a:cubicBezTo>
                  <a:cubicBezTo>
                    <a:pt x="6156" y="9466"/>
                    <a:pt x="6430" y="8954"/>
                    <a:pt x="6513" y="8382"/>
                  </a:cubicBezTo>
                  <a:lnTo>
                    <a:pt x="6525" y="8275"/>
                  </a:lnTo>
                  <a:lnTo>
                    <a:pt x="7430" y="8609"/>
                  </a:lnTo>
                  <a:cubicBezTo>
                    <a:pt x="7573" y="8656"/>
                    <a:pt x="7704" y="8740"/>
                    <a:pt x="7787" y="8847"/>
                  </a:cubicBezTo>
                  <a:lnTo>
                    <a:pt x="6930" y="9585"/>
                  </a:lnTo>
                  <a:cubicBezTo>
                    <a:pt x="6739" y="9752"/>
                    <a:pt x="6632" y="9990"/>
                    <a:pt x="6632" y="10240"/>
                  </a:cubicBezTo>
                  <a:lnTo>
                    <a:pt x="6632" y="10978"/>
                  </a:lnTo>
                  <a:cubicBezTo>
                    <a:pt x="6632" y="11061"/>
                    <a:pt x="6704" y="11133"/>
                    <a:pt x="6799" y="11133"/>
                  </a:cubicBezTo>
                  <a:cubicBezTo>
                    <a:pt x="6882" y="11133"/>
                    <a:pt x="6954" y="11061"/>
                    <a:pt x="6954" y="10978"/>
                  </a:cubicBezTo>
                  <a:lnTo>
                    <a:pt x="6954" y="10240"/>
                  </a:lnTo>
                  <a:cubicBezTo>
                    <a:pt x="6954" y="10097"/>
                    <a:pt x="7037" y="9942"/>
                    <a:pt x="7156" y="9847"/>
                  </a:cubicBezTo>
                  <a:lnTo>
                    <a:pt x="7966" y="9144"/>
                  </a:lnTo>
                  <a:cubicBezTo>
                    <a:pt x="8001" y="9252"/>
                    <a:pt x="8025" y="9347"/>
                    <a:pt x="8025" y="9454"/>
                  </a:cubicBezTo>
                  <a:lnTo>
                    <a:pt x="8025" y="10978"/>
                  </a:lnTo>
                  <a:cubicBezTo>
                    <a:pt x="8025" y="11061"/>
                    <a:pt x="8109" y="11133"/>
                    <a:pt x="8192" y="11133"/>
                  </a:cubicBezTo>
                  <a:cubicBezTo>
                    <a:pt x="8287" y="11133"/>
                    <a:pt x="8359" y="11061"/>
                    <a:pt x="8359" y="10978"/>
                  </a:cubicBezTo>
                  <a:lnTo>
                    <a:pt x="8359" y="9454"/>
                  </a:lnTo>
                  <a:cubicBezTo>
                    <a:pt x="8335" y="8930"/>
                    <a:pt x="8001" y="8478"/>
                    <a:pt x="7525" y="8311"/>
                  </a:cubicBezTo>
                  <a:lnTo>
                    <a:pt x="7287" y="8216"/>
                  </a:lnTo>
                  <a:lnTo>
                    <a:pt x="7287" y="3132"/>
                  </a:lnTo>
                  <a:cubicBezTo>
                    <a:pt x="7287" y="1405"/>
                    <a:pt x="5894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39" name="Google Shape;11639;p61"/>
          <p:cNvGrpSpPr/>
          <p:nvPr/>
        </p:nvGrpSpPr>
        <p:grpSpPr>
          <a:xfrm>
            <a:off x="6252228" y="3346936"/>
            <a:ext cx="265193" cy="352693"/>
            <a:chOff x="6252228" y="3346936"/>
            <a:chExt cx="265193" cy="352693"/>
          </a:xfrm>
        </p:grpSpPr>
        <p:sp>
          <p:nvSpPr>
            <p:cNvPr id="11640" name="Google Shape;11640;p61"/>
            <p:cNvSpPr/>
            <p:nvPr/>
          </p:nvSpPr>
          <p:spPr>
            <a:xfrm>
              <a:off x="6252228" y="3346936"/>
              <a:ext cx="265193" cy="352693"/>
            </a:xfrm>
            <a:custGeom>
              <a:avLst/>
              <a:gdLst/>
              <a:ahLst/>
              <a:cxnLst/>
              <a:rect l="l" t="t" r="r" b="b"/>
              <a:pathLst>
                <a:path w="8371" h="11133" extrusionOk="0">
                  <a:moveTo>
                    <a:pt x="4156" y="2941"/>
                  </a:moveTo>
                  <a:cubicBezTo>
                    <a:pt x="4370" y="2941"/>
                    <a:pt x="4585" y="2953"/>
                    <a:pt x="4787" y="2965"/>
                  </a:cubicBezTo>
                  <a:cubicBezTo>
                    <a:pt x="3811" y="3560"/>
                    <a:pt x="2537" y="3775"/>
                    <a:pt x="2060" y="3810"/>
                  </a:cubicBezTo>
                  <a:lnTo>
                    <a:pt x="2060" y="3656"/>
                  </a:lnTo>
                  <a:cubicBezTo>
                    <a:pt x="2060" y="3358"/>
                    <a:pt x="2858" y="2941"/>
                    <a:pt x="4156" y="2941"/>
                  </a:cubicBezTo>
                  <a:close/>
                  <a:moveTo>
                    <a:pt x="4168" y="2239"/>
                  </a:moveTo>
                  <a:cubicBezTo>
                    <a:pt x="5466" y="2239"/>
                    <a:pt x="6275" y="2655"/>
                    <a:pt x="6275" y="2953"/>
                  </a:cubicBezTo>
                  <a:lnTo>
                    <a:pt x="6275" y="3108"/>
                  </a:lnTo>
                  <a:cubicBezTo>
                    <a:pt x="6242" y="3089"/>
                    <a:pt x="6207" y="3079"/>
                    <a:pt x="6173" y="3079"/>
                  </a:cubicBezTo>
                  <a:cubicBezTo>
                    <a:pt x="6123" y="3079"/>
                    <a:pt x="6078" y="3101"/>
                    <a:pt x="6049" y="3144"/>
                  </a:cubicBezTo>
                  <a:cubicBezTo>
                    <a:pt x="5989" y="3215"/>
                    <a:pt x="6001" y="3322"/>
                    <a:pt x="6073" y="3382"/>
                  </a:cubicBezTo>
                  <a:cubicBezTo>
                    <a:pt x="6168" y="3441"/>
                    <a:pt x="6275" y="3548"/>
                    <a:pt x="6275" y="3656"/>
                  </a:cubicBezTo>
                  <a:lnTo>
                    <a:pt x="6275" y="4358"/>
                  </a:lnTo>
                  <a:lnTo>
                    <a:pt x="4513" y="4358"/>
                  </a:lnTo>
                  <a:cubicBezTo>
                    <a:pt x="4430" y="4358"/>
                    <a:pt x="4346" y="4441"/>
                    <a:pt x="4346" y="4525"/>
                  </a:cubicBezTo>
                  <a:lnTo>
                    <a:pt x="4346" y="4549"/>
                  </a:lnTo>
                  <a:lnTo>
                    <a:pt x="3977" y="4549"/>
                  </a:lnTo>
                  <a:lnTo>
                    <a:pt x="3977" y="4525"/>
                  </a:lnTo>
                  <a:cubicBezTo>
                    <a:pt x="3977" y="4441"/>
                    <a:pt x="3906" y="4358"/>
                    <a:pt x="3811" y="4358"/>
                  </a:cubicBezTo>
                  <a:lnTo>
                    <a:pt x="2060" y="4358"/>
                  </a:lnTo>
                  <a:lnTo>
                    <a:pt x="2060" y="4156"/>
                  </a:lnTo>
                  <a:cubicBezTo>
                    <a:pt x="2560" y="4096"/>
                    <a:pt x="4168" y="3870"/>
                    <a:pt x="5263" y="3072"/>
                  </a:cubicBezTo>
                  <a:cubicBezTo>
                    <a:pt x="5347" y="3084"/>
                    <a:pt x="5442" y="3108"/>
                    <a:pt x="5513" y="3132"/>
                  </a:cubicBezTo>
                  <a:cubicBezTo>
                    <a:pt x="5526" y="3135"/>
                    <a:pt x="5539" y="3137"/>
                    <a:pt x="5552" y="3137"/>
                  </a:cubicBezTo>
                  <a:cubicBezTo>
                    <a:pt x="5624" y="3137"/>
                    <a:pt x="5695" y="3085"/>
                    <a:pt x="5716" y="3025"/>
                  </a:cubicBezTo>
                  <a:cubicBezTo>
                    <a:pt x="5751" y="2929"/>
                    <a:pt x="5692" y="2846"/>
                    <a:pt x="5620" y="2810"/>
                  </a:cubicBezTo>
                  <a:cubicBezTo>
                    <a:pt x="5204" y="2703"/>
                    <a:pt x="4704" y="2620"/>
                    <a:pt x="4168" y="2620"/>
                  </a:cubicBezTo>
                  <a:cubicBezTo>
                    <a:pt x="3370" y="2620"/>
                    <a:pt x="2525" y="2798"/>
                    <a:pt x="2072" y="3108"/>
                  </a:cubicBezTo>
                  <a:lnTo>
                    <a:pt x="2072" y="2953"/>
                  </a:lnTo>
                  <a:cubicBezTo>
                    <a:pt x="2072" y="2655"/>
                    <a:pt x="2882" y="2239"/>
                    <a:pt x="4168" y="2239"/>
                  </a:cubicBezTo>
                  <a:close/>
                  <a:moveTo>
                    <a:pt x="3668" y="4680"/>
                  </a:moveTo>
                  <a:lnTo>
                    <a:pt x="3668" y="4858"/>
                  </a:lnTo>
                  <a:cubicBezTo>
                    <a:pt x="3668" y="5156"/>
                    <a:pt x="3430" y="5394"/>
                    <a:pt x="3132" y="5394"/>
                  </a:cubicBezTo>
                  <a:cubicBezTo>
                    <a:pt x="2834" y="5394"/>
                    <a:pt x="2596" y="5156"/>
                    <a:pt x="2596" y="4858"/>
                  </a:cubicBezTo>
                  <a:lnTo>
                    <a:pt x="2596" y="4680"/>
                  </a:lnTo>
                  <a:lnTo>
                    <a:pt x="2965" y="4680"/>
                  </a:lnTo>
                  <a:lnTo>
                    <a:pt x="2965" y="4870"/>
                  </a:lnTo>
                  <a:cubicBezTo>
                    <a:pt x="2965" y="4965"/>
                    <a:pt x="3037" y="5037"/>
                    <a:pt x="3132" y="5037"/>
                  </a:cubicBezTo>
                  <a:cubicBezTo>
                    <a:pt x="3215" y="5037"/>
                    <a:pt x="3299" y="4965"/>
                    <a:pt x="3299" y="4870"/>
                  </a:cubicBezTo>
                  <a:lnTo>
                    <a:pt x="3299" y="4680"/>
                  </a:lnTo>
                  <a:close/>
                  <a:moveTo>
                    <a:pt x="5751" y="4680"/>
                  </a:moveTo>
                  <a:lnTo>
                    <a:pt x="5751" y="4858"/>
                  </a:lnTo>
                  <a:cubicBezTo>
                    <a:pt x="5751" y="5156"/>
                    <a:pt x="5513" y="5394"/>
                    <a:pt x="5216" y="5394"/>
                  </a:cubicBezTo>
                  <a:cubicBezTo>
                    <a:pt x="4918" y="5394"/>
                    <a:pt x="4680" y="5156"/>
                    <a:pt x="4680" y="4858"/>
                  </a:cubicBezTo>
                  <a:lnTo>
                    <a:pt x="4680" y="4680"/>
                  </a:lnTo>
                  <a:lnTo>
                    <a:pt x="5049" y="4680"/>
                  </a:lnTo>
                  <a:lnTo>
                    <a:pt x="5049" y="4870"/>
                  </a:lnTo>
                  <a:cubicBezTo>
                    <a:pt x="5049" y="4965"/>
                    <a:pt x="5120" y="5037"/>
                    <a:pt x="5216" y="5037"/>
                  </a:cubicBezTo>
                  <a:cubicBezTo>
                    <a:pt x="5299" y="5037"/>
                    <a:pt x="5382" y="4965"/>
                    <a:pt x="5382" y="4870"/>
                  </a:cubicBezTo>
                  <a:lnTo>
                    <a:pt x="5382" y="4680"/>
                  </a:lnTo>
                  <a:close/>
                  <a:moveTo>
                    <a:pt x="4168" y="334"/>
                  </a:moveTo>
                  <a:cubicBezTo>
                    <a:pt x="4299" y="334"/>
                    <a:pt x="4442" y="441"/>
                    <a:pt x="4585" y="536"/>
                  </a:cubicBezTo>
                  <a:cubicBezTo>
                    <a:pt x="4716" y="643"/>
                    <a:pt x="4870" y="750"/>
                    <a:pt x="5013" y="798"/>
                  </a:cubicBezTo>
                  <a:cubicBezTo>
                    <a:pt x="5088" y="814"/>
                    <a:pt x="5166" y="821"/>
                    <a:pt x="5245" y="821"/>
                  </a:cubicBezTo>
                  <a:cubicBezTo>
                    <a:pt x="5341" y="821"/>
                    <a:pt x="5439" y="811"/>
                    <a:pt x="5537" y="798"/>
                  </a:cubicBezTo>
                  <a:cubicBezTo>
                    <a:pt x="5626" y="786"/>
                    <a:pt x="5716" y="774"/>
                    <a:pt x="5796" y="774"/>
                  </a:cubicBezTo>
                  <a:cubicBezTo>
                    <a:pt x="5876" y="774"/>
                    <a:pt x="5948" y="786"/>
                    <a:pt x="6001" y="822"/>
                  </a:cubicBezTo>
                  <a:cubicBezTo>
                    <a:pt x="6109" y="881"/>
                    <a:pt x="6180" y="1048"/>
                    <a:pt x="6251" y="1215"/>
                  </a:cubicBezTo>
                  <a:cubicBezTo>
                    <a:pt x="6323" y="1370"/>
                    <a:pt x="6394" y="1536"/>
                    <a:pt x="6525" y="1655"/>
                  </a:cubicBezTo>
                  <a:cubicBezTo>
                    <a:pt x="6644" y="1774"/>
                    <a:pt x="6799" y="1846"/>
                    <a:pt x="6966" y="1929"/>
                  </a:cubicBezTo>
                  <a:cubicBezTo>
                    <a:pt x="7132" y="2001"/>
                    <a:pt x="7299" y="2072"/>
                    <a:pt x="7359" y="2179"/>
                  </a:cubicBezTo>
                  <a:cubicBezTo>
                    <a:pt x="7418" y="2286"/>
                    <a:pt x="7394" y="2465"/>
                    <a:pt x="7383" y="2644"/>
                  </a:cubicBezTo>
                  <a:cubicBezTo>
                    <a:pt x="7371" y="2822"/>
                    <a:pt x="7335" y="3001"/>
                    <a:pt x="7383" y="3156"/>
                  </a:cubicBezTo>
                  <a:cubicBezTo>
                    <a:pt x="7430" y="3322"/>
                    <a:pt x="7537" y="3453"/>
                    <a:pt x="7633" y="3596"/>
                  </a:cubicBezTo>
                  <a:cubicBezTo>
                    <a:pt x="7740" y="3739"/>
                    <a:pt x="7847" y="3870"/>
                    <a:pt x="7847" y="4013"/>
                  </a:cubicBezTo>
                  <a:cubicBezTo>
                    <a:pt x="7847" y="4144"/>
                    <a:pt x="7740" y="4275"/>
                    <a:pt x="7633" y="4429"/>
                  </a:cubicBezTo>
                  <a:cubicBezTo>
                    <a:pt x="7537" y="4560"/>
                    <a:pt x="7430" y="4703"/>
                    <a:pt x="7383" y="4858"/>
                  </a:cubicBezTo>
                  <a:cubicBezTo>
                    <a:pt x="7335" y="5025"/>
                    <a:pt x="7359" y="5191"/>
                    <a:pt x="7383" y="5382"/>
                  </a:cubicBezTo>
                  <a:cubicBezTo>
                    <a:pt x="7394" y="5561"/>
                    <a:pt x="7430" y="5739"/>
                    <a:pt x="7359" y="5834"/>
                  </a:cubicBezTo>
                  <a:cubicBezTo>
                    <a:pt x="7335" y="5870"/>
                    <a:pt x="7323" y="5882"/>
                    <a:pt x="7299" y="5894"/>
                  </a:cubicBezTo>
                  <a:cubicBezTo>
                    <a:pt x="7299" y="5680"/>
                    <a:pt x="7192" y="5525"/>
                    <a:pt x="7085" y="5406"/>
                  </a:cubicBezTo>
                  <a:cubicBezTo>
                    <a:pt x="7216" y="5299"/>
                    <a:pt x="7299" y="5144"/>
                    <a:pt x="7299" y="4941"/>
                  </a:cubicBezTo>
                  <a:cubicBezTo>
                    <a:pt x="7299" y="4620"/>
                    <a:pt x="7025" y="4346"/>
                    <a:pt x="6704" y="4346"/>
                  </a:cubicBezTo>
                  <a:lnTo>
                    <a:pt x="6597" y="4346"/>
                  </a:lnTo>
                  <a:lnTo>
                    <a:pt x="6597" y="2953"/>
                  </a:lnTo>
                  <a:cubicBezTo>
                    <a:pt x="6597" y="2286"/>
                    <a:pt x="5347" y="1929"/>
                    <a:pt x="4168" y="1929"/>
                  </a:cubicBezTo>
                  <a:cubicBezTo>
                    <a:pt x="2989" y="1929"/>
                    <a:pt x="1739" y="2286"/>
                    <a:pt x="1739" y="2953"/>
                  </a:cubicBezTo>
                  <a:lnTo>
                    <a:pt x="1739" y="4346"/>
                  </a:lnTo>
                  <a:lnTo>
                    <a:pt x="1644" y="4346"/>
                  </a:lnTo>
                  <a:cubicBezTo>
                    <a:pt x="1310" y="4346"/>
                    <a:pt x="1048" y="4620"/>
                    <a:pt x="1048" y="4941"/>
                  </a:cubicBezTo>
                  <a:cubicBezTo>
                    <a:pt x="1048" y="5120"/>
                    <a:pt x="1132" y="5287"/>
                    <a:pt x="1251" y="5406"/>
                  </a:cubicBezTo>
                  <a:cubicBezTo>
                    <a:pt x="1156" y="5525"/>
                    <a:pt x="1048" y="5692"/>
                    <a:pt x="1048" y="5894"/>
                  </a:cubicBezTo>
                  <a:lnTo>
                    <a:pt x="989" y="5834"/>
                  </a:lnTo>
                  <a:cubicBezTo>
                    <a:pt x="929" y="5739"/>
                    <a:pt x="941" y="5561"/>
                    <a:pt x="953" y="5382"/>
                  </a:cubicBezTo>
                  <a:cubicBezTo>
                    <a:pt x="965" y="5191"/>
                    <a:pt x="1001" y="5025"/>
                    <a:pt x="953" y="4858"/>
                  </a:cubicBezTo>
                  <a:cubicBezTo>
                    <a:pt x="917" y="4691"/>
                    <a:pt x="810" y="4560"/>
                    <a:pt x="703" y="4429"/>
                  </a:cubicBezTo>
                  <a:cubicBezTo>
                    <a:pt x="596" y="4275"/>
                    <a:pt x="489" y="4144"/>
                    <a:pt x="489" y="4013"/>
                  </a:cubicBezTo>
                  <a:cubicBezTo>
                    <a:pt x="489" y="3870"/>
                    <a:pt x="596" y="3739"/>
                    <a:pt x="703" y="3596"/>
                  </a:cubicBezTo>
                  <a:cubicBezTo>
                    <a:pt x="810" y="3453"/>
                    <a:pt x="917" y="3310"/>
                    <a:pt x="953" y="3156"/>
                  </a:cubicBezTo>
                  <a:cubicBezTo>
                    <a:pt x="1001" y="3001"/>
                    <a:pt x="989" y="2822"/>
                    <a:pt x="953" y="2644"/>
                  </a:cubicBezTo>
                  <a:cubicBezTo>
                    <a:pt x="941" y="2465"/>
                    <a:pt x="917" y="2286"/>
                    <a:pt x="989" y="2179"/>
                  </a:cubicBezTo>
                  <a:cubicBezTo>
                    <a:pt x="1048" y="2072"/>
                    <a:pt x="1215" y="2001"/>
                    <a:pt x="1370" y="1929"/>
                  </a:cubicBezTo>
                  <a:cubicBezTo>
                    <a:pt x="1537" y="1846"/>
                    <a:pt x="1703" y="1786"/>
                    <a:pt x="1822" y="1655"/>
                  </a:cubicBezTo>
                  <a:cubicBezTo>
                    <a:pt x="1941" y="1536"/>
                    <a:pt x="2013" y="1370"/>
                    <a:pt x="2084" y="1215"/>
                  </a:cubicBezTo>
                  <a:cubicBezTo>
                    <a:pt x="2156" y="1048"/>
                    <a:pt x="2239" y="881"/>
                    <a:pt x="2334" y="822"/>
                  </a:cubicBezTo>
                  <a:cubicBezTo>
                    <a:pt x="2392" y="790"/>
                    <a:pt x="2470" y="779"/>
                    <a:pt x="2557" y="779"/>
                  </a:cubicBezTo>
                  <a:cubicBezTo>
                    <a:pt x="2633" y="779"/>
                    <a:pt x="2716" y="787"/>
                    <a:pt x="2799" y="798"/>
                  </a:cubicBezTo>
                  <a:cubicBezTo>
                    <a:pt x="2907" y="805"/>
                    <a:pt x="3016" y="817"/>
                    <a:pt x="3121" y="817"/>
                  </a:cubicBezTo>
                  <a:cubicBezTo>
                    <a:pt x="3190" y="817"/>
                    <a:pt x="3257" y="812"/>
                    <a:pt x="3322" y="798"/>
                  </a:cubicBezTo>
                  <a:cubicBezTo>
                    <a:pt x="3489" y="750"/>
                    <a:pt x="3620" y="643"/>
                    <a:pt x="3751" y="536"/>
                  </a:cubicBezTo>
                  <a:cubicBezTo>
                    <a:pt x="3906" y="429"/>
                    <a:pt x="4037" y="334"/>
                    <a:pt x="4168" y="334"/>
                  </a:cubicBezTo>
                  <a:close/>
                  <a:moveTo>
                    <a:pt x="1548" y="5596"/>
                  </a:moveTo>
                  <a:cubicBezTo>
                    <a:pt x="1632" y="5656"/>
                    <a:pt x="1727" y="5775"/>
                    <a:pt x="1727" y="5930"/>
                  </a:cubicBezTo>
                  <a:cubicBezTo>
                    <a:pt x="1727" y="6013"/>
                    <a:pt x="1656" y="6108"/>
                    <a:pt x="1548" y="6108"/>
                  </a:cubicBezTo>
                  <a:cubicBezTo>
                    <a:pt x="1453" y="6108"/>
                    <a:pt x="1370" y="6013"/>
                    <a:pt x="1370" y="5930"/>
                  </a:cubicBezTo>
                  <a:cubicBezTo>
                    <a:pt x="1370" y="5763"/>
                    <a:pt x="1477" y="5656"/>
                    <a:pt x="1548" y="5596"/>
                  </a:cubicBezTo>
                  <a:close/>
                  <a:moveTo>
                    <a:pt x="6775" y="5596"/>
                  </a:moveTo>
                  <a:cubicBezTo>
                    <a:pt x="6847" y="5656"/>
                    <a:pt x="6954" y="5775"/>
                    <a:pt x="6954" y="5930"/>
                  </a:cubicBezTo>
                  <a:cubicBezTo>
                    <a:pt x="6966" y="6013"/>
                    <a:pt x="6882" y="6108"/>
                    <a:pt x="6775" y="6108"/>
                  </a:cubicBezTo>
                  <a:cubicBezTo>
                    <a:pt x="6668" y="6108"/>
                    <a:pt x="6597" y="6013"/>
                    <a:pt x="6597" y="5930"/>
                  </a:cubicBezTo>
                  <a:cubicBezTo>
                    <a:pt x="6597" y="5763"/>
                    <a:pt x="6704" y="5656"/>
                    <a:pt x="6775" y="5596"/>
                  </a:cubicBezTo>
                  <a:close/>
                  <a:moveTo>
                    <a:pt x="6394" y="6227"/>
                  </a:moveTo>
                  <a:cubicBezTo>
                    <a:pt x="6430" y="6275"/>
                    <a:pt x="6478" y="6311"/>
                    <a:pt x="6525" y="6346"/>
                  </a:cubicBezTo>
                  <a:cubicBezTo>
                    <a:pt x="6394" y="6477"/>
                    <a:pt x="6311" y="6632"/>
                    <a:pt x="6251" y="6787"/>
                  </a:cubicBezTo>
                  <a:cubicBezTo>
                    <a:pt x="6180" y="6954"/>
                    <a:pt x="6109" y="7120"/>
                    <a:pt x="6001" y="7180"/>
                  </a:cubicBezTo>
                  <a:cubicBezTo>
                    <a:pt x="5944" y="7212"/>
                    <a:pt x="5873" y="7223"/>
                    <a:pt x="5793" y="7223"/>
                  </a:cubicBezTo>
                  <a:cubicBezTo>
                    <a:pt x="5725" y="7223"/>
                    <a:pt x="5650" y="7215"/>
                    <a:pt x="5573" y="7204"/>
                  </a:cubicBezTo>
                  <a:cubicBezTo>
                    <a:pt x="5906" y="6954"/>
                    <a:pt x="6192" y="6632"/>
                    <a:pt x="6394" y="6227"/>
                  </a:cubicBezTo>
                  <a:close/>
                  <a:moveTo>
                    <a:pt x="1953" y="6239"/>
                  </a:moveTo>
                  <a:cubicBezTo>
                    <a:pt x="2132" y="6632"/>
                    <a:pt x="2418" y="6966"/>
                    <a:pt x="2775" y="7227"/>
                  </a:cubicBezTo>
                  <a:cubicBezTo>
                    <a:pt x="2724" y="7227"/>
                    <a:pt x="2674" y="7228"/>
                    <a:pt x="2626" y="7228"/>
                  </a:cubicBezTo>
                  <a:cubicBezTo>
                    <a:pt x="2506" y="7228"/>
                    <a:pt x="2399" y="7222"/>
                    <a:pt x="2322" y="7180"/>
                  </a:cubicBezTo>
                  <a:cubicBezTo>
                    <a:pt x="2227" y="7120"/>
                    <a:pt x="2144" y="6954"/>
                    <a:pt x="2072" y="6787"/>
                  </a:cubicBezTo>
                  <a:cubicBezTo>
                    <a:pt x="2001" y="6644"/>
                    <a:pt x="1941" y="6477"/>
                    <a:pt x="1822" y="6358"/>
                  </a:cubicBezTo>
                  <a:cubicBezTo>
                    <a:pt x="1882" y="6334"/>
                    <a:pt x="1929" y="6287"/>
                    <a:pt x="1953" y="6239"/>
                  </a:cubicBezTo>
                  <a:close/>
                  <a:moveTo>
                    <a:pt x="6704" y="4691"/>
                  </a:moveTo>
                  <a:cubicBezTo>
                    <a:pt x="6847" y="4691"/>
                    <a:pt x="6966" y="4810"/>
                    <a:pt x="6966" y="4965"/>
                  </a:cubicBezTo>
                  <a:cubicBezTo>
                    <a:pt x="6966" y="5108"/>
                    <a:pt x="6847" y="5227"/>
                    <a:pt x="6704" y="5227"/>
                  </a:cubicBezTo>
                  <a:lnTo>
                    <a:pt x="6597" y="5227"/>
                  </a:lnTo>
                  <a:lnTo>
                    <a:pt x="6597" y="5215"/>
                  </a:lnTo>
                  <a:cubicBezTo>
                    <a:pt x="6597" y="5120"/>
                    <a:pt x="6525" y="5049"/>
                    <a:pt x="6430" y="5049"/>
                  </a:cubicBezTo>
                  <a:cubicBezTo>
                    <a:pt x="6347" y="5049"/>
                    <a:pt x="6275" y="5120"/>
                    <a:pt x="6275" y="5215"/>
                  </a:cubicBezTo>
                  <a:cubicBezTo>
                    <a:pt x="6275" y="6370"/>
                    <a:pt x="5335" y="7311"/>
                    <a:pt x="4168" y="7311"/>
                  </a:cubicBezTo>
                  <a:cubicBezTo>
                    <a:pt x="4161" y="7311"/>
                    <a:pt x="4154" y="7311"/>
                    <a:pt x="4146" y="7311"/>
                  </a:cubicBezTo>
                  <a:cubicBezTo>
                    <a:pt x="3001" y="7311"/>
                    <a:pt x="2060" y="6363"/>
                    <a:pt x="2060" y="5215"/>
                  </a:cubicBezTo>
                  <a:cubicBezTo>
                    <a:pt x="2060" y="5120"/>
                    <a:pt x="1989" y="5049"/>
                    <a:pt x="1894" y="5049"/>
                  </a:cubicBezTo>
                  <a:cubicBezTo>
                    <a:pt x="1810" y="5049"/>
                    <a:pt x="1727" y="5120"/>
                    <a:pt x="1727" y="5215"/>
                  </a:cubicBezTo>
                  <a:lnTo>
                    <a:pt x="1727" y="5227"/>
                  </a:lnTo>
                  <a:lnTo>
                    <a:pt x="1632" y="5227"/>
                  </a:lnTo>
                  <a:cubicBezTo>
                    <a:pt x="1477" y="5227"/>
                    <a:pt x="1358" y="5108"/>
                    <a:pt x="1358" y="4965"/>
                  </a:cubicBezTo>
                  <a:cubicBezTo>
                    <a:pt x="1358" y="4810"/>
                    <a:pt x="1477" y="4691"/>
                    <a:pt x="1632" y="4691"/>
                  </a:cubicBezTo>
                  <a:lnTo>
                    <a:pt x="2251" y="4691"/>
                  </a:lnTo>
                  <a:lnTo>
                    <a:pt x="2251" y="4870"/>
                  </a:lnTo>
                  <a:cubicBezTo>
                    <a:pt x="2251" y="5346"/>
                    <a:pt x="2644" y="5739"/>
                    <a:pt x="3120" y="5739"/>
                  </a:cubicBezTo>
                  <a:cubicBezTo>
                    <a:pt x="3596" y="5739"/>
                    <a:pt x="3977" y="5346"/>
                    <a:pt x="3977" y="4870"/>
                  </a:cubicBezTo>
                  <a:lnTo>
                    <a:pt x="3977" y="4858"/>
                  </a:lnTo>
                  <a:lnTo>
                    <a:pt x="4346" y="4858"/>
                  </a:lnTo>
                  <a:lnTo>
                    <a:pt x="4346" y="4870"/>
                  </a:lnTo>
                  <a:cubicBezTo>
                    <a:pt x="4346" y="5346"/>
                    <a:pt x="4739" y="5739"/>
                    <a:pt x="5216" y="5739"/>
                  </a:cubicBezTo>
                  <a:cubicBezTo>
                    <a:pt x="5692" y="5739"/>
                    <a:pt x="6073" y="5346"/>
                    <a:pt x="6073" y="4870"/>
                  </a:cubicBezTo>
                  <a:lnTo>
                    <a:pt x="6073" y="4691"/>
                  </a:lnTo>
                  <a:close/>
                  <a:moveTo>
                    <a:pt x="5049" y="7477"/>
                  </a:moveTo>
                  <a:lnTo>
                    <a:pt x="5049" y="7942"/>
                  </a:lnTo>
                  <a:lnTo>
                    <a:pt x="4168" y="8811"/>
                  </a:lnTo>
                  <a:lnTo>
                    <a:pt x="3299" y="7942"/>
                  </a:lnTo>
                  <a:lnTo>
                    <a:pt x="3299" y="7477"/>
                  </a:lnTo>
                  <a:cubicBezTo>
                    <a:pt x="3561" y="7585"/>
                    <a:pt x="3858" y="7644"/>
                    <a:pt x="4168" y="7644"/>
                  </a:cubicBezTo>
                  <a:cubicBezTo>
                    <a:pt x="4489" y="7644"/>
                    <a:pt x="4787" y="7585"/>
                    <a:pt x="5049" y="7477"/>
                  </a:cubicBezTo>
                  <a:close/>
                  <a:moveTo>
                    <a:pt x="2953" y="8073"/>
                  </a:moveTo>
                  <a:lnTo>
                    <a:pt x="3918" y="9037"/>
                  </a:lnTo>
                  <a:lnTo>
                    <a:pt x="3192" y="9644"/>
                  </a:lnTo>
                  <a:lnTo>
                    <a:pt x="3156" y="9644"/>
                  </a:lnTo>
                  <a:lnTo>
                    <a:pt x="2608" y="8394"/>
                  </a:lnTo>
                  <a:lnTo>
                    <a:pt x="2941" y="8073"/>
                  </a:lnTo>
                  <a:close/>
                  <a:moveTo>
                    <a:pt x="2370" y="8620"/>
                  </a:moveTo>
                  <a:lnTo>
                    <a:pt x="2894" y="9787"/>
                  </a:lnTo>
                  <a:cubicBezTo>
                    <a:pt x="2941" y="9883"/>
                    <a:pt x="3025" y="9942"/>
                    <a:pt x="3132" y="9978"/>
                  </a:cubicBezTo>
                  <a:cubicBezTo>
                    <a:pt x="3156" y="9978"/>
                    <a:pt x="3180" y="9990"/>
                    <a:pt x="3203" y="9990"/>
                  </a:cubicBezTo>
                  <a:cubicBezTo>
                    <a:pt x="3275" y="9990"/>
                    <a:pt x="3358" y="9954"/>
                    <a:pt x="3418" y="9918"/>
                  </a:cubicBezTo>
                  <a:lnTo>
                    <a:pt x="4013" y="9406"/>
                  </a:lnTo>
                  <a:lnTo>
                    <a:pt x="4013" y="10633"/>
                  </a:lnTo>
                  <a:cubicBezTo>
                    <a:pt x="3001" y="10561"/>
                    <a:pt x="2179" y="9752"/>
                    <a:pt x="2072" y="8728"/>
                  </a:cubicBezTo>
                  <a:lnTo>
                    <a:pt x="2370" y="8620"/>
                  </a:lnTo>
                  <a:close/>
                  <a:moveTo>
                    <a:pt x="5394" y="8085"/>
                  </a:moveTo>
                  <a:lnTo>
                    <a:pt x="5716" y="8418"/>
                  </a:lnTo>
                  <a:lnTo>
                    <a:pt x="5692" y="8490"/>
                  </a:lnTo>
                  <a:cubicBezTo>
                    <a:pt x="5656" y="8573"/>
                    <a:pt x="5692" y="8668"/>
                    <a:pt x="5775" y="8692"/>
                  </a:cubicBezTo>
                  <a:cubicBezTo>
                    <a:pt x="5795" y="8702"/>
                    <a:pt x="5816" y="8706"/>
                    <a:pt x="5838" y="8706"/>
                  </a:cubicBezTo>
                  <a:cubicBezTo>
                    <a:pt x="5895" y="8706"/>
                    <a:pt x="5955" y="8676"/>
                    <a:pt x="5989" y="8632"/>
                  </a:cubicBezTo>
                  <a:lnTo>
                    <a:pt x="6287" y="8740"/>
                  </a:lnTo>
                  <a:cubicBezTo>
                    <a:pt x="6168" y="9740"/>
                    <a:pt x="5347" y="10537"/>
                    <a:pt x="4335" y="10633"/>
                  </a:cubicBezTo>
                  <a:lnTo>
                    <a:pt x="4335" y="9406"/>
                  </a:lnTo>
                  <a:lnTo>
                    <a:pt x="4930" y="9918"/>
                  </a:lnTo>
                  <a:cubicBezTo>
                    <a:pt x="4989" y="9954"/>
                    <a:pt x="5061" y="9990"/>
                    <a:pt x="5144" y="9990"/>
                  </a:cubicBezTo>
                  <a:cubicBezTo>
                    <a:pt x="5168" y="9990"/>
                    <a:pt x="5180" y="9990"/>
                    <a:pt x="5216" y="9978"/>
                  </a:cubicBezTo>
                  <a:cubicBezTo>
                    <a:pt x="5323" y="9942"/>
                    <a:pt x="5406" y="9883"/>
                    <a:pt x="5454" y="9787"/>
                  </a:cubicBezTo>
                  <a:lnTo>
                    <a:pt x="5704" y="9228"/>
                  </a:lnTo>
                  <a:cubicBezTo>
                    <a:pt x="5739" y="9144"/>
                    <a:pt x="5704" y="9049"/>
                    <a:pt x="5620" y="9025"/>
                  </a:cubicBezTo>
                  <a:cubicBezTo>
                    <a:pt x="5595" y="9016"/>
                    <a:pt x="5571" y="9011"/>
                    <a:pt x="5549" y="9011"/>
                  </a:cubicBezTo>
                  <a:cubicBezTo>
                    <a:pt x="5485" y="9011"/>
                    <a:pt x="5432" y="9047"/>
                    <a:pt x="5406" y="9109"/>
                  </a:cubicBezTo>
                  <a:lnTo>
                    <a:pt x="5156" y="9668"/>
                  </a:lnTo>
                  <a:lnTo>
                    <a:pt x="5120" y="9668"/>
                  </a:lnTo>
                  <a:lnTo>
                    <a:pt x="4394" y="9049"/>
                  </a:lnTo>
                  <a:lnTo>
                    <a:pt x="5358" y="8085"/>
                  </a:lnTo>
                  <a:close/>
                  <a:moveTo>
                    <a:pt x="4168" y="0"/>
                  </a:moveTo>
                  <a:cubicBezTo>
                    <a:pt x="3930" y="0"/>
                    <a:pt x="3739" y="155"/>
                    <a:pt x="3561" y="286"/>
                  </a:cubicBezTo>
                  <a:cubicBezTo>
                    <a:pt x="3442" y="381"/>
                    <a:pt x="3334" y="453"/>
                    <a:pt x="3239" y="477"/>
                  </a:cubicBezTo>
                  <a:cubicBezTo>
                    <a:pt x="3197" y="491"/>
                    <a:pt x="3148" y="495"/>
                    <a:pt x="3095" y="495"/>
                  </a:cubicBezTo>
                  <a:cubicBezTo>
                    <a:pt x="3012" y="495"/>
                    <a:pt x="2921" y="484"/>
                    <a:pt x="2834" y="477"/>
                  </a:cubicBezTo>
                  <a:cubicBezTo>
                    <a:pt x="2738" y="466"/>
                    <a:pt x="2639" y="456"/>
                    <a:pt x="2543" y="456"/>
                  </a:cubicBezTo>
                  <a:cubicBezTo>
                    <a:pt x="2414" y="456"/>
                    <a:pt x="2289" y="475"/>
                    <a:pt x="2179" y="536"/>
                  </a:cubicBezTo>
                  <a:cubicBezTo>
                    <a:pt x="1965" y="655"/>
                    <a:pt x="1882" y="881"/>
                    <a:pt x="1787" y="1072"/>
                  </a:cubicBezTo>
                  <a:cubicBezTo>
                    <a:pt x="1727" y="1203"/>
                    <a:pt x="1668" y="1346"/>
                    <a:pt x="1596" y="1417"/>
                  </a:cubicBezTo>
                  <a:cubicBezTo>
                    <a:pt x="1525" y="1489"/>
                    <a:pt x="1394" y="1548"/>
                    <a:pt x="1251" y="1608"/>
                  </a:cubicBezTo>
                  <a:cubicBezTo>
                    <a:pt x="1060" y="1703"/>
                    <a:pt x="834" y="1786"/>
                    <a:pt x="715" y="2001"/>
                  </a:cubicBezTo>
                  <a:cubicBezTo>
                    <a:pt x="596" y="2191"/>
                    <a:pt x="632" y="2429"/>
                    <a:pt x="655" y="2655"/>
                  </a:cubicBezTo>
                  <a:cubicBezTo>
                    <a:pt x="679" y="2798"/>
                    <a:pt x="691" y="2929"/>
                    <a:pt x="655" y="3048"/>
                  </a:cubicBezTo>
                  <a:cubicBezTo>
                    <a:pt x="632" y="3156"/>
                    <a:pt x="560" y="3263"/>
                    <a:pt x="465" y="3382"/>
                  </a:cubicBezTo>
                  <a:cubicBezTo>
                    <a:pt x="334" y="3560"/>
                    <a:pt x="179" y="3751"/>
                    <a:pt x="179" y="3989"/>
                  </a:cubicBezTo>
                  <a:cubicBezTo>
                    <a:pt x="179" y="4227"/>
                    <a:pt x="334" y="4418"/>
                    <a:pt x="465" y="4596"/>
                  </a:cubicBezTo>
                  <a:cubicBezTo>
                    <a:pt x="560" y="4715"/>
                    <a:pt x="632" y="4822"/>
                    <a:pt x="655" y="4930"/>
                  </a:cubicBezTo>
                  <a:cubicBezTo>
                    <a:pt x="691" y="5037"/>
                    <a:pt x="679" y="5180"/>
                    <a:pt x="655" y="5334"/>
                  </a:cubicBezTo>
                  <a:cubicBezTo>
                    <a:pt x="632" y="5561"/>
                    <a:pt x="620" y="5799"/>
                    <a:pt x="715" y="5989"/>
                  </a:cubicBezTo>
                  <a:cubicBezTo>
                    <a:pt x="834" y="6192"/>
                    <a:pt x="1060" y="6287"/>
                    <a:pt x="1251" y="6370"/>
                  </a:cubicBezTo>
                  <a:cubicBezTo>
                    <a:pt x="1394" y="6430"/>
                    <a:pt x="1525" y="6489"/>
                    <a:pt x="1596" y="6573"/>
                  </a:cubicBezTo>
                  <a:cubicBezTo>
                    <a:pt x="1668" y="6644"/>
                    <a:pt x="1727" y="6775"/>
                    <a:pt x="1787" y="6906"/>
                  </a:cubicBezTo>
                  <a:cubicBezTo>
                    <a:pt x="1882" y="7096"/>
                    <a:pt x="1965" y="7323"/>
                    <a:pt x="2179" y="7442"/>
                  </a:cubicBezTo>
                  <a:cubicBezTo>
                    <a:pt x="2286" y="7509"/>
                    <a:pt x="2408" y="7530"/>
                    <a:pt x="2534" y="7530"/>
                  </a:cubicBezTo>
                  <a:cubicBezTo>
                    <a:pt x="2633" y="7530"/>
                    <a:pt x="2735" y="7517"/>
                    <a:pt x="2834" y="7501"/>
                  </a:cubicBezTo>
                  <a:cubicBezTo>
                    <a:pt x="2882" y="7501"/>
                    <a:pt x="2918" y="7489"/>
                    <a:pt x="2965" y="7489"/>
                  </a:cubicBezTo>
                  <a:lnTo>
                    <a:pt x="2965" y="7716"/>
                  </a:lnTo>
                  <a:lnTo>
                    <a:pt x="2953" y="7716"/>
                  </a:lnTo>
                  <a:cubicBezTo>
                    <a:pt x="2858" y="7716"/>
                    <a:pt x="2775" y="7739"/>
                    <a:pt x="2715" y="7823"/>
                  </a:cubicBezTo>
                  <a:lnTo>
                    <a:pt x="2310" y="8216"/>
                  </a:lnTo>
                  <a:cubicBezTo>
                    <a:pt x="2299" y="8239"/>
                    <a:pt x="2287" y="8263"/>
                    <a:pt x="2263" y="8299"/>
                  </a:cubicBezTo>
                  <a:lnTo>
                    <a:pt x="810" y="8811"/>
                  </a:lnTo>
                  <a:cubicBezTo>
                    <a:pt x="334" y="8978"/>
                    <a:pt x="1" y="9442"/>
                    <a:pt x="1" y="9966"/>
                  </a:cubicBezTo>
                  <a:lnTo>
                    <a:pt x="1" y="10954"/>
                  </a:lnTo>
                  <a:cubicBezTo>
                    <a:pt x="1" y="11049"/>
                    <a:pt x="84" y="11121"/>
                    <a:pt x="167" y="11121"/>
                  </a:cubicBezTo>
                  <a:cubicBezTo>
                    <a:pt x="263" y="11121"/>
                    <a:pt x="334" y="11049"/>
                    <a:pt x="334" y="10954"/>
                  </a:cubicBezTo>
                  <a:lnTo>
                    <a:pt x="334" y="9966"/>
                  </a:lnTo>
                  <a:cubicBezTo>
                    <a:pt x="334" y="9859"/>
                    <a:pt x="346" y="9752"/>
                    <a:pt x="394" y="9644"/>
                  </a:cubicBezTo>
                  <a:lnTo>
                    <a:pt x="1215" y="10347"/>
                  </a:lnTo>
                  <a:cubicBezTo>
                    <a:pt x="1334" y="10454"/>
                    <a:pt x="1406" y="10597"/>
                    <a:pt x="1406" y="10752"/>
                  </a:cubicBezTo>
                  <a:lnTo>
                    <a:pt x="1406" y="10954"/>
                  </a:lnTo>
                  <a:cubicBezTo>
                    <a:pt x="1406" y="11049"/>
                    <a:pt x="1477" y="11121"/>
                    <a:pt x="1572" y="11121"/>
                  </a:cubicBezTo>
                  <a:cubicBezTo>
                    <a:pt x="1656" y="11121"/>
                    <a:pt x="1727" y="11049"/>
                    <a:pt x="1727" y="10954"/>
                  </a:cubicBezTo>
                  <a:lnTo>
                    <a:pt x="1727" y="10764"/>
                  </a:lnTo>
                  <a:cubicBezTo>
                    <a:pt x="1727" y="10514"/>
                    <a:pt x="1632" y="10275"/>
                    <a:pt x="1429" y="10109"/>
                  </a:cubicBezTo>
                  <a:lnTo>
                    <a:pt x="572" y="9371"/>
                  </a:lnTo>
                  <a:cubicBezTo>
                    <a:pt x="655" y="9263"/>
                    <a:pt x="798" y="9168"/>
                    <a:pt x="929" y="9132"/>
                  </a:cubicBezTo>
                  <a:lnTo>
                    <a:pt x="1775" y="8835"/>
                  </a:lnTo>
                  <a:cubicBezTo>
                    <a:pt x="1929" y="10037"/>
                    <a:pt x="2953" y="10954"/>
                    <a:pt x="4192" y="10954"/>
                  </a:cubicBezTo>
                  <a:cubicBezTo>
                    <a:pt x="5418" y="10954"/>
                    <a:pt x="6454" y="10037"/>
                    <a:pt x="6597" y="8835"/>
                  </a:cubicBezTo>
                  <a:lnTo>
                    <a:pt x="7442" y="9132"/>
                  </a:lnTo>
                  <a:cubicBezTo>
                    <a:pt x="7585" y="9168"/>
                    <a:pt x="7716" y="9263"/>
                    <a:pt x="7799" y="9371"/>
                  </a:cubicBezTo>
                  <a:lnTo>
                    <a:pt x="6942" y="10109"/>
                  </a:lnTo>
                  <a:cubicBezTo>
                    <a:pt x="6751" y="10275"/>
                    <a:pt x="6644" y="10514"/>
                    <a:pt x="6644" y="10764"/>
                  </a:cubicBezTo>
                  <a:lnTo>
                    <a:pt x="6644" y="10978"/>
                  </a:lnTo>
                  <a:cubicBezTo>
                    <a:pt x="6644" y="11061"/>
                    <a:pt x="6716" y="11133"/>
                    <a:pt x="6811" y="11133"/>
                  </a:cubicBezTo>
                  <a:cubicBezTo>
                    <a:pt x="6894" y="11133"/>
                    <a:pt x="6966" y="11061"/>
                    <a:pt x="6966" y="10978"/>
                  </a:cubicBezTo>
                  <a:lnTo>
                    <a:pt x="6966" y="10764"/>
                  </a:lnTo>
                  <a:cubicBezTo>
                    <a:pt x="6966" y="10621"/>
                    <a:pt x="7049" y="10466"/>
                    <a:pt x="7168" y="10359"/>
                  </a:cubicBezTo>
                  <a:lnTo>
                    <a:pt x="7978" y="9656"/>
                  </a:lnTo>
                  <a:cubicBezTo>
                    <a:pt x="8014" y="9763"/>
                    <a:pt x="8037" y="9871"/>
                    <a:pt x="8037" y="9978"/>
                  </a:cubicBezTo>
                  <a:lnTo>
                    <a:pt x="8037" y="10978"/>
                  </a:lnTo>
                  <a:cubicBezTo>
                    <a:pt x="8037" y="11061"/>
                    <a:pt x="8121" y="11133"/>
                    <a:pt x="8204" y="11133"/>
                  </a:cubicBezTo>
                  <a:cubicBezTo>
                    <a:pt x="8299" y="11133"/>
                    <a:pt x="8371" y="11061"/>
                    <a:pt x="8371" y="10978"/>
                  </a:cubicBezTo>
                  <a:lnTo>
                    <a:pt x="8371" y="9978"/>
                  </a:lnTo>
                  <a:cubicBezTo>
                    <a:pt x="8335" y="9454"/>
                    <a:pt x="8014" y="8990"/>
                    <a:pt x="7537" y="8835"/>
                  </a:cubicBezTo>
                  <a:lnTo>
                    <a:pt x="6073" y="8311"/>
                  </a:lnTo>
                  <a:cubicBezTo>
                    <a:pt x="6061" y="8275"/>
                    <a:pt x="6061" y="8263"/>
                    <a:pt x="6037" y="8239"/>
                  </a:cubicBezTo>
                  <a:lnTo>
                    <a:pt x="5632" y="7835"/>
                  </a:lnTo>
                  <a:cubicBezTo>
                    <a:pt x="5573" y="7775"/>
                    <a:pt x="5478" y="7728"/>
                    <a:pt x="5394" y="7728"/>
                  </a:cubicBezTo>
                  <a:lnTo>
                    <a:pt x="5382" y="7728"/>
                  </a:lnTo>
                  <a:lnTo>
                    <a:pt x="5382" y="7501"/>
                  </a:lnTo>
                  <a:cubicBezTo>
                    <a:pt x="5418" y="7501"/>
                    <a:pt x="5466" y="7525"/>
                    <a:pt x="5513" y="7525"/>
                  </a:cubicBezTo>
                  <a:cubicBezTo>
                    <a:pt x="5597" y="7537"/>
                    <a:pt x="5704" y="7537"/>
                    <a:pt x="5799" y="7537"/>
                  </a:cubicBezTo>
                  <a:cubicBezTo>
                    <a:pt x="5930" y="7537"/>
                    <a:pt x="6049" y="7525"/>
                    <a:pt x="6168" y="7442"/>
                  </a:cubicBezTo>
                  <a:cubicBezTo>
                    <a:pt x="6370" y="7323"/>
                    <a:pt x="6466" y="7108"/>
                    <a:pt x="6549" y="6906"/>
                  </a:cubicBezTo>
                  <a:cubicBezTo>
                    <a:pt x="6609" y="6775"/>
                    <a:pt x="6668" y="6644"/>
                    <a:pt x="6751" y="6573"/>
                  </a:cubicBezTo>
                  <a:cubicBezTo>
                    <a:pt x="6823" y="6489"/>
                    <a:pt x="6954" y="6430"/>
                    <a:pt x="7085" y="6370"/>
                  </a:cubicBezTo>
                  <a:cubicBezTo>
                    <a:pt x="7287" y="6287"/>
                    <a:pt x="7502" y="6192"/>
                    <a:pt x="7621" y="5989"/>
                  </a:cubicBezTo>
                  <a:cubicBezTo>
                    <a:pt x="7740" y="5799"/>
                    <a:pt x="7716" y="5561"/>
                    <a:pt x="7680" y="5334"/>
                  </a:cubicBezTo>
                  <a:cubicBezTo>
                    <a:pt x="7668" y="5180"/>
                    <a:pt x="7656" y="5049"/>
                    <a:pt x="7680" y="4930"/>
                  </a:cubicBezTo>
                  <a:cubicBezTo>
                    <a:pt x="7716" y="4822"/>
                    <a:pt x="7787" y="4727"/>
                    <a:pt x="7883" y="4596"/>
                  </a:cubicBezTo>
                  <a:cubicBezTo>
                    <a:pt x="8014" y="4418"/>
                    <a:pt x="8156" y="4227"/>
                    <a:pt x="8156" y="3989"/>
                  </a:cubicBezTo>
                  <a:cubicBezTo>
                    <a:pt x="8156" y="3751"/>
                    <a:pt x="8014" y="3560"/>
                    <a:pt x="7883" y="3382"/>
                  </a:cubicBezTo>
                  <a:cubicBezTo>
                    <a:pt x="7787" y="3263"/>
                    <a:pt x="7716" y="3156"/>
                    <a:pt x="7680" y="3048"/>
                  </a:cubicBezTo>
                  <a:cubicBezTo>
                    <a:pt x="7656" y="2953"/>
                    <a:pt x="7668" y="2798"/>
                    <a:pt x="7680" y="2655"/>
                  </a:cubicBezTo>
                  <a:cubicBezTo>
                    <a:pt x="7716" y="2429"/>
                    <a:pt x="7728" y="2191"/>
                    <a:pt x="7621" y="2001"/>
                  </a:cubicBezTo>
                  <a:cubicBezTo>
                    <a:pt x="7502" y="1786"/>
                    <a:pt x="7287" y="1703"/>
                    <a:pt x="7085" y="1608"/>
                  </a:cubicBezTo>
                  <a:cubicBezTo>
                    <a:pt x="6954" y="1548"/>
                    <a:pt x="6823" y="1489"/>
                    <a:pt x="6751" y="1417"/>
                  </a:cubicBezTo>
                  <a:cubicBezTo>
                    <a:pt x="6668" y="1346"/>
                    <a:pt x="6609" y="1203"/>
                    <a:pt x="6549" y="1072"/>
                  </a:cubicBezTo>
                  <a:cubicBezTo>
                    <a:pt x="6466" y="881"/>
                    <a:pt x="6370" y="655"/>
                    <a:pt x="6168" y="536"/>
                  </a:cubicBezTo>
                  <a:cubicBezTo>
                    <a:pt x="6064" y="471"/>
                    <a:pt x="5947" y="452"/>
                    <a:pt x="5825" y="452"/>
                  </a:cubicBezTo>
                  <a:cubicBezTo>
                    <a:pt x="5722" y="452"/>
                    <a:pt x="5616" y="466"/>
                    <a:pt x="5513" y="477"/>
                  </a:cubicBezTo>
                  <a:cubicBezTo>
                    <a:pt x="5419" y="484"/>
                    <a:pt x="5334" y="495"/>
                    <a:pt x="5255" y="495"/>
                  </a:cubicBezTo>
                  <a:cubicBezTo>
                    <a:pt x="5204" y="495"/>
                    <a:pt x="5155" y="491"/>
                    <a:pt x="5108" y="477"/>
                  </a:cubicBezTo>
                  <a:cubicBezTo>
                    <a:pt x="5001" y="453"/>
                    <a:pt x="4906" y="369"/>
                    <a:pt x="4787" y="286"/>
                  </a:cubicBezTo>
                  <a:cubicBezTo>
                    <a:pt x="4608" y="155"/>
                    <a:pt x="4406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1" name="Google Shape;11641;p61"/>
            <p:cNvSpPr/>
            <p:nvPr/>
          </p:nvSpPr>
          <p:spPr>
            <a:xfrm>
              <a:off x="6363140" y="3540532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4"/>
                    <a:pt x="0" y="200"/>
                    <a:pt x="60" y="259"/>
                  </a:cubicBezTo>
                  <a:cubicBezTo>
                    <a:pt x="191" y="402"/>
                    <a:pt x="429" y="485"/>
                    <a:pt x="703" y="485"/>
                  </a:cubicBezTo>
                  <a:cubicBezTo>
                    <a:pt x="964" y="485"/>
                    <a:pt x="1191" y="402"/>
                    <a:pt x="1334" y="259"/>
                  </a:cubicBezTo>
                  <a:cubicBezTo>
                    <a:pt x="1369" y="200"/>
                    <a:pt x="1369" y="104"/>
                    <a:pt x="1310" y="45"/>
                  </a:cubicBezTo>
                  <a:cubicBezTo>
                    <a:pt x="1280" y="15"/>
                    <a:pt x="1238" y="0"/>
                    <a:pt x="1197" y="0"/>
                  </a:cubicBezTo>
                  <a:cubicBezTo>
                    <a:pt x="1155" y="0"/>
                    <a:pt x="1113" y="15"/>
                    <a:pt x="1084" y="45"/>
                  </a:cubicBezTo>
                  <a:cubicBezTo>
                    <a:pt x="1024" y="104"/>
                    <a:pt x="881" y="176"/>
                    <a:pt x="691" y="176"/>
                  </a:cubicBezTo>
                  <a:cubicBezTo>
                    <a:pt x="488" y="176"/>
                    <a:pt x="345" y="104"/>
                    <a:pt x="286" y="45"/>
                  </a:cubicBez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2" name="Google Shape;11642;p61"/>
            <p:cNvSpPr/>
            <p:nvPr/>
          </p:nvSpPr>
          <p:spPr>
            <a:xfrm>
              <a:off x="6406890" y="3468397"/>
              <a:ext cx="21511" cy="10201"/>
            </a:xfrm>
            <a:custGeom>
              <a:avLst/>
              <a:gdLst/>
              <a:ahLst/>
              <a:cxnLst/>
              <a:rect l="l" t="t" r="r" b="b"/>
              <a:pathLst>
                <a:path w="679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512" y="322"/>
                  </a:lnTo>
                  <a:cubicBezTo>
                    <a:pt x="596" y="322"/>
                    <a:pt x="679" y="250"/>
                    <a:pt x="679" y="155"/>
                  </a:cubicBezTo>
                  <a:cubicBezTo>
                    <a:pt x="679" y="72"/>
                    <a:pt x="59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43" name="Google Shape;11643;p61"/>
          <p:cNvGrpSpPr/>
          <p:nvPr/>
        </p:nvGrpSpPr>
        <p:grpSpPr>
          <a:xfrm>
            <a:off x="5801105" y="3347696"/>
            <a:ext cx="264813" cy="351933"/>
            <a:chOff x="5801105" y="3347696"/>
            <a:chExt cx="264813" cy="351933"/>
          </a:xfrm>
        </p:grpSpPr>
        <p:sp>
          <p:nvSpPr>
            <p:cNvPr id="11644" name="Google Shape;11644;p61"/>
            <p:cNvSpPr/>
            <p:nvPr/>
          </p:nvSpPr>
          <p:spPr>
            <a:xfrm>
              <a:off x="5911256" y="3534862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7" y="1"/>
                  </a:moveTo>
                  <a:cubicBezTo>
                    <a:pt x="137" y="1"/>
                    <a:pt x="96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203" y="402"/>
                    <a:pt x="441" y="486"/>
                    <a:pt x="703" y="486"/>
                  </a:cubicBezTo>
                  <a:cubicBezTo>
                    <a:pt x="953" y="486"/>
                    <a:pt x="1191" y="402"/>
                    <a:pt x="1346" y="260"/>
                  </a:cubicBezTo>
                  <a:cubicBezTo>
                    <a:pt x="1382" y="200"/>
                    <a:pt x="1382" y="105"/>
                    <a:pt x="1322" y="45"/>
                  </a:cubicBezTo>
                  <a:cubicBezTo>
                    <a:pt x="1286" y="16"/>
                    <a:pt x="1245" y="1"/>
                    <a:pt x="1204" y="1"/>
                  </a:cubicBezTo>
                  <a:cubicBezTo>
                    <a:pt x="1164" y="1"/>
                    <a:pt x="1126" y="16"/>
                    <a:pt x="1096" y="45"/>
                  </a:cubicBezTo>
                  <a:cubicBezTo>
                    <a:pt x="1036" y="105"/>
                    <a:pt x="881" y="176"/>
                    <a:pt x="691" y="176"/>
                  </a:cubicBezTo>
                  <a:cubicBezTo>
                    <a:pt x="477" y="176"/>
                    <a:pt x="346" y="105"/>
                    <a:pt x="286" y="45"/>
                  </a:cubicBezTo>
                  <a:cubicBezTo>
                    <a:pt x="256" y="16"/>
                    <a:pt x="218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5" name="Google Shape;11645;p61"/>
            <p:cNvSpPr/>
            <p:nvPr/>
          </p:nvSpPr>
          <p:spPr>
            <a:xfrm>
              <a:off x="5894656" y="3490256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5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6" name="Google Shape;11646;p61"/>
            <p:cNvSpPr/>
            <p:nvPr/>
          </p:nvSpPr>
          <p:spPr>
            <a:xfrm>
              <a:off x="5961057" y="3490256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1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1" y="513"/>
                    <a:pt x="167" y="513"/>
                  </a:cubicBezTo>
                  <a:cubicBezTo>
                    <a:pt x="250" y="513"/>
                    <a:pt x="321" y="441"/>
                    <a:pt x="321" y="346"/>
                  </a:cubicBezTo>
                  <a:lnTo>
                    <a:pt x="321" y="167"/>
                  </a:lnTo>
                  <a:cubicBezTo>
                    <a:pt x="321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7" name="Google Shape;11647;p61"/>
            <p:cNvSpPr/>
            <p:nvPr/>
          </p:nvSpPr>
          <p:spPr>
            <a:xfrm>
              <a:off x="5801105" y="3347696"/>
              <a:ext cx="264813" cy="351933"/>
            </a:xfrm>
            <a:custGeom>
              <a:avLst/>
              <a:gdLst/>
              <a:ahLst/>
              <a:cxnLst/>
              <a:rect l="l" t="t" r="r" b="b"/>
              <a:pathLst>
                <a:path w="8359" h="11109" extrusionOk="0">
                  <a:moveTo>
                    <a:pt x="4608" y="310"/>
                  </a:moveTo>
                  <a:cubicBezTo>
                    <a:pt x="5061" y="310"/>
                    <a:pt x="5442" y="619"/>
                    <a:pt x="5549" y="1048"/>
                  </a:cubicBezTo>
                  <a:cubicBezTo>
                    <a:pt x="5559" y="1124"/>
                    <a:pt x="5621" y="1177"/>
                    <a:pt x="5689" y="1177"/>
                  </a:cubicBezTo>
                  <a:cubicBezTo>
                    <a:pt x="5706" y="1177"/>
                    <a:pt x="5723" y="1174"/>
                    <a:pt x="5740" y="1167"/>
                  </a:cubicBezTo>
                  <a:cubicBezTo>
                    <a:pt x="5835" y="1155"/>
                    <a:pt x="5894" y="1072"/>
                    <a:pt x="5859" y="976"/>
                  </a:cubicBezTo>
                  <a:cubicBezTo>
                    <a:pt x="5847" y="929"/>
                    <a:pt x="5835" y="869"/>
                    <a:pt x="5823" y="834"/>
                  </a:cubicBezTo>
                  <a:lnTo>
                    <a:pt x="6430" y="834"/>
                  </a:lnTo>
                  <a:cubicBezTo>
                    <a:pt x="6811" y="834"/>
                    <a:pt x="7145" y="1143"/>
                    <a:pt x="7145" y="1548"/>
                  </a:cubicBezTo>
                  <a:cubicBezTo>
                    <a:pt x="7145" y="1929"/>
                    <a:pt x="6835" y="2262"/>
                    <a:pt x="6430" y="2262"/>
                  </a:cubicBezTo>
                  <a:cubicBezTo>
                    <a:pt x="6335" y="2262"/>
                    <a:pt x="6263" y="2334"/>
                    <a:pt x="6263" y="2417"/>
                  </a:cubicBezTo>
                  <a:cubicBezTo>
                    <a:pt x="6263" y="2512"/>
                    <a:pt x="6335" y="2584"/>
                    <a:pt x="6430" y="2584"/>
                  </a:cubicBezTo>
                  <a:cubicBezTo>
                    <a:pt x="6490" y="2584"/>
                    <a:pt x="6549" y="2584"/>
                    <a:pt x="6609" y="2572"/>
                  </a:cubicBezTo>
                  <a:lnTo>
                    <a:pt x="6609" y="2953"/>
                  </a:lnTo>
                  <a:lnTo>
                    <a:pt x="6073" y="2953"/>
                  </a:lnTo>
                  <a:cubicBezTo>
                    <a:pt x="5978" y="2953"/>
                    <a:pt x="5906" y="3036"/>
                    <a:pt x="5906" y="3120"/>
                  </a:cubicBezTo>
                  <a:cubicBezTo>
                    <a:pt x="5906" y="3215"/>
                    <a:pt x="5978" y="3286"/>
                    <a:pt x="6073" y="3286"/>
                  </a:cubicBezTo>
                  <a:lnTo>
                    <a:pt x="6609" y="3286"/>
                  </a:lnTo>
                  <a:lnTo>
                    <a:pt x="6609" y="3655"/>
                  </a:lnTo>
                  <a:lnTo>
                    <a:pt x="1715" y="3655"/>
                  </a:lnTo>
                  <a:lnTo>
                    <a:pt x="1715" y="3286"/>
                  </a:lnTo>
                  <a:lnTo>
                    <a:pt x="5382" y="3286"/>
                  </a:lnTo>
                  <a:cubicBezTo>
                    <a:pt x="5478" y="3286"/>
                    <a:pt x="5549" y="3215"/>
                    <a:pt x="5549" y="3120"/>
                  </a:cubicBezTo>
                  <a:cubicBezTo>
                    <a:pt x="5549" y="3036"/>
                    <a:pt x="5478" y="2953"/>
                    <a:pt x="5382" y="2953"/>
                  </a:cubicBezTo>
                  <a:lnTo>
                    <a:pt x="1715" y="2953"/>
                  </a:lnTo>
                  <a:lnTo>
                    <a:pt x="1715" y="2560"/>
                  </a:lnTo>
                  <a:cubicBezTo>
                    <a:pt x="1775" y="2572"/>
                    <a:pt x="1834" y="2572"/>
                    <a:pt x="1894" y="2572"/>
                  </a:cubicBezTo>
                  <a:cubicBezTo>
                    <a:pt x="1977" y="2572"/>
                    <a:pt x="2049" y="2500"/>
                    <a:pt x="2049" y="2405"/>
                  </a:cubicBezTo>
                  <a:cubicBezTo>
                    <a:pt x="2049" y="2322"/>
                    <a:pt x="1977" y="2239"/>
                    <a:pt x="1894" y="2239"/>
                  </a:cubicBezTo>
                  <a:cubicBezTo>
                    <a:pt x="1501" y="2239"/>
                    <a:pt x="1191" y="1929"/>
                    <a:pt x="1191" y="1548"/>
                  </a:cubicBezTo>
                  <a:cubicBezTo>
                    <a:pt x="1191" y="1155"/>
                    <a:pt x="1501" y="834"/>
                    <a:pt x="1906" y="834"/>
                  </a:cubicBezTo>
                  <a:lnTo>
                    <a:pt x="2513" y="834"/>
                  </a:lnTo>
                  <a:cubicBezTo>
                    <a:pt x="2501" y="869"/>
                    <a:pt x="2489" y="929"/>
                    <a:pt x="2465" y="976"/>
                  </a:cubicBezTo>
                  <a:cubicBezTo>
                    <a:pt x="2453" y="1072"/>
                    <a:pt x="2501" y="1155"/>
                    <a:pt x="2584" y="1167"/>
                  </a:cubicBezTo>
                  <a:lnTo>
                    <a:pt x="2632" y="1167"/>
                  </a:lnTo>
                  <a:cubicBezTo>
                    <a:pt x="2703" y="1167"/>
                    <a:pt x="2763" y="1131"/>
                    <a:pt x="2799" y="1048"/>
                  </a:cubicBezTo>
                  <a:cubicBezTo>
                    <a:pt x="2906" y="619"/>
                    <a:pt x="3287" y="310"/>
                    <a:pt x="3739" y="310"/>
                  </a:cubicBezTo>
                  <a:close/>
                  <a:moveTo>
                    <a:pt x="2084" y="3965"/>
                  </a:moveTo>
                  <a:cubicBezTo>
                    <a:pt x="2084" y="4072"/>
                    <a:pt x="2037" y="4167"/>
                    <a:pt x="1977" y="4239"/>
                  </a:cubicBezTo>
                  <a:cubicBezTo>
                    <a:pt x="1906" y="4310"/>
                    <a:pt x="1822" y="4346"/>
                    <a:pt x="1727" y="4346"/>
                  </a:cubicBezTo>
                  <a:lnTo>
                    <a:pt x="1715" y="4346"/>
                  </a:lnTo>
                  <a:lnTo>
                    <a:pt x="1715" y="3965"/>
                  </a:lnTo>
                  <a:close/>
                  <a:moveTo>
                    <a:pt x="6609" y="3965"/>
                  </a:moveTo>
                  <a:lnTo>
                    <a:pt x="6609" y="4346"/>
                  </a:lnTo>
                  <a:lnTo>
                    <a:pt x="6597" y="4346"/>
                  </a:lnTo>
                  <a:cubicBezTo>
                    <a:pt x="6502" y="4346"/>
                    <a:pt x="6406" y="4298"/>
                    <a:pt x="6347" y="4239"/>
                  </a:cubicBezTo>
                  <a:cubicBezTo>
                    <a:pt x="6263" y="4167"/>
                    <a:pt x="6240" y="4072"/>
                    <a:pt x="6240" y="3977"/>
                  </a:cubicBezTo>
                  <a:lnTo>
                    <a:pt x="6240" y="3965"/>
                  </a:lnTo>
                  <a:close/>
                  <a:moveTo>
                    <a:pt x="6454" y="5953"/>
                  </a:moveTo>
                  <a:cubicBezTo>
                    <a:pt x="6549" y="6025"/>
                    <a:pt x="6609" y="6132"/>
                    <a:pt x="6609" y="6251"/>
                  </a:cubicBezTo>
                  <a:cubicBezTo>
                    <a:pt x="6609" y="6346"/>
                    <a:pt x="6561" y="6453"/>
                    <a:pt x="6478" y="6513"/>
                  </a:cubicBezTo>
                  <a:cubicBezTo>
                    <a:pt x="6430" y="6561"/>
                    <a:pt x="6418" y="6608"/>
                    <a:pt x="6418" y="6656"/>
                  </a:cubicBezTo>
                  <a:cubicBezTo>
                    <a:pt x="6418" y="6703"/>
                    <a:pt x="6430" y="6739"/>
                    <a:pt x="6430" y="6751"/>
                  </a:cubicBezTo>
                  <a:cubicBezTo>
                    <a:pt x="6430" y="7049"/>
                    <a:pt x="6192" y="7287"/>
                    <a:pt x="5894" y="7287"/>
                  </a:cubicBezTo>
                  <a:cubicBezTo>
                    <a:pt x="5775" y="7287"/>
                    <a:pt x="5656" y="7239"/>
                    <a:pt x="5549" y="7168"/>
                  </a:cubicBezTo>
                  <a:cubicBezTo>
                    <a:pt x="5966" y="6870"/>
                    <a:pt x="6299" y="6441"/>
                    <a:pt x="6454" y="5953"/>
                  </a:cubicBezTo>
                  <a:close/>
                  <a:moveTo>
                    <a:pt x="5918" y="3965"/>
                  </a:moveTo>
                  <a:lnTo>
                    <a:pt x="5918" y="3989"/>
                  </a:lnTo>
                  <a:cubicBezTo>
                    <a:pt x="5918" y="4167"/>
                    <a:pt x="6002" y="4346"/>
                    <a:pt x="6132" y="4477"/>
                  </a:cubicBezTo>
                  <a:cubicBezTo>
                    <a:pt x="6263" y="4608"/>
                    <a:pt x="6430" y="4667"/>
                    <a:pt x="6621" y="4667"/>
                  </a:cubicBezTo>
                  <a:lnTo>
                    <a:pt x="6716" y="4667"/>
                  </a:lnTo>
                  <a:cubicBezTo>
                    <a:pt x="6859" y="4667"/>
                    <a:pt x="6978" y="4786"/>
                    <a:pt x="6978" y="4941"/>
                  </a:cubicBezTo>
                  <a:cubicBezTo>
                    <a:pt x="6978" y="5084"/>
                    <a:pt x="6859" y="5203"/>
                    <a:pt x="6716" y="5203"/>
                  </a:cubicBezTo>
                  <a:lnTo>
                    <a:pt x="6609" y="5203"/>
                  </a:lnTo>
                  <a:lnTo>
                    <a:pt x="6609" y="5191"/>
                  </a:lnTo>
                  <a:cubicBezTo>
                    <a:pt x="6609" y="5096"/>
                    <a:pt x="6537" y="5025"/>
                    <a:pt x="6442" y="5025"/>
                  </a:cubicBezTo>
                  <a:cubicBezTo>
                    <a:pt x="6359" y="5025"/>
                    <a:pt x="6287" y="5096"/>
                    <a:pt x="6287" y="5191"/>
                  </a:cubicBezTo>
                  <a:cubicBezTo>
                    <a:pt x="6287" y="6346"/>
                    <a:pt x="5347" y="7287"/>
                    <a:pt x="4180" y="7287"/>
                  </a:cubicBezTo>
                  <a:cubicBezTo>
                    <a:pt x="4172" y="7287"/>
                    <a:pt x="4165" y="7287"/>
                    <a:pt x="4158" y="7287"/>
                  </a:cubicBezTo>
                  <a:cubicBezTo>
                    <a:pt x="2978" y="7287"/>
                    <a:pt x="2049" y="6339"/>
                    <a:pt x="2049" y="5191"/>
                  </a:cubicBezTo>
                  <a:cubicBezTo>
                    <a:pt x="2049" y="5096"/>
                    <a:pt x="1977" y="5025"/>
                    <a:pt x="1894" y="5025"/>
                  </a:cubicBezTo>
                  <a:cubicBezTo>
                    <a:pt x="1799" y="5025"/>
                    <a:pt x="1727" y="5096"/>
                    <a:pt x="1727" y="5191"/>
                  </a:cubicBezTo>
                  <a:lnTo>
                    <a:pt x="1727" y="5203"/>
                  </a:lnTo>
                  <a:lnTo>
                    <a:pt x="1620" y="5203"/>
                  </a:lnTo>
                  <a:cubicBezTo>
                    <a:pt x="1477" y="5203"/>
                    <a:pt x="1358" y="5084"/>
                    <a:pt x="1358" y="4941"/>
                  </a:cubicBezTo>
                  <a:cubicBezTo>
                    <a:pt x="1358" y="4786"/>
                    <a:pt x="1477" y="4667"/>
                    <a:pt x="1620" y="4667"/>
                  </a:cubicBezTo>
                  <a:lnTo>
                    <a:pt x="1715" y="4667"/>
                  </a:lnTo>
                  <a:cubicBezTo>
                    <a:pt x="1894" y="4667"/>
                    <a:pt x="2072" y="4596"/>
                    <a:pt x="2203" y="4477"/>
                  </a:cubicBezTo>
                  <a:cubicBezTo>
                    <a:pt x="2334" y="4346"/>
                    <a:pt x="2418" y="4179"/>
                    <a:pt x="2418" y="3989"/>
                  </a:cubicBezTo>
                  <a:lnTo>
                    <a:pt x="2418" y="3965"/>
                  </a:lnTo>
                  <a:close/>
                  <a:moveTo>
                    <a:pt x="1846" y="5977"/>
                  </a:moveTo>
                  <a:cubicBezTo>
                    <a:pt x="2013" y="6465"/>
                    <a:pt x="2334" y="6906"/>
                    <a:pt x="2751" y="7203"/>
                  </a:cubicBezTo>
                  <a:cubicBezTo>
                    <a:pt x="2668" y="7263"/>
                    <a:pt x="2549" y="7299"/>
                    <a:pt x="2418" y="7299"/>
                  </a:cubicBezTo>
                  <a:cubicBezTo>
                    <a:pt x="2120" y="7299"/>
                    <a:pt x="1882" y="7061"/>
                    <a:pt x="1882" y="6763"/>
                  </a:cubicBezTo>
                  <a:cubicBezTo>
                    <a:pt x="1882" y="6739"/>
                    <a:pt x="1882" y="6703"/>
                    <a:pt x="1894" y="6680"/>
                  </a:cubicBezTo>
                  <a:cubicBezTo>
                    <a:pt x="1906" y="6620"/>
                    <a:pt x="1882" y="6561"/>
                    <a:pt x="1834" y="6525"/>
                  </a:cubicBezTo>
                  <a:cubicBezTo>
                    <a:pt x="1739" y="6453"/>
                    <a:pt x="1691" y="6358"/>
                    <a:pt x="1691" y="6263"/>
                  </a:cubicBezTo>
                  <a:cubicBezTo>
                    <a:pt x="1691" y="6144"/>
                    <a:pt x="1751" y="6037"/>
                    <a:pt x="1846" y="5977"/>
                  </a:cubicBezTo>
                  <a:close/>
                  <a:moveTo>
                    <a:pt x="5192" y="7382"/>
                  </a:moveTo>
                  <a:lnTo>
                    <a:pt x="5192" y="7775"/>
                  </a:lnTo>
                  <a:cubicBezTo>
                    <a:pt x="4847" y="7918"/>
                    <a:pt x="4513" y="7989"/>
                    <a:pt x="4132" y="7989"/>
                  </a:cubicBezTo>
                  <a:lnTo>
                    <a:pt x="3977" y="7989"/>
                  </a:lnTo>
                  <a:cubicBezTo>
                    <a:pt x="3882" y="7989"/>
                    <a:pt x="3811" y="8049"/>
                    <a:pt x="3799" y="8132"/>
                  </a:cubicBezTo>
                  <a:cubicBezTo>
                    <a:pt x="3799" y="8227"/>
                    <a:pt x="3858" y="8299"/>
                    <a:pt x="3942" y="8311"/>
                  </a:cubicBezTo>
                  <a:lnTo>
                    <a:pt x="4120" y="8311"/>
                  </a:lnTo>
                  <a:cubicBezTo>
                    <a:pt x="4501" y="8311"/>
                    <a:pt x="4859" y="8251"/>
                    <a:pt x="5216" y="8120"/>
                  </a:cubicBezTo>
                  <a:cubicBezTo>
                    <a:pt x="5251" y="8275"/>
                    <a:pt x="5370" y="8394"/>
                    <a:pt x="5525" y="8454"/>
                  </a:cubicBezTo>
                  <a:lnTo>
                    <a:pt x="5704" y="8513"/>
                  </a:lnTo>
                  <a:cubicBezTo>
                    <a:pt x="5418" y="8835"/>
                    <a:pt x="4823" y="9049"/>
                    <a:pt x="4156" y="9049"/>
                  </a:cubicBezTo>
                  <a:cubicBezTo>
                    <a:pt x="3501" y="9049"/>
                    <a:pt x="2894" y="8835"/>
                    <a:pt x="2573" y="8525"/>
                  </a:cubicBezTo>
                  <a:lnTo>
                    <a:pt x="2751" y="8466"/>
                  </a:lnTo>
                  <a:cubicBezTo>
                    <a:pt x="2906" y="8406"/>
                    <a:pt x="3025" y="8287"/>
                    <a:pt x="3073" y="8132"/>
                  </a:cubicBezTo>
                  <a:cubicBezTo>
                    <a:pt x="3132" y="8156"/>
                    <a:pt x="3168" y="8180"/>
                    <a:pt x="3227" y="8192"/>
                  </a:cubicBezTo>
                  <a:lnTo>
                    <a:pt x="3275" y="8192"/>
                  </a:lnTo>
                  <a:cubicBezTo>
                    <a:pt x="3346" y="8192"/>
                    <a:pt x="3406" y="8156"/>
                    <a:pt x="3430" y="8073"/>
                  </a:cubicBezTo>
                  <a:cubicBezTo>
                    <a:pt x="3454" y="7989"/>
                    <a:pt x="3406" y="7894"/>
                    <a:pt x="3323" y="7870"/>
                  </a:cubicBezTo>
                  <a:cubicBezTo>
                    <a:pt x="3239" y="7834"/>
                    <a:pt x="3156" y="7811"/>
                    <a:pt x="3084" y="7775"/>
                  </a:cubicBezTo>
                  <a:lnTo>
                    <a:pt x="3084" y="7382"/>
                  </a:lnTo>
                  <a:cubicBezTo>
                    <a:pt x="3394" y="7525"/>
                    <a:pt x="3763" y="7620"/>
                    <a:pt x="4132" y="7620"/>
                  </a:cubicBezTo>
                  <a:cubicBezTo>
                    <a:pt x="4513" y="7620"/>
                    <a:pt x="4882" y="7525"/>
                    <a:pt x="5192" y="7382"/>
                  </a:cubicBezTo>
                  <a:close/>
                  <a:moveTo>
                    <a:pt x="3727" y="0"/>
                  </a:moveTo>
                  <a:cubicBezTo>
                    <a:pt x="3311" y="0"/>
                    <a:pt x="2918" y="203"/>
                    <a:pt x="2680" y="512"/>
                  </a:cubicBezTo>
                  <a:lnTo>
                    <a:pt x="1894" y="512"/>
                  </a:lnTo>
                  <a:cubicBezTo>
                    <a:pt x="1322" y="512"/>
                    <a:pt x="858" y="976"/>
                    <a:pt x="858" y="1548"/>
                  </a:cubicBezTo>
                  <a:cubicBezTo>
                    <a:pt x="858" y="1929"/>
                    <a:pt x="1072" y="2250"/>
                    <a:pt x="1382" y="2441"/>
                  </a:cubicBezTo>
                  <a:lnTo>
                    <a:pt x="1382" y="4382"/>
                  </a:lnTo>
                  <a:cubicBezTo>
                    <a:pt x="1179" y="4477"/>
                    <a:pt x="1049" y="4679"/>
                    <a:pt x="1049" y="4941"/>
                  </a:cubicBezTo>
                  <a:cubicBezTo>
                    <a:pt x="1049" y="5263"/>
                    <a:pt x="1310" y="5537"/>
                    <a:pt x="1644" y="5537"/>
                  </a:cubicBezTo>
                  <a:lnTo>
                    <a:pt x="1751" y="5537"/>
                  </a:lnTo>
                  <a:cubicBezTo>
                    <a:pt x="1751" y="5560"/>
                    <a:pt x="1775" y="5596"/>
                    <a:pt x="1775" y="5620"/>
                  </a:cubicBezTo>
                  <a:cubicBezTo>
                    <a:pt x="1537" y="5739"/>
                    <a:pt x="1382" y="5977"/>
                    <a:pt x="1382" y="6227"/>
                  </a:cubicBezTo>
                  <a:cubicBezTo>
                    <a:pt x="1382" y="6394"/>
                    <a:pt x="1441" y="6561"/>
                    <a:pt x="1560" y="6691"/>
                  </a:cubicBezTo>
                  <a:lnTo>
                    <a:pt x="1560" y="6751"/>
                  </a:lnTo>
                  <a:cubicBezTo>
                    <a:pt x="1560" y="7227"/>
                    <a:pt x="1953" y="7620"/>
                    <a:pt x="2430" y="7620"/>
                  </a:cubicBezTo>
                  <a:cubicBezTo>
                    <a:pt x="2549" y="7620"/>
                    <a:pt x="2680" y="7584"/>
                    <a:pt x="2787" y="7537"/>
                  </a:cubicBezTo>
                  <a:lnTo>
                    <a:pt x="2787" y="7977"/>
                  </a:lnTo>
                  <a:cubicBezTo>
                    <a:pt x="2787" y="8049"/>
                    <a:pt x="2739" y="8120"/>
                    <a:pt x="2668" y="8156"/>
                  </a:cubicBezTo>
                  <a:lnTo>
                    <a:pt x="810" y="8811"/>
                  </a:lnTo>
                  <a:cubicBezTo>
                    <a:pt x="334" y="8966"/>
                    <a:pt x="1" y="9430"/>
                    <a:pt x="1" y="9954"/>
                  </a:cubicBezTo>
                  <a:lnTo>
                    <a:pt x="1" y="10954"/>
                  </a:lnTo>
                  <a:cubicBezTo>
                    <a:pt x="1" y="11037"/>
                    <a:pt x="72" y="11109"/>
                    <a:pt x="167" y="11109"/>
                  </a:cubicBezTo>
                  <a:cubicBezTo>
                    <a:pt x="251" y="11109"/>
                    <a:pt x="322" y="11037"/>
                    <a:pt x="322" y="10954"/>
                  </a:cubicBezTo>
                  <a:lnTo>
                    <a:pt x="322" y="9954"/>
                  </a:lnTo>
                  <a:cubicBezTo>
                    <a:pt x="322" y="9847"/>
                    <a:pt x="346" y="9739"/>
                    <a:pt x="382" y="9644"/>
                  </a:cubicBezTo>
                  <a:lnTo>
                    <a:pt x="1203" y="10335"/>
                  </a:lnTo>
                  <a:cubicBezTo>
                    <a:pt x="1322" y="10442"/>
                    <a:pt x="1394" y="10597"/>
                    <a:pt x="1394" y="10740"/>
                  </a:cubicBezTo>
                  <a:lnTo>
                    <a:pt x="1394" y="10954"/>
                  </a:lnTo>
                  <a:cubicBezTo>
                    <a:pt x="1394" y="11037"/>
                    <a:pt x="1477" y="11109"/>
                    <a:pt x="1560" y="11109"/>
                  </a:cubicBezTo>
                  <a:cubicBezTo>
                    <a:pt x="1656" y="11109"/>
                    <a:pt x="1727" y="11037"/>
                    <a:pt x="1727" y="10954"/>
                  </a:cubicBezTo>
                  <a:lnTo>
                    <a:pt x="1727" y="10740"/>
                  </a:lnTo>
                  <a:cubicBezTo>
                    <a:pt x="1727" y="10490"/>
                    <a:pt x="1620" y="10251"/>
                    <a:pt x="1430" y="10085"/>
                  </a:cubicBezTo>
                  <a:lnTo>
                    <a:pt x="560" y="9347"/>
                  </a:lnTo>
                  <a:cubicBezTo>
                    <a:pt x="656" y="9239"/>
                    <a:pt x="787" y="9144"/>
                    <a:pt x="918" y="9108"/>
                  </a:cubicBezTo>
                  <a:lnTo>
                    <a:pt x="2263" y="8632"/>
                  </a:lnTo>
                  <a:cubicBezTo>
                    <a:pt x="2620" y="9073"/>
                    <a:pt x="3346" y="9358"/>
                    <a:pt x="4180" y="9358"/>
                  </a:cubicBezTo>
                  <a:cubicBezTo>
                    <a:pt x="4489" y="9358"/>
                    <a:pt x="4775" y="9311"/>
                    <a:pt x="5049" y="9251"/>
                  </a:cubicBezTo>
                  <a:lnTo>
                    <a:pt x="5073" y="9287"/>
                  </a:lnTo>
                  <a:cubicBezTo>
                    <a:pt x="5180" y="9382"/>
                    <a:pt x="5240" y="9525"/>
                    <a:pt x="5240" y="9656"/>
                  </a:cubicBezTo>
                  <a:lnTo>
                    <a:pt x="5240" y="10930"/>
                  </a:lnTo>
                  <a:cubicBezTo>
                    <a:pt x="5240" y="11025"/>
                    <a:pt x="5311" y="11097"/>
                    <a:pt x="5406" y="11097"/>
                  </a:cubicBezTo>
                  <a:cubicBezTo>
                    <a:pt x="5490" y="11097"/>
                    <a:pt x="5561" y="11025"/>
                    <a:pt x="5561" y="10930"/>
                  </a:cubicBezTo>
                  <a:lnTo>
                    <a:pt x="5561" y="9656"/>
                  </a:lnTo>
                  <a:cubicBezTo>
                    <a:pt x="5561" y="9466"/>
                    <a:pt x="5501" y="9287"/>
                    <a:pt x="5382" y="9132"/>
                  </a:cubicBezTo>
                  <a:cubicBezTo>
                    <a:pt x="5680" y="9013"/>
                    <a:pt x="5942" y="8835"/>
                    <a:pt x="6097" y="8632"/>
                  </a:cubicBezTo>
                  <a:lnTo>
                    <a:pt x="7442" y="9108"/>
                  </a:lnTo>
                  <a:cubicBezTo>
                    <a:pt x="7573" y="9144"/>
                    <a:pt x="7704" y="9239"/>
                    <a:pt x="7799" y="9347"/>
                  </a:cubicBezTo>
                  <a:lnTo>
                    <a:pt x="6930" y="10085"/>
                  </a:lnTo>
                  <a:cubicBezTo>
                    <a:pt x="6740" y="10251"/>
                    <a:pt x="6633" y="10490"/>
                    <a:pt x="6633" y="10740"/>
                  </a:cubicBezTo>
                  <a:lnTo>
                    <a:pt x="6633" y="10954"/>
                  </a:lnTo>
                  <a:cubicBezTo>
                    <a:pt x="6633" y="11037"/>
                    <a:pt x="6716" y="11109"/>
                    <a:pt x="6799" y="11109"/>
                  </a:cubicBezTo>
                  <a:cubicBezTo>
                    <a:pt x="6894" y="11109"/>
                    <a:pt x="6966" y="11037"/>
                    <a:pt x="6966" y="10954"/>
                  </a:cubicBezTo>
                  <a:lnTo>
                    <a:pt x="6966" y="10740"/>
                  </a:lnTo>
                  <a:cubicBezTo>
                    <a:pt x="6966" y="10597"/>
                    <a:pt x="7037" y="10442"/>
                    <a:pt x="7156" y="10335"/>
                  </a:cubicBezTo>
                  <a:lnTo>
                    <a:pt x="7978" y="9632"/>
                  </a:lnTo>
                  <a:cubicBezTo>
                    <a:pt x="8002" y="9739"/>
                    <a:pt x="8037" y="9847"/>
                    <a:pt x="8037" y="9954"/>
                  </a:cubicBezTo>
                  <a:lnTo>
                    <a:pt x="8037" y="10954"/>
                  </a:lnTo>
                  <a:cubicBezTo>
                    <a:pt x="8037" y="11037"/>
                    <a:pt x="8109" y="11109"/>
                    <a:pt x="8204" y="11109"/>
                  </a:cubicBezTo>
                  <a:cubicBezTo>
                    <a:pt x="8288" y="11109"/>
                    <a:pt x="8359" y="11037"/>
                    <a:pt x="8359" y="10954"/>
                  </a:cubicBezTo>
                  <a:lnTo>
                    <a:pt x="8359" y="9954"/>
                  </a:lnTo>
                  <a:cubicBezTo>
                    <a:pt x="8335" y="9430"/>
                    <a:pt x="8002" y="8966"/>
                    <a:pt x="7514" y="8811"/>
                  </a:cubicBezTo>
                  <a:lnTo>
                    <a:pt x="5656" y="8156"/>
                  </a:lnTo>
                  <a:cubicBezTo>
                    <a:pt x="5585" y="8120"/>
                    <a:pt x="5537" y="8061"/>
                    <a:pt x="5537" y="7977"/>
                  </a:cubicBezTo>
                  <a:lnTo>
                    <a:pt x="5537" y="7537"/>
                  </a:lnTo>
                  <a:cubicBezTo>
                    <a:pt x="5644" y="7584"/>
                    <a:pt x="5775" y="7620"/>
                    <a:pt x="5894" y="7620"/>
                  </a:cubicBezTo>
                  <a:cubicBezTo>
                    <a:pt x="6371" y="7620"/>
                    <a:pt x="6764" y="7227"/>
                    <a:pt x="6764" y="6751"/>
                  </a:cubicBezTo>
                  <a:lnTo>
                    <a:pt x="6764" y="6691"/>
                  </a:lnTo>
                  <a:cubicBezTo>
                    <a:pt x="6883" y="6572"/>
                    <a:pt x="6942" y="6406"/>
                    <a:pt x="6942" y="6227"/>
                  </a:cubicBezTo>
                  <a:cubicBezTo>
                    <a:pt x="6942" y="5965"/>
                    <a:pt x="6787" y="5727"/>
                    <a:pt x="6549" y="5620"/>
                  </a:cubicBezTo>
                  <a:cubicBezTo>
                    <a:pt x="6549" y="5596"/>
                    <a:pt x="6561" y="5560"/>
                    <a:pt x="6561" y="5537"/>
                  </a:cubicBezTo>
                  <a:lnTo>
                    <a:pt x="6680" y="5537"/>
                  </a:lnTo>
                  <a:cubicBezTo>
                    <a:pt x="7014" y="5537"/>
                    <a:pt x="7275" y="5263"/>
                    <a:pt x="7275" y="4941"/>
                  </a:cubicBezTo>
                  <a:cubicBezTo>
                    <a:pt x="7275" y="4703"/>
                    <a:pt x="7133" y="4489"/>
                    <a:pt x="6942" y="4382"/>
                  </a:cubicBezTo>
                  <a:lnTo>
                    <a:pt x="6942" y="2441"/>
                  </a:lnTo>
                  <a:cubicBezTo>
                    <a:pt x="7252" y="2250"/>
                    <a:pt x="7454" y="1917"/>
                    <a:pt x="7454" y="1548"/>
                  </a:cubicBezTo>
                  <a:cubicBezTo>
                    <a:pt x="7454" y="976"/>
                    <a:pt x="7002" y="512"/>
                    <a:pt x="6430" y="512"/>
                  </a:cubicBezTo>
                  <a:lnTo>
                    <a:pt x="5644" y="512"/>
                  </a:lnTo>
                  <a:cubicBezTo>
                    <a:pt x="5406" y="191"/>
                    <a:pt x="5013" y="0"/>
                    <a:pt x="4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48" name="Google Shape;11648;p61"/>
          <p:cNvGrpSpPr/>
          <p:nvPr/>
        </p:nvGrpSpPr>
        <p:grpSpPr>
          <a:xfrm>
            <a:off x="5349253" y="3346936"/>
            <a:ext cx="265922" cy="352693"/>
            <a:chOff x="5349253" y="3346936"/>
            <a:chExt cx="265922" cy="352693"/>
          </a:xfrm>
        </p:grpSpPr>
        <p:sp>
          <p:nvSpPr>
            <p:cNvPr id="11649" name="Google Shape;11649;p61"/>
            <p:cNvSpPr/>
            <p:nvPr/>
          </p:nvSpPr>
          <p:spPr>
            <a:xfrm>
              <a:off x="5460133" y="3534862"/>
              <a:ext cx="44162" cy="15396"/>
            </a:xfrm>
            <a:custGeom>
              <a:avLst/>
              <a:gdLst/>
              <a:ahLst/>
              <a:cxnLst/>
              <a:rect l="l" t="t" r="r" b="b"/>
              <a:pathLst>
                <a:path w="1394" h="486" extrusionOk="0">
                  <a:moveTo>
                    <a:pt x="173" y="1"/>
                  </a:moveTo>
                  <a:cubicBezTo>
                    <a:pt x="131" y="1"/>
                    <a:pt x="90" y="16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203" y="402"/>
                    <a:pt x="429" y="486"/>
                    <a:pt x="703" y="486"/>
                  </a:cubicBezTo>
                  <a:cubicBezTo>
                    <a:pt x="965" y="486"/>
                    <a:pt x="1191" y="402"/>
                    <a:pt x="1346" y="260"/>
                  </a:cubicBezTo>
                  <a:cubicBezTo>
                    <a:pt x="1394" y="200"/>
                    <a:pt x="1394" y="105"/>
                    <a:pt x="1310" y="45"/>
                  </a:cubicBezTo>
                  <a:cubicBezTo>
                    <a:pt x="1280" y="16"/>
                    <a:pt x="1242" y="1"/>
                    <a:pt x="1203" y="1"/>
                  </a:cubicBezTo>
                  <a:cubicBezTo>
                    <a:pt x="1164" y="1"/>
                    <a:pt x="1126" y="16"/>
                    <a:pt x="1096" y="45"/>
                  </a:cubicBezTo>
                  <a:cubicBezTo>
                    <a:pt x="1024" y="105"/>
                    <a:pt x="882" y="176"/>
                    <a:pt x="691" y="176"/>
                  </a:cubicBezTo>
                  <a:cubicBezTo>
                    <a:pt x="501" y="176"/>
                    <a:pt x="346" y="105"/>
                    <a:pt x="286" y="45"/>
                  </a:cubicBez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0" name="Google Shape;11650;p61"/>
            <p:cNvSpPr/>
            <p:nvPr/>
          </p:nvSpPr>
          <p:spPr>
            <a:xfrm>
              <a:off x="5443153" y="3495927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84" y="512"/>
                    <a:pt x="167" y="512"/>
                  </a:cubicBezTo>
                  <a:cubicBezTo>
                    <a:pt x="251" y="512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1" name="Google Shape;11651;p61"/>
            <p:cNvSpPr/>
            <p:nvPr/>
          </p:nvSpPr>
          <p:spPr>
            <a:xfrm>
              <a:off x="5509934" y="3495927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55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2" name="Google Shape;11652;p61"/>
            <p:cNvSpPr/>
            <p:nvPr/>
          </p:nvSpPr>
          <p:spPr>
            <a:xfrm>
              <a:off x="5438242" y="3479707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501" y="322"/>
                  </a:lnTo>
                  <a:cubicBezTo>
                    <a:pt x="596" y="322"/>
                    <a:pt x="668" y="250"/>
                    <a:pt x="668" y="155"/>
                  </a:cubicBezTo>
                  <a:cubicBezTo>
                    <a:pt x="668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3" name="Google Shape;11653;p61"/>
            <p:cNvSpPr/>
            <p:nvPr/>
          </p:nvSpPr>
          <p:spPr>
            <a:xfrm>
              <a:off x="5504644" y="3479707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01" y="322"/>
                  </a:lnTo>
                  <a:cubicBezTo>
                    <a:pt x="596" y="322"/>
                    <a:pt x="667" y="250"/>
                    <a:pt x="667" y="155"/>
                  </a:cubicBezTo>
                  <a:cubicBezTo>
                    <a:pt x="655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4" name="Google Shape;11654;p61"/>
            <p:cNvSpPr/>
            <p:nvPr/>
          </p:nvSpPr>
          <p:spPr>
            <a:xfrm>
              <a:off x="5349253" y="3346936"/>
              <a:ext cx="265922" cy="352693"/>
            </a:xfrm>
            <a:custGeom>
              <a:avLst/>
              <a:gdLst/>
              <a:ahLst/>
              <a:cxnLst/>
              <a:rect l="l" t="t" r="r" b="b"/>
              <a:pathLst>
                <a:path w="8394" h="11133" extrusionOk="0">
                  <a:moveTo>
                    <a:pt x="4179" y="334"/>
                  </a:moveTo>
                  <a:cubicBezTo>
                    <a:pt x="5810" y="334"/>
                    <a:pt x="7156" y="1667"/>
                    <a:pt x="7156" y="3310"/>
                  </a:cubicBezTo>
                  <a:lnTo>
                    <a:pt x="7156" y="3870"/>
                  </a:lnTo>
                  <a:cubicBezTo>
                    <a:pt x="7084" y="3846"/>
                    <a:pt x="7037" y="3846"/>
                    <a:pt x="6977" y="3846"/>
                  </a:cubicBezTo>
                  <a:lnTo>
                    <a:pt x="6953" y="3846"/>
                  </a:lnTo>
                  <a:lnTo>
                    <a:pt x="6953" y="3477"/>
                  </a:lnTo>
                  <a:cubicBezTo>
                    <a:pt x="6953" y="1941"/>
                    <a:pt x="5703" y="691"/>
                    <a:pt x="4179" y="691"/>
                  </a:cubicBezTo>
                  <a:cubicBezTo>
                    <a:pt x="2643" y="691"/>
                    <a:pt x="1393" y="1941"/>
                    <a:pt x="1393" y="3477"/>
                  </a:cubicBezTo>
                  <a:lnTo>
                    <a:pt x="1393" y="3834"/>
                  </a:lnTo>
                  <a:lnTo>
                    <a:pt x="1381" y="3834"/>
                  </a:lnTo>
                  <a:cubicBezTo>
                    <a:pt x="1322" y="3834"/>
                    <a:pt x="1238" y="3846"/>
                    <a:pt x="1203" y="3858"/>
                  </a:cubicBezTo>
                  <a:lnTo>
                    <a:pt x="1203" y="3310"/>
                  </a:lnTo>
                  <a:cubicBezTo>
                    <a:pt x="1203" y="1667"/>
                    <a:pt x="2536" y="334"/>
                    <a:pt x="4179" y="334"/>
                  </a:cubicBezTo>
                  <a:close/>
                  <a:moveTo>
                    <a:pt x="6953" y="4156"/>
                  </a:moveTo>
                  <a:cubicBezTo>
                    <a:pt x="7060" y="4156"/>
                    <a:pt x="7132" y="4251"/>
                    <a:pt x="7132" y="4334"/>
                  </a:cubicBezTo>
                  <a:lnTo>
                    <a:pt x="7132" y="5037"/>
                  </a:lnTo>
                  <a:cubicBezTo>
                    <a:pt x="7156" y="5156"/>
                    <a:pt x="7060" y="5227"/>
                    <a:pt x="6953" y="5227"/>
                  </a:cubicBezTo>
                  <a:lnTo>
                    <a:pt x="6596" y="5227"/>
                  </a:lnTo>
                  <a:lnTo>
                    <a:pt x="6596" y="5215"/>
                  </a:lnTo>
                  <a:lnTo>
                    <a:pt x="6596" y="4156"/>
                  </a:lnTo>
                  <a:close/>
                  <a:moveTo>
                    <a:pt x="1738" y="4168"/>
                  </a:moveTo>
                  <a:lnTo>
                    <a:pt x="1738" y="5239"/>
                  </a:lnTo>
                  <a:lnTo>
                    <a:pt x="1381" y="5239"/>
                  </a:lnTo>
                  <a:cubicBezTo>
                    <a:pt x="1274" y="5239"/>
                    <a:pt x="1203" y="5156"/>
                    <a:pt x="1203" y="5061"/>
                  </a:cubicBezTo>
                  <a:lnTo>
                    <a:pt x="1203" y="4346"/>
                  </a:lnTo>
                  <a:cubicBezTo>
                    <a:pt x="1203" y="4251"/>
                    <a:pt x="1286" y="4168"/>
                    <a:pt x="1381" y="4168"/>
                  </a:cubicBezTo>
                  <a:close/>
                  <a:moveTo>
                    <a:pt x="1203" y="5525"/>
                  </a:moveTo>
                  <a:cubicBezTo>
                    <a:pt x="1262" y="5561"/>
                    <a:pt x="1322" y="5561"/>
                    <a:pt x="1381" y="5561"/>
                  </a:cubicBezTo>
                  <a:lnTo>
                    <a:pt x="1738" y="5561"/>
                  </a:lnTo>
                  <a:cubicBezTo>
                    <a:pt x="1738" y="5692"/>
                    <a:pt x="1715" y="5811"/>
                    <a:pt x="1691" y="5930"/>
                  </a:cubicBezTo>
                  <a:lnTo>
                    <a:pt x="1560" y="5930"/>
                  </a:lnTo>
                  <a:cubicBezTo>
                    <a:pt x="1357" y="5930"/>
                    <a:pt x="1203" y="5763"/>
                    <a:pt x="1203" y="5572"/>
                  </a:cubicBezTo>
                  <a:lnTo>
                    <a:pt x="1203" y="5525"/>
                  </a:lnTo>
                  <a:close/>
                  <a:moveTo>
                    <a:pt x="4200" y="1024"/>
                  </a:moveTo>
                  <a:cubicBezTo>
                    <a:pt x="5536" y="1024"/>
                    <a:pt x="6644" y="2139"/>
                    <a:pt x="6644" y="3489"/>
                  </a:cubicBezTo>
                  <a:lnTo>
                    <a:pt x="6644" y="3846"/>
                  </a:lnTo>
                  <a:lnTo>
                    <a:pt x="6632" y="3846"/>
                  </a:lnTo>
                  <a:lnTo>
                    <a:pt x="6632" y="3822"/>
                  </a:lnTo>
                  <a:cubicBezTo>
                    <a:pt x="6632" y="3667"/>
                    <a:pt x="6560" y="3501"/>
                    <a:pt x="6418" y="3406"/>
                  </a:cubicBezTo>
                  <a:cubicBezTo>
                    <a:pt x="6330" y="3342"/>
                    <a:pt x="6227" y="3316"/>
                    <a:pt x="6126" y="3316"/>
                  </a:cubicBezTo>
                  <a:cubicBezTo>
                    <a:pt x="6075" y="3316"/>
                    <a:pt x="6025" y="3322"/>
                    <a:pt x="5977" y="3334"/>
                  </a:cubicBezTo>
                  <a:cubicBezTo>
                    <a:pt x="5620" y="3441"/>
                    <a:pt x="5263" y="3489"/>
                    <a:pt x="5072" y="3501"/>
                  </a:cubicBezTo>
                  <a:lnTo>
                    <a:pt x="5072" y="2798"/>
                  </a:lnTo>
                  <a:cubicBezTo>
                    <a:pt x="5072" y="2763"/>
                    <a:pt x="5048" y="2691"/>
                    <a:pt x="5013" y="2667"/>
                  </a:cubicBezTo>
                  <a:cubicBezTo>
                    <a:pt x="4983" y="2644"/>
                    <a:pt x="4944" y="2632"/>
                    <a:pt x="4905" y="2632"/>
                  </a:cubicBezTo>
                  <a:cubicBezTo>
                    <a:pt x="4867" y="2632"/>
                    <a:pt x="4828" y="2644"/>
                    <a:pt x="4798" y="2667"/>
                  </a:cubicBezTo>
                  <a:cubicBezTo>
                    <a:pt x="4429" y="2965"/>
                    <a:pt x="3786" y="3263"/>
                    <a:pt x="2941" y="3501"/>
                  </a:cubicBezTo>
                  <a:cubicBezTo>
                    <a:pt x="2846" y="3537"/>
                    <a:pt x="2810" y="3620"/>
                    <a:pt x="2822" y="3691"/>
                  </a:cubicBezTo>
                  <a:cubicBezTo>
                    <a:pt x="2843" y="3775"/>
                    <a:pt x="2919" y="3813"/>
                    <a:pt x="2985" y="3813"/>
                  </a:cubicBezTo>
                  <a:cubicBezTo>
                    <a:pt x="2994" y="3813"/>
                    <a:pt x="3004" y="3812"/>
                    <a:pt x="3012" y="3810"/>
                  </a:cubicBezTo>
                  <a:cubicBezTo>
                    <a:pt x="3739" y="3608"/>
                    <a:pt x="4322" y="3382"/>
                    <a:pt x="4727" y="3108"/>
                  </a:cubicBezTo>
                  <a:lnTo>
                    <a:pt x="4727" y="3667"/>
                  </a:lnTo>
                  <a:cubicBezTo>
                    <a:pt x="4727" y="3751"/>
                    <a:pt x="4798" y="3822"/>
                    <a:pt x="4894" y="3822"/>
                  </a:cubicBezTo>
                  <a:cubicBezTo>
                    <a:pt x="4917" y="3822"/>
                    <a:pt x="5465" y="3822"/>
                    <a:pt x="6048" y="3644"/>
                  </a:cubicBezTo>
                  <a:cubicBezTo>
                    <a:pt x="6063" y="3641"/>
                    <a:pt x="6078" y="3639"/>
                    <a:pt x="6093" y="3639"/>
                  </a:cubicBezTo>
                  <a:cubicBezTo>
                    <a:pt x="6137" y="3639"/>
                    <a:pt x="6179" y="3653"/>
                    <a:pt x="6215" y="3679"/>
                  </a:cubicBezTo>
                  <a:cubicBezTo>
                    <a:pt x="6251" y="3703"/>
                    <a:pt x="6275" y="3763"/>
                    <a:pt x="6275" y="3810"/>
                  </a:cubicBezTo>
                  <a:lnTo>
                    <a:pt x="6275" y="5406"/>
                  </a:lnTo>
                  <a:cubicBezTo>
                    <a:pt x="6227" y="5906"/>
                    <a:pt x="6001" y="6382"/>
                    <a:pt x="5632" y="6739"/>
                  </a:cubicBezTo>
                  <a:cubicBezTo>
                    <a:pt x="5245" y="7104"/>
                    <a:pt x="4746" y="7315"/>
                    <a:pt x="4210" y="7315"/>
                  </a:cubicBezTo>
                  <a:cubicBezTo>
                    <a:pt x="4168" y="7315"/>
                    <a:pt x="4126" y="7313"/>
                    <a:pt x="4084" y="7311"/>
                  </a:cubicBezTo>
                  <a:cubicBezTo>
                    <a:pt x="3548" y="7275"/>
                    <a:pt x="3048" y="7049"/>
                    <a:pt x="2655" y="6644"/>
                  </a:cubicBezTo>
                  <a:cubicBezTo>
                    <a:pt x="2548" y="6525"/>
                    <a:pt x="2453" y="6382"/>
                    <a:pt x="2369" y="6251"/>
                  </a:cubicBezTo>
                  <a:lnTo>
                    <a:pt x="2953" y="6251"/>
                  </a:lnTo>
                  <a:cubicBezTo>
                    <a:pt x="3048" y="6251"/>
                    <a:pt x="3120" y="6180"/>
                    <a:pt x="3120" y="6084"/>
                  </a:cubicBezTo>
                  <a:cubicBezTo>
                    <a:pt x="3120" y="6001"/>
                    <a:pt x="3048" y="5930"/>
                    <a:pt x="2953" y="5930"/>
                  </a:cubicBezTo>
                  <a:lnTo>
                    <a:pt x="2227" y="5930"/>
                  </a:lnTo>
                  <a:cubicBezTo>
                    <a:pt x="2131" y="5692"/>
                    <a:pt x="2096" y="5418"/>
                    <a:pt x="2096" y="5156"/>
                  </a:cubicBezTo>
                  <a:lnTo>
                    <a:pt x="2096" y="4001"/>
                  </a:lnTo>
                  <a:cubicBezTo>
                    <a:pt x="2167" y="3989"/>
                    <a:pt x="2227" y="3977"/>
                    <a:pt x="2298" y="3965"/>
                  </a:cubicBezTo>
                  <a:cubicBezTo>
                    <a:pt x="2393" y="3941"/>
                    <a:pt x="2453" y="3858"/>
                    <a:pt x="2429" y="3763"/>
                  </a:cubicBezTo>
                  <a:cubicBezTo>
                    <a:pt x="2418" y="3687"/>
                    <a:pt x="2347" y="3630"/>
                    <a:pt x="2263" y="3630"/>
                  </a:cubicBezTo>
                  <a:cubicBezTo>
                    <a:pt x="2255" y="3630"/>
                    <a:pt x="2247" y="3631"/>
                    <a:pt x="2238" y="3632"/>
                  </a:cubicBezTo>
                  <a:cubicBezTo>
                    <a:pt x="2072" y="3667"/>
                    <a:pt x="1917" y="3703"/>
                    <a:pt x="1738" y="3739"/>
                  </a:cubicBezTo>
                  <a:lnTo>
                    <a:pt x="1738" y="3501"/>
                  </a:lnTo>
                  <a:cubicBezTo>
                    <a:pt x="1738" y="2143"/>
                    <a:pt x="2822" y="1024"/>
                    <a:pt x="4179" y="1024"/>
                  </a:cubicBezTo>
                  <a:cubicBezTo>
                    <a:pt x="4186" y="1024"/>
                    <a:pt x="4193" y="1024"/>
                    <a:pt x="4200" y="1024"/>
                  </a:cubicBezTo>
                  <a:close/>
                  <a:moveTo>
                    <a:pt x="2000" y="6251"/>
                  </a:moveTo>
                  <a:cubicBezTo>
                    <a:pt x="2107" y="6477"/>
                    <a:pt x="2238" y="6680"/>
                    <a:pt x="2417" y="6870"/>
                  </a:cubicBezTo>
                  <a:cubicBezTo>
                    <a:pt x="2584" y="7049"/>
                    <a:pt x="2762" y="7192"/>
                    <a:pt x="2965" y="7311"/>
                  </a:cubicBezTo>
                  <a:lnTo>
                    <a:pt x="2965" y="7858"/>
                  </a:lnTo>
                  <a:cubicBezTo>
                    <a:pt x="2965" y="8085"/>
                    <a:pt x="2822" y="8299"/>
                    <a:pt x="2608" y="8370"/>
                  </a:cubicBezTo>
                  <a:lnTo>
                    <a:pt x="1691" y="8692"/>
                  </a:lnTo>
                  <a:cubicBezTo>
                    <a:pt x="1536" y="7882"/>
                    <a:pt x="1691" y="7311"/>
                    <a:pt x="1846" y="6727"/>
                  </a:cubicBezTo>
                  <a:cubicBezTo>
                    <a:pt x="1893" y="6585"/>
                    <a:pt x="1941" y="6418"/>
                    <a:pt x="1965" y="6251"/>
                  </a:cubicBezTo>
                  <a:close/>
                  <a:moveTo>
                    <a:pt x="6382" y="6239"/>
                  </a:moveTo>
                  <a:cubicBezTo>
                    <a:pt x="6406" y="6406"/>
                    <a:pt x="6453" y="6549"/>
                    <a:pt x="6489" y="6715"/>
                  </a:cubicBezTo>
                  <a:cubicBezTo>
                    <a:pt x="6656" y="7311"/>
                    <a:pt x="6810" y="7858"/>
                    <a:pt x="6656" y="8692"/>
                  </a:cubicBezTo>
                  <a:lnTo>
                    <a:pt x="5739" y="8370"/>
                  </a:lnTo>
                  <a:cubicBezTo>
                    <a:pt x="5525" y="8299"/>
                    <a:pt x="5382" y="8085"/>
                    <a:pt x="5382" y="7858"/>
                  </a:cubicBezTo>
                  <a:lnTo>
                    <a:pt x="5382" y="7323"/>
                  </a:lnTo>
                  <a:cubicBezTo>
                    <a:pt x="5536" y="7227"/>
                    <a:pt x="5703" y="7120"/>
                    <a:pt x="5858" y="6966"/>
                  </a:cubicBezTo>
                  <a:cubicBezTo>
                    <a:pt x="6084" y="6763"/>
                    <a:pt x="6263" y="6513"/>
                    <a:pt x="6382" y="6239"/>
                  </a:cubicBezTo>
                  <a:close/>
                  <a:moveTo>
                    <a:pt x="4179" y="0"/>
                  </a:moveTo>
                  <a:cubicBezTo>
                    <a:pt x="2346" y="0"/>
                    <a:pt x="869" y="1477"/>
                    <a:pt x="869" y="3310"/>
                  </a:cubicBezTo>
                  <a:lnTo>
                    <a:pt x="869" y="5572"/>
                  </a:lnTo>
                  <a:cubicBezTo>
                    <a:pt x="869" y="5942"/>
                    <a:pt x="1179" y="6251"/>
                    <a:pt x="1548" y="6251"/>
                  </a:cubicBezTo>
                  <a:lnTo>
                    <a:pt x="1631" y="6251"/>
                  </a:lnTo>
                  <a:cubicBezTo>
                    <a:pt x="1596" y="6394"/>
                    <a:pt x="1572" y="6513"/>
                    <a:pt x="1524" y="6644"/>
                  </a:cubicBezTo>
                  <a:cubicBezTo>
                    <a:pt x="1357" y="7251"/>
                    <a:pt x="1179" y="7882"/>
                    <a:pt x="1369" y="8799"/>
                  </a:cubicBezTo>
                  <a:lnTo>
                    <a:pt x="810" y="8990"/>
                  </a:lnTo>
                  <a:cubicBezTo>
                    <a:pt x="333" y="9156"/>
                    <a:pt x="0" y="9621"/>
                    <a:pt x="0" y="10144"/>
                  </a:cubicBezTo>
                  <a:lnTo>
                    <a:pt x="0" y="10978"/>
                  </a:lnTo>
                  <a:cubicBezTo>
                    <a:pt x="0" y="11061"/>
                    <a:pt x="83" y="11133"/>
                    <a:pt x="167" y="11133"/>
                  </a:cubicBezTo>
                  <a:cubicBezTo>
                    <a:pt x="262" y="11133"/>
                    <a:pt x="333" y="11061"/>
                    <a:pt x="333" y="10978"/>
                  </a:cubicBezTo>
                  <a:lnTo>
                    <a:pt x="333" y="10144"/>
                  </a:lnTo>
                  <a:cubicBezTo>
                    <a:pt x="333" y="9978"/>
                    <a:pt x="381" y="9823"/>
                    <a:pt x="453" y="9692"/>
                  </a:cubicBezTo>
                  <a:lnTo>
                    <a:pt x="1226" y="10347"/>
                  </a:lnTo>
                  <a:cubicBezTo>
                    <a:pt x="1345" y="10454"/>
                    <a:pt x="1417" y="10597"/>
                    <a:pt x="1417" y="10752"/>
                  </a:cubicBezTo>
                  <a:lnTo>
                    <a:pt x="1417" y="10954"/>
                  </a:lnTo>
                  <a:cubicBezTo>
                    <a:pt x="1417" y="11049"/>
                    <a:pt x="1488" y="11121"/>
                    <a:pt x="1584" y="11121"/>
                  </a:cubicBezTo>
                  <a:cubicBezTo>
                    <a:pt x="1667" y="11121"/>
                    <a:pt x="1750" y="11049"/>
                    <a:pt x="1750" y="10954"/>
                  </a:cubicBezTo>
                  <a:lnTo>
                    <a:pt x="1750" y="10764"/>
                  </a:lnTo>
                  <a:cubicBezTo>
                    <a:pt x="1750" y="10514"/>
                    <a:pt x="1643" y="10275"/>
                    <a:pt x="1453" y="10109"/>
                  </a:cubicBezTo>
                  <a:lnTo>
                    <a:pt x="679" y="9454"/>
                  </a:lnTo>
                  <a:cubicBezTo>
                    <a:pt x="750" y="9394"/>
                    <a:pt x="834" y="9347"/>
                    <a:pt x="929" y="9311"/>
                  </a:cubicBezTo>
                  <a:lnTo>
                    <a:pt x="2500" y="8751"/>
                  </a:lnTo>
                  <a:cubicBezTo>
                    <a:pt x="2679" y="9525"/>
                    <a:pt x="3381" y="10097"/>
                    <a:pt x="4191" y="10097"/>
                  </a:cubicBezTo>
                  <a:cubicBezTo>
                    <a:pt x="4465" y="10097"/>
                    <a:pt x="4739" y="10037"/>
                    <a:pt x="4977" y="9906"/>
                  </a:cubicBezTo>
                  <a:cubicBezTo>
                    <a:pt x="5048" y="9859"/>
                    <a:pt x="5084" y="9763"/>
                    <a:pt x="5048" y="9680"/>
                  </a:cubicBezTo>
                  <a:cubicBezTo>
                    <a:pt x="5013" y="9628"/>
                    <a:pt x="4959" y="9595"/>
                    <a:pt x="4896" y="9595"/>
                  </a:cubicBezTo>
                  <a:cubicBezTo>
                    <a:pt x="4872" y="9595"/>
                    <a:pt x="4848" y="9599"/>
                    <a:pt x="4822" y="9609"/>
                  </a:cubicBezTo>
                  <a:cubicBezTo>
                    <a:pt x="4632" y="9704"/>
                    <a:pt x="4405" y="9752"/>
                    <a:pt x="4191" y="9752"/>
                  </a:cubicBezTo>
                  <a:cubicBezTo>
                    <a:pt x="3512" y="9752"/>
                    <a:pt x="2941" y="9275"/>
                    <a:pt x="2822" y="8632"/>
                  </a:cubicBezTo>
                  <a:cubicBezTo>
                    <a:pt x="3120" y="8501"/>
                    <a:pt x="3310" y="8192"/>
                    <a:pt x="3310" y="7858"/>
                  </a:cubicBezTo>
                  <a:lnTo>
                    <a:pt x="3310" y="7477"/>
                  </a:lnTo>
                  <a:cubicBezTo>
                    <a:pt x="3548" y="7585"/>
                    <a:pt x="3810" y="7644"/>
                    <a:pt x="4084" y="7644"/>
                  </a:cubicBezTo>
                  <a:lnTo>
                    <a:pt x="4203" y="7644"/>
                  </a:lnTo>
                  <a:cubicBezTo>
                    <a:pt x="4501" y="7644"/>
                    <a:pt x="4798" y="7585"/>
                    <a:pt x="5084" y="7477"/>
                  </a:cubicBezTo>
                  <a:lnTo>
                    <a:pt x="5084" y="7847"/>
                  </a:lnTo>
                  <a:cubicBezTo>
                    <a:pt x="5084" y="8180"/>
                    <a:pt x="5275" y="8490"/>
                    <a:pt x="5572" y="8620"/>
                  </a:cubicBezTo>
                  <a:cubicBezTo>
                    <a:pt x="5525" y="8811"/>
                    <a:pt x="5453" y="9013"/>
                    <a:pt x="5322" y="9168"/>
                  </a:cubicBezTo>
                  <a:cubicBezTo>
                    <a:pt x="5263" y="9252"/>
                    <a:pt x="5275" y="9347"/>
                    <a:pt x="5346" y="9394"/>
                  </a:cubicBezTo>
                  <a:cubicBezTo>
                    <a:pt x="5382" y="9406"/>
                    <a:pt x="5406" y="9430"/>
                    <a:pt x="5453" y="9430"/>
                  </a:cubicBezTo>
                  <a:cubicBezTo>
                    <a:pt x="5501" y="9430"/>
                    <a:pt x="5560" y="9394"/>
                    <a:pt x="5584" y="9371"/>
                  </a:cubicBezTo>
                  <a:cubicBezTo>
                    <a:pt x="5715" y="9168"/>
                    <a:pt x="5822" y="8966"/>
                    <a:pt x="5882" y="8728"/>
                  </a:cubicBezTo>
                  <a:lnTo>
                    <a:pt x="7465" y="9275"/>
                  </a:lnTo>
                  <a:cubicBezTo>
                    <a:pt x="7561" y="9311"/>
                    <a:pt x="7656" y="9371"/>
                    <a:pt x="7727" y="9430"/>
                  </a:cubicBezTo>
                  <a:lnTo>
                    <a:pt x="6965" y="10085"/>
                  </a:lnTo>
                  <a:cubicBezTo>
                    <a:pt x="6775" y="10240"/>
                    <a:pt x="6668" y="10478"/>
                    <a:pt x="6668" y="10740"/>
                  </a:cubicBezTo>
                  <a:lnTo>
                    <a:pt x="6668" y="10942"/>
                  </a:lnTo>
                  <a:cubicBezTo>
                    <a:pt x="6668" y="11037"/>
                    <a:pt x="6751" y="11109"/>
                    <a:pt x="6834" y="11109"/>
                  </a:cubicBezTo>
                  <a:cubicBezTo>
                    <a:pt x="6930" y="11109"/>
                    <a:pt x="7001" y="11037"/>
                    <a:pt x="7001" y="10942"/>
                  </a:cubicBezTo>
                  <a:lnTo>
                    <a:pt x="7001" y="10764"/>
                  </a:lnTo>
                  <a:cubicBezTo>
                    <a:pt x="7001" y="10621"/>
                    <a:pt x="7072" y="10466"/>
                    <a:pt x="7191" y="10359"/>
                  </a:cubicBezTo>
                  <a:lnTo>
                    <a:pt x="7953" y="9704"/>
                  </a:lnTo>
                  <a:cubicBezTo>
                    <a:pt x="8025" y="9847"/>
                    <a:pt x="8073" y="9990"/>
                    <a:pt x="8073" y="10144"/>
                  </a:cubicBezTo>
                  <a:lnTo>
                    <a:pt x="8073" y="10978"/>
                  </a:lnTo>
                  <a:cubicBezTo>
                    <a:pt x="8073" y="11061"/>
                    <a:pt x="8144" y="11133"/>
                    <a:pt x="8239" y="11133"/>
                  </a:cubicBezTo>
                  <a:cubicBezTo>
                    <a:pt x="8323" y="11133"/>
                    <a:pt x="8394" y="11061"/>
                    <a:pt x="8394" y="10978"/>
                  </a:cubicBezTo>
                  <a:lnTo>
                    <a:pt x="8394" y="10144"/>
                  </a:lnTo>
                  <a:cubicBezTo>
                    <a:pt x="8346" y="9633"/>
                    <a:pt x="8013" y="9168"/>
                    <a:pt x="7537" y="8990"/>
                  </a:cubicBezTo>
                  <a:lnTo>
                    <a:pt x="6977" y="8799"/>
                  </a:lnTo>
                  <a:cubicBezTo>
                    <a:pt x="7156" y="7882"/>
                    <a:pt x="6989" y="7251"/>
                    <a:pt x="6822" y="6644"/>
                  </a:cubicBezTo>
                  <a:cubicBezTo>
                    <a:pt x="6739" y="6287"/>
                    <a:pt x="6632" y="5942"/>
                    <a:pt x="6608" y="5561"/>
                  </a:cubicBezTo>
                  <a:lnTo>
                    <a:pt x="6977" y="5561"/>
                  </a:lnTo>
                  <a:cubicBezTo>
                    <a:pt x="7251" y="5561"/>
                    <a:pt x="7477" y="5334"/>
                    <a:pt x="7477" y="5049"/>
                  </a:cubicBezTo>
                  <a:lnTo>
                    <a:pt x="7477" y="3310"/>
                  </a:lnTo>
                  <a:cubicBezTo>
                    <a:pt x="7477" y="1489"/>
                    <a:pt x="6001" y="0"/>
                    <a:pt x="4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55" name="Google Shape;11655;p61"/>
          <p:cNvGrpSpPr/>
          <p:nvPr/>
        </p:nvGrpSpPr>
        <p:grpSpPr>
          <a:xfrm>
            <a:off x="4907159" y="3346936"/>
            <a:ext cx="264845" cy="354214"/>
            <a:chOff x="4907159" y="3346936"/>
            <a:chExt cx="264845" cy="354214"/>
          </a:xfrm>
        </p:grpSpPr>
        <p:sp>
          <p:nvSpPr>
            <p:cNvPr id="11656" name="Google Shape;11656;p61"/>
            <p:cNvSpPr/>
            <p:nvPr/>
          </p:nvSpPr>
          <p:spPr>
            <a:xfrm>
              <a:off x="5015061" y="3556752"/>
              <a:ext cx="43402" cy="15777"/>
            </a:xfrm>
            <a:custGeom>
              <a:avLst/>
              <a:gdLst/>
              <a:ahLst/>
              <a:cxnLst/>
              <a:rect l="l" t="t" r="r" b="b"/>
              <a:pathLst>
                <a:path w="1370" h="498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1" y="402"/>
                    <a:pt x="1346" y="271"/>
                  </a:cubicBezTo>
                  <a:cubicBezTo>
                    <a:pt x="1369" y="212"/>
                    <a:pt x="1369" y="104"/>
                    <a:pt x="1310" y="45"/>
                  </a:cubicBezTo>
                  <a:cubicBezTo>
                    <a:pt x="1280" y="15"/>
                    <a:pt x="1241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81" y="188"/>
                    <a:pt x="691" y="188"/>
                  </a:cubicBezTo>
                  <a:cubicBezTo>
                    <a:pt x="500" y="188"/>
                    <a:pt x="345" y="104"/>
                    <a:pt x="286" y="45"/>
                  </a:cubicBez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7" name="Google Shape;11657;p61"/>
            <p:cNvSpPr/>
            <p:nvPr/>
          </p:nvSpPr>
          <p:spPr>
            <a:xfrm>
              <a:off x="4907159" y="3346936"/>
              <a:ext cx="264845" cy="354214"/>
            </a:xfrm>
            <a:custGeom>
              <a:avLst/>
              <a:gdLst/>
              <a:ahLst/>
              <a:cxnLst/>
              <a:rect l="l" t="t" r="r" b="b"/>
              <a:pathLst>
                <a:path w="8360" h="11181" extrusionOk="0">
                  <a:moveTo>
                    <a:pt x="4240" y="334"/>
                  </a:moveTo>
                  <a:cubicBezTo>
                    <a:pt x="4418" y="334"/>
                    <a:pt x="4597" y="405"/>
                    <a:pt x="4716" y="560"/>
                  </a:cubicBezTo>
                  <a:lnTo>
                    <a:pt x="5287" y="1227"/>
                  </a:lnTo>
                  <a:cubicBezTo>
                    <a:pt x="5311" y="1274"/>
                    <a:pt x="5335" y="1310"/>
                    <a:pt x="5335" y="1358"/>
                  </a:cubicBezTo>
                  <a:cubicBezTo>
                    <a:pt x="5335" y="1405"/>
                    <a:pt x="5299" y="1465"/>
                    <a:pt x="5252" y="1489"/>
                  </a:cubicBezTo>
                  <a:lnTo>
                    <a:pt x="5156" y="1584"/>
                  </a:lnTo>
                  <a:lnTo>
                    <a:pt x="5013" y="1310"/>
                  </a:lnTo>
                  <a:cubicBezTo>
                    <a:pt x="4979" y="1259"/>
                    <a:pt x="4926" y="1219"/>
                    <a:pt x="4864" y="1219"/>
                  </a:cubicBezTo>
                  <a:cubicBezTo>
                    <a:pt x="4840" y="1219"/>
                    <a:pt x="4814" y="1225"/>
                    <a:pt x="4787" y="1239"/>
                  </a:cubicBezTo>
                  <a:cubicBezTo>
                    <a:pt x="4716" y="1286"/>
                    <a:pt x="4668" y="1370"/>
                    <a:pt x="4716" y="1465"/>
                  </a:cubicBezTo>
                  <a:lnTo>
                    <a:pt x="5549" y="3156"/>
                  </a:lnTo>
                  <a:lnTo>
                    <a:pt x="2573" y="3156"/>
                  </a:lnTo>
                  <a:lnTo>
                    <a:pt x="3680" y="703"/>
                  </a:lnTo>
                  <a:cubicBezTo>
                    <a:pt x="3787" y="477"/>
                    <a:pt x="4001" y="334"/>
                    <a:pt x="4240" y="334"/>
                  </a:cubicBezTo>
                  <a:close/>
                  <a:moveTo>
                    <a:pt x="5799" y="3453"/>
                  </a:moveTo>
                  <a:cubicBezTo>
                    <a:pt x="5799" y="3453"/>
                    <a:pt x="5823" y="3453"/>
                    <a:pt x="5823" y="3477"/>
                  </a:cubicBezTo>
                  <a:lnTo>
                    <a:pt x="5823" y="3834"/>
                  </a:lnTo>
                  <a:lnTo>
                    <a:pt x="5466" y="3834"/>
                  </a:lnTo>
                  <a:cubicBezTo>
                    <a:pt x="5371" y="3834"/>
                    <a:pt x="5299" y="3906"/>
                    <a:pt x="5299" y="3989"/>
                  </a:cubicBezTo>
                  <a:cubicBezTo>
                    <a:pt x="5299" y="4084"/>
                    <a:pt x="5371" y="4156"/>
                    <a:pt x="5466" y="4156"/>
                  </a:cubicBezTo>
                  <a:lnTo>
                    <a:pt x="5942" y="4156"/>
                  </a:lnTo>
                  <a:lnTo>
                    <a:pt x="7585" y="5049"/>
                  </a:lnTo>
                  <a:lnTo>
                    <a:pt x="537" y="5049"/>
                  </a:lnTo>
                  <a:lnTo>
                    <a:pt x="2192" y="4156"/>
                  </a:lnTo>
                  <a:lnTo>
                    <a:pt x="4763" y="4156"/>
                  </a:lnTo>
                  <a:cubicBezTo>
                    <a:pt x="4847" y="4156"/>
                    <a:pt x="4930" y="4084"/>
                    <a:pt x="4930" y="3989"/>
                  </a:cubicBezTo>
                  <a:cubicBezTo>
                    <a:pt x="4930" y="3906"/>
                    <a:pt x="4847" y="3834"/>
                    <a:pt x="4763" y="3834"/>
                  </a:cubicBezTo>
                  <a:lnTo>
                    <a:pt x="2311" y="3834"/>
                  </a:lnTo>
                  <a:lnTo>
                    <a:pt x="2311" y="3477"/>
                  </a:lnTo>
                  <a:cubicBezTo>
                    <a:pt x="2311" y="3477"/>
                    <a:pt x="2311" y="3453"/>
                    <a:pt x="2323" y="3453"/>
                  </a:cubicBezTo>
                  <a:close/>
                  <a:moveTo>
                    <a:pt x="6621" y="5394"/>
                  </a:moveTo>
                  <a:cubicBezTo>
                    <a:pt x="6776" y="5394"/>
                    <a:pt x="6895" y="5513"/>
                    <a:pt x="6895" y="5656"/>
                  </a:cubicBezTo>
                  <a:cubicBezTo>
                    <a:pt x="6883" y="5811"/>
                    <a:pt x="6752" y="5930"/>
                    <a:pt x="6609" y="5930"/>
                  </a:cubicBezTo>
                  <a:lnTo>
                    <a:pt x="6502" y="5930"/>
                  </a:lnTo>
                  <a:lnTo>
                    <a:pt x="6502" y="5918"/>
                  </a:lnTo>
                  <a:cubicBezTo>
                    <a:pt x="6502" y="5823"/>
                    <a:pt x="6430" y="5751"/>
                    <a:pt x="6347" y="5751"/>
                  </a:cubicBezTo>
                  <a:cubicBezTo>
                    <a:pt x="6252" y="5751"/>
                    <a:pt x="6180" y="5823"/>
                    <a:pt x="6180" y="5918"/>
                  </a:cubicBezTo>
                  <a:cubicBezTo>
                    <a:pt x="6180" y="7073"/>
                    <a:pt x="5240" y="8013"/>
                    <a:pt x="4085" y="8013"/>
                  </a:cubicBezTo>
                  <a:cubicBezTo>
                    <a:pt x="2918" y="8013"/>
                    <a:pt x="1977" y="7073"/>
                    <a:pt x="1977" y="5918"/>
                  </a:cubicBezTo>
                  <a:cubicBezTo>
                    <a:pt x="1977" y="5823"/>
                    <a:pt x="1906" y="5751"/>
                    <a:pt x="1823" y="5751"/>
                  </a:cubicBezTo>
                  <a:cubicBezTo>
                    <a:pt x="1727" y="5751"/>
                    <a:pt x="1656" y="5823"/>
                    <a:pt x="1656" y="5918"/>
                  </a:cubicBezTo>
                  <a:lnTo>
                    <a:pt x="1656" y="5930"/>
                  </a:lnTo>
                  <a:lnTo>
                    <a:pt x="1549" y="5930"/>
                  </a:lnTo>
                  <a:cubicBezTo>
                    <a:pt x="1406" y="5930"/>
                    <a:pt x="1287" y="5811"/>
                    <a:pt x="1287" y="5656"/>
                  </a:cubicBezTo>
                  <a:cubicBezTo>
                    <a:pt x="1287" y="5513"/>
                    <a:pt x="1406" y="5394"/>
                    <a:pt x="1549" y="5394"/>
                  </a:cubicBezTo>
                  <a:lnTo>
                    <a:pt x="2870" y="5394"/>
                  </a:lnTo>
                  <a:lnTo>
                    <a:pt x="2870" y="5632"/>
                  </a:lnTo>
                  <a:cubicBezTo>
                    <a:pt x="2870" y="5715"/>
                    <a:pt x="2954" y="5799"/>
                    <a:pt x="3037" y="5799"/>
                  </a:cubicBezTo>
                  <a:cubicBezTo>
                    <a:pt x="3132" y="5799"/>
                    <a:pt x="3204" y="5715"/>
                    <a:pt x="3204" y="5632"/>
                  </a:cubicBezTo>
                  <a:lnTo>
                    <a:pt x="3204" y="5394"/>
                  </a:lnTo>
                  <a:lnTo>
                    <a:pt x="4978" y="5394"/>
                  </a:lnTo>
                  <a:lnTo>
                    <a:pt x="4978" y="5632"/>
                  </a:lnTo>
                  <a:cubicBezTo>
                    <a:pt x="4978" y="5715"/>
                    <a:pt x="5049" y="5799"/>
                    <a:pt x="5133" y="5799"/>
                  </a:cubicBezTo>
                  <a:cubicBezTo>
                    <a:pt x="5228" y="5799"/>
                    <a:pt x="5299" y="5715"/>
                    <a:pt x="5299" y="5632"/>
                  </a:cubicBezTo>
                  <a:lnTo>
                    <a:pt x="5299" y="5394"/>
                  </a:lnTo>
                  <a:close/>
                  <a:moveTo>
                    <a:pt x="6537" y="6251"/>
                  </a:moveTo>
                  <a:cubicBezTo>
                    <a:pt x="6561" y="6596"/>
                    <a:pt x="6657" y="7525"/>
                    <a:pt x="6537" y="8549"/>
                  </a:cubicBezTo>
                  <a:lnTo>
                    <a:pt x="6323" y="8549"/>
                  </a:lnTo>
                  <a:cubicBezTo>
                    <a:pt x="6299" y="8549"/>
                    <a:pt x="6252" y="8549"/>
                    <a:pt x="6228" y="8561"/>
                  </a:cubicBezTo>
                  <a:cubicBezTo>
                    <a:pt x="6061" y="8418"/>
                    <a:pt x="5704" y="8120"/>
                    <a:pt x="5514" y="7882"/>
                  </a:cubicBezTo>
                  <a:cubicBezTo>
                    <a:pt x="6026" y="7501"/>
                    <a:pt x="6383" y="6930"/>
                    <a:pt x="6478" y="6251"/>
                  </a:cubicBezTo>
                  <a:close/>
                  <a:moveTo>
                    <a:pt x="4954" y="8180"/>
                  </a:moveTo>
                  <a:lnTo>
                    <a:pt x="4954" y="8561"/>
                  </a:lnTo>
                  <a:cubicBezTo>
                    <a:pt x="4954" y="8632"/>
                    <a:pt x="4966" y="8692"/>
                    <a:pt x="4990" y="8775"/>
                  </a:cubicBezTo>
                  <a:lnTo>
                    <a:pt x="4442" y="9037"/>
                  </a:lnTo>
                  <a:cubicBezTo>
                    <a:pt x="4347" y="8954"/>
                    <a:pt x="4216" y="8894"/>
                    <a:pt x="4073" y="8894"/>
                  </a:cubicBezTo>
                  <a:cubicBezTo>
                    <a:pt x="3942" y="8894"/>
                    <a:pt x="3811" y="8954"/>
                    <a:pt x="3716" y="9037"/>
                  </a:cubicBezTo>
                  <a:lnTo>
                    <a:pt x="3168" y="8775"/>
                  </a:lnTo>
                  <a:cubicBezTo>
                    <a:pt x="3180" y="8716"/>
                    <a:pt x="3204" y="8632"/>
                    <a:pt x="3204" y="8561"/>
                  </a:cubicBezTo>
                  <a:lnTo>
                    <a:pt x="3204" y="8180"/>
                  </a:lnTo>
                  <a:cubicBezTo>
                    <a:pt x="3466" y="8275"/>
                    <a:pt x="3763" y="8335"/>
                    <a:pt x="4073" y="8335"/>
                  </a:cubicBezTo>
                  <a:cubicBezTo>
                    <a:pt x="4394" y="8335"/>
                    <a:pt x="4692" y="8275"/>
                    <a:pt x="4954" y="8180"/>
                  </a:cubicBezTo>
                  <a:close/>
                  <a:moveTo>
                    <a:pt x="5287" y="8097"/>
                  </a:moveTo>
                  <a:cubicBezTo>
                    <a:pt x="5478" y="8335"/>
                    <a:pt x="5775" y="8597"/>
                    <a:pt x="5942" y="8728"/>
                  </a:cubicBezTo>
                  <a:cubicBezTo>
                    <a:pt x="5883" y="8811"/>
                    <a:pt x="5835" y="8930"/>
                    <a:pt x="5835" y="9049"/>
                  </a:cubicBezTo>
                  <a:lnTo>
                    <a:pt x="5835" y="9132"/>
                  </a:lnTo>
                  <a:lnTo>
                    <a:pt x="5645" y="9049"/>
                  </a:lnTo>
                  <a:cubicBezTo>
                    <a:pt x="5430" y="8978"/>
                    <a:pt x="5287" y="8775"/>
                    <a:pt x="5287" y="8549"/>
                  </a:cubicBezTo>
                  <a:lnTo>
                    <a:pt x="5287" y="8097"/>
                  </a:lnTo>
                  <a:close/>
                  <a:moveTo>
                    <a:pt x="2870" y="8132"/>
                  </a:moveTo>
                  <a:lnTo>
                    <a:pt x="2870" y="8561"/>
                  </a:lnTo>
                  <a:cubicBezTo>
                    <a:pt x="2870" y="8787"/>
                    <a:pt x="2727" y="8990"/>
                    <a:pt x="2513" y="9073"/>
                  </a:cubicBezTo>
                  <a:lnTo>
                    <a:pt x="2323" y="9144"/>
                  </a:lnTo>
                  <a:lnTo>
                    <a:pt x="2323" y="9073"/>
                  </a:lnTo>
                  <a:cubicBezTo>
                    <a:pt x="2323" y="8954"/>
                    <a:pt x="2275" y="8847"/>
                    <a:pt x="2216" y="8751"/>
                  </a:cubicBezTo>
                  <a:cubicBezTo>
                    <a:pt x="2382" y="8620"/>
                    <a:pt x="2680" y="8370"/>
                    <a:pt x="2870" y="8132"/>
                  </a:cubicBezTo>
                  <a:close/>
                  <a:moveTo>
                    <a:pt x="1823" y="8871"/>
                  </a:moveTo>
                  <a:cubicBezTo>
                    <a:pt x="1918" y="8871"/>
                    <a:pt x="2001" y="8966"/>
                    <a:pt x="2001" y="9049"/>
                  </a:cubicBezTo>
                  <a:cubicBezTo>
                    <a:pt x="2001" y="9144"/>
                    <a:pt x="1918" y="9228"/>
                    <a:pt x="1823" y="9228"/>
                  </a:cubicBezTo>
                  <a:lnTo>
                    <a:pt x="1644" y="9228"/>
                  </a:lnTo>
                  <a:cubicBezTo>
                    <a:pt x="1537" y="9228"/>
                    <a:pt x="1465" y="9144"/>
                    <a:pt x="1465" y="9049"/>
                  </a:cubicBezTo>
                  <a:cubicBezTo>
                    <a:pt x="1465" y="8966"/>
                    <a:pt x="1549" y="8871"/>
                    <a:pt x="1644" y="8871"/>
                  </a:cubicBezTo>
                  <a:close/>
                  <a:moveTo>
                    <a:pt x="6526" y="8871"/>
                  </a:moveTo>
                  <a:cubicBezTo>
                    <a:pt x="6621" y="8871"/>
                    <a:pt x="6704" y="8966"/>
                    <a:pt x="6704" y="9049"/>
                  </a:cubicBezTo>
                  <a:cubicBezTo>
                    <a:pt x="6704" y="9144"/>
                    <a:pt x="6621" y="9228"/>
                    <a:pt x="6526" y="9228"/>
                  </a:cubicBezTo>
                  <a:lnTo>
                    <a:pt x="6347" y="9228"/>
                  </a:lnTo>
                  <a:cubicBezTo>
                    <a:pt x="6240" y="9228"/>
                    <a:pt x="6156" y="9144"/>
                    <a:pt x="6156" y="9049"/>
                  </a:cubicBezTo>
                  <a:cubicBezTo>
                    <a:pt x="6156" y="8966"/>
                    <a:pt x="6252" y="8871"/>
                    <a:pt x="6347" y="8871"/>
                  </a:cubicBezTo>
                  <a:close/>
                  <a:moveTo>
                    <a:pt x="4073" y="9228"/>
                  </a:moveTo>
                  <a:cubicBezTo>
                    <a:pt x="4180" y="9228"/>
                    <a:pt x="4263" y="9323"/>
                    <a:pt x="4263" y="9406"/>
                  </a:cubicBezTo>
                  <a:cubicBezTo>
                    <a:pt x="4263" y="9502"/>
                    <a:pt x="4180" y="9585"/>
                    <a:pt x="4073" y="9585"/>
                  </a:cubicBezTo>
                  <a:cubicBezTo>
                    <a:pt x="3978" y="9585"/>
                    <a:pt x="3894" y="9502"/>
                    <a:pt x="3894" y="9406"/>
                  </a:cubicBezTo>
                  <a:cubicBezTo>
                    <a:pt x="3894" y="9323"/>
                    <a:pt x="3990" y="9228"/>
                    <a:pt x="4073" y="9228"/>
                  </a:cubicBezTo>
                  <a:close/>
                  <a:moveTo>
                    <a:pt x="4299" y="0"/>
                  </a:moveTo>
                  <a:cubicBezTo>
                    <a:pt x="3930" y="0"/>
                    <a:pt x="3585" y="227"/>
                    <a:pt x="3442" y="572"/>
                  </a:cubicBezTo>
                  <a:lnTo>
                    <a:pt x="2299" y="3156"/>
                  </a:lnTo>
                  <a:cubicBezTo>
                    <a:pt x="2156" y="3203"/>
                    <a:pt x="2073" y="3322"/>
                    <a:pt x="2073" y="3465"/>
                  </a:cubicBezTo>
                  <a:lnTo>
                    <a:pt x="2073" y="3906"/>
                  </a:lnTo>
                  <a:lnTo>
                    <a:pt x="311" y="4834"/>
                  </a:lnTo>
                  <a:cubicBezTo>
                    <a:pt x="191" y="4894"/>
                    <a:pt x="132" y="5037"/>
                    <a:pt x="180" y="5168"/>
                  </a:cubicBezTo>
                  <a:cubicBezTo>
                    <a:pt x="215" y="5299"/>
                    <a:pt x="334" y="5370"/>
                    <a:pt x="465" y="5370"/>
                  </a:cubicBezTo>
                  <a:lnTo>
                    <a:pt x="1108" y="5370"/>
                  </a:lnTo>
                  <a:cubicBezTo>
                    <a:pt x="1061" y="5453"/>
                    <a:pt x="1049" y="5549"/>
                    <a:pt x="1049" y="5644"/>
                  </a:cubicBezTo>
                  <a:cubicBezTo>
                    <a:pt x="1049" y="5882"/>
                    <a:pt x="1180" y="6084"/>
                    <a:pt x="1382" y="6180"/>
                  </a:cubicBezTo>
                  <a:cubicBezTo>
                    <a:pt x="1382" y="6239"/>
                    <a:pt x="1370" y="6311"/>
                    <a:pt x="1358" y="6418"/>
                  </a:cubicBezTo>
                  <a:cubicBezTo>
                    <a:pt x="1346" y="6501"/>
                    <a:pt x="1418" y="6585"/>
                    <a:pt x="1501" y="6596"/>
                  </a:cubicBezTo>
                  <a:lnTo>
                    <a:pt x="1513" y="6596"/>
                  </a:lnTo>
                  <a:cubicBezTo>
                    <a:pt x="1608" y="6596"/>
                    <a:pt x="1668" y="6537"/>
                    <a:pt x="1680" y="6442"/>
                  </a:cubicBezTo>
                  <a:cubicBezTo>
                    <a:pt x="1680" y="6370"/>
                    <a:pt x="1692" y="6299"/>
                    <a:pt x="1692" y="6251"/>
                  </a:cubicBezTo>
                  <a:lnTo>
                    <a:pt x="1751" y="6251"/>
                  </a:lnTo>
                  <a:cubicBezTo>
                    <a:pt x="1846" y="6906"/>
                    <a:pt x="2204" y="7489"/>
                    <a:pt x="2727" y="7870"/>
                  </a:cubicBezTo>
                  <a:cubicBezTo>
                    <a:pt x="2549" y="8120"/>
                    <a:pt x="2168" y="8430"/>
                    <a:pt x="1989" y="8561"/>
                  </a:cubicBezTo>
                  <a:cubicBezTo>
                    <a:pt x="1965" y="8561"/>
                    <a:pt x="1918" y="8549"/>
                    <a:pt x="1894" y="8549"/>
                  </a:cubicBezTo>
                  <a:lnTo>
                    <a:pt x="1680" y="8549"/>
                  </a:lnTo>
                  <a:cubicBezTo>
                    <a:pt x="1632" y="8097"/>
                    <a:pt x="1608" y="7620"/>
                    <a:pt x="1620" y="7144"/>
                  </a:cubicBezTo>
                  <a:cubicBezTo>
                    <a:pt x="1620" y="7061"/>
                    <a:pt x="1549" y="6977"/>
                    <a:pt x="1454" y="6977"/>
                  </a:cubicBezTo>
                  <a:cubicBezTo>
                    <a:pt x="1370" y="6977"/>
                    <a:pt x="1299" y="7061"/>
                    <a:pt x="1299" y="7144"/>
                  </a:cubicBezTo>
                  <a:cubicBezTo>
                    <a:pt x="1275" y="7680"/>
                    <a:pt x="1311" y="8204"/>
                    <a:pt x="1370" y="8680"/>
                  </a:cubicBezTo>
                  <a:cubicBezTo>
                    <a:pt x="1263" y="8763"/>
                    <a:pt x="1203" y="8906"/>
                    <a:pt x="1203" y="9061"/>
                  </a:cubicBezTo>
                  <a:cubicBezTo>
                    <a:pt x="1203" y="9216"/>
                    <a:pt x="1275" y="9359"/>
                    <a:pt x="1382" y="9454"/>
                  </a:cubicBezTo>
                  <a:lnTo>
                    <a:pt x="1382" y="9513"/>
                  </a:lnTo>
                  <a:lnTo>
                    <a:pt x="799" y="9716"/>
                  </a:lnTo>
                  <a:cubicBezTo>
                    <a:pt x="322" y="9883"/>
                    <a:pt x="1" y="10347"/>
                    <a:pt x="1" y="10871"/>
                  </a:cubicBezTo>
                  <a:lnTo>
                    <a:pt x="1" y="11002"/>
                  </a:lnTo>
                  <a:cubicBezTo>
                    <a:pt x="1" y="11097"/>
                    <a:pt x="72" y="11168"/>
                    <a:pt x="168" y="11168"/>
                  </a:cubicBezTo>
                  <a:cubicBezTo>
                    <a:pt x="251" y="11168"/>
                    <a:pt x="322" y="11097"/>
                    <a:pt x="322" y="11002"/>
                  </a:cubicBezTo>
                  <a:lnTo>
                    <a:pt x="322" y="10871"/>
                  </a:lnTo>
                  <a:cubicBezTo>
                    <a:pt x="322" y="10502"/>
                    <a:pt x="561" y="10156"/>
                    <a:pt x="918" y="10037"/>
                  </a:cubicBezTo>
                  <a:lnTo>
                    <a:pt x="1394" y="9871"/>
                  </a:lnTo>
                  <a:lnTo>
                    <a:pt x="1394" y="11002"/>
                  </a:lnTo>
                  <a:cubicBezTo>
                    <a:pt x="1394" y="11097"/>
                    <a:pt x="1477" y="11168"/>
                    <a:pt x="1561" y="11168"/>
                  </a:cubicBezTo>
                  <a:cubicBezTo>
                    <a:pt x="1656" y="11168"/>
                    <a:pt x="1727" y="11097"/>
                    <a:pt x="1727" y="11002"/>
                  </a:cubicBezTo>
                  <a:lnTo>
                    <a:pt x="1727" y="9609"/>
                  </a:lnTo>
                  <a:lnTo>
                    <a:pt x="1977" y="9609"/>
                  </a:lnTo>
                  <a:cubicBezTo>
                    <a:pt x="2096" y="9823"/>
                    <a:pt x="2466" y="10502"/>
                    <a:pt x="2620" y="11049"/>
                  </a:cubicBezTo>
                  <a:cubicBezTo>
                    <a:pt x="2632" y="11121"/>
                    <a:pt x="2704" y="11168"/>
                    <a:pt x="2787" y="11168"/>
                  </a:cubicBezTo>
                  <a:lnTo>
                    <a:pt x="2823" y="11168"/>
                  </a:lnTo>
                  <a:cubicBezTo>
                    <a:pt x="2918" y="11145"/>
                    <a:pt x="2966" y="11061"/>
                    <a:pt x="2942" y="10978"/>
                  </a:cubicBezTo>
                  <a:cubicBezTo>
                    <a:pt x="2811" y="10454"/>
                    <a:pt x="2501" y="9859"/>
                    <a:pt x="2335" y="9549"/>
                  </a:cubicBezTo>
                  <a:lnTo>
                    <a:pt x="2727" y="9406"/>
                  </a:lnTo>
                  <a:cubicBezTo>
                    <a:pt x="2882" y="9347"/>
                    <a:pt x="3037" y="9252"/>
                    <a:pt x="3144" y="9097"/>
                  </a:cubicBezTo>
                  <a:lnTo>
                    <a:pt x="3680" y="9359"/>
                  </a:lnTo>
                  <a:lnTo>
                    <a:pt x="3680" y="9442"/>
                  </a:lnTo>
                  <a:cubicBezTo>
                    <a:pt x="3680" y="9656"/>
                    <a:pt x="3823" y="9859"/>
                    <a:pt x="4013" y="9930"/>
                  </a:cubicBezTo>
                  <a:lnTo>
                    <a:pt x="4013" y="11014"/>
                  </a:lnTo>
                  <a:cubicBezTo>
                    <a:pt x="4013" y="11109"/>
                    <a:pt x="4097" y="11180"/>
                    <a:pt x="4180" y="11180"/>
                  </a:cubicBezTo>
                  <a:cubicBezTo>
                    <a:pt x="4275" y="11180"/>
                    <a:pt x="4347" y="11109"/>
                    <a:pt x="4347" y="11014"/>
                  </a:cubicBezTo>
                  <a:lnTo>
                    <a:pt x="4347" y="9930"/>
                  </a:lnTo>
                  <a:cubicBezTo>
                    <a:pt x="4549" y="9859"/>
                    <a:pt x="4692" y="9680"/>
                    <a:pt x="4692" y="9442"/>
                  </a:cubicBezTo>
                  <a:lnTo>
                    <a:pt x="4692" y="9359"/>
                  </a:lnTo>
                  <a:lnTo>
                    <a:pt x="5228" y="9097"/>
                  </a:lnTo>
                  <a:cubicBezTo>
                    <a:pt x="5323" y="9228"/>
                    <a:pt x="5466" y="9347"/>
                    <a:pt x="5645" y="9406"/>
                  </a:cubicBezTo>
                  <a:lnTo>
                    <a:pt x="6026" y="9549"/>
                  </a:lnTo>
                  <a:cubicBezTo>
                    <a:pt x="5859" y="9847"/>
                    <a:pt x="5549" y="10454"/>
                    <a:pt x="5418" y="10978"/>
                  </a:cubicBezTo>
                  <a:cubicBezTo>
                    <a:pt x="5406" y="11061"/>
                    <a:pt x="5442" y="11157"/>
                    <a:pt x="5537" y="11168"/>
                  </a:cubicBezTo>
                  <a:lnTo>
                    <a:pt x="5585" y="11168"/>
                  </a:lnTo>
                  <a:cubicBezTo>
                    <a:pt x="5656" y="11168"/>
                    <a:pt x="5716" y="11121"/>
                    <a:pt x="5740" y="11049"/>
                  </a:cubicBezTo>
                  <a:cubicBezTo>
                    <a:pt x="5883" y="10502"/>
                    <a:pt x="6252" y="9811"/>
                    <a:pt x="6383" y="9609"/>
                  </a:cubicBezTo>
                  <a:lnTo>
                    <a:pt x="6633" y="9609"/>
                  </a:lnTo>
                  <a:lnTo>
                    <a:pt x="6633" y="11002"/>
                  </a:lnTo>
                  <a:cubicBezTo>
                    <a:pt x="6633" y="11097"/>
                    <a:pt x="6716" y="11168"/>
                    <a:pt x="6799" y="11168"/>
                  </a:cubicBezTo>
                  <a:cubicBezTo>
                    <a:pt x="6895" y="11168"/>
                    <a:pt x="6966" y="11097"/>
                    <a:pt x="6966" y="11002"/>
                  </a:cubicBezTo>
                  <a:lnTo>
                    <a:pt x="6966" y="9871"/>
                  </a:lnTo>
                  <a:lnTo>
                    <a:pt x="7442" y="10037"/>
                  </a:lnTo>
                  <a:cubicBezTo>
                    <a:pt x="7800" y="10156"/>
                    <a:pt x="8038" y="10502"/>
                    <a:pt x="8038" y="10871"/>
                  </a:cubicBezTo>
                  <a:lnTo>
                    <a:pt x="8038" y="11002"/>
                  </a:lnTo>
                  <a:cubicBezTo>
                    <a:pt x="8038" y="11097"/>
                    <a:pt x="8109" y="11168"/>
                    <a:pt x="8204" y="11168"/>
                  </a:cubicBezTo>
                  <a:cubicBezTo>
                    <a:pt x="8288" y="11168"/>
                    <a:pt x="8359" y="11097"/>
                    <a:pt x="8359" y="11002"/>
                  </a:cubicBezTo>
                  <a:lnTo>
                    <a:pt x="8359" y="10871"/>
                  </a:lnTo>
                  <a:cubicBezTo>
                    <a:pt x="8240" y="10323"/>
                    <a:pt x="7919" y="9871"/>
                    <a:pt x="7442" y="9692"/>
                  </a:cubicBezTo>
                  <a:lnTo>
                    <a:pt x="6859" y="9490"/>
                  </a:lnTo>
                  <a:lnTo>
                    <a:pt x="6859" y="9430"/>
                  </a:lnTo>
                  <a:cubicBezTo>
                    <a:pt x="6966" y="9335"/>
                    <a:pt x="7038" y="9192"/>
                    <a:pt x="7038" y="9037"/>
                  </a:cubicBezTo>
                  <a:cubicBezTo>
                    <a:pt x="7038" y="8894"/>
                    <a:pt x="6978" y="8751"/>
                    <a:pt x="6883" y="8656"/>
                  </a:cubicBezTo>
                  <a:cubicBezTo>
                    <a:pt x="7014" y="7525"/>
                    <a:pt x="6918" y="6513"/>
                    <a:pt x="6895" y="6168"/>
                  </a:cubicBezTo>
                  <a:cubicBezTo>
                    <a:pt x="7085" y="6061"/>
                    <a:pt x="7216" y="5870"/>
                    <a:pt x="7216" y="5632"/>
                  </a:cubicBezTo>
                  <a:cubicBezTo>
                    <a:pt x="7216" y="5525"/>
                    <a:pt x="7192" y="5442"/>
                    <a:pt x="7157" y="5358"/>
                  </a:cubicBezTo>
                  <a:lnTo>
                    <a:pt x="7800" y="5358"/>
                  </a:lnTo>
                  <a:cubicBezTo>
                    <a:pt x="7931" y="5358"/>
                    <a:pt x="8038" y="5275"/>
                    <a:pt x="8085" y="5156"/>
                  </a:cubicBezTo>
                  <a:cubicBezTo>
                    <a:pt x="8109" y="5025"/>
                    <a:pt x="8050" y="4894"/>
                    <a:pt x="7942" y="4822"/>
                  </a:cubicBezTo>
                  <a:lnTo>
                    <a:pt x="6192" y="3894"/>
                  </a:lnTo>
                  <a:lnTo>
                    <a:pt x="6192" y="3477"/>
                  </a:lnTo>
                  <a:cubicBezTo>
                    <a:pt x="6192" y="3322"/>
                    <a:pt x="6109" y="3203"/>
                    <a:pt x="5966" y="3156"/>
                  </a:cubicBezTo>
                  <a:lnTo>
                    <a:pt x="5335" y="1870"/>
                  </a:lnTo>
                  <a:lnTo>
                    <a:pt x="5490" y="1751"/>
                  </a:lnTo>
                  <a:cubicBezTo>
                    <a:pt x="5609" y="1655"/>
                    <a:pt x="5680" y="1536"/>
                    <a:pt x="5704" y="1393"/>
                  </a:cubicBezTo>
                  <a:cubicBezTo>
                    <a:pt x="5716" y="1251"/>
                    <a:pt x="5668" y="1108"/>
                    <a:pt x="5585" y="1000"/>
                  </a:cubicBezTo>
                  <a:lnTo>
                    <a:pt x="5013" y="334"/>
                  </a:lnTo>
                  <a:cubicBezTo>
                    <a:pt x="4835" y="119"/>
                    <a:pt x="4573" y="0"/>
                    <a:pt x="4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58" name="Google Shape;11658;p61"/>
          <p:cNvGrpSpPr/>
          <p:nvPr/>
        </p:nvGrpSpPr>
        <p:grpSpPr>
          <a:xfrm>
            <a:off x="8048421" y="3334486"/>
            <a:ext cx="276503" cy="369674"/>
            <a:chOff x="8048421" y="3334486"/>
            <a:chExt cx="276503" cy="369674"/>
          </a:xfrm>
        </p:grpSpPr>
        <p:sp>
          <p:nvSpPr>
            <p:cNvPr id="11659" name="Google Shape;11659;p61"/>
            <p:cNvSpPr/>
            <p:nvPr/>
          </p:nvSpPr>
          <p:spPr>
            <a:xfrm>
              <a:off x="8146471" y="3456327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4" y="84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0" name="Google Shape;11660;p61"/>
            <p:cNvSpPr/>
            <p:nvPr/>
          </p:nvSpPr>
          <p:spPr>
            <a:xfrm>
              <a:off x="8215501" y="3456327"/>
              <a:ext cx="10961" cy="16252"/>
            </a:xfrm>
            <a:custGeom>
              <a:avLst/>
              <a:gdLst/>
              <a:ahLst/>
              <a:cxnLst/>
              <a:rect l="l" t="t" r="r" b="b"/>
              <a:pathLst>
                <a:path w="346" h="513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84" y="512"/>
                    <a:pt x="167" y="512"/>
                  </a:cubicBezTo>
                  <a:cubicBezTo>
                    <a:pt x="263" y="512"/>
                    <a:pt x="334" y="441"/>
                    <a:pt x="334" y="345"/>
                  </a:cubicBezTo>
                  <a:lnTo>
                    <a:pt x="334" y="167"/>
                  </a:lnTo>
                  <a:cubicBezTo>
                    <a:pt x="346" y="84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1" name="Google Shape;11661;p61"/>
            <p:cNvSpPr/>
            <p:nvPr/>
          </p:nvSpPr>
          <p:spPr>
            <a:xfrm>
              <a:off x="8048421" y="3334486"/>
              <a:ext cx="276503" cy="369674"/>
            </a:xfrm>
            <a:custGeom>
              <a:avLst/>
              <a:gdLst/>
              <a:ahLst/>
              <a:cxnLst/>
              <a:rect l="l" t="t" r="r" b="b"/>
              <a:pathLst>
                <a:path w="8728" h="11669" extrusionOk="0">
                  <a:moveTo>
                    <a:pt x="4322" y="334"/>
                  </a:moveTo>
                  <a:cubicBezTo>
                    <a:pt x="4703" y="334"/>
                    <a:pt x="5084" y="417"/>
                    <a:pt x="5441" y="548"/>
                  </a:cubicBezTo>
                  <a:cubicBezTo>
                    <a:pt x="5179" y="655"/>
                    <a:pt x="4953" y="786"/>
                    <a:pt x="4787" y="953"/>
                  </a:cubicBezTo>
                  <a:cubicBezTo>
                    <a:pt x="4679" y="810"/>
                    <a:pt x="4536" y="727"/>
                    <a:pt x="4358" y="727"/>
                  </a:cubicBezTo>
                  <a:cubicBezTo>
                    <a:pt x="4179" y="727"/>
                    <a:pt x="4013" y="810"/>
                    <a:pt x="3917" y="953"/>
                  </a:cubicBezTo>
                  <a:cubicBezTo>
                    <a:pt x="3739" y="774"/>
                    <a:pt x="3501" y="620"/>
                    <a:pt x="3239" y="536"/>
                  </a:cubicBezTo>
                  <a:cubicBezTo>
                    <a:pt x="3584" y="417"/>
                    <a:pt x="3953" y="334"/>
                    <a:pt x="4322" y="334"/>
                  </a:cubicBezTo>
                  <a:close/>
                  <a:moveTo>
                    <a:pt x="6151" y="749"/>
                  </a:moveTo>
                  <a:cubicBezTo>
                    <a:pt x="6261" y="749"/>
                    <a:pt x="6366" y="761"/>
                    <a:pt x="6465" y="786"/>
                  </a:cubicBezTo>
                  <a:cubicBezTo>
                    <a:pt x="6322" y="965"/>
                    <a:pt x="6072" y="1108"/>
                    <a:pt x="5787" y="1203"/>
                  </a:cubicBezTo>
                  <a:cubicBezTo>
                    <a:pt x="5617" y="1253"/>
                    <a:pt x="5443" y="1281"/>
                    <a:pt x="5282" y="1281"/>
                  </a:cubicBezTo>
                  <a:cubicBezTo>
                    <a:pt x="5172" y="1281"/>
                    <a:pt x="5069" y="1268"/>
                    <a:pt x="4977" y="1239"/>
                  </a:cubicBezTo>
                  <a:cubicBezTo>
                    <a:pt x="5132" y="1060"/>
                    <a:pt x="5382" y="917"/>
                    <a:pt x="5668" y="822"/>
                  </a:cubicBezTo>
                  <a:cubicBezTo>
                    <a:pt x="5834" y="773"/>
                    <a:pt x="5997" y="749"/>
                    <a:pt x="6151" y="749"/>
                  </a:cubicBezTo>
                  <a:close/>
                  <a:moveTo>
                    <a:pt x="2542" y="750"/>
                  </a:moveTo>
                  <a:cubicBezTo>
                    <a:pt x="2703" y="750"/>
                    <a:pt x="2878" y="777"/>
                    <a:pt x="3048" y="834"/>
                  </a:cubicBezTo>
                  <a:cubicBezTo>
                    <a:pt x="3334" y="917"/>
                    <a:pt x="3584" y="1072"/>
                    <a:pt x="3727" y="1251"/>
                  </a:cubicBezTo>
                  <a:cubicBezTo>
                    <a:pt x="3646" y="1273"/>
                    <a:pt x="3553" y="1284"/>
                    <a:pt x="3454" y="1284"/>
                  </a:cubicBezTo>
                  <a:cubicBezTo>
                    <a:pt x="3290" y="1284"/>
                    <a:pt x="3107" y="1255"/>
                    <a:pt x="2929" y="1203"/>
                  </a:cubicBezTo>
                  <a:cubicBezTo>
                    <a:pt x="2643" y="1108"/>
                    <a:pt x="2393" y="965"/>
                    <a:pt x="2239" y="786"/>
                  </a:cubicBezTo>
                  <a:cubicBezTo>
                    <a:pt x="2330" y="762"/>
                    <a:pt x="2433" y="750"/>
                    <a:pt x="2542" y="750"/>
                  </a:cubicBezTo>
                  <a:close/>
                  <a:moveTo>
                    <a:pt x="4358" y="1072"/>
                  </a:moveTo>
                  <a:cubicBezTo>
                    <a:pt x="4465" y="1072"/>
                    <a:pt x="4548" y="1155"/>
                    <a:pt x="4548" y="1263"/>
                  </a:cubicBezTo>
                  <a:cubicBezTo>
                    <a:pt x="4548" y="1370"/>
                    <a:pt x="4465" y="1453"/>
                    <a:pt x="4358" y="1453"/>
                  </a:cubicBezTo>
                  <a:cubicBezTo>
                    <a:pt x="4251" y="1453"/>
                    <a:pt x="4167" y="1370"/>
                    <a:pt x="4167" y="1263"/>
                  </a:cubicBezTo>
                  <a:cubicBezTo>
                    <a:pt x="4167" y="1155"/>
                    <a:pt x="4251" y="1072"/>
                    <a:pt x="4358" y="1072"/>
                  </a:cubicBezTo>
                  <a:close/>
                  <a:moveTo>
                    <a:pt x="2203" y="1167"/>
                  </a:moveTo>
                  <a:cubicBezTo>
                    <a:pt x="2381" y="1322"/>
                    <a:pt x="2620" y="1441"/>
                    <a:pt x="2870" y="1524"/>
                  </a:cubicBezTo>
                  <a:cubicBezTo>
                    <a:pt x="3072" y="1584"/>
                    <a:pt x="3286" y="1620"/>
                    <a:pt x="3477" y="1620"/>
                  </a:cubicBezTo>
                  <a:cubicBezTo>
                    <a:pt x="3644" y="1620"/>
                    <a:pt x="3810" y="1584"/>
                    <a:pt x="3953" y="1548"/>
                  </a:cubicBezTo>
                  <a:cubicBezTo>
                    <a:pt x="4048" y="1691"/>
                    <a:pt x="4227" y="1798"/>
                    <a:pt x="4417" y="1798"/>
                  </a:cubicBezTo>
                  <a:cubicBezTo>
                    <a:pt x="4608" y="1798"/>
                    <a:pt x="4775" y="1691"/>
                    <a:pt x="4882" y="1548"/>
                  </a:cubicBezTo>
                  <a:cubicBezTo>
                    <a:pt x="5013" y="1584"/>
                    <a:pt x="5179" y="1620"/>
                    <a:pt x="5358" y="1620"/>
                  </a:cubicBezTo>
                  <a:cubicBezTo>
                    <a:pt x="5549" y="1620"/>
                    <a:pt x="5751" y="1584"/>
                    <a:pt x="5965" y="1524"/>
                  </a:cubicBezTo>
                  <a:cubicBezTo>
                    <a:pt x="6203" y="1453"/>
                    <a:pt x="6430" y="1334"/>
                    <a:pt x="6608" y="1203"/>
                  </a:cubicBezTo>
                  <a:cubicBezTo>
                    <a:pt x="7287" y="1810"/>
                    <a:pt x="7704" y="2656"/>
                    <a:pt x="7763" y="3549"/>
                  </a:cubicBezTo>
                  <a:lnTo>
                    <a:pt x="7930" y="6370"/>
                  </a:lnTo>
                  <a:cubicBezTo>
                    <a:pt x="7977" y="7120"/>
                    <a:pt x="7775" y="7870"/>
                    <a:pt x="7358" y="8490"/>
                  </a:cubicBezTo>
                  <a:lnTo>
                    <a:pt x="5989" y="8037"/>
                  </a:lnTo>
                  <a:cubicBezTo>
                    <a:pt x="5775" y="7954"/>
                    <a:pt x="5620" y="7740"/>
                    <a:pt x="5620" y="7513"/>
                  </a:cubicBezTo>
                  <a:lnTo>
                    <a:pt x="5620" y="6763"/>
                  </a:lnTo>
                  <a:cubicBezTo>
                    <a:pt x="6287" y="6382"/>
                    <a:pt x="6763" y="5715"/>
                    <a:pt x="6870" y="4906"/>
                  </a:cubicBezTo>
                  <a:lnTo>
                    <a:pt x="7001" y="4906"/>
                  </a:lnTo>
                  <a:cubicBezTo>
                    <a:pt x="7346" y="4906"/>
                    <a:pt x="7632" y="4620"/>
                    <a:pt x="7632" y="4287"/>
                  </a:cubicBezTo>
                  <a:cubicBezTo>
                    <a:pt x="7632" y="3941"/>
                    <a:pt x="7346" y="3656"/>
                    <a:pt x="7001" y="3656"/>
                  </a:cubicBezTo>
                  <a:lnTo>
                    <a:pt x="6918" y="3656"/>
                  </a:lnTo>
                  <a:cubicBezTo>
                    <a:pt x="6811" y="3656"/>
                    <a:pt x="6727" y="3560"/>
                    <a:pt x="6727" y="3465"/>
                  </a:cubicBezTo>
                  <a:cubicBezTo>
                    <a:pt x="6727" y="2656"/>
                    <a:pt x="6072" y="2013"/>
                    <a:pt x="5275" y="2013"/>
                  </a:cubicBezTo>
                  <a:cubicBezTo>
                    <a:pt x="5191" y="2013"/>
                    <a:pt x="5120" y="2096"/>
                    <a:pt x="5120" y="2179"/>
                  </a:cubicBezTo>
                  <a:cubicBezTo>
                    <a:pt x="5120" y="2275"/>
                    <a:pt x="5191" y="2346"/>
                    <a:pt x="5275" y="2346"/>
                  </a:cubicBezTo>
                  <a:cubicBezTo>
                    <a:pt x="5894" y="2346"/>
                    <a:pt x="6382" y="2834"/>
                    <a:pt x="6382" y="3453"/>
                  </a:cubicBezTo>
                  <a:cubicBezTo>
                    <a:pt x="6382" y="3751"/>
                    <a:pt x="6620" y="3989"/>
                    <a:pt x="6918" y="3989"/>
                  </a:cubicBezTo>
                  <a:lnTo>
                    <a:pt x="7001" y="3989"/>
                  </a:lnTo>
                  <a:cubicBezTo>
                    <a:pt x="7168" y="3989"/>
                    <a:pt x="7287" y="4120"/>
                    <a:pt x="7287" y="4263"/>
                  </a:cubicBezTo>
                  <a:cubicBezTo>
                    <a:pt x="7287" y="4418"/>
                    <a:pt x="7156" y="4549"/>
                    <a:pt x="7001" y="4549"/>
                  </a:cubicBezTo>
                  <a:lnTo>
                    <a:pt x="6906" y="4549"/>
                  </a:lnTo>
                  <a:lnTo>
                    <a:pt x="6906" y="4537"/>
                  </a:lnTo>
                  <a:cubicBezTo>
                    <a:pt x="6906" y="4441"/>
                    <a:pt x="6822" y="4370"/>
                    <a:pt x="6739" y="4370"/>
                  </a:cubicBezTo>
                  <a:cubicBezTo>
                    <a:pt x="6644" y="4370"/>
                    <a:pt x="6572" y="4441"/>
                    <a:pt x="6572" y="4537"/>
                  </a:cubicBezTo>
                  <a:cubicBezTo>
                    <a:pt x="6572" y="5751"/>
                    <a:pt x="5596" y="6739"/>
                    <a:pt x="4370" y="6739"/>
                  </a:cubicBezTo>
                  <a:cubicBezTo>
                    <a:pt x="3155" y="6739"/>
                    <a:pt x="2167" y="5751"/>
                    <a:pt x="2167" y="4537"/>
                  </a:cubicBezTo>
                  <a:cubicBezTo>
                    <a:pt x="2167" y="4441"/>
                    <a:pt x="2096" y="4370"/>
                    <a:pt x="2000" y="4370"/>
                  </a:cubicBezTo>
                  <a:cubicBezTo>
                    <a:pt x="1917" y="4370"/>
                    <a:pt x="1846" y="4441"/>
                    <a:pt x="1846" y="4537"/>
                  </a:cubicBezTo>
                  <a:lnTo>
                    <a:pt x="1846" y="4549"/>
                  </a:lnTo>
                  <a:lnTo>
                    <a:pt x="1739" y="4549"/>
                  </a:lnTo>
                  <a:cubicBezTo>
                    <a:pt x="1572" y="4549"/>
                    <a:pt x="1453" y="4418"/>
                    <a:pt x="1453" y="4263"/>
                  </a:cubicBezTo>
                  <a:cubicBezTo>
                    <a:pt x="1453" y="4120"/>
                    <a:pt x="1584" y="3989"/>
                    <a:pt x="1739" y="3989"/>
                  </a:cubicBezTo>
                  <a:lnTo>
                    <a:pt x="1822" y="3989"/>
                  </a:lnTo>
                  <a:cubicBezTo>
                    <a:pt x="2120" y="3989"/>
                    <a:pt x="2358" y="3751"/>
                    <a:pt x="2358" y="3453"/>
                  </a:cubicBezTo>
                  <a:cubicBezTo>
                    <a:pt x="2358" y="2834"/>
                    <a:pt x="2858" y="2346"/>
                    <a:pt x="3465" y="2346"/>
                  </a:cubicBezTo>
                  <a:lnTo>
                    <a:pt x="4560" y="2346"/>
                  </a:lnTo>
                  <a:cubicBezTo>
                    <a:pt x="4656" y="2346"/>
                    <a:pt x="4727" y="2275"/>
                    <a:pt x="4727" y="2179"/>
                  </a:cubicBezTo>
                  <a:cubicBezTo>
                    <a:pt x="4727" y="2096"/>
                    <a:pt x="4656" y="2013"/>
                    <a:pt x="4560" y="2013"/>
                  </a:cubicBezTo>
                  <a:lnTo>
                    <a:pt x="3465" y="2013"/>
                  </a:lnTo>
                  <a:cubicBezTo>
                    <a:pt x="2655" y="2013"/>
                    <a:pt x="2024" y="2667"/>
                    <a:pt x="2024" y="3465"/>
                  </a:cubicBezTo>
                  <a:cubicBezTo>
                    <a:pt x="2024" y="3572"/>
                    <a:pt x="1929" y="3656"/>
                    <a:pt x="1822" y="3656"/>
                  </a:cubicBezTo>
                  <a:lnTo>
                    <a:pt x="1739" y="3656"/>
                  </a:lnTo>
                  <a:cubicBezTo>
                    <a:pt x="1393" y="3656"/>
                    <a:pt x="1107" y="3941"/>
                    <a:pt x="1107" y="4287"/>
                  </a:cubicBezTo>
                  <a:cubicBezTo>
                    <a:pt x="1107" y="4620"/>
                    <a:pt x="1393" y="4906"/>
                    <a:pt x="1739" y="4906"/>
                  </a:cubicBezTo>
                  <a:lnTo>
                    <a:pt x="1869" y="4906"/>
                  </a:lnTo>
                  <a:cubicBezTo>
                    <a:pt x="1977" y="5692"/>
                    <a:pt x="2465" y="6382"/>
                    <a:pt x="3120" y="6763"/>
                  </a:cubicBezTo>
                  <a:lnTo>
                    <a:pt x="3120" y="7513"/>
                  </a:lnTo>
                  <a:cubicBezTo>
                    <a:pt x="3120" y="7751"/>
                    <a:pt x="2977" y="7954"/>
                    <a:pt x="2751" y="8037"/>
                  </a:cubicBezTo>
                  <a:lnTo>
                    <a:pt x="1488" y="8478"/>
                  </a:lnTo>
                  <a:cubicBezTo>
                    <a:pt x="1072" y="7859"/>
                    <a:pt x="869" y="7108"/>
                    <a:pt x="917" y="6346"/>
                  </a:cubicBezTo>
                  <a:lnTo>
                    <a:pt x="1084" y="3465"/>
                  </a:lnTo>
                  <a:cubicBezTo>
                    <a:pt x="1131" y="2584"/>
                    <a:pt x="1548" y="1751"/>
                    <a:pt x="2203" y="1167"/>
                  </a:cubicBezTo>
                  <a:close/>
                  <a:moveTo>
                    <a:pt x="4346" y="0"/>
                  </a:moveTo>
                  <a:cubicBezTo>
                    <a:pt x="3763" y="0"/>
                    <a:pt x="3179" y="143"/>
                    <a:pt x="2679" y="417"/>
                  </a:cubicBezTo>
                  <a:cubicBezTo>
                    <a:pt x="2631" y="413"/>
                    <a:pt x="2583" y="411"/>
                    <a:pt x="2536" y="411"/>
                  </a:cubicBezTo>
                  <a:cubicBezTo>
                    <a:pt x="2303" y="411"/>
                    <a:pt x="2085" y="459"/>
                    <a:pt x="1917" y="548"/>
                  </a:cubicBezTo>
                  <a:cubicBezTo>
                    <a:pt x="1846" y="584"/>
                    <a:pt x="1798" y="691"/>
                    <a:pt x="1846" y="774"/>
                  </a:cubicBezTo>
                  <a:cubicBezTo>
                    <a:pt x="1869" y="810"/>
                    <a:pt x="1905" y="870"/>
                    <a:pt x="1929" y="917"/>
                  </a:cubicBezTo>
                  <a:cubicBezTo>
                    <a:pt x="1215" y="1560"/>
                    <a:pt x="774" y="2465"/>
                    <a:pt x="715" y="3429"/>
                  </a:cubicBezTo>
                  <a:lnTo>
                    <a:pt x="548" y="6323"/>
                  </a:lnTo>
                  <a:cubicBezTo>
                    <a:pt x="500" y="7120"/>
                    <a:pt x="691" y="7918"/>
                    <a:pt x="1131" y="8585"/>
                  </a:cubicBezTo>
                  <a:lnTo>
                    <a:pt x="846" y="8692"/>
                  </a:lnTo>
                  <a:cubicBezTo>
                    <a:pt x="334" y="8871"/>
                    <a:pt x="0" y="9347"/>
                    <a:pt x="0" y="9883"/>
                  </a:cubicBezTo>
                  <a:lnTo>
                    <a:pt x="0" y="11466"/>
                  </a:lnTo>
                  <a:cubicBezTo>
                    <a:pt x="0" y="11561"/>
                    <a:pt x="72" y="11633"/>
                    <a:pt x="155" y="11633"/>
                  </a:cubicBezTo>
                  <a:cubicBezTo>
                    <a:pt x="250" y="11633"/>
                    <a:pt x="322" y="11561"/>
                    <a:pt x="322" y="11466"/>
                  </a:cubicBezTo>
                  <a:lnTo>
                    <a:pt x="322" y="9883"/>
                  </a:lnTo>
                  <a:cubicBezTo>
                    <a:pt x="322" y="9490"/>
                    <a:pt x="572" y="9133"/>
                    <a:pt x="929" y="9002"/>
                  </a:cubicBezTo>
                  <a:lnTo>
                    <a:pt x="1941" y="8644"/>
                  </a:lnTo>
                  <a:cubicBezTo>
                    <a:pt x="2036" y="8835"/>
                    <a:pt x="2167" y="9002"/>
                    <a:pt x="2310" y="9168"/>
                  </a:cubicBezTo>
                  <a:cubicBezTo>
                    <a:pt x="2346" y="9192"/>
                    <a:pt x="2393" y="9228"/>
                    <a:pt x="2429" y="9228"/>
                  </a:cubicBezTo>
                  <a:cubicBezTo>
                    <a:pt x="2477" y="9228"/>
                    <a:pt x="2524" y="9204"/>
                    <a:pt x="2548" y="9180"/>
                  </a:cubicBezTo>
                  <a:cubicBezTo>
                    <a:pt x="2631" y="9121"/>
                    <a:pt x="2631" y="9002"/>
                    <a:pt x="2548" y="8942"/>
                  </a:cubicBezTo>
                  <a:cubicBezTo>
                    <a:pt x="2429" y="8823"/>
                    <a:pt x="2346" y="8692"/>
                    <a:pt x="2250" y="8537"/>
                  </a:cubicBezTo>
                  <a:lnTo>
                    <a:pt x="2810" y="8347"/>
                  </a:lnTo>
                  <a:cubicBezTo>
                    <a:pt x="3167" y="8216"/>
                    <a:pt x="3405" y="7882"/>
                    <a:pt x="3405" y="7501"/>
                  </a:cubicBezTo>
                  <a:lnTo>
                    <a:pt x="3405" y="6918"/>
                  </a:lnTo>
                  <a:cubicBezTo>
                    <a:pt x="3679" y="7037"/>
                    <a:pt x="4001" y="7097"/>
                    <a:pt x="4322" y="7097"/>
                  </a:cubicBezTo>
                  <a:cubicBezTo>
                    <a:pt x="4656" y="7097"/>
                    <a:pt x="4965" y="7037"/>
                    <a:pt x="5251" y="6918"/>
                  </a:cubicBezTo>
                  <a:lnTo>
                    <a:pt x="5251" y="7501"/>
                  </a:lnTo>
                  <a:cubicBezTo>
                    <a:pt x="5251" y="7882"/>
                    <a:pt x="5489" y="8228"/>
                    <a:pt x="5846" y="8347"/>
                  </a:cubicBezTo>
                  <a:lnTo>
                    <a:pt x="6394" y="8537"/>
                  </a:lnTo>
                  <a:cubicBezTo>
                    <a:pt x="6227" y="8847"/>
                    <a:pt x="5965" y="9121"/>
                    <a:pt x="5632" y="9311"/>
                  </a:cubicBezTo>
                  <a:cubicBezTo>
                    <a:pt x="5251" y="9549"/>
                    <a:pt x="4787" y="9668"/>
                    <a:pt x="4310" y="9668"/>
                  </a:cubicBezTo>
                  <a:cubicBezTo>
                    <a:pt x="3882" y="9668"/>
                    <a:pt x="3453" y="9561"/>
                    <a:pt x="3072" y="9359"/>
                  </a:cubicBezTo>
                  <a:cubicBezTo>
                    <a:pt x="3047" y="9344"/>
                    <a:pt x="3019" y="9337"/>
                    <a:pt x="2991" y="9337"/>
                  </a:cubicBezTo>
                  <a:cubicBezTo>
                    <a:pt x="2929" y="9337"/>
                    <a:pt x="2867" y="9372"/>
                    <a:pt x="2834" y="9430"/>
                  </a:cubicBezTo>
                  <a:cubicBezTo>
                    <a:pt x="2798" y="9525"/>
                    <a:pt x="2822" y="9621"/>
                    <a:pt x="2917" y="9668"/>
                  </a:cubicBezTo>
                  <a:cubicBezTo>
                    <a:pt x="3334" y="9895"/>
                    <a:pt x="3810" y="10026"/>
                    <a:pt x="4310" y="10026"/>
                  </a:cubicBezTo>
                  <a:cubicBezTo>
                    <a:pt x="4846" y="10026"/>
                    <a:pt x="5370" y="9883"/>
                    <a:pt x="5799" y="9621"/>
                  </a:cubicBezTo>
                  <a:cubicBezTo>
                    <a:pt x="6203" y="9383"/>
                    <a:pt x="6501" y="9061"/>
                    <a:pt x="6703" y="8668"/>
                  </a:cubicBezTo>
                  <a:lnTo>
                    <a:pt x="7715" y="9025"/>
                  </a:lnTo>
                  <a:cubicBezTo>
                    <a:pt x="8096" y="9156"/>
                    <a:pt x="8335" y="9502"/>
                    <a:pt x="8335" y="9906"/>
                  </a:cubicBezTo>
                  <a:lnTo>
                    <a:pt x="8335" y="11502"/>
                  </a:lnTo>
                  <a:cubicBezTo>
                    <a:pt x="8335" y="11585"/>
                    <a:pt x="8406" y="11669"/>
                    <a:pt x="8489" y="11669"/>
                  </a:cubicBezTo>
                  <a:cubicBezTo>
                    <a:pt x="8585" y="11669"/>
                    <a:pt x="8656" y="11585"/>
                    <a:pt x="8656" y="11502"/>
                  </a:cubicBezTo>
                  <a:lnTo>
                    <a:pt x="8656" y="9906"/>
                  </a:lnTo>
                  <a:cubicBezTo>
                    <a:pt x="8727" y="9359"/>
                    <a:pt x="8394" y="8883"/>
                    <a:pt x="7882" y="8704"/>
                  </a:cubicBezTo>
                  <a:lnTo>
                    <a:pt x="7596" y="8597"/>
                  </a:lnTo>
                  <a:cubicBezTo>
                    <a:pt x="8037" y="7918"/>
                    <a:pt x="8227" y="7144"/>
                    <a:pt x="8180" y="6335"/>
                  </a:cubicBezTo>
                  <a:lnTo>
                    <a:pt x="8013" y="3525"/>
                  </a:lnTo>
                  <a:cubicBezTo>
                    <a:pt x="7954" y="2560"/>
                    <a:pt x="7513" y="1632"/>
                    <a:pt x="6763" y="953"/>
                  </a:cubicBezTo>
                  <a:cubicBezTo>
                    <a:pt x="6811" y="893"/>
                    <a:pt x="6858" y="834"/>
                    <a:pt x="6882" y="774"/>
                  </a:cubicBezTo>
                  <a:cubicBezTo>
                    <a:pt x="6930" y="679"/>
                    <a:pt x="6906" y="584"/>
                    <a:pt x="6811" y="548"/>
                  </a:cubicBezTo>
                  <a:cubicBezTo>
                    <a:pt x="6634" y="455"/>
                    <a:pt x="6427" y="406"/>
                    <a:pt x="6192" y="406"/>
                  </a:cubicBezTo>
                  <a:cubicBezTo>
                    <a:pt x="6127" y="406"/>
                    <a:pt x="6059" y="409"/>
                    <a:pt x="5989" y="417"/>
                  </a:cubicBezTo>
                  <a:cubicBezTo>
                    <a:pt x="5477" y="131"/>
                    <a:pt x="4906" y="0"/>
                    <a:pt x="4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2" name="Google Shape;11662;p61"/>
            <p:cNvSpPr/>
            <p:nvPr/>
          </p:nvSpPr>
          <p:spPr>
            <a:xfrm>
              <a:off x="8154771" y="3491016"/>
              <a:ext cx="63392" cy="33993"/>
            </a:xfrm>
            <a:custGeom>
              <a:avLst/>
              <a:gdLst/>
              <a:ahLst/>
              <a:cxnLst/>
              <a:rect l="l" t="t" r="r" b="b"/>
              <a:pathLst>
                <a:path w="2001" h="1073" extrusionOk="0">
                  <a:moveTo>
                    <a:pt x="1608" y="334"/>
                  </a:moveTo>
                  <a:cubicBezTo>
                    <a:pt x="1537" y="560"/>
                    <a:pt x="1287" y="727"/>
                    <a:pt x="1001" y="727"/>
                  </a:cubicBezTo>
                  <a:cubicBezTo>
                    <a:pt x="715" y="727"/>
                    <a:pt x="465" y="560"/>
                    <a:pt x="370" y="334"/>
                  </a:cubicBezTo>
                  <a:close/>
                  <a:moveTo>
                    <a:pt x="167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655"/>
                    <a:pt x="453" y="1072"/>
                    <a:pt x="1001" y="1072"/>
                  </a:cubicBezTo>
                  <a:cubicBezTo>
                    <a:pt x="1549" y="1072"/>
                    <a:pt x="2001" y="667"/>
                    <a:pt x="2001" y="155"/>
                  </a:cubicBezTo>
                  <a:cubicBezTo>
                    <a:pt x="2001" y="72"/>
                    <a:pt x="1906" y="1"/>
                    <a:pt x="1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3" name="Google Shape;11663;p61"/>
            <p:cNvSpPr/>
            <p:nvPr/>
          </p:nvSpPr>
          <p:spPr>
            <a:xfrm>
              <a:off x="8139691" y="3435988"/>
              <a:ext cx="23792" cy="13939"/>
            </a:xfrm>
            <a:custGeom>
              <a:avLst/>
              <a:gdLst/>
              <a:ahLst/>
              <a:cxnLst/>
              <a:rect l="l" t="t" r="r" b="b"/>
              <a:pathLst>
                <a:path w="751" h="440" extrusionOk="0">
                  <a:moveTo>
                    <a:pt x="575" y="1"/>
                  </a:moveTo>
                  <a:cubicBezTo>
                    <a:pt x="558" y="1"/>
                    <a:pt x="541" y="4"/>
                    <a:pt x="524" y="11"/>
                  </a:cubicBezTo>
                  <a:lnTo>
                    <a:pt x="155" y="94"/>
                  </a:lnTo>
                  <a:cubicBezTo>
                    <a:pt x="60" y="130"/>
                    <a:pt x="1" y="214"/>
                    <a:pt x="36" y="309"/>
                  </a:cubicBezTo>
                  <a:cubicBezTo>
                    <a:pt x="48" y="380"/>
                    <a:pt x="120" y="440"/>
                    <a:pt x="191" y="440"/>
                  </a:cubicBezTo>
                  <a:lnTo>
                    <a:pt x="239" y="440"/>
                  </a:lnTo>
                  <a:lnTo>
                    <a:pt x="608" y="345"/>
                  </a:lnTo>
                  <a:cubicBezTo>
                    <a:pt x="691" y="309"/>
                    <a:pt x="751" y="214"/>
                    <a:pt x="727" y="130"/>
                  </a:cubicBezTo>
                  <a:cubicBezTo>
                    <a:pt x="708" y="54"/>
                    <a:pt x="643" y="1"/>
                    <a:pt x="5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4" name="Google Shape;11664;p61"/>
            <p:cNvSpPr/>
            <p:nvPr/>
          </p:nvSpPr>
          <p:spPr>
            <a:xfrm>
              <a:off x="8209102" y="3435418"/>
              <a:ext cx="23412" cy="13401"/>
            </a:xfrm>
            <a:custGeom>
              <a:avLst/>
              <a:gdLst/>
              <a:ahLst/>
              <a:cxnLst/>
              <a:rect l="l" t="t" r="r" b="b"/>
              <a:pathLst>
                <a:path w="739" h="423" extrusionOk="0">
                  <a:moveTo>
                    <a:pt x="196" y="0"/>
                  </a:moveTo>
                  <a:cubicBezTo>
                    <a:pt x="119" y="0"/>
                    <a:pt x="54" y="54"/>
                    <a:pt x="24" y="124"/>
                  </a:cubicBezTo>
                  <a:cubicBezTo>
                    <a:pt x="0" y="220"/>
                    <a:pt x="60" y="303"/>
                    <a:pt x="143" y="339"/>
                  </a:cubicBezTo>
                  <a:lnTo>
                    <a:pt x="512" y="422"/>
                  </a:lnTo>
                  <a:lnTo>
                    <a:pt x="560" y="422"/>
                  </a:lnTo>
                  <a:cubicBezTo>
                    <a:pt x="631" y="422"/>
                    <a:pt x="715" y="386"/>
                    <a:pt x="727" y="291"/>
                  </a:cubicBezTo>
                  <a:cubicBezTo>
                    <a:pt x="738" y="220"/>
                    <a:pt x="703" y="124"/>
                    <a:pt x="607" y="101"/>
                  </a:cubicBezTo>
                  <a:lnTo>
                    <a:pt x="238" y="5"/>
                  </a:lnTo>
                  <a:cubicBezTo>
                    <a:pt x="224" y="2"/>
                    <a:pt x="210" y="0"/>
                    <a:pt x="1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65" name="Google Shape;11665;p61"/>
          <p:cNvGrpSpPr/>
          <p:nvPr/>
        </p:nvGrpSpPr>
        <p:grpSpPr>
          <a:xfrm>
            <a:off x="7575787" y="3329955"/>
            <a:ext cx="295384" cy="376834"/>
            <a:chOff x="7575787" y="3329955"/>
            <a:chExt cx="295384" cy="376834"/>
          </a:xfrm>
        </p:grpSpPr>
        <p:sp>
          <p:nvSpPr>
            <p:cNvPr id="11666" name="Google Shape;11666;p61"/>
            <p:cNvSpPr/>
            <p:nvPr/>
          </p:nvSpPr>
          <p:spPr>
            <a:xfrm>
              <a:off x="7682549" y="3453666"/>
              <a:ext cx="11341" cy="17392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lnTo>
                    <a:pt x="0" y="370"/>
                  </a:lnTo>
                  <a:cubicBezTo>
                    <a:pt x="0" y="465"/>
                    <a:pt x="72" y="549"/>
                    <a:pt x="179" y="549"/>
                  </a:cubicBezTo>
                  <a:cubicBezTo>
                    <a:pt x="274" y="549"/>
                    <a:pt x="357" y="477"/>
                    <a:pt x="357" y="370"/>
                  </a:cubicBezTo>
                  <a:lnTo>
                    <a:pt x="357" y="179"/>
                  </a:lnTo>
                  <a:cubicBezTo>
                    <a:pt x="357" y="72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7" name="Google Shape;11667;p61"/>
            <p:cNvSpPr/>
            <p:nvPr/>
          </p:nvSpPr>
          <p:spPr>
            <a:xfrm>
              <a:off x="7753068" y="3453666"/>
              <a:ext cx="11341" cy="17392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70"/>
                  </a:lnTo>
                  <a:cubicBezTo>
                    <a:pt x="1" y="465"/>
                    <a:pt x="72" y="549"/>
                    <a:pt x="179" y="549"/>
                  </a:cubicBezTo>
                  <a:cubicBezTo>
                    <a:pt x="286" y="549"/>
                    <a:pt x="358" y="477"/>
                    <a:pt x="358" y="370"/>
                  </a:cubicBezTo>
                  <a:lnTo>
                    <a:pt x="358" y="179"/>
                  </a:lnTo>
                  <a:cubicBezTo>
                    <a:pt x="358" y="72"/>
                    <a:pt x="27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8" name="Google Shape;11668;p61"/>
            <p:cNvSpPr/>
            <p:nvPr/>
          </p:nvSpPr>
          <p:spPr>
            <a:xfrm>
              <a:off x="7699149" y="3494691"/>
              <a:ext cx="47932" cy="17487"/>
            </a:xfrm>
            <a:custGeom>
              <a:avLst/>
              <a:gdLst/>
              <a:ahLst/>
              <a:cxnLst/>
              <a:rect l="l" t="t" r="r" b="b"/>
              <a:pathLst>
                <a:path w="1513" h="552" extrusionOk="0">
                  <a:moveTo>
                    <a:pt x="1328" y="1"/>
                  </a:moveTo>
                  <a:cubicBezTo>
                    <a:pt x="1283" y="1"/>
                    <a:pt x="1238" y="21"/>
                    <a:pt x="1203" y="63"/>
                  </a:cubicBezTo>
                  <a:cubicBezTo>
                    <a:pt x="1131" y="123"/>
                    <a:pt x="976" y="194"/>
                    <a:pt x="762" y="194"/>
                  </a:cubicBezTo>
                  <a:cubicBezTo>
                    <a:pt x="536" y="194"/>
                    <a:pt x="393" y="123"/>
                    <a:pt x="333" y="63"/>
                  </a:cubicBezTo>
                  <a:cubicBezTo>
                    <a:pt x="301" y="25"/>
                    <a:pt x="260" y="9"/>
                    <a:pt x="219" y="9"/>
                  </a:cubicBezTo>
                  <a:cubicBezTo>
                    <a:pt x="171" y="9"/>
                    <a:pt x="122" y="31"/>
                    <a:pt x="83" y="63"/>
                  </a:cubicBezTo>
                  <a:cubicBezTo>
                    <a:pt x="0" y="135"/>
                    <a:pt x="24" y="242"/>
                    <a:pt x="83" y="313"/>
                  </a:cubicBezTo>
                  <a:cubicBezTo>
                    <a:pt x="226" y="456"/>
                    <a:pt x="476" y="551"/>
                    <a:pt x="762" y="551"/>
                  </a:cubicBezTo>
                  <a:cubicBezTo>
                    <a:pt x="1048" y="551"/>
                    <a:pt x="1298" y="456"/>
                    <a:pt x="1453" y="313"/>
                  </a:cubicBezTo>
                  <a:cubicBezTo>
                    <a:pt x="1512" y="242"/>
                    <a:pt x="1512" y="123"/>
                    <a:pt x="1453" y="63"/>
                  </a:cubicBezTo>
                  <a:cubicBezTo>
                    <a:pt x="1417" y="21"/>
                    <a:pt x="1372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9" name="Google Shape;11669;p61"/>
            <p:cNvSpPr/>
            <p:nvPr/>
          </p:nvSpPr>
          <p:spPr>
            <a:xfrm>
              <a:off x="7575787" y="3329955"/>
              <a:ext cx="295384" cy="376834"/>
            </a:xfrm>
            <a:custGeom>
              <a:avLst/>
              <a:gdLst/>
              <a:ahLst/>
              <a:cxnLst/>
              <a:rect l="l" t="t" r="r" b="b"/>
              <a:pathLst>
                <a:path w="9324" h="11895" extrusionOk="0">
                  <a:moveTo>
                    <a:pt x="4656" y="334"/>
                  </a:moveTo>
                  <a:cubicBezTo>
                    <a:pt x="5835" y="334"/>
                    <a:pt x="6859" y="929"/>
                    <a:pt x="7454" y="1834"/>
                  </a:cubicBezTo>
                  <a:lnTo>
                    <a:pt x="7335" y="3156"/>
                  </a:lnTo>
                  <a:cubicBezTo>
                    <a:pt x="6049" y="2025"/>
                    <a:pt x="4454" y="1882"/>
                    <a:pt x="4394" y="1858"/>
                  </a:cubicBezTo>
                  <a:cubicBezTo>
                    <a:pt x="4335" y="1858"/>
                    <a:pt x="4275" y="1882"/>
                    <a:pt x="4239" y="1941"/>
                  </a:cubicBezTo>
                  <a:cubicBezTo>
                    <a:pt x="4215" y="2001"/>
                    <a:pt x="4204" y="2060"/>
                    <a:pt x="4227" y="2108"/>
                  </a:cubicBezTo>
                  <a:lnTo>
                    <a:pt x="4406" y="2549"/>
                  </a:lnTo>
                  <a:cubicBezTo>
                    <a:pt x="3394" y="2406"/>
                    <a:pt x="2453" y="2060"/>
                    <a:pt x="1894" y="1810"/>
                  </a:cubicBezTo>
                  <a:cubicBezTo>
                    <a:pt x="2477" y="929"/>
                    <a:pt x="3501" y="334"/>
                    <a:pt x="4656" y="334"/>
                  </a:cubicBezTo>
                  <a:close/>
                  <a:moveTo>
                    <a:pt x="6882" y="3251"/>
                  </a:moveTo>
                  <a:cubicBezTo>
                    <a:pt x="7025" y="3358"/>
                    <a:pt x="7156" y="3477"/>
                    <a:pt x="7299" y="3608"/>
                  </a:cubicBezTo>
                  <a:lnTo>
                    <a:pt x="7275" y="3715"/>
                  </a:lnTo>
                  <a:lnTo>
                    <a:pt x="7073" y="3715"/>
                  </a:lnTo>
                  <a:cubicBezTo>
                    <a:pt x="6966" y="3715"/>
                    <a:pt x="6882" y="3620"/>
                    <a:pt x="6882" y="3513"/>
                  </a:cubicBezTo>
                  <a:lnTo>
                    <a:pt x="6882" y="3251"/>
                  </a:lnTo>
                  <a:close/>
                  <a:moveTo>
                    <a:pt x="2037" y="2251"/>
                  </a:moveTo>
                  <a:cubicBezTo>
                    <a:pt x="2691" y="2513"/>
                    <a:pt x="3644" y="2834"/>
                    <a:pt x="4644" y="2918"/>
                  </a:cubicBezTo>
                  <a:cubicBezTo>
                    <a:pt x="4704" y="2918"/>
                    <a:pt x="4763" y="2906"/>
                    <a:pt x="4811" y="2846"/>
                  </a:cubicBezTo>
                  <a:cubicBezTo>
                    <a:pt x="4835" y="2799"/>
                    <a:pt x="4858" y="2727"/>
                    <a:pt x="4823" y="2679"/>
                  </a:cubicBezTo>
                  <a:lnTo>
                    <a:pt x="4644" y="2251"/>
                  </a:lnTo>
                  <a:lnTo>
                    <a:pt x="4644" y="2251"/>
                  </a:lnTo>
                  <a:cubicBezTo>
                    <a:pt x="5049" y="2322"/>
                    <a:pt x="5787" y="2513"/>
                    <a:pt x="6537" y="2977"/>
                  </a:cubicBezTo>
                  <a:lnTo>
                    <a:pt x="6537" y="3489"/>
                  </a:lnTo>
                  <a:cubicBezTo>
                    <a:pt x="6537" y="3787"/>
                    <a:pt x="6775" y="4037"/>
                    <a:pt x="7085" y="4037"/>
                  </a:cubicBezTo>
                  <a:lnTo>
                    <a:pt x="7371" y="4037"/>
                  </a:lnTo>
                  <a:cubicBezTo>
                    <a:pt x="7454" y="4037"/>
                    <a:pt x="7537" y="4061"/>
                    <a:pt x="7597" y="4120"/>
                  </a:cubicBezTo>
                  <a:cubicBezTo>
                    <a:pt x="7656" y="4180"/>
                    <a:pt x="7680" y="4275"/>
                    <a:pt x="7668" y="4346"/>
                  </a:cubicBezTo>
                  <a:cubicBezTo>
                    <a:pt x="7656" y="4501"/>
                    <a:pt x="7514" y="4620"/>
                    <a:pt x="7359" y="4620"/>
                  </a:cubicBezTo>
                  <a:lnTo>
                    <a:pt x="7275" y="4620"/>
                  </a:lnTo>
                  <a:lnTo>
                    <a:pt x="7275" y="4596"/>
                  </a:lnTo>
                  <a:cubicBezTo>
                    <a:pt x="7275" y="4513"/>
                    <a:pt x="7204" y="4418"/>
                    <a:pt x="7097" y="4418"/>
                  </a:cubicBezTo>
                  <a:cubicBezTo>
                    <a:pt x="7013" y="4418"/>
                    <a:pt x="6918" y="4501"/>
                    <a:pt x="6918" y="4596"/>
                  </a:cubicBezTo>
                  <a:cubicBezTo>
                    <a:pt x="6918" y="5835"/>
                    <a:pt x="5906" y="6847"/>
                    <a:pt x="4680" y="6847"/>
                  </a:cubicBezTo>
                  <a:cubicBezTo>
                    <a:pt x="3442" y="6847"/>
                    <a:pt x="2430" y="5835"/>
                    <a:pt x="2430" y="4596"/>
                  </a:cubicBezTo>
                  <a:cubicBezTo>
                    <a:pt x="2430" y="4513"/>
                    <a:pt x="2358" y="4418"/>
                    <a:pt x="2251" y="4418"/>
                  </a:cubicBezTo>
                  <a:cubicBezTo>
                    <a:pt x="2156" y="4418"/>
                    <a:pt x="2072" y="4501"/>
                    <a:pt x="2072" y="4596"/>
                  </a:cubicBezTo>
                  <a:lnTo>
                    <a:pt x="2072" y="4620"/>
                  </a:lnTo>
                  <a:lnTo>
                    <a:pt x="1965" y="4620"/>
                  </a:lnTo>
                  <a:cubicBezTo>
                    <a:pt x="1882" y="4620"/>
                    <a:pt x="1799" y="4584"/>
                    <a:pt x="1739" y="4525"/>
                  </a:cubicBezTo>
                  <a:cubicBezTo>
                    <a:pt x="1679" y="4465"/>
                    <a:pt x="1656" y="4382"/>
                    <a:pt x="1668" y="4299"/>
                  </a:cubicBezTo>
                  <a:cubicBezTo>
                    <a:pt x="1679" y="4168"/>
                    <a:pt x="1822" y="4049"/>
                    <a:pt x="1977" y="4049"/>
                  </a:cubicBezTo>
                  <a:lnTo>
                    <a:pt x="2239" y="4049"/>
                  </a:lnTo>
                  <a:cubicBezTo>
                    <a:pt x="2537" y="4049"/>
                    <a:pt x="2787" y="3811"/>
                    <a:pt x="2787" y="3501"/>
                  </a:cubicBezTo>
                  <a:lnTo>
                    <a:pt x="2787" y="3072"/>
                  </a:lnTo>
                  <a:cubicBezTo>
                    <a:pt x="2787" y="2977"/>
                    <a:pt x="2715" y="2894"/>
                    <a:pt x="2608" y="2894"/>
                  </a:cubicBezTo>
                  <a:cubicBezTo>
                    <a:pt x="2513" y="2894"/>
                    <a:pt x="2430" y="2965"/>
                    <a:pt x="2430" y="3072"/>
                  </a:cubicBezTo>
                  <a:lnTo>
                    <a:pt x="2430" y="3501"/>
                  </a:lnTo>
                  <a:cubicBezTo>
                    <a:pt x="2430" y="3608"/>
                    <a:pt x="2334" y="3692"/>
                    <a:pt x="2239" y="3692"/>
                  </a:cubicBezTo>
                  <a:lnTo>
                    <a:pt x="2037" y="3692"/>
                  </a:lnTo>
                  <a:lnTo>
                    <a:pt x="2037" y="2251"/>
                  </a:lnTo>
                  <a:close/>
                  <a:moveTo>
                    <a:pt x="1703" y="2120"/>
                  </a:moveTo>
                  <a:lnTo>
                    <a:pt x="1703" y="3763"/>
                  </a:lnTo>
                  <a:cubicBezTo>
                    <a:pt x="1501" y="3858"/>
                    <a:pt x="1358" y="4049"/>
                    <a:pt x="1322" y="4275"/>
                  </a:cubicBezTo>
                  <a:cubicBezTo>
                    <a:pt x="1310" y="4454"/>
                    <a:pt x="1370" y="4632"/>
                    <a:pt x="1489" y="4763"/>
                  </a:cubicBezTo>
                  <a:cubicBezTo>
                    <a:pt x="1608" y="4894"/>
                    <a:pt x="1787" y="4977"/>
                    <a:pt x="1965" y="4977"/>
                  </a:cubicBezTo>
                  <a:lnTo>
                    <a:pt x="2096" y="4977"/>
                  </a:lnTo>
                  <a:cubicBezTo>
                    <a:pt x="2203" y="5704"/>
                    <a:pt x="2608" y="6347"/>
                    <a:pt x="3192" y="6740"/>
                  </a:cubicBezTo>
                  <a:lnTo>
                    <a:pt x="3192" y="7561"/>
                  </a:lnTo>
                  <a:cubicBezTo>
                    <a:pt x="3192" y="7644"/>
                    <a:pt x="3168" y="7716"/>
                    <a:pt x="3120" y="7763"/>
                  </a:cubicBezTo>
                  <a:lnTo>
                    <a:pt x="2822" y="7502"/>
                  </a:lnTo>
                  <a:cubicBezTo>
                    <a:pt x="1858" y="6680"/>
                    <a:pt x="1298" y="5489"/>
                    <a:pt x="1298" y="4215"/>
                  </a:cubicBezTo>
                  <a:lnTo>
                    <a:pt x="1298" y="3692"/>
                  </a:lnTo>
                  <a:cubicBezTo>
                    <a:pt x="1298" y="3132"/>
                    <a:pt x="1441" y="2596"/>
                    <a:pt x="1703" y="2120"/>
                  </a:cubicBezTo>
                  <a:close/>
                  <a:moveTo>
                    <a:pt x="7752" y="2406"/>
                  </a:moveTo>
                  <a:cubicBezTo>
                    <a:pt x="7918" y="2799"/>
                    <a:pt x="8025" y="3239"/>
                    <a:pt x="8025" y="3692"/>
                  </a:cubicBezTo>
                  <a:lnTo>
                    <a:pt x="8025" y="4215"/>
                  </a:lnTo>
                  <a:cubicBezTo>
                    <a:pt x="8025" y="5477"/>
                    <a:pt x="7478" y="6692"/>
                    <a:pt x="6490" y="7502"/>
                  </a:cubicBezTo>
                  <a:lnTo>
                    <a:pt x="6192" y="7763"/>
                  </a:lnTo>
                  <a:cubicBezTo>
                    <a:pt x="6168" y="7704"/>
                    <a:pt x="6132" y="7621"/>
                    <a:pt x="6132" y="7561"/>
                  </a:cubicBezTo>
                  <a:lnTo>
                    <a:pt x="6132" y="7430"/>
                  </a:lnTo>
                  <a:cubicBezTo>
                    <a:pt x="6132" y="7347"/>
                    <a:pt x="6061" y="7251"/>
                    <a:pt x="5954" y="7251"/>
                  </a:cubicBezTo>
                  <a:cubicBezTo>
                    <a:pt x="5870" y="7251"/>
                    <a:pt x="5775" y="7323"/>
                    <a:pt x="5775" y="7430"/>
                  </a:cubicBezTo>
                  <a:lnTo>
                    <a:pt x="5775" y="7561"/>
                  </a:lnTo>
                  <a:cubicBezTo>
                    <a:pt x="5775" y="7716"/>
                    <a:pt x="5823" y="7859"/>
                    <a:pt x="5906" y="8002"/>
                  </a:cubicBezTo>
                  <a:lnTo>
                    <a:pt x="4644" y="9073"/>
                  </a:lnTo>
                  <a:lnTo>
                    <a:pt x="3382" y="8002"/>
                  </a:lnTo>
                  <a:cubicBezTo>
                    <a:pt x="3465" y="7883"/>
                    <a:pt x="3513" y="7728"/>
                    <a:pt x="3513" y="7561"/>
                  </a:cubicBezTo>
                  <a:lnTo>
                    <a:pt x="3513" y="6966"/>
                  </a:lnTo>
                  <a:cubicBezTo>
                    <a:pt x="3858" y="7132"/>
                    <a:pt x="4239" y="7228"/>
                    <a:pt x="4644" y="7228"/>
                  </a:cubicBezTo>
                  <a:cubicBezTo>
                    <a:pt x="5954" y="7228"/>
                    <a:pt x="7037" y="6251"/>
                    <a:pt x="7216" y="4989"/>
                  </a:cubicBezTo>
                  <a:lnTo>
                    <a:pt x="7323" y="4989"/>
                  </a:lnTo>
                  <a:cubicBezTo>
                    <a:pt x="7668" y="4989"/>
                    <a:pt x="7954" y="4739"/>
                    <a:pt x="7990" y="4406"/>
                  </a:cubicBezTo>
                  <a:cubicBezTo>
                    <a:pt x="8002" y="4227"/>
                    <a:pt x="7954" y="4049"/>
                    <a:pt x="7835" y="3918"/>
                  </a:cubicBezTo>
                  <a:cubicBezTo>
                    <a:pt x="7775" y="3858"/>
                    <a:pt x="7716" y="3811"/>
                    <a:pt x="7633" y="3775"/>
                  </a:cubicBezTo>
                  <a:lnTo>
                    <a:pt x="7752" y="2406"/>
                  </a:lnTo>
                  <a:close/>
                  <a:moveTo>
                    <a:pt x="4656" y="9454"/>
                  </a:moveTo>
                  <a:cubicBezTo>
                    <a:pt x="4763" y="9454"/>
                    <a:pt x="4858" y="9549"/>
                    <a:pt x="4858" y="9645"/>
                  </a:cubicBezTo>
                  <a:lnTo>
                    <a:pt x="4858" y="10026"/>
                  </a:lnTo>
                  <a:cubicBezTo>
                    <a:pt x="4858" y="10121"/>
                    <a:pt x="4763" y="10216"/>
                    <a:pt x="4656" y="10216"/>
                  </a:cubicBezTo>
                  <a:cubicBezTo>
                    <a:pt x="4561" y="10216"/>
                    <a:pt x="4466" y="10121"/>
                    <a:pt x="4466" y="10026"/>
                  </a:cubicBezTo>
                  <a:lnTo>
                    <a:pt x="4466" y="9645"/>
                  </a:lnTo>
                  <a:cubicBezTo>
                    <a:pt x="4466" y="9549"/>
                    <a:pt x="4561" y="9454"/>
                    <a:pt x="4656" y="9454"/>
                  </a:cubicBezTo>
                  <a:close/>
                  <a:moveTo>
                    <a:pt x="4644" y="1"/>
                  </a:moveTo>
                  <a:cubicBezTo>
                    <a:pt x="2608" y="1"/>
                    <a:pt x="941" y="1667"/>
                    <a:pt x="941" y="3715"/>
                  </a:cubicBezTo>
                  <a:lnTo>
                    <a:pt x="941" y="4227"/>
                  </a:lnTo>
                  <a:cubicBezTo>
                    <a:pt x="941" y="5597"/>
                    <a:pt x="1537" y="6894"/>
                    <a:pt x="2596" y="7775"/>
                  </a:cubicBezTo>
                  <a:lnTo>
                    <a:pt x="2799" y="7954"/>
                  </a:lnTo>
                  <a:lnTo>
                    <a:pt x="929" y="8502"/>
                  </a:lnTo>
                  <a:cubicBezTo>
                    <a:pt x="370" y="8668"/>
                    <a:pt x="1" y="9168"/>
                    <a:pt x="1" y="9740"/>
                  </a:cubicBezTo>
                  <a:lnTo>
                    <a:pt x="1" y="11693"/>
                  </a:lnTo>
                  <a:cubicBezTo>
                    <a:pt x="1" y="11776"/>
                    <a:pt x="72" y="11871"/>
                    <a:pt x="179" y="11871"/>
                  </a:cubicBezTo>
                  <a:cubicBezTo>
                    <a:pt x="275" y="11871"/>
                    <a:pt x="358" y="11788"/>
                    <a:pt x="358" y="11693"/>
                  </a:cubicBezTo>
                  <a:lnTo>
                    <a:pt x="358" y="9740"/>
                  </a:lnTo>
                  <a:cubicBezTo>
                    <a:pt x="358" y="9609"/>
                    <a:pt x="394" y="9490"/>
                    <a:pt x="429" y="9383"/>
                  </a:cubicBezTo>
                  <a:lnTo>
                    <a:pt x="1489" y="10299"/>
                  </a:lnTo>
                  <a:cubicBezTo>
                    <a:pt x="1608" y="10407"/>
                    <a:pt x="1679" y="10573"/>
                    <a:pt x="1679" y="10740"/>
                  </a:cubicBezTo>
                  <a:lnTo>
                    <a:pt x="1679" y="11704"/>
                  </a:lnTo>
                  <a:cubicBezTo>
                    <a:pt x="1679" y="11788"/>
                    <a:pt x="1763" y="11883"/>
                    <a:pt x="1858" y="11883"/>
                  </a:cubicBezTo>
                  <a:cubicBezTo>
                    <a:pt x="1953" y="11883"/>
                    <a:pt x="2037" y="11812"/>
                    <a:pt x="2037" y="11704"/>
                  </a:cubicBezTo>
                  <a:lnTo>
                    <a:pt x="2037" y="10740"/>
                  </a:lnTo>
                  <a:cubicBezTo>
                    <a:pt x="2037" y="10466"/>
                    <a:pt x="1918" y="10216"/>
                    <a:pt x="1727" y="10049"/>
                  </a:cubicBezTo>
                  <a:lnTo>
                    <a:pt x="644" y="9097"/>
                  </a:lnTo>
                  <a:cubicBezTo>
                    <a:pt x="751" y="8978"/>
                    <a:pt x="894" y="8895"/>
                    <a:pt x="1048" y="8847"/>
                  </a:cubicBezTo>
                  <a:lnTo>
                    <a:pt x="3013" y="8264"/>
                  </a:lnTo>
                  <a:cubicBezTo>
                    <a:pt x="3049" y="8252"/>
                    <a:pt x="3084" y="8240"/>
                    <a:pt x="3132" y="8216"/>
                  </a:cubicBezTo>
                  <a:lnTo>
                    <a:pt x="4323" y="9228"/>
                  </a:lnTo>
                  <a:cubicBezTo>
                    <a:pt x="4180" y="9335"/>
                    <a:pt x="4108" y="9490"/>
                    <a:pt x="4108" y="9668"/>
                  </a:cubicBezTo>
                  <a:lnTo>
                    <a:pt x="4108" y="10038"/>
                  </a:lnTo>
                  <a:cubicBezTo>
                    <a:pt x="4108" y="10276"/>
                    <a:pt x="4263" y="10478"/>
                    <a:pt x="4477" y="10561"/>
                  </a:cubicBezTo>
                  <a:lnTo>
                    <a:pt x="4477" y="11716"/>
                  </a:lnTo>
                  <a:cubicBezTo>
                    <a:pt x="4477" y="11812"/>
                    <a:pt x="4561" y="11895"/>
                    <a:pt x="4656" y="11895"/>
                  </a:cubicBezTo>
                  <a:cubicBezTo>
                    <a:pt x="4751" y="11895"/>
                    <a:pt x="4835" y="11823"/>
                    <a:pt x="4835" y="11716"/>
                  </a:cubicBezTo>
                  <a:lnTo>
                    <a:pt x="4835" y="10561"/>
                  </a:lnTo>
                  <a:cubicBezTo>
                    <a:pt x="5061" y="10478"/>
                    <a:pt x="5216" y="10276"/>
                    <a:pt x="5216" y="10038"/>
                  </a:cubicBezTo>
                  <a:lnTo>
                    <a:pt x="5216" y="9668"/>
                  </a:lnTo>
                  <a:cubicBezTo>
                    <a:pt x="5216" y="9490"/>
                    <a:pt x="5132" y="9335"/>
                    <a:pt x="5001" y="9228"/>
                  </a:cubicBezTo>
                  <a:lnTo>
                    <a:pt x="6192" y="8216"/>
                  </a:lnTo>
                  <a:cubicBezTo>
                    <a:pt x="6240" y="8240"/>
                    <a:pt x="6263" y="8252"/>
                    <a:pt x="6311" y="8264"/>
                  </a:cubicBezTo>
                  <a:lnTo>
                    <a:pt x="8276" y="8847"/>
                  </a:lnTo>
                  <a:cubicBezTo>
                    <a:pt x="8442" y="8895"/>
                    <a:pt x="8573" y="8978"/>
                    <a:pt x="8680" y="9097"/>
                  </a:cubicBezTo>
                  <a:lnTo>
                    <a:pt x="7597" y="10049"/>
                  </a:lnTo>
                  <a:cubicBezTo>
                    <a:pt x="7394" y="10228"/>
                    <a:pt x="7275" y="10478"/>
                    <a:pt x="7275" y="10740"/>
                  </a:cubicBezTo>
                  <a:lnTo>
                    <a:pt x="7275" y="11704"/>
                  </a:lnTo>
                  <a:cubicBezTo>
                    <a:pt x="7275" y="11788"/>
                    <a:pt x="7359" y="11883"/>
                    <a:pt x="7454" y="11883"/>
                  </a:cubicBezTo>
                  <a:cubicBezTo>
                    <a:pt x="7549" y="11883"/>
                    <a:pt x="7633" y="11812"/>
                    <a:pt x="7633" y="11704"/>
                  </a:cubicBezTo>
                  <a:lnTo>
                    <a:pt x="7633" y="10740"/>
                  </a:lnTo>
                  <a:cubicBezTo>
                    <a:pt x="7633" y="10573"/>
                    <a:pt x="7716" y="10407"/>
                    <a:pt x="7835" y="10299"/>
                  </a:cubicBezTo>
                  <a:lnTo>
                    <a:pt x="8883" y="9383"/>
                  </a:lnTo>
                  <a:cubicBezTo>
                    <a:pt x="8930" y="9502"/>
                    <a:pt x="8966" y="9621"/>
                    <a:pt x="8966" y="9740"/>
                  </a:cubicBezTo>
                  <a:lnTo>
                    <a:pt x="8966" y="11693"/>
                  </a:lnTo>
                  <a:cubicBezTo>
                    <a:pt x="8966" y="11776"/>
                    <a:pt x="9038" y="11871"/>
                    <a:pt x="9145" y="11871"/>
                  </a:cubicBezTo>
                  <a:cubicBezTo>
                    <a:pt x="9228" y="11871"/>
                    <a:pt x="9323" y="11788"/>
                    <a:pt x="9323" y="11693"/>
                  </a:cubicBezTo>
                  <a:lnTo>
                    <a:pt x="9323" y="9740"/>
                  </a:lnTo>
                  <a:cubicBezTo>
                    <a:pt x="9299" y="9168"/>
                    <a:pt x="8918" y="8668"/>
                    <a:pt x="8371" y="8502"/>
                  </a:cubicBezTo>
                  <a:lnTo>
                    <a:pt x="6490" y="7954"/>
                  </a:lnTo>
                  <a:lnTo>
                    <a:pt x="6704" y="7775"/>
                  </a:lnTo>
                  <a:cubicBezTo>
                    <a:pt x="7752" y="6894"/>
                    <a:pt x="8347" y="5597"/>
                    <a:pt x="8347" y="4227"/>
                  </a:cubicBezTo>
                  <a:lnTo>
                    <a:pt x="8347" y="3715"/>
                  </a:lnTo>
                  <a:cubicBezTo>
                    <a:pt x="8347" y="1667"/>
                    <a:pt x="6680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0" name="Google Shape;11670;p61"/>
            <p:cNvSpPr/>
            <p:nvPr/>
          </p:nvSpPr>
          <p:spPr>
            <a:xfrm>
              <a:off x="7676118" y="3435576"/>
              <a:ext cx="23412" cy="11341"/>
            </a:xfrm>
            <a:custGeom>
              <a:avLst/>
              <a:gdLst/>
              <a:ahLst/>
              <a:cxnLst/>
              <a:rect l="l" t="t" r="r" b="b"/>
              <a:pathLst>
                <a:path w="739" h="358" extrusionOk="0">
                  <a:moveTo>
                    <a:pt x="179" y="0"/>
                  </a:moveTo>
                  <a:cubicBezTo>
                    <a:pt x="96" y="0"/>
                    <a:pt x="1" y="84"/>
                    <a:pt x="1" y="179"/>
                  </a:cubicBezTo>
                  <a:cubicBezTo>
                    <a:pt x="1" y="274"/>
                    <a:pt x="84" y="358"/>
                    <a:pt x="179" y="358"/>
                  </a:cubicBezTo>
                  <a:lnTo>
                    <a:pt x="560" y="358"/>
                  </a:lnTo>
                  <a:cubicBezTo>
                    <a:pt x="644" y="358"/>
                    <a:pt x="739" y="286"/>
                    <a:pt x="739" y="179"/>
                  </a:cubicBezTo>
                  <a:cubicBezTo>
                    <a:pt x="739" y="84"/>
                    <a:pt x="656" y="0"/>
                    <a:pt x="5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1" name="Google Shape;11671;p61"/>
            <p:cNvSpPr/>
            <p:nvPr/>
          </p:nvSpPr>
          <p:spPr>
            <a:xfrm>
              <a:off x="7747049" y="3435576"/>
              <a:ext cx="23031" cy="11341"/>
            </a:xfrm>
            <a:custGeom>
              <a:avLst/>
              <a:gdLst/>
              <a:ahLst/>
              <a:cxnLst/>
              <a:rect l="l" t="t" r="r" b="b"/>
              <a:pathLst>
                <a:path w="727" h="358" extrusionOk="0">
                  <a:moveTo>
                    <a:pt x="179" y="0"/>
                  </a:moveTo>
                  <a:cubicBezTo>
                    <a:pt x="83" y="0"/>
                    <a:pt x="0" y="84"/>
                    <a:pt x="0" y="179"/>
                  </a:cubicBezTo>
                  <a:cubicBezTo>
                    <a:pt x="0" y="274"/>
                    <a:pt x="72" y="358"/>
                    <a:pt x="179" y="358"/>
                  </a:cubicBezTo>
                  <a:lnTo>
                    <a:pt x="548" y="358"/>
                  </a:lnTo>
                  <a:cubicBezTo>
                    <a:pt x="643" y="358"/>
                    <a:pt x="726" y="286"/>
                    <a:pt x="726" y="179"/>
                  </a:cubicBezTo>
                  <a:cubicBezTo>
                    <a:pt x="726" y="84"/>
                    <a:pt x="655" y="0"/>
                    <a:pt x="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72" name="Google Shape;11672;p61"/>
          <p:cNvGrpSpPr/>
          <p:nvPr/>
        </p:nvGrpSpPr>
        <p:grpSpPr>
          <a:xfrm>
            <a:off x="864062" y="2884503"/>
            <a:ext cx="264084" cy="347783"/>
            <a:chOff x="864062" y="2884503"/>
            <a:chExt cx="264084" cy="347783"/>
          </a:xfrm>
        </p:grpSpPr>
        <p:sp>
          <p:nvSpPr>
            <p:cNvPr id="11673" name="Google Shape;11673;p61"/>
            <p:cNvSpPr/>
            <p:nvPr/>
          </p:nvSpPr>
          <p:spPr>
            <a:xfrm>
              <a:off x="944783" y="2884503"/>
              <a:ext cx="102263" cy="122982"/>
            </a:xfrm>
            <a:custGeom>
              <a:avLst/>
              <a:gdLst/>
              <a:ahLst/>
              <a:cxnLst/>
              <a:rect l="l" t="t" r="r" b="b"/>
              <a:pathLst>
                <a:path w="3228" h="3882" extrusionOk="0">
                  <a:moveTo>
                    <a:pt x="1608" y="0"/>
                  </a:moveTo>
                  <a:cubicBezTo>
                    <a:pt x="715" y="0"/>
                    <a:pt x="1" y="727"/>
                    <a:pt x="1" y="1608"/>
                  </a:cubicBezTo>
                  <a:cubicBezTo>
                    <a:pt x="1" y="2286"/>
                    <a:pt x="418" y="2882"/>
                    <a:pt x="1060" y="3120"/>
                  </a:cubicBezTo>
                  <a:lnTo>
                    <a:pt x="1477" y="3810"/>
                  </a:lnTo>
                  <a:cubicBezTo>
                    <a:pt x="1501" y="3858"/>
                    <a:pt x="1549" y="3882"/>
                    <a:pt x="1608" y="3882"/>
                  </a:cubicBezTo>
                  <a:cubicBezTo>
                    <a:pt x="1668" y="3882"/>
                    <a:pt x="1715" y="3858"/>
                    <a:pt x="1739" y="3810"/>
                  </a:cubicBezTo>
                  <a:lnTo>
                    <a:pt x="2156" y="3120"/>
                  </a:lnTo>
                  <a:cubicBezTo>
                    <a:pt x="2561" y="2977"/>
                    <a:pt x="2906" y="2667"/>
                    <a:pt x="3085" y="2263"/>
                  </a:cubicBezTo>
                  <a:cubicBezTo>
                    <a:pt x="3108" y="2191"/>
                    <a:pt x="3085" y="2084"/>
                    <a:pt x="3001" y="2060"/>
                  </a:cubicBezTo>
                  <a:cubicBezTo>
                    <a:pt x="2982" y="2051"/>
                    <a:pt x="2961" y="2046"/>
                    <a:pt x="2940" y="2046"/>
                  </a:cubicBezTo>
                  <a:cubicBezTo>
                    <a:pt x="2883" y="2046"/>
                    <a:pt x="2825" y="2079"/>
                    <a:pt x="2799" y="2132"/>
                  </a:cubicBezTo>
                  <a:cubicBezTo>
                    <a:pt x="2644" y="2465"/>
                    <a:pt x="2370" y="2727"/>
                    <a:pt x="2013" y="2834"/>
                  </a:cubicBezTo>
                  <a:cubicBezTo>
                    <a:pt x="1977" y="2846"/>
                    <a:pt x="1930" y="2858"/>
                    <a:pt x="1918" y="2905"/>
                  </a:cubicBezTo>
                  <a:lnTo>
                    <a:pt x="1608" y="3406"/>
                  </a:lnTo>
                  <a:lnTo>
                    <a:pt x="1299" y="2905"/>
                  </a:lnTo>
                  <a:cubicBezTo>
                    <a:pt x="1275" y="2870"/>
                    <a:pt x="1251" y="2846"/>
                    <a:pt x="1203" y="2834"/>
                  </a:cubicBezTo>
                  <a:cubicBezTo>
                    <a:pt x="668" y="2655"/>
                    <a:pt x="310" y="2155"/>
                    <a:pt x="310" y="1596"/>
                  </a:cubicBezTo>
                  <a:cubicBezTo>
                    <a:pt x="310" y="905"/>
                    <a:pt x="894" y="322"/>
                    <a:pt x="1608" y="322"/>
                  </a:cubicBezTo>
                  <a:cubicBezTo>
                    <a:pt x="2311" y="322"/>
                    <a:pt x="2870" y="881"/>
                    <a:pt x="2906" y="1572"/>
                  </a:cubicBezTo>
                  <a:cubicBezTo>
                    <a:pt x="2906" y="1667"/>
                    <a:pt x="2977" y="1739"/>
                    <a:pt x="3061" y="1739"/>
                  </a:cubicBezTo>
                  <a:cubicBezTo>
                    <a:pt x="3156" y="1739"/>
                    <a:pt x="3227" y="1667"/>
                    <a:pt x="3227" y="1572"/>
                  </a:cubicBezTo>
                  <a:cubicBezTo>
                    <a:pt x="3215" y="1167"/>
                    <a:pt x="3049" y="762"/>
                    <a:pt x="2739" y="465"/>
                  </a:cubicBezTo>
                  <a:cubicBezTo>
                    <a:pt x="2442" y="167"/>
                    <a:pt x="2037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4" name="Google Shape;11674;p61"/>
            <p:cNvSpPr/>
            <p:nvPr/>
          </p:nvSpPr>
          <p:spPr>
            <a:xfrm>
              <a:off x="963664" y="2903733"/>
              <a:ext cx="65261" cy="64152"/>
            </a:xfrm>
            <a:custGeom>
              <a:avLst/>
              <a:gdLst/>
              <a:ahLst/>
              <a:cxnLst/>
              <a:rect l="l" t="t" r="r" b="b"/>
              <a:pathLst>
                <a:path w="2060" h="2025" extrusionOk="0">
                  <a:moveTo>
                    <a:pt x="1012" y="584"/>
                  </a:moveTo>
                  <a:cubicBezTo>
                    <a:pt x="1250" y="584"/>
                    <a:pt x="1441" y="774"/>
                    <a:pt x="1441" y="1013"/>
                  </a:cubicBezTo>
                  <a:cubicBezTo>
                    <a:pt x="1441" y="1251"/>
                    <a:pt x="1250" y="1453"/>
                    <a:pt x="1012" y="1453"/>
                  </a:cubicBezTo>
                  <a:cubicBezTo>
                    <a:pt x="774" y="1453"/>
                    <a:pt x="584" y="1251"/>
                    <a:pt x="584" y="1013"/>
                  </a:cubicBezTo>
                  <a:cubicBezTo>
                    <a:pt x="584" y="774"/>
                    <a:pt x="774" y="584"/>
                    <a:pt x="1012" y="584"/>
                  </a:cubicBezTo>
                  <a:close/>
                  <a:moveTo>
                    <a:pt x="1012" y="1"/>
                  </a:moveTo>
                  <a:cubicBezTo>
                    <a:pt x="929" y="1"/>
                    <a:pt x="845" y="72"/>
                    <a:pt x="845" y="167"/>
                  </a:cubicBezTo>
                  <a:lnTo>
                    <a:pt x="845" y="274"/>
                  </a:lnTo>
                  <a:cubicBezTo>
                    <a:pt x="762" y="286"/>
                    <a:pt x="667" y="334"/>
                    <a:pt x="595" y="370"/>
                  </a:cubicBezTo>
                  <a:lnTo>
                    <a:pt x="524" y="298"/>
                  </a:lnTo>
                  <a:cubicBezTo>
                    <a:pt x="494" y="268"/>
                    <a:pt x="453" y="254"/>
                    <a:pt x="411" y="254"/>
                  </a:cubicBezTo>
                  <a:cubicBezTo>
                    <a:pt x="369" y="254"/>
                    <a:pt x="328" y="268"/>
                    <a:pt x="298" y="298"/>
                  </a:cubicBezTo>
                  <a:cubicBezTo>
                    <a:pt x="238" y="358"/>
                    <a:pt x="238" y="465"/>
                    <a:pt x="298" y="524"/>
                  </a:cubicBezTo>
                  <a:lnTo>
                    <a:pt x="369" y="596"/>
                  </a:lnTo>
                  <a:cubicBezTo>
                    <a:pt x="333" y="667"/>
                    <a:pt x="286" y="763"/>
                    <a:pt x="274" y="858"/>
                  </a:cubicBezTo>
                  <a:lnTo>
                    <a:pt x="167" y="858"/>
                  </a:lnTo>
                  <a:cubicBezTo>
                    <a:pt x="72" y="858"/>
                    <a:pt x="0" y="929"/>
                    <a:pt x="0" y="1013"/>
                  </a:cubicBezTo>
                  <a:cubicBezTo>
                    <a:pt x="0" y="1108"/>
                    <a:pt x="72" y="1179"/>
                    <a:pt x="167" y="1179"/>
                  </a:cubicBezTo>
                  <a:lnTo>
                    <a:pt x="274" y="1179"/>
                  </a:lnTo>
                  <a:cubicBezTo>
                    <a:pt x="286" y="1275"/>
                    <a:pt x="333" y="1358"/>
                    <a:pt x="369" y="1429"/>
                  </a:cubicBezTo>
                  <a:lnTo>
                    <a:pt x="298" y="1513"/>
                  </a:lnTo>
                  <a:cubicBezTo>
                    <a:pt x="238" y="1572"/>
                    <a:pt x="238" y="1667"/>
                    <a:pt x="298" y="1727"/>
                  </a:cubicBezTo>
                  <a:cubicBezTo>
                    <a:pt x="333" y="1763"/>
                    <a:pt x="369" y="1775"/>
                    <a:pt x="417" y="1775"/>
                  </a:cubicBezTo>
                  <a:cubicBezTo>
                    <a:pt x="464" y="1775"/>
                    <a:pt x="512" y="1763"/>
                    <a:pt x="536" y="1727"/>
                  </a:cubicBezTo>
                  <a:lnTo>
                    <a:pt x="607" y="1656"/>
                  </a:lnTo>
                  <a:cubicBezTo>
                    <a:pt x="691" y="1703"/>
                    <a:pt x="774" y="1751"/>
                    <a:pt x="869" y="1763"/>
                  </a:cubicBezTo>
                  <a:lnTo>
                    <a:pt x="869" y="1870"/>
                  </a:lnTo>
                  <a:cubicBezTo>
                    <a:pt x="869" y="1953"/>
                    <a:pt x="941" y="2025"/>
                    <a:pt x="1024" y="2025"/>
                  </a:cubicBezTo>
                  <a:cubicBezTo>
                    <a:pt x="1119" y="2025"/>
                    <a:pt x="1191" y="1953"/>
                    <a:pt x="1191" y="1870"/>
                  </a:cubicBezTo>
                  <a:lnTo>
                    <a:pt x="1191" y="1763"/>
                  </a:lnTo>
                  <a:cubicBezTo>
                    <a:pt x="1286" y="1751"/>
                    <a:pt x="1369" y="1703"/>
                    <a:pt x="1441" y="1656"/>
                  </a:cubicBezTo>
                  <a:lnTo>
                    <a:pt x="1524" y="1727"/>
                  </a:lnTo>
                  <a:cubicBezTo>
                    <a:pt x="1548" y="1763"/>
                    <a:pt x="1596" y="1775"/>
                    <a:pt x="1643" y="1775"/>
                  </a:cubicBezTo>
                  <a:cubicBezTo>
                    <a:pt x="1679" y="1775"/>
                    <a:pt x="1727" y="1763"/>
                    <a:pt x="1762" y="1727"/>
                  </a:cubicBezTo>
                  <a:cubicBezTo>
                    <a:pt x="1822" y="1667"/>
                    <a:pt x="1822" y="1572"/>
                    <a:pt x="1762" y="1513"/>
                  </a:cubicBezTo>
                  <a:lnTo>
                    <a:pt x="1679" y="1429"/>
                  </a:lnTo>
                  <a:cubicBezTo>
                    <a:pt x="1727" y="1358"/>
                    <a:pt x="1774" y="1275"/>
                    <a:pt x="1786" y="1179"/>
                  </a:cubicBezTo>
                  <a:lnTo>
                    <a:pt x="1893" y="1179"/>
                  </a:lnTo>
                  <a:cubicBezTo>
                    <a:pt x="1977" y="1179"/>
                    <a:pt x="2060" y="1108"/>
                    <a:pt x="2060" y="1013"/>
                  </a:cubicBezTo>
                  <a:cubicBezTo>
                    <a:pt x="2012" y="929"/>
                    <a:pt x="1953" y="858"/>
                    <a:pt x="1857" y="858"/>
                  </a:cubicBezTo>
                  <a:lnTo>
                    <a:pt x="1762" y="858"/>
                  </a:lnTo>
                  <a:cubicBezTo>
                    <a:pt x="1738" y="763"/>
                    <a:pt x="1703" y="667"/>
                    <a:pt x="1655" y="596"/>
                  </a:cubicBezTo>
                  <a:lnTo>
                    <a:pt x="1727" y="524"/>
                  </a:lnTo>
                  <a:cubicBezTo>
                    <a:pt x="1786" y="465"/>
                    <a:pt x="1786" y="358"/>
                    <a:pt x="1727" y="298"/>
                  </a:cubicBezTo>
                  <a:cubicBezTo>
                    <a:pt x="1697" y="268"/>
                    <a:pt x="1655" y="254"/>
                    <a:pt x="1613" y="254"/>
                  </a:cubicBezTo>
                  <a:cubicBezTo>
                    <a:pt x="1572" y="254"/>
                    <a:pt x="1530" y="268"/>
                    <a:pt x="1500" y="298"/>
                  </a:cubicBezTo>
                  <a:lnTo>
                    <a:pt x="1429" y="370"/>
                  </a:lnTo>
                  <a:cubicBezTo>
                    <a:pt x="1357" y="334"/>
                    <a:pt x="1262" y="286"/>
                    <a:pt x="1179" y="274"/>
                  </a:cubicBezTo>
                  <a:lnTo>
                    <a:pt x="1179" y="167"/>
                  </a:lnTo>
                  <a:cubicBezTo>
                    <a:pt x="1179" y="72"/>
                    <a:pt x="1107" y="1"/>
                    <a:pt x="1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5" name="Google Shape;11675;p61"/>
            <p:cNvSpPr/>
            <p:nvPr/>
          </p:nvSpPr>
          <p:spPr>
            <a:xfrm>
              <a:off x="864062" y="2987843"/>
              <a:ext cx="264084" cy="244443"/>
            </a:xfrm>
            <a:custGeom>
              <a:avLst/>
              <a:gdLst/>
              <a:ahLst/>
              <a:cxnLst/>
              <a:rect l="l" t="t" r="r" b="b"/>
              <a:pathLst>
                <a:path w="8336" h="7716" extrusionOk="0">
                  <a:moveTo>
                    <a:pt x="2513" y="1"/>
                  </a:moveTo>
                  <a:cubicBezTo>
                    <a:pt x="2477" y="1"/>
                    <a:pt x="2418" y="13"/>
                    <a:pt x="2370" y="24"/>
                  </a:cubicBezTo>
                  <a:cubicBezTo>
                    <a:pt x="1834" y="167"/>
                    <a:pt x="1442" y="667"/>
                    <a:pt x="1442" y="1263"/>
                  </a:cubicBezTo>
                  <a:lnTo>
                    <a:pt x="1442" y="1358"/>
                  </a:lnTo>
                  <a:cubicBezTo>
                    <a:pt x="953" y="1513"/>
                    <a:pt x="632" y="2013"/>
                    <a:pt x="632" y="2560"/>
                  </a:cubicBezTo>
                  <a:cubicBezTo>
                    <a:pt x="632" y="2751"/>
                    <a:pt x="680" y="2941"/>
                    <a:pt x="751" y="3120"/>
                  </a:cubicBezTo>
                  <a:cubicBezTo>
                    <a:pt x="287" y="3453"/>
                    <a:pt x="1" y="4001"/>
                    <a:pt x="1" y="4596"/>
                  </a:cubicBezTo>
                  <a:cubicBezTo>
                    <a:pt x="1" y="4966"/>
                    <a:pt x="108" y="5323"/>
                    <a:pt x="322" y="5620"/>
                  </a:cubicBezTo>
                  <a:cubicBezTo>
                    <a:pt x="346" y="5675"/>
                    <a:pt x="395" y="5699"/>
                    <a:pt x="446" y="5699"/>
                  </a:cubicBezTo>
                  <a:cubicBezTo>
                    <a:pt x="473" y="5699"/>
                    <a:pt x="500" y="5692"/>
                    <a:pt x="525" y="5680"/>
                  </a:cubicBezTo>
                  <a:cubicBezTo>
                    <a:pt x="620" y="5644"/>
                    <a:pt x="644" y="5537"/>
                    <a:pt x="584" y="5442"/>
                  </a:cubicBezTo>
                  <a:cubicBezTo>
                    <a:pt x="406" y="5192"/>
                    <a:pt x="322" y="4894"/>
                    <a:pt x="322" y="4596"/>
                  </a:cubicBezTo>
                  <a:cubicBezTo>
                    <a:pt x="322" y="4061"/>
                    <a:pt x="596" y="3573"/>
                    <a:pt x="1037" y="3311"/>
                  </a:cubicBezTo>
                  <a:cubicBezTo>
                    <a:pt x="1037" y="3311"/>
                    <a:pt x="1049" y="3311"/>
                    <a:pt x="1049" y="3299"/>
                  </a:cubicBezTo>
                  <a:cubicBezTo>
                    <a:pt x="1049" y="3299"/>
                    <a:pt x="1327" y="3093"/>
                    <a:pt x="1883" y="3093"/>
                  </a:cubicBezTo>
                  <a:cubicBezTo>
                    <a:pt x="1925" y="3093"/>
                    <a:pt x="1968" y="3094"/>
                    <a:pt x="2013" y="3096"/>
                  </a:cubicBezTo>
                  <a:cubicBezTo>
                    <a:pt x="2108" y="3096"/>
                    <a:pt x="2180" y="3037"/>
                    <a:pt x="2180" y="2941"/>
                  </a:cubicBezTo>
                  <a:cubicBezTo>
                    <a:pt x="2180" y="2858"/>
                    <a:pt x="2120" y="2775"/>
                    <a:pt x="2025" y="2775"/>
                  </a:cubicBezTo>
                  <a:cubicBezTo>
                    <a:pt x="2000" y="2774"/>
                    <a:pt x="1975" y="2774"/>
                    <a:pt x="1950" y="2774"/>
                  </a:cubicBezTo>
                  <a:cubicBezTo>
                    <a:pt x="1502" y="2774"/>
                    <a:pt x="1182" y="2874"/>
                    <a:pt x="1013" y="2953"/>
                  </a:cubicBezTo>
                  <a:cubicBezTo>
                    <a:pt x="953" y="2834"/>
                    <a:pt x="941" y="2703"/>
                    <a:pt x="941" y="2560"/>
                  </a:cubicBezTo>
                  <a:cubicBezTo>
                    <a:pt x="941" y="2108"/>
                    <a:pt x="1239" y="1727"/>
                    <a:pt x="1644" y="1632"/>
                  </a:cubicBezTo>
                  <a:cubicBezTo>
                    <a:pt x="1680" y="1632"/>
                    <a:pt x="1882" y="1632"/>
                    <a:pt x="2013" y="1763"/>
                  </a:cubicBezTo>
                  <a:cubicBezTo>
                    <a:pt x="2120" y="1870"/>
                    <a:pt x="2180" y="2025"/>
                    <a:pt x="2180" y="2239"/>
                  </a:cubicBezTo>
                  <a:cubicBezTo>
                    <a:pt x="2180" y="2334"/>
                    <a:pt x="2251" y="2406"/>
                    <a:pt x="2323" y="2406"/>
                  </a:cubicBezTo>
                  <a:cubicBezTo>
                    <a:pt x="2418" y="2406"/>
                    <a:pt x="2489" y="2334"/>
                    <a:pt x="2489" y="2239"/>
                  </a:cubicBezTo>
                  <a:cubicBezTo>
                    <a:pt x="2489" y="1929"/>
                    <a:pt x="2394" y="1691"/>
                    <a:pt x="2215" y="1525"/>
                  </a:cubicBezTo>
                  <a:cubicBezTo>
                    <a:pt x="2073" y="1394"/>
                    <a:pt x="1882" y="1334"/>
                    <a:pt x="1763" y="1322"/>
                  </a:cubicBezTo>
                  <a:lnTo>
                    <a:pt x="1763" y="1275"/>
                  </a:lnTo>
                  <a:cubicBezTo>
                    <a:pt x="1763" y="846"/>
                    <a:pt x="2037" y="453"/>
                    <a:pt x="2430" y="358"/>
                  </a:cubicBezTo>
                  <a:cubicBezTo>
                    <a:pt x="2477" y="334"/>
                    <a:pt x="2513" y="334"/>
                    <a:pt x="2561" y="322"/>
                  </a:cubicBezTo>
                  <a:lnTo>
                    <a:pt x="2846" y="322"/>
                  </a:lnTo>
                  <a:cubicBezTo>
                    <a:pt x="3370" y="322"/>
                    <a:pt x="3799" y="751"/>
                    <a:pt x="3799" y="1275"/>
                  </a:cubicBezTo>
                  <a:lnTo>
                    <a:pt x="3799" y="4608"/>
                  </a:lnTo>
                  <a:cubicBezTo>
                    <a:pt x="3311" y="4644"/>
                    <a:pt x="2858" y="4835"/>
                    <a:pt x="2513" y="5180"/>
                  </a:cubicBezTo>
                  <a:cubicBezTo>
                    <a:pt x="2477" y="5216"/>
                    <a:pt x="2454" y="5311"/>
                    <a:pt x="2489" y="5370"/>
                  </a:cubicBezTo>
                  <a:cubicBezTo>
                    <a:pt x="2513" y="5430"/>
                    <a:pt x="2573" y="5442"/>
                    <a:pt x="2620" y="5442"/>
                  </a:cubicBezTo>
                  <a:cubicBezTo>
                    <a:pt x="2668" y="5442"/>
                    <a:pt x="2715" y="5430"/>
                    <a:pt x="2739" y="5394"/>
                  </a:cubicBezTo>
                  <a:cubicBezTo>
                    <a:pt x="3037" y="5097"/>
                    <a:pt x="3454" y="4918"/>
                    <a:pt x="3894" y="4918"/>
                  </a:cubicBezTo>
                  <a:cubicBezTo>
                    <a:pt x="4168" y="5192"/>
                    <a:pt x="4335" y="5573"/>
                    <a:pt x="4335" y="5978"/>
                  </a:cubicBezTo>
                  <a:cubicBezTo>
                    <a:pt x="4335" y="6382"/>
                    <a:pt x="4168" y="6763"/>
                    <a:pt x="3894" y="7037"/>
                  </a:cubicBezTo>
                  <a:cubicBezTo>
                    <a:pt x="3656" y="7263"/>
                    <a:pt x="3335" y="7394"/>
                    <a:pt x="3013" y="7394"/>
                  </a:cubicBezTo>
                  <a:cubicBezTo>
                    <a:pt x="2358" y="7394"/>
                    <a:pt x="1811" y="6882"/>
                    <a:pt x="1703" y="6204"/>
                  </a:cubicBezTo>
                  <a:cubicBezTo>
                    <a:pt x="1763" y="6097"/>
                    <a:pt x="1942" y="5787"/>
                    <a:pt x="2215" y="5680"/>
                  </a:cubicBezTo>
                  <a:cubicBezTo>
                    <a:pt x="2299" y="5656"/>
                    <a:pt x="2358" y="5561"/>
                    <a:pt x="2323" y="5489"/>
                  </a:cubicBezTo>
                  <a:cubicBezTo>
                    <a:pt x="2304" y="5413"/>
                    <a:pt x="2239" y="5375"/>
                    <a:pt x="2171" y="5375"/>
                  </a:cubicBezTo>
                  <a:cubicBezTo>
                    <a:pt x="2154" y="5375"/>
                    <a:pt x="2137" y="5377"/>
                    <a:pt x="2120" y="5382"/>
                  </a:cubicBezTo>
                  <a:cubicBezTo>
                    <a:pt x="1775" y="5513"/>
                    <a:pt x="1549" y="5847"/>
                    <a:pt x="1442" y="6013"/>
                  </a:cubicBezTo>
                  <a:cubicBezTo>
                    <a:pt x="1287" y="5978"/>
                    <a:pt x="1132" y="5918"/>
                    <a:pt x="989" y="5835"/>
                  </a:cubicBezTo>
                  <a:cubicBezTo>
                    <a:pt x="956" y="5816"/>
                    <a:pt x="920" y="5806"/>
                    <a:pt x="887" y="5806"/>
                  </a:cubicBezTo>
                  <a:cubicBezTo>
                    <a:pt x="837" y="5806"/>
                    <a:pt x="791" y="5828"/>
                    <a:pt x="763" y="5870"/>
                  </a:cubicBezTo>
                  <a:cubicBezTo>
                    <a:pt x="715" y="5954"/>
                    <a:pt x="727" y="6049"/>
                    <a:pt x="810" y="6097"/>
                  </a:cubicBezTo>
                  <a:cubicBezTo>
                    <a:pt x="989" y="6216"/>
                    <a:pt x="1191" y="6287"/>
                    <a:pt x="1406" y="6323"/>
                  </a:cubicBezTo>
                  <a:cubicBezTo>
                    <a:pt x="1549" y="7121"/>
                    <a:pt x="2239" y="7716"/>
                    <a:pt x="3025" y="7716"/>
                  </a:cubicBezTo>
                  <a:cubicBezTo>
                    <a:pt x="3430" y="7716"/>
                    <a:pt x="3823" y="7561"/>
                    <a:pt x="4120" y="7275"/>
                  </a:cubicBezTo>
                  <a:lnTo>
                    <a:pt x="4168" y="7228"/>
                  </a:lnTo>
                  <a:lnTo>
                    <a:pt x="4216" y="7275"/>
                  </a:lnTo>
                  <a:cubicBezTo>
                    <a:pt x="4251" y="7299"/>
                    <a:pt x="4287" y="7335"/>
                    <a:pt x="4323" y="7359"/>
                  </a:cubicBezTo>
                  <a:cubicBezTo>
                    <a:pt x="4609" y="7597"/>
                    <a:pt x="4966" y="7716"/>
                    <a:pt x="5311" y="7716"/>
                  </a:cubicBezTo>
                  <a:cubicBezTo>
                    <a:pt x="6109" y="7716"/>
                    <a:pt x="6787" y="7121"/>
                    <a:pt x="6942" y="6323"/>
                  </a:cubicBezTo>
                  <a:cubicBezTo>
                    <a:pt x="7168" y="6287"/>
                    <a:pt x="7371" y="6204"/>
                    <a:pt x="7561" y="6085"/>
                  </a:cubicBezTo>
                  <a:cubicBezTo>
                    <a:pt x="7633" y="6037"/>
                    <a:pt x="7657" y="5954"/>
                    <a:pt x="7621" y="5870"/>
                  </a:cubicBezTo>
                  <a:cubicBezTo>
                    <a:pt x="7589" y="5816"/>
                    <a:pt x="7538" y="5781"/>
                    <a:pt x="7478" y="5781"/>
                  </a:cubicBezTo>
                  <a:cubicBezTo>
                    <a:pt x="7448" y="5781"/>
                    <a:pt x="7415" y="5791"/>
                    <a:pt x="7383" y="5811"/>
                  </a:cubicBezTo>
                  <a:cubicBezTo>
                    <a:pt x="7240" y="5918"/>
                    <a:pt x="7061" y="5978"/>
                    <a:pt x="6883" y="6013"/>
                  </a:cubicBezTo>
                  <a:cubicBezTo>
                    <a:pt x="6787" y="5835"/>
                    <a:pt x="6573" y="5513"/>
                    <a:pt x="6204" y="5382"/>
                  </a:cubicBezTo>
                  <a:cubicBezTo>
                    <a:pt x="6187" y="5377"/>
                    <a:pt x="6171" y="5375"/>
                    <a:pt x="6154" y="5375"/>
                  </a:cubicBezTo>
                  <a:cubicBezTo>
                    <a:pt x="6089" y="5375"/>
                    <a:pt x="6030" y="5413"/>
                    <a:pt x="6002" y="5489"/>
                  </a:cubicBezTo>
                  <a:cubicBezTo>
                    <a:pt x="5978" y="5573"/>
                    <a:pt x="6025" y="5656"/>
                    <a:pt x="6109" y="5680"/>
                  </a:cubicBezTo>
                  <a:cubicBezTo>
                    <a:pt x="6383" y="5787"/>
                    <a:pt x="6561" y="6097"/>
                    <a:pt x="6621" y="6204"/>
                  </a:cubicBezTo>
                  <a:cubicBezTo>
                    <a:pt x="6525" y="6882"/>
                    <a:pt x="5966" y="7394"/>
                    <a:pt x="5311" y="7394"/>
                  </a:cubicBezTo>
                  <a:cubicBezTo>
                    <a:pt x="5037" y="7394"/>
                    <a:pt x="4751" y="7287"/>
                    <a:pt x="4513" y="7109"/>
                  </a:cubicBezTo>
                  <a:cubicBezTo>
                    <a:pt x="4478" y="7085"/>
                    <a:pt x="4454" y="7061"/>
                    <a:pt x="4418" y="7037"/>
                  </a:cubicBezTo>
                  <a:cubicBezTo>
                    <a:pt x="4394" y="7025"/>
                    <a:pt x="4382" y="6990"/>
                    <a:pt x="4347" y="6966"/>
                  </a:cubicBezTo>
                  <a:cubicBezTo>
                    <a:pt x="4537" y="6680"/>
                    <a:pt x="4644" y="6323"/>
                    <a:pt x="4644" y="5966"/>
                  </a:cubicBezTo>
                  <a:cubicBezTo>
                    <a:pt x="4644" y="5859"/>
                    <a:pt x="4632" y="5775"/>
                    <a:pt x="4620" y="5680"/>
                  </a:cubicBezTo>
                  <a:lnTo>
                    <a:pt x="4620" y="5680"/>
                  </a:lnTo>
                  <a:cubicBezTo>
                    <a:pt x="5430" y="5859"/>
                    <a:pt x="5728" y="6251"/>
                    <a:pt x="5823" y="6430"/>
                  </a:cubicBezTo>
                  <a:cubicBezTo>
                    <a:pt x="5844" y="6482"/>
                    <a:pt x="5910" y="6516"/>
                    <a:pt x="5973" y="6516"/>
                  </a:cubicBezTo>
                  <a:cubicBezTo>
                    <a:pt x="5983" y="6516"/>
                    <a:pt x="5992" y="6515"/>
                    <a:pt x="6002" y="6513"/>
                  </a:cubicBezTo>
                  <a:cubicBezTo>
                    <a:pt x="6109" y="6501"/>
                    <a:pt x="6168" y="6382"/>
                    <a:pt x="6121" y="6275"/>
                  </a:cubicBezTo>
                  <a:cubicBezTo>
                    <a:pt x="5990" y="6025"/>
                    <a:pt x="5633" y="5561"/>
                    <a:pt x="4656" y="5370"/>
                  </a:cubicBezTo>
                  <a:cubicBezTo>
                    <a:pt x="4646" y="5367"/>
                    <a:pt x="4634" y="5365"/>
                    <a:pt x="4622" y="5365"/>
                  </a:cubicBezTo>
                  <a:cubicBezTo>
                    <a:pt x="4594" y="5365"/>
                    <a:pt x="4562" y="5374"/>
                    <a:pt x="4537" y="5382"/>
                  </a:cubicBezTo>
                  <a:cubicBezTo>
                    <a:pt x="4501" y="5239"/>
                    <a:pt x="4418" y="5097"/>
                    <a:pt x="4347" y="4977"/>
                  </a:cubicBezTo>
                  <a:cubicBezTo>
                    <a:pt x="4359" y="4954"/>
                    <a:pt x="4394" y="4942"/>
                    <a:pt x="4418" y="4906"/>
                  </a:cubicBezTo>
                  <a:cubicBezTo>
                    <a:pt x="4859" y="4906"/>
                    <a:pt x="5252" y="5073"/>
                    <a:pt x="5573" y="5382"/>
                  </a:cubicBezTo>
                  <a:cubicBezTo>
                    <a:pt x="5597" y="5418"/>
                    <a:pt x="5644" y="5430"/>
                    <a:pt x="5692" y="5430"/>
                  </a:cubicBezTo>
                  <a:cubicBezTo>
                    <a:pt x="5752" y="5430"/>
                    <a:pt x="5787" y="5394"/>
                    <a:pt x="5823" y="5358"/>
                  </a:cubicBezTo>
                  <a:cubicBezTo>
                    <a:pt x="5847" y="5299"/>
                    <a:pt x="5847" y="5204"/>
                    <a:pt x="5787" y="5156"/>
                  </a:cubicBezTo>
                  <a:cubicBezTo>
                    <a:pt x="5454" y="4823"/>
                    <a:pt x="4990" y="4608"/>
                    <a:pt x="4513" y="4596"/>
                  </a:cubicBezTo>
                  <a:lnTo>
                    <a:pt x="4513" y="1251"/>
                  </a:lnTo>
                  <a:cubicBezTo>
                    <a:pt x="4513" y="727"/>
                    <a:pt x="4942" y="298"/>
                    <a:pt x="5466" y="298"/>
                  </a:cubicBezTo>
                  <a:lnTo>
                    <a:pt x="5752" y="298"/>
                  </a:lnTo>
                  <a:cubicBezTo>
                    <a:pt x="5787" y="298"/>
                    <a:pt x="5835" y="310"/>
                    <a:pt x="5883" y="310"/>
                  </a:cubicBezTo>
                  <a:cubicBezTo>
                    <a:pt x="6287" y="417"/>
                    <a:pt x="6549" y="786"/>
                    <a:pt x="6549" y="1227"/>
                  </a:cubicBezTo>
                  <a:lnTo>
                    <a:pt x="6549" y="1275"/>
                  </a:lnTo>
                  <a:cubicBezTo>
                    <a:pt x="6418" y="1287"/>
                    <a:pt x="6240" y="1334"/>
                    <a:pt x="6085" y="1489"/>
                  </a:cubicBezTo>
                  <a:cubicBezTo>
                    <a:pt x="5906" y="1644"/>
                    <a:pt x="5823" y="1882"/>
                    <a:pt x="5823" y="2203"/>
                  </a:cubicBezTo>
                  <a:cubicBezTo>
                    <a:pt x="5823" y="2287"/>
                    <a:pt x="5883" y="2346"/>
                    <a:pt x="5954" y="2358"/>
                  </a:cubicBezTo>
                  <a:cubicBezTo>
                    <a:pt x="5967" y="2361"/>
                    <a:pt x="5979" y="2362"/>
                    <a:pt x="5990" y="2362"/>
                  </a:cubicBezTo>
                  <a:cubicBezTo>
                    <a:pt x="6077" y="2362"/>
                    <a:pt x="6133" y="2287"/>
                    <a:pt x="6133" y="2203"/>
                  </a:cubicBezTo>
                  <a:cubicBezTo>
                    <a:pt x="6133" y="1977"/>
                    <a:pt x="6192" y="1822"/>
                    <a:pt x="6299" y="1727"/>
                  </a:cubicBezTo>
                  <a:cubicBezTo>
                    <a:pt x="6430" y="1584"/>
                    <a:pt x="6621" y="1584"/>
                    <a:pt x="6668" y="1584"/>
                  </a:cubicBezTo>
                  <a:cubicBezTo>
                    <a:pt x="7073" y="1679"/>
                    <a:pt x="7371" y="2060"/>
                    <a:pt x="7371" y="2513"/>
                  </a:cubicBezTo>
                  <a:cubicBezTo>
                    <a:pt x="7371" y="2644"/>
                    <a:pt x="7335" y="2775"/>
                    <a:pt x="7299" y="2918"/>
                  </a:cubicBezTo>
                  <a:cubicBezTo>
                    <a:pt x="7138" y="2832"/>
                    <a:pt x="6840" y="2736"/>
                    <a:pt x="6424" y="2736"/>
                  </a:cubicBezTo>
                  <a:cubicBezTo>
                    <a:pt x="6380" y="2736"/>
                    <a:pt x="6334" y="2737"/>
                    <a:pt x="6287" y="2739"/>
                  </a:cubicBezTo>
                  <a:cubicBezTo>
                    <a:pt x="6192" y="2739"/>
                    <a:pt x="6133" y="2799"/>
                    <a:pt x="6121" y="2882"/>
                  </a:cubicBezTo>
                  <a:cubicBezTo>
                    <a:pt x="6109" y="2989"/>
                    <a:pt x="6192" y="3061"/>
                    <a:pt x="6287" y="3061"/>
                  </a:cubicBezTo>
                  <a:cubicBezTo>
                    <a:pt x="6317" y="3059"/>
                    <a:pt x="6346" y="3059"/>
                    <a:pt x="6374" y="3059"/>
                  </a:cubicBezTo>
                  <a:cubicBezTo>
                    <a:pt x="6937" y="3059"/>
                    <a:pt x="7240" y="3275"/>
                    <a:pt x="7252" y="3275"/>
                  </a:cubicBezTo>
                  <a:lnTo>
                    <a:pt x="7264" y="3287"/>
                  </a:lnTo>
                  <a:cubicBezTo>
                    <a:pt x="7716" y="3537"/>
                    <a:pt x="7978" y="4025"/>
                    <a:pt x="7978" y="4561"/>
                  </a:cubicBezTo>
                  <a:cubicBezTo>
                    <a:pt x="7978" y="4858"/>
                    <a:pt x="7895" y="5144"/>
                    <a:pt x="7740" y="5382"/>
                  </a:cubicBezTo>
                  <a:cubicBezTo>
                    <a:pt x="7692" y="5454"/>
                    <a:pt x="7716" y="5549"/>
                    <a:pt x="7776" y="5608"/>
                  </a:cubicBezTo>
                  <a:cubicBezTo>
                    <a:pt x="7799" y="5632"/>
                    <a:pt x="7835" y="5632"/>
                    <a:pt x="7871" y="5632"/>
                  </a:cubicBezTo>
                  <a:cubicBezTo>
                    <a:pt x="7930" y="5632"/>
                    <a:pt x="7978" y="5608"/>
                    <a:pt x="8014" y="5561"/>
                  </a:cubicBezTo>
                  <a:cubicBezTo>
                    <a:pt x="8204" y="5263"/>
                    <a:pt x="8311" y="4918"/>
                    <a:pt x="8311" y="4561"/>
                  </a:cubicBezTo>
                  <a:cubicBezTo>
                    <a:pt x="8335" y="4001"/>
                    <a:pt x="8061" y="3453"/>
                    <a:pt x="7597" y="3120"/>
                  </a:cubicBezTo>
                  <a:cubicBezTo>
                    <a:pt x="7680" y="2941"/>
                    <a:pt x="7716" y="2751"/>
                    <a:pt x="7716" y="2560"/>
                  </a:cubicBezTo>
                  <a:cubicBezTo>
                    <a:pt x="7716" y="2013"/>
                    <a:pt x="7371" y="1537"/>
                    <a:pt x="6895" y="1358"/>
                  </a:cubicBezTo>
                  <a:lnTo>
                    <a:pt x="6895" y="1263"/>
                  </a:lnTo>
                  <a:cubicBezTo>
                    <a:pt x="6895" y="679"/>
                    <a:pt x="6525" y="179"/>
                    <a:pt x="5978" y="24"/>
                  </a:cubicBezTo>
                  <a:cubicBezTo>
                    <a:pt x="5930" y="13"/>
                    <a:pt x="5871" y="13"/>
                    <a:pt x="5823" y="1"/>
                  </a:cubicBezTo>
                  <a:lnTo>
                    <a:pt x="5478" y="1"/>
                  </a:lnTo>
                  <a:cubicBezTo>
                    <a:pt x="4787" y="1"/>
                    <a:pt x="4216" y="560"/>
                    <a:pt x="4216" y="1263"/>
                  </a:cubicBezTo>
                  <a:lnTo>
                    <a:pt x="4216" y="4692"/>
                  </a:lnTo>
                  <a:lnTo>
                    <a:pt x="4168" y="4727"/>
                  </a:lnTo>
                  <a:lnTo>
                    <a:pt x="4120" y="4692"/>
                  </a:lnTo>
                  <a:lnTo>
                    <a:pt x="4120" y="1263"/>
                  </a:lnTo>
                  <a:cubicBezTo>
                    <a:pt x="4120" y="560"/>
                    <a:pt x="3561" y="1"/>
                    <a:pt x="2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6" name="Google Shape;11676;p61"/>
            <p:cNvSpPr/>
            <p:nvPr/>
          </p:nvSpPr>
          <p:spPr>
            <a:xfrm>
              <a:off x="1022494" y="3006724"/>
              <a:ext cx="44162" cy="22271"/>
            </a:xfrm>
            <a:custGeom>
              <a:avLst/>
              <a:gdLst/>
              <a:ahLst/>
              <a:cxnLst/>
              <a:rect l="l" t="t" r="r" b="b"/>
              <a:pathLst>
                <a:path w="1394" h="703" extrusionOk="0">
                  <a:moveTo>
                    <a:pt x="454" y="0"/>
                  </a:moveTo>
                  <a:cubicBezTo>
                    <a:pt x="402" y="0"/>
                    <a:pt x="350" y="4"/>
                    <a:pt x="298" y="12"/>
                  </a:cubicBezTo>
                  <a:lnTo>
                    <a:pt x="155" y="24"/>
                  </a:lnTo>
                  <a:cubicBezTo>
                    <a:pt x="60" y="48"/>
                    <a:pt x="0" y="119"/>
                    <a:pt x="12" y="202"/>
                  </a:cubicBezTo>
                  <a:cubicBezTo>
                    <a:pt x="34" y="290"/>
                    <a:pt x="96" y="347"/>
                    <a:pt x="170" y="347"/>
                  </a:cubicBezTo>
                  <a:cubicBezTo>
                    <a:pt x="177" y="347"/>
                    <a:pt x="184" y="346"/>
                    <a:pt x="191" y="345"/>
                  </a:cubicBezTo>
                  <a:lnTo>
                    <a:pt x="346" y="321"/>
                  </a:lnTo>
                  <a:cubicBezTo>
                    <a:pt x="370" y="319"/>
                    <a:pt x="394" y="318"/>
                    <a:pt x="417" y="318"/>
                  </a:cubicBezTo>
                  <a:cubicBezTo>
                    <a:pt x="675" y="318"/>
                    <a:pt x="908" y="436"/>
                    <a:pt x="1072" y="643"/>
                  </a:cubicBezTo>
                  <a:cubicBezTo>
                    <a:pt x="1108" y="679"/>
                    <a:pt x="1143" y="702"/>
                    <a:pt x="1203" y="702"/>
                  </a:cubicBezTo>
                  <a:cubicBezTo>
                    <a:pt x="1239" y="702"/>
                    <a:pt x="1286" y="679"/>
                    <a:pt x="1298" y="667"/>
                  </a:cubicBezTo>
                  <a:cubicBezTo>
                    <a:pt x="1370" y="607"/>
                    <a:pt x="1394" y="524"/>
                    <a:pt x="1334" y="440"/>
                  </a:cubicBezTo>
                  <a:cubicBezTo>
                    <a:pt x="1126" y="171"/>
                    <a:pt x="802" y="0"/>
                    <a:pt x="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7" name="Google Shape;11677;p61"/>
            <p:cNvSpPr/>
            <p:nvPr/>
          </p:nvSpPr>
          <p:spPr>
            <a:xfrm>
              <a:off x="1086234" y="3100244"/>
              <a:ext cx="28322" cy="37002"/>
            </a:xfrm>
            <a:custGeom>
              <a:avLst/>
              <a:gdLst/>
              <a:ahLst/>
              <a:cxnLst/>
              <a:rect l="l" t="t" r="r" b="b"/>
              <a:pathLst>
                <a:path w="894" h="1168" extrusionOk="0">
                  <a:moveTo>
                    <a:pt x="181" y="1"/>
                  </a:moveTo>
                  <a:cubicBezTo>
                    <a:pt x="115" y="1"/>
                    <a:pt x="55" y="44"/>
                    <a:pt x="36" y="108"/>
                  </a:cubicBezTo>
                  <a:cubicBezTo>
                    <a:pt x="1" y="203"/>
                    <a:pt x="48" y="286"/>
                    <a:pt x="132" y="322"/>
                  </a:cubicBezTo>
                  <a:cubicBezTo>
                    <a:pt x="525" y="441"/>
                    <a:pt x="572" y="1025"/>
                    <a:pt x="572" y="1025"/>
                  </a:cubicBezTo>
                  <a:cubicBezTo>
                    <a:pt x="572" y="1108"/>
                    <a:pt x="644" y="1168"/>
                    <a:pt x="727" y="1168"/>
                  </a:cubicBezTo>
                  <a:lnTo>
                    <a:pt x="751" y="1168"/>
                  </a:lnTo>
                  <a:cubicBezTo>
                    <a:pt x="822" y="1168"/>
                    <a:pt x="894" y="1096"/>
                    <a:pt x="894" y="1001"/>
                  </a:cubicBezTo>
                  <a:cubicBezTo>
                    <a:pt x="894" y="977"/>
                    <a:pt x="846" y="203"/>
                    <a:pt x="239" y="13"/>
                  </a:cubicBezTo>
                  <a:cubicBezTo>
                    <a:pt x="220" y="4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8" name="Google Shape;11678;p61"/>
            <p:cNvSpPr/>
            <p:nvPr/>
          </p:nvSpPr>
          <p:spPr>
            <a:xfrm>
              <a:off x="1023634" y="3077941"/>
              <a:ext cx="26041" cy="49167"/>
            </a:xfrm>
            <a:custGeom>
              <a:avLst/>
              <a:gdLst/>
              <a:ahLst/>
              <a:cxnLst/>
              <a:rect l="l" t="t" r="r" b="b"/>
              <a:pathLst>
                <a:path w="822" h="1552" extrusionOk="0">
                  <a:moveTo>
                    <a:pt x="646" y="0"/>
                  </a:moveTo>
                  <a:cubicBezTo>
                    <a:pt x="617" y="0"/>
                    <a:pt x="588" y="9"/>
                    <a:pt x="560" y="26"/>
                  </a:cubicBezTo>
                  <a:cubicBezTo>
                    <a:pt x="345" y="181"/>
                    <a:pt x="0" y="538"/>
                    <a:pt x="0" y="1383"/>
                  </a:cubicBezTo>
                  <a:cubicBezTo>
                    <a:pt x="0" y="1462"/>
                    <a:pt x="74" y="1551"/>
                    <a:pt x="163" y="1551"/>
                  </a:cubicBezTo>
                  <a:cubicBezTo>
                    <a:pt x="168" y="1551"/>
                    <a:pt x="173" y="1551"/>
                    <a:pt x="179" y="1550"/>
                  </a:cubicBezTo>
                  <a:cubicBezTo>
                    <a:pt x="250" y="1526"/>
                    <a:pt x="310" y="1455"/>
                    <a:pt x="310" y="1383"/>
                  </a:cubicBezTo>
                  <a:cubicBezTo>
                    <a:pt x="310" y="681"/>
                    <a:pt x="584" y="395"/>
                    <a:pt x="726" y="312"/>
                  </a:cubicBezTo>
                  <a:cubicBezTo>
                    <a:pt x="786" y="264"/>
                    <a:pt x="822" y="205"/>
                    <a:pt x="798" y="133"/>
                  </a:cubicBezTo>
                  <a:cubicBezTo>
                    <a:pt x="781" y="49"/>
                    <a:pt x="716" y="0"/>
                    <a:pt x="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9" name="Google Shape;11679;p61"/>
            <p:cNvSpPr/>
            <p:nvPr/>
          </p:nvSpPr>
          <p:spPr>
            <a:xfrm>
              <a:off x="924413" y="3006819"/>
              <a:ext cx="44162" cy="22176"/>
            </a:xfrm>
            <a:custGeom>
              <a:avLst/>
              <a:gdLst/>
              <a:ahLst/>
              <a:cxnLst/>
              <a:rect l="l" t="t" r="r" b="b"/>
              <a:pathLst>
                <a:path w="1394" h="700" extrusionOk="0">
                  <a:moveTo>
                    <a:pt x="963" y="1"/>
                  </a:moveTo>
                  <a:cubicBezTo>
                    <a:pt x="614" y="1"/>
                    <a:pt x="272" y="163"/>
                    <a:pt x="60" y="437"/>
                  </a:cubicBezTo>
                  <a:cubicBezTo>
                    <a:pt x="1" y="521"/>
                    <a:pt x="25" y="616"/>
                    <a:pt x="96" y="664"/>
                  </a:cubicBezTo>
                  <a:cubicBezTo>
                    <a:pt x="120" y="676"/>
                    <a:pt x="156" y="699"/>
                    <a:pt x="179" y="699"/>
                  </a:cubicBezTo>
                  <a:cubicBezTo>
                    <a:pt x="227" y="699"/>
                    <a:pt x="287" y="664"/>
                    <a:pt x="322" y="640"/>
                  </a:cubicBezTo>
                  <a:cubicBezTo>
                    <a:pt x="464" y="433"/>
                    <a:pt x="716" y="315"/>
                    <a:pt x="976" y="315"/>
                  </a:cubicBezTo>
                  <a:cubicBezTo>
                    <a:pt x="1000" y="315"/>
                    <a:pt x="1025" y="316"/>
                    <a:pt x="1049" y="318"/>
                  </a:cubicBezTo>
                  <a:lnTo>
                    <a:pt x="1191" y="342"/>
                  </a:lnTo>
                  <a:cubicBezTo>
                    <a:pt x="1200" y="343"/>
                    <a:pt x="1208" y="344"/>
                    <a:pt x="1215" y="344"/>
                  </a:cubicBezTo>
                  <a:cubicBezTo>
                    <a:pt x="1298" y="344"/>
                    <a:pt x="1359" y="287"/>
                    <a:pt x="1370" y="199"/>
                  </a:cubicBezTo>
                  <a:cubicBezTo>
                    <a:pt x="1394" y="116"/>
                    <a:pt x="1334" y="21"/>
                    <a:pt x="1239" y="21"/>
                  </a:cubicBezTo>
                  <a:lnTo>
                    <a:pt x="1096" y="9"/>
                  </a:lnTo>
                  <a:cubicBezTo>
                    <a:pt x="1052" y="3"/>
                    <a:pt x="1007" y="1"/>
                    <a:pt x="9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0" name="Google Shape;11680;p61"/>
            <p:cNvSpPr/>
            <p:nvPr/>
          </p:nvSpPr>
          <p:spPr>
            <a:xfrm>
              <a:off x="929703" y="3158757"/>
              <a:ext cx="56232" cy="41849"/>
            </a:xfrm>
            <a:custGeom>
              <a:avLst/>
              <a:gdLst/>
              <a:ahLst/>
              <a:cxnLst/>
              <a:rect l="l" t="t" r="r" b="b"/>
              <a:pathLst>
                <a:path w="1775" h="1321" extrusionOk="0">
                  <a:moveTo>
                    <a:pt x="1604" y="1"/>
                  </a:moveTo>
                  <a:cubicBezTo>
                    <a:pt x="1586" y="1"/>
                    <a:pt x="1567" y="4"/>
                    <a:pt x="1548" y="11"/>
                  </a:cubicBezTo>
                  <a:cubicBezTo>
                    <a:pt x="179" y="309"/>
                    <a:pt x="36" y="1095"/>
                    <a:pt x="12" y="1118"/>
                  </a:cubicBezTo>
                  <a:cubicBezTo>
                    <a:pt x="1" y="1214"/>
                    <a:pt x="60" y="1297"/>
                    <a:pt x="155" y="1321"/>
                  </a:cubicBezTo>
                  <a:lnTo>
                    <a:pt x="179" y="1321"/>
                  </a:lnTo>
                  <a:cubicBezTo>
                    <a:pt x="251" y="1321"/>
                    <a:pt x="334" y="1261"/>
                    <a:pt x="346" y="1178"/>
                  </a:cubicBezTo>
                  <a:cubicBezTo>
                    <a:pt x="346" y="1178"/>
                    <a:pt x="477" y="571"/>
                    <a:pt x="1620" y="333"/>
                  </a:cubicBezTo>
                  <a:cubicBezTo>
                    <a:pt x="1715" y="309"/>
                    <a:pt x="1775" y="213"/>
                    <a:pt x="1739" y="130"/>
                  </a:cubicBezTo>
                  <a:cubicBezTo>
                    <a:pt x="1729" y="54"/>
                    <a:pt x="1674" y="1"/>
                    <a:pt x="16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1" name="Google Shape;11681;p61"/>
            <p:cNvSpPr/>
            <p:nvPr/>
          </p:nvSpPr>
          <p:spPr>
            <a:xfrm>
              <a:off x="876512" y="3100244"/>
              <a:ext cx="28322" cy="37002"/>
            </a:xfrm>
            <a:custGeom>
              <a:avLst/>
              <a:gdLst/>
              <a:ahLst/>
              <a:cxnLst/>
              <a:rect l="l" t="t" r="r" b="b"/>
              <a:pathLst>
                <a:path w="894" h="1168" extrusionOk="0">
                  <a:moveTo>
                    <a:pt x="714" y="1"/>
                  </a:moveTo>
                  <a:cubicBezTo>
                    <a:pt x="694" y="1"/>
                    <a:pt x="675" y="4"/>
                    <a:pt x="656" y="13"/>
                  </a:cubicBezTo>
                  <a:cubicBezTo>
                    <a:pt x="60" y="203"/>
                    <a:pt x="1" y="965"/>
                    <a:pt x="1" y="1001"/>
                  </a:cubicBezTo>
                  <a:cubicBezTo>
                    <a:pt x="1" y="1096"/>
                    <a:pt x="60" y="1168"/>
                    <a:pt x="144" y="1168"/>
                  </a:cubicBezTo>
                  <a:lnTo>
                    <a:pt x="156" y="1168"/>
                  </a:lnTo>
                  <a:cubicBezTo>
                    <a:pt x="251" y="1168"/>
                    <a:pt x="322" y="1108"/>
                    <a:pt x="322" y="1025"/>
                  </a:cubicBezTo>
                  <a:cubicBezTo>
                    <a:pt x="322" y="1025"/>
                    <a:pt x="358" y="441"/>
                    <a:pt x="751" y="322"/>
                  </a:cubicBezTo>
                  <a:cubicBezTo>
                    <a:pt x="846" y="286"/>
                    <a:pt x="894" y="203"/>
                    <a:pt x="858" y="108"/>
                  </a:cubicBezTo>
                  <a:cubicBezTo>
                    <a:pt x="840" y="44"/>
                    <a:pt x="779" y="1"/>
                    <a:pt x="7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2" name="Google Shape;11682;p61"/>
            <p:cNvSpPr/>
            <p:nvPr/>
          </p:nvSpPr>
          <p:spPr>
            <a:xfrm>
              <a:off x="941393" y="3077941"/>
              <a:ext cx="26453" cy="49484"/>
            </a:xfrm>
            <a:custGeom>
              <a:avLst/>
              <a:gdLst/>
              <a:ahLst/>
              <a:cxnLst/>
              <a:rect l="l" t="t" r="r" b="b"/>
              <a:pathLst>
                <a:path w="835" h="1562" extrusionOk="0">
                  <a:moveTo>
                    <a:pt x="185" y="0"/>
                  </a:moveTo>
                  <a:cubicBezTo>
                    <a:pt x="112" y="0"/>
                    <a:pt x="41" y="49"/>
                    <a:pt x="24" y="133"/>
                  </a:cubicBezTo>
                  <a:cubicBezTo>
                    <a:pt x="1" y="193"/>
                    <a:pt x="36" y="264"/>
                    <a:pt x="96" y="312"/>
                  </a:cubicBezTo>
                  <a:cubicBezTo>
                    <a:pt x="239" y="419"/>
                    <a:pt x="513" y="681"/>
                    <a:pt x="513" y="1395"/>
                  </a:cubicBezTo>
                  <a:cubicBezTo>
                    <a:pt x="513" y="1491"/>
                    <a:pt x="584" y="1562"/>
                    <a:pt x="679" y="1562"/>
                  </a:cubicBezTo>
                  <a:cubicBezTo>
                    <a:pt x="763" y="1562"/>
                    <a:pt x="834" y="1491"/>
                    <a:pt x="834" y="1395"/>
                  </a:cubicBezTo>
                  <a:cubicBezTo>
                    <a:pt x="834" y="538"/>
                    <a:pt x="513" y="181"/>
                    <a:pt x="274" y="26"/>
                  </a:cubicBezTo>
                  <a:cubicBezTo>
                    <a:pt x="247" y="9"/>
                    <a:pt x="216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83" name="Google Shape;11683;p61"/>
          <p:cNvGrpSpPr/>
          <p:nvPr/>
        </p:nvGrpSpPr>
        <p:grpSpPr>
          <a:xfrm>
            <a:off x="3978523" y="2884661"/>
            <a:ext cx="348955" cy="346516"/>
            <a:chOff x="3978523" y="2884661"/>
            <a:chExt cx="348955" cy="346516"/>
          </a:xfrm>
        </p:grpSpPr>
        <p:sp>
          <p:nvSpPr>
            <p:cNvPr id="11684" name="Google Shape;11684;p61"/>
            <p:cNvSpPr/>
            <p:nvPr/>
          </p:nvSpPr>
          <p:spPr>
            <a:xfrm>
              <a:off x="4237285" y="2916658"/>
              <a:ext cx="58101" cy="56897"/>
            </a:xfrm>
            <a:custGeom>
              <a:avLst/>
              <a:gdLst/>
              <a:ahLst/>
              <a:cxnLst/>
              <a:rect l="l" t="t" r="r" b="b"/>
              <a:pathLst>
                <a:path w="1834" h="1796" extrusionOk="0">
                  <a:moveTo>
                    <a:pt x="1661" y="0"/>
                  </a:moveTo>
                  <a:cubicBezTo>
                    <a:pt x="1620" y="0"/>
                    <a:pt x="1578" y="15"/>
                    <a:pt x="1548" y="45"/>
                  </a:cubicBezTo>
                  <a:lnTo>
                    <a:pt x="60" y="1533"/>
                  </a:lnTo>
                  <a:cubicBezTo>
                    <a:pt x="0" y="1593"/>
                    <a:pt x="0" y="1700"/>
                    <a:pt x="60" y="1759"/>
                  </a:cubicBezTo>
                  <a:cubicBezTo>
                    <a:pt x="84" y="1783"/>
                    <a:pt x="131" y="1795"/>
                    <a:pt x="179" y="1795"/>
                  </a:cubicBezTo>
                  <a:cubicBezTo>
                    <a:pt x="215" y="1795"/>
                    <a:pt x="262" y="1783"/>
                    <a:pt x="298" y="1759"/>
                  </a:cubicBezTo>
                  <a:lnTo>
                    <a:pt x="1786" y="271"/>
                  </a:lnTo>
                  <a:cubicBezTo>
                    <a:pt x="1834" y="224"/>
                    <a:pt x="1834" y="116"/>
                    <a:pt x="1774" y="45"/>
                  </a:cubicBezTo>
                  <a:cubicBezTo>
                    <a:pt x="1745" y="15"/>
                    <a:pt x="1703" y="0"/>
                    <a:pt x="16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5" name="Google Shape;11685;p61"/>
            <p:cNvSpPr/>
            <p:nvPr/>
          </p:nvSpPr>
          <p:spPr>
            <a:xfrm>
              <a:off x="4216535" y="2886594"/>
              <a:ext cx="29843" cy="73751"/>
            </a:xfrm>
            <a:custGeom>
              <a:avLst/>
              <a:gdLst/>
              <a:ahLst/>
              <a:cxnLst/>
              <a:rect l="l" t="t" r="r" b="b"/>
              <a:pathLst>
                <a:path w="942" h="2328" extrusionOk="0">
                  <a:moveTo>
                    <a:pt x="760" y="0"/>
                  </a:moveTo>
                  <a:cubicBezTo>
                    <a:pt x="688" y="0"/>
                    <a:pt x="618" y="52"/>
                    <a:pt x="608" y="113"/>
                  </a:cubicBezTo>
                  <a:lnTo>
                    <a:pt x="24" y="2137"/>
                  </a:lnTo>
                  <a:cubicBezTo>
                    <a:pt x="1" y="2232"/>
                    <a:pt x="60" y="2316"/>
                    <a:pt x="132" y="2327"/>
                  </a:cubicBezTo>
                  <a:lnTo>
                    <a:pt x="179" y="2327"/>
                  </a:lnTo>
                  <a:cubicBezTo>
                    <a:pt x="251" y="2327"/>
                    <a:pt x="310" y="2292"/>
                    <a:pt x="322" y="2208"/>
                  </a:cubicBezTo>
                  <a:lnTo>
                    <a:pt x="905" y="184"/>
                  </a:lnTo>
                  <a:cubicBezTo>
                    <a:pt x="941" y="125"/>
                    <a:pt x="894" y="41"/>
                    <a:pt x="798" y="6"/>
                  </a:cubicBezTo>
                  <a:cubicBezTo>
                    <a:pt x="786" y="2"/>
                    <a:pt x="773" y="0"/>
                    <a:pt x="7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6" name="Google Shape;11686;p61"/>
            <p:cNvSpPr/>
            <p:nvPr/>
          </p:nvSpPr>
          <p:spPr>
            <a:xfrm>
              <a:off x="4176935" y="2884661"/>
              <a:ext cx="30571" cy="74163"/>
            </a:xfrm>
            <a:custGeom>
              <a:avLst/>
              <a:gdLst/>
              <a:ahLst/>
              <a:cxnLst/>
              <a:rect l="l" t="t" r="r" b="b"/>
              <a:pathLst>
                <a:path w="965" h="2341" extrusionOk="0">
                  <a:moveTo>
                    <a:pt x="187" y="0"/>
                  </a:moveTo>
                  <a:cubicBezTo>
                    <a:pt x="169" y="0"/>
                    <a:pt x="150" y="2"/>
                    <a:pt x="131" y="7"/>
                  </a:cubicBezTo>
                  <a:cubicBezTo>
                    <a:pt x="48" y="43"/>
                    <a:pt x="0" y="126"/>
                    <a:pt x="24" y="222"/>
                  </a:cubicBezTo>
                  <a:lnTo>
                    <a:pt x="643" y="2222"/>
                  </a:lnTo>
                  <a:cubicBezTo>
                    <a:pt x="655" y="2305"/>
                    <a:pt x="727" y="2341"/>
                    <a:pt x="786" y="2341"/>
                  </a:cubicBezTo>
                  <a:lnTo>
                    <a:pt x="834" y="2341"/>
                  </a:lnTo>
                  <a:cubicBezTo>
                    <a:pt x="917" y="2305"/>
                    <a:pt x="965" y="2210"/>
                    <a:pt x="953" y="2127"/>
                  </a:cubicBezTo>
                  <a:lnTo>
                    <a:pt x="346" y="114"/>
                  </a:lnTo>
                  <a:cubicBezTo>
                    <a:pt x="317" y="38"/>
                    <a:pt x="258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7" name="Google Shape;11687;p61"/>
            <p:cNvSpPr/>
            <p:nvPr/>
          </p:nvSpPr>
          <p:spPr>
            <a:xfrm>
              <a:off x="4250116" y="2965762"/>
              <a:ext cx="74701" cy="28544"/>
            </a:xfrm>
            <a:custGeom>
              <a:avLst/>
              <a:gdLst/>
              <a:ahLst/>
              <a:cxnLst/>
              <a:rect l="l" t="t" r="r" b="b"/>
              <a:pathLst>
                <a:path w="2358" h="901" extrusionOk="0">
                  <a:moveTo>
                    <a:pt x="2194" y="1"/>
                  </a:moveTo>
                  <a:cubicBezTo>
                    <a:pt x="2181" y="1"/>
                    <a:pt x="2168" y="3"/>
                    <a:pt x="2155" y="7"/>
                  </a:cubicBezTo>
                  <a:lnTo>
                    <a:pt x="131" y="590"/>
                  </a:lnTo>
                  <a:cubicBezTo>
                    <a:pt x="36" y="626"/>
                    <a:pt x="0" y="710"/>
                    <a:pt x="24" y="781"/>
                  </a:cubicBezTo>
                  <a:cubicBezTo>
                    <a:pt x="36" y="852"/>
                    <a:pt x="119" y="900"/>
                    <a:pt x="179" y="900"/>
                  </a:cubicBezTo>
                  <a:lnTo>
                    <a:pt x="215" y="900"/>
                  </a:lnTo>
                  <a:lnTo>
                    <a:pt x="2239" y="317"/>
                  </a:lnTo>
                  <a:cubicBezTo>
                    <a:pt x="2322" y="293"/>
                    <a:pt x="2358" y="209"/>
                    <a:pt x="2346" y="114"/>
                  </a:cubicBezTo>
                  <a:cubicBezTo>
                    <a:pt x="2326" y="45"/>
                    <a:pt x="2258" y="1"/>
                    <a:pt x="2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8" name="Google Shape;11688;p61"/>
            <p:cNvSpPr/>
            <p:nvPr/>
          </p:nvSpPr>
          <p:spPr>
            <a:xfrm>
              <a:off x="4251985" y="3004443"/>
              <a:ext cx="75493" cy="29462"/>
            </a:xfrm>
            <a:custGeom>
              <a:avLst/>
              <a:gdLst/>
              <a:ahLst/>
              <a:cxnLst/>
              <a:rect l="l" t="t" r="r" b="b"/>
              <a:pathLst>
                <a:path w="2383" h="930" extrusionOk="0">
                  <a:moveTo>
                    <a:pt x="175" y="1"/>
                  </a:moveTo>
                  <a:cubicBezTo>
                    <a:pt x="104" y="1"/>
                    <a:pt x="43" y="46"/>
                    <a:pt x="25" y="120"/>
                  </a:cubicBezTo>
                  <a:cubicBezTo>
                    <a:pt x="1" y="203"/>
                    <a:pt x="37" y="298"/>
                    <a:pt x="132" y="322"/>
                  </a:cubicBezTo>
                  <a:lnTo>
                    <a:pt x="2144" y="929"/>
                  </a:lnTo>
                  <a:lnTo>
                    <a:pt x="2180" y="929"/>
                  </a:lnTo>
                  <a:cubicBezTo>
                    <a:pt x="2263" y="929"/>
                    <a:pt x="2323" y="893"/>
                    <a:pt x="2334" y="810"/>
                  </a:cubicBezTo>
                  <a:cubicBezTo>
                    <a:pt x="2382" y="739"/>
                    <a:pt x="2334" y="655"/>
                    <a:pt x="2239" y="620"/>
                  </a:cubicBezTo>
                  <a:lnTo>
                    <a:pt x="239" y="12"/>
                  </a:lnTo>
                  <a:cubicBezTo>
                    <a:pt x="217" y="4"/>
                    <a:pt x="196" y="1"/>
                    <a:pt x="1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9" name="Google Shape;11689;p61"/>
            <p:cNvSpPr/>
            <p:nvPr/>
          </p:nvSpPr>
          <p:spPr>
            <a:xfrm>
              <a:off x="4033615" y="2996428"/>
              <a:ext cx="73941" cy="84237"/>
            </a:xfrm>
            <a:custGeom>
              <a:avLst/>
              <a:gdLst/>
              <a:ahLst/>
              <a:cxnLst/>
              <a:rect l="l" t="t" r="r" b="b"/>
              <a:pathLst>
                <a:path w="2334" h="2659" extrusionOk="0">
                  <a:moveTo>
                    <a:pt x="2157" y="0"/>
                  </a:moveTo>
                  <a:cubicBezTo>
                    <a:pt x="2112" y="0"/>
                    <a:pt x="2069" y="18"/>
                    <a:pt x="2036" y="51"/>
                  </a:cubicBezTo>
                  <a:lnTo>
                    <a:pt x="60" y="2397"/>
                  </a:lnTo>
                  <a:cubicBezTo>
                    <a:pt x="0" y="2468"/>
                    <a:pt x="12" y="2551"/>
                    <a:pt x="72" y="2611"/>
                  </a:cubicBezTo>
                  <a:cubicBezTo>
                    <a:pt x="107" y="2647"/>
                    <a:pt x="143" y="2659"/>
                    <a:pt x="179" y="2659"/>
                  </a:cubicBezTo>
                  <a:cubicBezTo>
                    <a:pt x="226" y="2659"/>
                    <a:pt x="262" y="2647"/>
                    <a:pt x="298" y="2599"/>
                  </a:cubicBezTo>
                  <a:lnTo>
                    <a:pt x="2274" y="265"/>
                  </a:lnTo>
                  <a:cubicBezTo>
                    <a:pt x="2334" y="194"/>
                    <a:pt x="2322" y="87"/>
                    <a:pt x="2262" y="39"/>
                  </a:cubicBezTo>
                  <a:cubicBezTo>
                    <a:pt x="2230" y="12"/>
                    <a:pt x="2193" y="0"/>
                    <a:pt x="21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0" name="Google Shape;11690;p61"/>
            <p:cNvSpPr/>
            <p:nvPr/>
          </p:nvSpPr>
          <p:spPr>
            <a:xfrm>
              <a:off x="3978523" y="2931738"/>
              <a:ext cx="303684" cy="299439"/>
            </a:xfrm>
            <a:custGeom>
              <a:avLst/>
              <a:gdLst/>
              <a:ahLst/>
              <a:cxnLst/>
              <a:rect l="l" t="t" r="r" b="b"/>
              <a:pathLst>
                <a:path w="9586" h="9452" extrusionOk="0">
                  <a:moveTo>
                    <a:pt x="5564" y="351"/>
                  </a:moveTo>
                  <a:cubicBezTo>
                    <a:pt x="5790" y="351"/>
                    <a:pt x="6037" y="460"/>
                    <a:pt x="6252" y="664"/>
                  </a:cubicBezTo>
                  <a:cubicBezTo>
                    <a:pt x="6490" y="902"/>
                    <a:pt x="6585" y="1236"/>
                    <a:pt x="6525" y="1486"/>
                  </a:cubicBezTo>
                  <a:lnTo>
                    <a:pt x="5418" y="367"/>
                  </a:lnTo>
                  <a:cubicBezTo>
                    <a:pt x="5465" y="356"/>
                    <a:pt x="5514" y="351"/>
                    <a:pt x="5564" y="351"/>
                  </a:cubicBezTo>
                  <a:close/>
                  <a:moveTo>
                    <a:pt x="5001" y="414"/>
                  </a:moveTo>
                  <a:lnTo>
                    <a:pt x="6502" y="1915"/>
                  </a:lnTo>
                  <a:lnTo>
                    <a:pt x="6192" y="2236"/>
                  </a:lnTo>
                  <a:lnTo>
                    <a:pt x="4680" y="724"/>
                  </a:lnTo>
                  <a:lnTo>
                    <a:pt x="5001" y="414"/>
                  </a:lnTo>
                  <a:close/>
                  <a:moveTo>
                    <a:pt x="8162" y="2958"/>
                  </a:moveTo>
                  <a:cubicBezTo>
                    <a:pt x="8390" y="2958"/>
                    <a:pt x="8640" y="3065"/>
                    <a:pt x="8835" y="3260"/>
                  </a:cubicBezTo>
                  <a:cubicBezTo>
                    <a:pt x="9085" y="3510"/>
                    <a:pt x="9192" y="3843"/>
                    <a:pt x="9133" y="4093"/>
                  </a:cubicBezTo>
                  <a:lnTo>
                    <a:pt x="8014" y="2974"/>
                  </a:lnTo>
                  <a:cubicBezTo>
                    <a:pt x="8061" y="2963"/>
                    <a:pt x="8111" y="2958"/>
                    <a:pt x="8162" y="2958"/>
                  </a:cubicBezTo>
                  <a:close/>
                  <a:moveTo>
                    <a:pt x="7597" y="3022"/>
                  </a:moveTo>
                  <a:lnTo>
                    <a:pt x="7633" y="3046"/>
                  </a:lnTo>
                  <a:lnTo>
                    <a:pt x="9109" y="4522"/>
                  </a:lnTo>
                  <a:lnTo>
                    <a:pt x="8776" y="4820"/>
                  </a:lnTo>
                  <a:lnTo>
                    <a:pt x="7287" y="3331"/>
                  </a:lnTo>
                  <a:lnTo>
                    <a:pt x="7597" y="3022"/>
                  </a:lnTo>
                  <a:close/>
                  <a:moveTo>
                    <a:pt x="3846" y="4712"/>
                  </a:moveTo>
                  <a:lnTo>
                    <a:pt x="4823" y="5689"/>
                  </a:lnTo>
                  <a:lnTo>
                    <a:pt x="4204" y="6403"/>
                  </a:lnTo>
                  <a:lnTo>
                    <a:pt x="3120" y="5308"/>
                  </a:lnTo>
                  <a:lnTo>
                    <a:pt x="3846" y="4712"/>
                  </a:lnTo>
                  <a:close/>
                  <a:moveTo>
                    <a:pt x="3454" y="7320"/>
                  </a:moveTo>
                  <a:lnTo>
                    <a:pt x="3537" y="7415"/>
                  </a:lnTo>
                  <a:lnTo>
                    <a:pt x="4787" y="8665"/>
                  </a:lnTo>
                  <a:lnTo>
                    <a:pt x="4311" y="9142"/>
                  </a:lnTo>
                  <a:lnTo>
                    <a:pt x="2977" y="7796"/>
                  </a:lnTo>
                  <a:lnTo>
                    <a:pt x="3454" y="7320"/>
                  </a:lnTo>
                  <a:close/>
                  <a:moveTo>
                    <a:pt x="5006" y="1"/>
                  </a:moveTo>
                  <a:cubicBezTo>
                    <a:pt x="4966" y="1"/>
                    <a:pt x="4924" y="15"/>
                    <a:pt x="4894" y="45"/>
                  </a:cubicBezTo>
                  <a:lnTo>
                    <a:pt x="4442" y="486"/>
                  </a:lnTo>
                  <a:cubicBezTo>
                    <a:pt x="4430" y="486"/>
                    <a:pt x="4418" y="474"/>
                    <a:pt x="4382" y="474"/>
                  </a:cubicBezTo>
                  <a:cubicBezTo>
                    <a:pt x="4347" y="474"/>
                    <a:pt x="4299" y="510"/>
                    <a:pt x="4263" y="533"/>
                  </a:cubicBezTo>
                  <a:lnTo>
                    <a:pt x="1049" y="4439"/>
                  </a:lnTo>
                  <a:lnTo>
                    <a:pt x="965" y="4343"/>
                  </a:lnTo>
                  <a:cubicBezTo>
                    <a:pt x="935" y="4314"/>
                    <a:pt x="894" y="4299"/>
                    <a:pt x="852" y="4299"/>
                  </a:cubicBezTo>
                  <a:cubicBezTo>
                    <a:pt x="810" y="4299"/>
                    <a:pt x="769" y="4314"/>
                    <a:pt x="739" y="4343"/>
                  </a:cubicBezTo>
                  <a:lnTo>
                    <a:pt x="36" y="5046"/>
                  </a:lnTo>
                  <a:cubicBezTo>
                    <a:pt x="13" y="5070"/>
                    <a:pt x="1" y="5117"/>
                    <a:pt x="1" y="5165"/>
                  </a:cubicBezTo>
                  <a:cubicBezTo>
                    <a:pt x="1" y="5213"/>
                    <a:pt x="13" y="5248"/>
                    <a:pt x="36" y="5284"/>
                  </a:cubicBezTo>
                  <a:lnTo>
                    <a:pt x="691" y="5939"/>
                  </a:lnTo>
                  <a:cubicBezTo>
                    <a:pt x="721" y="5969"/>
                    <a:pt x="763" y="5983"/>
                    <a:pt x="804" y="5983"/>
                  </a:cubicBezTo>
                  <a:cubicBezTo>
                    <a:pt x="846" y="5983"/>
                    <a:pt x="888" y="5969"/>
                    <a:pt x="918" y="5939"/>
                  </a:cubicBezTo>
                  <a:cubicBezTo>
                    <a:pt x="977" y="5879"/>
                    <a:pt x="977" y="5772"/>
                    <a:pt x="918" y="5713"/>
                  </a:cubicBezTo>
                  <a:lnTo>
                    <a:pt x="382" y="5177"/>
                  </a:lnTo>
                  <a:lnTo>
                    <a:pt x="858" y="4701"/>
                  </a:lnTo>
                  <a:lnTo>
                    <a:pt x="941" y="4796"/>
                  </a:lnTo>
                  <a:lnTo>
                    <a:pt x="2096" y="5939"/>
                  </a:lnTo>
                  <a:lnTo>
                    <a:pt x="2180" y="6022"/>
                  </a:lnTo>
                  <a:lnTo>
                    <a:pt x="1703" y="6498"/>
                  </a:lnTo>
                  <a:lnTo>
                    <a:pt x="1346" y="6141"/>
                  </a:lnTo>
                  <a:cubicBezTo>
                    <a:pt x="1316" y="6111"/>
                    <a:pt x="1278" y="6097"/>
                    <a:pt x="1239" y="6097"/>
                  </a:cubicBezTo>
                  <a:cubicBezTo>
                    <a:pt x="1200" y="6097"/>
                    <a:pt x="1162" y="6111"/>
                    <a:pt x="1132" y="6141"/>
                  </a:cubicBezTo>
                  <a:cubicBezTo>
                    <a:pt x="1072" y="6201"/>
                    <a:pt x="1072" y="6308"/>
                    <a:pt x="1132" y="6367"/>
                  </a:cubicBezTo>
                  <a:lnTo>
                    <a:pt x="1584" y="6832"/>
                  </a:lnTo>
                  <a:cubicBezTo>
                    <a:pt x="1620" y="6856"/>
                    <a:pt x="1668" y="6879"/>
                    <a:pt x="1703" y="6879"/>
                  </a:cubicBezTo>
                  <a:cubicBezTo>
                    <a:pt x="1751" y="6879"/>
                    <a:pt x="1799" y="6856"/>
                    <a:pt x="1822" y="6832"/>
                  </a:cubicBezTo>
                  <a:lnTo>
                    <a:pt x="2525" y="6129"/>
                  </a:lnTo>
                  <a:cubicBezTo>
                    <a:pt x="2561" y="6106"/>
                    <a:pt x="2573" y="6058"/>
                    <a:pt x="2573" y="6010"/>
                  </a:cubicBezTo>
                  <a:cubicBezTo>
                    <a:pt x="2573" y="5963"/>
                    <a:pt x="2549" y="5927"/>
                    <a:pt x="2525" y="5891"/>
                  </a:cubicBezTo>
                  <a:lnTo>
                    <a:pt x="2430" y="5808"/>
                  </a:lnTo>
                  <a:lnTo>
                    <a:pt x="2846" y="5463"/>
                  </a:lnTo>
                  <a:lnTo>
                    <a:pt x="3977" y="6594"/>
                  </a:lnTo>
                  <a:lnTo>
                    <a:pt x="3644" y="7010"/>
                  </a:lnTo>
                  <a:lnTo>
                    <a:pt x="3549" y="6915"/>
                  </a:lnTo>
                  <a:cubicBezTo>
                    <a:pt x="3525" y="6891"/>
                    <a:pt x="3477" y="6879"/>
                    <a:pt x="3430" y="6879"/>
                  </a:cubicBezTo>
                  <a:cubicBezTo>
                    <a:pt x="3394" y="6879"/>
                    <a:pt x="3346" y="6891"/>
                    <a:pt x="3311" y="6915"/>
                  </a:cubicBezTo>
                  <a:lnTo>
                    <a:pt x="2620" y="7618"/>
                  </a:lnTo>
                  <a:cubicBezTo>
                    <a:pt x="2561" y="7677"/>
                    <a:pt x="2561" y="7784"/>
                    <a:pt x="2620" y="7844"/>
                  </a:cubicBezTo>
                  <a:lnTo>
                    <a:pt x="4180" y="9404"/>
                  </a:lnTo>
                  <a:cubicBezTo>
                    <a:pt x="4204" y="9439"/>
                    <a:pt x="4251" y="9451"/>
                    <a:pt x="4299" y="9451"/>
                  </a:cubicBezTo>
                  <a:cubicBezTo>
                    <a:pt x="4335" y="9451"/>
                    <a:pt x="4382" y="9439"/>
                    <a:pt x="4418" y="9404"/>
                  </a:cubicBezTo>
                  <a:lnTo>
                    <a:pt x="5109" y="8701"/>
                  </a:lnTo>
                  <a:cubicBezTo>
                    <a:pt x="5168" y="8642"/>
                    <a:pt x="5168" y="8546"/>
                    <a:pt x="5109" y="8487"/>
                  </a:cubicBezTo>
                  <a:lnTo>
                    <a:pt x="5025" y="8392"/>
                  </a:lnTo>
                  <a:lnTo>
                    <a:pt x="6871" y="6879"/>
                  </a:lnTo>
                  <a:cubicBezTo>
                    <a:pt x="6942" y="6820"/>
                    <a:pt x="6942" y="6713"/>
                    <a:pt x="6883" y="6653"/>
                  </a:cubicBezTo>
                  <a:cubicBezTo>
                    <a:pt x="6851" y="6616"/>
                    <a:pt x="6807" y="6598"/>
                    <a:pt x="6764" y="6598"/>
                  </a:cubicBezTo>
                  <a:cubicBezTo>
                    <a:pt x="6724" y="6598"/>
                    <a:pt x="6685" y="6613"/>
                    <a:pt x="6656" y="6641"/>
                  </a:cubicBezTo>
                  <a:lnTo>
                    <a:pt x="4799" y="8165"/>
                  </a:lnTo>
                  <a:lnTo>
                    <a:pt x="3870" y="7237"/>
                  </a:lnTo>
                  <a:lnTo>
                    <a:pt x="6990" y="3450"/>
                  </a:lnTo>
                  <a:lnTo>
                    <a:pt x="8597" y="5058"/>
                  </a:lnTo>
                  <a:lnTo>
                    <a:pt x="7168" y="6236"/>
                  </a:lnTo>
                  <a:cubicBezTo>
                    <a:pt x="7097" y="6296"/>
                    <a:pt x="7097" y="6403"/>
                    <a:pt x="7156" y="6463"/>
                  </a:cubicBezTo>
                  <a:cubicBezTo>
                    <a:pt x="7188" y="6500"/>
                    <a:pt x="7228" y="6518"/>
                    <a:pt x="7269" y="6518"/>
                  </a:cubicBezTo>
                  <a:cubicBezTo>
                    <a:pt x="7306" y="6518"/>
                    <a:pt x="7342" y="6503"/>
                    <a:pt x="7371" y="6475"/>
                  </a:cubicBezTo>
                  <a:lnTo>
                    <a:pt x="8942" y="5177"/>
                  </a:lnTo>
                  <a:cubicBezTo>
                    <a:pt x="8966" y="5153"/>
                    <a:pt x="9002" y="5105"/>
                    <a:pt x="9002" y="5058"/>
                  </a:cubicBezTo>
                  <a:cubicBezTo>
                    <a:pt x="9002" y="5046"/>
                    <a:pt x="9002" y="5010"/>
                    <a:pt x="8978" y="4998"/>
                  </a:cubicBezTo>
                  <a:lnTo>
                    <a:pt x="9431" y="4558"/>
                  </a:lnTo>
                  <a:cubicBezTo>
                    <a:pt x="9434" y="4558"/>
                    <a:pt x="9438" y="4559"/>
                    <a:pt x="9441" y="4559"/>
                  </a:cubicBezTo>
                  <a:cubicBezTo>
                    <a:pt x="9502" y="4559"/>
                    <a:pt x="9499" y="4459"/>
                    <a:pt x="9442" y="4403"/>
                  </a:cubicBezTo>
                  <a:lnTo>
                    <a:pt x="9383" y="4343"/>
                  </a:lnTo>
                  <a:cubicBezTo>
                    <a:pt x="9585" y="3939"/>
                    <a:pt x="9466" y="3427"/>
                    <a:pt x="9073" y="3034"/>
                  </a:cubicBezTo>
                  <a:cubicBezTo>
                    <a:pt x="8812" y="2773"/>
                    <a:pt x="8485" y="2635"/>
                    <a:pt x="8174" y="2635"/>
                  </a:cubicBezTo>
                  <a:cubicBezTo>
                    <a:pt x="8031" y="2635"/>
                    <a:pt x="7891" y="2664"/>
                    <a:pt x="7764" y="2724"/>
                  </a:cubicBezTo>
                  <a:lnTo>
                    <a:pt x="7704" y="2665"/>
                  </a:lnTo>
                  <a:cubicBezTo>
                    <a:pt x="7680" y="2629"/>
                    <a:pt x="7633" y="2617"/>
                    <a:pt x="7585" y="2617"/>
                  </a:cubicBezTo>
                  <a:cubicBezTo>
                    <a:pt x="7537" y="2617"/>
                    <a:pt x="7502" y="2629"/>
                    <a:pt x="7466" y="2665"/>
                  </a:cubicBezTo>
                  <a:lnTo>
                    <a:pt x="7025" y="3105"/>
                  </a:lnTo>
                  <a:cubicBezTo>
                    <a:pt x="7002" y="3105"/>
                    <a:pt x="6990" y="3093"/>
                    <a:pt x="6966" y="3093"/>
                  </a:cubicBezTo>
                  <a:cubicBezTo>
                    <a:pt x="6918" y="3093"/>
                    <a:pt x="6871" y="3129"/>
                    <a:pt x="6847" y="3153"/>
                  </a:cubicBezTo>
                  <a:lnTo>
                    <a:pt x="5013" y="5415"/>
                  </a:lnTo>
                  <a:lnTo>
                    <a:pt x="4085" y="4498"/>
                  </a:lnTo>
                  <a:lnTo>
                    <a:pt x="4501" y="4153"/>
                  </a:lnTo>
                  <a:cubicBezTo>
                    <a:pt x="4573" y="4093"/>
                    <a:pt x="4573" y="3986"/>
                    <a:pt x="4513" y="3927"/>
                  </a:cubicBezTo>
                  <a:cubicBezTo>
                    <a:pt x="4488" y="3889"/>
                    <a:pt x="4447" y="3872"/>
                    <a:pt x="4405" y="3872"/>
                  </a:cubicBezTo>
                  <a:cubicBezTo>
                    <a:pt x="4367" y="3872"/>
                    <a:pt x="4327" y="3886"/>
                    <a:pt x="4299" y="3915"/>
                  </a:cubicBezTo>
                  <a:lnTo>
                    <a:pt x="3739" y="4379"/>
                  </a:lnTo>
                  <a:lnTo>
                    <a:pt x="2215" y="5641"/>
                  </a:lnTo>
                  <a:lnTo>
                    <a:pt x="1275" y="4701"/>
                  </a:lnTo>
                  <a:lnTo>
                    <a:pt x="4406" y="926"/>
                  </a:lnTo>
                  <a:lnTo>
                    <a:pt x="6002" y="2534"/>
                  </a:lnTo>
                  <a:lnTo>
                    <a:pt x="4799" y="3522"/>
                  </a:lnTo>
                  <a:cubicBezTo>
                    <a:pt x="4728" y="3581"/>
                    <a:pt x="4728" y="3689"/>
                    <a:pt x="4787" y="3748"/>
                  </a:cubicBezTo>
                  <a:cubicBezTo>
                    <a:pt x="4818" y="3785"/>
                    <a:pt x="4862" y="3803"/>
                    <a:pt x="4906" y="3803"/>
                  </a:cubicBezTo>
                  <a:cubicBezTo>
                    <a:pt x="4946" y="3803"/>
                    <a:pt x="4985" y="3788"/>
                    <a:pt x="5013" y="3760"/>
                  </a:cubicBezTo>
                  <a:lnTo>
                    <a:pt x="6347" y="2653"/>
                  </a:lnTo>
                  <a:cubicBezTo>
                    <a:pt x="6383" y="2617"/>
                    <a:pt x="6406" y="2569"/>
                    <a:pt x="6406" y="2534"/>
                  </a:cubicBezTo>
                  <a:lnTo>
                    <a:pt x="6406" y="2474"/>
                  </a:lnTo>
                  <a:lnTo>
                    <a:pt x="6859" y="2022"/>
                  </a:lnTo>
                  <a:cubicBezTo>
                    <a:pt x="6883" y="1998"/>
                    <a:pt x="6894" y="1950"/>
                    <a:pt x="6894" y="1903"/>
                  </a:cubicBezTo>
                  <a:cubicBezTo>
                    <a:pt x="6894" y="1855"/>
                    <a:pt x="6883" y="1819"/>
                    <a:pt x="6859" y="1784"/>
                  </a:cubicBezTo>
                  <a:lnTo>
                    <a:pt x="6799" y="1724"/>
                  </a:lnTo>
                  <a:cubicBezTo>
                    <a:pt x="6990" y="1319"/>
                    <a:pt x="6871" y="807"/>
                    <a:pt x="6478" y="414"/>
                  </a:cubicBezTo>
                  <a:cubicBezTo>
                    <a:pt x="6217" y="153"/>
                    <a:pt x="5889" y="15"/>
                    <a:pt x="5578" y="15"/>
                  </a:cubicBezTo>
                  <a:cubicBezTo>
                    <a:pt x="5435" y="15"/>
                    <a:pt x="5296" y="45"/>
                    <a:pt x="5168" y="105"/>
                  </a:cubicBezTo>
                  <a:lnTo>
                    <a:pt x="5109" y="45"/>
                  </a:lnTo>
                  <a:cubicBezTo>
                    <a:pt x="5085" y="15"/>
                    <a:pt x="5046" y="1"/>
                    <a:pt x="50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1" name="Google Shape;11691;p61"/>
            <p:cNvSpPr/>
            <p:nvPr/>
          </p:nvSpPr>
          <p:spPr>
            <a:xfrm>
              <a:off x="4116204" y="3078638"/>
              <a:ext cx="73973" cy="84269"/>
            </a:xfrm>
            <a:custGeom>
              <a:avLst/>
              <a:gdLst/>
              <a:ahLst/>
              <a:cxnLst/>
              <a:rect l="l" t="t" r="r" b="b"/>
              <a:pathLst>
                <a:path w="2335" h="2660" extrusionOk="0">
                  <a:moveTo>
                    <a:pt x="2152" y="1"/>
                  </a:moveTo>
                  <a:cubicBezTo>
                    <a:pt x="2109" y="1"/>
                    <a:pt x="2069" y="19"/>
                    <a:pt x="2037" y="52"/>
                  </a:cubicBezTo>
                  <a:lnTo>
                    <a:pt x="60" y="2385"/>
                  </a:lnTo>
                  <a:cubicBezTo>
                    <a:pt x="1" y="2457"/>
                    <a:pt x="12" y="2552"/>
                    <a:pt x="72" y="2612"/>
                  </a:cubicBezTo>
                  <a:cubicBezTo>
                    <a:pt x="96" y="2635"/>
                    <a:pt x="143" y="2659"/>
                    <a:pt x="179" y="2659"/>
                  </a:cubicBezTo>
                  <a:cubicBezTo>
                    <a:pt x="215" y="2659"/>
                    <a:pt x="262" y="2635"/>
                    <a:pt x="298" y="2600"/>
                  </a:cubicBezTo>
                  <a:lnTo>
                    <a:pt x="2275" y="254"/>
                  </a:lnTo>
                  <a:cubicBezTo>
                    <a:pt x="2334" y="195"/>
                    <a:pt x="2322" y="99"/>
                    <a:pt x="2263" y="40"/>
                  </a:cubicBezTo>
                  <a:cubicBezTo>
                    <a:pt x="2225" y="13"/>
                    <a:pt x="2188" y="1"/>
                    <a:pt x="21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92" name="Google Shape;11692;p61"/>
          <p:cNvGrpSpPr/>
          <p:nvPr/>
        </p:nvGrpSpPr>
        <p:grpSpPr>
          <a:xfrm>
            <a:off x="3527780" y="2885263"/>
            <a:ext cx="347435" cy="345534"/>
            <a:chOff x="3527780" y="2885263"/>
            <a:chExt cx="347435" cy="345534"/>
          </a:xfrm>
        </p:grpSpPr>
        <p:sp>
          <p:nvSpPr>
            <p:cNvPr id="11693" name="Google Shape;11693;p61"/>
            <p:cNvSpPr/>
            <p:nvPr/>
          </p:nvSpPr>
          <p:spPr>
            <a:xfrm>
              <a:off x="3527780" y="2885263"/>
              <a:ext cx="347435" cy="345534"/>
            </a:xfrm>
            <a:custGeom>
              <a:avLst/>
              <a:gdLst/>
              <a:ahLst/>
              <a:cxnLst/>
              <a:rect l="l" t="t" r="r" b="b"/>
              <a:pathLst>
                <a:path w="10967" h="10907" extrusionOk="0">
                  <a:moveTo>
                    <a:pt x="3751" y="298"/>
                  </a:moveTo>
                  <a:cubicBezTo>
                    <a:pt x="3811" y="298"/>
                    <a:pt x="3847" y="345"/>
                    <a:pt x="3847" y="405"/>
                  </a:cubicBezTo>
                  <a:cubicBezTo>
                    <a:pt x="3847" y="464"/>
                    <a:pt x="3811" y="512"/>
                    <a:pt x="3751" y="512"/>
                  </a:cubicBezTo>
                  <a:cubicBezTo>
                    <a:pt x="3692" y="512"/>
                    <a:pt x="3644" y="464"/>
                    <a:pt x="3644" y="405"/>
                  </a:cubicBezTo>
                  <a:cubicBezTo>
                    <a:pt x="3656" y="345"/>
                    <a:pt x="3704" y="298"/>
                    <a:pt x="3751" y="298"/>
                  </a:cubicBezTo>
                  <a:close/>
                  <a:moveTo>
                    <a:pt x="5490" y="298"/>
                  </a:moveTo>
                  <a:cubicBezTo>
                    <a:pt x="5549" y="298"/>
                    <a:pt x="5597" y="345"/>
                    <a:pt x="5597" y="405"/>
                  </a:cubicBezTo>
                  <a:cubicBezTo>
                    <a:pt x="5597" y="464"/>
                    <a:pt x="5549" y="512"/>
                    <a:pt x="5490" y="512"/>
                  </a:cubicBezTo>
                  <a:cubicBezTo>
                    <a:pt x="5430" y="512"/>
                    <a:pt x="5382" y="464"/>
                    <a:pt x="5382" y="405"/>
                  </a:cubicBezTo>
                  <a:cubicBezTo>
                    <a:pt x="5382" y="345"/>
                    <a:pt x="5430" y="298"/>
                    <a:pt x="5490" y="298"/>
                  </a:cubicBezTo>
                  <a:close/>
                  <a:moveTo>
                    <a:pt x="7216" y="298"/>
                  </a:moveTo>
                  <a:cubicBezTo>
                    <a:pt x="7276" y="298"/>
                    <a:pt x="7323" y="345"/>
                    <a:pt x="7323" y="405"/>
                  </a:cubicBezTo>
                  <a:cubicBezTo>
                    <a:pt x="7323" y="464"/>
                    <a:pt x="7276" y="512"/>
                    <a:pt x="7216" y="512"/>
                  </a:cubicBezTo>
                  <a:cubicBezTo>
                    <a:pt x="7156" y="512"/>
                    <a:pt x="7109" y="464"/>
                    <a:pt x="7109" y="405"/>
                  </a:cubicBezTo>
                  <a:cubicBezTo>
                    <a:pt x="7109" y="345"/>
                    <a:pt x="7156" y="298"/>
                    <a:pt x="7216" y="298"/>
                  </a:cubicBezTo>
                  <a:close/>
                  <a:moveTo>
                    <a:pt x="394" y="3632"/>
                  </a:moveTo>
                  <a:cubicBezTo>
                    <a:pt x="453" y="3632"/>
                    <a:pt x="501" y="3679"/>
                    <a:pt x="501" y="3739"/>
                  </a:cubicBezTo>
                  <a:cubicBezTo>
                    <a:pt x="501" y="3798"/>
                    <a:pt x="453" y="3846"/>
                    <a:pt x="394" y="3846"/>
                  </a:cubicBezTo>
                  <a:cubicBezTo>
                    <a:pt x="334" y="3846"/>
                    <a:pt x="287" y="3798"/>
                    <a:pt x="287" y="3739"/>
                  </a:cubicBezTo>
                  <a:cubicBezTo>
                    <a:pt x="287" y="3679"/>
                    <a:pt x="334" y="3632"/>
                    <a:pt x="394" y="3632"/>
                  </a:cubicBezTo>
                  <a:close/>
                  <a:moveTo>
                    <a:pt x="10562" y="3655"/>
                  </a:moveTo>
                  <a:cubicBezTo>
                    <a:pt x="10621" y="3655"/>
                    <a:pt x="10669" y="3691"/>
                    <a:pt x="10669" y="3763"/>
                  </a:cubicBezTo>
                  <a:cubicBezTo>
                    <a:pt x="10669" y="3822"/>
                    <a:pt x="10621" y="3858"/>
                    <a:pt x="10562" y="3858"/>
                  </a:cubicBezTo>
                  <a:cubicBezTo>
                    <a:pt x="10502" y="3858"/>
                    <a:pt x="10454" y="3822"/>
                    <a:pt x="10454" y="3763"/>
                  </a:cubicBezTo>
                  <a:cubicBezTo>
                    <a:pt x="10454" y="3691"/>
                    <a:pt x="10502" y="3655"/>
                    <a:pt x="10562" y="3655"/>
                  </a:cubicBezTo>
                  <a:close/>
                  <a:moveTo>
                    <a:pt x="394" y="5382"/>
                  </a:moveTo>
                  <a:cubicBezTo>
                    <a:pt x="453" y="5382"/>
                    <a:pt x="501" y="5417"/>
                    <a:pt x="501" y="5477"/>
                  </a:cubicBezTo>
                  <a:cubicBezTo>
                    <a:pt x="501" y="5548"/>
                    <a:pt x="453" y="5584"/>
                    <a:pt x="394" y="5584"/>
                  </a:cubicBezTo>
                  <a:cubicBezTo>
                    <a:pt x="334" y="5584"/>
                    <a:pt x="287" y="5548"/>
                    <a:pt x="287" y="5477"/>
                  </a:cubicBezTo>
                  <a:cubicBezTo>
                    <a:pt x="287" y="5417"/>
                    <a:pt x="334" y="5382"/>
                    <a:pt x="394" y="5382"/>
                  </a:cubicBezTo>
                  <a:close/>
                  <a:moveTo>
                    <a:pt x="10562" y="5382"/>
                  </a:moveTo>
                  <a:cubicBezTo>
                    <a:pt x="10621" y="5382"/>
                    <a:pt x="10669" y="5429"/>
                    <a:pt x="10669" y="5489"/>
                  </a:cubicBezTo>
                  <a:cubicBezTo>
                    <a:pt x="10669" y="5548"/>
                    <a:pt x="10621" y="5584"/>
                    <a:pt x="10562" y="5584"/>
                  </a:cubicBezTo>
                  <a:cubicBezTo>
                    <a:pt x="10502" y="5584"/>
                    <a:pt x="10454" y="5548"/>
                    <a:pt x="10454" y="5489"/>
                  </a:cubicBezTo>
                  <a:cubicBezTo>
                    <a:pt x="10454" y="5429"/>
                    <a:pt x="10502" y="5382"/>
                    <a:pt x="10562" y="5382"/>
                  </a:cubicBezTo>
                  <a:close/>
                  <a:moveTo>
                    <a:pt x="394" y="7108"/>
                  </a:moveTo>
                  <a:cubicBezTo>
                    <a:pt x="453" y="7108"/>
                    <a:pt x="501" y="7144"/>
                    <a:pt x="501" y="7215"/>
                  </a:cubicBezTo>
                  <a:cubicBezTo>
                    <a:pt x="501" y="7275"/>
                    <a:pt x="453" y="7311"/>
                    <a:pt x="394" y="7311"/>
                  </a:cubicBezTo>
                  <a:cubicBezTo>
                    <a:pt x="334" y="7311"/>
                    <a:pt x="287" y="7275"/>
                    <a:pt x="287" y="7215"/>
                  </a:cubicBezTo>
                  <a:cubicBezTo>
                    <a:pt x="287" y="7144"/>
                    <a:pt x="334" y="7108"/>
                    <a:pt x="394" y="7108"/>
                  </a:cubicBezTo>
                  <a:close/>
                  <a:moveTo>
                    <a:pt x="10562" y="7120"/>
                  </a:moveTo>
                  <a:cubicBezTo>
                    <a:pt x="10621" y="7120"/>
                    <a:pt x="10669" y="7168"/>
                    <a:pt x="10669" y="7227"/>
                  </a:cubicBezTo>
                  <a:cubicBezTo>
                    <a:pt x="10669" y="7287"/>
                    <a:pt x="10621" y="7334"/>
                    <a:pt x="10562" y="7334"/>
                  </a:cubicBezTo>
                  <a:cubicBezTo>
                    <a:pt x="10502" y="7334"/>
                    <a:pt x="10454" y="7287"/>
                    <a:pt x="10454" y="7227"/>
                  </a:cubicBezTo>
                  <a:cubicBezTo>
                    <a:pt x="10454" y="7168"/>
                    <a:pt x="10502" y="7120"/>
                    <a:pt x="10562" y="7120"/>
                  </a:cubicBezTo>
                  <a:close/>
                  <a:moveTo>
                    <a:pt x="3751" y="10454"/>
                  </a:moveTo>
                  <a:cubicBezTo>
                    <a:pt x="3811" y="10454"/>
                    <a:pt x="3847" y="10501"/>
                    <a:pt x="3847" y="10561"/>
                  </a:cubicBezTo>
                  <a:cubicBezTo>
                    <a:pt x="3847" y="10621"/>
                    <a:pt x="3811" y="10668"/>
                    <a:pt x="3751" y="10668"/>
                  </a:cubicBezTo>
                  <a:cubicBezTo>
                    <a:pt x="3692" y="10668"/>
                    <a:pt x="3644" y="10621"/>
                    <a:pt x="3644" y="10561"/>
                  </a:cubicBezTo>
                  <a:cubicBezTo>
                    <a:pt x="3644" y="10501"/>
                    <a:pt x="3680" y="10454"/>
                    <a:pt x="3751" y="10454"/>
                  </a:cubicBezTo>
                  <a:close/>
                  <a:moveTo>
                    <a:pt x="5490" y="10454"/>
                  </a:moveTo>
                  <a:cubicBezTo>
                    <a:pt x="5549" y="10454"/>
                    <a:pt x="5597" y="10501"/>
                    <a:pt x="5597" y="10561"/>
                  </a:cubicBezTo>
                  <a:cubicBezTo>
                    <a:pt x="5597" y="10621"/>
                    <a:pt x="5537" y="10668"/>
                    <a:pt x="5490" y="10668"/>
                  </a:cubicBezTo>
                  <a:cubicBezTo>
                    <a:pt x="5430" y="10668"/>
                    <a:pt x="5382" y="10621"/>
                    <a:pt x="5382" y="10561"/>
                  </a:cubicBezTo>
                  <a:cubicBezTo>
                    <a:pt x="5382" y="10501"/>
                    <a:pt x="5430" y="10454"/>
                    <a:pt x="5490" y="10454"/>
                  </a:cubicBezTo>
                  <a:close/>
                  <a:moveTo>
                    <a:pt x="7216" y="10454"/>
                  </a:moveTo>
                  <a:cubicBezTo>
                    <a:pt x="7276" y="10454"/>
                    <a:pt x="7323" y="10501"/>
                    <a:pt x="7323" y="10561"/>
                  </a:cubicBezTo>
                  <a:cubicBezTo>
                    <a:pt x="7323" y="10621"/>
                    <a:pt x="7276" y="10668"/>
                    <a:pt x="7216" y="10668"/>
                  </a:cubicBezTo>
                  <a:cubicBezTo>
                    <a:pt x="7156" y="10668"/>
                    <a:pt x="7109" y="10621"/>
                    <a:pt x="7109" y="10561"/>
                  </a:cubicBezTo>
                  <a:cubicBezTo>
                    <a:pt x="7109" y="10501"/>
                    <a:pt x="7156" y="10454"/>
                    <a:pt x="7216" y="10454"/>
                  </a:cubicBezTo>
                  <a:close/>
                  <a:moveTo>
                    <a:pt x="3811" y="0"/>
                  </a:moveTo>
                  <a:cubicBezTo>
                    <a:pt x="3561" y="0"/>
                    <a:pt x="3394" y="203"/>
                    <a:pt x="3394" y="417"/>
                  </a:cubicBezTo>
                  <a:cubicBezTo>
                    <a:pt x="3394" y="595"/>
                    <a:pt x="3489" y="750"/>
                    <a:pt x="3656" y="810"/>
                  </a:cubicBezTo>
                  <a:lnTo>
                    <a:pt x="3656" y="1738"/>
                  </a:lnTo>
                  <a:lnTo>
                    <a:pt x="1965" y="1738"/>
                  </a:lnTo>
                  <a:cubicBezTo>
                    <a:pt x="1870" y="1738"/>
                    <a:pt x="1799" y="1810"/>
                    <a:pt x="1799" y="1893"/>
                  </a:cubicBezTo>
                  <a:lnTo>
                    <a:pt x="1799" y="3596"/>
                  </a:lnTo>
                  <a:lnTo>
                    <a:pt x="799" y="3596"/>
                  </a:lnTo>
                  <a:cubicBezTo>
                    <a:pt x="739" y="3441"/>
                    <a:pt x="596" y="3322"/>
                    <a:pt x="418" y="3322"/>
                  </a:cubicBezTo>
                  <a:cubicBezTo>
                    <a:pt x="179" y="3322"/>
                    <a:pt x="1" y="3524"/>
                    <a:pt x="1" y="3739"/>
                  </a:cubicBezTo>
                  <a:cubicBezTo>
                    <a:pt x="1" y="3977"/>
                    <a:pt x="191" y="4155"/>
                    <a:pt x="418" y="4155"/>
                  </a:cubicBezTo>
                  <a:cubicBezTo>
                    <a:pt x="596" y="4155"/>
                    <a:pt x="739" y="4048"/>
                    <a:pt x="799" y="3893"/>
                  </a:cubicBezTo>
                  <a:lnTo>
                    <a:pt x="1727" y="3893"/>
                  </a:lnTo>
                  <a:lnTo>
                    <a:pt x="1727" y="5310"/>
                  </a:lnTo>
                  <a:lnTo>
                    <a:pt x="799" y="5310"/>
                  </a:lnTo>
                  <a:cubicBezTo>
                    <a:pt x="739" y="5156"/>
                    <a:pt x="596" y="5036"/>
                    <a:pt x="418" y="5036"/>
                  </a:cubicBezTo>
                  <a:cubicBezTo>
                    <a:pt x="179" y="5036"/>
                    <a:pt x="1" y="5227"/>
                    <a:pt x="1" y="5453"/>
                  </a:cubicBezTo>
                  <a:cubicBezTo>
                    <a:pt x="1" y="5691"/>
                    <a:pt x="191" y="5870"/>
                    <a:pt x="418" y="5870"/>
                  </a:cubicBezTo>
                  <a:cubicBezTo>
                    <a:pt x="596" y="5870"/>
                    <a:pt x="739" y="5763"/>
                    <a:pt x="799" y="5608"/>
                  </a:cubicBezTo>
                  <a:lnTo>
                    <a:pt x="1727" y="5608"/>
                  </a:lnTo>
                  <a:lnTo>
                    <a:pt x="1727" y="7013"/>
                  </a:lnTo>
                  <a:lnTo>
                    <a:pt x="799" y="7013"/>
                  </a:lnTo>
                  <a:cubicBezTo>
                    <a:pt x="739" y="6870"/>
                    <a:pt x="596" y="6751"/>
                    <a:pt x="418" y="6751"/>
                  </a:cubicBezTo>
                  <a:cubicBezTo>
                    <a:pt x="179" y="6751"/>
                    <a:pt x="1" y="6941"/>
                    <a:pt x="1" y="7168"/>
                  </a:cubicBezTo>
                  <a:cubicBezTo>
                    <a:pt x="1" y="7406"/>
                    <a:pt x="191" y="7584"/>
                    <a:pt x="418" y="7584"/>
                  </a:cubicBezTo>
                  <a:cubicBezTo>
                    <a:pt x="596" y="7584"/>
                    <a:pt x="739" y="7477"/>
                    <a:pt x="799" y="7311"/>
                  </a:cubicBezTo>
                  <a:lnTo>
                    <a:pt x="1727" y="7311"/>
                  </a:lnTo>
                  <a:lnTo>
                    <a:pt x="1727" y="9013"/>
                  </a:lnTo>
                  <a:cubicBezTo>
                    <a:pt x="1727" y="9097"/>
                    <a:pt x="1799" y="9180"/>
                    <a:pt x="1882" y="9180"/>
                  </a:cubicBezTo>
                  <a:lnTo>
                    <a:pt x="3585" y="9180"/>
                  </a:lnTo>
                  <a:lnTo>
                    <a:pt x="3585" y="10097"/>
                  </a:lnTo>
                  <a:cubicBezTo>
                    <a:pt x="3430" y="10156"/>
                    <a:pt x="3311" y="10311"/>
                    <a:pt x="3311" y="10490"/>
                  </a:cubicBezTo>
                  <a:cubicBezTo>
                    <a:pt x="3311" y="10728"/>
                    <a:pt x="3513" y="10906"/>
                    <a:pt x="3727" y="10906"/>
                  </a:cubicBezTo>
                  <a:cubicBezTo>
                    <a:pt x="3966" y="10906"/>
                    <a:pt x="4144" y="10704"/>
                    <a:pt x="4144" y="10490"/>
                  </a:cubicBezTo>
                  <a:cubicBezTo>
                    <a:pt x="4144" y="10311"/>
                    <a:pt x="4049" y="10156"/>
                    <a:pt x="3882" y="10097"/>
                  </a:cubicBezTo>
                  <a:lnTo>
                    <a:pt x="3882" y="9180"/>
                  </a:lnTo>
                  <a:lnTo>
                    <a:pt x="5299" y="9180"/>
                  </a:lnTo>
                  <a:lnTo>
                    <a:pt x="5299" y="10097"/>
                  </a:lnTo>
                  <a:cubicBezTo>
                    <a:pt x="5144" y="10156"/>
                    <a:pt x="5025" y="10311"/>
                    <a:pt x="5025" y="10490"/>
                  </a:cubicBezTo>
                  <a:cubicBezTo>
                    <a:pt x="5025" y="10728"/>
                    <a:pt x="5216" y="10906"/>
                    <a:pt x="5442" y="10906"/>
                  </a:cubicBezTo>
                  <a:cubicBezTo>
                    <a:pt x="5680" y="10906"/>
                    <a:pt x="5859" y="10704"/>
                    <a:pt x="5859" y="10490"/>
                  </a:cubicBezTo>
                  <a:cubicBezTo>
                    <a:pt x="5859" y="10311"/>
                    <a:pt x="5752" y="10156"/>
                    <a:pt x="5597" y="10097"/>
                  </a:cubicBezTo>
                  <a:lnTo>
                    <a:pt x="5597" y="9180"/>
                  </a:lnTo>
                  <a:lnTo>
                    <a:pt x="7002" y="9180"/>
                  </a:lnTo>
                  <a:lnTo>
                    <a:pt x="7002" y="10097"/>
                  </a:lnTo>
                  <a:cubicBezTo>
                    <a:pt x="6859" y="10156"/>
                    <a:pt x="6740" y="10311"/>
                    <a:pt x="6740" y="10490"/>
                  </a:cubicBezTo>
                  <a:cubicBezTo>
                    <a:pt x="6740" y="10728"/>
                    <a:pt x="6930" y="10906"/>
                    <a:pt x="7156" y="10906"/>
                  </a:cubicBezTo>
                  <a:cubicBezTo>
                    <a:pt x="7383" y="10906"/>
                    <a:pt x="7573" y="10704"/>
                    <a:pt x="7573" y="10490"/>
                  </a:cubicBezTo>
                  <a:cubicBezTo>
                    <a:pt x="7573" y="10311"/>
                    <a:pt x="7466" y="10156"/>
                    <a:pt x="7299" y="10097"/>
                  </a:cubicBezTo>
                  <a:lnTo>
                    <a:pt x="7299" y="9180"/>
                  </a:lnTo>
                  <a:lnTo>
                    <a:pt x="9002" y="9180"/>
                  </a:lnTo>
                  <a:cubicBezTo>
                    <a:pt x="9085" y="9180"/>
                    <a:pt x="9169" y="9097"/>
                    <a:pt x="9169" y="9013"/>
                  </a:cubicBezTo>
                  <a:lnTo>
                    <a:pt x="9169" y="7311"/>
                  </a:lnTo>
                  <a:lnTo>
                    <a:pt x="10085" y="7311"/>
                  </a:lnTo>
                  <a:cubicBezTo>
                    <a:pt x="10145" y="7465"/>
                    <a:pt x="10300" y="7584"/>
                    <a:pt x="10478" y="7584"/>
                  </a:cubicBezTo>
                  <a:cubicBezTo>
                    <a:pt x="10716" y="7584"/>
                    <a:pt x="10895" y="7394"/>
                    <a:pt x="10895" y="7168"/>
                  </a:cubicBezTo>
                  <a:cubicBezTo>
                    <a:pt x="10895" y="6930"/>
                    <a:pt x="10693" y="6751"/>
                    <a:pt x="10478" y="6751"/>
                  </a:cubicBezTo>
                  <a:cubicBezTo>
                    <a:pt x="10300" y="6751"/>
                    <a:pt x="10145" y="6858"/>
                    <a:pt x="10085" y="7013"/>
                  </a:cubicBezTo>
                  <a:lnTo>
                    <a:pt x="9169" y="7013"/>
                  </a:lnTo>
                  <a:lnTo>
                    <a:pt x="9240" y="5644"/>
                  </a:lnTo>
                  <a:lnTo>
                    <a:pt x="10157" y="5644"/>
                  </a:lnTo>
                  <a:cubicBezTo>
                    <a:pt x="10216" y="5798"/>
                    <a:pt x="10371" y="5918"/>
                    <a:pt x="10550" y="5918"/>
                  </a:cubicBezTo>
                  <a:cubicBezTo>
                    <a:pt x="10788" y="5918"/>
                    <a:pt x="10966" y="5727"/>
                    <a:pt x="10966" y="5501"/>
                  </a:cubicBezTo>
                  <a:cubicBezTo>
                    <a:pt x="10966" y="5263"/>
                    <a:pt x="10776" y="5084"/>
                    <a:pt x="10550" y="5084"/>
                  </a:cubicBezTo>
                  <a:cubicBezTo>
                    <a:pt x="10371" y="5084"/>
                    <a:pt x="10216" y="5191"/>
                    <a:pt x="10157" y="5346"/>
                  </a:cubicBezTo>
                  <a:lnTo>
                    <a:pt x="9240" y="5346"/>
                  </a:lnTo>
                  <a:lnTo>
                    <a:pt x="9240" y="3905"/>
                  </a:lnTo>
                  <a:lnTo>
                    <a:pt x="10157" y="3905"/>
                  </a:lnTo>
                  <a:cubicBezTo>
                    <a:pt x="10216" y="4060"/>
                    <a:pt x="10371" y="4179"/>
                    <a:pt x="10550" y="4179"/>
                  </a:cubicBezTo>
                  <a:cubicBezTo>
                    <a:pt x="10788" y="4179"/>
                    <a:pt x="10966" y="3977"/>
                    <a:pt x="10966" y="3763"/>
                  </a:cubicBezTo>
                  <a:cubicBezTo>
                    <a:pt x="10966" y="3524"/>
                    <a:pt x="10776" y="3346"/>
                    <a:pt x="10550" y="3346"/>
                  </a:cubicBezTo>
                  <a:cubicBezTo>
                    <a:pt x="10371" y="3346"/>
                    <a:pt x="10216" y="3441"/>
                    <a:pt x="10157" y="3608"/>
                  </a:cubicBezTo>
                  <a:lnTo>
                    <a:pt x="9240" y="3608"/>
                  </a:lnTo>
                  <a:lnTo>
                    <a:pt x="9240" y="1917"/>
                  </a:lnTo>
                  <a:cubicBezTo>
                    <a:pt x="9240" y="1822"/>
                    <a:pt x="9169" y="1750"/>
                    <a:pt x="9073" y="1750"/>
                  </a:cubicBezTo>
                  <a:lnTo>
                    <a:pt x="8395" y="1750"/>
                  </a:lnTo>
                  <a:cubicBezTo>
                    <a:pt x="8299" y="1750"/>
                    <a:pt x="8228" y="1822"/>
                    <a:pt x="8228" y="1917"/>
                  </a:cubicBezTo>
                  <a:cubicBezTo>
                    <a:pt x="8228" y="2000"/>
                    <a:pt x="8299" y="2072"/>
                    <a:pt x="8395" y="2072"/>
                  </a:cubicBezTo>
                  <a:lnTo>
                    <a:pt x="8930" y="2072"/>
                  </a:lnTo>
                  <a:lnTo>
                    <a:pt x="8930" y="3763"/>
                  </a:lnTo>
                  <a:lnTo>
                    <a:pt x="8930" y="5489"/>
                  </a:lnTo>
                  <a:lnTo>
                    <a:pt x="8930" y="7215"/>
                  </a:lnTo>
                  <a:lnTo>
                    <a:pt x="8930" y="8906"/>
                  </a:lnTo>
                  <a:lnTo>
                    <a:pt x="2049" y="8906"/>
                  </a:lnTo>
                  <a:lnTo>
                    <a:pt x="2049" y="7215"/>
                  </a:lnTo>
                  <a:lnTo>
                    <a:pt x="2049" y="5489"/>
                  </a:lnTo>
                  <a:lnTo>
                    <a:pt x="2049" y="3763"/>
                  </a:lnTo>
                  <a:lnTo>
                    <a:pt x="2049" y="2060"/>
                  </a:lnTo>
                  <a:lnTo>
                    <a:pt x="7752" y="2060"/>
                  </a:lnTo>
                  <a:cubicBezTo>
                    <a:pt x="7835" y="2060"/>
                    <a:pt x="7918" y="1988"/>
                    <a:pt x="7918" y="1893"/>
                  </a:cubicBezTo>
                  <a:cubicBezTo>
                    <a:pt x="7918" y="1810"/>
                    <a:pt x="7835" y="1738"/>
                    <a:pt x="7752" y="1738"/>
                  </a:cubicBezTo>
                  <a:lnTo>
                    <a:pt x="7383" y="1738"/>
                  </a:lnTo>
                  <a:lnTo>
                    <a:pt x="7383" y="810"/>
                  </a:lnTo>
                  <a:cubicBezTo>
                    <a:pt x="7526" y="750"/>
                    <a:pt x="7645" y="595"/>
                    <a:pt x="7645" y="417"/>
                  </a:cubicBezTo>
                  <a:cubicBezTo>
                    <a:pt x="7645" y="179"/>
                    <a:pt x="7454" y="0"/>
                    <a:pt x="7228" y="0"/>
                  </a:cubicBezTo>
                  <a:cubicBezTo>
                    <a:pt x="6990" y="0"/>
                    <a:pt x="6811" y="203"/>
                    <a:pt x="6811" y="417"/>
                  </a:cubicBezTo>
                  <a:cubicBezTo>
                    <a:pt x="6811" y="595"/>
                    <a:pt x="6918" y="750"/>
                    <a:pt x="7085" y="810"/>
                  </a:cubicBezTo>
                  <a:lnTo>
                    <a:pt x="7085" y="1738"/>
                  </a:lnTo>
                  <a:lnTo>
                    <a:pt x="5668" y="1738"/>
                  </a:lnTo>
                  <a:lnTo>
                    <a:pt x="5668" y="810"/>
                  </a:lnTo>
                  <a:cubicBezTo>
                    <a:pt x="5811" y="750"/>
                    <a:pt x="5930" y="595"/>
                    <a:pt x="5930" y="417"/>
                  </a:cubicBezTo>
                  <a:cubicBezTo>
                    <a:pt x="5930" y="179"/>
                    <a:pt x="5740" y="0"/>
                    <a:pt x="5513" y="0"/>
                  </a:cubicBezTo>
                  <a:cubicBezTo>
                    <a:pt x="5275" y="0"/>
                    <a:pt x="5097" y="203"/>
                    <a:pt x="5097" y="417"/>
                  </a:cubicBezTo>
                  <a:cubicBezTo>
                    <a:pt x="5097" y="595"/>
                    <a:pt x="5204" y="750"/>
                    <a:pt x="5371" y="810"/>
                  </a:cubicBezTo>
                  <a:lnTo>
                    <a:pt x="5371" y="1738"/>
                  </a:lnTo>
                  <a:lnTo>
                    <a:pt x="3954" y="1738"/>
                  </a:lnTo>
                  <a:lnTo>
                    <a:pt x="3954" y="810"/>
                  </a:lnTo>
                  <a:cubicBezTo>
                    <a:pt x="4108" y="750"/>
                    <a:pt x="4216" y="595"/>
                    <a:pt x="4216" y="417"/>
                  </a:cubicBezTo>
                  <a:cubicBezTo>
                    <a:pt x="4216" y="179"/>
                    <a:pt x="4025" y="0"/>
                    <a:pt x="3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4" name="Google Shape;11694;p61"/>
            <p:cNvSpPr/>
            <p:nvPr/>
          </p:nvSpPr>
          <p:spPr>
            <a:xfrm>
              <a:off x="3599440" y="2956543"/>
              <a:ext cx="204494" cy="204843"/>
            </a:xfrm>
            <a:custGeom>
              <a:avLst/>
              <a:gdLst/>
              <a:ahLst/>
              <a:cxnLst/>
              <a:rect l="l" t="t" r="r" b="b"/>
              <a:pathLst>
                <a:path w="6455" h="6466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4644"/>
                  </a:lnTo>
                  <a:cubicBezTo>
                    <a:pt x="1" y="4739"/>
                    <a:pt x="72" y="4811"/>
                    <a:pt x="156" y="4811"/>
                  </a:cubicBezTo>
                  <a:cubicBezTo>
                    <a:pt x="251" y="4811"/>
                    <a:pt x="322" y="4739"/>
                    <a:pt x="322" y="4644"/>
                  </a:cubicBezTo>
                  <a:lnTo>
                    <a:pt x="322" y="334"/>
                  </a:lnTo>
                  <a:lnTo>
                    <a:pt x="6133" y="334"/>
                  </a:lnTo>
                  <a:lnTo>
                    <a:pt x="6133" y="6132"/>
                  </a:lnTo>
                  <a:lnTo>
                    <a:pt x="322" y="6132"/>
                  </a:lnTo>
                  <a:lnTo>
                    <a:pt x="322" y="5287"/>
                  </a:lnTo>
                  <a:cubicBezTo>
                    <a:pt x="322" y="5203"/>
                    <a:pt x="251" y="5120"/>
                    <a:pt x="156" y="5120"/>
                  </a:cubicBezTo>
                  <a:cubicBezTo>
                    <a:pt x="72" y="5120"/>
                    <a:pt x="1" y="5203"/>
                    <a:pt x="1" y="5287"/>
                  </a:cubicBezTo>
                  <a:lnTo>
                    <a:pt x="1" y="6299"/>
                  </a:lnTo>
                  <a:cubicBezTo>
                    <a:pt x="1" y="6394"/>
                    <a:pt x="72" y="6466"/>
                    <a:pt x="156" y="6466"/>
                  </a:cubicBezTo>
                  <a:lnTo>
                    <a:pt x="6287" y="6466"/>
                  </a:lnTo>
                  <a:cubicBezTo>
                    <a:pt x="6383" y="6466"/>
                    <a:pt x="6454" y="6394"/>
                    <a:pt x="6454" y="6299"/>
                  </a:cubicBezTo>
                  <a:lnTo>
                    <a:pt x="6454" y="167"/>
                  </a:lnTo>
                  <a:cubicBezTo>
                    <a:pt x="6442" y="84"/>
                    <a:pt x="6383" y="0"/>
                    <a:pt x="6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5" name="Google Shape;11695;p61"/>
            <p:cNvSpPr/>
            <p:nvPr/>
          </p:nvSpPr>
          <p:spPr>
            <a:xfrm>
              <a:off x="3661691" y="3018763"/>
              <a:ext cx="79992" cy="80372"/>
            </a:xfrm>
            <a:custGeom>
              <a:avLst/>
              <a:gdLst/>
              <a:ahLst/>
              <a:cxnLst/>
              <a:rect l="l" t="t" r="r" b="b"/>
              <a:pathLst>
                <a:path w="2525" h="2537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lnTo>
                    <a:pt x="1" y="2370"/>
                  </a:lnTo>
                  <a:cubicBezTo>
                    <a:pt x="1" y="2466"/>
                    <a:pt x="72" y="2537"/>
                    <a:pt x="155" y="2537"/>
                  </a:cubicBezTo>
                  <a:lnTo>
                    <a:pt x="1013" y="2537"/>
                  </a:lnTo>
                  <a:cubicBezTo>
                    <a:pt x="1096" y="2537"/>
                    <a:pt x="1167" y="2466"/>
                    <a:pt x="1167" y="2370"/>
                  </a:cubicBezTo>
                  <a:cubicBezTo>
                    <a:pt x="1167" y="2287"/>
                    <a:pt x="1096" y="2204"/>
                    <a:pt x="1013" y="2204"/>
                  </a:cubicBezTo>
                  <a:lnTo>
                    <a:pt x="322" y="2204"/>
                  </a:lnTo>
                  <a:lnTo>
                    <a:pt x="322" y="322"/>
                  </a:lnTo>
                  <a:lnTo>
                    <a:pt x="2215" y="322"/>
                  </a:lnTo>
                  <a:lnTo>
                    <a:pt x="2215" y="2204"/>
                  </a:lnTo>
                  <a:lnTo>
                    <a:pt x="1632" y="2204"/>
                  </a:lnTo>
                  <a:cubicBezTo>
                    <a:pt x="1548" y="2204"/>
                    <a:pt x="1465" y="2287"/>
                    <a:pt x="1465" y="2370"/>
                  </a:cubicBezTo>
                  <a:cubicBezTo>
                    <a:pt x="1465" y="2466"/>
                    <a:pt x="1548" y="2537"/>
                    <a:pt x="1632" y="2537"/>
                  </a:cubicBezTo>
                  <a:lnTo>
                    <a:pt x="2346" y="2537"/>
                  </a:lnTo>
                  <a:cubicBezTo>
                    <a:pt x="2441" y="2537"/>
                    <a:pt x="2513" y="2466"/>
                    <a:pt x="2513" y="2370"/>
                  </a:cubicBezTo>
                  <a:lnTo>
                    <a:pt x="2513" y="168"/>
                  </a:lnTo>
                  <a:cubicBezTo>
                    <a:pt x="2525" y="84"/>
                    <a:pt x="2453" y="1"/>
                    <a:pt x="2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6" name="Google Shape;11696;p61"/>
            <p:cNvSpPr/>
            <p:nvPr/>
          </p:nvSpPr>
          <p:spPr>
            <a:xfrm>
              <a:off x="3625101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7" name="Google Shape;11697;p61"/>
            <p:cNvSpPr/>
            <p:nvPr/>
          </p:nvSpPr>
          <p:spPr>
            <a:xfrm>
              <a:off x="3651522" y="2982552"/>
              <a:ext cx="18881" cy="18533"/>
            </a:xfrm>
            <a:custGeom>
              <a:avLst/>
              <a:gdLst/>
              <a:ahLst/>
              <a:cxnLst/>
              <a:rect l="l" t="t" r="r" b="b"/>
              <a:pathLst>
                <a:path w="596" h="585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83" y="584"/>
                    <a:pt x="167" y="584"/>
                  </a:cubicBezTo>
                  <a:lnTo>
                    <a:pt x="417" y="584"/>
                  </a:lnTo>
                  <a:cubicBezTo>
                    <a:pt x="512" y="584"/>
                    <a:pt x="583" y="513"/>
                    <a:pt x="583" y="418"/>
                  </a:cubicBezTo>
                  <a:lnTo>
                    <a:pt x="583" y="168"/>
                  </a:lnTo>
                  <a:cubicBezTo>
                    <a:pt x="595" y="72"/>
                    <a:pt x="524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8" name="Google Shape;11698;p61"/>
            <p:cNvSpPr/>
            <p:nvPr/>
          </p:nvSpPr>
          <p:spPr>
            <a:xfrm>
              <a:off x="3679052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00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9" name="Google Shape;11699;p61"/>
            <p:cNvSpPr/>
            <p:nvPr/>
          </p:nvSpPr>
          <p:spPr>
            <a:xfrm>
              <a:off x="3705822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0" name="Google Shape;11700;p61"/>
            <p:cNvSpPr/>
            <p:nvPr/>
          </p:nvSpPr>
          <p:spPr>
            <a:xfrm>
              <a:off x="3732591" y="2982552"/>
              <a:ext cx="18533" cy="18533"/>
            </a:xfrm>
            <a:custGeom>
              <a:avLst/>
              <a:gdLst/>
              <a:ahLst/>
              <a:cxnLst/>
              <a:rect l="l" t="t" r="r" b="b"/>
              <a:pathLst>
                <a:path w="585" h="58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72" y="584"/>
                    <a:pt x="168" y="584"/>
                  </a:cubicBezTo>
                  <a:lnTo>
                    <a:pt x="418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1" name="Google Shape;11701;p61"/>
            <p:cNvSpPr/>
            <p:nvPr/>
          </p:nvSpPr>
          <p:spPr>
            <a:xfrm>
              <a:off x="3759773" y="2982552"/>
              <a:ext cx="18121" cy="18533"/>
            </a:xfrm>
            <a:custGeom>
              <a:avLst/>
              <a:gdLst/>
              <a:ahLst/>
              <a:cxnLst/>
              <a:rect l="l" t="t" r="r" b="b"/>
              <a:pathLst>
                <a:path w="572" h="58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3"/>
                    <a:pt x="572" y="418"/>
                  </a:cubicBezTo>
                  <a:lnTo>
                    <a:pt x="572" y="168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2" name="Google Shape;11702;p61"/>
            <p:cNvSpPr/>
            <p:nvPr/>
          </p:nvSpPr>
          <p:spPr>
            <a:xfrm>
              <a:off x="3625101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3" name="Google Shape;11703;p61"/>
            <p:cNvSpPr/>
            <p:nvPr/>
          </p:nvSpPr>
          <p:spPr>
            <a:xfrm>
              <a:off x="3651522" y="3116844"/>
              <a:ext cx="18881" cy="18501"/>
            </a:xfrm>
            <a:custGeom>
              <a:avLst/>
              <a:gdLst/>
              <a:ahLst/>
              <a:cxnLst/>
              <a:rect l="l" t="t" r="r" b="b"/>
              <a:pathLst>
                <a:path w="596" h="584" extrusionOk="0"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83" y="584"/>
                    <a:pt x="167" y="584"/>
                  </a:cubicBezTo>
                  <a:lnTo>
                    <a:pt x="417" y="584"/>
                  </a:lnTo>
                  <a:cubicBezTo>
                    <a:pt x="512" y="584"/>
                    <a:pt x="583" y="513"/>
                    <a:pt x="583" y="417"/>
                  </a:cubicBezTo>
                  <a:lnTo>
                    <a:pt x="583" y="167"/>
                  </a:lnTo>
                  <a:cubicBezTo>
                    <a:pt x="595" y="84"/>
                    <a:pt x="524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4" name="Google Shape;11704;p61"/>
            <p:cNvSpPr/>
            <p:nvPr/>
          </p:nvSpPr>
          <p:spPr>
            <a:xfrm>
              <a:off x="3679052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00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5" name="Google Shape;11705;p61"/>
            <p:cNvSpPr/>
            <p:nvPr/>
          </p:nvSpPr>
          <p:spPr>
            <a:xfrm>
              <a:off x="3705822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6" name="Google Shape;11706;p61"/>
            <p:cNvSpPr/>
            <p:nvPr/>
          </p:nvSpPr>
          <p:spPr>
            <a:xfrm>
              <a:off x="3732591" y="3116844"/>
              <a:ext cx="18533" cy="18501"/>
            </a:xfrm>
            <a:custGeom>
              <a:avLst/>
              <a:gdLst/>
              <a:ahLst/>
              <a:cxnLst/>
              <a:rect l="l" t="t" r="r" b="b"/>
              <a:pathLst>
                <a:path w="585" h="58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72" y="584"/>
                    <a:pt x="168" y="584"/>
                  </a:cubicBezTo>
                  <a:lnTo>
                    <a:pt x="418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7" name="Google Shape;11707;p61"/>
            <p:cNvSpPr/>
            <p:nvPr/>
          </p:nvSpPr>
          <p:spPr>
            <a:xfrm>
              <a:off x="3759773" y="311684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3"/>
                    <a:pt x="572" y="417"/>
                  </a:cubicBezTo>
                  <a:lnTo>
                    <a:pt x="572" y="167"/>
                  </a:lnTo>
                  <a:cubicBezTo>
                    <a:pt x="572" y="84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8" name="Google Shape;11708;p61"/>
            <p:cNvSpPr/>
            <p:nvPr/>
          </p:nvSpPr>
          <p:spPr>
            <a:xfrm>
              <a:off x="3625101" y="300935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2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2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9" name="Google Shape;11709;p61"/>
            <p:cNvSpPr/>
            <p:nvPr/>
          </p:nvSpPr>
          <p:spPr>
            <a:xfrm>
              <a:off x="3625101" y="3036503"/>
              <a:ext cx="18501" cy="18153"/>
            </a:xfrm>
            <a:custGeom>
              <a:avLst/>
              <a:gdLst/>
              <a:ahLst/>
              <a:cxnLst/>
              <a:rect l="l" t="t" r="r" b="b"/>
              <a:pathLst>
                <a:path w="584" h="573" extrusionOk="0">
                  <a:moveTo>
                    <a:pt x="167" y="1"/>
                  </a:moveTo>
                  <a:cubicBezTo>
                    <a:pt x="84" y="1"/>
                    <a:pt x="1" y="72"/>
                    <a:pt x="1" y="155"/>
                  </a:cubicBezTo>
                  <a:lnTo>
                    <a:pt x="1" y="417"/>
                  </a:lnTo>
                  <a:cubicBezTo>
                    <a:pt x="1" y="501"/>
                    <a:pt x="84" y="572"/>
                    <a:pt x="167" y="572"/>
                  </a:cubicBezTo>
                  <a:lnTo>
                    <a:pt x="417" y="572"/>
                  </a:lnTo>
                  <a:cubicBezTo>
                    <a:pt x="513" y="572"/>
                    <a:pt x="584" y="501"/>
                    <a:pt x="584" y="417"/>
                  </a:cubicBezTo>
                  <a:lnTo>
                    <a:pt x="584" y="155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0" name="Google Shape;11710;p61"/>
            <p:cNvSpPr/>
            <p:nvPr/>
          </p:nvSpPr>
          <p:spPr>
            <a:xfrm>
              <a:off x="3625101" y="3063273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01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01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1" name="Google Shape;11711;p61"/>
            <p:cNvSpPr/>
            <p:nvPr/>
          </p:nvSpPr>
          <p:spPr>
            <a:xfrm>
              <a:off x="3625101" y="309007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417"/>
                  </a:lnTo>
                  <a:cubicBezTo>
                    <a:pt x="1" y="512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2"/>
                    <a:pt x="584" y="417"/>
                  </a:cubicBezTo>
                  <a:lnTo>
                    <a:pt x="584" y="167"/>
                  </a:lnTo>
                  <a:cubicBezTo>
                    <a:pt x="584" y="72"/>
                    <a:pt x="51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2" name="Google Shape;11712;p61"/>
            <p:cNvSpPr/>
            <p:nvPr/>
          </p:nvSpPr>
          <p:spPr>
            <a:xfrm>
              <a:off x="3759773" y="300935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2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2"/>
                    <a:pt x="572" y="417"/>
                  </a:cubicBezTo>
                  <a:lnTo>
                    <a:pt x="572" y="167"/>
                  </a:lnTo>
                  <a:cubicBezTo>
                    <a:pt x="572" y="84"/>
                    <a:pt x="500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3" name="Google Shape;11713;p61"/>
            <p:cNvSpPr/>
            <p:nvPr/>
          </p:nvSpPr>
          <p:spPr>
            <a:xfrm>
              <a:off x="3759773" y="3036503"/>
              <a:ext cx="18121" cy="18153"/>
            </a:xfrm>
            <a:custGeom>
              <a:avLst/>
              <a:gdLst/>
              <a:ahLst/>
              <a:cxnLst/>
              <a:rect l="l" t="t" r="r" b="b"/>
              <a:pathLst>
                <a:path w="572" h="573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417"/>
                  </a:lnTo>
                  <a:cubicBezTo>
                    <a:pt x="0" y="501"/>
                    <a:pt x="72" y="572"/>
                    <a:pt x="155" y="572"/>
                  </a:cubicBezTo>
                  <a:lnTo>
                    <a:pt x="417" y="572"/>
                  </a:lnTo>
                  <a:cubicBezTo>
                    <a:pt x="500" y="572"/>
                    <a:pt x="572" y="501"/>
                    <a:pt x="572" y="417"/>
                  </a:cubicBezTo>
                  <a:lnTo>
                    <a:pt x="572" y="155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4" name="Google Shape;11714;p61"/>
            <p:cNvSpPr/>
            <p:nvPr/>
          </p:nvSpPr>
          <p:spPr>
            <a:xfrm>
              <a:off x="3759773" y="3063273"/>
              <a:ext cx="18121" cy="18533"/>
            </a:xfrm>
            <a:custGeom>
              <a:avLst/>
              <a:gdLst/>
              <a:ahLst/>
              <a:cxnLst/>
              <a:rect l="l" t="t" r="r" b="b"/>
              <a:pathLst>
                <a:path w="572" h="58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01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01"/>
                    <a:pt x="572" y="418"/>
                  </a:cubicBezTo>
                  <a:lnTo>
                    <a:pt x="572" y="168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5" name="Google Shape;11715;p61"/>
            <p:cNvSpPr/>
            <p:nvPr/>
          </p:nvSpPr>
          <p:spPr>
            <a:xfrm>
              <a:off x="3759773" y="309007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417"/>
                  </a:lnTo>
                  <a:cubicBezTo>
                    <a:pt x="0" y="512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2"/>
                    <a:pt x="572" y="417"/>
                  </a:cubicBezTo>
                  <a:lnTo>
                    <a:pt x="572" y="167"/>
                  </a:lnTo>
                  <a:cubicBezTo>
                    <a:pt x="572" y="72"/>
                    <a:pt x="500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16" name="Google Shape;11716;p61"/>
          <p:cNvGrpSpPr/>
          <p:nvPr/>
        </p:nvGrpSpPr>
        <p:grpSpPr>
          <a:xfrm>
            <a:off x="2239671" y="2884503"/>
            <a:ext cx="218053" cy="348543"/>
            <a:chOff x="2239671" y="2884503"/>
            <a:chExt cx="218053" cy="348543"/>
          </a:xfrm>
        </p:grpSpPr>
        <p:sp>
          <p:nvSpPr>
            <p:cNvPr id="11717" name="Google Shape;11717;p61"/>
            <p:cNvSpPr/>
            <p:nvPr/>
          </p:nvSpPr>
          <p:spPr>
            <a:xfrm>
              <a:off x="2341903" y="2884503"/>
              <a:ext cx="115822" cy="268963"/>
            </a:xfrm>
            <a:custGeom>
              <a:avLst/>
              <a:gdLst/>
              <a:ahLst/>
              <a:cxnLst/>
              <a:rect l="l" t="t" r="r" b="b"/>
              <a:pathLst>
                <a:path w="3656" h="8490" extrusionOk="0">
                  <a:moveTo>
                    <a:pt x="3144" y="2143"/>
                  </a:moveTo>
                  <a:lnTo>
                    <a:pt x="3144" y="2655"/>
                  </a:lnTo>
                  <a:lnTo>
                    <a:pt x="489" y="2655"/>
                  </a:lnTo>
                  <a:lnTo>
                    <a:pt x="489" y="2143"/>
                  </a:lnTo>
                  <a:close/>
                  <a:moveTo>
                    <a:pt x="1679" y="4882"/>
                  </a:moveTo>
                  <a:cubicBezTo>
                    <a:pt x="1810" y="4882"/>
                    <a:pt x="1917" y="4989"/>
                    <a:pt x="1917" y="5120"/>
                  </a:cubicBezTo>
                  <a:lnTo>
                    <a:pt x="1917" y="5692"/>
                  </a:lnTo>
                  <a:lnTo>
                    <a:pt x="560" y="5692"/>
                  </a:lnTo>
                  <a:cubicBezTo>
                    <a:pt x="429" y="5692"/>
                    <a:pt x="322" y="5584"/>
                    <a:pt x="322" y="5453"/>
                  </a:cubicBezTo>
                  <a:lnTo>
                    <a:pt x="322" y="5120"/>
                  </a:lnTo>
                  <a:lnTo>
                    <a:pt x="298" y="5120"/>
                  </a:lnTo>
                  <a:cubicBezTo>
                    <a:pt x="298" y="4989"/>
                    <a:pt x="405" y="4882"/>
                    <a:pt x="536" y="4882"/>
                  </a:cubicBezTo>
                  <a:close/>
                  <a:moveTo>
                    <a:pt x="1667" y="6013"/>
                  </a:moveTo>
                  <a:lnTo>
                    <a:pt x="1667" y="6787"/>
                  </a:lnTo>
                  <a:lnTo>
                    <a:pt x="1656" y="6787"/>
                  </a:lnTo>
                  <a:cubicBezTo>
                    <a:pt x="1656" y="6942"/>
                    <a:pt x="1536" y="7037"/>
                    <a:pt x="1394" y="7037"/>
                  </a:cubicBezTo>
                  <a:cubicBezTo>
                    <a:pt x="1322" y="7037"/>
                    <a:pt x="1263" y="7013"/>
                    <a:pt x="1215" y="6965"/>
                  </a:cubicBezTo>
                  <a:cubicBezTo>
                    <a:pt x="1179" y="6918"/>
                    <a:pt x="1144" y="6846"/>
                    <a:pt x="1144" y="6787"/>
                  </a:cubicBezTo>
                  <a:lnTo>
                    <a:pt x="1144" y="6501"/>
                  </a:lnTo>
                  <a:lnTo>
                    <a:pt x="1144" y="6013"/>
                  </a:lnTo>
                  <a:close/>
                  <a:moveTo>
                    <a:pt x="3096" y="5870"/>
                  </a:moveTo>
                  <a:cubicBezTo>
                    <a:pt x="3215" y="5870"/>
                    <a:pt x="3322" y="5965"/>
                    <a:pt x="3322" y="6084"/>
                  </a:cubicBezTo>
                  <a:lnTo>
                    <a:pt x="3322" y="6823"/>
                  </a:lnTo>
                  <a:cubicBezTo>
                    <a:pt x="3322" y="6942"/>
                    <a:pt x="3215" y="7037"/>
                    <a:pt x="3096" y="7037"/>
                  </a:cubicBezTo>
                  <a:lnTo>
                    <a:pt x="3037" y="7037"/>
                  </a:lnTo>
                  <a:cubicBezTo>
                    <a:pt x="2918" y="7037"/>
                    <a:pt x="2810" y="6942"/>
                    <a:pt x="2810" y="6823"/>
                  </a:cubicBezTo>
                  <a:lnTo>
                    <a:pt x="2810" y="6084"/>
                  </a:lnTo>
                  <a:cubicBezTo>
                    <a:pt x="2810" y="5965"/>
                    <a:pt x="2918" y="5870"/>
                    <a:pt x="3037" y="5870"/>
                  </a:cubicBezTo>
                  <a:close/>
                  <a:moveTo>
                    <a:pt x="2251" y="5692"/>
                  </a:moveTo>
                  <a:cubicBezTo>
                    <a:pt x="2382" y="5692"/>
                    <a:pt x="2501" y="5787"/>
                    <a:pt x="2501" y="5942"/>
                  </a:cubicBezTo>
                  <a:lnTo>
                    <a:pt x="2501" y="6799"/>
                  </a:lnTo>
                  <a:cubicBezTo>
                    <a:pt x="2501" y="6942"/>
                    <a:pt x="2394" y="7061"/>
                    <a:pt x="2251" y="7061"/>
                  </a:cubicBezTo>
                  <a:lnTo>
                    <a:pt x="2215" y="7061"/>
                  </a:lnTo>
                  <a:cubicBezTo>
                    <a:pt x="2084" y="7037"/>
                    <a:pt x="1977" y="6942"/>
                    <a:pt x="1977" y="6787"/>
                  </a:cubicBezTo>
                  <a:lnTo>
                    <a:pt x="1977" y="6013"/>
                  </a:lnTo>
                  <a:lnTo>
                    <a:pt x="2084" y="6013"/>
                  </a:lnTo>
                  <a:cubicBezTo>
                    <a:pt x="2167" y="6013"/>
                    <a:pt x="2251" y="5942"/>
                    <a:pt x="2251" y="5846"/>
                  </a:cubicBezTo>
                  <a:lnTo>
                    <a:pt x="2251" y="5692"/>
                  </a:lnTo>
                  <a:close/>
                  <a:moveTo>
                    <a:pt x="310" y="5953"/>
                  </a:moveTo>
                  <a:cubicBezTo>
                    <a:pt x="370" y="6001"/>
                    <a:pt x="441" y="6013"/>
                    <a:pt x="536" y="6013"/>
                  </a:cubicBezTo>
                  <a:lnTo>
                    <a:pt x="822" y="6013"/>
                  </a:lnTo>
                  <a:lnTo>
                    <a:pt x="822" y="6489"/>
                  </a:lnTo>
                  <a:lnTo>
                    <a:pt x="822" y="6775"/>
                  </a:lnTo>
                  <a:lnTo>
                    <a:pt x="822" y="7894"/>
                  </a:lnTo>
                  <a:cubicBezTo>
                    <a:pt x="822" y="7966"/>
                    <a:pt x="786" y="8025"/>
                    <a:pt x="739" y="8073"/>
                  </a:cubicBezTo>
                  <a:cubicBezTo>
                    <a:pt x="691" y="8108"/>
                    <a:pt x="620" y="8144"/>
                    <a:pt x="560" y="8144"/>
                  </a:cubicBezTo>
                  <a:cubicBezTo>
                    <a:pt x="417" y="8144"/>
                    <a:pt x="310" y="8025"/>
                    <a:pt x="310" y="7894"/>
                  </a:cubicBezTo>
                  <a:lnTo>
                    <a:pt x="310" y="5953"/>
                  </a:lnTo>
                  <a:close/>
                  <a:moveTo>
                    <a:pt x="346" y="0"/>
                  </a:moveTo>
                  <a:cubicBezTo>
                    <a:pt x="251" y="0"/>
                    <a:pt x="179" y="72"/>
                    <a:pt x="179" y="167"/>
                  </a:cubicBezTo>
                  <a:lnTo>
                    <a:pt x="179" y="762"/>
                  </a:lnTo>
                  <a:cubicBezTo>
                    <a:pt x="179" y="846"/>
                    <a:pt x="251" y="929"/>
                    <a:pt x="346" y="929"/>
                  </a:cubicBezTo>
                  <a:cubicBezTo>
                    <a:pt x="429" y="929"/>
                    <a:pt x="501" y="846"/>
                    <a:pt x="501" y="762"/>
                  </a:cubicBezTo>
                  <a:lnTo>
                    <a:pt x="501" y="334"/>
                  </a:lnTo>
                  <a:lnTo>
                    <a:pt x="3156" y="334"/>
                  </a:lnTo>
                  <a:lnTo>
                    <a:pt x="3156" y="1834"/>
                  </a:lnTo>
                  <a:lnTo>
                    <a:pt x="501" y="1834"/>
                  </a:lnTo>
                  <a:lnTo>
                    <a:pt x="501" y="1405"/>
                  </a:lnTo>
                  <a:cubicBezTo>
                    <a:pt x="501" y="1310"/>
                    <a:pt x="429" y="1239"/>
                    <a:pt x="346" y="1239"/>
                  </a:cubicBezTo>
                  <a:cubicBezTo>
                    <a:pt x="251" y="1239"/>
                    <a:pt x="179" y="1310"/>
                    <a:pt x="179" y="1405"/>
                  </a:cubicBezTo>
                  <a:lnTo>
                    <a:pt x="179" y="2155"/>
                  </a:lnTo>
                  <a:lnTo>
                    <a:pt x="179" y="2834"/>
                  </a:lnTo>
                  <a:cubicBezTo>
                    <a:pt x="179" y="2917"/>
                    <a:pt x="251" y="2989"/>
                    <a:pt x="346" y="2989"/>
                  </a:cubicBezTo>
                  <a:lnTo>
                    <a:pt x="548" y="2989"/>
                  </a:lnTo>
                  <a:lnTo>
                    <a:pt x="548" y="3489"/>
                  </a:lnTo>
                  <a:cubicBezTo>
                    <a:pt x="239" y="3560"/>
                    <a:pt x="1" y="3810"/>
                    <a:pt x="1" y="4120"/>
                  </a:cubicBezTo>
                  <a:lnTo>
                    <a:pt x="1" y="7906"/>
                  </a:lnTo>
                  <a:cubicBezTo>
                    <a:pt x="1" y="8228"/>
                    <a:pt x="262" y="8489"/>
                    <a:pt x="584" y="8489"/>
                  </a:cubicBezTo>
                  <a:cubicBezTo>
                    <a:pt x="727" y="8489"/>
                    <a:pt x="882" y="8430"/>
                    <a:pt x="1001" y="8323"/>
                  </a:cubicBezTo>
                  <a:cubicBezTo>
                    <a:pt x="1096" y="8216"/>
                    <a:pt x="1155" y="8073"/>
                    <a:pt x="1155" y="7906"/>
                  </a:cubicBezTo>
                  <a:lnTo>
                    <a:pt x="1155" y="7311"/>
                  </a:lnTo>
                  <a:cubicBezTo>
                    <a:pt x="1239" y="7358"/>
                    <a:pt x="1322" y="7370"/>
                    <a:pt x="1417" y="7370"/>
                  </a:cubicBezTo>
                  <a:cubicBezTo>
                    <a:pt x="1572" y="7370"/>
                    <a:pt x="1727" y="7299"/>
                    <a:pt x="1834" y="7192"/>
                  </a:cubicBezTo>
                  <a:cubicBezTo>
                    <a:pt x="1929" y="7299"/>
                    <a:pt x="2084" y="7370"/>
                    <a:pt x="2251" y="7370"/>
                  </a:cubicBezTo>
                  <a:lnTo>
                    <a:pt x="2263" y="7370"/>
                  </a:lnTo>
                  <a:cubicBezTo>
                    <a:pt x="2429" y="7370"/>
                    <a:pt x="2560" y="7311"/>
                    <a:pt x="2668" y="7204"/>
                  </a:cubicBezTo>
                  <a:cubicBezTo>
                    <a:pt x="2763" y="7311"/>
                    <a:pt x="2906" y="7370"/>
                    <a:pt x="3049" y="7370"/>
                  </a:cubicBezTo>
                  <a:lnTo>
                    <a:pt x="3108" y="7370"/>
                  </a:lnTo>
                  <a:cubicBezTo>
                    <a:pt x="3406" y="7370"/>
                    <a:pt x="3656" y="7120"/>
                    <a:pt x="3656" y="6823"/>
                  </a:cubicBezTo>
                  <a:lnTo>
                    <a:pt x="3656" y="6489"/>
                  </a:lnTo>
                  <a:lnTo>
                    <a:pt x="3656" y="5132"/>
                  </a:lnTo>
                  <a:cubicBezTo>
                    <a:pt x="3656" y="5049"/>
                    <a:pt x="3584" y="4965"/>
                    <a:pt x="3501" y="4965"/>
                  </a:cubicBezTo>
                  <a:cubicBezTo>
                    <a:pt x="3406" y="4965"/>
                    <a:pt x="3334" y="5049"/>
                    <a:pt x="3334" y="5132"/>
                  </a:cubicBezTo>
                  <a:lnTo>
                    <a:pt x="3334" y="5584"/>
                  </a:lnTo>
                  <a:cubicBezTo>
                    <a:pt x="3263" y="5549"/>
                    <a:pt x="3180" y="5537"/>
                    <a:pt x="3108" y="5537"/>
                  </a:cubicBezTo>
                  <a:lnTo>
                    <a:pt x="3049" y="5537"/>
                  </a:lnTo>
                  <a:cubicBezTo>
                    <a:pt x="2929" y="5537"/>
                    <a:pt x="2822" y="5572"/>
                    <a:pt x="2739" y="5632"/>
                  </a:cubicBezTo>
                  <a:cubicBezTo>
                    <a:pt x="2632" y="5465"/>
                    <a:pt x="2453" y="5358"/>
                    <a:pt x="2251" y="5358"/>
                  </a:cubicBezTo>
                  <a:lnTo>
                    <a:pt x="2251" y="5120"/>
                  </a:lnTo>
                  <a:cubicBezTo>
                    <a:pt x="2251" y="4810"/>
                    <a:pt x="1989" y="4560"/>
                    <a:pt x="1679" y="4560"/>
                  </a:cubicBezTo>
                  <a:lnTo>
                    <a:pt x="536" y="4560"/>
                  </a:lnTo>
                  <a:cubicBezTo>
                    <a:pt x="441" y="4560"/>
                    <a:pt x="370" y="4572"/>
                    <a:pt x="298" y="4620"/>
                  </a:cubicBezTo>
                  <a:lnTo>
                    <a:pt x="298" y="4120"/>
                  </a:lnTo>
                  <a:cubicBezTo>
                    <a:pt x="298" y="3941"/>
                    <a:pt x="477" y="3787"/>
                    <a:pt x="679" y="3787"/>
                  </a:cubicBezTo>
                  <a:cubicBezTo>
                    <a:pt x="774" y="3787"/>
                    <a:pt x="846" y="3703"/>
                    <a:pt x="846" y="3620"/>
                  </a:cubicBezTo>
                  <a:lnTo>
                    <a:pt x="846" y="2977"/>
                  </a:lnTo>
                  <a:lnTo>
                    <a:pt x="2787" y="2977"/>
                  </a:lnTo>
                  <a:lnTo>
                    <a:pt x="2787" y="3620"/>
                  </a:lnTo>
                  <a:cubicBezTo>
                    <a:pt x="2787" y="3703"/>
                    <a:pt x="2858" y="3787"/>
                    <a:pt x="2941" y="3787"/>
                  </a:cubicBezTo>
                  <a:cubicBezTo>
                    <a:pt x="3168" y="3787"/>
                    <a:pt x="3334" y="3929"/>
                    <a:pt x="3334" y="4120"/>
                  </a:cubicBezTo>
                  <a:lnTo>
                    <a:pt x="3334" y="4513"/>
                  </a:lnTo>
                  <a:cubicBezTo>
                    <a:pt x="3334" y="4596"/>
                    <a:pt x="3406" y="4679"/>
                    <a:pt x="3501" y="4679"/>
                  </a:cubicBezTo>
                  <a:cubicBezTo>
                    <a:pt x="3584" y="4679"/>
                    <a:pt x="3656" y="4596"/>
                    <a:pt x="3656" y="4513"/>
                  </a:cubicBezTo>
                  <a:lnTo>
                    <a:pt x="3656" y="4120"/>
                  </a:lnTo>
                  <a:cubicBezTo>
                    <a:pt x="3656" y="3810"/>
                    <a:pt x="3418" y="3548"/>
                    <a:pt x="3108" y="3489"/>
                  </a:cubicBezTo>
                  <a:lnTo>
                    <a:pt x="3108" y="2989"/>
                  </a:lnTo>
                  <a:lnTo>
                    <a:pt x="3322" y="2989"/>
                  </a:lnTo>
                  <a:cubicBezTo>
                    <a:pt x="3406" y="2989"/>
                    <a:pt x="3477" y="2917"/>
                    <a:pt x="3477" y="2834"/>
                  </a:cubicBezTo>
                  <a:lnTo>
                    <a:pt x="3477" y="2143"/>
                  </a:lnTo>
                  <a:lnTo>
                    <a:pt x="3477" y="2001"/>
                  </a:lnTo>
                  <a:lnTo>
                    <a:pt x="3477" y="167"/>
                  </a:lnTo>
                  <a:cubicBezTo>
                    <a:pt x="3477" y="72"/>
                    <a:pt x="3406" y="0"/>
                    <a:pt x="3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8" name="Google Shape;11718;p61"/>
            <p:cNvSpPr/>
            <p:nvPr/>
          </p:nvSpPr>
          <p:spPr>
            <a:xfrm>
              <a:off x="2275881" y="3157965"/>
              <a:ext cx="168284" cy="75082"/>
            </a:xfrm>
            <a:custGeom>
              <a:avLst/>
              <a:gdLst/>
              <a:ahLst/>
              <a:cxnLst/>
              <a:rect l="l" t="t" r="r" b="b"/>
              <a:pathLst>
                <a:path w="5312" h="2370" extrusionOk="0">
                  <a:moveTo>
                    <a:pt x="2668" y="322"/>
                  </a:moveTo>
                  <a:cubicBezTo>
                    <a:pt x="3085" y="322"/>
                    <a:pt x="3466" y="369"/>
                    <a:pt x="3775" y="429"/>
                  </a:cubicBezTo>
                  <a:cubicBezTo>
                    <a:pt x="4073" y="489"/>
                    <a:pt x="4192" y="560"/>
                    <a:pt x="4240" y="608"/>
                  </a:cubicBezTo>
                  <a:cubicBezTo>
                    <a:pt x="4192" y="655"/>
                    <a:pt x="4061" y="727"/>
                    <a:pt x="3775" y="786"/>
                  </a:cubicBezTo>
                  <a:cubicBezTo>
                    <a:pt x="3466" y="870"/>
                    <a:pt x="3085" y="893"/>
                    <a:pt x="2668" y="893"/>
                  </a:cubicBezTo>
                  <a:cubicBezTo>
                    <a:pt x="2251" y="893"/>
                    <a:pt x="1858" y="846"/>
                    <a:pt x="1549" y="786"/>
                  </a:cubicBezTo>
                  <a:cubicBezTo>
                    <a:pt x="1251" y="727"/>
                    <a:pt x="1132" y="655"/>
                    <a:pt x="1084" y="608"/>
                  </a:cubicBezTo>
                  <a:cubicBezTo>
                    <a:pt x="1132" y="584"/>
                    <a:pt x="1251" y="500"/>
                    <a:pt x="1549" y="429"/>
                  </a:cubicBezTo>
                  <a:cubicBezTo>
                    <a:pt x="1858" y="358"/>
                    <a:pt x="2251" y="322"/>
                    <a:pt x="2668" y="322"/>
                  </a:cubicBezTo>
                  <a:close/>
                  <a:moveTo>
                    <a:pt x="2668" y="0"/>
                  </a:moveTo>
                  <a:cubicBezTo>
                    <a:pt x="2466" y="0"/>
                    <a:pt x="846" y="12"/>
                    <a:pt x="763" y="572"/>
                  </a:cubicBezTo>
                  <a:lnTo>
                    <a:pt x="25" y="2143"/>
                  </a:lnTo>
                  <a:cubicBezTo>
                    <a:pt x="1" y="2191"/>
                    <a:pt x="13" y="2251"/>
                    <a:pt x="49" y="2298"/>
                  </a:cubicBezTo>
                  <a:cubicBezTo>
                    <a:pt x="72" y="2334"/>
                    <a:pt x="120" y="2370"/>
                    <a:pt x="180" y="2370"/>
                  </a:cubicBezTo>
                  <a:lnTo>
                    <a:pt x="2644" y="2370"/>
                  </a:lnTo>
                  <a:cubicBezTo>
                    <a:pt x="2739" y="2370"/>
                    <a:pt x="2811" y="2298"/>
                    <a:pt x="2811" y="2203"/>
                  </a:cubicBezTo>
                  <a:cubicBezTo>
                    <a:pt x="2811" y="2120"/>
                    <a:pt x="2739" y="2036"/>
                    <a:pt x="2644" y="2036"/>
                  </a:cubicBezTo>
                  <a:lnTo>
                    <a:pt x="430" y="2036"/>
                  </a:lnTo>
                  <a:lnTo>
                    <a:pt x="965" y="905"/>
                  </a:lnTo>
                  <a:cubicBezTo>
                    <a:pt x="1430" y="1203"/>
                    <a:pt x="2513" y="1227"/>
                    <a:pt x="2680" y="1227"/>
                  </a:cubicBezTo>
                  <a:cubicBezTo>
                    <a:pt x="2847" y="1227"/>
                    <a:pt x="3930" y="1203"/>
                    <a:pt x="4394" y="905"/>
                  </a:cubicBezTo>
                  <a:lnTo>
                    <a:pt x="4930" y="2036"/>
                  </a:lnTo>
                  <a:lnTo>
                    <a:pt x="3287" y="2036"/>
                  </a:lnTo>
                  <a:cubicBezTo>
                    <a:pt x="3204" y="2036"/>
                    <a:pt x="3120" y="2120"/>
                    <a:pt x="3120" y="2203"/>
                  </a:cubicBezTo>
                  <a:cubicBezTo>
                    <a:pt x="3120" y="2298"/>
                    <a:pt x="3204" y="2370"/>
                    <a:pt x="3287" y="2370"/>
                  </a:cubicBezTo>
                  <a:lnTo>
                    <a:pt x="5180" y="2370"/>
                  </a:lnTo>
                  <a:cubicBezTo>
                    <a:pt x="5240" y="2370"/>
                    <a:pt x="5287" y="2334"/>
                    <a:pt x="5311" y="2298"/>
                  </a:cubicBezTo>
                  <a:cubicBezTo>
                    <a:pt x="5311" y="2263"/>
                    <a:pt x="5311" y="2203"/>
                    <a:pt x="5299" y="2143"/>
                  </a:cubicBezTo>
                  <a:lnTo>
                    <a:pt x="4573" y="572"/>
                  </a:lnTo>
                  <a:cubicBezTo>
                    <a:pt x="4490" y="12"/>
                    <a:pt x="2858" y="0"/>
                    <a:pt x="2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9" name="Google Shape;11719;p61"/>
            <p:cNvSpPr/>
            <p:nvPr/>
          </p:nvSpPr>
          <p:spPr>
            <a:xfrm>
              <a:off x="2320012" y="3098755"/>
              <a:ext cx="10613" cy="54711"/>
            </a:xfrm>
            <a:custGeom>
              <a:avLst/>
              <a:gdLst/>
              <a:ahLst/>
              <a:cxnLst/>
              <a:rect l="l" t="t" r="r" b="b"/>
              <a:pathLst>
                <a:path w="335" h="1727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560"/>
                  </a:lnTo>
                  <a:cubicBezTo>
                    <a:pt x="1" y="1643"/>
                    <a:pt x="84" y="1726"/>
                    <a:pt x="168" y="1726"/>
                  </a:cubicBezTo>
                  <a:cubicBezTo>
                    <a:pt x="263" y="1726"/>
                    <a:pt x="334" y="1643"/>
                    <a:pt x="334" y="1560"/>
                  </a:cubicBezTo>
                  <a:lnTo>
                    <a:pt x="334" y="155"/>
                  </a:lnTo>
                  <a:cubicBezTo>
                    <a:pt x="322" y="72"/>
                    <a:pt x="239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0" name="Google Shape;11720;p61"/>
            <p:cNvSpPr/>
            <p:nvPr/>
          </p:nvSpPr>
          <p:spPr>
            <a:xfrm>
              <a:off x="2267961" y="3116939"/>
              <a:ext cx="42293" cy="41437"/>
            </a:xfrm>
            <a:custGeom>
              <a:avLst/>
              <a:gdLst/>
              <a:ahLst/>
              <a:cxnLst/>
              <a:rect l="l" t="t" r="r" b="b"/>
              <a:pathLst>
                <a:path w="1335" h="1308" extrusionOk="0">
                  <a:moveTo>
                    <a:pt x="168" y="1"/>
                  </a:moveTo>
                  <a:cubicBezTo>
                    <a:pt x="129" y="1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lnTo>
                    <a:pt x="1049" y="1272"/>
                  </a:lnTo>
                  <a:cubicBezTo>
                    <a:pt x="1084" y="1295"/>
                    <a:pt x="1132" y="1307"/>
                    <a:pt x="1168" y="1307"/>
                  </a:cubicBezTo>
                  <a:cubicBezTo>
                    <a:pt x="1215" y="1307"/>
                    <a:pt x="1263" y="1295"/>
                    <a:pt x="1287" y="1272"/>
                  </a:cubicBezTo>
                  <a:cubicBezTo>
                    <a:pt x="1334" y="1212"/>
                    <a:pt x="1334" y="1105"/>
                    <a:pt x="1275" y="1045"/>
                  </a:cubicBezTo>
                  <a:lnTo>
                    <a:pt x="275" y="45"/>
                  </a:lnTo>
                  <a:cubicBezTo>
                    <a:pt x="245" y="15"/>
                    <a:pt x="206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1" name="Google Shape;11721;p61"/>
            <p:cNvSpPr/>
            <p:nvPr/>
          </p:nvSpPr>
          <p:spPr>
            <a:xfrm>
              <a:off x="2239671" y="3166645"/>
              <a:ext cx="54743" cy="10201"/>
            </a:xfrm>
            <a:custGeom>
              <a:avLst/>
              <a:gdLst/>
              <a:ahLst/>
              <a:cxnLst/>
              <a:rect l="l" t="t" r="r" b="b"/>
              <a:pathLst>
                <a:path w="1728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1561" y="322"/>
                  </a:lnTo>
                  <a:cubicBezTo>
                    <a:pt x="1644" y="322"/>
                    <a:pt x="1727" y="250"/>
                    <a:pt x="1727" y="155"/>
                  </a:cubicBezTo>
                  <a:cubicBezTo>
                    <a:pt x="1727" y="72"/>
                    <a:pt x="1644" y="0"/>
                    <a:pt x="1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22" name="Google Shape;11722;p61"/>
          <p:cNvGrpSpPr/>
          <p:nvPr/>
        </p:nvGrpSpPr>
        <p:grpSpPr>
          <a:xfrm>
            <a:off x="2691555" y="2884503"/>
            <a:ext cx="215044" cy="348924"/>
            <a:chOff x="2691555" y="2884503"/>
            <a:chExt cx="215044" cy="348924"/>
          </a:xfrm>
        </p:grpSpPr>
        <p:sp>
          <p:nvSpPr>
            <p:cNvPr id="11723" name="Google Shape;11723;p61"/>
            <p:cNvSpPr/>
            <p:nvPr/>
          </p:nvSpPr>
          <p:spPr>
            <a:xfrm>
              <a:off x="2691555" y="2884503"/>
              <a:ext cx="215044" cy="348924"/>
            </a:xfrm>
            <a:custGeom>
              <a:avLst/>
              <a:gdLst/>
              <a:ahLst/>
              <a:cxnLst/>
              <a:rect l="l" t="t" r="r" b="b"/>
              <a:pathLst>
                <a:path w="6788" h="11014" extrusionOk="0">
                  <a:moveTo>
                    <a:pt x="632" y="4941"/>
                  </a:moveTo>
                  <a:lnTo>
                    <a:pt x="632" y="5394"/>
                  </a:lnTo>
                  <a:lnTo>
                    <a:pt x="441" y="5394"/>
                  </a:lnTo>
                  <a:lnTo>
                    <a:pt x="632" y="4941"/>
                  </a:lnTo>
                  <a:close/>
                  <a:moveTo>
                    <a:pt x="3703" y="0"/>
                  </a:moveTo>
                  <a:cubicBezTo>
                    <a:pt x="2013" y="0"/>
                    <a:pt x="632" y="1346"/>
                    <a:pt x="632" y="2989"/>
                  </a:cubicBezTo>
                  <a:lnTo>
                    <a:pt x="632" y="4179"/>
                  </a:lnTo>
                  <a:lnTo>
                    <a:pt x="36" y="5489"/>
                  </a:lnTo>
                  <a:cubicBezTo>
                    <a:pt x="1" y="5537"/>
                    <a:pt x="13" y="5596"/>
                    <a:pt x="48" y="5644"/>
                  </a:cubicBezTo>
                  <a:cubicBezTo>
                    <a:pt x="72" y="5692"/>
                    <a:pt x="120" y="5715"/>
                    <a:pt x="179" y="5715"/>
                  </a:cubicBezTo>
                  <a:lnTo>
                    <a:pt x="632" y="5715"/>
                  </a:lnTo>
                  <a:lnTo>
                    <a:pt x="632" y="6965"/>
                  </a:lnTo>
                  <a:cubicBezTo>
                    <a:pt x="632" y="7335"/>
                    <a:pt x="941" y="7656"/>
                    <a:pt x="1310" y="7656"/>
                  </a:cubicBezTo>
                  <a:lnTo>
                    <a:pt x="2156" y="7656"/>
                  </a:lnTo>
                  <a:lnTo>
                    <a:pt x="2156" y="8704"/>
                  </a:lnTo>
                  <a:lnTo>
                    <a:pt x="751" y="10775"/>
                  </a:lnTo>
                  <a:cubicBezTo>
                    <a:pt x="703" y="10835"/>
                    <a:pt x="703" y="10906"/>
                    <a:pt x="751" y="10954"/>
                  </a:cubicBezTo>
                  <a:cubicBezTo>
                    <a:pt x="775" y="11002"/>
                    <a:pt x="822" y="11014"/>
                    <a:pt x="882" y="11014"/>
                  </a:cubicBezTo>
                  <a:lnTo>
                    <a:pt x="929" y="11014"/>
                  </a:lnTo>
                  <a:lnTo>
                    <a:pt x="2394" y="10585"/>
                  </a:lnTo>
                  <a:cubicBezTo>
                    <a:pt x="2489" y="10549"/>
                    <a:pt x="2537" y="10466"/>
                    <a:pt x="2501" y="10394"/>
                  </a:cubicBezTo>
                  <a:cubicBezTo>
                    <a:pt x="2482" y="10328"/>
                    <a:pt x="2418" y="10277"/>
                    <a:pt x="2356" y="10277"/>
                  </a:cubicBezTo>
                  <a:cubicBezTo>
                    <a:pt x="2340" y="10277"/>
                    <a:pt x="2325" y="10280"/>
                    <a:pt x="2310" y="10287"/>
                  </a:cubicBezTo>
                  <a:lnTo>
                    <a:pt x="1263" y="10597"/>
                  </a:lnTo>
                  <a:lnTo>
                    <a:pt x="2441" y="8859"/>
                  </a:lnTo>
                  <a:cubicBezTo>
                    <a:pt x="2453" y="8823"/>
                    <a:pt x="2477" y="8799"/>
                    <a:pt x="2477" y="8763"/>
                  </a:cubicBezTo>
                  <a:lnTo>
                    <a:pt x="2477" y="7608"/>
                  </a:lnTo>
                  <a:lnTo>
                    <a:pt x="3453" y="7073"/>
                  </a:lnTo>
                  <a:cubicBezTo>
                    <a:pt x="3537" y="7025"/>
                    <a:pt x="3561" y="6942"/>
                    <a:pt x="3513" y="6846"/>
                  </a:cubicBezTo>
                  <a:cubicBezTo>
                    <a:pt x="3488" y="6797"/>
                    <a:pt x="3436" y="6765"/>
                    <a:pt x="3378" y="6765"/>
                  </a:cubicBezTo>
                  <a:cubicBezTo>
                    <a:pt x="3352" y="6765"/>
                    <a:pt x="3325" y="6772"/>
                    <a:pt x="3299" y="6787"/>
                  </a:cubicBezTo>
                  <a:lnTo>
                    <a:pt x="2263" y="7358"/>
                  </a:lnTo>
                  <a:lnTo>
                    <a:pt x="1298" y="7358"/>
                  </a:lnTo>
                  <a:cubicBezTo>
                    <a:pt x="1108" y="7358"/>
                    <a:pt x="941" y="7192"/>
                    <a:pt x="941" y="7001"/>
                  </a:cubicBezTo>
                  <a:lnTo>
                    <a:pt x="941" y="6549"/>
                  </a:lnTo>
                  <a:lnTo>
                    <a:pt x="1775" y="6549"/>
                  </a:lnTo>
                  <a:cubicBezTo>
                    <a:pt x="1870" y="6549"/>
                    <a:pt x="1941" y="6477"/>
                    <a:pt x="1941" y="6382"/>
                  </a:cubicBezTo>
                  <a:cubicBezTo>
                    <a:pt x="1941" y="6299"/>
                    <a:pt x="1870" y="6227"/>
                    <a:pt x="1775" y="6227"/>
                  </a:cubicBezTo>
                  <a:lnTo>
                    <a:pt x="941" y="6227"/>
                  </a:lnTo>
                  <a:lnTo>
                    <a:pt x="941" y="3025"/>
                  </a:lnTo>
                  <a:cubicBezTo>
                    <a:pt x="941" y="1548"/>
                    <a:pt x="2179" y="358"/>
                    <a:pt x="3715" y="358"/>
                  </a:cubicBezTo>
                  <a:cubicBezTo>
                    <a:pt x="5239" y="358"/>
                    <a:pt x="6478" y="1548"/>
                    <a:pt x="6478" y="3025"/>
                  </a:cubicBezTo>
                  <a:cubicBezTo>
                    <a:pt x="6478" y="4263"/>
                    <a:pt x="5811" y="5406"/>
                    <a:pt x="4727" y="6013"/>
                  </a:cubicBezTo>
                  <a:lnTo>
                    <a:pt x="3954" y="6442"/>
                  </a:lnTo>
                  <a:cubicBezTo>
                    <a:pt x="3870" y="6489"/>
                    <a:pt x="3846" y="6584"/>
                    <a:pt x="3894" y="6668"/>
                  </a:cubicBezTo>
                  <a:cubicBezTo>
                    <a:pt x="3918" y="6717"/>
                    <a:pt x="3971" y="6749"/>
                    <a:pt x="4029" y="6749"/>
                  </a:cubicBezTo>
                  <a:cubicBezTo>
                    <a:pt x="4055" y="6749"/>
                    <a:pt x="4082" y="6742"/>
                    <a:pt x="4108" y="6727"/>
                  </a:cubicBezTo>
                  <a:lnTo>
                    <a:pt x="4882" y="6299"/>
                  </a:lnTo>
                  <a:cubicBezTo>
                    <a:pt x="4918" y="6287"/>
                    <a:pt x="4930" y="6263"/>
                    <a:pt x="4966" y="6251"/>
                  </a:cubicBezTo>
                  <a:lnTo>
                    <a:pt x="4966" y="8525"/>
                  </a:lnTo>
                  <a:cubicBezTo>
                    <a:pt x="4966" y="8573"/>
                    <a:pt x="4977" y="8609"/>
                    <a:pt x="5001" y="8632"/>
                  </a:cubicBezTo>
                  <a:lnTo>
                    <a:pt x="5620" y="9323"/>
                  </a:lnTo>
                  <a:lnTo>
                    <a:pt x="2965" y="10109"/>
                  </a:lnTo>
                  <a:cubicBezTo>
                    <a:pt x="2882" y="10133"/>
                    <a:pt x="2834" y="10228"/>
                    <a:pt x="2858" y="10299"/>
                  </a:cubicBezTo>
                  <a:cubicBezTo>
                    <a:pt x="2882" y="10371"/>
                    <a:pt x="2953" y="10418"/>
                    <a:pt x="3013" y="10418"/>
                  </a:cubicBezTo>
                  <a:lnTo>
                    <a:pt x="3061" y="10418"/>
                  </a:lnTo>
                  <a:lnTo>
                    <a:pt x="5942" y="9573"/>
                  </a:lnTo>
                  <a:cubicBezTo>
                    <a:pt x="6001" y="9549"/>
                    <a:pt x="6037" y="9513"/>
                    <a:pt x="6049" y="9466"/>
                  </a:cubicBezTo>
                  <a:cubicBezTo>
                    <a:pt x="6061" y="9406"/>
                    <a:pt x="6049" y="9359"/>
                    <a:pt x="6013" y="9311"/>
                  </a:cubicBezTo>
                  <a:lnTo>
                    <a:pt x="5263" y="8442"/>
                  </a:lnTo>
                  <a:lnTo>
                    <a:pt x="5263" y="6013"/>
                  </a:lnTo>
                  <a:cubicBezTo>
                    <a:pt x="6216" y="5311"/>
                    <a:pt x="6787" y="4203"/>
                    <a:pt x="6787" y="2989"/>
                  </a:cubicBezTo>
                  <a:cubicBezTo>
                    <a:pt x="6787" y="1346"/>
                    <a:pt x="5406" y="0"/>
                    <a:pt x="3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4" name="Google Shape;11724;p61"/>
            <p:cNvSpPr/>
            <p:nvPr/>
          </p:nvSpPr>
          <p:spPr>
            <a:xfrm>
              <a:off x="2754535" y="2907503"/>
              <a:ext cx="126783" cy="127164"/>
            </a:xfrm>
            <a:custGeom>
              <a:avLst/>
              <a:gdLst/>
              <a:ahLst/>
              <a:cxnLst/>
              <a:rect l="l" t="t" r="r" b="b"/>
              <a:pathLst>
                <a:path w="4002" h="4014" extrusionOk="0">
                  <a:moveTo>
                    <a:pt x="1989" y="1"/>
                  </a:moveTo>
                  <a:cubicBezTo>
                    <a:pt x="953" y="1"/>
                    <a:pt x="72" y="822"/>
                    <a:pt x="1" y="1870"/>
                  </a:cubicBezTo>
                  <a:cubicBezTo>
                    <a:pt x="1" y="1953"/>
                    <a:pt x="61" y="2025"/>
                    <a:pt x="144" y="2048"/>
                  </a:cubicBezTo>
                  <a:cubicBezTo>
                    <a:pt x="239" y="2048"/>
                    <a:pt x="311" y="1989"/>
                    <a:pt x="322" y="1894"/>
                  </a:cubicBezTo>
                  <a:cubicBezTo>
                    <a:pt x="382" y="1013"/>
                    <a:pt x="1108" y="346"/>
                    <a:pt x="1989" y="346"/>
                  </a:cubicBezTo>
                  <a:cubicBezTo>
                    <a:pt x="2918" y="346"/>
                    <a:pt x="3656" y="1096"/>
                    <a:pt x="3656" y="2013"/>
                  </a:cubicBezTo>
                  <a:cubicBezTo>
                    <a:pt x="3656" y="2941"/>
                    <a:pt x="2918" y="3680"/>
                    <a:pt x="1989" y="3680"/>
                  </a:cubicBezTo>
                  <a:cubicBezTo>
                    <a:pt x="1251" y="3680"/>
                    <a:pt x="596" y="3191"/>
                    <a:pt x="382" y="2477"/>
                  </a:cubicBezTo>
                  <a:cubicBezTo>
                    <a:pt x="363" y="2401"/>
                    <a:pt x="298" y="2363"/>
                    <a:pt x="236" y="2363"/>
                  </a:cubicBezTo>
                  <a:cubicBezTo>
                    <a:pt x="221" y="2363"/>
                    <a:pt x="206" y="2365"/>
                    <a:pt x="191" y="2370"/>
                  </a:cubicBezTo>
                  <a:cubicBezTo>
                    <a:pt x="96" y="2406"/>
                    <a:pt x="61" y="2489"/>
                    <a:pt x="84" y="2560"/>
                  </a:cubicBezTo>
                  <a:cubicBezTo>
                    <a:pt x="322" y="3418"/>
                    <a:pt x="1108" y="4013"/>
                    <a:pt x="2001" y="4013"/>
                  </a:cubicBezTo>
                  <a:cubicBezTo>
                    <a:pt x="3109" y="4013"/>
                    <a:pt x="4001" y="3120"/>
                    <a:pt x="4001" y="2013"/>
                  </a:cubicBezTo>
                  <a:cubicBezTo>
                    <a:pt x="3990" y="917"/>
                    <a:pt x="3097" y="1"/>
                    <a:pt x="1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5" name="Google Shape;11725;p61"/>
            <p:cNvSpPr/>
            <p:nvPr/>
          </p:nvSpPr>
          <p:spPr>
            <a:xfrm>
              <a:off x="2781336" y="2931263"/>
              <a:ext cx="74321" cy="74353"/>
            </a:xfrm>
            <a:custGeom>
              <a:avLst/>
              <a:gdLst/>
              <a:ahLst/>
              <a:cxnLst/>
              <a:rect l="l" t="t" r="r" b="b"/>
              <a:pathLst>
                <a:path w="2346" h="2347" extrusionOk="0">
                  <a:moveTo>
                    <a:pt x="1465" y="310"/>
                  </a:moveTo>
                  <a:cubicBezTo>
                    <a:pt x="1620" y="310"/>
                    <a:pt x="1751" y="370"/>
                    <a:pt x="1858" y="477"/>
                  </a:cubicBezTo>
                  <a:cubicBezTo>
                    <a:pt x="1965" y="584"/>
                    <a:pt x="2024" y="715"/>
                    <a:pt x="2024" y="858"/>
                  </a:cubicBezTo>
                  <a:cubicBezTo>
                    <a:pt x="2024" y="1013"/>
                    <a:pt x="1965" y="1144"/>
                    <a:pt x="1858" y="1251"/>
                  </a:cubicBezTo>
                  <a:cubicBezTo>
                    <a:pt x="1751" y="1358"/>
                    <a:pt x="1620" y="1418"/>
                    <a:pt x="1465" y="1418"/>
                  </a:cubicBezTo>
                  <a:cubicBezTo>
                    <a:pt x="1322" y="1418"/>
                    <a:pt x="1191" y="1358"/>
                    <a:pt x="1084" y="1251"/>
                  </a:cubicBezTo>
                  <a:cubicBezTo>
                    <a:pt x="869" y="1037"/>
                    <a:pt x="869" y="679"/>
                    <a:pt x="1084" y="477"/>
                  </a:cubicBezTo>
                  <a:cubicBezTo>
                    <a:pt x="1191" y="370"/>
                    <a:pt x="1322" y="310"/>
                    <a:pt x="1465" y="310"/>
                  </a:cubicBezTo>
                  <a:close/>
                  <a:moveTo>
                    <a:pt x="1489" y="1"/>
                  </a:moveTo>
                  <a:cubicBezTo>
                    <a:pt x="1262" y="1"/>
                    <a:pt x="1036" y="84"/>
                    <a:pt x="869" y="251"/>
                  </a:cubicBezTo>
                  <a:cubicBezTo>
                    <a:pt x="572" y="548"/>
                    <a:pt x="536" y="1025"/>
                    <a:pt x="774" y="1370"/>
                  </a:cubicBezTo>
                  <a:lnTo>
                    <a:pt x="60" y="2084"/>
                  </a:lnTo>
                  <a:cubicBezTo>
                    <a:pt x="0" y="2144"/>
                    <a:pt x="0" y="2239"/>
                    <a:pt x="60" y="2299"/>
                  </a:cubicBezTo>
                  <a:cubicBezTo>
                    <a:pt x="84" y="2334"/>
                    <a:pt x="131" y="2346"/>
                    <a:pt x="179" y="2346"/>
                  </a:cubicBezTo>
                  <a:cubicBezTo>
                    <a:pt x="215" y="2346"/>
                    <a:pt x="262" y="2334"/>
                    <a:pt x="298" y="2299"/>
                  </a:cubicBezTo>
                  <a:lnTo>
                    <a:pt x="1012" y="1584"/>
                  </a:lnTo>
                  <a:cubicBezTo>
                    <a:pt x="1155" y="1691"/>
                    <a:pt x="1322" y="1739"/>
                    <a:pt x="1501" y="1739"/>
                  </a:cubicBezTo>
                  <a:cubicBezTo>
                    <a:pt x="1739" y="1739"/>
                    <a:pt x="1941" y="1644"/>
                    <a:pt x="2108" y="1489"/>
                  </a:cubicBezTo>
                  <a:cubicBezTo>
                    <a:pt x="2263" y="1310"/>
                    <a:pt x="2346" y="1096"/>
                    <a:pt x="2346" y="858"/>
                  </a:cubicBezTo>
                  <a:cubicBezTo>
                    <a:pt x="2346" y="620"/>
                    <a:pt x="2263" y="417"/>
                    <a:pt x="2096" y="251"/>
                  </a:cubicBezTo>
                  <a:cubicBezTo>
                    <a:pt x="1929" y="84"/>
                    <a:pt x="1703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26" name="Google Shape;11726;p61"/>
          <p:cNvGrpSpPr/>
          <p:nvPr/>
        </p:nvGrpSpPr>
        <p:grpSpPr>
          <a:xfrm>
            <a:off x="1770459" y="2884503"/>
            <a:ext cx="254644" cy="348828"/>
            <a:chOff x="1770459" y="2884503"/>
            <a:chExt cx="254644" cy="348828"/>
          </a:xfrm>
        </p:grpSpPr>
        <p:sp>
          <p:nvSpPr>
            <p:cNvPr id="11727" name="Google Shape;11727;p61"/>
            <p:cNvSpPr/>
            <p:nvPr/>
          </p:nvSpPr>
          <p:spPr>
            <a:xfrm>
              <a:off x="1832330" y="2884503"/>
              <a:ext cx="130902" cy="159572"/>
            </a:xfrm>
            <a:custGeom>
              <a:avLst/>
              <a:gdLst/>
              <a:ahLst/>
              <a:cxnLst/>
              <a:rect l="l" t="t" r="r" b="b"/>
              <a:pathLst>
                <a:path w="4132" h="5037" extrusionOk="0">
                  <a:moveTo>
                    <a:pt x="2060" y="0"/>
                  </a:moveTo>
                  <a:cubicBezTo>
                    <a:pt x="953" y="0"/>
                    <a:pt x="36" y="869"/>
                    <a:pt x="0" y="1977"/>
                  </a:cubicBezTo>
                  <a:cubicBezTo>
                    <a:pt x="0" y="2072"/>
                    <a:pt x="60" y="2143"/>
                    <a:pt x="143" y="2143"/>
                  </a:cubicBezTo>
                  <a:cubicBezTo>
                    <a:pt x="238" y="2143"/>
                    <a:pt x="310" y="2084"/>
                    <a:pt x="310" y="2001"/>
                  </a:cubicBezTo>
                  <a:cubicBezTo>
                    <a:pt x="357" y="1060"/>
                    <a:pt x="1131" y="322"/>
                    <a:pt x="2060" y="322"/>
                  </a:cubicBezTo>
                  <a:cubicBezTo>
                    <a:pt x="3036" y="322"/>
                    <a:pt x="3822" y="1120"/>
                    <a:pt x="3822" y="2084"/>
                  </a:cubicBezTo>
                  <a:cubicBezTo>
                    <a:pt x="3822" y="2846"/>
                    <a:pt x="3334" y="3513"/>
                    <a:pt x="2596" y="3751"/>
                  </a:cubicBezTo>
                  <a:cubicBezTo>
                    <a:pt x="2572" y="3763"/>
                    <a:pt x="2524" y="3787"/>
                    <a:pt x="2512" y="3822"/>
                  </a:cubicBezTo>
                  <a:lnTo>
                    <a:pt x="2060" y="4572"/>
                  </a:lnTo>
                  <a:lnTo>
                    <a:pt x="1619" y="3822"/>
                  </a:lnTo>
                  <a:cubicBezTo>
                    <a:pt x="1608" y="3798"/>
                    <a:pt x="1572" y="3763"/>
                    <a:pt x="1524" y="3751"/>
                  </a:cubicBezTo>
                  <a:cubicBezTo>
                    <a:pt x="977" y="3572"/>
                    <a:pt x="548" y="3144"/>
                    <a:pt x="381" y="2572"/>
                  </a:cubicBezTo>
                  <a:cubicBezTo>
                    <a:pt x="362" y="2503"/>
                    <a:pt x="293" y="2459"/>
                    <a:pt x="230" y="2459"/>
                  </a:cubicBezTo>
                  <a:cubicBezTo>
                    <a:pt x="216" y="2459"/>
                    <a:pt x="203" y="2461"/>
                    <a:pt x="191" y="2465"/>
                  </a:cubicBezTo>
                  <a:cubicBezTo>
                    <a:pt x="95" y="2501"/>
                    <a:pt x="60" y="2584"/>
                    <a:pt x="84" y="2667"/>
                  </a:cubicBezTo>
                  <a:cubicBezTo>
                    <a:pt x="274" y="3298"/>
                    <a:pt x="750" y="3810"/>
                    <a:pt x="1381" y="4037"/>
                  </a:cubicBezTo>
                  <a:lnTo>
                    <a:pt x="1929" y="4953"/>
                  </a:lnTo>
                  <a:cubicBezTo>
                    <a:pt x="1965" y="5001"/>
                    <a:pt x="2000" y="5037"/>
                    <a:pt x="2060" y="5037"/>
                  </a:cubicBezTo>
                  <a:cubicBezTo>
                    <a:pt x="2120" y="5037"/>
                    <a:pt x="2167" y="5001"/>
                    <a:pt x="2191" y="4953"/>
                  </a:cubicBezTo>
                  <a:lnTo>
                    <a:pt x="2751" y="4037"/>
                  </a:lnTo>
                  <a:cubicBezTo>
                    <a:pt x="3584" y="3739"/>
                    <a:pt x="4132" y="2965"/>
                    <a:pt x="4132" y="2084"/>
                  </a:cubicBezTo>
                  <a:cubicBezTo>
                    <a:pt x="4132" y="941"/>
                    <a:pt x="3215" y="0"/>
                    <a:pt x="2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8" name="Google Shape;11728;p61"/>
            <p:cNvSpPr/>
            <p:nvPr/>
          </p:nvSpPr>
          <p:spPr>
            <a:xfrm>
              <a:off x="1861000" y="2912698"/>
              <a:ext cx="75842" cy="72167"/>
            </a:xfrm>
            <a:custGeom>
              <a:avLst/>
              <a:gdLst/>
              <a:ahLst/>
              <a:cxnLst/>
              <a:rect l="l" t="t" r="r" b="b"/>
              <a:pathLst>
                <a:path w="2394" h="2278" extrusionOk="0">
                  <a:moveTo>
                    <a:pt x="1441" y="313"/>
                  </a:moveTo>
                  <a:cubicBezTo>
                    <a:pt x="1572" y="313"/>
                    <a:pt x="1715" y="360"/>
                    <a:pt x="1810" y="468"/>
                  </a:cubicBezTo>
                  <a:cubicBezTo>
                    <a:pt x="2036" y="670"/>
                    <a:pt x="2036" y="1015"/>
                    <a:pt x="1834" y="1218"/>
                  </a:cubicBezTo>
                  <a:cubicBezTo>
                    <a:pt x="1726" y="1325"/>
                    <a:pt x="1587" y="1378"/>
                    <a:pt x="1448" y="1378"/>
                  </a:cubicBezTo>
                  <a:cubicBezTo>
                    <a:pt x="1310" y="1378"/>
                    <a:pt x="1173" y="1325"/>
                    <a:pt x="1072" y="1218"/>
                  </a:cubicBezTo>
                  <a:cubicBezTo>
                    <a:pt x="857" y="1015"/>
                    <a:pt x="857" y="670"/>
                    <a:pt x="1072" y="468"/>
                  </a:cubicBezTo>
                  <a:cubicBezTo>
                    <a:pt x="1167" y="360"/>
                    <a:pt x="1310" y="313"/>
                    <a:pt x="1441" y="313"/>
                  </a:cubicBezTo>
                  <a:close/>
                  <a:moveTo>
                    <a:pt x="1451" y="0"/>
                  </a:moveTo>
                  <a:cubicBezTo>
                    <a:pt x="1232" y="0"/>
                    <a:pt x="1012" y="81"/>
                    <a:pt x="845" y="241"/>
                  </a:cubicBezTo>
                  <a:cubicBezTo>
                    <a:pt x="548" y="539"/>
                    <a:pt x="524" y="992"/>
                    <a:pt x="738" y="1325"/>
                  </a:cubicBezTo>
                  <a:lnTo>
                    <a:pt x="60" y="2015"/>
                  </a:lnTo>
                  <a:cubicBezTo>
                    <a:pt x="0" y="2075"/>
                    <a:pt x="0" y="2182"/>
                    <a:pt x="60" y="2242"/>
                  </a:cubicBezTo>
                  <a:cubicBezTo>
                    <a:pt x="83" y="2265"/>
                    <a:pt x="131" y="2277"/>
                    <a:pt x="179" y="2277"/>
                  </a:cubicBezTo>
                  <a:cubicBezTo>
                    <a:pt x="226" y="2277"/>
                    <a:pt x="262" y="2265"/>
                    <a:pt x="298" y="2242"/>
                  </a:cubicBezTo>
                  <a:lnTo>
                    <a:pt x="976" y="1551"/>
                  </a:lnTo>
                  <a:cubicBezTo>
                    <a:pt x="1131" y="1658"/>
                    <a:pt x="1298" y="1706"/>
                    <a:pt x="1453" y="1706"/>
                  </a:cubicBezTo>
                  <a:cubicBezTo>
                    <a:pt x="1679" y="1706"/>
                    <a:pt x="1881" y="1611"/>
                    <a:pt x="2072" y="1444"/>
                  </a:cubicBezTo>
                  <a:cubicBezTo>
                    <a:pt x="2393" y="1122"/>
                    <a:pt x="2393" y="575"/>
                    <a:pt x="2048" y="241"/>
                  </a:cubicBezTo>
                  <a:cubicBezTo>
                    <a:pt x="1887" y="81"/>
                    <a:pt x="1670" y="0"/>
                    <a:pt x="14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9" name="Google Shape;11729;p61"/>
            <p:cNvSpPr/>
            <p:nvPr/>
          </p:nvSpPr>
          <p:spPr>
            <a:xfrm>
              <a:off x="1818359" y="3060644"/>
              <a:ext cx="57753" cy="24172"/>
            </a:xfrm>
            <a:custGeom>
              <a:avLst/>
              <a:gdLst/>
              <a:ahLst/>
              <a:cxnLst/>
              <a:rect l="l" t="t" r="r" b="b"/>
              <a:pathLst>
                <a:path w="1823" h="763" extrusionOk="0">
                  <a:moveTo>
                    <a:pt x="181" y="0"/>
                  </a:moveTo>
                  <a:cubicBezTo>
                    <a:pt x="116" y="0"/>
                    <a:pt x="55" y="43"/>
                    <a:pt x="36" y="108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1584" y="763"/>
                  </a:lnTo>
                  <a:lnTo>
                    <a:pt x="1632" y="763"/>
                  </a:lnTo>
                  <a:cubicBezTo>
                    <a:pt x="1703" y="763"/>
                    <a:pt x="1763" y="727"/>
                    <a:pt x="1775" y="643"/>
                  </a:cubicBezTo>
                  <a:cubicBezTo>
                    <a:pt x="1822" y="572"/>
                    <a:pt x="1775" y="465"/>
                    <a:pt x="1691" y="453"/>
                  </a:cubicBezTo>
                  <a:lnTo>
                    <a:pt x="239" y="12"/>
                  </a:lnTo>
                  <a:cubicBezTo>
                    <a:pt x="220" y="4"/>
                    <a:pt x="20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0" name="Google Shape;11730;p61"/>
            <p:cNvSpPr/>
            <p:nvPr/>
          </p:nvSpPr>
          <p:spPr>
            <a:xfrm>
              <a:off x="1818359" y="3078384"/>
              <a:ext cx="57753" cy="24552"/>
            </a:xfrm>
            <a:custGeom>
              <a:avLst/>
              <a:gdLst/>
              <a:ahLst/>
              <a:cxnLst/>
              <a:rect l="l" t="t" r="r" b="b"/>
              <a:pathLst>
                <a:path w="1823" h="775" extrusionOk="0">
                  <a:moveTo>
                    <a:pt x="182" y="0"/>
                  </a:moveTo>
                  <a:cubicBezTo>
                    <a:pt x="116" y="0"/>
                    <a:pt x="55" y="45"/>
                    <a:pt x="36" y="119"/>
                  </a:cubicBezTo>
                  <a:cubicBezTo>
                    <a:pt x="1" y="203"/>
                    <a:pt x="48" y="298"/>
                    <a:pt x="144" y="322"/>
                  </a:cubicBezTo>
                  <a:lnTo>
                    <a:pt x="1584" y="774"/>
                  </a:lnTo>
                  <a:lnTo>
                    <a:pt x="1632" y="774"/>
                  </a:lnTo>
                  <a:cubicBezTo>
                    <a:pt x="1703" y="774"/>
                    <a:pt x="1763" y="726"/>
                    <a:pt x="1775" y="655"/>
                  </a:cubicBezTo>
                  <a:cubicBezTo>
                    <a:pt x="1822" y="584"/>
                    <a:pt x="1775" y="488"/>
                    <a:pt x="1691" y="464"/>
                  </a:cubicBezTo>
                  <a:lnTo>
                    <a:pt x="239" y="12"/>
                  </a:lnTo>
                  <a:cubicBezTo>
                    <a:pt x="220" y="4"/>
                    <a:pt x="201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1" name="Google Shape;11731;p61"/>
            <p:cNvSpPr/>
            <p:nvPr/>
          </p:nvSpPr>
          <p:spPr>
            <a:xfrm>
              <a:off x="1818359" y="3096474"/>
              <a:ext cx="57753" cy="24172"/>
            </a:xfrm>
            <a:custGeom>
              <a:avLst/>
              <a:gdLst/>
              <a:ahLst/>
              <a:cxnLst/>
              <a:rect l="l" t="t" r="r" b="b"/>
              <a:pathLst>
                <a:path w="1823" h="763" extrusionOk="0">
                  <a:moveTo>
                    <a:pt x="181" y="1"/>
                  </a:moveTo>
                  <a:cubicBezTo>
                    <a:pt x="116" y="1"/>
                    <a:pt x="55" y="44"/>
                    <a:pt x="36" y="108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1584" y="763"/>
                  </a:lnTo>
                  <a:lnTo>
                    <a:pt x="1632" y="763"/>
                  </a:lnTo>
                  <a:cubicBezTo>
                    <a:pt x="1703" y="763"/>
                    <a:pt x="1763" y="727"/>
                    <a:pt x="1775" y="644"/>
                  </a:cubicBezTo>
                  <a:cubicBezTo>
                    <a:pt x="1822" y="572"/>
                    <a:pt x="1775" y="489"/>
                    <a:pt x="1691" y="453"/>
                  </a:cubicBezTo>
                  <a:lnTo>
                    <a:pt x="239" y="13"/>
                  </a:lnTo>
                  <a:cubicBezTo>
                    <a:pt x="220" y="4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2" name="Google Shape;11732;p61"/>
            <p:cNvSpPr/>
            <p:nvPr/>
          </p:nvSpPr>
          <p:spPr>
            <a:xfrm>
              <a:off x="2022410" y="3029914"/>
              <a:ext cx="760" cy="570"/>
            </a:xfrm>
            <a:custGeom>
              <a:avLst/>
              <a:gdLst/>
              <a:ahLst/>
              <a:cxnLst/>
              <a:rect l="l" t="t" r="r" b="b"/>
              <a:pathLst>
                <a:path w="24" h="18" extrusionOk="0">
                  <a:moveTo>
                    <a:pt x="3" y="0"/>
                  </a:moveTo>
                  <a:cubicBezTo>
                    <a:pt x="0" y="0"/>
                    <a:pt x="21" y="18"/>
                    <a:pt x="23" y="18"/>
                  </a:cubicBezTo>
                  <a:cubicBezTo>
                    <a:pt x="24" y="18"/>
                    <a:pt x="22" y="15"/>
                    <a:pt x="13" y="6"/>
                  </a:cubicBezTo>
                  <a:cubicBezTo>
                    <a:pt x="7" y="2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3" name="Google Shape;11733;p61"/>
            <p:cNvSpPr/>
            <p:nvPr/>
          </p:nvSpPr>
          <p:spPr>
            <a:xfrm>
              <a:off x="1770459" y="3017337"/>
              <a:ext cx="254644" cy="215994"/>
            </a:xfrm>
            <a:custGeom>
              <a:avLst/>
              <a:gdLst/>
              <a:ahLst/>
              <a:cxnLst/>
              <a:rect l="l" t="t" r="r" b="b"/>
              <a:pathLst>
                <a:path w="8038" h="6818" extrusionOk="0">
                  <a:moveTo>
                    <a:pt x="7275" y="391"/>
                  </a:moveTo>
                  <a:lnTo>
                    <a:pt x="7275" y="3677"/>
                  </a:lnTo>
                  <a:lnTo>
                    <a:pt x="4180" y="4677"/>
                  </a:lnTo>
                  <a:lnTo>
                    <a:pt x="4180" y="2570"/>
                  </a:lnTo>
                  <a:lnTo>
                    <a:pt x="4180" y="1760"/>
                  </a:lnTo>
                  <a:lnTo>
                    <a:pt x="4180" y="1391"/>
                  </a:lnTo>
                  <a:lnTo>
                    <a:pt x="7275" y="391"/>
                  </a:lnTo>
                  <a:close/>
                  <a:moveTo>
                    <a:pt x="310" y="748"/>
                  </a:moveTo>
                  <a:lnTo>
                    <a:pt x="429" y="796"/>
                  </a:lnTo>
                  <a:lnTo>
                    <a:pt x="429" y="3820"/>
                  </a:lnTo>
                  <a:cubicBezTo>
                    <a:pt x="429" y="3892"/>
                    <a:pt x="477" y="3951"/>
                    <a:pt x="548" y="3963"/>
                  </a:cubicBezTo>
                  <a:lnTo>
                    <a:pt x="3858" y="5023"/>
                  </a:lnTo>
                  <a:lnTo>
                    <a:pt x="3858" y="5630"/>
                  </a:lnTo>
                  <a:lnTo>
                    <a:pt x="310" y="4499"/>
                  </a:lnTo>
                  <a:lnTo>
                    <a:pt x="310" y="1332"/>
                  </a:lnTo>
                  <a:lnTo>
                    <a:pt x="310" y="748"/>
                  </a:lnTo>
                  <a:close/>
                  <a:moveTo>
                    <a:pt x="7704" y="748"/>
                  </a:moveTo>
                  <a:lnTo>
                    <a:pt x="7704" y="1332"/>
                  </a:lnTo>
                  <a:lnTo>
                    <a:pt x="7704" y="4499"/>
                  </a:lnTo>
                  <a:lnTo>
                    <a:pt x="4168" y="5630"/>
                  </a:lnTo>
                  <a:lnTo>
                    <a:pt x="4168" y="5023"/>
                  </a:lnTo>
                  <a:lnTo>
                    <a:pt x="7466" y="3963"/>
                  </a:lnTo>
                  <a:cubicBezTo>
                    <a:pt x="7525" y="3951"/>
                    <a:pt x="7585" y="3880"/>
                    <a:pt x="7585" y="3820"/>
                  </a:cubicBezTo>
                  <a:lnTo>
                    <a:pt x="7585" y="796"/>
                  </a:lnTo>
                  <a:lnTo>
                    <a:pt x="7704" y="748"/>
                  </a:lnTo>
                  <a:close/>
                  <a:moveTo>
                    <a:pt x="310" y="4844"/>
                  </a:moveTo>
                  <a:lnTo>
                    <a:pt x="3858" y="5975"/>
                  </a:lnTo>
                  <a:lnTo>
                    <a:pt x="3858" y="6440"/>
                  </a:lnTo>
                  <a:lnTo>
                    <a:pt x="310" y="5309"/>
                  </a:lnTo>
                  <a:lnTo>
                    <a:pt x="310" y="4844"/>
                  </a:lnTo>
                  <a:close/>
                  <a:moveTo>
                    <a:pt x="595" y="0"/>
                  </a:moveTo>
                  <a:cubicBezTo>
                    <a:pt x="562" y="0"/>
                    <a:pt x="522" y="17"/>
                    <a:pt x="489" y="34"/>
                  </a:cubicBezTo>
                  <a:cubicBezTo>
                    <a:pt x="441" y="70"/>
                    <a:pt x="429" y="105"/>
                    <a:pt x="429" y="165"/>
                  </a:cubicBezTo>
                  <a:lnTo>
                    <a:pt x="429" y="439"/>
                  </a:lnTo>
                  <a:lnTo>
                    <a:pt x="203" y="367"/>
                  </a:lnTo>
                  <a:cubicBezTo>
                    <a:pt x="189" y="360"/>
                    <a:pt x="175" y="358"/>
                    <a:pt x="161" y="358"/>
                  </a:cubicBezTo>
                  <a:cubicBezTo>
                    <a:pt x="127" y="358"/>
                    <a:pt x="94" y="374"/>
                    <a:pt x="60" y="391"/>
                  </a:cubicBezTo>
                  <a:cubicBezTo>
                    <a:pt x="12" y="427"/>
                    <a:pt x="1" y="463"/>
                    <a:pt x="1" y="522"/>
                  </a:cubicBezTo>
                  <a:lnTo>
                    <a:pt x="1" y="1332"/>
                  </a:lnTo>
                  <a:lnTo>
                    <a:pt x="1" y="4618"/>
                  </a:lnTo>
                  <a:lnTo>
                    <a:pt x="1" y="5428"/>
                  </a:lnTo>
                  <a:cubicBezTo>
                    <a:pt x="1" y="5499"/>
                    <a:pt x="48" y="5559"/>
                    <a:pt x="120" y="5570"/>
                  </a:cubicBezTo>
                  <a:lnTo>
                    <a:pt x="3977" y="6809"/>
                  </a:lnTo>
                  <a:cubicBezTo>
                    <a:pt x="3989" y="6815"/>
                    <a:pt x="4001" y="6818"/>
                    <a:pt x="4016" y="6818"/>
                  </a:cubicBezTo>
                  <a:cubicBezTo>
                    <a:pt x="4031" y="6818"/>
                    <a:pt x="4049" y="6815"/>
                    <a:pt x="4073" y="6809"/>
                  </a:cubicBezTo>
                  <a:lnTo>
                    <a:pt x="6061" y="6166"/>
                  </a:lnTo>
                  <a:cubicBezTo>
                    <a:pt x="6144" y="6130"/>
                    <a:pt x="6192" y="6047"/>
                    <a:pt x="6156" y="5963"/>
                  </a:cubicBezTo>
                  <a:cubicBezTo>
                    <a:pt x="6138" y="5890"/>
                    <a:pt x="6076" y="5844"/>
                    <a:pt x="6011" y="5844"/>
                  </a:cubicBezTo>
                  <a:cubicBezTo>
                    <a:pt x="5992" y="5844"/>
                    <a:pt x="5972" y="5848"/>
                    <a:pt x="5954" y="5856"/>
                  </a:cubicBezTo>
                  <a:lnTo>
                    <a:pt x="4180" y="6440"/>
                  </a:lnTo>
                  <a:lnTo>
                    <a:pt x="4180" y="5975"/>
                  </a:lnTo>
                  <a:lnTo>
                    <a:pt x="7728" y="4844"/>
                  </a:lnTo>
                  <a:lnTo>
                    <a:pt x="7728" y="5309"/>
                  </a:lnTo>
                  <a:lnTo>
                    <a:pt x="6597" y="5666"/>
                  </a:lnTo>
                  <a:cubicBezTo>
                    <a:pt x="6501" y="5690"/>
                    <a:pt x="6454" y="5773"/>
                    <a:pt x="6489" y="5868"/>
                  </a:cubicBezTo>
                  <a:cubicBezTo>
                    <a:pt x="6501" y="5940"/>
                    <a:pt x="6573" y="5987"/>
                    <a:pt x="6632" y="5987"/>
                  </a:cubicBezTo>
                  <a:cubicBezTo>
                    <a:pt x="6656" y="5987"/>
                    <a:pt x="6668" y="5987"/>
                    <a:pt x="6680" y="5975"/>
                  </a:cubicBezTo>
                  <a:lnTo>
                    <a:pt x="7918" y="5570"/>
                  </a:lnTo>
                  <a:cubicBezTo>
                    <a:pt x="7978" y="5559"/>
                    <a:pt x="8037" y="5475"/>
                    <a:pt x="8037" y="5416"/>
                  </a:cubicBezTo>
                  <a:lnTo>
                    <a:pt x="8037" y="4618"/>
                  </a:lnTo>
                  <a:lnTo>
                    <a:pt x="8037" y="1332"/>
                  </a:lnTo>
                  <a:lnTo>
                    <a:pt x="8037" y="522"/>
                  </a:lnTo>
                  <a:cubicBezTo>
                    <a:pt x="8037" y="486"/>
                    <a:pt x="8002" y="439"/>
                    <a:pt x="7966" y="403"/>
                  </a:cubicBezTo>
                  <a:cubicBezTo>
                    <a:pt x="7931" y="386"/>
                    <a:pt x="7896" y="375"/>
                    <a:pt x="7857" y="375"/>
                  </a:cubicBezTo>
                  <a:cubicBezTo>
                    <a:pt x="7842" y="375"/>
                    <a:pt x="7827" y="376"/>
                    <a:pt x="7811" y="379"/>
                  </a:cubicBezTo>
                  <a:lnTo>
                    <a:pt x="7585" y="451"/>
                  </a:lnTo>
                  <a:lnTo>
                    <a:pt x="7585" y="189"/>
                  </a:lnTo>
                  <a:cubicBezTo>
                    <a:pt x="7585" y="141"/>
                    <a:pt x="7561" y="82"/>
                    <a:pt x="7525" y="46"/>
                  </a:cubicBezTo>
                  <a:cubicBezTo>
                    <a:pt x="7499" y="29"/>
                    <a:pt x="7467" y="17"/>
                    <a:pt x="7428" y="17"/>
                  </a:cubicBezTo>
                  <a:cubicBezTo>
                    <a:pt x="7413" y="17"/>
                    <a:pt x="7398" y="19"/>
                    <a:pt x="7382" y="22"/>
                  </a:cubicBezTo>
                  <a:lnTo>
                    <a:pt x="4013" y="1094"/>
                  </a:lnTo>
                  <a:lnTo>
                    <a:pt x="1965" y="439"/>
                  </a:lnTo>
                  <a:cubicBezTo>
                    <a:pt x="1944" y="431"/>
                    <a:pt x="1923" y="427"/>
                    <a:pt x="1903" y="427"/>
                  </a:cubicBezTo>
                  <a:cubicBezTo>
                    <a:pt x="1835" y="427"/>
                    <a:pt x="1778" y="472"/>
                    <a:pt x="1751" y="546"/>
                  </a:cubicBezTo>
                  <a:cubicBezTo>
                    <a:pt x="1727" y="629"/>
                    <a:pt x="1775" y="725"/>
                    <a:pt x="1858" y="748"/>
                  </a:cubicBezTo>
                  <a:lnTo>
                    <a:pt x="3834" y="1391"/>
                  </a:lnTo>
                  <a:lnTo>
                    <a:pt x="3834" y="1760"/>
                  </a:lnTo>
                  <a:lnTo>
                    <a:pt x="3834" y="2570"/>
                  </a:lnTo>
                  <a:lnTo>
                    <a:pt x="3834" y="4677"/>
                  </a:lnTo>
                  <a:lnTo>
                    <a:pt x="739" y="3677"/>
                  </a:lnTo>
                  <a:lnTo>
                    <a:pt x="739" y="391"/>
                  </a:lnTo>
                  <a:lnTo>
                    <a:pt x="1215" y="546"/>
                  </a:lnTo>
                  <a:cubicBezTo>
                    <a:pt x="1232" y="550"/>
                    <a:pt x="1248" y="552"/>
                    <a:pt x="1264" y="552"/>
                  </a:cubicBezTo>
                  <a:cubicBezTo>
                    <a:pt x="1338" y="552"/>
                    <a:pt x="1400" y="508"/>
                    <a:pt x="1429" y="439"/>
                  </a:cubicBezTo>
                  <a:cubicBezTo>
                    <a:pt x="1453" y="344"/>
                    <a:pt x="1406" y="260"/>
                    <a:pt x="1322" y="225"/>
                  </a:cubicBezTo>
                  <a:lnTo>
                    <a:pt x="632" y="10"/>
                  </a:lnTo>
                  <a:cubicBezTo>
                    <a:pt x="621" y="3"/>
                    <a:pt x="609" y="0"/>
                    <a:pt x="5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4" name="Google Shape;11734;p61"/>
            <p:cNvSpPr/>
            <p:nvPr/>
          </p:nvSpPr>
          <p:spPr>
            <a:xfrm>
              <a:off x="1929271" y="3055987"/>
              <a:ext cx="38111" cy="47298"/>
            </a:xfrm>
            <a:custGeom>
              <a:avLst/>
              <a:gdLst/>
              <a:ahLst/>
              <a:cxnLst/>
              <a:rect l="l" t="t" r="r" b="b"/>
              <a:pathLst>
                <a:path w="1203" h="1493" extrusionOk="0">
                  <a:moveTo>
                    <a:pt x="881" y="374"/>
                  </a:moveTo>
                  <a:lnTo>
                    <a:pt x="881" y="945"/>
                  </a:lnTo>
                  <a:lnTo>
                    <a:pt x="345" y="1112"/>
                  </a:lnTo>
                  <a:lnTo>
                    <a:pt x="345" y="540"/>
                  </a:lnTo>
                  <a:lnTo>
                    <a:pt x="881" y="374"/>
                  </a:lnTo>
                  <a:close/>
                  <a:moveTo>
                    <a:pt x="1029" y="0"/>
                  </a:moveTo>
                  <a:cubicBezTo>
                    <a:pt x="1017" y="0"/>
                    <a:pt x="1003" y="2"/>
                    <a:pt x="988" y="5"/>
                  </a:cubicBezTo>
                  <a:lnTo>
                    <a:pt x="119" y="279"/>
                  </a:lnTo>
                  <a:cubicBezTo>
                    <a:pt x="60" y="290"/>
                    <a:pt x="0" y="362"/>
                    <a:pt x="0" y="421"/>
                  </a:cubicBezTo>
                  <a:lnTo>
                    <a:pt x="0" y="1326"/>
                  </a:lnTo>
                  <a:cubicBezTo>
                    <a:pt x="0" y="1374"/>
                    <a:pt x="24" y="1433"/>
                    <a:pt x="60" y="1469"/>
                  </a:cubicBezTo>
                  <a:cubicBezTo>
                    <a:pt x="83" y="1481"/>
                    <a:pt x="119" y="1493"/>
                    <a:pt x="155" y="1493"/>
                  </a:cubicBezTo>
                  <a:cubicBezTo>
                    <a:pt x="167" y="1493"/>
                    <a:pt x="179" y="1493"/>
                    <a:pt x="191" y="1481"/>
                  </a:cubicBezTo>
                  <a:lnTo>
                    <a:pt x="1060" y="1207"/>
                  </a:lnTo>
                  <a:cubicBezTo>
                    <a:pt x="1119" y="1195"/>
                    <a:pt x="1179" y="1124"/>
                    <a:pt x="1179" y="1064"/>
                  </a:cubicBezTo>
                  <a:lnTo>
                    <a:pt x="1179" y="159"/>
                  </a:lnTo>
                  <a:cubicBezTo>
                    <a:pt x="1203" y="112"/>
                    <a:pt x="1179" y="64"/>
                    <a:pt x="1131" y="40"/>
                  </a:cubicBezTo>
                  <a:cubicBezTo>
                    <a:pt x="1095" y="14"/>
                    <a:pt x="1066" y="0"/>
                    <a:pt x="10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35" name="Google Shape;11735;p61"/>
          <p:cNvGrpSpPr/>
          <p:nvPr/>
        </p:nvGrpSpPr>
        <p:grpSpPr>
          <a:xfrm>
            <a:off x="1317466" y="2884883"/>
            <a:ext cx="258382" cy="348543"/>
            <a:chOff x="1317466" y="2884883"/>
            <a:chExt cx="258382" cy="348543"/>
          </a:xfrm>
        </p:grpSpPr>
        <p:sp>
          <p:nvSpPr>
            <p:cNvPr id="11736" name="Google Shape;11736;p61"/>
            <p:cNvSpPr/>
            <p:nvPr/>
          </p:nvSpPr>
          <p:spPr>
            <a:xfrm>
              <a:off x="1317847" y="2916943"/>
              <a:ext cx="51702" cy="278404"/>
            </a:xfrm>
            <a:custGeom>
              <a:avLst/>
              <a:gdLst/>
              <a:ahLst/>
              <a:cxnLst/>
              <a:rect l="l" t="t" r="r" b="b"/>
              <a:pathLst>
                <a:path w="1632" h="878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620"/>
                  </a:lnTo>
                  <a:cubicBezTo>
                    <a:pt x="0" y="8716"/>
                    <a:pt x="72" y="8787"/>
                    <a:pt x="167" y="8787"/>
                  </a:cubicBezTo>
                  <a:cubicBezTo>
                    <a:pt x="250" y="8787"/>
                    <a:pt x="322" y="8716"/>
                    <a:pt x="322" y="8620"/>
                  </a:cubicBezTo>
                  <a:lnTo>
                    <a:pt x="322" y="334"/>
                  </a:lnTo>
                  <a:lnTo>
                    <a:pt x="1476" y="334"/>
                  </a:lnTo>
                  <a:cubicBezTo>
                    <a:pt x="1560" y="334"/>
                    <a:pt x="1631" y="250"/>
                    <a:pt x="1631" y="167"/>
                  </a:cubicBezTo>
                  <a:cubicBezTo>
                    <a:pt x="1631" y="72"/>
                    <a:pt x="1560" y="0"/>
                    <a:pt x="1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7" name="Google Shape;11737;p61"/>
            <p:cNvSpPr/>
            <p:nvPr/>
          </p:nvSpPr>
          <p:spPr>
            <a:xfrm>
              <a:off x="1394766" y="3181725"/>
              <a:ext cx="32852" cy="32852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8" y="715"/>
                    <a:pt x="322" y="620"/>
                    <a:pt x="322" y="512"/>
                  </a:cubicBezTo>
                  <a:cubicBezTo>
                    <a:pt x="322" y="417"/>
                    <a:pt x="418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9" y="1036"/>
                    <a:pt x="1037" y="798"/>
                    <a:pt x="1037" y="512"/>
                  </a:cubicBezTo>
                  <a:cubicBezTo>
                    <a:pt x="1037" y="215"/>
                    <a:pt x="799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8" name="Google Shape;11738;p61"/>
            <p:cNvSpPr/>
            <p:nvPr/>
          </p:nvSpPr>
          <p:spPr>
            <a:xfrm>
              <a:off x="1317466" y="2884883"/>
              <a:ext cx="258382" cy="348543"/>
            </a:xfrm>
            <a:custGeom>
              <a:avLst/>
              <a:gdLst/>
              <a:ahLst/>
              <a:cxnLst/>
              <a:rect l="l" t="t" r="r" b="b"/>
              <a:pathLst>
                <a:path w="8156" h="11002" extrusionOk="0">
                  <a:moveTo>
                    <a:pt x="3870" y="2322"/>
                  </a:moveTo>
                  <a:cubicBezTo>
                    <a:pt x="3929" y="3072"/>
                    <a:pt x="4370" y="3703"/>
                    <a:pt x="5013" y="4048"/>
                  </a:cubicBezTo>
                  <a:lnTo>
                    <a:pt x="5013" y="8966"/>
                  </a:lnTo>
                  <a:lnTo>
                    <a:pt x="893" y="8966"/>
                  </a:lnTo>
                  <a:lnTo>
                    <a:pt x="893" y="2322"/>
                  </a:lnTo>
                  <a:close/>
                  <a:moveTo>
                    <a:pt x="6013" y="0"/>
                  </a:moveTo>
                  <a:cubicBezTo>
                    <a:pt x="5239" y="0"/>
                    <a:pt x="4560" y="405"/>
                    <a:pt x="4179" y="1024"/>
                  </a:cubicBezTo>
                  <a:lnTo>
                    <a:pt x="2108" y="1024"/>
                  </a:lnTo>
                  <a:cubicBezTo>
                    <a:pt x="2024" y="1024"/>
                    <a:pt x="1941" y="1108"/>
                    <a:pt x="1941" y="1191"/>
                  </a:cubicBezTo>
                  <a:cubicBezTo>
                    <a:pt x="1941" y="1286"/>
                    <a:pt x="2024" y="1358"/>
                    <a:pt x="2108" y="1358"/>
                  </a:cubicBezTo>
                  <a:lnTo>
                    <a:pt x="4013" y="1358"/>
                  </a:lnTo>
                  <a:cubicBezTo>
                    <a:pt x="3929" y="1560"/>
                    <a:pt x="3882" y="1786"/>
                    <a:pt x="3870" y="2024"/>
                  </a:cubicBezTo>
                  <a:lnTo>
                    <a:pt x="726" y="2024"/>
                  </a:lnTo>
                  <a:cubicBezTo>
                    <a:pt x="631" y="2024"/>
                    <a:pt x="560" y="2096"/>
                    <a:pt x="560" y="2191"/>
                  </a:cubicBezTo>
                  <a:lnTo>
                    <a:pt x="560" y="9132"/>
                  </a:lnTo>
                  <a:cubicBezTo>
                    <a:pt x="560" y="9216"/>
                    <a:pt x="631" y="9287"/>
                    <a:pt x="726" y="9287"/>
                  </a:cubicBezTo>
                  <a:lnTo>
                    <a:pt x="5156" y="9287"/>
                  </a:lnTo>
                  <a:cubicBezTo>
                    <a:pt x="5251" y="9287"/>
                    <a:pt x="5322" y="9216"/>
                    <a:pt x="5322" y="9132"/>
                  </a:cubicBezTo>
                  <a:lnTo>
                    <a:pt x="5322" y="4191"/>
                  </a:lnTo>
                  <a:cubicBezTo>
                    <a:pt x="5394" y="4215"/>
                    <a:pt x="5489" y="4227"/>
                    <a:pt x="5560" y="4251"/>
                  </a:cubicBezTo>
                  <a:lnTo>
                    <a:pt x="5560" y="10680"/>
                  </a:lnTo>
                  <a:lnTo>
                    <a:pt x="322" y="10680"/>
                  </a:lnTo>
                  <a:lnTo>
                    <a:pt x="322" y="10263"/>
                  </a:lnTo>
                  <a:cubicBezTo>
                    <a:pt x="322" y="10168"/>
                    <a:pt x="250" y="10097"/>
                    <a:pt x="155" y="10097"/>
                  </a:cubicBezTo>
                  <a:cubicBezTo>
                    <a:pt x="72" y="10097"/>
                    <a:pt x="0" y="10168"/>
                    <a:pt x="0" y="10263"/>
                  </a:cubicBezTo>
                  <a:lnTo>
                    <a:pt x="0" y="10835"/>
                  </a:lnTo>
                  <a:cubicBezTo>
                    <a:pt x="0" y="10930"/>
                    <a:pt x="72" y="11002"/>
                    <a:pt x="155" y="11002"/>
                  </a:cubicBezTo>
                  <a:lnTo>
                    <a:pt x="5727" y="11002"/>
                  </a:lnTo>
                  <a:cubicBezTo>
                    <a:pt x="5810" y="11002"/>
                    <a:pt x="5894" y="10930"/>
                    <a:pt x="5894" y="10835"/>
                  </a:cubicBezTo>
                  <a:lnTo>
                    <a:pt x="5894" y="4286"/>
                  </a:lnTo>
                  <a:lnTo>
                    <a:pt x="6013" y="4286"/>
                  </a:lnTo>
                  <a:cubicBezTo>
                    <a:pt x="6525" y="4286"/>
                    <a:pt x="7025" y="4108"/>
                    <a:pt x="7406" y="3775"/>
                  </a:cubicBezTo>
                  <a:cubicBezTo>
                    <a:pt x="7799" y="3441"/>
                    <a:pt x="8049" y="2977"/>
                    <a:pt x="8120" y="2477"/>
                  </a:cubicBezTo>
                  <a:cubicBezTo>
                    <a:pt x="8156" y="2381"/>
                    <a:pt x="8096" y="2310"/>
                    <a:pt x="8001" y="2298"/>
                  </a:cubicBezTo>
                  <a:cubicBezTo>
                    <a:pt x="7994" y="2297"/>
                    <a:pt x="7987" y="2297"/>
                    <a:pt x="7980" y="2297"/>
                  </a:cubicBezTo>
                  <a:cubicBezTo>
                    <a:pt x="7904" y="2297"/>
                    <a:pt x="7833" y="2353"/>
                    <a:pt x="7823" y="2429"/>
                  </a:cubicBezTo>
                  <a:cubicBezTo>
                    <a:pt x="7692" y="3322"/>
                    <a:pt x="6930" y="3977"/>
                    <a:pt x="6025" y="3977"/>
                  </a:cubicBezTo>
                  <a:cubicBezTo>
                    <a:pt x="5013" y="3977"/>
                    <a:pt x="4191" y="3155"/>
                    <a:pt x="4191" y="2143"/>
                  </a:cubicBezTo>
                  <a:cubicBezTo>
                    <a:pt x="4191" y="1131"/>
                    <a:pt x="5013" y="322"/>
                    <a:pt x="6025" y="322"/>
                  </a:cubicBezTo>
                  <a:cubicBezTo>
                    <a:pt x="6918" y="322"/>
                    <a:pt x="7680" y="953"/>
                    <a:pt x="7823" y="1846"/>
                  </a:cubicBezTo>
                  <a:cubicBezTo>
                    <a:pt x="7833" y="1933"/>
                    <a:pt x="7914" y="1990"/>
                    <a:pt x="7982" y="1990"/>
                  </a:cubicBezTo>
                  <a:cubicBezTo>
                    <a:pt x="7989" y="1990"/>
                    <a:pt x="7995" y="1990"/>
                    <a:pt x="8001" y="1989"/>
                  </a:cubicBezTo>
                  <a:cubicBezTo>
                    <a:pt x="8096" y="1965"/>
                    <a:pt x="8156" y="1881"/>
                    <a:pt x="8132" y="1798"/>
                  </a:cubicBezTo>
                  <a:cubicBezTo>
                    <a:pt x="8049" y="1310"/>
                    <a:pt x="7799" y="857"/>
                    <a:pt x="7406" y="524"/>
                  </a:cubicBezTo>
                  <a:cubicBezTo>
                    <a:pt x="7025" y="191"/>
                    <a:pt x="6513" y="0"/>
                    <a:pt x="6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9" name="Google Shape;11739;p61"/>
            <p:cNvSpPr/>
            <p:nvPr/>
          </p:nvSpPr>
          <p:spPr>
            <a:xfrm>
              <a:off x="1467186" y="2912033"/>
              <a:ext cx="82653" cy="82273"/>
            </a:xfrm>
            <a:custGeom>
              <a:avLst/>
              <a:gdLst/>
              <a:ahLst/>
              <a:cxnLst/>
              <a:rect l="l" t="t" r="r" b="b"/>
              <a:pathLst>
                <a:path w="2609" h="2597" extrusionOk="0">
                  <a:moveTo>
                    <a:pt x="334" y="1263"/>
                  </a:moveTo>
                  <a:lnTo>
                    <a:pt x="418" y="1298"/>
                  </a:lnTo>
                  <a:cubicBezTo>
                    <a:pt x="656" y="1394"/>
                    <a:pt x="715" y="1489"/>
                    <a:pt x="715" y="1524"/>
                  </a:cubicBezTo>
                  <a:cubicBezTo>
                    <a:pt x="715" y="1560"/>
                    <a:pt x="656" y="1644"/>
                    <a:pt x="453" y="1751"/>
                  </a:cubicBezTo>
                  <a:cubicBezTo>
                    <a:pt x="370" y="1620"/>
                    <a:pt x="334" y="1465"/>
                    <a:pt x="334" y="1310"/>
                  </a:cubicBezTo>
                  <a:lnTo>
                    <a:pt x="334" y="1286"/>
                  </a:lnTo>
                  <a:lnTo>
                    <a:pt x="334" y="1263"/>
                  </a:lnTo>
                  <a:close/>
                  <a:moveTo>
                    <a:pt x="1192" y="334"/>
                  </a:moveTo>
                  <a:lnTo>
                    <a:pt x="1192" y="334"/>
                  </a:lnTo>
                  <a:cubicBezTo>
                    <a:pt x="1180" y="358"/>
                    <a:pt x="1168" y="381"/>
                    <a:pt x="1144" y="393"/>
                  </a:cubicBezTo>
                  <a:cubicBezTo>
                    <a:pt x="1013" y="620"/>
                    <a:pt x="1084" y="786"/>
                    <a:pt x="1144" y="870"/>
                  </a:cubicBezTo>
                  <a:cubicBezTo>
                    <a:pt x="1299" y="1084"/>
                    <a:pt x="1501" y="1132"/>
                    <a:pt x="1656" y="1155"/>
                  </a:cubicBezTo>
                  <a:cubicBezTo>
                    <a:pt x="1835" y="1203"/>
                    <a:pt x="1846" y="1203"/>
                    <a:pt x="1858" y="1322"/>
                  </a:cubicBezTo>
                  <a:cubicBezTo>
                    <a:pt x="1858" y="1429"/>
                    <a:pt x="1680" y="1548"/>
                    <a:pt x="1501" y="1644"/>
                  </a:cubicBezTo>
                  <a:cubicBezTo>
                    <a:pt x="1299" y="1786"/>
                    <a:pt x="1049" y="1929"/>
                    <a:pt x="942" y="2179"/>
                  </a:cubicBezTo>
                  <a:cubicBezTo>
                    <a:pt x="846" y="2156"/>
                    <a:pt x="775" y="2108"/>
                    <a:pt x="703" y="2048"/>
                  </a:cubicBezTo>
                  <a:cubicBezTo>
                    <a:pt x="680" y="2036"/>
                    <a:pt x="668" y="2025"/>
                    <a:pt x="656" y="2025"/>
                  </a:cubicBezTo>
                  <a:cubicBezTo>
                    <a:pt x="918" y="1870"/>
                    <a:pt x="1037" y="1691"/>
                    <a:pt x="1037" y="1513"/>
                  </a:cubicBezTo>
                  <a:cubicBezTo>
                    <a:pt x="1037" y="1370"/>
                    <a:pt x="953" y="1155"/>
                    <a:pt x="537" y="989"/>
                  </a:cubicBezTo>
                  <a:cubicBezTo>
                    <a:pt x="489" y="977"/>
                    <a:pt x="430" y="953"/>
                    <a:pt x="406" y="917"/>
                  </a:cubicBezTo>
                  <a:cubicBezTo>
                    <a:pt x="537" y="596"/>
                    <a:pt x="846" y="381"/>
                    <a:pt x="1192" y="334"/>
                  </a:cubicBezTo>
                  <a:close/>
                  <a:moveTo>
                    <a:pt x="1632" y="370"/>
                  </a:moveTo>
                  <a:cubicBezTo>
                    <a:pt x="1858" y="441"/>
                    <a:pt x="2049" y="620"/>
                    <a:pt x="2180" y="834"/>
                  </a:cubicBezTo>
                  <a:cubicBezTo>
                    <a:pt x="2251" y="965"/>
                    <a:pt x="2275" y="1108"/>
                    <a:pt x="2275" y="1274"/>
                  </a:cubicBezTo>
                  <a:cubicBezTo>
                    <a:pt x="2251" y="1644"/>
                    <a:pt x="2049" y="1977"/>
                    <a:pt x="1727" y="2132"/>
                  </a:cubicBezTo>
                  <a:cubicBezTo>
                    <a:pt x="1596" y="2215"/>
                    <a:pt x="1442" y="2239"/>
                    <a:pt x="1299" y="2239"/>
                  </a:cubicBezTo>
                  <a:cubicBezTo>
                    <a:pt x="1370" y="2132"/>
                    <a:pt x="1501" y="2036"/>
                    <a:pt x="1704" y="1917"/>
                  </a:cubicBezTo>
                  <a:cubicBezTo>
                    <a:pt x="1942" y="1763"/>
                    <a:pt x="2216" y="1584"/>
                    <a:pt x="2204" y="1286"/>
                  </a:cubicBezTo>
                  <a:cubicBezTo>
                    <a:pt x="2192" y="905"/>
                    <a:pt x="1918" y="846"/>
                    <a:pt x="1739" y="798"/>
                  </a:cubicBezTo>
                  <a:cubicBezTo>
                    <a:pt x="1620" y="762"/>
                    <a:pt x="1501" y="751"/>
                    <a:pt x="1442" y="643"/>
                  </a:cubicBezTo>
                  <a:cubicBezTo>
                    <a:pt x="1418" y="608"/>
                    <a:pt x="1454" y="512"/>
                    <a:pt x="1632" y="370"/>
                  </a:cubicBezTo>
                  <a:close/>
                  <a:moveTo>
                    <a:pt x="1299" y="0"/>
                  </a:moveTo>
                  <a:cubicBezTo>
                    <a:pt x="727" y="0"/>
                    <a:pt x="227" y="358"/>
                    <a:pt x="60" y="905"/>
                  </a:cubicBezTo>
                  <a:cubicBezTo>
                    <a:pt x="13" y="1024"/>
                    <a:pt x="1" y="1155"/>
                    <a:pt x="1" y="1286"/>
                  </a:cubicBezTo>
                  <a:lnTo>
                    <a:pt x="1" y="1322"/>
                  </a:lnTo>
                  <a:cubicBezTo>
                    <a:pt x="1" y="1608"/>
                    <a:pt x="96" y="1858"/>
                    <a:pt x="275" y="2084"/>
                  </a:cubicBezTo>
                  <a:lnTo>
                    <a:pt x="275" y="2096"/>
                  </a:lnTo>
                  <a:cubicBezTo>
                    <a:pt x="346" y="2179"/>
                    <a:pt x="418" y="2263"/>
                    <a:pt x="513" y="2334"/>
                  </a:cubicBezTo>
                  <a:cubicBezTo>
                    <a:pt x="656" y="2453"/>
                    <a:pt x="846" y="2525"/>
                    <a:pt x="1049" y="2572"/>
                  </a:cubicBezTo>
                  <a:cubicBezTo>
                    <a:pt x="1120" y="2584"/>
                    <a:pt x="1203" y="2596"/>
                    <a:pt x="1299" y="2596"/>
                  </a:cubicBezTo>
                  <a:cubicBezTo>
                    <a:pt x="1501" y="2596"/>
                    <a:pt x="1704" y="2560"/>
                    <a:pt x="1894" y="2465"/>
                  </a:cubicBezTo>
                  <a:cubicBezTo>
                    <a:pt x="2323" y="2239"/>
                    <a:pt x="2608" y="1798"/>
                    <a:pt x="2608" y="1310"/>
                  </a:cubicBezTo>
                  <a:cubicBezTo>
                    <a:pt x="2597" y="1084"/>
                    <a:pt x="2537" y="870"/>
                    <a:pt x="2442" y="691"/>
                  </a:cubicBezTo>
                  <a:cubicBezTo>
                    <a:pt x="2275" y="370"/>
                    <a:pt x="1965" y="131"/>
                    <a:pt x="1620" y="36"/>
                  </a:cubicBezTo>
                  <a:cubicBezTo>
                    <a:pt x="1525" y="12"/>
                    <a:pt x="1406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0" name="Google Shape;11740;p61"/>
            <p:cNvSpPr/>
            <p:nvPr/>
          </p:nvSpPr>
          <p:spPr>
            <a:xfrm>
              <a:off x="1403066" y="2929393"/>
              <a:ext cx="15872" cy="15872"/>
            </a:xfrm>
            <a:custGeom>
              <a:avLst/>
              <a:gdLst/>
              <a:ahLst/>
              <a:cxnLst/>
              <a:rect l="l" t="t" r="r" b="b"/>
              <a:pathLst>
                <a:path w="501" h="501" extrusionOk="0">
                  <a:moveTo>
                    <a:pt x="251" y="0"/>
                  </a:moveTo>
                  <a:cubicBezTo>
                    <a:pt x="108" y="0"/>
                    <a:pt x="1" y="119"/>
                    <a:pt x="1" y="250"/>
                  </a:cubicBezTo>
                  <a:cubicBezTo>
                    <a:pt x="1" y="381"/>
                    <a:pt x="120" y="500"/>
                    <a:pt x="251" y="500"/>
                  </a:cubicBezTo>
                  <a:cubicBezTo>
                    <a:pt x="382" y="500"/>
                    <a:pt x="501" y="381"/>
                    <a:pt x="501" y="250"/>
                  </a:cubicBezTo>
                  <a:cubicBezTo>
                    <a:pt x="501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1" name="Google Shape;11741;p61"/>
            <p:cNvSpPr/>
            <p:nvPr/>
          </p:nvSpPr>
          <p:spPr>
            <a:xfrm>
              <a:off x="1361597" y="3023293"/>
              <a:ext cx="98461" cy="30983"/>
            </a:xfrm>
            <a:custGeom>
              <a:avLst/>
              <a:gdLst/>
              <a:ahLst/>
              <a:cxnLst/>
              <a:rect l="l" t="t" r="r" b="b"/>
              <a:pathLst>
                <a:path w="3108" h="978" extrusionOk="0">
                  <a:moveTo>
                    <a:pt x="2798" y="322"/>
                  </a:moveTo>
                  <a:lnTo>
                    <a:pt x="2798" y="656"/>
                  </a:lnTo>
                  <a:lnTo>
                    <a:pt x="322" y="656"/>
                  </a:lnTo>
                  <a:lnTo>
                    <a:pt x="322" y="322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10"/>
                  </a:lnTo>
                  <a:cubicBezTo>
                    <a:pt x="0" y="906"/>
                    <a:pt x="72" y="977"/>
                    <a:pt x="167" y="977"/>
                  </a:cubicBezTo>
                  <a:lnTo>
                    <a:pt x="2953" y="977"/>
                  </a:lnTo>
                  <a:cubicBezTo>
                    <a:pt x="3036" y="977"/>
                    <a:pt x="3108" y="906"/>
                    <a:pt x="3108" y="810"/>
                  </a:cubicBezTo>
                  <a:lnTo>
                    <a:pt x="3108" y="156"/>
                  </a:lnTo>
                  <a:cubicBezTo>
                    <a:pt x="3108" y="72"/>
                    <a:pt x="3036" y="1"/>
                    <a:pt x="2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2" name="Google Shape;11742;p61"/>
            <p:cNvSpPr/>
            <p:nvPr/>
          </p:nvSpPr>
          <p:spPr>
            <a:xfrm>
              <a:off x="1361597" y="3061024"/>
              <a:ext cx="98461" cy="30951"/>
            </a:xfrm>
            <a:custGeom>
              <a:avLst/>
              <a:gdLst/>
              <a:ahLst/>
              <a:cxnLst/>
              <a:rect l="l" t="t" r="r" b="b"/>
              <a:pathLst>
                <a:path w="3108" h="977" extrusionOk="0">
                  <a:moveTo>
                    <a:pt x="2798" y="322"/>
                  </a:moveTo>
                  <a:lnTo>
                    <a:pt x="2798" y="655"/>
                  </a:lnTo>
                  <a:lnTo>
                    <a:pt x="322" y="655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810"/>
                  </a:lnTo>
                  <a:cubicBezTo>
                    <a:pt x="0" y="905"/>
                    <a:pt x="72" y="977"/>
                    <a:pt x="167" y="977"/>
                  </a:cubicBezTo>
                  <a:lnTo>
                    <a:pt x="2953" y="977"/>
                  </a:lnTo>
                  <a:cubicBezTo>
                    <a:pt x="3036" y="977"/>
                    <a:pt x="3108" y="905"/>
                    <a:pt x="3108" y="810"/>
                  </a:cubicBezTo>
                  <a:lnTo>
                    <a:pt x="3108" y="155"/>
                  </a:lnTo>
                  <a:cubicBezTo>
                    <a:pt x="3108" y="72"/>
                    <a:pt x="3036" y="0"/>
                    <a:pt x="2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3" name="Google Shape;11743;p61"/>
            <p:cNvSpPr/>
            <p:nvPr/>
          </p:nvSpPr>
          <p:spPr>
            <a:xfrm>
              <a:off x="1361597" y="3098755"/>
              <a:ext cx="98461" cy="30951"/>
            </a:xfrm>
            <a:custGeom>
              <a:avLst/>
              <a:gdLst/>
              <a:ahLst/>
              <a:cxnLst/>
              <a:rect l="l" t="t" r="r" b="b"/>
              <a:pathLst>
                <a:path w="3108" h="977" extrusionOk="0">
                  <a:moveTo>
                    <a:pt x="2798" y="333"/>
                  </a:moveTo>
                  <a:lnTo>
                    <a:pt x="2798" y="667"/>
                  </a:lnTo>
                  <a:lnTo>
                    <a:pt x="322" y="667"/>
                  </a:lnTo>
                  <a:lnTo>
                    <a:pt x="322" y="333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810"/>
                  </a:lnTo>
                  <a:cubicBezTo>
                    <a:pt x="0" y="905"/>
                    <a:pt x="72" y="976"/>
                    <a:pt x="167" y="976"/>
                  </a:cubicBezTo>
                  <a:lnTo>
                    <a:pt x="2953" y="976"/>
                  </a:lnTo>
                  <a:cubicBezTo>
                    <a:pt x="3036" y="976"/>
                    <a:pt x="3108" y="905"/>
                    <a:pt x="3108" y="810"/>
                  </a:cubicBezTo>
                  <a:lnTo>
                    <a:pt x="3108" y="155"/>
                  </a:lnTo>
                  <a:cubicBezTo>
                    <a:pt x="3108" y="72"/>
                    <a:pt x="3036" y="0"/>
                    <a:pt x="2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44" name="Google Shape;11744;p61"/>
          <p:cNvGrpSpPr/>
          <p:nvPr/>
        </p:nvGrpSpPr>
        <p:grpSpPr>
          <a:xfrm>
            <a:off x="3121167" y="2884883"/>
            <a:ext cx="258414" cy="348543"/>
            <a:chOff x="3121167" y="2884883"/>
            <a:chExt cx="258414" cy="348543"/>
          </a:xfrm>
        </p:grpSpPr>
        <p:sp>
          <p:nvSpPr>
            <p:cNvPr id="11745" name="Google Shape;11745;p61"/>
            <p:cNvSpPr/>
            <p:nvPr/>
          </p:nvSpPr>
          <p:spPr>
            <a:xfrm>
              <a:off x="3196249" y="2932023"/>
              <a:ext cx="37351" cy="10581"/>
            </a:xfrm>
            <a:custGeom>
              <a:avLst/>
              <a:gdLst/>
              <a:ahLst/>
              <a:cxnLst/>
              <a:rect l="l" t="t" r="r" b="b"/>
              <a:pathLst>
                <a:path w="1179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1012" y="334"/>
                  </a:lnTo>
                  <a:cubicBezTo>
                    <a:pt x="1096" y="334"/>
                    <a:pt x="1179" y="262"/>
                    <a:pt x="1179" y="167"/>
                  </a:cubicBezTo>
                  <a:cubicBezTo>
                    <a:pt x="1179" y="84"/>
                    <a:pt x="1096" y="1"/>
                    <a:pt x="1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6" name="Google Shape;11746;p61"/>
            <p:cNvSpPr/>
            <p:nvPr/>
          </p:nvSpPr>
          <p:spPr>
            <a:xfrm>
              <a:off x="3165297" y="3031593"/>
              <a:ext cx="98873" cy="31332"/>
            </a:xfrm>
            <a:custGeom>
              <a:avLst/>
              <a:gdLst/>
              <a:ahLst/>
              <a:cxnLst/>
              <a:rect l="l" t="t" r="r" b="b"/>
              <a:pathLst>
                <a:path w="3121" h="989" extrusionOk="0">
                  <a:moveTo>
                    <a:pt x="2787" y="334"/>
                  </a:moveTo>
                  <a:lnTo>
                    <a:pt x="2787" y="656"/>
                  </a:lnTo>
                  <a:lnTo>
                    <a:pt x="334" y="656"/>
                  </a:lnTo>
                  <a:lnTo>
                    <a:pt x="334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822"/>
                  </a:lnTo>
                  <a:cubicBezTo>
                    <a:pt x="1" y="906"/>
                    <a:pt x="84" y="989"/>
                    <a:pt x="168" y="989"/>
                  </a:cubicBezTo>
                  <a:lnTo>
                    <a:pt x="2954" y="989"/>
                  </a:lnTo>
                  <a:cubicBezTo>
                    <a:pt x="3049" y="989"/>
                    <a:pt x="3120" y="906"/>
                    <a:pt x="3120" y="822"/>
                  </a:cubicBezTo>
                  <a:lnTo>
                    <a:pt x="3120" y="167"/>
                  </a:lnTo>
                  <a:cubicBezTo>
                    <a:pt x="3120" y="60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7" name="Google Shape;11747;p61"/>
            <p:cNvSpPr/>
            <p:nvPr/>
          </p:nvSpPr>
          <p:spPr>
            <a:xfrm>
              <a:off x="3165297" y="3075343"/>
              <a:ext cx="98873" cy="10613"/>
            </a:xfrm>
            <a:custGeom>
              <a:avLst/>
              <a:gdLst/>
              <a:ahLst/>
              <a:cxnLst/>
              <a:rect l="l" t="t" r="r" b="b"/>
              <a:pathLst>
                <a:path w="3121" h="335" extrusionOk="0">
                  <a:moveTo>
                    <a:pt x="168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263"/>
                    <a:pt x="84" y="334"/>
                    <a:pt x="168" y="334"/>
                  </a:cubicBezTo>
                  <a:lnTo>
                    <a:pt x="2954" y="334"/>
                  </a:lnTo>
                  <a:cubicBezTo>
                    <a:pt x="3049" y="334"/>
                    <a:pt x="3120" y="263"/>
                    <a:pt x="3120" y="168"/>
                  </a:cubicBezTo>
                  <a:cubicBezTo>
                    <a:pt x="3120" y="84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8" name="Google Shape;11748;p61"/>
            <p:cNvSpPr/>
            <p:nvPr/>
          </p:nvSpPr>
          <p:spPr>
            <a:xfrm>
              <a:off x="3165297" y="3099863"/>
              <a:ext cx="98873" cy="10613"/>
            </a:xfrm>
            <a:custGeom>
              <a:avLst/>
              <a:gdLst/>
              <a:ahLst/>
              <a:cxnLst/>
              <a:rect l="l" t="t" r="r" b="b"/>
              <a:pathLst>
                <a:path w="3121" h="335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cubicBezTo>
                    <a:pt x="1" y="263"/>
                    <a:pt x="84" y="334"/>
                    <a:pt x="168" y="334"/>
                  </a:cubicBezTo>
                  <a:lnTo>
                    <a:pt x="2954" y="334"/>
                  </a:lnTo>
                  <a:cubicBezTo>
                    <a:pt x="3049" y="334"/>
                    <a:pt x="3120" y="263"/>
                    <a:pt x="3120" y="167"/>
                  </a:cubicBezTo>
                  <a:cubicBezTo>
                    <a:pt x="3120" y="84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9" name="Google Shape;11749;p61"/>
            <p:cNvSpPr/>
            <p:nvPr/>
          </p:nvSpPr>
          <p:spPr>
            <a:xfrm>
              <a:off x="3198498" y="3181725"/>
              <a:ext cx="33232" cy="3285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7" y="715"/>
                    <a:pt x="334" y="620"/>
                    <a:pt x="334" y="512"/>
                  </a:cubicBezTo>
                  <a:cubicBezTo>
                    <a:pt x="334" y="417"/>
                    <a:pt x="417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8" y="798"/>
                    <a:pt x="1048" y="512"/>
                  </a:cubicBezTo>
                  <a:cubicBezTo>
                    <a:pt x="1048" y="215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0" name="Google Shape;11750;p61"/>
            <p:cNvSpPr/>
            <p:nvPr/>
          </p:nvSpPr>
          <p:spPr>
            <a:xfrm>
              <a:off x="3121167" y="2884883"/>
              <a:ext cx="258414" cy="348543"/>
            </a:xfrm>
            <a:custGeom>
              <a:avLst/>
              <a:gdLst/>
              <a:ahLst/>
              <a:cxnLst/>
              <a:rect l="l" t="t" r="r" b="b"/>
              <a:pathLst>
                <a:path w="8157" h="11002" extrusionOk="0">
                  <a:moveTo>
                    <a:pt x="6014" y="0"/>
                  </a:moveTo>
                  <a:cubicBezTo>
                    <a:pt x="5240" y="0"/>
                    <a:pt x="4573" y="405"/>
                    <a:pt x="4180" y="1024"/>
                  </a:cubicBezTo>
                  <a:lnTo>
                    <a:pt x="168" y="1024"/>
                  </a:lnTo>
                  <a:cubicBezTo>
                    <a:pt x="72" y="1024"/>
                    <a:pt x="1" y="1108"/>
                    <a:pt x="1" y="1191"/>
                  </a:cubicBezTo>
                  <a:lnTo>
                    <a:pt x="1" y="9549"/>
                  </a:lnTo>
                  <a:cubicBezTo>
                    <a:pt x="1" y="9632"/>
                    <a:pt x="72" y="9704"/>
                    <a:pt x="168" y="9704"/>
                  </a:cubicBezTo>
                  <a:cubicBezTo>
                    <a:pt x="251" y="9704"/>
                    <a:pt x="334" y="9632"/>
                    <a:pt x="334" y="9549"/>
                  </a:cubicBezTo>
                  <a:lnTo>
                    <a:pt x="334" y="1358"/>
                  </a:lnTo>
                  <a:lnTo>
                    <a:pt x="4025" y="1358"/>
                  </a:lnTo>
                  <a:cubicBezTo>
                    <a:pt x="3930" y="1560"/>
                    <a:pt x="3882" y="1786"/>
                    <a:pt x="3870" y="2024"/>
                  </a:cubicBezTo>
                  <a:lnTo>
                    <a:pt x="727" y="2024"/>
                  </a:lnTo>
                  <a:cubicBezTo>
                    <a:pt x="644" y="2024"/>
                    <a:pt x="572" y="2096"/>
                    <a:pt x="572" y="2191"/>
                  </a:cubicBezTo>
                  <a:lnTo>
                    <a:pt x="572" y="9132"/>
                  </a:lnTo>
                  <a:cubicBezTo>
                    <a:pt x="572" y="9216"/>
                    <a:pt x="644" y="9287"/>
                    <a:pt x="727" y="9287"/>
                  </a:cubicBezTo>
                  <a:lnTo>
                    <a:pt x="3978" y="9287"/>
                  </a:lnTo>
                  <a:cubicBezTo>
                    <a:pt x="4061" y="9287"/>
                    <a:pt x="4144" y="9216"/>
                    <a:pt x="4144" y="9132"/>
                  </a:cubicBezTo>
                  <a:cubicBezTo>
                    <a:pt x="4144" y="9037"/>
                    <a:pt x="4061" y="8966"/>
                    <a:pt x="3978" y="8966"/>
                  </a:cubicBezTo>
                  <a:lnTo>
                    <a:pt x="894" y="8966"/>
                  </a:lnTo>
                  <a:lnTo>
                    <a:pt x="894" y="2322"/>
                  </a:lnTo>
                  <a:lnTo>
                    <a:pt x="3870" y="2322"/>
                  </a:lnTo>
                  <a:cubicBezTo>
                    <a:pt x="3930" y="3072"/>
                    <a:pt x="4382" y="3703"/>
                    <a:pt x="5013" y="4048"/>
                  </a:cubicBezTo>
                  <a:lnTo>
                    <a:pt x="5013" y="8966"/>
                  </a:lnTo>
                  <a:lnTo>
                    <a:pt x="4620" y="8966"/>
                  </a:lnTo>
                  <a:cubicBezTo>
                    <a:pt x="4525" y="8966"/>
                    <a:pt x="4454" y="9037"/>
                    <a:pt x="4454" y="9132"/>
                  </a:cubicBezTo>
                  <a:cubicBezTo>
                    <a:pt x="4454" y="9216"/>
                    <a:pt x="4525" y="9287"/>
                    <a:pt x="4620" y="9287"/>
                  </a:cubicBezTo>
                  <a:lnTo>
                    <a:pt x="5180" y="9287"/>
                  </a:lnTo>
                  <a:cubicBezTo>
                    <a:pt x="5275" y="9287"/>
                    <a:pt x="5347" y="9216"/>
                    <a:pt x="5347" y="9132"/>
                  </a:cubicBezTo>
                  <a:lnTo>
                    <a:pt x="5347" y="4191"/>
                  </a:lnTo>
                  <a:cubicBezTo>
                    <a:pt x="5418" y="4215"/>
                    <a:pt x="5513" y="4227"/>
                    <a:pt x="5585" y="4251"/>
                  </a:cubicBezTo>
                  <a:lnTo>
                    <a:pt x="5585" y="10680"/>
                  </a:lnTo>
                  <a:lnTo>
                    <a:pt x="346" y="10680"/>
                  </a:lnTo>
                  <a:lnTo>
                    <a:pt x="346" y="10168"/>
                  </a:lnTo>
                  <a:cubicBezTo>
                    <a:pt x="346" y="10085"/>
                    <a:pt x="263" y="10001"/>
                    <a:pt x="179" y="10001"/>
                  </a:cubicBezTo>
                  <a:cubicBezTo>
                    <a:pt x="84" y="10001"/>
                    <a:pt x="13" y="10085"/>
                    <a:pt x="13" y="10168"/>
                  </a:cubicBezTo>
                  <a:lnTo>
                    <a:pt x="13" y="10835"/>
                  </a:lnTo>
                  <a:cubicBezTo>
                    <a:pt x="13" y="10930"/>
                    <a:pt x="84" y="11002"/>
                    <a:pt x="179" y="11002"/>
                  </a:cubicBezTo>
                  <a:lnTo>
                    <a:pt x="5752" y="11002"/>
                  </a:lnTo>
                  <a:cubicBezTo>
                    <a:pt x="5835" y="11002"/>
                    <a:pt x="5906" y="10930"/>
                    <a:pt x="5906" y="10835"/>
                  </a:cubicBezTo>
                  <a:lnTo>
                    <a:pt x="5906" y="4286"/>
                  </a:lnTo>
                  <a:lnTo>
                    <a:pt x="6025" y="4286"/>
                  </a:lnTo>
                  <a:cubicBezTo>
                    <a:pt x="6537" y="4286"/>
                    <a:pt x="7037" y="4108"/>
                    <a:pt x="7430" y="3775"/>
                  </a:cubicBezTo>
                  <a:cubicBezTo>
                    <a:pt x="7811" y="3441"/>
                    <a:pt x="8061" y="2977"/>
                    <a:pt x="8157" y="2489"/>
                  </a:cubicBezTo>
                  <a:cubicBezTo>
                    <a:pt x="8157" y="2417"/>
                    <a:pt x="8097" y="2322"/>
                    <a:pt x="8014" y="2310"/>
                  </a:cubicBezTo>
                  <a:cubicBezTo>
                    <a:pt x="8006" y="2309"/>
                    <a:pt x="7998" y="2309"/>
                    <a:pt x="7990" y="2309"/>
                  </a:cubicBezTo>
                  <a:cubicBezTo>
                    <a:pt x="7907" y="2309"/>
                    <a:pt x="7846" y="2365"/>
                    <a:pt x="7835" y="2441"/>
                  </a:cubicBezTo>
                  <a:cubicBezTo>
                    <a:pt x="7680" y="3322"/>
                    <a:pt x="6918" y="3977"/>
                    <a:pt x="6025" y="3977"/>
                  </a:cubicBezTo>
                  <a:cubicBezTo>
                    <a:pt x="5013" y="3977"/>
                    <a:pt x="4204" y="3155"/>
                    <a:pt x="4204" y="2143"/>
                  </a:cubicBezTo>
                  <a:cubicBezTo>
                    <a:pt x="4204" y="1131"/>
                    <a:pt x="5013" y="322"/>
                    <a:pt x="6025" y="322"/>
                  </a:cubicBezTo>
                  <a:cubicBezTo>
                    <a:pt x="6918" y="322"/>
                    <a:pt x="7692" y="988"/>
                    <a:pt x="7835" y="1870"/>
                  </a:cubicBezTo>
                  <a:cubicBezTo>
                    <a:pt x="7846" y="1946"/>
                    <a:pt x="7907" y="2002"/>
                    <a:pt x="7990" y="2002"/>
                  </a:cubicBezTo>
                  <a:cubicBezTo>
                    <a:pt x="7998" y="2002"/>
                    <a:pt x="8006" y="2002"/>
                    <a:pt x="8014" y="2000"/>
                  </a:cubicBezTo>
                  <a:cubicBezTo>
                    <a:pt x="8097" y="1989"/>
                    <a:pt x="8157" y="1905"/>
                    <a:pt x="8145" y="1822"/>
                  </a:cubicBezTo>
                  <a:cubicBezTo>
                    <a:pt x="8073" y="1310"/>
                    <a:pt x="7811" y="857"/>
                    <a:pt x="7430" y="524"/>
                  </a:cubicBezTo>
                  <a:cubicBezTo>
                    <a:pt x="7037" y="179"/>
                    <a:pt x="6537" y="0"/>
                    <a:pt x="60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1" name="Google Shape;11751;p61"/>
            <p:cNvSpPr/>
            <p:nvPr/>
          </p:nvSpPr>
          <p:spPr>
            <a:xfrm>
              <a:off x="3298448" y="2932403"/>
              <a:ext cx="28322" cy="54331"/>
            </a:xfrm>
            <a:custGeom>
              <a:avLst/>
              <a:gdLst/>
              <a:ahLst/>
              <a:cxnLst/>
              <a:rect l="l" t="t" r="r" b="b"/>
              <a:pathLst>
                <a:path w="894" h="1715" extrusionOk="0">
                  <a:moveTo>
                    <a:pt x="179" y="0"/>
                  </a:moveTo>
                  <a:cubicBezTo>
                    <a:pt x="96" y="0"/>
                    <a:pt x="13" y="84"/>
                    <a:pt x="13" y="167"/>
                  </a:cubicBezTo>
                  <a:cubicBezTo>
                    <a:pt x="13" y="262"/>
                    <a:pt x="96" y="334"/>
                    <a:pt x="179" y="334"/>
                  </a:cubicBezTo>
                  <a:lnTo>
                    <a:pt x="287" y="334"/>
                  </a:lnTo>
                  <a:lnTo>
                    <a:pt x="287" y="1393"/>
                  </a:lnTo>
                  <a:lnTo>
                    <a:pt x="167" y="1393"/>
                  </a:lnTo>
                  <a:cubicBezTo>
                    <a:pt x="72" y="1393"/>
                    <a:pt x="1" y="1465"/>
                    <a:pt x="1" y="1560"/>
                  </a:cubicBezTo>
                  <a:cubicBezTo>
                    <a:pt x="1" y="1643"/>
                    <a:pt x="72" y="1715"/>
                    <a:pt x="167" y="1715"/>
                  </a:cubicBezTo>
                  <a:lnTo>
                    <a:pt x="727" y="1715"/>
                  </a:lnTo>
                  <a:cubicBezTo>
                    <a:pt x="822" y="1715"/>
                    <a:pt x="894" y="1643"/>
                    <a:pt x="894" y="1560"/>
                  </a:cubicBezTo>
                  <a:cubicBezTo>
                    <a:pt x="894" y="1465"/>
                    <a:pt x="822" y="1393"/>
                    <a:pt x="727" y="1393"/>
                  </a:cubicBezTo>
                  <a:lnTo>
                    <a:pt x="608" y="1393"/>
                  </a:lnTo>
                  <a:lnTo>
                    <a:pt x="608" y="167"/>
                  </a:lnTo>
                  <a:cubicBezTo>
                    <a:pt x="608" y="84"/>
                    <a:pt x="537" y="0"/>
                    <a:pt x="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2" name="Google Shape;11752;p61"/>
            <p:cNvSpPr/>
            <p:nvPr/>
          </p:nvSpPr>
          <p:spPr>
            <a:xfrm>
              <a:off x="3302218" y="2916183"/>
              <a:ext cx="15492" cy="15111"/>
            </a:xfrm>
            <a:custGeom>
              <a:avLst/>
              <a:gdLst/>
              <a:ahLst/>
              <a:cxnLst/>
              <a:rect l="l" t="t" r="r" b="b"/>
              <a:pathLst>
                <a:path w="489" h="477" extrusionOk="0">
                  <a:moveTo>
                    <a:pt x="239" y="0"/>
                  </a:moveTo>
                  <a:cubicBezTo>
                    <a:pt x="108" y="0"/>
                    <a:pt x="1" y="108"/>
                    <a:pt x="1" y="239"/>
                  </a:cubicBezTo>
                  <a:cubicBezTo>
                    <a:pt x="1" y="370"/>
                    <a:pt x="108" y="477"/>
                    <a:pt x="239" y="477"/>
                  </a:cubicBezTo>
                  <a:cubicBezTo>
                    <a:pt x="370" y="477"/>
                    <a:pt x="477" y="370"/>
                    <a:pt x="477" y="239"/>
                  </a:cubicBezTo>
                  <a:cubicBezTo>
                    <a:pt x="489" y="108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53" name="Google Shape;11753;p61"/>
          <p:cNvGrpSpPr/>
          <p:nvPr/>
        </p:nvGrpSpPr>
        <p:grpSpPr>
          <a:xfrm>
            <a:off x="4899999" y="2882095"/>
            <a:ext cx="271244" cy="346801"/>
            <a:chOff x="4899999" y="2882095"/>
            <a:chExt cx="271244" cy="346801"/>
          </a:xfrm>
        </p:grpSpPr>
        <p:sp>
          <p:nvSpPr>
            <p:cNvPr id="11754" name="Google Shape;11754;p61"/>
            <p:cNvSpPr/>
            <p:nvPr/>
          </p:nvSpPr>
          <p:spPr>
            <a:xfrm>
              <a:off x="4899999" y="2882095"/>
              <a:ext cx="271244" cy="346801"/>
            </a:xfrm>
            <a:custGeom>
              <a:avLst/>
              <a:gdLst/>
              <a:ahLst/>
              <a:cxnLst/>
              <a:rect l="l" t="t" r="r" b="b"/>
              <a:pathLst>
                <a:path w="8562" h="10947" extrusionOk="0">
                  <a:moveTo>
                    <a:pt x="6609" y="1719"/>
                  </a:moveTo>
                  <a:cubicBezTo>
                    <a:pt x="6823" y="1803"/>
                    <a:pt x="6954" y="2041"/>
                    <a:pt x="6906" y="2279"/>
                  </a:cubicBezTo>
                  <a:lnTo>
                    <a:pt x="6716" y="3398"/>
                  </a:lnTo>
                  <a:lnTo>
                    <a:pt x="6502" y="3398"/>
                  </a:lnTo>
                  <a:cubicBezTo>
                    <a:pt x="6406" y="3398"/>
                    <a:pt x="6323" y="3327"/>
                    <a:pt x="6323" y="3220"/>
                  </a:cubicBezTo>
                  <a:lnTo>
                    <a:pt x="6323" y="1969"/>
                  </a:lnTo>
                  <a:cubicBezTo>
                    <a:pt x="6454" y="1910"/>
                    <a:pt x="6537" y="1815"/>
                    <a:pt x="6609" y="1719"/>
                  </a:cubicBezTo>
                  <a:close/>
                  <a:moveTo>
                    <a:pt x="2287" y="1684"/>
                  </a:moveTo>
                  <a:cubicBezTo>
                    <a:pt x="2287" y="1743"/>
                    <a:pt x="2263" y="1803"/>
                    <a:pt x="2263" y="1862"/>
                  </a:cubicBezTo>
                  <a:lnTo>
                    <a:pt x="2263" y="3231"/>
                  </a:lnTo>
                  <a:cubicBezTo>
                    <a:pt x="2263" y="3339"/>
                    <a:pt x="2191" y="3410"/>
                    <a:pt x="2084" y="3410"/>
                  </a:cubicBezTo>
                  <a:lnTo>
                    <a:pt x="1882" y="3410"/>
                  </a:lnTo>
                  <a:lnTo>
                    <a:pt x="1691" y="2291"/>
                  </a:lnTo>
                  <a:cubicBezTo>
                    <a:pt x="1656" y="2136"/>
                    <a:pt x="1703" y="1981"/>
                    <a:pt x="1810" y="1862"/>
                  </a:cubicBezTo>
                  <a:cubicBezTo>
                    <a:pt x="1906" y="1743"/>
                    <a:pt x="2037" y="1684"/>
                    <a:pt x="2203" y="1684"/>
                  </a:cubicBezTo>
                  <a:close/>
                  <a:moveTo>
                    <a:pt x="6454" y="386"/>
                  </a:moveTo>
                  <a:lnTo>
                    <a:pt x="6454" y="386"/>
                  </a:lnTo>
                  <a:cubicBezTo>
                    <a:pt x="6597" y="815"/>
                    <a:pt x="6573" y="1207"/>
                    <a:pt x="6394" y="1469"/>
                  </a:cubicBezTo>
                  <a:cubicBezTo>
                    <a:pt x="6228" y="1707"/>
                    <a:pt x="5954" y="1862"/>
                    <a:pt x="5680" y="1862"/>
                  </a:cubicBezTo>
                  <a:lnTo>
                    <a:pt x="3120" y="1862"/>
                  </a:lnTo>
                  <a:cubicBezTo>
                    <a:pt x="3025" y="1862"/>
                    <a:pt x="2953" y="1934"/>
                    <a:pt x="2953" y="2029"/>
                  </a:cubicBezTo>
                  <a:cubicBezTo>
                    <a:pt x="2953" y="2112"/>
                    <a:pt x="3025" y="2184"/>
                    <a:pt x="3120" y="2184"/>
                  </a:cubicBezTo>
                  <a:lnTo>
                    <a:pt x="5680" y="2184"/>
                  </a:lnTo>
                  <a:cubicBezTo>
                    <a:pt x="5799" y="2184"/>
                    <a:pt x="5918" y="2172"/>
                    <a:pt x="6037" y="2136"/>
                  </a:cubicBezTo>
                  <a:lnTo>
                    <a:pt x="6037" y="3220"/>
                  </a:lnTo>
                  <a:cubicBezTo>
                    <a:pt x="6037" y="3493"/>
                    <a:pt x="6252" y="3720"/>
                    <a:pt x="6537" y="3720"/>
                  </a:cubicBezTo>
                  <a:lnTo>
                    <a:pt x="6787" y="3720"/>
                  </a:lnTo>
                  <a:cubicBezTo>
                    <a:pt x="6871" y="3720"/>
                    <a:pt x="6942" y="3755"/>
                    <a:pt x="6990" y="3815"/>
                  </a:cubicBezTo>
                  <a:cubicBezTo>
                    <a:pt x="7025" y="3874"/>
                    <a:pt x="7061" y="3946"/>
                    <a:pt x="7061" y="4017"/>
                  </a:cubicBezTo>
                  <a:cubicBezTo>
                    <a:pt x="7049" y="4148"/>
                    <a:pt x="6930" y="4255"/>
                    <a:pt x="6763" y="4255"/>
                  </a:cubicBezTo>
                  <a:lnTo>
                    <a:pt x="6692" y="4255"/>
                  </a:lnTo>
                  <a:lnTo>
                    <a:pt x="6692" y="4244"/>
                  </a:lnTo>
                  <a:cubicBezTo>
                    <a:pt x="6692" y="4148"/>
                    <a:pt x="6609" y="4077"/>
                    <a:pt x="6525" y="4077"/>
                  </a:cubicBezTo>
                  <a:cubicBezTo>
                    <a:pt x="6430" y="4077"/>
                    <a:pt x="6359" y="4148"/>
                    <a:pt x="6359" y="4244"/>
                  </a:cubicBezTo>
                  <a:cubicBezTo>
                    <a:pt x="6359" y="5375"/>
                    <a:pt x="5442" y="6315"/>
                    <a:pt x="4287" y="6315"/>
                  </a:cubicBezTo>
                  <a:cubicBezTo>
                    <a:pt x="3180" y="6315"/>
                    <a:pt x="2239" y="5387"/>
                    <a:pt x="2239" y="4244"/>
                  </a:cubicBezTo>
                  <a:cubicBezTo>
                    <a:pt x="2239" y="4160"/>
                    <a:pt x="2168" y="4077"/>
                    <a:pt x="2072" y="4077"/>
                  </a:cubicBezTo>
                  <a:cubicBezTo>
                    <a:pt x="1989" y="4077"/>
                    <a:pt x="1906" y="4160"/>
                    <a:pt x="1906" y="4244"/>
                  </a:cubicBezTo>
                  <a:lnTo>
                    <a:pt x="1906" y="4255"/>
                  </a:lnTo>
                  <a:lnTo>
                    <a:pt x="1822" y="4255"/>
                  </a:lnTo>
                  <a:cubicBezTo>
                    <a:pt x="1751" y="4255"/>
                    <a:pt x="1668" y="4232"/>
                    <a:pt x="1632" y="4172"/>
                  </a:cubicBezTo>
                  <a:cubicBezTo>
                    <a:pt x="1584" y="4113"/>
                    <a:pt x="1549" y="4041"/>
                    <a:pt x="1549" y="3958"/>
                  </a:cubicBezTo>
                  <a:cubicBezTo>
                    <a:pt x="1572" y="3827"/>
                    <a:pt x="1691" y="3720"/>
                    <a:pt x="1846" y="3720"/>
                  </a:cubicBezTo>
                  <a:lnTo>
                    <a:pt x="2084" y="3720"/>
                  </a:lnTo>
                  <a:cubicBezTo>
                    <a:pt x="2370" y="3720"/>
                    <a:pt x="2596" y="3505"/>
                    <a:pt x="2596" y="3220"/>
                  </a:cubicBezTo>
                  <a:lnTo>
                    <a:pt x="2596" y="1850"/>
                  </a:lnTo>
                  <a:cubicBezTo>
                    <a:pt x="2596" y="1184"/>
                    <a:pt x="3132" y="648"/>
                    <a:pt x="3799" y="648"/>
                  </a:cubicBezTo>
                  <a:lnTo>
                    <a:pt x="5335" y="648"/>
                  </a:lnTo>
                  <a:cubicBezTo>
                    <a:pt x="5894" y="648"/>
                    <a:pt x="6252" y="493"/>
                    <a:pt x="6454" y="386"/>
                  </a:cubicBezTo>
                  <a:close/>
                  <a:moveTo>
                    <a:pt x="5347" y="6387"/>
                  </a:moveTo>
                  <a:lnTo>
                    <a:pt x="5347" y="6911"/>
                  </a:lnTo>
                  <a:lnTo>
                    <a:pt x="4299" y="7494"/>
                  </a:lnTo>
                  <a:lnTo>
                    <a:pt x="3263" y="6911"/>
                  </a:lnTo>
                  <a:lnTo>
                    <a:pt x="3263" y="6387"/>
                  </a:lnTo>
                  <a:cubicBezTo>
                    <a:pt x="3573" y="6541"/>
                    <a:pt x="3930" y="6625"/>
                    <a:pt x="4299" y="6625"/>
                  </a:cubicBezTo>
                  <a:cubicBezTo>
                    <a:pt x="4680" y="6625"/>
                    <a:pt x="5037" y="6541"/>
                    <a:pt x="5347" y="6387"/>
                  </a:cubicBezTo>
                  <a:close/>
                  <a:moveTo>
                    <a:pt x="2846" y="7041"/>
                  </a:moveTo>
                  <a:lnTo>
                    <a:pt x="4073" y="7708"/>
                  </a:lnTo>
                  <a:lnTo>
                    <a:pt x="3704" y="8149"/>
                  </a:lnTo>
                  <a:cubicBezTo>
                    <a:pt x="3680" y="8184"/>
                    <a:pt x="3632" y="8208"/>
                    <a:pt x="3596" y="8220"/>
                  </a:cubicBezTo>
                  <a:cubicBezTo>
                    <a:pt x="3549" y="8220"/>
                    <a:pt x="3489" y="8208"/>
                    <a:pt x="3454" y="8173"/>
                  </a:cubicBezTo>
                  <a:lnTo>
                    <a:pt x="2620" y="7458"/>
                  </a:lnTo>
                  <a:lnTo>
                    <a:pt x="2834" y="7041"/>
                  </a:lnTo>
                  <a:close/>
                  <a:moveTo>
                    <a:pt x="5787" y="7041"/>
                  </a:moveTo>
                  <a:lnTo>
                    <a:pt x="6001" y="7458"/>
                  </a:lnTo>
                  <a:lnTo>
                    <a:pt x="5156" y="8173"/>
                  </a:lnTo>
                  <a:cubicBezTo>
                    <a:pt x="5109" y="8208"/>
                    <a:pt x="5061" y="8220"/>
                    <a:pt x="5013" y="8220"/>
                  </a:cubicBezTo>
                  <a:cubicBezTo>
                    <a:pt x="4978" y="8220"/>
                    <a:pt x="4930" y="8184"/>
                    <a:pt x="4894" y="8149"/>
                  </a:cubicBezTo>
                  <a:lnTo>
                    <a:pt x="4561" y="7708"/>
                  </a:lnTo>
                  <a:lnTo>
                    <a:pt x="5775" y="7041"/>
                  </a:lnTo>
                  <a:close/>
                  <a:moveTo>
                    <a:pt x="6497" y="1"/>
                  </a:moveTo>
                  <a:cubicBezTo>
                    <a:pt x="6455" y="1"/>
                    <a:pt x="6419" y="16"/>
                    <a:pt x="6382" y="53"/>
                  </a:cubicBezTo>
                  <a:cubicBezTo>
                    <a:pt x="6382" y="53"/>
                    <a:pt x="6073" y="350"/>
                    <a:pt x="5299" y="350"/>
                  </a:cubicBezTo>
                  <a:lnTo>
                    <a:pt x="3763" y="350"/>
                  </a:lnTo>
                  <a:cubicBezTo>
                    <a:pt x="3096" y="350"/>
                    <a:pt x="2537" y="779"/>
                    <a:pt x="2322" y="1374"/>
                  </a:cubicBezTo>
                  <a:lnTo>
                    <a:pt x="2180" y="1374"/>
                  </a:lnTo>
                  <a:cubicBezTo>
                    <a:pt x="1918" y="1374"/>
                    <a:pt x="1703" y="1481"/>
                    <a:pt x="1537" y="1672"/>
                  </a:cubicBezTo>
                  <a:cubicBezTo>
                    <a:pt x="1370" y="1862"/>
                    <a:pt x="1310" y="2112"/>
                    <a:pt x="1346" y="2350"/>
                  </a:cubicBezTo>
                  <a:lnTo>
                    <a:pt x="1537" y="3505"/>
                  </a:lnTo>
                  <a:cubicBezTo>
                    <a:pt x="1358" y="3589"/>
                    <a:pt x="1239" y="3755"/>
                    <a:pt x="1203" y="3958"/>
                  </a:cubicBezTo>
                  <a:cubicBezTo>
                    <a:pt x="1191" y="4124"/>
                    <a:pt x="1251" y="4291"/>
                    <a:pt x="1358" y="4422"/>
                  </a:cubicBezTo>
                  <a:cubicBezTo>
                    <a:pt x="1465" y="4541"/>
                    <a:pt x="1620" y="4613"/>
                    <a:pt x="1787" y="4613"/>
                  </a:cubicBezTo>
                  <a:lnTo>
                    <a:pt x="1906" y="4613"/>
                  </a:lnTo>
                  <a:cubicBezTo>
                    <a:pt x="2001" y="5291"/>
                    <a:pt x="2382" y="5863"/>
                    <a:pt x="2906" y="6244"/>
                  </a:cubicBezTo>
                  <a:lnTo>
                    <a:pt x="2906" y="6780"/>
                  </a:lnTo>
                  <a:cubicBezTo>
                    <a:pt x="2876" y="6762"/>
                    <a:pt x="2843" y="6753"/>
                    <a:pt x="2808" y="6753"/>
                  </a:cubicBezTo>
                  <a:cubicBezTo>
                    <a:pt x="2772" y="6753"/>
                    <a:pt x="2733" y="6762"/>
                    <a:pt x="2692" y="6780"/>
                  </a:cubicBezTo>
                  <a:cubicBezTo>
                    <a:pt x="2608" y="6803"/>
                    <a:pt x="2537" y="6863"/>
                    <a:pt x="2501" y="6934"/>
                  </a:cubicBezTo>
                  <a:lnTo>
                    <a:pt x="2251" y="7434"/>
                  </a:lnTo>
                  <a:lnTo>
                    <a:pt x="846" y="7851"/>
                  </a:lnTo>
                  <a:cubicBezTo>
                    <a:pt x="346" y="7994"/>
                    <a:pt x="1" y="8458"/>
                    <a:pt x="1" y="8982"/>
                  </a:cubicBezTo>
                  <a:lnTo>
                    <a:pt x="1" y="10780"/>
                  </a:lnTo>
                  <a:cubicBezTo>
                    <a:pt x="1" y="10863"/>
                    <a:pt x="72" y="10947"/>
                    <a:pt x="167" y="10947"/>
                  </a:cubicBezTo>
                  <a:cubicBezTo>
                    <a:pt x="251" y="10947"/>
                    <a:pt x="334" y="10863"/>
                    <a:pt x="334" y="10780"/>
                  </a:cubicBezTo>
                  <a:lnTo>
                    <a:pt x="334" y="8982"/>
                  </a:lnTo>
                  <a:cubicBezTo>
                    <a:pt x="334" y="8589"/>
                    <a:pt x="584" y="8244"/>
                    <a:pt x="953" y="8149"/>
                  </a:cubicBezTo>
                  <a:lnTo>
                    <a:pt x="1549" y="7958"/>
                  </a:lnTo>
                  <a:lnTo>
                    <a:pt x="1549" y="10756"/>
                  </a:lnTo>
                  <a:cubicBezTo>
                    <a:pt x="1549" y="10851"/>
                    <a:pt x="1620" y="10923"/>
                    <a:pt x="1715" y="10923"/>
                  </a:cubicBezTo>
                  <a:cubicBezTo>
                    <a:pt x="1799" y="10923"/>
                    <a:pt x="1882" y="10851"/>
                    <a:pt x="1882" y="10756"/>
                  </a:cubicBezTo>
                  <a:lnTo>
                    <a:pt x="1882" y="7863"/>
                  </a:lnTo>
                  <a:lnTo>
                    <a:pt x="2239" y="7756"/>
                  </a:lnTo>
                  <a:lnTo>
                    <a:pt x="2239" y="10756"/>
                  </a:lnTo>
                  <a:cubicBezTo>
                    <a:pt x="2239" y="10851"/>
                    <a:pt x="2311" y="10923"/>
                    <a:pt x="2394" y="10923"/>
                  </a:cubicBezTo>
                  <a:cubicBezTo>
                    <a:pt x="2489" y="10923"/>
                    <a:pt x="2561" y="10851"/>
                    <a:pt x="2561" y="10756"/>
                  </a:cubicBezTo>
                  <a:lnTo>
                    <a:pt x="2561" y="7863"/>
                  </a:lnTo>
                  <a:lnTo>
                    <a:pt x="3227" y="8423"/>
                  </a:lnTo>
                  <a:cubicBezTo>
                    <a:pt x="3323" y="8494"/>
                    <a:pt x="3442" y="8542"/>
                    <a:pt x="3561" y="8542"/>
                  </a:cubicBezTo>
                  <a:lnTo>
                    <a:pt x="3608" y="8542"/>
                  </a:lnTo>
                  <a:cubicBezTo>
                    <a:pt x="3739" y="8530"/>
                    <a:pt x="3858" y="8470"/>
                    <a:pt x="3942" y="8351"/>
                  </a:cubicBezTo>
                  <a:lnTo>
                    <a:pt x="4287" y="7934"/>
                  </a:lnTo>
                  <a:lnTo>
                    <a:pt x="4632" y="8351"/>
                  </a:lnTo>
                  <a:cubicBezTo>
                    <a:pt x="4716" y="8458"/>
                    <a:pt x="4835" y="8530"/>
                    <a:pt x="4978" y="8542"/>
                  </a:cubicBezTo>
                  <a:lnTo>
                    <a:pt x="5013" y="8542"/>
                  </a:lnTo>
                  <a:cubicBezTo>
                    <a:pt x="5132" y="8542"/>
                    <a:pt x="5251" y="8494"/>
                    <a:pt x="5347" y="8423"/>
                  </a:cubicBezTo>
                  <a:lnTo>
                    <a:pt x="6180" y="7708"/>
                  </a:lnTo>
                  <a:lnTo>
                    <a:pt x="6680" y="7863"/>
                  </a:lnTo>
                  <a:lnTo>
                    <a:pt x="6680" y="10756"/>
                  </a:lnTo>
                  <a:cubicBezTo>
                    <a:pt x="6680" y="10851"/>
                    <a:pt x="6763" y="10923"/>
                    <a:pt x="6847" y="10923"/>
                  </a:cubicBezTo>
                  <a:cubicBezTo>
                    <a:pt x="6942" y="10923"/>
                    <a:pt x="7014" y="10851"/>
                    <a:pt x="7014" y="10756"/>
                  </a:cubicBezTo>
                  <a:lnTo>
                    <a:pt x="7014" y="7958"/>
                  </a:lnTo>
                  <a:lnTo>
                    <a:pt x="7609" y="8149"/>
                  </a:lnTo>
                  <a:cubicBezTo>
                    <a:pt x="7978" y="8244"/>
                    <a:pt x="8228" y="8589"/>
                    <a:pt x="8228" y="8982"/>
                  </a:cubicBezTo>
                  <a:lnTo>
                    <a:pt x="8228" y="10780"/>
                  </a:lnTo>
                  <a:cubicBezTo>
                    <a:pt x="8228" y="10863"/>
                    <a:pt x="8311" y="10947"/>
                    <a:pt x="8395" y="10947"/>
                  </a:cubicBezTo>
                  <a:cubicBezTo>
                    <a:pt x="8490" y="10947"/>
                    <a:pt x="8561" y="10863"/>
                    <a:pt x="8561" y="10780"/>
                  </a:cubicBezTo>
                  <a:lnTo>
                    <a:pt x="8561" y="8982"/>
                  </a:lnTo>
                  <a:cubicBezTo>
                    <a:pt x="8561" y="8423"/>
                    <a:pt x="8216" y="7970"/>
                    <a:pt x="7716" y="7815"/>
                  </a:cubicBezTo>
                  <a:lnTo>
                    <a:pt x="6311" y="7399"/>
                  </a:lnTo>
                  <a:lnTo>
                    <a:pt x="6061" y="6911"/>
                  </a:lnTo>
                  <a:cubicBezTo>
                    <a:pt x="6013" y="6839"/>
                    <a:pt x="5942" y="6756"/>
                    <a:pt x="5871" y="6744"/>
                  </a:cubicBezTo>
                  <a:cubicBezTo>
                    <a:pt x="5829" y="6738"/>
                    <a:pt x="5793" y="6735"/>
                    <a:pt x="5759" y="6735"/>
                  </a:cubicBezTo>
                  <a:cubicBezTo>
                    <a:pt x="5725" y="6735"/>
                    <a:pt x="5692" y="6738"/>
                    <a:pt x="5656" y="6744"/>
                  </a:cubicBezTo>
                  <a:lnTo>
                    <a:pt x="5656" y="6208"/>
                  </a:lnTo>
                  <a:cubicBezTo>
                    <a:pt x="6192" y="5839"/>
                    <a:pt x="6561" y="5256"/>
                    <a:pt x="6656" y="4589"/>
                  </a:cubicBezTo>
                  <a:lnTo>
                    <a:pt x="6740" y="4589"/>
                  </a:lnTo>
                  <a:cubicBezTo>
                    <a:pt x="7061" y="4589"/>
                    <a:pt x="7323" y="4351"/>
                    <a:pt x="7359" y="4065"/>
                  </a:cubicBezTo>
                  <a:cubicBezTo>
                    <a:pt x="7371" y="3898"/>
                    <a:pt x="7311" y="3743"/>
                    <a:pt x="7204" y="3601"/>
                  </a:cubicBezTo>
                  <a:cubicBezTo>
                    <a:pt x="7156" y="3541"/>
                    <a:pt x="7097" y="3505"/>
                    <a:pt x="7025" y="3470"/>
                  </a:cubicBezTo>
                  <a:lnTo>
                    <a:pt x="7216" y="2339"/>
                  </a:lnTo>
                  <a:cubicBezTo>
                    <a:pt x="7275" y="1969"/>
                    <a:pt x="7085" y="1600"/>
                    <a:pt x="6763" y="1446"/>
                  </a:cubicBezTo>
                  <a:cubicBezTo>
                    <a:pt x="6906" y="1065"/>
                    <a:pt x="6883" y="600"/>
                    <a:pt x="6656" y="88"/>
                  </a:cubicBezTo>
                  <a:cubicBezTo>
                    <a:pt x="6644" y="53"/>
                    <a:pt x="6597" y="5"/>
                    <a:pt x="6537" y="5"/>
                  </a:cubicBezTo>
                  <a:cubicBezTo>
                    <a:pt x="6523" y="2"/>
                    <a:pt x="6510" y="1"/>
                    <a:pt x="64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5" name="Google Shape;11755;p61"/>
            <p:cNvSpPr/>
            <p:nvPr/>
          </p:nvSpPr>
          <p:spPr>
            <a:xfrm>
              <a:off x="5090491" y="3141364"/>
              <a:ext cx="10581" cy="86391"/>
            </a:xfrm>
            <a:custGeom>
              <a:avLst/>
              <a:gdLst/>
              <a:ahLst/>
              <a:cxnLst/>
              <a:rect l="l" t="t" r="r" b="b"/>
              <a:pathLst>
                <a:path w="334" h="272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2560"/>
                  </a:lnTo>
                  <a:cubicBezTo>
                    <a:pt x="0" y="2656"/>
                    <a:pt x="84" y="2727"/>
                    <a:pt x="167" y="2727"/>
                  </a:cubicBezTo>
                  <a:cubicBezTo>
                    <a:pt x="262" y="2727"/>
                    <a:pt x="334" y="2656"/>
                    <a:pt x="334" y="2560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6" name="Google Shape;11756;p61"/>
            <p:cNvSpPr/>
            <p:nvPr/>
          </p:nvSpPr>
          <p:spPr>
            <a:xfrm>
              <a:off x="5031281" y="315229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7" name="Google Shape;11757;p61"/>
            <p:cNvSpPr/>
            <p:nvPr/>
          </p:nvSpPr>
          <p:spPr>
            <a:xfrm>
              <a:off x="5031281" y="3217555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55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8" name="Google Shape;11758;p61"/>
            <p:cNvSpPr/>
            <p:nvPr/>
          </p:nvSpPr>
          <p:spPr>
            <a:xfrm>
              <a:off x="5031281" y="318473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250" y="334"/>
                    <a:pt x="322" y="263"/>
                    <a:pt x="322" y="167"/>
                  </a:cubicBez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9" name="Google Shape;11759;p61"/>
            <p:cNvSpPr/>
            <p:nvPr/>
          </p:nvSpPr>
          <p:spPr>
            <a:xfrm>
              <a:off x="499884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55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0" name="Google Shape;11760;p61"/>
            <p:cNvSpPr/>
            <p:nvPr/>
          </p:nvSpPr>
          <p:spPr>
            <a:xfrm>
              <a:off x="506372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1" name="Google Shape;11761;p61"/>
            <p:cNvSpPr/>
            <p:nvPr/>
          </p:nvSpPr>
          <p:spPr>
            <a:xfrm>
              <a:off x="4993550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55" y="84"/>
                    <a:pt x="584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2" name="Google Shape;11762;p61"/>
            <p:cNvSpPr/>
            <p:nvPr/>
          </p:nvSpPr>
          <p:spPr>
            <a:xfrm>
              <a:off x="5058051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67" y="84"/>
                    <a:pt x="596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3" name="Google Shape;11763;p61"/>
            <p:cNvSpPr/>
            <p:nvPr/>
          </p:nvSpPr>
          <p:spPr>
            <a:xfrm>
              <a:off x="5007141" y="3025574"/>
              <a:ext cx="58481" cy="32092"/>
            </a:xfrm>
            <a:custGeom>
              <a:avLst/>
              <a:gdLst/>
              <a:ahLst/>
              <a:cxnLst/>
              <a:rect l="l" t="t" r="r" b="b"/>
              <a:pathLst>
                <a:path w="1846" h="1013" extrusionOk="0">
                  <a:moveTo>
                    <a:pt x="1500" y="322"/>
                  </a:moveTo>
                  <a:cubicBezTo>
                    <a:pt x="1429" y="536"/>
                    <a:pt x="1191" y="679"/>
                    <a:pt x="917" y="679"/>
                  </a:cubicBezTo>
                  <a:cubicBezTo>
                    <a:pt x="655" y="679"/>
                    <a:pt x="417" y="536"/>
                    <a:pt x="345" y="322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619"/>
                    <a:pt x="417" y="1012"/>
                    <a:pt x="929" y="1012"/>
                  </a:cubicBezTo>
                  <a:cubicBezTo>
                    <a:pt x="1429" y="1012"/>
                    <a:pt x="1846" y="643"/>
                    <a:pt x="1846" y="167"/>
                  </a:cubicBezTo>
                  <a:cubicBezTo>
                    <a:pt x="1846" y="72"/>
                    <a:pt x="1786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64" name="Google Shape;11764;p61"/>
          <p:cNvGrpSpPr/>
          <p:nvPr/>
        </p:nvGrpSpPr>
        <p:grpSpPr>
          <a:xfrm>
            <a:off x="7162775" y="2881113"/>
            <a:ext cx="259523" cy="346294"/>
            <a:chOff x="7162775" y="2881113"/>
            <a:chExt cx="259523" cy="346294"/>
          </a:xfrm>
        </p:grpSpPr>
        <p:sp>
          <p:nvSpPr>
            <p:cNvPr id="11765" name="Google Shape;11765;p61"/>
            <p:cNvSpPr/>
            <p:nvPr/>
          </p:nvSpPr>
          <p:spPr>
            <a:xfrm>
              <a:off x="7162775" y="2881113"/>
              <a:ext cx="259523" cy="346294"/>
            </a:xfrm>
            <a:custGeom>
              <a:avLst/>
              <a:gdLst/>
              <a:ahLst/>
              <a:cxnLst/>
              <a:rect l="l" t="t" r="r" b="b"/>
              <a:pathLst>
                <a:path w="8192" h="10931" extrusionOk="0">
                  <a:moveTo>
                    <a:pt x="4084" y="1536"/>
                  </a:moveTo>
                  <a:cubicBezTo>
                    <a:pt x="4382" y="1536"/>
                    <a:pt x="4703" y="1810"/>
                    <a:pt x="4989" y="2239"/>
                  </a:cubicBezTo>
                  <a:lnTo>
                    <a:pt x="3155" y="2239"/>
                  </a:lnTo>
                  <a:cubicBezTo>
                    <a:pt x="3453" y="1810"/>
                    <a:pt x="3787" y="1536"/>
                    <a:pt x="4084" y="1536"/>
                  </a:cubicBezTo>
                  <a:close/>
                  <a:moveTo>
                    <a:pt x="5191" y="2560"/>
                  </a:moveTo>
                  <a:cubicBezTo>
                    <a:pt x="5596" y="3310"/>
                    <a:pt x="5906" y="4334"/>
                    <a:pt x="5965" y="5322"/>
                  </a:cubicBezTo>
                  <a:cubicBezTo>
                    <a:pt x="5621" y="6068"/>
                    <a:pt x="4891" y="6515"/>
                    <a:pt x="4082" y="6515"/>
                  </a:cubicBezTo>
                  <a:cubicBezTo>
                    <a:pt x="4051" y="6515"/>
                    <a:pt x="4020" y="6514"/>
                    <a:pt x="3989" y="6513"/>
                  </a:cubicBezTo>
                  <a:cubicBezTo>
                    <a:pt x="3608" y="6489"/>
                    <a:pt x="3227" y="6358"/>
                    <a:pt x="2905" y="6120"/>
                  </a:cubicBezTo>
                  <a:cubicBezTo>
                    <a:pt x="2596" y="5894"/>
                    <a:pt x="2358" y="5596"/>
                    <a:pt x="2203" y="5239"/>
                  </a:cubicBezTo>
                  <a:cubicBezTo>
                    <a:pt x="2274" y="4286"/>
                    <a:pt x="2572" y="3274"/>
                    <a:pt x="2977" y="2560"/>
                  </a:cubicBezTo>
                  <a:close/>
                  <a:moveTo>
                    <a:pt x="2167" y="5870"/>
                  </a:moveTo>
                  <a:cubicBezTo>
                    <a:pt x="2322" y="6060"/>
                    <a:pt x="2501" y="6239"/>
                    <a:pt x="2691" y="6394"/>
                  </a:cubicBezTo>
                  <a:cubicBezTo>
                    <a:pt x="3060" y="6656"/>
                    <a:pt x="3501" y="6799"/>
                    <a:pt x="3953" y="6834"/>
                  </a:cubicBezTo>
                  <a:lnTo>
                    <a:pt x="4072" y="6834"/>
                  </a:lnTo>
                  <a:cubicBezTo>
                    <a:pt x="4525" y="6834"/>
                    <a:pt x="4965" y="6715"/>
                    <a:pt x="5346" y="6465"/>
                  </a:cubicBezTo>
                  <a:cubicBezTo>
                    <a:pt x="5584" y="6310"/>
                    <a:pt x="5787" y="6120"/>
                    <a:pt x="5953" y="5906"/>
                  </a:cubicBezTo>
                  <a:lnTo>
                    <a:pt x="5953" y="5906"/>
                  </a:lnTo>
                  <a:cubicBezTo>
                    <a:pt x="5918" y="6287"/>
                    <a:pt x="5739" y="6620"/>
                    <a:pt x="5430" y="6894"/>
                  </a:cubicBezTo>
                  <a:cubicBezTo>
                    <a:pt x="5358" y="6953"/>
                    <a:pt x="5358" y="7061"/>
                    <a:pt x="5418" y="7120"/>
                  </a:cubicBezTo>
                  <a:cubicBezTo>
                    <a:pt x="5441" y="7156"/>
                    <a:pt x="5489" y="7180"/>
                    <a:pt x="5537" y="7180"/>
                  </a:cubicBezTo>
                  <a:cubicBezTo>
                    <a:pt x="5561" y="7180"/>
                    <a:pt x="5608" y="7156"/>
                    <a:pt x="5644" y="7132"/>
                  </a:cubicBezTo>
                  <a:cubicBezTo>
                    <a:pt x="5763" y="7025"/>
                    <a:pt x="5858" y="6906"/>
                    <a:pt x="5953" y="6787"/>
                  </a:cubicBezTo>
                  <a:lnTo>
                    <a:pt x="5953" y="6787"/>
                  </a:lnTo>
                  <a:cubicBezTo>
                    <a:pt x="5894" y="7775"/>
                    <a:pt x="5072" y="8561"/>
                    <a:pt x="4060" y="8561"/>
                  </a:cubicBezTo>
                  <a:cubicBezTo>
                    <a:pt x="3084" y="8561"/>
                    <a:pt x="2263" y="7787"/>
                    <a:pt x="2191" y="6787"/>
                  </a:cubicBezTo>
                  <a:lnTo>
                    <a:pt x="2191" y="6787"/>
                  </a:lnTo>
                  <a:cubicBezTo>
                    <a:pt x="2572" y="7323"/>
                    <a:pt x="3275" y="7680"/>
                    <a:pt x="4084" y="7680"/>
                  </a:cubicBezTo>
                  <a:cubicBezTo>
                    <a:pt x="4394" y="7680"/>
                    <a:pt x="4703" y="7620"/>
                    <a:pt x="4989" y="7525"/>
                  </a:cubicBezTo>
                  <a:cubicBezTo>
                    <a:pt x="5072" y="7489"/>
                    <a:pt x="5108" y="7406"/>
                    <a:pt x="5072" y="7311"/>
                  </a:cubicBezTo>
                  <a:cubicBezTo>
                    <a:pt x="5055" y="7249"/>
                    <a:pt x="4998" y="7213"/>
                    <a:pt x="4936" y="7213"/>
                  </a:cubicBezTo>
                  <a:cubicBezTo>
                    <a:pt x="4914" y="7213"/>
                    <a:pt x="4892" y="7218"/>
                    <a:pt x="4870" y="7227"/>
                  </a:cubicBezTo>
                  <a:cubicBezTo>
                    <a:pt x="4608" y="7311"/>
                    <a:pt x="4346" y="7370"/>
                    <a:pt x="4060" y="7370"/>
                  </a:cubicBezTo>
                  <a:cubicBezTo>
                    <a:pt x="3036" y="7370"/>
                    <a:pt x="2203" y="6703"/>
                    <a:pt x="2167" y="5870"/>
                  </a:cubicBezTo>
                  <a:close/>
                  <a:moveTo>
                    <a:pt x="6787" y="7680"/>
                  </a:moveTo>
                  <a:cubicBezTo>
                    <a:pt x="6823" y="7739"/>
                    <a:pt x="6823" y="7823"/>
                    <a:pt x="6823" y="7894"/>
                  </a:cubicBezTo>
                  <a:cubicBezTo>
                    <a:pt x="6835" y="9013"/>
                    <a:pt x="5596" y="9930"/>
                    <a:pt x="4084" y="9930"/>
                  </a:cubicBezTo>
                  <a:cubicBezTo>
                    <a:pt x="3846" y="9930"/>
                    <a:pt x="3608" y="9906"/>
                    <a:pt x="3382" y="9870"/>
                  </a:cubicBezTo>
                  <a:cubicBezTo>
                    <a:pt x="4406" y="9811"/>
                    <a:pt x="5311" y="9442"/>
                    <a:pt x="5989" y="8799"/>
                  </a:cubicBezTo>
                  <a:cubicBezTo>
                    <a:pt x="6311" y="8489"/>
                    <a:pt x="6584" y="8096"/>
                    <a:pt x="6787" y="7680"/>
                  </a:cubicBezTo>
                  <a:close/>
                  <a:moveTo>
                    <a:pt x="4096" y="0"/>
                  </a:moveTo>
                  <a:cubicBezTo>
                    <a:pt x="2465" y="0"/>
                    <a:pt x="1120" y="1274"/>
                    <a:pt x="1024" y="2893"/>
                  </a:cubicBezTo>
                  <a:lnTo>
                    <a:pt x="881" y="5465"/>
                  </a:lnTo>
                  <a:cubicBezTo>
                    <a:pt x="834" y="6096"/>
                    <a:pt x="989" y="6703"/>
                    <a:pt x="1286" y="7239"/>
                  </a:cubicBezTo>
                  <a:cubicBezTo>
                    <a:pt x="1108" y="7418"/>
                    <a:pt x="1024" y="7620"/>
                    <a:pt x="1024" y="7870"/>
                  </a:cubicBezTo>
                  <a:lnTo>
                    <a:pt x="1024" y="7906"/>
                  </a:lnTo>
                  <a:lnTo>
                    <a:pt x="786" y="7989"/>
                  </a:lnTo>
                  <a:cubicBezTo>
                    <a:pt x="310" y="8156"/>
                    <a:pt x="0" y="8608"/>
                    <a:pt x="0" y="9108"/>
                  </a:cubicBezTo>
                  <a:lnTo>
                    <a:pt x="0" y="10763"/>
                  </a:lnTo>
                  <a:cubicBezTo>
                    <a:pt x="0" y="10859"/>
                    <a:pt x="72" y="10930"/>
                    <a:pt x="155" y="10930"/>
                  </a:cubicBezTo>
                  <a:cubicBezTo>
                    <a:pt x="238" y="10930"/>
                    <a:pt x="310" y="10859"/>
                    <a:pt x="310" y="10763"/>
                  </a:cubicBezTo>
                  <a:lnTo>
                    <a:pt x="310" y="9097"/>
                  </a:lnTo>
                  <a:cubicBezTo>
                    <a:pt x="310" y="8727"/>
                    <a:pt x="548" y="8394"/>
                    <a:pt x="893" y="8275"/>
                  </a:cubicBezTo>
                  <a:lnTo>
                    <a:pt x="1060" y="8215"/>
                  </a:lnTo>
                  <a:cubicBezTo>
                    <a:pt x="1108" y="8406"/>
                    <a:pt x="1167" y="8608"/>
                    <a:pt x="1262" y="8787"/>
                  </a:cubicBezTo>
                  <a:cubicBezTo>
                    <a:pt x="1298" y="8847"/>
                    <a:pt x="1358" y="8870"/>
                    <a:pt x="1405" y="8870"/>
                  </a:cubicBezTo>
                  <a:cubicBezTo>
                    <a:pt x="1429" y="8870"/>
                    <a:pt x="1465" y="8858"/>
                    <a:pt x="1489" y="8847"/>
                  </a:cubicBezTo>
                  <a:cubicBezTo>
                    <a:pt x="1548" y="8799"/>
                    <a:pt x="1560" y="8704"/>
                    <a:pt x="1536" y="8632"/>
                  </a:cubicBezTo>
                  <a:cubicBezTo>
                    <a:pt x="1405" y="8394"/>
                    <a:pt x="1346" y="8132"/>
                    <a:pt x="1346" y="7870"/>
                  </a:cubicBezTo>
                  <a:cubicBezTo>
                    <a:pt x="1346" y="7739"/>
                    <a:pt x="1381" y="7620"/>
                    <a:pt x="1465" y="7513"/>
                  </a:cubicBezTo>
                  <a:cubicBezTo>
                    <a:pt x="1548" y="7632"/>
                    <a:pt x="1643" y="7751"/>
                    <a:pt x="1739" y="7858"/>
                  </a:cubicBezTo>
                  <a:cubicBezTo>
                    <a:pt x="2360" y="8503"/>
                    <a:pt x="3177" y="8871"/>
                    <a:pt x="4066" y="8871"/>
                  </a:cubicBezTo>
                  <a:cubicBezTo>
                    <a:pt x="4080" y="8871"/>
                    <a:pt x="4094" y="8871"/>
                    <a:pt x="4108" y="8870"/>
                  </a:cubicBezTo>
                  <a:cubicBezTo>
                    <a:pt x="5311" y="8858"/>
                    <a:pt x="6299" y="7870"/>
                    <a:pt x="6299" y="6656"/>
                  </a:cubicBezTo>
                  <a:lnTo>
                    <a:pt x="6299" y="5632"/>
                  </a:lnTo>
                  <a:cubicBezTo>
                    <a:pt x="6299" y="4691"/>
                    <a:pt x="6061" y="3608"/>
                    <a:pt x="5644" y="2715"/>
                  </a:cubicBezTo>
                  <a:cubicBezTo>
                    <a:pt x="5430" y="2262"/>
                    <a:pt x="5191" y="1893"/>
                    <a:pt x="4953" y="1643"/>
                  </a:cubicBezTo>
                  <a:cubicBezTo>
                    <a:pt x="4679" y="1346"/>
                    <a:pt x="4382" y="1191"/>
                    <a:pt x="4096" y="1191"/>
                  </a:cubicBezTo>
                  <a:cubicBezTo>
                    <a:pt x="3810" y="1191"/>
                    <a:pt x="3513" y="1346"/>
                    <a:pt x="3227" y="1643"/>
                  </a:cubicBezTo>
                  <a:cubicBezTo>
                    <a:pt x="2989" y="1893"/>
                    <a:pt x="2751" y="2262"/>
                    <a:pt x="2548" y="2715"/>
                  </a:cubicBezTo>
                  <a:cubicBezTo>
                    <a:pt x="2132" y="3608"/>
                    <a:pt x="1893" y="4691"/>
                    <a:pt x="1893" y="5632"/>
                  </a:cubicBezTo>
                  <a:lnTo>
                    <a:pt x="1893" y="6656"/>
                  </a:lnTo>
                  <a:cubicBezTo>
                    <a:pt x="1893" y="7120"/>
                    <a:pt x="2036" y="7549"/>
                    <a:pt x="2274" y="7906"/>
                  </a:cubicBezTo>
                  <a:cubicBezTo>
                    <a:pt x="2179" y="7834"/>
                    <a:pt x="2084" y="7739"/>
                    <a:pt x="2001" y="7632"/>
                  </a:cubicBezTo>
                  <a:cubicBezTo>
                    <a:pt x="1441" y="7037"/>
                    <a:pt x="1167" y="6287"/>
                    <a:pt x="1203" y="5477"/>
                  </a:cubicBezTo>
                  <a:lnTo>
                    <a:pt x="1358" y="2905"/>
                  </a:lnTo>
                  <a:cubicBezTo>
                    <a:pt x="1441" y="1465"/>
                    <a:pt x="2655" y="310"/>
                    <a:pt x="4108" y="310"/>
                  </a:cubicBezTo>
                  <a:cubicBezTo>
                    <a:pt x="5549" y="310"/>
                    <a:pt x="6763" y="1441"/>
                    <a:pt x="6846" y="2893"/>
                  </a:cubicBezTo>
                  <a:lnTo>
                    <a:pt x="6954" y="4775"/>
                  </a:lnTo>
                  <a:cubicBezTo>
                    <a:pt x="7061" y="6406"/>
                    <a:pt x="6656" y="7692"/>
                    <a:pt x="5787" y="8537"/>
                  </a:cubicBezTo>
                  <a:cubicBezTo>
                    <a:pt x="5095" y="9187"/>
                    <a:pt x="4135" y="9532"/>
                    <a:pt x="3046" y="9532"/>
                  </a:cubicBezTo>
                  <a:cubicBezTo>
                    <a:pt x="2898" y="9532"/>
                    <a:pt x="2748" y="9526"/>
                    <a:pt x="2596" y="9513"/>
                  </a:cubicBezTo>
                  <a:cubicBezTo>
                    <a:pt x="2501" y="9501"/>
                    <a:pt x="2393" y="9466"/>
                    <a:pt x="2322" y="9430"/>
                  </a:cubicBezTo>
                  <a:cubicBezTo>
                    <a:pt x="2191" y="9335"/>
                    <a:pt x="2060" y="9228"/>
                    <a:pt x="1941" y="9132"/>
                  </a:cubicBezTo>
                  <a:cubicBezTo>
                    <a:pt x="1911" y="9102"/>
                    <a:pt x="1870" y="9088"/>
                    <a:pt x="1828" y="9088"/>
                  </a:cubicBezTo>
                  <a:cubicBezTo>
                    <a:pt x="1786" y="9088"/>
                    <a:pt x="1745" y="9102"/>
                    <a:pt x="1715" y="9132"/>
                  </a:cubicBezTo>
                  <a:cubicBezTo>
                    <a:pt x="1655" y="9180"/>
                    <a:pt x="1655" y="9287"/>
                    <a:pt x="1715" y="9347"/>
                  </a:cubicBezTo>
                  <a:cubicBezTo>
                    <a:pt x="2298" y="9906"/>
                    <a:pt x="3167" y="10228"/>
                    <a:pt x="4096" y="10228"/>
                  </a:cubicBezTo>
                  <a:cubicBezTo>
                    <a:pt x="4918" y="10228"/>
                    <a:pt x="5668" y="9990"/>
                    <a:pt x="6251" y="9537"/>
                  </a:cubicBezTo>
                  <a:cubicBezTo>
                    <a:pt x="6727" y="9180"/>
                    <a:pt x="7037" y="8704"/>
                    <a:pt x="7132" y="8204"/>
                  </a:cubicBezTo>
                  <a:lnTo>
                    <a:pt x="7299" y="8263"/>
                  </a:lnTo>
                  <a:cubicBezTo>
                    <a:pt x="7632" y="8382"/>
                    <a:pt x="7870" y="8704"/>
                    <a:pt x="7870" y="9085"/>
                  </a:cubicBezTo>
                  <a:lnTo>
                    <a:pt x="7870" y="10728"/>
                  </a:lnTo>
                  <a:cubicBezTo>
                    <a:pt x="7870" y="10823"/>
                    <a:pt x="7954" y="10894"/>
                    <a:pt x="8025" y="10894"/>
                  </a:cubicBezTo>
                  <a:cubicBezTo>
                    <a:pt x="8108" y="10894"/>
                    <a:pt x="8192" y="10823"/>
                    <a:pt x="8192" y="10728"/>
                  </a:cubicBezTo>
                  <a:lnTo>
                    <a:pt x="8192" y="9061"/>
                  </a:lnTo>
                  <a:cubicBezTo>
                    <a:pt x="8192" y="8620"/>
                    <a:pt x="7870" y="8156"/>
                    <a:pt x="7394" y="8001"/>
                  </a:cubicBezTo>
                  <a:lnTo>
                    <a:pt x="7156" y="7906"/>
                  </a:lnTo>
                  <a:lnTo>
                    <a:pt x="7156" y="7882"/>
                  </a:lnTo>
                  <a:cubicBezTo>
                    <a:pt x="7156" y="7656"/>
                    <a:pt x="7096" y="7477"/>
                    <a:pt x="6954" y="7311"/>
                  </a:cubicBezTo>
                  <a:cubicBezTo>
                    <a:pt x="7216" y="6584"/>
                    <a:pt x="7323" y="5739"/>
                    <a:pt x="7263" y="4786"/>
                  </a:cubicBezTo>
                  <a:lnTo>
                    <a:pt x="7156" y="2893"/>
                  </a:lnTo>
                  <a:cubicBezTo>
                    <a:pt x="7049" y="1274"/>
                    <a:pt x="5715" y="0"/>
                    <a:pt x="4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6" name="Google Shape;11766;p61"/>
            <p:cNvSpPr/>
            <p:nvPr/>
          </p:nvSpPr>
          <p:spPr>
            <a:xfrm>
              <a:off x="7270645" y="304451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1" y="1"/>
                    <a:pt x="90" y="15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203" y="402"/>
                    <a:pt x="441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70" y="200"/>
                    <a:pt x="1370" y="105"/>
                    <a:pt x="1310" y="45"/>
                  </a:cubicBezTo>
                  <a:cubicBezTo>
                    <a:pt x="1280" y="15"/>
                    <a:pt x="1242" y="1"/>
                    <a:pt x="1203" y="1"/>
                  </a:cubicBezTo>
                  <a:cubicBezTo>
                    <a:pt x="1164" y="1"/>
                    <a:pt x="1126" y="15"/>
                    <a:pt x="1096" y="45"/>
                  </a:cubicBezTo>
                  <a:cubicBezTo>
                    <a:pt x="1036" y="105"/>
                    <a:pt x="893" y="152"/>
                    <a:pt x="691" y="152"/>
                  </a:cubicBezTo>
                  <a:cubicBezTo>
                    <a:pt x="477" y="152"/>
                    <a:pt x="346" y="81"/>
                    <a:pt x="286" y="45"/>
                  </a:cubicBezTo>
                  <a:cubicBezTo>
                    <a:pt x="256" y="15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7" name="Google Shape;11767;p61"/>
            <p:cNvSpPr/>
            <p:nvPr/>
          </p:nvSpPr>
          <p:spPr>
            <a:xfrm>
              <a:off x="7254805" y="3006344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322"/>
                  </a:lnTo>
                  <a:cubicBezTo>
                    <a:pt x="0" y="417"/>
                    <a:pt x="72" y="488"/>
                    <a:pt x="167" y="488"/>
                  </a:cubicBezTo>
                  <a:cubicBezTo>
                    <a:pt x="250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22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8" name="Google Shape;11768;p61"/>
            <p:cNvSpPr/>
            <p:nvPr/>
          </p:nvSpPr>
          <p:spPr>
            <a:xfrm>
              <a:off x="7319686" y="3006344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0"/>
                  </a:moveTo>
                  <a:cubicBezTo>
                    <a:pt x="84" y="0"/>
                    <a:pt x="0" y="71"/>
                    <a:pt x="0" y="155"/>
                  </a:cubicBezTo>
                  <a:lnTo>
                    <a:pt x="0" y="322"/>
                  </a:lnTo>
                  <a:cubicBezTo>
                    <a:pt x="0" y="417"/>
                    <a:pt x="84" y="488"/>
                    <a:pt x="167" y="488"/>
                  </a:cubicBezTo>
                  <a:cubicBezTo>
                    <a:pt x="262" y="488"/>
                    <a:pt x="334" y="417"/>
                    <a:pt x="334" y="322"/>
                  </a:cubicBezTo>
                  <a:lnTo>
                    <a:pt x="334" y="155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9" name="Google Shape;11769;p61"/>
            <p:cNvSpPr/>
            <p:nvPr/>
          </p:nvSpPr>
          <p:spPr>
            <a:xfrm>
              <a:off x="7249135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501" y="333"/>
                  </a:lnTo>
                  <a:cubicBezTo>
                    <a:pt x="596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0" name="Google Shape;11770;p61"/>
            <p:cNvSpPr/>
            <p:nvPr/>
          </p:nvSpPr>
          <p:spPr>
            <a:xfrm>
              <a:off x="7314015" y="2990124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33"/>
                    <a:pt x="167" y="333"/>
                  </a:cubicBezTo>
                  <a:lnTo>
                    <a:pt x="513" y="333"/>
                  </a:lnTo>
                  <a:cubicBezTo>
                    <a:pt x="596" y="333"/>
                    <a:pt x="667" y="250"/>
                    <a:pt x="667" y="167"/>
                  </a:cubicBezTo>
                  <a:cubicBezTo>
                    <a:pt x="679" y="60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71" name="Google Shape;11771;p61"/>
          <p:cNvGrpSpPr/>
          <p:nvPr/>
        </p:nvGrpSpPr>
        <p:grpSpPr>
          <a:xfrm>
            <a:off x="6709751" y="2881842"/>
            <a:ext cx="261075" cy="347815"/>
            <a:chOff x="6709751" y="2881842"/>
            <a:chExt cx="261075" cy="347815"/>
          </a:xfrm>
        </p:grpSpPr>
        <p:sp>
          <p:nvSpPr>
            <p:cNvPr id="11772" name="Google Shape;11772;p61"/>
            <p:cNvSpPr/>
            <p:nvPr/>
          </p:nvSpPr>
          <p:spPr>
            <a:xfrm>
              <a:off x="6709751" y="2881842"/>
              <a:ext cx="261075" cy="347815"/>
            </a:xfrm>
            <a:custGeom>
              <a:avLst/>
              <a:gdLst/>
              <a:ahLst/>
              <a:cxnLst/>
              <a:rect l="l" t="t" r="r" b="b"/>
              <a:pathLst>
                <a:path w="8241" h="10979" extrusionOk="0">
                  <a:moveTo>
                    <a:pt x="1394" y="4680"/>
                  </a:moveTo>
                  <a:cubicBezTo>
                    <a:pt x="1477" y="4728"/>
                    <a:pt x="1573" y="4740"/>
                    <a:pt x="1668" y="4740"/>
                  </a:cubicBezTo>
                  <a:lnTo>
                    <a:pt x="1787" y="4740"/>
                  </a:lnTo>
                  <a:cubicBezTo>
                    <a:pt x="1858" y="5323"/>
                    <a:pt x="2156" y="5823"/>
                    <a:pt x="2561" y="6180"/>
                  </a:cubicBezTo>
                  <a:cubicBezTo>
                    <a:pt x="2468" y="6204"/>
                    <a:pt x="2384" y="6215"/>
                    <a:pt x="2308" y="6215"/>
                  </a:cubicBezTo>
                  <a:cubicBezTo>
                    <a:pt x="1897" y="6215"/>
                    <a:pt x="1727" y="5915"/>
                    <a:pt x="1727" y="5895"/>
                  </a:cubicBezTo>
                  <a:cubicBezTo>
                    <a:pt x="1692" y="5835"/>
                    <a:pt x="1632" y="5799"/>
                    <a:pt x="1573" y="5799"/>
                  </a:cubicBezTo>
                  <a:cubicBezTo>
                    <a:pt x="1546" y="5802"/>
                    <a:pt x="1520" y="5803"/>
                    <a:pt x="1495" y="5803"/>
                  </a:cubicBezTo>
                  <a:cubicBezTo>
                    <a:pt x="1123" y="5803"/>
                    <a:pt x="974" y="5562"/>
                    <a:pt x="918" y="5395"/>
                  </a:cubicBezTo>
                  <a:cubicBezTo>
                    <a:pt x="1144" y="5323"/>
                    <a:pt x="1394" y="5133"/>
                    <a:pt x="1394" y="4716"/>
                  </a:cubicBezTo>
                  <a:lnTo>
                    <a:pt x="1394" y="4680"/>
                  </a:lnTo>
                  <a:close/>
                  <a:moveTo>
                    <a:pt x="6871" y="4716"/>
                  </a:moveTo>
                  <a:lnTo>
                    <a:pt x="6871" y="4740"/>
                  </a:lnTo>
                  <a:cubicBezTo>
                    <a:pt x="6895" y="5144"/>
                    <a:pt x="7145" y="5335"/>
                    <a:pt x="7371" y="5418"/>
                  </a:cubicBezTo>
                  <a:cubicBezTo>
                    <a:pt x="7314" y="5566"/>
                    <a:pt x="7159" y="5813"/>
                    <a:pt x="6770" y="5813"/>
                  </a:cubicBezTo>
                  <a:cubicBezTo>
                    <a:pt x="6752" y="5813"/>
                    <a:pt x="6734" y="5812"/>
                    <a:pt x="6716" y="5811"/>
                  </a:cubicBezTo>
                  <a:cubicBezTo>
                    <a:pt x="6645" y="5811"/>
                    <a:pt x="6597" y="5847"/>
                    <a:pt x="6561" y="5906"/>
                  </a:cubicBezTo>
                  <a:cubicBezTo>
                    <a:pt x="6551" y="5917"/>
                    <a:pt x="6367" y="6237"/>
                    <a:pt x="5922" y="6237"/>
                  </a:cubicBezTo>
                  <a:cubicBezTo>
                    <a:pt x="5859" y="6237"/>
                    <a:pt x="5790" y="6231"/>
                    <a:pt x="5716" y="6216"/>
                  </a:cubicBezTo>
                  <a:cubicBezTo>
                    <a:pt x="6133" y="5847"/>
                    <a:pt x="6418" y="5335"/>
                    <a:pt x="6490" y="4775"/>
                  </a:cubicBezTo>
                  <a:lnTo>
                    <a:pt x="6609" y="4775"/>
                  </a:lnTo>
                  <a:cubicBezTo>
                    <a:pt x="6692" y="4775"/>
                    <a:pt x="6799" y="4740"/>
                    <a:pt x="6871" y="4716"/>
                  </a:cubicBezTo>
                  <a:close/>
                  <a:moveTo>
                    <a:pt x="4132" y="275"/>
                  </a:moveTo>
                  <a:cubicBezTo>
                    <a:pt x="4656" y="275"/>
                    <a:pt x="5002" y="382"/>
                    <a:pt x="5133" y="596"/>
                  </a:cubicBezTo>
                  <a:cubicBezTo>
                    <a:pt x="5204" y="715"/>
                    <a:pt x="5359" y="787"/>
                    <a:pt x="5502" y="811"/>
                  </a:cubicBezTo>
                  <a:cubicBezTo>
                    <a:pt x="6299" y="906"/>
                    <a:pt x="6871" y="1561"/>
                    <a:pt x="6871" y="2347"/>
                  </a:cubicBezTo>
                  <a:lnTo>
                    <a:pt x="6871" y="3632"/>
                  </a:lnTo>
                  <a:cubicBezTo>
                    <a:pt x="6799" y="3585"/>
                    <a:pt x="6692" y="3573"/>
                    <a:pt x="6609" y="3573"/>
                  </a:cubicBezTo>
                  <a:lnTo>
                    <a:pt x="6514" y="3573"/>
                  </a:lnTo>
                  <a:lnTo>
                    <a:pt x="6514" y="3394"/>
                  </a:lnTo>
                  <a:cubicBezTo>
                    <a:pt x="6514" y="2858"/>
                    <a:pt x="6240" y="2632"/>
                    <a:pt x="5942" y="2394"/>
                  </a:cubicBezTo>
                  <a:cubicBezTo>
                    <a:pt x="5823" y="2299"/>
                    <a:pt x="5704" y="2204"/>
                    <a:pt x="5585" y="2085"/>
                  </a:cubicBezTo>
                  <a:cubicBezTo>
                    <a:pt x="5555" y="2055"/>
                    <a:pt x="5514" y="2040"/>
                    <a:pt x="5472" y="2040"/>
                  </a:cubicBezTo>
                  <a:cubicBezTo>
                    <a:pt x="5430" y="2040"/>
                    <a:pt x="5388" y="2055"/>
                    <a:pt x="5359" y="2085"/>
                  </a:cubicBezTo>
                  <a:cubicBezTo>
                    <a:pt x="5299" y="2144"/>
                    <a:pt x="5299" y="2239"/>
                    <a:pt x="5359" y="2299"/>
                  </a:cubicBezTo>
                  <a:cubicBezTo>
                    <a:pt x="5490" y="2442"/>
                    <a:pt x="5621" y="2537"/>
                    <a:pt x="5740" y="2644"/>
                  </a:cubicBezTo>
                  <a:cubicBezTo>
                    <a:pt x="6025" y="2870"/>
                    <a:pt x="6204" y="3013"/>
                    <a:pt x="6204" y="3394"/>
                  </a:cubicBezTo>
                  <a:lnTo>
                    <a:pt x="6204" y="3728"/>
                  </a:lnTo>
                  <a:cubicBezTo>
                    <a:pt x="6204" y="3787"/>
                    <a:pt x="6240" y="3835"/>
                    <a:pt x="6276" y="3871"/>
                  </a:cubicBezTo>
                  <a:cubicBezTo>
                    <a:pt x="6323" y="3894"/>
                    <a:pt x="6323" y="3894"/>
                    <a:pt x="6490" y="3894"/>
                  </a:cubicBezTo>
                  <a:lnTo>
                    <a:pt x="6621" y="3894"/>
                  </a:lnTo>
                  <a:cubicBezTo>
                    <a:pt x="6776" y="3894"/>
                    <a:pt x="6895" y="4013"/>
                    <a:pt x="6895" y="4168"/>
                  </a:cubicBezTo>
                  <a:cubicBezTo>
                    <a:pt x="6895" y="4311"/>
                    <a:pt x="6776" y="4430"/>
                    <a:pt x="6621" y="4430"/>
                  </a:cubicBezTo>
                  <a:lnTo>
                    <a:pt x="6537" y="4430"/>
                  </a:lnTo>
                  <a:lnTo>
                    <a:pt x="6537" y="4418"/>
                  </a:lnTo>
                  <a:cubicBezTo>
                    <a:pt x="6537" y="4323"/>
                    <a:pt x="6454" y="4252"/>
                    <a:pt x="6371" y="4252"/>
                  </a:cubicBezTo>
                  <a:cubicBezTo>
                    <a:pt x="6276" y="4252"/>
                    <a:pt x="6204" y="4323"/>
                    <a:pt x="6204" y="4418"/>
                  </a:cubicBezTo>
                  <a:cubicBezTo>
                    <a:pt x="6204" y="5549"/>
                    <a:pt x="5287" y="6478"/>
                    <a:pt x="4132" y="6478"/>
                  </a:cubicBezTo>
                  <a:cubicBezTo>
                    <a:pt x="4118" y="6478"/>
                    <a:pt x="4104" y="6478"/>
                    <a:pt x="4090" y="6478"/>
                  </a:cubicBezTo>
                  <a:cubicBezTo>
                    <a:pt x="2979" y="6478"/>
                    <a:pt x="2085" y="5547"/>
                    <a:pt x="2085" y="4430"/>
                  </a:cubicBezTo>
                  <a:cubicBezTo>
                    <a:pt x="2085" y="4347"/>
                    <a:pt x="2013" y="4263"/>
                    <a:pt x="1918" y="4263"/>
                  </a:cubicBezTo>
                  <a:cubicBezTo>
                    <a:pt x="1834" y="4263"/>
                    <a:pt x="1751" y="4347"/>
                    <a:pt x="1751" y="4430"/>
                  </a:cubicBezTo>
                  <a:lnTo>
                    <a:pt x="1751" y="4442"/>
                  </a:lnTo>
                  <a:lnTo>
                    <a:pt x="1668" y="4442"/>
                  </a:lnTo>
                  <a:cubicBezTo>
                    <a:pt x="1513" y="4442"/>
                    <a:pt x="1394" y="4323"/>
                    <a:pt x="1394" y="4180"/>
                  </a:cubicBezTo>
                  <a:cubicBezTo>
                    <a:pt x="1394" y="4025"/>
                    <a:pt x="1513" y="3906"/>
                    <a:pt x="1668" y="3906"/>
                  </a:cubicBezTo>
                  <a:lnTo>
                    <a:pt x="1751" y="3906"/>
                  </a:lnTo>
                  <a:cubicBezTo>
                    <a:pt x="2037" y="3906"/>
                    <a:pt x="2263" y="3692"/>
                    <a:pt x="2263" y="3406"/>
                  </a:cubicBezTo>
                  <a:cubicBezTo>
                    <a:pt x="2263" y="3228"/>
                    <a:pt x="2346" y="3073"/>
                    <a:pt x="2501" y="2942"/>
                  </a:cubicBezTo>
                  <a:lnTo>
                    <a:pt x="2513" y="2954"/>
                  </a:lnTo>
                  <a:cubicBezTo>
                    <a:pt x="2549" y="2989"/>
                    <a:pt x="2585" y="3001"/>
                    <a:pt x="2632" y="3001"/>
                  </a:cubicBezTo>
                  <a:cubicBezTo>
                    <a:pt x="2680" y="3001"/>
                    <a:pt x="2704" y="2989"/>
                    <a:pt x="2739" y="2954"/>
                  </a:cubicBezTo>
                  <a:cubicBezTo>
                    <a:pt x="2799" y="2894"/>
                    <a:pt x="2811" y="2823"/>
                    <a:pt x="2763" y="2751"/>
                  </a:cubicBezTo>
                  <a:cubicBezTo>
                    <a:pt x="3085" y="2573"/>
                    <a:pt x="3513" y="2442"/>
                    <a:pt x="3930" y="2299"/>
                  </a:cubicBezTo>
                  <a:cubicBezTo>
                    <a:pt x="4644" y="2061"/>
                    <a:pt x="5323" y="1846"/>
                    <a:pt x="5502" y="1394"/>
                  </a:cubicBezTo>
                  <a:cubicBezTo>
                    <a:pt x="5537" y="1311"/>
                    <a:pt x="5502" y="1215"/>
                    <a:pt x="5418" y="1192"/>
                  </a:cubicBezTo>
                  <a:cubicBezTo>
                    <a:pt x="5393" y="1182"/>
                    <a:pt x="5369" y="1178"/>
                    <a:pt x="5347" y="1178"/>
                  </a:cubicBezTo>
                  <a:cubicBezTo>
                    <a:pt x="5283" y="1178"/>
                    <a:pt x="5230" y="1213"/>
                    <a:pt x="5204" y="1275"/>
                  </a:cubicBezTo>
                  <a:cubicBezTo>
                    <a:pt x="5085" y="1585"/>
                    <a:pt x="4454" y="1799"/>
                    <a:pt x="3823" y="1989"/>
                  </a:cubicBezTo>
                  <a:cubicBezTo>
                    <a:pt x="3382" y="2144"/>
                    <a:pt x="2906" y="2287"/>
                    <a:pt x="2549" y="2513"/>
                  </a:cubicBezTo>
                  <a:lnTo>
                    <a:pt x="2085" y="2025"/>
                  </a:lnTo>
                  <a:cubicBezTo>
                    <a:pt x="2049" y="1990"/>
                    <a:pt x="1997" y="1967"/>
                    <a:pt x="1947" y="1967"/>
                  </a:cubicBezTo>
                  <a:cubicBezTo>
                    <a:pt x="1914" y="1967"/>
                    <a:pt x="1882" y="1977"/>
                    <a:pt x="1858" y="2001"/>
                  </a:cubicBezTo>
                  <a:cubicBezTo>
                    <a:pt x="1799" y="2061"/>
                    <a:pt x="1787" y="2168"/>
                    <a:pt x="1846" y="2227"/>
                  </a:cubicBezTo>
                  <a:lnTo>
                    <a:pt x="2275" y="2692"/>
                  </a:lnTo>
                  <a:cubicBezTo>
                    <a:pt x="2073" y="2870"/>
                    <a:pt x="1930" y="3097"/>
                    <a:pt x="1930" y="3394"/>
                  </a:cubicBezTo>
                  <a:cubicBezTo>
                    <a:pt x="1930" y="3490"/>
                    <a:pt x="1858" y="3573"/>
                    <a:pt x="1751" y="3573"/>
                  </a:cubicBezTo>
                  <a:lnTo>
                    <a:pt x="1668" y="3573"/>
                  </a:lnTo>
                  <a:cubicBezTo>
                    <a:pt x="1573" y="3573"/>
                    <a:pt x="1477" y="3597"/>
                    <a:pt x="1394" y="3632"/>
                  </a:cubicBezTo>
                  <a:lnTo>
                    <a:pt x="1394" y="2692"/>
                  </a:lnTo>
                  <a:cubicBezTo>
                    <a:pt x="1394" y="1787"/>
                    <a:pt x="1906" y="1204"/>
                    <a:pt x="2335" y="894"/>
                  </a:cubicBezTo>
                  <a:cubicBezTo>
                    <a:pt x="2858" y="501"/>
                    <a:pt x="3525" y="275"/>
                    <a:pt x="4132" y="275"/>
                  </a:cubicBezTo>
                  <a:close/>
                  <a:moveTo>
                    <a:pt x="5013" y="6680"/>
                  </a:moveTo>
                  <a:lnTo>
                    <a:pt x="5013" y="7526"/>
                  </a:lnTo>
                  <a:cubicBezTo>
                    <a:pt x="5013" y="7633"/>
                    <a:pt x="5002" y="7716"/>
                    <a:pt x="4966" y="7811"/>
                  </a:cubicBezTo>
                  <a:cubicBezTo>
                    <a:pt x="4942" y="7895"/>
                    <a:pt x="4990" y="7990"/>
                    <a:pt x="5073" y="8014"/>
                  </a:cubicBezTo>
                  <a:cubicBezTo>
                    <a:pt x="5085" y="8014"/>
                    <a:pt x="5109" y="8038"/>
                    <a:pt x="5133" y="8038"/>
                  </a:cubicBezTo>
                  <a:cubicBezTo>
                    <a:pt x="5192" y="8038"/>
                    <a:pt x="5263" y="7990"/>
                    <a:pt x="5287" y="7931"/>
                  </a:cubicBezTo>
                  <a:cubicBezTo>
                    <a:pt x="5323" y="7800"/>
                    <a:pt x="5359" y="7681"/>
                    <a:pt x="5359" y="7526"/>
                  </a:cubicBezTo>
                  <a:lnTo>
                    <a:pt x="5359" y="7240"/>
                  </a:lnTo>
                  <a:lnTo>
                    <a:pt x="5787" y="7395"/>
                  </a:lnTo>
                  <a:cubicBezTo>
                    <a:pt x="5859" y="7419"/>
                    <a:pt x="5906" y="7478"/>
                    <a:pt x="5906" y="7561"/>
                  </a:cubicBezTo>
                  <a:cubicBezTo>
                    <a:pt x="5918" y="8133"/>
                    <a:pt x="5787" y="8633"/>
                    <a:pt x="5656" y="8931"/>
                  </a:cubicBezTo>
                  <a:cubicBezTo>
                    <a:pt x="5567" y="9130"/>
                    <a:pt x="5376" y="9255"/>
                    <a:pt x="5170" y="9255"/>
                  </a:cubicBezTo>
                  <a:cubicBezTo>
                    <a:pt x="5130" y="9255"/>
                    <a:pt x="5090" y="9250"/>
                    <a:pt x="5049" y="9240"/>
                  </a:cubicBezTo>
                  <a:lnTo>
                    <a:pt x="4180" y="9026"/>
                  </a:lnTo>
                  <a:lnTo>
                    <a:pt x="4109" y="9026"/>
                  </a:lnTo>
                  <a:lnTo>
                    <a:pt x="3239" y="9240"/>
                  </a:lnTo>
                  <a:cubicBezTo>
                    <a:pt x="3197" y="9250"/>
                    <a:pt x="3154" y="9255"/>
                    <a:pt x="3112" y="9255"/>
                  </a:cubicBezTo>
                  <a:cubicBezTo>
                    <a:pt x="2908" y="9255"/>
                    <a:pt x="2721" y="9138"/>
                    <a:pt x="2632" y="8931"/>
                  </a:cubicBezTo>
                  <a:cubicBezTo>
                    <a:pt x="2513" y="8633"/>
                    <a:pt x="2370" y="8133"/>
                    <a:pt x="2406" y="7538"/>
                  </a:cubicBezTo>
                  <a:cubicBezTo>
                    <a:pt x="2406" y="7466"/>
                    <a:pt x="2466" y="7407"/>
                    <a:pt x="2525" y="7383"/>
                  </a:cubicBezTo>
                  <a:lnTo>
                    <a:pt x="2966" y="7228"/>
                  </a:lnTo>
                  <a:lnTo>
                    <a:pt x="2966" y="7514"/>
                  </a:lnTo>
                  <a:cubicBezTo>
                    <a:pt x="2966" y="8169"/>
                    <a:pt x="3501" y="8704"/>
                    <a:pt x="4156" y="8704"/>
                  </a:cubicBezTo>
                  <a:cubicBezTo>
                    <a:pt x="4394" y="8704"/>
                    <a:pt x="4609" y="8633"/>
                    <a:pt x="4811" y="8514"/>
                  </a:cubicBezTo>
                  <a:cubicBezTo>
                    <a:pt x="4882" y="8466"/>
                    <a:pt x="4894" y="8359"/>
                    <a:pt x="4847" y="8288"/>
                  </a:cubicBezTo>
                  <a:cubicBezTo>
                    <a:pt x="4824" y="8242"/>
                    <a:pt x="4771" y="8215"/>
                    <a:pt x="4717" y="8215"/>
                  </a:cubicBezTo>
                  <a:cubicBezTo>
                    <a:pt x="4688" y="8215"/>
                    <a:pt x="4658" y="8223"/>
                    <a:pt x="4632" y="8240"/>
                  </a:cubicBezTo>
                  <a:cubicBezTo>
                    <a:pt x="4478" y="8335"/>
                    <a:pt x="4311" y="8395"/>
                    <a:pt x="4156" y="8395"/>
                  </a:cubicBezTo>
                  <a:cubicBezTo>
                    <a:pt x="3680" y="8395"/>
                    <a:pt x="3287" y="8002"/>
                    <a:pt x="3287" y="7526"/>
                  </a:cubicBezTo>
                  <a:lnTo>
                    <a:pt x="3287" y="6680"/>
                  </a:lnTo>
                  <a:cubicBezTo>
                    <a:pt x="3561" y="6788"/>
                    <a:pt x="3859" y="6847"/>
                    <a:pt x="4156" y="6847"/>
                  </a:cubicBezTo>
                  <a:cubicBezTo>
                    <a:pt x="4454" y="6847"/>
                    <a:pt x="4752" y="6788"/>
                    <a:pt x="5013" y="6680"/>
                  </a:cubicBezTo>
                  <a:close/>
                  <a:moveTo>
                    <a:pt x="4109" y="1"/>
                  </a:moveTo>
                  <a:cubicBezTo>
                    <a:pt x="3418" y="1"/>
                    <a:pt x="2680" y="251"/>
                    <a:pt x="2108" y="668"/>
                  </a:cubicBezTo>
                  <a:cubicBezTo>
                    <a:pt x="1620" y="1025"/>
                    <a:pt x="1037" y="1680"/>
                    <a:pt x="1037" y="2716"/>
                  </a:cubicBezTo>
                  <a:lnTo>
                    <a:pt x="1037" y="4728"/>
                  </a:lnTo>
                  <a:cubicBezTo>
                    <a:pt x="1037" y="5097"/>
                    <a:pt x="739" y="5133"/>
                    <a:pt x="680" y="5133"/>
                  </a:cubicBezTo>
                  <a:cubicBezTo>
                    <a:pt x="644" y="5133"/>
                    <a:pt x="596" y="5144"/>
                    <a:pt x="561" y="5192"/>
                  </a:cubicBezTo>
                  <a:cubicBezTo>
                    <a:pt x="537" y="5216"/>
                    <a:pt x="525" y="5264"/>
                    <a:pt x="525" y="5311"/>
                  </a:cubicBezTo>
                  <a:cubicBezTo>
                    <a:pt x="525" y="5323"/>
                    <a:pt x="608" y="6133"/>
                    <a:pt x="1442" y="6145"/>
                  </a:cubicBezTo>
                  <a:cubicBezTo>
                    <a:pt x="1501" y="6216"/>
                    <a:pt x="1596" y="6323"/>
                    <a:pt x="1739" y="6407"/>
                  </a:cubicBezTo>
                  <a:cubicBezTo>
                    <a:pt x="1874" y="6489"/>
                    <a:pt x="2069" y="6571"/>
                    <a:pt x="2325" y="6571"/>
                  </a:cubicBezTo>
                  <a:cubicBezTo>
                    <a:pt x="2477" y="6571"/>
                    <a:pt x="2651" y="6542"/>
                    <a:pt x="2847" y="6466"/>
                  </a:cubicBezTo>
                  <a:cubicBezTo>
                    <a:pt x="2870" y="6478"/>
                    <a:pt x="2882" y="6502"/>
                    <a:pt x="2918" y="6514"/>
                  </a:cubicBezTo>
                  <a:lnTo>
                    <a:pt x="2918" y="6895"/>
                  </a:lnTo>
                  <a:lnTo>
                    <a:pt x="2382" y="7073"/>
                  </a:lnTo>
                  <a:cubicBezTo>
                    <a:pt x="2192" y="7157"/>
                    <a:pt x="2049" y="7323"/>
                    <a:pt x="2037" y="7526"/>
                  </a:cubicBezTo>
                  <a:lnTo>
                    <a:pt x="2037" y="7561"/>
                  </a:lnTo>
                  <a:lnTo>
                    <a:pt x="787" y="8002"/>
                  </a:lnTo>
                  <a:cubicBezTo>
                    <a:pt x="310" y="8169"/>
                    <a:pt x="1" y="8609"/>
                    <a:pt x="1" y="9121"/>
                  </a:cubicBezTo>
                  <a:lnTo>
                    <a:pt x="1" y="10788"/>
                  </a:lnTo>
                  <a:cubicBezTo>
                    <a:pt x="1" y="10871"/>
                    <a:pt x="72" y="10955"/>
                    <a:pt x="168" y="10955"/>
                  </a:cubicBezTo>
                  <a:cubicBezTo>
                    <a:pt x="251" y="10955"/>
                    <a:pt x="322" y="10871"/>
                    <a:pt x="322" y="10788"/>
                  </a:cubicBezTo>
                  <a:lnTo>
                    <a:pt x="322" y="9121"/>
                  </a:lnTo>
                  <a:cubicBezTo>
                    <a:pt x="322" y="9014"/>
                    <a:pt x="346" y="8895"/>
                    <a:pt x="382" y="8812"/>
                  </a:cubicBezTo>
                  <a:lnTo>
                    <a:pt x="1203" y="9502"/>
                  </a:lnTo>
                  <a:cubicBezTo>
                    <a:pt x="1323" y="9609"/>
                    <a:pt x="1382" y="9740"/>
                    <a:pt x="1382" y="9907"/>
                  </a:cubicBezTo>
                  <a:lnTo>
                    <a:pt x="1382" y="10788"/>
                  </a:lnTo>
                  <a:cubicBezTo>
                    <a:pt x="1382" y="10871"/>
                    <a:pt x="1453" y="10955"/>
                    <a:pt x="1549" y="10955"/>
                  </a:cubicBezTo>
                  <a:cubicBezTo>
                    <a:pt x="1632" y="10955"/>
                    <a:pt x="1715" y="10871"/>
                    <a:pt x="1715" y="10788"/>
                  </a:cubicBezTo>
                  <a:lnTo>
                    <a:pt x="1715" y="9907"/>
                  </a:lnTo>
                  <a:cubicBezTo>
                    <a:pt x="1715" y="9657"/>
                    <a:pt x="1608" y="9431"/>
                    <a:pt x="1418" y="9264"/>
                  </a:cubicBezTo>
                  <a:lnTo>
                    <a:pt x="561" y="8538"/>
                  </a:lnTo>
                  <a:cubicBezTo>
                    <a:pt x="656" y="8431"/>
                    <a:pt x="775" y="8359"/>
                    <a:pt x="906" y="8312"/>
                  </a:cubicBezTo>
                  <a:lnTo>
                    <a:pt x="2037" y="7919"/>
                  </a:lnTo>
                  <a:cubicBezTo>
                    <a:pt x="2049" y="8419"/>
                    <a:pt x="2180" y="8824"/>
                    <a:pt x="2287" y="9085"/>
                  </a:cubicBezTo>
                  <a:cubicBezTo>
                    <a:pt x="2426" y="9414"/>
                    <a:pt x="2740" y="9609"/>
                    <a:pt x="3075" y="9609"/>
                  </a:cubicBezTo>
                  <a:cubicBezTo>
                    <a:pt x="3141" y="9609"/>
                    <a:pt x="3208" y="9601"/>
                    <a:pt x="3275" y="9586"/>
                  </a:cubicBezTo>
                  <a:lnTo>
                    <a:pt x="4085" y="9371"/>
                  </a:lnTo>
                  <a:lnTo>
                    <a:pt x="4906" y="9586"/>
                  </a:lnTo>
                  <a:cubicBezTo>
                    <a:pt x="4978" y="9597"/>
                    <a:pt x="5049" y="9609"/>
                    <a:pt x="5121" y="9609"/>
                  </a:cubicBezTo>
                  <a:cubicBezTo>
                    <a:pt x="5442" y="9609"/>
                    <a:pt x="5752" y="9419"/>
                    <a:pt x="5895" y="9085"/>
                  </a:cubicBezTo>
                  <a:cubicBezTo>
                    <a:pt x="6002" y="8824"/>
                    <a:pt x="6133" y="8419"/>
                    <a:pt x="6145" y="7931"/>
                  </a:cubicBezTo>
                  <a:lnTo>
                    <a:pt x="7276" y="8335"/>
                  </a:lnTo>
                  <a:cubicBezTo>
                    <a:pt x="7407" y="8371"/>
                    <a:pt x="7526" y="8466"/>
                    <a:pt x="7621" y="8550"/>
                  </a:cubicBezTo>
                  <a:lnTo>
                    <a:pt x="6764" y="9288"/>
                  </a:lnTo>
                  <a:cubicBezTo>
                    <a:pt x="6573" y="9443"/>
                    <a:pt x="6466" y="9669"/>
                    <a:pt x="6466" y="9919"/>
                  </a:cubicBezTo>
                  <a:lnTo>
                    <a:pt x="6466" y="10800"/>
                  </a:lnTo>
                  <a:cubicBezTo>
                    <a:pt x="6466" y="10895"/>
                    <a:pt x="6549" y="10967"/>
                    <a:pt x="6633" y="10967"/>
                  </a:cubicBezTo>
                  <a:cubicBezTo>
                    <a:pt x="6728" y="10967"/>
                    <a:pt x="6799" y="10895"/>
                    <a:pt x="6799" y="10800"/>
                  </a:cubicBezTo>
                  <a:lnTo>
                    <a:pt x="6799" y="9919"/>
                  </a:lnTo>
                  <a:cubicBezTo>
                    <a:pt x="6799" y="9776"/>
                    <a:pt x="6859" y="9621"/>
                    <a:pt x="6978" y="9526"/>
                  </a:cubicBezTo>
                  <a:lnTo>
                    <a:pt x="7776" y="8835"/>
                  </a:lnTo>
                  <a:cubicBezTo>
                    <a:pt x="7823" y="8943"/>
                    <a:pt x="7835" y="9050"/>
                    <a:pt x="7835" y="9145"/>
                  </a:cubicBezTo>
                  <a:lnTo>
                    <a:pt x="7835" y="10812"/>
                  </a:lnTo>
                  <a:cubicBezTo>
                    <a:pt x="7835" y="10907"/>
                    <a:pt x="7919" y="10979"/>
                    <a:pt x="8002" y="10979"/>
                  </a:cubicBezTo>
                  <a:cubicBezTo>
                    <a:pt x="8097" y="10979"/>
                    <a:pt x="8169" y="10907"/>
                    <a:pt x="8169" y="10812"/>
                  </a:cubicBezTo>
                  <a:lnTo>
                    <a:pt x="8169" y="9145"/>
                  </a:lnTo>
                  <a:cubicBezTo>
                    <a:pt x="8240" y="8597"/>
                    <a:pt x="7919" y="8133"/>
                    <a:pt x="7442" y="7978"/>
                  </a:cubicBezTo>
                  <a:lnTo>
                    <a:pt x="6204" y="7538"/>
                  </a:lnTo>
                  <a:lnTo>
                    <a:pt x="6204" y="7514"/>
                  </a:lnTo>
                  <a:cubicBezTo>
                    <a:pt x="6192" y="7300"/>
                    <a:pt x="6061" y="7121"/>
                    <a:pt x="5859" y="7061"/>
                  </a:cubicBezTo>
                  <a:lnTo>
                    <a:pt x="5323" y="6883"/>
                  </a:lnTo>
                  <a:lnTo>
                    <a:pt x="5323" y="6502"/>
                  </a:lnTo>
                  <a:cubicBezTo>
                    <a:pt x="5359" y="6478"/>
                    <a:pt x="5371" y="6466"/>
                    <a:pt x="5406" y="6454"/>
                  </a:cubicBezTo>
                  <a:cubicBezTo>
                    <a:pt x="5597" y="6526"/>
                    <a:pt x="5775" y="6561"/>
                    <a:pt x="5918" y="6561"/>
                  </a:cubicBezTo>
                  <a:cubicBezTo>
                    <a:pt x="6180" y="6561"/>
                    <a:pt x="6371" y="6490"/>
                    <a:pt x="6490" y="6407"/>
                  </a:cubicBezTo>
                  <a:cubicBezTo>
                    <a:pt x="6633" y="6323"/>
                    <a:pt x="6728" y="6216"/>
                    <a:pt x="6787" y="6145"/>
                  </a:cubicBezTo>
                  <a:cubicBezTo>
                    <a:pt x="7621" y="6133"/>
                    <a:pt x="7704" y="5323"/>
                    <a:pt x="7704" y="5311"/>
                  </a:cubicBezTo>
                  <a:cubicBezTo>
                    <a:pt x="7704" y="5264"/>
                    <a:pt x="7692" y="5216"/>
                    <a:pt x="7669" y="5192"/>
                  </a:cubicBezTo>
                  <a:cubicBezTo>
                    <a:pt x="7633" y="5156"/>
                    <a:pt x="7585" y="5133"/>
                    <a:pt x="7549" y="5133"/>
                  </a:cubicBezTo>
                  <a:cubicBezTo>
                    <a:pt x="7549" y="5133"/>
                    <a:pt x="7454" y="5133"/>
                    <a:pt x="7371" y="5073"/>
                  </a:cubicBezTo>
                  <a:cubicBezTo>
                    <a:pt x="7252" y="5014"/>
                    <a:pt x="7192" y="4894"/>
                    <a:pt x="7192" y="4728"/>
                  </a:cubicBezTo>
                  <a:lnTo>
                    <a:pt x="7192" y="2382"/>
                  </a:lnTo>
                  <a:cubicBezTo>
                    <a:pt x="7192" y="1430"/>
                    <a:pt x="6478" y="620"/>
                    <a:pt x="5525" y="513"/>
                  </a:cubicBezTo>
                  <a:cubicBezTo>
                    <a:pt x="5466" y="513"/>
                    <a:pt x="5406" y="489"/>
                    <a:pt x="5371" y="442"/>
                  </a:cubicBezTo>
                  <a:cubicBezTo>
                    <a:pt x="5180" y="144"/>
                    <a:pt x="4752" y="1"/>
                    <a:pt x="41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3" name="Google Shape;11773;p61"/>
            <p:cNvSpPr/>
            <p:nvPr/>
          </p:nvSpPr>
          <p:spPr>
            <a:xfrm>
              <a:off x="6819522" y="304451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2" y="1"/>
                    <a:pt x="90" y="15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191" y="402"/>
                    <a:pt x="429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70" y="200"/>
                    <a:pt x="1370" y="105"/>
                    <a:pt x="1310" y="45"/>
                  </a:cubicBezTo>
                  <a:cubicBezTo>
                    <a:pt x="1281" y="15"/>
                    <a:pt x="1239" y="1"/>
                    <a:pt x="1197" y="1"/>
                  </a:cubicBezTo>
                  <a:cubicBezTo>
                    <a:pt x="1156" y="1"/>
                    <a:pt x="1114" y="15"/>
                    <a:pt x="1084" y="45"/>
                  </a:cubicBezTo>
                  <a:cubicBezTo>
                    <a:pt x="1025" y="105"/>
                    <a:pt x="894" y="152"/>
                    <a:pt x="691" y="152"/>
                  </a:cubicBezTo>
                  <a:cubicBezTo>
                    <a:pt x="477" y="152"/>
                    <a:pt x="346" y="81"/>
                    <a:pt x="286" y="45"/>
                  </a:cubicBezTo>
                  <a:cubicBezTo>
                    <a:pt x="257" y="15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4" name="Google Shape;11774;p61"/>
            <p:cNvSpPr/>
            <p:nvPr/>
          </p:nvSpPr>
          <p:spPr>
            <a:xfrm>
              <a:off x="6803682" y="3006344"/>
              <a:ext cx="10233" cy="15492"/>
            </a:xfrm>
            <a:custGeom>
              <a:avLst/>
              <a:gdLst/>
              <a:ahLst/>
              <a:cxnLst/>
              <a:rect l="l" t="t" r="r" b="b"/>
              <a:pathLst>
                <a:path w="323" h="489" extrusionOk="0">
                  <a:moveTo>
                    <a:pt x="155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55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10" y="71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5" name="Google Shape;11775;p61"/>
            <p:cNvSpPr/>
            <p:nvPr/>
          </p:nvSpPr>
          <p:spPr>
            <a:xfrm>
              <a:off x="6868183" y="3006344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67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22" y="71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6" name="Google Shape;11776;p61"/>
            <p:cNvSpPr/>
            <p:nvPr/>
          </p:nvSpPr>
          <p:spPr>
            <a:xfrm>
              <a:off x="6798011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56" y="333"/>
                  </a:cubicBezTo>
                  <a:lnTo>
                    <a:pt x="501" y="333"/>
                  </a:lnTo>
                  <a:cubicBezTo>
                    <a:pt x="584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7" name="Google Shape;11777;p61"/>
            <p:cNvSpPr/>
            <p:nvPr/>
          </p:nvSpPr>
          <p:spPr>
            <a:xfrm>
              <a:off x="6862892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513" y="333"/>
                  </a:lnTo>
                  <a:cubicBezTo>
                    <a:pt x="596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78" name="Google Shape;11778;p61"/>
          <p:cNvGrpSpPr/>
          <p:nvPr/>
        </p:nvGrpSpPr>
        <p:grpSpPr>
          <a:xfrm>
            <a:off x="5807156" y="2881113"/>
            <a:ext cx="261043" cy="348163"/>
            <a:chOff x="5807156" y="2881113"/>
            <a:chExt cx="261043" cy="348163"/>
          </a:xfrm>
        </p:grpSpPr>
        <p:sp>
          <p:nvSpPr>
            <p:cNvPr id="11779" name="Google Shape;11779;p61"/>
            <p:cNvSpPr/>
            <p:nvPr/>
          </p:nvSpPr>
          <p:spPr>
            <a:xfrm>
              <a:off x="5807156" y="2881113"/>
              <a:ext cx="261043" cy="348163"/>
            </a:xfrm>
            <a:custGeom>
              <a:avLst/>
              <a:gdLst/>
              <a:ahLst/>
              <a:cxnLst/>
              <a:rect l="l" t="t" r="r" b="b"/>
              <a:pathLst>
                <a:path w="8240" h="10990" extrusionOk="0">
                  <a:moveTo>
                    <a:pt x="4477" y="334"/>
                  </a:moveTo>
                  <a:cubicBezTo>
                    <a:pt x="4763" y="334"/>
                    <a:pt x="5001" y="572"/>
                    <a:pt x="5001" y="857"/>
                  </a:cubicBezTo>
                  <a:cubicBezTo>
                    <a:pt x="5001" y="917"/>
                    <a:pt x="4989" y="976"/>
                    <a:pt x="4977" y="1036"/>
                  </a:cubicBezTo>
                  <a:lnTo>
                    <a:pt x="3310" y="1036"/>
                  </a:lnTo>
                  <a:cubicBezTo>
                    <a:pt x="3274" y="976"/>
                    <a:pt x="3274" y="917"/>
                    <a:pt x="3274" y="857"/>
                  </a:cubicBezTo>
                  <a:cubicBezTo>
                    <a:pt x="3274" y="572"/>
                    <a:pt x="3501" y="334"/>
                    <a:pt x="3798" y="334"/>
                  </a:cubicBezTo>
                  <a:close/>
                  <a:moveTo>
                    <a:pt x="5168" y="1369"/>
                  </a:moveTo>
                  <a:cubicBezTo>
                    <a:pt x="6215" y="1369"/>
                    <a:pt x="7061" y="2215"/>
                    <a:pt x="7061" y="3262"/>
                  </a:cubicBezTo>
                  <a:cubicBezTo>
                    <a:pt x="7061" y="3524"/>
                    <a:pt x="7001" y="3786"/>
                    <a:pt x="6894" y="4024"/>
                  </a:cubicBezTo>
                  <a:cubicBezTo>
                    <a:pt x="6811" y="3977"/>
                    <a:pt x="6715" y="3953"/>
                    <a:pt x="6608" y="3953"/>
                  </a:cubicBezTo>
                  <a:lnTo>
                    <a:pt x="6346" y="3953"/>
                  </a:lnTo>
                  <a:lnTo>
                    <a:pt x="6346" y="3596"/>
                  </a:lnTo>
                  <a:cubicBezTo>
                    <a:pt x="6346" y="2941"/>
                    <a:pt x="5811" y="2405"/>
                    <a:pt x="5156" y="2405"/>
                  </a:cubicBezTo>
                  <a:cubicBezTo>
                    <a:pt x="5060" y="2405"/>
                    <a:pt x="4989" y="2477"/>
                    <a:pt x="4989" y="2560"/>
                  </a:cubicBezTo>
                  <a:cubicBezTo>
                    <a:pt x="4989" y="2655"/>
                    <a:pt x="5060" y="2727"/>
                    <a:pt x="5156" y="2727"/>
                  </a:cubicBezTo>
                  <a:cubicBezTo>
                    <a:pt x="5632" y="2727"/>
                    <a:pt x="6013" y="3120"/>
                    <a:pt x="6013" y="3596"/>
                  </a:cubicBezTo>
                  <a:lnTo>
                    <a:pt x="6013" y="3953"/>
                  </a:lnTo>
                  <a:lnTo>
                    <a:pt x="5822" y="3953"/>
                  </a:lnTo>
                  <a:cubicBezTo>
                    <a:pt x="5680" y="3739"/>
                    <a:pt x="5418" y="3608"/>
                    <a:pt x="5144" y="3608"/>
                  </a:cubicBezTo>
                  <a:cubicBezTo>
                    <a:pt x="4798" y="3608"/>
                    <a:pt x="4501" y="3810"/>
                    <a:pt x="4370" y="4108"/>
                  </a:cubicBezTo>
                  <a:lnTo>
                    <a:pt x="3858" y="4108"/>
                  </a:lnTo>
                  <a:cubicBezTo>
                    <a:pt x="3727" y="3810"/>
                    <a:pt x="3429" y="3608"/>
                    <a:pt x="3084" y="3608"/>
                  </a:cubicBezTo>
                  <a:cubicBezTo>
                    <a:pt x="2798" y="3608"/>
                    <a:pt x="2560" y="3739"/>
                    <a:pt x="2405" y="3953"/>
                  </a:cubicBezTo>
                  <a:lnTo>
                    <a:pt x="2203" y="3953"/>
                  </a:lnTo>
                  <a:lnTo>
                    <a:pt x="2203" y="3596"/>
                  </a:lnTo>
                  <a:cubicBezTo>
                    <a:pt x="2203" y="3108"/>
                    <a:pt x="2596" y="2727"/>
                    <a:pt x="3072" y="2727"/>
                  </a:cubicBezTo>
                  <a:lnTo>
                    <a:pt x="4441" y="2727"/>
                  </a:lnTo>
                  <a:cubicBezTo>
                    <a:pt x="4525" y="2727"/>
                    <a:pt x="4608" y="2655"/>
                    <a:pt x="4608" y="2560"/>
                  </a:cubicBezTo>
                  <a:cubicBezTo>
                    <a:pt x="4608" y="2477"/>
                    <a:pt x="4525" y="2405"/>
                    <a:pt x="4441" y="2405"/>
                  </a:cubicBezTo>
                  <a:lnTo>
                    <a:pt x="3072" y="2405"/>
                  </a:lnTo>
                  <a:cubicBezTo>
                    <a:pt x="2417" y="2405"/>
                    <a:pt x="1881" y="2941"/>
                    <a:pt x="1881" y="3596"/>
                  </a:cubicBezTo>
                  <a:lnTo>
                    <a:pt x="1881" y="3953"/>
                  </a:lnTo>
                  <a:lnTo>
                    <a:pt x="1608" y="3953"/>
                  </a:lnTo>
                  <a:cubicBezTo>
                    <a:pt x="1512" y="3953"/>
                    <a:pt x="1417" y="3977"/>
                    <a:pt x="1334" y="4024"/>
                  </a:cubicBezTo>
                  <a:cubicBezTo>
                    <a:pt x="1286" y="3786"/>
                    <a:pt x="1227" y="3513"/>
                    <a:pt x="1227" y="3262"/>
                  </a:cubicBezTo>
                  <a:cubicBezTo>
                    <a:pt x="1227" y="2215"/>
                    <a:pt x="2072" y="1369"/>
                    <a:pt x="3120" y="1369"/>
                  </a:cubicBezTo>
                  <a:close/>
                  <a:moveTo>
                    <a:pt x="3120" y="3929"/>
                  </a:moveTo>
                  <a:cubicBezTo>
                    <a:pt x="3394" y="3929"/>
                    <a:pt x="3632" y="4155"/>
                    <a:pt x="3632" y="4453"/>
                  </a:cubicBezTo>
                  <a:cubicBezTo>
                    <a:pt x="3632" y="4739"/>
                    <a:pt x="3394" y="4977"/>
                    <a:pt x="3120" y="4977"/>
                  </a:cubicBezTo>
                  <a:cubicBezTo>
                    <a:pt x="2834" y="4977"/>
                    <a:pt x="2596" y="4739"/>
                    <a:pt x="2596" y="4453"/>
                  </a:cubicBezTo>
                  <a:cubicBezTo>
                    <a:pt x="2596" y="4167"/>
                    <a:pt x="2834" y="3929"/>
                    <a:pt x="3120" y="3929"/>
                  </a:cubicBezTo>
                  <a:close/>
                  <a:moveTo>
                    <a:pt x="5168" y="3929"/>
                  </a:moveTo>
                  <a:cubicBezTo>
                    <a:pt x="5453" y="3929"/>
                    <a:pt x="5691" y="4155"/>
                    <a:pt x="5691" y="4453"/>
                  </a:cubicBezTo>
                  <a:cubicBezTo>
                    <a:pt x="5691" y="4739"/>
                    <a:pt x="5453" y="4977"/>
                    <a:pt x="5168" y="4977"/>
                  </a:cubicBezTo>
                  <a:cubicBezTo>
                    <a:pt x="4882" y="4977"/>
                    <a:pt x="4644" y="4739"/>
                    <a:pt x="4644" y="4453"/>
                  </a:cubicBezTo>
                  <a:cubicBezTo>
                    <a:pt x="4644" y="4167"/>
                    <a:pt x="4882" y="3929"/>
                    <a:pt x="5168" y="3929"/>
                  </a:cubicBezTo>
                  <a:close/>
                  <a:moveTo>
                    <a:pt x="6632" y="4275"/>
                  </a:moveTo>
                  <a:cubicBezTo>
                    <a:pt x="6775" y="4275"/>
                    <a:pt x="6894" y="4394"/>
                    <a:pt x="6894" y="4548"/>
                  </a:cubicBezTo>
                  <a:cubicBezTo>
                    <a:pt x="6894" y="4691"/>
                    <a:pt x="6775" y="4810"/>
                    <a:pt x="6632" y="4810"/>
                  </a:cubicBezTo>
                  <a:lnTo>
                    <a:pt x="6537" y="4810"/>
                  </a:lnTo>
                  <a:lnTo>
                    <a:pt x="6537" y="4798"/>
                  </a:lnTo>
                  <a:cubicBezTo>
                    <a:pt x="6537" y="4703"/>
                    <a:pt x="6465" y="4632"/>
                    <a:pt x="6370" y="4632"/>
                  </a:cubicBezTo>
                  <a:cubicBezTo>
                    <a:pt x="6287" y="4632"/>
                    <a:pt x="6215" y="4703"/>
                    <a:pt x="6215" y="4798"/>
                  </a:cubicBezTo>
                  <a:cubicBezTo>
                    <a:pt x="6215" y="5929"/>
                    <a:pt x="5287" y="6870"/>
                    <a:pt x="4144" y="6870"/>
                  </a:cubicBezTo>
                  <a:cubicBezTo>
                    <a:pt x="3001" y="6870"/>
                    <a:pt x="2072" y="5929"/>
                    <a:pt x="2072" y="4798"/>
                  </a:cubicBezTo>
                  <a:cubicBezTo>
                    <a:pt x="2072" y="4703"/>
                    <a:pt x="2001" y="4632"/>
                    <a:pt x="1905" y="4632"/>
                  </a:cubicBezTo>
                  <a:cubicBezTo>
                    <a:pt x="1822" y="4632"/>
                    <a:pt x="1750" y="4703"/>
                    <a:pt x="1750" y="4798"/>
                  </a:cubicBezTo>
                  <a:lnTo>
                    <a:pt x="1750" y="4810"/>
                  </a:lnTo>
                  <a:lnTo>
                    <a:pt x="1655" y="4810"/>
                  </a:lnTo>
                  <a:cubicBezTo>
                    <a:pt x="1512" y="4810"/>
                    <a:pt x="1393" y="4691"/>
                    <a:pt x="1393" y="4548"/>
                  </a:cubicBezTo>
                  <a:cubicBezTo>
                    <a:pt x="1393" y="4394"/>
                    <a:pt x="1512" y="4275"/>
                    <a:pt x="1655" y="4275"/>
                  </a:cubicBezTo>
                  <a:lnTo>
                    <a:pt x="2286" y="4275"/>
                  </a:lnTo>
                  <a:cubicBezTo>
                    <a:pt x="2262" y="4334"/>
                    <a:pt x="2262" y="4394"/>
                    <a:pt x="2262" y="4453"/>
                  </a:cubicBezTo>
                  <a:cubicBezTo>
                    <a:pt x="2262" y="4917"/>
                    <a:pt x="2643" y="5298"/>
                    <a:pt x="3120" y="5298"/>
                  </a:cubicBezTo>
                  <a:cubicBezTo>
                    <a:pt x="3572" y="5298"/>
                    <a:pt x="3965" y="4929"/>
                    <a:pt x="3965" y="4453"/>
                  </a:cubicBezTo>
                  <a:lnTo>
                    <a:pt x="3965" y="4441"/>
                  </a:lnTo>
                  <a:lnTo>
                    <a:pt x="4322" y="4441"/>
                  </a:lnTo>
                  <a:lnTo>
                    <a:pt x="4322" y="4453"/>
                  </a:lnTo>
                  <a:cubicBezTo>
                    <a:pt x="4322" y="4917"/>
                    <a:pt x="4691" y="5298"/>
                    <a:pt x="5168" y="5298"/>
                  </a:cubicBezTo>
                  <a:cubicBezTo>
                    <a:pt x="5632" y="5298"/>
                    <a:pt x="6013" y="4929"/>
                    <a:pt x="6013" y="4453"/>
                  </a:cubicBezTo>
                  <a:cubicBezTo>
                    <a:pt x="6013" y="4394"/>
                    <a:pt x="6013" y="4334"/>
                    <a:pt x="6001" y="4275"/>
                  </a:cubicBezTo>
                  <a:close/>
                  <a:moveTo>
                    <a:pt x="5025" y="7013"/>
                  </a:moveTo>
                  <a:lnTo>
                    <a:pt x="5025" y="7882"/>
                  </a:lnTo>
                  <a:cubicBezTo>
                    <a:pt x="5025" y="7977"/>
                    <a:pt x="5001" y="8073"/>
                    <a:pt x="4977" y="8156"/>
                  </a:cubicBezTo>
                  <a:cubicBezTo>
                    <a:pt x="4941" y="8251"/>
                    <a:pt x="4989" y="8335"/>
                    <a:pt x="5084" y="8370"/>
                  </a:cubicBezTo>
                  <a:cubicBezTo>
                    <a:pt x="5096" y="8370"/>
                    <a:pt x="5108" y="8382"/>
                    <a:pt x="5144" y="8382"/>
                  </a:cubicBezTo>
                  <a:cubicBezTo>
                    <a:pt x="5203" y="8382"/>
                    <a:pt x="5275" y="8335"/>
                    <a:pt x="5287" y="8275"/>
                  </a:cubicBezTo>
                  <a:cubicBezTo>
                    <a:pt x="5334" y="8144"/>
                    <a:pt x="5358" y="8025"/>
                    <a:pt x="5358" y="7870"/>
                  </a:cubicBezTo>
                  <a:lnTo>
                    <a:pt x="5358" y="7596"/>
                  </a:lnTo>
                  <a:lnTo>
                    <a:pt x="5799" y="7739"/>
                  </a:lnTo>
                  <a:cubicBezTo>
                    <a:pt x="5870" y="7775"/>
                    <a:pt x="5918" y="7834"/>
                    <a:pt x="5918" y="7906"/>
                  </a:cubicBezTo>
                  <a:cubicBezTo>
                    <a:pt x="5918" y="8513"/>
                    <a:pt x="5775" y="9013"/>
                    <a:pt x="5656" y="9311"/>
                  </a:cubicBezTo>
                  <a:cubicBezTo>
                    <a:pt x="5566" y="9510"/>
                    <a:pt x="5376" y="9635"/>
                    <a:pt x="5169" y="9635"/>
                  </a:cubicBezTo>
                  <a:cubicBezTo>
                    <a:pt x="5130" y="9635"/>
                    <a:pt x="5089" y="9630"/>
                    <a:pt x="5049" y="9620"/>
                  </a:cubicBezTo>
                  <a:lnTo>
                    <a:pt x="4191" y="9406"/>
                  </a:lnTo>
                  <a:lnTo>
                    <a:pt x="4108" y="9406"/>
                  </a:lnTo>
                  <a:lnTo>
                    <a:pt x="3251" y="9620"/>
                  </a:lnTo>
                  <a:cubicBezTo>
                    <a:pt x="3208" y="9631"/>
                    <a:pt x="3165" y="9636"/>
                    <a:pt x="3123" y="9636"/>
                  </a:cubicBezTo>
                  <a:cubicBezTo>
                    <a:pt x="2916" y="9636"/>
                    <a:pt x="2722" y="9518"/>
                    <a:pt x="2643" y="9311"/>
                  </a:cubicBezTo>
                  <a:cubicBezTo>
                    <a:pt x="2524" y="9013"/>
                    <a:pt x="2370" y="8513"/>
                    <a:pt x="2417" y="7918"/>
                  </a:cubicBezTo>
                  <a:cubicBezTo>
                    <a:pt x="2417" y="7846"/>
                    <a:pt x="2477" y="7787"/>
                    <a:pt x="2536" y="7763"/>
                  </a:cubicBezTo>
                  <a:lnTo>
                    <a:pt x="2965" y="7608"/>
                  </a:lnTo>
                  <a:lnTo>
                    <a:pt x="2965" y="7894"/>
                  </a:lnTo>
                  <a:cubicBezTo>
                    <a:pt x="2965" y="8549"/>
                    <a:pt x="3501" y="9085"/>
                    <a:pt x="4156" y="9085"/>
                  </a:cubicBezTo>
                  <a:cubicBezTo>
                    <a:pt x="4394" y="9085"/>
                    <a:pt x="4620" y="9013"/>
                    <a:pt x="4810" y="8894"/>
                  </a:cubicBezTo>
                  <a:cubicBezTo>
                    <a:pt x="4882" y="8847"/>
                    <a:pt x="4906" y="8739"/>
                    <a:pt x="4858" y="8668"/>
                  </a:cubicBezTo>
                  <a:cubicBezTo>
                    <a:pt x="4827" y="8622"/>
                    <a:pt x="4772" y="8596"/>
                    <a:pt x="4717" y="8596"/>
                  </a:cubicBezTo>
                  <a:cubicBezTo>
                    <a:pt x="4687" y="8596"/>
                    <a:pt x="4657" y="8603"/>
                    <a:pt x="4632" y="8620"/>
                  </a:cubicBezTo>
                  <a:cubicBezTo>
                    <a:pt x="4489" y="8716"/>
                    <a:pt x="4322" y="8775"/>
                    <a:pt x="4156" y="8775"/>
                  </a:cubicBezTo>
                  <a:cubicBezTo>
                    <a:pt x="3679" y="8775"/>
                    <a:pt x="3298" y="8382"/>
                    <a:pt x="3298" y="7906"/>
                  </a:cubicBezTo>
                  <a:lnTo>
                    <a:pt x="3298" y="7013"/>
                  </a:lnTo>
                  <a:cubicBezTo>
                    <a:pt x="3560" y="7120"/>
                    <a:pt x="3858" y="7180"/>
                    <a:pt x="4156" y="7180"/>
                  </a:cubicBezTo>
                  <a:cubicBezTo>
                    <a:pt x="4465" y="7180"/>
                    <a:pt x="4751" y="7120"/>
                    <a:pt x="5025" y="7013"/>
                  </a:cubicBezTo>
                  <a:close/>
                  <a:moveTo>
                    <a:pt x="3786" y="0"/>
                  </a:moveTo>
                  <a:cubicBezTo>
                    <a:pt x="3322" y="0"/>
                    <a:pt x="2941" y="381"/>
                    <a:pt x="2941" y="857"/>
                  </a:cubicBezTo>
                  <a:cubicBezTo>
                    <a:pt x="2941" y="917"/>
                    <a:pt x="2953" y="976"/>
                    <a:pt x="2953" y="1048"/>
                  </a:cubicBezTo>
                  <a:cubicBezTo>
                    <a:pt x="1786" y="1119"/>
                    <a:pt x="881" y="2072"/>
                    <a:pt x="881" y="3251"/>
                  </a:cubicBezTo>
                  <a:cubicBezTo>
                    <a:pt x="881" y="3596"/>
                    <a:pt x="965" y="3953"/>
                    <a:pt x="1119" y="4263"/>
                  </a:cubicBezTo>
                  <a:cubicBezTo>
                    <a:pt x="1072" y="4346"/>
                    <a:pt x="1048" y="4441"/>
                    <a:pt x="1048" y="4548"/>
                  </a:cubicBezTo>
                  <a:cubicBezTo>
                    <a:pt x="1048" y="4870"/>
                    <a:pt x="1310" y="5120"/>
                    <a:pt x="1620" y="5120"/>
                  </a:cubicBezTo>
                  <a:lnTo>
                    <a:pt x="1739" y="5120"/>
                  </a:lnTo>
                  <a:cubicBezTo>
                    <a:pt x="1846" y="5870"/>
                    <a:pt x="2298" y="6489"/>
                    <a:pt x="2917" y="6870"/>
                  </a:cubicBezTo>
                  <a:lnTo>
                    <a:pt x="2917" y="7263"/>
                  </a:lnTo>
                  <a:lnTo>
                    <a:pt x="2382" y="7442"/>
                  </a:lnTo>
                  <a:cubicBezTo>
                    <a:pt x="2191" y="7525"/>
                    <a:pt x="2060" y="7680"/>
                    <a:pt x="2048" y="7894"/>
                  </a:cubicBezTo>
                  <a:lnTo>
                    <a:pt x="2048" y="7918"/>
                  </a:lnTo>
                  <a:lnTo>
                    <a:pt x="786" y="8370"/>
                  </a:lnTo>
                  <a:cubicBezTo>
                    <a:pt x="310" y="8537"/>
                    <a:pt x="0" y="8977"/>
                    <a:pt x="0" y="9489"/>
                  </a:cubicBezTo>
                  <a:lnTo>
                    <a:pt x="0" y="10799"/>
                  </a:lnTo>
                  <a:cubicBezTo>
                    <a:pt x="0" y="10882"/>
                    <a:pt x="72" y="10954"/>
                    <a:pt x="167" y="10954"/>
                  </a:cubicBezTo>
                  <a:cubicBezTo>
                    <a:pt x="250" y="10954"/>
                    <a:pt x="334" y="10882"/>
                    <a:pt x="334" y="10799"/>
                  </a:cubicBezTo>
                  <a:lnTo>
                    <a:pt x="334" y="9489"/>
                  </a:lnTo>
                  <a:cubicBezTo>
                    <a:pt x="334" y="9382"/>
                    <a:pt x="346" y="9263"/>
                    <a:pt x="393" y="9168"/>
                  </a:cubicBezTo>
                  <a:lnTo>
                    <a:pt x="1203" y="9870"/>
                  </a:lnTo>
                  <a:cubicBezTo>
                    <a:pt x="1322" y="9978"/>
                    <a:pt x="1381" y="10109"/>
                    <a:pt x="1381" y="10275"/>
                  </a:cubicBezTo>
                  <a:lnTo>
                    <a:pt x="1381" y="10799"/>
                  </a:lnTo>
                  <a:cubicBezTo>
                    <a:pt x="1381" y="10882"/>
                    <a:pt x="1465" y="10954"/>
                    <a:pt x="1548" y="10954"/>
                  </a:cubicBezTo>
                  <a:cubicBezTo>
                    <a:pt x="1643" y="10954"/>
                    <a:pt x="1715" y="10882"/>
                    <a:pt x="1715" y="10799"/>
                  </a:cubicBezTo>
                  <a:lnTo>
                    <a:pt x="1715" y="10275"/>
                  </a:lnTo>
                  <a:cubicBezTo>
                    <a:pt x="1715" y="10025"/>
                    <a:pt x="1608" y="9799"/>
                    <a:pt x="1417" y="9632"/>
                  </a:cubicBezTo>
                  <a:lnTo>
                    <a:pt x="572" y="8906"/>
                  </a:lnTo>
                  <a:cubicBezTo>
                    <a:pt x="655" y="8799"/>
                    <a:pt x="774" y="8727"/>
                    <a:pt x="905" y="8680"/>
                  </a:cubicBezTo>
                  <a:lnTo>
                    <a:pt x="2036" y="8275"/>
                  </a:lnTo>
                  <a:cubicBezTo>
                    <a:pt x="2060" y="8787"/>
                    <a:pt x="2191" y="9192"/>
                    <a:pt x="2298" y="9454"/>
                  </a:cubicBezTo>
                  <a:cubicBezTo>
                    <a:pt x="2425" y="9776"/>
                    <a:pt x="2729" y="9970"/>
                    <a:pt x="3057" y="9970"/>
                  </a:cubicBezTo>
                  <a:cubicBezTo>
                    <a:pt x="3129" y="9970"/>
                    <a:pt x="3202" y="9961"/>
                    <a:pt x="3274" y="9942"/>
                  </a:cubicBezTo>
                  <a:lnTo>
                    <a:pt x="4096" y="9739"/>
                  </a:lnTo>
                  <a:lnTo>
                    <a:pt x="4918" y="9942"/>
                  </a:lnTo>
                  <a:cubicBezTo>
                    <a:pt x="4989" y="9966"/>
                    <a:pt x="5049" y="9978"/>
                    <a:pt x="5120" y="9978"/>
                  </a:cubicBezTo>
                  <a:cubicBezTo>
                    <a:pt x="5453" y="9978"/>
                    <a:pt x="5763" y="9787"/>
                    <a:pt x="5894" y="9454"/>
                  </a:cubicBezTo>
                  <a:cubicBezTo>
                    <a:pt x="6001" y="9192"/>
                    <a:pt x="6132" y="8787"/>
                    <a:pt x="6144" y="8299"/>
                  </a:cubicBezTo>
                  <a:lnTo>
                    <a:pt x="7275" y="8692"/>
                  </a:lnTo>
                  <a:cubicBezTo>
                    <a:pt x="7418" y="8739"/>
                    <a:pt x="7537" y="8835"/>
                    <a:pt x="7620" y="8918"/>
                  </a:cubicBezTo>
                  <a:lnTo>
                    <a:pt x="6775" y="9644"/>
                  </a:lnTo>
                  <a:cubicBezTo>
                    <a:pt x="6584" y="9811"/>
                    <a:pt x="6477" y="10037"/>
                    <a:pt x="6477" y="10287"/>
                  </a:cubicBezTo>
                  <a:lnTo>
                    <a:pt x="6477" y="10811"/>
                  </a:lnTo>
                  <a:cubicBezTo>
                    <a:pt x="6477" y="10894"/>
                    <a:pt x="6549" y="10978"/>
                    <a:pt x="6644" y="10978"/>
                  </a:cubicBezTo>
                  <a:cubicBezTo>
                    <a:pt x="6727" y="10978"/>
                    <a:pt x="6799" y="10894"/>
                    <a:pt x="6799" y="10811"/>
                  </a:cubicBezTo>
                  <a:lnTo>
                    <a:pt x="6799" y="10287"/>
                  </a:lnTo>
                  <a:cubicBezTo>
                    <a:pt x="6799" y="10144"/>
                    <a:pt x="6858" y="9990"/>
                    <a:pt x="6977" y="9882"/>
                  </a:cubicBezTo>
                  <a:lnTo>
                    <a:pt x="7787" y="9204"/>
                  </a:lnTo>
                  <a:cubicBezTo>
                    <a:pt x="7835" y="9311"/>
                    <a:pt x="7846" y="9406"/>
                    <a:pt x="7846" y="9513"/>
                  </a:cubicBezTo>
                  <a:lnTo>
                    <a:pt x="7846" y="10823"/>
                  </a:lnTo>
                  <a:cubicBezTo>
                    <a:pt x="7846" y="10918"/>
                    <a:pt x="7918" y="10990"/>
                    <a:pt x="8013" y="10990"/>
                  </a:cubicBezTo>
                  <a:cubicBezTo>
                    <a:pt x="8097" y="10990"/>
                    <a:pt x="8168" y="10918"/>
                    <a:pt x="8168" y="10823"/>
                  </a:cubicBezTo>
                  <a:lnTo>
                    <a:pt x="8168" y="9513"/>
                  </a:lnTo>
                  <a:cubicBezTo>
                    <a:pt x="8239" y="8977"/>
                    <a:pt x="7918" y="8513"/>
                    <a:pt x="7442" y="8358"/>
                  </a:cubicBezTo>
                  <a:lnTo>
                    <a:pt x="6215" y="7918"/>
                  </a:lnTo>
                  <a:lnTo>
                    <a:pt x="6215" y="7894"/>
                  </a:lnTo>
                  <a:cubicBezTo>
                    <a:pt x="6192" y="7680"/>
                    <a:pt x="6061" y="7501"/>
                    <a:pt x="5870" y="7442"/>
                  </a:cubicBezTo>
                  <a:lnTo>
                    <a:pt x="5334" y="7263"/>
                  </a:lnTo>
                  <a:lnTo>
                    <a:pt x="5334" y="6870"/>
                  </a:lnTo>
                  <a:cubicBezTo>
                    <a:pt x="5953" y="6513"/>
                    <a:pt x="6406" y="5870"/>
                    <a:pt x="6513" y="5120"/>
                  </a:cubicBezTo>
                  <a:lnTo>
                    <a:pt x="6632" y="5120"/>
                  </a:lnTo>
                  <a:cubicBezTo>
                    <a:pt x="6954" y="5120"/>
                    <a:pt x="7204" y="4858"/>
                    <a:pt x="7204" y="4548"/>
                  </a:cubicBezTo>
                  <a:cubicBezTo>
                    <a:pt x="7204" y="4441"/>
                    <a:pt x="7180" y="4346"/>
                    <a:pt x="7132" y="4263"/>
                  </a:cubicBezTo>
                  <a:cubicBezTo>
                    <a:pt x="7299" y="3953"/>
                    <a:pt x="7370" y="3608"/>
                    <a:pt x="7370" y="3251"/>
                  </a:cubicBezTo>
                  <a:cubicBezTo>
                    <a:pt x="7370" y="2072"/>
                    <a:pt x="6453" y="1107"/>
                    <a:pt x="5299" y="1048"/>
                  </a:cubicBezTo>
                  <a:cubicBezTo>
                    <a:pt x="5322" y="988"/>
                    <a:pt x="5322" y="929"/>
                    <a:pt x="5322" y="857"/>
                  </a:cubicBezTo>
                  <a:cubicBezTo>
                    <a:pt x="5322" y="393"/>
                    <a:pt x="4941" y="0"/>
                    <a:pt x="4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0" name="Google Shape;11780;p61"/>
            <p:cNvSpPr/>
            <p:nvPr/>
          </p:nvSpPr>
          <p:spPr>
            <a:xfrm>
              <a:off x="5916547" y="3055828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1" y="1"/>
                    <a:pt x="89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191" y="403"/>
                    <a:pt x="429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69" y="200"/>
                    <a:pt x="1369" y="105"/>
                    <a:pt x="1310" y="45"/>
                  </a:cubicBezTo>
                  <a:cubicBezTo>
                    <a:pt x="1280" y="16"/>
                    <a:pt x="1241" y="1"/>
                    <a:pt x="1201" y="1"/>
                  </a:cubicBezTo>
                  <a:cubicBezTo>
                    <a:pt x="1161" y="1"/>
                    <a:pt x="1119" y="16"/>
                    <a:pt x="1084" y="45"/>
                  </a:cubicBezTo>
                  <a:cubicBezTo>
                    <a:pt x="1024" y="105"/>
                    <a:pt x="893" y="164"/>
                    <a:pt x="691" y="164"/>
                  </a:cubicBezTo>
                  <a:cubicBezTo>
                    <a:pt x="476" y="164"/>
                    <a:pt x="345" y="81"/>
                    <a:pt x="286" y="45"/>
                  </a:cubicBezTo>
                  <a:cubicBezTo>
                    <a:pt x="256" y="16"/>
                    <a:pt x="214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1" name="Google Shape;11781;p61"/>
            <p:cNvSpPr/>
            <p:nvPr/>
          </p:nvSpPr>
          <p:spPr>
            <a:xfrm>
              <a:off x="5900707" y="30123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1" y="417"/>
                    <a:pt x="321" y="322"/>
                  </a:cubicBezTo>
                  <a:lnTo>
                    <a:pt x="321" y="167"/>
                  </a:lnTo>
                  <a:cubicBezTo>
                    <a:pt x="321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2" name="Google Shape;11782;p61"/>
            <p:cNvSpPr/>
            <p:nvPr/>
          </p:nvSpPr>
          <p:spPr>
            <a:xfrm>
              <a:off x="5965556" y="3012363"/>
              <a:ext cx="10613" cy="15492"/>
            </a:xfrm>
            <a:custGeom>
              <a:avLst/>
              <a:gdLst/>
              <a:ahLst/>
              <a:cxnLst/>
              <a:rect l="l" t="t" r="r" b="b"/>
              <a:pathLst>
                <a:path w="335" h="489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84" y="489"/>
                    <a:pt x="168" y="489"/>
                  </a:cubicBezTo>
                  <a:cubicBezTo>
                    <a:pt x="251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34" y="60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3" name="Google Shape;11783;p61"/>
            <p:cNvSpPr/>
            <p:nvPr/>
          </p:nvSpPr>
          <p:spPr>
            <a:xfrm>
              <a:off x="5933116" y="3206625"/>
              <a:ext cx="10613" cy="10201"/>
            </a:xfrm>
            <a:custGeom>
              <a:avLst/>
              <a:gdLst/>
              <a:ahLst/>
              <a:cxnLst/>
              <a:rect l="l" t="t" r="r" b="b"/>
              <a:pathLst>
                <a:path w="33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cubicBezTo>
                    <a:pt x="251" y="322"/>
                    <a:pt x="334" y="250"/>
                    <a:pt x="334" y="167"/>
                  </a:cubicBez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84" name="Google Shape;11784;p61"/>
          <p:cNvGrpSpPr/>
          <p:nvPr/>
        </p:nvGrpSpPr>
        <p:grpSpPr>
          <a:xfrm>
            <a:off x="5355653" y="2881493"/>
            <a:ext cx="262184" cy="346643"/>
            <a:chOff x="5355653" y="2881493"/>
            <a:chExt cx="262184" cy="346643"/>
          </a:xfrm>
        </p:grpSpPr>
        <p:sp>
          <p:nvSpPr>
            <p:cNvPr id="11785" name="Google Shape;11785;p61"/>
            <p:cNvSpPr/>
            <p:nvPr/>
          </p:nvSpPr>
          <p:spPr>
            <a:xfrm>
              <a:off x="5465044" y="3060359"/>
              <a:ext cx="43402" cy="15777"/>
            </a:xfrm>
            <a:custGeom>
              <a:avLst/>
              <a:gdLst/>
              <a:ahLst/>
              <a:cxnLst/>
              <a:rect l="l" t="t" r="r" b="b"/>
              <a:pathLst>
                <a:path w="1370" h="498" extrusionOk="0">
                  <a:moveTo>
                    <a:pt x="167" y="1"/>
                  </a:moveTo>
                  <a:cubicBezTo>
                    <a:pt x="128" y="1"/>
                    <a:pt x="90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cubicBezTo>
                    <a:pt x="191" y="402"/>
                    <a:pt x="429" y="498"/>
                    <a:pt x="679" y="498"/>
                  </a:cubicBezTo>
                  <a:cubicBezTo>
                    <a:pt x="941" y="498"/>
                    <a:pt x="1167" y="414"/>
                    <a:pt x="1310" y="271"/>
                  </a:cubicBezTo>
                  <a:cubicBezTo>
                    <a:pt x="1370" y="212"/>
                    <a:pt x="1370" y="117"/>
                    <a:pt x="1310" y="45"/>
                  </a:cubicBezTo>
                  <a:cubicBezTo>
                    <a:pt x="1280" y="15"/>
                    <a:pt x="1239" y="1"/>
                    <a:pt x="1197" y="1"/>
                  </a:cubicBezTo>
                  <a:cubicBezTo>
                    <a:pt x="1155" y="1"/>
                    <a:pt x="1114" y="15"/>
                    <a:pt x="1084" y="45"/>
                  </a:cubicBezTo>
                  <a:cubicBezTo>
                    <a:pt x="1024" y="105"/>
                    <a:pt x="893" y="164"/>
                    <a:pt x="679" y="164"/>
                  </a:cubicBezTo>
                  <a:cubicBezTo>
                    <a:pt x="477" y="164"/>
                    <a:pt x="346" y="93"/>
                    <a:pt x="274" y="45"/>
                  </a:cubicBezTo>
                  <a:cubicBezTo>
                    <a:pt x="244" y="15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6" name="Google Shape;11786;p61"/>
            <p:cNvSpPr/>
            <p:nvPr/>
          </p:nvSpPr>
          <p:spPr>
            <a:xfrm>
              <a:off x="5448823" y="3022564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83"/>
                    <a:pt x="0" y="167"/>
                  </a:cubicBezTo>
                  <a:lnTo>
                    <a:pt x="0" y="333"/>
                  </a:lnTo>
                  <a:cubicBezTo>
                    <a:pt x="0" y="417"/>
                    <a:pt x="84" y="500"/>
                    <a:pt x="167" y="500"/>
                  </a:cubicBezTo>
                  <a:cubicBezTo>
                    <a:pt x="262" y="500"/>
                    <a:pt x="334" y="417"/>
                    <a:pt x="334" y="333"/>
                  </a:cubicBezTo>
                  <a:lnTo>
                    <a:pt x="334" y="167"/>
                  </a:lnTo>
                  <a:cubicBezTo>
                    <a:pt x="334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7" name="Google Shape;11787;p61"/>
            <p:cNvSpPr/>
            <p:nvPr/>
          </p:nvSpPr>
          <p:spPr>
            <a:xfrm>
              <a:off x="5514084" y="3022564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333"/>
                  </a:lnTo>
                  <a:cubicBezTo>
                    <a:pt x="0" y="417"/>
                    <a:pt x="72" y="500"/>
                    <a:pt x="167" y="500"/>
                  </a:cubicBezTo>
                  <a:cubicBezTo>
                    <a:pt x="250" y="500"/>
                    <a:pt x="322" y="417"/>
                    <a:pt x="322" y="333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8" name="Google Shape;11788;p61"/>
            <p:cNvSpPr/>
            <p:nvPr/>
          </p:nvSpPr>
          <p:spPr>
            <a:xfrm>
              <a:off x="5355653" y="2881493"/>
              <a:ext cx="262184" cy="346643"/>
            </a:xfrm>
            <a:custGeom>
              <a:avLst/>
              <a:gdLst/>
              <a:ahLst/>
              <a:cxnLst/>
              <a:rect l="l" t="t" r="r" b="b"/>
              <a:pathLst>
                <a:path w="8276" h="10942" extrusionOk="0">
                  <a:moveTo>
                    <a:pt x="4656" y="322"/>
                  </a:moveTo>
                  <a:cubicBezTo>
                    <a:pt x="4942" y="322"/>
                    <a:pt x="5180" y="560"/>
                    <a:pt x="5180" y="845"/>
                  </a:cubicBezTo>
                  <a:cubicBezTo>
                    <a:pt x="5180" y="988"/>
                    <a:pt x="5120" y="1119"/>
                    <a:pt x="5013" y="1215"/>
                  </a:cubicBezTo>
                  <a:cubicBezTo>
                    <a:pt x="4894" y="1203"/>
                    <a:pt x="4775" y="1179"/>
                    <a:pt x="4656" y="1179"/>
                  </a:cubicBezTo>
                  <a:lnTo>
                    <a:pt x="3632" y="1179"/>
                  </a:lnTo>
                  <a:cubicBezTo>
                    <a:pt x="3513" y="1179"/>
                    <a:pt x="3394" y="1203"/>
                    <a:pt x="3275" y="1215"/>
                  </a:cubicBezTo>
                  <a:cubicBezTo>
                    <a:pt x="3168" y="1107"/>
                    <a:pt x="3108" y="976"/>
                    <a:pt x="3108" y="845"/>
                  </a:cubicBezTo>
                  <a:cubicBezTo>
                    <a:pt x="3096" y="560"/>
                    <a:pt x="3334" y="322"/>
                    <a:pt x="3632" y="322"/>
                  </a:cubicBezTo>
                  <a:close/>
                  <a:moveTo>
                    <a:pt x="4632" y="1512"/>
                  </a:moveTo>
                  <a:cubicBezTo>
                    <a:pt x="5858" y="1512"/>
                    <a:pt x="6858" y="2512"/>
                    <a:pt x="6858" y="3739"/>
                  </a:cubicBezTo>
                  <a:lnTo>
                    <a:pt x="6858" y="4155"/>
                  </a:lnTo>
                  <a:cubicBezTo>
                    <a:pt x="6787" y="4120"/>
                    <a:pt x="6680" y="4096"/>
                    <a:pt x="6597" y="4096"/>
                  </a:cubicBezTo>
                  <a:lnTo>
                    <a:pt x="6489" y="4096"/>
                  </a:lnTo>
                  <a:lnTo>
                    <a:pt x="6489" y="4084"/>
                  </a:lnTo>
                  <a:lnTo>
                    <a:pt x="6489" y="3917"/>
                  </a:lnTo>
                  <a:cubicBezTo>
                    <a:pt x="6489" y="3834"/>
                    <a:pt x="6418" y="3762"/>
                    <a:pt x="6323" y="3762"/>
                  </a:cubicBezTo>
                  <a:lnTo>
                    <a:pt x="5418" y="3762"/>
                  </a:lnTo>
                  <a:lnTo>
                    <a:pt x="5287" y="3191"/>
                  </a:lnTo>
                  <a:cubicBezTo>
                    <a:pt x="5263" y="3131"/>
                    <a:pt x="5227" y="3084"/>
                    <a:pt x="5168" y="3072"/>
                  </a:cubicBezTo>
                  <a:cubicBezTo>
                    <a:pt x="5154" y="3069"/>
                    <a:pt x="5140" y="3068"/>
                    <a:pt x="5126" y="3068"/>
                  </a:cubicBezTo>
                  <a:cubicBezTo>
                    <a:pt x="5081" y="3068"/>
                    <a:pt x="5040" y="3083"/>
                    <a:pt x="5013" y="3120"/>
                  </a:cubicBezTo>
                  <a:lnTo>
                    <a:pt x="4370" y="3762"/>
                  </a:lnTo>
                  <a:lnTo>
                    <a:pt x="2906" y="3762"/>
                  </a:lnTo>
                  <a:cubicBezTo>
                    <a:pt x="2810" y="3762"/>
                    <a:pt x="2739" y="3834"/>
                    <a:pt x="2739" y="3917"/>
                  </a:cubicBezTo>
                  <a:cubicBezTo>
                    <a:pt x="2739" y="4012"/>
                    <a:pt x="2810" y="4084"/>
                    <a:pt x="2906" y="4084"/>
                  </a:cubicBezTo>
                  <a:lnTo>
                    <a:pt x="4430" y="4084"/>
                  </a:lnTo>
                  <a:cubicBezTo>
                    <a:pt x="4477" y="4084"/>
                    <a:pt x="4525" y="4072"/>
                    <a:pt x="4549" y="4036"/>
                  </a:cubicBezTo>
                  <a:lnTo>
                    <a:pt x="5049" y="3548"/>
                  </a:lnTo>
                  <a:lnTo>
                    <a:pt x="5144" y="3965"/>
                  </a:lnTo>
                  <a:cubicBezTo>
                    <a:pt x="5168" y="4036"/>
                    <a:pt x="5227" y="4084"/>
                    <a:pt x="5299" y="4084"/>
                  </a:cubicBezTo>
                  <a:lnTo>
                    <a:pt x="6156" y="4084"/>
                  </a:lnTo>
                  <a:lnTo>
                    <a:pt x="6156" y="4096"/>
                  </a:lnTo>
                  <a:cubicBezTo>
                    <a:pt x="6156" y="4191"/>
                    <a:pt x="6192" y="4274"/>
                    <a:pt x="6263" y="4334"/>
                  </a:cubicBezTo>
                  <a:cubicBezTo>
                    <a:pt x="6323" y="4393"/>
                    <a:pt x="6418" y="4441"/>
                    <a:pt x="6501" y="4441"/>
                  </a:cubicBezTo>
                  <a:lnTo>
                    <a:pt x="6597" y="4441"/>
                  </a:lnTo>
                  <a:cubicBezTo>
                    <a:pt x="6739" y="4441"/>
                    <a:pt x="6858" y="4560"/>
                    <a:pt x="6858" y="4715"/>
                  </a:cubicBezTo>
                  <a:cubicBezTo>
                    <a:pt x="6858" y="4858"/>
                    <a:pt x="6739" y="4977"/>
                    <a:pt x="6597" y="4977"/>
                  </a:cubicBezTo>
                  <a:lnTo>
                    <a:pt x="6501" y="4977"/>
                  </a:lnTo>
                  <a:lnTo>
                    <a:pt x="6501" y="4965"/>
                  </a:lnTo>
                  <a:cubicBezTo>
                    <a:pt x="6501" y="4870"/>
                    <a:pt x="6430" y="4798"/>
                    <a:pt x="6335" y="4798"/>
                  </a:cubicBezTo>
                  <a:cubicBezTo>
                    <a:pt x="6251" y="4798"/>
                    <a:pt x="6180" y="4870"/>
                    <a:pt x="6180" y="4965"/>
                  </a:cubicBezTo>
                  <a:cubicBezTo>
                    <a:pt x="6180" y="6096"/>
                    <a:pt x="5251" y="7037"/>
                    <a:pt x="4108" y="7037"/>
                  </a:cubicBezTo>
                  <a:cubicBezTo>
                    <a:pt x="2965" y="7037"/>
                    <a:pt x="2072" y="6096"/>
                    <a:pt x="2072" y="4953"/>
                  </a:cubicBezTo>
                  <a:cubicBezTo>
                    <a:pt x="2072" y="4858"/>
                    <a:pt x="1989" y="4786"/>
                    <a:pt x="1905" y="4786"/>
                  </a:cubicBezTo>
                  <a:cubicBezTo>
                    <a:pt x="1810" y="4786"/>
                    <a:pt x="1739" y="4858"/>
                    <a:pt x="1739" y="4953"/>
                  </a:cubicBezTo>
                  <a:lnTo>
                    <a:pt x="1739" y="4965"/>
                  </a:lnTo>
                  <a:lnTo>
                    <a:pt x="1655" y="4965"/>
                  </a:lnTo>
                  <a:cubicBezTo>
                    <a:pt x="1501" y="4965"/>
                    <a:pt x="1382" y="4846"/>
                    <a:pt x="1382" y="4691"/>
                  </a:cubicBezTo>
                  <a:cubicBezTo>
                    <a:pt x="1382" y="4548"/>
                    <a:pt x="1501" y="4429"/>
                    <a:pt x="1655" y="4429"/>
                  </a:cubicBezTo>
                  <a:lnTo>
                    <a:pt x="1739" y="4429"/>
                  </a:lnTo>
                  <a:cubicBezTo>
                    <a:pt x="1917" y="4429"/>
                    <a:pt x="2072" y="4274"/>
                    <a:pt x="2072" y="4096"/>
                  </a:cubicBezTo>
                  <a:lnTo>
                    <a:pt x="2072" y="4084"/>
                  </a:lnTo>
                  <a:lnTo>
                    <a:pt x="2251" y="4084"/>
                  </a:lnTo>
                  <a:cubicBezTo>
                    <a:pt x="2334" y="4084"/>
                    <a:pt x="2406" y="4012"/>
                    <a:pt x="2406" y="3917"/>
                  </a:cubicBezTo>
                  <a:cubicBezTo>
                    <a:pt x="2406" y="3834"/>
                    <a:pt x="2334" y="3762"/>
                    <a:pt x="2251" y="3762"/>
                  </a:cubicBezTo>
                  <a:lnTo>
                    <a:pt x="1905" y="3762"/>
                  </a:lnTo>
                  <a:cubicBezTo>
                    <a:pt x="1810" y="3762"/>
                    <a:pt x="1739" y="3834"/>
                    <a:pt x="1739" y="3917"/>
                  </a:cubicBezTo>
                  <a:lnTo>
                    <a:pt x="1739" y="4084"/>
                  </a:lnTo>
                  <a:cubicBezTo>
                    <a:pt x="1739" y="4084"/>
                    <a:pt x="1739" y="4096"/>
                    <a:pt x="1727" y="4096"/>
                  </a:cubicBezTo>
                  <a:lnTo>
                    <a:pt x="1632" y="4096"/>
                  </a:lnTo>
                  <a:cubicBezTo>
                    <a:pt x="1548" y="4096"/>
                    <a:pt x="1441" y="4132"/>
                    <a:pt x="1370" y="4155"/>
                  </a:cubicBezTo>
                  <a:lnTo>
                    <a:pt x="1370" y="3739"/>
                  </a:lnTo>
                  <a:cubicBezTo>
                    <a:pt x="1370" y="2512"/>
                    <a:pt x="2370" y="1512"/>
                    <a:pt x="3596" y="1512"/>
                  </a:cubicBezTo>
                  <a:close/>
                  <a:moveTo>
                    <a:pt x="2965" y="7513"/>
                  </a:moveTo>
                  <a:cubicBezTo>
                    <a:pt x="2941" y="7656"/>
                    <a:pt x="2858" y="7775"/>
                    <a:pt x="2715" y="7834"/>
                  </a:cubicBezTo>
                  <a:lnTo>
                    <a:pt x="2679" y="7846"/>
                  </a:lnTo>
                  <a:cubicBezTo>
                    <a:pt x="2667" y="7834"/>
                    <a:pt x="2644" y="7834"/>
                    <a:pt x="2632" y="7822"/>
                  </a:cubicBezTo>
                  <a:cubicBezTo>
                    <a:pt x="2581" y="7786"/>
                    <a:pt x="2521" y="7772"/>
                    <a:pt x="2460" y="7772"/>
                  </a:cubicBezTo>
                  <a:cubicBezTo>
                    <a:pt x="2422" y="7772"/>
                    <a:pt x="2383" y="7778"/>
                    <a:pt x="2346" y="7787"/>
                  </a:cubicBezTo>
                  <a:lnTo>
                    <a:pt x="1858" y="7977"/>
                  </a:lnTo>
                  <a:cubicBezTo>
                    <a:pt x="1751" y="8025"/>
                    <a:pt x="1667" y="8120"/>
                    <a:pt x="1620" y="8227"/>
                  </a:cubicBezTo>
                  <a:lnTo>
                    <a:pt x="1394" y="8299"/>
                  </a:lnTo>
                  <a:lnTo>
                    <a:pt x="1394" y="8025"/>
                  </a:lnTo>
                  <a:cubicBezTo>
                    <a:pt x="1394" y="7751"/>
                    <a:pt x="1632" y="7513"/>
                    <a:pt x="1917" y="7513"/>
                  </a:cubicBezTo>
                  <a:close/>
                  <a:moveTo>
                    <a:pt x="6370" y="7513"/>
                  </a:moveTo>
                  <a:cubicBezTo>
                    <a:pt x="6656" y="7513"/>
                    <a:pt x="6894" y="7751"/>
                    <a:pt x="6894" y="8025"/>
                  </a:cubicBezTo>
                  <a:lnTo>
                    <a:pt x="6894" y="8299"/>
                  </a:lnTo>
                  <a:lnTo>
                    <a:pt x="6882" y="8299"/>
                  </a:lnTo>
                  <a:lnTo>
                    <a:pt x="6668" y="8227"/>
                  </a:lnTo>
                  <a:cubicBezTo>
                    <a:pt x="6620" y="8120"/>
                    <a:pt x="6525" y="8025"/>
                    <a:pt x="6430" y="7989"/>
                  </a:cubicBezTo>
                  <a:lnTo>
                    <a:pt x="5942" y="7787"/>
                  </a:lnTo>
                  <a:cubicBezTo>
                    <a:pt x="5905" y="7778"/>
                    <a:pt x="5866" y="7772"/>
                    <a:pt x="5828" y="7772"/>
                  </a:cubicBezTo>
                  <a:cubicBezTo>
                    <a:pt x="5767" y="7772"/>
                    <a:pt x="5707" y="7786"/>
                    <a:pt x="5656" y="7822"/>
                  </a:cubicBezTo>
                  <a:cubicBezTo>
                    <a:pt x="5644" y="7834"/>
                    <a:pt x="5620" y="7834"/>
                    <a:pt x="5608" y="7846"/>
                  </a:cubicBezTo>
                  <a:lnTo>
                    <a:pt x="5561" y="7834"/>
                  </a:lnTo>
                  <a:cubicBezTo>
                    <a:pt x="5430" y="7787"/>
                    <a:pt x="5323" y="7656"/>
                    <a:pt x="5323" y="7513"/>
                  </a:cubicBezTo>
                  <a:close/>
                  <a:moveTo>
                    <a:pt x="2441" y="8084"/>
                  </a:moveTo>
                  <a:lnTo>
                    <a:pt x="2441" y="9073"/>
                  </a:lnTo>
                  <a:lnTo>
                    <a:pt x="1905" y="9073"/>
                  </a:lnTo>
                  <a:lnTo>
                    <a:pt x="1905" y="8382"/>
                  </a:lnTo>
                  <a:cubicBezTo>
                    <a:pt x="1905" y="8346"/>
                    <a:pt x="1929" y="8299"/>
                    <a:pt x="1977" y="8275"/>
                  </a:cubicBezTo>
                  <a:lnTo>
                    <a:pt x="2441" y="8084"/>
                  </a:lnTo>
                  <a:close/>
                  <a:moveTo>
                    <a:pt x="5835" y="8108"/>
                  </a:moveTo>
                  <a:lnTo>
                    <a:pt x="6287" y="8299"/>
                  </a:lnTo>
                  <a:cubicBezTo>
                    <a:pt x="6335" y="8311"/>
                    <a:pt x="6370" y="8358"/>
                    <a:pt x="6370" y="8406"/>
                  </a:cubicBezTo>
                  <a:lnTo>
                    <a:pt x="6370" y="9073"/>
                  </a:lnTo>
                  <a:lnTo>
                    <a:pt x="5835" y="9073"/>
                  </a:lnTo>
                  <a:lnTo>
                    <a:pt x="5835" y="8108"/>
                  </a:lnTo>
                  <a:close/>
                  <a:moveTo>
                    <a:pt x="4989" y="7168"/>
                  </a:moveTo>
                  <a:lnTo>
                    <a:pt x="4989" y="7489"/>
                  </a:lnTo>
                  <a:cubicBezTo>
                    <a:pt x="4989" y="7775"/>
                    <a:pt x="5168" y="8025"/>
                    <a:pt x="5430" y="8132"/>
                  </a:cubicBezTo>
                  <a:lnTo>
                    <a:pt x="5489" y="8168"/>
                  </a:lnTo>
                  <a:lnTo>
                    <a:pt x="5489" y="8406"/>
                  </a:lnTo>
                  <a:lnTo>
                    <a:pt x="5525" y="8406"/>
                  </a:lnTo>
                  <a:cubicBezTo>
                    <a:pt x="5251" y="8918"/>
                    <a:pt x="4727" y="9251"/>
                    <a:pt x="4132" y="9251"/>
                  </a:cubicBezTo>
                  <a:cubicBezTo>
                    <a:pt x="3560" y="9251"/>
                    <a:pt x="3025" y="8918"/>
                    <a:pt x="2751" y="8406"/>
                  </a:cubicBezTo>
                  <a:lnTo>
                    <a:pt x="2751" y="8168"/>
                  </a:lnTo>
                  <a:lnTo>
                    <a:pt x="2810" y="8132"/>
                  </a:lnTo>
                  <a:cubicBezTo>
                    <a:pt x="3084" y="8037"/>
                    <a:pt x="3263" y="7775"/>
                    <a:pt x="3263" y="7489"/>
                  </a:cubicBezTo>
                  <a:lnTo>
                    <a:pt x="3263" y="7168"/>
                  </a:lnTo>
                  <a:cubicBezTo>
                    <a:pt x="3525" y="7275"/>
                    <a:pt x="3822" y="7334"/>
                    <a:pt x="4120" y="7334"/>
                  </a:cubicBezTo>
                  <a:cubicBezTo>
                    <a:pt x="4418" y="7334"/>
                    <a:pt x="4715" y="7275"/>
                    <a:pt x="4989" y="7168"/>
                  </a:cubicBezTo>
                  <a:close/>
                  <a:moveTo>
                    <a:pt x="3596" y="0"/>
                  </a:moveTo>
                  <a:cubicBezTo>
                    <a:pt x="3144" y="0"/>
                    <a:pt x="2751" y="381"/>
                    <a:pt x="2751" y="857"/>
                  </a:cubicBezTo>
                  <a:cubicBezTo>
                    <a:pt x="2751" y="1012"/>
                    <a:pt x="2798" y="1167"/>
                    <a:pt x="2882" y="1298"/>
                  </a:cubicBezTo>
                  <a:cubicBezTo>
                    <a:pt x="1810" y="1607"/>
                    <a:pt x="1036" y="2596"/>
                    <a:pt x="1036" y="3751"/>
                  </a:cubicBezTo>
                  <a:lnTo>
                    <a:pt x="1036" y="4691"/>
                  </a:lnTo>
                  <a:cubicBezTo>
                    <a:pt x="1036" y="5025"/>
                    <a:pt x="1310" y="5275"/>
                    <a:pt x="1620" y="5275"/>
                  </a:cubicBezTo>
                  <a:lnTo>
                    <a:pt x="1739" y="5275"/>
                  </a:lnTo>
                  <a:cubicBezTo>
                    <a:pt x="1846" y="6013"/>
                    <a:pt x="2286" y="6644"/>
                    <a:pt x="2918" y="7013"/>
                  </a:cubicBezTo>
                  <a:lnTo>
                    <a:pt x="2918" y="7180"/>
                  </a:lnTo>
                  <a:lnTo>
                    <a:pt x="1870" y="7180"/>
                  </a:lnTo>
                  <a:cubicBezTo>
                    <a:pt x="1417" y="7180"/>
                    <a:pt x="1024" y="7549"/>
                    <a:pt x="1024" y="8025"/>
                  </a:cubicBezTo>
                  <a:lnTo>
                    <a:pt x="1024" y="8418"/>
                  </a:lnTo>
                  <a:lnTo>
                    <a:pt x="786" y="8501"/>
                  </a:lnTo>
                  <a:cubicBezTo>
                    <a:pt x="310" y="8668"/>
                    <a:pt x="0" y="9120"/>
                    <a:pt x="0" y="9620"/>
                  </a:cubicBezTo>
                  <a:lnTo>
                    <a:pt x="0" y="10763"/>
                  </a:lnTo>
                  <a:cubicBezTo>
                    <a:pt x="0" y="10859"/>
                    <a:pt x="72" y="10930"/>
                    <a:pt x="167" y="10930"/>
                  </a:cubicBezTo>
                  <a:cubicBezTo>
                    <a:pt x="251" y="10930"/>
                    <a:pt x="322" y="10859"/>
                    <a:pt x="322" y="10763"/>
                  </a:cubicBezTo>
                  <a:lnTo>
                    <a:pt x="322" y="9620"/>
                  </a:lnTo>
                  <a:cubicBezTo>
                    <a:pt x="322" y="9251"/>
                    <a:pt x="560" y="8918"/>
                    <a:pt x="905" y="8799"/>
                  </a:cubicBezTo>
                  <a:lnTo>
                    <a:pt x="1560" y="8584"/>
                  </a:lnTo>
                  <a:lnTo>
                    <a:pt x="1560" y="10787"/>
                  </a:lnTo>
                  <a:cubicBezTo>
                    <a:pt x="1560" y="10870"/>
                    <a:pt x="1632" y="10942"/>
                    <a:pt x="1727" y="10942"/>
                  </a:cubicBezTo>
                  <a:cubicBezTo>
                    <a:pt x="1810" y="10942"/>
                    <a:pt x="1894" y="10870"/>
                    <a:pt x="1894" y="10787"/>
                  </a:cubicBezTo>
                  <a:lnTo>
                    <a:pt x="1894" y="9382"/>
                  </a:lnTo>
                  <a:lnTo>
                    <a:pt x="2417" y="9382"/>
                  </a:lnTo>
                  <a:lnTo>
                    <a:pt x="2417" y="10763"/>
                  </a:lnTo>
                  <a:cubicBezTo>
                    <a:pt x="2417" y="10859"/>
                    <a:pt x="2501" y="10930"/>
                    <a:pt x="2584" y="10930"/>
                  </a:cubicBezTo>
                  <a:cubicBezTo>
                    <a:pt x="2679" y="10930"/>
                    <a:pt x="2751" y="10859"/>
                    <a:pt x="2751" y="10763"/>
                  </a:cubicBezTo>
                  <a:lnTo>
                    <a:pt x="2751" y="8954"/>
                  </a:lnTo>
                  <a:cubicBezTo>
                    <a:pt x="2858" y="9073"/>
                    <a:pt x="2989" y="9168"/>
                    <a:pt x="3120" y="9263"/>
                  </a:cubicBezTo>
                  <a:cubicBezTo>
                    <a:pt x="3418" y="9454"/>
                    <a:pt x="3775" y="9561"/>
                    <a:pt x="4132" y="9561"/>
                  </a:cubicBezTo>
                  <a:cubicBezTo>
                    <a:pt x="4489" y="9561"/>
                    <a:pt x="4834" y="9454"/>
                    <a:pt x="5144" y="9263"/>
                  </a:cubicBezTo>
                  <a:cubicBezTo>
                    <a:pt x="5275" y="9168"/>
                    <a:pt x="5418" y="9073"/>
                    <a:pt x="5513" y="8954"/>
                  </a:cubicBezTo>
                  <a:lnTo>
                    <a:pt x="5513" y="9573"/>
                  </a:lnTo>
                  <a:cubicBezTo>
                    <a:pt x="5513" y="9668"/>
                    <a:pt x="5596" y="9739"/>
                    <a:pt x="5680" y="9739"/>
                  </a:cubicBezTo>
                  <a:cubicBezTo>
                    <a:pt x="5775" y="9739"/>
                    <a:pt x="5846" y="9668"/>
                    <a:pt x="5846" y="9573"/>
                  </a:cubicBezTo>
                  <a:lnTo>
                    <a:pt x="5846" y="9382"/>
                  </a:lnTo>
                  <a:lnTo>
                    <a:pt x="6382" y="9382"/>
                  </a:lnTo>
                  <a:lnTo>
                    <a:pt x="6382" y="10763"/>
                  </a:lnTo>
                  <a:cubicBezTo>
                    <a:pt x="6382" y="10859"/>
                    <a:pt x="6454" y="10930"/>
                    <a:pt x="6549" y="10930"/>
                  </a:cubicBezTo>
                  <a:cubicBezTo>
                    <a:pt x="6632" y="10930"/>
                    <a:pt x="6704" y="10859"/>
                    <a:pt x="6704" y="10763"/>
                  </a:cubicBezTo>
                  <a:lnTo>
                    <a:pt x="6704" y="8561"/>
                  </a:lnTo>
                  <a:lnTo>
                    <a:pt x="7359" y="8787"/>
                  </a:lnTo>
                  <a:cubicBezTo>
                    <a:pt x="7704" y="8906"/>
                    <a:pt x="7942" y="9239"/>
                    <a:pt x="7942" y="9608"/>
                  </a:cubicBezTo>
                  <a:lnTo>
                    <a:pt x="7942" y="10751"/>
                  </a:lnTo>
                  <a:cubicBezTo>
                    <a:pt x="7942" y="10847"/>
                    <a:pt x="8013" y="10918"/>
                    <a:pt x="8109" y="10918"/>
                  </a:cubicBezTo>
                  <a:cubicBezTo>
                    <a:pt x="8192" y="10918"/>
                    <a:pt x="8275" y="10847"/>
                    <a:pt x="8275" y="10751"/>
                  </a:cubicBezTo>
                  <a:lnTo>
                    <a:pt x="8275" y="9608"/>
                  </a:lnTo>
                  <a:cubicBezTo>
                    <a:pt x="8240" y="9120"/>
                    <a:pt x="7918" y="8668"/>
                    <a:pt x="7442" y="8501"/>
                  </a:cubicBezTo>
                  <a:lnTo>
                    <a:pt x="7204" y="8418"/>
                  </a:lnTo>
                  <a:lnTo>
                    <a:pt x="7204" y="8025"/>
                  </a:lnTo>
                  <a:cubicBezTo>
                    <a:pt x="7204" y="7572"/>
                    <a:pt x="6835" y="7180"/>
                    <a:pt x="6358" y="7180"/>
                  </a:cubicBezTo>
                  <a:lnTo>
                    <a:pt x="5311" y="7180"/>
                  </a:lnTo>
                  <a:lnTo>
                    <a:pt x="5311" y="7013"/>
                  </a:lnTo>
                  <a:cubicBezTo>
                    <a:pt x="5942" y="6656"/>
                    <a:pt x="6382" y="6013"/>
                    <a:pt x="6489" y="5275"/>
                  </a:cubicBezTo>
                  <a:lnTo>
                    <a:pt x="6608" y="5275"/>
                  </a:lnTo>
                  <a:cubicBezTo>
                    <a:pt x="6930" y="5275"/>
                    <a:pt x="7192" y="5001"/>
                    <a:pt x="7192" y="4691"/>
                  </a:cubicBezTo>
                  <a:lnTo>
                    <a:pt x="7192" y="3751"/>
                  </a:lnTo>
                  <a:cubicBezTo>
                    <a:pt x="7192" y="2596"/>
                    <a:pt x="6418" y="1607"/>
                    <a:pt x="5346" y="1298"/>
                  </a:cubicBezTo>
                  <a:cubicBezTo>
                    <a:pt x="5430" y="1167"/>
                    <a:pt x="5477" y="1000"/>
                    <a:pt x="5477" y="857"/>
                  </a:cubicBezTo>
                  <a:cubicBezTo>
                    <a:pt x="5477" y="393"/>
                    <a:pt x="5108" y="0"/>
                    <a:pt x="4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9" name="Google Shape;11789;p61"/>
            <p:cNvSpPr/>
            <p:nvPr/>
          </p:nvSpPr>
          <p:spPr>
            <a:xfrm>
              <a:off x="5529924" y="3201335"/>
              <a:ext cx="10581" cy="26421"/>
            </a:xfrm>
            <a:custGeom>
              <a:avLst/>
              <a:gdLst/>
              <a:ahLst/>
              <a:cxnLst/>
              <a:rect l="l" t="t" r="r" b="b"/>
              <a:pathLst>
                <a:path w="334" h="834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667"/>
                  </a:lnTo>
                  <a:cubicBezTo>
                    <a:pt x="0" y="763"/>
                    <a:pt x="84" y="834"/>
                    <a:pt x="167" y="834"/>
                  </a:cubicBezTo>
                  <a:cubicBezTo>
                    <a:pt x="262" y="834"/>
                    <a:pt x="334" y="763"/>
                    <a:pt x="334" y="667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90" name="Google Shape;11790;p61"/>
          <p:cNvGrpSpPr/>
          <p:nvPr/>
        </p:nvGrpSpPr>
        <p:grpSpPr>
          <a:xfrm>
            <a:off x="8055961" y="2881842"/>
            <a:ext cx="260283" cy="345914"/>
            <a:chOff x="8055961" y="2881842"/>
            <a:chExt cx="260283" cy="345914"/>
          </a:xfrm>
        </p:grpSpPr>
        <p:sp>
          <p:nvSpPr>
            <p:cNvPr id="11791" name="Google Shape;11791;p61"/>
            <p:cNvSpPr/>
            <p:nvPr/>
          </p:nvSpPr>
          <p:spPr>
            <a:xfrm>
              <a:off x="8055961" y="2881842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918" y="2358"/>
                  </a:moveTo>
                  <a:cubicBezTo>
                    <a:pt x="5120" y="2656"/>
                    <a:pt x="5334" y="2882"/>
                    <a:pt x="5561" y="3073"/>
                  </a:cubicBezTo>
                  <a:lnTo>
                    <a:pt x="4477" y="3073"/>
                  </a:lnTo>
                  <a:cubicBezTo>
                    <a:pt x="4429" y="3073"/>
                    <a:pt x="4382" y="3085"/>
                    <a:pt x="4358" y="3132"/>
                  </a:cubicBezTo>
                  <a:cubicBezTo>
                    <a:pt x="4310" y="3168"/>
                    <a:pt x="4298" y="3216"/>
                    <a:pt x="4298" y="3251"/>
                  </a:cubicBezTo>
                  <a:lnTo>
                    <a:pt x="4322" y="3442"/>
                  </a:lnTo>
                  <a:cubicBezTo>
                    <a:pt x="4263" y="3418"/>
                    <a:pt x="4191" y="3418"/>
                    <a:pt x="4120" y="3418"/>
                  </a:cubicBezTo>
                  <a:cubicBezTo>
                    <a:pt x="4048" y="3418"/>
                    <a:pt x="3965" y="3430"/>
                    <a:pt x="3906" y="3442"/>
                  </a:cubicBezTo>
                  <a:lnTo>
                    <a:pt x="3941" y="3251"/>
                  </a:lnTo>
                  <a:lnTo>
                    <a:pt x="3941" y="3228"/>
                  </a:lnTo>
                  <a:cubicBezTo>
                    <a:pt x="4263" y="2966"/>
                    <a:pt x="4596" y="2692"/>
                    <a:pt x="4918" y="2358"/>
                  </a:cubicBezTo>
                  <a:close/>
                  <a:moveTo>
                    <a:pt x="3572" y="3478"/>
                  </a:moveTo>
                  <a:lnTo>
                    <a:pt x="3525" y="3823"/>
                  </a:lnTo>
                  <a:cubicBezTo>
                    <a:pt x="3525" y="3823"/>
                    <a:pt x="3513" y="3894"/>
                    <a:pt x="3513" y="3906"/>
                  </a:cubicBezTo>
                  <a:cubicBezTo>
                    <a:pt x="3429" y="4121"/>
                    <a:pt x="3239" y="4263"/>
                    <a:pt x="3013" y="4263"/>
                  </a:cubicBezTo>
                  <a:lnTo>
                    <a:pt x="2858" y="4263"/>
                  </a:lnTo>
                  <a:cubicBezTo>
                    <a:pt x="2739" y="4263"/>
                    <a:pt x="2632" y="4204"/>
                    <a:pt x="2572" y="4121"/>
                  </a:cubicBezTo>
                  <a:cubicBezTo>
                    <a:pt x="2596" y="4097"/>
                    <a:pt x="2620" y="4085"/>
                    <a:pt x="2644" y="4073"/>
                  </a:cubicBezTo>
                  <a:cubicBezTo>
                    <a:pt x="2739" y="4013"/>
                    <a:pt x="2834" y="3954"/>
                    <a:pt x="2941" y="3894"/>
                  </a:cubicBezTo>
                  <a:lnTo>
                    <a:pt x="2941" y="3906"/>
                  </a:lnTo>
                  <a:cubicBezTo>
                    <a:pt x="2929" y="4013"/>
                    <a:pt x="3001" y="4073"/>
                    <a:pt x="3096" y="4073"/>
                  </a:cubicBezTo>
                  <a:cubicBezTo>
                    <a:pt x="3179" y="4073"/>
                    <a:pt x="3239" y="4001"/>
                    <a:pt x="3239" y="3906"/>
                  </a:cubicBezTo>
                  <a:lnTo>
                    <a:pt x="3239" y="3704"/>
                  </a:lnTo>
                  <a:cubicBezTo>
                    <a:pt x="3346" y="3632"/>
                    <a:pt x="3453" y="3549"/>
                    <a:pt x="3572" y="3478"/>
                  </a:cubicBezTo>
                  <a:close/>
                  <a:moveTo>
                    <a:pt x="4965" y="3370"/>
                  </a:moveTo>
                  <a:lnTo>
                    <a:pt x="4965" y="3382"/>
                  </a:lnTo>
                  <a:lnTo>
                    <a:pt x="5811" y="3382"/>
                  </a:lnTo>
                  <a:lnTo>
                    <a:pt x="5727" y="3966"/>
                  </a:lnTo>
                  <a:cubicBezTo>
                    <a:pt x="5692" y="4144"/>
                    <a:pt x="5549" y="4263"/>
                    <a:pt x="5382" y="4263"/>
                  </a:cubicBezTo>
                  <a:lnTo>
                    <a:pt x="5215" y="4263"/>
                  </a:lnTo>
                  <a:cubicBezTo>
                    <a:pt x="4977" y="4263"/>
                    <a:pt x="4775" y="4097"/>
                    <a:pt x="4715" y="3882"/>
                  </a:cubicBezTo>
                  <a:cubicBezTo>
                    <a:pt x="4715" y="3847"/>
                    <a:pt x="4703" y="3823"/>
                    <a:pt x="4703" y="3787"/>
                  </a:cubicBezTo>
                  <a:cubicBezTo>
                    <a:pt x="4679" y="3668"/>
                    <a:pt x="4644" y="3370"/>
                    <a:pt x="4644" y="3370"/>
                  </a:cubicBezTo>
                  <a:close/>
                  <a:moveTo>
                    <a:pt x="4453" y="311"/>
                  </a:moveTo>
                  <a:cubicBezTo>
                    <a:pt x="4549" y="311"/>
                    <a:pt x="4632" y="322"/>
                    <a:pt x="4715" y="358"/>
                  </a:cubicBezTo>
                  <a:cubicBezTo>
                    <a:pt x="5072" y="453"/>
                    <a:pt x="5299" y="811"/>
                    <a:pt x="5275" y="1215"/>
                  </a:cubicBezTo>
                  <a:cubicBezTo>
                    <a:pt x="5275" y="1299"/>
                    <a:pt x="5334" y="1382"/>
                    <a:pt x="5430" y="1382"/>
                  </a:cubicBezTo>
                  <a:cubicBezTo>
                    <a:pt x="5513" y="1382"/>
                    <a:pt x="5584" y="1323"/>
                    <a:pt x="5584" y="1227"/>
                  </a:cubicBezTo>
                  <a:cubicBezTo>
                    <a:pt x="5608" y="1025"/>
                    <a:pt x="5572" y="823"/>
                    <a:pt x="5501" y="668"/>
                  </a:cubicBezTo>
                  <a:lnTo>
                    <a:pt x="5501" y="668"/>
                  </a:lnTo>
                  <a:cubicBezTo>
                    <a:pt x="6084" y="751"/>
                    <a:pt x="6525" y="1263"/>
                    <a:pt x="6525" y="1858"/>
                  </a:cubicBezTo>
                  <a:lnTo>
                    <a:pt x="6525" y="3299"/>
                  </a:lnTo>
                  <a:cubicBezTo>
                    <a:pt x="6215" y="3156"/>
                    <a:pt x="5596" y="2811"/>
                    <a:pt x="5144" y="2120"/>
                  </a:cubicBezTo>
                  <a:cubicBezTo>
                    <a:pt x="5191" y="2061"/>
                    <a:pt x="5251" y="2025"/>
                    <a:pt x="5299" y="1966"/>
                  </a:cubicBezTo>
                  <a:cubicBezTo>
                    <a:pt x="5358" y="1906"/>
                    <a:pt x="5358" y="1799"/>
                    <a:pt x="5275" y="1739"/>
                  </a:cubicBezTo>
                  <a:cubicBezTo>
                    <a:pt x="5246" y="1711"/>
                    <a:pt x="5210" y="1696"/>
                    <a:pt x="5173" y="1696"/>
                  </a:cubicBezTo>
                  <a:cubicBezTo>
                    <a:pt x="5132" y="1696"/>
                    <a:pt x="5092" y="1714"/>
                    <a:pt x="5060" y="1751"/>
                  </a:cubicBezTo>
                  <a:cubicBezTo>
                    <a:pt x="3727" y="3239"/>
                    <a:pt x="2060" y="4061"/>
                    <a:pt x="1429" y="4323"/>
                  </a:cubicBezTo>
                  <a:cubicBezTo>
                    <a:pt x="1465" y="4061"/>
                    <a:pt x="1512" y="3585"/>
                    <a:pt x="1512" y="2882"/>
                  </a:cubicBezTo>
                  <a:cubicBezTo>
                    <a:pt x="1512" y="2192"/>
                    <a:pt x="1798" y="1549"/>
                    <a:pt x="2322" y="1049"/>
                  </a:cubicBezTo>
                  <a:cubicBezTo>
                    <a:pt x="2822" y="572"/>
                    <a:pt x="3477" y="311"/>
                    <a:pt x="4120" y="311"/>
                  </a:cubicBezTo>
                  <a:close/>
                  <a:moveTo>
                    <a:pt x="6108" y="3466"/>
                  </a:moveTo>
                  <a:cubicBezTo>
                    <a:pt x="6144" y="3478"/>
                    <a:pt x="6156" y="3490"/>
                    <a:pt x="6192" y="3490"/>
                  </a:cubicBezTo>
                  <a:cubicBezTo>
                    <a:pt x="6227" y="3632"/>
                    <a:pt x="6346" y="3728"/>
                    <a:pt x="6501" y="3728"/>
                  </a:cubicBezTo>
                  <a:lnTo>
                    <a:pt x="6584" y="3728"/>
                  </a:lnTo>
                  <a:cubicBezTo>
                    <a:pt x="6739" y="3728"/>
                    <a:pt x="6858" y="3847"/>
                    <a:pt x="6858" y="4001"/>
                  </a:cubicBezTo>
                  <a:cubicBezTo>
                    <a:pt x="6858" y="4144"/>
                    <a:pt x="6739" y="4263"/>
                    <a:pt x="6584" y="4263"/>
                  </a:cubicBezTo>
                  <a:lnTo>
                    <a:pt x="6477" y="4263"/>
                  </a:lnTo>
                  <a:cubicBezTo>
                    <a:pt x="6477" y="4180"/>
                    <a:pt x="6418" y="4097"/>
                    <a:pt x="6334" y="4097"/>
                  </a:cubicBezTo>
                  <a:cubicBezTo>
                    <a:pt x="6239" y="4097"/>
                    <a:pt x="6168" y="4156"/>
                    <a:pt x="6156" y="4252"/>
                  </a:cubicBezTo>
                  <a:cubicBezTo>
                    <a:pt x="6108" y="4775"/>
                    <a:pt x="5882" y="5252"/>
                    <a:pt x="5501" y="5609"/>
                  </a:cubicBezTo>
                  <a:cubicBezTo>
                    <a:pt x="5108" y="5966"/>
                    <a:pt x="4620" y="6157"/>
                    <a:pt x="4096" y="6157"/>
                  </a:cubicBezTo>
                  <a:cubicBezTo>
                    <a:pt x="3596" y="6157"/>
                    <a:pt x="3108" y="5966"/>
                    <a:pt x="2715" y="5621"/>
                  </a:cubicBezTo>
                  <a:cubicBezTo>
                    <a:pt x="2358" y="5287"/>
                    <a:pt x="2143" y="4859"/>
                    <a:pt x="2060" y="4382"/>
                  </a:cubicBezTo>
                  <a:cubicBezTo>
                    <a:pt x="2120" y="4359"/>
                    <a:pt x="2203" y="4311"/>
                    <a:pt x="2274" y="4287"/>
                  </a:cubicBezTo>
                  <a:cubicBezTo>
                    <a:pt x="2393" y="4478"/>
                    <a:pt x="2596" y="4597"/>
                    <a:pt x="2834" y="4597"/>
                  </a:cubicBezTo>
                  <a:lnTo>
                    <a:pt x="3001" y="4597"/>
                  </a:lnTo>
                  <a:cubicBezTo>
                    <a:pt x="3382" y="4597"/>
                    <a:pt x="3727" y="4311"/>
                    <a:pt x="3822" y="3942"/>
                  </a:cubicBezTo>
                  <a:cubicBezTo>
                    <a:pt x="3858" y="3823"/>
                    <a:pt x="3965" y="3728"/>
                    <a:pt x="4108" y="3728"/>
                  </a:cubicBezTo>
                  <a:cubicBezTo>
                    <a:pt x="4239" y="3728"/>
                    <a:pt x="4358" y="3823"/>
                    <a:pt x="4382" y="3942"/>
                  </a:cubicBezTo>
                  <a:cubicBezTo>
                    <a:pt x="4477" y="4311"/>
                    <a:pt x="4822" y="4597"/>
                    <a:pt x="5203" y="4597"/>
                  </a:cubicBezTo>
                  <a:lnTo>
                    <a:pt x="5370" y="4597"/>
                  </a:lnTo>
                  <a:cubicBezTo>
                    <a:pt x="5692" y="4597"/>
                    <a:pt x="5989" y="4347"/>
                    <a:pt x="6037" y="4013"/>
                  </a:cubicBezTo>
                  <a:lnTo>
                    <a:pt x="6108" y="3466"/>
                  </a:lnTo>
                  <a:close/>
                  <a:moveTo>
                    <a:pt x="4977" y="6311"/>
                  </a:moveTo>
                  <a:lnTo>
                    <a:pt x="4977" y="6859"/>
                  </a:lnTo>
                  <a:cubicBezTo>
                    <a:pt x="4977" y="7216"/>
                    <a:pt x="5203" y="7526"/>
                    <a:pt x="5549" y="7645"/>
                  </a:cubicBezTo>
                  <a:lnTo>
                    <a:pt x="5799" y="7740"/>
                  </a:lnTo>
                  <a:lnTo>
                    <a:pt x="5656" y="8062"/>
                  </a:lnTo>
                  <a:cubicBezTo>
                    <a:pt x="5382" y="8669"/>
                    <a:pt x="4775" y="9062"/>
                    <a:pt x="4120" y="9062"/>
                  </a:cubicBezTo>
                  <a:cubicBezTo>
                    <a:pt x="3453" y="9062"/>
                    <a:pt x="2858" y="8669"/>
                    <a:pt x="2584" y="8062"/>
                  </a:cubicBezTo>
                  <a:lnTo>
                    <a:pt x="2441" y="7740"/>
                  </a:lnTo>
                  <a:lnTo>
                    <a:pt x="2691" y="7645"/>
                  </a:lnTo>
                  <a:cubicBezTo>
                    <a:pt x="3036" y="7526"/>
                    <a:pt x="3251" y="7216"/>
                    <a:pt x="3251" y="6859"/>
                  </a:cubicBezTo>
                  <a:lnTo>
                    <a:pt x="3251" y="6311"/>
                  </a:lnTo>
                  <a:cubicBezTo>
                    <a:pt x="3525" y="6407"/>
                    <a:pt x="3822" y="6466"/>
                    <a:pt x="4120" y="6466"/>
                  </a:cubicBezTo>
                  <a:cubicBezTo>
                    <a:pt x="4418" y="6466"/>
                    <a:pt x="4715" y="6407"/>
                    <a:pt x="4977" y="6311"/>
                  </a:cubicBezTo>
                  <a:close/>
                  <a:moveTo>
                    <a:pt x="4084" y="1"/>
                  </a:moveTo>
                  <a:cubicBezTo>
                    <a:pt x="3358" y="1"/>
                    <a:pt x="2620" y="299"/>
                    <a:pt x="2060" y="834"/>
                  </a:cubicBezTo>
                  <a:cubicBezTo>
                    <a:pt x="1489" y="1382"/>
                    <a:pt x="1155" y="2120"/>
                    <a:pt x="1155" y="2882"/>
                  </a:cubicBezTo>
                  <a:cubicBezTo>
                    <a:pt x="1155" y="4025"/>
                    <a:pt x="1024" y="4537"/>
                    <a:pt x="1024" y="4537"/>
                  </a:cubicBezTo>
                  <a:cubicBezTo>
                    <a:pt x="1012" y="4597"/>
                    <a:pt x="1024" y="4656"/>
                    <a:pt x="1072" y="4704"/>
                  </a:cubicBezTo>
                  <a:cubicBezTo>
                    <a:pt x="1096" y="4728"/>
                    <a:pt x="1143" y="4740"/>
                    <a:pt x="1167" y="4740"/>
                  </a:cubicBezTo>
                  <a:cubicBezTo>
                    <a:pt x="1191" y="4740"/>
                    <a:pt x="1203" y="4740"/>
                    <a:pt x="1227" y="4728"/>
                  </a:cubicBezTo>
                  <a:cubicBezTo>
                    <a:pt x="1250" y="4728"/>
                    <a:pt x="1441" y="4656"/>
                    <a:pt x="1739" y="4525"/>
                  </a:cubicBezTo>
                  <a:cubicBezTo>
                    <a:pt x="1822" y="5025"/>
                    <a:pt x="2096" y="5490"/>
                    <a:pt x="2477" y="5847"/>
                  </a:cubicBezTo>
                  <a:cubicBezTo>
                    <a:pt x="2620" y="5966"/>
                    <a:pt x="2751" y="6073"/>
                    <a:pt x="2894" y="6145"/>
                  </a:cubicBezTo>
                  <a:lnTo>
                    <a:pt x="2894" y="6847"/>
                  </a:lnTo>
                  <a:cubicBezTo>
                    <a:pt x="2894" y="7061"/>
                    <a:pt x="2763" y="7264"/>
                    <a:pt x="2560" y="7335"/>
                  </a:cubicBezTo>
                  <a:lnTo>
                    <a:pt x="786" y="7954"/>
                  </a:lnTo>
                  <a:cubicBezTo>
                    <a:pt x="310" y="8121"/>
                    <a:pt x="0" y="8573"/>
                    <a:pt x="0" y="9074"/>
                  </a:cubicBezTo>
                  <a:lnTo>
                    <a:pt x="0" y="10740"/>
                  </a:lnTo>
                  <a:cubicBezTo>
                    <a:pt x="0" y="10836"/>
                    <a:pt x="72" y="10907"/>
                    <a:pt x="155" y="10907"/>
                  </a:cubicBezTo>
                  <a:cubicBezTo>
                    <a:pt x="250" y="10907"/>
                    <a:pt x="322" y="10836"/>
                    <a:pt x="322" y="10740"/>
                  </a:cubicBezTo>
                  <a:lnTo>
                    <a:pt x="322" y="9074"/>
                  </a:lnTo>
                  <a:cubicBezTo>
                    <a:pt x="322" y="8931"/>
                    <a:pt x="358" y="8788"/>
                    <a:pt x="429" y="8669"/>
                  </a:cubicBezTo>
                  <a:lnTo>
                    <a:pt x="596" y="8824"/>
                  </a:lnTo>
                  <a:cubicBezTo>
                    <a:pt x="619" y="8847"/>
                    <a:pt x="667" y="8871"/>
                    <a:pt x="691" y="8871"/>
                  </a:cubicBezTo>
                  <a:cubicBezTo>
                    <a:pt x="739" y="8871"/>
                    <a:pt x="786" y="8847"/>
                    <a:pt x="810" y="8812"/>
                  </a:cubicBezTo>
                  <a:cubicBezTo>
                    <a:pt x="869" y="8728"/>
                    <a:pt x="858" y="8645"/>
                    <a:pt x="798" y="8585"/>
                  </a:cubicBezTo>
                  <a:lnTo>
                    <a:pt x="619" y="8431"/>
                  </a:lnTo>
                  <a:cubicBezTo>
                    <a:pt x="691" y="8359"/>
                    <a:pt x="798" y="8312"/>
                    <a:pt x="893" y="8276"/>
                  </a:cubicBezTo>
                  <a:lnTo>
                    <a:pt x="2096" y="7835"/>
                  </a:lnTo>
                  <a:lnTo>
                    <a:pt x="2239" y="8181"/>
                  </a:lnTo>
                  <a:cubicBezTo>
                    <a:pt x="2572" y="8907"/>
                    <a:pt x="3286" y="9371"/>
                    <a:pt x="4072" y="9371"/>
                  </a:cubicBezTo>
                  <a:cubicBezTo>
                    <a:pt x="4858" y="9371"/>
                    <a:pt x="5572" y="8907"/>
                    <a:pt x="5906" y="8181"/>
                  </a:cubicBezTo>
                  <a:lnTo>
                    <a:pt x="6049" y="7835"/>
                  </a:lnTo>
                  <a:lnTo>
                    <a:pt x="7263" y="8276"/>
                  </a:lnTo>
                  <a:cubicBezTo>
                    <a:pt x="7358" y="8300"/>
                    <a:pt x="7454" y="8359"/>
                    <a:pt x="7525" y="8431"/>
                  </a:cubicBezTo>
                  <a:lnTo>
                    <a:pt x="6751" y="9085"/>
                  </a:lnTo>
                  <a:cubicBezTo>
                    <a:pt x="6561" y="9252"/>
                    <a:pt x="6454" y="9478"/>
                    <a:pt x="6454" y="9728"/>
                  </a:cubicBezTo>
                  <a:lnTo>
                    <a:pt x="6454" y="10752"/>
                  </a:lnTo>
                  <a:cubicBezTo>
                    <a:pt x="6454" y="10848"/>
                    <a:pt x="6525" y="10919"/>
                    <a:pt x="6620" y="10919"/>
                  </a:cubicBezTo>
                  <a:cubicBezTo>
                    <a:pt x="6704" y="10919"/>
                    <a:pt x="6787" y="10848"/>
                    <a:pt x="6787" y="10752"/>
                  </a:cubicBezTo>
                  <a:lnTo>
                    <a:pt x="6787" y="9728"/>
                  </a:lnTo>
                  <a:cubicBezTo>
                    <a:pt x="6787" y="9586"/>
                    <a:pt x="6846" y="9431"/>
                    <a:pt x="6965" y="9324"/>
                  </a:cubicBezTo>
                  <a:lnTo>
                    <a:pt x="7716" y="8669"/>
                  </a:lnTo>
                  <a:cubicBezTo>
                    <a:pt x="7775" y="8788"/>
                    <a:pt x="7823" y="8943"/>
                    <a:pt x="7823" y="9074"/>
                  </a:cubicBezTo>
                  <a:lnTo>
                    <a:pt x="7823" y="10740"/>
                  </a:lnTo>
                  <a:cubicBezTo>
                    <a:pt x="7823" y="10836"/>
                    <a:pt x="7894" y="10907"/>
                    <a:pt x="7989" y="10907"/>
                  </a:cubicBezTo>
                  <a:cubicBezTo>
                    <a:pt x="8073" y="10907"/>
                    <a:pt x="8144" y="10836"/>
                    <a:pt x="8144" y="10740"/>
                  </a:cubicBezTo>
                  <a:lnTo>
                    <a:pt x="8144" y="9074"/>
                  </a:lnTo>
                  <a:cubicBezTo>
                    <a:pt x="8216" y="8585"/>
                    <a:pt x="7882" y="8133"/>
                    <a:pt x="7418" y="7978"/>
                  </a:cubicBezTo>
                  <a:lnTo>
                    <a:pt x="5656" y="7347"/>
                  </a:lnTo>
                  <a:cubicBezTo>
                    <a:pt x="5441" y="7276"/>
                    <a:pt x="5311" y="7085"/>
                    <a:pt x="5311" y="6859"/>
                  </a:cubicBezTo>
                  <a:lnTo>
                    <a:pt x="5311" y="6157"/>
                  </a:lnTo>
                  <a:cubicBezTo>
                    <a:pt x="5453" y="6073"/>
                    <a:pt x="5608" y="5966"/>
                    <a:pt x="5739" y="5835"/>
                  </a:cubicBezTo>
                  <a:cubicBezTo>
                    <a:pt x="6096" y="5490"/>
                    <a:pt x="6346" y="5049"/>
                    <a:pt x="6442" y="4597"/>
                  </a:cubicBezTo>
                  <a:lnTo>
                    <a:pt x="6584" y="4597"/>
                  </a:lnTo>
                  <a:cubicBezTo>
                    <a:pt x="6918" y="4597"/>
                    <a:pt x="7168" y="4323"/>
                    <a:pt x="7168" y="4013"/>
                  </a:cubicBezTo>
                  <a:cubicBezTo>
                    <a:pt x="7168" y="3775"/>
                    <a:pt x="7037" y="3573"/>
                    <a:pt x="6823" y="3478"/>
                  </a:cubicBezTo>
                  <a:lnTo>
                    <a:pt x="6823" y="1870"/>
                  </a:lnTo>
                  <a:cubicBezTo>
                    <a:pt x="6823" y="1025"/>
                    <a:pt x="6144" y="334"/>
                    <a:pt x="5299" y="334"/>
                  </a:cubicBezTo>
                  <a:lnTo>
                    <a:pt x="5251" y="334"/>
                  </a:lnTo>
                  <a:cubicBezTo>
                    <a:pt x="5132" y="203"/>
                    <a:pt x="4965" y="96"/>
                    <a:pt x="4787" y="61"/>
                  </a:cubicBezTo>
                  <a:cubicBezTo>
                    <a:pt x="4668" y="25"/>
                    <a:pt x="4549" y="1"/>
                    <a:pt x="4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2" name="Google Shape;11792;p61"/>
            <p:cNvSpPr/>
            <p:nvPr/>
          </p:nvSpPr>
          <p:spPr>
            <a:xfrm>
              <a:off x="8164591" y="303358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85"/>
                    <a:pt x="691" y="485"/>
                  </a:cubicBezTo>
                  <a:cubicBezTo>
                    <a:pt x="941" y="485"/>
                    <a:pt x="1179" y="414"/>
                    <a:pt x="1310" y="271"/>
                  </a:cubicBezTo>
                  <a:cubicBezTo>
                    <a:pt x="1370" y="212"/>
                    <a:pt x="1370" y="104"/>
                    <a:pt x="1310" y="45"/>
                  </a:cubicBezTo>
                  <a:cubicBezTo>
                    <a:pt x="1280" y="15"/>
                    <a:pt x="1242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93" y="164"/>
                    <a:pt x="691" y="164"/>
                  </a:cubicBezTo>
                  <a:cubicBezTo>
                    <a:pt x="477" y="164"/>
                    <a:pt x="346" y="93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3" name="Google Shape;11793;p61"/>
            <p:cNvSpPr/>
            <p:nvPr/>
          </p:nvSpPr>
          <p:spPr>
            <a:xfrm>
              <a:off x="8213632" y="2995383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83" y="489"/>
                    <a:pt x="167" y="489"/>
                  </a:cubicBezTo>
                  <a:cubicBezTo>
                    <a:pt x="250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4" name="Google Shape;11794;p61"/>
            <p:cNvSpPr/>
            <p:nvPr/>
          </p:nvSpPr>
          <p:spPr>
            <a:xfrm>
              <a:off x="8088401" y="3165758"/>
              <a:ext cx="21511" cy="61998"/>
            </a:xfrm>
            <a:custGeom>
              <a:avLst/>
              <a:gdLst/>
              <a:ahLst/>
              <a:cxnLst/>
              <a:rect l="l" t="t" r="r" b="b"/>
              <a:pathLst>
                <a:path w="679" h="1957" extrusionOk="0">
                  <a:moveTo>
                    <a:pt x="176" y="1"/>
                  </a:moveTo>
                  <a:cubicBezTo>
                    <a:pt x="132" y="1"/>
                    <a:pt x="93" y="19"/>
                    <a:pt x="60" y="52"/>
                  </a:cubicBezTo>
                  <a:cubicBezTo>
                    <a:pt x="0" y="123"/>
                    <a:pt x="12" y="219"/>
                    <a:pt x="72" y="278"/>
                  </a:cubicBezTo>
                  <a:lnTo>
                    <a:pt x="179" y="362"/>
                  </a:lnTo>
                  <a:cubicBezTo>
                    <a:pt x="298" y="469"/>
                    <a:pt x="357" y="600"/>
                    <a:pt x="357" y="766"/>
                  </a:cubicBezTo>
                  <a:lnTo>
                    <a:pt x="357" y="1790"/>
                  </a:lnTo>
                  <a:cubicBezTo>
                    <a:pt x="357" y="1886"/>
                    <a:pt x="429" y="1957"/>
                    <a:pt x="524" y="1957"/>
                  </a:cubicBezTo>
                  <a:cubicBezTo>
                    <a:pt x="607" y="1957"/>
                    <a:pt x="679" y="1886"/>
                    <a:pt x="679" y="1790"/>
                  </a:cubicBezTo>
                  <a:lnTo>
                    <a:pt x="679" y="766"/>
                  </a:lnTo>
                  <a:cubicBezTo>
                    <a:pt x="679" y="528"/>
                    <a:pt x="584" y="290"/>
                    <a:pt x="381" y="123"/>
                  </a:cubicBezTo>
                  <a:lnTo>
                    <a:pt x="286" y="40"/>
                  </a:lnTo>
                  <a:cubicBezTo>
                    <a:pt x="248" y="13"/>
                    <a:pt x="211" y="1"/>
                    <a:pt x="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95" name="Google Shape;11795;p61"/>
          <p:cNvGrpSpPr/>
          <p:nvPr/>
        </p:nvGrpSpPr>
        <p:grpSpPr>
          <a:xfrm>
            <a:off x="7609368" y="2893912"/>
            <a:ext cx="264813" cy="353105"/>
            <a:chOff x="7609368" y="2893912"/>
            <a:chExt cx="264813" cy="353105"/>
          </a:xfrm>
        </p:grpSpPr>
        <p:sp>
          <p:nvSpPr>
            <p:cNvPr id="11796" name="Google Shape;11796;p61"/>
            <p:cNvSpPr/>
            <p:nvPr/>
          </p:nvSpPr>
          <p:spPr>
            <a:xfrm>
              <a:off x="7703267" y="30157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6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7" name="Google Shape;11797;p61"/>
            <p:cNvSpPr/>
            <p:nvPr/>
          </p:nvSpPr>
          <p:spPr>
            <a:xfrm>
              <a:off x="7769288" y="30157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5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8" name="Google Shape;11798;p61"/>
            <p:cNvSpPr/>
            <p:nvPr/>
          </p:nvSpPr>
          <p:spPr>
            <a:xfrm>
              <a:off x="7697628" y="2997664"/>
              <a:ext cx="21542" cy="11722"/>
            </a:xfrm>
            <a:custGeom>
              <a:avLst/>
              <a:gdLst/>
              <a:ahLst/>
              <a:cxnLst/>
              <a:rect l="l" t="t" r="r" b="b"/>
              <a:pathLst>
                <a:path w="680" h="370" extrusionOk="0">
                  <a:moveTo>
                    <a:pt x="489" y="0"/>
                  </a:moveTo>
                  <a:lnTo>
                    <a:pt x="143" y="48"/>
                  </a:lnTo>
                  <a:cubicBezTo>
                    <a:pt x="60" y="60"/>
                    <a:pt x="0" y="131"/>
                    <a:pt x="0" y="226"/>
                  </a:cubicBezTo>
                  <a:cubicBezTo>
                    <a:pt x="12" y="310"/>
                    <a:pt x="72" y="369"/>
                    <a:pt x="155" y="369"/>
                  </a:cubicBezTo>
                  <a:lnTo>
                    <a:pt x="167" y="369"/>
                  </a:lnTo>
                  <a:lnTo>
                    <a:pt x="512" y="334"/>
                  </a:lnTo>
                  <a:cubicBezTo>
                    <a:pt x="620" y="322"/>
                    <a:pt x="679" y="238"/>
                    <a:pt x="667" y="155"/>
                  </a:cubicBezTo>
                  <a:cubicBezTo>
                    <a:pt x="655" y="60"/>
                    <a:pt x="572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9" name="Google Shape;11799;p61"/>
            <p:cNvSpPr/>
            <p:nvPr/>
          </p:nvSpPr>
          <p:spPr>
            <a:xfrm>
              <a:off x="7763618" y="2997600"/>
              <a:ext cx="21542" cy="11785"/>
            </a:xfrm>
            <a:custGeom>
              <a:avLst/>
              <a:gdLst/>
              <a:ahLst/>
              <a:cxnLst/>
              <a:rect l="l" t="t" r="r" b="b"/>
              <a:pathLst>
                <a:path w="680" h="372" extrusionOk="0">
                  <a:moveTo>
                    <a:pt x="171" y="1"/>
                  </a:moveTo>
                  <a:cubicBezTo>
                    <a:pt x="86" y="1"/>
                    <a:pt x="24" y="69"/>
                    <a:pt x="13" y="157"/>
                  </a:cubicBezTo>
                  <a:cubicBezTo>
                    <a:pt x="1" y="240"/>
                    <a:pt x="72" y="312"/>
                    <a:pt x="156" y="336"/>
                  </a:cubicBezTo>
                  <a:lnTo>
                    <a:pt x="501" y="371"/>
                  </a:lnTo>
                  <a:lnTo>
                    <a:pt x="513" y="371"/>
                  </a:lnTo>
                  <a:cubicBezTo>
                    <a:pt x="584" y="371"/>
                    <a:pt x="668" y="312"/>
                    <a:pt x="680" y="228"/>
                  </a:cubicBezTo>
                  <a:cubicBezTo>
                    <a:pt x="680" y="133"/>
                    <a:pt x="620" y="62"/>
                    <a:pt x="537" y="50"/>
                  </a:cubicBezTo>
                  <a:lnTo>
                    <a:pt x="191" y="2"/>
                  </a:lnTo>
                  <a:cubicBezTo>
                    <a:pt x="184" y="1"/>
                    <a:pt x="178" y="1"/>
                    <a:pt x="1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0" name="Google Shape;11800;p61"/>
            <p:cNvSpPr/>
            <p:nvPr/>
          </p:nvSpPr>
          <p:spPr>
            <a:xfrm>
              <a:off x="7609368" y="2893912"/>
              <a:ext cx="264813" cy="353105"/>
            </a:xfrm>
            <a:custGeom>
              <a:avLst/>
              <a:gdLst/>
              <a:ahLst/>
              <a:cxnLst/>
              <a:rect l="l" t="t" r="r" b="b"/>
              <a:pathLst>
                <a:path w="8359" h="11146" extrusionOk="0">
                  <a:moveTo>
                    <a:pt x="4168" y="370"/>
                  </a:moveTo>
                  <a:cubicBezTo>
                    <a:pt x="5715" y="370"/>
                    <a:pt x="6965" y="1620"/>
                    <a:pt x="6965" y="3168"/>
                  </a:cubicBezTo>
                  <a:cubicBezTo>
                    <a:pt x="6965" y="3370"/>
                    <a:pt x="6954" y="3561"/>
                    <a:pt x="6906" y="3751"/>
                  </a:cubicBezTo>
                  <a:cubicBezTo>
                    <a:pt x="6846" y="3728"/>
                    <a:pt x="6775" y="3704"/>
                    <a:pt x="6692" y="3704"/>
                  </a:cubicBezTo>
                  <a:lnTo>
                    <a:pt x="6596" y="3704"/>
                  </a:lnTo>
                  <a:lnTo>
                    <a:pt x="6596" y="3323"/>
                  </a:lnTo>
                  <a:lnTo>
                    <a:pt x="6608" y="3323"/>
                  </a:lnTo>
                  <a:cubicBezTo>
                    <a:pt x="6692" y="3323"/>
                    <a:pt x="6763" y="3251"/>
                    <a:pt x="6763" y="3156"/>
                  </a:cubicBezTo>
                  <a:cubicBezTo>
                    <a:pt x="6763" y="3073"/>
                    <a:pt x="6692" y="2989"/>
                    <a:pt x="6608" y="2989"/>
                  </a:cubicBezTo>
                  <a:cubicBezTo>
                    <a:pt x="5239" y="2989"/>
                    <a:pt x="4251" y="2549"/>
                    <a:pt x="3667" y="2180"/>
                  </a:cubicBezTo>
                  <a:cubicBezTo>
                    <a:pt x="3036" y="1775"/>
                    <a:pt x="2715" y="1358"/>
                    <a:pt x="2703" y="1358"/>
                  </a:cubicBezTo>
                  <a:cubicBezTo>
                    <a:pt x="2667" y="1315"/>
                    <a:pt x="2617" y="1289"/>
                    <a:pt x="2568" y="1289"/>
                  </a:cubicBezTo>
                  <a:cubicBezTo>
                    <a:pt x="2536" y="1289"/>
                    <a:pt x="2505" y="1299"/>
                    <a:pt x="2477" y="1323"/>
                  </a:cubicBezTo>
                  <a:cubicBezTo>
                    <a:pt x="2405" y="1382"/>
                    <a:pt x="2393" y="1489"/>
                    <a:pt x="2453" y="1549"/>
                  </a:cubicBezTo>
                  <a:cubicBezTo>
                    <a:pt x="2465" y="1561"/>
                    <a:pt x="2798" y="2001"/>
                    <a:pt x="3477" y="2430"/>
                  </a:cubicBezTo>
                  <a:cubicBezTo>
                    <a:pt x="4060" y="2799"/>
                    <a:pt x="5001" y="3216"/>
                    <a:pt x="6263" y="3287"/>
                  </a:cubicBezTo>
                  <a:lnTo>
                    <a:pt x="6263" y="3847"/>
                  </a:lnTo>
                  <a:cubicBezTo>
                    <a:pt x="6263" y="3906"/>
                    <a:pt x="6299" y="3942"/>
                    <a:pt x="6334" y="3978"/>
                  </a:cubicBezTo>
                  <a:cubicBezTo>
                    <a:pt x="6382" y="4001"/>
                    <a:pt x="6382" y="4001"/>
                    <a:pt x="6549" y="4001"/>
                  </a:cubicBezTo>
                  <a:lnTo>
                    <a:pt x="6680" y="4001"/>
                  </a:lnTo>
                  <a:cubicBezTo>
                    <a:pt x="6835" y="4001"/>
                    <a:pt x="6954" y="4121"/>
                    <a:pt x="6954" y="4275"/>
                  </a:cubicBezTo>
                  <a:cubicBezTo>
                    <a:pt x="6954" y="4418"/>
                    <a:pt x="6835" y="4537"/>
                    <a:pt x="6680" y="4537"/>
                  </a:cubicBezTo>
                  <a:lnTo>
                    <a:pt x="6573" y="4537"/>
                  </a:lnTo>
                  <a:lnTo>
                    <a:pt x="6573" y="4525"/>
                  </a:lnTo>
                  <a:cubicBezTo>
                    <a:pt x="6573" y="4430"/>
                    <a:pt x="6501" y="4359"/>
                    <a:pt x="6418" y="4359"/>
                  </a:cubicBezTo>
                  <a:cubicBezTo>
                    <a:pt x="6323" y="4359"/>
                    <a:pt x="6251" y="4430"/>
                    <a:pt x="6251" y="4525"/>
                  </a:cubicBezTo>
                  <a:cubicBezTo>
                    <a:pt x="6263" y="5692"/>
                    <a:pt x="5322" y="6645"/>
                    <a:pt x="4168" y="6645"/>
                  </a:cubicBezTo>
                  <a:cubicBezTo>
                    <a:pt x="3001" y="6645"/>
                    <a:pt x="2072" y="5704"/>
                    <a:pt x="2072" y="4537"/>
                  </a:cubicBezTo>
                  <a:cubicBezTo>
                    <a:pt x="2072" y="4454"/>
                    <a:pt x="1989" y="4382"/>
                    <a:pt x="1905" y="4382"/>
                  </a:cubicBezTo>
                  <a:cubicBezTo>
                    <a:pt x="1810" y="4382"/>
                    <a:pt x="1739" y="4454"/>
                    <a:pt x="1739" y="4537"/>
                  </a:cubicBezTo>
                  <a:lnTo>
                    <a:pt x="1739" y="4561"/>
                  </a:lnTo>
                  <a:lnTo>
                    <a:pt x="1631" y="4561"/>
                  </a:lnTo>
                  <a:cubicBezTo>
                    <a:pt x="1489" y="4561"/>
                    <a:pt x="1370" y="4442"/>
                    <a:pt x="1370" y="4287"/>
                  </a:cubicBezTo>
                  <a:cubicBezTo>
                    <a:pt x="1370" y="4144"/>
                    <a:pt x="1489" y="4025"/>
                    <a:pt x="1631" y="4025"/>
                  </a:cubicBezTo>
                  <a:lnTo>
                    <a:pt x="1774" y="4025"/>
                  </a:lnTo>
                  <a:cubicBezTo>
                    <a:pt x="1953" y="4025"/>
                    <a:pt x="1953" y="4025"/>
                    <a:pt x="1977" y="4001"/>
                  </a:cubicBezTo>
                  <a:cubicBezTo>
                    <a:pt x="2036" y="3978"/>
                    <a:pt x="2072" y="3918"/>
                    <a:pt x="2072" y="3859"/>
                  </a:cubicBezTo>
                  <a:lnTo>
                    <a:pt x="2072" y="3680"/>
                  </a:lnTo>
                  <a:cubicBezTo>
                    <a:pt x="2072" y="3156"/>
                    <a:pt x="2227" y="2716"/>
                    <a:pt x="2548" y="2335"/>
                  </a:cubicBezTo>
                  <a:cubicBezTo>
                    <a:pt x="2608" y="2263"/>
                    <a:pt x="2584" y="2156"/>
                    <a:pt x="2524" y="2120"/>
                  </a:cubicBezTo>
                  <a:cubicBezTo>
                    <a:pt x="2492" y="2093"/>
                    <a:pt x="2453" y="2081"/>
                    <a:pt x="2416" y="2081"/>
                  </a:cubicBezTo>
                  <a:cubicBezTo>
                    <a:pt x="2371" y="2081"/>
                    <a:pt x="2330" y="2099"/>
                    <a:pt x="2310" y="2132"/>
                  </a:cubicBezTo>
                  <a:cubicBezTo>
                    <a:pt x="1929" y="2561"/>
                    <a:pt x="1739" y="3085"/>
                    <a:pt x="1739" y="3692"/>
                  </a:cubicBezTo>
                  <a:lnTo>
                    <a:pt x="1739" y="3704"/>
                  </a:lnTo>
                  <a:lnTo>
                    <a:pt x="1631" y="3704"/>
                  </a:lnTo>
                  <a:cubicBezTo>
                    <a:pt x="1560" y="3704"/>
                    <a:pt x="1489" y="3728"/>
                    <a:pt x="1429" y="3751"/>
                  </a:cubicBezTo>
                  <a:cubicBezTo>
                    <a:pt x="1381" y="3561"/>
                    <a:pt x="1370" y="3370"/>
                    <a:pt x="1370" y="3168"/>
                  </a:cubicBezTo>
                  <a:cubicBezTo>
                    <a:pt x="1370" y="1620"/>
                    <a:pt x="2620" y="370"/>
                    <a:pt x="4168" y="370"/>
                  </a:cubicBezTo>
                  <a:close/>
                  <a:moveTo>
                    <a:pt x="2132" y="5823"/>
                  </a:moveTo>
                  <a:lnTo>
                    <a:pt x="2132" y="5823"/>
                  </a:lnTo>
                  <a:cubicBezTo>
                    <a:pt x="2334" y="6157"/>
                    <a:pt x="2632" y="6442"/>
                    <a:pt x="2977" y="6645"/>
                  </a:cubicBezTo>
                  <a:lnTo>
                    <a:pt x="2977" y="6799"/>
                  </a:lnTo>
                  <a:lnTo>
                    <a:pt x="2370" y="6799"/>
                  </a:lnTo>
                  <a:cubicBezTo>
                    <a:pt x="2346" y="6680"/>
                    <a:pt x="2322" y="6561"/>
                    <a:pt x="2286" y="6442"/>
                  </a:cubicBezTo>
                  <a:lnTo>
                    <a:pt x="2132" y="5823"/>
                  </a:lnTo>
                  <a:close/>
                  <a:moveTo>
                    <a:pt x="6239" y="5823"/>
                  </a:moveTo>
                  <a:lnTo>
                    <a:pt x="6061" y="6442"/>
                  </a:lnTo>
                  <a:cubicBezTo>
                    <a:pt x="6025" y="6561"/>
                    <a:pt x="6001" y="6680"/>
                    <a:pt x="5977" y="6799"/>
                  </a:cubicBezTo>
                  <a:lnTo>
                    <a:pt x="5382" y="6799"/>
                  </a:lnTo>
                  <a:lnTo>
                    <a:pt x="5382" y="6645"/>
                  </a:lnTo>
                  <a:cubicBezTo>
                    <a:pt x="5727" y="6442"/>
                    <a:pt x="6025" y="6157"/>
                    <a:pt x="6239" y="5823"/>
                  </a:cubicBezTo>
                  <a:close/>
                  <a:moveTo>
                    <a:pt x="2965" y="7133"/>
                  </a:moveTo>
                  <a:lnTo>
                    <a:pt x="2965" y="7502"/>
                  </a:lnTo>
                  <a:lnTo>
                    <a:pt x="2405" y="7502"/>
                  </a:lnTo>
                  <a:lnTo>
                    <a:pt x="2405" y="7478"/>
                  </a:lnTo>
                  <a:cubicBezTo>
                    <a:pt x="2405" y="7359"/>
                    <a:pt x="2405" y="7252"/>
                    <a:pt x="2393" y="7133"/>
                  </a:cubicBezTo>
                  <a:close/>
                  <a:moveTo>
                    <a:pt x="5930" y="7133"/>
                  </a:moveTo>
                  <a:cubicBezTo>
                    <a:pt x="5918" y="7252"/>
                    <a:pt x="5918" y="7359"/>
                    <a:pt x="5918" y="7478"/>
                  </a:cubicBezTo>
                  <a:lnTo>
                    <a:pt x="5918" y="7502"/>
                  </a:lnTo>
                  <a:lnTo>
                    <a:pt x="5370" y="7502"/>
                  </a:lnTo>
                  <a:lnTo>
                    <a:pt x="5370" y="7133"/>
                  </a:lnTo>
                  <a:close/>
                  <a:moveTo>
                    <a:pt x="4168" y="1"/>
                  </a:moveTo>
                  <a:cubicBezTo>
                    <a:pt x="2441" y="1"/>
                    <a:pt x="1036" y="1406"/>
                    <a:pt x="1036" y="3132"/>
                  </a:cubicBezTo>
                  <a:cubicBezTo>
                    <a:pt x="1036" y="3394"/>
                    <a:pt x="1072" y="3668"/>
                    <a:pt x="1143" y="3930"/>
                  </a:cubicBezTo>
                  <a:cubicBezTo>
                    <a:pt x="1084" y="4025"/>
                    <a:pt x="1036" y="4144"/>
                    <a:pt x="1036" y="4275"/>
                  </a:cubicBezTo>
                  <a:cubicBezTo>
                    <a:pt x="1036" y="4561"/>
                    <a:pt x="1250" y="4799"/>
                    <a:pt x="1512" y="4859"/>
                  </a:cubicBezTo>
                  <a:lnTo>
                    <a:pt x="1965" y="6538"/>
                  </a:lnTo>
                  <a:cubicBezTo>
                    <a:pt x="2048" y="6847"/>
                    <a:pt x="2084" y="7157"/>
                    <a:pt x="2084" y="7478"/>
                  </a:cubicBezTo>
                  <a:cubicBezTo>
                    <a:pt x="2084" y="7597"/>
                    <a:pt x="2084" y="7728"/>
                    <a:pt x="2072" y="7847"/>
                  </a:cubicBezTo>
                  <a:lnTo>
                    <a:pt x="2048" y="8050"/>
                  </a:lnTo>
                  <a:lnTo>
                    <a:pt x="798" y="8490"/>
                  </a:lnTo>
                  <a:cubicBezTo>
                    <a:pt x="322" y="8645"/>
                    <a:pt x="0" y="9109"/>
                    <a:pt x="0" y="9633"/>
                  </a:cubicBezTo>
                  <a:lnTo>
                    <a:pt x="0" y="10990"/>
                  </a:lnTo>
                  <a:cubicBezTo>
                    <a:pt x="0" y="11074"/>
                    <a:pt x="72" y="11145"/>
                    <a:pt x="167" y="11145"/>
                  </a:cubicBezTo>
                  <a:cubicBezTo>
                    <a:pt x="250" y="11145"/>
                    <a:pt x="322" y="11074"/>
                    <a:pt x="322" y="10990"/>
                  </a:cubicBezTo>
                  <a:lnTo>
                    <a:pt x="322" y="9633"/>
                  </a:lnTo>
                  <a:cubicBezTo>
                    <a:pt x="322" y="9264"/>
                    <a:pt x="560" y="8919"/>
                    <a:pt x="917" y="8800"/>
                  </a:cubicBezTo>
                  <a:lnTo>
                    <a:pt x="2024" y="8407"/>
                  </a:lnTo>
                  <a:lnTo>
                    <a:pt x="1751" y="10967"/>
                  </a:lnTo>
                  <a:cubicBezTo>
                    <a:pt x="1739" y="11062"/>
                    <a:pt x="1810" y="11133"/>
                    <a:pt x="1905" y="11145"/>
                  </a:cubicBezTo>
                  <a:lnTo>
                    <a:pt x="1917" y="11145"/>
                  </a:lnTo>
                  <a:cubicBezTo>
                    <a:pt x="2012" y="11145"/>
                    <a:pt x="2072" y="11086"/>
                    <a:pt x="2084" y="11002"/>
                  </a:cubicBezTo>
                  <a:lnTo>
                    <a:pt x="2405" y="7895"/>
                  </a:lnTo>
                  <a:lnTo>
                    <a:pt x="2405" y="7847"/>
                  </a:lnTo>
                  <a:lnTo>
                    <a:pt x="2977" y="7847"/>
                  </a:lnTo>
                  <a:lnTo>
                    <a:pt x="2977" y="10990"/>
                  </a:lnTo>
                  <a:cubicBezTo>
                    <a:pt x="2977" y="11074"/>
                    <a:pt x="3048" y="11145"/>
                    <a:pt x="3144" y="11145"/>
                  </a:cubicBezTo>
                  <a:cubicBezTo>
                    <a:pt x="3227" y="11145"/>
                    <a:pt x="3298" y="11074"/>
                    <a:pt x="3298" y="10990"/>
                  </a:cubicBezTo>
                  <a:lnTo>
                    <a:pt x="3298" y="9514"/>
                  </a:lnTo>
                  <a:cubicBezTo>
                    <a:pt x="3572" y="9681"/>
                    <a:pt x="3870" y="9752"/>
                    <a:pt x="4179" y="9752"/>
                  </a:cubicBezTo>
                  <a:cubicBezTo>
                    <a:pt x="4489" y="9752"/>
                    <a:pt x="4787" y="9657"/>
                    <a:pt x="5060" y="9514"/>
                  </a:cubicBezTo>
                  <a:lnTo>
                    <a:pt x="5060" y="10990"/>
                  </a:lnTo>
                  <a:cubicBezTo>
                    <a:pt x="5060" y="11074"/>
                    <a:pt x="5132" y="11145"/>
                    <a:pt x="5227" y="11145"/>
                  </a:cubicBezTo>
                  <a:cubicBezTo>
                    <a:pt x="5311" y="11145"/>
                    <a:pt x="5382" y="11074"/>
                    <a:pt x="5382" y="10990"/>
                  </a:cubicBezTo>
                  <a:lnTo>
                    <a:pt x="5382" y="8728"/>
                  </a:lnTo>
                  <a:cubicBezTo>
                    <a:pt x="5382" y="8633"/>
                    <a:pt x="5311" y="8562"/>
                    <a:pt x="5227" y="8562"/>
                  </a:cubicBezTo>
                  <a:cubicBezTo>
                    <a:pt x="5132" y="8562"/>
                    <a:pt x="5060" y="8633"/>
                    <a:pt x="5060" y="8728"/>
                  </a:cubicBezTo>
                  <a:lnTo>
                    <a:pt x="5060" y="9109"/>
                  </a:lnTo>
                  <a:cubicBezTo>
                    <a:pt x="4810" y="9324"/>
                    <a:pt x="4489" y="9419"/>
                    <a:pt x="4179" y="9419"/>
                  </a:cubicBezTo>
                  <a:cubicBezTo>
                    <a:pt x="3846" y="9419"/>
                    <a:pt x="3548" y="9324"/>
                    <a:pt x="3298" y="9109"/>
                  </a:cubicBezTo>
                  <a:lnTo>
                    <a:pt x="3298" y="6799"/>
                  </a:lnTo>
                  <a:cubicBezTo>
                    <a:pt x="3572" y="6907"/>
                    <a:pt x="3870" y="6966"/>
                    <a:pt x="4179" y="6966"/>
                  </a:cubicBezTo>
                  <a:cubicBezTo>
                    <a:pt x="4489" y="6966"/>
                    <a:pt x="4787" y="6907"/>
                    <a:pt x="5060" y="6799"/>
                  </a:cubicBezTo>
                  <a:lnTo>
                    <a:pt x="5060" y="8026"/>
                  </a:lnTo>
                  <a:cubicBezTo>
                    <a:pt x="5060" y="8109"/>
                    <a:pt x="5132" y="8192"/>
                    <a:pt x="5227" y="8192"/>
                  </a:cubicBezTo>
                  <a:cubicBezTo>
                    <a:pt x="5311" y="8192"/>
                    <a:pt x="5382" y="8109"/>
                    <a:pt x="5382" y="8026"/>
                  </a:cubicBezTo>
                  <a:lnTo>
                    <a:pt x="5382" y="7847"/>
                  </a:lnTo>
                  <a:lnTo>
                    <a:pt x="5953" y="7847"/>
                  </a:lnTo>
                  <a:lnTo>
                    <a:pt x="5953" y="7895"/>
                  </a:lnTo>
                  <a:lnTo>
                    <a:pt x="6275" y="11002"/>
                  </a:lnTo>
                  <a:cubicBezTo>
                    <a:pt x="6287" y="11086"/>
                    <a:pt x="6346" y="11145"/>
                    <a:pt x="6442" y="11145"/>
                  </a:cubicBezTo>
                  <a:lnTo>
                    <a:pt x="6454" y="11145"/>
                  </a:lnTo>
                  <a:cubicBezTo>
                    <a:pt x="6549" y="11133"/>
                    <a:pt x="6608" y="11062"/>
                    <a:pt x="6608" y="10967"/>
                  </a:cubicBezTo>
                  <a:lnTo>
                    <a:pt x="6334" y="8407"/>
                  </a:lnTo>
                  <a:lnTo>
                    <a:pt x="7442" y="8800"/>
                  </a:lnTo>
                  <a:cubicBezTo>
                    <a:pt x="7799" y="8919"/>
                    <a:pt x="8037" y="9264"/>
                    <a:pt x="8037" y="9633"/>
                  </a:cubicBezTo>
                  <a:lnTo>
                    <a:pt x="8037" y="10990"/>
                  </a:lnTo>
                  <a:cubicBezTo>
                    <a:pt x="8037" y="11074"/>
                    <a:pt x="8108" y="11145"/>
                    <a:pt x="8192" y="11145"/>
                  </a:cubicBezTo>
                  <a:cubicBezTo>
                    <a:pt x="8287" y="11145"/>
                    <a:pt x="8359" y="11074"/>
                    <a:pt x="8359" y="10990"/>
                  </a:cubicBezTo>
                  <a:lnTo>
                    <a:pt x="8359" y="9633"/>
                  </a:lnTo>
                  <a:cubicBezTo>
                    <a:pt x="8335" y="9121"/>
                    <a:pt x="8001" y="8669"/>
                    <a:pt x="7525" y="8490"/>
                  </a:cubicBezTo>
                  <a:lnTo>
                    <a:pt x="6275" y="8050"/>
                  </a:lnTo>
                  <a:lnTo>
                    <a:pt x="6263" y="7847"/>
                  </a:lnTo>
                  <a:cubicBezTo>
                    <a:pt x="6251" y="7728"/>
                    <a:pt x="6251" y="7597"/>
                    <a:pt x="6251" y="7478"/>
                  </a:cubicBezTo>
                  <a:cubicBezTo>
                    <a:pt x="6251" y="7157"/>
                    <a:pt x="6299" y="6847"/>
                    <a:pt x="6370" y="6538"/>
                  </a:cubicBezTo>
                  <a:lnTo>
                    <a:pt x="6811" y="4859"/>
                  </a:lnTo>
                  <a:cubicBezTo>
                    <a:pt x="7085" y="4799"/>
                    <a:pt x="7287" y="4561"/>
                    <a:pt x="7287" y="4275"/>
                  </a:cubicBezTo>
                  <a:cubicBezTo>
                    <a:pt x="7287" y="4156"/>
                    <a:pt x="7251" y="4037"/>
                    <a:pt x="7192" y="3930"/>
                  </a:cubicBezTo>
                  <a:cubicBezTo>
                    <a:pt x="7263" y="3680"/>
                    <a:pt x="7287" y="3406"/>
                    <a:pt x="7287" y="3132"/>
                  </a:cubicBezTo>
                  <a:cubicBezTo>
                    <a:pt x="7287" y="1406"/>
                    <a:pt x="5894" y="1"/>
                    <a:pt x="4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1" name="Google Shape;11801;p61"/>
            <p:cNvSpPr/>
            <p:nvPr/>
          </p:nvSpPr>
          <p:spPr>
            <a:xfrm>
              <a:off x="7711219" y="3046324"/>
              <a:ext cx="60350" cy="32472"/>
            </a:xfrm>
            <a:custGeom>
              <a:avLst/>
              <a:gdLst/>
              <a:ahLst/>
              <a:cxnLst/>
              <a:rect l="l" t="t" r="r" b="b"/>
              <a:pathLst>
                <a:path w="1905" h="1025" extrusionOk="0">
                  <a:moveTo>
                    <a:pt x="1536" y="322"/>
                  </a:moveTo>
                  <a:cubicBezTo>
                    <a:pt x="1453" y="536"/>
                    <a:pt x="1238" y="703"/>
                    <a:pt x="953" y="703"/>
                  </a:cubicBezTo>
                  <a:cubicBezTo>
                    <a:pt x="667" y="703"/>
                    <a:pt x="441" y="548"/>
                    <a:pt x="357" y="322"/>
                  </a:cubicBezTo>
                  <a:close/>
                  <a:moveTo>
                    <a:pt x="167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643"/>
                    <a:pt x="429" y="1024"/>
                    <a:pt x="953" y="1024"/>
                  </a:cubicBezTo>
                  <a:cubicBezTo>
                    <a:pt x="1476" y="1024"/>
                    <a:pt x="1905" y="643"/>
                    <a:pt x="1905" y="167"/>
                  </a:cubicBezTo>
                  <a:cubicBezTo>
                    <a:pt x="1905" y="72"/>
                    <a:pt x="1834" y="0"/>
                    <a:pt x="17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02" name="Google Shape;11802;p61"/>
          <p:cNvGrpSpPr/>
          <p:nvPr/>
        </p:nvGrpSpPr>
        <p:grpSpPr>
          <a:xfrm>
            <a:off x="6248458" y="2869772"/>
            <a:ext cx="270864" cy="360645"/>
            <a:chOff x="6248458" y="2869772"/>
            <a:chExt cx="270864" cy="360645"/>
          </a:xfrm>
        </p:grpSpPr>
        <p:sp>
          <p:nvSpPr>
            <p:cNvPr id="11803" name="Google Shape;11803;p61"/>
            <p:cNvSpPr/>
            <p:nvPr/>
          </p:nvSpPr>
          <p:spPr>
            <a:xfrm>
              <a:off x="6345399" y="2995003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4" name="Google Shape;11804;p61"/>
            <p:cNvSpPr/>
            <p:nvPr/>
          </p:nvSpPr>
          <p:spPr>
            <a:xfrm>
              <a:off x="6412529" y="2995003"/>
              <a:ext cx="10993" cy="15872"/>
            </a:xfrm>
            <a:custGeom>
              <a:avLst/>
              <a:gdLst/>
              <a:ahLst/>
              <a:cxnLst/>
              <a:rect l="l" t="t" r="r" b="b"/>
              <a:pathLst>
                <a:path w="347" h="501" extrusionOk="0">
                  <a:moveTo>
                    <a:pt x="167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334"/>
                  </a:lnTo>
                  <a:cubicBezTo>
                    <a:pt x="1" y="429"/>
                    <a:pt x="84" y="501"/>
                    <a:pt x="167" y="501"/>
                  </a:cubicBezTo>
                  <a:cubicBezTo>
                    <a:pt x="251" y="501"/>
                    <a:pt x="334" y="429"/>
                    <a:pt x="334" y="334"/>
                  </a:cubicBezTo>
                  <a:lnTo>
                    <a:pt x="334" y="156"/>
                  </a:lnTo>
                  <a:cubicBezTo>
                    <a:pt x="346" y="72"/>
                    <a:pt x="275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5" name="Google Shape;11805;p61"/>
            <p:cNvSpPr/>
            <p:nvPr/>
          </p:nvSpPr>
          <p:spPr>
            <a:xfrm>
              <a:off x="6248458" y="2869772"/>
              <a:ext cx="270864" cy="360645"/>
            </a:xfrm>
            <a:custGeom>
              <a:avLst/>
              <a:gdLst/>
              <a:ahLst/>
              <a:cxnLst/>
              <a:rect l="l" t="t" r="r" b="b"/>
              <a:pathLst>
                <a:path w="8550" h="11384" extrusionOk="0">
                  <a:moveTo>
                    <a:pt x="4275" y="513"/>
                  </a:moveTo>
                  <a:cubicBezTo>
                    <a:pt x="5585" y="513"/>
                    <a:pt x="6668" y="1537"/>
                    <a:pt x="6775" y="2823"/>
                  </a:cubicBezTo>
                  <a:cubicBezTo>
                    <a:pt x="6073" y="2608"/>
                    <a:pt x="5204" y="2489"/>
                    <a:pt x="4275" y="2489"/>
                  </a:cubicBezTo>
                  <a:cubicBezTo>
                    <a:pt x="3358" y="2489"/>
                    <a:pt x="2477" y="2608"/>
                    <a:pt x="1775" y="2823"/>
                  </a:cubicBezTo>
                  <a:cubicBezTo>
                    <a:pt x="1882" y="1537"/>
                    <a:pt x="2965" y="513"/>
                    <a:pt x="4275" y="513"/>
                  </a:cubicBezTo>
                  <a:close/>
                  <a:moveTo>
                    <a:pt x="2156" y="3073"/>
                  </a:moveTo>
                  <a:lnTo>
                    <a:pt x="2156" y="3382"/>
                  </a:lnTo>
                  <a:cubicBezTo>
                    <a:pt x="2156" y="3490"/>
                    <a:pt x="2120" y="3573"/>
                    <a:pt x="2060" y="3632"/>
                  </a:cubicBezTo>
                  <a:cubicBezTo>
                    <a:pt x="1977" y="3716"/>
                    <a:pt x="1894" y="3740"/>
                    <a:pt x="1798" y="3740"/>
                  </a:cubicBezTo>
                  <a:lnTo>
                    <a:pt x="1787" y="3740"/>
                  </a:lnTo>
                  <a:lnTo>
                    <a:pt x="1787" y="3168"/>
                  </a:lnTo>
                  <a:lnTo>
                    <a:pt x="1775" y="3168"/>
                  </a:lnTo>
                  <a:cubicBezTo>
                    <a:pt x="1894" y="3132"/>
                    <a:pt x="2025" y="3097"/>
                    <a:pt x="2156" y="3073"/>
                  </a:cubicBezTo>
                  <a:close/>
                  <a:moveTo>
                    <a:pt x="4263" y="2835"/>
                  </a:moveTo>
                  <a:cubicBezTo>
                    <a:pt x="5204" y="2835"/>
                    <a:pt x="6073" y="2954"/>
                    <a:pt x="6763" y="3180"/>
                  </a:cubicBezTo>
                  <a:lnTo>
                    <a:pt x="6763" y="4430"/>
                  </a:lnTo>
                  <a:cubicBezTo>
                    <a:pt x="6692" y="4371"/>
                    <a:pt x="6597" y="4287"/>
                    <a:pt x="6489" y="4204"/>
                  </a:cubicBezTo>
                  <a:cubicBezTo>
                    <a:pt x="6459" y="4178"/>
                    <a:pt x="6421" y="4166"/>
                    <a:pt x="6384" y="4166"/>
                  </a:cubicBezTo>
                  <a:cubicBezTo>
                    <a:pt x="6334" y="4166"/>
                    <a:pt x="6285" y="4187"/>
                    <a:pt x="6251" y="4228"/>
                  </a:cubicBezTo>
                  <a:cubicBezTo>
                    <a:pt x="6192" y="4311"/>
                    <a:pt x="6216" y="4406"/>
                    <a:pt x="6287" y="4466"/>
                  </a:cubicBezTo>
                  <a:cubicBezTo>
                    <a:pt x="6335" y="4502"/>
                    <a:pt x="6370" y="4525"/>
                    <a:pt x="6406" y="4561"/>
                  </a:cubicBezTo>
                  <a:lnTo>
                    <a:pt x="6406" y="4621"/>
                  </a:lnTo>
                  <a:cubicBezTo>
                    <a:pt x="6406" y="5811"/>
                    <a:pt x="5442" y="6764"/>
                    <a:pt x="4251" y="6764"/>
                  </a:cubicBezTo>
                  <a:cubicBezTo>
                    <a:pt x="3060" y="6764"/>
                    <a:pt x="2084" y="5799"/>
                    <a:pt x="2084" y="4609"/>
                  </a:cubicBezTo>
                  <a:cubicBezTo>
                    <a:pt x="2084" y="4513"/>
                    <a:pt x="2013" y="4442"/>
                    <a:pt x="1929" y="4442"/>
                  </a:cubicBezTo>
                  <a:cubicBezTo>
                    <a:pt x="1834" y="4442"/>
                    <a:pt x="1763" y="4513"/>
                    <a:pt x="1763" y="4609"/>
                  </a:cubicBezTo>
                  <a:lnTo>
                    <a:pt x="1763" y="4621"/>
                  </a:lnTo>
                  <a:lnTo>
                    <a:pt x="1656" y="4621"/>
                  </a:lnTo>
                  <a:cubicBezTo>
                    <a:pt x="1584" y="4621"/>
                    <a:pt x="1513" y="4585"/>
                    <a:pt x="1453" y="4525"/>
                  </a:cubicBezTo>
                  <a:cubicBezTo>
                    <a:pt x="1429" y="4490"/>
                    <a:pt x="1417" y="4406"/>
                    <a:pt x="1417" y="4335"/>
                  </a:cubicBezTo>
                  <a:cubicBezTo>
                    <a:pt x="1429" y="4204"/>
                    <a:pt x="1572" y="4085"/>
                    <a:pt x="1715" y="4085"/>
                  </a:cubicBezTo>
                  <a:lnTo>
                    <a:pt x="1775" y="4085"/>
                  </a:lnTo>
                  <a:cubicBezTo>
                    <a:pt x="1965" y="4085"/>
                    <a:pt x="2132" y="4013"/>
                    <a:pt x="2263" y="3871"/>
                  </a:cubicBezTo>
                  <a:cubicBezTo>
                    <a:pt x="2406" y="3740"/>
                    <a:pt x="2477" y="3561"/>
                    <a:pt x="2477" y="3382"/>
                  </a:cubicBezTo>
                  <a:lnTo>
                    <a:pt x="2477" y="3001"/>
                  </a:lnTo>
                  <a:cubicBezTo>
                    <a:pt x="2787" y="2942"/>
                    <a:pt x="3120" y="2894"/>
                    <a:pt x="3453" y="2858"/>
                  </a:cubicBezTo>
                  <a:cubicBezTo>
                    <a:pt x="4251" y="3156"/>
                    <a:pt x="5001" y="3549"/>
                    <a:pt x="5739" y="4049"/>
                  </a:cubicBezTo>
                  <a:cubicBezTo>
                    <a:pt x="5763" y="4073"/>
                    <a:pt x="5799" y="4085"/>
                    <a:pt x="5823" y="4085"/>
                  </a:cubicBezTo>
                  <a:cubicBezTo>
                    <a:pt x="5882" y="4085"/>
                    <a:pt x="5930" y="4049"/>
                    <a:pt x="5954" y="4013"/>
                  </a:cubicBezTo>
                  <a:cubicBezTo>
                    <a:pt x="6013" y="3930"/>
                    <a:pt x="5989" y="3835"/>
                    <a:pt x="5918" y="3775"/>
                  </a:cubicBezTo>
                  <a:cubicBezTo>
                    <a:pt x="5382" y="3394"/>
                    <a:pt x="4823" y="3085"/>
                    <a:pt x="4251" y="2835"/>
                  </a:cubicBezTo>
                  <a:close/>
                  <a:moveTo>
                    <a:pt x="1822" y="4990"/>
                  </a:moveTo>
                  <a:cubicBezTo>
                    <a:pt x="1929" y="5764"/>
                    <a:pt x="2406" y="6418"/>
                    <a:pt x="3037" y="6811"/>
                  </a:cubicBezTo>
                  <a:lnTo>
                    <a:pt x="3037" y="7538"/>
                  </a:lnTo>
                  <a:cubicBezTo>
                    <a:pt x="3037" y="7776"/>
                    <a:pt x="2894" y="7966"/>
                    <a:pt x="2679" y="8062"/>
                  </a:cubicBezTo>
                  <a:lnTo>
                    <a:pt x="1656" y="8383"/>
                  </a:lnTo>
                  <a:lnTo>
                    <a:pt x="1310" y="8157"/>
                  </a:lnTo>
                  <a:lnTo>
                    <a:pt x="1906" y="7419"/>
                  </a:lnTo>
                  <a:cubicBezTo>
                    <a:pt x="1941" y="7371"/>
                    <a:pt x="1953" y="7323"/>
                    <a:pt x="1941" y="7288"/>
                  </a:cubicBezTo>
                  <a:cubicBezTo>
                    <a:pt x="1929" y="7240"/>
                    <a:pt x="1894" y="7192"/>
                    <a:pt x="1846" y="7169"/>
                  </a:cubicBezTo>
                  <a:lnTo>
                    <a:pt x="1286" y="6883"/>
                  </a:lnTo>
                  <a:cubicBezTo>
                    <a:pt x="1656" y="6073"/>
                    <a:pt x="1727" y="5323"/>
                    <a:pt x="1763" y="4990"/>
                  </a:cubicBezTo>
                  <a:close/>
                  <a:moveTo>
                    <a:pt x="6775" y="4847"/>
                  </a:moveTo>
                  <a:lnTo>
                    <a:pt x="6811" y="4871"/>
                  </a:lnTo>
                  <a:cubicBezTo>
                    <a:pt x="6823" y="5121"/>
                    <a:pt x="6882" y="5978"/>
                    <a:pt x="7287" y="6871"/>
                  </a:cubicBezTo>
                  <a:lnTo>
                    <a:pt x="6716" y="7145"/>
                  </a:lnTo>
                  <a:cubicBezTo>
                    <a:pt x="6668" y="7180"/>
                    <a:pt x="6644" y="7204"/>
                    <a:pt x="6632" y="7264"/>
                  </a:cubicBezTo>
                  <a:cubicBezTo>
                    <a:pt x="6609" y="7311"/>
                    <a:pt x="6632" y="7371"/>
                    <a:pt x="6656" y="7407"/>
                  </a:cubicBezTo>
                  <a:lnTo>
                    <a:pt x="7251" y="8145"/>
                  </a:lnTo>
                  <a:lnTo>
                    <a:pt x="6906" y="8383"/>
                  </a:lnTo>
                  <a:lnTo>
                    <a:pt x="5894" y="8026"/>
                  </a:lnTo>
                  <a:cubicBezTo>
                    <a:pt x="5680" y="7954"/>
                    <a:pt x="5537" y="7740"/>
                    <a:pt x="5537" y="7502"/>
                  </a:cubicBezTo>
                  <a:lnTo>
                    <a:pt x="5537" y="6776"/>
                  </a:lnTo>
                  <a:cubicBezTo>
                    <a:pt x="6228" y="6371"/>
                    <a:pt x="6704" y="5680"/>
                    <a:pt x="6775" y="4847"/>
                  </a:cubicBezTo>
                  <a:close/>
                  <a:moveTo>
                    <a:pt x="5192" y="6966"/>
                  </a:moveTo>
                  <a:lnTo>
                    <a:pt x="5192" y="7538"/>
                  </a:lnTo>
                  <a:cubicBezTo>
                    <a:pt x="5192" y="7859"/>
                    <a:pt x="5370" y="8157"/>
                    <a:pt x="5656" y="8312"/>
                  </a:cubicBezTo>
                  <a:cubicBezTo>
                    <a:pt x="5597" y="8478"/>
                    <a:pt x="5525" y="8621"/>
                    <a:pt x="5418" y="8752"/>
                  </a:cubicBezTo>
                  <a:cubicBezTo>
                    <a:pt x="5358" y="8835"/>
                    <a:pt x="5370" y="8931"/>
                    <a:pt x="5454" y="8990"/>
                  </a:cubicBezTo>
                  <a:cubicBezTo>
                    <a:pt x="5477" y="9026"/>
                    <a:pt x="5525" y="9026"/>
                    <a:pt x="5549" y="9026"/>
                  </a:cubicBezTo>
                  <a:cubicBezTo>
                    <a:pt x="5597" y="9026"/>
                    <a:pt x="5656" y="9014"/>
                    <a:pt x="5692" y="8966"/>
                  </a:cubicBezTo>
                  <a:cubicBezTo>
                    <a:pt x="5823" y="8800"/>
                    <a:pt x="5918" y="8621"/>
                    <a:pt x="5989" y="8431"/>
                  </a:cubicBezTo>
                  <a:lnTo>
                    <a:pt x="6347" y="8550"/>
                  </a:lnTo>
                  <a:cubicBezTo>
                    <a:pt x="6013" y="9395"/>
                    <a:pt x="5204" y="9990"/>
                    <a:pt x="4275" y="9990"/>
                  </a:cubicBezTo>
                  <a:cubicBezTo>
                    <a:pt x="3358" y="9990"/>
                    <a:pt x="2537" y="9395"/>
                    <a:pt x="2239" y="8538"/>
                  </a:cubicBezTo>
                  <a:lnTo>
                    <a:pt x="2596" y="8419"/>
                  </a:lnTo>
                  <a:cubicBezTo>
                    <a:pt x="2834" y="9133"/>
                    <a:pt x="3501" y="9621"/>
                    <a:pt x="4275" y="9621"/>
                  </a:cubicBezTo>
                  <a:cubicBezTo>
                    <a:pt x="4525" y="9621"/>
                    <a:pt x="4787" y="9562"/>
                    <a:pt x="5025" y="9455"/>
                  </a:cubicBezTo>
                  <a:cubicBezTo>
                    <a:pt x="5108" y="9407"/>
                    <a:pt x="5144" y="9324"/>
                    <a:pt x="5108" y="9228"/>
                  </a:cubicBezTo>
                  <a:cubicBezTo>
                    <a:pt x="5075" y="9170"/>
                    <a:pt x="5025" y="9136"/>
                    <a:pt x="4965" y="9136"/>
                  </a:cubicBezTo>
                  <a:cubicBezTo>
                    <a:pt x="4939" y="9136"/>
                    <a:pt x="4911" y="9142"/>
                    <a:pt x="4882" y="9157"/>
                  </a:cubicBezTo>
                  <a:cubicBezTo>
                    <a:pt x="4692" y="9252"/>
                    <a:pt x="4501" y="9288"/>
                    <a:pt x="4287" y="9288"/>
                  </a:cubicBezTo>
                  <a:cubicBezTo>
                    <a:pt x="3668" y="9288"/>
                    <a:pt x="3120" y="8895"/>
                    <a:pt x="2918" y="8312"/>
                  </a:cubicBezTo>
                  <a:cubicBezTo>
                    <a:pt x="3203" y="8157"/>
                    <a:pt x="3382" y="7859"/>
                    <a:pt x="3382" y="7538"/>
                  </a:cubicBezTo>
                  <a:lnTo>
                    <a:pt x="3382" y="6966"/>
                  </a:lnTo>
                  <a:cubicBezTo>
                    <a:pt x="3668" y="7073"/>
                    <a:pt x="3965" y="7133"/>
                    <a:pt x="4287" y="7133"/>
                  </a:cubicBezTo>
                  <a:cubicBezTo>
                    <a:pt x="4596" y="7133"/>
                    <a:pt x="4918" y="7073"/>
                    <a:pt x="5192" y="6966"/>
                  </a:cubicBezTo>
                  <a:close/>
                  <a:moveTo>
                    <a:pt x="4096" y="1"/>
                  </a:moveTo>
                  <a:cubicBezTo>
                    <a:pt x="4013" y="1"/>
                    <a:pt x="3930" y="84"/>
                    <a:pt x="3930" y="168"/>
                  </a:cubicBezTo>
                  <a:lnTo>
                    <a:pt x="3930" y="203"/>
                  </a:lnTo>
                  <a:cubicBezTo>
                    <a:pt x="2549" y="358"/>
                    <a:pt x="1477" y="1525"/>
                    <a:pt x="1429" y="2942"/>
                  </a:cubicBezTo>
                  <a:cubicBezTo>
                    <a:pt x="1346" y="2966"/>
                    <a:pt x="1251" y="3013"/>
                    <a:pt x="1167" y="3037"/>
                  </a:cubicBezTo>
                  <a:cubicBezTo>
                    <a:pt x="1072" y="3085"/>
                    <a:pt x="1048" y="3180"/>
                    <a:pt x="1072" y="3263"/>
                  </a:cubicBezTo>
                  <a:cubicBezTo>
                    <a:pt x="1109" y="3336"/>
                    <a:pt x="1173" y="3367"/>
                    <a:pt x="1238" y="3367"/>
                  </a:cubicBezTo>
                  <a:cubicBezTo>
                    <a:pt x="1258" y="3367"/>
                    <a:pt x="1279" y="3364"/>
                    <a:pt x="1298" y="3359"/>
                  </a:cubicBezTo>
                  <a:cubicBezTo>
                    <a:pt x="1346" y="3335"/>
                    <a:pt x="1370" y="3323"/>
                    <a:pt x="1417" y="3299"/>
                  </a:cubicBezTo>
                  <a:lnTo>
                    <a:pt x="1417" y="3799"/>
                  </a:lnTo>
                  <a:cubicBezTo>
                    <a:pt x="1227" y="3894"/>
                    <a:pt x="1096" y="4073"/>
                    <a:pt x="1060" y="4287"/>
                  </a:cubicBezTo>
                  <a:cubicBezTo>
                    <a:pt x="1048" y="4466"/>
                    <a:pt x="1108" y="4633"/>
                    <a:pt x="1215" y="4763"/>
                  </a:cubicBezTo>
                  <a:cubicBezTo>
                    <a:pt x="1275" y="4823"/>
                    <a:pt x="1334" y="4871"/>
                    <a:pt x="1406" y="4918"/>
                  </a:cubicBezTo>
                  <a:cubicBezTo>
                    <a:pt x="1394" y="5216"/>
                    <a:pt x="1298" y="6049"/>
                    <a:pt x="894" y="6871"/>
                  </a:cubicBezTo>
                  <a:cubicBezTo>
                    <a:pt x="858" y="6954"/>
                    <a:pt x="882" y="7049"/>
                    <a:pt x="965" y="7085"/>
                  </a:cubicBezTo>
                  <a:lnTo>
                    <a:pt x="1501" y="7359"/>
                  </a:lnTo>
                  <a:lnTo>
                    <a:pt x="929" y="8085"/>
                  </a:lnTo>
                  <a:cubicBezTo>
                    <a:pt x="894" y="8121"/>
                    <a:pt x="882" y="8181"/>
                    <a:pt x="894" y="8216"/>
                  </a:cubicBezTo>
                  <a:cubicBezTo>
                    <a:pt x="894" y="8264"/>
                    <a:pt x="929" y="8312"/>
                    <a:pt x="965" y="8335"/>
                  </a:cubicBezTo>
                  <a:lnTo>
                    <a:pt x="1251" y="8538"/>
                  </a:lnTo>
                  <a:lnTo>
                    <a:pt x="822" y="8681"/>
                  </a:lnTo>
                  <a:cubicBezTo>
                    <a:pt x="334" y="8859"/>
                    <a:pt x="1" y="9324"/>
                    <a:pt x="1" y="9836"/>
                  </a:cubicBezTo>
                  <a:lnTo>
                    <a:pt x="1" y="11229"/>
                  </a:lnTo>
                  <a:cubicBezTo>
                    <a:pt x="1" y="11312"/>
                    <a:pt x="72" y="11383"/>
                    <a:pt x="167" y="11383"/>
                  </a:cubicBezTo>
                  <a:cubicBezTo>
                    <a:pt x="251" y="11383"/>
                    <a:pt x="334" y="11312"/>
                    <a:pt x="334" y="11229"/>
                  </a:cubicBezTo>
                  <a:lnTo>
                    <a:pt x="334" y="9836"/>
                  </a:lnTo>
                  <a:cubicBezTo>
                    <a:pt x="334" y="9455"/>
                    <a:pt x="572" y="9109"/>
                    <a:pt x="929" y="8990"/>
                  </a:cubicBezTo>
                  <a:lnTo>
                    <a:pt x="1906" y="8645"/>
                  </a:lnTo>
                  <a:cubicBezTo>
                    <a:pt x="2251" y="9645"/>
                    <a:pt x="3191" y="10336"/>
                    <a:pt x="4263" y="10336"/>
                  </a:cubicBezTo>
                  <a:cubicBezTo>
                    <a:pt x="5335" y="10336"/>
                    <a:pt x="6263" y="9645"/>
                    <a:pt x="6609" y="8645"/>
                  </a:cubicBezTo>
                  <a:lnTo>
                    <a:pt x="7597" y="8990"/>
                  </a:lnTo>
                  <a:cubicBezTo>
                    <a:pt x="7954" y="9121"/>
                    <a:pt x="8192" y="9466"/>
                    <a:pt x="8192" y="9836"/>
                  </a:cubicBezTo>
                  <a:lnTo>
                    <a:pt x="8192" y="11229"/>
                  </a:lnTo>
                  <a:cubicBezTo>
                    <a:pt x="8192" y="11312"/>
                    <a:pt x="8264" y="11383"/>
                    <a:pt x="8347" y="11383"/>
                  </a:cubicBezTo>
                  <a:cubicBezTo>
                    <a:pt x="8442" y="11383"/>
                    <a:pt x="8514" y="11312"/>
                    <a:pt x="8514" y="11229"/>
                  </a:cubicBezTo>
                  <a:lnTo>
                    <a:pt x="8514" y="9836"/>
                  </a:lnTo>
                  <a:cubicBezTo>
                    <a:pt x="8549" y="9324"/>
                    <a:pt x="8216" y="8847"/>
                    <a:pt x="7728" y="8681"/>
                  </a:cubicBezTo>
                  <a:lnTo>
                    <a:pt x="7299" y="8538"/>
                  </a:lnTo>
                  <a:lnTo>
                    <a:pt x="7585" y="8335"/>
                  </a:lnTo>
                  <a:cubicBezTo>
                    <a:pt x="7621" y="8312"/>
                    <a:pt x="7644" y="8264"/>
                    <a:pt x="7656" y="8216"/>
                  </a:cubicBezTo>
                  <a:cubicBezTo>
                    <a:pt x="7668" y="8181"/>
                    <a:pt x="7656" y="8133"/>
                    <a:pt x="7621" y="8085"/>
                  </a:cubicBezTo>
                  <a:lnTo>
                    <a:pt x="7037" y="7359"/>
                  </a:lnTo>
                  <a:lnTo>
                    <a:pt x="7573" y="7085"/>
                  </a:lnTo>
                  <a:cubicBezTo>
                    <a:pt x="7668" y="7049"/>
                    <a:pt x="7692" y="6942"/>
                    <a:pt x="7656" y="6871"/>
                  </a:cubicBezTo>
                  <a:cubicBezTo>
                    <a:pt x="7144" y="5859"/>
                    <a:pt x="7132" y="4811"/>
                    <a:pt x="7132" y="4799"/>
                  </a:cubicBezTo>
                  <a:lnTo>
                    <a:pt x="7132" y="3299"/>
                  </a:lnTo>
                  <a:cubicBezTo>
                    <a:pt x="7180" y="3311"/>
                    <a:pt x="7204" y="3323"/>
                    <a:pt x="7251" y="3359"/>
                  </a:cubicBezTo>
                  <a:cubicBezTo>
                    <a:pt x="7275" y="3370"/>
                    <a:pt x="7299" y="3370"/>
                    <a:pt x="7323" y="3370"/>
                  </a:cubicBezTo>
                  <a:cubicBezTo>
                    <a:pt x="7382" y="3370"/>
                    <a:pt x="7442" y="3335"/>
                    <a:pt x="7478" y="3263"/>
                  </a:cubicBezTo>
                  <a:cubicBezTo>
                    <a:pt x="7513" y="3180"/>
                    <a:pt x="7478" y="3085"/>
                    <a:pt x="7382" y="3037"/>
                  </a:cubicBezTo>
                  <a:cubicBezTo>
                    <a:pt x="7299" y="3001"/>
                    <a:pt x="7216" y="2966"/>
                    <a:pt x="7121" y="2942"/>
                  </a:cubicBezTo>
                  <a:cubicBezTo>
                    <a:pt x="7073" y="1525"/>
                    <a:pt x="6001" y="358"/>
                    <a:pt x="4620" y="203"/>
                  </a:cubicBezTo>
                  <a:lnTo>
                    <a:pt x="4620" y="168"/>
                  </a:lnTo>
                  <a:cubicBezTo>
                    <a:pt x="4620" y="84"/>
                    <a:pt x="4537" y="1"/>
                    <a:pt x="4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6" name="Google Shape;11806;p61"/>
            <p:cNvSpPr/>
            <p:nvPr/>
          </p:nvSpPr>
          <p:spPr>
            <a:xfrm>
              <a:off x="6339728" y="2977294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513" y="334"/>
                  </a:lnTo>
                  <a:cubicBezTo>
                    <a:pt x="608" y="334"/>
                    <a:pt x="680" y="262"/>
                    <a:pt x="680" y="167"/>
                  </a:cubicBezTo>
                  <a:cubicBezTo>
                    <a:pt x="680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7" name="Google Shape;11807;p61"/>
            <p:cNvSpPr/>
            <p:nvPr/>
          </p:nvSpPr>
          <p:spPr>
            <a:xfrm>
              <a:off x="6353319" y="3025194"/>
              <a:ext cx="61903" cy="32852"/>
            </a:xfrm>
            <a:custGeom>
              <a:avLst/>
              <a:gdLst/>
              <a:ahLst/>
              <a:cxnLst/>
              <a:rect l="l" t="t" r="r" b="b"/>
              <a:pathLst>
                <a:path w="1954" h="1037" extrusionOk="0">
                  <a:moveTo>
                    <a:pt x="1560" y="322"/>
                  </a:moveTo>
                  <a:cubicBezTo>
                    <a:pt x="1501" y="560"/>
                    <a:pt x="1251" y="715"/>
                    <a:pt x="965" y="715"/>
                  </a:cubicBezTo>
                  <a:cubicBezTo>
                    <a:pt x="679" y="715"/>
                    <a:pt x="441" y="548"/>
                    <a:pt x="358" y="322"/>
                  </a:cubicBezTo>
                  <a:close/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655"/>
                    <a:pt x="429" y="1036"/>
                    <a:pt x="965" y="1036"/>
                  </a:cubicBezTo>
                  <a:cubicBezTo>
                    <a:pt x="1501" y="1036"/>
                    <a:pt x="1929" y="631"/>
                    <a:pt x="1929" y="155"/>
                  </a:cubicBezTo>
                  <a:cubicBezTo>
                    <a:pt x="1953" y="72"/>
                    <a:pt x="1870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08" name="Google Shape;11808;p61"/>
          <p:cNvGrpSpPr/>
          <p:nvPr/>
        </p:nvGrpSpPr>
        <p:grpSpPr>
          <a:xfrm>
            <a:off x="3075928" y="2445798"/>
            <a:ext cx="363243" cy="300675"/>
            <a:chOff x="3075928" y="2445798"/>
            <a:chExt cx="363243" cy="300675"/>
          </a:xfrm>
        </p:grpSpPr>
        <p:sp>
          <p:nvSpPr>
            <p:cNvPr id="11809" name="Google Shape;11809;p61"/>
            <p:cNvSpPr/>
            <p:nvPr/>
          </p:nvSpPr>
          <p:spPr>
            <a:xfrm>
              <a:off x="3227168" y="2675542"/>
              <a:ext cx="37002" cy="10581"/>
            </a:xfrm>
            <a:custGeom>
              <a:avLst/>
              <a:gdLst/>
              <a:ahLst/>
              <a:cxnLst/>
              <a:rect l="l" t="t" r="r" b="b"/>
              <a:pathLst>
                <a:path w="1168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1001" y="334"/>
                  </a:lnTo>
                  <a:cubicBezTo>
                    <a:pt x="1096" y="334"/>
                    <a:pt x="1167" y="262"/>
                    <a:pt x="1167" y="167"/>
                  </a:cubicBezTo>
                  <a:cubicBezTo>
                    <a:pt x="1167" y="72"/>
                    <a:pt x="1096" y="0"/>
                    <a:pt x="1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0" name="Google Shape;11810;p61"/>
            <p:cNvSpPr/>
            <p:nvPr/>
          </p:nvSpPr>
          <p:spPr>
            <a:xfrm>
              <a:off x="3075928" y="2445798"/>
              <a:ext cx="363243" cy="300675"/>
            </a:xfrm>
            <a:custGeom>
              <a:avLst/>
              <a:gdLst/>
              <a:ahLst/>
              <a:cxnLst/>
              <a:rect l="l" t="t" r="r" b="b"/>
              <a:pathLst>
                <a:path w="11466" h="9491" extrusionOk="0">
                  <a:moveTo>
                    <a:pt x="7299" y="2787"/>
                  </a:moveTo>
                  <a:cubicBezTo>
                    <a:pt x="7322" y="2895"/>
                    <a:pt x="7370" y="3002"/>
                    <a:pt x="7418" y="3085"/>
                  </a:cubicBezTo>
                  <a:lnTo>
                    <a:pt x="1548" y="3085"/>
                  </a:lnTo>
                  <a:lnTo>
                    <a:pt x="1548" y="2787"/>
                  </a:lnTo>
                  <a:close/>
                  <a:moveTo>
                    <a:pt x="8323" y="4121"/>
                  </a:moveTo>
                  <a:lnTo>
                    <a:pt x="8323" y="6026"/>
                  </a:lnTo>
                  <a:lnTo>
                    <a:pt x="6418" y="6026"/>
                  </a:lnTo>
                  <a:lnTo>
                    <a:pt x="6418" y="4121"/>
                  </a:lnTo>
                  <a:close/>
                  <a:moveTo>
                    <a:pt x="6370" y="8467"/>
                  </a:moveTo>
                  <a:lnTo>
                    <a:pt x="6477" y="8550"/>
                  </a:lnTo>
                  <a:lnTo>
                    <a:pt x="4227" y="8550"/>
                  </a:lnTo>
                  <a:lnTo>
                    <a:pt x="4334" y="8467"/>
                  </a:lnTo>
                  <a:close/>
                  <a:moveTo>
                    <a:pt x="9835" y="8050"/>
                  </a:moveTo>
                  <a:lnTo>
                    <a:pt x="10216" y="8550"/>
                  </a:lnTo>
                  <a:lnTo>
                    <a:pt x="7037" y="8550"/>
                  </a:lnTo>
                  <a:lnTo>
                    <a:pt x="6549" y="8169"/>
                  </a:lnTo>
                  <a:cubicBezTo>
                    <a:pt x="6525" y="8133"/>
                    <a:pt x="6489" y="8133"/>
                    <a:pt x="6441" y="8133"/>
                  </a:cubicBezTo>
                  <a:lnTo>
                    <a:pt x="4286" y="8133"/>
                  </a:lnTo>
                  <a:cubicBezTo>
                    <a:pt x="4239" y="8133"/>
                    <a:pt x="4215" y="8145"/>
                    <a:pt x="4179" y="8169"/>
                  </a:cubicBezTo>
                  <a:lnTo>
                    <a:pt x="3691" y="8550"/>
                  </a:lnTo>
                  <a:lnTo>
                    <a:pt x="524" y="8550"/>
                  </a:lnTo>
                  <a:lnTo>
                    <a:pt x="893" y="8050"/>
                  </a:lnTo>
                  <a:close/>
                  <a:moveTo>
                    <a:pt x="9578" y="0"/>
                  </a:moveTo>
                  <a:cubicBezTo>
                    <a:pt x="9500" y="0"/>
                    <a:pt x="9417" y="68"/>
                    <a:pt x="9406" y="156"/>
                  </a:cubicBezTo>
                  <a:cubicBezTo>
                    <a:pt x="9394" y="240"/>
                    <a:pt x="9466" y="335"/>
                    <a:pt x="9561" y="347"/>
                  </a:cubicBezTo>
                  <a:cubicBezTo>
                    <a:pt x="10454" y="466"/>
                    <a:pt x="11121" y="1228"/>
                    <a:pt x="11121" y="2133"/>
                  </a:cubicBezTo>
                  <a:cubicBezTo>
                    <a:pt x="11121" y="3133"/>
                    <a:pt x="10311" y="3930"/>
                    <a:pt x="9323" y="3930"/>
                  </a:cubicBezTo>
                  <a:cubicBezTo>
                    <a:pt x="8323" y="3930"/>
                    <a:pt x="7513" y="3133"/>
                    <a:pt x="7513" y="2133"/>
                  </a:cubicBezTo>
                  <a:cubicBezTo>
                    <a:pt x="7513" y="1287"/>
                    <a:pt x="8108" y="561"/>
                    <a:pt x="8930" y="382"/>
                  </a:cubicBezTo>
                  <a:cubicBezTo>
                    <a:pt x="9025" y="359"/>
                    <a:pt x="9085" y="275"/>
                    <a:pt x="9061" y="180"/>
                  </a:cubicBezTo>
                  <a:cubicBezTo>
                    <a:pt x="9050" y="104"/>
                    <a:pt x="8969" y="48"/>
                    <a:pt x="8892" y="48"/>
                  </a:cubicBezTo>
                  <a:cubicBezTo>
                    <a:pt x="8885" y="48"/>
                    <a:pt x="8877" y="48"/>
                    <a:pt x="8870" y="49"/>
                  </a:cubicBezTo>
                  <a:cubicBezTo>
                    <a:pt x="8394" y="156"/>
                    <a:pt x="7977" y="406"/>
                    <a:pt x="7668" y="775"/>
                  </a:cubicBezTo>
                  <a:cubicBezTo>
                    <a:pt x="7406" y="1097"/>
                    <a:pt x="7251" y="1466"/>
                    <a:pt x="7203" y="1859"/>
                  </a:cubicBezTo>
                  <a:lnTo>
                    <a:pt x="5513" y="1859"/>
                  </a:lnTo>
                  <a:cubicBezTo>
                    <a:pt x="5417" y="1859"/>
                    <a:pt x="5346" y="1930"/>
                    <a:pt x="5346" y="2014"/>
                  </a:cubicBezTo>
                  <a:cubicBezTo>
                    <a:pt x="5346" y="2109"/>
                    <a:pt x="5417" y="2180"/>
                    <a:pt x="5513" y="2180"/>
                  </a:cubicBezTo>
                  <a:lnTo>
                    <a:pt x="7191" y="2180"/>
                  </a:lnTo>
                  <a:cubicBezTo>
                    <a:pt x="7191" y="2275"/>
                    <a:pt x="7203" y="2359"/>
                    <a:pt x="7215" y="2454"/>
                  </a:cubicBezTo>
                  <a:lnTo>
                    <a:pt x="1381" y="2454"/>
                  </a:lnTo>
                  <a:cubicBezTo>
                    <a:pt x="1298" y="2454"/>
                    <a:pt x="1215" y="2526"/>
                    <a:pt x="1215" y="2609"/>
                  </a:cubicBezTo>
                  <a:lnTo>
                    <a:pt x="1215" y="3240"/>
                  </a:lnTo>
                  <a:lnTo>
                    <a:pt x="1215" y="6955"/>
                  </a:lnTo>
                  <a:cubicBezTo>
                    <a:pt x="1215" y="7050"/>
                    <a:pt x="1298" y="7121"/>
                    <a:pt x="1381" y="7121"/>
                  </a:cubicBezTo>
                  <a:lnTo>
                    <a:pt x="7275" y="7121"/>
                  </a:lnTo>
                  <a:cubicBezTo>
                    <a:pt x="7370" y="7121"/>
                    <a:pt x="7442" y="7050"/>
                    <a:pt x="7442" y="6955"/>
                  </a:cubicBezTo>
                  <a:cubicBezTo>
                    <a:pt x="7442" y="6871"/>
                    <a:pt x="7370" y="6800"/>
                    <a:pt x="7275" y="6800"/>
                  </a:cubicBezTo>
                  <a:lnTo>
                    <a:pt x="1560" y="6800"/>
                  </a:lnTo>
                  <a:lnTo>
                    <a:pt x="1560" y="3418"/>
                  </a:lnTo>
                  <a:lnTo>
                    <a:pt x="7656" y="3418"/>
                  </a:lnTo>
                  <a:cubicBezTo>
                    <a:pt x="7751" y="3549"/>
                    <a:pt x="7858" y="3669"/>
                    <a:pt x="7989" y="3776"/>
                  </a:cubicBezTo>
                  <a:lnTo>
                    <a:pt x="6263" y="3776"/>
                  </a:lnTo>
                  <a:cubicBezTo>
                    <a:pt x="6179" y="3776"/>
                    <a:pt x="6096" y="3847"/>
                    <a:pt x="6096" y="3942"/>
                  </a:cubicBezTo>
                  <a:lnTo>
                    <a:pt x="6096" y="6181"/>
                  </a:lnTo>
                  <a:cubicBezTo>
                    <a:pt x="6096" y="6276"/>
                    <a:pt x="6179" y="6347"/>
                    <a:pt x="6263" y="6347"/>
                  </a:cubicBezTo>
                  <a:lnTo>
                    <a:pt x="8513" y="6347"/>
                  </a:lnTo>
                  <a:cubicBezTo>
                    <a:pt x="8596" y="6347"/>
                    <a:pt x="8680" y="6276"/>
                    <a:pt x="8680" y="6181"/>
                  </a:cubicBezTo>
                  <a:lnTo>
                    <a:pt x="8680" y="4145"/>
                  </a:lnTo>
                  <a:cubicBezTo>
                    <a:pt x="8846" y="4192"/>
                    <a:pt x="9001" y="4240"/>
                    <a:pt x="9168" y="4252"/>
                  </a:cubicBezTo>
                  <a:lnTo>
                    <a:pt x="9168" y="6800"/>
                  </a:lnTo>
                  <a:lnTo>
                    <a:pt x="8096" y="6800"/>
                  </a:lnTo>
                  <a:cubicBezTo>
                    <a:pt x="8001" y="6800"/>
                    <a:pt x="7930" y="6871"/>
                    <a:pt x="7930" y="6955"/>
                  </a:cubicBezTo>
                  <a:cubicBezTo>
                    <a:pt x="7930" y="7050"/>
                    <a:pt x="8001" y="7121"/>
                    <a:pt x="8096" y="7121"/>
                  </a:cubicBezTo>
                  <a:lnTo>
                    <a:pt x="9335" y="7121"/>
                  </a:lnTo>
                  <a:cubicBezTo>
                    <a:pt x="9418" y="7121"/>
                    <a:pt x="9489" y="7050"/>
                    <a:pt x="9489" y="6955"/>
                  </a:cubicBezTo>
                  <a:lnTo>
                    <a:pt x="9489" y="4240"/>
                  </a:lnTo>
                  <a:cubicBezTo>
                    <a:pt x="9585" y="4240"/>
                    <a:pt x="9656" y="4216"/>
                    <a:pt x="9751" y="4204"/>
                  </a:cubicBezTo>
                  <a:lnTo>
                    <a:pt x="9751" y="7705"/>
                  </a:lnTo>
                  <a:lnTo>
                    <a:pt x="965" y="7705"/>
                  </a:lnTo>
                  <a:lnTo>
                    <a:pt x="965" y="2168"/>
                  </a:lnTo>
                  <a:lnTo>
                    <a:pt x="4846" y="2168"/>
                  </a:lnTo>
                  <a:cubicBezTo>
                    <a:pt x="4941" y="2168"/>
                    <a:pt x="5013" y="2097"/>
                    <a:pt x="5013" y="2002"/>
                  </a:cubicBezTo>
                  <a:cubicBezTo>
                    <a:pt x="5013" y="1918"/>
                    <a:pt x="4941" y="1835"/>
                    <a:pt x="4846" y="1835"/>
                  </a:cubicBezTo>
                  <a:lnTo>
                    <a:pt x="786" y="1835"/>
                  </a:lnTo>
                  <a:cubicBezTo>
                    <a:pt x="703" y="1835"/>
                    <a:pt x="619" y="1918"/>
                    <a:pt x="619" y="2002"/>
                  </a:cubicBezTo>
                  <a:lnTo>
                    <a:pt x="619" y="7812"/>
                  </a:lnTo>
                  <a:lnTo>
                    <a:pt x="24" y="8598"/>
                  </a:lnTo>
                  <a:cubicBezTo>
                    <a:pt x="12" y="8622"/>
                    <a:pt x="0" y="8657"/>
                    <a:pt x="0" y="8705"/>
                  </a:cubicBezTo>
                  <a:lnTo>
                    <a:pt x="0" y="9324"/>
                  </a:lnTo>
                  <a:cubicBezTo>
                    <a:pt x="0" y="9419"/>
                    <a:pt x="72" y="9491"/>
                    <a:pt x="167" y="9491"/>
                  </a:cubicBezTo>
                  <a:lnTo>
                    <a:pt x="7930" y="9491"/>
                  </a:lnTo>
                  <a:cubicBezTo>
                    <a:pt x="8025" y="9491"/>
                    <a:pt x="8096" y="9419"/>
                    <a:pt x="8096" y="9324"/>
                  </a:cubicBezTo>
                  <a:cubicBezTo>
                    <a:pt x="8096" y="9241"/>
                    <a:pt x="8025" y="9157"/>
                    <a:pt x="7930" y="9157"/>
                  </a:cubicBezTo>
                  <a:lnTo>
                    <a:pt x="322" y="9157"/>
                  </a:lnTo>
                  <a:lnTo>
                    <a:pt x="322" y="8883"/>
                  </a:lnTo>
                  <a:lnTo>
                    <a:pt x="10359" y="8883"/>
                  </a:lnTo>
                  <a:lnTo>
                    <a:pt x="10359" y="9157"/>
                  </a:lnTo>
                  <a:lnTo>
                    <a:pt x="8585" y="9157"/>
                  </a:lnTo>
                  <a:cubicBezTo>
                    <a:pt x="8501" y="9157"/>
                    <a:pt x="8418" y="9241"/>
                    <a:pt x="8418" y="9324"/>
                  </a:cubicBezTo>
                  <a:cubicBezTo>
                    <a:pt x="8418" y="9419"/>
                    <a:pt x="8501" y="9491"/>
                    <a:pt x="8585" y="9491"/>
                  </a:cubicBezTo>
                  <a:lnTo>
                    <a:pt x="10525" y="9491"/>
                  </a:lnTo>
                  <a:cubicBezTo>
                    <a:pt x="10609" y="9491"/>
                    <a:pt x="10680" y="9419"/>
                    <a:pt x="10680" y="9324"/>
                  </a:cubicBezTo>
                  <a:lnTo>
                    <a:pt x="10680" y="8705"/>
                  </a:lnTo>
                  <a:cubicBezTo>
                    <a:pt x="10680" y="8669"/>
                    <a:pt x="10668" y="8622"/>
                    <a:pt x="10656" y="8598"/>
                  </a:cubicBezTo>
                  <a:lnTo>
                    <a:pt x="10061" y="7812"/>
                  </a:lnTo>
                  <a:lnTo>
                    <a:pt x="10061" y="4097"/>
                  </a:lnTo>
                  <a:cubicBezTo>
                    <a:pt x="10894" y="3823"/>
                    <a:pt x="11466" y="3049"/>
                    <a:pt x="11466" y="2121"/>
                  </a:cubicBezTo>
                  <a:cubicBezTo>
                    <a:pt x="11466" y="1049"/>
                    <a:pt x="10656" y="144"/>
                    <a:pt x="9597" y="1"/>
                  </a:cubicBezTo>
                  <a:cubicBezTo>
                    <a:pt x="9590" y="1"/>
                    <a:pt x="9584" y="0"/>
                    <a:pt x="95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1" name="Google Shape;11811;p61"/>
            <p:cNvSpPr/>
            <p:nvPr/>
          </p:nvSpPr>
          <p:spPr>
            <a:xfrm>
              <a:off x="3141537" y="2565390"/>
              <a:ext cx="37763" cy="37382"/>
            </a:xfrm>
            <a:custGeom>
              <a:avLst/>
              <a:gdLst/>
              <a:ahLst/>
              <a:cxnLst/>
              <a:rect l="l" t="t" r="r" b="b"/>
              <a:pathLst>
                <a:path w="1192" h="1180" extrusionOk="0">
                  <a:moveTo>
                    <a:pt x="846" y="322"/>
                  </a:moveTo>
                  <a:lnTo>
                    <a:pt x="846" y="834"/>
                  </a:lnTo>
                  <a:lnTo>
                    <a:pt x="346" y="834"/>
                  </a:lnTo>
                  <a:lnTo>
                    <a:pt x="346" y="322"/>
                  </a:lnTo>
                  <a:close/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13"/>
                  </a:lnTo>
                  <a:cubicBezTo>
                    <a:pt x="1" y="1096"/>
                    <a:pt x="72" y="1179"/>
                    <a:pt x="156" y="1179"/>
                  </a:cubicBezTo>
                  <a:lnTo>
                    <a:pt x="1013" y="1179"/>
                  </a:lnTo>
                  <a:cubicBezTo>
                    <a:pt x="1096" y="1179"/>
                    <a:pt x="1180" y="1096"/>
                    <a:pt x="1180" y="1013"/>
                  </a:cubicBezTo>
                  <a:lnTo>
                    <a:pt x="1180" y="167"/>
                  </a:lnTo>
                  <a:cubicBezTo>
                    <a:pt x="1191" y="72"/>
                    <a:pt x="1096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2" name="Google Shape;11812;p61"/>
            <p:cNvSpPr/>
            <p:nvPr/>
          </p:nvSpPr>
          <p:spPr>
            <a:xfrm>
              <a:off x="3185287" y="2565390"/>
              <a:ext cx="73593" cy="10233"/>
            </a:xfrm>
            <a:custGeom>
              <a:avLst/>
              <a:gdLst/>
              <a:ahLst/>
              <a:cxnLst/>
              <a:rect l="l" t="t" r="r" b="b"/>
              <a:pathLst>
                <a:path w="2323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1"/>
                    <a:pt x="2311" y="167"/>
                  </a:cubicBezTo>
                  <a:cubicBezTo>
                    <a:pt x="2323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3" name="Google Shape;11813;p61"/>
            <p:cNvSpPr/>
            <p:nvPr/>
          </p:nvSpPr>
          <p:spPr>
            <a:xfrm>
              <a:off x="3185287" y="2578601"/>
              <a:ext cx="73593" cy="10201"/>
            </a:xfrm>
            <a:custGeom>
              <a:avLst/>
              <a:gdLst/>
              <a:ahLst/>
              <a:cxnLst/>
              <a:rect l="l" t="t" r="r" b="b"/>
              <a:pathLst>
                <a:path w="2323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0"/>
                    <a:pt x="2311" y="167"/>
                  </a:cubicBezTo>
                  <a:cubicBezTo>
                    <a:pt x="2323" y="72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4" name="Google Shape;11814;p61"/>
            <p:cNvSpPr/>
            <p:nvPr/>
          </p:nvSpPr>
          <p:spPr>
            <a:xfrm>
              <a:off x="3185287" y="2591811"/>
              <a:ext cx="73212" cy="10201"/>
            </a:xfrm>
            <a:custGeom>
              <a:avLst/>
              <a:gdLst/>
              <a:ahLst/>
              <a:cxnLst/>
              <a:rect l="l" t="t" r="r" b="b"/>
              <a:pathLst>
                <a:path w="2311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0"/>
                    <a:pt x="2311" y="167"/>
                  </a:cubicBezTo>
                  <a:cubicBezTo>
                    <a:pt x="2311" y="72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5" name="Google Shape;11815;p61"/>
            <p:cNvSpPr/>
            <p:nvPr/>
          </p:nvSpPr>
          <p:spPr>
            <a:xfrm>
              <a:off x="3141537" y="2609520"/>
              <a:ext cx="37763" cy="37382"/>
            </a:xfrm>
            <a:custGeom>
              <a:avLst/>
              <a:gdLst/>
              <a:ahLst/>
              <a:cxnLst/>
              <a:rect l="l" t="t" r="r" b="b"/>
              <a:pathLst>
                <a:path w="1192" h="1180" extrusionOk="0">
                  <a:moveTo>
                    <a:pt x="846" y="346"/>
                  </a:moveTo>
                  <a:lnTo>
                    <a:pt x="846" y="858"/>
                  </a:lnTo>
                  <a:lnTo>
                    <a:pt x="346" y="858"/>
                  </a:lnTo>
                  <a:lnTo>
                    <a:pt x="346" y="346"/>
                  </a:lnTo>
                  <a:close/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13"/>
                  </a:lnTo>
                  <a:cubicBezTo>
                    <a:pt x="1" y="1108"/>
                    <a:pt x="72" y="1179"/>
                    <a:pt x="156" y="1179"/>
                  </a:cubicBezTo>
                  <a:lnTo>
                    <a:pt x="1013" y="1179"/>
                  </a:lnTo>
                  <a:cubicBezTo>
                    <a:pt x="1096" y="1179"/>
                    <a:pt x="1180" y="1108"/>
                    <a:pt x="1180" y="1013"/>
                  </a:cubicBezTo>
                  <a:lnTo>
                    <a:pt x="1180" y="167"/>
                  </a:lnTo>
                  <a:cubicBezTo>
                    <a:pt x="1191" y="72"/>
                    <a:pt x="1096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6" name="Google Shape;11816;p61"/>
            <p:cNvSpPr/>
            <p:nvPr/>
          </p:nvSpPr>
          <p:spPr>
            <a:xfrm>
              <a:off x="3185287" y="2609520"/>
              <a:ext cx="73212" cy="10613"/>
            </a:xfrm>
            <a:custGeom>
              <a:avLst/>
              <a:gdLst/>
              <a:ahLst/>
              <a:cxnLst/>
              <a:rect l="l" t="t" r="r" b="b"/>
              <a:pathLst>
                <a:path w="2311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2144" y="334"/>
                  </a:lnTo>
                  <a:cubicBezTo>
                    <a:pt x="2239" y="334"/>
                    <a:pt x="2311" y="263"/>
                    <a:pt x="2311" y="167"/>
                  </a:cubicBezTo>
                  <a:cubicBezTo>
                    <a:pt x="2311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7" name="Google Shape;11817;p61"/>
            <p:cNvSpPr/>
            <p:nvPr/>
          </p:nvSpPr>
          <p:spPr>
            <a:xfrm>
              <a:off x="3185287" y="2622731"/>
              <a:ext cx="73212" cy="10581"/>
            </a:xfrm>
            <a:custGeom>
              <a:avLst/>
              <a:gdLst/>
              <a:ahLst/>
              <a:cxnLst/>
              <a:rect l="l" t="t" r="r" b="b"/>
              <a:pathLst>
                <a:path w="2311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2144" y="334"/>
                  </a:lnTo>
                  <a:cubicBezTo>
                    <a:pt x="2239" y="334"/>
                    <a:pt x="2311" y="262"/>
                    <a:pt x="2311" y="167"/>
                  </a:cubicBezTo>
                  <a:cubicBezTo>
                    <a:pt x="2311" y="84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8" name="Google Shape;11818;p61"/>
            <p:cNvSpPr/>
            <p:nvPr/>
          </p:nvSpPr>
          <p:spPr>
            <a:xfrm>
              <a:off x="3185287" y="2636670"/>
              <a:ext cx="73212" cy="10233"/>
            </a:xfrm>
            <a:custGeom>
              <a:avLst/>
              <a:gdLst/>
              <a:ahLst/>
              <a:cxnLst/>
              <a:rect l="l" t="t" r="r" b="b"/>
              <a:pathLst>
                <a:path w="2311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1"/>
                    <a:pt x="2311" y="156"/>
                  </a:cubicBezTo>
                  <a:cubicBezTo>
                    <a:pt x="2311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9" name="Google Shape;11819;p61"/>
            <p:cNvSpPr/>
            <p:nvPr/>
          </p:nvSpPr>
          <p:spPr>
            <a:xfrm>
              <a:off x="3330509" y="2471839"/>
              <a:ext cx="82653" cy="82653"/>
            </a:xfrm>
            <a:custGeom>
              <a:avLst/>
              <a:gdLst/>
              <a:ahLst/>
              <a:cxnLst/>
              <a:rect l="l" t="t" r="r" b="b"/>
              <a:pathLst>
                <a:path w="2609" h="2609" extrusionOk="0">
                  <a:moveTo>
                    <a:pt x="346" y="1287"/>
                  </a:moveTo>
                  <a:lnTo>
                    <a:pt x="429" y="1323"/>
                  </a:lnTo>
                  <a:cubicBezTo>
                    <a:pt x="668" y="1418"/>
                    <a:pt x="727" y="1501"/>
                    <a:pt x="727" y="1549"/>
                  </a:cubicBezTo>
                  <a:cubicBezTo>
                    <a:pt x="727" y="1573"/>
                    <a:pt x="668" y="1656"/>
                    <a:pt x="465" y="1775"/>
                  </a:cubicBezTo>
                  <a:cubicBezTo>
                    <a:pt x="394" y="1644"/>
                    <a:pt x="346" y="1489"/>
                    <a:pt x="346" y="1334"/>
                  </a:cubicBezTo>
                  <a:lnTo>
                    <a:pt x="346" y="1311"/>
                  </a:lnTo>
                  <a:lnTo>
                    <a:pt x="346" y="1287"/>
                  </a:lnTo>
                  <a:close/>
                  <a:moveTo>
                    <a:pt x="1203" y="346"/>
                  </a:moveTo>
                  <a:cubicBezTo>
                    <a:pt x="1191" y="358"/>
                    <a:pt x="1180" y="394"/>
                    <a:pt x="1168" y="406"/>
                  </a:cubicBezTo>
                  <a:cubicBezTo>
                    <a:pt x="1025" y="632"/>
                    <a:pt x="1108" y="799"/>
                    <a:pt x="1168" y="882"/>
                  </a:cubicBezTo>
                  <a:cubicBezTo>
                    <a:pt x="1311" y="1096"/>
                    <a:pt x="1525" y="1132"/>
                    <a:pt x="1668" y="1168"/>
                  </a:cubicBezTo>
                  <a:cubicBezTo>
                    <a:pt x="1846" y="1203"/>
                    <a:pt x="1858" y="1203"/>
                    <a:pt x="1882" y="1334"/>
                  </a:cubicBezTo>
                  <a:cubicBezTo>
                    <a:pt x="1882" y="1430"/>
                    <a:pt x="1703" y="1549"/>
                    <a:pt x="1525" y="1656"/>
                  </a:cubicBezTo>
                  <a:cubicBezTo>
                    <a:pt x="1299" y="1787"/>
                    <a:pt x="1049" y="1954"/>
                    <a:pt x="953" y="2192"/>
                  </a:cubicBezTo>
                  <a:cubicBezTo>
                    <a:pt x="870" y="2156"/>
                    <a:pt x="787" y="2120"/>
                    <a:pt x="715" y="2061"/>
                  </a:cubicBezTo>
                  <a:cubicBezTo>
                    <a:pt x="703" y="2037"/>
                    <a:pt x="691" y="2025"/>
                    <a:pt x="668" y="2025"/>
                  </a:cubicBezTo>
                  <a:cubicBezTo>
                    <a:pt x="941" y="1882"/>
                    <a:pt x="1060" y="1704"/>
                    <a:pt x="1060" y="1525"/>
                  </a:cubicBezTo>
                  <a:cubicBezTo>
                    <a:pt x="1060" y="1370"/>
                    <a:pt x="965" y="1168"/>
                    <a:pt x="549" y="1001"/>
                  </a:cubicBezTo>
                  <a:cubicBezTo>
                    <a:pt x="513" y="989"/>
                    <a:pt x="453" y="953"/>
                    <a:pt x="418" y="930"/>
                  </a:cubicBezTo>
                  <a:cubicBezTo>
                    <a:pt x="549" y="596"/>
                    <a:pt x="870" y="394"/>
                    <a:pt x="1203" y="346"/>
                  </a:cubicBezTo>
                  <a:close/>
                  <a:moveTo>
                    <a:pt x="1644" y="394"/>
                  </a:moveTo>
                  <a:cubicBezTo>
                    <a:pt x="1858" y="465"/>
                    <a:pt x="2049" y="644"/>
                    <a:pt x="2180" y="858"/>
                  </a:cubicBezTo>
                  <a:cubicBezTo>
                    <a:pt x="2251" y="989"/>
                    <a:pt x="2275" y="1132"/>
                    <a:pt x="2275" y="1299"/>
                  </a:cubicBezTo>
                  <a:cubicBezTo>
                    <a:pt x="2251" y="1668"/>
                    <a:pt x="2061" y="2001"/>
                    <a:pt x="1727" y="2168"/>
                  </a:cubicBezTo>
                  <a:cubicBezTo>
                    <a:pt x="1596" y="2239"/>
                    <a:pt x="1441" y="2263"/>
                    <a:pt x="1299" y="2263"/>
                  </a:cubicBezTo>
                  <a:cubicBezTo>
                    <a:pt x="1370" y="2168"/>
                    <a:pt x="1501" y="2061"/>
                    <a:pt x="1703" y="1942"/>
                  </a:cubicBezTo>
                  <a:cubicBezTo>
                    <a:pt x="1942" y="1787"/>
                    <a:pt x="2215" y="1608"/>
                    <a:pt x="2203" y="1311"/>
                  </a:cubicBezTo>
                  <a:cubicBezTo>
                    <a:pt x="2192" y="930"/>
                    <a:pt x="1918" y="870"/>
                    <a:pt x="1739" y="822"/>
                  </a:cubicBezTo>
                  <a:cubicBezTo>
                    <a:pt x="1620" y="799"/>
                    <a:pt x="1501" y="775"/>
                    <a:pt x="1441" y="680"/>
                  </a:cubicBezTo>
                  <a:cubicBezTo>
                    <a:pt x="1418" y="632"/>
                    <a:pt x="1465" y="537"/>
                    <a:pt x="1644" y="394"/>
                  </a:cubicBezTo>
                  <a:close/>
                  <a:moveTo>
                    <a:pt x="1299" y="1"/>
                  </a:moveTo>
                  <a:cubicBezTo>
                    <a:pt x="727" y="1"/>
                    <a:pt x="227" y="358"/>
                    <a:pt x="60" y="918"/>
                  </a:cubicBezTo>
                  <a:cubicBezTo>
                    <a:pt x="13" y="1037"/>
                    <a:pt x="1" y="1168"/>
                    <a:pt x="1" y="1299"/>
                  </a:cubicBezTo>
                  <a:lnTo>
                    <a:pt x="1" y="1334"/>
                  </a:lnTo>
                  <a:cubicBezTo>
                    <a:pt x="1" y="1608"/>
                    <a:pt x="96" y="1870"/>
                    <a:pt x="275" y="2085"/>
                  </a:cubicBezTo>
                  <a:lnTo>
                    <a:pt x="275" y="2108"/>
                  </a:lnTo>
                  <a:cubicBezTo>
                    <a:pt x="346" y="2192"/>
                    <a:pt x="418" y="2263"/>
                    <a:pt x="513" y="2346"/>
                  </a:cubicBezTo>
                  <a:cubicBezTo>
                    <a:pt x="656" y="2466"/>
                    <a:pt x="846" y="2537"/>
                    <a:pt x="1049" y="2585"/>
                  </a:cubicBezTo>
                  <a:cubicBezTo>
                    <a:pt x="1120" y="2596"/>
                    <a:pt x="1203" y="2608"/>
                    <a:pt x="1299" y="2608"/>
                  </a:cubicBezTo>
                  <a:cubicBezTo>
                    <a:pt x="1501" y="2608"/>
                    <a:pt x="1703" y="2561"/>
                    <a:pt x="1894" y="2477"/>
                  </a:cubicBezTo>
                  <a:cubicBezTo>
                    <a:pt x="2323" y="2251"/>
                    <a:pt x="2608" y="1811"/>
                    <a:pt x="2608" y="1311"/>
                  </a:cubicBezTo>
                  <a:cubicBezTo>
                    <a:pt x="2596" y="1096"/>
                    <a:pt x="2549" y="894"/>
                    <a:pt x="2442" y="703"/>
                  </a:cubicBezTo>
                  <a:cubicBezTo>
                    <a:pt x="2275" y="370"/>
                    <a:pt x="1965" y="144"/>
                    <a:pt x="1620" y="49"/>
                  </a:cubicBezTo>
                  <a:cubicBezTo>
                    <a:pt x="1525" y="13"/>
                    <a:pt x="1406" y="1"/>
                    <a:pt x="1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20" name="Google Shape;11820;p61"/>
          <p:cNvGrpSpPr/>
          <p:nvPr/>
        </p:nvGrpSpPr>
        <p:grpSpPr>
          <a:xfrm>
            <a:off x="2633105" y="2431859"/>
            <a:ext cx="363243" cy="328585"/>
            <a:chOff x="2633105" y="2431859"/>
            <a:chExt cx="363243" cy="328585"/>
          </a:xfrm>
        </p:grpSpPr>
        <p:sp>
          <p:nvSpPr>
            <p:cNvPr id="11821" name="Google Shape;11821;p61"/>
            <p:cNvSpPr/>
            <p:nvPr/>
          </p:nvSpPr>
          <p:spPr>
            <a:xfrm>
              <a:off x="2633105" y="2498260"/>
              <a:ext cx="250462" cy="262184"/>
            </a:xfrm>
            <a:custGeom>
              <a:avLst/>
              <a:gdLst/>
              <a:ahLst/>
              <a:cxnLst/>
              <a:rect l="l" t="t" r="r" b="b"/>
              <a:pathLst>
                <a:path w="7906" h="8276" extrusionOk="0">
                  <a:moveTo>
                    <a:pt x="5322" y="6644"/>
                  </a:moveTo>
                  <a:lnTo>
                    <a:pt x="5465" y="7263"/>
                  </a:lnTo>
                  <a:lnTo>
                    <a:pt x="4560" y="7263"/>
                  </a:lnTo>
                  <a:lnTo>
                    <a:pt x="4691" y="6644"/>
                  </a:lnTo>
                  <a:close/>
                  <a:moveTo>
                    <a:pt x="6465" y="7608"/>
                  </a:moveTo>
                  <a:lnTo>
                    <a:pt x="6465" y="7954"/>
                  </a:lnTo>
                  <a:lnTo>
                    <a:pt x="3548" y="7954"/>
                  </a:lnTo>
                  <a:lnTo>
                    <a:pt x="3548" y="7608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6489"/>
                  </a:lnTo>
                  <a:cubicBezTo>
                    <a:pt x="0" y="6585"/>
                    <a:pt x="84" y="6656"/>
                    <a:pt x="167" y="6656"/>
                  </a:cubicBezTo>
                  <a:lnTo>
                    <a:pt x="4346" y="6656"/>
                  </a:lnTo>
                  <a:lnTo>
                    <a:pt x="4203" y="7287"/>
                  </a:lnTo>
                  <a:lnTo>
                    <a:pt x="3370" y="7287"/>
                  </a:lnTo>
                  <a:cubicBezTo>
                    <a:pt x="3274" y="7287"/>
                    <a:pt x="3203" y="7358"/>
                    <a:pt x="3203" y="7442"/>
                  </a:cubicBezTo>
                  <a:lnTo>
                    <a:pt x="3203" y="8120"/>
                  </a:lnTo>
                  <a:cubicBezTo>
                    <a:pt x="3203" y="8204"/>
                    <a:pt x="3274" y="8275"/>
                    <a:pt x="3370" y="8275"/>
                  </a:cubicBezTo>
                  <a:lnTo>
                    <a:pt x="6632" y="8275"/>
                  </a:lnTo>
                  <a:cubicBezTo>
                    <a:pt x="6715" y="8275"/>
                    <a:pt x="6787" y="8204"/>
                    <a:pt x="6787" y="8120"/>
                  </a:cubicBezTo>
                  <a:lnTo>
                    <a:pt x="6787" y="7442"/>
                  </a:lnTo>
                  <a:cubicBezTo>
                    <a:pt x="6787" y="7358"/>
                    <a:pt x="6715" y="7287"/>
                    <a:pt x="6632" y="7287"/>
                  </a:cubicBezTo>
                  <a:lnTo>
                    <a:pt x="5787" y="7287"/>
                  </a:lnTo>
                  <a:lnTo>
                    <a:pt x="5644" y="6656"/>
                  </a:lnTo>
                  <a:lnTo>
                    <a:pt x="7727" y="6656"/>
                  </a:lnTo>
                  <a:cubicBezTo>
                    <a:pt x="7823" y="6656"/>
                    <a:pt x="7894" y="6585"/>
                    <a:pt x="7894" y="6489"/>
                  </a:cubicBezTo>
                  <a:cubicBezTo>
                    <a:pt x="7906" y="6394"/>
                    <a:pt x="7834" y="6311"/>
                    <a:pt x="7739" y="6311"/>
                  </a:cubicBezTo>
                  <a:lnTo>
                    <a:pt x="345" y="6311"/>
                  </a:lnTo>
                  <a:lnTo>
                    <a:pt x="345" y="334"/>
                  </a:lnTo>
                  <a:lnTo>
                    <a:pt x="4763" y="334"/>
                  </a:lnTo>
                  <a:cubicBezTo>
                    <a:pt x="4858" y="334"/>
                    <a:pt x="4929" y="262"/>
                    <a:pt x="4929" y="167"/>
                  </a:cubicBezTo>
                  <a:cubicBezTo>
                    <a:pt x="4929" y="72"/>
                    <a:pt x="4858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2" name="Google Shape;11822;p61"/>
            <p:cNvSpPr/>
            <p:nvPr/>
          </p:nvSpPr>
          <p:spPr>
            <a:xfrm>
              <a:off x="2772655" y="2680800"/>
              <a:ext cx="38491" cy="10613"/>
            </a:xfrm>
            <a:custGeom>
              <a:avLst/>
              <a:gdLst/>
              <a:ahLst/>
              <a:cxnLst/>
              <a:rect l="l" t="t" r="r" b="b"/>
              <a:pathLst>
                <a:path w="1215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048" y="334"/>
                  </a:lnTo>
                  <a:cubicBezTo>
                    <a:pt x="1132" y="334"/>
                    <a:pt x="1215" y="251"/>
                    <a:pt x="1215" y="168"/>
                  </a:cubicBezTo>
                  <a:cubicBezTo>
                    <a:pt x="1215" y="72"/>
                    <a:pt x="1132" y="1"/>
                    <a:pt x="10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3" name="Google Shape;11823;p61"/>
            <p:cNvSpPr/>
            <p:nvPr/>
          </p:nvSpPr>
          <p:spPr>
            <a:xfrm>
              <a:off x="2729286" y="2583131"/>
              <a:ext cx="35862" cy="35862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798" y="334"/>
                  </a:moveTo>
                  <a:lnTo>
                    <a:pt x="798" y="810"/>
                  </a:lnTo>
                  <a:lnTo>
                    <a:pt x="334" y="810"/>
                  </a:lnTo>
                  <a:lnTo>
                    <a:pt x="334" y="334"/>
                  </a:lnTo>
                  <a:close/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84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31" y="84"/>
                    <a:pt x="1060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4" name="Google Shape;11824;p61"/>
            <p:cNvSpPr/>
            <p:nvPr/>
          </p:nvSpPr>
          <p:spPr>
            <a:xfrm>
              <a:off x="2774176" y="2583131"/>
              <a:ext cx="35482" cy="35862"/>
            </a:xfrm>
            <a:custGeom>
              <a:avLst/>
              <a:gdLst/>
              <a:ahLst/>
              <a:cxnLst/>
              <a:rect l="l" t="t" r="r" b="b"/>
              <a:pathLst>
                <a:path w="1120" h="1132" extrusionOk="0">
                  <a:moveTo>
                    <a:pt x="786" y="334"/>
                  </a:moveTo>
                  <a:lnTo>
                    <a:pt x="786" y="810"/>
                  </a:lnTo>
                  <a:lnTo>
                    <a:pt x="333" y="810"/>
                  </a:lnTo>
                  <a:lnTo>
                    <a:pt x="333" y="334"/>
                  </a:lnTo>
                  <a:close/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72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19" y="84"/>
                    <a:pt x="1036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5" name="Google Shape;11825;p61"/>
            <p:cNvSpPr/>
            <p:nvPr/>
          </p:nvSpPr>
          <p:spPr>
            <a:xfrm>
              <a:off x="2817926" y="2583131"/>
              <a:ext cx="35862" cy="35862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798" y="334"/>
                  </a:moveTo>
                  <a:lnTo>
                    <a:pt x="798" y="810"/>
                  </a:lnTo>
                  <a:lnTo>
                    <a:pt x="334" y="810"/>
                  </a:lnTo>
                  <a:lnTo>
                    <a:pt x="334" y="334"/>
                  </a:lnTo>
                  <a:close/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84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31" y="84"/>
                    <a:pt x="1060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6" name="Google Shape;11826;p61"/>
            <p:cNvSpPr/>
            <p:nvPr/>
          </p:nvSpPr>
          <p:spPr>
            <a:xfrm>
              <a:off x="2653475" y="2431859"/>
              <a:ext cx="342873" cy="275394"/>
            </a:xfrm>
            <a:custGeom>
              <a:avLst/>
              <a:gdLst/>
              <a:ahLst/>
              <a:cxnLst/>
              <a:rect l="l" t="t" r="r" b="b"/>
              <a:pathLst>
                <a:path w="10823" h="8693" extrusionOk="0">
                  <a:moveTo>
                    <a:pt x="6429" y="3001"/>
                  </a:moveTo>
                  <a:cubicBezTo>
                    <a:pt x="6715" y="3870"/>
                    <a:pt x="7489" y="4513"/>
                    <a:pt x="8406" y="4585"/>
                  </a:cubicBezTo>
                  <a:lnTo>
                    <a:pt x="8406" y="7359"/>
                  </a:lnTo>
                  <a:lnTo>
                    <a:pt x="310" y="7359"/>
                  </a:lnTo>
                  <a:lnTo>
                    <a:pt x="310" y="3001"/>
                  </a:lnTo>
                  <a:close/>
                  <a:moveTo>
                    <a:pt x="8608" y="1"/>
                  </a:moveTo>
                  <a:cubicBezTo>
                    <a:pt x="7430" y="1"/>
                    <a:pt x="6477" y="906"/>
                    <a:pt x="6358" y="2073"/>
                  </a:cubicBezTo>
                  <a:lnTo>
                    <a:pt x="4798" y="2073"/>
                  </a:lnTo>
                  <a:cubicBezTo>
                    <a:pt x="4703" y="2073"/>
                    <a:pt x="4632" y="2144"/>
                    <a:pt x="4632" y="2239"/>
                  </a:cubicBezTo>
                  <a:cubicBezTo>
                    <a:pt x="4632" y="2323"/>
                    <a:pt x="4703" y="2394"/>
                    <a:pt x="4798" y="2394"/>
                  </a:cubicBezTo>
                  <a:lnTo>
                    <a:pt x="6334" y="2394"/>
                  </a:lnTo>
                  <a:cubicBezTo>
                    <a:pt x="6334" y="2489"/>
                    <a:pt x="6358" y="2561"/>
                    <a:pt x="6370" y="2656"/>
                  </a:cubicBezTo>
                  <a:lnTo>
                    <a:pt x="167" y="2656"/>
                  </a:lnTo>
                  <a:cubicBezTo>
                    <a:pt x="72" y="2656"/>
                    <a:pt x="0" y="2727"/>
                    <a:pt x="0" y="2811"/>
                  </a:cubicBezTo>
                  <a:lnTo>
                    <a:pt x="0" y="7502"/>
                  </a:lnTo>
                  <a:cubicBezTo>
                    <a:pt x="0" y="7597"/>
                    <a:pt x="72" y="7668"/>
                    <a:pt x="167" y="7668"/>
                  </a:cubicBezTo>
                  <a:lnTo>
                    <a:pt x="8608" y="7668"/>
                  </a:lnTo>
                  <a:cubicBezTo>
                    <a:pt x="8692" y="7668"/>
                    <a:pt x="8763" y="7597"/>
                    <a:pt x="8763" y="7502"/>
                  </a:cubicBezTo>
                  <a:lnTo>
                    <a:pt x="8763" y="4561"/>
                  </a:lnTo>
                  <a:cubicBezTo>
                    <a:pt x="8858" y="4561"/>
                    <a:pt x="8966" y="4537"/>
                    <a:pt x="9049" y="4513"/>
                  </a:cubicBezTo>
                  <a:lnTo>
                    <a:pt x="9049" y="8371"/>
                  </a:lnTo>
                  <a:lnTo>
                    <a:pt x="7787" y="8371"/>
                  </a:lnTo>
                  <a:cubicBezTo>
                    <a:pt x="7692" y="8371"/>
                    <a:pt x="7620" y="8442"/>
                    <a:pt x="7620" y="8526"/>
                  </a:cubicBezTo>
                  <a:cubicBezTo>
                    <a:pt x="7620" y="8621"/>
                    <a:pt x="7692" y="8692"/>
                    <a:pt x="7787" y="8692"/>
                  </a:cubicBezTo>
                  <a:lnTo>
                    <a:pt x="9216" y="8692"/>
                  </a:lnTo>
                  <a:cubicBezTo>
                    <a:pt x="9299" y="8692"/>
                    <a:pt x="9382" y="8621"/>
                    <a:pt x="9382" y="8526"/>
                  </a:cubicBezTo>
                  <a:lnTo>
                    <a:pt x="9382" y="4406"/>
                  </a:lnTo>
                  <a:cubicBezTo>
                    <a:pt x="9632" y="4323"/>
                    <a:pt x="9858" y="4180"/>
                    <a:pt x="10061" y="4001"/>
                  </a:cubicBezTo>
                  <a:cubicBezTo>
                    <a:pt x="10466" y="3644"/>
                    <a:pt x="10728" y="3168"/>
                    <a:pt x="10823" y="2632"/>
                  </a:cubicBezTo>
                  <a:cubicBezTo>
                    <a:pt x="10823" y="2596"/>
                    <a:pt x="10763" y="2501"/>
                    <a:pt x="10668" y="2489"/>
                  </a:cubicBezTo>
                  <a:cubicBezTo>
                    <a:pt x="10656" y="2486"/>
                    <a:pt x="10643" y="2484"/>
                    <a:pt x="10630" y="2484"/>
                  </a:cubicBezTo>
                  <a:cubicBezTo>
                    <a:pt x="10558" y="2484"/>
                    <a:pt x="10488" y="2539"/>
                    <a:pt x="10478" y="2620"/>
                  </a:cubicBezTo>
                  <a:cubicBezTo>
                    <a:pt x="10359" y="3358"/>
                    <a:pt x="9835" y="3942"/>
                    <a:pt x="9168" y="4156"/>
                  </a:cubicBezTo>
                  <a:lnTo>
                    <a:pt x="9144" y="4156"/>
                  </a:lnTo>
                  <a:cubicBezTo>
                    <a:pt x="8966" y="4216"/>
                    <a:pt x="8763" y="4239"/>
                    <a:pt x="8573" y="4239"/>
                  </a:cubicBezTo>
                  <a:cubicBezTo>
                    <a:pt x="7513" y="4239"/>
                    <a:pt x="6656" y="3358"/>
                    <a:pt x="6656" y="2287"/>
                  </a:cubicBezTo>
                  <a:cubicBezTo>
                    <a:pt x="6656" y="1215"/>
                    <a:pt x="7513" y="346"/>
                    <a:pt x="8573" y="346"/>
                  </a:cubicBezTo>
                  <a:cubicBezTo>
                    <a:pt x="9513" y="346"/>
                    <a:pt x="10335" y="1061"/>
                    <a:pt x="10478" y="1989"/>
                  </a:cubicBezTo>
                  <a:cubicBezTo>
                    <a:pt x="10490" y="2084"/>
                    <a:pt x="10585" y="2144"/>
                    <a:pt x="10668" y="2144"/>
                  </a:cubicBezTo>
                  <a:cubicBezTo>
                    <a:pt x="10763" y="2132"/>
                    <a:pt x="10823" y="2037"/>
                    <a:pt x="10823" y="1953"/>
                  </a:cubicBezTo>
                  <a:cubicBezTo>
                    <a:pt x="10751" y="1418"/>
                    <a:pt x="10478" y="918"/>
                    <a:pt x="10073" y="572"/>
                  </a:cubicBezTo>
                  <a:cubicBezTo>
                    <a:pt x="9656" y="215"/>
                    <a:pt x="9144" y="1"/>
                    <a:pt x="8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7" name="Google Shape;11827;p61"/>
            <p:cNvSpPr/>
            <p:nvPr/>
          </p:nvSpPr>
          <p:spPr>
            <a:xfrm>
              <a:off x="2881286" y="2460529"/>
              <a:ext cx="87532" cy="87912"/>
            </a:xfrm>
            <a:custGeom>
              <a:avLst/>
              <a:gdLst/>
              <a:ahLst/>
              <a:cxnLst/>
              <a:rect l="l" t="t" r="r" b="b"/>
              <a:pathLst>
                <a:path w="2763" h="2775" extrusionOk="0">
                  <a:moveTo>
                    <a:pt x="1414" y="703"/>
                  </a:moveTo>
                  <a:cubicBezTo>
                    <a:pt x="1786" y="703"/>
                    <a:pt x="2084" y="1020"/>
                    <a:pt x="2084" y="1406"/>
                  </a:cubicBezTo>
                  <a:cubicBezTo>
                    <a:pt x="2084" y="1787"/>
                    <a:pt x="1775" y="2108"/>
                    <a:pt x="1394" y="2108"/>
                  </a:cubicBezTo>
                  <a:cubicBezTo>
                    <a:pt x="1013" y="2108"/>
                    <a:pt x="715" y="1787"/>
                    <a:pt x="715" y="1406"/>
                  </a:cubicBezTo>
                  <a:cubicBezTo>
                    <a:pt x="715" y="1013"/>
                    <a:pt x="1024" y="703"/>
                    <a:pt x="1394" y="703"/>
                  </a:cubicBezTo>
                  <a:cubicBezTo>
                    <a:pt x="1400" y="703"/>
                    <a:pt x="1407" y="703"/>
                    <a:pt x="1414" y="703"/>
                  </a:cubicBezTo>
                  <a:close/>
                  <a:moveTo>
                    <a:pt x="1382" y="1"/>
                  </a:moveTo>
                  <a:cubicBezTo>
                    <a:pt x="1286" y="1"/>
                    <a:pt x="1215" y="72"/>
                    <a:pt x="1215" y="167"/>
                  </a:cubicBezTo>
                  <a:lnTo>
                    <a:pt x="1215" y="370"/>
                  </a:lnTo>
                  <a:cubicBezTo>
                    <a:pt x="1048" y="406"/>
                    <a:pt x="917" y="465"/>
                    <a:pt x="786" y="560"/>
                  </a:cubicBezTo>
                  <a:lnTo>
                    <a:pt x="632" y="406"/>
                  </a:lnTo>
                  <a:cubicBezTo>
                    <a:pt x="607" y="374"/>
                    <a:pt x="559" y="356"/>
                    <a:pt x="511" y="356"/>
                  </a:cubicBezTo>
                  <a:cubicBezTo>
                    <a:pt x="467" y="356"/>
                    <a:pt x="422" y="371"/>
                    <a:pt x="393" y="406"/>
                  </a:cubicBezTo>
                  <a:cubicBezTo>
                    <a:pt x="334" y="465"/>
                    <a:pt x="322" y="584"/>
                    <a:pt x="393" y="644"/>
                  </a:cubicBezTo>
                  <a:lnTo>
                    <a:pt x="548" y="798"/>
                  </a:lnTo>
                  <a:cubicBezTo>
                    <a:pt x="453" y="929"/>
                    <a:pt x="393" y="1072"/>
                    <a:pt x="370" y="1227"/>
                  </a:cubicBezTo>
                  <a:lnTo>
                    <a:pt x="155" y="1227"/>
                  </a:lnTo>
                  <a:cubicBezTo>
                    <a:pt x="72" y="1227"/>
                    <a:pt x="0" y="1299"/>
                    <a:pt x="0" y="1394"/>
                  </a:cubicBezTo>
                  <a:cubicBezTo>
                    <a:pt x="0" y="1477"/>
                    <a:pt x="72" y="1549"/>
                    <a:pt x="155" y="1549"/>
                  </a:cubicBezTo>
                  <a:lnTo>
                    <a:pt x="370" y="1549"/>
                  </a:lnTo>
                  <a:cubicBezTo>
                    <a:pt x="393" y="1715"/>
                    <a:pt x="453" y="1870"/>
                    <a:pt x="548" y="1989"/>
                  </a:cubicBezTo>
                  <a:lnTo>
                    <a:pt x="393" y="2132"/>
                  </a:lnTo>
                  <a:cubicBezTo>
                    <a:pt x="334" y="2191"/>
                    <a:pt x="334" y="2311"/>
                    <a:pt x="393" y="2370"/>
                  </a:cubicBezTo>
                  <a:cubicBezTo>
                    <a:pt x="429" y="2406"/>
                    <a:pt x="477" y="2418"/>
                    <a:pt x="512" y="2418"/>
                  </a:cubicBezTo>
                  <a:cubicBezTo>
                    <a:pt x="560" y="2418"/>
                    <a:pt x="608" y="2394"/>
                    <a:pt x="632" y="2370"/>
                  </a:cubicBezTo>
                  <a:lnTo>
                    <a:pt x="786" y="2227"/>
                  </a:lnTo>
                  <a:cubicBezTo>
                    <a:pt x="905" y="2311"/>
                    <a:pt x="1048" y="2370"/>
                    <a:pt x="1215" y="2406"/>
                  </a:cubicBezTo>
                  <a:lnTo>
                    <a:pt x="1215" y="2608"/>
                  </a:lnTo>
                  <a:cubicBezTo>
                    <a:pt x="1215" y="2703"/>
                    <a:pt x="1286" y="2775"/>
                    <a:pt x="1382" y="2775"/>
                  </a:cubicBezTo>
                  <a:cubicBezTo>
                    <a:pt x="1465" y="2775"/>
                    <a:pt x="1548" y="2703"/>
                    <a:pt x="1548" y="2608"/>
                  </a:cubicBezTo>
                  <a:lnTo>
                    <a:pt x="1548" y="2430"/>
                  </a:lnTo>
                  <a:cubicBezTo>
                    <a:pt x="1703" y="2394"/>
                    <a:pt x="1846" y="2346"/>
                    <a:pt x="1977" y="2251"/>
                  </a:cubicBezTo>
                  <a:lnTo>
                    <a:pt x="2120" y="2394"/>
                  </a:lnTo>
                  <a:cubicBezTo>
                    <a:pt x="2156" y="2430"/>
                    <a:pt x="2203" y="2442"/>
                    <a:pt x="2239" y="2442"/>
                  </a:cubicBezTo>
                  <a:cubicBezTo>
                    <a:pt x="2286" y="2442"/>
                    <a:pt x="2334" y="2430"/>
                    <a:pt x="2358" y="2394"/>
                  </a:cubicBezTo>
                  <a:cubicBezTo>
                    <a:pt x="2417" y="2346"/>
                    <a:pt x="2441" y="2215"/>
                    <a:pt x="2358" y="2156"/>
                  </a:cubicBezTo>
                  <a:lnTo>
                    <a:pt x="2215" y="2013"/>
                  </a:lnTo>
                  <a:cubicBezTo>
                    <a:pt x="2298" y="1882"/>
                    <a:pt x="2358" y="1727"/>
                    <a:pt x="2394" y="1584"/>
                  </a:cubicBezTo>
                  <a:lnTo>
                    <a:pt x="2596" y="1584"/>
                  </a:lnTo>
                  <a:cubicBezTo>
                    <a:pt x="2691" y="1584"/>
                    <a:pt x="2763" y="1501"/>
                    <a:pt x="2763" y="1418"/>
                  </a:cubicBezTo>
                  <a:cubicBezTo>
                    <a:pt x="2763" y="1299"/>
                    <a:pt x="2691" y="1227"/>
                    <a:pt x="2608" y="1227"/>
                  </a:cubicBezTo>
                  <a:lnTo>
                    <a:pt x="2394" y="1227"/>
                  </a:lnTo>
                  <a:cubicBezTo>
                    <a:pt x="2370" y="1060"/>
                    <a:pt x="2310" y="906"/>
                    <a:pt x="2215" y="798"/>
                  </a:cubicBezTo>
                  <a:lnTo>
                    <a:pt x="2370" y="644"/>
                  </a:lnTo>
                  <a:cubicBezTo>
                    <a:pt x="2417" y="584"/>
                    <a:pt x="2417" y="465"/>
                    <a:pt x="2370" y="406"/>
                  </a:cubicBezTo>
                  <a:cubicBezTo>
                    <a:pt x="2340" y="376"/>
                    <a:pt x="2292" y="361"/>
                    <a:pt x="2245" y="361"/>
                  </a:cubicBezTo>
                  <a:cubicBezTo>
                    <a:pt x="2197" y="361"/>
                    <a:pt x="2150" y="376"/>
                    <a:pt x="2120" y="406"/>
                  </a:cubicBezTo>
                  <a:lnTo>
                    <a:pt x="1977" y="560"/>
                  </a:lnTo>
                  <a:cubicBezTo>
                    <a:pt x="1858" y="465"/>
                    <a:pt x="1715" y="406"/>
                    <a:pt x="1548" y="370"/>
                  </a:cubicBezTo>
                  <a:lnTo>
                    <a:pt x="1548" y="167"/>
                  </a:lnTo>
                  <a:cubicBezTo>
                    <a:pt x="1548" y="72"/>
                    <a:pt x="1477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8" name="Google Shape;11828;p61"/>
            <p:cNvSpPr/>
            <p:nvPr/>
          </p:nvSpPr>
          <p:spPr>
            <a:xfrm>
              <a:off x="2908436" y="2488059"/>
              <a:ext cx="33612" cy="33993"/>
            </a:xfrm>
            <a:custGeom>
              <a:avLst/>
              <a:gdLst/>
              <a:ahLst/>
              <a:cxnLst/>
              <a:rect l="l" t="t" r="r" b="b"/>
              <a:pathLst>
                <a:path w="1061" h="1073" extrusionOk="0">
                  <a:moveTo>
                    <a:pt x="525" y="346"/>
                  </a:moveTo>
                  <a:cubicBezTo>
                    <a:pt x="632" y="346"/>
                    <a:pt x="715" y="430"/>
                    <a:pt x="715" y="537"/>
                  </a:cubicBezTo>
                  <a:cubicBezTo>
                    <a:pt x="715" y="632"/>
                    <a:pt x="632" y="727"/>
                    <a:pt x="525" y="727"/>
                  </a:cubicBezTo>
                  <a:cubicBezTo>
                    <a:pt x="417" y="727"/>
                    <a:pt x="334" y="632"/>
                    <a:pt x="334" y="537"/>
                  </a:cubicBezTo>
                  <a:cubicBezTo>
                    <a:pt x="334" y="430"/>
                    <a:pt x="417" y="346"/>
                    <a:pt x="525" y="346"/>
                  </a:cubicBezTo>
                  <a:close/>
                  <a:moveTo>
                    <a:pt x="525" y="1"/>
                  </a:moveTo>
                  <a:cubicBezTo>
                    <a:pt x="239" y="1"/>
                    <a:pt x="1" y="239"/>
                    <a:pt x="1" y="537"/>
                  </a:cubicBezTo>
                  <a:cubicBezTo>
                    <a:pt x="1" y="834"/>
                    <a:pt x="239" y="1072"/>
                    <a:pt x="525" y="1072"/>
                  </a:cubicBezTo>
                  <a:cubicBezTo>
                    <a:pt x="810" y="1072"/>
                    <a:pt x="1048" y="834"/>
                    <a:pt x="1048" y="537"/>
                  </a:cubicBezTo>
                  <a:cubicBezTo>
                    <a:pt x="1060" y="239"/>
                    <a:pt x="822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29" name="Google Shape;11829;p61"/>
          <p:cNvGrpSpPr/>
          <p:nvPr/>
        </p:nvGrpSpPr>
        <p:grpSpPr>
          <a:xfrm>
            <a:off x="2189142" y="2421310"/>
            <a:ext cx="365904" cy="350064"/>
            <a:chOff x="2189142" y="2421310"/>
            <a:chExt cx="365904" cy="350064"/>
          </a:xfrm>
        </p:grpSpPr>
        <p:sp>
          <p:nvSpPr>
            <p:cNvPr id="11830" name="Google Shape;11830;p61"/>
            <p:cNvSpPr/>
            <p:nvPr/>
          </p:nvSpPr>
          <p:spPr>
            <a:xfrm>
              <a:off x="2400384" y="2421310"/>
              <a:ext cx="154662" cy="162613"/>
            </a:xfrm>
            <a:custGeom>
              <a:avLst/>
              <a:gdLst/>
              <a:ahLst/>
              <a:cxnLst/>
              <a:rect l="l" t="t" r="r" b="b"/>
              <a:pathLst>
                <a:path w="4882" h="5133" extrusionOk="0">
                  <a:moveTo>
                    <a:pt x="2482" y="0"/>
                  </a:moveTo>
                  <a:cubicBezTo>
                    <a:pt x="1731" y="0"/>
                    <a:pt x="996" y="363"/>
                    <a:pt x="548" y="1036"/>
                  </a:cubicBezTo>
                  <a:cubicBezTo>
                    <a:pt x="0" y="1870"/>
                    <a:pt x="24" y="2941"/>
                    <a:pt x="619" y="3727"/>
                  </a:cubicBezTo>
                  <a:lnTo>
                    <a:pt x="560" y="4953"/>
                  </a:lnTo>
                  <a:cubicBezTo>
                    <a:pt x="560" y="5013"/>
                    <a:pt x="595" y="5073"/>
                    <a:pt x="643" y="5096"/>
                  </a:cubicBezTo>
                  <a:cubicBezTo>
                    <a:pt x="667" y="5108"/>
                    <a:pt x="702" y="5132"/>
                    <a:pt x="726" y="5132"/>
                  </a:cubicBezTo>
                  <a:cubicBezTo>
                    <a:pt x="762" y="5132"/>
                    <a:pt x="774" y="5132"/>
                    <a:pt x="798" y="5108"/>
                  </a:cubicBezTo>
                  <a:lnTo>
                    <a:pt x="1905" y="4596"/>
                  </a:lnTo>
                  <a:cubicBezTo>
                    <a:pt x="2090" y="4640"/>
                    <a:pt x="2289" y="4665"/>
                    <a:pt x="2486" y="4665"/>
                  </a:cubicBezTo>
                  <a:cubicBezTo>
                    <a:pt x="2555" y="4665"/>
                    <a:pt x="2623" y="4662"/>
                    <a:pt x="2691" y="4656"/>
                  </a:cubicBezTo>
                  <a:cubicBezTo>
                    <a:pt x="2786" y="4632"/>
                    <a:pt x="2858" y="4561"/>
                    <a:pt x="2846" y="4477"/>
                  </a:cubicBezTo>
                  <a:cubicBezTo>
                    <a:pt x="2824" y="4389"/>
                    <a:pt x="2761" y="4321"/>
                    <a:pt x="2685" y="4321"/>
                  </a:cubicBezTo>
                  <a:cubicBezTo>
                    <a:pt x="2679" y="4321"/>
                    <a:pt x="2673" y="4322"/>
                    <a:pt x="2667" y="4322"/>
                  </a:cubicBezTo>
                  <a:cubicBezTo>
                    <a:pt x="2597" y="4332"/>
                    <a:pt x="2528" y="4336"/>
                    <a:pt x="2461" y="4336"/>
                  </a:cubicBezTo>
                  <a:cubicBezTo>
                    <a:pt x="2277" y="4336"/>
                    <a:pt x="2103" y="4303"/>
                    <a:pt x="1929" y="4251"/>
                  </a:cubicBezTo>
                  <a:cubicBezTo>
                    <a:pt x="1913" y="4240"/>
                    <a:pt x="1897" y="4234"/>
                    <a:pt x="1880" y="4234"/>
                  </a:cubicBezTo>
                  <a:cubicBezTo>
                    <a:pt x="1859" y="4234"/>
                    <a:pt x="1836" y="4243"/>
                    <a:pt x="1810" y="4263"/>
                  </a:cubicBezTo>
                  <a:lnTo>
                    <a:pt x="905" y="4680"/>
                  </a:lnTo>
                  <a:lnTo>
                    <a:pt x="953" y="3680"/>
                  </a:lnTo>
                  <a:cubicBezTo>
                    <a:pt x="953" y="3632"/>
                    <a:pt x="941" y="3608"/>
                    <a:pt x="917" y="3560"/>
                  </a:cubicBezTo>
                  <a:cubicBezTo>
                    <a:pt x="381" y="2882"/>
                    <a:pt x="345" y="1941"/>
                    <a:pt x="833" y="1215"/>
                  </a:cubicBezTo>
                  <a:cubicBezTo>
                    <a:pt x="1218" y="642"/>
                    <a:pt x="1855" y="327"/>
                    <a:pt x="2504" y="327"/>
                  </a:cubicBezTo>
                  <a:cubicBezTo>
                    <a:pt x="2880" y="327"/>
                    <a:pt x="3259" y="433"/>
                    <a:pt x="3596" y="655"/>
                  </a:cubicBezTo>
                  <a:cubicBezTo>
                    <a:pt x="4048" y="953"/>
                    <a:pt x="4346" y="1405"/>
                    <a:pt x="4453" y="1929"/>
                  </a:cubicBezTo>
                  <a:cubicBezTo>
                    <a:pt x="4548" y="2441"/>
                    <a:pt x="4453" y="2989"/>
                    <a:pt x="4155" y="3418"/>
                  </a:cubicBezTo>
                  <a:cubicBezTo>
                    <a:pt x="3941" y="3727"/>
                    <a:pt x="3643" y="3977"/>
                    <a:pt x="3286" y="4132"/>
                  </a:cubicBezTo>
                  <a:cubicBezTo>
                    <a:pt x="3203" y="4156"/>
                    <a:pt x="3167" y="4263"/>
                    <a:pt x="3203" y="4346"/>
                  </a:cubicBezTo>
                  <a:cubicBezTo>
                    <a:pt x="3221" y="4419"/>
                    <a:pt x="3288" y="4450"/>
                    <a:pt x="3356" y="4450"/>
                  </a:cubicBezTo>
                  <a:cubicBezTo>
                    <a:pt x="3376" y="4450"/>
                    <a:pt x="3397" y="4447"/>
                    <a:pt x="3417" y="4442"/>
                  </a:cubicBezTo>
                  <a:cubicBezTo>
                    <a:pt x="3834" y="4263"/>
                    <a:pt x="4179" y="3977"/>
                    <a:pt x="4429" y="3608"/>
                  </a:cubicBezTo>
                  <a:cubicBezTo>
                    <a:pt x="4763" y="3108"/>
                    <a:pt x="4882" y="2477"/>
                    <a:pt x="4763" y="1882"/>
                  </a:cubicBezTo>
                  <a:cubicBezTo>
                    <a:pt x="4643" y="1274"/>
                    <a:pt x="4286" y="751"/>
                    <a:pt x="3774" y="393"/>
                  </a:cubicBezTo>
                  <a:cubicBezTo>
                    <a:pt x="3376" y="128"/>
                    <a:pt x="2926" y="0"/>
                    <a:pt x="24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1" name="Google Shape;11831;p61"/>
            <p:cNvSpPr/>
            <p:nvPr/>
          </p:nvSpPr>
          <p:spPr>
            <a:xfrm>
              <a:off x="2292862" y="2724899"/>
              <a:ext cx="168252" cy="46475"/>
            </a:xfrm>
            <a:custGeom>
              <a:avLst/>
              <a:gdLst/>
              <a:ahLst/>
              <a:cxnLst/>
              <a:rect l="l" t="t" r="r" b="b"/>
              <a:pathLst>
                <a:path w="5311" h="1467" extrusionOk="0">
                  <a:moveTo>
                    <a:pt x="5139" y="1"/>
                  </a:moveTo>
                  <a:cubicBezTo>
                    <a:pt x="5133" y="1"/>
                    <a:pt x="5127" y="1"/>
                    <a:pt x="5120" y="2"/>
                  </a:cubicBezTo>
                  <a:cubicBezTo>
                    <a:pt x="5025" y="26"/>
                    <a:pt x="4954" y="97"/>
                    <a:pt x="4966" y="193"/>
                  </a:cubicBezTo>
                  <a:cubicBezTo>
                    <a:pt x="4966" y="264"/>
                    <a:pt x="4989" y="323"/>
                    <a:pt x="4989" y="395"/>
                  </a:cubicBezTo>
                  <a:lnTo>
                    <a:pt x="4989" y="1145"/>
                  </a:lnTo>
                  <a:lnTo>
                    <a:pt x="167" y="1145"/>
                  </a:lnTo>
                  <a:cubicBezTo>
                    <a:pt x="72" y="1145"/>
                    <a:pt x="1" y="1216"/>
                    <a:pt x="1" y="1300"/>
                  </a:cubicBezTo>
                  <a:cubicBezTo>
                    <a:pt x="1" y="1395"/>
                    <a:pt x="72" y="1466"/>
                    <a:pt x="167" y="1466"/>
                  </a:cubicBezTo>
                  <a:lnTo>
                    <a:pt x="5144" y="1466"/>
                  </a:lnTo>
                  <a:cubicBezTo>
                    <a:pt x="5239" y="1466"/>
                    <a:pt x="5311" y="1395"/>
                    <a:pt x="5311" y="1300"/>
                  </a:cubicBezTo>
                  <a:lnTo>
                    <a:pt x="5311" y="395"/>
                  </a:lnTo>
                  <a:cubicBezTo>
                    <a:pt x="5311" y="323"/>
                    <a:pt x="5311" y="252"/>
                    <a:pt x="5299" y="157"/>
                  </a:cubicBezTo>
                  <a:cubicBezTo>
                    <a:pt x="5288" y="69"/>
                    <a:pt x="5216" y="1"/>
                    <a:pt x="51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2" name="Google Shape;11832;p61"/>
            <p:cNvSpPr/>
            <p:nvPr/>
          </p:nvSpPr>
          <p:spPr>
            <a:xfrm>
              <a:off x="2189142" y="2460149"/>
              <a:ext cx="266714" cy="310844"/>
            </a:xfrm>
            <a:custGeom>
              <a:avLst/>
              <a:gdLst/>
              <a:ahLst/>
              <a:cxnLst/>
              <a:rect l="l" t="t" r="r" b="b"/>
              <a:pathLst>
                <a:path w="8419" h="9812" extrusionOk="0">
                  <a:moveTo>
                    <a:pt x="3525" y="787"/>
                  </a:moveTo>
                  <a:lnTo>
                    <a:pt x="3525" y="787"/>
                  </a:lnTo>
                  <a:cubicBezTo>
                    <a:pt x="3322" y="1382"/>
                    <a:pt x="2977" y="1703"/>
                    <a:pt x="2751" y="1834"/>
                  </a:cubicBezTo>
                  <a:cubicBezTo>
                    <a:pt x="2787" y="1358"/>
                    <a:pt x="3096" y="941"/>
                    <a:pt x="3525" y="787"/>
                  </a:cubicBezTo>
                  <a:close/>
                  <a:moveTo>
                    <a:pt x="4692" y="715"/>
                  </a:moveTo>
                  <a:cubicBezTo>
                    <a:pt x="5323" y="715"/>
                    <a:pt x="5846" y="1239"/>
                    <a:pt x="5846" y="1870"/>
                  </a:cubicBezTo>
                  <a:lnTo>
                    <a:pt x="5846" y="2608"/>
                  </a:lnTo>
                  <a:cubicBezTo>
                    <a:pt x="5168" y="2561"/>
                    <a:pt x="4644" y="2215"/>
                    <a:pt x="4299" y="1596"/>
                  </a:cubicBezTo>
                  <a:cubicBezTo>
                    <a:pt x="4108" y="1251"/>
                    <a:pt x="4013" y="906"/>
                    <a:pt x="3977" y="715"/>
                  </a:cubicBezTo>
                  <a:close/>
                  <a:moveTo>
                    <a:pt x="2048" y="2454"/>
                  </a:moveTo>
                  <a:lnTo>
                    <a:pt x="2048" y="3525"/>
                  </a:lnTo>
                  <a:cubicBezTo>
                    <a:pt x="1858" y="3454"/>
                    <a:pt x="1715" y="3275"/>
                    <a:pt x="1715" y="3049"/>
                  </a:cubicBezTo>
                  <a:lnTo>
                    <a:pt x="1715" y="2930"/>
                  </a:lnTo>
                  <a:cubicBezTo>
                    <a:pt x="1715" y="2704"/>
                    <a:pt x="1846" y="2525"/>
                    <a:pt x="2048" y="2454"/>
                  </a:cubicBezTo>
                  <a:close/>
                  <a:moveTo>
                    <a:pt x="6549" y="2454"/>
                  </a:moveTo>
                  <a:cubicBezTo>
                    <a:pt x="6739" y="2537"/>
                    <a:pt x="6894" y="2715"/>
                    <a:pt x="6894" y="2930"/>
                  </a:cubicBezTo>
                  <a:lnTo>
                    <a:pt x="6894" y="3049"/>
                  </a:lnTo>
                  <a:cubicBezTo>
                    <a:pt x="6894" y="3275"/>
                    <a:pt x="6751" y="3454"/>
                    <a:pt x="6549" y="3525"/>
                  </a:cubicBezTo>
                  <a:lnTo>
                    <a:pt x="6549" y="2454"/>
                  </a:lnTo>
                  <a:close/>
                  <a:moveTo>
                    <a:pt x="3739" y="1168"/>
                  </a:moveTo>
                  <a:cubicBezTo>
                    <a:pt x="3799" y="1346"/>
                    <a:pt x="3870" y="1549"/>
                    <a:pt x="3989" y="1763"/>
                  </a:cubicBezTo>
                  <a:cubicBezTo>
                    <a:pt x="4394" y="2489"/>
                    <a:pt x="5025" y="2906"/>
                    <a:pt x="5835" y="2954"/>
                  </a:cubicBezTo>
                  <a:lnTo>
                    <a:pt x="5835" y="3251"/>
                  </a:lnTo>
                  <a:cubicBezTo>
                    <a:pt x="5846" y="3894"/>
                    <a:pt x="5501" y="4489"/>
                    <a:pt x="4942" y="4835"/>
                  </a:cubicBezTo>
                  <a:lnTo>
                    <a:pt x="4692" y="4990"/>
                  </a:lnTo>
                  <a:cubicBezTo>
                    <a:pt x="4573" y="5055"/>
                    <a:pt x="4439" y="5088"/>
                    <a:pt x="4305" y="5088"/>
                  </a:cubicBezTo>
                  <a:cubicBezTo>
                    <a:pt x="4171" y="5088"/>
                    <a:pt x="4037" y="5055"/>
                    <a:pt x="3918" y="4990"/>
                  </a:cubicBezTo>
                  <a:lnTo>
                    <a:pt x="3656" y="4835"/>
                  </a:lnTo>
                  <a:cubicBezTo>
                    <a:pt x="3096" y="4513"/>
                    <a:pt x="2751" y="3906"/>
                    <a:pt x="2751" y="3251"/>
                  </a:cubicBezTo>
                  <a:lnTo>
                    <a:pt x="2751" y="2215"/>
                  </a:lnTo>
                  <a:cubicBezTo>
                    <a:pt x="2965" y="2108"/>
                    <a:pt x="3418" y="1834"/>
                    <a:pt x="3739" y="1168"/>
                  </a:cubicBezTo>
                  <a:close/>
                  <a:moveTo>
                    <a:pt x="4942" y="5228"/>
                  </a:moveTo>
                  <a:lnTo>
                    <a:pt x="4942" y="5656"/>
                  </a:lnTo>
                  <a:cubicBezTo>
                    <a:pt x="4894" y="5656"/>
                    <a:pt x="4834" y="5668"/>
                    <a:pt x="4787" y="5668"/>
                  </a:cubicBezTo>
                  <a:cubicBezTo>
                    <a:pt x="4751" y="5549"/>
                    <a:pt x="4668" y="5454"/>
                    <a:pt x="4573" y="5382"/>
                  </a:cubicBezTo>
                  <a:cubicBezTo>
                    <a:pt x="4668" y="5359"/>
                    <a:pt x="4763" y="5335"/>
                    <a:pt x="4846" y="5275"/>
                  </a:cubicBezTo>
                  <a:lnTo>
                    <a:pt x="4942" y="5228"/>
                  </a:lnTo>
                  <a:close/>
                  <a:moveTo>
                    <a:pt x="4299" y="5656"/>
                  </a:moveTo>
                  <a:cubicBezTo>
                    <a:pt x="4406" y="5656"/>
                    <a:pt x="4477" y="5728"/>
                    <a:pt x="4477" y="5835"/>
                  </a:cubicBezTo>
                  <a:cubicBezTo>
                    <a:pt x="4477" y="5942"/>
                    <a:pt x="4406" y="6013"/>
                    <a:pt x="4299" y="6013"/>
                  </a:cubicBezTo>
                  <a:cubicBezTo>
                    <a:pt x="4215" y="6013"/>
                    <a:pt x="4120" y="5930"/>
                    <a:pt x="4120" y="5835"/>
                  </a:cubicBezTo>
                  <a:cubicBezTo>
                    <a:pt x="4120" y="5728"/>
                    <a:pt x="4192" y="5656"/>
                    <a:pt x="4299" y="5656"/>
                  </a:cubicBezTo>
                  <a:close/>
                  <a:moveTo>
                    <a:pt x="3656" y="5228"/>
                  </a:moveTo>
                  <a:lnTo>
                    <a:pt x="3751" y="5263"/>
                  </a:lnTo>
                  <a:cubicBezTo>
                    <a:pt x="3834" y="5323"/>
                    <a:pt x="3941" y="5359"/>
                    <a:pt x="4037" y="5382"/>
                  </a:cubicBezTo>
                  <a:cubicBezTo>
                    <a:pt x="3882" y="5478"/>
                    <a:pt x="3775" y="5644"/>
                    <a:pt x="3775" y="5835"/>
                  </a:cubicBezTo>
                  <a:cubicBezTo>
                    <a:pt x="3775" y="6121"/>
                    <a:pt x="4013" y="6359"/>
                    <a:pt x="4299" y="6359"/>
                  </a:cubicBezTo>
                  <a:cubicBezTo>
                    <a:pt x="4525" y="6359"/>
                    <a:pt x="4715" y="6204"/>
                    <a:pt x="4787" y="6013"/>
                  </a:cubicBezTo>
                  <a:cubicBezTo>
                    <a:pt x="4834" y="6013"/>
                    <a:pt x="4894" y="6013"/>
                    <a:pt x="4942" y="6002"/>
                  </a:cubicBezTo>
                  <a:lnTo>
                    <a:pt x="4942" y="6073"/>
                  </a:lnTo>
                  <a:lnTo>
                    <a:pt x="4299" y="6514"/>
                  </a:lnTo>
                  <a:lnTo>
                    <a:pt x="3656" y="6061"/>
                  </a:lnTo>
                  <a:lnTo>
                    <a:pt x="3656" y="5228"/>
                  </a:lnTo>
                  <a:close/>
                  <a:moveTo>
                    <a:pt x="3656" y="6466"/>
                  </a:moveTo>
                  <a:lnTo>
                    <a:pt x="4049" y="6740"/>
                  </a:lnTo>
                  <a:lnTo>
                    <a:pt x="3656" y="7204"/>
                  </a:lnTo>
                  <a:lnTo>
                    <a:pt x="3656" y="6549"/>
                  </a:lnTo>
                  <a:lnTo>
                    <a:pt x="3656" y="6466"/>
                  </a:lnTo>
                  <a:close/>
                  <a:moveTo>
                    <a:pt x="4942" y="6466"/>
                  </a:moveTo>
                  <a:lnTo>
                    <a:pt x="4942" y="6549"/>
                  </a:lnTo>
                  <a:lnTo>
                    <a:pt x="4942" y="7204"/>
                  </a:lnTo>
                  <a:lnTo>
                    <a:pt x="4549" y="6740"/>
                  </a:lnTo>
                  <a:lnTo>
                    <a:pt x="4942" y="6466"/>
                  </a:lnTo>
                  <a:close/>
                  <a:moveTo>
                    <a:pt x="3858" y="1"/>
                  </a:moveTo>
                  <a:cubicBezTo>
                    <a:pt x="2858" y="1"/>
                    <a:pt x="2048" y="799"/>
                    <a:pt x="2048" y="1799"/>
                  </a:cubicBezTo>
                  <a:lnTo>
                    <a:pt x="2048" y="2096"/>
                  </a:lnTo>
                  <a:cubicBezTo>
                    <a:pt x="1667" y="2168"/>
                    <a:pt x="1382" y="2513"/>
                    <a:pt x="1382" y="2918"/>
                  </a:cubicBezTo>
                  <a:lnTo>
                    <a:pt x="1382" y="3037"/>
                  </a:lnTo>
                  <a:cubicBezTo>
                    <a:pt x="1382" y="3501"/>
                    <a:pt x="1751" y="3870"/>
                    <a:pt x="2215" y="3870"/>
                  </a:cubicBezTo>
                  <a:cubicBezTo>
                    <a:pt x="2310" y="3870"/>
                    <a:pt x="2382" y="3799"/>
                    <a:pt x="2382" y="3704"/>
                  </a:cubicBezTo>
                  <a:lnTo>
                    <a:pt x="2382" y="2251"/>
                  </a:lnTo>
                  <a:lnTo>
                    <a:pt x="2382" y="1799"/>
                  </a:lnTo>
                  <a:cubicBezTo>
                    <a:pt x="2382" y="1001"/>
                    <a:pt x="3037" y="346"/>
                    <a:pt x="3834" y="346"/>
                  </a:cubicBezTo>
                  <a:lnTo>
                    <a:pt x="4727" y="346"/>
                  </a:lnTo>
                  <a:cubicBezTo>
                    <a:pt x="5537" y="346"/>
                    <a:pt x="6192" y="1001"/>
                    <a:pt x="6192" y="1799"/>
                  </a:cubicBezTo>
                  <a:lnTo>
                    <a:pt x="6192" y="2251"/>
                  </a:lnTo>
                  <a:lnTo>
                    <a:pt x="6192" y="4180"/>
                  </a:lnTo>
                  <a:cubicBezTo>
                    <a:pt x="6192" y="4811"/>
                    <a:pt x="5799" y="5335"/>
                    <a:pt x="5251" y="5549"/>
                  </a:cubicBezTo>
                  <a:lnTo>
                    <a:pt x="5251" y="5001"/>
                  </a:lnTo>
                  <a:cubicBezTo>
                    <a:pt x="5823" y="4597"/>
                    <a:pt x="6156" y="3930"/>
                    <a:pt x="6156" y="3227"/>
                  </a:cubicBezTo>
                  <a:lnTo>
                    <a:pt x="6156" y="1870"/>
                  </a:lnTo>
                  <a:cubicBezTo>
                    <a:pt x="6156" y="1037"/>
                    <a:pt x="5489" y="370"/>
                    <a:pt x="4656" y="370"/>
                  </a:cubicBezTo>
                  <a:lnTo>
                    <a:pt x="3894" y="370"/>
                  </a:lnTo>
                  <a:cubicBezTo>
                    <a:pt x="3834" y="370"/>
                    <a:pt x="3775" y="370"/>
                    <a:pt x="3715" y="382"/>
                  </a:cubicBezTo>
                  <a:cubicBezTo>
                    <a:pt x="2965" y="477"/>
                    <a:pt x="2394" y="1120"/>
                    <a:pt x="2394" y="1870"/>
                  </a:cubicBezTo>
                  <a:lnTo>
                    <a:pt x="2394" y="2084"/>
                  </a:lnTo>
                  <a:lnTo>
                    <a:pt x="2394" y="3227"/>
                  </a:lnTo>
                  <a:cubicBezTo>
                    <a:pt x="2394" y="3930"/>
                    <a:pt x="2739" y="4585"/>
                    <a:pt x="3299" y="5001"/>
                  </a:cubicBezTo>
                  <a:lnTo>
                    <a:pt x="3299" y="6013"/>
                  </a:lnTo>
                  <a:lnTo>
                    <a:pt x="1596" y="6561"/>
                  </a:lnTo>
                  <a:cubicBezTo>
                    <a:pt x="643" y="6859"/>
                    <a:pt x="1" y="7740"/>
                    <a:pt x="1" y="8740"/>
                  </a:cubicBezTo>
                  <a:lnTo>
                    <a:pt x="1" y="9645"/>
                  </a:lnTo>
                  <a:cubicBezTo>
                    <a:pt x="1" y="9740"/>
                    <a:pt x="72" y="9812"/>
                    <a:pt x="167" y="9812"/>
                  </a:cubicBezTo>
                  <a:lnTo>
                    <a:pt x="2739" y="9812"/>
                  </a:lnTo>
                  <a:cubicBezTo>
                    <a:pt x="2822" y="9812"/>
                    <a:pt x="2906" y="9740"/>
                    <a:pt x="2906" y="9645"/>
                  </a:cubicBezTo>
                  <a:cubicBezTo>
                    <a:pt x="2906" y="9550"/>
                    <a:pt x="2822" y="9478"/>
                    <a:pt x="2739" y="9478"/>
                  </a:cubicBezTo>
                  <a:lnTo>
                    <a:pt x="322" y="9478"/>
                  </a:lnTo>
                  <a:lnTo>
                    <a:pt x="322" y="8740"/>
                  </a:lnTo>
                  <a:cubicBezTo>
                    <a:pt x="322" y="7883"/>
                    <a:pt x="882" y="7133"/>
                    <a:pt x="1679" y="6871"/>
                  </a:cubicBezTo>
                  <a:lnTo>
                    <a:pt x="3287" y="6359"/>
                  </a:lnTo>
                  <a:lnTo>
                    <a:pt x="3287" y="6537"/>
                  </a:lnTo>
                  <a:lnTo>
                    <a:pt x="3287" y="7657"/>
                  </a:lnTo>
                  <a:cubicBezTo>
                    <a:pt x="3287" y="7728"/>
                    <a:pt x="3334" y="7788"/>
                    <a:pt x="3394" y="7811"/>
                  </a:cubicBezTo>
                  <a:cubicBezTo>
                    <a:pt x="3406" y="7811"/>
                    <a:pt x="3441" y="7835"/>
                    <a:pt x="3453" y="7835"/>
                  </a:cubicBezTo>
                  <a:cubicBezTo>
                    <a:pt x="3501" y="7835"/>
                    <a:pt x="3537" y="7811"/>
                    <a:pt x="3584" y="7776"/>
                  </a:cubicBezTo>
                  <a:lnTo>
                    <a:pt x="4275" y="6966"/>
                  </a:lnTo>
                  <a:lnTo>
                    <a:pt x="4954" y="7776"/>
                  </a:lnTo>
                  <a:cubicBezTo>
                    <a:pt x="4989" y="7811"/>
                    <a:pt x="5025" y="7835"/>
                    <a:pt x="5084" y="7835"/>
                  </a:cubicBezTo>
                  <a:cubicBezTo>
                    <a:pt x="5108" y="7835"/>
                    <a:pt x="5132" y="7835"/>
                    <a:pt x="5144" y="7811"/>
                  </a:cubicBezTo>
                  <a:cubicBezTo>
                    <a:pt x="5204" y="7788"/>
                    <a:pt x="5251" y="7728"/>
                    <a:pt x="5251" y="7657"/>
                  </a:cubicBezTo>
                  <a:lnTo>
                    <a:pt x="5251" y="6359"/>
                  </a:lnTo>
                  <a:lnTo>
                    <a:pt x="6859" y="6871"/>
                  </a:lnTo>
                  <a:cubicBezTo>
                    <a:pt x="7382" y="7037"/>
                    <a:pt x="7811" y="7430"/>
                    <a:pt x="8037" y="7918"/>
                  </a:cubicBezTo>
                  <a:cubicBezTo>
                    <a:pt x="8074" y="7991"/>
                    <a:pt x="8131" y="8022"/>
                    <a:pt x="8198" y="8022"/>
                  </a:cubicBezTo>
                  <a:cubicBezTo>
                    <a:pt x="8219" y="8022"/>
                    <a:pt x="8241" y="8019"/>
                    <a:pt x="8263" y="8014"/>
                  </a:cubicBezTo>
                  <a:cubicBezTo>
                    <a:pt x="8383" y="7990"/>
                    <a:pt x="8418" y="7895"/>
                    <a:pt x="8383" y="7799"/>
                  </a:cubicBezTo>
                  <a:cubicBezTo>
                    <a:pt x="8109" y="7216"/>
                    <a:pt x="7609" y="6775"/>
                    <a:pt x="6989" y="6561"/>
                  </a:cubicBezTo>
                  <a:lnTo>
                    <a:pt x="5287" y="6013"/>
                  </a:lnTo>
                  <a:lnTo>
                    <a:pt x="5287" y="5906"/>
                  </a:lnTo>
                  <a:cubicBezTo>
                    <a:pt x="6013" y="5680"/>
                    <a:pt x="6549" y="5001"/>
                    <a:pt x="6549" y="4180"/>
                  </a:cubicBezTo>
                  <a:lnTo>
                    <a:pt x="6549" y="3858"/>
                  </a:lnTo>
                  <a:cubicBezTo>
                    <a:pt x="6930" y="3775"/>
                    <a:pt x="7216" y="3442"/>
                    <a:pt x="7216" y="3037"/>
                  </a:cubicBezTo>
                  <a:lnTo>
                    <a:pt x="7216" y="2918"/>
                  </a:lnTo>
                  <a:cubicBezTo>
                    <a:pt x="7216" y="2513"/>
                    <a:pt x="6930" y="2168"/>
                    <a:pt x="6549" y="2096"/>
                  </a:cubicBezTo>
                  <a:lnTo>
                    <a:pt x="6549" y="1799"/>
                  </a:lnTo>
                  <a:cubicBezTo>
                    <a:pt x="6549" y="799"/>
                    <a:pt x="5739" y="1"/>
                    <a:pt x="4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3" name="Google Shape;11833;p61"/>
            <p:cNvSpPr/>
            <p:nvPr/>
          </p:nvSpPr>
          <p:spPr>
            <a:xfrm>
              <a:off x="2320012" y="2699682"/>
              <a:ext cx="10993" cy="11341"/>
            </a:xfrm>
            <a:custGeom>
              <a:avLst/>
              <a:gdLst/>
              <a:ahLst/>
              <a:cxnLst/>
              <a:rect l="l" t="t" r="r" b="b"/>
              <a:pathLst>
                <a:path w="347" h="358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84" y="357"/>
                    <a:pt x="168" y="357"/>
                  </a:cubicBezTo>
                  <a:cubicBezTo>
                    <a:pt x="263" y="357"/>
                    <a:pt x="334" y="286"/>
                    <a:pt x="334" y="191"/>
                  </a:cubicBezTo>
                  <a:lnTo>
                    <a:pt x="334" y="167"/>
                  </a:lnTo>
                  <a:cubicBezTo>
                    <a:pt x="346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4" name="Google Shape;11834;p61"/>
            <p:cNvSpPr/>
            <p:nvPr/>
          </p:nvSpPr>
          <p:spPr>
            <a:xfrm>
              <a:off x="2320012" y="2718151"/>
              <a:ext cx="10993" cy="11341"/>
            </a:xfrm>
            <a:custGeom>
              <a:avLst/>
              <a:gdLst/>
              <a:ahLst/>
              <a:cxnLst/>
              <a:rect l="l" t="t" r="r" b="b"/>
              <a:pathLst>
                <a:path w="347" h="358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84" y="358"/>
                    <a:pt x="168" y="358"/>
                  </a:cubicBezTo>
                  <a:cubicBezTo>
                    <a:pt x="263" y="358"/>
                    <a:pt x="334" y="286"/>
                    <a:pt x="334" y="191"/>
                  </a:cubicBezTo>
                  <a:lnTo>
                    <a:pt x="334" y="167"/>
                  </a:lnTo>
                  <a:cubicBezTo>
                    <a:pt x="346" y="72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5" name="Google Shape;11835;p61"/>
            <p:cNvSpPr/>
            <p:nvPr/>
          </p:nvSpPr>
          <p:spPr>
            <a:xfrm>
              <a:off x="2364522" y="2716662"/>
              <a:ext cx="63804" cy="30571"/>
            </a:xfrm>
            <a:custGeom>
              <a:avLst/>
              <a:gdLst/>
              <a:ahLst/>
              <a:cxnLst/>
              <a:rect l="l" t="t" r="r" b="b"/>
              <a:pathLst>
                <a:path w="2014" h="965" extrusionOk="0">
                  <a:moveTo>
                    <a:pt x="1596" y="322"/>
                  </a:moveTo>
                  <a:cubicBezTo>
                    <a:pt x="1632" y="322"/>
                    <a:pt x="1668" y="357"/>
                    <a:pt x="1668" y="405"/>
                  </a:cubicBezTo>
                  <a:lnTo>
                    <a:pt x="1668" y="560"/>
                  </a:lnTo>
                  <a:cubicBezTo>
                    <a:pt x="1668" y="607"/>
                    <a:pt x="1632" y="643"/>
                    <a:pt x="1596" y="643"/>
                  </a:cubicBezTo>
                  <a:lnTo>
                    <a:pt x="382" y="643"/>
                  </a:lnTo>
                  <a:cubicBezTo>
                    <a:pt x="346" y="643"/>
                    <a:pt x="310" y="607"/>
                    <a:pt x="310" y="560"/>
                  </a:cubicBezTo>
                  <a:lnTo>
                    <a:pt x="310" y="405"/>
                  </a:lnTo>
                  <a:cubicBezTo>
                    <a:pt x="310" y="357"/>
                    <a:pt x="346" y="322"/>
                    <a:pt x="382" y="322"/>
                  </a:cubicBezTo>
                  <a:close/>
                  <a:moveTo>
                    <a:pt x="406" y="0"/>
                  </a:moveTo>
                  <a:cubicBezTo>
                    <a:pt x="180" y="0"/>
                    <a:pt x="1" y="179"/>
                    <a:pt x="1" y="405"/>
                  </a:cubicBezTo>
                  <a:lnTo>
                    <a:pt x="1" y="572"/>
                  </a:lnTo>
                  <a:cubicBezTo>
                    <a:pt x="1" y="786"/>
                    <a:pt x="180" y="964"/>
                    <a:pt x="406" y="964"/>
                  </a:cubicBezTo>
                  <a:lnTo>
                    <a:pt x="1608" y="964"/>
                  </a:lnTo>
                  <a:cubicBezTo>
                    <a:pt x="1834" y="964"/>
                    <a:pt x="2013" y="786"/>
                    <a:pt x="2013" y="572"/>
                  </a:cubicBezTo>
                  <a:lnTo>
                    <a:pt x="2013" y="405"/>
                  </a:lnTo>
                  <a:cubicBezTo>
                    <a:pt x="2013" y="179"/>
                    <a:pt x="1834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6" name="Google Shape;11836;p61"/>
            <p:cNvSpPr/>
            <p:nvPr/>
          </p:nvSpPr>
          <p:spPr>
            <a:xfrm>
              <a:off x="2437323" y="2454510"/>
              <a:ext cx="82273" cy="83002"/>
            </a:xfrm>
            <a:custGeom>
              <a:avLst/>
              <a:gdLst/>
              <a:ahLst/>
              <a:cxnLst/>
              <a:rect l="l" t="t" r="r" b="b"/>
              <a:pathLst>
                <a:path w="2597" h="2620" extrusionOk="0">
                  <a:moveTo>
                    <a:pt x="1299" y="655"/>
                  </a:moveTo>
                  <a:cubicBezTo>
                    <a:pt x="1656" y="655"/>
                    <a:pt x="1942" y="953"/>
                    <a:pt x="1942" y="1310"/>
                  </a:cubicBezTo>
                  <a:cubicBezTo>
                    <a:pt x="1930" y="1667"/>
                    <a:pt x="1644" y="1965"/>
                    <a:pt x="1299" y="1965"/>
                  </a:cubicBezTo>
                  <a:cubicBezTo>
                    <a:pt x="941" y="1965"/>
                    <a:pt x="668" y="1667"/>
                    <a:pt x="668" y="1310"/>
                  </a:cubicBezTo>
                  <a:cubicBezTo>
                    <a:pt x="668" y="953"/>
                    <a:pt x="941" y="655"/>
                    <a:pt x="1299" y="655"/>
                  </a:cubicBezTo>
                  <a:close/>
                  <a:moveTo>
                    <a:pt x="1299" y="0"/>
                  </a:moveTo>
                  <a:cubicBezTo>
                    <a:pt x="1215" y="0"/>
                    <a:pt x="1132" y="72"/>
                    <a:pt x="1132" y="167"/>
                  </a:cubicBezTo>
                  <a:lnTo>
                    <a:pt x="1132" y="346"/>
                  </a:lnTo>
                  <a:cubicBezTo>
                    <a:pt x="989" y="369"/>
                    <a:pt x="858" y="429"/>
                    <a:pt x="751" y="500"/>
                  </a:cubicBezTo>
                  <a:lnTo>
                    <a:pt x="620" y="369"/>
                  </a:lnTo>
                  <a:cubicBezTo>
                    <a:pt x="590" y="340"/>
                    <a:pt x="546" y="325"/>
                    <a:pt x="501" y="325"/>
                  </a:cubicBezTo>
                  <a:cubicBezTo>
                    <a:pt x="456" y="325"/>
                    <a:pt x="412" y="340"/>
                    <a:pt x="382" y="369"/>
                  </a:cubicBezTo>
                  <a:cubicBezTo>
                    <a:pt x="322" y="429"/>
                    <a:pt x="322" y="548"/>
                    <a:pt x="382" y="607"/>
                  </a:cubicBezTo>
                  <a:lnTo>
                    <a:pt x="513" y="750"/>
                  </a:lnTo>
                  <a:cubicBezTo>
                    <a:pt x="441" y="857"/>
                    <a:pt x="382" y="1000"/>
                    <a:pt x="346" y="1143"/>
                  </a:cubicBezTo>
                  <a:lnTo>
                    <a:pt x="168" y="1143"/>
                  </a:lnTo>
                  <a:cubicBezTo>
                    <a:pt x="84" y="1143"/>
                    <a:pt x="1" y="1227"/>
                    <a:pt x="1" y="1310"/>
                  </a:cubicBezTo>
                  <a:cubicBezTo>
                    <a:pt x="1" y="1405"/>
                    <a:pt x="84" y="1477"/>
                    <a:pt x="168" y="1477"/>
                  </a:cubicBezTo>
                  <a:lnTo>
                    <a:pt x="346" y="1477"/>
                  </a:lnTo>
                  <a:cubicBezTo>
                    <a:pt x="382" y="1619"/>
                    <a:pt x="441" y="1762"/>
                    <a:pt x="513" y="1881"/>
                  </a:cubicBezTo>
                  <a:lnTo>
                    <a:pt x="382" y="2012"/>
                  </a:lnTo>
                  <a:cubicBezTo>
                    <a:pt x="322" y="2072"/>
                    <a:pt x="322" y="2191"/>
                    <a:pt x="382" y="2251"/>
                  </a:cubicBezTo>
                  <a:cubicBezTo>
                    <a:pt x="406" y="2274"/>
                    <a:pt x="453" y="2298"/>
                    <a:pt x="501" y="2298"/>
                  </a:cubicBezTo>
                  <a:cubicBezTo>
                    <a:pt x="537" y="2298"/>
                    <a:pt x="584" y="2274"/>
                    <a:pt x="620" y="2251"/>
                  </a:cubicBezTo>
                  <a:lnTo>
                    <a:pt x="751" y="2120"/>
                  </a:lnTo>
                  <a:cubicBezTo>
                    <a:pt x="870" y="2191"/>
                    <a:pt x="1001" y="2251"/>
                    <a:pt x="1132" y="2274"/>
                  </a:cubicBezTo>
                  <a:lnTo>
                    <a:pt x="1132" y="2453"/>
                  </a:lnTo>
                  <a:cubicBezTo>
                    <a:pt x="1132" y="2548"/>
                    <a:pt x="1215" y="2620"/>
                    <a:pt x="1299" y="2620"/>
                  </a:cubicBezTo>
                  <a:cubicBezTo>
                    <a:pt x="1394" y="2620"/>
                    <a:pt x="1465" y="2548"/>
                    <a:pt x="1465" y="2453"/>
                  </a:cubicBezTo>
                  <a:lnTo>
                    <a:pt x="1465" y="2274"/>
                  </a:lnTo>
                  <a:cubicBezTo>
                    <a:pt x="1608" y="2251"/>
                    <a:pt x="1751" y="2191"/>
                    <a:pt x="1846" y="2120"/>
                  </a:cubicBezTo>
                  <a:lnTo>
                    <a:pt x="1989" y="2251"/>
                  </a:lnTo>
                  <a:cubicBezTo>
                    <a:pt x="2013" y="2274"/>
                    <a:pt x="2061" y="2298"/>
                    <a:pt x="2108" y="2298"/>
                  </a:cubicBezTo>
                  <a:cubicBezTo>
                    <a:pt x="2144" y="2298"/>
                    <a:pt x="2192" y="2274"/>
                    <a:pt x="2227" y="2251"/>
                  </a:cubicBezTo>
                  <a:cubicBezTo>
                    <a:pt x="2287" y="2191"/>
                    <a:pt x="2287" y="2072"/>
                    <a:pt x="2227" y="2012"/>
                  </a:cubicBezTo>
                  <a:lnTo>
                    <a:pt x="2084" y="1881"/>
                  </a:lnTo>
                  <a:cubicBezTo>
                    <a:pt x="2168" y="1762"/>
                    <a:pt x="2227" y="1619"/>
                    <a:pt x="2251" y="1477"/>
                  </a:cubicBezTo>
                  <a:lnTo>
                    <a:pt x="2430" y="1477"/>
                  </a:lnTo>
                  <a:cubicBezTo>
                    <a:pt x="2525" y="1477"/>
                    <a:pt x="2596" y="1405"/>
                    <a:pt x="2596" y="1310"/>
                  </a:cubicBezTo>
                  <a:cubicBezTo>
                    <a:pt x="2596" y="1227"/>
                    <a:pt x="2525" y="1143"/>
                    <a:pt x="2430" y="1143"/>
                  </a:cubicBezTo>
                  <a:lnTo>
                    <a:pt x="2251" y="1143"/>
                  </a:lnTo>
                  <a:cubicBezTo>
                    <a:pt x="2227" y="1000"/>
                    <a:pt x="2168" y="869"/>
                    <a:pt x="2096" y="750"/>
                  </a:cubicBezTo>
                  <a:lnTo>
                    <a:pt x="2227" y="607"/>
                  </a:lnTo>
                  <a:cubicBezTo>
                    <a:pt x="2287" y="548"/>
                    <a:pt x="2287" y="429"/>
                    <a:pt x="2227" y="369"/>
                  </a:cubicBezTo>
                  <a:cubicBezTo>
                    <a:pt x="2198" y="340"/>
                    <a:pt x="2153" y="325"/>
                    <a:pt x="2108" y="325"/>
                  </a:cubicBezTo>
                  <a:cubicBezTo>
                    <a:pt x="2064" y="325"/>
                    <a:pt x="2019" y="340"/>
                    <a:pt x="1989" y="369"/>
                  </a:cubicBezTo>
                  <a:lnTo>
                    <a:pt x="1846" y="500"/>
                  </a:lnTo>
                  <a:cubicBezTo>
                    <a:pt x="1727" y="429"/>
                    <a:pt x="1596" y="369"/>
                    <a:pt x="1465" y="346"/>
                  </a:cubicBezTo>
                  <a:lnTo>
                    <a:pt x="1465" y="167"/>
                  </a:lnTo>
                  <a:cubicBezTo>
                    <a:pt x="1465" y="72"/>
                    <a:pt x="1394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7" name="Google Shape;11837;p61"/>
            <p:cNvSpPr/>
            <p:nvPr/>
          </p:nvSpPr>
          <p:spPr>
            <a:xfrm>
              <a:off x="2462603" y="2479759"/>
              <a:ext cx="32092" cy="32092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1" y="358"/>
                  </a:moveTo>
                  <a:cubicBezTo>
                    <a:pt x="596" y="358"/>
                    <a:pt x="667" y="441"/>
                    <a:pt x="667" y="525"/>
                  </a:cubicBezTo>
                  <a:cubicBezTo>
                    <a:pt x="667" y="620"/>
                    <a:pt x="596" y="692"/>
                    <a:pt x="501" y="692"/>
                  </a:cubicBezTo>
                  <a:cubicBezTo>
                    <a:pt x="417" y="692"/>
                    <a:pt x="346" y="620"/>
                    <a:pt x="346" y="525"/>
                  </a:cubicBezTo>
                  <a:cubicBezTo>
                    <a:pt x="346" y="441"/>
                    <a:pt x="417" y="358"/>
                    <a:pt x="501" y="358"/>
                  </a:cubicBezTo>
                  <a:close/>
                  <a:moveTo>
                    <a:pt x="501" y="1"/>
                  </a:moveTo>
                  <a:cubicBezTo>
                    <a:pt x="227" y="1"/>
                    <a:pt x="1" y="227"/>
                    <a:pt x="1" y="513"/>
                  </a:cubicBezTo>
                  <a:cubicBezTo>
                    <a:pt x="1" y="799"/>
                    <a:pt x="227" y="1013"/>
                    <a:pt x="501" y="1013"/>
                  </a:cubicBezTo>
                  <a:cubicBezTo>
                    <a:pt x="786" y="1013"/>
                    <a:pt x="1013" y="799"/>
                    <a:pt x="1013" y="513"/>
                  </a:cubicBezTo>
                  <a:cubicBezTo>
                    <a:pt x="1001" y="251"/>
                    <a:pt x="774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8" name="Google Shape;11838;p61"/>
            <p:cNvSpPr/>
            <p:nvPr/>
          </p:nvSpPr>
          <p:spPr>
            <a:xfrm>
              <a:off x="2314373" y="2546921"/>
              <a:ext cx="21891" cy="36242"/>
            </a:xfrm>
            <a:custGeom>
              <a:avLst/>
              <a:gdLst/>
              <a:ahLst/>
              <a:cxnLst/>
              <a:rect l="l" t="t" r="r" b="b"/>
              <a:pathLst>
                <a:path w="691" h="114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988"/>
                  </a:lnTo>
                  <a:cubicBezTo>
                    <a:pt x="0" y="1072"/>
                    <a:pt x="72" y="1143"/>
                    <a:pt x="167" y="1143"/>
                  </a:cubicBezTo>
                  <a:lnTo>
                    <a:pt x="524" y="1143"/>
                  </a:lnTo>
                  <a:cubicBezTo>
                    <a:pt x="620" y="1143"/>
                    <a:pt x="691" y="1072"/>
                    <a:pt x="691" y="988"/>
                  </a:cubicBezTo>
                  <a:cubicBezTo>
                    <a:pt x="691" y="893"/>
                    <a:pt x="620" y="822"/>
                    <a:pt x="524" y="822"/>
                  </a:cubicBezTo>
                  <a:lnTo>
                    <a:pt x="334" y="822"/>
                  </a:ln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839" name="Google Shape;11839;p61"/>
          <p:cNvSpPr/>
          <p:nvPr/>
        </p:nvSpPr>
        <p:spPr>
          <a:xfrm>
            <a:off x="3518751" y="2415259"/>
            <a:ext cx="364003" cy="361405"/>
          </a:xfrm>
          <a:custGeom>
            <a:avLst/>
            <a:gdLst/>
            <a:ahLst/>
            <a:cxnLst/>
            <a:rect l="l" t="t" r="r" b="b"/>
            <a:pathLst>
              <a:path w="11490" h="11408" extrusionOk="0">
                <a:moveTo>
                  <a:pt x="9311" y="394"/>
                </a:moveTo>
                <a:lnTo>
                  <a:pt x="11073" y="2144"/>
                </a:lnTo>
                <a:lnTo>
                  <a:pt x="10537" y="2680"/>
                </a:lnTo>
                <a:lnTo>
                  <a:pt x="10513" y="2668"/>
                </a:lnTo>
                <a:lnTo>
                  <a:pt x="8799" y="942"/>
                </a:lnTo>
                <a:lnTo>
                  <a:pt x="9311" y="394"/>
                </a:lnTo>
                <a:close/>
                <a:moveTo>
                  <a:pt x="2846" y="1299"/>
                </a:moveTo>
                <a:lnTo>
                  <a:pt x="3000" y="1465"/>
                </a:lnTo>
                <a:cubicBezTo>
                  <a:pt x="3228" y="1693"/>
                  <a:pt x="3531" y="1812"/>
                  <a:pt x="3838" y="1812"/>
                </a:cubicBezTo>
                <a:cubicBezTo>
                  <a:pt x="3852" y="1812"/>
                  <a:pt x="3867" y="1811"/>
                  <a:pt x="3881" y="1811"/>
                </a:cubicBezTo>
                <a:cubicBezTo>
                  <a:pt x="4524" y="1775"/>
                  <a:pt x="5334" y="1704"/>
                  <a:pt x="5763" y="1596"/>
                </a:cubicBezTo>
                <a:cubicBezTo>
                  <a:pt x="5775" y="1608"/>
                  <a:pt x="5798" y="1656"/>
                  <a:pt x="5834" y="1692"/>
                </a:cubicBezTo>
                <a:cubicBezTo>
                  <a:pt x="5858" y="1835"/>
                  <a:pt x="5798" y="1989"/>
                  <a:pt x="5667" y="2073"/>
                </a:cubicBezTo>
                <a:lnTo>
                  <a:pt x="4715" y="2466"/>
                </a:lnTo>
                <a:cubicBezTo>
                  <a:pt x="4655" y="2477"/>
                  <a:pt x="4632" y="2537"/>
                  <a:pt x="4608" y="2585"/>
                </a:cubicBezTo>
                <a:cubicBezTo>
                  <a:pt x="4596" y="2644"/>
                  <a:pt x="4608" y="2704"/>
                  <a:pt x="4655" y="2728"/>
                </a:cubicBezTo>
                <a:lnTo>
                  <a:pt x="5513" y="3597"/>
                </a:lnTo>
                <a:lnTo>
                  <a:pt x="5227" y="3894"/>
                </a:lnTo>
                <a:lnTo>
                  <a:pt x="4929" y="3597"/>
                </a:lnTo>
                <a:cubicBezTo>
                  <a:pt x="4899" y="3567"/>
                  <a:pt x="4852" y="3552"/>
                  <a:pt x="4806" y="3552"/>
                </a:cubicBezTo>
                <a:cubicBezTo>
                  <a:pt x="4760" y="3552"/>
                  <a:pt x="4715" y="3567"/>
                  <a:pt x="4691" y="3597"/>
                </a:cubicBezTo>
                <a:cubicBezTo>
                  <a:pt x="4632" y="3656"/>
                  <a:pt x="4632" y="3775"/>
                  <a:pt x="4691" y="3835"/>
                </a:cubicBezTo>
                <a:lnTo>
                  <a:pt x="4989" y="4132"/>
                </a:lnTo>
                <a:lnTo>
                  <a:pt x="4691" y="4430"/>
                </a:lnTo>
                <a:lnTo>
                  <a:pt x="4191" y="3930"/>
                </a:lnTo>
                <a:cubicBezTo>
                  <a:pt x="4161" y="3900"/>
                  <a:pt x="4117" y="3885"/>
                  <a:pt x="4072" y="3885"/>
                </a:cubicBezTo>
                <a:cubicBezTo>
                  <a:pt x="4027" y="3885"/>
                  <a:pt x="3983" y="3900"/>
                  <a:pt x="3953" y="3930"/>
                </a:cubicBezTo>
                <a:cubicBezTo>
                  <a:pt x="3893" y="3990"/>
                  <a:pt x="3893" y="4109"/>
                  <a:pt x="3953" y="4168"/>
                </a:cubicBezTo>
                <a:lnTo>
                  <a:pt x="4441" y="4668"/>
                </a:lnTo>
                <a:lnTo>
                  <a:pt x="4143" y="4966"/>
                </a:lnTo>
                <a:lnTo>
                  <a:pt x="3846" y="4668"/>
                </a:lnTo>
                <a:cubicBezTo>
                  <a:pt x="3822" y="4638"/>
                  <a:pt x="3777" y="4624"/>
                  <a:pt x="3731" y="4624"/>
                </a:cubicBezTo>
                <a:cubicBezTo>
                  <a:pt x="3685" y="4624"/>
                  <a:pt x="3637" y="4638"/>
                  <a:pt x="3608" y="4668"/>
                </a:cubicBezTo>
                <a:cubicBezTo>
                  <a:pt x="3548" y="4728"/>
                  <a:pt x="3548" y="4847"/>
                  <a:pt x="3608" y="4906"/>
                </a:cubicBezTo>
                <a:lnTo>
                  <a:pt x="3905" y="5204"/>
                </a:lnTo>
                <a:lnTo>
                  <a:pt x="3608" y="5502"/>
                </a:lnTo>
                <a:lnTo>
                  <a:pt x="1976" y="3859"/>
                </a:lnTo>
                <a:cubicBezTo>
                  <a:pt x="1929" y="3811"/>
                  <a:pt x="1881" y="3751"/>
                  <a:pt x="1857" y="3680"/>
                </a:cubicBezTo>
                <a:cubicBezTo>
                  <a:pt x="1822" y="3620"/>
                  <a:pt x="1810" y="3549"/>
                  <a:pt x="1810" y="3478"/>
                </a:cubicBezTo>
                <a:cubicBezTo>
                  <a:pt x="1798" y="3335"/>
                  <a:pt x="1750" y="3216"/>
                  <a:pt x="1667" y="3132"/>
                </a:cubicBezTo>
                <a:lnTo>
                  <a:pt x="1334" y="2799"/>
                </a:lnTo>
                <a:lnTo>
                  <a:pt x="2846" y="1299"/>
                </a:lnTo>
                <a:close/>
                <a:moveTo>
                  <a:pt x="7882" y="5954"/>
                </a:moveTo>
                <a:lnTo>
                  <a:pt x="9525" y="7597"/>
                </a:lnTo>
                <a:cubicBezTo>
                  <a:pt x="9620" y="7704"/>
                  <a:pt x="9680" y="7835"/>
                  <a:pt x="9680" y="7966"/>
                </a:cubicBezTo>
                <a:cubicBezTo>
                  <a:pt x="9680" y="8026"/>
                  <a:pt x="9704" y="8085"/>
                  <a:pt x="9727" y="8145"/>
                </a:cubicBezTo>
                <a:cubicBezTo>
                  <a:pt x="9763" y="8204"/>
                  <a:pt x="9787" y="8252"/>
                  <a:pt x="9835" y="8300"/>
                </a:cubicBezTo>
                <a:lnTo>
                  <a:pt x="10156" y="8621"/>
                </a:lnTo>
                <a:lnTo>
                  <a:pt x="8680" y="10145"/>
                </a:lnTo>
                <a:lnTo>
                  <a:pt x="8513" y="9978"/>
                </a:lnTo>
                <a:cubicBezTo>
                  <a:pt x="8286" y="9751"/>
                  <a:pt x="7993" y="9632"/>
                  <a:pt x="7677" y="9632"/>
                </a:cubicBezTo>
                <a:cubicBezTo>
                  <a:pt x="7662" y="9632"/>
                  <a:pt x="7647" y="9633"/>
                  <a:pt x="7632" y="9633"/>
                </a:cubicBezTo>
                <a:cubicBezTo>
                  <a:pt x="6989" y="9669"/>
                  <a:pt x="6179" y="9740"/>
                  <a:pt x="5763" y="9847"/>
                </a:cubicBezTo>
                <a:cubicBezTo>
                  <a:pt x="5739" y="9824"/>
                  <a:pt x="5715" y="9788"/>
                  <a:pt x="5679" y="9752"/>
                </a:cubicBezTo>
                <a:cubicBezTo>
                  <a:pt x="5656" y="9609"/>
                  <a:pt x="5715" y="9455"/>
                  <a:pt x="5846" y="9371"/>
                </a:cubicBezTo>
                <a:lnTo>
                  <a:pt x="6799" y="8978"/>
                </a:lnTo>
                <a:cubicBezTo>
                  <a:pt x="6858" y="8966"/>
                  <a:pt x="6894" y="8907"/>
                  <a:pt x="6906" y="8859"/>
                </a:cubicBezTo>
                <a:cubicBezTo>
                  <a:pt x="6918" y="8800"/>
                  <a:pt x="6906" y="8740"/>
                  <a:pt x="6858" y="8716"/>
                </a:cubicBezTo>
                <a:lnTo>
                  <a:pt x="6001" y="7847"/>
                </a:lnTo>
                <a:lnTo>
                  <a:pt x="6298" y="7550"/>
                </a:lnTo>
                <a:lnTo>
                  <a:pt x="6596" y="7847"/>
                </a:lnTo>
                <a:cubicBezTo>
                  <a:pt x="6620" y="7883"/>
                  <a:pt x="6668" y="7895"/>
                  <a:pt x="6715" y="7895"/>
                </a:cubicBezTo>
                <a:cubicBezTo>
                  <a:pt x="6751" y="7895"/>
                  <a:pt x="6799" y="7883"/>
                  <a:pt x="6834" y="7847"/>
                </a:cubicBezTo>
                <a:cubicBezTo>
                  <a:pt x="6894" y="7788"/>
                  <a:pt x="6894" y="7669"/>
                  <a:pt x="6834" y="7609"/>
                </a:cubicBezTo>
                <a:lnTo>
                  <a:pt x="6537" y="7311"/>
                </a:lnTo>
                <a:lnTo>
                  <a:pt x="6834" y="7014"/>
                </a:lnTo>
                <a:lnTo>
                  <a:pt x="7322" y="7502"/>
                </a:lnTo>
                <a:cubicBezTo>
                  <a:pt x="7346" y="7538"/>
                  <a:pt x="7394" y="7550"/>
                  <a:pt x="7441" y="7550"/>
                </a:cubicBezTo>
                <a:cubicBezTo>
                  <a:pt x="7477" y="7550"/>
                  <a:pt x="7525" y="7538"/>
                  <a:pt x="7561" y="7502"/>
                </a:cubicBezTo>
                <a:cubicBezTo>
                  <a:pt x="7620" y="7442"/>
                  <a:pt x="7620" y="7323"/>
                  <a:pt x="7561" y="7264"/>
                </a:cubicBezTo>
                <a:lnTo>
                  <a:pt x="7072" y="6776"/>
                </a:lnTo>
                <a:lnTo>
                  <a:pt x="7263" y="6585"/>
                </a:lnTo>
                <a:lnTo>
                  <a:pt x="7346" y="6490"/>
                </a:lnTo>
                <a:lnTo>
                  <a:pt x="7644" y="6788"/>
                </a:lnTo>
                <a:cubicBezTo>
                  <a:pt x="7680" y="6823"/>
                  <a:pt x="7715" y="6835"/>
                  <a:pt x="7763" y="6835"/>
                </a:cubicBezTo>
                <a:cubicBezTo>
                  <a:pt x="7811" y="6835"/>
                  <a:pt x="7858" y="6823"/>
                  <a:pt x="7882" y="6788"/>
                </a:cubicBezTo>
                <a:cubicBezTo>
                  <a:pt x="7942" y="6728"/>
                  <a:pt x="7942" y="6609"/>
                  <a:pt x="7882" y="6549"/>
                </a:cubicBezTo>
                <a:lnTo>
                  <a:pt x="7584" y="6252"/>
                </a:lnTo>
                <a:lnTo>
                  <a:pt x="7882" y="5954"/>
                </a:lnTo>
                <a:close/>
                <a:moveTo>
                  <a:pt x="964" y="8752"/>
                </a:moveTo>
                <a:lnTo>
                  <a:pt x="976" y="8776"/>
                </a:lnTo>
                <a:lnTo>
                  <a:pt x="2703" y="10502"/>
                </a:lnTo>
                <a:lnTo>
                  <a:pt x="2191" y="11050"/>
                </a:lnTo>
                <a:lnTo>
                  <a:pt x="429" y="9288"/>
                </a:lnTo>
                <a:lnTo>
                  <a:pt x="964" y="8752"/>
                </a:lnTo>
                <a:close/>
                <a:moveTo>
                  <a:pt x="10537" y="8752"/>
                </a:moveTo>
                <a:lnTo>
                  <a:pt x="11073" y="9288"/>
                </a:lnTo>
                <a:lnTo>
                  <a:pt x="9311" y="11050"/>
                </a:lnTo>
                <a:lnTo>
                  <a:pt x="8775" y="10514"/>
                </a:lnTo>
                <a:lnTo>
                  <a:pt x="8799" y="10490"/>
                </a:lnTo>
                <a:lnTo>
                  <a:pt x="10525" y="8764"/>
                </a:lnTo>
                <a:lnTo>
                  <a:pt x="10537" y="8752"/>
                </a:lnTo>
                <a:close/>
                <a:moveTo>
                  <a:pt x="2203" y="1"/>
                </a:moveTo>
                <a:cubicBezTo>
                  <a:pt x="2155" y="1"/>
                  <a:pt x="2107" y="13"/>
                  <a:pt x="2084" y="49"/>
                </a:cubicBezTo>
                <a:lnTo>
                  <a:pt x="1429" y="703"/>
                </a:lnTo>
                <a:cubicBezTo>
                  <a:pt x="1369" y="763"/>
                  <a:pt x="1369" y="882"/>
                  <a:pt x="1429" y="942"/>
                </a:cubicBezTo>
                <a:cubicBezTo>
                  <a:pt x="1459" y="971"/>
                  <a:pt x="1503" y="986"/>
                  <a:pt x="1548" y="986"/>
                </a:cubicBezTo>
                <a:cubicBezTo>
                  <a:pt x="1592" y="986"/>
                  <a:pt x="1637" y="971"/>
                  <a:pt x="1667" y="942"/>
                </a:cubicBezTo>
                <a:lnTo>
                  <a:pt x="2203" y="406"/>
                </a:lnTo>
                <a:lnTo>
                  <a:pt x="2738" y="942"/>
                </a:lnTo>
                <a:lnTo>
                  <a:pt x="2727" y="953"/>
                </a:lnTo>
                <a:lnTo>
                  <a:pt x="964" y="2668"/>
                </a:lnTo>
                <a:lnTo>
                  <a:pt x="953" y="2680"/>
                </a:lnTo>
                <a:lnTo>
                  <a:pt x="417" y="2144"/>
                </a:lnTo>
                <a:lnTo>
                  <a:pt x="1155" y="1406"/>
                </a:lnTo>
                <a:cubicBezTo>
                  <a:pt x="1214" y="1346"/>
                  <a:pt x="1214" y="1227"/>
                  <a:pt x="1155" y="1168"/>
                </a:cubicBezTo>
                <a:cubicBezTo>
                  <a:pt x="1125" y="1138"/>
                  <a:pt x="1081" y="1123"/>
                  <a:pt x="1036" y="1123"/>
                </a:cubicBezTo>
                <a:cubicBezTo>
                  <a:pt x="991" y="1123"/>
                  <a:pt x="947" y="1138"/>
                  <a:pt x="917" y="1168"/>
                </a:cubicBezTo>
                <a:lnTo>
                  <a:pt x="60" y="2025"/>
                </a:lnTo>
                <a:cubicBezTo>
                  <a:pt x="24" y="2061"/>
                  <a:pt x="12" y="2096"/>
                  <a:pt x="12" y="2144"/>
                </a:cubicBezTo>
                <a:cubicBezTo>
                  <a:pt x="12" y="2192"/>
                  <a:pt x="24" y="2239"/>
                  <a:pt x="60" y="2263"/>
                </a:cubicBezTo>
                <a:lnTo>
                  <a:pt x="833" y="3037"/>
                </a:lnTo>
                <a:cubicBezTo>
                  <a:pt x="857" y="3073"/>
                  <a:pt x="905" y="3085"/>
                  <a:pt x="953" y="3085"/>
                </a:cubicBezTo>
                <a:cubicBezTo>
                  <a:pt x="1000" y="3085"/>
                  <a:pt x="1036" y="3073"/>
                  <a:pt x="1072" y="3037"/>
                </a:cubicBezTo>
                <a:lnTo>
                  <a:pt x="1084" y="3025"/>
                </a:lnTo>
                <a:lnTo>
                  <a:pt x="1417" y="3347"/>
                </a:lnTo>
                <a:cubicBezTo>
                  <a:pt x="1441" y="3382"/>
                  <a:pt x="1476" y="3430"/>
                  <a:pt x="1476" y="3466"/>
                </a:cubicBezTo>
                <a:cubicBezTo>
                  <a:pt x="1488" y="3573"/>
                  <a:pt x="1500" y="3692"/>
                  <a:pt x="1548" y="3787"/>
                </a:cubicBezTo>
                <a:cubicBezTo>
                  <a:pt x="1595" y="3882"/>
                  <a:pt x="1655" y="3978"/>
                  <a:pt x="1738" y="4049"/>
                </a:cubicBezTo>
                <a:lnTo>
                  <a:pt x="3381" y="5692"/>
                </a:lnTo>
                <a:lnTo>
                  <a:pt x="2691" y="6371"/>
                </a:lnTo>
                <a:lnTo>
                  <a:pt x="2393" y="5645"/>
                </a:lnTo>
                <a:cubicBezTo>
                  <a:pt x="2393" y="5645"/>
                  <a:pt x="2393" y="5633"/>
                  <a:pt x="2381" y="5633"/>
                </a:cubicBezTo>
                <a:cubicBezTo>
                  <a:pt x="2248" y="5404"/>
                  <a:pt x="2016" y="5274"/>
                  <a:pt x="1775" y="5274"/>
                </a:cubicBezTo>
                <a:cubicBezTo>
                  <a:pt x="1715" y="5274"/>
                  <a:pt x="1655" y="5283"/>
                  <a:pt x="1595" y="5299"/>
                </a:cubicBezTo>
                <a:cubicBezTo>
                  <a:pt x="1572" y="5299"/>
                  <a:pt x="1560" y="5311"/>
                  <a:pt x="1548" y="5311"/>
                </a:cubicBezTo>
                <a:cubicBezTo>
                  <a:pt x="1393" y="5406"/>
                  <a:pt x="1214" y="5573"/>
                  <a:pt x="1274" y="5728"/>
                </a:cubicBezTo>
                <a:cubicBezTo>
                  <a:pt x="1369" y="6014"/>
                  <a:pt x="1441" y="6668"/>
                  <a:pt x="1488" y="7573"/>
                </a:cubicBezTo>
                <a:cubicBezTo>
                  <a:pt x="1500" y="7811"/>
                  <a:pt x="1417" y="8038"/>
                  <a:pt x="1250" y="8204"/>
                </a:cubicBezTo>
                <a:lnTo>
                  <a:pt x="1084" y="8371"/>
                </a:lnTo>
                <a:lnTo>
                  <a:pt x="1072" y="8347"/>
                </a:lnTo>
                <a:cubicBezTo>
                  <a:pt x="1042" y="8317"/>
                  <a:pt x="997" y="8303"/>
                  <a:pt x="953" y="8303"/>
                </a:cubicBezTo>
                <a:cubicBezTo>
                  <a:pt x="908" y="8303"/>
                  <a:pt x="863" y="8317"/>
                  <a:pt x="833" y="8347"/>
                </a:cubicBezTo>
                <a:lnTo>
                  <a:pt x="60" y="9121"/>
                </a:lnTo>
                <a:cubicBezTo>
                  <a:pt x="0" y="9181"/>
                  <a:pt x="0" y="9300"/>
                  <a:pt x="60" y="9359"/>
                </a:cubicBezTo>
                <a:lnTo>
                  <a:pt x="2048" y="11360"/>
                </a:lnTo>
                <a:cubicBezTo>
                  <a:pt x="2084" y="11383"/>
                  <a:pt x="2119" y="11407"/>
                  <a:pt x="2167" y="11407"/>
                </a:cubicBezTo>
                <a:cubicBezTo>
                  <a:pt x="2215" y="11407"/>
                  <a:pt x="2262" y="11383"/>
                  <a:pt x="2286" y="11360"/>
                </a:cubicBezTo>
                <a:lnTo>
                  <a:pt x="3060" y="10586"/>
                </a:lnTo>
                <a:cubicBezTo>
                  <a:pt x="3119" y="10526"/>
                  <a:pt x="3119" y="10407"/>
                  <a:pt x="3060" y="10348"/>
                </a:cubicBezTo>
                <a:lnTo>
                  <a:pt x="3048" y="10336"/>
                </a:lnTo>
                <a:lnTo>
                  <a:pt x="3370" y="10002"/>
                </a:lnTo>
                <a:cubicBezTo>
                  <a:pt x="3405" y="9978"/>
                  <a:pt x="3453" y="9943"/>
                  <a:pt x="3489" y="9943"/>
                </a:cubicBezTo>
                <a:cubicBezTo>
                  <a:pt x="3572" y="9943"/>
                  <a:pt x="3631" y="9931"/>
                  <a:pt x="3691" y="9919"/>
                </a:cubicBezTo>
                <a:cubicBezTo>
                  <a:pt x="3751" y="9895"/>
                  <a:pt x="3822" y="9871"/>
                  <a:pt x="3881" y="9836"/>
                </a:cubicBezTo>
                <a:cubicBezTo>
                  <a:pt x="3953" y="9800"/>
                  <a:pt x="3989" y="9693"/>
                  <a:pt x="3941" y="9621"/>
                </a:cubicBezTo>
                <a:cubicBezTo>
                  <a:pt x="3910" y="9566"/>
                  <a:pt x="3853" y="9537"/>
                  <a:pt x="3797" y="9537"/>
                </a:cubicBezTo>
                <a:cubicBezTo>
                  <a:pt x="3768" y="9537"/>
                  <a:pt x="3739" y="9545"/>
                  <a:pt x="3715" y="9562"/>
                </a:cubicBezTo>
                <a:cubicBezTo>
                  <a:pt x="3667" y="9574"/>
                  <a:pt x="3643" y="9597"/>
                  <a:pt x="3596" y="9597"/>
                </a:cubicBezTo>
                <a:cubicBezTo>
                  <a:pt x="3548" y="9621"/>
                  <a:pt x="3512" y="9621"/>
                  <a:pt x="3465" y="9633"/>
                </a:cubicBezTo>
                <a:cubicBezTo>
                  <a:pt x="3334" y="9645"/>
                  <a:pt x="3215" y="9693"/>
                  <a:pt x="3119" y="9776"/>
                </a:cubicBezTo>
                <a:lnTo>
                  <a:pt x="2798" y="10109"/>
                </a:lnTo>
                <a:lnTo>
                  <a:pt x="1286" y="8609"/>
                </a:lnTo>
                <a:lnTo>
                  <a:pt x="1453" y="8443"/>
                </a:lnTo>
                <a:cubicBezTo>
                  <a:pt x="1691" y="8204"/>
                  <a:pt x="1810" y="7895"/>
                  <a:pt x="1798" y="7561"/>
                </a:cubicBezTo>
                <a:cubicBezTo>
                  <a:pt x="1762" y="6919"/>
                  <a:pt x="1691" y="6109"/>
                  <a:pt x="1584" y="5692"/>
                </a:cubicBezTo>
                <a:cubicBezTo>
                  <a:pt x="1607" y="5668"/>
                  <a:pt x="1643" y="5645"/>
                  <a:pt x="1679" y="5609"/>
                </a:cubicBezTo>
                <a:cubicBezTo>
                  <a:pt x="1699" y="5605"/>
                  <a:pt x="1720" y="5604"/>
                  <a:pt x="1741" y="5604"/>
                </a:cubicBezTo>
                <a:cubicBezTo>
                  <a:pt x="1865" y="5604"/>
                  <a:pt x="1989" y="5663"/>
                  <a:pt x="2060" y="5776"/>
                </a:cubicBezTo>
                <a:lnTo>
                  <a:pt x="2453" y="6728"/>
                </a:lnTo>
                <a:cubicBezTo>
                  <a:pt x="2465" y="6788"/>
                  <a:pt x="2524" y="6823"/>
                  <a:pt x="2572" y="6835"/>
                </a:cubicBezTo>
                <a:cubicBezTo>
                  <a:pt x="2586" y="6838"/>
                  <a:pt x="2600" y="6839"/>
                  <a:pt x="2613" y="6839"/>
                </a:cubicBezTo>
                <a:cubicBezTo>
                  <a:pt x="2657" y="6839"/>
                  <a:pt x="2696" y="6824"/>
                  <a:pt x="2715" y="6788"/>
                </a:cubicBezTo>
                <a:lnTo>
                  <a:pt x="4441" y="5061"/>
                </a:lnTo>
                <a:lnTo>
                  <a:pt x="5298" y="4216"/>
                </a:lnTo>
                <a:lnTo>
                  <a:pt x="5382" y="4121"/>
                </a:lnTo>
                <a:cubicBezTo>
                  <a:pt x="5417" y="4085"/>
                  <a:pt x="5465" y="4067"/>
                  <a:pt x="5514" y="4067"/>
                </a:cubicBezTo>
                <a:cubicBezTo>
                  <a:pt x="5563" y="4067"/>
                  <a:pt x="5614" y="4085"/>
                  <a:pt x="5656" y="4121"/>
                </a:cubicBezTo>
                <a:lnTo>
                  <a:pt x="5679" y="4156"/>
                </a:lnTo>
                <a:cubicBezTo>
                  <a:pt x="5715" y="4180"/>
                  <a:pt x="5739" y="4240"/>
                  <a:pt x="5739" y="4287"/>
                </a:cubicBezTo>
                <a:cubicBezTo>
                  <a:pt x="5739" y="4335"/>
                  <a:pt x="5727" y="4382"/>
                  <a:pt x="5679" y="4418"/>
                </a:cubicBezTo>
                <a:lnTo>
                  <a:pt x="5060" y="5049"/>
                </a:lnTo>
                <a:lnTo>
                  <a:pt x="4739" y="5359"/>
                </a:lnTo>
                <a:lnTo>
                  <a:pt x="3584" y="6526"/>
                </a:lnTo>
                <a:cubicBezTo>
                  <a:pt x="3524" y="6585"/>
                  <a:pt x="3524" y="6704"/>
                  <a:pt x="3584" y="6764"/>
                </a:cubicBezTo>
                <a:cubicBezTo>
                  <a:pt x="3608" y="6788"/>
                  <a:pt x="3655" y="6799"/>
                  <a:pt x="3703" y="6799"/>
                </a:cubicBezTo>
                <a:cubicBezTo>
                  <a:pt x="3751" y="6799"/>
                  <a:pt x="3786" y="6788"/>
                  <a:pt x="3822" y="6764"/>
                </a:cubicBezTo>
                <a:lnTo>
                  <a:pt x="5834" y="4752"/>
                </a:lnTo>
                <a:cubicBezTo>
                  <a:pt x="5846" y="4740"/>
                  <a:pt x="5870" y="4716"/>
                  <a:pt x="5894" y="4704"/>
                </a:cubicBezTo>
                <a:cubicBezTo>
                  <a:pt x="5912" y="4696"/>
                  <a:pt x="5934" y="4692"/>
                  <a:pt x="5955" y="4692"/>
                </a:cubicBezTo>
                <a:cubicBezTo>
                  <a:pt x="6002" y="4692"/>
                  <a:pt x="6052" y="4711"/>
                  <a:pt x="6084" y="4752"/>
                </a:cubicBezTo>
                <a:lnTo>
                  <a:pt x="6132" y="4799"/>
                </a:lnTo>
                <a:cubicBezTo>
                  <a:pt x="6203" y="4871"/>
                  <a:pt x="6203" y="4978"/>
                  <a:pt x="6132" y="5049"/>
                </a:cubicBezTo>
                <a:lnTo>
                  <a:pt x="5132" y="6049"/>
                </a:lnTo>
                <a:lnTo>
                  <a:pt x="5072" y="6109"/>
                </a:lnTo>
                <a:lnTo>
                  <a:pt x="3941" y="7240"/>
                </a:lnTo>
                <a:cubicBezTo>
                  <a:pt x="3881" y="7300"/>
                  <a:pt x="3881" y="7419"/>
                  <a:pt x="3941" y="7478"/>
                </a:cubicBezTo>
                <a:cubicBezTo>
                  <a:pt x="3965" y="7502"/>
                  <a:pt x="4012" y="7514"/>
                  <a:pt x="4060" y="7514"/>
                </a:cubicBezTo>
                <a:cubicBezTo>
                  <a:pt x="4108" y="7514"/>
                  <a:pt x="4143" y="7502"/>
                  <a:pt x="4179" y="7478"/>
                </a:cubicBezTo>
                <a:lnTo>
                  <a:pt x="5310" y="6347"/>
                </a:lnTo>
                <a:lnTo>
                  <a:pt x="6310" y="5347"/>
                </a:lnTo>
                <a:cubicBezTo>
                  <a:pt x="6334" y="5311"/>
                  <a:pt x="6382" y="5299"/>
                  <a:pt x="6429" y="5299"/>
                </a:cubicBezTo>
                <a:cubicBezTo>
                  <a:pt x="6465" y="5299"/>
                  <a:pt x="6513" y="5311"/>
                  <a:pt x="6548" y="5347"/>
                </a:cubicBezTo>
                <a:lnTo>
                  <a:pt x="6584" y="5395"/>
                </a:lnTo>
                <a:cubicBezTo>
                  <a:pt x="6620" y="5418"/>
                  <a:pt x="6632" y="5466"/>
                  <a:pt x="6632" y="5514"/>
                </a:cubicBezTo>
                <a:cubicBezTo>
                  <a:pt x="6632" y="5549"/>
                  <a:pt x="6620" y="5597"/>
                  <a:pt x="6584" y="5633"/>
                </a:cubicBezTo>
                <a:lnTo>
                  <a:pt x="5596" y="6621"/>
                </a:lnTo>
                <a:lnTo>
                  <a:pt x="4655" y="7561"/>
                </a:lnTo>
                <a:cubicBezTo>
                  <a:pt x="4596" y="7621"/>
                  <a:pt x="4596" y="7740"/>
                  <a:pt x="4655" y="7800"/>
                </a:cubicBezTo>
                <a:cubicBezTo>
                  <a:pt x="4679" y="7835"/>
                  <a:pt x="4727" y="7847"/>
                  <a:pt x="4774" y="7847"/>
                </a:cubicBezTo>
                <a:cubicBezTo>
                  <a:pt x="4822" y="7847"/>
                  <a:pt x="4858" y="7835"/>
                  <a:pt x="4894" y="7800"/>
                </a:cubicBezTo>
                <a:lnTo>
                  <a:pt x="6691" y="6002"/>
                </a:lnTo>
                <a:cubicBezTo>
                  <a:pt x="6728" y="5965"/>
                  <a:pt x="6764" y="5950"/>
                  <a:pt x="6806" y="5950"/>
                </a:cubicBezTo>
                <a:cubicBezTo>
                  <a:pt x="6819" y="5950"/>
                  <a:pt x="6832" y="5951"/>
                  <a:pt x="6846" y="5954"/>
                </a:cubicBezTo>
                <a:cubicBezTo>
                  <a:pt x="6870" y="5954"/>
                  <a:pt x="6906" y="5966"/>
                  <a:pt x="6918" y="6002"/>
                </a:cubicBezTo>
                <a:lnTo>
                  <a:pt x="6977" y="6061"/>
                </a:lnTo>
                <a:cubicBezTo>
                  <a:pt x="7037" y="6121"/>
                  <a:pt x="7037" y="6228"/>
                  <a:pt x="6977" y="6287"/>
                </a:cubicBezTo>
                <a:lnTo>
                  <a:pt x="5608" y="7657"/>
                </a:lnTo>
                <a:lnTo>
                  <a:pt x="4179" y="9085"/>
                </a:lnTo>
                <a:cubicBezTo>
                  <a:pt x="4120" y="9145"/>
                  <a:pt x="4120" y="9264"/>
                  <a:pt x="4179" y="9324"/>
                </a:cubicBezTo>
                <a:cubicBezTo>
                  <a:pt x="4203" y="9347"/>
                  <a:pt x="4251" y="9359"/>
                  <a:pt x="4298" y="9359"/>
                </a:cubicBezTo>
                <a:cubicBezTo>
                  <a:pt x="4346" y="9359"/>
                  <a:pt x="4382" y="9347"/>
                  <a:pt x="4417" y="9324"/>
                </a:cubicBezTo>
                <a:lnTo>
                  <a:pt x="5727" y="8014"/>
                </a:lnTo>
                <a:lnTo>
                  <a:pt x="6406" y="8693"/>
                </a:lnTo>
                <a:lnTo>
                  <a:pt x="5679" y="8990"/>
                </a:lnTo>
                <a:cubicBezTo>
                  <a:pt x="5679" y="8990"/>
                  <a:pt x="5667" y="8990"/>
                  <a:pt x="5667" y="9002"/>
                </a:cubicBezTo>
                <a:cubicBezTo>
                  <a:pt x="5382" y="9169"/>
                  <a:pt x="5251" y="9502"/>
                  <a:pt x="5334" y="9800"/>
                </a:cubicBezTo>
                <a:cubicBezTo>
                  <a:pt x="5334" y="9812"/>
                  <a:pt x="5358" y="9824"/>
                  <a:pt x="5358" y="9836"/>
                </a:cubicBezTo>
                <a:cubicBezTo>
                  <a:pt x="5430" y="9969"/>
                  <a:pt x="5564" y="10121"/>
                  <a:pt x="5707" y="10121"/>
                </a:cubicBezTo>
                <a:cubicBezTo>
                  <a:pt x="5730" y="10121"/>
                  <a:pt x="5752" y="10117"/>
                  <a:pt x="5775" y="10109"/>
                </a:cubicBezTo>
                <a:cubicBezTo>
                  <a:pt x="6048" y="10014"/>
                  <a:pt x="6703" y="9943"/>
                  <a:pt x="7620" y="9895"/>
                </a:cubicBezTo>
                <a:cubicBezTo>
                  <a:pt x="7633" y="9894"/>
                  <a:pt x="7647" y="9894"/>
                  <a:pt x="7660" y="9894"/>
                </a:cubicBezTo>
                <a:cubicBezTo>
                  <a:pt x="7882" y="9894"/>
                  <a:pt x="8082" y="9987"/>
                  <a:pt x="8239" y="10133"/>
                </a:cubicBezTo>
                <a:lnTo>
                  <a:pt x="8406" y="10300"/>
                </a:lnTo>
                <a:lnTo>
                  <a:pt x="8394" y="10312"/>
                </a:lnTo>
                <a:cubicBezTo>
                  <a:pt x="8334" y="10371"/>
                  <a:pt x="8334" y="10490"/>
                  <a:pt x="8394" y="10550"/>
                </a:cubicBezTo>
                <a:lnTo>
                  <a:pt x="9168" y="11324"/>
                </a:lnTo>
                <a:cubicBezTo>
                  <a:pt x="9192" y="11360"/>
                  <a:pt x="9239" y="11371"/>
                  <a:pt x="9287" y="11371"/>
                </a:cubicBezTo>
                <a:cubicBezTo>
                  <a:pt x="9323" y="11371"/>
                  <a:pt x="9370" y="11360"/>
                  <a:pt x="9406" y="11324"/>
                </a:cubicBezTo>
                <a:lnTo>
                  <a:pt x="11394" y="9335"/>
                </a:lnTo>
                <a:cubicBezTo>
                  <a:pt x="11454" y="9276"/>
                  <a:pt x="11454" y="9157"/>
                  <a:pt x="11394" y="9097"/>
                </a:cubicBezTo>
                <a:lnTo>
                  <a:pt x="10656" y="8395"/>
                </a:lnTo>
                <a:cubicBezTo>
                  <a:pt x="10620" y="8371"/>
                  <a:pt x="10585" y="8359"/>
                  <a:pt x="10537" y="8359"/>
                </a:cubicBezTo>
                <a:cubicBezTo>
                  <a:pt x="10489" y="8359"/>
                  <a:pt x="10442" y="8371"/>
                  <a:pt x="10418" y="8395"/>
                </a:cubicBezTo>
                <a:lnTo>
                  <a:pt x="10406" y="8419"/>
                </a:lnTo>
                <a:lnTo>
                  <a:pt x="10073" y="8085"/>
                </a:lnTo>
                <a:cubicBezTo>
                  <a:pt x="10061" y="8073"/>
                  <a:pt x="10049" y="8050"/>
                  <a:pt x="10025" y="8026"/>
                </a:cubicBezTo>
                <a:cubicBezTo>
                  <a:pt x="10013" y="8014"/>
                  <a:pt x="10013" y="7978"/>
                  <a:pt x="10013" y="7954"/>
                </a:cubicBezTo>
                <a:cubicBezTo>
                  <a:pt x="10001" y="7728"/>
                  <a:pt x="9906" y="7526"/>
                  <a:pt x="9751" y="7359"/>
                </a:cubicBezTo>
                <a:lnTo>
                  <a:pt x="8108" y="5716"/>
                </a:lnTo>
                <a:lnTo>
                  <a:pt x="8799" y="5037"/>
                </a:lnTo>
                <a:lnTo>
                  <a:pt x="9096" y="5764"/>
                </a:lnTo>
                <a:cubicBezTo>
                  <a:pt x="9096" y="5764"/>
                  <a:pt x="9096" y="5776"/>
                  <a:pt x="9108" y="5776"/>
                </a:cubicBezTo>
                <a:cubicBezTo>
                  <a:pt x="9242" y="6004"/>
                  <a:pt x="9474" y="6134"/>
                  <a:pt x="9714" y="6134"/>
                </a:cubicBezTo>
                <a:cubicBezTo>
                  <a:pt x="9774" y="6134"/>
                  <a:pt x="9835" y="6126"/>
                  <a:pt x="9894" y="6109"/>
                </a:cubicBezTo>
                <a:cubicBezTo>
                  <a:pt x="9906" y="6109"/>
                  <a:pt x="9930" y="6097"/>
                  <a:pt x="9942" y="6097"/>
                </a:cubicBezTo>
                <a:cubicBezTo>
                  <a:pt x="10085" y="6002"/>
                  <a:pt x="10263" y="5835"/>
                  <a:pt x="10204" y="5680"/>
                </a:cubicBezTo>
                <a:cubicBezTo>
                  <a:pt x="10120" y="5406"/>
                  <a:pt x="10049" y="4740"/>
                  <a:pt x="10001" y="3835"/>
                </a:cubicBezTo>
                <a:cubicBezTo>
                  <a:pt x="9989" y="3632"/>
                  <a:pt x="10049" y="3442"/>
                  <a:pt x="10168" y="3299"/>
                </a:cubicBezTo>
                <a:cubicBezTo>
                  <a:pt x="10192" y="3263"/>
                  <a:pt x="10204" y="3239"/>
                  <a:pt x="10239" y="3204"/>
                </a:cubicBezTo>
                <a:lnTo>
                  <a:pt x="10406" y="3037"/>
                </a:lnTo>
                <a:lnTo>
                  <a:pt x="10418" y="3061"/>
                </a:lnTo>
                <a:cubicBezTo>
                  <a:pt x="10442" y="3085"/>
                  <a:pt x="10489" y="3097"/>
                  <a:pt x="10537" y="3097"/>
                </a:cubicBezTo>
                <a:cubicBezTo>
                  <a:pt x="10585" y="3097"/>
                  <a:pt x="10620" y="3085"/>
                  <a:pt x="10656" y="3061"/>
                </a:cubicBezTo>
                <a:lnTo>
                  <a:pt x="11430" y="2287"/>
                </a:lnTo>
                <a:cubicBezTo>
                  <a:pt x="11490" y="2227"/>
                  <a:pt x="11490" y="2096"/>
                  <a:pt x="11430" y="2037"/>
                </a:cubicBezTo>
                <a:lnTo>
                  <a:pt x="9430" y="49"/>
                </a:lnTo>
                <a:cubicBezTo>
                  <a:pt x="9406" y="13"/>
                  <a:pt x="9358" y="1"/>
                  <a:pt x="9311" y="1"/>
                </a:cubicBezTo>
                <a:cubicBezTo>
                  <a:pt x="9275" y="1"/>
                  <a:pt x="9227" y="25"/>
                  <a:pt x="9192" y="49"/>
                </a:cubicBezTo>
                <a:lnTo>
                  <a:pt x="8418" y="823"/>
                </a:lnTo>
                <a:cubicBezTo>
                  <a:pt x="8358" y="882"/>
                  <a:pt x="8358" y="1001"/>
                  <a:pt x="8418" y="1061"/>
                </a:cubicBezTo>
                <a:lnTo>
                  <a:pt x="8442" y="1073"/>
                </a:lnTo>
                <a:lnTo>
                  <a:pt x="8108" y="1406"/>
                </a:lnTo>
                <a:cubicBezTo>
                  <a:pt x="8096" y="1418"/>
                  <a:pt x="8084" y="1430"/>
                  <a:pt x="8049" y="1454"/>
                </a:cubicBezTo>
                <a:cubicBezTo>
                  <a:pt x="8037" y="1465"/>
                  <a:pt x="8001" y="1465"/>
                  <a:pt x="7977" y="1465"/>
                </a:cubicBezTo>
                <a:cubicBezTo>
                  <a:pt x="7751" y="1477"/>
                  <a:pt x="7549" y="1573"/>
                  <a:pt x="7382" y="1727"/>
                </a:cubicBezTo>
                <a:lnTo>
                  <a:pt x="7191" y="1930"/>
                </a:lnTo>
                <a:cubicBezTo>
                  <a:pt x="7132" y="1989"/>
                  <a:pt x="7132" y="2108"/>
                  <a:pt x="7191" y="2168"/>
                </a:cubicBezTo>
                <a:cubicBezTo>
                  <a:pt x="7215" y="2192"/>
                  <a:pt x="7263" y="2204"/>
                  <a:pt x="7310" y="2204"/>
                </a:cubicBezTo>
                <a:cubicBezTo>
                  <a:pt x="7346" y="2204"/>
                  <a:pt x="7394" y="2192"/>
                  <a:pt x="7418" y="2168"/>
                </a:cubicBezTo>
                <a:lnTo>
                  <a:pt x="7632" y="1954"/>
                </a:lnTo>
                <a:cubicBezTo>
                  <a:pt x="7739" y="1846"/>
                  <a:pt x="7870" y="1787"/>
                  <a:pt x="8001" y="1787"/>
                </a:cubicBezTo>
                <a:cubicBezTo>
                  <a:pt x="8061" y="1787"/>
                  <a:pt x="8132" y="1775"/>
                  <a:pt x="8180" y="1751"/>
                </a:cubicBezTo>
                <a:cubicBezTo>
                  <a:pt x="8239" y="1715"/>
                  <a:pt x="8287" y="1692"/>
                  <a:pt x="8346" y="1644"/>
                </a:cubicBezTo>
                <a:lnTo>
                  <a:pt x="8680" y="1311"/>
                </a:lnTo>
                <a:lnTo>
                  <a:pt x="10180" y="2823"/>
                </a:lnTo>
                <a:lnTo>
                  <a:pt x="10013" y="2978"/>
                </a:lnTo>
                <a:cubicBezTo>
                  <a:pt x="9966" y="3025"/>
                  <a:pt x="9942" y="3073"/>
                  <a:pt x="9894" y="3120"/>
                </a:cubicBezTo>
                <a:cubicBezTo>
                  <a:pt x="9727" y="3335"/>
                  <a:pt x="9656" y="3597"/>
                  <a:pt x="9668" y="3859"/>
                </a:cubicBezTo>
                <a:cubicBezTo>
                  <a:pt x="9704" y="4502"/>
                  <a:pt x="9775" y="5311"/>
                  <a:pt x="9882" y="5740"/>
                </a:cubicBezTo>
                <a:cubicBezTo>
                  <a:pt x="9870" y="5752"/>
                  <a:pt x="9823" y="5776"/>
                  <a:pt x="9787" y="5811"/>
                </a:cubicBezTo>
                <a:cubicBezTo>
                  <a:pt x="9766" y="5815"/>
                  <a:pt x="9745" y="5816"/>
                  <a:pt x="9725" y="5816"/>
                </a:cubicBezTo>
                <a:cubicBezTo>
                  <a:pt x="9601" y="5816"/>
                  <a:pt x="9477" y="5757"/>
                  <a:pt x="9406" y="5645"/>
                </a:cubicBezTo>
                <a:lnTo>
                  <a:pt x="9013" y="4692"/>
                </a:lnTo>
                <a:cubicBezTo>
                  <a:pt x="9001" y="4633"/>
                  <a:pt x="8942" y="4609"/>
                  <a:pt x="8894" y="4585"/>
                </a:cubicBezTo>
                <a:cubicBezTo>
                  <a:pt x="8880" y="4582"/>
                  <a:pt x="8866" y="4581"/>
                  <a:pt x="8852" y="4581"/>
                </a:cubicBezTo>
                <a:cubicBezTo>
                  <a:pt x="8808" y="4581"/>
                  <a:pt x="8769" y="4596"/>
                  <a:pt x="8751" y="4633"/>
                </a:cubicBezTo>
                <a:lnTo>
                  <a:pt x="7346" y="6026"/>
                </a:lnTo>
                <a:lnTo>
                  <a:pt x="7263" y="5895"/>
                </a:lnTo>
                <a:lnTo>
                  <a:pt x="7203" y="5835"/>
                </a:lnTo>
                <a:cubicBezTo>
                  <a:pt x="7156" y="5799"/>
                  <a:pt x="7108" y="5764"/>
                  <a:pt x="7072" y="5752"/>
                </a:cubicBezTo>
                <a:lnTo>
                  <a:pt x="7906" y="4918"/>
                </a:lnTo>
                <a:cubicBezTo>
                  <a:pt x="7965" y="4859"/>
                  <a:pt x="7965" y="4740"/>
                  <a:pt x="7906" y="4680"/>
                </a:cubicBezTo>
                <a:cubicBezTo>
                  <a:pt x="7876" y="4650"/>
                  <a:pt x="7831" y="4635"/>
                  <a:pt x="7787" y="4635"/>
                </a:cubicBezTo>
                <a:cubicBezTo>
                  <a:pt x="7742" y="4635"/>
                  <a:pt x="7697" y="4650"/>
                  <a:pt x="7668" y="4680"/>
                </a:cubicBezTo>
                <a:lnTo>
                  <a:pt x="6977" y="5359"/>
                </a:lnTo>
                <a:cubicBezTo>
                  <a:pt x="6953" y="5299"/>
                  <a:pt x="6918" y="5252"/>
                  <a:pt x="6870" y="5216"/>
                </a:cubicBezTo>
                <a:lnTo>
                  <a:pt x="6834" y="5168"/>
                </a:lnTo>
                <a:cubicBezTo>
                  <a:pt x="6787" y="5121"/>
                  <a:pt x="6739" y="5097"/>
                  <a:pt x="6679" y="5061"/>
                </a:cubicBezTo>
                <a:lnTo>
                  <a:pt x="7549" y="4204"/>
                </a:lnTo>
                <a:cubicBezTo>
                  <a:pt x="7608" y="4144"/>
                  <a:pt x="7608" y="4025"/>
                  <a:pt x="7549" y="3966"/>
                </a:cubicBezTo>
                <a:cubicBezTo>
                  <a:pt x="7519" y="3936"/>
                  <a:pt x="7474" y="3921"/>
                  <a:pt x="7430" y="3921"/>
                </a:cubicBezTo>
                <a:cubicBezTo>
                  <a:pt x="7385" y="3921"/>
                  <a:pt x="7340" y="3936"/>
                  <a:pt x="7310" y="3966"/>
                </a:cubicBezTo>
                <a:lnTo>
                  <a:pt x="6513" y="4752"/>
                </a:lnTo>
                <a:cubicBezTo>
                  <a:pt x="6489" y="4692"/>
                  <a:pt x="6453" y="4644"/>
                  <a:pt x="6418" y="4597"/>
                </a:cubicBezTo>
                <a:lnTo>
                  <a:pt x="6370" y="4561"/>
                </a:lnTo>
                <a:cubicBezTo>
                  <a:pt x="6322" y="4513"/>
                  <a:pt x="6275" y="4478"/>
                  <a:pt x="6215" y="4454"/>
                </a:cubicBezTo>
                <a:lnTo>
                  <a:pt x="6834" y="3847"/>
                </a:lnTo>
                <a:cubicBezTo>
                  <a:pt x="6894" y="3787"/>
                  <a:pt x="6894" y="3668"/>
                  <a:pt x="6834" y="3609"/>
                </a:cubicBezTo>
                <a:cubicBezTo>
                  <a:pt x="6804" y="3579"/>
                  <a:pt x="6760" y="3564"/>
                  <a:pt x="6715" y="3564"/>
                </a:cubicBezTo>
                <a:cubicBezTo>
                  <a:pt x="6671" y="3564"/>
                  <a:pt x="6626" y="3579"/>
                  <a:pt x="6596" y="3609"/>
                </a:cubicBezTo>
                <a:lnTo>
                  <a:pt x="6084" y="4109"/>
                </a:lnTo>
                <a:cubicBezTo>
                  <a:pt x="6060" y="4049"/>
                  <a:pt x="6025" y="3990"/>
                  <a:pt x="5977" y="3942"/>
                </a:cubicBezTo>
                <a:lnTo>
                  <a:pt x="5953" y="3918"/>
                </a:lnTo>
                <a:cubicBezTo>
                  <a:pt x="5906" y="3871"/>
                  <a:pt x="5846" y="3823"/>
                  <a:pt x="5786" y="3811"/>
                </a:cubicBezTo>
                <a:lnTo>
                  <a:pt x="6965" y="2632"/>
                </a:lnTo>
                <a:cubicBezTo>
                  <a:pt x="7025" y="2573"/>
                  <a:pt x="7025" y="2454"/>
                  <a:pt x="6965" y="2394"/>
                </a:cubicBezTo>
                <a:cubicBezTo>
                  <a:pt x="6935" y="2364"/>
                  <a:pt x="6891" y="2349"/>
                  <a:pt x="6846" y="2349"/>
                </a:cubicBezTo>
                <a:cubicBezTo>
                  <a:pt x="6801" y="2349"/>
                  <a:pt x="6757" y="2364"/>
                  <a:pt x="6727" y="2394"/>
                </a:cubicBezTo>
                <a:lnTo>
                  <a:pt x="5751" y="3370"/>
                </a:lnTo>
                <a:lnTo>
                  <a:pt x="5072" y="2680"/>
                </a:lnTo>
                <a:lnTo>
                  <a:pt x="5798" y="2382"/>
                </a:lnTo>
                <a:cubicBezTo>
                  <a:pt x="5798" y="2382"/>
                  <a:pt x="5810" y="2382"/>
                  <a:pt x="5810" y="2370"/>
                </a:cubicBezTo>
                <a:cubicBezTo>
                  <a:pt x="6096" y="2204"/>
                  <a:pt x="6227" y="1882"/>
                  <a:pt x="6144" y="1585"/>
                </a:cubicBezTo>
                <a:cubicBezTo>
                  <a:pt x="6144" y="1561"/>
                  <a:pt x="6132" y="1549"/>
                  <a:pt x="6132" y="1537"/>
                </a:cubicBezTo>
                <a:cubicBezTo>
                  <a:pt x="6049" y="1403"/>
                  <a:pt x="5914" y="1251"/>
                  <a:pt x="5778" y="1251"/>
                </a:cubicBezTo>
                <a:cubicBezTo>
                  <a:pt x="5757" y="1251"/>
                  <a:pt x="5736" y="1255"/>
                  <a:pt x="5715" y="1263"/>
                </a:cubicBezTo>
                <a:cubicBezTo>
                  <a:pt x="5429" y="1358"/>
                  <a:pt x="4774" y="1430"/>
                  <a:pt x="3870" y="1477"/>
                </a:cubicBezTo>
                <a:cubicBezTo>
                  <a:pt x="3855" y="1478"/>
                  <a:pt x="3840" y="1478"/>
                  <a:pt x="3825" y="1478"/>
                </a:cubicBezTo>
                <a:cubicBezTo>
                  <a:pt x="3603" y="1478"/>
                  <a:pt x="3395" y="1395"/>
                  <a:pt x="3239" y="1239"/>
                </a:cubicBezTo>
                <a:lnTo>
                  <a:pt x="3072" y="1073"/>
                </a:lnTo>
                <a:lnTo>
                  <a:pt x="3096" y="1061"/>
                </a:lnTo>
                <a:cubicBezTo>
                  <a:pt x="3155" y="1001"/>
                  <a:pt x="3155" y="882"/>
                  <a:pt x="3096" y="823"/>
                </a:cubicBezTo>
                <a:lnTo>
                  <a:pt x="2322" y="49"/>
                </a:lnTo>
                <a:cubicBezTo>
                  <a:pt x="2286" y="13"/>
                  <a:pt x="2238" y="1"/>
                  <a:pt x="22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840" name="Google Shape;11840;p61"/>
          <p:cNvGrpSpPr/>
          <p:nvPr/>
        </p:nvGrpSpPr>
        <p:grpSpPr>
          <a:xfrm>
            <a:off x="3961923" y="2486317"/>
            <a:ext cx="364415" cy="220936"/>
            <a:chOff x="3961923" y="2486317"/>
            <a:chExt cx="364415" cy="220936"/>
          </a:xfrm>
        </p:grpSpPr>
        <p:sp>
          <p:nvSpPr>
            <p:cNvPr id="11841" name="Google Shape;11841;p61"/>
            <p:cNvSpPr/>
            <p:nvPr/>
          </p:nvSpPr>
          <p:spPr>
            <a:xfrm>
              <a:off x="4106764" y="2486507"/>
              <a:ext cx="219574" cy="220746"/>
            </a:xfrm>
            <a:custGeom>
              <a:avLst/>
              <a:gdLst/>
              <a:ahLst/>
              <a:cxnLst/>
              <a:rect l="l" t="t" r="r" b="b"/>
              <a:pathLst>
                <a:path w="6931" h="6968" extrusionOk="0">
                  <a:moveTo>
                    <a:pt x="4114" y="1"/>
                  </a:moveTo>
                  <a:cubicBezTo>
                    <a:pt x="4035" y="1"/>
                    <a:pt x="3953" y="69"/>
                    <a:pt x="3942" y="157"/>
                  </a:cubicBezTo>
                  <a:cubicBezTo>
                    <a:pt x="3930" y="240"/>
                    <a:pt x="4001" y="336"/>
                    <a:pt x="4085" y="348"/>
                  </a:cubicBezTo>
                  <a:cubicBezTo>
                    <a:pt x="4906" y="455"/>
                    <a:pt x="5633" y="895"/>
                    <a:pt x="6085" y="1574"/>
                  </a:cubicBezTo>
                  <a:cubicBezTo>
                    <a:pt x="6764" y="2610"/>
                    <a:pt x="6728" y="3943"/>
                    <a:pt x="5954" y="4908"/>
                  </a:cubicBezTo>
                  <a:cubicBezTo>
                    <a:pt x="5918" y="4943"/>
                    <a:pt x="5906" y="4991"/>
                    <a:pt x="5918" y="5027"/>
                  </a:cubicBezTo>
                  <a:lnTo>
                    <a:pt x="5990" y="6539"/>
                  </a:lnTo>
                  <a:lnTo>
                    <a:pt x="5990" y="6539"/>
                  </a:lnTo>
                  <a:lnTo>
                    <a:pt x="4644" y="5896"/>
                  </a:lnTo>
                  <a:cubicBezTo>
                    <a:pt x="4609" y="5884"/>
                    <a:pt x="4561" y="5884"/>
                    <a:pt x="4525" y="5884"/>
                  </a:cubicBezTo>
                  <a:cubicBezTo>
                    <a:pt x="4272" y="5957"/>
                    <a:pt x="4014" y="5992"/>
                    <a:pt x="3758" y="5992"/>
                  </a:cubicBezTo>
                  <a:cubicBezTo>
                    <a:pt x="2969" y="5992"/>
                    <a:pt x="2201" y="5659"/>
                    <a:pt x="1644" y="5074"/>
                  </a:cubicBezTo>
                  <a:cubicBezTo>
                    <a:pt x="1584" y="5015"/>
                    <a:pt x="1549" y="4955"/>
                    <a:pt x="1501" y="4896"/>
                  </a:cubicBezTo>
                  <a:cubicBezTo>
                    <a:pt x="1453" y="4836"/>
                    <a:pt x="1430" y="4789"/>
                    <a:pt x="1382" y="4729"/>
                  </a:cubicBezTo>
                  <a:lnTo>
                    <a:pt x="1382" y="4717"/>
                  </a:lnTo>
                  <a:cubicBezTo>
                    <a:pt x="1620" y="4300"/>
                    <a:pt x="1751" y="3836"/>
                    <a:pt x="1787" y="3384"/>
                  </a:cubicBezTo>
                  <a:cubicBezTo>
                    <a:pt x="1787" y="3288"/>
                    <a:pt x="1727" y="3205"/>
                    <a:pt x="1632" y="3205"/>
                  </a:cubicBezTo>
                  <a:cubicBezTo>
                    <a:pt x="1549" y="3205"/>
                    <a:pt x="1453" y="3265"/>
                    <a:pt x="1453" y="3348"/>
                  </a:cubicBezTo>
                  <a:cubicBezTo>
                    <a:pt x="1430" y="3836"/>
                    <a:pt x="1263" y="4312"/>
                    <a:pt x="977" y="4729"/>
                  </a:cubicBezTo>
                  <a:cubicBezTo>
                    <a:pt x="739" y="5074"/>
                    <a:pt x="441" y="5360"/>
                    <a:pt x="96" y="5586"/>
                  </a:cubicBezTo>
                  <a:cubicBezTo>
                    <a:pt x="25" y="5622"/>
                    <a:pt x="1" y="5729"/>
                    <a:pt x="37" y="5801"/>
                  </a:cubicBezTo>
                  <a:cubicBezTo>
                    <a:pt x="72" y="5848"/>
                    <a:pt x="132" y="5884"/>
                    <a:pt x="191" y="5884"/>
                  </a:cubicBezTo>
                  <a:cubicBezTo>
                    <a:pt x="215" y="5884"/>
                    <a:pt x="251" y="5860"/>
                    <a:pt x="275" y="5848"/>
                  </a:cubicBezTo>
                  <a:cubicBezTo>
                    <a:pt x="632" y="5622"/>
                    <a:pt x="953" y="5348"/>
                    <a:pt x="1192" y="5015"/>
                  </a:cubicBezTo>
                  <a:cubicBezTo>
                    <a:pt x="1203" y="5051"/>
                    <a:pt x="1215" y="5062"/>
                    <a:pt x="1251" y="5086"/>
                  </a:cubicBezTo>
                  <a:cubicBezTo>
                    <a:pt x="1311" y="5170"/>
                    <a:pt x="1370" y="5229"/>
                    <a:pt x="1406" y="5301"/>
                  </a:cubicBezTo>
                  <a:cubicBezTo>
                    <a:pt x="1811" y="5729"/>
                    <a:pt x="2323" y="6039"/>
                    <a:pt x="2894" y="6205"/>
                  </a:cubicBezTo>
                  <a:cubicBezTo>
                    <a:pt x="3179" y="6284"/>
                    <a:pt x="3465" y="6323"/>
                    <a:pt x="3749" y="6323"/>
                  </a:cubicBezTo>
                  <a:cubicBezTo>
                    <a:pt x="4021" y="6323"/>
                    <a:pt x="4293" y="6287"/>
                    <a:pt x="4561" y="6217"/>
                  </a:cubicBezTo>
                  <a:lnTo>
                    <a:pt x="6109" y="6956"/>
                  </a:lnTo>
                  <a:cubicBezTo>
                    <a:pt x="6145" y="6967"/>
                    <a:pt x="6156" y="6967"/>
                    <a:pt x="6192" y="6967"/>
                  </a:cubicBezTo>
                  <a:cubicBezTo>
                    <a:pt x="6216" y="6967"/>
                    <a:pt x="6252" y="6956"/>
                    <a:pt x="6275" y="6932"/>
                  </a:cubicBezTo>
                  <a:cubicBezTo>
                    <a:pt x="6323" y="6908"/>
                    <a:pt x="6347" y="6848"/>
                    <a:pt x="6347" y="6789"/>
                  </a:cubicBezTo>
                  <a:lnTo>
                    <a:pt x="6275" y="5074"/>
                  </a:lnTo>
                  <a:cubicBezTo>
                    <a:pt x="6668" y="4574"/>
                    <a:pt x="6883" y="3955"/>
                    <a:pt x="6918" y="3300"/>
                  </a:cubicBezTo>
                  <a:cubicBezTo>
                    <a:pt x="6930" y="2622"/>
                    <a:pt x="6752" y="1967"/>
                    <a:pt x="6371" y="1383"/>
                  </a:cubicBezTo>
                  <a:cubicBezTo>
                    <a:pt x="5859" y="633"/>
                    <a:pt x="5037" y="121"/>
                    <a:pt x="4132" y="2"/>
                  </a:cubicBezTo>
                  <a:cubicBezTo>
                    <a:pt x="4126" y="1"/>
                    <a:pt x="4120" y="1"/>
                    <a:pt x="41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2" name="Google Shape;11842;p61"/>
            <p:cNvSpPr/>
            <p:nvPr/>
          </p:nvSpPr>
          <p:spPr>
            <a:xfrm>
              <a:off x="3961923" y="2486317"/>
              <a:ext cx="259839" cy="220936"/>
            </a:xfrm>
            <a:custGeom>
              <a:avLst/>
              <a:gdLst/>
              <a:ahLst/>
              <a:cxnLst/>
              <a:rect l="l" t="t" r="r" b="b"/>
              <a:pathLst>
                <a:path w="8202" h="6974" extrusionOk="0">
                  <a:moveTo>
                    <a:pt x="3198" y="1"/>
                  </a:moveTo>
                  <a:cubicBezTo>
                    <a:pt x="2177" y="1"/>
                    <a:pt x="1174" y="493"/>
                    <a:pt x="560" y="1413"/>
                  </a:cubicBezTo>
                  <a:cubicBezTo>
                    <a:pt x="179" y="1973"/>
                    <a:pt x="1" y="2640"/>
                    <a:pt x="25" y="3318"/>
                  </a:cubicBezTo>
                  <a:cubicBezTo>
                    <a:pt x="60" y="3949"/>
                    <a:pt x="287" y="4556"/>
                    <a:pt x="668" y="5080"/>
                  </a:cubicBezTo>
                  <a:lnTo>
                    <a:pt x="596" y="6795"/>
                  </a:lnTo>
                  <a:cubicBezTo>
                    <a:pt x="596" y="6854"/>
                    <a:pt x="620" y="6914"/>
                    <a:pt x="668" y="6938"/>
                  </a:cubicBezTo>
                  <a:cubicBezTo>
                    <a:pt x="703" y="6962"/>
                    <a:pt x="727" y="6973"/>
                    <a:pt x="763" y="6973"/>
                  </a:cubicBezTo>
                  <a:cubicBezTo>
                    <a:pt x="787" y="6973"/>
                    <a:pt x="799" y="6973"/>
                    <a:pt x="834" y="6962"/>
                  </a:cubicBezTo>
                  <a:lnTo>
                    <a:pt x="2382" y="6235"/>
                  </a:lnTo>
                  <a:cubicBezTo>
                    <a:pt x="2647" y="6300"/>
                    <a:pt x="2916" y="6333"/>
                    <a:pt x="3186" y="6333"/>
                  </a:cubicBezTo>
                  <a:cubicBezTo>
                    <a:pt x="3512" y="6333"/>
                    <a:pt x="3837" y="6285"/>
                    <a:pt x="4156" y="6188"/>
                  </a:cubicBezTo>
                  <a:cubicBezTo>
                    <a:pt x="4240" y="6152"/>
                    <a:pt x="4287" y="6069"/>
                    <a:pt x="4251" y="5973"/>
                  </a:cubicBezTo>
                  <a:cubicBezTo>
                    <a:pt x="4233" y="5909"/>
                    <a:pt x="4172" y="5866"/>
                    <a:pt x="4107" y="5866"/>
                  </a:cubicBezTo>
                  <a:cubicBezTo>
                    <a:pt x="4088" y="5866"/>
                    <a:pt x="4068" y="5870"/>
                    <a:pt x="4049" y="5878"/>
                  </a:cubicBezTo>
                  <a:cubicBezTo>
                    <a:pt x="3772" y="5971"/>
                    <a:pt x="3484" y="6015"/>
                    <a:pt x="3198" y="6015"/>
                  </a:cubicBezTo>
                  <a:cubicBezTo>
                    <a:pt x="2931" y="6015"/>
                    <a:pt x="2664" y="5976"/>
                    <a:pt x="2406" y="5902"/>
                  </a:cubicBezTo>
                  <a:cubicBezTo>
                    <a:pt x="2391" y="5897"/>
                    <a:pt x="2376" y="5894"/>
                    <a:pt x="2361" y="5894"/>
                  </a:cubicBezTo>
                  <a:cubicBezTo>
                    <a:pt x="2339" y="5894"/>
                    <a:pt x="2315" y="5900"/>
                    <a:pt x="2287" y="5914"/>
                  </a:cubicBezTo>
                  <a:lnTo>
                    <a:pt x="941" y="6533"/>
                  </a:lnTo>
                  <a:lnTo>
                    <a:pt x="941" y="6533"/>
                  </a:lnTo>
                  <a:lnTo>
                    <a:pt x="1013" y="5021"/>
                  </a:lnTo>
                  <a:cubicBezTo>
                    <a:pt x="1013" y="4985"/>
                    <a:pt x="1001" y="4949"/>
                    <a:pt x="977" y="4902"/>
                  </a:cubicBezTo>
                  <a:cubicBezTo>
                    <a:pt x="203" y="3937"/>
                    <a:pt x="168" y="2604"/>
                    <a:pt x="846" y="1568"/>
                  </a:cubicBezTo>
                  <a:cubicBezTo>
                    <a:pt x="1393" y="759"/>
                    <a:pt x="2293" y="318"/>
                    <a:pt x="3208" y="318"/>
                  </a:cubicBezTo>
                  <a:cubicBezTo>
                    <a:pt x="3748" y="318"/>
                    <a:pt x="4294" y="472"/>
                    <a:pt x="4775" y="794"/>
                  </a:cubicBezTo>
                  <a:cubicBezTo>
                    <a:pt x="5430" y="1247"/>
                    <a:pt x="5883" y="1949"/>
                    <a:pt x="6002" y="2735"/>
                  </a:cubicBezTo>
                  <a:cubicBezTo>
                    <a:pt x="6013" y="2811"/>
                    <a:pt x="6083" y="2867"/>
                    <a:pt x="6168" y="2867"/>
                  </a:cubicBezTo>
                  <a:cubicBezTo>
                    <a:pt x="6176" y="2867"/>
                    <a:pt x="6184" y="2867"/>
                    <a:pt x="6192" y="2866"/>
                  </a:cubicBezTo>
                  <a:cubicBezTo>
                    <a:pt x="6275" y="2854"/>
                    <a:pt x="6335" y="2759"/>
                    <a:pt x="6323" y="2675"/>
                  </a:cubicBezTo>
                  <a:cubicBezTo>
                    <a:pt x="6264" y="2282"/>
                    <a:pt x="6133" y="1913"/>
                    <a:pt x="5954" y="1592"/>
                  </a:cubicBezTo>
                  <a:cubicBezTo>
                    <a:pt x="5990" y="1532"/>
                    <a:pt x="6025" y="1473"/>
                    <a:pt x="6073" y="1413"/>
                  </a:cubicBezTo>
                  <a:cubicBezTo>
                    <a:pt x="6133" y="1330"/>
                    <a:pt x="6192" y="1270"/>
                    <a:pt x="6252" y="1199"/>
                  </a:cubicBezTo>
                  <a:cubicBezTo>
                    <a:pt x="6395" y="1056"/>
                    <a:pt x="6561" y="901"/>
                    <a:pt x="6740" y="782"/>
                  </a:cubicBezTo>
                  <a:cubicBezTo>
                    <a:pt x="7121" y="520"/>
                    <a:pt x="7585" y="365"/>
                    <a:pt x="8050" y="318"/>
                  </a:cubicBezTo>
                  <a:cubicBezTo>
                    <a:pt x="8057" y="320"/>
                    <a:pt x="8065" y="322"/>
                    <a:pt x="8073" y="322"/>
                  </a:cubicBezTo>
                  <a:cubicBezTo>
                    <a:pt x="8137" y="322"/>
                    <a:pt x="8202" y="238"/>
                    <a:pt x="8180" y="163"/>
                  </a:cubicBezTo>
                  <a:cubicBezTo>
                    <a:pt x="8169" y="75"/>
                    <a:pt x="8107" y="7"/>
                    <a:pt x="8022" y="7"/>
                  </a:cubicBezTo>
                  <a:cubicBezTo>
                    <a:pt x="8016" y="7"/>
                    <a:pt x="8009" y="7"/>
                    <a:pt x="8002" y="8"/>
                  </a:cubicBezTo>
                  <a:cubicBezTo>
                    <a:pt x="7490" y="56"/>
                    <a:pt x="6978" y="234"/>
                    <a:pt x="6549" y="532"/>
                  </a:cubicBezTo>
                  <a:cubicBezTo>
                    <a:pt x="6359" y="663"/>
                    <a:pt x="6156" y="818"/>
                    <a:pt x="6002" y="996"/>
                  </a:cubicBezTo>
                  <a:cubicBezTo>
                    <a:pt x="5918" y="1068"/>
                    <a:pt x="5859" y="1139"/>
                    <a:pt x="5799" y="1211"/>
                  </a:cubicBezTo>
                  <a:cubicBezTo>
                    <a:pt x="5787" y="1247"/>
                    <a:pt x="5764" y="1258"/>
                    <a:pt x="5740" y="1294"/>
                  </a:cubicBezTo>
                  <a:cubicBezTo>
                    <a:pt x="5525" y="996"/>
                    <a:pt x="5252" y="735"/>
                    <a:pt x="4954" y="532"/>
                  </a:cubicBezTo>
                  <a:cubicBezTo>
                    <a:pt x="4414" y="174"/>
                    <a:pt x="3803" y="1"/>
                    <a:pt x="31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3" name="Google Shape;11843;p61"/>
            <p:cNvSpPr/>
            <p:nvPr/>
          </p:nvSpPr>
          <p:spPr>
            <a:xfrm>
              <a:off x="4015113" y="2540870"/>
              <a:ext cx="96212" cy="95832"/>
            </a:xfrm>
            <a:custGeom>
              <a:avLst/>
              <a:gdLst/>
              <a:ahLst/>
              <a:cxnLst/>
              <a:rect l="l" t="t" r="r" b="b"/>
              <a:pathLst>
                <a:path w="3037" h="3025" extrusionOk="0">
                  <a:moveTo>
                    <a:pt x="1418" y="346"/>
                  </a:moveTo>
                  <a:cubicBezTo>
                    <a:pt x="2013" y="346"/>
                    <a:pt x="2501" y="834"/>
                    <a:pt x="2501" y="1430"/>
                  </a:cubicBezTo>
                  <a:cubicBezTo>
                    <a:pt x="2501" y="1668"/>
                    <a:pt x="2430" y="1894"/>
                    <a:pt x="2299" y="2072"/>
                  </a:cubicBezTo>
                  <a:lnTo>
                    <a:pt x="1537" y="1310"/>
                  </a:lnTo>
                  <a:cubicBezTo>
                    <a:pt x="1507" y="1281"/>
                    <a:pt x="1462" y="1266"/>
                    <a:pt x="1418" y="1266"/>
                  </a:cubicBezTo>
                  <a:cubicBezTo>
                    <a:pt x="1373" y="1266"/>
                    <a:pt x="1328" y="1281"/>
                    <a:pt x="1298" y="1310"/>
                  </a:cubicBezTo>
                  <a:cubicBezTo>
                    <a:pt x="1239" y="1370"/>
                    <a:pt x="1239" y="1489"/>
                    <a:pt x="1298" y="1549"/>
                  </a:cubicBezTo>
                  <a:lnTo>
                    <a:pt x="2060" y="2311"/>
                  </a:lnTo>
                  <a:cubicBezTo>
                    <a:pt x="1870" y="2442"/>
                    <a:pt x="1656" y="2513"/>
                    <a:pt x="1418" y="2513"/>
                  </a:cubicBezTo>
                  <a:cubicBezTo>
                    <a:pt x="822" y="2513"/>
                    <a:pt x="334" y="2025"/>
                    <a:pt x="334" y="1430"/>
                  </a:cubicBezTo>
                  <a:cubicBezTo>
                    <a:pt x="334" y="834"/>
                    <a:pt x="822" y="346"/>
                    <a:pt x="1418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30"/>
                  </a:cubicBezTo>
                  <a:cubicBezTo>
                    <a:pt x="1" y="2215"/>
                    <a:pt x="644" y="2858"/>
                    <a:pt x="1429" y="2858"/>
                  </a:cubicBezTo>
                  <a:cubicBezTo>
                    <a:pt x="1763" y="2858"/>
                    <a:pt x="2072" y="2739"/>
                    <a:pt x="2310" y="2549"/>
                  </a:cubicBezTo>
                  <a:lnTo>
                    <a:pt x="2739" y="2977"/>
                  </a:lnTo>
                  <a:cubicBezTo>
                    <a:pt x="2775" y="3001"/>
                    <a:pt x="2811" y="3025"/>
                    <a:pt x="2858" y="3025"/>
                  </a:cubicBezTo>
                  <a:cubicBezTo>
                    <a:pt x="2906" y="3025"/>
                    <a:pt x="2953" y="3001"/>
                    <a:pt x="2977" y="2977"/>
                  </a:cubicBezTo>
                  <a:cubicBezTo>
                    <a:pt x="3037" y="2918"/>
                    <a:pt x="3037" y="2811"/>
                    <a:pt x="2977" y="2739"/>
                  </a:cubicBezTo>
                  <a:lnTo>
                    <a:pt x="2549" y="2311"/>
                  </a:lnTo>
                  <a:cubicBezTo>
                    <a:pt x="2739" y="2072"/>
                    <a:pt x="2858" y="1751"/>
                    <a:pt x="2858" y="1430"/>
                  </a:cubicBezTo>
                  <a:cubicBezTo>
                    <a:pt x="2858" y="644"/>
                    <a:pt x="221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4" name="Google Shape;11844;p61"/>
            <p:cNvSpPr/>
            <p:nvPr/>
          </p:nvSpPr>
          <p:spPr>
            <a:xfrm>
              <a:off x="4186375" y="2539381"/>
              <a:ext cx="77331" cy="90541"/>
            </a:xfrm>
            <a:custGeom>
              <a:avLst/>
              <a:gdLst/>
              <a:ahLst/>
              <a:cxnLst/>
              <a:rect l="l" t="t" r="r" b="b"/>
              <a:pathLst>
                <a:path w="2441" h="2858" extrusionOk="0">
                  <a:moveTo>
                    <a:pt x="1203" y="607"/>
                  </a:moveTo>
                  <a:lnTo>
                    <a:pt x="1572" y="1524"/>
                  </a:lnTo>
                  <a:lnTo>
                    <a:pt x="834" y="1524"/>
                  </a:lnTo>
                  <a:lnTo>
                    <a:pt x="1203" y="607"/>
                  </a:lnTo>
                  <a:close/>
                  <a:moveTo>
                    <a:pt x="1215" y="0"/>
                  </a:moveTo>
                  <a:cubicBezTo>
                    <a:pt x="1155" y="0"/>
                    <a:pt x="1084" y="48"/>
                    <a:pt x="1072" y="107"/>
                  </a:cubicBezTo>
                  <a:lnTo>
                    <a:pt x="441" y="1619"/>
                  </a:lnTo>
                  <a:lnTo>
                    <a:pt x="24" y="2620"/>
                  </a:lnTo>
                  <a:cubicBezTo>
                    <a:pt x="0" y="2715"/>
                    <a:pt x="24" y="2798"/>
                    <a:pt x="119" y="2846"/>
                  </a:cubicBezTo>
                  <a:cubicBezTo>
                    <a:pt x="139" y="2851"/>
                    <a:pt x="159" y="2854"/>
                    <a:pt x="179" y="2854"/>
                  </a:cubicBezTo>
                  <a:cubicBezTo>
                    <a:pt x="245" y="2854"/>
                    <a:pt x="309" y="2823"/>
                    <a:pt x="345" y="2750"/>
                  </a:cubicBezTo>
                  <a:lnTo>
                    <a:pt x="714" y="1858"/>
                  </a:lnTo>
                  <a:lnTo>
                    <a:pt x="1750" y="1858"/>
                  </a:lnTo>
                  <a:lnTo>
                    <a:pt x="2131" y="2750"/>
                  </a:lnTo>
                  <a:cubicBezTo>
                    <a:pt x="2155" y="2810"/>
                    <a:pt x="2215" y="2858"/>
                    <a:pt x="2274" y="2858"/>
                  </a:cubicBezTo>
                  <a:cubicBezTo>
                    <a:pt x="2286" y="2858"/>
                    <a:pt x="2322" y="2858"/>
                    <a:pt x="2334" y="2846"/>
                  </a:cubicBezTo>
                  <a:cubicBezTo>
                    <a:pt x="2405" y="2798"/>
                    <a:pt x="2441" y="2715"/>
                    <a:pt x="2405" y="2620"/>
                  </a:cubicBezTo>
                  <a:lnTo>
                    <a:pt x="1988" y="1619"/>
                  </a:lnTo>
                  <a:lnTo>
                    <a:pt x="1369" y="107"/>
                  </a:lnTo>
                  <a:cubicBezTo>
                    <a:pt x="1334" y="48"/>
                    <a:pt x="1274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845" name="Google Shape;11845;p61"/>
          <p:cNvSpPr/>
          <p:nvPr/>
        </p:nvSpPr>
        <p:spPr>
          <a:xfrm>
            <a:off x="1747839" y="2414150"/>
            <a:ext cx="361754" cy="362514"/>
          </a:xfrm>
          <a:custGeom>
            <a:avLst/>
            <a:gdLst/>
            <a:ahLst/>
            <a:cxnLst/>
            <a:rect l="l" t="t" r="r" b="b"/>
            <a:pathLst>
              <a:path w="11419" h="11443" extrusionOk="0">
                <a:moveTo>
                  <a:pt x="4644" y="3560"/>
                </a:moveTo>
                <a:lnTo>
                  <a:pt x="4727" y="3655"/>
                </a:lnTo>
                <a:lnTo>
                  <a:pt x="4132" y="4263"/>
                </a:lnTo>
                <a:cubicBezTo>
                  <a:pt x="3989" y="4084"/>
                  <a:pt x="3965" y="3834"/>
                  <a:pt x="4108" y="3655"/>
                </a:cubicBezTo>
                <a:lnTo>
                  <a:pt x="4120" y="3655"/>
                </a:lnTo>
                <a:cubicBezTo>
                  <a:pt x="4298" y="3655"/>
                  <a:pt x="4465" y="3620"/>
                  <a:pt x="4644" y="3560"/>
                </a:cubicBezTo>
                <a:close/>
                <a:moveTo>
                  <a:pt x="8751" y="5739"/>
                </a:moveTo>
                <a:lnTo>
                  <a:pt x="8918" y="5906"/>
                </a:lnTo>
                <a:cubicBezTo>
                  <a:pt x="8944" y="5932"/>
                  <a:pt x="8994" y="5951"/>
                  <a:pt x="9043" y="5951"/>
                </a:cubicBezTo>
                <a:cubicBezTo>
                  <a:pt x="9061" y="5951"/>
                  <a:pt x="9080" y="5948"/>
                  <a:pt x="9097" y="5941"/>
                </a:cubicBezTo>
                <a:cubicBezTo>
                  <a:pt x="9275" y="5894"/>
                  <a:pt x="9430" y="5858"/>
                  <a:pt x="9597" y="5846"/>
                </a:cubicBezTo>
                <a:lnTo>
                  <a:pt x="9704" y="5858"/>
                </a:lnTo>
                <a:cubicBezTo>
                  <a:pt x="10478" y="5918"/>
                  <a:pt x="11073" y="6561"/>
                  <a:pt x="11073" y="7335"/>
                </a:cubicBezTo>
                <a:cubicBezTo>
                  <a:pt x="11085" y="7454"/>
                  <a:pt x="11073" y="7585"/>
                  <a:pt x="11025" y="7716"/>
                </a:cubicBezTo>
                <a:lnTo>
                  <a:pt x="10121" y="6811"/>
                </a:lnTo>
                <a:cubicBezTo>
                  <a:pt x="10061" y="6739"/>
                  <a:pt x="9966" y="6692"/>
                  <a:pt x="9870" y="6644"/>
                </a:cubicBezTo>
                <a:cubicBezTo>
                  <a:pt x="9787" y="6620"/>
                  <a:pt x="9704" y="6608"/>
                  <a:pt x="9609" y="6608"/>
                </a:cubicBezTo>
                <a:cubicBezTo>
                  <a:pt x="9418" y="6608"/>
                  <a:pt x="9239" y="6680"/>
                  <a:pt x="9108" y="6811"/>
                </a:cubicBezTo>
                <a:cubicBezTo>
                  <a:pt x="8918" y="7001"/>
                  <a:pt x="8858" y="7299"/>
                  <a:pt x="8942" y="7573"/>
                </a:cubicBezTo>
                <a:cubicBezTo>
                  <a:pt x="8978" y="7680"/>
                  <a:pt x="9037" y="7763"/>
                  <a:pt x="9108" y="7823"/>
                </a:cubicBezTo>
                <a:lnTo>
                  <a:pt x="10013" y="8728"/>
                </a:lnTo>
                <a:cubicBezTo>
                  <a:pt x="9882" y="8775"/>
                  <a:pt x="9751" y="8787"/>
                  <a:pt x="9609" y="8787"/>
                </a:cubicBezTo>
                <a:cubicBezTo>
                  <a:pt x="8835" y="8787"/>
                  <a:pt x="8204" y="8180"/>
                  <a:pt x="8156" y="7418"/>
                </a:cubicBezTo>
                <a:lnTo>
                  <a:pt x="8144" y="7323"/>
                </a:lnTo>
                <a:cubicBezTo>
                  <a:pt x="8144" y="7156"/>
                  <a:pt x="8168" y="6977"/>
                  <a:pt x="8227" y="6811"/>
                </a:cubicBezTo>
                <a:cubicBezTo>
                  <a:pt x="8263" y="6751"/>
                  <a:pt x="8239" y="6680"/>
                  <a:pt x="8180" y="6632"/>
                </a:cubicBezTo>
                <a:lnTo>
                  <a:pt x="8025" y="6465"/>
                </a:lnTo>
                <a:lnTo>
                  <a:pt x="8751" y="5739"/>
                </a:lnTo>
                <a:close/>
                <a:moveTo>
                  <a:pt x="2393" y="6537"/>
                </a:moveTo>
                <a:lnTo>
                  <a:pt x="2751" y="6894"/>
                </a:lnTo>
                <a:lnTo>
                  <a:pt x="4632" y="8775"/>
                </a:lnTo>
                <a:lnTo>
                  <a:pt x="4894" y="9037"/>
                </a:lnTo>
                <a:lnTo>
                  <a:pt x="4358" y="9573"/>
                </a:lnTo>
                <a:lnTo>
                  <a:pt x="1858" y="7084"/>
                </a:lnTo>
                <a:lnTo>
                  <a:pt x="2393" y="6537"/>
                </a:lnTo>
                <a:close/>
                <a:moveTo>
                  <a:pt x="4155" y="0"/>
                </a:moveTo>
                <a:cubicBezTo>
                  <a:pt x="3882" y="0"/>
                  <a:pt x="3632" y="60"/>
                  <a:pt x="3382" y="179"/>
                </a:cubicBezTo>
                <a:cubicBezTo>
                  <a:pt x="3334" y="203"/>
                  <a:pt x="3286" y="250"/>
                  <a:pt x="3286" y="298"/>
                </a:cubicBezTo>
                <a:cubicBezTo>
                  <a:pt x="3274" y="357"/>
                  <a:pt x="3298" y="393"/>
                  <a:pt x="3334" y="441"/>
                </a:cubicBezTo>
                <a:lnTo>
                  <a:pt x="4417" y="1524"/>
                </a:lnTo>
                <a:cubicBezTo>
                  <a:pt x="4453" y="1560"/>
                  <a:pt x="4477" y="1608"/>
                  <a:pt x="4513" y="1667"/>
                </a:cubicBezTo>
                <a:cubicBezTo>
                  <a:pt x="4548" y="1810"/>
                  <a:pt x="4525" y="1965"/>
                  <a:pt x="4417" y="2060"/>
                </a:cubicBezTo>
                <a:cubicBezTo>
                  <a:pt x="4346" y="2143"/>
                  <a:pt x="4251" y="2167"/>
                  <a:pt x="4155" y="2167"/>
                </a:cubicBezTo>
                <a:cubicBezTo>
                  <a:pt x="4108" y="2167"/>
                  <a:pt x="4060" y="2155"/>
                  <a:pt x="4013" y="2143"/>
                </a:cubicBezTo>
                <a:cubicBezTo>
                  <a:pt x="3953" y="2108"/>
                  <a:pt x="3917" y="2096"/>
                  <a:pt x="3882" y="2048"/>
                </a:cubicBezTo>
                <a:lnTo>
                  <a:pt x="2798" y="965"/>
                </a:lnTo>
                <a:cubicBezTo>
                  <a:pt x="2762" y="928"/>
                  <a:pt x="2725" y="913"/>
                  <a:pt x="2684" y="913"/>
                </a:cubicBezTo>
                <a:cubicBezTo>
                  <a:pt x="2671" y="913"/>
                  <a:pt x="2657" y="914"/>
                  <a:pt x="2643" y="917"/>
                </a:cubicBezTo>
                <a:cubicBezTo>
                  <a:pt x="2584" y="929"/>
                  <a:pt x="2548" y="965"/>
                  <a:pt x="2524" y="1012"/>
                </a:cubicBezTo>
                <a:cubicBezTo>
                  <a:pt x="2405" y="1262"/>
                  <a:pt x="2346" y="1512"/>
                  <a:pt x="2346" y="1786"/>
                </a:cubicBezTo>
                <a:cubicBezTo>
                  <a:pt x="2346" y="2239"/>
                  <a:pt x="2524" y="2679"/>
                  <a:pt x="2846" y="3013"/>
                </a:cubicBezTo>
                <a:cubicBezTo>
                  <a:pt x="3096" y="3286"/>
                  <a:pt x="3417" y="3465"/>
                  <a:pt x="3798" y="3548"/>
                </a:cubicBezTo>
                <a:cubicBezTo>
                  <a:pt x="3655" y="3846"/>
                  <a:pt x="3715" y="4203"/>
                  <a:pt x="3941" y="4465"/>
                </a:cubicBezTo>
                <a:lnTo>
                  <a:pt x="3560" y="4846"/>
                </a:lnTo>
                <a:cubicBezTo>
                  <a:pt x="3405" y="5001"/>
                  <a:pt x="3334" y="5191"/>
                  <a:pt x="3334" y="5394"/>
                </a:cubicBezTo>
                <a:cubicBezTo>
                  <a:pt x="3334" y="5596"/>
                  <a:pt x="3405" y="5775"/>
                  <a:pt x="3524" y="5906"/>
                </a:cubicBezTo>
                <a:lnTo>
                  <a:pt x="2917" y="6513"/>
                </a:lnTo>
                <a:lnTo>
                  <a:pt x="2560" y="6156"/>
                </a:lnTo>
                <a:cubicBezTo>
                  <a:pt x="2530" y="6126"/>
                  <a:pt x="2486" y="6111"/>
                  <a:pt x="2441" y="6111"/>
                </a:cubicBezTo>
                <a:cubicBezTo>
                  <a:pt x="2396" y="6111"/>
                  <a:pt x="2352" y="6126"/>
                  <a:pt x="2322" y="6156"/>
                </a:cubicBezTo>
                <a:lnTo>
                  <a:pt x="1417" y="7061"/>
                </a:lnTo>
                <a:lnTo>
                  <a:pt x="60" y="8418"/>
                </a:lnTo>
                <a:cubicBezTo>
                  <a:pt x="0" y="8478"/>
                  <a:pt x="0" y="8597"/>
                  <a:pt x="60" y="8656"/>
                </a:cubicBezTo>
                <a:lnTo>
                  <a:pt x="1096" y="9704"/>
                </a:lnTo>
                <a:cubicBezTo>
                  <a:pt x="1125" y="9734"/>
                  <a:pt x="1170" y="9748"/>
                  <a:pt x="1215" y="9748"/>
                </a:cubicBezTo>
                <a:cubicBezTo>
                  <a:pt x="1259" y="9748"/>
                  <a:pt x="1304" y="9734"/>
                  <a:pt x="1334" y="9704"/>
                </a:cubicBezTo>
                <a:cubicBezTo>
                  <a:pt x="1393" y="9644"/>
                  <a:pt x="1393" y="9525"/>
                  <a:pt x="1334" y="9466"/>
                </a:cubicBezTo>
                <a:lnTo>
                  <a:pt x="417" y="8537"/>
                </a:lnTo>
                <a:lnTo>
                  <a:pt x="1667" y="7287"/>
                </a:lnTo>
                <a:lnTo>
                  <a:pt x="4167" y="9787"/>
                </a:lnTo>
                <a:lnTo>
                  <a:pt x="2917" y="11037"/>
                </a:lnTo>
                <a:lnTo>
                  <a:pt x="1810" y="9942"/>
                </a:lnTo>
                <a:cubicBezTo>
                  <a:pt x="1780" y="9912"/>
                  <a:pt x="1736" y="9897"/>
                  <a:pt x="1691" y="9897"/>
                </a:cubicBezTo>
                <a:cubicBezTo>
                  <a:pt x="1646" y="9897"/>
                  <a:pt x="1602" y="9912"/>
                  <a:pt x="1572" y="9942"/>
                </a:cubicBezTo>
                <a:cubicBezTo>
                  <a:pt x="1512" y="10002"/>
                  <a:pt x="1512" y="10121"/>
                  <a:pt x="1572" y="10180"/>
                </a:cubicBezTo>
                <a:lnTo>
                  <a:pt x="2798" y="11395"/>
                </a:lnTo>
                <a:cubicBezTo>
                  <a:pt x="2822" y="11430"/>
                  <a:pt x="2870" y="11442"/>
                  <a:pt x="2917" y="11442"/>
                </a:cubicBezTo>
                <a:cubicBezTo>
                  <a:pt x="2965" y="11442"/>
                  <a:pt x="3001" y="11430"/>
                  <a:pt x="3036" y="11395"/>
                </a:cubicBezTo>
                <a:lnTo>
                  <a:pt x="4394" y="10037"/>
                </a:lnTo>
                <a:lnTo>
                  <a:pt x="5298" y="9132"/>
                </a:lnTo>
                <a:cubicBezTo>
                  <a:pt x="5322" y="9109"/>
                  <a:pt x="5346" y="9061"/>
                  <a:pt x="5346" y="9013"/>
                </a:cubicBezTo>
                <a:cubicBezTo>
                  <a:pt x="5346" y="8966"/>
                  <a:pt x="5322" y="8930"/>
                  <a:pt x="5298" y="8894"/>
                </a:cubicBezTo>
                <a:lnTo>
                  <a:pt x="5025" y="8632"/>
                </a:lnTo>
                <a:lnTo>
                  <a:pt x="5644" y="8013"/>
                </a:lnTo>
                <a:cubicBezTo>
                  <a:pt x="5770" y="8094"/>
                  <a:pt x="5916" y="8135"/>
                  <a:pt x="6062" y="8135"/>
                </a:cubicBezTo>
                <a:cubicBezTo>
                  <a:pt x="6217" y="8135"/>
                  <a:pt x="6372" y="8088"/>
                  <a:pt x="6501" y="7989"/>
                </a:cubicBezTo>
                <a:cubicBezTo>
                  <a:pt x="6572" y="7930"/>
                  <a:pt x="6596" y="7823"/>
                  <a:pt x="6537" y="7751"/>
                </a:cubicBezTo>
                <a:cubicBezTo>
                  <a:pt x="6500" y="7708"/>
                  <a:pt x="6446" y="7682"/>
                  <a:pt x="6393" y="7682"/>
                </a:cubicBezTo>
                <a:cubicBezTo>
                  <a:pt x="6360" y="7682"/>
                  <a:pt x="6326" y="7692"/>
                  <a:pt x="6299" y="7716"/>
                </a:cubicBezTo>
                <a:cubicBezTo>
                  <a:pt x="6220" y="7778"/>
                  <a:pt x="6131" y="7806"/>
                  <a:pt x="6041" y="7806"/>
                </a:cubicBezTo>
                <a:cubicBezTo>
                  <a:pt x="5927" y="7806"/>
                  <a:pt x="5814" y="7760"/>
                  <a:pt x="5727" y="7680"/>
                </a:cubicBezTo>
                <a:cubicBezTo>
                  <a:pt x="5703" y="7644"/>
                  <a:pt x="5656" y="7632"/>
                  <a:pt x="5608" y="7632"/>
                </a:cubicBezTo>
                <a:cubicBezTo>
                  <a:pt x="5560" y="7632"/>
                  <a:pt x="5525" y="7644"/>
                  <a:pt x="5489" y="7680"/>
                </a:cubicBezTo>
                <a:lnTo>
                  <a:pt x="4763" y="8406"/>
                </a:lnTo>
                <a:lnTo>
                  <a:pt x="3108" y="6799"/>
                </a:lnTo>
                <a:lnTo>
                  <a:pt x="3834" y="6072"/>
                </a:lnTo>
                <a:cubicBezTo>
                  <a:pt x="3894" y="6013"/>
                  <a:pt x="3894" y="5894"/>
                  <a:pt x="3834" y="5834"/>
                </a:cubicBezTo>
                <a:lnTo>
                  <a:pt x="3751" y="5739"/>
                </a:lnTo>
                <a:cubicBezTo>
                  <a:pt x="3655" y="5644"/>
                  <a:pt x="3620" y="5549"/>
                  <a:pt x="3620" y="5430"/>
                </a:cubicBezTo>
                <a:cubicBezTo>
                  <a:pt x="3620" y="5310"/>
                  <a:pt x="3655" y="5203"/>
                  <a:pt x="3751" y="5108"/>
                </a:cubicBezTo>
                <a:lnTo>
                  <a:pt x="4251" y="4608"/>
                </a:lnTo>
                <a:lnTo>
                  <a:pt x="5096" y="3763"/>
                </a:lnTo>
                <a:lnTo>
                  <a:pt x="6013" y="2846"/>
                </a:lnTo>
                <a:cubicBezTo>
                  <a:pt x="6025" y="2834"/>
                  <a:pt x="6037" y="2822"/>
                  <a:pt x="6049" y="2822"/>
                </a:cubicBezTo>
                <a:cubicBezTo>
                  <a:pt x="6106" y="2780"/>
                  <a:pt x="6170" y="2761"/>
                  <a:pt x="6233" y="2761"/>
                </a:cubicBezTo>
                <a:cubicBezTo>
                  <a:pt x="6314" y="2761"/>
                  <a:pt x="6393" y="2792"/>
                  <a:pt x="6453" y="2846"/>
                </a:cubicBezTo>
                <a:lnTo>
                  <a:pt x="6477" y="2870"/>
                </a:lnTo>
                <a:cubicBezTo>
                  <a:pt x="6572" y="2965"/>
                  <a:pt x="6596" y="3132"/>
                  <a:pt x="6501" y="3263"/>
                </a:cubicBezTo>
                <a:cubicBezTo>
                  <a:pt x="6489" y="3286"/>
                  <a:pt x="6477" y="3298"/>
                  <a:pt x="6477" y="3310"/>
                </a:cubicBezTo>
                <a:lnTo>
                  <a:pt x="5477" y="4310"/>
                </a:lnTo>
                <a:cubicBezTo>
                  <a:pt x="5418" y="4370"/>
                  <a:pt x="5418" y="4489"/>
                  <a:pt x="5477" y="4548"/>
                </a:cubicBezTo>
                <a:cubicBezTo>
                  <a:pt x="5501" y="4584"/>
                  <a:pt x="5549" y="4596"/>
                  <a:pt x="5596" y="4596"/>
                </a:cubicBezTo>
                <a:cubicBezTo>
                  <a:pt x="5644" y="4596"/>
                  <a:pt x="5679" y="4572"/>
                  <a:pt x="5715" y="4548"/>
                </a:cubicBezTo>
                <a:lnTo>
                  <a:pt x="6715" y="3548"/>
                </a:lnTo>
                <a:cubicBezTo>
                  <a:pt x="6727" y="3536"/>
                  <a:pt x="6739" y="3525"/>
                  <a:pt x="6751" y="3525"/>
                </a:cubicBezTo>
                <a:cubicBezTo>
                  <a:pt x="6805" y="3481"/>
                  <a:pt x="6872" y="3460"/>
                  <a:pt x="6939" y="3460"/>
                </a:cubicBezTo>
                <a:cubicBezTo>
                  <a:pt x="7018" y="3460"/>
                  <a:pt x="7098" y="3490"/>
                  <a:pt x="7156" y="3548"/>
                </a:cubicBezTo>
                <a:lnTo>
                  <a:pt x="7168" y="3560"/>
                </a:lnTo>
                <a:cubicBezTo>
                  <a:pt x="7275" y="3667"/>
                  <a:pt x="7287" y="3834"/>
                  <a:pt x="7203" y="3965"/>
                </a:cubicBezTo>
                <a:cubicBezTo>
                  <a:pt x="7192" y="3989"/>
                  <a:pt x="7192" y="4001"/>
                  <a:pt x="7168" y="4013"/>
                </a:cubicBezTo>
                <a:lnTo>
                  <a:pt x="6180" y="5013"/>
                </a:lnTo>
                <a:cubicBezTo>
                  <a:pt x="6120" y="5072"/>
                  <a:pt x="6120" y="5191"/>
                  <a:pt x="6180" y="5251"/>
                </a:cubicBezTo>
                <a:cubicBezTo>
                  <a:pt x="6203" y="5275"/>
                  <a:pt x="6251" y="5299"/>
                  <a:pt x="6299" y="5299"/>
                </a:cubicBezTo>
                <a:cubicBezTo>
                  <a:pt x="6334" y="5299"/>
                  <a:pt x="6382" y="5275"/>
                  <a:pt x="6418" y="5251"/>
                </a:cubicBezTo>
                <a:lnTo>
                  <a:pt x="7406" y="4251"/>
                </a:lnTo>
                <a:cubicBezTo>
                  <a:pt x="7430" y="4239"/>
                  <a:pt x="7442" y="4215"/>
                  <a:pt x="7454" y="4215"/>
                </a:cubicBezTo>
                <a:cubicBezTo>
                  <a:pt x="7506" y="4179"/>
                  <a:pt x="7569" y="4160"/>
                  <a:pt x="7633" y="4160"/>
                </a:cubicBezTo>
                <a:cubicBezTo>
                  <a:pt x="7715" y="4160"/>
                  <a:pt x="7798" y="4191"/>
                  <a:pt x="7858" y="4251"/>
                </a:cubicBezTo>
                <a:lnTo>
                  <a:pt x="7870" y="4263"/>
                </a:lnTo>
                <a:cubicBezTo>
                  <a:pt x="7977" y="4370"/>
                  <a:pt x="7989" y="4537"/>
                  <a:pt x="7906" y="4668"/>
                </a:cubicBezTo>
                <a:cubicBezTo>
                  <a:pt x="7882" y="4679"/>
                  <a:pt x="7882" y="4703"/>
                  <a:pt x="7870" y="4715"/>
                </a:cubicBezTo>
                <a:lnTo>
                  <a:pt x="6870" y="5715"/>
                </a:lnTo>
                <a:cubicBezTo>
                  <a:pt x="6811" y="5775"/>
                  <a:pt x="6811" y="5894"/>
                  <a:pt x="6870" y="5953"/>
                </a:cubicBezTo>
                <a:cubicBezTo>
                  <a:pt x="6906" y="5977"/>
                  <a:pt x="6953" y="5989"/>
                  <a:pt x="6989" y="5989"/>
                </a:cubicBezTo>
                <a:cubicBezTo>
                  <a:pt x="7037" y="5989"/>
                  <a:pt x="7084" y="5977"/>
                  <a:pt x="7108" y="5953"/>
                </a:cubicBezTo>
                <a:lnTo>
                  <a:pt x="8108" y="4953"/>
                </a:lnTo>
                <a:cubicBezTo>
                  <a:pt x="8120" y="4941"/>
                  <a:pt x="8144" y="4918"/>
                  <a:pt x="8156" y="4918"/>
                </a:cubicBezTo>
                <a:cubicBezTo>
                  <a:pt x="8208" y="4881"/>
                  <a:pt x="8272" y="4863"/>
                  <a:pt x="8335" y="4863"/>
                </a:cubicBezTo>
                <a:cubicBezTo>
                  <a:pt x="8418" y="4863"/>
                  <a:pt x="8501" y="4893"/>
                  <a:pt x="8561" y="4953"/>
                </a:cubicBezTo>
                <a:lnTo>
                  <a:pt x="8573" y="4965"/>
                </a:lnTo>
                <a:cubicBezTo>
                  <a:pt x="8680" y="5072"/>
                  <a:pt x="8692" y="5239"/>
                  <a:pt x="8597" y="5370"/>
                </a:cubicBezTo>
                <a:cubicBezTo>
                  <a:pt x="8585" y="5382"/>
                  <a:pt x="8573" y="5394"/>
                  <a:pt x="8573" y="5418"/>
                </a:cubicBezTo>
                <a:lnTo>
                  <a:pt x="6715" y="7275"/>
                </a:lnTo>
                <a:cubicBezTo>
                  <a:pt x="6656" y="7335"/>
                  <a:pt x="6656" y="7454"/>
                  <a:pt x="6715" y="7513"/>
                </a:cubicBezTo>
                <a:cubicBezTo>
                  <a:pt x="6739" y="7537"/>
                  <a:pt x="6787" y="7561"/>
                  <a:pt x="6834" y="7561"/>
                </a:cubicBezTo>
                <a:cubicBezTo>
                  <a:pt x="6870" y="7561"/>
                  <a:pt x="6918" y="7537"/>
                  <a:pt x="6953" y="7513"/>
                </a:cubicBezTo>
                <a:lnTo>
                  <a:pt x="7787" y="6680"/>
                </a:lnTo>
                <a:lnTo>
                  <a:pt x="7870" y="6763"/>
                </a:lnTo>
                <a:cubicBezTo>
                  <a:pt x="7811" y="6942"/>
                  <a:pt x="7787" y="7120"/>
                  <a:pt x="7787" y="7287"/>
                </a:cubicBezTo>
                <a:lnTo>
                  <a:pt x="7787" y="7299"/>
                </a:lnTo>
                <a:lnTo>
                  <a:pt x="7799" y="7406"/>
                </a:lnTo>
                <a:cubicBezTo>
                  <a:pt x="7823" y="7870"/>
                  <a:pt x="8037" y="8287"/>
                  <a:pt x="8358" y="8597"/>
                </a:cubicBezTo>
                <a:cubicBezTo>
                  <a:pt x="8692" y="8906"/>
                  <a:pt x="9132" y="9085"/>
                  <a:pt x="9597" y="9085"/>
                </a:cubicBezTo>
                <a:cubicBezTo>
                  <a:pt x="9870" y="9085"/>
                  <a:pt x="10121" y="9025"/>
                  <a:pt x="10371" y="8906"/>
                </a:cubicBezTo>
                <a:cubicBezTo>
                  <a:pt x="10418" y="8882"/>
                  <a:pt x="10466" y="8835"/>
                  <a:pt x="10466" y="8787"/>
                </a:cubicBezTo>
                <a:cubicBezTo>
                  <a:pt x="10478" y="8728"/>
                  <a:pt x="10442" y="8692"/>
                  <a:pt x="10418" y="8644"/>
                </a:cubicBezTo>
                <a:lnTo>
                  <a:pt x="9335" y="7537"/>
                </a:lnTo>
                <a:cubicBezTo>
                  <a:pt x="9287" y="7501"/>
                  <a:pt x="9251" y="7454"/>
                  <a:pt x="9251" y="7406"/>
                </a:cubicBezTo>
                <a:cubicBezTo>
                  <a:pt x="9192" y="7263"/>
                  <a:pt x="9239" y="7108"/>
                  <a:pt x="9347" y="7001"/>
                </a:cubicBezTo>
                <a:cubicBezTo>
                  <a:pt x="9418" y="6930"/>
                  <a:pt x="9513" y="6882"/>
                  <a:pt x="9609" y="6882"/>
                </a:cubicBezTo>
                <a:cubicBezTo>
                  <a:pt x="9656" y="6882"/>
                  <a:pt x="9704" y="6906"/>
                  <a:pt x="9751" y="6918"/>
                </a:cubicBezTo>
                <a:cubicBezTo>
                  <a:pt x="9811" y="6942"/>
                  <a:pt x="9847" y="6965"/>
                  <a:pt x="9882" y="7001"/>
                </a:cubicBezTo>
                <a:lnTo>
                  <a:pt x="10966" y="8097"/>
                </a:lnTo>
                <a:cubicBezTo>
                  <a:pt x="11000" y="8122"/>
                  <a:pt x="11034" y="8142"/>
                  <a:pt x="11073" y="8142"/>
                </a:cubicBezTo>
                <a:cubicBezTo>
                  <a:pt x="11088" y="8142"/>
                  <a:pt x="11104" y="8139"/>
                  <a:pt x="11121" y="8132"/>
                </a:cubicBezTo>
                <a:cubicBezTo>
                  <a:pt x="11180" y="8120"/>
                  <a:pt x="11216" y="8097"/>
                  <a:pt x="11240" y="8049"/>
                </a:cubicBezTo>
                <a:cubicBezTo>
                  <a:pt x="11359" y="7799"/>
                  <a:pt x="11418" y="7537"/>
                  <a:pt x="11418" y="7275"/>
                </a:cubicBezTo>
                <a:cubicBezTo>
                  <a:pt x="11418" y="6858"/>
                  <a:pt x="11252" y="6430"/>
                  <a:pt x="10918" y="6084"/>
                </a:cubicBezTo>
                <a:cubicBezTo>
                  <a:pt x="10609" y="5751"/>
                  <a:pt x="10180" y="5549"/>
                  <a:pt x="9728" y="5513"/>
                </a:cubicBezTo>
                <a:lnTo>
                  <a:pt x="9632" y="5501"/>
                </a:lnTo>
                <a:lnTo>
                  <a:pt x="9609" y="5501"/>
                </a:lnTo>
                <a:cubicBezTo>
                  <a:pt x="9454" y="5501"/>
                  <a:pt x="9275" y="5537"/>
                  <a:pt x="9097" y="5596"/>
                </a:cubicBezTo>
                <a:lnTo>
                  <a:pt x="8954" y="5453"/>
                </a:lnTo>
                <a:cubicBezTo>
                  <a:pt x="9049" y="5215"/>
                  <a:pt x="9001" y="4953"/>
                  <a:pt x="8811" y="4763"/>
                </a:cubicBezTo>
                <a:lnTo>
                  <a:pt x="8799" y="4739"/>
                </a:lnTo>
                <a:cubicBezTo>
                  <a:pt x="8656" y="4608"/>
                  <a:pt x="8477" y="4548"/>
                  <a:pt x="8299" y="4548"/>
                </a:cubicBezTo>
                <a:cubicBezTo>
                  <a:pt x="8323" y="4370"/>
                  <a:pt x="8239" y="4191"/>
                  <a:pt x="8108" y="4060"/>
                </a:cubicBezTo>
                <a:lnTo>
                  <a:pt x="8096" y="4048"/>
                </a:lnTo>
                <a:cubicBezTo>
                  <a:pt x="7965" y="3906"/>
                  <a:pt x="7775" y="3846"/>
                  <a:pt x="7596" y="3846"/>
                </a:cubicBezTo>
                <a:cubicBezTo>
                  <a:pt x="7620" y="3667"/>
                  <a:pt x="7537" y="3489"/>
                  <a:pt x="7406" y="3358"/>
                </a:cubicBezTo>
                <a:lnTo>
                  <a:pt x="7394" y="3346"/>
                </a:lnTo>
                <a:cubicBezTo>
                  <a:pt x="7263" y="3215"/>
                  <a:pt x="7084" y="3155"/>
                  <a:pt x="6906" y="3155"/>
                </a:cubicBezTo>
                <a:cubicBezTo>
                  <a:pt x="6918" y="2977"/>
                  <a:pt x="6846" y="2798"/>
                  <a:pt x="6703" y="2655"/>
                </a:cubicBezTo>
                <a:lnTo>
                  <a:pt x="6692" y="2643"/>
                </a:lnTo>
                <a:cubicBezTo>
                  <a:pt x="6565" y="2516"/>
                  <a:pt x="6400" y="2453"/>
                  <a:pt x="6235" y="2453"/>
                </a:cubicBezTo>
                <a:cubicBezTo>
                  <a:pt x="6152" y="2453"/>
                  <a:pt x="6068" y="2469"/>
                  <a:pt x="5989" y="2501"/>
                </a:cubicBezTo>
                <a:lnTo>
                  <a:pt x="5858" y="2358"/>
                </a:lnTo>
                <a:cubicBezTo>
                  <a:pt x="5918" y="2179"/>
                  <a:pt x="5953" y="2001"/>
                  <a:pt x="5953" y="1846"/>
                </a:cubicBezTo>
                <a:lnTo>
                  <a:pt x="5953" y="1822"/>
                </a:lnTo>
                <a:lnTo>
                  <a:pt x="5930" y="1727"/>
                </a:lnTo>
                <a:cubicBezTo>
                  <a:pt x="5918" y="1465"/>
                  <a:pt x="5846" y="1215"/>
                  <a:pt x="5727" y="988"/>
                </a:cubicBezTo>
                <a:cubicBezTo>
                  <a:pt x="5693" y="937"/>
                  <a:pt x="5628" y="898"/>
                  <a:pt x="5567" y="898"/>
                </a:cubicBezTo>
                <a:cubicBezTo>
                  <a:pt x="5544" y="898"/>
                  <a:pt x="5521" y="904"/>
                  <a:pt x="5501" y="917"/>
                </a:cubicBezTo>
                <a:cubicBezTo>
                  <a:pt x="5429" y="965"/>
                  <a:pt x="5382" y="1072"/>
                  <a:pt x="5429" y="1143"/>
                </a:cubicBezTo>
                <a:cubicBezTo>
                  <a:pt x="5537" y="1334"/>
                  <a:pt x="5596" y="1524"/>
                  <a:pt x="5608" y="1739"/>
                </a:cubicBezTo>
                <a:lnTo>
                  <a:pt x="5620" y="1846"/>
                </a:lnTo>
                <a:cubicBezTo>
                  <a:pt x="5620" y="2001"/>
                  <a:pt x="5596" y="2167"/>
                  <a:pt x="5513" y="2346"/>
                </a:cubicBezTo>
                <a:cubicBezTo>
                  <a:pt x="5489" y="2405"/>
                  <a:pt x="5513" y="2477"/>
                  <a:pt x="5560" y="2524"/>
                </a:cubicBezTo>
                <a:lnTo>
                  <a:pt x="5727" y="2691"/>
                </a:lnTo>
                <a:lnTo>
                  <a:pt x="5001" y="3417"/>
                </a:lnTo>
                <a:lnTo>
                  <a:pt x="4834" y="3251"/>
                </a:lnTo>
                <a:cubicBezTo>
                  <a:pt x="4800" y="3225"/>
                  <a:pt x="4753" y="3205"/>
                  <a:pt x="4707" y="3205"/>
                </a:cubicBezTo>
                <a:cubicBezTo>
                  <a:pt x="4690" y="3205"/>
                  <a:pt x="4672" y="3208"/>
                  <a:pt x="4656" y="3215"/>
                </a:cubicBezTo>
                <a:cubicBezTo>
                  <a:pt x="4477" y="3274"/>
                  <a:pt x="4310" y="3298"/>
                  <a:pt x="4155" y="3298"/>
                </a:cubicBezTo>
                <a:lnTo>
                  <a:pt x="4048" y="3286"/>
                </a:lnTo>
                <a:cubicBezTo>
                  <a:pt x="3274" y="3227"/>
                  <a:pt x="2679" y="2584"/>
                  <a:pt x="2679" y="1822"/>
                </a:cubicBezTo>
                <a:cubicBezTo>
                  <a:pt x="2679" y="1691"/>
                  <a:pt x="2691" y="1560"/>
                  <a:pt x="2739" y="1429"/>
                </a:cubicBezTo>
                <a:lnTo>
                  <a:pt x="3644" y="2334"/>
                </a:lnTo>
                <a:cubicBezTo>
                  <a:pt x="3703" y="2405"/>
                  <a:pt x="3798" y="2453"/>
                  <a:pt x="3894" y="2501"/>
                </a:cubicBezTo>
                <a:cubicBezTo>
                  <a:pt x="3989" y="2524"/>
                  <a:pt x="4060" y="2536"/>
                  <a:pt x="4155" y="2536"/>
                </a:cubicBezTo>
                <a:cubicBezTo>
                  <a:pt x="4346" y="2536"/>
                  <a:pt x="4525" y="2465"/>
                  <a:pt x="4656" y="2334"/>
                </a:cubicBezTo>
                <a:cubicBezTo>
                  <a:pt x="4846" y="2143"/>
                  <a:pt x="4929" y="1846"/>
                  <a:pt x="4822" y="1572"/>
                </a:cubicBezTo>
                <a:lnTo>
                  <a:pt x="4822" y="1560"/>
                </a:lnTo>
                <a:cubicBezTo>
                  <a:pt x="4787" y="1489"/>
                  <a:pt x="4751" y="1393"/>
                  <a:pt x="4656" y="1310"/>
                </a:cubicBezTo>
                <a:lnTo>
                  <a:pt x="3751" y="393"/>
                </a:lnTo>
                <a:cubicBezTo>
                  <a:pt x="3882" y="357"/>
                  <a:pt x="4013" y="334"/>
                  <a:pt x="4144" y="334"/>
                </a:cubicBezTo>
                <a:cubicBezTo>
                  <a:pt x="4489" y="334"/>
                  <a:pt x="4798" y="441"/>
                  <a:pt x="5060" y="655"/>
                </a:cubicBezTo>
                <a:cubicBezTo>
                  <a:pt x="5088" y="678"/>
                  <a:pt x="5121" y="689"/>
                  <a:pt x="5155" y="689"/>
                </a:cubicBezTo>
                <a:cubicBezTo>
                  <a:pt x="5208" y="689"/>
                  <a:pt x="5262" y="663"/>
                  <a:pt x="5298" y="619"/>
                </a:cubicBezTo>
                <a:cubicBezTo>
                  <a:pt x="5358" y="548"/>
                  <a:pt x="5346" y="441"/>
                  <a:pt x="5263" y="381"/>
                </a:cubicBezTo>
                <a:cubicBezTo>
                  <a:pt x="4941" y="131"/>
                  <a:pt x="4548" y="0"/>
                  <a:pt x="415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846" name="Google Shape;11846;p61"/>
          <p:cNvGrpSpPr/>
          <p:nvPr/>
        </p:nvGrpSpPr>
        <p:grpSpPr>
          <a:xfrm>
            <a:off x="1303876" y="2419377"/>
            <a:ext cx="363275" cy="354626"/>
            <a:chOff x="1303876" y="2419377"/>
            <a:chExt cx="363275" cy="354626"/>
          </a:xfrm>
        </p:grpSpPr>
        <p:sp>
          <p:nvSpPr>
            <p:cNvPr id="11847" name="Google Shape;11847;p61"/>
            <p:cNvSpPr/>
            <p:nvPr/>
          </p:nvSpPr>
          <p:spPr>
            <a:xfrm>
              <a:off x="1303876" y="2507701"/>
              <a:ext cx="363275" cy="266302"/>
            </a:xfrm>
            <a:custGeom>
              <a:avLst/>
              <a:gdLst/>
              <a:ahLst/>
              <a:cxnLst/>
              <a:rect l="l" t="t" r="r" b="b"/>
              <a:pathLst>
                <a:path w="11467" h="8406" extrusionOk="0">
                  <a:moveTo>
                    <a:pt x="3251" y="1631"/>
                  </a:moveTo>
                  <a:lnTo>
                    <a:pt x="3680" y="2060"/>
                  </a:lnTo>
                  <a:lnTo>
                    <a:pt x="2060" y="3691"/>
                  </a:lnTo>
                  <a:lnTo>
                    <a:pt x="1620" y="3262"/>
                  </a:lnTo>
                  <a:lnTo>
                    <a:pt x="3251" y="1631"/>
                  </a:lnTo>
                  <a:close/>
                  <a:moveTo>
                    <a:pt x="8156" y="1929"/>
                  </a:moveTo>
                  <a:lnTo>
                    <a:pt x="9799" y="3560"/>
                  </a:lnTo>
                  <a:lnTo>
                    <a:pt x="9371" y="3989"/>
                  </a:lnTo>
                  <a:lnTo>
                    <a:pt x="7728" y="2357"/>
                  </a:lnTo>
                  <a:lnTo>
                    <a:pt x="8156" y="1929"/>
                  </a:lnTo>
                  <a:close/>
                  <a:moveTo>
                    <a:pt x="7609" y="2715"/>
                  </a:moveTo>
                  <a:lnTo>
                    <a:pt x="9014" y="4108"/>
                  </a:lnTo>
                  <a:lnTo>
                    <a:pt x="8692" y="4405"/>
                  </a:lnTo>
                  <a:cubicBezTo>
                    <a:pt x="8656" y="4453"/>
                    <a:pt x="8621" y="4501"/>
                    <a:pt x="8597" y="4560"/>
                  </a:cubicBezTo>
                  <a:cubicBezTo>
                    <a:pt x="8561" y="4620"/>
                    <a:pt x="8549" y="4679"/>
                    <a:pt x="8549" y="4739"/>
                  </a:cubicBezTo>
                  <a:cubicBezTo>
                    <a:pt x="8537" y="4870"/>
                    <a:pt x="8490" y="4989"/>
                    <a:pt x="8383" y="5072"/>
                  </a:cubicBezTo>
                  <a:lnTo>
                    <a:pt x="7847" y="5620"/>
                  </a:lnTo>
                  <a:lnTo>
                    <a:pt x="5930" y="3691"/>
                  </a:lnTo>
                  <a:lnTo>
                    <a:pt x="6609" y="3429"/>
                  </a:lnTo>
                  <a:cubicBezTo>
                    <a:pt x="6609" y="3429"/>
                    <a:pt x="6632" y="3429"/>
                    <a:pt x="6632" y="3417"/>
                  </a:cubicBezTo>
                  <a:cubicBezTo>
                    <a:pt x="6739" y="3358"/>
                    <a:pt x="6823" y="3262"/>
                    <a:pt x="6882" y="3155"/>
                  </a:cubicBezTo>
                  <a:cubicBezTo>
                    <a:pt x="7109" y="3119"/>
                    <a:pt x="7299" y="3012"/>
                    <a:pt x="7466" y="2858"/>
                  </a:cubicBezTo>
                  <a:lnTo>
                    <a:pt x="7609" y="2715"/>
                  </a:lnTo>
                  <a:close/>
                  <a:moveTo>
                    <a:pt x="3846" y="6084"/>
                  </a:moveTo>
                  <a:lnTo>
                    <a:pt x="4120" y="6358"/>
                  </a:lnTo>
                  <a:lnTo>
                    <a:pt x="3739" y="6727"/>
                  </a:lnTo>
                  <a:lnTo>
                    <a:pt x="3656" y="6822"/>
                  </a:lnTo>
                  <a:cubicBezTo>
                    <a:pt x="3620" y="6846"/>
                    <a:pt x="3584" y="6858"/>
                    <a:pt x="3537" y="6858"/>
                  </a:cubicBezTo>
                  <a:cubicBezTo>
                    <a:pt x="3489" y="6858"/>
                    <a:pt x="3441" y="6846"/>
                    <a:pt x="3418" y="6822"/>
                  </a:cubicBezTo>
                  <a:lnTo>
                    <a:pt x="3382" y="6787"/>
                  </a:lnTo>
                  <a:cubicBezTo>
                    <a:pt x="3322" y="6727"/>
                    <a:pt x="3322" y="6608"/>
                    <a:pt x="3382" y="6548"/>
                  </a:cubicBezTo>
                  <a:lnTo>
                    <a:pt x="3846" y="6084"/>
                  </a:lnTo>
                  <a:close/>
                  <a:moveTo>
                    <a:pt x="4334" y="6608"/>
                  </a:moveTo>
                  <a:lnTo>
                    <a:pt x="4608" y="6882"/>
                  </a:lnTo>
                  <a:lnTo>
                    <a:pt x="4311" y="7156"/>
                  </a:lnTo>
                  <a:lnTo>
                    <a:pt x="4227" y="7239"/>
                  </a:lnTo>
                  <a:cubicBezTo>
                    <a:pt x="4203" y="7263"/>
                    <a:pt x="4156" y="7275"/>
                    <a:pt x="4108" y="7275"/>
                  </a:cubicBezTo>
                  <a:cubicBezTo>
                    <a:pt x="4072" y="7275"/>
                    <a:pt x="4025" y="7263"/>
                    <a:pt x="3989" y="7239"/>
                  </a:cubicBezTo>
                  <a:lnTo>
                    <a:pt x="3965" y="7203"/>
                  </a:lnTo>
                  <a:cubicBezTo>
                    <a:pt x="3906" y="7144"/>
                    <a:pt x="3906" y="7037"/>
                    <a:pt x="3965" y="6977"/>
                  </a:cubicBezTo>
                  <a:lnTo>
                    <a:pt x="4334" y="6608"/>
                  </a:lnTo>
                  <a:close/>
                  <a:moveTo>
                    <a:pt x="4858" y="7096"/>
                  </a:moveTo>
                  <a:lnTo>
                    <a:pt x="5132" y="7370"/>
                  </a:lnTo>
                  <a:lnTo>
                    <a:pt x="4954" y="7537"/>
                  </a:lnTo>
                  <a:lnTo>
                    <a:pt x="4811" y="7668"/>
                  </a:lnTo>
                  <a:cubicBezTo>
                    <a:pt x="4781" y="7697"/>
                    <a:pt x="4742" y="7712"/>
                    <a:pt x="4704" y="7712"/>
                  </a:cubicBezTo>
                  <a:cubicBezTo>
                    <a:pt x="4665" y="7712"/>
                    <a:pt x="4626" y="7697"/>
                    <a:pt x="4596" y="7668"/>
                  </a:cubicBezTo>
                  <a:lnTo>
                    <a:pt x="4549" y="7620"/>
                  </a:lnTo>
                  <a:cubicBezTo>
                    <a:pt x="4513" y="7596"/>
                    <a:pt x="4501" y="7549"/>
                    <a:pt x="4501" y="7513"/>
                  </a:cubicBezTo>
                  <a:cubicBezTo>
                    <a:pt x="4501" y="7477"/>
                    <a:pt x="4513" y="7441"/>
                    <a:pt x="4549" y="7418"/>
                  </a:cubicBezTo>
                  <a:lnTo>
                    <a:pt x="4858" y="7096"/>
                  </a:lnTo>
                  <a:close/>
                  <a:moveTo>
                    <a:pt x="3811" y="2417"/>
                  </a:moveTo>
                  <a:lnTo>
                    <a:pt x="3965" y="2560"/>
                  </a:lnTo>
                  <a:cubicBezTo>
                    <a:pt x="4181" y="2776"/>
                    <a:pt x="4462" y="2894"/>
                    <a:pt x="4756" y="2894"/>
                  </a:cubicBezTo>
                  <a:cubicBezTo>
                    <a:pt x="4771" y="2894"/>
                    <a:pt x="4785" y="2894"/>
                    <a:pt x="4799" y="2893"/>
                  </a:cubicBezTo>
                  <a:cubicBezTo>
                    <a:pt x="5394" y="2858"/>
                    <a:pt x="6168" y="2798"/>
                    <a:pt x="6549" y="2703"/>
                  </a:cubicBezTo>
                  <a:cubicBezTo>
                    <a:pt x="6573" y="2715"/>
                    <a:pt x="6597" y="2738"/>
                    <a:pt x="6609" y="2774"/>
                  </a:cubicBezTo>
                  <a:cubicBezTo>
                    <a:pt x="6632" y="2834"/>
                    <a:pt x="6632" y="2893"/>
                    <a:pt x="6597" y="2953"/>
                  </a:cubicBezTo>
                  <a:cubicBezTo>
                    <a:pt x="6573" y="3024"/>
                    <a:pt x="6525" y="3084"/>
                    <a:pt x="6466" y="3119"/>
                  </a:cubicBezTo>
                  <a:lnTo>
                    <a:pt x="5561" y="3489"/>
                  </a:lnTo>
                  <a:cubicBezTo>
                    <a:pt x="5501" y="3500"/>
                    <a:pt x="5466" y="3560"/>
                    <a:pt x="5454" y="3608"/>
                  </a:cubicBezTo>
                  <a:cubicBezTo>
                    <a:pt x="5442" y="3667"/>
                    <a:pt x="5454" y="3727"/>
                    <a:pt x="5501" y="3750"/>
                  </a:cubicBezTo>
                  <a:lnTo>
                    <a:pt x="7716" y="5977"/>
                  </a:lnTo>
                  <a:lnTo>
                    <a:pt x="8013" y="6275"/>
                  </a:lnTo>
                  <a:cubicBezTo>
                    <a:pt x="8097" y="6346"/>
                    <a:pt x="8097" y="6453"/>
                    <a:pt x="8025" y="6513"/>
                  </a:cubicBezTo>
                  <a:lnTo>
                    <a:pt x="8002" y="6537"/>
                  </a:lnTo>
                  <a:cubicBezTo>
                    <a:pt x="7972" y="6566"/>
                    <a:pt x="7927" y="6581"/>
                    <a:pt x="7882" y="6581"/>
                  </a:cubicBezTo>
                  <a:cubicBezTo>
                    <a:pt x="7838" y="6581"/>
                    <a:pt x="7793" y="6566"/>
                    <a:pt x="7763" y="6537"/>
                  </a:cubicBezTo>
                  <a:lnTo>
                    <a:pt x="7668" y="6453"/>
                  </a:lnTo>
                  <a:lnTo>
                    <a:pt x="5775" y="4560"/>
                  </a:lnTo>
                  <a:cubicBezTo>
                    <a:pt x="5745" y="4530"/>
                    <a:pt x="5701" y="4515"/>
                    <a:pt x="5656" y="4515"/>
                  </a:cubicBezTo>
                  <a:cubicBezTo>
                    <a:pt x="5611" y="4515"/>
                    <a:pt x="5567" y="4530"/>
                    <a:pt x="5537" y="4560"/>
                  </a:cubicBezTo>
                  <a:cubicBezTo>
                    <a:pt x="5477" y="4620"/>
                    <a:pt x="5477" y="4739"/>
                    <a:pt x="5537" y="4798"/>
                  </a:cubicBezTo>
                  <a:lnTo>
                    <a:pt x="7430" y="6691"/>
                  </a:lnTo>
                  <a:cubicBezTo>
                    <a:pt x="7490" y="6751"/>
                    <a:pt x="7490" y="6846"/>
                    <a:pt x="7430" y="6906"/>
                  </a:cubicBezTo>
                  <a:lnTo>
                    <a:pt x="7406" y="6941"/>
                  </a:lnTo>
                  <a:cubicBezTo>
                    <a:pt x="7376" y="6971"/>
                    <a:pt x="7335" y="6986"/>
                    <a:pt x="7293" y="6986"/>
                  </a:cubicBezTo>
                  <a:cubicBezTo>
                    <a:pt x="7251" y="6986"/>
                    <a:pt x="7210" y="6971"/>
                    <a:pt x="7180" y="6941"/>
                  </a:cubicBezTo>
                  <a:lnTo>
                    <a:pt x="7120" y="6882"/>
                  </a:lnTo>
                  <a:lnTo>
                    <a:pt x="5120" y="4882"/>
                  </a:lnTo>
                  <a:cubicBezTo>
                    <a:pt x="5096" y="4852"/>
                    <a:pt x="5055" y="4837"/>
                    <a:pt x="5010" y="4837"/>
                  </a:cubicBezTo>
                  <a:cubicBezTo>
                    <a:pt x="4965" y="4837"/>
                    <a:pt x="4918" y="4852"/>
                    <a:pt x="4882" y="4882"/>
                  </a:cubicBezTo>
                  <a:cubicBezTo>
                    <a:pt x="4823" y="4941"/>
                    <a:pt x="4823" y="5060"/>
                    <a:pt x="4882" y="5120"/>
                  </a:cubicBezTo>
                  <a:lnTo>
                    <a:pt x="6882" y="7120"/>
                  </a:lnTo>
                  <a:cubicBezTo>
                    <a:pt x="6906" y="7144"/>
                    <a:pt x="6930" y="7191"/>
                    <a:pt x="6930" y="7227"/>
                  </a:cubicBezTo>
                  <a:cubicBezTo>
                    <a:pt x="6930" y="7251"/>
                    <a:pt x="6906" y="7299"/>
                    <a:pt x="6882" y="7322"/>
                  </a:cubicBezTo>
                  <a:lnTo>
                    <a:pt x="6835" y="7370"/>
                  </a:lnTo>
                  <a:cubicBezTo>
                    <a:pt x="6805" y="7400"/>
                    <a:pt x="6763" y="7415"/>
                    <a:pt x="6722" y="7415"/>
                  </a:cubicBezTo>
                  <a:cubicBezTo>
                    <a:pt x="6680" y="7415"/>
                    <a:pt x="6638" y="7400"/>
                    <a:pt x="6609" y="7370"/>
                  </a:cubicBezTo>
                  <a:lnTo>
                    <a:pt x="6478" y="7239"/>
                  </a:lnTo>
                  <a:lnTo>
                    <a:pt x="4799" y="5560"/>
                  </a:lnTo>
                  <a:cubicBezTo>
                    <a:pt x="4769" y="5530"/>
                    <a:pt x="4724" y="5516"/>
                    <a:pt x="4680" y="5516"/>
                  </a:cubicBezTo>
                  <a:cubicBezTo>
                    <a:pt x="4635" y="5516"/>
                    <a:pt x="4590" y="5530"/>
                    <a:pt x="4561" y="5560"/>
                  </a:cubicBezTo>
                  <a:cubicBezTo>
                    <a:pt x="4501" y="5620"/>
                    <a:pt x="4501" y="5739"/>
                    <a:pt x="4561" y="5798"/>
                  </a:cubicBezTo>
                  <a:lnTo>
                    <a:pt x="6239" y="7477"/>
                  </a:lnTo>
                  <a:cubicBezTo>
                    <a:pt x="6275" y="7501"/>
                    <a:pt x="6287" y="7537"/>
                    <a:pt x="6287" y="7584"/>
                  </a:cubicBezTo>
                  <a:cubicBezTo>
                    <a:pt x="6287" y="7620"/>
                    <a:pt x="6275" y="7656"/>
                    <a:pt x="6239" y="7680"/>
                  </a:cubicBezTo>
                  <a:lnTo>
                    <a:pt x="6180" y="7739"/>
                  </a:lnTo>
                  <a:cubicBezTo>
                    <a:pt x="6150" y="7769"/>
                    <a:pt x="6114" y="7784"/>
                    <a:pt x="6080" y="7784"/>
                  </a:cubicBezTo>
                  <a:cubicBezTo>
                    <a:pt x="6046" y="7784"/>
                    <a:pt x="6013" y="7769"/>
                    <a:pt x="5989" y="7739"/>
                  </a:cubicBezTo>
                  <a:lnTo>
                    <a:pt x="3037" y="4798"/>
                  </a:lnTo>
                  <a:cubicBezTo>
                    <a:pt x="2953" y="4703"/>
                    <a:pt x="2894" y="4584"/>
                    <a:pt x="2882" y="4453"/>
                  </a:cubicBezTo>
                  <a:cubicBezTo>
                    <a:pt x="2882" y="4393"/>
                    <a:pt x="2858" y="4334"/>
                    <a:pt x="2834" y="4274"/>
                  </a:cubicBezTo>
                  <a:cubicBezTo>
                    <a:pt x="2799" y="4215"/>
                    <a:pt x="2775" y="4167"/>
                    <a:pt x="2727" y="4131"/>
                  </a:cubicBezTo>
                  <a:lnTo>
                    <a:pt x="2418" y="3810"/>
                  </a:lnTo>
                  <a:lnTo>
                    <a:pt x="3811" y="2417"/>
                  </a:lnTo>
                  <a:close/>
                  <a:moveTo>
                    <a:pt x="5370" y="7572"/>
                  </a:moveTo>
                  <a:lnTo>
                    <a:pt x="5632" y="7846"/>
                  </a:lnTo>
                  <a:lnTo>
                    <a:pt x="5454" y="8025"/>
                  </a:lnTo>
                  <a:cubicBezTo>
                    <a:pt x="5430" y="8061"/>
                    <a:pt x="5394" y="8072"/>
                    <a:pt x="5346" y="8072"/>
                  </a:cubicBezTo>
                  <a:cubicBezTo>
                    <a:pt x="5311" y="8072"/>
                    <a:pt x="5275" y="8049"/>
                    <a:pt x="5251" y="8025"/>
                  </a:cubicBezTo>
                  <a:lnTo>
                    <a:pt x="5192" y="7965"/>
                  </a:lnTo>
                  <a:cubicBezTo>
                    <a:pt x="5156" y="7941"/>
                    <a:pt x="5144" y="7906"/>
                    <a:pt x="5144" y="7858"/>
                  </a:cubicBezTo>
                  <a:cubicBezTo>
                    <a:pt x="5144" y="7822"/>
                    <a:pt x="5156" y="7787"/>
                    <a:pt x="5192" y="7751"/>
                  </a:cubicBezTo>
                  <a:lnTo>
                    <a:pt x="5370" y="7572"/>
                  </a:lnTo>
                  <a:close/>
                  <a:moveTo>
                    <a:pt x="2251" y="0"/>
                  </a:moveTo>
                  <a:cubicBezTo>
                    <a:pt x="2203" y="0"/>
                    <a:pt x="2167" y="12"/>
                    <a:pt x="2132" y="48"/>
                  </a:cubicBezTo>
                  <a:lnTo>
                    <a:pt x="1394" y="786"/>
                  </a:lnTo>
                  <a:cubicBezTo>
                    <a:pt x="1334" y="845"/>
                    <a:pt x="1334" y="964"/>
                    <a:pt x="1394" y="1024"/>
                  </a:cubicBezTo>
                  <a:cubicBezTo>
                    <a:pt x="1423" y="1054"/>
                    <a:pt x="1468" y="1069"/>
                    <a:pt x="1513" y="1069"/>
                  </a:cubicBezTo>
                  <a:cubicBezTo>
                    <a:pt x="1557" y="1069"/>
                    <a:pt x="1602" y="1054"/>
                    <a:pt x="1632" y="1024"/>
                  </a:cubicBezTo>
                  <a:lnTo>
                    <a:pt x="2251" y="405"/>
                  </a:lnTo>
                  <a:lnTo>
                    <a:pt x="3156" y="1310"/>
                  </a:lnTo>
                  <a:lnTo>
                    <a:pt x="1334" y="3143"/>
                  </a:lnTo>
                  <a:lnTo>
                    <a:pt x="417" y="2238"/>
                  </a:lnTo>
                  <a:lnTo>
                    <a:pt x="1155" y="1500"/>
                  </a:lnTo>
                  <a:cubicBezTo>
                    <a:pt x="1215" y="1441"/>
                    <a:pt x="1215" y="1322"/>
                    <a:pt x="1155" y="1262"/>
                  </a:cubicBezTo>
                  <a:cubicBezTo>
                    <a:pt x="1126" y="1232"/>
                    <a:pt x="1081" y="1217"/>
                    <a:pt x="1036" y="1217"/>
                  </a:cubicBezTo>
                  <a:cubicBezTo>
                    <a:pt x="992" y="1217"/>
                    <a:pt x="947" y="1232"/>
                    <a:pt x="917" y="1262"/>
                  </a:cubicBezTo>
                  <a:lnTo>
                    <a:pt x="60" y="2119"/>
                  </a:lnTo>
                  <a:cubicBezTo>
                    <a:pt x="1" y="2179"/>
                    <a:pt x="1" y="2298"/>
                    <a:pt x="60" y="2357"/>
                  </a:cubicBezTo>
                  <a:lnTo>
                    <a:pt x="1191" y="3489"/>
                  </a:lnTo>
                  <a:cubicBezTo>
                    <a:pt x="1227" y="3512"/>
                    <a:pt x="1275" y="3524"/>
                    <a:pt x="1310" y="3524"/>
                  </a:cubicBezTo>
                  <a:cubicBezTo>
                    <a:pt x="1346" y="3524"/>
                    <a:pt x="1370" y="3512"/>
                    <a:pt x="1405" y="3500"/>
                  </a:cubicBezTo>
                  <a:lnTo>
                    <a:pt x="1953" y="4048"/>
                  </a:lnTo>
                  <a:cubicBezTo>
                    <a:pt x="1989" y="4084"/>
                    <a:pt x="2025" y="4096"/>
                    <a:pt x="2072" y="4096"/>
                  </a:cubicBezTo>
                  <a:cubicBezTo>
                    <a:pt x="2120" y="4096"/>
                    <a:pt x="2167" y="4084"/>
                    <a:pt x="2191" y="4048"/>
                  </a:cubicBezTo>
                  <a:lnTo>
                    <a:pt x="2501" y="4358"/>
                  </a:lnTo>
                  <a:cubicBezTo>
                    <a:pt x="2525" y="4382"/>
                    <a:pt x="2537" y="4393"/>
                    <a:pt x="2537" y="4405"/>
                  </a:cubicBezTo>
                  <a:cubicBezTo>
                    <a:pt x="2548" y="4417"/>
                    <a:pt x="2548" y="4453"/>
                    <a:pt x="2548" y="4465"/>
                  </a:cubicBezTo>
                  <a:cubicBezTo>
                    <a:pt x="2560" y="4679"/>
                    <a:pt x="2656" y="4882"/>
                    <a:pt x="2799" y="5036"/>
                  </a:cubicBezTo>
                  <a:lnTo>
                    <a:pt x="3632" y="5870"/>
                  </a:lnTo>
                  <a:lnTo>
                    <a:pt x="3180" y="6322"/>
                  </a:lnTo>
                  <a:cubicBezTo>
                    <a:pt x="2977" y="6525"/>
                    <a:pt x="2977" y="6846"/>
                    <a:pt x="3180" y="7037"/>
                  </a:cubicBezTo>
                  <a:lnTo>
                    <a:pt x="3203" y="7072"/>
                  </a:lnTo>
                  <a:cubicBezTo>
                    <a:pt x="3299" y="7156"/>
                    <a:pt x="3430" y="7215"/>
                    <a:pt x="3561" y="7215"/>
                  </a:cubicBezTo>
                  <a:lnTo>
                    <a:pt x="3632" y="7215"/>
                  </a:lnTo>
                  <a:cubicBezTo>
                    <a:pt x="3656" y="7310"/>
                    <a:pt x="3691" y="7382"/>
                    <a:pt x="3775" y="7453"/>
                  </a:cubicBezTo>
                  <a:lnTo>
                    <a:pt x="3799" y="7489"/>
                  </a:lnTo>
                  <a:cubicBezTo>
                    <a:pt x="3894" y="7572"/>
                    <a:pt x="4025" y="7632"/>
                    <a:pt x="4156" y="7632"/>
                  </a:cubicBezTo>
                  <a:lnTo>
                    <a:pt x="4203" y="7632"/>
                  </a:lnTo>
                  <a:cubicBezTo>
                    <a:pt x="4215" y="7727"/>
                    <a:pt x="4263" y="7811"/>
                    <a:pt x="4334" y="7870"/>
                  </a:cubicBezTo>
                  <a:lnTo>
                    <a:pt x="4382" y="7918"/>
                  </a:lnTo>
                  <a:cubicBezTo>
                    <a:pt x="4475" y="8011"/>
                    <a:pt x="4593" y="8062"/>
                    <a:pt x="4713" y="8062"/>
                  </a:cubicBezTo>
                  <a:cubicBezTo>
                    <a:pt x="4762" y="8062"/>
                    <a:pt x="4810" y="8054"/>
                    <a:pt x="4858" y="8037"/>
                  </a:cubicBezTo>
                  <a:cubicBezTo>
                    <a:pt x="4882" y="8096"/>
                    <a:pt x="4918" y="8156"/>
                    <a:pt x="4977" y="8215"/>
                  </a:cubicBezTo>
                  <a:lnTo>
                    <a:pt x="5037" y="8275"/>
                  </a:lnTo>
                  <a:cubicBezTo>
                    <a:pt x="5120" y="8370"/>
                    <a:pt x="5239" y="8406"/>
                    <a:pt x="5382" y="8406"/>
                  </a:cubicBezTo>
                  <a:cubicBezTo>
                    <a:pt x="5513" y="8406"/>
                    <a:pt x="5632" y="8370"/>
                    <a:pt x="5716" y="8275"/>
                  </a:cubicBezTo>
                  <a:lnTo>
                    <a:pt x="5918" y="8084"/>
                  </a:lnTo>
                  <a:cubicBezTo>
                    <a:pt x="5977" y="8108"/>
                    <a:pt x="6049" y="8132"/>
                    <a:pt x="6120" y="8132"/>
                  </a:cubicBezTo>
                  <a:cubicBezTo>
                    <a:pt x="6239" y="8132"/>
                    <a:pt x="6358" y="8084"/>
                    <a:pt x="6466" y="7989"/>
                  </a:cubicBezTo>
                  <a:lnTo>
                    <a:pt x="6525" y="7930"/>
                  </a:lnTo>
                  <a:cubicBezTo>
                    <a:pt x="6573" y="7894"/>
                    <a:pt x="6609" y="7834"/>
                    <a:pt x="6644" y="7751"/>
                  </a:cubicBezTo>
                  <a:cubicBezTo>
                    <a:pt x="6687" y="7763"/>
                    <a:pt x="6732" y="7769"/>
                    <a:pt x="6777" y="7769"/>
                  </a:cubicBezTo>
                  <a:cubicBezTo>
                    <a:pt x="6905" y="7769"/>
                    <a:pt x="7032" y="7720"/>
                    <a:pt x="7120" y="7632"/>
                  </a:cubicBezTo>
                  <a:lnTo>
                    <a:pt x="7168" y="7596"/>
                  </a:lnTo>
                  <a:cubicBezTo>
                    <a:pt x="7240" y="7513"/>
                    <a:pt x="7287" y="7441"/>
                    <a:pt x="7299" y="7358"/>
                  </a:cubicBezTo>
                  <a:cubicBezTo>
                    <a:pt x="7313" y="7359"/>
                    <a:pt x="7327" y="7360"/>
                    <a:pt x="7341" y="7360"/>
                  </a:cubicBezTo>
                  <a:cubicBezTo>
                    <a:pt x="7470" y="7360"/>
                    <a:pt x="7597" y="7311"/>
                    <a:pt x="7704" y="7203"/>
                  </a:cubicBezTo>
                  <a:lnTo>
                    <a:pt x="7728" y="7179"/>
                  </a:lnTo>
                  <a:cubicBezTo>
                    <a:pt x="7799" y="7096"/>
                    <a:pt x="7835" y="7025"/>
                    <a:pt x="7859" y="6941"/>
                  </a:cubicBezTo>
                  <a:cubicBezTo>
                    <a:pt x="7874" y="6943"/>
                    <a:pt x="7889" y="6943"/>
                    <a:pt x="7905" y="6943"/>
                  </a:cubicBezTo>
                  <a:cubicBezTo>
                    <a:pt x="8046" y="6943"/>
                    <a:pt x="8192" y="6894"/>
                    <a:pt x="8299" y="6787"/>
                  </a:cubicBezTo>
                  <a:lnTo>
                    <a:pt x="8323" y="6763"/>
                  </a:lnTo>
                  <a:cubicBezTo>
                    <a:pt x="8514" y="6560"/>
                    <a:pt x="8514" y="6239"/>
                    <a:pt x="8323" y="6048"/>
                  </a:cubicBezTo>
                  <a:lnTo>
                    <a:pt x="8144" y="5870"/>
                  </a:lnTo>
                  <a:lnTo>
                    <a:pt x="8680" y="5334"/>
                  </a:lnTo>
                  <a:cubicBezTo>
                    <a:pt x="8835" y="5179"/>
                    <a:pt x="8918" y="4989"/>
                    <a:pt x="8930" y="4763"/>
                  </a:cubicBezTo>
                  <a:cubicBezTo>
                    <a:pt x="8930" y="4751"/>
                    <a:pt x="8930" y="4715"/>
                    <a:pt x="8954" y="4703"/>
                  </a:cubicBezTo>
                  <a:cubicBezTo>
                    <a:pt x="8966" y="4691"/>
                    <a:pt x="8966" y="4679"/>
                    <a:pt x="8978" y="4655"/>
                  </a:cubicBezTo>
                  <a:lnTo>
                    <a:pt x="9287" y="4346"/>
                  </a:lnTo>
                  <a:cubicBezTo>
                    <a:pt x="9323" y="4382"/>
                    <a:pt x="9371" y="4393"/>
                    <a:pt x="9406" y="4393"/>
                  </a:cubicBezTo>
                  <a:cubicBezTo>
                    <a:pt x="9454" y="4393"/>
                    <a:pt x="9502" y="4382"/>
                    <a:pt x="9526" y="4346"/>
                  </a:cubicBezTo>
                  <a:lnTo>
                    <a:pt x="10085" y="3798"/>
                  </a:lnTo>
                  <a:cubicBezTo>
                    <a:pt x="10109" y="3810"/>
                    <a:pt x="10145" y="3822"/>
                    <a:pt x="10168" y="3822"/>
                  </a:cubicBezTo>
                  <a:cubicBezTo>
                    <a:pt x="10216" y="3822"/>
                    <a:pt x="10264" y="3810"/>
                    <a:pt x="10288" y="3786"/>
                  </a:cubicBezTo>
                  <a:lnTo>
                    <a:pt x="11419" y="2655"/>
                  </a:lnTo>
                  <a:cubicBezTo>
                    <a:pt x="11466" y="2560"/>
                    <a:pt x="11466" y="2465"/>
                    <a:pt x="11395" y="2393"/>
                  </a:cubicBezTo>
                  <a:lnTo>
                    <a:pt x="10490" y="1488"/>
                  </a:lnTo>
                  <a:cubicBezTo>
                    <a:pt x="10460" y="1459"/>
                    <a:pt x="10416" y="1444"/>
                    <a:pt x="10369" y="1444"/>
                  </a:cubicBezTo>
                  <a:cubicBezTo>
                    <a:pt x="10323" y="1444"/>
                    <a:pt x="10276" y="1459"/>
                    <a:pt x="10240" y="1488"/>
                  </a:cubicBezTo>
                  <a:cubicBezTo>
                    <a:pt x="10180" y="1548"/>
                    <a:pt x="10180" y="1667"/>
                    <a:pt x="10240" y="1726"/>
                  </a:cubicBezTo>
                  <a:lnTo>
                    <a:pt x="11038" y="2512"/>
                  </a:lnTo>
                  <a:lnTo>
                    <a:pt x="10121" y="3429"/>
                  </a:lnTo>
                  <a:lnTo>
                    <a:pt x="8299" y="1595"/>
                  </a:lnTo>
                  <a:lnTo>
                    <a:pt x="9204" y="691"/>
                  </a:lnTo>
                  <a:lnTo>
                    <a:pt x="9787" y="1262"/>
                  </a:lnTo>
                  <a:cubicBezTo>
                    <a:pt x="9817" y="1292"/>
                    <a:pt x="9862" y="1307"/>
                    <a:pt x="9907" y="1307"/>
                  </a:cubicBezTo>
                  <a:cubicBezTo>
                    <a:pt x="9951" y="1307"/>
                    <a:pt x="9996" y="1292"/>
                    <a:pt x="10026" y="1262"/>
                  </a:cubicBezTo>
                  <a:cubicBezTo>
                    <a:pt x="10085" y="1203"/>
                    <a:pt x="10085" y="1083"/>
                    <a:pt x="10026" y="1024"/>
                  </a:cubicBezTo>
                  <a:lnTo>
                    <a:pt x="9323" y="333"/>
                  </a:lnTo>
                  <a:cubicBezTo>
                    <a:pt x="9287" y="298"/>
                    <a:pt x="9252" y="286"/>
                    <a:pt x="9204" y="286"/>
                  </a:cubicBezTo>
                  <a:cubicBezTo>
                    <a:pt x="9156" y="286"/>
                    <a:pt x="9109" y="298"/>
                    <a:pt x="9085" y="333"/>
                  </a:cubicBezTo>
                  <a:lnTo>
                    <a:pt x="7954" y="1464"/>
                  </a:lnTo>
                  <a:cubicBezTo>
                    <a:pt x="7894" y="1524"/>
                    <a:pt x="7894" y="1607"/>
                    <a:pt x="7942" y="1667"/>
                  </a:cubicBezTo>
                  <a:lnTo>
                    <a:pt x="7382" y="2215"/>
                  </a:lnTo>
                  <a:cubicBezTo>
                    <a:pt x="7359" y="2250"/>
                    <a:pt x="7347" y="2298"/>
                    <a:pt x="7347" y="2334"/>
                  </a:cubicBezTo>
                  <a:cubicBezTo>
                    <a:pt x="7347" y="2381"/>
                    <a:pt x="7359" y="2429"/>
                    <a:pt x="7382" y="2453"/>
                  </a:cubicBezTo>
                  <a:lnTo>
                    <a:pt x="7240" y="2607"/>
                  </a:lnTo>
                  <a:cubicBezTo>
                    <a:pt x="7168" y="2679"/>
                    <a:pt x="7073" y="2738"/>
                    <a:pt x="6966" y="2786"/>
                  </a:cubicBezTo>
                  <a:cubicBezTo>
                    <a:pt x="6966" y="2738"/>
                    <a:pt x="6954" y="2691"/>
                    <a:pt x="6942" y="2655"/>
                  </a:cubicBezTo>
                  <a:cubicBezTo>
                    <a:pt x="6942" y="2631"/>
                    <a:pt x="6930" y="2619"/>
                    <a:pt x="6930" y="2607"/>
                  </a:cubicBezTo>
                  <a:cubicBezTo>
                    <a:pt x="6849" y="2476"/>
                    <a:pt x="6734" y="2344"/>
                    <a:pt x="6599" y="2344"/>
                  </a:cubicBezTo>
                  <a:cubicBezTo>
                    <a:pt x="6575" y="2344"/>
                    <a:pt x="6550" y="2349"/>
                    <a:pt x="6525" y="2357"/>
                  </a:cubicBezTo>
                  <a:cubicBezTo>
                    <a:pt x="6275" y="2441"/>
                    <a:pt x="5644" y="2500"/>
                    <a:pt x="4799" y="2548"/>
                  </a:cubicBezTo>
                  <a:cubicBezTo>
                    <a:pt x="4785" y="2549"/>
                    <a:pt x="4770" y="2549"/>
                    <a:pt x="4756" y="2549"/>
                  </a:cubicBezTo>
                  <a:cubicBezTo>
                    <a:pt x="4547" y="2549"/>
                    <a:pt x="4360" y="2467"/>
                    <a:pt x="4215" y="2322"/>
                  </a:cubicBezTo>
                  <a:lnTo>
                    <a:pt x="4072" y="2179"/>
                  </a:lnTo>
                  <a:cubicBezTo>
                    <a:pt x="4132" y="2119"/>
                    <a:pt x="4132" y="2000"/>
                    <a:pt x="4072" y="1941"/>
                  </a:cubicBezTo>
                  <a:lnTo>
                    <a:pt x="3513" y="1381"/>
                  </a:lnTo>
                  <a:cubicBezTo>
                    <a:pt x="3561" y="1322"/>
                    <a:pt x="3561" y="1238"/>
                    <a:pt x="3501" y="1179"/>
                  </a:cubicBezTo>
                  <a:lnTo>
                    <a:pt x="2370" y="48"/>
                  </a:lnTo>
                  <a:cubicBezTo>
                    <a:pt x="2346" y="12"/>
                    <a:pt x="2298" y="0"/>
                    <a:pt x="2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8" name="Google Shape;11848;p61"/>
            <p:cNvSpPr/>
            <p:nvPr/>
          </p:nvSpPr>
          <p:spPr>
            <a:xfrm>
              <a:off x="1399296" y="2419377"/>
              <a:ext cx="172054" cy="104924"/>
            </a:xfrm>
            <a:custGeom>
              <a:avLst/>
              <a:gdLst/>
              <a:ahLst/>
              <a:cxnLst/>
              <a:rect l="l" t="t" r="r" b="b"/>
              <a:pathLst>
                <a:path w="5431" h="3312" extrusionOk="0">
                  <a:moveTo>
                    <a:pt x="1561" y="323"/>
                  </a:moveTo>
                  <a:cubicBezTo>
                    <a:pt x="1787" y="323"/>
                    <a:pt x="2013" y="395"/>
                    <a:pt x="2215" y="514"/>
                  </a:cubicBezTo>
                  <a:cubicBezTo>
                    <a:pt x="2751" y="883"/>
                    <a:pt x="2894" y="1609"/>
                    <a:pt x="2537" y="2157"/>
                  </a:cubicBezTo>
                  <a:cubicBezTo>
                    <a:pt x="2313" y="2493"/>
                    <a:pt x="1942" y="2675"/>
                    <a:pt x="1558" y="2675"/>
                  </a:cubicBezTo>
                  <a:cubicBezTo>
                    <a:pt x="1452" y="2675"/>
                    <a:pt x="1345" y="2662"/>
                    <a:pt x="1239" y="2633"/>
                  </a:cubicBezTo>
                  <a:cubicBezTo>
                    <a:pt x="1218" y="2623"/>
                    <a:pt x="1201" y="2617"/>
                    <a:pt x="1185" y="2617"/>
                  </a:cubicBezTo>
                  <a:cubicBezTo>
                    <a:pt x="1165" y="2617"/>
                    <a:pt x="1146" y="2625"/>
                    <a:pt x="1120" y="2645"/>
                  </a:cubicBezTo>
                  <a:lnTo>
                    <a:pt x="656" y="2871"/>
                  </a:lnTo>
                  <a:lnTo>
                    <a:pt x="656" y="2871"/>
                  </a:lnTo>
                  <a:lnTo>
                    <a:pt x="679" y="2347"/>
                  </a:lnTo>
                  <a:cubicBezTo>
                    <a:pt x="679" y="2300"/>
                    <a:pt x="668" y="2276"/>
                    <a:pt x="656" y="2228"/>
                  </a:cubicBezTo>
                  <a:cubicBezTo>
                    <a:pt x="346" y="1824"/>
                    <a:pt x="310" y="1276"/>
                    <a:pt x="596" y="847"/>
                  </a:cubicBezTo>
                  <a:cubicBezTo>
                    <a:pt x="775" y="585"/>
                    <a:pt x="1025" y="407"/>
                    <a:pt x="1346" y="347"/>
                  </a:cubicBezTo>
                  <a:cubicBezTo>
                    <a:pt x="1418" y="335"/>
                    <a:pt x="1489" y="323"/>
                    <a:pt x="1561" y="323"/>
                  </a:cubicBezTo>
                  <a:close/>
                  <a:moveTo>
                    <a:pt x="3883" y="0"/>
                  </a:moveTo>
                  <a:cubicBezTo>
                    <a:pt x="3588" y="0"/>
                    <a:pt x="3291" y="87"/>
                    <a:pt x="3037" y="264"/>
                  </a:cubicBezTo>
                  <a:cubicBezTo>
                    <a:pt x="2942" y="323"/>
                    <a:pt x="2858" y="395"/>
                    <a:pt x="2787" y="478"/>
                  </a:cubicBezTo>
                  <a:lnTo>
                    <a:pt x="2739" y="526"/>
                  </a:lnTo>
                  <a:cubicBezTo>
                    <a:pt x="2644" y="419"/>
                    <a:pt x="2549" y="335"/>
                    <a:pt x="2442" y="264"/>
                  </a:cubicBezTo>
                  <a:cubicBezTo>
                    <a:pt x="2191" y="94"/>
                    <a:pt x="1906" y="11"/>
                    <a:pt x="1608" y="11"/>
                  </a:cubicBezTo>
                  <a:cubicBezTo>
                    <a:pt x="1510" y="11"/>
                    <a:pt x="1411" y="20"/>
                    <a:pt x="1311" y="38"/>
                  </a:cubicBezTo>
                  <a:cubicBezTo>
                    <a:pt x="906" y="109"/>
                    <a:pt x="584" y="347"/>
                    <a:pt x="358" y="681"/>
                  </a:cubicBezTo>
                  <a:cubicBezTo>
                    <a:pt x="1" y="1193"/>
                    <a:pt x="13" y="1883"/>
                    <a:pt x="382" y="2407"/>
                  </a:cubicBezTo>
                  <a:lnTo>
                    <a:pt x="358" y="3133"/>
                  </a:lnTo>
                  <a:cubicBezTo>
                    <a:pt x="358" y="3193"/>
                    <a:pt x="382" y="3252"/>
                    <a:pt x="429" y="3276"/>
                  </a:cubicBezTo>
                  <a:cubicBezTo>
                    <a:pt x="465" y="3300"/>
                    <a:pt x="489" y="3312"/>
                    <a:pt x="525" y="3312"/>
                  </a:cubicBezTo>
                  <a:cubicBezTo>
                    <a:pt x="549" y="3312"/>
                    <a:pt x="560" y="3312"/>
                    <a:pt x="596" y="3300"/>
                  </a:cubicBezTo>
                  <a:lnTo>
                    <a:pt x="1251" y="2979"/>
                  </a:lnTo>
                  <a:cubicBezTo>
                    <a:pt x="1369" y="3009"/>
                    <a:pt x="1489" y="3024"/>
                    <a:pt x="1608" y="3024"/>
                  </a:cubicBezTo>
                  <a:cubicBezTo>
                    <a:pt x="2040" y="3024"/>
                    <a:pt x="2459" y="2829"/>
                    <a:pt x="2739" y="2502"/>
                  </a:cubicBezTo>
                  <a:cubicBezTo>
                    <a:pt x="2751" y="2526"/>
                    <a:pt x="2751" y="2538"/>
                    <a:pt x="2763" y="2538"/>
                  </a:cubicBezTo>
                  <a:cubicBezTo>
                    <a:pt x="3049" y="2848"/>
                    <a:pt x="3466" y="3026"/>
                    <a:pt x="3882" y="3026"/>
                  </a:cubicBezTo>
                  <a:cubicBezTo>
                    <a:pt x="4001" y="3026"/>
                    <a:pt x="4120" y="3014"/>
                    <a:pt x="4228" y="2979"/>
                  </a:cubicBezTo>
                  <a:lnTo>
                    <a:pt x="4882" y="3300"/>
                  </a:lnTo>
                  <a:cubicBezTo>
                    <a:pt x="4906" y="3312"/>
                    <a:pt x="4930" y="3312"/>
                    <a:pt x="4954" y="3312"/>
                  </a:cubicBezTo>
                  <a:cubicBezTo>
                    <a:pt x="4990" y="3312"/>
                    <a:pt x="5013" y="3300"/>
                    <a:pt x="5049" y="3276"/>
                  </a:cubicBezTo>
                  <a:cubicBezTo>
                    <a:pt x="5085" y="3252"/>
                    <a:pt x="5121" y="3193"/>
                    <a:pt x="5121" y="3133"/>
                  </a:cubicBezTo>
                  <a:lnTo>
                    <a:pt x="5085" y="2407"/>
                  </a:lnTo>
                  <a:cubicBezTo>
                    <a:pt x="5359" y="1978"/>
                    <a:pt x="5430" y="1419"/>
                    <a:pt x="5251" y="943"/>
                  </a:cubicBezTo>
                  <a:cubicBezTo>
                    <a:pt x="5234" y="882"/>
                    <a:pt x="5173" y="840"/>
                    <a:pt x="5109" y="840"/>
                  </a:cubicBezTo>
                  <a:cubicBezTo>
                    <a:pt x="5085" y="840"/>
                    <a:pt x="5060" y="846"/>
                    <a:pt x="5037" y="859"/>
                  </a:cubicBezTo>
                  <a:cubicBezTo>
                    <a:pt x="4942" y="883"/>
                    <a:pt x="4894" y="990"/>
                    <a:pt x="4942" y="1074"/>
                  </a:cubicBezTo>
                  <a:cubicBezTo>
                    <a:pt x="5085" y="1466"/>
                    <a:pt x="5013" y="1895"/>
                    <a:pt x="4763" y="2228"/>
                  </a:cubicBezTo>
                  <a:cubicBezTo>
                    <a:pt x="4740" y="2252"/>
                    <a:pt x="4716" y="2300"/>
                    <a:pt x="4740" y="2347"/>
                  </a:cubicBezTo>
                  <a:lnTo>
                    <a:pt x="4763" y="2859"/>
                  </a:lnTo>
                  <a:lnTo>
                    <a:pt x="4299" y="2645"/>
                  </a:lnTo>
                  <a:cubicBezTo>
                    <a:pt x="4275" y="2621"/>
                    <a:pt x="4228" y="2621"/>
                    <a:pt x="4180" y="2621"/>
                  </a:cubicBezTo>
                  <a:cubicBezTo>
                    <a:pt x="4077" y="2651"/>
                    <a:pt x="3971" y="2665"/>
                    <a:pt x="3864" y="2665"/>
                  </a:cubicBezTo>
                  <a:cubicBezTo>
                    <a:pt x="3539" y="2665"/>
                    <a:pt x="3213" y="2533"/>
                    <a:pt x="2989" y="2300"/>
                  </a:cubicBezTo>
                  <a:cubicBezTo>
                    <a:pt x="2977" y="2288"/>
                    <a:pt x="2942" y="2252"/>
                    <a:pt x="2930" y="2228"/>
                  </a:cubicBezTo>
                  <a:cubicBezTo>
                    <a:pt x="2930" y="2205"/>
                    <a:pt x="2918" y="2205"/>
                    <a:pt x="2918" y="2193"/>
                  </a:cubicBezTo>
                  <a:cubicBezTo>
                    <a:pt x="3144" y="1752"/>
                    <a:pt x="3144" y="1240"/>
                    <a:pt x="2918" y="812"/>
                  </a:cubicBezTo>
                  <a:cubicBezTo>
                    <a:pt x="2918" y="800"/>
                    <a:pt x="2930" y="800"/>
                    <a:pt x="2930" y="776"/>
                  </a:cubicBezTo>
                  <a:cubicBezTo>
                    <a:pt x="2965" y="752"/>
                    <a:pt x="2977" y="716"/>
                    <a:pt x="3001" y="693"/>
                  </a:cubicBezTo>
                  <a:cubicBezTo>
                    <a:pt x="3061" y="633"/>
                    <a:pt x="3144" y="573"/>
                    <a:pt x="3216" y="526"/>
                  </a:cubicBezTo>
                  <a:cubicBezTo>
                    <a:pt x="3411" y="396"/>
                    <a:pt x="3639" y="332"/>
                    <a:pt x="3865" y="332"/>
                  </a:cubicBezTo>
                  <a:cubicBezTo>
                    <a:pt x="4134" y="332"/>
                    <a:pt x="4401" y="422"/>
                    <a:pt x="4609" y="597"/>
                  </a:cubicBezTo>
                  <a:cubicBezTo>
                    <a:pt x="4646" y="624"/>
                    <a:pt x="4686" y="636"/>
                    <a:pt x="4724" y="636"/>
                  </a:cubicBezTo>
                  <a:cubicBezTo>
                    <a:pt x="4770" y="636"/>
                    <a:pt x="4814" y="618"/>
                    <a:pt x="4847" y="585"/>
                  </a:cubicBezTo>
                  <a:cubicBezTo>
                    <a:pt x="4906" y="514"/>
                    <a:pt x="4894" y="407"/>
                    <a:pt x="4835" y="347"/>
                  </a:cubicBezTo>
                  <a:cubicBezTo>
                    <a:pt x="4566" y="117"/>
                    <a:pt x="4226" y="0"/>
                    <a:pt x="38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9" name="Google Shape;11849;p61"/>
            <p:cNvSpPr/>
            <p:nvPr/>
          </p:nvSpPr>
          <p:spPr>
            <a:xfrm>
              <a:off x="1428346" y="2463191"/>
              <a:ext cx="10581" cy="11341"/>
            </a:xfrm>
            <a:custGeom>
              <a:avLst/>
              <a:gdLst/>
              <a:ahLst/>
              <a:cxnLst/>
              <a:rect l="l" t="t" r="r" b="b"/>
              <a:pathLst>
                <a:path w="334" h="358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7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0" name="Google Shape;11850;p61"/>
            <p:cNvSpPr/>
            <p:nvPr/>
          </p:nvSpPr>
          <p:spPr>
            <a:xfrm>
              <a:off x="1443426" y="2463191"/>
              <a:ext cx="10613" cy="11341"/>
            </a:xfrm>
            <a:custGeom>
              <a:avLst/>
              <a:gdLst/>
              <a:ahLst/>
              <a:cxnLst/>
              <a:rect l="l" t="t" r="r" b="b"/>
              <a:pathLst>
                <a:path w="335" h="358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8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1" name="Google Shape;11851;p61"/>
            <p:cNvSpPr/>
            <p:nvPr/>
          </p:nvSpPr>
          <p:spPr>
            <a:xfrm>
              <a:off x="1458537" y="2463191"/>
              <a:ext cx="10581" cy="11341"/>
            </a:xfrm>
            <a:custGeom>
              <a:avLst/>
              <a:gdLst/>
              <a:ahLst/>
              <a:cxnLst/>
              <a:rect l="l" t="t" r="r" b="b"/>
              <a:pathLst>
                <a:path w="334" h="358" extrusionOk="0">
                  <a:moveTo>
                    <a:pt x="167" y="0"/>
                  </a:moveTo>
                  <a:cubicBezTo>
                    <a:pt x="83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83" y="357"/>
                    <a:pt x="167" y="357"/>
                  </a:cubicBezTo>
                  <a:cubicBezTo>
                    <a:pt x="262" y="357"/>
                    <a:pt x="333" y="274"/>
                    <a:pt x="333" y="191"/>
                  </a:cubicBezTo>
                  <a:lnTo>
                    <a:pt x="333" y="155"/>
                  </a:lnTo>
                  <a:cubicBezTo>
                    <a:pt x="333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2" name="Google Shape;11852;p61"/>
            <p:cNvSpPr/>
            <p:nvPr/>
          </p:nvSpPr>
          <p:spPr>
            <a:xfrm>
              <a:off x="1502287" y="2463191"/>
              <a:ext cx="10201" cy="11341"/>
            </a:xfrm>
            <a:custGeom>
              <a:avLst/>
              <a:gdLst/>
              <a:ahLst/>
              <a:cxnLst/>
              <a:rect l="l" t="t" r="r" b="b"/>
              <a:pathLst>
                <a:path w="322" h="358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72" y="357"/>
                    <a:pt x="155" y="357"/>
                  </a:cubicBezTo>
                  <a:cubicBezTo>
                    <a:pt x="250" y="357"/>
                    <a:pt x="322" y="274"/>
                    <a:pt x="322" y="191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3" name="Google Shape;11853;p61"/>
            <p:cNvSpPr/>
            <p:nvPr/>
          </p:nvSpPr>
          <p:spPr>
            <a:xfrm>
              <a:off x="1517367" y="2463191"/>
              <a:ext cx="10201" cy="11341"/>
            </a:xfrm>
            <a:custGeom>
              <a:avLst/>
              <a:gdLst/>
              <a:ahLst/>
              <a:cxnLst/>
              <a:rect l="l" t="t" r="r" b="b"/>
              <a:pathLst>
                <a:path w="322" h="358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72" y="357"/>
                    <a:pt x="155" y="357"/>
                  </a:cubicBezTo>
                  <a:cubicBezTo>
                    <a:pt x="251" y="357"/>
                    <a:pt x="322" y="274"/>
                    <a:pt x="322" y="191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4" name="Google Shape;11854;p61"/>
            <p:cNvSpPr/>
            <p:nvPr/>
          </p:nvSpPr>
          <p:spPr>
            <a:xfrm>
              <a:off x="1532067" y="2463191"/>
              <a:ext cx="10613" cy="11341"/>
            </a:xfrm>
            <a:custGeom>
              <a:avLst/>
              <a:gdLst/>
              <a:ahLst/>
              <a:cxnLst/>
              <a:rect l="l" t="t" r="r" b="b"/>
              <a:pathLst>
                <a:path w="335" h="358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8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55" name="Google Shape;11855;p61"/>
          <p:cNvGrpSpPr/>
          <p:nvPr/>
        </p:nvGrpSpPr>
        <p:grpSpPr>
          <a:xfrm>
            <a:off x="861053" y="2414910"/>
            <a:ext cx="362134" cy="363623"/>
            <a:chOff x="861053" y="2414910"/>
            <a:chExt cx="362134" cy="363623"/>
          </a:xfrm>
        </p:grpSpPr>
        <p:sp>
          <p:nvSpPr>
            <p:cNvPr id="11856" name="Google Shape;11856;p61"/>
            <p:cNvSpPr/>
            <p:nvPr/>
          </p:nvSpPr>
          <p:spPr>
            <a:xfrm>
              <a:off x="965153" y="2609235"/>
              <a:ext cx="64912" cy="63677"/>
            </a:xfrm>
            <a:custGeom>
              <a:avLst/>
              <a:gdLst/>
              <a:ahLst/>
              <a:cxnLst/>
              <a:rect l="l" t="t" r="r" b="b"/>
              <a:pathLst>
                <a:path w="2049" h="2010" extrusionOk="0">
                  <a:moveTo>
                    <a:pt x="1382" y="1"/>
                  </a:moveTo>
                  <a:cubicBezTo>
                    <a:pt x="1337" y="1"/>
                    <a:pt x="1293" y="16"/>
                    <a:pt x="1263" y="45"/>
                  </a:cubicBezTo>
                  <a:lnTo>
                    <a:pt x="858" y="450"/>
                  </a:lnTo>
                  <a:cubicBezTo>
                    <a:pt x="798" y="510"/>
                    <a:pt x="798" y="629"/>
                    <a:pt x="858" y="688"/>
                  </a:cubicBezTo>
                  <a:cubicBezTo>
                    <a:pt x="888" y="718"/>
                    <a:pt x="932" y="733"/>
                    <a:pt x="977" y="733"/>
                  </a:cubicBezTo>
                  <a:cubicBezTo>
                    <a:pt x="1022" y="733"/>
                    <a:pt x="1066" y="718"/>
                    <a:pt x="1096" y="688"/>
                  </a:cubicBezTo>
                  <a:lnTo>
                    <a:pt x="1382" y="403"/>
                  </a:lnTo>
                  <a:lnTo>
                    <a:pt x="1620" y="641"/>
                  </a:lnTo>
                  <a:lnTo>
                    <a:pt x="656" y="1605"/>
                  </a:lnTo>
                  <a:lnTo>
                    <a:pt x="417" y="1367"/>
                  </a:lnTo>
                  <a:lnTo>
                    <a:pt x="620" y="1165"/>
                  </a:lnTo>
                  <a:cubicBezTo>
                    <a:pt x="679" y="1105"/>
                    <a:pt x="679" y="986"/>
                    <a:pt x="620" y="926"/>
                  </a:cubicBezTo>
                  <a:cubicBezTo>
                    <a:pt x="590" y="897"/>
                    <a:pt x="545" y="882"/>
                    <a:pt x="501" y="882"/>
                  </a:cubicBezTo>
                  <a:cubicBezTo>
                    <a:pt x="456" y="882"/>
                    <a:pt x="411" y="897"/>
                    <a:pt x="382" y="926"/>
                  </a:cubicBezTo>
                  <a:lnTo>
                    <a:pt x="60" y="1248"/>
                  </a:lnTo>
                  <a:cubicBezTo>
                    <a:pt x="1" y="1307"/>
                    <a:pt x="1" y="1427"/>
                    <a:pt x="60" y="1486"/>
                  </a:cubicBezTo>
                  <a:lnTo>
                    <a:pt x="537" y="1962"/>
                  </a:lnTo>
                  <a:cubicBezTo>
                    <a:pt x="560" y="1998"/>
                    <a:pt x="608" y="2010"/>
                    <a:pt x="656" y="2010"/>
                  </a:cubicBezTo>
                  <a:cubicBezTo>
                    <a:pt x="703" y="2010"/>
                    <a:pt x="739" y="1998"/>
                    <a:pt x="775" y="1962"/>
                  </a:cubicBezTo>
                  <a:lnTo>
                    <a:pt x="1977" y="760"/>
                  </a:lnTo>
                  <a:cubicBezTo>
                    <a:pt x="2049" y="676"/>
                    <a:pt x="2049" y="581"/>
                    <a:pt x="1977" y="522"/>
                  </a:cubicBezTo>
                  <a:lnTo>
                    <a:pt x="1501" y="45"/>
                  </a:lnTo>
                  <a:cubicBezTo>
                    <a:pt x="1471" y="16"/>
                    <a:pt x="1426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7" name="Google Shape;11857;p61"/>
            <p:cNvSpPr/>
            <p:nvPr/>
          </p:nvSpPr>
          <p:spPr>
            <a:xfrm>
              <a:off x="861053" y="2479854"/>
              <a:ext cx="298394" cy="298679"/>
            </a:xfrm>
            <a:custGeom>
              <a:avLst/>
              <a:gdLst/>
              <a:ahLst/>
              <a:cxnLst/>
              <a:rect l="l" t="t" r="r" b="b"/>
              <a:pathLst>
                <a:path w="9419" h="9428" extrusionOk="0">
                  <a:moveTo>
                    <a:pt x="6938" y="1115"/>
                  </a:moveTo>
                  <a:cubicBezTo>
                    <a:pt x="7280" y="1115"/>
                    <a:pt x="7617" y="1256"/>
                    <a:pt x="7883" y="1510"/>
                  </a:cubicBezTo>
                  <a:cubicBezTo>
                    <a:pt x="8156" y="1772"/>
                    <a:pt x="8287" y="2165"/>
                    <a:pt x="8275" y="2534"/>
                  </a:cubicBezTo>
                  <a:lnTo>
                    <a:pt x="6859" y="1117"/>
                  </a:lnTo>
                  <a:cubicBezTo>
                    <a:pt x="6885" y="1115"/>
                    <a:pt x="6912" y="1115"/>
                    <a:pt x="6938" y="1115"/>
                  </a:cubicBezTo>
                  <a:close/>
                  <a:moveTo>
                    <a:pt x="4799" y="2903"/>
                  </a:moveTo>
                  <a:lnTo>
                    <a:pt x="4954" y="3058"/>
                  </a:lnTo>
                  <a:lnTo>
                    <a:pt x="6335" y="4439"/>
                  </a:lnTo>
                  <a:lnTo>
                    <a:pt x="6490" y="4582"/>
                  </a:lnTo>
                  <a:lnTo>
                    <a:pt x="6311" y="4760"/>
                  </a:lnTo>
                  <a:lnTo>
                    <a:pt x="4620" y="3082"/>
                  </a:lnTo>
                  <a:lnTo>
                    <a:pt x="4799" y="2903"/>
                  </a:lnTo>
                  <a:close/>
                  <a:moveTo>
                    <a:pt x="751" y="7856"/>
                  </a:moveTo>
                  <a:lnTo>
                    <a:pt x="1525" y="8630"/>
                  </a:lnTo>
                  <a:lnTo>
                    <a:pt x="1156" y="9011"/>
                  </a:lnTo>
                  <a:lnTo>
                    <a:pt x="382" y="8237"/>
                  </a:lnTo>
                  <a:lnTo>
                    <a:pt x="751" y="7856"/>
                  </a:lnTo>
                  <a:close/>
                  <a:moveTo>
                    <a:pt x="5668" y="1"/>
                  </a:moveTo>
                  <a:cubicBezTo>
                    <a:pt x="5623" y="1"/>
                    <a:pt x="5579" y="16"/>
                    <a:pt x="5549" y="46"/>
                  </a:cubicBezTo>
                  <a:lnTo>
                    <a:pt x="5073" y="522"/>
                  </a:lnTo>
                  <a:cubicBezTo>
                    <a:pt x="5013" y="581"/>
                    <a:pt x="5013" y="700"/>
                    <a:pt x="5073" y="760"/>
                  </a:cubicBezTo>
                  <a:cubicBezTo>
                    <a:pt x="5102" y="790"/>
                    <a:pt x="5147" y="805"/>
                    <a:pt x="5192" y="805"/>
                  </a:cubicBezTo>
                  <a:cubicBezTo>
                    <a:pt x="5236" y="805"/>
                    <a:pt x="5281" y="790"/>
                    <a:pt x="5311" y="760"/>
                  </a:cubicBezTo>
                  <a:lnTo>
                    <a:pt x="5668" y="403"/>
                  </a:lnTo>
                  <a:lnTo>
                    <a:pt x="9014" y="3760"/>
                  </a:lnTo>
                  <a:lnTo>
                    <a:pt x="8549" y="4213"/>
                  </a:lnTo>
                  <a:cubicBezTo>
                    <a:pt x="8287" y="4487"/>
                    <a:pt x="7942" y="4618"/>
                    <a:pt x="7573" y="4618"/>
                  </a:cubicBezTo>
                  <a:cubicBezTo>
                    <a:pt x="7204" y="4618"/>
                    <a:pt x="6859" y="4475"/>
                    <a:pt x="6585" y="4213"/>
                  </a:cubicBezTo>
                  <a:lnTo>
                    <a:pt x="5906" y="3534"/>
                  </a:lnTo>
                  <a:lnTo>
                    <a:pt x="5216" y="2844"/>
                  </a:lnTo>
                  <a:cubicBezTo>
                    <a:pt x="4799" y="2427"/>
                    <a:pt x="4704" y="1796"/>
                    <a:pt x="4954" y="1260"/>
                  </a:cubicBezTo>
                  <a:cubicBezTo>
                    <a:pt x="5001" y="1165"/>
                    <a:pt x="4954" y="1081"/>
                    <a:pt x="4882" y="1034"/>
                  </a:cubicBezTo>
                  <a:cubicBezTo>
                    <a:pt x="4856" y="1020"/>
                    <a:pt x="4830" y="1015"/>
                    <a:pt x="4806" y="1015"/>
                  </a:cubicBezTo>
                  <a:cubicBezTo>
                    <a:pt x="4743" y="1015"/>
                    <a:pt x="4690" y="1054"/>
                    <a:pt x="4656" y="1105"/>
                  </a:cubicBezTo>
                  <a:cubicBezTo>
                    <a:pt x="4418" y="1593"/>
                    <a:pt x="4430" y="2165"/>
                    <a:pt x="4668" y="2629"/>
                  </a:cubicBezTo>
                  <a:lnTo>
                    <a:pt x="4299" y="2998"/>
                  </a:lnTo>
                  <a:cubicBezTo>
                    <a:pt x="4263" y="3022"/>
                    <a:pt x="4251" y="3070"/>
                    <a:pt x="4251" y="3117"/>
                  </a:cubicBezTo>
                  <a:cubicBezTo>
                    <a:pt x="4251" y="3165"/>
                    <a:pt x="4263" y="3201"/>
                    <a:pt x="4299" y="3236"/>
                  </a:cubicBezTo>
                  <a:lnTo>
                    <a:pt x="4442" y="3379"/>
                  </a:lnTo>
                  <a:lnTo>
                    <a:pt x="489" y="7344"/>
                  </a:lnTo>
                  <a:cubicBezTo>
                    <a:pt x="453" y="7368"/>
                    <a:pt x="441" y="7416"/>
                    <a:pt x="441" y="7463"/>
                  </a:cubicBezTo>
                  <a:cubicBezTo>
                    <a:pt x="441" y="7511"/>
                    <a:pt x="453" y="7547"/>
                    <a:pt x="489" y="7582"/>
                  </a:cubicBezTo>
                  <a:lnTo>
                    <a:pt x="548" y="7642"/>
                  </a:lnTo>
                  <a:lnTo>
                    <a:pt x="60" y="8130"/>
                  </a:lnTo>
                  <a:cubicBezTo>
                    <a:pt x="1" y="8189"/>
                    <a:pt x="1" y="8309"/>
                    <a:pt x="60" y="8368"/>
                  </a:cubicBezTo>
                  <a:lnTo>
                    <a:pt x="1072" y="9380"/>
                  </a:lnTo>
                  <a:cubicBezTo>
                    <a:pt x="1096" y="9416"/>
                    <a:pt x="1144" y="9428"/>
                    <a:pt x="1191" y="9428"/>
                  </a:cubicBezTo>
                  <a:cubicBezTo>
                    <a:pt x="1227" y="9428"/>
                    <a:pt x="1275" y="9404"/>
                    <a:pt x="1310" y="9380"/>
                  </a:cubicBezTo>
                  <a:lnTo>
                    <a:pt x="1798" y="8892"/>
                  </a:lnTo>
                  <a:lnTo>
                    <a:pt x="1858" y="8951"/>
                  </a:lnTo>
                  <a:cubicBezTo>
                    <a:pt x="1882" y="8975"/>
                    <a:pt x="1929" y="8987"/>
                    <a:pt x="1977" y="8987"/>
                  </a:cubicBezTo>
                  <a:cubicBezTo>
                    <a:pt x="2025" y="8987"/>
                    <a:pt x="2060" y="8975"/>
                    <a:pt x="2096" y="8951"/>
                  </a:cubicBezTo>
                  <a:lnTo>
                    <a:pt x="3251" y="7785"/>
                  </a:lnTo>
                  <a:cubicBezTo>
                    <a:pt x="3311" y="7725"/>
                    <a:pt x="3311" y="7606"/>
                    <a:pt x="3251" y="7547"/>
                  </a:cubicBezTo>
                  <a:cubicBezTo>
                    <a:pt x="3221" y="7517"/>
                    <a:pt x="3177" y="7502"/>
                    <a:pt x="3132" y="7502"/>
                  </a:cubicBezTo>
                  <a:cubicBezTo>
                    <a:pt x="3087" y="7502"/>
                    <a:pt x="3043" y="7517"/>
                    <a:pt x="3013" y="7547"/>
                  </a:cubicBezTo>
                  <a:lnTo>
                    <a:pt x="1977" y="8594"/>
                  </a:lnTo>
                  <a:lnTo>
                    <a:pt x="1918" y="8535"/>
                  </a:lnTo>
                  <a:lnTo>
                    <a:pt x="905" y="7523"/>
                  </a:lnTo>
                  <a:lnTo>
                    <a:pt x="846" y="7463"/>
                  </a:lnTo>
                  <a:lnTo>
                    <a:pt x="4680" y="3617"/>
                  </a:lnTo>
                  <a:lnTo>
                    <a:pt x="5835" y="4772"/>
                  </a:lnTo>
                  <a:lnTo>
                    <a:pt x="3489" y="7106"/>
                  </a:lnTo>
                  <a:cubicBezTo>
                    <a:pt x="3430" y="7166"/>
                    <a:pt x="3430" y="7285"/>
                    <a:pt x="3489" y="7344"/>
                  </a:cubicBezTo>
                  <a:cubicBezTo>
                    <a:pt x="3525" y="7368"/>
                    <a:pt x="3572" y="7392"/>
                    <a:pt x="3608" y="7392"/>
                  </a:cubicBezTo>
                  <a:cubicBezTo>
                    <a:pt x="3656" y="7392"/>
                    <a:pt x="3703" y="7368"/>
                    <a:pt x="3727" y="7344"/>
                  </a:cubicBezTo>
                  <a:lnTo>
                    <a:pt x="6073" y="5010"/>
                  </a:lnTo>
                  <a:lnTo>
                    <a:pt x="6216" y="5153"/>
                  </a:lnTo>
                  <a:cubicBezTo>
                    <a:pt x="6251" y="5189"/>
                    <a:pt x="6287" y="5201"/>
                    <a:pt x="6335" y="5201"/>
                  </a:cubicBezTo>
                  <a:cubicBezTo>
                    <a:pt x="6382" y="5201"/>
                    <a:pt x="6430" y="5189"/>
                    <a:pt x="6454" y="5153"/>
                  </a:cubicBezTo>
                  <a:lnTo>
                    <a:pt x="6811" y="4796"/>
                  </a:lnTo>
                  <a:cubicBezTo>
                    <a:pt x="7049" y="4915"/>
                    <a:pt x="7323" y="4975"/>
                    <a:pt x="7585" y="4975"/>
                  </a:cubicBezTo>
                  <a:cubicBezTo>
                    <a:pt x="8049" y="4975"/>
                    <a:pt x="8478" y="4796"/>
                    <a:pt x="8811" y="4475"/>
                  </a:cubicBezTo>
                  <a:lnTo>
                    <a:pt x="9383" y="3891"/>
                  </a:lnTo>
                  <a:cubicBezTo>
                    <a:pt x="9418" y="3784"/>
                    <a:pt x="9418" y="3677"/>
                    <a:pt x="9359" y="3617"/>
                  </a:cubicBezTo>
                  <a:lnTo>
                    <a:pt x="8573" y="2832"/>
                  </a:lnTo>
                  <a:cubicBezTo>
                    <a:pt x="8704" y="2272"/>
                    <a:pt x="8537" y="1689"/>
                    <a:pt x="8121" y="1284"/>
                  </a:cubicBezTo>
                  <a:cubicBezTo>
                    <a:pt x="7809" y="972"/>
                    <a:pt x="7384" y="795"/>
                    <a:pt x="6956" y="795"/>
                  </a:cubicBezTo>
                  <a:cubicBezTo>
                    <a:pt x="6827" y="795"/>
                    <a:pt x="6699" y="810"/>
                    <a:pt x="6573" y="843"/>
                  </a:cubicBezTo>
                  <a:lnTo>
                    <a:pt x="5787" y="46"/>
                  </a:lnTo>
                  <a:cubicBezTo>
                    <a:pt x="5757" y="16"/>
                    <a:pt x="5713" y="1"/>
                    <a:pt x="5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8" name="Google Shape;11858;p61"/>
            <p:cNvSpPr/>
            <p:nvPr/>
          </p:nvSpPr>
          <p:spPr>
            <a:xfrm>
              <a:off x="1128875" y="2455366"/>
              <a:ext cx="54711" cy="53856"/>
            </a:xfrm>
            <a:custGeom>
              <a:avLst/>
              <a:gdLst/>
              <a:ahLst/>
              <a:cxnLst/>
              <a:rect l="l" t="t" r="r" b="b"/>
              <a:pathLst>
                <a:path w="1727" h="1700" extrusionOk="0">
                  <a:moveTo>
                    <a:pt x="1548" y="0"/>
                  </a:moveTo>
                  <a:cubicBezTo>
                    <a:pt x="1503" y="0"/>
                    <a:pt x="1459" y="15"/>
                    <a:pt x="1429" y="45"/>
                  </a:cubicBezTo>
                  <a:lnTo>
                    <a:pt x="60" y="1414"/>
                  </a:lnTo>
                  <a:cubicBezTo>
                    <a:pt x="0" y="1473"/>
                    <a:pt x="0" y="1592"/>
                    <a:pt x="60" y="1652"/>
                  </a:cubicBezTo>
                  <a:cubicBezTo>
                    <a:pt x="83" y="1688"/>
                    <a:pt x="131" y="1700"/>
                    <a:pt x="179" y="1700"/>
                  </a:cubicBezTo>
                  <a:cubicBezTo>
                    <a:pt x="214" y="1700"/>
                    <a:pt x="262" y="1688"/>
                    <a:pt x="298" y="1652"/>
                  </a:cubicBezTo>
                  <a:lnTo>
                    <a:pt x="1667" y="283"/>
                  </a:lnTo>
                  <a:cubicBezTo>
                    <a:pt x="1726" y="223"/>
                    <a:pt x="1726" y="104"/>
                    <a:pt x="1667" y="45"/>
                  </a:cubicBezTo>
                  <a:cubicBezTo>
                    <a:pt x="1637" y="15"/>
                    <a:pt x="1592" y="0"/>
                    <a:pt x="1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9" name="Google Shape;11859;p61"/>
            <p:cNvSpPr/>
            <p:nvPr/>
          </p:nvSpPr>
          <p:spPr>
            <a:xfrm>
              <a:off x="1099445" y="2414910"/>
              <a:ext cx="10581" cy="71692"/>
            </a:xfrm>
            <a:custGeom>
              <a:avLst/>
              <a:gdLst/>
              <a:ahLst/>
              <a:cxnLst/>
              <a:rect l="l" t="t" r="r" b="b"/>
              <a:pathLst>
                <a:path w="334" h="226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2096"/>
                  </a:lnTo>
                  <a:cubicBezTo>
                    <a:pt x="0" y="2191"/>
                    <a:pt x="72" y="2262"/>
                    <a:pt x="167" y="2262"/>
                  </a:cubicBezTo>
                  <a:cubicBezTo>
                    <a:pt x="250" y="2262"/>
                    <a:pt x="334" y="2191"/>
                    <a:pt x="334" y="2096"/>
                  </a:cubicBezTo>
                  <a:lnTo>
                    <a:pt x="334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0" name="Google Shape;11860;p61"/>
            <p:cNvSpPr/>
            <p:nvPr/>
          </p:nvSpPr>
          <p:spPr>
            <a:xfrm>
              <a:off x="1151495" y="2528420"/>
              <a:ext cx="71692" cy="10613"/>
            </a:xfrm>
            <a:custGeom>
              <a:avLst/>
              <a:gdLst/>
              <a:ahLst/>
              <a:cxnLst/>
              <a:rect l="l" t="t" r="r" b="b"/>
              <a:pathLst>
                <a:path w="2263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2096" y="334"/>
                  </a:lnTo>
                  <a:cubicBezTo>
                    <a:pt x="2179" y="334"/>
                    <a:pt x="2263" y="263"/>
                    <a:pt x="2263" y="168"/>
                  </a:cubicBezTo>
                  <a:cubicBezTo>
                    <a:pt x="2263" y="84"/>
                    <a:pt x="2203" y="1"/>
                    <a:pt x="2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61" name="Google Shape;11861;p61"/>
          <p:cNvGrpSpPr/>
          <p:nvPr/>
        </p:nvGrpSpPr>
        <p:grpSpPr>
          <a:xfrm>
            <a:off x="7594288" y="2415259"/>
            <a:ext cx="279513" cy="355735"/>
            <a:chOff x="7594288" y="2415259"/>
            <a:chExt cx="279513" cy="355735"/>
          </a:xfrm>
        </p:grpSpPr>
        <p:sp>
          <p:nvSpPr>
            <p:cNvPr id="11862" name="Google Shape;11862;p61"/>
            <p:cNvSpPr/>
            <p:nvPr/>
          </p:nvSpPr>
          <p:spPr>
            <a:xfrm>
              <a:off x="7696108" y="2531841"/>
              <a:ext cx="10233" cy="16220"/>
            </a:xfrm>
            <a:custGeom>
              <a:avLst/>
              <a:gdLst/>
              <a:ahLst/>
              <a:cxnLst/>
              <a:rect l="l" t="t" r="r" b="b"/>
              <a:pathLst>
                <a:path w="323" h="512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3" name="Google Shape;11863;p61"/>
            <p:cNvSpPr/>
            <p:nvPr/>
          </p:nvSpPr>
          <p:spPr>
            <a:xfrm>
              <a:off x="7762889" y="2531841"/>
              <a:ext cx="10581" cy="16220"/>
            </a:xfrm>
            <a:custGeom>
              <a:avLst/>
              <a:gdLst/>
              <a:ahLst/>
              <a:cxnLst/>
              <a:rect l="l" t="t" r="r" b="b"/>
              <a:pathLst>
                <a:path w="334" h="512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62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4" name="Google Shape;11864;p61"/>
            <p:cNvSpPr/>
            <p:nvPr/>
          </p:nvSpPr>
          <p:spPr>
            <a:xfrm>
              <a:off x="7711948" y="2571156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7" y="0"/>
                    <a:pt x="102" y="15"/>
                    <a:pt x="60" y="45"/>
                  </a:cubicBezTo>
                  <a:cubicBezTo>
                    <a:pt x="1" y="93"/>
                    <a:pt x="1" y="200"/>
                    <a:pt x="60" y="283"/>
                  </a:cubicBezTo>
                  <a:cubicBezTo>
                    <a:pt x="215" y="414"/>
                    <a:pt x="453" y="497"/>
                    <a:pt x="703" y="497"/>
                  </a:cubicBezTo>
                  <a:cubicBezTo>
                    <a:pt x="977" y="497"/>
                    <a:pt x="1215" y="414"/>
                    <a:pt x="1346" y="283"/>
                  </a:cubicBezTo>
                  <a:cubicBezTo>
                    <a:pt x="1430" y="223"/>
                    <a:pt x="1430" y="116"/>
                    <a:pt x="1370" y="45"/>
                  </a:cubicBezTo>
                  <a:cubicBezTo>
                    <a:pt x="1340" y="15"/>
                    <a:pt x="1302" y="0"/>
                    <a:pt x="1260" y="0"/>
                  </a:cubicBezTo>
                  <a:cubicBezTo>
                    <a:pt x="1218" y="0"/>
                    <a:pt x="1174" y="15"/>
                    <a:pt x="1132" y="45"/>
                  </a:cubicBezTo>
                  <a:cubicBezTo>
                    <a:pt x="1072" y="93"/>
                    <a:pt x="930" y="176"/>
                    <a:pt x="715" y="176"/>
                  </a:cubicBezTo>
                  <a:cubicBezTo>
                    <a:pt x="513" y="176"/>
                    <a:pt x="358" y="93"/>
                    <a:pt x="298" y="45"/>
                  </a:cubicBezTo>
                  <a:cubicBezTo>
                    <a:pt x="269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5" name="Google Shape;11865;p61"/>
            <p:cNvSpPr/>
            <p:nvPr/>
          </p:nvSpPr>
          <p:spPr>
            <a:xfrm>
              <a:off x="7594288" y="2415259"/>
              <a:ext cx="279513" cy="355735"/>
            </a:xfrm>
            <a:custGeom>
              <a:avLst/>
              <a:gdLst/>
              <a:ahLst/>
              <a:cxnLst/>
              <a:rect l="l" t="t" r="r" b="b"/>
              <a:pathLst>
                <a:path w="8823" h="11229" extrusionOk="0">
                  <a:moveTo>
                    <a:pt x="6846" y="2323"/>
                  </a:moveTo>
                  <a:lnTo>
                    <a:pt x="6751" y="3501"/>
                  </a:lnTo>
                  <a:lnTo>
                    <a:pt x="6727" y="3501"/>
                  </a:lnTo>
                  <a:cubicBezTo>
                    <a:pt x="6620" y="3501"/>
                    <a:pt x="6537" y="3418"/>
                    <a:pt x="6537" y="3311"/>
                  </a:cubicBezTo>
                  <a:lnTo>
                    <a:pt x="6537" y="2406"/>
                  </a:lnTo>
                  <a:cubicBezTo>
                    <a:pt x="6632" y="2406"/>
                    <a:pt x="6739" y="2370"/>
                    <a:pt x="6846" y="2323"/>
                  </a:cubicBezTo>
                  <a:close/>
                  <a:moveTo>
                    <a:pt x="6358" y="346"/>
                  </a:moveTo>
                  <a:cubicBezTo>
                    <a:pt x="6846" y="346"/>
                    <a:pt x="7251" y="751"/>
                    <a:pt x="7251" y="1239"/>
                  </a:cubicBezTo>
                  <a:cubicBezTo>
                    <a:pt x="7251" y="1727"/>
                    <a:pt x="6846" y="2132"/>
                    <a:pt x="6358" y="2132"/>
                  </a:cubicBezTo>
                  <a:cubicBezTo>
                    <a:pt x="6037" y="2132"/>
                    <a:pt x="5739" y="1954"/>
                    <a:pt x="5584" y="1680"/>
                  </a:cubicBezTo>
                  <a:cubicBezTo>
                    <a:pt x="5551" y="1630"/>
                    <a:pt x="5490" y="1604"/>
                    <a:pt x="5432" y="1604"/>
                  </a:cubicBezTo>
                  <a:cubicBezTo>
                    <a:pt x="5406" y="1604"/>
                    <a:pt x="5380" y="1609"/>
                    <a:pt x="5358" y="1620"/>
                  </a:cubicBezTo>
                  <a:cubicBezTo>
                    <a:pt x="5286" y="1668"/>
                    <a:pt x="5251" y="1775"/>
                    <a:pt x="5298" y="1846"/>
                  </a:cubicBezTo>
                  <a:cubicBezTo>
                    <a:pt x="5310" y="1858"/>
                    <a:pt x="5310" y="1882"/>
                    <a:pt x="5322" y="1894"/>
                  </a:cubicBezTo>
                  <a:cubicBezTo>
                    <a:pt x="5263" y="1942"/>
                    <a:pt x="5191" y="1954"/>
                    <a:pt x="5120" y="1954"/>
                  </a:cubicBezTo>
                  <a:cubicBezTo>
                    <a:pt x="4917" y="1954"/>
                    <a:pt x="4763" y="1787"/>
                    <a:pt x="4763" y="1596"/>
                  </a:cubicBezTo>
                  <a:cubicBezTo>
                    <a:pt x="4763" y="1501"/>
                    <a:pt x="4679" y="1430"/>
                    <a:pt x="4596" y="1430"/>
                  </a:cubicBezTo>
                  <a:cubicBezTo>
                    <a:pt x="4513" y="1430"/>
                    <a:pt x="4429" y="1501"/>
                    <a:pt x="4429" y="1596"/>
                  </a:cubicBezTo>
                  <a:cubicBezTo>
                    <a:pt x="4429" y="1977"/>
                    <a:pt x="4739" y="2299"/>
                    <a:pt x="5132" y="2299"/>
                  </a:cubicBezTo>
                  <a:cubicBezTo>
                    <a:pt x="5286" y="2299"/>
                    <a:pt x="5429" y="2251"/>
                    <a:pt x="5548" y="2156"/>
                  </a:cubicBezTo>
                  <a:cubicBezTo>
                    <a:pt x="5727" y="2323"/>
                    <a:pt x="5965" y="2430"/>
                    <a:pt x="6215" y="2454"/>
                  </a:cubicBezTo>
                  <a:lnTo>
                    <a:pt x="6215" y="3347"/>
                  </a:lnTo>
                  <a:cubicBezTo>
                    <a:pt x="6215" y="3632"/>
                    <a:pt x="6453" y="3871"/>
                    <a:pt x="6739" y="3871"/>
                  </a:cubicBezTo>
                  <a:lnTo>
                    <a:pt x="7001" y="3871"/>
                  </a:lnTo>
                  <a:cubicBezTo>
                    <a:pt x="7084" y="3871"/>
                    <a:pt x="7156" y="3906"/>
                    <a:pt x="7215" y="3966"/>
                  </a:cubicBezTo>
                  <a:cubicBezTo>
                    <a:pt x="7275" y="4025"/>
                    <a:pt x="7287" y="4097"/>
                    <a:pt x="7287" y="4168"/>
                  </a:cubicBezTo>
                  <a:cubicBezTo>
                    <a:pt x="7275" y="4299"/>
                    <a:pt x="7144" y="4418"/>
                    <a:pt x="6989" y="4418"/>
                  </a:cubicBezTo>
                  <a:lnTo>
                    <a:pt x="6918" y="4418"/>
                  </a:lnTo>
                  <a:lnTo>
                    <a:pt x="6918" y="4406"/>
                  </a:lnTo>
                  <a:cubicBezTo>
                    <a:pt x="6918" y="4323"/>
                    <a:pt x="6846" y="4240"/>
                    <a:pt x="6751" y="4240"/>
                  </a:cubicBezTo>
                  <a:cubicBezTo>
                    <a:pt x="6668" y="4240"/>
                    <a:pt x="6596" y="4323"/>
                    <a:pt x="6596" y="4406"/>
                  </a:cubicBezTo>
                  <a:cubicBezTo>
                    <a:pt x="6596" y="5585"/>
                    <a:pt x="5644" y="6526"/>
                    <a:pt x="4465" y="6526"/>
                  </a:cubicBezTo>
                  <a:cubicBezTo>
                    <a:pt x="3274" y="6490"/>
                    <a:pt x="2322" y="5561"/>
                    <a:pt x="2322" y="4382"/>
                  </a:cubicBezTo>
                  <a:cubicBezTo>
                    <a:pt x="2322" y="4287"/>
                    <a:pt x="2250" y="4216"/>
                    <a:pt x="2155" y="4216"/>
                  </a:cubicBezTo>
                  <a:cubicBezTo>
                    <a:pt x="2072" y="4216"/>
                    <a:pt x="1988" y="4287"/>
                    <a:pt x="1988" y="4382"/>
                  </a:cubicBezTo>
                  <a:lnTo>
                    <a:pt x="1988" y="4394"/>
                  </a:lnTo>
                  <a:lnTo>
                    <a:pt x="1893" y="4394"/>
                  </a:lnTo>
                  <a:cubicBezTo>
                    <a:pt x="1810" y="4394"/>
                    <a:pt x="1738" y="4371"/>
                    <a:pt x="1679" y="4311"/>
                  </a:cubicBezTo>
                  <a:cubicBezTo>
                    <a:pt x="1619" y="4252"/>
                    <a:pt x="1607" y="4168"/>
                    <a:pt x="1607" y="4097"/>
                  </a:cubicBezTo>
                  <a:cubicBezTo>
                    <a:pt x="1619" y="3966"/>
                    <a:pt x="1750" y="3847"/>
                    <a:pt x="1905" y="3847"/>
                  </a:cubicBezTo>
                  <a:lnTo>
                    <a:pt x="2143" y="3847"/>
                  </a:lnTo>
                  <a:cubicBezTo>
                    <a:pt x="2429" y="3847"/>
                    <a:pt x="2667" y="3609"/>
                    <a:pt x="2667" y="3323"/>
                  </a:cubicBezTo>
                  <a:lnTo>
                    <a:pt x="2667" y="2549"/>
                  </a:lnTo>
                  <a:cubicBezTo>
                    <a:pt x="2667" y="2251"/>
                    <a:pt x="2905" y="2013"/>
                    <a:pt x="3203" y="2013"/>
                  </a:cubicBezTo>
                  <a:lnTo>
                    <a:pt x="3882" y="2013"/>
                  </a:lnTo>
                  <a:cubicBezTo>
                    <a:pt x="3965" y="2013"/>
                    <a:pt x="4048" y="1942"/>
                    <a:pt x="4048" y="1846"/>
                  </a:cubicBezTo>
                  <a:cubicBezTo>
                    <a:pt x="4048" y="1763"/>
                    <a:pt x="3965" y="1680"/>
                    <a:pt x="3882" y="1680"/>
                  </a:cubicBezTo>
                  <a:lnTo>
                    <a:pt x="3203" y="1680"/>
                  </a:lnTo>
                  <a:cubicBezTo>
                    <a:pt x="2727" y="1680"/>
                    <a:pt x="2334" y="2073"/>
                    <a:pt x="2334" y="2549"/>
                  </a:cubicBezTo>
                  <a:lnTo>
                    <a:pt x="2334" y="3323"/>
                  </a:lnTo>
                  <a:cubicBezTo>
                    <a:pt x="2334" y="3430"/>
                    <a:pt x="2250" y="3513"/>
                    <a:pt x="2143" y="3513"/>
                  </a:cubicBezTo>
                  <a:lnTo>
                    <a:pt x="2107" y="3513"/>
                  </a:lnTo>
                  <a:lnTo>
                    <a:pt x="1929" y="1704"/>
                  </a:lnTo>
                  <a:cubicBezTo>
                    <a:pt x="1905" y="1358"/>
                    <a:pt x="2012" y="1001"/>
                    <a:pt x="2238" y="751"/>
                  </a:cubicBezTo>
                  <a:cubicBezTo>
                    <a:pt x="2477" y="489"/>
                    <a:pt x="2810" y="346"/>
                    <a:pt x="3167" y="346"/>
                  </a:cubicBezTo>
                  <a:close/>
                  <a:moveTo>
                    <a:pt x="5525" y="6597"/>
                  </a:moveTo>
                  <a:lnTo>
                    <a:pt x="5525" y="7169"/>
                  </a:lnTo>
                  <a:cubicBezTo>
                    <a:pt x="5525" y="7466"/>
                    <a:pt x="5727" y="7740"/>
                    <a:pt x="6013" y="7835"/>
                  </a:cubicBezTo>
                  <a:lnTo>
                    <a:pt x="6310" y="7919"/>
                  </a:lnTo>
                  <a:cubicBezTo>
                    <a:pt x="6239" y="8204"/>
                    <a:pt x="6084" y="8454"/>
                    <a:pt x="5894" y="8681"/>
                  </a:cubicBezTo>
                  <a:cubicBezTo>
                    <a:pt x="5834" y="8752"/>
                    <a:pt x="5834" y="8859"/>
                    <a:pt x="5906" y="8919"/>
                  </a:cubicBezTo>
                  <a:cubicBezTo>
                    <a:pt x="5941" y="8954"/>
                    <a:pt x="5977" y="8966"/>
                    <a:pt x="6013" y="8966"/>
                  </a:cubicBezTo>
                  <a:cubicBezTo>
                    <a:pt x="6060" y="8966"/>
                    <a:pt x="6096" y="8954"/>
                    <a:pt x="6132" y="8907"/>
                  </a:cubicBezTo>
                  <a:cubicBezTo>
                    <a:pt x="6358" y="8657"/>
                    <a:pt x="6513" y="8359"/>
                    <a:pt x="6608" y="8026"/>
                  </a:cubicBezTo>
                  <a:lnTo>
                    <a:pt x="6965" y="8133"/>
                  </a:lnTo>
                  <a:cubicBezTo>
                    <a:pt x="6810" y="8621"/>
                    <a:pt x="6501" y="9097"/>
                    <a:pt x="6084" y="9443"/>
                  </a:cubicBezTo>
                  <a:cubicBezTo>
                    <a:pt x="5608" y="9824"/>
                    <a:pt x="5048" y="10026"/>
                    <a:pt x="4429" y="10026"/>
                  </a:cubicBezTo>
                  <a:cubicBezTo>
                    <a:pt x="3822" y="10026"/>
                    <a:pt x="3262" y="9812"/>
                    <a:pt x="2786" y="9443"/>
                  </a:cubicBezTo>
                  <a:cubicBezTo>
                    <a:pt x="2346" y="9097"/>
                    <a:pt x="2036" y="8633"/>
                    <a:pt x="1893" y="8121"/>
                  </a:cubicBezTo>
                  <a:lnTo>
                    <a:pt x="2250" y="8014"/>
                  </a:lnTo>
                  <a:cubicBezTo>
                    <a:pt x="2381" y="8454"/>
                    <a:pt x="2631" y="8847"/>
                    <a:pt x="2989" y="9145"/>
                  </a:cubicBezTo>
                  <a:cubicBezTo>
                    <a:pt x="3393" y="9466"/>
                    <a:pt x="3917" y="9669"/>
                    <a:pt x="4429" y="9669"/>
                  </a:cubicBezTo>
                  <a:cubicBezTo>
                    <a:pt x="4834" y="9669"/>
                    <a:pt x="5227" y="9562"/>
                    <a:pt x="5560" y="9371"/>
                  </a:cubicBezTo>
                  <a:cubicBezTo>
                    <a:pt x="5644" y="9324"/>
                    <a:pt x="5667" y="9216"/>
                    <a:pt x="5620" y="9145"/>
                  </a:cubicBezTo>
                  <a:cubicBezTo>
                    <a:pt x="5595" y="9096"/>
                    <a:pt x="5537" y="9064"/>
                    <a:pt x="5480" y="9064"/>
                  </a:cubicBezTo>
                  <a:cubicBezTo>
                    <a:pt x="5454" y="9064"/>
                    <a:pt x="5428" y="9070"/>
                    <a:pt x="5406" y="9085"/>
                  </a:cubicBezTo>
                  <a:cubicBezTo>
                    <a:pt x="5108" y="9252"/>
                    <a:pt x="4774" y="9335"/>
                    <a:pt x="4429" y="9335"/>
                  </a:cubicBezTo>
                  <a:cubicBezTo>
                    <a:pt x="3572" y="9335"/>
                    <a:pt x="2798" y="8752"/>
                    <a:pt x="2560" y="7919"/>
                  </a:cubicBezTo>
                  <a:lnTo>
                    <a:pt x="2881" y="7835"/>
                  </a:lnTo>
                  <a:cubicBezTo>
                    <a:pt x="3179" y="7740"/>
                    <a:pt x="3381" y="7478"/>
                    <a:pt x="3381" y="7169"/>
                  </a:cubicBezTo>
                  <a:lnTo>
                    <a:pt x="3381" y="6597"/>
                  </a:lnTo>
                  <a:cubicBezTo>
                    <a:pt x="3703" y="6764"/>
                    <a:pt x="4060" y="6835"/>
                    <a:pt x="4453" y="6835"/>
                  </a:cubicBezTo>
                  <a:cubicBezTo>
                    <a:pt x="4834" y="6835"/>
                    <a:pt x="5191" y="6752"/>
                    <a:pt x="5525" y="6597"/>
                  </a:cubicBezTo>
                  <a:close/>
                  <a:moveTo>
                    <a:pt x="3155" y="1"/>
                  </a:moveTo>
                  <a:cubicBezTo>
                    <a:pt x="2703" y="1"/>
                    <a:pt x="2286" y="191"/>
                    <a:pt x="1988" y="525"/>
                  </a:cubicBezTo>
                  <a:cubicBezTo>
                    <a:pt x="1691" y="846"/>
                    <a:pt x="1548" y="1299"/>
                    <a:pt x="1596" y="1727"/>
                  </a:cubicBezTo>
                  <a:lnTo>
                    <a:pt x="1774" y="3525"/>
                  </a:lnTo>
                  <a:cubicBezTo>
                    <a:pt x="1500" y="3573"/>
                    <a:pt x="1298" y="3799"/>
                    <a:pt x="1262" y="4073"/>
                  </a:cubicBezTo>
                  <a:cubicBezTo>
                    <a:pt x="1250" y="4228"/>
                    <a:pt x="1310" y="4406"/>
                    <a:pt x="1417" y="4525"/>
                  </a:cubicBezTo>
                  <a:cubicBezTo>
                    <a:pt x="1536" y="4644"/>
                    <a:pt x="1691" y="4716"/>
                    <a:pt x="1857" y="4716"/>
                  </a:cubicBezTo>
                  <a:lnTo>
                    <a:pt x="1977" y="4716"/>
                  </a:lnTo>
                  <a:cubicBezTo>
                    <a:pt x="2060" y="5406"/>
                    <a:pt x="2453" y="6014"/>
                    <a:pt x="3000" y="6395"/>
                  </a:cubicBezTo>
                  <a:lnTo>
                    <a:pt x="3000" y="7145"/>
                  </a:lnTo>
                  <a:cubicBezTo>
                    <a:pt x="3000" y="7311"/>
                    <a:pt x="2905" y="7442"/>
                    <a:pt x="2739" y="7490"/>
                  </a:cubicBezTo>
                  <a:lnTo>
                    <a:pt x="881" y="8038"/>
                  </a:lnTo>
                  <a:cubicBezTo>
                    <a:pt x="357" y="8192"/>
                    <a:pt x="0" y="8681"/>
                    <a:pt x="0" y="9216"/>
                  </a:cubicBezTo>
                  <a:lnTo>
                    <a:pt x="0" y="11062"/>
                  </a:lnTo>
                  <a:cubicBezTo>
                    <a:pt x="0" y="11157"/>
                    <a:pt x="72" y="11229"/>
                    <a:pt x="155" y="11229"/>
                  </a:cubicBezTo>
                  <a:cubicBezTo>
                    <a:pt x="250" y="11229"/>
                    <a:pt x="322" y="11157"/>
                    <a:pt x="322" y="11062"/>
                  </a:cubicBezTo>
                  <a:lnTo>
                    <a:pt x="322" y="9216"/>
                  </a:lnTo>
                  <a:cubicBezTo>
                    <a:pt x="322" y="8835"/>
                    <a:pt x="595" y="8478"/>
                    <a:pt x="964" y="8371"/>
                  </a:cubicBezTo>
                  <a:lnTo>
                    <a:pt x="1500" y="8204"/>
                  </a:lnTo>
                  <a:cubicBezTo>
                    <a:pt x="1667" y="8788"/>
                    <a:pt x="2024" y="9324"/>
                    <a:pt x="2500" y="9693"/>
                  </a:cubicBezTo>
                  <a:cubicBezTo>
                    <a:pt x="3012" y="10109"/>
                    <a:pt x="3691" y="10348"/>
                    <a:pt x="4358" y="10348"/>
                  </a:cubicBezTo>
                  <a:cubicBezTo>
                    <a:pt x="5025" y="10348"/>
                    <a:pt x="5691" y="10109"/>
                    <a:pt x="6215" y="9693"/>
                  </a:cubicBezTo>
                  <a:cubicBezTo>
                    <a:pt x="6691" y="9300"/>
                    <a:pt x="7049" y="8788"/>
                    <a:pt x="7215" y="8192"/>
                  </a:cubicBezTo>
                  <a:lnTo>
                    <a:pt x="7775" y="8347"/>
                  </a:lnTo>
                  <a:cubicBezTo>
                    <a:pt x="8156" y="8454"/>
                    <a:pt x="8418" y="8812"/>
                    <a:pt x="8418" y="9205"/>
                  </a:cubicBezTo>
                  <a:lnTo>
                    <a:pt x="8418" y="11050"/>
                  </a:lnTo>
                  <a:cubicBezTo>
                    <a:pt x="8418" y="11133"/>
                    <a:pt x="8489" y="11217"/>
                    <a:pt x="8584" y="11217"/>
                  </a:cubicBezTo>
                  <a:cubicBezTo>
                    <a:pt x="8668" y="11217"/>
                    <a:pt x="8751" y="11133"/>
                    <a:pt x="8751" y="11050"/>
                  </a:cubicBezTo>
                  <a:lnTo>
                    <a:pt x="8751" y="9216"/>
                  </a:lnTo>
                  <a:cubicBezTo>
                    <a:pt x="8823" y="8681"/>
                    <a:pt x="8465" y="8192"/>
                    <a:pt x="7942" y="8038"/>
                  </a:cubicBezTo>
                  <a:lnTo>
                    <a:pt x="6084" y="7490"/>
                  </a:lnTo>
                  <a:cubicBezTo>
                    <a:pt x="5941" y="7442"/>
                    <a:pt x="5822" y="7300"/>
                    <a:pt x="5822" y="7145"/>
                  </a:cubicBezTo>
                  <a:lnTo>
                    <a:pt x="5822" y="6395"/>
                  </a:lnTo>
                  <a:cubicBezTo>
                    <a:pt x="6370" y="6002"/>
                    <a:pt x="6751" y="5406"/>
                    <a:pt x="6846" y="4716"/>
                  </a:cubicBezTo>
                  <a:lnTo>
                    <a:pt x="6953" y="4716"/>
                  </a:lnTo>
                  <a:cubicBezTo>
                    <a:pt x="7275" y="4716"/>
                    <a:pt x="7549" y="4478"/>
                    <a:pt x="7572" y="4180"/>
                  </a:cubicBezTo>
                  <a:cubicBezTo>
                    <a:pt x="7584" y="4025"/>
                    <a:pt x="7525" y="3847"/>
                    <a:pt x="7430" y="3728"/>
                  </a:cubicBezTo>
                  <a:cubicBezTo>
                    <a:pt x="7334" y="3620"/>
                    <a:pt x="7203" y="3549"/>
                    <a:pt x="7072" y="3525"/>
                  </a:cubicBezTo>
                  <a:lnTo>
                    <a:pt x="7168" y="2120"/>
                  </a:lnTo>
                  <a:cubicBezTo>
                    <a:pt x="7406" y="1894"/>
                    <a:pt x="7561" y="1585"/>
                    <a:pt x="7561" y="1227"/>
                  </a:cubicBezTo>
                  <a:cubicBezTo>
                    <a:pt x="7561" y="549"/>
                    <a:pt x="7013" y="1"/>
                    <a:pt x="6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6" name="Google Shape;11866;p61"/>
            <p:cNvSpPr/>
            <p:nvPr/>
          </p:nvSpPr>
          <p:spPr>
            <a:xfrm>
              <a:off x="7690469" y="2515241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7" name="Google Shape;11867;p61"/>
            <p:cNvSpPr/>
            <p:nvPr/>
          </p:nvSpPr>
          <p:spPr>
            <a:xfrm>
              <a:off x="7757218" y="2515241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524" y="334"/>
                  </a:lnTo>
                  <a:cubicBezTo>
                    <a:pt x="620" y="334"/>
                    <a:pt x="691" y="262"/>
                    <a:pt x="691" y="167"/>
                  </a:cubicBezTo>
                  <a:cubicBezTo>
                    <a:pt x="691" y="72"/>
                    <a:pt x="62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68" name="Google Shape;11868;p61"/>
          <p:cNvGrpSpPr/>
          <p:nvPr/>
        </p:nvGrpSpPr>
        <p:grpSpPr>
          <a:xfrm>
            <a:off x="7145794" y="2415639"/>
            <a:ext cx="278784" cy="355735"/>
            <a:chOff x="7145794" y="2415639"/>
            <a:chExt cx="278784" cy="355735"/>
          </a:xfrm>
        </p:grpSpPr>
        <p:sp>
          <p:nvSpPr>
            <p:cNvPr id="11869" name="Google Shape;11869;p61"/>
            <p:cNvSpPr/>
            <p:nvPr/>
          </p:nvSpPr>
          <p:spPr>
            <a:xfrm>
              <a:off x="7247265" y="2520880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0" name="Google Shape;11870;p61"/>
            <p:cNvSpPr/>
            <p:nvPr/>
          </p:nvSpPr>
          <p:spPr>
            <a:xfrm>
              <a:off x="7313635" y="2520880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68" y="513"/>
                  </a:cubicBezTo>
                  <a:cubicBezTo>
                    <a:pt x="251" y="513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1" name="Google Shape;11871;p61"/>
            <p:cNvSpPr/>
            <p:nvPr/>
          </p:nvSpPr>
          <p:spPr>
            <a:xfrm>
              <a:off x="7145794" y="2415639"/>
              <a:ext cx="278784" cy="355735"/>
            </a:xfrm>
            <a:custGeom>
              <a:avLst/>
              <a:gdLst/>
              <a:ahLst/>
              <a:cxnLst/>
              <a:rect l="l" t="t" r="r" b="b"/>
              <a:pathLst>
                <a:path w="8800" h="11229" extrusionOk="0">
                  <a:moveTo>
                    <a:pt x="4763" y="310"/>
                  </a:moveTo>
                  <a:cubicBezTo>
                    <a:pt x="5525" y="310"/>
                    <a:pt x="6192" y="751"/>
                    <a:pt x="6501" y="1382"/>
                  </a:cubicBezTo>
                  <a:lnTo>
                    <a:pt x="6180" y="1382"/>
                  </a:lnTo>
                  <a:cubicBezTo>
                    <a:pt x="6085" y="1382"/>
                    <a:pt x="6013" y="1453"/>
                    <a:pt x="6013" y="1537"/>
                  </a:cubicBezTo>
                  <a:cubicBezTo>
                    <a:pt x="6013" y="1632"/>
                    <a:pt x="6085" y="1703"/>
                    <a:pt x="6180" y="1703"/>
                  </a:cubicBezTo>
                  <a:lnTo>
                    <a:pt x="6644" y="1703"/>
                  </a:lnTo>
                  <a:cubicBezTo>
                    <a:pt x="6668" y="1823"/>
                    <a:pt x="6704" y="1954"/>
                    <a:pt x="6716" y="2073"/>
                  </a:cubicBezTo>
                  <a:lnTo>
                    <a:pt x="2132" y="2073"/>
                  </a:lnTo>
                  <a:cubicBezTo>
                    <a:pt x="2203" y="1096"/>
                    <a:pt x="3037" y="310"/>
                    <a:pt x="4061" y="310"/>
                  </a:cubicBezTo>
                  <a:close/>
                  <a:moveTo>
                    <a:pt x="6501" y="2418"/>
                  </a:moveTo>
                  <a:lnTo>
                    <a:pt x="6501" y="2787"/>
                  </a:lnTo>
                  <a:lnTo>
                    <a:pt x="6311" y="2787"/>
                  </a:lnTo>
                  <a:cubicBezTo>
                    <a:pt x="6228" y="2787"/>
                    <a:pt x="6144" y="2870"/>
                    <a:pt x="6144" y="2954"/>
                  </a:cubicBezTo>
                  <a:cubicBezTo>
                    <a:pt x="6144" y="3049"/>
                    <a:pt x="6228" y="3120"/>
                    <a:pt x="6311" y="3120"/>
                  </a:cubicBezTo>
                  <a:lnTo>
                    <a:pt x="6501" y="3120"/>
                  </a:lnTo>
                  <a:lnTo>
                    <a:pt x="6501" y="3311"/>
                  </a:lnTo>
                  <a:cubicBezTo>
                    <a:pt x="6501" y="3406"/>
                    <a:pt x="6573" y="3478"/>
                    <a:pt x="6668" y="3478"/>
                  </a:cubicBezTo>
                  <a:lnTo>
                    <a:pt x="6930" y="3478"/>
                  </a:lnTo>
                  <a:cubicBezTo>
                    <a:pt x="7013" y="3478"/>
                    <a:pt x="7085" y="3501"/>
                    <a:pt x="7144" y="3561"/>
                  </a:cubicBezTo>
                  <a:cubicBezTo>
                    <a:pt x="7204" y="3620"/>
                    <a:pt x="7216" y="3704"/>
                    <a:pt x="7216" y="3775"/>
                  </a:cubicBezTo>
                  <a:cubicBezTo>
                    <a:pt x="7204" y="3906"/>
                    <a:pt x="7073" y="4025"/>
                    <a:pt x="6918" y="4025"/>
                  </a:cubicBezTo>
                  <a:lnTo>
                    <a:pt x="6847" y="4025"/>
                  </a:lnTo>
                  <a:lnTo>
                    <a:pt x="6847" y="4013"/>
                  </a:lnTo>
                  <a:cubicBezTo>
                    <a:pt x="6847" y="3918"/>
                    <a:pt x="6775" y="3847"/>
                    <a:pt x="6680" y="3847"/>
                  </a:cubicBezTo>
                  <a:cubicBezTo>
                    <a:pt x="6597" y="3847"/>
                    <a:pt x="6525" y="3918"/>
                    <a:pt x="6525" y="4013"/>
                  </a:cubicBezTo>
                  <a:cubicBezTo>
                    <a:pt x="6537" y="5192"/>
                    <a:pt x="5585" y="6145"/>
                    <a:pt x="4406" y="6145"/>
                  </a:cubicBezTo>
                  <a:cubicBezTo>
                    <a:pt x="3227" y="6145"/>
                    <a:pt x="2275" y="5192"/>
                    <a:pt x="2275" y="4013"/>
                  </a:cubicBezTo>
                  <a:cubicBezTo>
                    <a:pt x="2275" y="3918"/>
                    <a:pt x="2203" y="3847"/>
                    <a:pt x="2120" y="3847"/>
                  </a:cubicBezTo>
                  <a:cubicBezTo>
                    <a:pt x="2025" y="3847"/>
                    <a:pt x="1953" y="3918"/>
                    <a:pt x="1953" y="4013"/>
                  </a:cubicBezTo>
                  <a:lnTo>
                    <a:pt x="1953" y="4025"/>
                  </a:lnTo>
                  <a:lnTo>
                    <a:pt x="1846" y="4025"/>
                  </a:lnTo>
                  <a:cubicBezTo>
                    <a:pt x="1775" y="4025"/>
                    <a:pt x="1703" y="4001"/>
                    <a:pt x="1644" y="3942"/>
                  </a:cubicBezTo>
                  <a:cubicBezTo>
                    <a:pt x="1584" y="3882"/>
                    <a:pt x="1560" y="3799"/>
                    <a:pt x="1560" y="3728"/>
                  </a:cubicBezTo>
                  <a:cubicBezTo>
                    <a:pt x="1584" y="3597"/>
                    <a:pt x="1715" y="3478"/>
                    <a:pt x="1858" y="3478"/>
                  </a:cubicBezTo>
                  <a:lnTo>
                    <a:pt x="2096" y="3478"/>
                  </a:lnTo>
                  <a:cubicBezTo>
                    <a:pt x="2144" y="3478"/>
                    <a:pt x="2191" y="3466"/>
                    <a:pt x="2215" y="3430"/>
                  </a:cubicBezTo>
                  <a:cubicBezTo>
                    <a:pt x="2251" y="3406"/>
                    <a:pt x="2263" y="3358"/>
                    <a:pt x="2263" y="3311"/>
                  </a:cubicBezTo>
                  <a:lnTo>
                    <a:pt x="2263" y="3120"/>
                  </a:lnTo>
                  <a:lnTo>
                    <a:pt x="5608" y="3120"/>
                  </a:lnTo>
                  <a:cubicBezTo>
                    <a:pt x="5704" y="3120"/>
                    <a:pt x="5775" y="3049"/>
                    <a:pt x="5775" y="2954"/>
                  </a:cubicBezTo>
                  <a:cubicBezTo>
                    <a:pt x="5775" y="2870"/>
                    <a:pt x="5704" y="2787"/>
                    <a:pt x="5608" y="2787"/>
                  </a:cubicBezTo>
                  <a:lnTo>
                    <a:pt x="2263" y="2787"/>
                  </a:lnTo>
                  <a:lnTo>
                    <a:pt x="2263" y="2418"/>
                  </a:lnTo>
                  <a:close/>
                  <a:moveTo>
                    <a:pt x="4049" y="1"/>
                  </a:moveTo>
                  <a:cubicBezTo>
                    <a:pt x="2846" y="1"/>
                    <a:pt x="1858" y="941"/>
                    <a:pt x="1786" y="2120"/>
                  </a:cubicBezTo>
                  <a:lnTo>
                    <a:pt x="536" y="2120"/>
                  </a:lnTo>
                  <a:cubicBezTo>
                    <a:pt x="453" y="2120"/>
                    <a:pt x="370" y="2192"/>
                    <a:pt x="370" y="2287"/>
                  </a:cubicBezTo>
                  <a:cubicBezTo>
                    <a:pt x="370" y="2370"/>
                    <a:pt x="453" y="2454"/>
                    <a:pt x="536" y="2454"/>
                  </a:cubicBezTo>
                  <a:lnTo>
                    <a:pt x="1965" y="2454"/>
                  </a:lnTo>
                  <a:lnTo>
                    <a:pt x="1965" y="3180"/>
                  </a:lnTo>
                  <a:lnTo>
                    <a:pt x="1894" y="3180"/>
                  </a:lnTo>
                  <a:cubicBezTo>
                    <a:pt x="1560" y="3180"/>
                    <a:pt x="1298" y="3418"/>
                    <a:pt x="1263" y="3716"/>
                  </a:cubicBezTo>
                  <a:cubicBezTo>
                    <a:pt x="1251" y="3882"/>
                    <a:pt x="1310" y="4061"/>
                    <a:pt x="1417" y="4180"/>
                  </a:cubicBezTo>
                  <a:cubicBezTo>
                    <a:pt x="1536" y="4299"/>
                    <a:pt x="1703" y="4370"/>
                    <a:pt x="1858" y="4370"/>
                  </a:cubicBezTo>
                  <a:lnTo>
                    <a:pt x="1977" y="4370"/>
                  </a:lnTo>
                  <a:cubicBezTo>
                    <a:pt x="2072" y="5049"/>
                    <a:pt x="2453" y="5668"/>
                    <a:pt x="3001" y="6037"/>
                  </a:cubicBezTo>
                  <a:lnTo>
                    <a:pt x="3001" y="6799"/>
                  </a:lnTo>
                  <a:cubicBezTo>
                    <a:pt x="3001" y="6954"/>
                    <a:pt x="2906" y="7097"/>
                    <a:pt x="2739" y="7133"/>
                  </a:cubicBezTo>
                  <a:lnTo>
                    <a:pt x="882" y="7692"/>
                  </a:lnTo>
                  <a:cubicBezTo>
                    <a:pt x="358" y="7835"/>
                    <a:pt x="1" y="8323"/>
                    <a:pt x="1" y="8859"/>
                  </a:cubicBezTo>
                  <a:lnTo>
                    <a:pt x="1" y="11062"/>
                  </a:lnTo>
                  <a:cubicBezTo>
                    <a:pt x="1" y="11157"/>
                    <a:pt x="72" y="11228"/>
                    <a:pt x="167" y="11228"/>
                  </a:cubicBezTo>
                  <a:cubicBezTo>
                    <a:pt x="251" y="11228"/>
                    <a:pt x="322" y="11157"/>
                    <a:pt x="322" y="11062"/>
                  </a:cubicBezTo>
                  <a:lnTo>
                    <a:pt x="322" y="8859"/>
                  </a:lnTo>
                  <a:cubicBezTo>
                    <a:pt x="322" y="8478"/>
                    <a:pt x="596" y="8121"/>
                    <a:pt x="965" y="8014"/>
                  </a:cubicBezTo>
                  <a:lnTo>
                    <a:pt x="1501" y="7847"/>
                  </a:lnTo>
                  <a:lnTo>
                    <a:pt x="1501" y="7883"/>
                  </a:lnTo>
                  <a:cubicBezTo>
                    <a:pt x="1513" y="7954"/>
                    <a:pt x="1596" y="8002"/>
                    <a:pt x="1667" y="8002"/>
                  </a:cubicBezTo>
                  <a:lnTo>
                    <a:pt x="1715" y="8002"/>
                  </a:lnTo>
                  <a:cubicBezTo>
                    <a:pt x="1798" y="7966"/>
                    <a:pt x="1846" y="7883"/>
                    <a:pt x="1810" y="7788"/>
                  </a:cubicBezTo>
                  <a:lnTo>
                    <a:pt x="1810" y="7776"/>
                  </a:lnTo>
                  <a:lnTo>
                    <a:pt x="2346" y="7609"/>
                  </a:lnTo>
                  <a:cubicBezTo>
                    <a:pt x="2608" y="8502"/>
                    <a:pt x="3441" y="9133"/>
                    <a:pt x="4370" y="9133"/>
                  </a:cubicBezTo>
                  <a:cubicBezTo>
                    <a:pt x="4715" y="9133"/>
                    <a:pt x="5025" y="9062"/>
                    <a:pt x="5323" y="8907"/>
                  </a:cubicBezTo>
                  <a:cubicBezTo>
                    <a:pt x="5406" y="8859"/>
                    <a:pt x="5442" y="8776"/>
                    <a:pt x="5406" y="8681"/>
                  </a:cubicBezTo>
                  <a:cubicBezTo>
                    <a:pt x="5373" y="8623"/>
                    <a:pt x="5317" y="8588"/>
                    <a:pt x="5258" y="8588"/>
                  </a:cubicBezTo>
                  <a:cubicBezTo>
                    <a:pt x="5232" y="8588"/>
                    <a:pt x="5205" y="8595"/>
                    <a:pt x="5180" y="8609"/>
                  </a:cubicBezTo>
                  <a:cubicBezTo>
                    <a:pt x="4930" y="8740"/>
                    <a:pt x="4656" y="8800"/>
                    <a:pt x="4370" y="8800"/>
                  </a:cubicBezTo>
                  <a:cubicBezTo>
                    <a:pt x="3584" y="8800"/>
                    <a:pt x="2882" y="8264"/>
                    <a:pt x="2679" y="7526"/>
                  </a:cubicBezTo>
                  <a:lnTo>
                    <a:pt x="2810" y="7478"/>
                  </a:lnTo>
                  <a:cubicBezTo>
                    <a:pt x="3108" y="7383"/>
                    <a:pt x="3299" y="7121"/>
                    <a:pt x="3299" y="6811"/>
                  </a:cubicBezTo>
                  <a:lnTo>
                    <a:pt x="3299" y="6228"/>
                  </a:lnTo>
                  <a:cubicBezTo>
                    <a:pt x="3632" y="6395"/>
                    <a:pt x="3989" y="6466"/>
                    <a:pt x="4370" y="6466"/>
                  </a:cubicBezTo>
                  <a:cubicBezTo>
                    <a:pt x="4763" y="6466"/>
                    <a:pt x="5120" y="6383"/>
                    <a:pt x="5442" y="6228"/>
                  </a:cubicBezTo>
                  <a:lnTo>
                    <a:pt x="5442" y="6787"/>
                  </a:lnTo>
                  <a:cubicBezTo>
                    <a:pt x="5442" y="7085"/>
                    <a:pt x="5656" y="7371"/>
                    <a:pt x="5942" y="7466"/>
                  </a:cubicBezTo>
                  <a:lnTo>
                    <a:pt x="6073" y="7502"/>
                  </a:lnTo>
                  <a:cubicBezTo>
                    <a:pt x="6001" y="7764"/>
                    <a:pt x="5882" y="7978"/>
                    <a:pt x="5704" y="8180"/>
                  </a:cubicBezTo>
                  <a:cubicBezTo>
                    <a:pt x="5644" y="8252"/>
                    <a:pt x="5644" y="8359"/>
                    <a:pt x="5716" y="8419"/>
                  </a:cubicBezTo>
                  <a:cubicBezTo>
                    <a:pt x="5739" y="8442"/>
                    <a:pt x="5787" y="8454"/>
                    <a:pt x="5823" y="8454"/>
                  </a:cubicBezTo>
                  <a:cubicBezTo>
                    <a:pt x="5858" y="8454"/>
                    <a:pt x="5906" y="8442"/>
                    <a:pt x="5942" y="8395"/>
                  </a:cubicBezTo>
                  <a:cubicBezTo>
                    <a:pt x="6144" y="8157"/>
                    <a:pt x="6299" y="7895"/>
                    <a:pt x="6370" y="7597"/>
                  </a:cubicBezTo>
                  <a:lnTo>
                    <a:pt x="6894" y="7740"/>
                  </a:lnTo>
                  <a:cubicBezTo>
                    <a:pt x="6870" y="7799"/>
                    <a:pt x="6847" y="7883"/>
                    <a:pt x="6835" y="7942"/>
                  </a:cubicBezTo>
                  <a:cubicBezTo>
                    <a:pt x="6799" y="8026"/>
                    <a:pt x="6847" y="8121"/>
                    <a:pt x="6930" y="8145"/>
                  </a:cubicBezTo>
                  <a:cubicBezTo>
                    <a:pt x="6954" y="8145"/>
                    <a:pt x="6978" y="8157"/>
                    <a:pt x="6990" y="8157"/>
                  </a:cubicBezTo>
                  <a:cubicBezTo>
                    <a:pt x="7049" y="8157"/>
                    <a:pt x="7132" y="8121"/>
                    <a:pt x="7144" y="8061"/>
                  </a:cubicBezTo>
                  <a:cubicBezTo>
                    <a:pt x="7168" y="7978"/>
                    <a:pt x="7192" y="7907"/>
                    <a:pt x="7216" y="7835"/>
                  </a:cubicBezTo>
                  <a:lnTo>
                    <a:pt x="7787" y="8002"/>
                  </a:lnTo>
                  <a:cubicBezTo>
                    <a:pt x="8156" y="8097"/>
                    <a:pt x="8418" y="8454"/>
                    <a:pt x="8418" y="8847"/>
                  </a:cubicBezTo>
                  <a:lnTo>
                    <a:pt x="8418" y="11050"/>
                  </a:lnTo>
                  <a:cubicBezTo>
                    <a:pt x="8418" y="11133"/>
                    <a:pt x="8502" y="11217"/>
                    <a:pt x="8585" y="11217"/>
                  </a:cubicBezTo>
                  <a:cubicBezTo>
                    <a:pt x="8680" y="11217"/>
                    <a:pt x="8752" y="11133"/>
                    <a:pt x="8752" y="11050"/>
                  </a:cubicBezTo>
                  <a:lnTo>
                    <a:pt x="8752" y="8847"/>
                  </a:lnTo>
                  <a:cubicBezTo>
                    <a:pt x="8799" y="8311"/>
                    <a:pt x="8442" y="7835"/>
                    <a:pt x="7918" y="7680"/>
                  </a:cubicBezTo>
                  <a:lnTo>
                    <a:pt x="6061" y="7133"/>
                  </a:lnTo>
                  <a:cubicBezTo>
                    <a:pt x="5906" y="7085"/>
                    <a:pt x="5787" y="6942"/>
                    <a:pt x="5787" y="6787"/>
                  </a:cubicBezTo>
                  <a:lnTo>
                    <a:pt x="5787" y="6037"/>
                  </a:lnTo>
                  <a:cubicBezTo>
                    <a:pt x="6347" y="5644"/>
                    <a:pt x="6728" y="5049"/>
                    <a:pt x="6823" y="4370"/>
                  </a:cubicBezTo>
                  <a:lnTo>
                    <a:pt x="6918" y="4370"/>
                  </a:lnTo>
                  <a:cubicBezTo>
                    <a:pt x="7251" y="4370"/>
                    <a:pt x="7513" y="4132"/>
                    <a:pt x="7549" y="3835"/>
                  </a:cubicBezTo>
                  <a:cubicBezTo>
                    <a:pt x="7561" y="3668"/>
                    <a:pt x="7501" y="3489"/>
                    <a:pt x="7394" y="3370"/>
                  </a:cubicBezTo>
                  <a:cubicBezTo>
                    <a:pt x="7275" y="3251"/>
                    <a:pt x="7120" y="3180"/>
                    <a:pt x="6954" y="3180"/>
                  </a:cubicBezTo>
                  <a:lnTo>
                    <a:pt x="6847" y="3180"/>
                  </a:lnTo>
                  <a:lnTo>
                    <a:pt x="6847" y="2442"/>
                  </a:lnTo>
                  <a:lnTo>
                    <a:pt x="6859" y="2442"/>
                  </a:lnTo>
                  <a:cubicBezTo>
                    <a:pt x="6954" y="2442"/>
                    <a:pt x="7025" y="2370"/>
                    <a:pt x="7025" y="2287"/>
                  </a:cubicBezTo>
                  <a:cubicBezTo>
                    <a:pt x="7025" y="1037"/>
                    <a:pt x="6001" y="1"/>
                    <a:pt x="4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2" name="Google Shape;11872;p61"/>
            <p:cNvSpPr/>
            <p:nvPr/>
          </p:nvSpPr>
          <p:spPr>
            <a:xfrm>
              <a:off x="7254045" y="2717834"/>
              <a:ext cx="23031" cy="12799"/>
            </a:xfrm>
            <a:custGeom>
              <a:avLst/>
              <a:gdLst/>
              <a:ahLst/>
              <a:cxnLst/>
              <a:rect l="l" t="t" r="r" b="b"/>
              <a:pathLst>
                <a:path w="727" h="404" extrusionOk="0">
                  <a:moveTo>
                    <a:pt x="195" y="0"/>
                  </a:moveTo>
                  <a:cubicBezTo>
                    <a:pt x="124" y="0"/>
                    <a:pt x="65" y="54"/>
                    <a:pt x="36" y="130"/>
                  </a:cubicBezTo>
                  <a:cubicBezTo>
                    <a:pt x="1" y="213"/>
                    <a:pt x="72" y="308"/>
                    <a:pt x="155" y="332"/>
                  </a:cubicBezTo>
                  <a:cubicBezTo>
                    <a:pt x="274" y="368"/>
                    <a:pt x="394" y="392"/>
                    <a:pt x="513" y="404"/>
                  </a:cubicBezTo>
                  <a:lnTo>
                    <a:pt x="548" y="404"/>
                  </a:lnTo>
                  <a:cubicBezTo>
                    <a:pt x="620" y="404"/>
                    <a:pt x="691" y="344"/>
                    <a:pt x="703" y="273"/>
                  </a:cubicBezTo>
                  <a:cubicBezTo>
                    <a:pt x="727" y="189"/>
                    <a:pt x="667" y="94"/>
                    <a:pt x="572" y="82"/>
                  </a:cubicBezTo>
                  <a:cubicBezTo>
                    <a:pt x="465" y="70"/>
                    <a:pt x="346" y="35"/>
                    <a:pt x="251" y="11"/>
                  </a:cubicBezTo>
                  <a:cubicBezTo>
                    <a:pt x="232" y="4"/>
                    <a:pt x="213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3" name="Google Shape;11873;p61"/>
            <p:cNvSpPr/>
            <p:nvPr/>
          </p:nvSpPr>
          <p:spPr>
            <a:xfrm>
              <a:off x="7287626" y="2719703"/>
              <a:ext cx="22271" cy="12070"/>
            </a:xfrm>
            <a:custGeom>
              <a:avLst/>
              <a:gdLst/>
              <a:ahLst/>
              <a:cxnLst/>
              <a:rect l="l" t="t" r="r" b="b"/>
              <a:pathLst>
                <a:path w="703" h="381" extrusionOk="0">
                  <a:moveTo>
                    <a:pt x="551" y="1"/>
                  </a:moveTo>
                  <a:cubicBezTo>
                    <a:pt x="534" y="1"/>
                    <a:pt x="517" y="4"/>
                    <a:pt x="500" y="11"/>
                  </a:cubicBezTo>
                  <a:cubicBezTo>
                    <a:pt x="393" y="35"/>
                    <a:pt x="274" y="59"/>
                    <a:pt x="167" y="59"/>
                  </a:cubicBezTo>
                  <a:cubicBezTo>
                    <a:pt x="84" y="71"/>
                    <a:pt x="0" y="142"/>
                    <a:pt x="24" y="237"/>
                  </a:cubicBezTo>
                  <a:cubicBezTo>
                    <a:pt x="36" y="321"/>
                    <a:pt x="96" y="380"/>
                    <a:pt x="179" y="380"/>
                  </a:cubicBezTo>
                  <a:lnTo>
                    <a:pt x="203" y="380"/>
                  </a:lnTo>
                  <a:cubicBezTo>
                    <a:pt x="310" y="368"/>
                    <a:pt x="453" y="357"/>
                    <a:pt x="572" y="321"/>
                  </a:cubicBezTo>
                  <a:cubicBezTo>
                    <a:pt x="643" y="297"/>
                    <a:pt x="703" y="214"/>
                    <a:pt x="691" y="130"/>
                  </a:cubicBezTo>
                  <a:cubicBezTo>
                    <a:pt x="681" y="54"/>
                    <a:pt x="618" y="1"/>
                    <a:pt x="5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4" name="Google Shape;11874;p61"/>
            <p:cNvSpPr/>
            <p:nvPr/>
          </p:nvSpPr>
          <p:spPr>
            <a:xfrm>
              <a:off x="7224614" y="2703357"/>
              <a:ext cx="21162" cy="17107"/>
            </a:xfrm>
            <a:custGeom>
              <a:avLst/>
              <a:gdLst/>
              <a:ahLst/>
              <a:cxnLst/>
              <a:rect l="l" t="t" r="r" b="b"/>
              <a:pathLst>
                <a:path w="668" h="540" extrusionOk="0">
                  <a:moveTo>
                    <a:pt x="193" y="1"/>
                  </a:moveTo>
                  <a:cubicBezTo>
                    <a:pt x="143" y="1"/>
                    <a:pt x="94" y="22"/>
                    <a:pt x="60" y="63"/>
                  </a:cubicBezTo>
                  <a:cubicBezTo>
                    <a:pt x="1" y="134"/>
                    <a:pt x="13" y="241"/>
                    <a:pt x="84" y="301"/>
                  </a:cubicBezTo>
                  <a:cubicBezTo>
                    <a:pt x="191" y="372"/>
                    <a:pt x="299" y="456"/>
                    <a:pt x="406" y="515"/>
                  </a:cubicBezTo>
                  <a:cubicBezTo>
                    <a:pt x="430" y="527"/>
                    <a:pt x="465" y="539"/>
                    <a:pt x="489" y="539"/>
                  </a:cubicBezTo>
                  <a:cubicBezTo>
                    <a:pt x="549" y="539"/>
                    <a:pt x="596" y="515"/>
                    <a:pt x="644" y="468"/>
                  </a:cubicBezTo>
                  <a:cubicBezTo>
                    <a:pt x="668" y="361"/>
                    <a:pt x="644" y="253"/>
                    <a:pt x="561" y="218"/>
                  </a:cubicBezTo>
                  <a:cubicBezTo>
                    <a:pt x="477" y="158"/>
                    <a:pt x="370" y="99"/>
                    <a:pt x="299" y="39"/>
                  </a:cubicBezTo>
                  <a:cubicBezTo>
                    <a:pt x="268" y="13"/>
                    <a:pt x="230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5" name="Google Shape;11875;p61"/>
            <p:cNvSpPr/>
            <p:nvPr/>
          </p:nvSpPr>
          <p:spPr>
            <a:xfrm>
              <a:off x="7319306" y="2706335"/>
              <a:ext cx="21162" cy="15998"/>
            </a:xfrm>
            <a:custGeom>
              <a:avLst/>
              <a:gdLst/>
              <a:ahLst/>
              <a:cxnLst/>
              <a:rect l="l" t="t" r="r" b="b"/>
              <a:pathLst>
                <a:path w="668" h="505" extrusionOk="0">
                  <a:moveTo>
                    <a:pt x="498" y="1"/>
                  </a:moveTo>
                  <a:cubicBezTo>
                    <a:pt x="466" y="1"/>
                    <a:pt x="433" y="10"/>
                    <a:pt x="405" y="28"/>
                  </a:cubicBezTo>
                  <a:cubicBezTo>
                    <a:pt x="310" y="88"/>
                    <a:pt x="215" y="147"/>
                    <a:pt x="119" y="195"/>
                  </a:cubicBezTo>
                  <a:cubicBezTo>
                    <a:pt x="48" y="243"/>
                    <a:pt x="0" y="326"/>
                    <a:pt x="48" y="421"/>
                  </a:cubicBezTo>
                  <a:cubicBezTo>
                    <a:pt x="72" y="481"/>
                    <a:pt x="131" y="505"/>
                    <a:pt x="191" y="505"/>
                  </a:cubicBezTo>
                  <a:cubicBezTo>
                    <a:pt x="227" y="505"/>
                    <a:pt x="239" y="505"/>
                    <a:pt x="274" y="493"/>
                  </a:cubicBezTo>
                  <a:cubicBezTo>
                    <a:pt x="370" y="433"/>
                    <a:pt x="489" y="374"/>
                    <a:pt x="596" y="302"/>
                  </a:cubicBezTo>
                  <a:cubicBezTo>
                    <a:pt x="655" y="255"/>
                    <a:pt x="667" y="147"/>
                    <a:pt x="631" y="76"/>
                  </a:cubicBezTo>
                  <a:cubicBezTo>
                    <a:pt x="602" y="25"/>
                    <a:pt x="550" y="1"/>
                    <a:pt x="4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6" name="Google Shape;11876;p61"/>
            <p:cNvSpPr/>
            <p:nvPr/>
          </p:nvSpPr>
          <p:spPr>
            <a:xfrm>
              <a:off x="7202375" y="2678234"/>
              <a:ext cx="18501" cy="19578"/>
            </a:xfrm>
            <a:custGeom>
              <a:avLst/>
              <a:gdLst/>
              <a:ahLst/>
              <a:cxnLst/>
              <a:rect l="l" t="t" r="r" b="b"/>
              <a:pathLst>
                <a:path w="584" h="618" extrusionOk="0">
                  <a:moveTo>
                    <a:pt x="183" y="1"/>
                  </a:moveTo>
                  <a:cubicBezTo>
                    <a:pt x="156" y="1"/>
                    <a:pt x="130" y="7"/>
                    <a:pt x="108" y="22"/>
                  </a:cubicBezTo>
                  <a:cubicBezTo>
                    <a:pt x="36" y="70"/>
                    <a:pt x="0" y="177"/>
                    <a:pt x="48" y="249"/>
                  </a:cubicBezTo>
                  <a:cubicBezTo>
                    <a:pt x="108" y="356"/>
                    <a:pt x="179" y="451"/>
                    <a:pt x="251" y="558"/>
                  </a:cubicBezTo>
                  <a:cubicBezTo>
                    <a:pt x="286" y="606"/>
                    <a:pt x="334" y="618"/>
                    <a:pt x="393" y="618"/>
                  </a:cubicBezTo>
                  <a:cubicBezTo>
                    <a:pt x="417" y="618"/>
                    <a:pt x="465" y="606"/>
                    <a:pt x="489" y="594"/>
                  </a:cubicBezTo>
                  <a:cubicBezTo>
                    <a:pt x="572" y="534"/>
                    <a:pt x="584" y="427"/>
                    <a:pt x="524" y="356"/>
                  </a:cubicBezTo>
                  <a:cubicBezTo>
                    <a:pt x="453" y="261"/>
                    <a:pt x="393" y="177"/>
                    <a:pt x="334" y="82"/>
                  </a:cubicBezTo>
                  <a:cubicBezTo>
                    <a:pt x="301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7" name="Google Shape;11877;p61"/>
            <p:cNvSpPr/>
            <p:nvPr/>
          </p:nvSpPr>
          <p:spPr>
            <a:xfrm>
              <a:off x="7345695" y="2683335"/>
              <a:ext cx="18913" cy="19388"/>
            </a:xfrm>
            <a:custGeom>
              <a:avLst/>
              <a:gdLst/>
              <a:ahLst/>
              <a:cxnLst/>
              <a:rect l="l" t="t" r="r" b="b"/>
              <a:pathLst>
                <a:path w="597" h="612" extrusionOk="0">
                  <a:moveTo>
                    <a:pt x="397" y="0"/>
                  </a:moveTo>
                  <a:cubicBezTo>
                    <a:pt x="346" y="0"/>
                    <a:pt x="297" y="25"/>
                    <a:pt x="275" y="76"/>
                  </a:cubicBezTo>
                  <a:cubicBezTo>
                    <a:pt x="215" y="159"/>
                    <a:pt x="132" y="254"/>
                    <a:pt x="60" y="326"/>
                  </a:cubicBezTo>
                  <a:cubicBezTo>
                    <a:pt x="1" y="397"/>
                    <a:pt x="1" y="504"/>
                    <a:pt x="72" y="564"/>
                  </a:cubicBezTo>
                  <a:cubicBezTo>
                    <a:pt x="108" y="588"/>
                    <a:pt x="156" y="612"/>
                    <a:pt x="179" y="612"/>
                  </a:cubicBezTo>
                  <a:cubicBezTo>
                    <a:pt x="227" y="612"/>
                    <a:pt x="263" y="588"/>
                    <a:pt x="299" y="552"/>
                  </a:cubicBezTo>
                  <a:cubicBezTo>
                    <a:pt x="382" y="457"/>
                    <a:pt x="465" y="350"/>
                    <a:pt x="525" y="254"/>
                  </a:cubicBezTo>
                  <a:cubicBezTo>
                    <a:pt x="596" y="171"/>
                    <a:pt x="572" y="76"/>
                    <a:pt x="489" y="28"/>
                  </a:cubicBezTo>
                  <a:cubicBezTo>
                    <a:pt x="461" y="10"/>
                    <a:pt x="429" y="0"/>
                    <a:pt x="3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8" name="Google Shape;11878;p61"/>
            <p:cNvSpPr/>
            <p:nvPr/>
          </p:nvSpPr>
          <p:spPr>
            <a:xfrm>
              <a:off x="7280086" y="2559751"/>
              <a:ext cx="21891" cy="10201"/>
            </a:xfrm>
            <a:custGeom>
              <a:avLst/>
              <a:gdLst/>
              <a:ahLst/>
              <a:cxnLst/>
              <a:rect l="l" t="t" r="r" b="b"/>
              <a:pathLst>
                <a:path w="691" h="322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524" y="322"/>
                  </a:lnTo>
                  <a:cubicBezTo>
                    <a:pt x="619" y="322"/>
                    <a:pt x="691" y="250"/>
                    <a:pt x="691" y="167"/>
                  </a:cubicBezTo>
                  <a:cubicBezTo>
                    <a:pt x="691" y="72"/>
                    <a:pt x="619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79" name="Google Shape;11879;p61"/>
          <p:cNvGrpSpPr/>
          <p:nvPr/>
        </p:nvGrpSpPr>
        <p:grpSpPr>
          <a:xfrm>
            <a:off x="6698441" y="2414530"/>
            <a:ext cx="277644" cy="357984"/>
            <a:chOff x="6698441" y="2414530"/>
            <a:chExt cx="277644" cy="357984"/>
          </a:xfrm>
        </p:grpSpPr>
        <p:sp>
          <p:nvSpPr>
            <p:cNvPr id="11880" name="Google Shape;11880;p61"/>
            <p:cNvSpPr/>
            <p:nvPr/>
          </p:nvSpPr>
          <p:spPr>
            <a:xfrm>
              <a:off x="6764462" y="2710611"/>
              <a:ext cx="10201" cy="60382"/>
            </a:xfrm>
            <a:custGeom>
              <a:avLst/>
              <a:gdLst/>
              <a:ahLst/>
              <a:cxnLst/>
              <a:rect l="l" t="t" r="r" b="b"/>
              <a:pathLst>
                <a:path w="322" h="190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739"/>
                  </a:lnTo>
                  <a:cubicBezTo>
                    <a:pt x="0" y="1834"/>
                    <a:pt x="72" y="1906"/>
                    <a:pt x="167" y="1906"/>
                  </a:cubicBezTo>
                  <a:cubicBezTo>
                    <a:pt x="250" y="1906"/>
                    <a:pt x="322" y="1834"/>
                    <a:pt x="322" y="1739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1" name="Google Shape;11881;p61"/>
            <p:cNvSpPr/>
            <p:nvPr/>
          </p:nvSpPr>
          <p:spPr>
            <a:xfrm>
              <a:off x="6898374" y="2710611"/>
              <a:ext cx="10201" cy="60382"/>
            </a:xfrm>
            <a:custGeom>
              <a:avLst/>
              <a:gdLst/>
              <a:ahLst/>
              <a:cxnLst/>
              <a:rect l="l" t="t" r="r" b="b"/>
              <a:pathLst>
                <a:path w="322" h="1906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739"/>
                  </a:lnTo>
                  <a:cubicBezTo>
                    <a:pt x="0" y="1834"/>
                    <a:pt x="71" y="1906"/>
                    <a:pt x="167" y="1906"/>
                  </a:cubicBezTo>
                  <a:cubicBezTo>
                    <a:pt x="250" y="1906"/>
                    <a:pt x="322" y="1834"/>
                    <a:pt x="322" y="1739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2" name="Google Shape;11882;p61"/>
            <p:cNvSpPr/>
            <p:nvPr/>
          </p:nvSpPr>
          <p:spPr>
            <a:xfrm>
              <a:off x="6698441" y="2414530"/>
              <a:ext cx="277644" cy="357984"/>
            </a:xfrm>
            <a:custGeom>
              <a:avLst/>
              <a:gdLst/>
              <a:ahLst/>
              <a:cxnLst/>
              <a:rect l="l" t="t" r="r" b="b"/>
              <a:pathLst>
                <a:path w="8764" h="11300" extrusionOk="0">
                  <a:moveTo>
                    <a:pt x="3835" y="3334"/>
                  </a:moveTo>
                  <a:lnTo>
                    <a:pt x="3835" y="3691"/>
                  </a:lnTo>
                  <a:cubicBezTo>
                    <a:pt x="3835" y="3798"/>
                    <a:pt x="3751" y="3882"/>
                    <a:pt x="3644" y="3882"/>
                  </a:cubicBezTo>
                  <a:lnTo>
                    <a:pt x="3120" y="3882"/>
                  </a:lnTo>
                  <a:cubicBezTo>
                    <a:pt x="3025" y="3882"/>
                    <a:pt x="2930" y="3786"/>
                    <a:pt x="2930" y="3691"/>
                  </a:cubicBezTo>
                  <a:lnTo>
                    <a:pt x="2930" y="3334"/>
                  </a:lnTo>
                  <a:lnTo>
                    <a:pt x="3215" y="3334"/>
                  </a:lnTo>
                  <a:lnTo>
                    <a:pt x="3215" y="3346"/>
                  </a:lnTo>
                  <a:lnTo>
                    <a:pt x="3215" y="3524"/>
                  </a:lnTo>
                  <a:cubicBezTo>
                    <a:pt x="3227" y="3620"/>
                    <a:pt x="3299" y="3691"/>
                    <a:pt x="3394" y="3691"/>
                  </a:cubicBezTo>
                  <a:cubicBezTo>
                    <a:pt x="3477" y="3691"/>
                    <a:pt x="3561" y="3620"/>
                    <a:pt x="3561" y="3524"/>
                  </a:cubicBezTo>
                  <a:lnTo>
                    <a:pt x="3561" y="3346"/>
                  </a:lnTo>
                  <a:lnTo>
                    <a:pt x="3561" y="3334"/>
                  </a:lnTo>
                  <a:close/>
                  <a:moveTo>
                    <a:pt x="5775" y="3334"/>
                  </a:moveTo>
                  <a:lnTo>
                    <a:pt x="5775" y="3691"/>
                  </a:lnTo>
                  <a:cubicBezTo>
                    <a:pt x="5775" y="3798"/>
                    <a:pt x="5680" y="3882"/>
                    <a:pt x="5585" y="3882"/>
                  </a:cubicBezTo>
                  <a:lnTo>
                    <a:pt x="5061" y="3882"/>
                  </a:lnTo>
                  <a:cubicBezTo>
                    <a:pt x="4954" y="3882"/>
                    <a:pt x="4870" y="3786"/>
                    <a:pt x="4870" y="3691"/>
                  </a:cubicBezTo>
                  <a:lnTo>
                    <a:pt x="4870" y="3334"/>
                  </a:lnTo>
                  <a:lnTo>
                    <a:pt x="5144" y="3334"/>
                  </a:lnTo>
                  <a:lnTo>
                    <a:pt x="5144" y="3346"/>
                  </a:lnTo>
                  <a:lnTo>
                    <a:pt x="5144" y="3524"/>
                  </a:lnTo>
                  <a:cubicBezTo>
                    <a:pt x="5168" y="3620"/>
                    <a:pt x="5239" y="3691"/>
                    <a:pt x="5323" y="3691"/>
                  </a:cubicBezTo>
                  <a:cubicBezTo>
                    <a:pt x="5418" y="3691"/>
                    <a:pt x="5490" y="3620"/>
                    <a:pt x="5490" y="3524"/>
                  </a:cubicBezTo>
                  <a:lnTo>
                    <a:pt x="5490" y="3346"/>
                  </a:lnTo>
                  <a:lnTo>
                    <a:pt x="5490" y="3334"/>
                  </a:lnTo>
                  <a:close/>
                  <a:moveTo>
                    <a:pt x="1858" y="1512"/>
                  </a:moveTo>
                  <a:lnTo>
                    <a:pt x="1858" y="1512"/>
                  </a:lnTo>
                  <a:cubicBezTo>
                    <a:pt x="1644" y="1905"/>
                    <a:pt x="1549" y="2346"/>
                    <a:pt x="1549" y="2810"/>
                  </a:cubicBezTo>
                  <a:lnTo>
                    <a:pt x="1549" y="3239"/>
                  </a:lnTo>
                  <a:cubicBezTo>
                    <a:pt x="1358" y="3334"/>
                    <a:pt x="1215" y="3513"/>
                    <a:pt x="1203" y="3715"/>
                  </a:cubicBezTo>
                  <a:cubicBezTo>
                    <a:pt x="1191" y="3882"/>
                    <a:pt x="1251" y="4060"/>
                    <a:pt x="1358" y="4179"/>
                  </a:cubicBezTo>
                  <a:cubicBezTo>
                    <a:pt x="1477" y="4298"/>
                    <a:pt x="1632" y="4370"/>
                    <a:pt x="1799" y="4370"/>
                  </a:cubicBezTo>
                  <a:lnTo>
                    <a:pt x="1918" y="4370"/>
                  </a:lnTo>
                  <a:cubicBezTo>
                    <a:pt x="1965" y="4691"/>
                    <a:pt x="2072" y="4965"/>
                    <a:pt x="2215" y="5239"/>
                  </a:cubicBezTo>
                  <a:cubicBezTo>
                    <a:pt x="1918" y="5191"/>
                    <a:pt x="1668" y="5108"/>
                    <a:pt x="1501" y="5025"/>
                  </a:cubicBezTo>
                  <a:cubicBezTo>
                    <a:pt x="1382" y="4965"/>
                    <a:pt x="1299" y="4929"/>
                    <a:pt x="1215" y="4882"/>
                  </a:cubicBezTo>
                  <a:cubicBezTo>
                    <a:pt x="1275" y="4751"/>
                    <a:pt x="1358" y="4548"/>
                    <a:pt x="1358" y="4405"/>
                  </a:cubicBezTo>
                  <a:cubicBezTo>
                    <a:pt x="1358" y="4370"/>
                    <a:pt x="1334" y="4334"/>
                    <a:pt x="1322" y="4298"/>
                  </a:cubicBezTo>
                  <a:lnTo>
                    <a:pt x="834" y="3655"/>
                  </a:lnTo>
                  <a:cubicBezTo>
                    <a:pt x="858" y="3501"/>
                    <a:pt x="977" y="3036"/>
                    <a:pt x="1179" y="2560"/>
                  </a:cubicBezTo>
                  <a:cubicBezTo>
                    <a:pt x="1394" y="2048"/>
                    <a:pt x="1632" y="1727"/>
                    <a:pt x="1858" y="1512"/>
                  </a:cubicBezTo>
                  <a:close/>
                  <a:moveTo>
                    <a:pt x="4347" y="334"/>
                  </a:moveTo>
                  <a:cubicBezTo>
                    <a:pt x="5644" y="334"/>
                    <a:pt x="6728" y="1346"/>
                    <a:pt x="6811" y="2643"/>
                  </a:cubicBezTo>
                  <a:cubicBezTo>
                    <a:pt x="6811" y="2732"/>
                    <a:pt x="6893" y="2799"/>
                    <a:pt x="6971" y="2799"/>
                  </a:cubicBezTo>
                  <a:cubicBezTo>
                    <a:pt x="6977" y="2799"/>
                    <a:pt x="6984" y="2799"/>
                    <a:pt x="6990" y="2798"/>
                  </a:cubicBezTo>
                  <a:cubicBezTo>
                    <a:pt x="7085" y="2798"/>
                    <a:pt x="7156" y="2703"/>
                    <a:pt x="7144" y="2620"/>
                  </a:cubicBezTo>
                  <a:cubicBezTo>
                    <a:pt x="7109" y="2215"/>
                    <a:pt x="7002" y="1846"/>
                    <a:pt x="6835" y="1500"/>
                  </a:cubicBezTo>
                  <a:lnTo>
                    <a:pt x="6835" y="1500"/>
                  </a:lnTo>
                  <a:cubicBezTo>
                    <a:pt x="7144" y="1786"/>
                    <a:pt x="7371" y="2179"/>
                    <a:pt x="7514" y="2536"/>
                  </a:cubicBezTo>
                  <a:cubicBezTo>
                    <a:pt x="7728" y="3012"/>
                    <a:pt x="7823" y="3477"/>
                    <a:pt x="7859" y="3643"/>
                  </a:cubicBezTo>
                  <a:lnTo>
                    <a:pt x="7371" y="4286"/>
                  </a:lnTo>
                  <a:cubicBezTo>
                    <a:pt x="7347" y="4310"/>
                    <a:pt x="7335" y="4346"/>
                    <a:pt x="7335" y="4382"/>
                  </a:cubicBezTo>
                  <a:cubicBezTo>
                    <a:pt x="7335" y="4525"/>
                    <a:pt x="7406" y="4727"/>
                    <a:pt x="7466" y="4858"/>
                  </a:cubicBezTo>
                  <a:cubicBezTo>
                    <a:pt x="7406" y="4906"/>
                    <a:pt x="7311" y="4953"/>
                    <a:pt x="7192" y="5013"/>
                  </a:cubicBezTo>
                  <a:cubicBezTo>
                    <a:pt x="7025" y="5084"/>
                    <a:pt x="6775" y="5191"/>
                    <a:pt x="6454" y="5251"/>
                  </a:cubicBezTo>
                  <a:cubicBezTo>
                    <a:pt x="6609" y="4989"/>
                    <a:pt x="6704" y="4691"/>
                    <a:pt x="6752" y="4394"/>
                  </a:cubicBezTo>
                  <a:lnTo>
                    <a:pt x="6859" y="4394"/>
                  </a:lnTo>
                  <a:cubicBezTo>
                    <a:pt x="7192" y="4394"/>
                    <a:pt x="7454" y="4144"/>
                    <a:pt x="7490" y="3846"/>
                  </a:cubicBezTo>
                  <a:cubicBezTo>
                    <a:pt x="7502" y="3691"/>
                    <a:pt x="7442" y="3513"/>
                    <a:pt x="7335" y="3393"/>
                  </a:cubicBezTo>
                  <a:cubicBezTo>
                    <a:pt x="7216" y="3274"/>
                    <a:pt x="7049" y="3203"/>
                    <a:pt x="6894" y="3203"/>
                  </a:cubicBezTo>
                  <a:lnTo>
                    <a:pt x="6085" y="3203"/>
                  </a:lnTo>
                  <a:lnTo>
                    <a:pt x="6085" y="3179"/>
                  </a:lnTo>
                  <a:cubicBezTo>
                    <a:pt x="6085" y="3096"/>
                    <a:pt x="6013" y="3012"/>
                    <a:pt x="5918" y="3012"/>
                  </a:cubicBezTo>
                  <a:lnTo>
                    <a:pt x="4692" y="3012"/>
                  </a:lnTo>
                  <a:cubicBezTo>
                    <a:pt x="4597" y="3012"/>
                    <a:pt x="4525" y="3096"/>
                    <a:pt x="4525" y="3179"/>
                  </a:cubicBezTo>
                  <a:lnTo>
                    <a:pt x="4525" y="3227"/>
                  </a:lnTo>
                  <a:cubicBezTo>
                    <a:pt x="4466" y="3191"/>
                    <a:pt x="4406" y="3191"/>
                    <a:pt x="4335" y="3191"/>
                  </a:cubicBezTo>
                  <a:cubicBezTo>
                    <a:pt x="4251" y="3191"/>
                    <a:pt x="4192" y="3215"/>
                    <a:pt x="4132" y="3227"/>
                  </a:cubicBezTo>
                  <a:lnTo>
                    <a:pt x="4132" y="3179"/>
                  </a:lnTo>
                  <a:cubicBezTo>
                    <a:pt x="4132" y="3096"/>
                    <a:pt x="4061" y="3012"/>
                    <a:pt x="3977" y="3012"/>
                  </a:cubicBezTo>
                  <a:lnTo>
                    <a:pt x="2739" y="3012"/>
                  </a:lnTo>
                  <a:cubicBezTo>
                    <a:pt x="2644" y="3012"/>
                    <a:pt x="2572" y="3096"/>
                    <a:pt x="2572" y="3179"/>
                  </a:cubicBezTo>
                  <a:lnTo>
                    <a:pt x="2572" y="3203"/>
                  </a:lnTo>
                  <a:lnTo>
                    <a:pt x="1846" y="3203"/>
                  </a:lnTo>
                  <a:lnTo>
                    <a:pt x="1846" y="2810"/>
                  </a:lnTo>
                  <a:lnTo>
                    <a:pt x="1870" y="2810"/>
                  </a:lnTo>
                  <a:cubicBezTo>
                    <a:pt x="1870" y="1441"/>
                    <a:pt x="2989" y="334"/>
                    <a:pt x="4347" y="334"/>
                  </a:cubicBezTo>
                  <a:close/>
                  <a:moveTo>
                    <a:pt x="6906" y="3513"/>
                  </a:moveTo>
                  <a:cubicBezTo>
                    <a:pt x="6978" y="3513"/>
                    <a:pt x="7049" y="3536"/>
                    <a:pt x="7109" y="3596"/>
                  </a:cubicBezTo>
                  <a:cubicBezTo>
                    <a:pt x="7168" y="3655"/>
                    <a:pt x="7192" y="3739"/>
                    <a:pt x="7192" y="3810"/>
                  </a:cubicBezTo>
                  <a:cubicBezTo>
                    <a:pt x="7168" y="3941"/>
                    <a:pt x="7037" y="4060"/>
                    <a:pt x="6894" y="4060"/>
                  </a:cubicBezTo>
                  <a:lnTo>
                    <a:pt x="6811" y="4060"/>
                  </a:lnTo>
                  <a:lnTo>
                    <a:pt x="6811" y="4048"/>
                  </a:lnTo>
                  <a:cubicBezTo>
                    <a:pt x="6811" y="3953"/>
                    <a:pt x="6740" y="3882"/>
                    <a:pt x="6656" y="3882"/>
                  </a:cubicBezTo>
                  <a:cubicBezTo>
                    <a:pt x="6561" y="3882"/>
                    <a:pt x="6490" y="3953"/>
                    <a:pt x="6490" y="4048"/>
                  </a:cubicBezTo>
                  <a:cubicBezTo>
                    <a:pt x="6490" y="4536"/>
                    <a:pt x="6323" y="5001"/>
                    <a:pt x="6025" y="5370"/>
                  </a:cubicBezTo>
                  <a:cubicBezTo>
                    <a:pt x="5763" y="5679"/>
                    <a:pt x="5430" y="5918"/>
                    <a:pt x="5049" y="6060"/>
                  </a:cubicBezTo>
                  <a:lnTo>
                    <a:pt x="5049" y="5644"/>
                  </a:lnTo>
                  <a:cubicBezTo>
                    <a:pt x="5049" y="5548"/>
                    <a:pt x="4966" y="5477"/>
                    <a:pt x="4882" y="5477"/>
                  </a:cubicBezTo>
                  <a:lnTo>
                    <a:pt x="3823" y="5477"/>
                  </a:lnTo>
                  <a:cubicBezTo>
                    <a:pt x="3739" y="5477"/>
                    <a:pt x="3656" y="5548"/>
                    <a:pt x="3656" y="5644"/>
                  </a:cubicBezTo>
                  <a:lnTo>
                    <a:pt x="3656" y="6060"/>
                  </a:lnTo>
                  <a:cubicBezTo>
                    <a:pt x="3287" y="5918"/>
                    <a:pt x="2942" y="5679"/>
                    <a:pt x="2692" y="5370"/>
                  </a:cubicBezTo>
                  <a:cubicBezTo>
                    <a:pt x="2394" y="4989"/>
                    <a:pt x="2227" y="4536"/>
                    <a:pt x="2227" y="4048"/>
                  </a:cubicBezTo>
                  <a:cubicBezTo>
                    <a:pt x="2227" y="3953"/>
                    <a:pt x="2156" y="3882"/>
                    <a:pt x="2072" y="3882"/>
                  </a:cubicBezTo>
                  <a:cubicBezTo>
                    <a:pt x="1977" y="3882"/>
                    <a:pt x="1906" y="3953"/>
                    <a:pt x="1906" y="4048"/>
                  </a:cubicBezTo>
                  <a:lnTo>
                    <a:pt x="1906" y="4060"/>
                  </a:lnTo>
                  <a:lnTo>
                    <a:pt x="1799" y="4060"/>
                  </a:lnTo>
                  <a:cubicBezTo>
                    <a:pt x="1727" y="4060"/>
                    <a:pt x="1656" y="4036"/>
                    <a:pt x="1596" y="3977"/>
                  </a:cubicBezTo>
                  <a:cubicBezTo>
                    <a:pt x="1537" y="3917"/>
                    <a:pt x="1513" y="3834"/>
                    <a:pt x="1513" y="3763"/>
                  </a:cubicBezTo>
                  <a:cubicBezTo>
                    <a:pt x="1537" y="3632"/>
                    <a:pt x="1668" y="3513"/>
                    <a:pt x="1810" y="3513"/>
                  </a:cubicBezTo>
                  <a:lnTo>
                    <a:pt x="2584" y="3513"/>
                  </a:lnTo>
                  <a:lnTo>
                    <a:pt x="2584" y="3703"/>
                  </a:lnTo>
                  <a:cubicBezTo>
                    <a:pt x="2584" y="3989"/>
                    <a:pt x="2823" y="4227"/>
                    <a:pt x="3108" y="4227"/>
                  </a:cubicBezTo>
                  <a:lnTo>
                    <a:pt x="3632" y="4227"/>
                  </a:lnTo>
                  <a:cubicBezTo>
                    <a:pt x="3918" y="4227"/>
                    <a:pt x="4156" y="3989"/>
                    <a:pt x="4156" y="3703"/>
                  </a:cubicBezTo>
                  <a:cubicBezTo>
                    <a:pt x="4156" y="3596"/>
                    <a:pt x="4239" y="3513"/>
                    <a:pt x="4347" y="3513"/>
                  </a:cubicBezTo>
                  <a:cubicBezTo>
                    <a:pt x="4454" y="3513"/>
                    <a:pt x="4537" y="3596"/>
                    <a:pt x="4537" y="3703"/>
                  </a:cubicBezTo>
                  <a:cubicBezTo>
                    <a:pt x="4537" y="3989"/>
                    <a:pt x="4775" y="4227"/>
                    <a:pt x="5061" y="4227"/>
                  </a:cubicBezTo>
                  <a:lnTo>
                    <a:pt x="5585" y="4227"/>
                  </a:lnTo>
                  <a:cubicBezTo>
                    <a:pt x="5859" y="4227"/>
                    <a:pt x="6097" y="3989"/>
                    <a:pt x="6097" y="3703"/>
                  </a:cubicBezTo>
                  <a:lnTo>
                    <a:pt x="6097" y="3513"/>
                  </a:lnTo>
                  <a:close/>
                  <a:moveTo>
                    <a:pt x="4716" y="5799"/>
                  </a:moveTo>
                  <a:lnTo>
                    <a:pt x="4716" y="6156"/>
                  </a:lnTo>
                  <a:cubicBezTo>
                    <a:pt x="4716" y="6346"/>
                    <a:pt x="4549" y="6513"/>
                    <a:pt x="4358" y="6513"/>
                  </a:cubicBezTo>
                  <a:cubicBezTo>
                    <a:pt x="4156" y="6513"/>
                    <a:pt x="3989" y="6370"/>
                    <a:pt x="3989" y="6156"/>
                  </a:cubicBezTo>
                  <a:lnTo>
                    <a:pt x="3989" y="5799"/>
                  </a:lnTo>
                  <a:close/>
                  <a:moveTo>
                    <a:pt x="5418" y="6263"/>
                  </a:moveTo>
                  <a:lnTo>
                    <a:pt x="5418" y="6822"/>
                  </a:lnTo>
                  <a:lnTo>
                    <a:pt x="5418" y="6942"/>
                  </a:lnTo>
                  <a:lnTo>
                    <a:pt x="4347" y="7561"/>
                  </a:lnTo>
                  <a:lnTo>
                    <a:pt x="3275" y="6942"/>
                  </a:lnTo>
                  <a:lnTo>
                    <a:pt x="3275" y="6822"/>
                  </a:lnTo>
                  <a:lnTo>
                    <a:pt x="3275" y="6263"/>
                  </a:lnTo>
                  <a:cubicBezTo>
                    <a:pt x="3406" y="6322"/>
                    <a:pt x="3561" y="6382"/>
                    <a:pt x="3692" y="6430"/>
                  </a:cubicBezTo>
                  <a:cubicBezTo>
                    <a:pt x="3811" y="6668"/>
                    <a:pt x="4061" y="6858"/>
                    <a:pt x="4358" y="6858"/>
                  </a:cubicBezTo>
                  <a:cubicBezTo>
                    <a:pt x="4656" y="6858"/>
                    <a:pt x="4894" y="6680"/>
                    <a:pt x="5001" y="6430"/>
                  </a:cubicBezTo>
                  <a:cubicBezTo>
                    <a:pt x="5144" y="6382"/>
                    <a:pt x="5287" y="6334"/>
                    <a:pt x="5418" y="6263"/>
                  </a:cubicBezTo>
                  <a:close/>
                  <a:moveTo>
                    <a:pt x="3204" y="7251"/>
                  </a:moveTo>
                  <a:lnTo>
                    <a:pt x="4096" y="7751"/>
                  </a:lnTo>
                  <a:lnTo>
                    <a:pt x="3632" y="8227"/>
                  </a:lnTo>
                  <a:cubicBezTo>
                    <a:pt x="3585" y="8275"/>
                    <a:pt x="3537" y="8287"/>
                    <a:pt x="3501" y="8287"/>
                  </a:cubicBezTo>
                  <a:cubicBezTo>
                    <a:pt x="3430" y="8287"/>
                    <a:pt x="3394" y="8263"/>
                    <a:pt x="3358" y="8215"/>
                  </a:cubicBezTo>
                  <a:lnTo>
                    <a:pt x="2882" y="7644"/>
                  </a:lnTo>
                  <a:lnTo>
                    <a:pt x="2989" y="7549"/>
                  </a:lnTo>
                  <a:cubicBezTo>
                    <a:pt x="3073" y="7453"/>
                    <a:pt x="3132" y="7370"/>
                    <a:pt x="3204" y="7251"/>
                  </a:cubicBezTo>
                  <a:close/>
                  <a:moveTo>
                    <a:pt x="5513" y="7275"/>
                  </a:moveTo>
                  <a:cubicBezTo>
                    <a:pt x="5561" y="7382"/>
                    <a:pt x="5632" y="7477"/>
                    <a:pt x="5728" y="7573"/>
                  </a:cubicBezTo>
                  <a:lnTo>
                    <a:pt x="5835" y="7668"/>
                  </a:lnTo>
                  <a:lnTo>
                    <a:pt x="5359" y="8227"/>
                  </a:lnTo>
                  <a:cubicBezTo>
                    <a:pt x="5323" y="8275"/>
                    <a:pt x="5263" y="8287"/>
                    <a:pt x="5216" y="8299"/>
                  </a:cubicBezTo>
                  <a:cubicBezTo>
                    <a:pt x="5156" y="8299"/>
                    <a:pt x="5120" y="8287"/>
                    <a:pt x="5085" y="8239"/>
                  </a:cubicBezTo>
                  <a:lnTo>
                    <a:pt x="4620" y="7775"/>
                  </a:lnTo>
                  <a:lnTo>
                    <a:pt x="5513" y="7275"/>
                  </a:lnTo>
                  <a:close/>
                  <a:moveTo>
                    <a:pt x="4358" y="7965"/>
                  </a:moveTo>
                  <a:lnTo>
                    <a:pt x="4704" y="8299"/>
                  </a:lnTo>
                  <a:lnTo>
                    <a:pt x="4632" y="8513"/>
                  </a:lnTo>
                  <a:cubicBezTo>
                    <a:pt x="4608" y="8561"/>
                    <a:pt x="4585" y="8585"/>
                    <a:pt x="4537" y="8620"/>
                  </a:cubicBezTo>
                  <a:lnTo>
                    <a:pt x="4525" y="8620"/>
                  </a:lnTo>
                  <a:cubicBezTo>
                    <a:pt x="4489" y="8632"/>
                    <a:pt x="4477" y="8632"/>
                    <a:pt x="4454" y="8632"/>
                  </a:cubicBezTo>
                  <a:lnTo>
                    <a:pt x="4251" y="8632"/>
                  </a:lnTo>
                  <a:cubicBezTo>
                    <a:pt x="4180" y="8632"/>
                    <a:pt x="4108" y="8585"/>
                    <a:pt x="4073" y="8501"/>
                  </a:cubicBezTo>
                  <a:lnTo>
                    <a:pt x="4013" y="8299"/>
                  </a:lnTo>
                  <a:lnTo>
                    <a:pt x="4358" y="7965"/>
                  </a:lnTo>
                  <a:close/>
                  <a:moveTo>
                    <a:pt x="4370" y="0"/>
                  </a:moveTo>
                  <a:cubicBezTo>
                    <a:pt x="3573" y="0"/>
                    <a:pt x="2823" y="345"/>
                    <a:pt x="2322" y="893"/>
                  </a:cubicBezTo>
                  <a:cubicBezTo>
                    <a:pt x="953" y="1250"/>
                    <a:pt x="537" y="3560"/>
                    <a:pt x="525" y="3643"/>
                  </a:cubicBezTo>
                  <a:cubicBezTo>
                    <a:pt x="501" y="3691"/>
                    <a:pt x="525" y="3739"/>
                    <a:pt x="548" y="3774"/>
                  </a:cubicBezTo>
                  <a:lnTo>
                    <a:pt x="1037" y="4429"/>
                  </a:lnTo>
                  <a:cubicBezTo>
                    <a:pt x="1025" y="4536"/>
                    <a:pt x="941" y="4727"/>
                    <a:pt x="894" y="4834"/>
                  </a:cubicBezTo>
                  <a:cubicBezTo>
                    <a:pt x="858" y="4906"/>
                    <a:pt x="882" y="4989"/>
                    <a:pt x="941" y="5048"/>
                  </a:cubicBezTo>
                  <a:cubicBezTo>
                    <a:pt x="965" y="5060"/>
                    <a:pt x="1549" y="5525"/>
                    <a:pt x="2513" y="5620"/>
                  </a:cubicBezTo>
                  <a:cubicBezTo>
                    <a:pt x="2644" y="5787"/>
                    <a:pt x="2811" y="5941"/>
                    <a:pt x="2989" y="6060"/>
                  </a:cubicBezTo>
                  <a:lnTo>
                    <a:pt x="2989" y="6358"/>
                  </a:lnTo>
                  <a:cubicBezTo>
                    <a:pt x="2703" y="6453"/>
                    <a:pt x="1977" y="6751"/>
                    <a:pt x="1537" y="7489"/>
                  </a:cubicBezTo>
                  <a:lnTo>
                    <a:pt x="882" y="7680"/>
                  </a:lnTo>
                  <a:cubicBezTo>
                    <a:pt x="358" y="7823"/>
                    <a:pt x="1" y="8311"/>
                    <a:pt x="1" y="8858"/>
                  </a:cubicBezTo>
                  <a:lnTo>
                    <a:pt x="1" y="11085"/>
                  </a:lnTo>
                  <a:cubicBezTo>
                    <a:pt x="1" y="11180"/>
                    <a:pt x="72" y="11252"/>
                    <a:pt x="156" y="11252"/>
                  </a:cubicBezTo>
                  <a:cubicBezTo>
                    <a:pt x="251" y="11252"/>
                    <a:pt x="322" y="11180"/>
                    <a:pt x="322" y="11085"/>
                  </a:cubicBezTo>
                  <a:lnTo>
                    <a:pt x="322" y="8858"/>
                  </a:lnTo>
                  <a:cubicBezTo>
                    <a:pt x="322" y="8466"/>
                    <a:pt x="596" y="8108"/>
                    <a:pt x="965" y="8001"/>
                  </a:cubicBezTo>
                  <a:lnTo>
                    <a:pt x="1334" y="7894"/>
                  </a:lnTo>
                  <a:lnTo>
                    <a:pt x="1334" y="7894"/>
                  </a:lnTo>
                  <a:cubicBezTo>
                    <a:pt x="1322" y="7942"/>
                    <a:pt x="1310" y="7977"/>
                    <a:pt x="1287" y="8013"/>
                  </a:cubicBezTo>
                  <a:cubicBezTo>
                    <a:pt x="1251" y="8168"/>
                    <a:pt x="1263" y="8346"/>
                    <a:pt x="1346" y="8477"/>
                  </a:cubicBezTo>
                  <a:lnTo>
                    <a:pt x="1549" y="8763"/>
                  </a:lnTo>
                  <a:lnTo>
                    <a:pt x="1072" y="9239"/>
                  </a:lnTo>
                  <a:cubicBezTo>
                    <a:pt x="953" y="9358"/>
                    <a:pt x="894" y="9537"/>
                    <a:pt x="929" y="9716"/>
                  </a:cubicBezTo>
                  <a:lnTo>
                    <a:pt x="1251" y="11144"/>
                  </a:lnTo>
                  <a:cubicBezTo>
                    <a:pt x="1263" y="11216"/>
                    <a:pt x="1334" y="11275"/>
                    <a:pt x="1406" y="11275"/>
                  </a:cubicBezTo>
                  <a:lnTo>
                    <a:pt x="1441" y="11275"/>
                  </a:lnTo>
                  <a:cubicBezTo>
                    <a:pt x="1525" y="11263"/>
                    <a:pt x="1584" y="11168"/>
                    <a:pt x="1560" y="11085"/>
                  </a:cubicBezTo>
                  <a:lnTo>
                    <a:pt x="1251" y="9656"/>
                  </a:lnTo>
                  <a:cubicBezTo>
                    <a:pt x="1227" y="9597"/>
                    <a:pt x="1251" y="9525"/>
                    <a:pt x="1287" y="9478"/>
                  </a:cubicBezTo>
                  <a:lnTo>
                    <a:pt x="1858" y="8906"/>
                  </a:lnTo>
                  <a:cubicBezTo>
                    <a:pt x="1918" y="8858"/>
                    <a:pt x="1918" y="8763"/>
                    <a:pt x="1870" y="8704"/>
                  </a:cubicBezTo>
                  <a:lnTo>
                    <a:pt x="1608" y="8311"/>
                  </a:lnTo>
                  <a:cubicBezTo>
                    <a:pt x="1572" y="8275"/>
                    <a:pt x="1560" y="8215"/>
                    <a:pt x="1584" y="8156"/>
                  </a:cubicBezTo>
                  <a:cubicBezTo>
                    <a:pt x="1870" y="7287"/>
                    <a:pt x="2620" y="6882"/>
                    <a:pt x="2977" y="6751"/>
                  </a:cubicBezTo>
                  <a:lnTo>
                    <a:pt x="2977" y="6858"/>
                  </a:lnTo>
                  <a:cubicBezTo>
                    <a:pt x="2977" y="7049"/>
                    <a:pt x="2894" y="7227"/>
                    <a:pt x="2763" y="7370"/>
                  </a:cubicBezTo>
                  <a:lnTo>
                    <a:pt x="2561" y="7573"/>
                  </a:lnTo>
                  <a:cubicBezTo>
                    <a:pt x="2263" y="7870"/>
                    <a:pt x="2096" y="8263"/>
                    <a:pt x="2096" y="8692"/>
                  </a:cubicBezTo>
                  <a:lnTo>
                    <a:pt x="2096" y="8835"/>
                  </a:lnTo>
                  <a:cubicBezTo>
                    <a:pt x="2096" y="8930"/>
                    <a:pt x="2168" y="9001"/>
                    <a:pt x="2263" y="9001"/>
                  </a:cubicBezTo>
                  <a:cubicBezTo>
                    <a:pt x="2346" y="9001"/>
                    <a:pt x="2418" y="8930"/>
                    <a:pt x="2418" y="8835"/>
                  </a:cubicBezTo>
                  <a:lnTo>
                    <a:pt x="2418" y="8692"/>
                  </a:lnTo>
                  <a:cubicBezTo>
                    <a:pt x="2418" y="8418"/>
                    <a:pt x="2513" y="8156"/>
                    <a:pt x="2680" y="7942"/>
                  </a:cubicBezTo>
                  <a:lnTo>
                    <a:pt x="3120" y="8477"/>
                  </a:lnTo>
                  <a:cubicBezTo>
                    <a:pt x="3215" y="8585"/>
                    <a:pt x="3346" y="8656"/>
                    <a:pt x="3489" y="8656"/>
                  </a:cubicBezTo>
                  <a:lnTo>
                    <a:pt x="3525" y="8656"/>
                  </a:lnTo>
                  <a:cubicBezTo>
                    <a:pt x="3608" y="8656"/>
                    <a:pt x="3704" y="8632"/>
                    <a:pt x="3775" y="8596"/>
                  </a:cubicBezTo>
                  <a:lnTo>
                    <a:pt x="3787" y="8656"/>
                  </a:lnTo>
                  <a:cubicBezTo>
                    <a:pt x="3823" y="8751"/>
                    <a:pt x="3882" y="8823"/>
                    <a:pt x="3942" y="8882"/>
                  </a:cubicBezTo>
                  <a:lnTo>
                    <a:pt x="3692" y="11121"/>
                  </a:lnTo>
                  <a:cubicBezTo>
                    <a:pt x="3668" y="11204"/>
                    <a:pt x="3751" y="11299"/>
                    <a:pt x="3835" y="11299"/>
                  </a:cubicBezTo>
                  <a:lnTo>
                    <a:pt x="3846" y="11299"/>
                  </a:lnTo>
                  <a:cubicBezTo>
                    <a:pt x="3942" y="11299"/>
                    <a:pt x="4001" y="11240"/>
                    <a:pt x="4013" y="11144"/>
                  </a:cubicBezTo>
                  <a:lnTo>
                    <a:pt x="4251" y="9001"/>
                  </a:lnTo>
                  <a:lnTo>
                    <a:pt x="4501" y="9001"/>
                  </a:lnTo>
                  <a:lnTo>
                    <a:pt x="4739" y="11144"/>
                  </a:lnTo>
                  <a:cubicBezTo>
                    <a:pt x="4763" y="11240"/>
                    <a:pt x="4823" y="11299"/>
                    <a:pt x="4906" y="11299"/>
                  </a:cubicBezTo>
                  <a:lnTo>
                    <a:pt x="4918" y="11299"/>
                  </a:lnTo>
                  <a:cubicBezTo>
                    <a:pt x="5013" y="11275"/>
                    <a:pt x="5073" y="11204"/>
                    <a:pt x="5073" y="11121"/>
                  </a:cubicBezTo>
                  <a:lnTo>
                    <a:pt x="4823" y="8882"/>
                  </a:lnTo>
                  <a:cubicBezTo>
                    <a:pt x="4894" y="8823"/>
                    <a:pt x="4942" y="8751"/>
                    <a:pt x="4966" y="8656"/>
                  </a:cubicBezTo>
                  <a:lnTo>
                    <a:pt x="4978" y="8596"/>
                  </a:lnTo>
                  <a:cubicBezTo>
                    <a:pt x="5061" y="8644"/>
                    <a:pt x="5144" y="8656"/>
                    <a:pt x="5239" y="8656"/>
                  </a:cubicBezTo>
                  <a:lnTo>
                    <a:pt x="5263" y="8656"/>
                  </a:lnTo>
                  <a:cubicBezTo>
                    <a:pt x="5418" y="8656"/>
                    <a:pt x="5549" y="8585"/>
                    <a:pt x="5632" y="8477"/>
                  </a:cubicBezTo>
                  <a:lnTo>
                    <a:pt x="6085" y="7942"/>
                  </a:lnTo>
                  <a:cubicBezTo>
                    <a:pt x="6252" y="8156"/>
                    <a:pt x="6335" y="8418"/>
                    <a:pt x="6335" y="8692"/>
                  </a:cubicBezTo>
                  <a:lnTo>
                    <a:pt x="6335" y="8835"/>
                  </a:lnTo>
                  <a:cubicBezTo>
                    <a:pt x="6335" y="8930"/>
                    <a:pt x="6406" y="9001"/>
                    <a:pt x="6502" y="9001"/>
                  </a:cubicBezTo>
                  <a:cubicBezTo>
                    <a:pt x="6585" y="9001"/>
                    <a:pt x="6668" y="8930"/>
                    <a:pt x="6668" y="8835"/>
                  </a:cubicBezTo>
                  <a:lnTo>
                    <a:pt x="6668" y="8692"/>
                  </a:lnTo>
                  <a:cubicBezTo>
                    <a:pt x="6668" y="8275"/>
                    <a:pt x="6502" y="7870"/>
                    <a:pt x="6204" y="7573"/>
                  </a:cubicBezTo>
                  <a:lnTo>
                    <a:pt x="5990" y="7370"/>
                  </a:lnTo>
                  <a:cubicBezTo>
                    <a:pt x="5859" y="7227"/>
                    <a:pt x="5787" y="7049"/>
                    <a:pt x="5787" y="6858"/>
                  </a:cubicBezTo>
                  <a:lnTo>
                    <a:pt x="5787" y="6715"/>
                  </a:lnTo>
                  <a:cubicBezTo>
                    <a:pt x="6144" y="6858"/>
                    <a:pt x="6883" y="7251"/>
                    <a:pt x="7168" y="8108"/>
                  </a:cubicBezTo>
                  <a:cubicBezTo>
                    <a:pt x="7180" y="8168"/>
                    <a:pt x="7180" y="8227"/>
                    <a:pt x="7156" y="8275"/>
                  </a:cubicBezTo>
                  <a:lnTo>
                    <a:pt x="6883" y="8656"/>
                  </a:lnTo>
                  <a:cubicBezTo>
                    <a:pt x="6847" y="8716"/>
                    <a:pt x="6859" y="8811"/>
                    <a:pt x="6906" y="8870"/>
                  </a:cubicBezTo>
                  <a:lnTo>
                    <a:pt x="7466" y="9430"/>
                  </a:lnTo>
                  <a:cubicBezTo>
                    <a:pt x="7514" y="9478"/>
                    <a:pt x="7525" y="9537"/>
                    <a:pt x="7514" y="9609"/>
                  </a:cubicBezTo>
                  <a:lnTo>
                    <a:pt x="7204" y="11037"/>
                  </a:lnTo>
                  <a:cubicBezTo>
                    <a:pt x="7180" y="11132"/>
                    <a:pt x="7228" y="11216"/>
                    <a:pt x="7323" y="11240"/>
                  </a:cubicBezTo>
                  <a:lnTo>
                    <a:pt x="7347" y="11240"/>
                  </a:lnTo>
                  <a:cubicBezTo>
                    <a:pt x="7418" y="11240"/>
                    <a:pt x="7502" y="11180"/>
                    <a:pt x="7514" y="11097"/>
                  </a:cubicBezTo>
                  <a:lnTo>
                    <a:pt x="7823" y="9668"/>
                  </a:lnTo>
                  <a:cubicBezTo>
                    <a:pt x="7871" y="9489"/>
                    <a:pt x="7811" y="9311"/>
                    <a:pt x="7692" y="9192"/>
                  </a:cubicBezTo>
                  <a:lnTo>
                    <a:pt x="7216" y="8716"/>
                  </a:lnTo>
                  <a:lnTo>
                    <a:pt x="7406" y="8430"/>
                  </a:lnTo>
                  <a:cubicBezTo>
                    <a:pt x="7502" y="8299"/>
                    <a:pt x="7514" y="8132"/>
                    <a:pt x="7466" y="7977"/>
                  </a:cubicBezTo>
                  <a:cubicBezTo>
                    <a:pt x="7454" y="7930"/>
                    <a:pt x="7442" y="7894"/>
                    <a:pt x="7418" y="7858"/>
                  </a:cubicBezTo>
                  <a:lnTo>
                    <a:pt x="7418" y="7858"/>
                  </a:lnTo>
                  <a:lnTo>
                    <a:pt x="7799" y="7965"/>
                  </a:lnTo>
                  <a:cubicBezTo>
                    <a:pt x="8168" y="8061"/>
                    <a:pt x="8430" y="8418"/>
                    <a:pt x="8430" y="8811"/>
                  </a:cubicBezTo>
                  <a:lnTo>
                    <a:pt x="8430" y="11037"/>
                  </a:lnTo>
                  <a:cubicBezTo>
                    <a:pt x="8430" y="11132"/>
                    <a:pt x="8514" y="11204"/>
                    <a:pt x="8597" y="11204"/>
                  </a:cubicBezTo>
                  <a:cubicBezTo>
                    <a:pt x="8692" y="11204"/>
                    <a:pt x="8764" y="11132"/>
                    <a:pt x="8764" y="11037"/>
                  </a:cubicBezTo>
                  <a:lnTo>
                    <a:pt x="8764" y="8811"/>
                  </a:lnTo>
                  <a:cubicBezTo>
                    <a:pt x="8740" y="8311"/>
                    <a:pt x="8383" y="7846"/>
                    <a:pt x="7871" y="7680"/>
                  </a:cubicBezTo>
                  <a:lnTo>
                    <a:pt x="7216" y="7489"/>
                  </a:lnTo>
                  <a:cubicBezTo>
                    <a:pt x="6775" y="6751"/>
                    <a:pt x="6061" y="6453"/>
                    <a:pt x="5763" y="6358"/>
                  </a:cubicBezTo>
                  <a:lnTo>
                    <a:pt x="5763" y="6060"/>
                  </a:lnTo>
                  <a:cubicBezTo>
                    <a:pt x="5942" y="5941"/>
                    <a:pt x="6097" y="5787"/>
                    <a:pt x="6240" y="5620"/>
                  </a:cubicBezTo>
                  <a:cubicBezTo>
                    <a:pt x="7204" y="5525"/>
                    <a:pt x="7787" y="5072"/>
                    <a:pt x="7811" y="5048"/>
                  </a:cubicBezTo>
                  <a:cubicBezTo>
                    <a:pt x="7871" y="5001"/>
                    <a:pt x="7883" y="4906"/>
                    <a:pt x="7859" y="4834"/>
                  </a:cubicBezTo>
                  <a:cubicBezTo>
                    <a:pt x="7799" y="4727"/>
                    <a:pt x="7716" y="4536"/>
                    <a:pt x="7704" y="4429"/>
                  </a:cubicBezTo>
                  <a:lnTo>
                    <a:pt x="8192" y="3774"/>
                  </a:lnTo>
                  <a:cubicBezTo>
                    <a:pt x="8228" y="3751"/>
                    <a:pt x="8240" y="3691"/>
                    <a:pt x="8228" y="3643"/>
                  </a:cubicBezTo>
                  <a:cubicBezTo>
                    <a:pt x="8216" y="3536"/>
                    <a:pt x="7799" y="1250"/>
                    <a:pt x="6430" y="893"/>
                  </a:cubicBezTo>
                  <a:cubicBezTo>
                    <a:pt x="5906" y="345"/>
                    <a:pt x="5180" y="0"/>
                    <a:pt x="4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3" name="Google Shape;11883;p61"/>
            <p:cNvSpPr/>
            <p:nvPr/>
          </p:nvSpPr>
          <p:spPr>
            <a:xfrm>
              <a:off x="6813503" y="2560195"/>
              <a:ext cx="45271" cy="16157"/>
            </a:xfrm>
            <a:custGeom>
              <a:avLst/>
              <a:gdLst/>
              <a:ahLst/>
              <a:cxnLst/>
              <a:rect l="l" t="t" r="r" b="b"/>
              <a:pathLst>
                <a:path w="1429" h="510" extrusionOk="0">
                  <a:moveTo>
                    <a:pt x="183" y="1"/>
                  </a:moveTo>
                  <a:cubicBezTo>
                    <a:pt x="140" y="1"/>
                    <a:pt x="95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03" y="415"/>
                    <a:pt x="441" y="510"/>
                    <a:pt x="703" y="510"/>
                  </a:cubicBezTo>
                  <a:cubicBezTo>
                    <a:pt x="965" y="510"/>
                    <a:pt x="1203" y="415"/>
                    <a:pt x="1334" y="284"/>
                  </a:cubicBezTo>
                  <a:cubicBezTo>
                    <a:pt x="1429" y="212"/>
                    <a:pt x="1429" y="105"/>
                    <a:pt x="1369" y="46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1" y="46"/>
                  </a:cubicBezTo>
                  <a:cubicBezTo>
                    <a:pt x="1072" y="105"/>
                    <a:pt x="917" y="177"/>
                    <a:pt x="715" y="177"/>
                  </a:cubicBezTo>
                  <a:cubicBezTo>
                    <a:pt x="500" y="177"/>
                    <a:pt x="357" y="105"/>
                    <a:pt x="298" y="46"/>
                  </a:cubicBezTo>
                  <a:cubicBezTo>
                    <a:pt x="268" y="16"/>
                    <a:pt x="226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4" name="Google Shape;11884;p61"/>
            <p:cNvSpPr/>
            <p:nvPr/>
          </p:nvSpPr>
          <p:spPr>
            <a:xfrm>
              <a:off x="6792372" y="2493350"/>
              <a:ext cx="26801" cy="10233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62" y="322"/>
                    <a:pt x="846" y="251"/>
                    <a:pt x="846" y="155"/>
                  </a:cubicBezTo>
                  <a:cubicBezTo>
                    <a:pt x="846" y="72"/>
                    <a:pt x="786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5" name="Google Shape;11885;p61"/>
            <p:cNvSpPr/>
            <p:nvPr/>
          </p:nvSpPr>
          <p:spPr>
            <a:xfrm>
              <a:off x="6853483" y="2493350"/>
              <a:ext cx="26801" cy="10233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6" y="251"/>
                    <a:pt x="846" y="155"/>
                  </a:cubicBezTo>
                  <a:cubicBezTo>
                    <a:pt x="846" y="72"/>
                    <a:pt x="786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86" name="Google Shape;11886;p61"/>
          <p:cNvGrpSpPr/>
          <p:nvPr/>
        </p:nvGrpSpPr>
        <p:grpSpPr>
          <a:xfrm>
            <a:off x="4897750" y="2415639"/>
            <a:ext cx="279513" cy="357255"/>
            <a:chOff x="4897750" y="2415639"/>
            <a:chExt cx="279513" cy="357255"/>
          </a:xfrm>
        </p:grpSpPr>
        <p:sp>
          <p:nvSpPr>
            <p:cNvPr id="11887" name="Google Shape;11887;p61"/>
            <p:cNvSpPr/>
            <p:nvPr/>
          </p:nvSpPr>
          <p:spPr>
            <a:xfrm>
              <a:off x="4964119" y="2715522"/>
              <a:ext cx="10613" cy="55472"/>
            </a:xfrm>
            <a:custGeom>
              <a:avLst/>
              <a:gdLst/>
              <a:ahLst/>
              <a:cxnLst/>
              <a:rect l="l" t="t" r="r" b="b"/>
              <a:pathLst>
                <a:path w="335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63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8" name="Google Shape;11888;p61"/>
            <p:cNvSpPr/>
            <p:nvPr/>
          </p:nvSpPr>
          <p:spPr>
            <a:xfrm>
              <a:off x="5098031" y="2715522"/>
              <a:ext cx="10581" cy="55472"/>
            </a:xfrm>
            <a:custGeom>
              <a:avLst/>
              <a:gdLst/>
              <a:ahLst/>
              <a:cxnLst/>
              <a:rect l="l" t="t" r="r" b="b"/>
              <a:pathLst>
                <a:path w="334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51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9" name="Google Shape;11889;p61"/>
            <p:cNvSpPr/>
            <p:nvPr/>
          </p:nvSpPr>
          <p:spPr>
            <a:xfrm>
              <a:off x="4897750" y="2415639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787" y="299"/>
                  </a:moveTo>
                  <a:cubicBezTo>
                    <a:pt x="5418" y="299"/>
                    <a:pt x="6013" y="584"/>
                    <a:pt x="6430" y="1061"/>
                  </a:cubicBezTo>
                  <a:cubicBezTo>
                    <a:pt x="6834" y="1549"/>
                    <a:pt x="6989" y="2180"/>
                    <a:pt x="6894" y="2799"/>
                  </a:cubicBezTo>
                  <a:lnTo>
                    <a:pt x="6799" y="3311"/>
                  </a:lnTo>
                  <a:lnTo>
                    <a:pt x="6715" y="3311"/>
                  </a:lnTo>
                  <a:cubicBezTo>
                    <a:pt x="6656" y="3311"/>
                    <a:pt x="6608" y="3299"/>
                    <a:pt x="6573" y="3251"/>
                  </a:cubicBezTo>
                  <a:cubicBezTo>
                    <a:pt x="6549" y="3204"/>
                    <a:pt x="6513" y="3156"/>
                    <a:pt x="6537" y="3097"/>
                  </a:cubicBezTo>
                  <a:lnTo>
                    <a:pt x="6561" y="2882"/>
                  </a:lnTo>
                  <a:cubicBezTo>
                    <a:pt x="6596" y="2585"/>
                    <a:pt x="6501" y="2287"/>
                    <a:pt x="6311" y="2061"/>
                  </a:cubicBezTo>
                  <a:cubicBezTo>
                    <a:pt x="6120" y="1834"/>
                    <a:pt x="5834" y="1715"/>
                    <a:pt x="5537" y="1715"/>
                  </a:cubicBezTo>
                  <a:lnTo>
                    <a:pt x="5465" y="1715"/>
                  </a:lnTo>
                  <a:cubicBezTo>
                    <a:pt x="5370" y="1715"/>
                    <a:pt x="5299" y="1787"/>
                    <a:pt x="5299" y="1882"/>
                  </a:cubicBezTo>
                  <a:cubicBezTo>
                    <a:pt x="5299" y="1965"/>
                    <a:pt x="5370" y="2049"/>
                    <a:pt x="5465" y="2049"/>
                  </a:cubicBezTo>
                  <a:lnTo>
                    <a:pt x="5537" y="2049"/>
                  </a:lnTo>
                  <a:cubicBezTo>
                    <a:pt x="5751" y="2049"/>
                    <a:pt x="5942" y="2132"/>
                    <a:pt x="6072" y="2287"/>
                  </a:cubicBezTo>
                  <a:cubicBezTo>
                    <a:pt x="6203" y="2430"/>
                    <a:pt x="6263" y="2644"/>
                    <a:pt x="6251" y="2835"/>
                  </a:cubicBezTo>
                  <a:lnTo>
                    <a:pt x="6215" y="3061"/>
                  </a:lnTo>
                  <a:cubicBezTo>
                    <a:pt x="6203" y="3204"/>
                    <a:pt x="6251" y="3358"/>
                    <a:pt x="6358" y="3466"/>
                  </a:cubicBezTo>
                  <a:cubicBezTo>
                    <a:pt x="6453" y="3561"/>
                    <a:pt x="6596" y="3644"/>
                    <a:pt x="6739" y="3644"/>
                  </a:cubicBezTo>
                  <a:lnTo>
                    <a:pt x="6965" y="3644"/>
                  </a:lnTo>
                  <a:cubicBezTo>
                    <a:pt x="7037" y="3644"/>
                    <a:pt x="7108" y="3668"/>
                    <a:pt x="7168" y="3728"/>
                  </a:cubicBezTo>
                  <a:cubicBezTo>
                    <a:pt x="7239" y="3787"/>
                    <a:pt x="7251" y="3859"/>
                    <a:pt x="7251" y="3942"/>
                  </a:cubicBezTo>
                  <a:cubicBezTo>
                    <a:pt x="7239" y="4073"/>
                    <a:pt x="7096" y="4192"/>
                    <a:pt x="6954" y="4192"/>
                  </a:cubicBezTo>
                  <a:lnTo>
                    <a:pt x="6870" y="4192"/>
                  </a:lnTo>
                  <a:lnTo>
                    <a:pt x="6870" y="4180"/>
                  </a:lnTo>
                  <a:cubicBezTo>
                    <a:pt x="6870" y="4085"/>
                    <a:pt x="6799" y="4013"/>
                    <a:pt x="6715" y="4013"/>
                  </a:cubicBezTo>
                  <a:cubicBezTo>
                    <a:pt x="6620" y="4013"/>
                    <a:pt x="6549" y="4085"/>
                    <a:pt x="6549" y="4180"/>
                  </a:cubicBezTo>
                  <a:cubicBezTo>
                    <a:pt x="6549" y="5347"/>
                    <a:pt x="5596" y="6287"/>
                    <a:pt x="4418" y="6287"/>
                  </a:cubicBezTo>
                  <a:cubicBezTo>
                    <a:pt x="4395" y="6288"/>
                    <a:pt x="4373" y="6288"/>
                    <a:pt x="4351" y="6288"/>
                  </a:cubicBezTo>
                  <a:cubicBezTo>
                    <a:pt x="3169" y="6288"/>
                    <a:pt x="2251" y="5349"/>
                    <a:pt x="2251" y="4192"/>
                  </a:cubicBezTo>
                  <a:cubicBezTo>
                    <a:pt x="2251" y="4097"/>
                    <a:pt x="2179" y="4025"/>
                    <a:pt x="2084" y="4025"/>
                  </a:cubicBezTo>
                  <a:cubicBezTo>
                    <a:pt x="2001" y="4025"/>
                    <a:pt x="1917" y="4097"/>
                    <a:pt x="1917" y="4192"/>
                  </a:cubicBezTo>
                  <a:lnTo>
                    <a:pt x="1917" y="4204"/>
                  </a:lnTo>
                  <a:lnTo>
                    <a:pt x="1822" y="4204"/>
                  </a:lnTo>
                  <a:cubicBezTo>
                    <a:pt x="1739" y="4204"/>
                    <a:pt x="1667" y="4168"/>
                    <a:pt x="1608" y="4109"/>
                  </a:cubicBezTo>
                  <a:cubicBezTo>
                    <a:pt x="1548" y="4061"/>
                    <a:pt x="1536" y="3978"/>
                    <a:pt x="1536" y="3906"/>
                  </a:cubicBezTo>
                  <a:cubicBezTo>
                    <a:pt x="1548" y="3775"/>
                    <a:pt x="1679" y="3656"/>
                    <a:pt x="1834" y="3656"/>
                  </a:cubicBezTo>
                  <a:lnTo>
                    <a:pt x="2024" y="3656"/>
                  </a:lnTo>
                  <a:cubicBezTo>
                    <a:pt x="2179" y="3656"/>
                    <a:pt x="2310" y="3597"/>
                    <a:pt x="2405" y="3478"/>
                  </a:cubicBezTo>
                  <a:cubicBezTo>
                    <a:pt x="2513" y="3370"/>
                    <a:pt x="2560" y="3216"/>
                    <a:pt x="2548" y="3073"/>
                  </a:cubicBezTo>
                  <a:lnTo>
                    <a:pt x="2513" y="2846"/>
                  </a:lnTo>
                  <a:cubicBezTo>
                    <a:pt x="2489" y="2644"/>
                    <a:pt x="2560" y="2442"/>
                    <a:pt x="2691" y="2299"/>
                  </a:cubicBezTo>
                  <a:cubicBezTo>
                    <a:pt x="2834" y="2144"/>
                    <a:pt x="3024" y="2061"/>
                    <a:pt x="3227" y="2061"/>
                  </a:cubicBezTo>
                  <a:lnTo>
                    <a:pt x="4703" y="2061"/>
                  </a:lnTo>
                  <a:cubicBezTo>
                    <a:pt x="4787" y="2061"/>
                    <a:pt x="4870" y="1989"/>
                    <a:pt x="4870" y="1894"/>
                  </a:cubicBezTo>
                  <a:cubicBezTo>
                    <a:pt x="4870" y="1811"/>
                    <a:pt x="4787" y="1727"/>
                    <a:pt x="4703" y="1727"/>
                  </a:cubicBezTo>
                  <a:lnTo>
                    <a:pt x="3227" y="1727"/>
                  </a:lnTo>
                  <a:cubicBezTo>
                    <a:pt x="2929" y="1727"/>
                    <a:pt x="2643" y="1870"/>
                    <a:pt x="2453" y="2073"/>
                  </a:cubicBezTo>
                  <a:cubicBezTo>
                    <a:pt x="2262" y="2299"/>
                    <a:pt x="2155" y="2596"/>
                    <a:pt x="2203" y="2894"/>
                  </a:cubicBezTo>
                  <a:lnTo>
                    <a:pt x="2227" y="3120"/>
                  </a:lnTo>
                  <a:cubicBezTo>
                    <a:pt x="2227" y="3180"/>
                    <a:pt x="2215" y="3216"/>
                    <a:pt x="2191" y="3263"/>
                  </a:cubicBezTo>
                  <a:cubicBezTo>
                    <a:pt x="2155" y="3311"/>
                    <a:pt x="2096" y="3323"/>
                    <a:pt x="2048" y="3323"/>
                  </a:cubicBezTo>
                  <a:lnTo>
                    <a:pt x="1893" y="3323"/>
                  </a:lnTo>
                  <a:lnTo>
                    <a:pt x="1798" y="2763"/>
                  </a:lnTo>
                  <a:cubicBezTo>
                    <a:pt x="1691" y="2144"/>
                    <a:pt x="1881" y="1525"/>
                    <a:pt x="2274" y="1049"/>
                  </a:cubicBezTo>
                  <a:cubicBezTo>
                    <a:pt x="2679" y="572"/>
                    <a:pt x="3275" y="299"/>
                    <a:pt x="3882" y="299"/>
                  </a:cubicBezTo>
                  <a:close/>
                  <a:moveTo>
                    <a:pt x="5453" y="6395"/>
                  </a:moveTo>
                  <a:lnTo>
                    <a:pt x="5453" y="6954"/>
                  </a:lnTo>
                  <a:lnTo>
                    <a:pt x="5453" y="7073"/>
                  </a:lnTo>
                  <a:lnTo>
                    <a:pt x="4370" y="7692"/>
                  </a:lnTo>
                  <a:lnTo>
                    <a:pt x="3298" y="7073"/>
                  </a:lnTo>
                  <a:lnTo>
                    <a:pt x="3298" y="6954"/>
                  </a:lnTo>
                  <a:lnTo>
                    <a:pt x="3298" y="6395"/>
                  </a:lnTo>
                  <a:cubicBezTo>
                    <a:pt x="3632" y="6561"/>
                    <a:pt x="3989" y="6633"/>
                    <a:pt x="4370" y="6633"/>
                  </a:cubicBezTo>
                  <a:cubicBezTo>
                    <a:pt x="4763" y="6633"/>
                    <a:pt x="5120" y="6537"/>
                    <a:pt x="5453" y="6395"/>
                  </a:cubicBezTo>
                  <a:close/>
                  <a:moveTo>
                    <a:pt x="3215" y="7383"/>
                  </a:moveTo>
                  <a:lnTo>
                    <a:pt x="4108" y="7895"/>
                  </a:lnTo>
                  <a:lnTo>
                    <a:pt x="3644" y="8371"/>
                  </a:lnTo>
                  <a:cubicBezTo>
                    <a:pt x="3608" y="8419"/>
                    <a:pt x="3560" y="8431"/>
                    <a:pt x="3513" y="8431"/>
                  </a:cubicBezTo>
                  <a:cubicBezTo>
                    <a:pt x="3453" y="8431"/>
                    <a:pt x="3405" y="8395"/>
                    <a:pt x="3382" y="8359"/>
                  </a:cubicBezTo>
                  <a:lnTo>
                    <a:pt x="2905" y="7788"/>
                  </a:lnTo>
                  <a:lnTo>
                    <a:pt x="3001" y="7680"/>
                  </a:lnTo>
                  <a:cubicBezTo>
                    <a:pt x="3096" y="7597"/>
                    <a:pt x="3155" y="7502"/>
                    <a:pt x="3215" y="7383"/>
                  </a:cubicBezTo>
                  <a:close/>
                  <a:moveTo>
                    <a:pt x="5537" y="7407"/>
                  </a:moveTo>
                  <a:cubicBezTo>
                    <a:pt x="5584" y="7514"/>
                    <a:pt x="5656" y="7609"/>
                    <a:pt x="5751" y="7704"/>
                  </a:cubicBezTo>
                  <a:lnTo>
                    <a:pt x="5846" y="7788"/>
                  </a:lnTo>
                  <a:lnTo>
                    <a:pt x="5370" y="8359"/>
                  </a:lnTo>
                  <a:cubicBezTo>
                    <a:pt x="5346" y="8395"/>
                    <a:pt x="5287" y="8419"/>
                    <a:pt x="5239" y="8431"/>
                  </a:cubicBezTo>
                  <a:cubicBezTo>
                    <a:pt x="5180" y="8431"/>
                    <a:pt x="5132" y="8419"/>
                    <a:pt x="5108" y="8371"/>
                  </a:cubicBezTo>
                  <a:lnTo>
                    <a:pt x="4644" y="7907"/>
                  </a:lnTo>
                  <a:lnTo>
                    <a:pt x="5537" y="7407"/>
                  </a:lnTo>
                  <a:close/>
                  <a:moveTo>
                    <a:pt x="4394" y="8121"/>
                  </a:moveTo>
                  <a:lnTo>
                    <a:pt x="4727" y="8466"/>
                  </a:lnTo>
                  <a:lnTo>
                    <a:pt x="4656" y="8657"/>
                  </a:lnTo>
                  <a:cubicBezTo>
                    <a:pt x="4632" y="8728"/>
                    <a:pt x="4560" y="8788"/>
                    <a:pt x="4477" y="8788"/>
                  </a:cubicBezTo>
                  <a:lnTo>
                    <a:pt x="4287" y="8788"/>
                  </a:lnTo>
                  <a:cubicBezTo>
                    <a:pt x="4215" y="8788"/>
                    <a:pt x="4144" y="8740"/>
                    <a:pt x="4108" y="8657"/>
                  </a:cubicBezTo>
                  <a:lnTo>
                    <a:pt x="4048" y="8466"/>
                  </a:lnTo>
                  <a:lnTo>
                    <a:pt x="4394" y="8121"/>
                  </a:lnTo>
                  <a:close/>
                  <a:moveTo>
                    <a:pt x="3906" y="1"/>
                  </a:moveTo>
                  <a:cubicBezTo>
                    <a:pt x="3191" y="1"/>
                    <a:pt x="2501" y="322"/>
                    <a:pt x="2036" y="870"/>
                  </a:cubicBezTo>
                  <a:cubicBezTo>
                    <a:pt x="1584" y="1418"/>
                    <a:pt x="1370" y="2132"/>
                    <a:pt x="1489" y="2846"/>
                  </a:cubicBezTo>
                  <a:lnTo>
                    <a:pt x="1584" y="3430"/>
                  </a:lnTo>
                  <a:cubicBezTo>
                    <a:pt x="1393" y="3513"/>
                    <a:pt x="1262" y="3692"/>
                    <a:pt x="1250" y="3906"/>
                  </a:cubicBezTo>
                  <a:cubicBezTo>
                    <a:pt x="1239" y="4073"/>
                    <a:pt x="1298" y="4251"/>
                    <a:pt x="1393" y="4370"/>
                  </a:cubicBezTo>
                  <a:cubicBezTo>
                    <a:pt x="1512" y="4490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2048" y="5240"/>
                    <a:pt x="2441" y="5859"/>
                    <a:pt x="2989" y="6228"/>
                  </a:cubicBezTo>
                  <a:lnTo>
                    <a:pt x="2989" y="6526"/>
                  </a:lnTo>
                  <a:cubicBezTo>
                    <a:pt x="2703" y="6633"/>
                    <a:pt x="1977" y="6930"/>
                    <a:pt x="1536" y="7657"/>
                  </a:cubicBezTo>
                  <a:lnTo>
                    <a:pt x="881" y="7847"/>
                  </a:lnTo>
                  <a:cubicBezTo>
                    <a:pt x="357" y="8002"/>
                    <a:pt x="0" y="8490"/>
                    <a:pt x="0" y="9026"/>
                  </a:cubicBezTo>
                  <a:lnTo>
                    <a:pt x="0" y="11074"/>
                  </a:lnTo>
                  <a:cubicBezTo>
                    <a:pt x="0" y="11169"/>
                    <a:pt x="72" y="11240"/>
                    <a:pt x="167" y="11240"/>
                  </a:cubicBezTo>
                  <a:cubicBezTo>
                    <a:pt x="250" y="11240"/>
                    <a:pt x="334" y="11169"/>
                    <a:pt x="334" y="11074"/>
                  </a:cubicBezTo>
                  <a:lnTo>
                    <a:pt x="334" y="9026"/>
                  </a:lnTo>
                  <a:cubicBezTo>
                    <a:pt x="334" y="8633"/>
                    <a:pt x="596" y="8276"/>
                    <a:pt x="965" y="8180"/>
                  </a:cubicBezTo>
                  <a:lnTo>
                    <a:pt x="1346" y="8073"/>
                  </a:lnTo>
                  <a:lnTo>
                    <a:pt x="1346" y="8073"/>
                  </a:lnTo>
                  <a:cubicBezTo>
                    <a:pt x="1322" y="8121"/>
                    <a:pt x="1310" y="8145"/>
                    <a:pt x="1298" y="8192"/>
                  </a:cubicBezTo>
                  <a:cubicBezTo>
                    <a:pt x="1250" y="8335"/>
                    <a:pt x="1262" y="8514"/>
                    <a:pt x="1358" y="8657"/>
                  </a:cubicBezTo>
                  <a:lnTo>
                    <a:pt x="1548" y="8931"/>
                  </a:lnTo>
                  <a:lnTo>
                    <a:pt x="1084" y="9395"/>
                  </a:lnTo>
                  <a:cubicBezTo>
                    <a:pt x="953" y="9526"/>
                    <a:pt x="905" y="9704"/>
                    <a:pt x="953" y="9883"/>
                  </a:cubicBezTo>
                  <a:lnTo>
                    <a:pt x="1250" y="11133"/>
                  </a:lnTo>
                  <a:cubicBezTo>
                    <a:pt x="1262" y="11217"/>
                    <a:pt x="1346" y="11252"/>
                    <a:pt x="1417" y="11252"/>
                  </a:cubicBezTo>
                  <a:lnTo>
                    <a:pt x="1465" y="11252"/>
                  </a:lnTo>
                  <a:cubicBezTo>
                    <a:pt x="1548" y="11240"/>
                    <a:pt x="1608" y="11157"/>
                    <a:pt x="1584" y="11062"/>
                  </a:cubicBezTo>
                  <a:lnTo>
                    <a:pt x="1286" y="9812"/>
                  </a:lnTo>
                  <a:cubicBezTo>
                    <a:pt x="1262" y="9752"/>
                    <a:pt x="1286" y="9681"/>
                    <a:pt x="1322" y="9633"/>
                  </a:cubicBezTo>
                  <a:lnTo>
                    <a:pt x="1893" y="9073"/>
                  </a:lnTo>
                  <a:cubicBezTo>
                    <a:pt x="1953" y="9014"/>
                    <a:pt x="1953" y="8919"/>
                    <a:pt x="1905" y="8859"/>
                  </a:cubicBezTo>
                  <a:lnTo>
                    <a:pt x="1631" y="8478"/>
                  </a:lnTo>
                  <a:cubicBezTo>
                    <a:pt x="1608" y="8431"/>
                    <a:pt x="1596" y="8371"/>
                    <a:pt x="1620" y="8311"/>
                  </a:cubicBezTo>
                  <a:cubicBezTo>
                    <a:pt x="1905" y="7442"/>
                    <a:pt x="2655" y="7049"/>
                    <a:pt x="3001" y="6907"/>
                  </a:cubicBezTo>
                  <a:lnTo>
                    <a:pt x="3001" y="7014"/>
                  </a:lnTo>
                  <a:cubicBezTo>
                    <a:pt x="3001" y="7204"/>
                    <a:pt x="2929" y="7383"/>
                    <a:pt x="2798" y="7526"/>
                  </a:cubicBezTo>
                  <a:lnTo>
                    <a:pt x="2584" y="7728"/>
                  </a:lnTo>
                  <a:cubicBezTo>
                    <a:pt x="2286" y="8026"/>
                    <a:pt x="2132" y="8419"/>
                    <a:pt x="2132" y="8847"/>
                  </a:cubicBezTo>
                  <a:lnTo>
                    <a:pt x="2132" y="8990"/>
                  </a:lnTo>
                  <a:cubicBezTo>
                    <a:pt x="2132" y="9085"/>
                    <a:pt x="2203" y="9157"/>
                    <a:pt x="2286" y="9157"/>
                  </a:cubicBezTo>
                  <a:cubicBezTo>
                    <a:pt x="2382" y="9157"/>
                    <a:pt x="2453" y="9085"/>
                    <a:pt x="2453" y="8990"/>
                  </a:cubicBezTo>
                  <a:lnTo>
                    <a:pt x="2453" y="8847"/>
                  </a:lnTo>
                  <a:cubicBezTo>
                    <a:pt x="2453" y="8573"/>
                    <a:pt x="2548" y="8311"/>
                    <a:pt x="2703" y="8097"/>
                  </a:cubicBezTo>
                  <a:lnTo>
                    <a:pt x="3155" y="8633"/>
                  </a:lnTo>
                  <a:cubicBezTo>
                    <a:pt x="3239" y="8740"/>
                    <a:pt x="3382" y="8812"/>
                    <a:pt x="3525" y="8812"/>
                  </a:cubicBezTo>
                  <a:lnTo>
                    <a:pt x="3560" y="8812"/>
                  </a:lnTo>
                  <a:cubicBezTo>
                    <a:pt x="3644" y="8812"/>
                    <a:pt x="3739" y="8788"/>
                    <a:pt x="3810" y="8752"/>
                  </a:cubicBezTo>
                  <a:lnTo>
                    <a:pt x="3822" y="8812"/>
                  </a:lnTo>
                  <a:cubicBezTo>
                    <a:pt x="3858" y="8907"/>
                    <a:pt x="3894" y="8978"/>
                    <a:pt x="3977" y="9038"/>
                  </a:cubicBezTo>
                  <a:lnTo>
                    <a:pt x="3715" y="11097"/>
                  </a:lnTo>
                  <a:cubicBezTo>
                    <a:pt x="3703" y="11181"/>
                    <a:pt x="3775" y="11276"/>
                    <a:pt x="3870" y="11276"/>
                  </a:cubicBezTo>
                  <a:lnTo>
                    <a:pt x="3882" y="11276"/>
                  </a:lnTo>
                  <a:cubicBezTo>
                    <a:pt x="3977" y="11276"/>
                    <a:pt x="4037" y="11217"/>
                    <a:pt x="4048" y="11121"/>
                  </a:cubicBezTo>
                  <a:lnTo>
                    <a:pt x="4287" y="9157"/>
                  </a:lnTo>
                  <a:lnTo>
                    <a:pt x="4537" y="9157"/>
                  </a:lnTo>
                  <a:lnTo>
                    <a:pt x="4775" y="11121"/>
                  </a:lnTo>
                  <a:cubicBezTo>
                    <a:pt x="4787" y="11217"/>
                    <a:pt x="4846" y="11276"/>
                    <a:pt x="4941" y="11276"/>
                  </a:cubicBezTo>
                  <a:lnTo>
                    <a:pt x="4953" y="11276"/>
                  </a:lnTo>
                  <a:cubicBezTo>
                    <a:pt x="5049" y="11252"/>
                    <a:pt x="5108" y="11181"/>
                    <a:pt x="5108" y="11097"/>
                  </a:cubicBezTo>
                  <a:lnTo>
                    <a:pt x="4846" y="9038"/>
                  </a:lnTo>
                  <a:cubicBezTo>
                    <a:pt x="4906" y="8978"/>
                    <a:pt x="4965" y="8907"/>
                    <a:pt x="5001" y="8812"/>
                  </a:cubicBezTo>
                  <a:lnTo>
                    <a:pt x="5013" y="8752"/>
                  </a:lnTo>
                  <a:cubicBezTo>
                    <a:pt x="5084" y="8800"/>
                    <a:pt x="5180" y="8812"/>
                    <a:pt x="5263" y="8812"/>
                  </a:cubicBezTo>
                  <a:lnTo>
                    <a:pt x="5299" y="8812"/>
                  </a:lnTo>
                  <a:cubicBezTo>
                    <a:pt x="5441" y="8812"/>
                    <a:pt x="5584" y="8740"/>
                    <a:pt x="5668" y="8633"/>
                  </a:cubicBezTo>
                  <a:lnTo>
                    <a:pt x="6120" y="8097"/>
                  </a:lnTo>
                  <a:cubicBezTo>
                    <a:pt x="6275" y="8311"/>
                    <a:pt x="6370" y="8573"/>
                    <a:pt x="6370" y="8847"/>
                  </a:cubicBezTo>
                  <a:lnTo>
                    <a:pt x="6370" y="8990"/>
                  </a:lnTo>
                  <a:cubicBezTo>
                    <a:pt x="6370" y="9085"/>
                    <a:pt x="6442" y="9157"/>
                    <a:pt x="6537" y="9157"/>
                  </a:cubicBezTo>
                  <a:cubicBezTo>
                    <a:pt x="6620" y="9157"/>
                    <a:pt x="6692" y="9085"/>
                    <a:pt x="6692" y="8990"/>
                  </a:cubicBezTo>
                  <a:lnTo>
                    <a:pt x="6692" y="8847"/>
                  </a:lnTo>
                  <a:cubicBezTo>
                    <a:pt x="6692" y="8431"/>
                    <a:pt x="6537" y="8026"/>
                    <a:pt x="6239" y="7728"/>
                  </a:cubicBezTo>
                  <a:lnTo>
                    <a:pt x="6025" y="7526"/>
                  </a:lnTo>
                  <a:cubicBezTo>
                    <a:pt x="5894" y="7383"/>
                    <a:pt x="5822" y="7204"/>
                    <a:pt x="5822" y="7014"/>
                  </a:cubicBezTo>
                  <a:lnTo>
                    <a:pt x="5822" y="6907"/>
                  </a:lnTo>
                  <a:cubicBezTo>
                    <a:pt x="6180" y="7061"/>
                    <a:pt x="6918" y="7442"/>
                    <a:pt x="7204" y="8311"/>
                  </a:cubicBezTo>
                  <a:cubicBezTo>
                    <a:pt x="7215" y="8371"/>
                    <a:pt x="7215" y="8431"/>
                    <a:pt x="7192" y="8478"/>
                  </a:cubicBezTo>
                  <a:lnTo>
                    <a:pt x="6918" y="8859"/>
                  </a:lnTo>
                  <a:cubicBezTo>
                    <a:pt x="6870" y="8919"/>
                    <a:pt x="6894" y="9014"/>
                    <a:pt x="6930" y="9073"/>
                  </a:cubicBezTo>
                  <a:lnTo>
                    <a:pt x="7501" y="9633"/>
                  </a:lnTo>
                  <a:cubicBezTo>
                    <a:pt x="7549" y="9681"/>
                    <a:pt x="7561" y="9752"/>
                    <a:pt x="7549" y="9812"/>
                  </a:cubicBezTo>
                  <a:lnTo>
                    <a:pt x="7251" y="11062"/>
                  </a:lnTo>
                  <a:cubicBezTo>
                    <a:pt x="7227" y="11157"/>
                    <a:pt x="7275" y="11240"/>
                    <a:pt x="7370" y="11252"/>
                  </a:cubicBezTo>
                  <a:lnTo>
                    <a:pt x="7406" y="11252"/>
                  </a:lnTo>
                  <a:cubicBezTo>
                    <a:pt x="7489" y="11252"/>
                    <a:pt x="7549" y="11217"/>
                    <a:pt x="7573" y="11133"/>
                  </a:cubicBezTo>
                  <a:lnTo>
                    <a:pt x="7870" y="9883"/>
                  </a:lnTo>
                  <a:cubicBezTo>
                    <a:pt x="7918" y="9704"/>
                    <a:pt x="7858" y="9526"/>
                    <a:pt x="7739" y="9395"/>
                  </a:cubicBezTo>
                  <a:lnTo>
                    <a:pt x="7275" y="8931"/>
                  </a:lnTo>
                  <a:lnTo>
                    <a:pt x="7466" y="8657"/>
                  </a:lnTo>
                  <a:cubicBezTo>
                    <a:pt x="7561" y="8514"/>
                    <a:pt x="7573" y="8359"/>
                    <a:pt x="7525" y="8192"/>
                  </a:cubicBezTo>
                  <a:cubicBezTo>
                    <a:pt x="7513" y="8145"/>
                    <a:pt x="7501" y="8121"/>
                    <a:pt x="7489" y="8073"/>
                  </a:cubicBezTo>
                  <a:lnTo>
                    <a:pt x="7489" y="8073"/>
                  </a:lnTo>
                  <a:lnTo>
                    <a:pt x="7858" y="8180"/>
                  </a:lnTo>
                  <a:cubicBezTo>
                    <a:pt x="8228" y="8276"/>
                    <a:pt x="8501" y="8633"/>
                    <a:pt x="8501" y="9026"/>
                  </a:cubicBezTo>
                  <a:lnTo>
                    <a:pt x="8501" y="11074"/>
                  </a:lnTo>
                  <a:cubicBezTo>
                    <a:pt x="8501" y="11169"/>
                    <a:pt x="8573" y="11240"/>
                    <a:pt x="8656" y="11240"/>
                  </a:cubicBezTo>
                  <a:cubicBezTo>
                    <a:pt x="8751" y="11240"/>
                    <a:pt x="8823" y="11169"/>
                    <a:pt x="8823" y="11074"/>
                  </a:cubicBezTo>
                  <a:lnTo>
                    <a:pt x="8823" y="9026"/>
                  </a:lnTo>
                  <a:cubicBezTo>
                    <a:pt x="8763" y="8466"/>
                    <a:pt x="8406" y="7966"/>
                    <a:pt x="7894" y="7823"/>
                  </a:cubicBezTo>
                  <a:lnTo>
                    <a:pt x="7239" y="7633"/>
                  </a:lnTo>
                  <a:cubicBezTo>
                    <a:pt x="6787" y="6895"/>
                    <a:pt x="6072" y="6597"/>
                    <a:pt x="5775" y="6502"/>
                  </a:cubicBezTo>
                  <a:lnTo>
                    <a:pt x="5775" y="6204"/>
                  </a:lnTo>
                  <a:cubicBezTo>
                    <a:pt x="6323" y="5811"/>
                    <a:pt x="6715" y="5216"/>
                    <a:pt x="6799" y="4537"/>
                  </a:cubicBezTo>
                  <a:lnTo>
                    <a:pt x="6906" y="4537"/>
                  </a:lnTo>
                  <a:cubicBezTo>
                    <a:pt x="7239" y="4537"/>
                    <a:pt x="7501" y="4299"/>
                    <a:pt x="7537" y="4001"/>
                  </a:cubicBezTo>
                  <a:cubicBezTo>
                    <a:pt x="7549" y="3835"/>
                    <a:pt x="7489" y="3656"/>
                    <a:pt x="7382" y="3537"/>
                  </a:cubicBezTo>
                  <a:cubicBezTo>
                    <a:pt x="7311" y="3466"/>
                    <a:pt x="7215" y="3406"/>
                    <a:pt x="7132" y="3370"/>
                  </a:cubicBezTo>
                  <a:lnTo>
                    <a:pt x="7215" y="2894"/>
                  </a:lnTo>
                  <a:cubicBezTo>
                    <a:pt x="7358" y="2180"/>
                    <a:pt x="7156" y="1430"/>
                    <a:pt x="6704" y="882"/>
                  </a:cubicBezTo>
                  <a:cubicBezTo>
                    <a:pt x="6239" y="334"/>
                    <a:pt x="5537" y="1"/>
                    <a:pt x="4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0" name="Google Shape;11890;p61"/>
            <p:cNvSpPr/>
            <p:nvPr/>
          </p:nvSpPr>
          <p:spPr>
            <a:xfrm>
              <a:off x="4997700" y="25265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1" name="Google Shape;11891;p61"/>
            <p:cNvSpPr/>
            <p:nvPr/>
          </p:nvSpPr>
          <p:spPr>
            <a:xfrm>
              <a:off x="5064830" y="25265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2" name="Google Shape;11892;p61"/>
            <p:cNvSpPr/>
            <p:nvPr/>
          </p:nvSpPr>
          <p:spPr>
            <a:xfrm>
              <a:off x="5013160" y="256586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1"/>
                  </a:moveTo>
                  <a:cubicBezTo>
                    <a:pt x="146" y="1"/>
                    <a:pt x="102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15" y="414"/>
                    <a:pt x="453" y="510"/>
                    <a:pt x="703" y="510"/>
                  </a:cubicBezTo>
                  <a:cubicBezTo>
                    <a:pt x="977" y="510"/>
                    <a:pt x="1215" y="414"/>
                    <a:pt x="1346" y="283"/>
                  </a:cubicBezTo>
                  <a:cubicBezTo>
                    <a:pt x="1453" y="212"/>
                    <a:pt x="1453" y="105"/>
                    <a:pt x="1370" y="45"/>
                  </a:cubicBezTo>
                  <a:cubicBezTo>
                    <a:pt x="1340" y="15"/>
                    <a:pt x="1301" y="1"/>
                    <a:pt x="1260" y="1"/>
                  </a:cubicBezTo>
                  <a:cubicBezTo>
                    <a:pt x="1218" y="1"/>
                    <a:pt x="1173" y="15"/>
                    <a:pt x="1132" y="45"/>
                  </a:cubicBezTo>
                  <a:cubicBezTo>
                    <a:pt x="1072" y="105"/>
                    <a:pt x="929" y="176"/>
                    <a:pt x="715" y="176"/>
                  </a:cubicBezTo>
                  <a:cubicBezTo>
                    <a:pt x="513" y="176"/>
                    <a:pt x="358" y="105"/>
                    <a:pt x="298" y="45"/>
                  </a:cubicBezTo>
                  <a:cubicBezTo>
                    <a:pt x="268" y="15"/>
                    <a:pt x="230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3" name="Google Shape;11893;p61"/>
            <p:cNvSpPr/>
            <p:nvPr/>
          </p:nvSpPr>
          <p:spPr>
            <a:xfrm>
              <a:off x="4992030" y="2509570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2"/>
                    <a:pt x="691" y="167"/>
                  </a:cubicBezTo>
                  <a:cubicBezTo>
                    <a:pt x="691" y="84"/>
                    <a:pt x="608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4" name="Google Shape;11894;p61"/>
            <p:cNvSpPr/>
            <p:nvPr/>
          </p:nvSpPr>
          <p:spPr>
            <a:xfrm>
              <a:off x="5059191" y="2509570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84"/>
                    <a:pt x="607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95" name="Google Shape;11895;p61"/>
          <p:cNvGrpSpPr/>
          <p:nvPr/>
        </p:nvGrpSpPr>
        <p:grpSpPr>
          <a:xfrm>
            <a:off x="5812066" y="2416019"/>
            <a:ext cx="264813" cy="353454"/>
            <a:chOff x="5812066" y="2416019"/>
            <a:chExt cx="264813" cy="353454"/>
          </a:xfrm>
        </p:grpSpPr>
        <p:sp>
          <p:nvSpPr>
            <p:cNvPr id="11896" name="Google Shape;11896;p61"/>
            <p:cNvSpPr/>
            <p:nvPr/>
          </p:nvSpPr>
          <p:spPr>
            <a:xfrm>
              <a:off x="5812066" y="2416019"/>
              <a:ext cx="264813" cy="353454"/>
            </a:xfrm>
            <a:custGeom>
              <a:avLst/>
              <a:gdLst/>
              <a:ahLst/>
              <a:cxnLst/>
              <a:rect l="l" t="t" r="r" b="b"/>
              <a:pathLst>
                <a:path w="8359" h="11157" extrusionOk="0">
                  <a:moveTo>
                    <a:pt x="1572" y="346"/>
                  </a:moveTo>
                  <a:cubicBezTo>
                    <a:pt x="1905" y="346"/>
                    <a:pt x="2215" y="501"/>
                    <a:pt x="2405" y="751"/>
                  </a:cubicBezTo>
                  <a:cubicBezTo>
                    <a:pt x="1846" y="1144"/>
                    <a:pt x="1405" y="1715"/>
                    <a:pt x="1203" y="2394"/>
                  </a:cubicBezTo>
                  <a:cubicBezTo>
                    <a:pt x="798" y="2239"/>
                    <a:pt x="524" y="1834"/>
                    <a:pt x="524" y="1406"/>
                  </a:cubicBezTo>
                  <a:cubicBezTo>
                    <a:pt x="524" y="822"/>
                    <a:pt x="1000" y="346"/>
                    <a:pt x="1572" y="346"/>
                  </a:cubicBezTo>
                  <a:close/>
                  <a:moveTo>
                    <a:pt x="6799" y="358"/>
                  </a:moveTo>
                  <a:cubicBezTo>
                    <a:pt x="7382" y="358"/>
                    <a:pt x="7858" y="834"/>
                    <a:pt x="7858" y="1406"/>
                  </a:cubicBezTo>
                  <a:cubicBezTo>
                    <a:pt x="7858" y="1858"/>
                    <a:pt x="7572" y="2239"/>
                    <a:pt x="7168" y="2394"/>
                  </a:cubicBezTo>
                  <a:cubicBezTo>
                    <a:pt x="6965" y="1727"/>
                    <a:pt x="6537" y="1144"/>
                    <a:pt x="5965" y="751"/>
                  </a:cubicBezTo>
                  <a:cubicBezTo>
                    <a:pt x="6167" y="501"/>
                    <a:pt x="6465" y="358"/>
                    <a:pt x="6799" y="358"/>
                  </a:cubicBezTo>
                  <a:close/>
                  <a:moveTo>
                    <a:pt x="4191" y="548"/>
                  </a:moveTo>
                  <a:cubicBezTo>
                    <a:pt x="5739" y="548"/>
                    <a:pt x="6989" y="1799"/>
                    <a:pt x="6989" y="3346"/>
                  </a:cubicBezTo>
                  <a:cubicBezTo>
                    <a:pt x="6989" y="3537"/>
                    <a:pt x="6977" y="3727"/>
                    <a:pt x="6929" y="3930"/>
                  </a:cubicBezTo>
                  <a:cubicBezTo>
                    <a:pt x="6870" y="3894"/>
                    <a:pt x="6799" y="3882"/>
                    <a:pt x="6727" y="3882"/>
                  </a:cubicBezTo>
                  <a:lnTo>
                    <a:pt x="6620" y="3882"/>
                  </a:lnTo>
                  <a:lnTo>
                    <a:pt x="6620" y="3489"/>
                  </a:lnTo>
                  <a:lnTo>
                    <a:pt x="6632" y="3489"/>
                  </a:lnTo>
                  <a:cubicBezTo>
                    <a:pt x="6727" y="3489"/>
                    <a:pt x="6799" y="3418"/>
                    <a:pt x="6799" y="3335"/>
                  </a:cubicBezTo>
                  <a:cubicBezTo>
                    <a:pt x="6799" y="3239"/>
                    <a:pt x="6727" y="3168"/>
                    <a:pt x="6632" y="3168"/>
                  </a:cubicBezTo>
                  <a:cubicBezTo>
                    <a:pt x="5263" y="3168"/>
                    <a:pt x="4286" y="2715"/>
                    <a:pt x="3703" y="2346"/>
                  </a:cubicBezTo>
                  <a:cubicBezTo>
                    <a:pt x="3060" y="1942"/>
                    <a:pt x="2750" y="1525"/>
                    <a:pt x="2738" y="1525"/>
                  </a:cubicBezTo>
                  <a:cubicBezTo>
                    <a:pt x="2705" y="1484"/>
                    <a:pt x="2656" y="1463"/>
                    <a:pt x="2608" y="1463"/>
                  </a:cubicBezTo>
                  <a:cubicBezTo>
                    <a:pt x="2573" y="1463"/>
                    <a:pt x="2538" y="1475"/>
                    <a:pt x="2512" y="1501"/>
                  </a:cubicBezTo>
                  <a:cubicBezTo>
                    <a:pt x="2441" y="1561"/>
                    <a:pt x="2417" y="1668"/>
                    <a:pt x="2477" y="1715"/>
                  </a:cubicBezTo>
                  <a:cubicBezTo>
                    <a:pt x="2500" y="1739"/>
                    <a:pt x="2834" y="2168"/>
                    <a:pt x="3512" y="2596"/>
                  </a:cubicBezTo>
                  <a:cubicBezTo>
                    <a:pt x="4084" y="2965"/>
                    <a:pt x="5024" y="3382"/>
                    <a:pt x="6287" y="3466"/>
                  </a:cubicBezTo>
                  <a:lnTo>
                    <a:pt x="6287" y="4013"/>
                  </a:lnTo>
                  <a:cubicBezTo>
                    <a:pt x="6287" y="4073"/>
                    <a:pt x="6322" y="4120"/>
                    <a:pt x="6370" y="4144"/>
                  </a:cubicBezTo>
                  <a:cubicBezTo>
                    <a:pt x="6406" y="4180"/>
                    <a:pt x="6406" y="4180"/>
                    <a:pt x="6572" y="4180"/>
                  </a:cubicBezTo>
                  <a:lnTo>
                    <a:pt x="6715" y="4180"/>
                  </a:lnTo>
                  <a:cubicBezTo>
                    <a:pt x="6858" y="4180"/>
                    <a:pt x="6977" y="4299"/>
                    <a:pt x="6977" y="4442"/>
                  </a:cubicBezTo>
                  <a:cubicBezTo>
                    <a:pt x="6977" y="4597"/>
                    <a:pt x="6858" y="4716"/>
                    <a:pt x="6715" y="4716"/>
                  </a:cubicBezTo>
                  <a:lnTo>
                    <a:pt x="6608" y="4716"/>
                  </a:lnTo>
                  <a:lnTo>
                    <a:pt x="6608" y="4692"/>
                  </a:lnTo>
                  <a:cubicBezTo>
                    <a:pt x="6608" y="4609"/>
                    <a:pt x="6537" y="4537"/>
                    <a:pt x="6441" y="4537"/>
                  </a:cubicBezTo>
                  <a:cubicBezTo>
                    <a:pt x="6358" y="4537"/>
                    <a:pt x="6275" y="4609"/>
                    <a:pt x="6275" y="4692"/>
                  </a:cubicBezTo>
                  <a:cubicBezTo>
                    <a:pt x="6275" y="5859"/>
                    <a:pt x="5346" y="6799"/>
                    <a:pt x="4179" y="6799"/>
                  </a:cubicBezTo>
                  <a:cubicBezTo>
                    <a:pt x="3024" y="6799"/>
                    <a:pt x="2096" y="5871"/>
                    <a:pt x="2096" y="4716"/>
                  </a:cubicBezTo>
                  <a:cubicBezTo>
                    <a:pt x="2096" y="4620"/>
                    <a:pt x="2024" y="4549"/>
                    <a:pt x="1929" y="4549"/>
                  </a:cubicBezTo>
                  <a:cubicBezTo>
                    <a:pt x="1846" y="4549"/>
                    <a:pt x="1774" y="4620"/>
                    <a:pt x="1774" y="4716"/>
                  </a:cubicBezTo>
                  <a:lnTo>
                    <a:pt x="1774" y="4728"/>
                  </a:lnTo>
                  <a:lnTo>
                    <a:pt x="1667" y="4728"/>
                  </a:lnTo>
                  <a:cubicBezTo>
                    <a:pt x="1512" y="4728"/>
                    <a:pt x="1393" y="4609"/>
                    <a:pt x="1393" y="4466"/>
                  </a:cubicBezTo>
                  <a:cubicBezTo>
                    <a:pt x="1393" y="4311"/>
                    <a:pt x="1512" y="4192"/>
                    <a:pt x="1667" y="4192"/>
                  </a:cubicBezTo>
                  <a:lnTo>
                    <a:pt x="1798" y="4192"/>
                  </a:lnTo>
                  <a:cubicBezTo>
                    <a:pt x="1976" y="4192"/>
                    <a:pt x="1976" y="4192"/>
                    <a:pt x="2012" y="4180"/>
                  </a:cubicBezTo>
                  <a:cubicBezTo>
                    <a:pt x="2072" y="4144"/>
                    <a:pt x="2096" y="4085"/>
                    <a:pt x="2096" y="4025"/>
                  </a:cubicBezTo>
                  <a:lnTo>
                    <a:pt x="2096" y="3847"/>
                  </a:lnTo>
                  <a:cubicBezTo>
                    <a:pt x="2096" y="3335"/>
                    <a:pt x="2262" y="2882"/>
                    <a:pt x="2572" y="2513"/>
                  </a:cubicBezTo>
                  <a:cubicBezTo>
                    <a:pt x="2631" y="2442"/>
                    <a:pt x="2619" y="2334"/>
                    <a:pt x="2560" y="2287"/>
                  </a:cubicBezTo>
                  <a:cubicBezTo>
                    <a:pt x="2528" y="2260"/>
                    <a:pt x="2488" y="2248"/>
                    <a:pt x="2450" y="2248"/>
                  </a:cubicBezTo>
                  <a:cubicBezTo>
                    <a:pt x="2404" y="2248"/>
                    <a:pt x="2360" y="2266"/>
                    <a:pt x="2334" y="2299"/>
                  </a:cubicBezTo>
                  <a:cubicBezTo>
                    <a:pt x="1965" y="2739"/>
                    <a:pt x="1774" y="3251"/>
                    <a:pt x="1774" y="3870"/>
                  </a:cubicBezTo>
                  <a:lnTo>
                    <a:pt x="1774" y="3882"/>
                  </a:lnTo>
                  <a:lnTo>
                    <a:pt x="1667" y="3882"/>
                  </a:lnTo>
                  <a:cubicBezTo>
                    <a:pt x="1595" y="3882"/>
                    <a:pt x="1512" y="3894"/>
                    <a:pt x="1453" y="3930"/>
                  </a:cubicBezTo>
                  <a:cubicBezTo>
                    <a:pt x="1417" y="3727"/>
                    <a:pt x="1393" y="3537"/>
                    <a:pt x="1393" y="3346"/>
                  </a:cubicBezTo>
                  <a:cubicBezTo>
                    <a:pt x="1393" y="1799"/>
                    <a:pt x="2643" y="548"/>
                    <a:pt x="4191" y="548"/>
                  </a:cubicBezTo>
                  <a:close/>
                  <a:moveTo>
                    <a:pt x="5084" y="6990"/>
                  </a:moveTo>
                  <a:lnTo>
                    <a:pt x="5084" y="7537"/>
                  </a:lnTo>
                  <a:cubicBezTo>
                    <a:pt x="5084" y="7895"/>
                    <a:pt x="5310" y="8228"/>
                    <a:pt x="5667" y="8347"/>
                  </a:cubicBezTo>
                  <a:lnTo>
                    <a:pt x="6001" y="8466"/>
                  </a:lnTo>
                  <a:lnTo>
                    <a:pt x="5620" y="8811"/>
                  </a:lnTo>
                  <a:cubicBezTo>
                    <a:pt x="5489" y="8942"/>
                    <a:pt x="5429" y="9109"/>
                    <a:pt x="5429" y="9300"/>
                  </a:cubicBezTo>
                  <a:lnTo>
                    <a:pt x="5429" y="9359"/>
                  </a:lnTo>
                  <a:cubicBezTo>
                    <a:pt x="5060" y="9514"/>
                    <a:pt x="4643" y="9621"/>
                    <a:pt x="4191" y="9621"/>
                  </a:cubicBezTo>
                  <a:cubicBezTo>
                    <a:pt x="3762" y="9621"/>
                    <a:pt x="3334" y="9538"/>
                    <a:pt x="2965" y="9359"/>
                  </a:cubicBezTo>
                  <a:lnTo>
                    <a:pt x="2965" y="9300"/>
                  </a:lnTo>
                  <a:cubicBezTo>
                    <a:pt x="2965" y="9121"/>
                    <a:pt x="2881" y="8942"/>
                    <a:pt x="2762" y="8811"/>
                  </a:cubicBezTo>
                  <a:lnTo>
                    <a:pt x="2429" y="8466"/>
                  </a:lnTo>
                  <a:lnTo>
                    <a:pt x="2750" y="8347"/>
                  </a:lnTo>
                  <a:cubicBezTo>
                    <a:pt x="3096" y="8228"/>
                    <a:pt x="3334" y="7895"/>
                    <a:pt x="3334" y="7537"/>
                  </a:cubicBezTo>
                  <a:lnTo>
                    <a:pt x="3334" y="6990"/>
                  </a:lnTo>
                  <a:cubicBezTo>
                    <a:pt x="3596" y="7097"/>
                    <a:pt x="3893" y="7156"/>
                    <a:pt x="4215" y="7156"/>
                  </a:cubicBezTo>
                  <a:cubicBezTo>
                    <a:pt x="4524" y="7156"/>
                    <a:pt x="4822" y="7097"/>
                    <a:pt x="5084" y="6990"/>
                  </a:cubicBezTo>
                  <a:close/>
                  <a:moveTo>
                    <a:pt x="1560" y="1"/>
                  </a:moveTo>
                  <a:cubicBezTo>
                    <a:pt x="798" y="1"/>
                    <a:pt x="179" y="620"/>
                    <a:pt x="179" y="1382"/>
                  </a:cubicBezTo>
                  <a:cubicBezTo>
                    <a:pt x="179" y="1977"/>
                    <a:pt x="548" y="2501"/>
                    <a:pt x="1119" y="2692"/>
                  </a:cubicBezTo>
                  <a:cubicBezTo>
                    <a:pt x="1072" y="2882"/>
                    <a:pt x="1060" y="3096"/>
                    <a:pt x="1060" y="3299"/>
                  </a:cubicBezTo>
                  <a:cubicBezTo>
                    <a:pt x="1060" y="3573"/>
                    <a:pt x="1084" y="3835"/>
                    <a:pt x="1155" y="4108"/>
                  </a:cubicBezTo>
                  <a:cubicBezTo>
                    <a:pt x="1095" y="4192"/>
                    <a:pt x="1060" y="4311"/>
                    <a:pt x="1060" y="4442"/>
                  </a:cubicBezTo>
                  <a:cubicBezTo>
                    <a:pt x="1060" y="4775"/>
                    <a:pt x="1322" y="5037"/>
                    <a:pt x="1655" y="5037"/>
                  </a:cubicBezTo>
                  <a:lnTo>
                    <a:pt x="1774" y="5037"/>
                  </a:lnTo>
                  <a:cubicBezTo>
                    <a:pt x="1869" y="5799"/>
                    <a:pt x="2334" y="6442"/>
                    <a:pt x="2965" y="6811"/>
                  </a:cubicBezTo>
                  <a:lnTo>
                    <a:pt x="2965" y="7526"/>
                  </a:lnTo>
                  <a:cubicBezTo>
                    <a:pt x="2965" y="7752"/>
                    <a:pt x="2810" y="7954"/>
                    <a:pt x="2596" y="8038"/>
                  </a:cubicBezTo>
                  <a:lnTo>
                    <a:pt x="798" y="8669"/>
                  </a:lnTo>
                  <a:cubicBezTo>
                    <a:pt x="322" y="8835"/>
                    <a:pt x="0" y="9300"/>
                    <a:pt x="0" y="9823"/>
                  </a:cubicBezTo>
                  <a:lnTo>
                    <a:pt x="0" y="10990"/>
                  </a:lnTo>
                  <a:cubicBezTo>
                    <a:pt x="0" y="11085"/>
                    <a:pt x="71" y="11157"/>
                    <a:pt x="155" y="11157"/>
                  </a:cubicBezTo>
                  <a:cubicBezTo>
                    <a:pt x="250" y="11157"/>
                    <a:pt x="322" y="11085"/>
                    <a:pt x="322" y="10990"/>
                  </a:cubicBezTo>
                  <a:lnTo>
                    <a:pt x="322" y="9823"/>
                  </a:lnTo>
                  <a:cubicBezTo>
                    <a:pt x="322" y="9442"/>
                    <a:pt x="560" y="9109"/>
                    <a:pt x="917" y="8990"/>
                  </a:cubicBezTo>
                  <a:lnTo>
                    <a:pt x="2048" y="8585"/>
                  </a:lnTo>
                  <a:lnTo>
                    <a:pt x="2512" y="9050"/>
                  </a:lnTo>
                  <a:cubicBezTo>
                    <a:pt x="2584" y="9121"/>
                    <a:pt x="2619" y="9204"/>
                    <a:pt x="2619" y="9300"/>
                  </a:cubicBezTo>
                  <a:lnTo>
                    <a:pt x="2619" y="10990"/>
                  </a:lnTo>
                  <a:cubicBezTo>
                    <a:pt x="2619" y="11085"/>
                    <a:pt x="2691" y="11157"/>
                    <a:pt x="2774" y="11157"/>
                  </a:cubicBezTo>
                  <a:cubicBezTo>
                    <a:pt x="2869" y="11157"/>
                    <a:pt x="2941" y="11085"/>
                    <a:pt x="2941" y="10990"/>
                  </a:cubicBezTo>
                  <a:lnTo>
                    <a:pt x="2941" y="9704"/>
                  </a:lnTo>
                  <a:cubicBezTo>
                    <a:pt x="3334" y="9847"/>
                    <a:pt x="3751" y="9943"/>
                    <a:pt x="4179" y="9943"/>
                  </a:cubicBezTo>
                  <a:cubicBezTo>
                    <a:pt x="4608" y="9943"/>
                    <a:pt x="5024" y="9859"/>
                    <a:pt x="5417" y="9704"/>
                  </a:cubicBezTo>
                  <a:lnTo>
                    <a:pt x="5417" y="9776"/>
                  </a:lnTo>
                  <a:cubicBezTo>
                    <a:pt x="5417" y="9859"/>
                    <a:pt x="5489" y="9943"/>
                    <a:pt x="5572" y="9943"/>
                  </a:cubicBezTo>
                  <a:cubicBezTo>
                    <a:pt x="5667" y="9943"/>
                    <a:pt x="5739" y="9859"/>
                    <a:pt x="5739" y="9776"/>
                  </a:cubicBezTo>
                  <a:lnTo>
                    <a:pt x="5739" y="9300"/>
                  </a:lnTo>
                  <a:cubicBezTo>
                    <a:pt x="5739" y="9204"/>
                    <a:pt x="5786" y="9109"/>
                    <a:pt x="5846" y="9038"/>
                  </a:cubicBezTo>
                  <a:lnTo>
                    <a:pt x="6310" y="8585"/>
                  </a:lnTo>
                  <a:lnTo>
                    <a:pt x="7441" y="8978"/>
                  </a:lnTo>
                  <a:cubicBezTo>
                    <a:pt x="7799" y="9097"/>
                    <a:pt x="8037" y="9442"/>
                    <a:pt x="8037" y="9812"/>
                  </a:cubicBezTo>
                  <a:lnTo>
                    <a:pt x="8037" y="10990"/>
                  </a:lnTo>
                  <a:cubicBezTo>
                    <a:pt x="8037" y="11085"/>
                    <a:pt x="8108" y="11157"/>
                    <a:pt x="8192" y="11157"/>
                  </a:cubicBezTo>
                  <a:cubicBezTo>
                    <a:pt x="8287" y="11157"/>
                    <a:pt x="8358" y="11085"/>
                    <a:pt x="8358" y="10990"/>
                  </a:cubicBezTo>
                  <a:lnTo>
                    <a:pt x="8358" y="9812"/>
                  </a:lnTo>
                  <a:cubicBezTo>
                    <a:pt x="8358" y="9300"/>
                    <a:pt x="8037" y="8835"/>
                    <a:pt x="7561" y="8669"/>
                  </a:cubicBezTo>
                  <a:lnTo>
                    <a:pt x="5763" y="8038"/>
                  </a:lnTo>
                  <a:cubicBezTo>
                    <a:pt x="5548" y="7954"/>
                    <a:pt x="5405" y="7752"/>
                    <a:pt x="5405" y="7526"/>
                  </a:cubicBezTo>
                  <a:lnTo>
                    <a:pt x="5405" y="6811"/>
                  </a:lnTo>
                  <a:cubicBezTo>
                    <a:pt x="6037" y="6442"/>
                    <a:pt x="6489" y="5799"/>
                    <a:pt x="6596" y="5037"/>
                  </a:cubicBezTo>
                  <a:lnTo>
                    <a:pt x="6715" y="5037"/>
                  </a:lnTo>
                  <a:cubicBezTo>
                    <a:pt x="7037" y="5037"/>
                    <a:pt x="7310" y="4775"/>
                    <a:pt x="7310" y="4442"/>
                  </a:cubicBezTo>
                  <a:cubicBezTo>
                    <a:pt x="7310" y="4323"/>
                    <a:pt x="7263" y="4204"/>
                    <a:pt x="7203" y="4108"/>
                  </a:cubicBezTo>
                  <a:cubicBezTo>
                    <a:pt x="7275" y="3847"/>
                    <a:pt x="7310" y="3585"/>
                    <a:pt x="7310" y="3299"/>
                  </a:cubicBezTo>
                  <a:cubicBezTo>
                    <a:pt x="7310" y="3096"/>
                    <a:pt x="7287" y="2882"/>
                    <a:pt x="7251" y="2692"/>
                  </a:cubicBezTo>
                  <a:cubicBezTo>
                    <a:pt x="7799" y="2501"/>
                    <a:pt x="8180" y="1977"/>
                    <a:pt x="8180" y="1382"/>
                  </a:cubicBezTo>
                  <a:cubicBezTo>
                    <a:pt x="8180" y="620"/>
                    <a:pt x="7561" y="1"/>
                    <a:pt x="6799" y="1"/>
                  </a:cubicBezTo>
                  <a:cubicBezTo>
                    <a:pt x="6358" y="1"/>
                    <a:pt x="5953" y="203"/>
                    <a:pt x="5679" y="560"/>
                  </a:cubicBezTo>
                  <a:cubicBezTo>
                    <a:pt x="5239" y="310"/>
                    <a:pt x="4727" y="179"/>
                    <a:pt x="4179" y="179"/>
                  </a:cubicBezTo>
                  <a:cubicBezTo>
                    <a:pt x="3631" y="179"/>
                    <a:pt x="3119" y="310"/>
                    <a:pt x="2679" y="560"/>
                  </a:cubicBezTo>
                  <a:cubicBezTo>
                    <a:pt x="2429" y="203"/>
                    <a:pt x="2012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7" name="Google Shape;11897;p61"/>
            <p:cNvSpPr/>
            <p:nvPr/>
          </p:nvSpPr>
          <p:spPr>
            <a:xfrm>
              <a:off x="5923707" y="2588136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199"/>
                    <a:pt x="60" y="259"/>
                  </a:cubicBezTo>
                  <a:cubicBezTo>
                    <a:pt x="191" y="402"/>
                    <a:pt x="429" y="485"/>
                    <a:pt x="703" y="485"/>
                  </a:cubicBezTo>
                  <a:cubicBezTo>
                    <a:pt x="953" y="485"/>
                    <a:pt x="1191" y="402"/>
                    <a:pt x="1334" y="259"/>
                  </a:cubicBezTo>
                  <a:cubicBezTo>
                    <a:pt x="1370" y="199"/>
                    <a:pt x="1370" y="104"/>
                    <a:pt x="1310" y="45"/>
                  </a:cubicBezTo>
                  <a:cubicBezTo>
                    <a:pt x="1280" y="15"/>
                    <a:pt x="1239" y="0"/>
                    <a:pt x="1197" y="0"/>
                  </a:cubicBezTo>
                  <a:cubicBezTo>
                    <a:pt x="1155" y="0"/>
                    <a:pt x="1114" y="15"/>
                    <a:pt x="1084" y="45"/>
                  </a:cubicBezTo>
                  <a:cubicBezTo>
                    <a:pt x="1024" y="104"/>
                    <a:pt x="881" y="176"/>
                    <a:pt x="679" y="176"/>
                  </a:cubicBezTo>
                  <a:cubicBezTo>
                    <a:pt x="488" y="176"/>
                    <a:pt x="346" y="104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8" name="Google Shape;11898;p61"/>
            <p:cNvSpPr/>
            <p:nvPr/>
          </p:nvSpPr>
          <p:spPr>
            <a:xfrm>
              <a:off x="5983677" y="2742291"/>
              <a:ext cx="10201" cy="26833"/>
            </a:xfrm>
            <a:custGeom>
              <a:avLst/>
              <a:gdLst/>
              <a:ahLst/>
              <a:cxnLst/>
              <a:rect l="l" t="t" r="r" b="b"/>
              <a:pathLst>
                <a:path w="322" h="847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679"/>
                  </a:lnTo>
                  <a:cubicBezTo>
                    <a:pt x="0" y="775"/>
                    <a:pt x="72" y="846"/>
                    <a:pt x="155" y="846"/>
                  </a:cubicBezTo>
                  <a:cubicBezTo>
                    <a:pt x="250" y="846"/>
                    <a:pt x="322" y="775"/>
                    <a:pt x="322" y="679"/>
                  </a:cubicBezTo>
                  <a:lnTo>
                    <a:pt x="322" y="155"/>
                  </a:lnTo>
                  <a:cubicBezTo>
                    <a:pt x="322" y="72"/>
                    <a:pt x="262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9" name="Google Shape;11899;p61"/>
            <p:cNvSpPr/>
            <p:nvPr/>
          </p:nvSpPr>
          <p:spPr>
            <a:xfrm>
              <a:off x="5906726" y="2543531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67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0" name="Google Shape;11900;p61"/>
            <p:cNvSpPr/>
            <p:nvPr/>
          </p:nvSpPr>
          <p:spPr>
            <a:xfrm>
              <a:off x="5972747" y="2543531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1" name="Google Shape;11901;p61"/>
            <p:cNvSpPr/>
            <p:nvPr/>
          </p:nvSpPr>
          <p:spPr>
            <a:xfrm>
              <a:off x="5901055" y="2526931"/>
              <a:ext cx="16252" cy="10581"/>
            </a:xfrm>
            <a:custGeom>
              <a:avLst/>
              <a:gdLst/>
              <a:ahLst/>
              <a:cxnLst/>
              <a:rect l="l" t="t" r="r" b="b"/>
              <a:pathLst>
                <a:path w="513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346" y="334"/>
                  </a:lnTo>
                  <a:cubicBezTo>
                    <a:pt x="430" y="334"/>
                    <a:pt x="501" y="262"/>
                    <a:pt x="501" y="167"/>
                  </a:cubicBezTo>
                  <a:cubicBezTo>
                    <a:pt x="513" y="84"/>
                    <a:pt x="430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2" name="Google Shape;11902;p61"/>
            <p:cNvSpPr/>
            <p:nvPr/>
          </p:nvSpPr>
          <p:spPr>
            <a:xfrm>
              <a:off x="5972367" y="2526899"/>
              <a:ext cx="16220" cy="10613"/>
            </a:xfrm>
            <a:custGeom>
              <a:avLst/>
              <a:gdLst/>
              <a:ahLst/>
              <a:cxnLst/>
              <a:rect l="l" t="t" r="r" b="b"/>
              <a:pathLst>
                <a:path w="512" h="335" extrusionOk="0">
                  <a:moveTo>
                    <a:pt x="364" y="0"/>
                  </a:moveTo>
                  <a:cubicBezTo>
                    <a:pt x="358" y="0"/>
                    <a:pt x="352" y="0"/>
                    <a:pt x="345" y="1"/>
                  </a:cubicBezTo>
                  <a:lnTo>
                    <a:pt x="167" y="1"/>
                  </a:lnTo>
                  <a:cubicBezTo>
                    <a:pt x="72" y="1"/>
                    <a:pt x="0" y="85"/>
                    <a:pt x="0" y="168"/>
                  </a:cubicBezTo>
                  <a:cubicBezTo>
                    <a:pt x="0" y="263"/>
                    <a:pt x="72" y="335"/>
                    <a:pt x="167" y="335"/>
                  </a:cubicBezTo>
                  <a:lnTo>
                    <a:pt x="345" y="335"/>
                  </a:lnTo>
                  <a:cubicBezTo>
                    <a:pt x="429" y="335"/>
                    <a:pt x="500" y="263"/>
                    <a:pt x="500" y="168"/>
                  </a:cubicBezTo>
                  <a:cubicBezTo>
                    <a:pt x="511" y="79"/>
                    <a:pt x="450" y="0"/>
                    <a:pt x="3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03" name="Google Shape;11903;p61"/>
          <p:cNvGrpSpPr/>
          <p:nvPr/>
        </p:nvGrpSpPr>
        <p:grpSpPr>
          <a:xfrm>
            <a:off x="8054820" y="2416399"/>
            <a:ext cx="264433" cy="353454"/>
            <a:chOff x="8054820" y="2416399"/>
            <a:chExt cx="264433" cy="353454"/>
          </a:xfrm>
        </p:grpSpPr>
        <p:sp>
          <p:nvSpPr>
            <p:cNvPr id="11904" name="Google Shape;11904;p61"/>
            <p:cNvSpPr/>
            <p:nvPr/>
          </p:nvSpPr>
          <p:spPr>
            <a:xfrm>
              <a:off x="8148371" y="2538621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5" name="Google Shape;11905;p61"/>
            <p:cNvSpPr/>
            <p:nvPr/>
          </p:nvSpPr>
          <p:spPr>
            <a:xfrm>
              <a:off x="8214361" y="2538621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6" name="Google Shape;11906;p61"/>
            <p:cNvSpPr/>
            <p:nvPr/>
          </p:nvSpPr>
          <p:spPr>
            <a:xfrm>
              <a:off x="8054820" y="2416399"/>
              <a:ext cx="264433" cy="353454"/>
            </a:xfrm>
            <a:custGeom>
              <a:avLst/>
              <a:gdLst/>
              <a:ahLst/>
              <a:cxnLst/>
              <a:rect l="l" t="t" r="r" b="b"/>
              <a:pathLst>
                <a:path w="8347" h="11157" extrusionOk="0">
                  <a:moveTo>
                    <a:pt x="1703" y="5025"/>
                  </a:moveTo>
                  <a:cubicBezTo>
                    <a:pt x="1787" y="5204"/>
                    <a:pt x="1882" y="5418"/>
                    <a:pt x="1882" y="5573"/>
                  </a:cubicBezTo>
                  <a:cubicBezTo>
                    <a:pt x="1882" y="5680"/>
                    <a:pt x="1787" y="5763"/>
                    <a:pt x="1703" y="5763"/>
                  </a:cubicBezTo>
                  <a:cubicBezTo>
                    <a:pt x="1608" y="5763"/>
                    <a:pt x="1525" y="5668"/>
                    <a:pt x="1525" y="5573"/>
                  </a:cubicBezTo>
                  <a:cubicBezTo>
                    <a:pt x="1525" y="5430"/>
                    <a:pt x="1608" y="5204"/>
                    <a:pt x="1703" y="5025"/>
                  </a:cubicBezTo>
                  <a:close/>
                  <a:moveTo>
                    <a:pt x="6585" y="5025"/>
                  </a:moveTo>
                  <a:cubicBezTo>
                    <a:pt x="6668" y="5204"/>
                    <a:pt x="6763" y="5418"/>
                    <a:pt x="6763" y="5573"/>
                  </a:cubicBezTo>
                  <a:cubicBezTo>
                    <a:pt x="6763" y="5680"/>
                    <a:pt x="6668" y="5763"/>
                    <a:pt x="6585" y="5763"/>
                  </a:cubicBezTo>
                  <a:cubicBezTo>
                    <a:pt x="6490" y="5763"/>
                    <a:pt x="6406" y="5668"/>
                    <a:pt x="6406" y="5573"/>
                  </a:cubicBezTo>
                  <a:cubicBezTo>
                    <a:pt x="6406" y="5430"/>
                    <a:pt x="6490" y="5204"/>
                    <a:pt x="6585" y="5025"/>
                  </a:cubicBezTo>
                  <a:close/>
                  <a:moveTo>
                    <a:pt x="4144" y="322"/>
                  </a:moveTo>
                  <a:cubicBezTo>
                    <a:pt x="6073" y="322"/>
                    <a:pt x="7633" y="1894"/>
                    <a:pt x="7633" y="3823"/>
                  </a:cubicBezTo>
                  <a:cubicBezTo>
                    <a:pt x="7633" y="5847"/>
                    <a:pt x="6478" y="7752"/>
                    <a:pt x="6299" y="8049"/>
                  </a:cubicBezTo>
                  <a:lnTo>
                    <a:pt x="5716" y="7847"/>
                  </a:lnTo>
                  <a:cubicBezTo>
                    <a:pt x="5513" y="7764"/>
                    <a:pt x="5358" y="7561"/>
                    <a:pt x="5358" y="7335"/>
                  </a:cubicBezTo>
                  <a:lnTo>
                    <a:pt x="5358" y="6621"/>
                  </a:lnTo>
                  <a:cubicBezTo>
                    <a:pt x="5692" y="6430"/>
                    <a:pt x="5966" y="6180"/>
                    <a:pt x="6180" y="5859"/>
                  </a:cubicBezTo>
                  <a:cubicBezTo>
                    <a:pt x="6263" y="6001"/>
                    <a:pt x="6418" y="6073"/>
                    <a:pt x="6597" y="6073"/>
                  </a:cubicBezTo>
                  <a:cubicBezTo>
                    <a:pt x="6882" y="6073"/>
                    <a:pt x="7097" y="5847"/>
                    <a:pt x="7097" y="5561"/>
                  </a:cubicBezTo>
                  <a:cubicBezTo>
                    <a:pt x="7097" y="5323"/>
                    <a:pt x="6966" y="5025"/>
                    <a:pt x="6859" y="4823"/>
                  </a:cubicBezTo>
                  <a:cubicBezTo>
                    <a:pt x="7097" y="4751"/>
                    <a:pt x="7275" y="4525"/>
                    <a:pt x="7275" y="4251"/>
                  </a:cubicBezTo>
                  <a:cubicBezTo>
                    <a:pt x="7275" y="3930"/>
                    <a:pt x="7013" y="3656"/>
                    <a:pt x="6680" y="3656"/>
                  </a:cubicBezTo>
                  <a:lnTo>
                    <a:pt x="6597" y="3656"/>
                  </a:lnTo>
                  <a:cubicBezTo>
                    <a:pt x="6597" y="3656"/>
                    <a:pt x="6585" y="3656"/>
                    <a:pt x="6585" y="3644"/>
                  </a:cubicBezTo>
                  <a:lnTo>
                    <a:pt x="6585" y="3120"/>
                  </a:lnTo>
                  <a:cubicBezTo>
                    <a:pt x="6585" y="2453"/>
                    <a:pt x="6049" y="1918"/>
                    <a:pt x="5370" y="1918"/>
                  </a:cubicBezTo>
                  <a:lnTo>
                    <a:pt x="5192" y="1918"/>
                  </a:lnTo>
                  <a:cubicBezTo>
                    <a:pt x="5108" y="1918"/>
                    <a:pt x="5037" y="1989"/>
                    <a:pt x="5037" y="2084"/>
                  </a:cubicBezTo>
                  <a:cubicBezTo>
                    <a:pt x="5037" y="2168"/>
                    <a:pt x="5108" y="2251"/>
                    <a:pt x="5192" y="2251"/>
                  </a:cubicBezTo>
                  <a:lnTo>
                    <a:pt x="5370" y="2251"/>
                  </a:lnTo>
                  <a:cubicBezTo>
                    <a:pt x="5870" y="2251"/>
                    <a:pt x="6251" y="2644"/>
                    <a:pt x="6251" y="3120"/>
                  </a:cubicBezTo>
                  <a:lnTo>
                    <a:pt x="6251" y="3644"/>
                  </a:lnTo>
                  <a:cubicBezTo>
                    <a:pt x="6251" y="3823"/>
                    <a:pt x="6406" y="3989"/>
                    <a:pt x="6597" y="3989"/>
                  </a:cubicBezTo>
                  <a:lnTo>
                    <a:pt x="6680" y="3989"/>
                  </a:lnTo>
                  <a:cubicBezTo>
                    <a:pt x="6835" y="3989"/>
                    <a:pt x="6954" y="4108"/>
                    <a:pt x="6954" y="4251"/>
                  </a:cubicBezTo>
                  <a:cubicBezTo>
                    <a:pt x="6954" y="4406"/>
                    <a:pt x="6835" y="4525"/>
                    <a:pt x="6680" y="4525"/>
                  </a:cubicBezTo>
                  <a:lnTo>
                    <a:pt x="6585" y="4525"/>
                  </a:lnTo>
                  <a:lnTo>
                    <a:pt x="6585" y="4501"/>
                  </a:lnTo>
                  <a:cubicBezTo>
                    <a:pt x="6585" y="4418"/>
                    <a:pt x="6501" y="4346"/>
                    <a:pt x="6418" y="4346"/>
                  </a:cubicBezTo>
                  <a:cubicBezTo>
                    <a:pt x="6323" y="4346"/>
                    <a:pt x="6251" y="4418"/>
                    <a:pt x="6251" y="4501"/>
                  </a:cubicBezTo>
                  <a:cubicBezTo>
                    <a:pt x="6251" y="5668"/>
                    <a:pt x="5311" y="6609"/>
                    <a:pt x="4156" y="6609"/>
                  </a:cubicBezTo>
                  <a:cubicBezTo>
                    <a:pt x="2989" y="6609"/>
                    <a:pt x="2060" y="5668"/>
                    <a:pt x="2060" y="4501"/>
                  </a:cubicBezTo>
                  <a:cubicBezTo>
                    <a:pt x="2060" y="4418"/>
                    <a:pt x="1977" y="4346"/>
                    <a:pt x="1894" y="4346"/>
                  </a:cubicBezTo>
                  <a:cubicBezTo>
                    <a:pt x="1798" y="4346"/>
                    <a:pt x="1727" y="4418"/>
                    <a:pt x="1727" y="4501"/>
                  </a:cubicBezTo>
                  <a:lnTo>
                    <a:pt x="1727" y="4525"/>
                  </a:lnTo>
                  <a:lnTo>
                    <a:pt x="1620" y="4525"/>
                  </a:lnTo>
                  <a:cubicBezTo>
                    <a:pt x="1477" y="4525"/>
                    <a:pt x="1358" y="4406"/>
                    <a:pt x="1358" y="4251"/>
                  </a:cubicBezTo>
                  <a:cubicBezTo>
                    <a:pt x="1358" y="4108"/>
                    <a:pt x="1477" y="3989"/>
                    <a:pt x="1620" y="3989"/>
                  </a:cubicBezTo>
                  <a:lnTo>
                    <a:pt x="1715" y="3989"/>
                  </a:lnTo>
                  <a:cubicBezTo>
                    <a:pt x="1894" y="3989"/>
                    <a:pt x="2060" y="3835"/>
                    <a:pt x="2060" y="3644"/>
                  </a:cubicBezTo>
                  <a:lnTo>
                    <a:pt x="2060" y="3120"/>
                  </a:lnTo>
                  <a:cubicBezTo>
                    <a:pt x="2060" y="2632"/>
                    <a:pt x="2453" y="2251"/>
                    <a:pt x="2930" y="2251"/>
                  </a:cubicBezTo>
                  <a:lnTo>
                    <a:pt x="4501" y="2251"/>
                  </a:lnTo>
                  <a:cubicBezTo>
                    <a:pt x="4585" y="2251"/>
                    <a:pt x="4656" y="2168"/>
                    <a:pt x="4656" y="2084"/>
                  </a:cubicBezTo>
                  <a:cubicBezTo>
                    <a:pt x="4656" y="1989"/>
                    <a:pt x="4585" y="1918"/>
                    <a:pt x="4501" y="1918"/>
                  </a:cubicBezTo>
                  <a:lnTo>
                    <a:pt x="2930" y="1918"/>
                  </a:lnTo>
                  <a:cubicBezTo>
                    <a:pt x="2632" y="1918"/>
                    <a:pt x="2394" y="1679"/>
                    <a:pt x="2394" y="1382"/>
                  </a:cubicBezTo>
                  <a:cubicBezTo>
                    <a:pt x="2394" y="798"/>
                    <a:pt x="3025" y="322"/>
                    <a:pt x="3799" y="322"/>
                  </a:cubicBezTo>
                  <a:close/>
                  <a:moveTo>
                    <a:pt x="2084" y="1310"/>
                  </a:moveTo>
                  <a:lnTo>
                    <a:pt x="2084" y="1406"/>
                  </a:lnTo>
                  <a:cubicBezTo>
                    <a:pt x="2084" y="1679"/>
                    <a:pt x="2203" y="1918"/>
                    <a:pt x="2394" y="2084"/>
                  </a:cubicBezTo>
                  <a:cubicBezTo>
                    <a:pt x="2013" y="2275"/>
                    <a:pt x="1727" y="2692"/>
                    <a:pt x="1727" y="3156"/>
                  </a:cubicBezTo>
                  <a:lnTo>
                    <a:pt x="1727" y="3680"/>
                  </a:lnTo>
                  <a:cubicBezTo>
                    <a:pt x="1727" y="3680"/>
                    <a:pt x="1727" y="3692"/>
                    <a:pt x="1715" y="3692"/>
                  </a:cubicBezTo>
                  <a:lnTo>
                    <a:pt x="1620" y="3692"/>
                  </a:lnTo>
                  <a:cubicBezTo>
                    <a:pt x="1298" y="3692"/>
                    <a:pt x="1025" y="3954"/>
                    <a:pt x="1025" y="4287"/>
                  </a:cubicBezTo>
                  <a:cubicBezTo>
                    <a:pt x="1025" y="4549"/>
                    <a:pt x="1203" y="4775"/>
                    <a:pt x="1441" y="4847"/>
                  </a:cubicBezTo>
                  <a:cubicBezTo>
                    <a:pt x="1346" y="5037"/>
                    <a:pt x="1203" y="5335"/>
                    <a:pt x="1203" y="5597"/>
                  </a:cubicBezTo>
                  <a:cubicBezTo>
                    <a:pt x="1203" y="5870"/>
                    <a:pt x="1429" y="6097"/>
                    <a:pt x="1715" y="6097"/>
                  </a:cubicBezTo>
                  <a:cubicBezTo>
                    <a:pt x="1894" y="6097"/>
                    <a:pt x="2037" y="6013"/>
                    <a:pt x="2132" y="5894"/>
                  </a:cubicBezTo>
                  <a:cubicBezTo>
                    <a:pt x="2334" y="6204"/>
                    <a:pt x="2620" y="6466"/>
                    <a:pt x="2953" y="6656"/>
                  </a:cubicBezTo>
                  <a:lnTo>
                    <a:pt x="2953" y="7347"/>
                  </a:lnTo>
                  <a:cubicBezTo>
                    <a:pt x="2953" y="7573"/>
                    <a:pt x="2799" y="7787"/>
                    <a:pt x="2584" y="7859"/>
                  </a:cubicBezTo>
                  <a:lnTo>
                    <a:pt x="1965" y="8085"/>
                  </a:lnTo>
                  <a:cubicBezTo>
                    <a:pt x="1715" y="7621"/>
                    <a:pt x="834" y="5847"/>
                    <a:pt x="834" y="3882"/>
                  </a:cubicBezTo>
                  <a:cubicBezTo>
                    <a:pt x="834" y="3275"/>
                    <a:pt x="989" y="2727"/>
                    <a:pt x="1263" y="2227"/>
                  </a:cubicBezTo>
                  <a:cubicBezTo>
                    <a:pt x="1477" y="1870"/>
                    <a:pt x="1739" y="1560"/>
                    <a:pt x="2084" y="1310"/>
                  </a:cubicBezTo>
                  <a:close/>
                  <a:moveTo>
                    <a:pt x="3811" y="1"/>
                  </a:moveTo>
                  <a:cubicBezTo>
                    <a:pt x="3346" y="1"/>
                    <a:pt x="2918" y="132"/>
                    <a:pt x="2608" y="382"/>
                  </a:cubicBezTo>
                  <a:cubicBezTo>
                    <a:pt x="2453" y="489"/>
                    <a:pt x="2358" y="620"/>
                    <a:pt x="2263" y="763"/>
                  </a:cubicBezTo>
                  <a:cubicBezTo>
                    <a:pt x="1715" y="1084"/>
                    <a:pt x="1286" y="1537"/>
                    <a:pt x="1001" y="2037"/>
                  </a:cubicBezTo>
                  <a:cubicBezTo>
                    <a:pt x="691" y="2572"/>
                    <a:pt x="524" y="3192"/>
                    <a:pt x="524" y="3858"/>
                  </a:cubicBezTo>
                  <a:cubicBezTo>
                    <a:pt x="524" y="5108"/>
                    <a:pt x="870" y="6251"/>
                    <a:pt x="1144" y="6990"/>
                  </a:cubicBezTo>
                  <a:cubicBezTo>
                    <a:pt x="1358" y="7525"/>
                    <a:pt x="1548" y="7942"/>
                    <a:pt x="1667" y="8156"/>
                  </a:cubicBezTo>
                  <a:lnTo>
                    <a:pt x="810" y="8454"/>
                  </a:lnTo>
                  <a:cubicBezTo>
                    <a:pt x="334" y="8621"/>
                    <a:pt x="1" y="9073"/>
                    <a:pt x="1" y="9597"/>
                  </a:cubicBezTo>
                  <a:lnTo>
                    <a:pt x="1" y="10954"/>
                  </a:lnTo>
                  <a:cubicBezTo>
                    <a:pt x="1" y="11038"/>
                    <a:pt x="72" y="11121"/>
                    <a:pt x="167" y="11121"/>
                  </a:cubicBezTo>
                  <a:cubicBezTo>
                    <a:pt x="251" y="11121"/>
                    <a:pt x="322" y="11038"/>
                    <a:pt x="322" y="10954"/>
                  </a:cubicBezTo>
                  <a:lnTo>
                    <a:pt x="322" y="9633"/>
                  </a:lnTo>
                  <a:cubicBezTo>
                    <a:pt x="322" y="9252"/>
                    <a:pt x="560" y="8918"/>
                    <a:pt x="917" y="8799"/>
                  </a:cubicBezTo>
                  <a:lnTo>
                    <a:pt x="1191" y="8704"/>
                  </a:lnTo>
                  <a:cubicBezTo>
                    <a:pt x="1810" y="9561"/>
                    <a:pt x="2941" y="10097"/>
                    <a:pt x="4180" y="10097"/>
                  </a:cubicBezTo>
                  <a:cubicBezTo>
                    <a:pt x="4727" y="10097"/>
                    <a:pt x="5287" y="10002"/>
                    <a:pt x="5775" y="9788"/>
                  </a:cubicBezTo>
                  <a:cubicBezTo>
                    <a:pt x="5858" y="9764"/>
                    <a:pt x="5894" y="9657"/>
                    <a:pt x="5858" y="9585"/>
                  </a:cubicBezTo>
                  <a:cubicBezTo>
                    <a:pt x="5840" y="9512"/>
                    <a:pt x="5773" y="9481"/>
                    <a:pt x="5711" y="9481"/>
                  </a:cubicBezTo>
                  <a:cubicBezTo>
                    <a:pt x="5692" y="9481"/>
                    <a:pt x="5673" y="9484"/>
                    <a:pt x="5656" y="9490"/>
                  </a:cubicBezTo>
                  <a:cubicBezTo>
                    <a:pt x="5204" y="9680"/>
                    <a:pt x="4704" y="9788"/>
                    <a:pt x="4180" y="9788"/>
                  </a:cubicBezTo>
                  <a:cubicBezTo>
                    <a:pt x="3096" y="9788"/>
                    <a:pt x="2084" y="9347"/>
                    <a:pt x="1513" y="8609"/>
                  </a:cubicBezTo>
                  <a:lnTo>
                    <a:pt x="2727" y="8180"/>
                  </a:lnTo>
                  <a:cubicBezTo>
                    <a:pt x="3061" y="8061"/>
                    <a:pt x="3299" y="7740"/>
                    <a:pt x="3299" y="7383"/>
                  </a:cubicBezTo>
                  <a:lnTo>
                    <a:pt x="3299" y="6823"/>
                  </a:lnTo>
                  <a:cubicBezTo>
                    <a:pt x="3572" y="6930"/>
                    <a:pt x="3870" y="6990"/>
                    <a:pt x="4180" y="6990"/>
                  </a:cubicBezTo>
                  <a:cubicBezTo>
                    <a:pt x="4489" y="6990"/>
                    <a:pt x="4787" y="6930"/>
                    <a:pt x="5061" y="6823"/>
                  </a:cubicBezTo>
                  <a:lnTo>
                    <a:pt x="5061" y="7383"/>
                  </a:lnTo>
                  <a:cubicBezTo>
                    <a:pt x="5061" y="7740"/>
                    <a:pt x="5287" y="8061"/>
                    <a:pt x="5644" y="8180"/>
                  </a:cubicBezTo>
                  <a:lnTo>
                    <a:pt x="6847" y="8609"/>
                  </a:lnTo>
                  <a:cubicBezTo>
                    <a:pt x="6680" y="8823"/>
                    <a:pt x="6478" y="9014"/>
                    <a:pt x="6239" y="9180"/>
                  </a:cubicBezTo>
                  <a:cubicBezTo>
                    <a:pt x="6156" y="9228"/>
                    <a:pt x="6144" y="9323"/>
                    <a:pt x="6192" y="9407"/>
                  </a:cubicBezTo>
                  <a:cubicBezTo>
                    <a:pt x="6216" y="9442"/>
                    <a:pt x="6275" y="9478"/>
                    <a:pt x="6323" y="9478"/>
                  </a:cubicBezTo>
                  <a:cubicBezTo>
                    <a:pt x="6359" y="9478"/>
                    <a:pt x="6382" y="9466"/>
                    <a:pt x="6418" y="9442"/>
                  </a:cubicBezTo>
                  <a:cubicBezTo>
                    <a:pt x="6716" y="9240"/>
                    <a:pt x="6966" y="9002"/>
                    <a:pt x="7156" y="8716"/>
                  </a:cubicBezTo>
                  <a:lnTo>
                    <a:pt x="7430" y="8811"/>
                  </a:lnTo>
                  <a:cubicBezTo>
                    <a:pt x="7787" y="8930"/>
                    <a:pt x="8025" y="9264"/>
                    <a:pt x="8025" y="9645"/>
                  </a:cubicBezTo>
                  <a:lnTo>
                    <a:pt x="8025" y="10990"/>
                  </a:lnTo>
                  <a:cubicBezTo>
                    <a:pt x="8025" y="11085"/>
                    <a:pt x="8097" y="11157"/>
                    <a:pt x="8180" y="11157"/>
                  </a:cubicBezTo>
                  <a:cubicBezTo>
                    <a:pt x="8275" y="11157"/>
                    <a:pt x="8347" y="11085"/>
                    <a:pt x="8347" y="10990"/>
                  </a:cubicBezTo>
                  <a:lnTo>
                    <a:pt x="8347" y="9633"/>
                  </a:lnTo>
                  <a:cubicBezTo>
                    <a:pt x="8323" y="9109"/>
                    <a:pt x="7990" y="8657"/>
                    <a:pt x="7513" y="8478"/>
                  </a:cubicBezTo>
                  <a:lnTo>
                    <a:pt x="6620" y="8168"/>
                  </a:lnTo>
                  <a:cubicBezTo>
                    <a:pt x="6740" y="7978"/>
                    <a:pt x="7013" y="7525"/>
                    <a:pt x="7263" y="6918"/>
                  </a:cubicBezTo>
                  <a:cubicBezTo>
                    <a:pt x="7847" y="5561"/>
                    <a:pt x="7978" y="4489"/>
                    <a:pt x="7978" y="3823"/>
                  </a:cubicBezTo>
                  <a:cubicBezTo>
                    <a:pt x="7978" y="1703"/>
                    <a:pt x="6263" y="1"/>
                    <a:pt x="4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7" name="Google Shape;11907;p61"/>
            <p:cNvSpPr/>
            <p:nvPr/>
          </p:nvSpPr>
          <p:spPr>
            <a:xfrm>
              <a:off x="8164972" y="2582371"/>
              <a:ext cx="43782" cy="15492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79" y="0"/>
                  </a:moveTo>
                  <a:cubicBezTo>
                    <a:pt x="140" y="0"/>
                    <a:pt x="101" y="12"/>
                    <a:pt x="72" y="36"/>
                  </a:cubicBezTo>
                  <a:cubicBezTo>
                    <a:pt x="0" y="96"/>
                    <a:pt x="0" y="203"/>
                    <a:pt x="72" y="262"/>
                  </a:cubicBezTo>
                  <a:cubicBezTo>
                    <a:pt x="203" y="393"/>
                    <a:pt x="441" y="489"/>
                    <a:pt x="703" y="489"/>
                  </a:cubicBezTo>
                  <a:cubicBezTo>
                    <a:pt x="965" y="489"/>
                    <a:pt x="1191" y="393"/>
                    <a:pt x="1346" y="262"/>
                  </a:cubicBezTo>
                  <a:cubicBezTo>
                    <a:pt x="1381" y="203"/>
                    <a:pt x="1381" y="120"/>
                    <a:pt x="1322" y="36"/>
                  </a:cubicBezTo>
                  <a:cubicBezTo>
                    <a:pt x="1292" y="12"/>
                    <a:pt x="1250" y="0"/>
                    <a:pt x="1209" y="0"/>
                  </a:cubicBezTo>
                  <a:cubicBezTo>
                    <a:pt x="1167" y="0"/>
                    <a:pt x="1125" y="12"/>
                    <a:pt x="1096" y="36"/>
                  </a:cubicBezTo>
                  <a:cubicBezTo>
                    <a:pt x="1036" y="96"/>
                    <a:pt x="881" y="179"/>
                    <a:pt x="691" y="179"/>
                  </a:cubicBezTo>
                  <a:cubicBezTo>
                    <a:pt x="488" y="179"/>
                    <a:pt x="346" y="96"/>
                    <a:pt x="286" y="36"/>
                  </a:cubicBezTo>
                  <a:cubicBezTo>
                    <a:pt x="256" y="12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8" name="Google Shape;11908;p61"/>
            <p:cNvSpPr/>
            <p:nvPr/>
          </p:nvSpPr>
          <p:spPr>
            <a:xfrm>
              <a:off x="8141592" y="2519137"/>
              <a:ext cx="18501" cy="13844"/>
            </a:xfrm>
            <a:custGeom>
              <a:avLst/>
              <a:gdLst/>
              <a:ahLst/>
              <a:cxnLst/>
              <a:rect l="l" t="t" r="r" b="b"/>
              <a:pathLst>
                <a:path w="584" h="437" extrusionOk="0">
                  <a:moveTo>
                    <a:pt x="404" y="1"/>
                  </a:moveTo>
                  <a:cubicBezTo>
                    <a:pt x="381" y="1"/>
                    <a:pt x="357" y="7"/>
                    <a:pt x="333" y="20"/>
                  </a:cubicBezTo>
                  <a:lnTo>
                    <a:pt x="119" y="115"/>
                  </a:lnTo>
                  <a:cubicBezTo>
                    <a:pt x="48" y="163"/>
                    <a:pt x="0" y="258"/>
                    <a:pt x="48" y="341"/>
                  </a:cubicBezTo>
                  <a:cubicBezTo>
                    <a:pt x="71" y="401"/>
                    <a:pt x="131" y="437"/>
                    <a:pt x="191" y="437"/>
                  </a:cubicBezTo>
                  <a:cubicBezTo>
                    <a:pt x="226" y="437"/>
                    <a:pt x="238" y="437"/>
                    <a:pt x="274" y="413"/>
                  </a:cubicBezTo>
                  <a:lnTo>
                    <a:pt x="476" y="318"/>
                  </a:lnTo>
                  <a:cubicBezTo>
                    <a:pt x="548" y="270"/>
                    <a:pt x="583" y="163"/>
                    <a:pt x="548" y="91"/>
                  </a:cubicBezTo>
                  <a:cubicBezTo>
                    <a:pt x="522" y="40"/>
                    <a:pt x="465" y="1"/>
                    <a:pt x="4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9" name="Google Shape;11909;p61"/>
            <p:cNvSpPr/>
            <p:nvPr/>
          </p:nvSpPr>
          <p:spPr>
            <a:xfrm>
              <a:off x="8211731" y="2518409"/>
              <a:ext cx="18881" cy="13812"/>
            </a:xfrm>
            <a:custGeom>
              <a:avLst/>
              <a:gdLst/>
              <a:ahLst/>
              <a:cxnLst/>
              <a:rect l="l" t="t" r="r" b="b"/>
              <a:pathLst>
                <a:path w="596" h="436" extrusionOk="0">
                  <a:moveTo>
                    <a:pt x="208" y="0"/>
                  </a:moveTo>
                  <a:cubicBezTo>
                    <a:pt x="148" y="0"/>
                    <a:pt x="83" y="39"/>
                    <a:pt x="48" y="91"/>
                  </a:cubicBezTo>
                  <a:cubicBezTo>
                    <a:pt x="1" y="174"/>
                    <a:pt x="48" y="269"/>
                    <a:pt x="120" y="317"/>
                  </a:cubicBezTo>
                  <a:lnTo>
                    <a:pt x="334" y="424"/>
                  </a:lnTo>
                  <a:cubicBezTo>
                    <a:pt x="358" y="436"/>
                    <a:pt x="382" y="436"/>
                    <a:pt x="405" y="436"/>
                  </a:cubicBezTo>
                  <a:cubicBezTo>
                    <a:pt x="465" y="436"/>
                    <a:pt x="524" y="412"/>
                    <a:pt x="560" y="353"/>
                  </a:cubicBezTo>
                  <a:cubicBezTo>
                    <a:pt x="596" y="257"/>
                    <a:pt x="572" y="174"/>
                    <a:pt x="477" y="126"/>
                  </a:cubicBezTo>
                  <a:lnTo>
                    <a:pt x="274" y="19"/>
                  </a:lnTo>
                  <a:cubicBezTo>
                    <a:pt x="255" y="6"/>
                    <a:pt x="232" y="0"/>
                    <a:pt x="2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0" name="Google Shape;11910;p61"/>
          <p:cNvGrpSpPr/>
          <p:nvPr/>
        </p:nvGrpSpPr>
        <p:grpSpPr>
          <a:xfrm>
            <a:off x="5356413" y="2413390"/>
            <a:ext cx="271212" cy="361374"/>
            <a:chOff x="5356413" y="2413390"/>
            <a:chExt cx="271212" cy="361374"/>
          </a:xfrm>
        </p:grpSpPr>
        <p:sp>
          <p:nvSpPr>
            <p:cNvPr id="11911" name="Google Shape;11911;p61"/>
            <p:cNvSpPr/>
            <p:nvPr/>
          </p:nvSpPr>
          <p:spPr>
            <a:xfrm>
              <a:off x="5453734" y="252579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2" name="Google Shape;11912;p61"/>
            <p:cNvSpPr/>
            <p:nvPr/>
          </p:nvSpPr>
          <p:spPr>
            <a:xfrm>
              <a:off x="5521624" y="252579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3" name="Google Shape;11913;p61"/>
            <p:cNvSpPr/>
            <p:nvPr/>
          </p:nvSpPr>
          <p:spPr>
            <a:xfrm>
              <a:off x="5356413" y="2413390"/>
              <a:ext cx="271212" cy="361374"/>
            </a:xfrm>
            <a:custGeom>
              <a:avLst/>
              <a:gdLst/>
              <a:ahLst/>
              <a:cxnLst/>
              <a:rect l="l" t="t" r="r" b="b"/>
              <a:pathLst>
                <a:path w="8561" h="11407" extrusionOk="0">
                  <a:moveTo>
                    <a:pt x="4215" y="298"/>
                  </a:moveTo>
                  <a:cubicBezTo>
                    <a:pt x="4394" y="298"/>
                    <a:pt x="4560" y="381"/>
                    <a:pt x="4679" y="512"/>
                  </a:cubicBezTo>
                  <a:cubicBezTo>
                    <a:pt x="4707" y="549"/>
                    <a:pt x="4762" y="564"/>
                    <a:pt x="4813" y="564"/>
                  </a:cubicBezTo>
                  <a:cubicBezTo>
                    <a:pt x="4829" y="564"/>
                    <a:pt x="4844" y="563"/>
                    <a:pt x="4858" y="560"/>
                  </a:cubicBezTo>
                  <a:cubicBezTo>
                    <a:pt x="4965" y="512"/>
                    <a:pt x="5072" y="501"/>
                    <a:pt x="5180" y="501"/>
                  </a:cubicBezTo>
                  <a:cubicBezTo>
                    <a:pt x="5644" y="501"/>
                    <a:pt x="6037" y="834"/>
                    <a:pt x="6072" y="1310"/>
                  </a:cubicBezTo>
                  <a:cubicBezTo>
                    <a:pt x="6072" y="1370"/>
                    <a:pt x="6120" y="1429"/>
                    <a:pt x="6180" y="1453"/>
                  </a:cubicBezTo>
                  <a:cubicBezTo>
                    <a:pt x="6453" y="1560"/>
                    <a:pt x="6608" y="1822"/>
                    <a:pt x="6608" y="2120"/>
                  </a:cubicBezTo>
                  <a:cubicBezTo>
                    <a:pt x="6608" y="2525"/>
                    <a:pt x="6287" y="2846"/>
                    <a:pt x="5882" y="2846"/>
                  </a:cubicBezTo>
                  <a:cubicBezTo>
                    <a:pt x="5632" y="2846"/>
                    <a:pt x="5406" y="2715"/>
                    <a:pt x="5275" y="2501"/>
                  </a:cubicBezTo>
                  <a:cubicBezTo>
                    <a:pt x="5239" y="2465"/>
                    <a:pt x="5180" y="2429"/>
                    <a:pt x="5120" y="2429"/>
                  </a:cubicBezTo>
                  <a:cubicBezTo>
                    <a:pt x="5096" y="2429"/>
                    <a:pt x="5084" y="2429"/>
                    <a:pt x="5049" y="2441"/>
                  </a:cubicBezTo>
                  <a:cubicBezTo>
                    <a:pt x="4977" y="2489"/>
                    <a:pt x="4882" y="2501"/>
                    <a:pt x="4810" y="2501"/>
                  </a:cubicBezTo>
                  <a:cubicBezTo>
                    <a:pt x="4513" y="2501"/>
                    <a:pt x="4263" y="2263"/>
                    <a:pt x="4263" y="1953"/>
                  </a:cubicBezTo>
                  <a:cubicBezTo>
                    <a:pt x="4263" y="1905"/>
                    <a:pt x="4263" y="1858"/>
                    <a:pt x="4275" y="1822"/>
                  </a:cubicBezTo>
                  <a:cubicBezTo>
                    <a:pt x="4287" y="1774"/>
                    <a:pt x="4275" y="1715"/>
                    <a:pt x="4251" y="1691"/>
                  </a:cubicBezTo>
                  <a:cubicBezTo>
                    <a:pt x="4215" y="1644"/>
                    <a:pt x="4167" y="1632"/>
                    <a:pt x="4132" y="1608"/>
                  </a:cubicBezTo>
                  <a:cubicBezTo>
                    <a:pt x="3798" y="1584"/>
                    <a:pt x="3548" y="1310"/>
                    <a:pt x="3548" y="989"/>
                  </a:cubicBezTo>
                  <a:cubicBezTo>
                    <a:pt x="3572" y="596"/>
                    <a:pt x="3858" y="298"/>
                    <a:pt x="4215" y="298"/>
                  </a:cubicBezTo>
                  <a:close/>
                  <a:moveTo>
                    <a:pt x="6763" y="2715"/>
                  </a:moveTo>
                  <a:cubicBezTo>
                    <a:pt x="6787" y="2858"/>
                    <a:pt x="6811" y="3013"/>
                    <a:pt x="6811" y="3179"/>
                  </a:cubicBezTo>
                  <a:lnTo>
                    <a:pt x="6811" y="3370"/>
                  </a:lnTo>
                  <a:lnTo>
                    <a:pt x="6608" y="3370"/>
                  </a:lnTo>
                  <a:cubicBezTo>
                    <a:pt x="6513" y="3370"/>
                    <a:pt x="6418" y="3275"/>
                    <a:pt x="6418" y="3179"/>
                  </a:cubicBezTo>
                  <a:lnTo>
                    <a:pt x="6418" y="3025"/>
                  </a:lnTo>
                  <a:cubicBezTo>
                    <a:pt x="6549" y="2953"/>
                    <a:pt x="6668" y="2834"/>
                    <a:pt x="6763" y="2715"/>
                  </a:cubicBezTo>
                  <a:close/>
                  <a:moveTo>
                    <a:pt x="1608" y="2215"/>
                  </a:moveTo>
                  <a:cubicBezTo>
                    <a:pt x="1512" y="2513"/>
                    <a:pt x="1465" y="2810"/>
                    <a:pt x="1465" y="3144"/>
                  </a:cubicBezTo>
                  <a:lnTo>
                    <a:pt x="1465" y="3382"/>
                  </a:lnTo>
                  <a:cubicBezTo>
                    <a:pt x="1250" y="3489"/>
                    <a:pt x="1108" y="3691"/>
                    <a:pt x="1108" y="3930"/>
                  </a:cubicBezTo>
                  <a:cubicBezTo>
                    <a:pt x="1108" y="4275"/>
                    <a:pt x="1370" y="4549"/>
                    <a:pt x="1715" y="4549"/>
                  </a:cubicBezTo>
                  <a:lnTo>
                    <a:pt x="1822" y="4549"/>
                  </a:lnTo>
                  <a:lnTo>
                    <a:pt x="1822" y="4561"/>
                  </a:lnTo>
                  <a:cubicBezTo>
                    <a:pt x="1822" y="5049"/>
                    <a:pt x="1953" y="5501"/>
                    <a:pt x="2203" y="5882"/>
                  </a:cubicBezTo>
                  <a:cubicBezTo>
                    <a:pt x="2092" y="5973"/>
                    <a:pt x="1972" y="6004"/>
                    <a:pt x="1844" y="6004"/>
                  </a:cubicBezTo>
                  <a:cubicBezTo>
                    <a:pt x="1821" y="6004"/>
                    <a:pt x="1798" y="6003"/>
                    <a:pt x="1774" y="6001"/>
                  </a:cubicBezTo>
                  <a:cubicBezTo>
                    <a:pt x="1334" y="5989"/>
                    <a:pt x="953" y="5632"/>
                    <a:pt x="917" y="5180"/>
                  </a:cubicBezTo>
                  <a:lnTo>
                    <a:pt x="917" y="4989"/>
                  </a:lnTo>
                  <a:cubicBezTo>
                    <a:pt x="929" y="4811"/>
                    <a:pt x="881" y="4644"/>
                    <a:pt x="762" y="4549"/>
                  </a:cubicBezTo>
                  <a:cubicBezTo>
                    <a:pt x="631" y="4406"/>
                    <a:pt x="536" y="4215"/>
                    <a:pt x="536" y="4025"/>
                  </a:cubicBezTo>
                  <a:cubicBezTo>
                    <a:pt x="536" y="3751"/>
                    <a:pt x="691" y="3513"/>
                    <a:pt x="917" y="3394"/>
                  </a:cubicBezTo>
                  <a:cubicBezTo>
                    <a:pt x="1072" y="3310"/>
                    <a:pt x="1155" y="3120"/>
                    <a:pt x="1096" y="2941"/>
                  </a:cubicBezTo>
                  <a:cubicBezTo>
                    <a:pt x="1060" y="2834"/>
                    <a:pt x="1060" y="2727"/>
                    <a:pt x="1096" y="2620"/>
                  </a:cubicBezTo>
                  <a:cubicBezTo>
                    <a:pt x="1131" y="2429"/>
                    <a:pt x="1298" y="2286"/>
                    <a:pt x="1489" y="2239"/>
                  </a:cubicBezTo>
                  <a:cubicBezTo>
                    <a:pt x="1536" y="2215"/>
                    <a:pt x="1572" y="2215"/>
                    <a:pt x="1608" y="2215"/>
                  </a:cubicBezTo>
                  <a:close/>
                  <a:moveTo>
                    <a:pt x="6977" y="2251"/>
                  </a:moveTo>
                  <a:cubicBezTo>
                    <a:pt x="7025" y="2251"/>
                    <a:pt x="7061" y="2251"/>
                    <a:pt x="7108" y="2263"/>
                  </a:cubicBezTo>
                  <a:cubicBezTo>
                    <a:pt x="7299" y="2310"/>
                    <a:pt x="7442" y="2453"/>
                    <a:pt x="7501" y="2656"/>
                  </a:cubicBezTo>
                  <a:cubicBezTo>
                    <a:pt x="7537" y="2763"/>
                    <a:pt x="7537" y="2858"/>
                    <a:pt x="7501" y="2965"/>
                  </a:cubicBezTo>
                  <a:cubicBezTo>
                    <a:pt x="7442" y="3144"/>
                    <a:pt x="7525" y="3334"/>
                    <a:pt x="7680" y="3429"/>
                  </a:cubicBezTo>
                  <a:cubicBezTo>
                    <a:pt x="7918" y="3560"/>
                    <a:pt x="8061" y="3799"/>
                    <a:pt x="8061" y="4049"/>
                  </a:cubicBezTo>
                  <a:cubicBezTo>
                    <a:pt x="8061" y="4251"/>
                    <a:pt x="7977" y="4441"/>
                    <a:pt x="7835" y="4572"/>
                  </a:cubicBezTo>
                  <a:cubicBezTo>
                    <a:pt x="7727" y="4680"/>
                    <a:pt x="7668" y="4846"/>
                    <a:pt x="7680" y="5025"/>
                  </a:cubicBezTo>
                  <a:cubicBezTo>
                    <a:pt x="7704" y="5084"/>
                    <a:pt x="7704" y="5156"/>
                    <a:pt x="7680" y="5215"/>
                  </a:cubicBezTo>
                  <a:cubicBezTo>
                    <a:pt x="7644" y="5644"/>
                    <a:pt x="7263" y="6001"/>
                    <a:pt x="6823" y="6037"/>
                  </a:cubicBezTo>
                  <a:cubicBezTo>
                    <a:pt x="6668" y="6037"/>
                    <a:pt x="6525" y="6001"/>
                    <a:pt x="6394" y="5942"/>
                  </a:cubicBezTo>
                  <a:cubicBezTo>
                    <a:pt x="6632" y="5561"/>
                    <a:pt x="6775" y="5108"/>
                    <a:pt x="6775" y="4620"/>
                  </a:cubicBezTo>
                  <a:lnTo>
                    <a:pt x="6775" y="4608"/>
                  </a:lnTo>
                  <a:lnTo>
                    <a:pt x="6882" y="4608"/>
                  </a:lnTo>
                  <a:cubicBezTo>
                    <a:pt x="7227" y="4608"/>
                    <a:pt x="7489" y="4334"/>
                    <a:pt x="7489" y="3989"/>
                  </a:cubicBezTo>
                  <a:cubicBezTo>
                    <a:pt x="7489" y="3739"/>
                    <a:pt x="7346" y="3537"/>
                    <a:pt x="7132" y="3441"/>
                  </a:cubicBezTo>
                  <a:lnTo>
                    <a:pt x="7132" y="3179"/>
                  </a:lnTo>
                  <a:cubicBezTo>
                    <a:pt x="7132" y="2858"/>
                    <a:pt x="7085" y="2548"/>
                    <a:pt x="6977" y="2251"/>
                  </a:cubicBezTo>
                  <a:close/>
                  <a:moveTo>
                    <a:pt x="3239" y="893"/>
                  </a:moveTo>
                  <a:lnTo>
                    <a:pt x="3239" y="941"/>
                  </a:lnTo>
                  <a:cubicBezTo>
                    <a:pt x="3239" y="1370"/>
                    <a:pt x="3536" y="1763"/>
                    <a:pt x="3953" y="1870"/>
                  </a:cubicBezTo>
                  <a:lnTo>
                    <a:pt x="3953" y="1905"/>
                  </a:lnTo>
                  <a:cubicBezTo>
                    <a:pt x="3953" y="2394"/>
                    <a:pt x="4334" y="2787"/>
                    <a:pt x="4822" y="2787"/>
                  </a:cubicBezTo>
                  <a:cubicBezTo>
                    <a:pt x="4918" y="2787"/>
                    <a:pt x="4989" y="2775"/>
                    <a:pt x="5084" y="2739"/>
                  </a:cubicBezTo>
                  <a:cubicBezTo>
                    <a:pt x="5275" y="3001"/>
                    <a:pt x="5572" y="3132"/>
                    <a:pt x="5894" y="3132"/>
                  </a:cubicBezTo>
                  <a:cubicBezTo>
                    <a:pt x="5953" y="3132"/>
                    <a:pt x="6037" y="3132"/>
                    <a:pt x="6096" y="3120"/>
                  </a:cubicBezTo>
                  <a:lnTo>
                    <a:pt x="6096" y="3144"/>
                  </a:lnTo>
                  <a:cubicBezTo>
                    <a:pt x="6096" y="3429"/>
                    <a:pt x="6334" y="3668"/>
                    <a:pt x="6608" y="3668"/>
                  </a:cubicBezTo>
                  <a:lnTo>
                    <a:pt x="6882" y="3668"/>
                  </a:lnTo>
                  <a:cubicBezTo>
                    <a:pt x="7025" y="3668"/>
                    <a:pt x="7168" y="3787"/>
                    <a:pt x="7168" y="3953"/>
                  </a:cubicBezTo>
                  <a:cubicBezTo>
                    <a:pt x="7168" y="4096"/>
                    <a:pt x="7049" y="4227"/>
                    <a:pt x="6882" y="4227"/>
                  </a:cubicBezTo>
                  <a:lnTo>
                    <a:pt x="6775" y="4227"/>
                  </a:lnTo>
                  <a:lnTo>
                    <a:pt x="6775" y="4215"/>
                  </a:lnTo>
                  <a:cubicBezTo>
                    <a:pt x="6775" y="4132"/>
                    <a:pt x="6704" y="4049"/>
                    <a:pt x="6608" y="4049"/>
                  </a:cubicBezTo>
                  <a:cubicBezTo>
                    <a:pt x="6525" y="4049"/>
                    <a:pt x="6453" y="4132"/>
                    <a:pt x="6453" y="4215"/>
                  </a:cubicBezTo>
                  <a:lnTo>
                    <a:pt x="6453" y="4572"/>
                  </a:lnTo>
                  <a:cubicBezTo>
                    <a:pt x="6453" y="5763"/>
                    <a:pt x="5477" y="6716"/>
                    <a:pt x="4310" y="6716"/>
                  </a:cubicBezTo>
                  <a:cubicBezTo>
                    <a:pt x="4289" y="6716"/>
                    <a:pt x="4268" y="6717"/>
                    <a:pt x="4247" y="6717"/>
                  </a:cubicBezTo>
                  <a:cubicBezTo>
                    <a:pt x="3086" y="6717"/>
                    <a:pt x="2167" y="5754"/>
                    <a:pt x="2167" y="4584"/>
                  </a:cubicBezTo>
                  <a:lnTo>
                    <a:pt x="2167" y="4227"/>
                  </a:lnTo>
                  <a:cubicBezTo>
                    <a:pt x="2167" y="4144"/>
                    <a:pt x="2084" y="4072"/>
                    <a:pt x="2001" y="4072"/>
                  </a:cubicBezTo>
                  <a:cubicBezTo>
                    <a:pt x="1905" y="4072"/>
                    <a:pt x="1834" y="4144"/>
                    <a:pt x="1834" y="4227"/>
                  </a:cubicBezTo>
                  <a:lnTo>
                    <a:pt x="1834" y="4251"/>
                  </a:lnTo>
                  <a:lnTo>
                    <a:pt x="1727" y="4251"/>
                  </a:lnTo>
                  <a:cubicBezTo>
                    <a:pt x="1584" y="4251"/>
                    <a:pt x="1453" y="4132"/>
                    <a:pt x="1453" y="3965"/>
                  </a:cubicBezTo>
                  <a:cubicBezTo>
                    <a:pt x="1453" y="3810"/>
                    <a:pt x="1572" y="3679"/>
                    <a:pt x="1727" y="3679"/>
                  </a:cubicBezTo>
                  <a:lnTo>
                    <a:pt x="2001" y="3679"/>
                  </a:lnTo>
                  <a:cubicBezTo>
                    <a:pt x="2286" y="3679"/>
                    <a:pt x="2524" y="3441"/>
                    <a:pt x="2524" y="3156"/>
                  </a:cubicBezTo>
                  <a:cubicBezTo>
                    <a:pt x="2524" y="2667"/>
                    <a:pt x="2715" y="2191"/>
                    <a:pt x="3084" y="1846"/>
                  </a:cubicBezTo>
                  <a:cubicBezTo>
                    <a:pt x="3155" y="1786"/>
                    <a:pt x="3155" y="1691"/>
                    <a:pt x="3084" y="1608"/>
                  </a:cubicBezTo>
                  <a:cubicBezTo>
                    <a:pt x="3054" y="1572"/>
                    <a:pt x="3013" y="1554"/>
                    <a:pt x="2969" y="1554"/>
                  </a:cubicBezTo>
                  <a:cubicBezTo>
                    <a:pt x="2926" y="1554"/>
                    <a:pt x="2882" y="1572"/>
                    <a:pt x="2846" y="1608"/>
                  </a:cubicBezTo>
                  <a:cubicBezTo>
                    <a:pt x="2417" y="2013"/>
                    <a:pt x="2179" y="2560"/>
                    <a:pt x="2179" y="3156"/>
                  </a:cubicBezTo>
                  <a:cubicBezTo>
                    <a:pt x="2179" y="3263"/>
                    <a:pt x="2084" y="3358"/>
                    <a:pt x="1989" y="3358"/>
                  </a:cubicBezTo>
                  <a:lnTo>
                    <a:pt x="1786" y="3358"/>
                  </a:lnTo>
                  <a:lnTo>
                    <a:pt x="1786" y="3179"/>
                  </a:lnTo>
                  <a:cubicBezTo>
                    <a:pt x="1786" y="2191"/>
                    <a:pt x="2358" y="1310"/>
                    <a:pt x="3239" y="893"/>
                  </a:cubicBezTo>
                  <a:close/>
                  <a:moveTo>
                    <a:pt x="5227" y="6894"/>
                  </a:moveTo>
                  <a:lnTo>
                    <a:pt x="5227" y="7251"/>
                  </a:lnTo>
                  <a:cubicBezTo>
                    <a:pt x="5227" y="7359"/>
                    <a:pt x="5215" y="7454"/>
                    <a:pt x="5168" y="7561"/>
                  </a:cubicBezTo>
                  <a:cubicBezTo>
                    <a:pt x="5144" y="7656"/>
                    <a:pt x="5180" y="7740"/>
                    <a:pt x="5275" y="7775"/>
                  </a:cubicBezTo>
                  <a:cubicBezTo>
                    <a:pt x="5287" y="7775"/>
                    <a:pt x="5322" y="7787"/>
                    <a:pt x="5334" y="7787"/>
                  </a:cubicBezTo>
                  <a:cubicBezTo>
                    <a:pt x="5406" y="7787"/>
                    <a:pt x="5465" y="7740"/>
                    <a:pt x="5501" y="7680"/>
                  </a:cubicBezTo>
                  <a:cubicBezTo>
                    <a:pt x="5537" y="7549"/>
                    <a:pt x="5572" y="7418"/>
                    <a:pt x="5572" y="7263"/>
                  </a:cubicBezTo>
                  <a:lnTo>
                    <a:pt x="5572" y="7192"/>
                  </a:lnTo>
                  <a:cubicBezTo>
                    <a:pt x="5930" y="7251"/>
                    <a:pt x="6299" y="7359"/>
                    <a:pt x="6644" y="7478"/>
                  </a:cubicBezTo>
                  <a:cubicBezTo>
                    <a:pt x="6644" y="7478"/>
                    <a:pt x="6656" y="7478"/>
                    <a:pt x="6656" y="7489"/>
                  </a:cubicBezTo>
                  <a:cubicBezTo>
                    <a:pt x="6561" y="8037"/>
                    <a:pt x="6299" y="8573"/>
                    <a:pt x="5882" y="8978"/>
                  </a:cubicBezTo>
                  <a:cubicBezTo>
                    <a:pt x="5453" y="9383"/>
                    <a:pt x="4906" y="9585"/>
                    <a:pt x="4310" y="9585"/>
                  </a:cubicBezTo>
                  <a:cubicBezTo>
                    <a:pt x="3727" y="9585"/>
                    <a:pt x="3155" y="9371"/>
                    <a:pt x="2727" y="8978"/>
                  </a:cubicBezTo>
                  <a:cubicBezTo>
                    <a:pt x="2298" y="8597"/>
                    <a:pt x="2048" y="8049"/>
                    <a:pt x="1989" y="7478"/>
                  </a:cubicBezTo>
                  <a:cubicBezTo>
                    <a:pt x="1989" y="7478"/>
                    <a:pt x="1989" y="7454"/>
                    <a:pt x="2001" y="7454"/>
                  </a:cubicBezTo>
                  <a:cubicBezTo>
                    <a:pt x="2346" y="7347"/>
                    <a:pt x="2715" y="7251"/>
                    <a:pt x="3072" y="7180"/>
                  </a:cubicBezTo>
                  <a:lnTo>
                    <a:pt x="3072" y="7251"/>
                  </a:lnTo>
                  <a:cubicBezTo>
                    <a:pt x="3072" y="7942"/>
                    <a:pt x="3620" y="8490"/>
                    <a:pt x="4310" y="8490"/>
                  </a:cubicBezTo>
                  <a:cubicBezTo>
                    <a:pt x="4525" y="8490"/>
                    <a:pt x="4739" y="8430"/>
                    <a:pt x="4929" y="8323"/>
                  </a:cubicBezTo>
                  <a:cubicBezTo>
                    <a:pt x="5001" y="8275"/>
                    <a:pt x="5037" y="8168"/>
                    <a:pt x="4989" y="8097"/>
                  </a:cubicBezTo>
                  <a:cubicBezTo>
                    <a:pt x="4956" y="8048"/>
                    <a:pt x="4901" y="8015"/>
                    <a:pt x="4843" y="8015"/>
                  </a:cubicBezTo>
                  <a:cubicBezTo>
                    <a:pt x="4816" y="8015"/>
                    <a:pt x="4789" y="8022"/>
                    <a:pt x="4763" y="8037"/>
                  </a:cubicBezTo>
                  <a:cubicBezTo>
                    <a:pt x="4632" y="8109"/>
                    <a:pt x="4465" y="8156"/>
                    <a:pt x="4322" y="8156"/>
                  </a:cubicBezTo>
                  <a:cubicBezTo>
                    <a:pt x="3834" y="8156"/>
                    <a:pt x="3417" y="7751"/>
                    <a:pt x="3417" y="7251"/>
                  </a:cubicBezTo>
                  <a:lnTo>
                    <a:pt x="3417" y="6894"/>
                  </a:lnTo>
                  <a:cubicBezTo>
                    <a:pt x="3691" y="7001"/>
                    <a:pt x="3989" y="7061"/>
                    <a:pt x="4322" y="7061"/>
                  </a:cubicBezTo>
                  <a:cubicBezTo>
                    <a:pt x="4644" y="7061"/>
                    <a:pt x="4941" y="7001"/>
                    <a:pt x="5227" y="6894"/>
                  </a:cubicBezTo>
                  <a:close/>
                  <a:moveTo>
                    <a:pt x="4203" y="0"/>
                  </a:moveTo>
                  <a:cubicBezTo>
                    <a:pt x="3834" y="0"/>
                    <a:pt x="3501" y="215"/>
                    <a:pt x="3334" y="524"/>
                  </a:cubicBezTo>
                  <a:cubicBezTo>
                    <a:pt x="2620" y="774"/>
                    <a:pt x="2060" y="1298"/>
                    <a:pt x="1727" y="1953"/>
                  </a:cubicBezTo>
                  <a:cubicBezTo>
                    <a:pt x="1687" y="1948"/>
                    <a:pt x="1646" y="1945"/>
                    <a:pt x="1602" y="1945"/>
                  </a:cubicBezTo>
                  <a:cubicBezTo>
                    <a:pt x="1541" y="1945"/>
                    <a:pt x="1475" y="1951"/>
                    <a:pt x="1405" y="1965"/>
                  </a:cubicBezTo>
                  <a:cubicBezTo>
                    <a:pt x="1096" y="2048"/>
                    <a:pt x="834" y="2286"/>
                    <a:pt x="762" y="2596"/>
                  </a:cubicBezTo>
                  <a:cubicBezTo>
                    <a:pt x="715" y="2763"/>
                    <a:pt x="715" y="2941"/>
                    <a:pt x="762" y="3084"/>
                  </a:cubicBezTo>
                  <a:cubicBezTo>
                    <a:pt x="774" y="3120"/>
                    <a:pt x="762" y="3144"/>
                    <a:pt x="738" y="3144"/>
                  </a:cubicBezTo>
                  <a:cubicBezTo>
                    <a:pt x="393" y="3322"/>
                    <a:pt x="179" y="3679"/>
                    <a:pt x="179" y="4072"/>
                  </a:cubicBezTo>
                  <a:cubicBezTo>
                    <a:pt x="179" y="4346"/>
                    <a:pt x="298" y="4620"/>
                    <a:pt x="512" y="4822"/>
                  </a:cubicBezTo>
                  <a:cubicBezTo>
                    <a:pt x="560" y="4870"/>
                    <a:pt x="560" y="4965"/>
                    <a:pt x="560" y="4989"/>
                  </a:cubicBezTo>
                  <a:cubicBezTo>
                    <a:pt x="536" y="5084"/>
                    <a:pt x="536" y="5168"/>
                    <a:pt x="560" y="5263"/>
                  </a:cubicBezTo>
                  <a:cubicBezTo>
                    <a:pt x="619" y="5858"/>
                    <a:pt x="1131" y="6346"/>
                    <a:pt x="1727" y="6370"/>
                  </a:cubicBezTo>
                  <a:lnTo>
                    <a:pt x="1774" y="6370"/>
                  </a:lnTo>
                  <a:cubicBezTo>
                    <a:pt x="1989" y="6370"/>
                    <a:pt x="2191" y="6311"/>
                    <a:pt x="2370" y="6227"/>
                  </a:cubicBezTo>
                  <a:cubicBezTo>
                    <a:pt x="2560" y="6454"/>
                    <a:pt x="2786" y="6632"/>
                    <a:pt x="3024" y="6775"/>
                  </a:cubicBezTo>
                  <a:lnTo>
                    <a:pt x="3024" y="6882"/>
                  </a:lnTo>
                  <a:cubicBezTo>
                    <a:pt x="2620" y="6954"/>
                    <a:pt x="2227" y="7049"/>
                    <a:pt x="1846" y="7180"/>
                  </a:cubicBezTo>
                  <a:cubicBezTo>
                    <a:pt x="1703" y="7228"/>
                    <a:pt x="1608" y="7359"/>
                    <a:pt x="1608" y="7501"/>
                  </a:cubicBezTo>
                  <a:lnTo>
                    <a:pt x="941" y="7740"/>
                  </a:lnTo>
                  <a:cubicBezTo>
                    <a:pt x="381" y="7942"/>
                    <a:pt x="0" y="8478"/>
                    <a:pt x="0" y="9085"/>
                  </a:cubicBezTo>
                  <a:lnTo>
                    <a:pt x="0" y="11240"/>
                  </a:lnTo>
                  <a:cubicBezTo>
                    <a:pt x="0" y="11335"/>
                    <a:pt x="84" y="11407"/>
                    <a:pt x="167" y="11407"/>
                  </a:cubicBezTo>
                  <a:cubicBezTo>
                    <a:pt x="262" y="11407"/>
                    <a:pt x="334" y="11335"/>
                    <a:pt x="334" y="11240"/>
                  </a:cubicBezTo>
                  <a:lnTo>
                    <a:pt x="334" y="9085"/>
                  </a:lnTo>
                  <a:cubicBezTo>
                    <a:pt x="334" y="8621"/>
                    <a:pt x="619" y="8216"/>
                    <a:pt x="1048" y="8073"/>
                  </a:cubicBezTo>
                  <a:lnTo>
                    <a:pt x="1655" y="7859"/>
                  </a:lnTo>
                  <a:cubicBezTo>
                    <a:pt x="1774" y="8394"/>
                    <a:pt x="2036" y="8894"/>
                    <a:pt x="2465" y="9275"/>
                  </a:cubicBezTo>
                  <a:cubicBezTo>
                    <a:pt x="2905" y="9692"/>
                    <a:pt x="3489" y="9930"/>
                    <a:pt x="4096" y="9978"/>
                  </a:cubicBezTo>
                  <a:lnTo>
                    <a:pt x="4096" y="11240"/>
                  </a:lnTo>
                  <a:cubicBezTo>
                    <a:pt x="4096" y="11335"/>
                    <a:pt x="4167" y="11407"/>
                    <a:pt x="4263" y="11407"/>
                  </a:cubicBezTo>
                  <a:cubicBezTo>
                    <a:pt x="4346" y="11407"/>
                    <a:pt x="4418" y="11335"/>
                    <a:pt x="4418" y="11240"/>
                  </a:cubicBezTo>
                  <a:lnTo>
                    <a:pt x="4418" y="9978"/>
                  </a:lnTo>
                  <a:cubicBezTo>
                    <a:pt x="5037" y="9930"/>
                    <a:pt x="5596" y="9692"/>
                    <a:pt x="6061" y="9275"/>
                  </a:cubicBezTo>
                  <a:cubicBezTo>
                    <a:pt x="6477" y="8906"/>
                    <a:pt x="6739" y="8418"/>
                    <a:pt x="6858" y="7859"/>
                  </a:cubicBezTo>
                  <a:lnTo>
                    <a:pt x="7477" y="8073"/>
                  </a:lnTo>
                  <a:cubicBezTo>
                    <a:pt x="7906" y="8216"/>
                    <a:pt x="8192" y="8632"/>
                    <a:pt x="8192" y="9085"/>
                  </a:cubicBezTo>
                  <a:lnTo>
                    <a:pt x="8192" y="11240"/>
                  </a:lnTo>
                  <a:cubicBezTo>
                    <a:pt x="8192" y="11335"/>
                    <a:pt x="8263" y="11407"/>
                    <a:pt x="8347" y="11407"/>
                  </a:cubicBezTo>
                  <a:cubicBezTo>
                    <a:pt x="8442" y="11407"/>
                    <a:pt x="8513" y="11335"/>
                    <a:pt x="8513" y="11240"/>
                  </a:cubicBezTo>
                  <a:lnTo>
                    <a:pt x="8513" y="9085"/>
                  </a:lnTo>
                  <a:cubicBezTo>
                    <a:pt x="8561" y="8442"/>
                    <a:pt x="8192" y="7906"/>
                    <a:pt x="7620" y="7716"/>
                  </a:cubicBezTo>
                  <a:lnTo>
                    <a:pt x="6954" y="7478"/>
                  </a:lnTo>
                  <a:cubicBezTo>
                    <a:pt x="6954" y="7323"/>
                    <a:pt x="6870" y="7192"/>
                    <a:pt x="6715" y="7144"/>
                  </a:cubicBezTo>
                  <a:cubicBezTo>
                    <a:pt x="6334" y="7013"/>
                    <a:pt x="5942" y="6906"/>
                    <a:pt x="5537" y="6847"/>
                  </a:cubicBezTo>
                  <a:lnTo>
                    <a:pt x="5537" y="6751"/>
                  </a:lnTo>
                  <a:cubicBezTo>
                    <a:pt x="5799" y="6597"/>
                    <a:pt x="6013" y="6418"/>
                    <a:pt x="6192" y="6192"/>
                  </a:cubicBezTo>
                  <a:cubicBezTo>
                    <a:pt x="6370" y="6299"/>
                    <a:pt x="6584" y="6346"/>
                    <a:pt x="6787" y="6346"/>
                  </a:cubicBezTo>
                  <a:lnTo>
                    <a:pt x="6834" y="6346"/>
                  </a:lnTo>
                  <a:cubicBezTo>
                    <a:pt x="7442" y="6311"/>
                    <a:pt x="7954" y="5835"/>
                    <a:pt x="8013" y="5227"/>
                  </a:cubicBezTo>
                  <a:cubicBezTo>
                    <a:pt x="8025" y="5132"/>
                    <a:pt x="8025" y="5049"/>
                    <a:pt x="8013" y="4965"/>
                  </a:cubicBezTo>
                  <a:cubicBezTo>
                    <a:pt x="8013" y="4930"/>
                    <a:pt x="8001" y="4846"/>
                    <a:pt x="8061" y="4799"/>
                  </a:cubicBezTo>
                  <a:cubicBezTo>
                    <a:pt x="8263" y="4608"/>
                    <a:pt x="8382" y="4322"/>
                    <a:pt x="8382" y="4037"/>
                  </a:cubicBezTo>
                  <a:cubicBezTo>
                    <a:pt x="8382" y="3644"/>
                    <a:pt x="8180" y="3287"/>
                    <a:pt x="7835" y="3108"/>
                  </a:cubicBezTo>
                  <a:cubicBezTo>
                    <a:pt x="7823" y="3096"/>
                    <a:pt x="7799" y="3072"/>
                    <a:pt x="7799" y="3048"/>
                  </a:cubicBezTo>
                  <a:cubicBezTo>
                    <a:pt x="7847" y="2894"/>
                    <a:pt x="7847" y="2727"/>
                    <a:pt x="7799" y="2560"/>
                  </a:cubicBezTo>
                  <a:cubicBezTo>
                    <a:pt x="7716" y="2251"/>
                    <a:pt x="7466" y="2013"/>
                    <a:pt x="7168" y="1941"/>
                  </a:cubicBezTo>
                  <a:cubicBezTo>
                    <a:pt x="7107" y="1924"/>
                    <a:pt x="7052" y="1913"/>
                    <a:pt x="6999" y="1913"/>
                  </a:cubicBezTo>
                  <a:cubicBezTo>
                    <a:pt x="6980" y="1913"/>
                    <a:pt x="6961" y="1914"/>
                    <a:pt x="6942" y="1917"/>
                  </a:cubicBezTo>
                  <a:cubicBezTo>
                    <a:pt x="6882" y="1608"/>
                    <a:pt x="6692" y="1322"/>
                    <a:pt x="6406" y="1179"/>
                  </a:cubicBezTo>
                  <a:cubicBezTo>
                    <a:pt x="6299" y="596"/>
                    <a:pt x="5799" y="167"/>
                    <a:pt x="5180" y="167"/>
                  </a:cubicBezTo>
                  <a:cubicBezTo>
                    <a:pt x="5060" y="167"/>
                    <a:pt x="4941" y="179"/>
                    <a:pt x="4822" y="227"/>
                  </a:cubicBezTo>
                  <a:cubicBezTo>
                    <a:pt x="4644" y="72"/>
                    <a:pt x="4441" y="0"/>
                    <a:pt x="4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4" name="Google Shape;11914;p61"/>
            <p:cNvSpPr/>
            <p:nvPr/>
          </p:nvSpPr>
          <p:spPr>
            <a:xfrm>
              <a:off x="5459373" y="2530701"/>
              <a:ext cx="66813" cy="72832"/>
            </a:xfrm>
            <a:custGeom>
              <a:avLst/>
              <a:gdLst/>
              <a:ahLst/>
              <a:cxnLst/>
              <a:rect l="l" t="t" r="r" b="b"/>
              <a:pathLst>
                <a:path w="2109" h="2299" extrusionOk="0">
                  <a:moveTo>
                    <a:pt x="1060" y="346"/>
                  </a:moveTo>
                  <a:cubicBezTo>
                    <a:pt x="1263" y="346"/>
                    <a:pt x="1429" y="512"/>
                    <a:pt x="1429" y="727"/>
                  </a:cubicBezTo>
                  <a:cubicBezTo>
                    <a:pt x="1429" y="929"/>
                    <a:pt x="1263" y="1096"/>
                    <a:pt x="1060" y="1096"/>
                  </a:cubicBezTo>
                  <a:cubicBezTo>
                    <a:pt x="846" y="1096"/>
                    <a:pt x="679" y="929"/>
                    <a:pt x="679" y="727"/>
                  </a:cubicBezTo>
                  <a:cubicBezTo>
                    <a:pt x="679" y="512"/>
                    <a:pt x="846" y="346"/>
                    <a:pt x="1060" y="346"/>
                  </a:cubicBezTo>
                  <a:close/>
                  <a:moveTo>
                    <a:pt x="1775" y="1417"/>
                  </a:moveTo>
                  <a:cubicBezTo>
                    <a:pt x="1679" y="1739"/>
                    <a:pt x="1394" y="1965"/>
                    <a:pt x="1060" y="1965"/>
                  </a:cubicBezTo>
                  <a:cubicBezTo>
                    <a:pt x="715" y="1965"/>
                    <a:pt x="429" y="1727"/>
                    <a:pt x="358" y="1417"/>
                  </a:cubicBezTo>
                  <a:close/>
                  <a:moveTo>
                    <a:pt x="1060" y="0"/>
                  </a:moveTo>
                  <a:cubicBezTo>
                    <a:pt x="667" y="0"/>
                    <a:pt x="358" y="322"/>
                    <a:pt x="358" y="703"/>
                  </a:cubicBezTo>
                  <a:cubicBezTo>
                    <a:pt x="358" y="834"/>
                    <a:pt x="406" y="977"/>
                    <a:pt x="465" y="1072"/>
                  </a:cubicBezTo>
                  <a:lnTo>
                    <a:pt x="167" y="1072"/>
                  </a:lnTo>
                  <a:cubicBezTo>
                    <a:pt x="72" y="1072"/>
                    <a:pt x="1" y="1155"/>
                    <a:pt x="1" y="1239"/>
                  </a:cubicBezTo>
                  <a:cubicBezTo>
                    <a:pt x="1" y="1822"/>
                    <a:pt x="477" y="2298"/>
                    <a:pt x="1060" y="2298"/>
                  </a:cubicBezTo>
                  <a:cubicBezTo>
                    <a:pt x="1632" y="2298"/>
                    <a:pt x="2108" y="1822"/>
                    <a:pt x="2108" y="1239"/>
                  </a:cubicBezTo>
                  <a:cubicBezTo>
                    <a:pt x="2108" y="1155"/>
                    <a:pt x="2037" y="1072"/>
                    <a:pt x="1953" y="1072"/>
                  </a:cubicBezTo>
                  <a:lnTo>
                    <a:pt x="1656" y="1072"/>
                  </a:lnTo>
                  <a:cubicBezTo>
                    <a:pt x="1715" y="977"/>
                    <a:pt x="1751" y="834"/>
                    <a:pt x="1751" y="703"/>
                  </a:cubicBezTo>
                  <a:cubicBezTo>
                    <a:pt x="1751" y="322"/>
                    <a:pt x="1441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5" name="Google Shape;11915;p61"/>
            <p:cNvSpPr/>
            <p:nvPr/>
          </p:nvSpPr>
          <p:spPr>
            <a:xfrm>
              <a:off x="5446923" y="2502854"/>
              <a:ext cx="23792" cy="16188"/>
            </a:xfrm>
            <a:custGeom>
              <a:avLst/>
              <a:gdLst/>
              <a:ahLst/>
              <a:cxnLst/>
              <a:rect l="l" t="t" r="r" b="b"/>
              <a:pathLst>
                <a:path w="751" h="511" extrusionOk="0">
                  <a:moveTo>
                    <a:pt x="560" y="1"/>
                  </a:moveTo>
                  <a:cubicBezTo>
                    <a:pt x="534" y="1"/>
                    <a:pt x="506" y="7"/>
                    <a:pt x="477" y="22"/>
                  </a:cubicBezTo>
                  <a:lnTo>
                    <a:pt x="120" y="201"/>
                  </a:lnTo>
                  <a:cubicBezTo>
                    <a:pt x="37" y="248"/>
                    <a:pt x="1" y="355"/>
                    <a:pt x="48" y="427"/>
                  </a:cubicBezTo>
                  <a:cubicBezTo>
                    <a:pt x="84" y="486"/>
                    <a:pt x="132" y="510"/>
                    <a:pt x="203" y="510"/>
                  </a:cubicBezTo>
                  <a:cubicBezTo>
                    <a:pt x="227" y="510"/>
                    <a:pt x="239" y="510"/>
                    <a:pt x="275" y="498"/>
                  </a:cubicBezTo>
                  <a:lnTo>
                    <a:pt x="632" y="320"/>
                  </a:lnTo>
                  <a:cubicBezTo>
                    <a:pt x="715" y="272"/>
                    <a:pt x="751" y="165"/>
                    <a:pt x="703" y="93"/>
                  </a:cubicBezTo>
                  <a:cubicBezTo>
                    <a:pt x="670" y="36"/>
                    <a:pt x="620" y="1"/>
                    <a:pt x="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6" name="Google Shape;11916;p61"/>
          <p:cNvGrpSpPr/>
          <p:nvPr/>
        </p:nvGrpSpPr>
        <p:grpSpPr>
          <a:xfrm>
            <a:off x="6255238" y="2412249"/>
            <a:ext cx="271244" cy="360994"/>
            <a:chOff x="6255238" y="2412249"/>
            <a:chExt cx="271244" cy="360994"/>
          </a:xfrm>
        </p:grpSpPr>
        <p:sp>
          <p:nvSpPr>
            <p:cNvPr id="11917" name="Google Shape;11917;p61"/>
            <p:cNvSpPr/>
            <p:nvPr/>
          </p:nvSpPr>
          <p:spPr>
            <a:xfrm>
              <a:off x="6351799" y="2554080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8" name="Google Shape;11918;p61"/>
            <p:cNvSpPr/>
            <p:nvPr/>
          </p:nvSpPr>
          <p:spPr>
            <a:xfrm>
              <a:off x="6419720" y="255408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1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1" y="501"/>
                    <a:pt x="167" y="501"/>
                  </a:cubicBezTo>
                  <a:cubicBezTo>
                    <a:pt x="250" y="501"/>
                    <a:pt x="321" y="429"/>
                    <a:pt x="321" y="346"/>
                  </a:cubicBezTo>
                  <a:lnTo>
                    <a:pt x="321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9" name="Google Shape;11919;p61"/>
            <p:cNvSpPr/>
            <p:nvPr/>
          </p:nvSpPr>
          <p:spPr>
            <a:xfrm>
              <a:off x="6368399" y="2593775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79" y="1"/>
                  </a:moveTo>
                  <a:cubicBezTo>
                    <a:pt x="135" y="1"/>
                    <a:pt x="90" y="15"/>
                    <a:pt x="60" y="45"/>
                  </a:cubicBezTo>
                  <a:cubicBezTo>
                    <a:pt x="1" y="105"/>
                    <a:pt x="1" y="224"/>
                    <a:pt x="60" y="283"/>
                  </a:cubicBezTo>
                  <a:cubicBezTo>
                    <a:pt x="203" y="426"/>
                    <a:pt x="441" y="498"/>
                    <a:pt x="715" y="498"/>
                  </a:cubicBezTo>
                  <a:cubicBezTo>
                    <a:pt x="977" y="498"/>
                    <a:pt x="1215" y="414"/>
                    <a:pt x="1370" y="283"/>
                  </a:cubicBezTo>
                  <a:cubicBezTo>
                    <a:pt x="1430" y="200"/>
                    <a:pt x="1430" y="105"/>
                    <a:pt x="1370" y="45"/>
                  </a:cubicBezTo>
                  <a:cubicBezTo>
                    <a:pt x="1340" y="15"/>
                    <a:pt x="1299" y="1"/>
                    <a:pt x="1255" y="1"/>
                  </a:cubicBezTo>
                  <a:cubicBezTo>
                    <a:pt x="1212" y="1"/>
                    <a:pt x="1168" y="15"/>
                    <a:pt x="1132" y="45"/>
                  </a:cubicBezTo>
                  <a:cubicBezTo>
                    <a:pt x="1072" y="105"/>
                    <a:pt x="918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9" y="15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0" name="Google Shape;11920;p61"/>
            <p:cNvSpPr/>
            <p:nvPr/>
          </p:nvSpPr>
          <p:spPr>
            <a:xfrm>
              <a:off x="6255238" y="2412249"/>
              <a:ext cx="271244" cy="360994"/>
            </a:xfrm>
            <a:custGeom>
              <a:avLst/>
              <a:gdLst/>
              <a:ahLst/>
              <a:cxnLst/>
              <a:rect l="l" t="t" r="r" b="b"/>
              <a:pathLst>
                <a:path w="8562" h="11395" extrusionOk="0">
                  <a:moveTo>
                    <a:pt x="4287" y="334"/>
                  </a:moveTo>
                  <a:cubicBezTo>
                    <a:pt x="5621" y="334"/>
                    <a:pt x="6442" y="751"/>
                    <a:pt x="6442" y="1072"/>
                  </a:cubicBezTo>
                  <a:lnTo>
                    <a:pt x="6442" y="1489"/>
                  </a:lnTo>
                  <a:cubicBezTo>
                    <a:pt x="5823" y="1215"/>
                    <a:pt x="5073" y="1084"/>
                    <a:pt x="4287" y="1084"/>
                  </a:cubicBezTo>
                  <a:cubicBezTo>
                    <a:pt x="3501" y="1084"/>
                    <a:pt x="2763" y="1227"/>
                    <a:pt x="2132" y="1489"/>
                  </a:cubicBezTo>
                  <a:lnTo>
                    <a:pt x="2132" y="1072"/>
                  </a:lnTo>
                  <a:cubicBezTo>
                    <a:pt x="2132" y="775"/>
                    <a:pt x="2942" y="334"/>
                    <a:pt x="4287" y="334"/>
                  </a:cubicBezTo>
                  <a:close/>
                  <a:moveTo>
                    <a:pt x="4299" y="1394"/>
                  </a:moveTo>
                  <a:cubicBezTo>
                    <a:pt x="5263" y="1394"/>
                    <a:pt x="6168" y="1632"/>
                    <a:pt x="6859" y="2049"/>
                  </a:cubicBezTo>
                  <a:cubicBezTo>
                    <a:pt x="7514" y="2453"/>
                    <a:pt x="7871" y="2989"/>
                    <a:pt x="7871" y="3549"/>
                  </a:cubicBezTo>
                  <a:cubicBezTo>
                    <a:pt x="7871" y="3882"/>
                    <a:pt x="7740" y="4204"/>
                    <a:pt x="7478" y="4501"/>
                  </a:cubicBezTo>
                  <a:lnTo>
                    <a:pt x="7478" y="3549"/>
                  </a:lnTo>
                  <a:cubicBezTo>
                    <a:pt x="7478" y="3084"/>
                    <a:pt x="7180" y="2656"/>
                    <a:pt x="6633" y="2334"/>
                  </a:cubicBezTo>
                  <a:cubicBezTo>
                    <a:pt x="6608" y="2318"/>
                    <a:pt x="6579" y="2310"/>
                    <a:pt x="6550" y="2310"/>
                  </a:cubicBezTo>
                  <a:cubicBezTo>
                    <a:pt x="6495" y="2310"/>
                    <a:pt x="6438" y="2339"/>
                    <a:pt x="6406" y="2394"/>
                  </a:cubicBezTo>
                  <a:cubicBezTo>
                    <a:pt x="6371" y="2465"/>
                    <a:pt x="6395" y="2572"/>
                    <a:pt x="6466" y="2608"/>
                  </a:cubicBezTo>
                  <a:cubicBezTo>
                    <a:pt x="6918" y="2882"/>
                    <a:pt x="7157" y="3204"/>
                    <a:pt x="7157" y="3537"/>
                  </a:cubicBezTo>
                  <a:lnTo>
                    <a:pt x="7157" y="6394"/>
                  </a:lnTo>
                  <a:cubicBezTo>
                    <a:pt x="7157" y="6990"/>
                    <a:pt x="7299" y="7490"/>
                    <a:pt x="7418" y="7823"/>
                  </a:cubicBezTo>
                  <a:cubicBezTo>
                    <a:pt x="7454" y="7906"/>
                    <a:pt x="7418" y="8002"/>
                    <a:pt x="7359" y="8049"/>
                  </a:cubicBezTo>
                  <a:cubicBezTo>
                    <a:pt x="7157" y="8216"/>
                    <a:pt x="6847" y="8407"/>
                    <a:pt x="6395" y="8573"/>
                  </a:cubicBezTo>
                  <a:lnTo>
                    <a:pt x="5894" y="8383"/>
                  </a:lnTo>
                  <a:cubicBezTo>
                    <a:pt x="5668" y="8311"/>
                    <a:pt x="5537" y="8109"/>
                    <a:pt x="5537" y="7871"/>
                  </a:cubicBezTo>
                  <a:lnTo>
                    <a:pt x="5537" y="7144"/>
                  </a:lnTo>
                  <a:cubicBezTo>
                    <a:pt x="6275" y="6704"/>
                    <a:pt x="6787" y="5906"/>
                    <a:pt x="6787" y="4978"/>
                  </a:cubicBezTo>
                  <a:lnTo>
                    <a:pt x="6787" y="4263"/>
                  </a:lnTo>
                  <a:cubicBezTo>
                    <a:pt x="6787" y="3775"/>
                    <a:pt x="6383" y="3394"/>
                    <a:pt x="5906" y="3394"/>
                  </a:cubicBezTo>
                  <a:lnTo>
                    <a:pt x="5621" y="3394"/>
                  </a:lnTo>
                  <a:lnTo>
                    <a:pt x="4775" y="2537"/>
                  </a:lnTo>
                  <a:cubicBezTo>
                    <a:pt x="4744" y="2514"/>
                    <a:pt x="4703" y="2495"/>
                    <a:pt x="4662" y="2495"/>
                  </a:cubicBezTo>
                  <a:cubicBezTo>
                    <a:pt x="4640" y="2495"/>
                    <a:pt x="4617" y="2501"/>
                    <a:pt x="4597" y="2513"/>
                  </a:cubicBezTo>
                  <a:cubicBezTo>
                    <a:pt x="4537" y="2537"/>
                    <a:pt x="4490" y="2596"/>
                    <a:pt x="4490" y="2656"/>
                  </a:cubicBezTo>
                  <a:lnTo>
                    <a:pt x="4490" y="3382"/>
                  </a:lnTo>
                  <a:lnTo>
                    <a:pt x="3585" y="3382"/>
                  </a:lnTo>
                  <a:cubicBezTo>
                    <a:pt x="3489" y="3382"/>
                    <a:pt x="3418" y="3465"/>
                    <a:pt x="3418" y="3549"/>
                  </a:cubicBezTo>
                  <a:cubicBezTo>
                    <a:pt x="3418" y="3644"/>
                    <a:pt x="3489" y="3715"/>
                    <a:pt x="3585" y="3715"/>
                  </a:cubicBezTo>
                  <a:lnTo>
                    <a:pt x="4656" y="3715"/>
                  </a:lnTo>
                  <a:cubicBezTo>
                    <a:pt x="4740" y="3715"/>
                    <a:pt x="4823" y="3644"/>
                    <a:pt x="4823" y="3549"/>
                  </a:cubicBezTo>
                  <a:lnTo>
                    <a:pt x="4823" y="3061"/>
                  </a:lnTo>
                  <a:lnTo>
                    <a:pt x="5430" y="3668"/>
                  </a:lnTo>
                  <a:cubicBezTo>
                    <a:pt x="5454" y="3704"/>
                    <a:pt x="5502" y="3715"/>
                    <a:pt x="5549" y="3715"/>
                  </a:cubicBezTo>
                  <a:lnTo>
                    <a:pt x="5906" y="3715"/>
                  </a:lnTo>
                  <a:cubicBezTo>
                    <a:pt x="6204" y="3715"/>
                    <a:pt x="6454" y="3954"/>
                    <a:pt x="6454" y="4263"/>
                  </a:cubicBezTo>
                  <a:lnTo>
                    <a:pt x="6454" y="4978"/>
                  </a:lnTo>
                  <a:cubicBezTo>
                    <a:pt x="6454" y="6168"/>
                    <a:pt x="5490" y="7144"/>
                    <a:pt x="4299" y="7144"/>
                  </a:cubicBezTo>
                  <a:cubicBezTo>
                    <a:pt x="3108" y="7144"/>
                    <a:pt x="2144" y="6168"/>
                    <a:pt x="2144" y="4978"/>
                  </a:cubicBezTo>
                  <a:lnTo>
                    <a:pt x="2144" y="4263"/>
                  </a:lnTo>
                  <a:cubicBezTo>
                    <a:pt x="2144" y="3966"/>
                    <a:pt x="2382" y="3715"/>
                    <a:pt x="2692" y="3715"/>
                  </a:cubicBezTo>
                  <a:lnTo>
                    <a:pt x="2870" y="3715"/>
                  </a:lnTo>
                  <a:cubicBezTo>
                    <a:pt x="2954" y="3715"/>
                    <a:pt x="3037" y="3644"/>
                    <a:pt x="3037" y="3549"/>
                  </a:cubicBezTo>
                  <a:cubicBezTo>
                    <a:pt x="3037" y="3465"/>
                    <a:pt x="2954" y="3382"/>
                    <a:pt x="2870" y="3382"/>
                  </a:cubicBezTo>
                  <a:lnTo>
                    <a:pt x="2692" y="3382"/>
                  </a:lnTo>
                  <a:cubicBezTo>
                    <a:pt x="2204" y="3382"/>
                    <a:pt x="1811" y="3787"/>
                    <a:pt x="1811" y="4263"/>
                  </a:cubicBezTo>
                  <a:lnTo>
                    <a:pt x="1811" y="4978"/>
                  </a:lnTo>
                  <a:cubicBezTo>
                    <a:pt x="1811" y="5906"/>
                    <a:pt x="2323" y="6704"/>
                    <a:pt x="3061" y="7133"/>
                  </a:cubicBezTo>
                  <a:lnTo>
                    <a:pt x="3061" y="7871"/>
                  </a:lnTo>
                  <a:cubicBezTo>
                    <a:pt x="3061" y="8109"/>
                    <a:pt x="2918" y="8299"/>
                    <a:pt x="2704" y="8383"/>
                  </a:cubicBezTo>
                  <a:lnTo>
                    <a:pt x="2204" y="8561"/>
                  </a:lnTo>
                  <a:cubicBezTo>
                    <a:pt x="1751" y="8407"/>
                    <a:pt x="1430" y="8204"/>
                    <a:pt x="1251" y="8061"/>
                  </a:cubicBezTo>
                  <a:cubicBezTo>
                    <a:pt x="1168" y="8014"/>
                    <a:pt x="1144" y="7930"/>
                    <a:pt x="1192" y="7835"/>
                  </a:cubicBezTo>
                  <a:cubicBezTo>
                    <a:pt x="1311" y="7514"/>
                    <a:pt x="1453" y="7002"/>
                    <a:pt x="1453" y="6406"/>
                  </a:cubicBezTo>
                  <a:lnTo>
                    <a:pt x="1453" y="3549"/>
                  </a:lnTo>
                  <a:cubicBezTo>
                    <a:pt x="1453" y="2775"/>
                    <a:pt x="2763" y="2108"/>
                    <a:pt x="4311" y="2108"/>
                  </a:cubicBezTo>
                  <a:cubicBezTo>
                    <a:pt x="4859" y="2108"/>
                    <a:pt x="5394" y="2180"/>
                    <a:pt x="5859" y="2346"/>
                  </a:cubicBezTo>
                  <a:cubicBezTo>
                    <a:pt x="5878" y="2351"/>
                    <a:pt x="5896" y="2353"/>
                    <a:pt x="5914" y="2353"/>
                  </a:cubicBezTo>
                  <a:cubicBezTo>
                    <a:pt x="5985" y="2353"/>
                    <a:pt x="6044" y="2315"/>
                    <a:pt x="6073" y="2239"/>
                  </a:cubicBezTo>
                  <a:cubicBezTo>
                    <a:pt x="6097" y="2156"/>
                    <a:pt x="6049" y="2061"/>
                    <a:pt x="5966" y="2037"/>
                  </a:cubicBezTo>
                  <a:cubicBezTo>
                    <a:pt x="5478" y="1870"/>
                    <a:pt x="4894" y="1775"/>
                    <a:pt x="4311" y="1775"/>
                  </a:cubicBezTo>
                  <a:cubicBezTo>
                    <a:pt x="3478" y="1775"/>
                    <a:pt x="2692" y="1953"/>
                    <a:pt x="2096" y="2275"/>
                  </a:cubicBezTo>
                  <a:cubicBezTo>
                    <a:pt x="1465" y="2596"/>
                    <a:pt x="1108" y="3061"/>
                    <a:pt x="1108" y="3549"/>
                  </a:cubicBezTo>
                  <a:lnTo>
                    <a:pt x="1108" y="4501"/>
                  </a:lnTo>
                  <a:cubicBezTo>
                    <a:pt x="858" y="4204"/>
                    <a:pt x="727" y="3882"/>
                    <a:pt x="727" y="3549"/>
                  </a:cubicBezTo>
                  <a:cubicBezTo>
                    <a:pt x="727" y="2989"/>
                    <a:pt x="1084" y="2465"/>
                    <a:pt x="1739" y="2049"/>
                  </a:cubicBezTo>
                  <a:cubicBezTo>
                    <a:pt x="2418" y="1632"/>
                    <a:pt x="3335" y="1394"/>
                    <a:pt x="4299" y="1394"/>
                  </a:cubicBezTo>
                  <a:close/>
                  <a:moveTo>
                    <a:pt x="5192" y="7323"/>
                  </a:moveTo>
                  <a:lnTo>
                    <a:pt x="5192" y="7883"/>
                  </a:lnTo>
                  <a:cubicBezTo>
                    <a:pt x="5192" y="8252"/>
                    <a:pt x="5430" y="8585"/>
                    <a:pt x="5775" y="8716"/>
                  </a:cubicBezTo>
                  <a:lnTo>
                    <a:pt x="6430" y="8942"/>
                  </a:lnTo>
                  <a:cubicBezTo>
                    <a:pt x="6264" y="9323"/>
                    <a:pt x="5978" y="9669"/>
                    <a:pt x="5621" y="9919"/>
                  </a:cubicBezTo>
                  <a:cubicBezTo>
                    <a:pt x="5240" y="10204"/>
                    <a:pt x="4763" y="10359"/>
                    <a:pt x="4287" y="10359"/>
                  </a:cubicBezTo>
                  <a:cubicBezTo>
                    <a:pt x="3347" y="10359"/>
                    <a:pt x="2501" y="9788"/>
                    <a:pt x="2144" y="8942"/>
                  </a:cubicBezTo>
                  <a:lnTo>
                    <a:pt x="2799" y="8716"/>
                  </a:lnTo>
                  <a:cubicBezTo>
                    <a:pt x="3156" y="8597"/>
                    <a:pt x="3382" y="8252"/>
                    <a:pt x="3382" y="7883"/>
                  </a:cubicBezTo>
                  <a:lnTo>
                    <a:pt x="3382" y="7323"/>
                  </a:lnTo>
                  <a:cubicBezTo>
                    <a:pt x="3656" y="7418"/>
                    <a:pt x="3954" y="7478"/>
                    <a:pt x="4287" y="7478"/>
                  </a:cubicBezTo>
                  <a:cubicBezTo>
                    <a:pt x="4597" y="7478"/>
                    <a:pt x="4906" y="7418"/>
                    <a:pt x="5192" y="7323"/>
                  </a:cubicBezTo>
                  <a:close/>
                  <a:moveTo>
                    <a:pt x="4263" y="1"/>
                  </a:moveTo>
                  <a:cubicBezTo>
                    <a:pt x="3061" y="1"/>
                    <a:pt x="1787" y="370"/>
                    <a:pt x="1787" y="1048"/>
                  </a:cubicBezTo>
                  <a:lnTo>
                    <a:pt x="1787" y="1632"/>
                  </a:lnTo>
                  <a:cubicBezTo>
                    <a:pt x="1692" y="1680"/>
                    <a:pt x="1620" y="1727"/>
                    <a:pt x="1525" y="1787"/>
                  </a:cubicBezTo>
                  <a:cubicBezTo>
                    <a:pt x="775" y="2263"/>
                    <a:pt x="358" y="2882"/>
                    <a:pt x="358" y="3573"/>
                  </a:cubicBezTo>
                  <a:cubicBezTo>
                    <a:pt x="358" y="4085"/>
                    <a:pt x="608" y="4573"/>
                    <a:pt x="1072" y="5001"/>
                  </a:cubicBezTo>
                  <a:lnTo>
                    <a:pt x="1072" y="6406"/>
                  </a:lnTo>
                  <a:cubicBezTo>
                    <a:pt x="1072" y="6978"/>
                    <a:pt x="918" y="7478"/>
                    <a:pt x="811" y="7716"/>
                  </a:cubicBezTo>
                  <a:cubicBezTo>
                    <a:pt x="727" y="7942"/>
                    <a:pt x="799" y="8192"/>
                    <a:pt x="989" y="8335"/>
                  </a:cubicBezTo>
                  <a:cubicBezTo>
                    <a:pt x="1144" y="8430"/>
                    <a:pt x="1370" y="8585"/>
                    <a:pt x="1680" y="8728"/>
                  </a:cubicBezTo>
                  <a:lnTo>
                    <a:pt x="811" y="9049"/>
                  </a:lnTo>
                  <a:cubicBezTo>
                    <a:pt x="322" y="9228"/>
                    <a:pt x="1" y="9681"/>
                    <a:pt x="1" y="10204"/>
                  </a:cubicBezTo>
                  <a:lnTo>
                    <a:pt x="1" y="11228"/>
                  </a:lnTo>
                  <a:cubicBezTo>
                    <a:pt x="1" y="11324"/>
                    <a:pt x="72" y="11395"/>
                    <a:pt x="156" y="11395"/>
                  </a:cubicBezTo>
                  <a:cubicBezTo>
                    <a:pt x="251" y="11395"/>
                    <a:pt x="322" y="11324"/>
                    <a:pt x="322" y="11228"/>
                  </a:cubicBezTo>
                  <a:lnTo>
                    <a:pt x="322" y="10204"/>
                  </a:lnTo>
                  <a:cubicBezTo>
                    <a:pt x="322" y="9823"/>
                    <a:pt x="560" y="9478"/>
                    <a:pt x="918" y="9359"/>
                  </a:cubicBezTo>
                  <a:lnTo>
                    <a:pt x="1799" y="9038"/>
                  </a:lnTo>
                  <a:cubicBezTo>
                    <a:pt x="2215" y="10026"/>
                    <a:pt x="3180" y="10681"/>
                    <a:pt x="4251" y="10681"/>
                  </a:cubicBezTo>
                  <a:cubicBezTo>
                    <a:pt x="4799" y="10681"/>
                    <a:pt x="5335" y="10514"/>
                    <a:pt x="5787" y="10192"/>
                  </a:cubicBezTo>
                  <a:cubicBezTo>
                    <a:pt x="6204" y="9895"/>
                    <a:pt x="6514" y="9502"/>
                    <a:pt x="6704" y="9038"/>
                  </a:cubicBezTo>
                  <a:lnTo>
                    <a:pt x="7585" y="9359"/>
                  </a:lnTo>
                  <a:cubicBezTo>
                    <a:pt x="7942" y="9490"/>
                    <a:pt x="8180" y="9835"/>
                    <a:pt x="8180" y="10204"/>
                  </a:cubicBezTo>
                  <a:lnTo>
                    <a:pt x="8180" y="11228"/>
                  </a:lnTo>
                  <a:cubicBezTo>
                    <a:pt x="8180" y="11324"/>
                    <a:pt x="8252" y="11395"/>
                    <a:pt x="8347" y="11395"/>
                  </a:cubicBezTo>
                  <a:cubicBezTo>
                    <a:pt x="8431" y="11395"/>
                    <a:pt x="8514" y="11324"/>
                    <a:pt x="8514" y="11228"/>
                  </a:cubicBezTo>
                  <a:lnTo>
                    <a:pt x="8514" y="10204"/>
                  </a:lnTo>
                  <a:cubicBezTo>
                    <a:pt x="8561" y="9681"/>
                    <a:pt x="8216" y="9204"/>
                    <a:pt x="7728" y="9049"/>
                  </a:cubicBezTo>
                  <a:lnTo>
                    <a:pt x="6859" y="8728"/>
                  </a:lnTo>
                  <a:cubicBezTo>
                    <a:pt x="7157" y="8585"/>
                    <a:pt x="7395" y="8454"/>
                    <a:pt x="7549" y="8335"/>
                  </a:cubicBezTo>
                  <a:cubicBezTo>
                    <a:pt x="7740" y="8192"/>
                    <a:pt x="7811" y="7942"/>
                    <a:pt x="7728" y="7716"/>
                  </a:cubicBezTo>
                  <a:cubicBezTo>
                    <a:pt x="7633" y="7466"/>
                    <a:pt x="7466" y="6978"/>
                    <a:pt x="7466" y="6406"/>
                  </a:cubicBezTo>
                  <a:lnTo>
                    <a:pt x="7466" y="5001"/>
                  </a:lnTo>
                  <a:cubicBezTo>
                    <a:pt x="7930" y="4585"/>
                    <a:pt x="8180" y="4085"/>
                    <a:pt x="8180" y="3573"/>
                  </a:cubicBezTo>
                  <a:cubicBezTo>
                    <a:pt x="8180" y="2882"/>
                    <a:pt x="7764" y="2263"/>
                    <a:pt x="7002" y="1787"/>
                  </a:cubicBezTo>
                  <a:cubicBezTo>
                    <a:pt x="6930" y="1739"/>
                    <a:pt x="6847" y="1680"/>
                    <a:pt x="6752" y="1632"/>
                  </a:cubicBezTo>
                  <a:lnTo>
                    <a:pt x="6752" y="1048"/>
                  </a:lnTo>
                  <a:cubicBezTo>
                    <a:pt x="6752" y="370"/>
                    <a:pt x="5478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1" name="Google Shape;11921;p61"/>
            <p:cNvSpPr/>
            <p:nvPr/>
          </p:nvSpPr>
          <p:spPr>
            <a:xfrm>
              <a:off x="6345779" y="2535167"/>
              <a:ext cx="22651" cy="12545"/>
            </a:xfrm>
            <a:custGeom>
              <a:avLst/>
              <a:gdLst/>
              <a:ahLst/>
              <a:cxnLst/>
              <a:rect l="l" t="t" r="r" b="b"/>
              <a:pathLst>
                <a:path w="715" h="396" extrusionOk="0">
                  <a:moveTo>
                    <a:pt x="529" y="0"/>
                  </a:moveTo>
                  <a:cubicBezTo>
                    <a:pt x="520" y="0"/>
                    <a:pt x="510" y="1"/>
                    <a:pt x="500" y="2"/>
                  </a:cubicBezTo>
                  <a:lnTo>
                    <a:pt x="143" y="74"/>
                  </a:lnTo>
                  <a:cubicBezTo>
                    <a:pt x="60" y="86"/>
                    <a:pt x="0" y="181"/>
                    <a:pt x="12" y="264"/>
                  </a:cubicBezTo>
                  <a:cubicBezTo>
                    <a:pt x="24" y="336"/>
                    <a:pt x="96" y="395"/>
                    <a:pt x="179" y="395"/>
                  </a:cubicBezTo>
                  <a:lnTo>
                    <a:pt x="203" y="395"/>
                  </a:lnTo>
                  <a:lnTo>
                    <a:pt x="560" y="324"/>
                  </a:lnTo>
                  <a:cubicBezTo>
                    <a:pt x="667" y="312"/>
                    <a:pt x="715" y="228"/>
                    <a:pt x="703" y="133"/>
                  </a:cubicBezTo>
                  <a:cubicBezTo>
                    <a:pt x="681" y="48"/>
                    <a:pt x="612" y="0"/>
                    <a:pt x="5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2" name="Google Shape;11922;p61"/>
            <p:cNvSpPr/>
            <p:nvPr/>
          </p:nvSpPr>
          <p:spPr>
            <a:xfrm>
              <a:off x="6413670" y="2535167"/>
              <a:ext cx="22651" cy="12545"/>
            </a:xfrm>
            <a:custGeom>
              <a:avLst/>
              <a:gdLst/>
              <a:ahLst/>
              <a:cxnLst/>
              <a:rect l="l" t="t" r="r" b="b"/>
              <a:pathLst>
                <a:path w="715" h="396" extrusionOk="0">
                  <a:moveTo>
                    <a:pt x="177" y="0"/>
                  </a:moveTo>
                  <a:cubicBezTo>
                    <a:pt x="101" y="0"/>
                    <a:pt x="23" y="48"/>
                    <a:pt x="12" y="133"/>
                  </a:cubicBezTo>
                  <a:cubicBezTo>
                    <a:pt x="1" y="228"/>
                    <a:pt x="60" y="312"/>
                    <a:pt x="143" y="324"/>
                  </a:cubicBezTo>
                  <a:lnTo>
                    <a:pt x="501" y="395"/>
                  </a:lnTo>
                  <a:lnTo>
                    <a:pt x="536" y="395"/>
                  </a:lnTo>
                  <a:cubicBezTo>
                    <a:pt x="608" y="395"/>
                    <a:pt x="679" y="336"/>
                    <a:pt x="703" y="264"/>
                  </a:cubicBezTo>
                  <a:cubicBezTo>
                    <a:pt x="715" y="193"/>
                    <a:pt x="655" y="109"/>
                    <a:pt x="560" y="74"/>
                  </a:cubicBezTo>
                  <a:lnTo>
                    <a:pt x="203" y="2"/>
                  </a:lnTo>
                  <a:cubicBezTo>
                    <a:pt x="194" y="1"/>
                    <a:pt x="186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23" name="Google Shape;11923;p61"/>
          <p:cNvGrpSpPr/>
          <p:nvPr/>
        </p:nvGrpSpPr>
        <p:grpSpPr>
          <a:xfrm>
            <a:off x="2185372" y="1957799"/>
            <a:ext cx="366664" cy="366981"/>
            <a:chOff x="2185372" y="1957799"/>
            <a:chExt cx="366664" cy="366981"/>
          </a:xfrm>
        </p:grpSpPr>
        <p:sp>
          <p:nvSpPr>
            <p:cNvPr id="11924" name="Google Shape;11924;p61"/>
            <p:cNvSpPr/>
            <p:nvPr/>
          </p:nvSpPr>
          <p:spPr>
            <a:xfrm>
              <a:off x="2228742" y="2000853"/>
              <a:ext cx="75082" cy="74226"/>
            </a:xfrm>
            <a:custGeom>
              <a:avLst/>
              <a:gdLst/>
              <a:ahLst/>
              <a:cxnLst/>
              <a:rect l="l" t="t" r="r" b="b"/>
              <a:pathLst>
                <a:path w="2370" h="2343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lnTo>
                    <a:pt x="2072" y="2295"/>
                  </a:lnTo>
                  <a:cubicBezTo>
                    <a:pt x="2096" y="2331"/>
                    <a:pt x="2144" y="2343"/>
                    <a:pt x="2191" y="2343"/>
                  </a:cubicBezTo>
                  <a:cubicBezTo>
                    <a:pt x="2227" y="2343"/>
                    <a:pt x="2275" y="2331"/>
                    <a:pt x="2310" y="2295"/>
                  </a:cubicBezTo>
                  <a:cubicBezTo>
                    <a:pt x="2370" y="2235"/>
                    <a:pt x="2370" y="2116"/>
                    <a:pt x="2310" y="2057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5" name="Google Shape;11925;p61"/>
            <p:cNvSpPr/>
            <p:nvPr/>
          </p:nvSpPr>
          <p:spPr>
            <a:xfrm>
              <a:off x="2188001" y="2067159"/>
              <a:ext cx="98873" cy="35070"/>
            </a:xfrm>
            <a:custGeom>
              <a:avLst/>
              <a:gdLst/>
              <a:ahLst/>
              <a:cxnLst/>
              <a:rect l="l" t="t" r="r" b="b"/>
              <a:pathLst>
                <a:path w="3121" h="1107" extrusionOk="0">
                  <a:moveTo>
                    <a:pt x="188" y="1"/>
                  </a:moveTo>
                  <a:cubicBezTo>
                    <a:pt x="120" y="1"/>
                    <a:pt x="56" y="54"/>
                    <a:pt x="37" y="131"/>
                  </a:cubicBezTo>
                  <a:cubicBezTo>
                    <a:pt x="1" y="214"/>
                    <a:pt x="60" y="309"/>
                    <a:pt x="156" y="333"/>
                  </a:cubicBezTo>
                  <a:lnTo>
                    <a:pt x="2882" y="1107"/>
                  </a:lnTo>
                  <a:lnTo>
                    <a:pt x="2918" y="1107"/>
                  </a:lnTo>
                  <a:cubicBezTo>
                    <a:pt x="3001" y="1107"/>
                    <a:pt x="3073" y="1071"/>
                    <a:pt x="3085" y="988"/>
                  </a:cubicBezTo>
                  <a:cubicBezTo>
                    <a:pt x="3120" y="904"/>
                    <a:pt x="3061" y="809"/>
                    <a:pt x="2965" y="785"/>
                  </a:cubicBezTo>
                  <a:lnTo>
                    <a:pt x="239" y="11"/>
                  </a:lnTo>
                  <a:cubicBezTo>
                    <a:pt x="222" y="4"/>
                    <a:pt x="205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6" name="Google Shape;11926;p61"/>
            <p:cNvSpPr/>
            <p:nvPr/>
          </p:nvSpPr>
          <p:spPr>
            <a:xfrm>
              <a:off x="2185372" y="2119114"/>
              <a:ext cx="97733" cy="37066"/>
            </a:xfrm>
            <a:custGeom>
              <a:avLst/>
              <a:gdLst/>
              <a:ahLst/>
              <a:cxnLst/>
              <a:rect l="l" t="t" r="r" b="b"/>
              <a:pathLst>
                <a:path w="3085" h="1170" extrusionOk="0">
                  <a:moveTo>
                    <a:pt x="2872" y="1"/>
                  </a:moveTo>
                  <a:cubicBezTo>
                    <a:pt x="2863" y="1"/>
                    <a:pt x="2855" y="1"/>
                    <a:pt x="2846" y="3"/>
                  </a:cubicBezTo>
                  <a:lnTo>
                    <a:pt x="131" y="836"/>
                  </a:lnTo>
                  <a:cubicBezTo>
                    <a:pt x="48" y="872"/>
                    <a:pt x="0" y="955"/>
                    <a:pt x="12" y="1050"/>
                  </a:cubicBezTo>
                  <a:cubicBezTo>
                    <a:pt x="48" y="1122"/>
                    <a:pt x="108" y="1169"/>
                    <a:pt x="179" y="1169"/>
                  </a:cubicBezTo>
                  <a:cubicBezTo>
                    <a:pt x="191" y="1169"/>
                    <a:pt x="203" y="1169"/>
                    <a:pt x="227" y="1158"/>
                  </a:cubicBezTo>
                  <a:lnTo>
                    <a:pt x="2929" y="324"/>
                  </a:lnTo>
                  <a:cubicBezTo>
                    <a:pt x="3037" y="300"/>
                    <a:pt x="3084" y="217"/>
                    <a:pt x="3048" y="122"/>
                  </a:cubicBezTo>
                  <a:cubicBezTo>
                    <a:pt x="3027" y="47"/>
                    <a:pt x="2948" y="1"/>
                    <a:pt x="28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7" name="Google Shape;11927;p61"/>
            <p:cNvSpPr/>
            <p:nvPr/>
          </p:nvSpPr>
          <p:spPr>
            <a:xfrm>
              <a:off x="2294763" y="1960587"/>
              <a:ext cx="36242" cy="97131"/>
            </a:xfrm>
            <a:custGeom>
              <a:avLst/>
              <a:gdLst/>
              <a:ahLst/>
              <a:cxnLst/>
              <a:rect l="l" t="t" r="r" b="b"/>
              <a:pathLst>
                <a:path w="1144" h="3066" extrusionOk="0">
                  <a:moveTo>
                    <a:pt x="185" y="1"/>
                  </a:moveTo>
                  <a:cubicBezTo>
                    <a:pt x="172" y="1"/>
                    <a:pt x="158" y="2"/>
                    <a:pt x="143" y="6"/>
                  </a:cubicBezTo>
                  <a:cubicBezTo>
                    <a:pt x="60" y="42"/>
                    <a:pt x="0" y="125"/>
                    <a:pt x="24" y="220"/>
                  </a:cubicBezTo>
                  <a:lnTo>
                    <a:pt x="798" y="2947"/>
                  </a:lnTo>
                  <a:cubicBezTo>
                    <a:pt x="822" y="3018"/>
                    <a:pt x="893" y="3066"/>
                    <a:pt x="965" y="3066"/>
                  </a:cubicBezTo>
                  <a:lnTo>
                    <a:pt x="1012" y="3066"/>
                  </a:lnTo>
                  <a:cubicBezTo>
                    <a:pt x="1096" y="3030"/>
                    <a:pt x="1143" y="2947"/>
                    <a:pt x="1131" y="2852"/>
                  </a:cubicBezTo>
                  <a:lnTo>
                    <a:pt x="357" y="125"/>
                  </a:lnTo>
                  <a:cubicBezTo>
                    <a:pt x="327" y="54"/>
                    <a:pt x="262" y="1"/>
                    <a:pt x="1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8" name="Google Shape;11928;p61"/>
            <p:cNvSpPr/>
            <p:nvPr/>
          </p:nvSpPr>
          <p:spPr>
            <a:xfrm>
              <a:off x="2346433" y="1957799"/>
              <a:ext cx="38491" cy="96909"/>
            </a:xfrm>
            <a:custGeom>
              <a:avLst/>
              <a:gdLst/>
              <a:ahLst/>
              <a:cxnLst/>
              <a:rect l="l" t="t" r="r" b="b"/>
              <a:pathLst>
                <a:path w="1215" h="3059" extrusionOk="0">
                  <a:moveTo>
                    <a:pt x="1021" y="0"/>
                  </a:moveTo>
                  <a:cubicBezTo>
                    <a:pt x="953" y="0"/>
                    <a:pt x="889" y="54"/>
                    <a:pt x="870" y="130"/>
                  </a:cubicBezTo>
                  <a:lnTo>
                    <a:pt x="36" y="2832"/>
                  </a:lnTo>
                  <a:cubicBezTo>
                    <a:pt x="0" y="2928"/>
                    <a:pt x="60" y="3011"/>
                    <a:pt x="155" y="3047"/>
                  </a:cubicBezTo>
                  <a:cubicBezTo>
                    <a:pt x="167" y="3047"/>
                    <a:pt x="179" y="3059"/>
                    <a:pt x="203" y="3059"/>
                  </a:cubicBezTo>
                  <a:cubicBezTo>
                    <a:pt x="274" y="3059"/>
                    <a:pt x="334" y="3011"/>
                    <a:pt x="358" y="2940"/>
                  </a:cubicBezTo>
                  <a:lnTo>
                    <a:pt x="1191" y="237"/>
                  </a:lnTo>
                  <a:cubicBezTo>
                    <a:pt x="1215" y="130"/>
                    <a:pt x="1167" y="23"/>
                    <a:pt x="1072" y="11"/>
                  </a:cubicBezTo>
                  <a:cubicBezTo>
                    <a:pt x="1055" y="4"/>
                    <a:pt x="1038" y="0"/>
                    <a:pt x="10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9" name="Google Shape;11929;p61"/>
            <p:cNvSpPr/>
            <p:nvPr/>
          </p:nvSpPr>
          <p:spPr>
            <a:xfrm>
              <a:off x="2290993" y="2100391"/>
              <a:ext cx="37731" cy="121778"/>
            </a:xfrm>
            <a:custGeom>
              <a:avLst/>
              <a:gdLst/>
              <a:ahLst/>
              <a:cxnLst/>
              <a:rect l="l" t="t" r="r" b="b"/>
              <a:pathLst>
                <a:path w="1191" h="3844" extrusionOk="0">
                  <a:moveTo>
                    <a:pt x="721" y="1"/>
                  </a:moveTo>
                  <a:cubicBezTo>
                    <a:pt x="670" y="1"/>
                    <a:pt x="616" y="30"/>
                    <a:pt x="572" y="82"/>
                  </a:cubicBezTo>
                  <a:cubicBezTo>
                    <a:pt x="191" y="629"/>
                    <a:pt x="0" y="1296"/>
                    <a:pt x="60" y="1987"/>
                  </a:cubicBezTo>
                  <a:cubicBezTo>
                    <a:pt x="119" y="2665"/>
                    <a:pt x="417" y="3308"/>
                    <a:pt x="893" y="3796"/>
                  </a:cubicBezTo>
                  <a:cubicBezTo>
                    <a:pt x="917" y="3832"/>
                    <a:pt x="965" y="3844"/>
                    <a:pt x="1012" y="3844"/>
                  </a:cubicBezTo>
                  <a:cubicBezTo>
                    <a:pt x="1060" y="3844"/>
                    <a:pt x="1096" y="3832"/>
                    <a:pt x="1131" y="3796"/>
                  </a:cubicBezTo>
                  <a:cubicBezTo>
                    <a:pt x="1191" y="3725"/>
                    <a:pt x="1191" y="3618"/>
                    <a:pt x="1131" y="3546"/>
                  </a:cubicBezTo>
                  <a:cubicBezTo>
                    <a:pt x="250" y="2665"/>
                    <a:pt x="131" y="1284"/>
                    <a:pt x="857" y="272"/>
                  </a:cubicBezTo>
                  <a:cubicBezTo>
                    <a:pt x="917" y="201"/>
                    <a:pt x="893" y="94"/>
                    <a:pt x="810" y="34"/>
                  </a:cubicBezTo>
                  <a:cubicBezTo>
                    <a:pt x="783" y="12"/>
                    <a:pt x="752" y="1"/>
                    <a:pt x="7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0" name="Google Shape;11930;p61"/>
            <p:cNvSpPr/>
            <p:nvPr/>
          </p:nvSpPr>
          <p:spPr>
            <a:xfrm>
              <a:off x="2353592" y="2091362"/>
              <a:ext cx="68302" cy="20307"/>
            </a:xfrm>
            <a:custGeom>
              <a:avLst/>
              <a:gdLst/>
              <a:ahLst/>
              <a:cxnLst/>
              <a:rect l="l" t="t" r="r" b="b"/>
              <a:pathLst>
                <a:path w="2156" h="641" extrusionOk="0">
                  <a:moveTo>
                    <a:pt x="971" y="1"/>
                  </a:moveTo>
                  <a:cubicBezTo>
                    <a:pt x="708" y="1"/>
                    <a:pt x="417" y="59"/>
                    <a:pt x="120" y="224"/>
                  </a:cubicBezTo>
                  <a:cubicBezTo>
                    <a:pt x="24" y="271"/>
                    <a:pt x="1" y="379"/>
                    <a:pt x="60" y="462"/>
                  </a:cubicBezTo>
                  <a:cubicBezTo>
                    <a:pt x="90" y="522"/>
                    <a:pt x="144" y="554"/>
                    <a:pt x="201" y="554"/>
                  </a:cubicBezTo>
                  <a:cubicBezTo>
                    <a:pt x="234" y="554"/>
                    <a:pt x="268" y="543"/>
                    <a:pt x="298" y="521"/>
                  </a:cubicBezTo>
                  <a:cubicBezTo>
                    <a:pt x="537" y="391"/>
                    <a:pt x="771" y="345"/>
                    <a:pt x="982" y="345"/>
                  </a:cubicBezTo>
                  <a:cubicBezTo>
                    <a:pt x="1488" y="345"/>
                    <a:pt x="1869" y="608"/>
                    <a:pt x="1894" y="617"/>
                  </a:cubicBezTo>
                  <a:cubicBezTo>
                    <a:pt x="1918" y="629"/>
                    <a:pt x="1953" y="640"/>
                    <a:pt x="2001" y="640"/>
                  </a:cubicBezTo>
                  <a:cubicBezTo>
                    <a:pt x="2060" y="640"/>
                    <a:pt x="2096" y="617"/>
                    <a:pt x="2132" y="569"/>
                  </a:cubicBezTo>
                  <a:cubicBezTo>
                    <a:pt x="2156" y="498"/>
                    <a:pt x="2144" y="390"/>
                    <a:pt x="2072" y="331"/>
                  </a:cubicBezTo>
                  <a:cubicBezTo>
                    <a:pt x="2039" y="314"/>
                    <a:pt x="1581" y="1"/>
                    <a:pt x="9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1" name="Google Shape;11931;p61"/>
            <p:cNvSpPr/>
            <p:nvPr/>
          </p:nvSpPr>
          <p:spPr>
            <a:xfrm>
              <a:off x="2321532" y="2064434"/>
              <a:ext cx="230504" cy="260346"/>
            </a:xfrm>
            <a:custGeom>
              <a:avLst/>
              <a:gdLst/>
              <a:ahLst/>
              <a:cxnLst/>
              <a:rect l="l" t="t" r="r" b="b"/>
              <a:pathLst>
                <a:path w="7276" h="8218" extrusionOk="0">
                  <a:moveTo>
                    <a:pt x="3322" y="3038"/>
                  </a:moveTo>
                  <a:cubicBezTo>
                    <a:pt x="3394" y="3038"/>
                    <a:pt x="3489" y="3074"/>
                    <a:pt x="3549" y="3134"/>
                  </a:cubicBezTo>
                  <a:cubicBezTo>
                    <a:pt x="3668" y="3241"/>
                    <a:pt x="3668" y="3431"/>
                    <a:pt x="3525" y="3562"/>
                  </a:cubicBezTo>
                  <a:cubicBezTo>
                    <a:pt x="3465" y="3622"/>
                    <a:pt x="3388" y="3651"/>
                    <a:pt x="3311" y="3651"/>
                  </a:cubicBezTo>
                  <a:cubicBezTo>
                    <a:pt x="3233" y="3651"/>
                    <a:pt x="3156" y="3622"/>
                    <a:pt x="3096" y="3562"/>
                  </a:cubicBezTo>
                  <a:cubicBezTo>
                    <a:pt x="2977" y="3443"/>
                    <a:pt x="2977" y="3253"/>
                    <a:pt x="3096" y="3134"/>
                  </a:cubicBezTo>
                  <a:cubicBezTo>
                    <a:pt x="3156" y="3074"/>
                    <a:pt x="3227" y="3038"/>
                    <a:pt x="3322" y="3038"/>
                  </a:cubicBezTo>
                  <a:close/>
                  <a:moveTo>
                    <a:pt x="2441" y="3919"/>
                  </a:moveTo>
                  <a:cubicBezTo>
                    <a:pt x="2537" y="3919"/>
                    <a:pt x="2608" y="3955"/>
                    <a:pt x="2668" y="4015"/>
                  </a:cubicBezTo>
                  <a:cubicBezTo>
                    <a:pt x="2727" y="4074"/>
                    <a:pt x="2751" y="4146"/>
                    <a:pt x="2751" y="4229"/>
                  </a:cubicBezTo>
                  <a:cubicBezTo>
                    <a:pt x="2739" y="4312"/>
                    <a:pt x="2715" y="4384"/>
                    <a:pt x="2656" y="4443"/>
                  </a:cubicBezTo>
                  <a:cubicBezTo>
                    <a:pt x="2596" y="4503"/>
                    <a:pt x="2516" y="4533"/>
                    <a:pt x="2435" y="4533"/>
                  </a:cubicBezTo>
                  <a:cubicBezTo>
                    <a:pt x="2355" y="4533"/>
                    <a:pt x="2275" y="4503"/>
                    <a:pt x="2215" y="4443"/>
                  </a:cubicBezTo>
                  <a:cubicBezTo>
                    <a:pt x="2096" y="4324"/>
                    <a:pt x="2096" y="4134"/>
                    <a:pt x="2215" y="4015"/>
                  </a:cubicBezTo>
                  <a:cubicBezTo>
                    <a:pt x="2275" y="3955"/>
                    <a:pt x="2358" y="3919"/>
                    <a:pt x="2441" y="3919"/>
                  </a:cubicBezTo>
                  <a:close/>
                  <a:moveTo>
                    <a:pt x="6109" y="5062"/>
                  </a:moveTo>
                  <a:lnTo>
                    <a:pt x="6620" y="5586"/>
                  </a:lnTo>
                  <a:lnTo>
                    <a:pt x="4775" y="7432"/>
                  </a:lnTo>
                  <a:lnTo>
                    <a:pt x="4656" y="7551"/>
                  </a:lnTo>
                  <a:lnTo>
                    <a:pt x="4144" y="7027"/>
                  </a:lnTo>
                  <a:lnTo>
                    <a:pt x="4215" y="6955"/>
                  </a:lnTo>
                  <a:lnTo>
                    <a:pt x="4680" y="6491"/>
                  </a:lnTo>
                  <a:lnTo>
                    <a:pt x="5573" y="5598"/>
                  </a:lnTo>
                  <a:lnTo>
                    <a:pt x="6025" y="5146"/>
                  </a:lnTo>
                  <a:lnTo>
                    <a:pt x="6109" y="5062"/>
                  </a:lnTo>
                  <a:close/>
                  <a:moveTo>
                    <a:pt x="6644" y="6062"/>
                  </a:moveTo>
                  <a:lnTo>
                    <a:pt x="6668" y="6098"/>
                  </a:lnTo>
                  <a:cubicBezTo>
                    <a:pt x="6859" y="6289"/>
                    <a:pt x="6978" y="6551"/>
                    <a:pt x="6978" y="6836"/>
                  </a:cubicBezTo>
                  <a:cubicBezTo>
                    <a:pt x="6978" y="7122"/>
                    <a:pt x="6859" y="7384"/>
                    <a:pt x="6668" y="7586"/>
                  </a:cubicBezTo>
                  <a:cubicBezTo>
                    <a:pt x="6478" y="7777"/>
                    <a:pt x="6204" y="7896"/>
                    <a:pt x="5930" y="7896"/>
                  </a:cubicBezTo>
                  <a:cubicBezTo>
                    <a:pt x="5644" y="7896"/>
                    <a:pt x="5370" y="7789"/>
                    <a:pt x="5180" y="7586"/>
                  </a:cubicBezTo>
                  <a:lnTo>
                    <a:pt x="5156" y="7551"/>
                  </a:lnTo>
                  <a:lnTo>
                    <a:pt x="6644" y="6062"/>
                  </a:lnTo>
                  <a:close/>
                  <a:moveTo>
                    <a:pt x="1942" y="1"/>
                  </a:moveTo>
                  <a:cubicBezTo>
                    <a:pt x="1249" y="1"/>
                    <a:pt x="584" y="249"/>
                    <a:pt x="72" y="693"/>
                  </a:cubicBezTo>
                  <a:cubicBezTo>
                    <a:pt x="1" y="752"/>
                    <a:pt x="1" y="859"/>
                    <a:pt x="60" y="931"/>
                  </a:cubicBezTo>
                  <a:cubicBezTo>
                    <a:pt x="91" y="968"/>
                    <a:pt x="135" y="986"/>
                    <a:pt x="181" y="986"/>
                  </a:cubicBezTo>
                  <a:cubicBezTo>
                    <a:pt x="222" y="986"/>
                    <a:pt x="264" y="971"/>
                    <a:pt x="298" y="943"/>
                  </a:cubicBezTo>
                  <a:cubicBezTo>
                    <a:pt x="775" y="540"/>
                    <a:pt x="1365" y="340"/>
                    <a:pt x="1953" y="340"/>
                  </a:cubicBezTo>
                  <a:cubicBezTo>
                    <a:pt x="2601" y="340"/>
                    <a:pt x="3247" y="582"/>
                    <a:pt x="3739" y="1062"/>
                  </a:cubicBezTo>
                  <a:cubicBezTo>
                    <a:pt x="4144" y="1467"/>
                    <a:pt x="4406" y="1967"/>
                    <a:pt x="4477" y="2538"/>
                  </a:cubicBezTo>
                  <a:cubicBezTo>
                    <a:pt x="4620" y="3491"/>
                    <a:pt x="5013" y="4336"/>
                    <a:pt x="5668" y="5003"/>
                  </a:cubicBezTo>
                  <a:lnTo>
                    <a:pt x="5454" y="5229"/>
                  </a:lnTo>
                  <a:lnTo>
                    <a:pt x="3882" y="3669"/>
                  </a:lnTo>
                  <a:cubicBezTo>
                    <a:pt x="4037" y="3419"/>
                    <a:pt x="3989" y="3098"/>
                    <a:pt x="3787" y="2884"/>
                  </a:cubicBezTo>
                  <a:cubicBezTo>
                    <a:pt x="3656" y="2753"/>
                    <a:pt x="3486" y="2687"/>
                    <a:pt x="3318" y="2687"/>
                  </a:cubicBezTo>
                  <a:cubicBezTo>
                    <a:pt x="3150" y="2687"/>
                    <a:pt x="2983" y="2753"/>
                    <a:pt x="2858" y="2884"/>
                  </a:cubicBezTo>
                  <a:cubicBezTo>
                    <a:pt x="2656" y="3086"/>
                    <a:pt x="2608" y="3419"/>
                    <a:pt x="2751" y="3669"/>
                  </a:cubicBezTo>
                  <a:cubicBezTo>
                    <a:pt x="2656" y="3610"/>
                    <a:pt x="2549" y="3574"/>
                    <a:pt x="2429" y="3574"/>
                  </a:cubicBezTo>
                  <a:cubicBezTo>
                    <a:pt x="2251" y="3574"/>
                    <a:pt x="2084" y="3657"/>
                    <a:pt x="1965" y="3776"/>
                  </a:cubicBezTo>
                  <a:cubicBezTo>
                    <a:pt x="1715" y="4027"/>
                    <a:pt x="1715" y="4443"/>
                    <a:pt x="1965" y="4693"/>
                  </a:cubicBezTo>
                  <a:cubicBezTo>
                    <a:pt x="2096" y="4824"/>
                    <a:pt x="2263" y="4884"/>
                    <a:pt x="2429" y="4884"/>
                  </a:cubicBezTo>
                  <a:cubicBezTo>
                    <a:pt x="2537" y="4884"/>
                    <a:pt x="2656" y="4860"/>
                    <a:pt x="2739" y="4800"/>
                  </a:cubicBezTo>
                  <a:cubicBezTo>
                    <a:pt x="2834" y="4884"/>
                    <a:pt x="2906" y="4967"/>
                    <a:pt x="2989" y="5039"/>
                  </a:cubicBezTo>
                  <a:cubicBezTo>
                    <a:pt x="3025" y="5062"/>
                    <a:pt x="3072" y="5086"/>
                    <a:pt x="3108" y="5086"/>
                  </a:cubicBezTo>
                  <a:cubicBezTo>
                    <a:pt x="3156" y="5086"/>
                    <a:pt x="3203" y="5062"/>
                    <a:pt x="3227" y="5027"/>
                  </a:cubicBezTo>
                  <a:cubicBezTo>
                    <a:pt x="3287" y="4943"/>
                    <a:pt x="3287" y="4848"/>
                    <a:pt x="3215" y="4789"/>
                  </a:cubicBezTo>
                  <a:cubicBezTo>
                    <a:pt x="3144" y="4705"/>
                    <a:pt x="3049" y="4634"/>
                    <a:pt x="2977" y="4562"/>
                  </a:cubicBezTo>
                  <a:cubicBezTo>
                    <a:pt x="3037" y="4455"/>
                    <a:pt x="3072" y="4348"/>
                    <a:pt x="3072" y="4229"/>
                  </a:cubicBezTo>
                  <a:cubicBezTo>
                    <a:pt x="3072" y="4110"/>
                    <a:pt x="3037" y="3991"/>
                    <a:pt x="2977" y="3907"/>
                  </a:cubicBezTo>
                  <a:lnTo>
                    <a:pt x="2977" y="3907"/>
                  </a:lnTo>
                  <a:cubicBezTo>
                    <a:pt x="3084" y="3967"/>
                    <a:pt x="3203" y="3991"/>
                    <a:pt x="3311" y="3991"/>
                  </a:cubicBezTo>
                  <a:cubicBezTo>
                    <a:pt x="3430" y="3991"/>
                    <a:pt x="3525" y="3967"/>
                    <a:pt x="3632" y="3907"/>
                  </a:cubicBezTo>
                  <a:lnTo>
                    <a:pt x="5192" y="5467"/>
                  </a:lnTo>
                  <a:lnTo>
                    <a:pt x="4537" y="6122"/>
                  </a:lnTo>
                  <a:lnTo>
                    <a:pt x="3751" y="5336"/>
                  </a:lnTo>
                  <a:cubicBezTo>
                    <a:pt x="3721" y="5300"/>
                    <a:pt x="3677" y="5283"/>
                    <a:pt x="3632" y="5283"/>
                  </a:cubicBezTo>
                  <a:cubicBezTo>
                    <a:pt x="3587" y="5283"/>
                    <a:pt x="3543" y="5300"/>
                    <a:pt x="3513" y="5336"/>
                  </a:cubicBezTo>
                  <a:cubicBezTo>
                    <a:pt x="3442" y="5396"/>
                    <a:pt x="3442" y="5515"/>
                    <a:pt x="3513" y="5574"/>
                  </a:cubicBezTo>
                  <a:lnTo>
                    <a:pt x="4299" y="6360"/>
                  </a:lnTo>
                  <a:lnTo>
                    <a:pt x="4084" y="6586"/>
                  </a:lnTo>
                  <a:cubicBezTo>
                    <a:pt x="3394" y="5932"/>
                    <a:pt x="2537" y="5515"/>
                    <a:pt x="1620" y="5396"/>
                  </a:cubicBezTo>
                  <a:cubicBezTo>
                    <a:pt x="1286" y="5348"/>
                    <a:pt x="941" y="5229"/>
                    <a:pt x="644" y="5050"/>
                  </a:cubicBezTo>
                  <a:cubicBezTo>
                    <a:pt x="621" y="5035"/>
                    <a:pt x="595" y="5029"/>
                    <a:pt x="568" y="5029"/>
                  </a:cubicBezTo>
                  <a:cubicBezTo>
                    <a:pt x="510" y="5029"/>
                    <a:pt x="446" y="5061"/>
                    <a:pt x="405" y="5110"/>
                  </a:cubicBezTo>
                  <a:cubicBezTo>
                    <a:pt x="358" y="5181"/>
                    <a:pt x="394" y="5289"/>
                    <a:pt x="465" y="5348"/>
                  </a:cubicBezTo>
                  <a:cubicBezTo>
                    <a:pt x="810" y="5562"/>
                    <a:pt x="1179" y="5681"/>
                    <a:pt x="1560" y="5741"/>
                  </a:cubicBezTo>
                  <a:cubicBezTo>
                    <a:pt x="2394" y="5836"/>
                    <a:pt x="3191" y="6229"/>
                    <a:pt x="3823" y="6824"/>
                  </a:cubicBezTo>
                  <a:lnTo>
                    <a:pt x="3751" y="6896"/>
                  </a:lnTo>
                  <a:cubicBezTo>
                    <a:pt x="3692" y="6955"/>
                    <a:pt x="3692" y="7075"/>
                    <a:pt x="3751" y="7134"/>
                  </a:cubicBezTo>
                  <a:lnTo>
                    <a:pt x="4525" y="7908"/>
                  </a:lnTo>
                  <a:cubicBezTo>
                    <a:pt x="4561" y="7944"/>
                    <a:pt x="4596" y="7956"/>
                    <a:pt x="4644" y="7956"/>
                  </a:cubicBezTo>
                  <a:cubicBezTo>
                    <a:pt x="4692" y="7956"/>
                    <a:pt x="4739" y="7944"/>
                    <a:pt x="4763" y="7908"/>
                  </a:cubicBezTo>
                  <a:lnTo>
                    <a:pt x="4882" y="7789"/>
                  </a:lnTo>
                  <a:lnTo>
                    <a:pt x="4918" y="7825"/>
                  </a:lnTo>
                  <a:cubicBezTo>
                    <a:pt x="5180" y="8087"/>
                    <a:pt x="5525" y="8217"/>
                    <a:pt x="5894" y="8217"/>
                  </a:cubicBezTo>
                  <a:cubicBezTo>
                    <a:pt x="6263" y="8217"/>
                    <a:pt x="6620" y="8075"/>
                    <a:pt x="6882" y="7825"/>
                  </a:cubicBezTo>
                  <a:cubicBezTo>
                    <a:pt x="7144" y="7551"/>
                    <a:pt x="7275" y="7205"/>
                    <a:pt x="7275" y="6836"/>
                  </a:cubicBezTo>
                  <a:cubicBezTo>
                    <a:pt x="7275" y="6467"/>
                    <a:pt x="7180" y="6122"/>
                    <a:pt x="6906" y="5860"/>
                  </a:cubicBezTo>
                  <a:lnTo>
                    <a:pt x="6882" y="5824"/>
                  </a:lnTo>
                  <a:lnTo>
                    <a:pt x="6990" y="5705"/>
                  </a:lnTo>
                  <a:cubicBezTo>
                    <a:pt x="7049" y="5646"/>
                    <a:pt x="7049" y="5527"/>
                    <a:pt x="6990" y="5467"/>
                  </a:cubicBezTo>
                  <a:lnTo>
                    <a:pt x="6216" y="4693"/>
                  </a:lnTo>
                  <a:cubicBezTo>
                    <a:pt x="6192" y="4669"/>
                    <a:pt x="6144" y="4646"/>
                    <a:pt x="6097" y="4646"/>
                  </a:cubicBezTo>
                  <a:cubicBezTo>
                    <a:pt x="6061" y="4646"/>
                    <a:pt x="6013" y="4669"/>
                    <a:pt x="5989" y="4693"/>
                  </a:cubicBezTo>
                  <a:lnTo>
                    <a:pt x="5906" y="4765"/>
                  </a:lnTo>
                  <a:cubicBezTo>
                    <a:pt x="5311" y="4157"/>
                    <a:pt x="4942" y="3372"/>
                    <a:pt x="4823" y="2491"/>
                  </a:cubicBezTo>
                  <a:cubicBezTo>
                    <a:pt x="4739" y="1848"/>
                    <a:pt x="4454" y="1276"/>
                    <a:pt x="3977" y="824"/>
                  </a:cubicBezTo>
                  <a:cubicBezTo>
                    <a:pt x="3453" y="324"/>
                    <a:pt x="2775" y="26"/>
                    <a:pt x="2037" y="2"/>
                  </a:cubicBezTo>
                  <a:cubicBezTo>
                    <a:pt x="2005" y="1"/>
                    <a:pt x="1973" y="1"/>
                    <a:pt x="19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32" name="Google Shape;11932;p61"/>
          <p:cNvGrpSpPr/>
          <p:nvPr/>
        </p:nvGrpSpPr>
        <p:grpSpPr>
          <a:xfrm>
            <a:off x="1737258" y="1988371"/>
            <a:ext cx="370814" cy="307359"/>
            <a:chOff x="1737258" y="1988371"/>
            <a:chExt cx="370814" cy="307359"/>
          </a:xfrm>
        </p:grpSpPr>
        <p:sp>
          <p:nvSpPr>
            <p:cNvPr id="11933" name="Google Shape;11933;p61"/>
            <p:cNvSpPr/>
            <p:nvPr/>
          </p:nvSpPr>
          <p:spPr>
            <a:xfrm>
              <a:off x="1963200" y="1996607"/>
              <a:ext cx="144873" cy="144492"/>
            </a:xfrm>
            <a:custGeom>
              <a:avLst/>
              <a:gdLst/>
              <a:ahLst/>
              <a:cxnLst/>
              <a:rect l="l" t="t" r="r" b="b"/>
              <a:pathLst>
                <a:path w="4573" h="4561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4393"/>
                  </a:lnTo>
                  <a:cubicBezTo>
                    <a:pt x="1" y="4489"/>
                    <a:pt x="72" y="4560"/>
                    <a:pt x="167" y="4560"/>
                  </a:cubicBezTo>
                  <a:lnTo>
                    <a:pt x="4394" y="4560"/>
                  </a:lnTo>
                  <a:cubicBezTo>
                    <a:pt x="4477" y="4560"/>
                    <a:pt x="4561" y="4489"/>
                    <a:pt x="4561" y="4393"/>
                  </a:cubicBezTo>
                  <a:cubicBezTo>
                    <a:pt x="4573" y="3596"/>
                    <a:pt x="4346" y="2798"/>
                    <a:pt x="3930" y="2119"/>
                  </a:cubicBezTo>
                  <a:cubicBezTo>
                    <a:pt x="3897" y="2070"/>
                    <a:pt x="3842" y="2038"/>
                    <a:pt x="3780" y="2038"/>
                  </a:cubicBezTo>
                  <a:cubicBezTo>
                    <a:pt x="3751" y="2038"/>
                    <a:pt x="3721" y="2045"/>
                    <a:pt x="3692" y="2060"/>
                  </a:cubicBezTo>
                  <a:cubicBezTo>
                    <a:pt x="3620" y="2107"/>
                    <a:pt x="3584" y="2203"/>
                    <a:pt x="3632" y="2298"/>
                  </a:cubicBezTo>
                  <a:cubicBezTo>
                    <a:pt x="3989" y="2881"/>
                    <a:pt x="4204" y="3548"/>
                    <a:pt x="4227" y="4227"/>
                  </a:cubicBezTo>
                  <a:lnTo>
                    <a:pt x="346" y="4227"/>
                  </a:lnTo>
                  <a:lnTo>
                    <a:pt x="346" y="345"/>
                  </a:lnTo>
                  <a:cubicBezTo>
                    <a:pt x="1465" y="393"/>
                    <a:pt x="2513" y="893"/>
                    <a:pt x="3251" y="1762"/>
                  </a:cubicBezTo>
                  <a:cubicBezTo>
                    <a:pt x="3276" y="1800"/>
                    <a:pt x="3317" y="1817"/>
                    <a:pt x="3363" y="1817"/>
                  </a:cubicBezTo>
                  <a:cubicBezTo>
                    <a:pt x="3404" y="1817"/>
                    <a:pt x="3449" y="1803"/>
                    <a:pt x="3489" y="1774"/>
                  </a:cubicBezTo>
                  <a:cubicBezTo>
                    <a:pt x="3561" y="1715"/>
                    <a:pt x="3561" y="1607"/>
                    <a:pt x="3501" y="1536"/>
                  </a:cubicBezTo>
                  <a:cubicBezTo>
                    <a:pt x="2668" y="560"/>
                    <a:pt x="144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4" name="Google Shape;11934;p61"/>
            <p:cNvSpPr/>
            <p:nvPr/>
          </p:nvSpPr>
          <p:spPr>
            <a:xfrm>
              <a:off x="1737258" y="1988371"/>
              <a:ext cx="350064" cy="307359"/>
            </a:xfrm>
            <a:custGeom>
              <a:avLst/>
              <a:gdLst/>
              <a:ahLst/>
              <a:cxnLst/>
              <a:rect l="l" t="t" r="r" b="b"/>
              <a:pathLst>
                <a:path w="11050" h="9702" extrusionOk="0">
                  <a:moveTo>
                    <a:pt x="10693" y="5463"/>
                  </a:moveTo>
                  <a:cubicBezTo>
                    <a:pt x="10621" y="7320"/>
                    <a:pt x="9323" y="8868"/>
                    <a:pt x="7502" y="9249"/>
                  </a:cubicBezTo>
                  <a:lnTo>
                    <a:pt x="6847" y="5463"/>
                  </a:lnTo>
                  <a:close/>
                  <a:moveTo>
                    <a:pt x="6537" y="5666"/>
                  </a:moveTo>
                  <a:lnTo>
                    <a:pt x="7168" y="9297"/>
                  </a:lnTo>
                  <a:cubicBezTo>
                    <a:pt x="7002" y="9345"/>
                    <a:pt x="6823" y="9345"/>
                    <a:pt x="6656" y="9345"/>
                  </a:cubicBezTo>
                  <a:cubicBezTo>
                    <a:pt x="5752" y="9345"/>
                    <a:pt x="4859" y="9035"/>
                    <a:pt x="4144" y="8463"/>
                  </a:cubicBezTo>
                  <a:lnTo>
                    <a:pt x="4561" y="7975"/>
                  </a:lnTo>
                  <a:lnTo>
                    <a:pt x="6537" y="5666"/>
                  </a:lnTo>
                  <a:close/>
                  <a:moveTo>
                    <a:pt x="2413" y="1"/>
                  </a:moveTo>
                  <a:cubicBezTo>
                    <a:pt x="1956" y="1"/>
                    <a:pt x="1511" y="130"/>
                    <a:pt x="1120" y="379"/>
                  </a:cubicBezTo>
                  <a:cubicBezTo>
                    <a:pt x="394" y="879"/>
                    <a:pt x="1" y="1725"/>
                    <a:pt x="96" y="2582"/>
                  </a:cubicBezTo>
                  <a:cubicBezTo>
                    <a:pt x="107" y="2670"/>
                    <a:pt x="169" y="2738"/>
                    <a:pt x="264" y="2738"/>
                  </a:cubicBezTo>
                  <a:cubicBezTo>
                    <a:pt x="271" y="2738"/>
                    <a:pt x="279" y="2737"/>
                    <a:pt x="287" y="2737"/>
                  </a:cubicBezTo>
                  <a:cubicBezTo>
                    <a:pt x="382" y="2725"/>
                    <a:pt x="453" y="2641"/>
                    <a:pt x="441" y="2546"/>
                  </a:cubicBezTo>
                  <a:cubicBezTo>
                    <a:pt x="346" y="1796"/>
                    <a:pt x="691" y="1070"/>
                    <a:pt x="1311" y="653"/>
                  </a:cubicBezTo>
                  <a:cubicBezTo>
                    <a:pt x="1648" y="431"/>
                    <a:pt x="2026" y="315"/>
                    <a:pt x="2408" y="315"/>
                  </a:cubicBezTo>
                  <a:cubicBezTo>
                    <a:pt x="2538" y="315"/>
                    <a:pt x="2669" y="328"/>
                    <a:pt x="2799" y="355"/>
                  </a:cubicBezTo>
                  <a:cubicBezTo>
                    <a:pt x="3323" y="462"/>
                    <a:pt x="3775" y="760"/>
                    <a:pt x="4073" y="1201"/>
                  </a:cubicBezTo>
                  <a:cubicBezTo>
                    <a:pt x="4168" y="1367"/>
                    <a:pt x="4263" y="1534"/>
                    <a:pt x="4311" y="1713"/>
                  </a:cubicBezTo>
                  <a:lnTo>
                    <a:pt x="4311" y="1725"/>
                  </a:lnTo>
                  <a:cubicBezTo>
                    <a:pt x="4501" y="2332"/>
                    <a:pt x="4382" y="3022"/>
                    <a:pt x="3966" y="3558"/>
                  </a:cubicBezTo>
                  <a:cubicBezTo>
                    <a:pt x="3930" y="3582"/>
                    <a:pt x="3918" y="3630"/>
                    <a:pt x="3930" y="3677"/>
                  </a:cubicBezTo>
                  <a:lnTo>
                    <a:pt x="3978" y="4665"/>
                  </a:lnTo>
                  <a:lnTo>
                    <a:pt x="3073" y="4249"/>
                  </a:lnTo>
                  <a:cubicBezTo>
                    <a:pt x="3037" y="4237"/>
                    <a:pt x="3001" y="4237"/>
                    <a:pt x="2954" y="4237"/>
                  </a:cubicBezTo>
                  <a:cubicBezTo>
                    <a:pt x="2799" y="4284"/>
                    <a:pt x="2644" y="4308"/>
                    <a:pt x="2489" y="4308"/>
                  </a:cubicBezTo>
                  <a:lnTo>
                    <a:pt x="2465" y="4308"/>
                  </a:lnTo>
                  <a:cubicBezTo>
                    <a:pt x="2442" y="4309"/>
                    <a:pt x="2418" y="4309"/>
                    <a:pt x="2395" y="4309"/>
                  </a:cubicBezTo>
                  <a:cubicBezTo>
                    <a:pt x="1742" y="4309"/>
                    <a:pt x="1119" y="3991"/>
                    <a:pt x="751" y="3439"/>
                  </a:cubicBezTo>
                  <a:cubicBezTo>
                    <a:pt x="691" y="3344"/>
                    <a:pt x="644" y="3272"/>
                    <a:pt x="596" y="3177"/>
                  </a:cubicBezTo>
                  <a:cubicBezTo>
                    <a:pt x="571" y="3119"/>
                    <a:pt x="512" y="3084"/>
                    <a:pt x="454" y="3084"/>
                  </a:cubicBezTo>
                  <a:cubicBezTo>
                    <a:pt x="429" y="3084"/>
                    <a:pt x="404" y="3091"/>
                    <a:pt x="382" y="3106"/>
                  </a:cubicBezTo>
                  <a:cubicBezTo>
                    <a:pt x="287" y="3153"/>
                    <a:pt x="263" y="3260"/>
                    <a:pt x="298" y="3332"/>
                  </a:cubicBezTo>
                  <a:cubicBezTo>
                    <a:pt x="346" y="3439"/>
                    <a:pt x="406" y="3534"/>
                    <a:pt x="477" y="3630"/>
                  </a:cubicBezTo>
                  <a:cubicBezTo>
                    <a:pt x="894" y="4249"/>
                    <a:pt x="1584" y="4630"/>
                    <a:pt x="2299" y="4653"/>
                  </a:cubicBezTo>
                  <a:cubicBezTo>
                    <a:pt x="2263" y="4868"/>
                    <a:pt x="2251" y="5082"/>
                    <a:pt x="2251" y="5308"/>
                  </a:cubicBezTo>
                  <a:cubicBezTo>
                    <a:pt x="2251" y="5916"/>
                    <a:pt x="2370" y="6499"/>
                    <a:pt x="2608" y="7047"/>
                  </a:cubicBezTo>
                  <a:cubicBezTo>
                    <a:pt x="2632" y="7106"/>
                    <a:pt x="2692" y="7154"/>
                    <a:pt x="2751" y="7154"/>
                  </a:cubicBezTo>
                  <a:cubicBezTo>
                    <a:pt x="2787" y="7154"/>
                    <a:pt x="2799" y="7154"/>
                    <a:pt x="2835" y="7142"/>
                  </a:cubicBezTo>
                  <a:cubicBezTo>
                    <a:pt x="2918" y="7094"/>
                    <a:pt x="2954" y="7011"/>
                    <a:pt x="2918" y="6916"/>
                  </a:cubicBezTo>
                  <a:cubicBezTo>
                    <a:pt x="2692" y="6416"/>
                    <a:pt x="2596" y="5868"/>
                    <a:pt x="2596" y="5308"/>
                  </a:cubicBezTo>
                  <a:cubicBezTo>
                    <a:pt x="2596" y="5082"/>
                    <a:pt x="2608" y="4856"/>
                    <a:pt x="2656" y="4653"/>
                  </a:cubicBezTo>
                  <a:cubicBezTo>
                    <a:pt x="2775" y="4642"/>
                    <a:pt x="2894" y="4630"/>
                    <a:pt x="3013" y="4594"/>
                  </a:cubicBezTo>
                  <a:lnTo>
                    <a:pt x="4108" y="5118"/>
                  </a:lnTo>
                  <a:cubicBezTo>
                    <a:pt x="4144" y="5130"/>
                    <a:pt x="4156" y="5130"/>
                    <a:pt x="4180" y="5130"/>
                  </a:cubicBezTo>
                  <a:cubicBezTo>
                    <a:pt x="4216" y="5130"/>
                    <a:pt x="4239" y="5118"/>
                    <a:pt x="4275" y="5106"/>
                  </a:cubicBezTo>
                  <a:cubicBezTo>
                    <a:pt x="4323" y="5070"/>
                    <a:pt x="4347" y="5011"/>
                    <a:pt x="4347" y="4951"/>
                  </a:cubicBezTo>
                  <a:lnTo>
                    <a:pt x="4287" y="3737"/>
                  </a:lnTo>
                  <a:cubicBezTo>
                    <a:pt x="4716" y="3153"/>
                    <a:pt x="4859" y="2439"/>
                    <a:pt x="4692" y="1772"/>
                  </a:cubicBezTo>
                  <a:cubicBezTo>
                    <a:pt x="5240" y="1475"/>
                    <a:pt x="5847" y="1296"/>
                    <a:pt x="6478" y="1260"/>
                  </a:cubicBezTo>
                  <a:lnTo>
                    <a:pt x="6478" y="5249"/>
                  </a:lnTo>
                  <a:lnTo>
                    <a:pt x="4787" y="7201"/>
                  </a:lnTo>
                  <a:lnTo>
                    <a:pt x="3870" y="8261"/>
                  </a:lnTo>
                  <a:cubicBezTo>
                    <a:pt x="3632" y="8035"/>
                    <a:pt x="3406" y="7785"/>
                    <a:pt x="3239" y="7499"/>
                  </a:cubicBezTo>
                  <a:cubicBezTo>
                    <a:pt x="3208" y="7453"/>
                    <a:pt x="3152" y="7421"/>
                    <a:pt x="3091" y="7421"/>
                  </a:cubicBezTo>
                  <a:cubicBezTo>
                    <a:pt x="3058" y="7421"/>
                    <a:pt x="3023" y="7431"/>
                    <a:pt x="2989" y="7451"/>
                  </a:cubicBezTo>
                  <a:cubicBezTo>
                    <a:pt x="2918" y="7499"/>
                    <a:pt x="2894" y="7606"/>
                    <a:pt x="2954" y="7690"/>
                  </a:cubicBezTo>
                  <a:cubicBezTo>
                    <a:pt x="3168" y="8047"/>
                    <a:pt x="3454" y="8356"/>
                    <a:pt x="3763" y="8642"/>
                  </a:cubicBezTo>
                  <a:cubicBezTo>
                    <a:pt x="4561" y="9333"/>
                    <a:pt x="5585" y="9702"/>
                    <a:pt x="6645" y="9702"/>
                  </a:cubicBezTo>
                  <a:cubicBezTo>
                    <a:pt x="6895" y="9702"/>
                    <a:pt x="7145" y="9690"/>
                    <a:pt x="7383" y="9642"/>
                  </a:cubicBezTo>
                  <a:cubicBezTo>
                    <a:pt x="8395" y="9464"/>
                    <a:pt x="9323" y="8940"/>
                    <a:pt x="9990" y="8154"/>
                  </a:cubicBezTo>
                  <a:cubicBezTo>
                    <a:pt x="10657" y="7368"/>
                    <a:pt x="11026" y="6356"/>
                    <a:pt x="11026" y="5308"/>
                  </a:cubicBezTo>
                  <a:cubicBezTo>
                    <a:pt x="11050" y="5201"/>
                    <a:pt x="10978" y="5130"/>
                    <a:pt x="10871" y="5130"/>
                  </a:cubicBezTo>
                  <a:lnTo>
                    <a:pt x="6823" y="5130"/>
                  </a:lnTo>
                  <a:lnTo>
                    <a:pt x="6823" y="1082"/>
                  </a:lnTo>
                  <a:cubicBezTo>
                    <a:pt x="6823" y="998"/>
                    <a:pt x="6752" y="915"/>
                    <a:pt x="6656" y="915"/>
                  </a:cubicBezTo>
                  <a:cubicBezTo>
                    <a:pt x="5930" y="915"/>
                    <a:pt x="5228" y="1094"/>
                    <a:pt x="4585" y="1439"/>
                  </a:cubicBezTo>
                  <a:cubicBezTo>
                    <a:pt x="4525" y="1308"/>
                    <a:pt x="4454" y="1177"/>
                    <a:pt x="4370" y="1034"/>
                  </a:cubicBezTo>
                  <a:cubicBezTo>
                    <a:pt x="4025" y="522"/>
                    <a:pt x="3489" y="177"/>
                    <a:pt x="2882" y="46"/>
                  </a:cubicBezTo>
                  <a:cubicBezTo>
                    <a:pt x="2725" y="16"/>
                    <a:pt x="2569" y="1"/>
                    <a:pt x="24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5" name="Google Shape;11935;p61"/>
            <p:cNvSpPr/>
            <p:nvPr/>
          </p:nvSpPr>
          <p:spPr>
            <a:xfrm>
              <a:off x="1799129" y="2040738"/>
              <a:ext cx="28322" cy="53571"/>
            </a:xfrm>
            <a:custGeom>
              <a:avLst/>
              <a:gdLst/>
              <a:ahLst/>
              <a:cxnLst/>
              <a:rect l="l" t="t" r="r" b="b"/>
              <a:pathLst>
                <a:path w="894" h="1691" extrusionOk="0">
                  <a:moveTo>
                    <a:pt x="179" y="0"/>
                  </a:moveTo>
                  <a:cubicBezTo>
                    <a:pt x="84" y="0"/>
                    <a:pt x="12" y="72"/>
                    <a:pt x="12" y="155"/>
                  </a:cubicBezTo>
                  <a:cubicBezTo>
                    <a:pt x="12" y="250"/>
                    <a:pt x="84" y="322"/>
                    <a:pt x="179" y="322"/>
                  </a:cubicBezTo>
                  <a:lnTo>
                    <a:pt x="262" y="322"/>
                  </a:lnTo>
                  <a:lnTo>
                    <a:pt x="262" y="1369"/>
                  </a:lnTo>
                  <a:lnTo>
                    <a:pt x="167" y="1369"/>
                  </a:lnTo>
                  <a:cubicBezTo>
                    <a:pt x="72" y="1369"/>
                    <a:pt x="0" y="1441"/>
                    <a:pt x="0" y="1524"/>
                  </a:cubicBezTo>
                  <a:cubicBezTo>
                    <a:pt x="0" y="1619"/>
                    <a:pt x="72" y="1691"/>
                    <a:pt x="167" y="1691"/>
                  </a:cubicBezTo>
                  <a:lnTo>
                    <a:pt x="727" y="1691"/>
                  </a:lnTo>
                  <a:cubicBezTo>
                    <a:pt x="822" y="1691"/>
                    <a:pt x="893" y="1619"/>
                    <a:pt x="893" y="1524"/>
                  </a:cubicBezTo>
                  <a:cubicBezTo>
                    <a:pt x="893" y="1441"/>
                    <a:pt x="834" y="1381"/>
                    <a:pt x="727" y="1381"/>
                  </a:cubicBezTo>
                  <a:lnTo>
                    <a:pt x="608" y="1381"/>
                  </a:lnTo>
                  <a:lnTo>
                    <a:pt x="608" y="155"/>
                  </a:lnTo>
                  <a:cubicBezTo>
                    <a:pt x="608" y="72"/>
                    <a:pt x="536" y="0"/>
                    <a:pt x="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6" name="Google Shape;11936;p61"/>
            <p:cNvSpPr/>
            <p:nvPr/>
          </p:nvSpPr>
          <p:spPr>
            <a:xfrm>
              <a:off x="1802899" y="2024137"/>
              <a:ext cx="16252" cy="15872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51" y="0"/>
                  </a:moveTo>
                  <a:cubicBezTo>
                    <a:pt x="120" y="0"/>
                    <a:pt x="1" y="107"/>
                    <a:pt x="1" y="250"/>
                  </a:cubicBezTo>
                  <a:cubicBezTo>
                    <a:pt x="1" y="381"/>
                    <a:pt x="108" y="500"/>
                    <a:pt x="251" y="500"/>
                  </a:cubicBezTo>
                  <a:cubicBezTo>
                    <a:pt x="393" y="500"/>
                    <a:pt x="512" y="405"/>
                    <a:pt x="512" y="250"/>
                  </a:cubicBezTo>
                  <a:cubicBezTo>
                    <a:pt x="512" y="119"/>
                    <a:pt x="393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37" name="Google Shape;11937;p61"/>
          <p:cNvGrpSpPr/>
          <p:nvPr/>
        </p:nvGrpSpPr>
        <p:grpSpPr>
          <a:xfrm>
            <a:off x="848983" y="1989511"/>
            <a:ext cx="369294" cy="304350"/>
            <a:chOff x="848983" y="1989511"/>
            <a:chExt cx="369294" cy="304350"/>
          </a:xfrm>
        </p:grpSpPr>
        <p:sp>
          <p:nvSpPr>
            <p:cNvPr id="11938" name="Google Shape;11938;p61"/>
            <p:cNvSpPr/>
            <p:nvPr/>
          </p:nvSpPr>
          <p:spPr>
            <a:xfrm>
              <a:off x="890483" y="1989511"/>
              <a:ext cx="286704" cy="304350"/>
            </a:xfrm>
            <a:custGeom>
              <a:avLst/>
              <a:gdLst/>
              <a:ahLst/>
              <a:cxnLst/>
              <a:rect l="l" t="t" r="r" b="b"/>
              <a:pathLst>
                <a:path w="9050" h="9607" extrusionOk="0">
                  <a:moveTo>
                    <a:pt x="3798" y="3677"/>
                  </a:moveTo>
                  <a:cubicBezTo>
                    <a:pt x="3831" y="3677"/>
                    <a:pt x="3864" y="3689"/>
                    <a:pt x="3882" y="3713"/>
                  </a:cubicBezTo>
                  <a:cubicBezTo>
                    <a:pt x="3917" y="3736"/>
                    <a:pt x="3929" y="3772"/>
                    <a:pt x="3929" y="3796"/>
                  </a:cubicBezTo>
                  <a:cubicBezTo>
                    <a:pt x="3929" y="3832"/>
                    <a:pt x="3917" y="3879"/>
                    <a:pt x="3882" y="3891"/>
                  </a:cubicBezTo>
                  <a:cubicBezTo>
                    <a:pt x="3864" y="3915"/>
                    <a:pt x="3831" y="3927"/>
                    <a:pt x="3798" y="3927"/>
                  </a:cubicBezTo>
                  <a:cubicBezTo>
                    <a:pt x="3766" y="3927"/>
                    <a:pt x="3733" y="3915"/>
                    <a:pt x="3715" y="3891"/>
                  </a:cubicBezTo>
                  <a:cubicBezTo>
                    <a:pt x="3656" y="3844"/>
                    <a:pt x="3656" y="3760"/>
                    <a:pt x="3715" y="3713"/>
                  </a:cubicBezTo>
                  <a:cubicBezTo>
                    <a:pt x="3733" y="3689"/>
                    <a:pt x="3766" y="3677"/>
                    <a:pt x="3798" y="3677"/>
                  </a:cubicBezTo>
                  <a:close/>
                  <a:moveTo>
                    <a:pt x="5239" y="3665"/>
                  </a:moveTo>
                  <a:cubicBezTo>
                    <a:pt x="5275" y="3665"/>
                    <a:pt x="5299" y="3677"/>
                    <a:pt x="5334" y="3713"/>
                  </a:cubicBezTo>
                  <a:cubicBezTo>
                    <a:pt x="5382" y="3760"/>
                    <a:pt x="5382" y="3844"/>
                    <a:pt x="5334" y="3891"/>
                  </a:cubicBezTo>
                  <a:cubicBezTo>
                    <a:pt x="5310" y="3915"/>
                    <a:pt x="5278" y="3927"/>
                    <a:pt x="5245" y="3927"/>
                  </a:cubicBezTo>
                  <a:cubicBezTo>
                    <a:pt x="5212" y="3927"/>
                    <a:pt x="5180" y="3915"/>
                    <a:pt x="5156" y="3891"/>
                  </a:cubicBezTo>
                  <a:cubicBezTo>
                    <a:pt x="5120" y="3855"/>
                    <a:pt x="5108" y="3832"/>
                    <a:pt x="5108" y="3796"/>
                  </a:cubicBezTo>
                  <a:cubicBezTo>
                    <a:pt x="5108" y="3772"/>
                    <a:pt x="5120" y="3725"/>
                    <a:pt x="5156" y="3713"/>
                  </a:cubicBezTo>
                  <a:cubicBezTo>
                    <a:pt x="5180" y="3677"/>
                    <a:pt x="5215" y="3665"/>
                    <a:pt x="5239" y="3665"/>
                  </a:cubicBezTo>
                  <a:close/>
                  <a:moveTo>
                    <a:pt x="8323" y="4665"/>
                  </a:moveTo>
                  <a:lnTo>
                    <a:pt x="8323" y="4844"/>
                  </a:lnTo>
                  <a:lnTo>
                    <a:pt x="8358" y="4844"/>
                  </a:lnTo>
                  <a:cubicBezTo>
                    <a:pt x="8335" y="5034"/>
                    <a:pt x="8013" y="5332"/>
                    <a:pt x="7108" y="5570"/>
                  </a:cubicBezTo>
                  <a:cubicBezTo>
                    <a:pt x="6394" y="5749"/>
                    <a:pt x="5465" y="5856"/>
                    <a:pt x="4513" y="5856"/>
                  </a:cubicBezTo>
                  <a:cubicBezTo>
                    <a:pt x="3560" y="5856"/>
                    <a:pt x="2643" y="5749"/>
                    <a:pt x="1929" y="5570"/>
                  </a:cubicBezTo>
                  <a:cubicBezTo>
                    <a:pt x="1000" y="5332"/>
                    <a:pt x="679" y="5034"/>
                    <a:pt x="679" y="4844"/>
                  </a:cubicBezTo>
                  <a:lnTo>
                    <a:pt x="679" y="4665"/>
                  </a:lnTo>
                  <a:cubicBezTo>
                    <a:pt x="893" y="4832"/>
                    <a:pt x="1203" y="4975"/>
                    <a:pt x="1631" y="5094"/>
                  </a:cubicBezTo>
                  <a:cubicBezTo>
                    <a:pt x="2393" y="5320"/>
                    <a:pt x="3417" y="5451"/>
                    <a:pt x="4501" y="5451"/>
                  </a:cubicBezTo>
                  <a:cubicBezTo>
                    <a:pt x="5584" y="5451"/>
                    <a:pt x="6608" y="5332"/>
                    <a:pt x="7370" y="5094"/>
                  </a:cubicBezTo>
                  <a:cubicBezTo>
                    <a:pt x="7787" y="4975"/>
                    <a:pt x="8097" y="4832"/>
                    <a:pt x="8323" y="4665"/>
                  </a:cubicBezTo>
                  <a:close/>
                  <a:moveTo>
                    <a:pt x="8358" y="5403"/>
                  </a:moveTo>
                  <a:lnTo>
                    <a:pt x="8358" y="8249"/>
                  </a:lnTo>
                  <a:cubicBezTo>
                    <a:pt x="8358" y="8439"/>
                    <a:pt x="8025" y="8713"/>
                    <a:pt x="7311" y="8916"/>
                  </a:cubicBezTo>
                  <a:lnTo>
                    <a:pt x="7311" y="5868"/>
                  </a:lnTo>
                  <a:cubicBezTo>
                    <a:pt x="7680" y="5760"/>
                    <a:pt x="8073" y="5618"/>
                    <a:pt x="8358" y="5403"/>
                  </a:cubicBezTo>
                  <a:close/>
                  <a:moveTo>
                    <a:pt x="715" y="5379"/>
                  </a:moveTo>
                  <a:cubicBezTo>
                    <a:pt x="953" y="5558"/>
                    <a:pt x="1298" y="5701"/>
                    <a:pt x="1751" y="5820"/>
                  </a:cubicBezTo>
                  <a:lnTo>
                    <a:pt x="1751" y="6951"/>
                  </a:lnTo>
                  <a:cubicBezTo>
                    <a:pt x="1751" y="7046"/>
                    <a:pt x="1822" y="7118"/>
                    <a:pt x="1905" y="7118"/>
                  </a:cubicBezTo>
                  <a:cubicBezTo>
                    <a:pt x="2001" y="7118"/>
                    <a:pt x="2072" y="7046"/>
                    <a:pt x="2072" y="6951"/>
                  </a:cubicBezTo>
                  <a:lnTo>
                    <a:pt x="2072" y="5915"/>
                  </a:lnTo>
                  <a:cubicBezTo>
                    <a:pt x="2727" y="6058"/>
                    <a:pt x="3536" y="6153"/>
                    <a:pt x="4370" y="6153"/>
                  </a:cubicBezTo>
                  <a:lnTo>
                    <a:pt x="4346" y="9249"/>
                  </a:lnTo>
                  <a:cubicBezTo>
                    <a:pt x="4203" y="9249"/>
                    <a:pt x="4048" y="9249"/>
                    <a:pt x="3906" y="9225"/>
                  </a:cubicBezTo>
                  <a:cubicBezTo>
                    <a:pt x="3334" y="9201"/>
                    <a:pt x="2822" y="9142"/>
                    <a:pt x="2358" y="9059"/>
                  </a:cubicBezTo>
                  <a:cubicBezTo>
                    <a:pt x="2262" y="9035"/>
                    <a:pt x="2167" y="9011"/>
                    <a:pt x="2072" y="8999"/>
                  </a:cubicBezTo>
                  <a:lnTo>
                    <a:pt x="2072" y="7689"/>
                  </a:lnTo>
                  <a:cubicBezTo>
                    <a:pt x="2072" y="7594"/>
                    <a:pt x="2001" y="7523"/>
                    <a:pt x="1905" y="7511"/>
                  </a:cubicBezTo>
                  <a:cubicBezTo>
                    <a:pt x="1822" y="7511"/>
                    <a:pt x="1751" y="7582"/>
                    <a:pt x="1751" y="7665"/>
                  </a:cubicBezTo>
                  <a:lnTo>
                    <a:pt x="1751" y="8892"/>
                  </a:lnTo>
                  <a:cubicBezTo>
                    <a:pt x="1655" y="8856"/>
                    <a:pt x="1548" y="8832"/>
                    <a:pt x="1477" y="8797"/>
                  </a:cubicBezTo>
                  <a:cubicBezTo>
                    <a:pt x="1000" y="8618"/>
                    <a:pt x="715" y="8416"/>
                    <a:pt x="715" y="8225"/>
                  </a:cubicBezTo>
                  <a:lnTo>
                    <a:pt x="715" y="5379"/>
                  </a:lnTo>
                  <a:close/>
                  <a:moveTo>
                    <a:pt x="8870" y="1"/>
                  </a:moveTo>
                  <a:cubicBezTo>
                    <a:pt x="8826" y="1"/>
                    <a:pt x="8781" y="16"/>
                    <a:pt x="8751" y="45"/>
                  </a:cubicBezTo>
                  <a:lnTo>
                    <a:pt x="5977" y="2832"/>
                  </a:lnTo>
                  <a:cubicBezTo>
                    <a:pt x="5680" y="2808"/>
                    <a:pt x="5358" y="2772"/>
                    <a:pt x="5049" y="2760"/>
                  </a:cubicBezTo>
                  <a:cubicBezTo>
                    <a:pt x="4965" y="2760"/>
                    <a:pt x="4870" y="2832"/>
                    <a:pt x="4870" y="2927"/>
                  </a:cubicBezTo>
                  <a:cubicBezTo>
                    <a:pt x="4870" y="3010"/>
                    <a:pt x="4941" y="3105"/>
                    <a:pt x="5037" y="3105"/>
                  </a:cubicBezTo>
                  <a:cubicBezTo>
                    <a:pt x="5263" y="3117"/>
                    <a:pt x="5465" y="3117"/>
                    <a:pt x="5656" y="3141"/>
                  </a:cubicBezTo>
                  <a:lnTo>
                    <a:pt x="5441" y="3367"/>
                  </a:lnTo>
                  <a:cubicBezTo>
                    <a:pt x="5379" y="3342"/>
                    <a:pt x="5311" y="3329"/>
                    <a:pt x="5245" y="3329"/>
                  </a:cubicBezTo>
                  <a:cubicBezTo>
                    <a:pt x="5122" y="3329"/>
                    <a:pt x="5002" y="3374"/>
                    <a:pt x="4918" y="3474"/>
                  </a:cubicBezTo>
                  <a:cubicBezTo>
                    <a:pt x="4822" y="3558"/>
                    <a:pt x="4787" y="3677"/>
                    <a:pt x="4787" y="3796"/>
                  </a:cubicBezTo>
                  <a:cubicBezTo>
                    <a:pt x="4787" y="3915"/>
                    <a:pt x="4822" y="4034"/>
                    <a:pt x="4918" y="4129"/>
                  </a:cubicBezTo>
                  <a:cubicBezTo>
                    <a:pt x="5001" y="4213"/>
                    <a:pt x="5120" y="4260"/>
                    <a:pt x="5239" y="4260"/>
                  </a:cubicBezTo>
                  <a:cubicBezTo>
                    <a:pt x="5358" y="4260"/>
                    <a:pt x="5477" y="4213"/>
                    <a:pt x="5572" y="4129"/>
                  </a:cubicBezTo>
                  <a:cubicBezTo>
                    <a:pt x="5703" y="3998"/>
                    <a:pt x="5751" y="3784"/>
                    <a:pt x="5668" y="3605"/>
                  </a:cubicBezTo>
                  <a:lnTo>
                    <a:pt x="6096" y="3189"/>
                  </a:lnTo>
                  <a:cubicBezTo>
                    <a:pt x="7561" y="3379"/>
                    <a:pt x="8347" y="3796"/>
                    <a:pt x="8347" y="4094"/>
                  </a:cubicBezTo>
                  <a:cubicBezTo>
                    <a:pt x="8347" y="4510"/>
                    <a:pt x="6894" y="5106"/>
                    <a:pt x="4525" y="5106"/>
                  </a:cubicBezTo>
                  <a:cubicBezTo>
                    <a:pt x="2167" y="5106"/>
                    <a:pt x="703" y="4534"/>
                    <a:pt x="703" y="4094"/>
                  </a:cubicBezTo>
                  <a:cubicBezTo>
                    <a:pt x="703" y="3784"/>
                    <a:pt x="1489" y="3367"/>
                    <a:pt x="2965" y="3189"/>
                  </a:cubicBezTo>
                  <a:lnTo>
                    <a:pt x="3394" y="3617"/>
                  </a:lnTo>
                  <a:cubicBezTo>
                    <a:pt x="3322" y="3796"/>
                    <a:pt x="3358" y="4010"/>
                    <a:pt x="3501" y="4141"/>
                  </a:cubicBezTo>
                  <a:cubicBezTo>
                    <a:pt x="3584" y="4236"/>
                    <a:pt x="3715" y="4272"/>
                    <a:pt x="3822" y="4272"/>
                  </a:cubicBezTo>
                  <a:cubicBezTo>
                    <a:pt x="3953" y="4272"/>
                    <a:pt x="4060" y="4225"/>
                    <a:pt x="4156" y="4141"/>
                  </a:cubicBezTo>
                  <a:cubicBezTo>
                    <a:pt x="4239" y="4046"/>
                    <a:pt x="4287" y="3939"/>
                    <a:pt x="4287" y="3820"/>
                  </a:cubicBezTo>
                  <a:cubicBezTo>
                    <a:pt x="4287" y="3701"/>
                    <a:pt x="4239" y="3570"/>
                    <a:pt x="4156" y="3486"/>
                  </a:cubicBezTo>
                  <a:cubicBezTo>
                    <a:pt x="4066" y="3397"/>
                    <a:pt x="3937" y="3346"/>
                    <a:pt x="3807" y="3346"/>
                  </a:cubicBezTo>
                  <a:cubicBezTo>
                    <a:pt x="3748" y="3346"/>
                    <a:pt x="3688" y="3357"/>
                    <a:pt x="3632" y="3379"/>
                  </a:cubicBezTo>
                  <a:lnTo>
                    <a:pt x="3405" y="3165"/>
                  </a:lnTo>
                  <a:cubicBezTo>
                    <a:pt x="3703" y="3129"/>
                    <a:pt x="4048" y="3117"/>
                    <a:pt x="4394" y="3117"/>
                  </a:cubicBezTo>
                  <a:cubicBezTo>
                    <a:pt x="4477" y="3117"/>
                    <a:pt x="4560" y="3046"/>
                    <a:pt x="4560" y="2939"/>
                  </a:cubicBezTo>
                  <a:cubicBezTo>
                    <a:pt x="4560" y="2843"/>
                    <a:pt x="4477" y="2772"/>
                    <a:pt x="4382" y="2772"/>
                  </a:cubicBezTo>
                  <a:cubicBezTo>
                    <a:pt x="3941" y="2772"/>
                    <a:pt x="3501" y="2808"/>
                    <a:pt x="3084" y="2843"/>
                  </a:cubicBezTo>
                  <a:lnTo>
                    <a:pt x="298" y="69"/>
                  </a:lnTo>
                  <a:cubicBezTo>
                    <a:pt x="268" y="40"/>
                    <a:pt x="224" y="25"/>
                    <a:pt x="179" y="25"/>
                  </a:cubicBezTo>
                  <a:cubicBezTo>
                    <a:pt x="134" y="25"/>
                    <a:pt x="90" y="40"/>
                    <a:pt x="60" y="69"/>
                  </a:cubicBezTo>
                  <a:cubicBezTo>
                    <a:pt x="0" y="129"/>
                    <a:pt x="0" y="248"/>
                    <a:pt x="60" y="307"/>
                  </a:cubicBezTo>
                  <a:lnTo>
                    <a:pt x="2667" y="2903"/>
                  </a:lnTo>
                  <a:cubicBezTo>
                    <a:pt x="1370" y="3105"/>
                    <a:pt x="357" y="3522"/>
                    <a:pt x="357" y="4117"/>
                  </a:cubicBezTo>
                  <a:lnTo>
                    <a:pt x="357" y="4415"/>
                  </a:lnTo>
                  <a:lnTo>
                    <a:pt x="357" y="4856"/>
                  </a:lnTo>
                  <a:lnTo>
                    <a:pt x="357" y="8261"/>
                  </a:lnTo>
                  <a:cubicBezTo>
                    <a:pt x="357" y="8499"/>
                    <a:pt x="524" y="8856"/>
                    <a:pt x="1346" y="9154"/>
                  </a:cubicBezTo>
                  <a:cubicBezTo>
                    <a:pt x="1608" y="9261"/>
                    <a:pt x="1941" y="9332"/>
                    <a:pt x="2298" y="9416"/>
                  </a:cubicBezTo>
                  <a:cubicBezTo>
                    <a:pt x="2786" y="9499"/>
                    <a:pt x="3322" y="9570"/>
                    <a:pt x="3906" y="9594"/>
                  </a:cubicBezTo>
                  <a:cubicBezTo>
                    <a:pt x="4108" y="9606"/>
                    <a:pt x="4334" y="9606"/>
                    <a:pt x="4548" y="9606"/>
                  </a:cubicBezTo>
                  <a:cubicBezTo>
                    <a:pt x="4965" y="9606"/>
                    <a:pt x="5382" y="9594"/>
                    <a:pt x="5775" y="9547"/>
                  </a:cubicBezTo>
                  <a:cubicBezTo>
                    <a:pt x="5870" y="9535"/>
                    <a:pt x="5942" y="9451"/>
                    <a:pt x="5930" y="9368"/>
                  </a:cubicBezTo>
                  <a:cubicBezTo>
                    <a:pt x="5919" y="9280"/>
                    <a:pt x="5846" y="9212"/>
                    <a:pt x="5769" y="9212"/>
                  </a:cubicBezTo>
                  <a:cubicBezTo>
                    <a:pt x="5763" y="9212"/>
                    <a:pt x="5757" y="9212"/>
                    <a:pt x="5751" y="9213"/>
                  </a:cubicBezTo>
                  <a:cubicBezTo>
                    <a:pt x="5406" y="9249"/>
                    <a:pt x="5060" y="9261"/>
                    <a:pt x="4703" y="9273"/>
                  </a:cubicBezTo>
                  <a:lnTo>
                    <a:pt x="4703" y="6213"/>
                  </a:lnTo>
                  <a:cubicBezTo>
                    <a:pt x="5537" y="6201"/>
                    <a:pt x="6334" y="6118"/>
                    <a:pt x="7001" y="5975"/>
                  </a:cubicBezTo>
                  <a:lnTo>
                    <a:pt x="7001" y="9035"/>
                  </a:lnTo>
                  <a:cubicBezTo>
                    <a:pt x="6823" y="9082"/>
                    <a:pt x="6632" y="9118"/>
                    <a:pt x="6406" y="9154"/>
                  </a:cubicBezTo>
                  <a:cubicBezTo>
                    <a:pt x="6311" y="9178"/>
                    <a:pt x="6251" y="9261"/>
                    <a:pt x="6251" y="9356"/>
                  </a:cubicBezTo>
                  <a:cubicBezTo>
                    <a:pt x="6275" y="9440"/>
                    <a:pt x="6346" y="9499"/>
                    <a:pt x="6418" y="9499"/>
                  </a:cubicBezTo>
                  <a:lnTo>
                    <a:pt x="6453" y="9499"/>
                  </a:lnTo>
                  <a:cubicBezTo>
                    <a:pt x="6644" y="9475"/>
                    <a:pt x="6906" y="9428"/>
                    <a:pt x="7180" y="9356"/>
                  </a:cubicBezTo>
                  <a:cubicBezTo>
                    <a:pt x="7192" y="9356"/>
                    <a:pt x="7192" y="9356"/>
                    <a:pt x="7204" y="9332"/>
                  </a:cubicBezTo>
                  <a:cubicBezTo>
                    <a:pt x="7906" y="9154"/>
                    <a:pt x="8692" y="8832"/>
                    <a:pt x="8692" y="8297"/>
                  </a:cubicBezTo>
                  <a:lnTo>
                    <a:pt x="8692" y="4903"/>
                  </a:lnTo>
                  <a:lnTo>
                    <a:pt x="8692" y="4891"/>
                  </a:lnTo>
                  <a:lnTo>
                    <a:pt x="8692" y="4141"/>
                  </a:lnTo>
                  <a:cubicBezTo>
                    <a:pt x="8692" y="3772"/>
                    <a:pt x="8311" y="3439"/>
                    <a:pt x="7585" y="3201"/>
                  </a:cubicBezTo>
                  <a:cubicBezTo>
                    <a:pt x="7239" y="3082"/>
                    <a:pt x="6834" y="2998"/>
                    <a:pt x="6406" y="2939"/>
                  </a:cubicBezTo>
                  <a:lnTo>
                    <a:pt x="9013" y="331"/>
                  </a:lnTo>
                  <a:cubicBezTo>
                    <a:pt x="9049" y="224"/>
                    <a:pt x="9049" y="105"/>
                    <a:pt x="8990" y="45"/>
                  </a:cubicBezTo>
                  <a:cubicBezTo>
                    <a:pt x="8960" y="16"/>
                    <a:pt x="8915" y="1"/>
                    <a:pt x="8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9" name="Google Shape;11939;p61"/>
            <p:cNvSpPr/>
            <p:nvPr/>
          </p:nvSpPr>
          <p:spPr>
            <a:xfrm>
              <a:off x="882943" y="2031107"/>
              <a:ext cx="42641" cy="56802"/>
            </a:xfrm>
            <a:custGeom>
              <a:avLst/>
              <a:gdLst/>
              <a:ahLst/>
              <a:cxnLst/>
              <a:rect l="l" t="t" r="r" b="b"/>
              <a:pathLst>
                <a:path w="1346" h="1793" extrusionOk="0">
                  <a:moveTo>
                    <a:pt x="195" y="0"/>
                  </a:moveTo>
                  <a:cubicBezTo>
                    <a:pt x="163" y="0"/>
                    <a:pt x="132" y="9"/>
                    <a:pt x="107" y="30"/>
                  </a:cubicBezTo>
                  <a:cubicBezTo>
                    <a:pt x="36" y="78"/>
                    <a:pt x="0" y="197"/>
                    <a:pt x="60" y="268"/>
                  </a:cubicBezTo>
                  <a:lnTo>
                    <a:pt x="1000" y="1709"/>
                  </a:lnTo>
                  <a:cubicBezTo>
                    <a:pt x="1036" y="1757"/>
                    <a:pt x="1096" y="1792"/>
                    <a:pt x="1155" y="1792"/>
                  </a:cubicBezTo>
                  <a:cubicBezTo>
                    <a:pt x="1179" y="1792"/>
                    <a:pt x="1215" y="1769"/>
                    <a:pt x="1238" y="1757"/>
                  </a:cubicBezTo>
                  <a:cubicBezTo>
                    <a:pt x="1310" y="1697"/>
                    <a:pt x="1346" y="1590"/>
                    <a:pt x="1286" y="1519"/>
                  </a:cubicBezTo>
                  <a:lnTo>
                    <a:pt x="345" y="78"/>
                  </a:lnTo>
                  <a:cubicBezTo>
                    <a:pt x="315" y="32"/>
                    <a:pt x="254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0" name="Google Shape;11940;p61"/>
            <p:cNvSpPr/>
            <p:nvPr/>
          </p:nvSpPr>
          <p:spPr>
            <a:xfrm>
              <a:off x="848983" y="2072354"/>
              <a:ext cx="59622" cy="30635"/>
            </a:xfrm>
            <a:custGeom>
              <a:avLst/>
              <a:gdLst/>
              <a:ahLst/>
              <a:cxnLst/>
              <a:rect l="l" t="t" r="r" b="b"/>
              <a:pathLst>
                <a:path w="1882" h="967" extrusionOk="0">
                  <a:moveTo>
                    <a:pt x="187" y="0"/>
                  </a:moveTo>
                  <a:cubicBezTo>
                    <a:pt x="117" y="0"/>
                    <a:pt x="54" y="36"/>
                    <a:pt x="36" y="97"/>
                  </a:cubicBezTo>
                  <a:cubicBezTo>
                    <a:pt x="1" y="193"/>
                    <a:pt x="36" y="288"/>
                    <a:pt x="120" y="324"/>
                  </a:cubicBezTo>
                  <a:lnTo>
                    <a:pt x="1608" y="943"/>
                  </a:lnTo>
                  <a:cubicBezTo>
                    <a:pt x="1620" y="967"/>
                    <a:pt x="1656" y="967"/>
                    <a:pt x="1667" y="967"/>
                  </a:cubicBezTo>
                  <a:cubicBezTo>
                    <a:pt x="1727" y="967"/>
                    <a:pt x="1810" y="919"/>
                    <a:pt x="1834" y="859"/>
                  </a:cubicBezTo>
                  <a:cubicBezTo>
                    <a:pt x="1882" y="764"/>
                    <a:pt x="1834" y="669"/>
                    <a:pt x="1751" y="633"/>
                  </a:cubicBezTo>
                  <a:lnTo>
                    <a:pt x="263" y="14"/>
                  </a:lnTo>
                  <a:cubicBezTo>
                    <a:pt x="238" y="5"/>
                    <a:pt x="212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1" name="Google Shape;11941;p61"/>
            <p:cNvSpPr/>
            <p:nvPr/>
          </p:nvSpPr>
          <p:spPr>
            <a:xfrm>
              <a:off x="1142054" y="2031265"/>
              <a:ext cx="41913" cy="56644"/>
            </a:xfrm>
            <a:custGeom>
              <a:avLst/>
              <a:gdLst/>
              <a:ahLst/>
              <a:cxnLst/>
              <a:rect l="l" t="t" r="r" b="b"/>
              <a:pathLst>
                <a:path w="1323" h="1788" extrusionOk="0">
                  <a:moveTo>
                    <a:pt x="1130" y="0"/>
                  </a:moveTo>
                  <a:cubicBezTo>
                    <a:pt x="1074" y="0"/>
                    <a:pt x="1016" y="27"/>
                    <a:pt x="977" y="73"/>
                  </a:cubicBezTo>
                  <a:lnTo>
                    <a:pt x="36" y="1514"/>
                  </a:lnTo>
                  <a:cubicBezTo>
                    <a:pt x="1" y="1585"/>
                    <a:pt x="13" y="1692"/>
                    <a:pt x="84" y="1752"/>
                  </a:cubicBezTo>
                  <a:cubicBezTo>
                    <a:pt x="120" y="1764"/>
                    <a:pt x="144" y="1787"/>
                    <a:pt x="179" y="1787"/>
                  </a:cubicBezTo>
                  <a:cubicBezTo>
                    <a:pt x="239" y="1787"/>
                    <a:pt x="275" y="1752"/>
                    <a:pt x="322" y="1704"/>
                  </a:cubicBezTo>
                  <a:lnTo>
                    <a:pt x="1263" y="263"/>
                  </a:lnTo>
                  <a:cubicBezTo>
                    <a:pt x="1322" y="180"/>
                    <a:pt x="1287" y="73"/>
                    <a:pt x="1215" y="25"/>
                  </a:cubicBezTo>
                  <a:cubicBezTo>
                    <a:pt x="1190" y="8"/>
                    <a:pt x="1160" y="0"/>
                    <a:pt x="11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2" name="Google Shape;11942;p61"/>
            <p:cNvSpPr/>
            <p:nvPr/>
          </p:nvSpPr>
          <p:spPr>
            <a:xfrm>
              <a:off x="1158274" y="2072196"/>
              <a:ext cx="60002" cy="30413"/>
            </a:xfrm>
            <a:custGeom>
              <a:avLst/>
              <a:gdLst/>
              <a:ahLst/>
              <a:cxnLst/>
              <a:rect l="l" t="t" r="r" b="b"/>
              <a:pathLst>
                <a:path w="1894" h="960" extrusionOk="0">
                  <a:moveTo>
                    <a:pt x="1703" y="0"/>
                  </a:moveTo>
                  <a:cubicBezTo>
                    <a:pt x="1679" y="0"/>
                    <a:pt x="1655" y="6"/>
                    <a:pt x="1632" y="19"/>
                  </a:cubicBezTo>
                  <a:lnTo>
                    <a:pt x="144" y="638"/>
                  </a:lnTo>
                  <a:cubicBezTo>
                    <a:pt x="48" y="662"/>
                    <a:pt x="1" y="769"/>
                    <a:pt x="48" y="864"/>
                  </a:cubicBezTo>
                  <a:cubicBezTo>
                    <a:pt x="84" y="924"/>
                    <a:pt x="144" y="960"/>
                    <a:pt x="215" y="960"/>
                  </a:cubicBezTo>
                  <a:cubicBezTo>
                    <a:pt x="227" y="960"/>
                    <a:pt x="263" y="960"/>
                    <a:pt x="275" y="948"/>
                  </a:cubicBezTo>
                  <a:lnTo>
                    <a:pt x="1763" y="329"/>
                  </a:lnTo>
                  <a:cubicBezTo>
                    <a:pt x="1846" y="293"/>
                    <a:pt x="1894" y="198"/>
                    <a:pt x="1846" y="102"/>
                  </a:cubicBezTo>
                  <a:cubicBezTo>
                    <a:pt x="1829" y="42"/>
                    <a:pt x="1768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43" name="Google Shape;11943;p61"/>
          <p:cNvGrpSpPr/>
          <p:nvPr/>
        </p:nvGrpSpPr>
        <p:grpSpPr>
          <a:xfrm>
            <a:off x="3074027" y="1983777"/>
            <a:ext cx="380604" cy="313854"/>
            <a:chOff x="3074027" y="1983777"/>
            <a:chExt cx="380604" cy="313854"/>
          </a:xfrm>
        </p:grpSpPr>
        <p:sp>
          <p:nvSpPr>
            <p:cNvPr id="11944" name="Google Shape;11944;p61"/>
            <p:cNvSpPr/>
            <p:nvPr/>
          </p:nvSpPr>
          <p:spPr>
            <a:xfrm>
              <a:off x="3130608" y="1984886"/>
              <a:ext cx="324023" cy="312745"/>
            </a:xfrm>
            <a:custGeom>
              <a:avLst/>
              <a:gdLst/>
              <a:ahLst/>
              <a:cxnLst/>
              <a:rect l="l" t="t" r="r" b="b"/>
              <a:pathLst>
                <a:path w="10228" h="9872" extrusionOk="0">
                  <a:moveTo>
                    <a:pt x="3918" y="5704"/>
                  </a:moveTo>
                  <a:cubicBezTo>
                    <a:pt x="3941" y="5752"/>
                    <a:pt x="3989" y="5811"/>
                    <a:pt x="4049" y="5847"/>
                  </a:cubicBezTo>
                  <a:cubicBezTo>
                    <a:pt x="4096" y="5895"/>
                    <a:pt x="4156" y="5942"/>
                    <a:pt x="4203" y="5990"/>
                  </a:cubicBezTo>
                  <a:lnTo>
                    <a:pt x="3430" y="6764"/>
                  </a:lnTo>
                  <a:lnTo>
                    <a:pt x="3144" y="6478"/>
                  </a:lnTo>
                  <a:lnTo>
                    <a:pt x="3918" y="5704"/>
                  </a:lnTo>
                  <a:close/>
                  <a:moveTo>
                    <a:pt x="6466" y="1"/>
                  </a:moveTo>
                  <a:cubicBezTo>
                    <a:pt x="5537" y="1"/>
                    <a:pt x="4692" y="358"/>
                    <a:pt x="4037" y="1001"/>
                  </a:cubicBezTo>
                  <a:cubicBezTo>
                    <a:pt x="3394" y="1644"/>
                    <a:pt x="3037" y="2501"/>
                    <a:pt x="3037" y="3430"/>
                  </a:cubicBezTo>
                  <a:cubicBezTo>
                    <a:pt x="3037" y="4156"/>
                    <a:pt x="3263" y="4859"/>
                    <a:pt x="3691" y="5430"/>
                  </a:cubicBezTo>
                  <a:lnTo>
                    <a:pt x="2894" y="6240"/>
                  </a:lnTo>
                  <a:lnTo>
                    <a:pt x="2846" y="6192"/>
                  </a:lnTo>
                  <a:cubicBezTo>
                    <a:pt x="2816" y="6162"/>
                    <a:pt x="2772" y="6148"/>
                    <a:pt x="2727" y="6148"/>
                  </a:cubicBezTo>
                  <a:cubicBezTo>
                    <a:pt x="2682" y="6148"/>
                    <a:pt x="2638" y="6162"/>
                    <a:pt x="2608" y="6192"/>
                  </a:cubicBezTo>
                  <a:lnTo>
                    <a:pt x="1501" y="7288"/>
                  </a:lnTo>
                  <a:cubicBezTo>
                    <a:pt x="1441" y="7347"/>
                    <a:pt x="1441" y="7466"/>
                    <a:pt x="1501" y="7538"/>
                  </a:cubicBezTo>
                  <a:cubicBezTo>
                    <a:pt x="1530" y="7561"/>
                    <a:pt x="1575" y="7573"/>
                    <a:pt x="1620" y="7573"/>
                  </a:cubicBezTo>
                  <a:cubicBezTo>
                    <a:pt x="1664" y="7573"/>
                    <a:pt x="1709" y="7561"/>
                    <a:pt x="1739" y="7538"/>
                  </a:cubicBezTo>
                  <a:lnTo>
                    <a:pt x="2727" y="6549"/>
                  </a:lnTo>
                  <a:lnTo>
                    <a:pt x="2775" y="6597"/>
                  </a:lnTo>
                  <a:lnTo>
                    <a:pt x="3287" y="7121"/>
                  </a:lnTo>
                  <a:lnTo>
                    <a:pt x="3334" y="7157"/>
                  </a:lnTo>
                  <a:lnTo>
                    <a:pt x="1048" y="9455"/>
                  </a:lnTo>
                  <a:lnTo>
                    <a:pt x="417" y="8824"/>
                  </a:lnTo>
                  <a:lnTo>
                    <a:pt x="1251" y="7990"/>
                  </a:lnTo>
                  <a:cubicBezTo>
                    <a:pt x="1310" y="7931"/>
                    <a:pt x="1310" y="7811"/>
                    <a:pt x="1251" y="7752"/>
                  </a:cubicBezTo>
                  <a:cubicBezTo>
                    <a:pt x="1221" y="7722"/>
                    <a:pt x="1176" y="7707"/>
                    <a:pt x="1132" y="7707"/>
                  </a:cubicBezTo>
                  <a:cubicBezTo>
                    <a:pt x="1087" y="7707"/>
                    <a:pt x="1042" y="7722"/>
                    <a:pt x="1013" y="7752"/>
                  </a:cubicBezTo>
                  <a:lnTo>
                    <a:pt x="48" y="8716"/>
                  </a:lnTo>
                  <a:cubicBezTo>
                    <a:pt x="12" y="8752"/>
                    <a:pt x="1" y="8800"/>
                    <a:pt x="1" y="8835"/>
                  </a:cubicBezTo>
                  <a:cubicBezTo>
                    <a:pt x="1" y="8883"/>
                    <a:pt x="12" y="8931"/>
                    <a:pt x="48" y="8954"/>
                  </a:cubicBezTo>
                  <a:lnTo>
                    <a:pt x="905" y="9824"/>
                  </a:lnTo>
                  <a:cubicBezTo>
                    <a:pt x="941" y="9847"/>
                    <a:pt x="989" y="9871"/>
                    <a:pt x="1024" y="9871"/>
                  </a:cubicBezTo>
                  <a:cubicBezTo>
                    <a:pt x="1072" y="9871"/>
                    <a:pt x="1120" y="9847"/>
                    <a:pt x="1144" y="9824"/>
                  </a:cubicBezTo>
                  <a:lnTo>
                    <a:pt x="3691" y="7276"/>
                  </a:lnTo>
                  <a:cubicBezTo>
                    <a:pt x="3727" y="7252"/>
                    <a:pt x="3739" y="7204"/>
                    <a:pt x="3739" y="7157"/>
                  </a:cubicBezTo>
                  <a:cubicBezTo>
                    <a:pt x="3739" y="7109"/>
                    <a:pt x="3715" y="7073"/>
                    <a:pt x="3691" y="7038"/>
                  </a:cubicBezTo>
                  <a:lnTo>
                    <a:pt x="3644" y="6990"/>
                  </a:lnTo>
                  <a:lnTo>
                    <a:pt x="4453" y="6192"/>
                  </a:lnTo>
                  <a:cubicBezTo>
                    <a:pt x="4942" y="6549"/>
                    <a:pt x="5537" y="6776"/>
                    <a:pt x="6144" y="6835"/>
                  </a:cubicBezTo>
                  <a:lnTo>
                    <a:pt x="6168" y="6835"/>
                  </a:lnTo>
                  <a:cubicBezTo>
                    <a:pt x="6251" y="6835"/>
                    <a:pt x="6323" y="6776"/>
                    <a:pt x="6323" y="6680"/>
                  </a:cubicBezTo>
                  <a:cubicBezTo>
                    <a:pt x="6347" y="6597"/>
                    <a:pt x="6263" y="6502"/>
                    <a:pt x="6180" y="6502"/>
                  </a:cubicBezTo>
                  <a:cubicBezTo>
                    <a:pt x="5465" y="6442"/>
                    <a:pt x="4799" y="6121"/>
                    <a:pt x="4287" y="5609"/>
                  </a:cubicBezTo>
                  <a:cubicBezTo>
                    <a:pt x="4192" y="5525"/>
                    <a:pt x="4120" y="5430"/>
                    <a:pt x="4049" y="5347"/>
                  </a:cubicBezTo>
                  <a:cubicBezTo>
                    <a:pt x="3620" y="4787"/>
                    <a:pt x="3382" y="4132"/>
                    <a:pt x="3382" y="3418"/>
                  </a:cubicBezTo>
                  <a:cubicBezTo>
                    <a:pt x="3382" y="2608"/>
                    <a:pt x="3703" y="1835"/>
                    <a:pt x="4287" y="1239"/>
                  </a:cubicBezTo>
                  <a:cubicBezTo>
                    <a:pt x="4870" y="656"/>
                    <a:pt x="5644" y="322"/>
                    <a:pt x="6478" y="322"/>
                  </a:cubicBezTo>
                  <a:cubicBezTo>
                    <a:pt x="7299" y="322"/>
                    <a:pt x="8073" y="656"/>
                    <a:pt x="8668" y="1239"/>
                  </a:cubicBezTo>
                  <a:cubicBezTo>
                    <a:pt x="9871" y="2442"/>
                    <a:pt x="9871" y="4394"/>
                    <a:pt x="8668" y="5597"/>
                  </a:cubicBezTo>
                  <a:cubicBezTo>
                    <a:pt x="8156" y="6097"/>
                    <a:pt x="7537" y="6395"/>
                    <a:pt x="6835" y="6478"/>
                  </a:cubicBezTo>
                  <a:cubicBezTo>
                    <a:pt x="6739" y="6490"/>
                    <a:pt x="6668" y="6561"/>
                    <a:pt x="6680" y="6668"/>
                  </a:cubicBezTo>
                  <a:cubicBezTo>
                    <a:pt x="6702" y="6757"/>
                    <a:pt x="6765" y="6825"/>
                    <a:pt x="6859" y="6825"/>
                  </a:cubicBezTo>
                  <a:cubicBezTo>
                    <a:pt x="6867" y="6825"/>
                    <a:pt x="6874" y="6824"/>
                    <a:pt x="6882" y="6823"/>
                  </a:cubicBezTo>
                  <a:cubicBezTo>
                    <a:pt x="7656" y="6728"/>
                    <a:pt x="8371" y="6383"/>
                    <a:pt x="8918" y="5835"/>
                  </a:cubicBezTo>
                  <a:cubicBezTo>
                    <a:pt x="10228" y="4513"/>
                    <a:pt x="10228" y="2335"/>
                    <a:pt x="8883" y="1001"/>
                  </a:cubicBezTo>
                  <a:cubicBezTo>
                    <a:pt x="8252" y="358"/>
                    <a:pt x="7382" y="1"/>
                    <a:pt x="64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5" name="Google Shape;11945;p61"/>
            <p:cNvSpPr/>
            <p:nvPr/>
          </p:nvSpPr>
          <p:spPr>
            <a:xfrm>
              <a:off x="3243008" y="2008678"/>
              <a:ext cx="185613" cy="169741"/>
            </a:xfrm>
            <a:custGeom>
              <a:avLst/>
              <a:gdLst/>
              <a:ahLst/>
              <a:cxnLst/>
              <a:rect l="l" t="t" r="r" b="b"/>
              <a:pathLst>
                <a:path w="5859" h="5358" extrusionOk="0">
                  <a:moveTo>
                    <a:pt x="2918" y="333"/>
                  </a:moveTo>
                  <a:cubicBezTo>
                    <a:pt x="3513" y="333"/>
                    <a:pt x="4108" y="560"/>
                    <a:pt x="4561" y="1024"/>
                  </a:cubicBezTo>
                  <a:cubicBezTo>
                    <a:pt x="5489" y="1929"/>
                    <a:pt x="5489" y="3417"/>
                    <a:pt x="4561" y="4322"/>
                  </a:cubicBezTo>
                  <a:cubicBezTo>
                    <a:pt x="4108" y="4780"/>
                    <a:pt x="3510" y="5010"/>
                    <a:pt x="2912" y="5010"/>
                  </a:cubicBezTo>
                  <a:cubicBezTo>
                    <a:pt x="2313" y="5010"/>
                    <a:pt x="1715" y="4780"/>
                    <a:pt x="1263" y="4322"/>
                  </a:cubicBezTo>
                  <a:cubicBezTo>
                    <a:pt x="346" y="3417"/>
                    <a:pt x="346" y="1929"/>
                    <a:pt x="1263" y="1024"/>
                  </a:cubicBezTo>
                  <a:cubicBezTo>
                    <a:pt x="1727" y="560"/>
                    <a:pt x="2322" y="333"/>
                    <a:pt x="2918" y="333"/>
                  </a:cubicBezTo>
                  <a:close/>
                  <a:moveTo>
                    <a:pt x="2930" y="0"/>
                  </a:moveTo>
                  <a:cubicBezTo>
                    <a:pt x="2245" y="0"/>
                    <a:pt x="1560" y="262"/>
                    <a:pt x="1036" y="786"/>
                  </a:cubicBezTo>
                  <a:cubicBezTo>
                    <a:pt x="1" y="1822"/>
                    <a:pt x="1" y="3524"/>
                    <a:pt x="1036" y="4560"/>
                  </a:cubicBezTo>
                  <a:cubicBezTo>
                    <a:pt x="1560" y="5084"/>
                    <a:pt x="2239" y="5358"/>
                    <a:pt x="2930" y="5358"/>
                  </a:cubicBezTo>
                  <a:cubicBezTo>
                    <a:pt x="3608" y="5358"/>
                    <a:pt x="4299" y="5084"/>
                    <a:pt x="4823" y="4560"/>
                  </a:cubicBezTo>
                  <a:cubicBezTo>
                    <a:pt x="5858" y="3524"/>
                    <a:pt x="5858" y="1822"/>
                    <a:pt x="4823" y="786"/>
                  </a:cubicBezTo>
                  <a:cubicBezTo>
                    <a:pt x="4299" y="262"/>
                    <a:pt x="3614" y="0"/>
                    <a:pt x="29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6" name="Google Shape;11946;p61"/>
            <p:cNvSpPr/>
            <p:nvPr/>
          </p:nvSpPr>
          <p:spPr>
            <a:xfrm>
              <a:off x="3074027" y="1983777"/>
              <a:ext cx="155802" cy="163342"/>
            </a:xfrm>
            <a:custGeom>
              <a:avLst/>
              <a:gdLst/>
              <a:ahLst/>
              <a:cxnLst/>
              <a:rect l="l" t="t" r="r" b="b"/>
              <a:pathLst>
                <a:path w="4918" h="5156" extrusionOk="0">
                  <a:moveTo>
                    <a:pt x="2370" y="0"/>
                  </a:moveTo>
                  <a:cubicBezTo>
                    <a:pt x="1917" y="24"/>
                    <a:pt x="1489" y="155"/>
                    <a:pt x="1120" y="405"/>
                  </a:cubicBezTo>
                  <a:cubicBezTo>
                    <a:pt x="596" y="750"/>
                    <a:pt x="239" y="1286"/>
                    <a:pt x="120" y="1893"/>
                  </a:cubicBezTo>
                  <a:cubicBezTo>
                    <a:pt x="1" y="2501"/>
                    <a:pt x="120" y="3132"/>
                    <a:pt x="477" y="3655"/>
                  </a:cubicBezTo>
                  <a:cubicBezTo>
                    <a:pt x="913" y="4319"/>
                    <a:pt x="1643" y="4696"/>
                    <a:pt x="2409" y="4696"/>
                  </a:cubicBezTo>
                  <a:cubicBezTo>
                    <a:pt x="2605" y="4696"/>
                    <a:pt x="2804" y="4671"/>
                    <a:pt x="3001" y="4620"/>
                  </a:cubicBezTo>
                  <a:lnTo>
                    <a:pt x="4108" y="5144"/>
                  </a:lnTo>
                  <a:cubicBezTo>
                    <a:pt x="4132" y="5156"/>
                    <a:pt x="4156" y="5156"/>
                    <a:pt x="4180" y="5156"/>
                  </a:cubicBezTo>
                  <a:cubicBezTo>
                    <a:pt x="4215" y="5156"/>
                    <a:pt x="4239" y="5144"/>
                    <a:pt x="4275" y="5120"/>
                  </a:cubicBezTo>
                  <a:cubicBezTo>
                    <a:pt x="4311" y="5096"/>
                    <a:pt x="4346" y="5037"/>
                    <a:pt x="4346" y="4977"/>
                  </a:cubicBezTo>
                  <a:lnTo>
                    <a:pt x="4287" y="3751"/>
                  </a:lnTo>
                  <a:cubicBezTo>
                    <a:pt x="4882" y="2989"/>
                    <a:pt x="4918" y="1893"/>
                    <a:pt x="4358" y="1084"/>
                  </a:cubicBezTo>
                  <a:cubicBezTo>
                    <a:pt x="4061" y="631"/>
                    <a:pt x="3608" y="286"/>
                    <a:pt x="3084" y="143"/>
                  </a:cubicBezTo>
                  <a:cubicBezTo>
                    <a:pt x="3065" y="136"/>
                    <a:pt x="3047" y="133"/>
                    <a:pt x="3029" y="133"/>
                  </a:cubicBezTo>
                  <a:cubicBezTo>
                    <a:pt x="2958" y="133"/>
                    <a:pt x="2899" y="186"/>
                    <a:pt x="2870" y="262"/>
                  </a:cubicBezTo>
                  <a:cubicBezTo>
                    <a:pt x="2846" y="346"/>
                    <a:pt x="2906" y="441"/>
                    <a:pt x="2989" y="465"/>
                  </a:cubicBezTo>
                  <a:cubicBezTo>
                    <a:pt x="3441" y="607"/>
                    <a:pt x="3822" y="881"/>
                    <a:pt x="4096" y="1274"/>
                  </a:cubicBezTo>
                  <a:cubicBezTo>
                    <a:pt x="4584" y="2001"/>
                    <a:pt x="4537" y="2941"/>
                    <a:pt x="4001" y="3620"/>
                  </a:cubicBezTo>
                  <a:cubicBezTo>
                    <a:pt x="3977" y="3655"/>
                    <a:pt x="3965" y="3703"/>
                    <a:pt x="3977" y="3739"/>
                  </a:cubicBezTo>
                  <a:lnTo>
                    <a:pt x="4013" y="4739"/>
                  </a:lnTo>
                  <a:lnTo>
                    <a:pt x="3108" y="4310"/>
                  </a:lnTo>
                  <a:cubicBezTo>
                    <a:pt x="3084" y="4298"/>
                    <a:pt x="3037" y="4298"/>
                    <a:pt x="2989" y="4298"/>
                  </a:cubicBezTo>
                  <a:cubicBezTo>
                    <a:pt x="2810" y="4346"/>
                    <a:pt x="2620" y="4370"/>
                    <a:pt x="2441" y="4370"/>
                  </a:cubicBezTo>
                  <a:cubicBezTo>
                    <a:pt x="1787" y="4370"/>
                    <a:pt x="1155" y="4036"/>
                    <a:pt x="774" y="3477"/>
                  </a:cubicBezTo>
                  <a:cubicBezTo>
                    <a:pt x="477" y="3024"/>
                    <a:pt x="370" y="2489"/>
                    <a:pt x="477" y="1965"/>
                  </a:cubicBezTo>
                  <a:cubicBezTo>
                    <a:pt x="584" y="1453"/>
                    <a:pt x="882" y="988"/>
                    <a:pt x="1322" y="691"/>
                  </a:cubicBezTo>
                  <a:cubicBezTo>
                    <a:pt x="1632" y="477"/>
                    <a:pt x="2013" y="357"/>
                    <a:pt x="2382" y="346"/>
                  </a:cubicBezTo>
                  <a:cubicBezTo>
                    <a:pt x="2465" y="346"/>
                    <a:pt x="2549" y="274"/>
                    <a:pt x="2549" y="167"/>
                  </a:cubicBezTo>
                  <a:cubicBezTo>
                    <a:pt x="2549" y="84"/>
                    <a:pt x="2465" y="0"/>
                    <a:pt x="2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7" name="Google Shape;11947;p61"/>
            <p:cNvSpPr/>
            <p:nvPr/>
          </p:nvSpPr>
          <p:spPr>
            <a:xfrm>
              <a:off x="3135518" y="2038077"/>
              <a:ext cx="28322" cy="54363"/>
            </a:xfrm>
            <a:custGeom>
              <a:avLst/>
              <a:gdLst/>
              <a:ahLst/>
              <a:cxnLst/>
              <a:rect l="l" t="t" r="r" b="b"/>
              <a:pathLst>
                <a:path w="894" h="1716" extrusionOk="0">
                  <a:moveTo>
                    <a:pt x="179" y="1"/>
                  </a:moveTo>
                  <a:cubicBezTo>
                    <a:pt x="84" y="1"/>
                    <a:pt x="12" y="84"/>
                    <a:pt x="12" y="167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262" y="334"/>
                  </a:lnTo>
                  <a:lnTo>
                    <a:pt x="262" y="1394"/>
                  </a:lnTo>
                  <a:lnTo>
                    <a:pt x="155" y="1394"/>
                  </a:lnTo>
                  <a:cubicBezTo>
                    <a:pt x="72" y="1394"/>
                    <a:pt x="0" y="1465"/>
                    <a:pt x="0" y="1549"/>
                  </a:cubicBezTo>
                  <a:cubicBezTo>
                    <a:pt x="0" y="1644"/>
                    <a:pt x="72" y="1715"/>
                    <a:pt x="155" y="1715"/>
                  </a:cubicBezTo>
                  <a:lnTo>
                    <a:pt x="727" y="1715"/>
                  </a:lnTo>
                  <a:cubicBezTo>
                    <a:pt x="810" y="1715"/>
                    <a:pt x="893" y="1644"/>
                    <a:pt x="893" y="1549"/>
                  </a:cubicBezTo>
                  <a:cubicBezTo>
                    <a:pt x="893" y="1465"/>
                    <a:pt x="834" y="1394"/>
                    <a:pt x="727" y="1394"/>
                  </a:cubicBezTo>
                  <a:lnTo>
                    <a:pt x="608" y="1394"/>
                  </a:lnTo>
                  <a:lnTo>
                    <a:pt x="608" y="167"/>
                  </a:lnTo>
                  <a:cubicBezTo>
                    <a:pt x="608" y="84"/>
                    <a:pt x="536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8" name="Google Shape;11948;p61"/>
            <p:cNvSpPr/>
            <p:nvPr/>
          </p:nvSpPr>
          <p:spPr>
            <a:xfrm>
              <a:off x="3138908" y="2021096"/>
              <a:ext cx="16252" cy="16252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62" y="1"/>
                  </a:moveTo>
                  <a:cubicBezTo>
                    <a:pt x="131" y="1"/>
                    <a:pt x="0" y="120"/>
                    <a:pt x="0" y="263"/>
                  </a:cubicBezTo>
                  <a:cubicBezTo>
                    <a:pt x="0" y="394"/>
                    <a:pt x="120" y="513"/>
                    <a:pt x="262" y="513"/>
                  </a:cubicBezTo>
                  <a:cubicBezTo>
                    <a:pt x="393" y="513"/>
                    <a:pt x="512" y="394"/>
                    <a:pt x="512" y="263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49" name="Google Shape;11949;p61"/>
          <p:cNvGrpSpPr/>
          <p:nvPr/>
        </p:nvGrpSpPr>
        <p:grpSpPr>
          <a:xfrm>
            <a:off x="3522521" y="1975857"/>
            <a:ext cx="367013" cy="331278"/>
            <a:chOff x="3522521" y="1975857"/>
            <a:chExt cx="367013" cy="331278"/>
          </a:xfrm>
        </p:grpSpPr>
        <p:sp>
          <p:nvSpPr>
            <p:cNvPr id="11950" name="Google Shape;11950;p61"/>
            <p:cNvSpPr/>
            <p:nvPr/>
          </p:nvSpPr>
          <p:spPr>
            <a:xfrm>
              <a:off x="3665841" y="1975857"/>
              <a:ext cx="91302" cy="91682"/>
            </a:xfrm>
            <a:custGeom>
              <a:avLst/>
              <a:gdLst/>
              <a:ahLst/>
              <a:cxnLst/>
              <a:rect l="l" t="t" r="r" b="b"/>
              <a:pathLst>
                <a:path w="2882" h="2894" extrusionOk="0">
                  <a:moveTo>
                    <a:pt x="1429" y="703"/>
                  </a:moveTo>
                  <a:cubicBezTo>
                    <a:pt x="1846" y="703"/>
                    <a:pt x="2167" y="1036"/>
                    <a:pt x="2167" y="1453"/>
                  </a:cubicBezTo>
                  <a:cubicBezTo>
                    <a:pt x="2167" y="1870"/>
                    <a:pt x="1834" y="2191"/>
                    <a:pt x="1429" y="2191"/>
                  </a:cubicBezTo>
                  <a:cubicBezTo>
                    <a:pt x="1024" y="2191"/>
                    <a:pt x="679" y="1870"/>
                    <a:pt x="679" y="1453"/>
                  </a:cubicBezTo>
                  <a:cubicBezTo>
                    <a:pt x="679" y="1048"/>
                    <a:pt x="1013" y="703"/>
                    <a:pt x="1429" y="703"/>
                  </a:cubicBezTo>
                  <a:close/>
                  <a:moveTo>
                    <a:pt x="1441" y="0"/>
                  </a:moveTo>
                  <a:cubicBezTo>
                    <a:pt x="1358" y="0"/>
                    <a:pt x="1274" y="84"/>
                    <a:pt x="1274" y="167"/>
                  </a:cubicBezTo>
                  <a:lnTo>
                    <a:pt x="1274" y="393"/>
                  </a:lnTo>
                  <a:cubicBezTo>
                    <a:pt x="1096" y="417"/>
                    <a:pt x="953" y="476"/>
                    <a:pt x="822" y="584"/>
                  </a:cubicBezTo>
                  <a:lnTo>
                    <a:pt x="655" y="417"/>
                  </a:lnTo>
                  <a:cubicBezTo>
                    <a:pt x="626" y="387"/>
                    <a:pt x="581" y="372"/>
                    <a:pt x="536" y="372"/>
                  </a:cubicBezTo>
                  <a:cubicBezTo>
                    <a:pt x="492" y="372"/>
                    <a:pt x="447" y="387"/>
                    <a:pt x="417" y="417"/>
                  </a:cubicBezTo>
                  <a:cubicBezTo>
                    <a:pt x="358" y="476"/>
                    <a:pt x="358" y="596"/>
                    <a:pt x="417" y="655"/>
                  </a:cubicBezTo>
                  <a:lnTo>
                    <a:pt x="584" y="822"/>
                  </a:lnTo>
                  <a:cubicBezTo>
                    <a:pt x="477" y="953"/>
                    <a:pt x="417" y="1119"/>
                    <a:pt x="381" y="1286"/>
                  </a:cubicBezTo>
                  <a:lnTo>
                    <a:pt x="167" y="1286"/>
                  </a:lnTo>
                  <a:cubicBezTo>
                    <a:pt x="72" y="1286"/>
                    <a:pt x="0" y="1358"/>
                    <a:pt x="0" y="1453"/>
                  </a:cubicBezTo>
                  <a:cubicBezTo>
                    <a:pt x="0" y="1536"/>
                    <a:pt x="72" y="1608"/>
                    <a:pt x="167" y="1608"/>
                  </a:cubicBezTo>
                  <a:lnTo>
                    <a:pt x="381" y="1608"/>
                  </a:lnTo>
                  <a:cubicBezTo>
                    <a:pt x="417" y="1786"/>
                    <a:pt x="477" y="1941"/>
                    <a:pt x="584" y="2072"/>
                  </a:cubicBezTo>
                  <a:lnTo>
                    <a:pt x="417" y="2239"/>
                  </a:lnTo>
                  <a:cubicBezTo>
                    <a:pt x="358" y="2298"/>
                    <a:pt x="358" y="2417"/>
                    <a:pt x="417" y="2477"/>
                  </a:cubicBezTo>
                  <a:cubicBezTo>
                    <a:pt x="441" y="2501"/>
                    <a:pt x="489" y="2524"/>
                    <a:pt x="536" y="2524"/>
                  </a:cubicBezTo>
                  <a:cubicBezTo>
                    <a:pt x="572" y="2524"/>
                    <a:pt x="620" y="2501"/>
                    <a:pt x="655" y="2477"/>
                  </a:cubicBezTo>
                  <a:lnTo>
                    <a:pt x="810" y="2310"/>
                  </a:lnTo>
                  <a:cubicBezTo>
                    <a:pt x="953" y="2417"/>
                    <a:pt x="1108" y="2477"/>
                    <a:pt x="1274" y="2501"/>
                  </a:cubicBezTo>
                  <a:lnTo>
                    <a:pt x="1274" y="2727"/>
                  </a:lnTo>
                  <a:cubicBezTo>
                    <a:pt x="1274" y="2822"/>
                    <a:pt x="1346" y="2893"/>
                    <a:pt x="1441" y="2893"/>
                  </a:cubicBezTo>
                  <a:cubicBezTo>
                    <a:pt x="1536" y="2893"/>
                    <a:pt x="1608" y="2822"/>
                    <a:pt x="1608" y="2727"/>
                  </a:cubicBezTo>
                  <a:lnTo>
                    <a:pt x="1608" y="2501"/>
                  </a:lnTo>
                  <a:cubicBezTo>
                    <a:pt x="1786" y="2477"/>
                    <a:pt x="1929" y="2417"/>
                    <a:pt x="2072" y="2310"/>
                  </a:cubicBezTo>
                  <a:lnTo>
                    <a:pt x="2227" y="2477"/>
                  </a:lnTo>
                  <a:cubicBezTo>
                    <a:pt x="2263" y="2501"/>
                    <a:pt x="2310" y="2524"/>
                    <a:pt x="2346" y="2524"/>
                  </a:cubicBezTo>
                  <a:cubicBezTo>
                    <a:pt x="2394" y="2524"/>
                    <a:pt x="2441" y="2501"/>
                    <a:pt x="2465" y="2477"/>
                  </a:cubicBezTo>
                  <a:cubicBezTo>
                    <a:pt x="2525" y="2417"/>
                    <a:pt x="2525" y="2298"/>
                    <a:pt x="2465" y="2239"/>
                  </a:cubicBezTo>
                  <a:lnTo>
                    <a:pt x="2298" y="2072"/>
                  </a:lnTo>
                  <a:cubicBezTo>
                    <a:pt x="2406" y="1941"/>
                    <a:pt x="2465" y="1774"/>
                    <a:pt x="2501" y="1608"/>
                  </a:cubicBezTo>
                  <a:lnTo>
                    <a:pt x="2715" y="1608"/>
                  </a:lnTo>
                  <a:cubicBezTo>
                    <a:pt x="2810" y="1608"/>
                    <a:pt x="2882" y="1536"/>
                    <a:pt x="2882" y="1453"/>
                  </a:cubicBezTo>
                  <a:cubicBezTo>
                    <a:pt x="2882" y="1358"/>
                    <a:pt x="2810" y="1286"/>
                    <a:pt x="2727" y="1286"/>
                  </a:cubicBezTo>
                  <a:lnTo>
                    <a:pt x="2501" y="1286"/>
                  </a:lnTo>
                  <a:cubicBezTo>
                    <a:pt x="2465" y="1108"/>
                    <a:pt x="2406" y="953"/>
                    <a:pt x="2310" y="822"/>
                  </a:cubicBezTo>
                  <a:lnTo>
                    <a:pt x="2465" y="655"/>
                  </a:lnTo>
                  <a:cubicBezTo>
                    <a:pt x="2525" y="596"/>
                    <a:pt x="2525" y="476"/>
                    <a:pt x="2465" y="417"/>
                  </a:cubicBezTo>
                  <a:cubicBezTo>
                    <a:pt x="2435" y="387"/>
                    <a:pt x="2391" y="372"/>
                    <a:pt x="2346" y="372"/>
                  </a:cubicBezTo>
                  <a:cubicBezTo>
                    <a:pt x="2301" y="372"/>
                    <a:pt x="2257" y="387"/>
                    <a:pt x="2227" y="417"/>
                  </a:cubicBezTo>
                  <a:lnTo>
                    <a:pt x="2072" y="584"/>
                  </a:lnTo>
                  <a:cubicBezTo>
                    <a:pt x="1929" y="476"/>
                    <a:pt x="1775" y="417"/>
                    <a:pt x="1608" y="393"/>
                  </a:cubicBezTo>
                  <a:lnTo>
                    <a:pt x="1608" y="167"/>
                  </a:lnTo>
                  <a:cubicBezTo>
                    <a:pt x="1608" y="84"/>
                    <a:pt x="1536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1" name="Google Shape;11951;p61"/>
            <p:cNvSpPr/>
            <p:nvPr/>
          </p:nvSpPr>
          <p:spPr>
            <a:xfrm>
              <a:off x="3693751" y="2004147"/>
              <a:ext cx="34721" cy="35101"/>
            </a:xfrm>
            <a:custGeom>
              <a:avLst/>
              <a:gdLst/>
              <a:ahLst/>
              <a:cxnLst/>
              <a:rect l="l" t="t" r="r" b="b"/>
              <a:pathLst>
                <a:path w="1096" h="1108" extrusionOk="0">
                  <a:moveTo>
                    <a:pt x="548" y="345"/>
                  </a:moveTo>
                  <a:cubicBezTo>
                    <a:pt x="667" y="345"/>
                    <a:pt x="751" y="441"/>
                    <a:pt x="751" y="560"/>
                  </a:cubicBezTo>
                  <a:cubicBezTo>
                    <a:pt x="751" y="679"/>
                    <a:pt x="667" y="762"/>
                    <a:pt x="548" y="762"/>
                  </a:cubicBezTo>
                  <a:cubicBezTo>
                    <a:pt x="429" y="762"/>
                    <a:pt x="334" y="679"/>
                    <a:pt x="334" y="560"/>
                  </a:cubicBezTo>
                  <a:cubicBezTo>
                    <a:pt x="334" y="441"/>
                    <a:pt x="429" y="345"/>
                    <a:pt x="548" y="345"/>
                  </a:cubicBezTo>
                  <a:close/>
                  <a:moveTo>
                    <a:pt x="548" y="0"/>
                  </a:moveTo>
                  <a:cubicBezTo>
                    <a:pt x="251" y="0"/>
                    <a:pt x="1" y="262"/>
                    <a:pt x="1" y="560"/>
                  </a:cubicBezTo>
                  <a:cubicBezTo>
                    <a:pt x="1" y="857"/>
                    <a:pt x="251" y="1107"/>
                    <a:pt x="548" y="1107"/>
                  </a:cubicBezTo>
                  <a:cubicBezTo>
                    <a:pt x="846" y="1107"/>
                    <a:pt x="1096" y="857"/>
                    <a:pt x="1096" y="560"/>
                  </a:cubicBezTo>
                  <a:cubicBezTo>
                    <a:pt x="1096" y="262"/>
                    <a:pt x="846" y="0"/>
                    <a:pt x="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2" name="Google Shape;11952;p61"/>
            <p:cNvSpPr/>
            <p:nvPr/>
          </p:nvSpPr>
          <p:spPr>
            <a:xfrm>
              <a:off x="3679052" y="2008297"/>
              <a:ext cx="210482" cy="228983"/>
            </a:xfrm>
            <a:custGeom>
              <a:avLst/>
              <a:gdLst/>
              <a:ahLst/>
              <a:cxnLst/>
              <a:rect l="l" t="t" r="r" b="b"/>
              <a:pathLst>
                <a:path w="6644" h="7228" extrusionOk="0">
                  <a:moveTo>
                    <a:pt x="4179" y="334"/>
                  </a:moveTo>
                  <a:lnTo>
                    <a:pt x="4179" y="762"/>
                  </a:lnTo>
                  <a:lnTo>
                    <a:pt x="4179" y="786"/>
                  </a:lnTo>
                  <a:cubicBezTo>
                    <a:pt x="4179" y="869"/>
                    <a:pt x="4239" y="941"/>
                    <a:pt x="4334" y="965"/>
                  </a:cubicBezTo>
                  <a:cubicBezTo>
                    <a:pt x="4596" y="988"/>
                    <a:pt x="4846" y="1107"/>
                    <a:pt x="5072" y="1274"/>
                  </a:cubicBezTo>
                  <a:cubicBezTo>
                    <a:pt x="5102" y="1299"/>
                    <a:pt x="5138" y="1311"/>
                    <a:pt x="5174" y="1311"/>
                  </a:cubicBezTo>
                  <a:cubicBezTo>
                    <a:pt x="5225" y="1311"/>
                    <a:pt x="5276" y="1287"/>
                    <a:pt x="5310" y="1238"/>
                  </a:cubicBezTo>
                  <a:lnTo>
                    <a:pt x="5322" y="1227"/>
                  </a:lnTo>
                  <a:lnTo>
                    <a:pt x="5620" y="929"/>
                  </a:lnTo>
                  <a:lnTo>
                    <a:pt x="5715" y="1024"/>
                  </a:lnTo>
                  <a:lnTo>
                    <a:pt x="5418" y="1322"/>
                  </a:lnTo>
                  <a:lnTo>
                    <a:pt x="5406" y="1334"/>
                  </a:lnTo>
                  <a:cubicBezTo>
                    <a:pt x="5322" y="1393"/>
                    <a:pt x="5322" y="1500"/>
                    <a:pt x="5370" y="1572"/>
                  </a:cubicBezTo>
                  <a:cubicBezTo>
                    <a:pt x="5537" y="1798"/>
                    <a:pt x="5632" y="2048"/>
                    <a:pt x="5679" y="2310"/>
                  </a:cubicBezTo>
                  <a:cubicBezTo>
                    <a:pt x="5703" y="2405"/>
                    <a:pt x="5775" y="2465"/>
                    <a:pt x="5858" y="2465"/>
                  </a:cubicBezTo>
                  <a:lnTo>
                    <a:pt x="6311" y="2465"/>
                  </a:lnTo>
                  <a:lnTo>
                    <a:pt x="6311" y="2572"/>
                  </a:lnTo>
                  <a:lnTo>
                    <a:pt x="5846" y="2572"/>
                  </a:lnTo>
                  <a:cubicBezTo>
                    <a:pt x="5763" y="2572"/>
                    <a:pt x="5679" y="2631"/>
                    <a:pt x="5668" y="2715"/>
                  </a:cubicBezTo>
                  <a:cubicBezTo>
                    <a:pt x="5632" y="2989"/>
                    <a:pt x="5525" y="3239"/>
                    <a:pt x="5358" y="3465"/>
                  </a:cubicBezTo>
                  <a:cubicBezTo>
                    <a:pt x="5298" y="3536"/>
                    <a:pt x="5310" y="3643"/>
                    <a:pt x="5382" y="3703"/>
                  </a:cubicBezTo>
                  <a:lnTo>
                    <a:pt x="5406" y="3715"/>
                  </a:lnTo>
                  <a:lnTo>
                    <a:pt x="5715" y="4024"/>
                  </a:lnTo>
                  <a:lnTo>
                    <a:pt x="5620" y="4120"/>
                  </a:lnTo>
                  <a:lnTo>
                    <a:pt x="5310" y="3798"/>
                  </a:lnTo>
                  <a:cubicBezTo>
                    <a:pt x="5310" y="3798"/>
                    <a:pt x="5310" y="3786"/>
                    <a:pt x="5298" y="3786"/>
                  </a:cubicBezTo>
                  <a:cubicBezTo>
                    <a:pt x="5266" y="3747"/>
                    <a:pt x="5218" y="3729"/>
                    <a:pt x="5171" y="3729"/>
                  </a:cubicBezTo>
                  <a:cubicBezTo>
                    <a:pt x="5132" y="3729"/>
                    <a:pt x="5092" y="3741"/>
                    <a:pt x="5060" y="3763"/>
                  </a:cubicBezTo>
                  <a:cubicBezTo>
                    <a:pt x="4846" y="3917"/>
                    <a:pt x="4584" y="4024"/>
                    <a:pt x="4310" y="4072"/>
                  </a:cubicBezTo>
                  <a:cubicBezTo>
                    <a:pt x="4227" y="4084"/>
                    <a:pt x="4167" y="4155"/>
                    <a:pt x="4167" y="4251"/>
                  </a:cubicBezTo>
                  <a:lnTo>
                    <a:pt x="4167" y="4263"/>
                  </a:lnTo>
                  <a:lnTo>
                    <a:pt x="4167" y="4715"/>
                  </a:lnTo>
                  <a:lnTo>
                    <a:pt x="4060" y="4715"/>
                  </a:lnTo>
                  <a:lnTo>
                    <a:pt x="4060" y="4275"/>
                  </a:lnTo>
                  <a:lnTo>
                    <a:pt x="4060" y="4263"/>
                  </a:lnTo>
                  <a:cubicBezTo>
                    <a:pt x="4060" y="4179"/>
                    <a:pt x="4001" y="4096"/>
                    <a:pt x="3917" y="4084"/>
                  </a:cubicBezTo>
                  <a:cubicBezTo>
                    <a:pt x="3644" y="4060"/>
                    <a:pt x="3393" y="3941"/>
                    <a:pt x="3167" y="3774"/>
                  </a:cubicBezTo>
                  <a:cubicBezTo>
                    <a:pt x="3136" y="3749"/>
                    <a:pt x="3099" y="3736"/>
                    <a:pt x="3061" y="3736"/>
                  </a:cubicBezTo>
                  <a:cubicBezTo>
                    <a:pt x="3012" y="3736"/>
                    <a:pt x="2963" y="3758"/>
                    <a:pt x="2929" y="3798"/>
                  </a:cubicBezTo>
                  <a:cubicBezTo>
                    <a:pt x="2929" y="3798"/>
                    <a:pt x="2929" y="3822"/>
                    <a:pt x="2917" y="3822"/>
                  </a:cubicBezTo>
                  <a:lnTo>
                    <a:pt x="2608" y="4132"/>
                  </a:lnTo>
                  <a:lnTo>
                    <a:pt x="2512" y="4036"/>
                  </a:lnTo>
                  <a:lnTo>
                    <a:pt x="2810" y="3739"/>
                  </a:lnTo>
                  <a:lnTo>
                    <a:pt x="2822" y="3727"/>
                  </a:lnTo>
                  <a:cubicBezTo>
                    <a:pt x="2822" y="3727"/>
                    <a:pt x="2846" y="3727"/>
                    <a:pt x="2846" y="3715"/>
                  </a:cubicBezTo>
                  <a:cubicBezTo>
                    <a:pt x="2917" y="3655"/>
                    <a:pt x="2917" y="3548"/>
                    <a:pt x="2870" y="3477"/>
                  </a:cubicBezTo>
                  <a:cubicBezTo>
                    <a:pt x="2703" y="3262"/>
                    <a:pt x="2608" y="3001"/>
                    <a:pt x="2560" y="2727"/>
                  </a:cubicBezTo>
                  <a:cubicBezTo>
                    <a:pt x="2548" y="2643"/>
                    <a:pt x="2465" y="2584"/>
                    <a:pt x="2381" y="2584"/>
                  </a:cubicBezTo>
                  <a:lnTo>
                    <a:pt x="1929" y="2584"/>
                  </a:lnTo>
                  <a:lnTo>
                    <a:pt x="1929" y="2465"/>
                  </a:lnTo>
                  <a:lnTo>
                    <a:pt x="2381" y="2465"/>
                  </a:lnTo>
                  <a:cubicBezTo>
                    <a:pt x="2465" y="2465"/>
                    <a:pt x="2548" y="2405"/>
                    <a:pt x="2560" y="2310"/>
                  </a:cubicBezTo>
                  <a:cubicBezTo>
                    <a:pt x="2584" y="2048"/>
                    <a:pt x="2703" y="1798"/>
                    <a:pt x="2870" y="1572"/>
                  </a:cubicBezTo>
                  <a:cubicBezTo>
                    <a:pt x="2929" y="1500"/>
                    <a:pt x="2917" y="1393"/>
                    <a:pt x="2846" y="1334"/>
                  </a:cubicBezTo>
                  <a:lnTo>
                    <a:pt x="2822" y="1322"/>
                  </a:lnTo>
                  <a:lnTo>
                    <a:pt x="2524" y="1024"/>
                  </a:lnTo>
                  <a:lnTo>
                    <a:pt x="2620" y="929"/>
                  </a:lnTo>
                  <a:lnTo>
                    <a:pt x="2917" y="1227"/>
                  </a:lnTo>
                  <a:lnTo>
                    <a:pt x="2929" y="1238"/>
                  </a:lnTo>
                  <a:cubicBezTo>
                    <a:pt x="2963" y="1286"/>
                    <a:pt x="3012" y="1306"/>
                    <a:pt x="3062" y="1306"/>
                  </a:cubicBezTo>
                  <a:cubicBezTo>
                    <a:pt x="3099" y="1306"/>
                    <a:pt x="3137" y="1295"/>
                    <a:pt x="3167" y="1274"/>
                  </a:cubicBezTo>
                  <a:cubicBezTo>
                    <a:pt x="3393" y="1107"/>
                    <a:pt x="3644" y="1000"/>
                    <a:pt x="3917" y="953"/>
                  </a:cubicBezTo>
                  <a:cubicBezTo>
                    <a:pt x="4001" y="941"/>
                    <a:pt x="4060" y="869"/>
                    <a:pt x="4060" y="774"/>
                  </a:cubicBezTo>
                  <a:lnTo>
                    <a:pt x="4060" y="762"/>
                  </a:lnTo>
                  <a:lnTo>
                    <a:pt x="4060" y="334"/>
                  </a:lnTo>
                  <a:close/>
                  <a:moveTo>
                    <a:pt x="3894" y="0"/>
                  </a:moveTo>
                  <a:cubicBezTo>
                    <a:pt x="3810" y="0"/>
                    <a:pt x="3739" y="84"/>
                    <a:pt x="3739" y="167"/>
                  </a:cubicBezTo>
                  <a:lnTo>
                    <a:pt x="3739" y="667"/>
                  </a:lnTo>
                  <a:cubicBezTo>
                    <a:pt x="3513" y="703"/>
                    <a:pt x="3298" y="798"/>
                    <a:pt x="3108" y="929"/>
                  </a:cubicBezTo>
                  <a:lnTo>
                    <a:pt x="2762" y="584"/>
                  </a:lnTo>
                  <a:cubicBezTo>
                    <a:pt x="2733" y="554"/>
                    <a:pt x="2688" y="539"/>
                    <a:pt x="2643" y="539"/>
                  </a:cubicBezTo>
                  <a:cubicBezTo>
                    <a:pt x="2599" y="539"/>
                    <a:pt x="2554" y="554"/>
                    <a:pt x="2524" y="584"/>
                  </a:cubicBezTo>
                  <a:lnTo>
                    <a:pt x="2203" y="917"/>
                  </a:lnTo>
                  <a:cubicBezTo>
                    <a:pt x="2167" y="941"/>
                    <a:pt x="2155" y="988"/>
                    <a:pt x="2155" y="1036"/>
                  </a:cubicBezTo>
                  <a:cubicBezTo>
                    <a:pt x="2155" y="1084"/>
                    <a:pt x="2167" y="1119"/>
                    <a:pt x="2203" y="1155"/>
                  </a:cubicBezTo>
                  <a:lnTo>
                    <a:pt x="2536" y="1500"/>
                  </a:lnTo>
                  <a:cubicBezTo>
                    <a:pt x="2417" y="1691"/>
                    <a:pt x="2334" y="1893"/>
                    <a:pt x="2274" y="2119"/>
                  </a:cubicBezTo>
                  <a:lnTo>
                    <a:pt x="1786" y="2119"/>
                  </a:lnTo>
                  <a:cubicBezTo>
                    <a:pt x="1691" y="2119"/>
                    <a:pt x="1619" y="2191"/>
                    <a:pt x="1619" y="2286"/>
                  </a:cubicBezTo>
                  <a:lnTo>
                    <a:pt x="1619" y="2751"/>
                  </a:lnTo>
                  <a:cubicBezTo>
                    <a:pt x="1619" y="2834"/>
                    <a:pt x="1691" y="2905"/>
                    <a:pt x="1786" y="2905"/>
                  </a:cubicBezTo>
                  <a:lnTo>
                    <a:pt x="2274" y="2905"/>
                  </a:lnTo>
                  <a:cubicBezTo>
                    <a:pt x="2322" y="3084"/>
                    <a:pt x="2381" y="3251"/>
                    <a:pt x="2465" y="3417"/>
                  </a:cubicBezTo>
                  <a:lnTo>
                    <a:pt x="1084" y="3417"/>
                  </a:lnTo>
                  <a:cubicBezTo>
                    <a:pt x="988" y="3417"/>
                    <a:pt x="917" y="3489"/>
                    <a:pt x="917" y="3584"/>
                  </a:cubicBezTo>
                  <a:cubicBezTo>
                    <a:pt x="917" y="3667"/>
                    <a:pt x="988" y="3739"/>
                    <a:pt x="1084" y="3739"/>
                  </a:cubicBezTo>
                  <a:lnTo>
                    <a:pt x="2334" y="3739"/>
                  </a:lnTo>
                  <a:lnTo>
                    <a:pt x="2203" y="3882"/>
                  </a:lnTo>
                  <a:cubicBezTo>
                    <a:pt x="2143" y="3941"/>
                    <a:pt x="2143" y="4060"/>
                    <a:pt x="2203" y="4120"/>
                  </a:cubicBezTo>
                  <a:lnTo>
                    <a:pt x="2524" y="4441"/>
                  </a:lnTo>
                  <a:cubicBezTo>
                    <a:pt x="2560" y="4477"/>
                    <a:pt x="2608" y="4489"/>
                    <a:pt x="2643" y="4489"/>
                  </a:cubicBezTo>
                  <a:cubicBezTo>
                    <a:pt x="2691" y="4489"/>
                    <a:pt x="2739" y="4477"/>
                    <a:pt x="2762" y="4441"/>
                  </a:cubicBezTo>
                  <a:lnTo>
                    <a:pt x="3108" y="4096"/>
                  </a:lnTo>
                  <a:cubicBezTo>
                    <a:pt x="3286" y="4215"/>
                    <a:pt x="3489" y="4310"/>
                    <a:pt x="3703" y="4358"/>
                  </a:cubicBezTo>
                  <a:lnTo>
                    <a:pt x="3703" y="4370"/>
                  </a:lnTo>
                  <a:lnTo>
                    <a:pt x="3703" y="5144"/>
                  </a:lnTo>
                  <a:lnTo>
                    <a:pt x="155" y="5144"/>
                  </a:lnTo>
                  <a:cubicBezTo>
                    <a:pt x="72" y="5144"/>
                    <a:pt x="0" y="5215"/>
                    <a:pt x="0" y="5310"/>
                  </a:cubicBezTo>
                  <a:cubicBezTo>
                    <a:pt x="0" y="5394"/>
                    <a:pt x="72" y="5465"/>
                    <a:pt x="155" y="5465"/>
                  </a:cubicBezTo>
                  <a:lnTo>
                    <a:pt x="4417" y="5465"/>
                  </a:lnTo>
                  <a:lnTo>
                    <a:pt x="4120" y="7037"/>
                  </a:lnTo>
                  <a:cubicBezTo>
                    <a:pt x="4108" y="7120"/>
                    <a:pt x="4167" y="7215"/>
                    <a:pt x="4251" y="7227"/>
                  </a:cubicBezTo>
                  <a:lnTo>
                    <a:pt x="4286" y="7227"/>
                  </a:lnTo>
                  <a:cubicBezTo>
                    <a:pt x="4358" y="7227"/>
                    <a:pt x="4429" y="7168"/>
                    <a:pt x="4441" y="7096"/>
                  </a:cubicBezTo>
                  <a:lnTo>
                    <a:pt x="4787" y="5322"/>
                  </a:lnTo>
                  <a:cubicBezTo>
                    <a:pt x="4798" y="5275"/>
                    <a:pt x="4787" y="5215"/>
                    <a:pt x="4763" y="5191"/>
                  </a:cubicBezTo>
                  <a:cubicBezTo>
                    <a:pt x="4727" y="5144"/>
                    <a:pt x="4679" y="5132"/>
                    <a:pt x="4620" y="5132"/>
                  </a:cubicBezTo>
                  <a:lnTo>
                    <a:pt x="4048" y="5132"/>
                  </a:lnTo>
                  <a:lnTo>
                    <a:pt x="4048" y="5013"/>
                  </a:lnTo>
                  <a:lnTo>
                    <a:pt x="4370" y="5013"/>
                  </a:lnTo>
                  <a:cubicBezTo>
                    <a:pt x="4465" y="5013"/>
                    <a:pt x="4536" y="4929"/>
                    <a:pt x="4536" y="4846"/>
                  </a:cubicBezTo>
                  <a:lnTo>
                    <a:pt x="4536" y="4358"/>
                  </a:lnTo>
                  <a:cubicBezTo>
                    <a:pt x="4763" y="4310"/>
                    <a:pt x="4965" y="4215"/>
                    <a:pt x="5168" y="4084"/>
                  </a:cubicBezTo>
                  <a:lnTo>
                    <a:pt x="5501" y="4429"/>
                  </a:lnTo>
                  <a:cubicBezTo>
                    <a:pt x="5537" y="4453"/>
                    <a:pt x="5584" y="4477"/>
                    <a:pt x="5620" y="4477"/>
                  </a:cubicBezTo>
                  <a:cubicBezTo>
                    <a:pt x="5668" y="4477"/>
                    <a:pt x="5715" y="4453"/>
                    <a:pt x="5739" y="4429"/>
                  </a:cubicBezTo>
                  <a:lnTo>
                    <a:pt x="6072" y="4096"/>
                  </a:lnTo>
                  <a:cubicBezTo>
                    <a:pt x="6096" y="4072"/>
                    <a:pt x="6108" y="4024"/>
                    <a:pt x="6108" y="3977"/>
                  </a:cubicBezTo>
                  <a:cubicBezTo>
                    <a:pt x="6108" y="3941"/>
                    <a:pt x="6096" y="3894"/>
                    <a:pt x="6072" y="3858"/>
                  </a:cubicBezTo>
                  <a:lnTo>
                    <a:pt x="5727" y="3524"/>
                  </a:lnTo>
                  <a:cubicBezTo>
                    <a:pt x="5846" y="3322"/>
                    <a:pt x="5930" y="3120"/>
                    <a:pt x="5989" y="2893"/>
                  </a:cubicBezTo>
                  <a:lnTo>
                    <a:pt x="6489" y="2893"/>
                  </a:lnTo>
                  <a:cubicBezTo>
                    <a:pt x="6572" y="2893"/>
                    <a:pt x="6644" y="2822"/>
                    <a:pt x="6644" y="2727"/>
                  </a:cubicBezTo>
                  <a:lnTo>
                    <a:pt x="6644" y="2274"/>
                  </a:lnTo>
                  <a:cubicBezTo>
                    <a:pt x="6632" y="2191"/>
                    <a:pt x="6561" y="2119"/>
                    <a:pt x="6477" y="2119"/>
                  </a:cubicBezTo>
                  <a:lnTo>
                    <a:pt x="5977" y="2119"/>
                  </a:lnTo>
                  <a:cubicBezTo>
                    <a:pt x="5941" y="1893"/>
                    <a:pt x="5846" y="1691"/>
                    <a:pt x="5715" y="1500"/>
                  </a:cubicBezTo>
                  <a:lnTo>
                    <a:pt x="6060" y="1155"/>
                  </a:lnTo>
                  <a:cubicBezTo>
                    <a:pt x="6084" y="1119"/>
                    <a:pt x="6096" y="1084"/>
                    <a:pt x="6096" y="1036"/>
                  </a:cubicBezTo>
                  <a:cubicBezTo>
                    <a:pt x="6096" y="988"/>
                    <a:pt x="6084" y="941"/>
                    <a:pt x="6060" y="917"/>
                  </a:cubicBezTo>
                  <a:lnTo>
                    <a:pt x="5727" y="584"/>
                  </a:lnTo>
                  <a:cubicBezTo>
                    <a:pt x="5697" y="554"/>
                    <a:pt x="5653" y="539"/>
                    <a:pt x="5608" y="539"/>
                  </a:cubicBezTo>
                  <a:cubicBezTo>
                    <a:pt x="5563" y="539"/>
                    <a:pt x="5519" y="554"/>
                    <a:pt x="5489" y="584"/>
                  </a:cubicBezTo>
                  <a:lnTo>
                    <a:pt x="5144" y="929"/>
                  </a:lnTo>
                  <a:cubicBezTo>
                    <a:pt x="4953" y="810"/>
                    <a:pt x="4751" y="726"/>
                    <a:pt x="4525" y="667"/>
                  </a:cubicBezTo>
                  <a:lnTo>
                    <a:pt x="4525" y="167"/>
                  </a:lnTo>
                  <a:cubicBezTo>
                    <a:pt x="4525" y="84"/>
                    <a:pt x="4453" y="0"/>
                    <a:pt x="4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3" name="Google Shape;11953;p61"/>
            <p:cNvSpPr/>
            <p:nvPr/>
          </p:nvSpPr>
          <p:spPr>
            <a:xfrm>
              <a:off x="3772951" y="2050907"/>
              <a:ext cx="73973" cy="73593"/>
            </a:xfrm>
            <a:custGeom>
              <a:avLst/>
              <a:gdLst/>
              <a:ahLst/>
              <a:cxnLst/>
              <a:rect l="l" t="t" r="r" b="b"/>
              <a:pathLst>
                <a:path w="2335" h="2323" extrusionOk="0">
                  <a:moveTo>
                    <a:pt x="1156" y="322"/>
                  </a:moveTo>
                  <a:cubicBezTo>
                    <a:pt x="1620" y="322"/>
                    <a:pt x="1989" y="703"/>
                    <a:pt x="1989" y="1167"/>
                  </a:cubicBezTo>
                  <a:cubicBezTo>
                    <a:pt x="1989" y="1620"/>
                    <a:pt x="1620" y="2001"/>
                    <a:pt x="1156" y="2001"/>
                  </a:cubicBezTo>
                  <a:cubicBezTo>
                    <a:pt x="691" y="2001"/>
                    <a:pt x="322" y="1620"/>
                    <a:pt x="322" y="1167"/>
                  </a:cubicBezTo>
                  <a:cubicBezTo>
                    <a:pt x="322" y="703"/>
                    <a:pt x="691" y="322"/>
                    <a:pt x="1156" y="322"/>
                  </a:cubicBezTo>
                  <a:close/>
                  <a:moveTo>
                    <a:pt x="1156" y="1"/>
                  </a:moveTo>
                  <a:cubicBezTo>
                    <a:pt x="513" y="1"/>
                    <a:pt x="1" y="524"/>
                    <a:pt x="1" y="1167"/>
                  </a:cubicBezTo>
                  <a:cubicBezTo>
                    <a:pt x="1" y="1798"/>
                    <a:pt x="513" y="2322"/>
                    <a:pt x="1156" y="2322"/>
                  </a:cubicBezTo>
                  <a:cubicBezTo>
                    <a:pt x="1799" y="2322"/>
                    <a:pt x="2323" y="1798"/>
                    <a:pt x="2323" y="1167"/>
                  </a:cubicBezTo>
                  <a:cubicBezTo>
                    <a:pt x="2334" y="524"/>
                    <a:pt x="1811" y="1"/>
                    <a:pt x="1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4" name="Google Shape;11954;p61"/>
            <p:cNvSpPr/>
            <p:nvPr/>
          </p:nvSpPr>
          <p:spPr>
            <a:xfrm>
              <a:off x="3790312" y="2069028"/>
              <a:ext cx="38491" cy="38491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608" y="322"/>
                  </a:moveTo>
                  <a:cubicBezTo>
                    <a:pt x="763" y="322"/>
                    <a:pt x="882" y="441"/>
                    <a:pt x="882" y="595"/>
                  </a:cubicBezTo>
                  <a:cubicBezTo>
                    <a:pt x="882" y="738"/>
                    <a:pt x="763" y="857"/>
                    <a:pt x="608" y="857"/>
                  </a:cubicBezTo>
                  <a:cubicBezTo>
                    <a:pt x="465" y="857"/>
                    <a:pt x="346" y="738"/>
                    <a:pt x="346" y="595"/>
                  </a:cubicBezTo>
                  <a:cubicBezTo>
                    <a:pt x="346" y="441"/>
                    <a:pt x="465" y="322"/>
                    <a:pt x="608" y="322"/>
                  </a:cubicBezTo>
                  <a:close/>
                  <a:moveTo>
                    <a:pt x="608" y="0"/>
                  </a:moveTo>
                  <a:cubicBezTo>
                    <a:pt x="286" y="0"/>
                    <a:pt x="1" y="262"/>
                    <a:pt x="1" y="607"/>
                  </a:cubicBezTo>
                  <a:cubicBezTo>
                    <a:pt x="1" y="929"/>
                    <a:pt x="262" y="1215"/>
                    <a:pt x="608" y="1215"/>
                  </a:cubicBezTo>
                  <a:cubicBezTo>
                    <a:pt x="941" y="1215"/>
                    <a:pt x="1215" y="953"/>
                    <a:pt x="1215" y="607"/>
                  </a:cubicBezTo>
                  <a:cubicBezTo>
                    <a:pt x="1215" y="262"/>
                    <a:pt x="953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5" name="Google Shape;11955;p61"/>
            <p:cNvSpPr/>
            <p:nvPr/>
          </p:nvSpPr>
          <p:spPr>
            <a:xfrm>
              <a:off x="3522521" y="2081447"/>
              <a:ext cx="294212" cy="225688"/>
            </a:xfrm>
            <a:custGeom>
              <a:avLst/>
              <a:gdLst/>
              <a:ahLst/>
              <a:cxnLst/>
              <a:rect l="l" t="t" r="r" b="b"/>
              <a:pathLst>
                <a:path w="9287" h="7124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6954"/>
                  </a:lnTo>
                  <a:cubicBezTo>
                    <a:pt x="0" y="7121"/>
                    <a:pt x="143" y="7121"/>
                    <a:pt x="262" y="7121"/>
                  </a:cubicBezTo>
                  <a:cubicBezTo>
                    <a:pt x="351" y="7121"/>
                    <a:pt x="2483" y="7124"/>
                    <a:pt x="4603" y="7124"/>
                  </a:cubicBezTo>
                  <a:cubicBezTo>
                    <a:pt x="6724" y="7124"/>
                    <a:pt x="8835" y="7121"/>
                    <a:pt x="8882" y="7109"/>
                  </a:cubicBezTo>
                  <a:cubicBezTo>
                    <a:pt x="8942" y="7085"/>
                    <a:pt x="8989" y="7026"/>
                    <a:pt x="9001" y="6966"/>
                  </a:cubicBezTo>
                  <a:lnTo>
                    <a:pt x="9287" y="5466"/>
                  </a:lnTo>
                  <a:cubicBezTo>
                    <a:pt x="9275" y="5395"/>
                    <a:pt x="9216" y="5299"/>
                    <a:pt x="9120" y="5287"/>
                  </a:cubicBezTo>
                  <a:cubicBezTo>
                    <a:pt x="9113" y="5286"/>
                    <a:pt x="9106" y="5286"/>
                    <a:pt x="9099" y="5286"/>
                  </a:cubicBezTo>
                  <a:cubicBezTo>
                    <a:pt x="9021" y="5286"/>
                    <a:pt x="8941" y="5342"/>
                    <a:pt x="8930" y="5418"/>
                  </a:cubicBezTo>
                  <a:lnTo>
                    <a:pt x="8680" y="6788"/>
                  </a:lnTo>
                  <a:lnTo>
                    <a:pt x="357" y="6788"/>
                  </a:lnTo>
                  <a:lnTo>
                    <a:pt x="1036" y="3192"/>
                  </a:lnTo>
                  <a:lnTo>
                    <a:pt x="4429" y="3192"/>
                  </a:lnTo>
                  <a:cubicBezTo>
                    <a:pt x="4524" y="3192"/>
                    <a:pt x="4596" y="3120"/>
                    <a:pt x="4596" y="3025"/>
                  </a:cubicBezTo>
                  <a:cubicBezTo>
                    <a:pt x="4596" y="2930"/>
                    <a:pt x="4524" y="2858"/>
                    <a:pt x="4429" y="2858"/>
                  </a:cubicBezTo>
                  <a:lnTo>
                    <a:pt x="905" y="2858"/>
                  </a:lnTo>
                  <a:cubicBezTo>
                    <a:pt x="834" y="2858"/>
                    <a:pt x="750" y="2918"/>
                    <a:pt x="738" y="2989"/>
                  </a:cubicBezTo>
                  <a:lnTo>
                    <a:pt x="322" y="5168"/>
                  </a:lnTo>
                  <a:lnTo>
                    <a:pt x="322" y="334"/>
                  </a:lnTo>
                  <a:lnTo>
                    <a:pt x="2453" y="334"/>
                  </a:lnTo>
                  <a:lnTo>
                    <a:pt x="3536" y="1418"/>
                  </a:lnTo>
                  <a:cubicBezTo>
                    <a:pt x="3572" y="1442"/>
                    <a:pt x="3608" y="1465"/>
                    <a:pt x="3655" y="1465"/>
                  </a:cubicBezTo>
                  <a:lnTo>
                    <a:pt x="5358" y="1465"/>
                  </a:lnTo>
                  <a:cubicBezTo>
                    <a:pt x="5441" y="1465"/>
                    <a:pt x="5513" y="1394"/>
                    <a:pt x="5513" y="1299"/>
                  </a:cubicBezTo>
                  <a:cubicBezTo>
                    <a:pt x="5513" y="1204"/>
                    <a:pt x="5441" y="1132"/>
                    <a:pt x="5358" y="1132"/>
                  </a:cubicBezTo>
                  <a:lnTo>
                    <a:pt x="3727" y="1132"/>
                  </a:lnTo>
                  <a:lnTo>
                    <a:pt x="2643" y="49"/>
                  </a:lnTo>
                  <a:cubicBezTo>
                    <a:pt x="2619" y="13"/>
                    <a:pt x="2572" y="1"/>
                    <a:pt x="2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6" name="Google Shape;11956;p61"/>
            <p:cNvSpPr/>
            <p:nvPr/>
          </p:nvSpPr>
          <p:spPr>
            <a:xfrm>
              <a:off x="3810682" y="2248812"/>
              <a:ext cx="1774" cy="253"/>
            </a:xfrm>
            <a:custGeom>
              <a:avLst/>
              <a:gdLst/>
              <a:ahLst/>
              <a:cxnLst/>
              <a:rect l="l" t="t" r="r" b="b"/>
              <a:pathLst>
                <a:path w="56" h="8" extrusionOk="0">
                  <a:moveTo>
                    <a:pt x="1" y="1"/>
                  </a:moveTo>
                  <a:cubicBezTo>
                    <a:pt x="1" y="1"/>
                    <a:pt x="7" y="2"/>
                    <a:pt x="24" y="4"/>
                  </a:cubicBezTo>
                  <a:cubicBezTo>
                    <a:pt x="44" y="7"/>
                    <a:pt x="52" y="8"/>
                    <a:pt x="53" y="8"/>
                  </a:cubicBezTo>
                  <a:cubicBezTo>
                    <a:pt x="55" y="8"/>
                    <a:pt x="3" y="1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57" name="Google Shape;11957;p61"/>
          <p:cNvGrpSpPr/>
          <p:nvPr/>
        </p:nvGrpSpPr>
        <p:grpSpPr>
          <a:xfrm>
            <a:off x="2630824" y="1976966"/>
            <a:ext cx="368185" cy="330454"/>
            <a:chOff x="2630824" y="1976966"/>
            <a:chExt cx="368185" cy="330454"/>
          </a:xfrm>
        </p:grpSpPr>
        <p:sp>
          <p:nvSpPr>
            <p:cNvPr id="11958" name="Google Shape;11958;p61"/>
            <p:cNvSpPr/>
            <p:nvPr/>
          </p:nvSpPr>
          <p:spPr>
            <a:xfrm>
              <a:off x="2630824" y="2059967"/>
              <a:ext cx="229743" cy="247072"/>
            </a:xfrm>
            <a:custGeom>
              <a:avLst/>
              <a:gdLst/>
              <a:ahLst/>
              <a:cxnLst/>
              <a:rect l="l" t="t" r="r" b="b"/>
              <a:pathLst>
                <a:path w="7252" h="779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632"/>
                  </a:lnTo>
                  <a:cubicBezTo>
                    <a:pt x="1" y="7727"/>
                    <a:pt x="72" y="7799"/>
                    <a:pt x="167" y="7799"/>
                  </a:cubicBezTo>
                  <a:lnTo>
                    <a:pt x="7085" y="7799"/>
                  </a:lnTo>
                  <a:cubicBezTo>
                    <a:pt x="7180" y="7799"/>
                    <a:pt x="7252" y="7727"/>
                    <a:pt x="7252" y="7632"/>
                  </a:cubicBezTo>
                  <a:cubicBezTo>
                    <a:pt x="7252" y="7549"/>
                    <a:pt x="7180" y="7454"/>
                    <a:pt x="7085" y="7454"/>
                  </a:cubicBezTo>
                  <a:lnTo>
                    <a:pt x="346" y="7454"/>
                  </a:lnTo>
                  <a:lnTo>
                    <a:pt x="346" y="322"/>
                  </a:lnTo>
                  <a:lnTo>
                    <a:pt x="2715" y="322"/>
                  </a:lnTo>
                  <a:lnTo>
                    <a:pt x="3906" y="1512"/>
                  </a:lnTo>
                  <a:cubicBezTo>
                    <a:pt x="3930" y="1548"/>
                    <a:pt x="3977" y="1560"/>
                    <a:pt x="4025" y="1560"/>
                  </a:cubicBezTo>
                  <a:lnTo>
                    <a:pt x="4597" y="1560"/>
                  </a:lnTo>
                  <a:cubicBezTo>
                    <a:pt x="4692" y="1560"/>
                    <a:pt x="4763" y="1489"/>
                    <a:pt x="4763" y="1393"/>
                  </a:cubicBezTo>
                  <a:cubicBezTo>
                    <a:pt x="4763" y="1310"/>
                    <a:pt x="4692" y="1239"/>
                    <a:pt x="4597" y="1239"/>
                  </a:cubicBezTo>
                  <a:lnTo>
                    <a:pt x="4073" y="1239"/>
                  </a:lnTo>
                  <a:lnTo>
                    <a:pt x="2882" y="48"/>
                  </a:lnTo>
                  <a:cubicBezTo>
                    <a:pt x="2858" y="12"/>
                    <a:pt x="2811" y="0"/>
                    <a:pt x="2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9" name="Google Shape;11959;p61"/>
            <p:cNvSpPr/>
            <p:nvPr/>
          </p:nvSpPr>
          <p:spPr>
            <a:xfrm>
              <a:off x="2792646" y="1976966"/>
              <a:ext cx="206364" cy="330454"/>
            </a:xfrm>
            <a:custGeom>
              <a:avLst/>
              <a:gdLst/>
              <a:ahLst/>
              <a:cxnLst/>
              <a:rect l="l" t="t" r="r" b="b"/>
              <a:pathLst>
                <a:path w="6514" h="10431" extrusionOk="0">
                  <a:moveTo>
                    <a:pt x="3894" y="1"/>
                  </a:moveTo>
                  <a:cubicBezTo>
                    <a:pt x="2453" y="1"/>
                    <a:pt x="1286" y="1180"/>
                    <a:pt x="1286" y="2608"/>
                  </a:cubicBezTo>
                  <a:cubicBezTo>
                    <a:pt x="1286" y="3061"/>
                    <a:pt x="1405" y="3513"/>
                    <a:pt x="1632" y="3882"/>
                  </a:cubicBezTo>
                  <a:lnTo>
                    <a:pt x="155" y="3882"/>
                  </a:lnTo>
                  <a:cubicBezTo>
                    <a:pt x="72" y="3882"/>
                    <a:pt x="1" y="3954"/>
                    <a:pt x="1" y="4049"/>
                  </a:cubicBezTo>
                  <a:cubicBezTo>
                    <a:pt x="1" y="4132"/>
                    <a:pt x="72" y="4216"/>
                    <a:pt x="155" y="4216"/>
                  </a:cubicBezTo>
                  <a:lnTo>
                    <a:pt x="1858" y="4216"/>
                  </a:lnTo>
                  <a:cubicBezTo>
                    <a:pt x="2334" y="4811"/>
                    <a:pt x="3072" y="5192"/>
                    <a:pt x="3894" y="5192"/>
                  </a:cubicBezTo>
                  <a:cubicBezTo>
                    <a:pt x="4061" y="5192"/>
                    <a:pt x="4227" y="5180"/>
                    <a:pt x="4382" y="5144"/>
                  </a:cubicBezTo>
                  <a:lnTo>
                    <a:pt x="4382" y="10109"/>
                  </a:lnTo>
                  <a:lnTo>
                    <a:pt x="2632" y="10109"/>
                  </a:lnTo>
                  <a:cubicBezTo>
                    <a:pt x="2537" y="10109"/>
                    <a:pt x="2465" y="10181"/>
                    <a:pt x="2465" y="10264"/>
                  </a:cubicBezTo>
                  <a:cubicBezTo>
                    <a:pt x="2465" y="10359"/>
                    <a:pt x="2537" y="10431"/>
                    <a:pt x="2632" y="10431"/>
                  </a:cubicBezTo>
                  <a:lnTo>
                    <a:pt x="4549" y="10431"/>
                  </a:lnTo>
                  <a:cubicBezTo>
                    <a:pt x="4644" y="10431"/>
                    <a:pt x="4715" y="10359"/>
                    <a:pt x="4715" y="10264"/>
                  </a:cubicBezTo>
                  <a:lnTo>
                    <a:pt x="4715" y="5061"/>
                  </a:lnTo>
                  <a:cubicBezTo>
                    <a:pt x="5061" y="4942"/>
                    <a:pt x="5382" y="4752"/>
                    <a:pt x="5656" y="4490"/>
                  </a:cubicBezTo>
                  <a:cubicBezTo>
                    <a:pt x="6132" y="4049"/>
                    <a:pt x="6430" y="3442"/>
                    <a:pt x="6466" y="2787"/>
                  </a:cubicBezTo>
                  <a:cubicBezTo>
                    <a:pt x="6513" y="2680"/>
                    <a:pt x="6442" y="2585"/>
                    <a:pt x="6358" y="2585"/>
                  </a:cubicBezTo>
                  <a:cubicBezTo>
                    <a:pt x="6263" y="2585"/>
                    <a:pt x="6168" y="2644"/>
                    <a:pt x="6168" y="2751"/>
                  </a:cubicBezTo>
                  <a:cubicBezTo>
                    <a:pt x="6085" y="3930"/>
                    <a:pt x="5096" y="4847"/>
                    <a:pt x="3906" y="4847"/>
                  </a:cubicBezTo>
                  <a:cubicBezTo>
                    <a:pt x="2656" y="4847"/>
                    <a:pt x="1644" y="3835"/>
                    <a:pt x="1644" y="2585"/>
                  </a:cubicBezTo>
                  <a:cubicBezTo>
                    <a:pt x="1644" y="1334"/>
                    <a:pt x="2656" y="322"/>
                    <a:pt x="3906" y="322"/>
                  </a:cubicBezTo>
                  <a:cubicBezTo>
                    <a:pt x="4977" y="322"/>
                    <a:pt x="5918" y="1084"/>
                    <a:pt x="6132" y="2144"/>
                  </a:cubicBezTo>
                  <a:cubicBezTo>
                    <a:pt x="6143" y="2220"/>
                    <a:pt x="6214" y="2277"/>
                    <a:pt x="6299" y="2277"/>
                  </a:cubicBezTo>
                  <a:cubicBezTo>
                    <a:pt x="6306" y="2277"/>
                    <a:pt x="6315" y="2276"/>
                    <a:pt x="6323" y="2275"/>
                  </a:cubicBezTo>
                  <a:cubicBezTo>
                    <a:pt x="6406" y="2263"/>
                    <a:pt x="6466" y="2168"/>
                    <a:pt x="6454" y="2085"/>
                  </a:cubicBezTo>
                  <a:cubicBezTo>
                    <a:pt x="6204" y="882"/>
                    <a:pt x="5132" y="1"/>
                    <a:pt x="3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0" name="Google Shape;11960;p61"/>
            <p:cNvSpPr/>
            <p:nvPr/>
          </p:nvSpPr>
          <p:spPr>
            <a:xfrm>
              <a:off x="2876376" y="2005256"/>
              <a:ext cx="78123" cy="91333"/>
            </a:xfrm>
            <a:custGeom>
              <a:avLst/>
              <a:gdLst/>
              <a:ahLst/>
              <a:cxnLst/>
              <a:rect l="l" t="t" r="r" b="b"/>
              <a:pathLst>
                <a:path w="2466" h="2883" extrusionOk="0">
                  <a:moveTo>
                    <a:pt x="1239" y="346"/>
                  </a:moveTo>
                  <a:cubicBezTo>
                    <a:pt x="1406" y="346"/>
                    <a:pt x="1537" y="477"/>
                    <a:pt x="1537" y="644"/>
                  </a:cubicBezTo>
                  <a:lnTo>
                    <a:pt x="1537" y="1061"/>
                  </a:lnTo>
                  <a:lnTo>
                    <a:pt x="941" y="1061"/>
                  </a:lnTo>
                  <a:lnTo>
                    <a:pt x="941" y="644"/>
                  </a:lnTo>
                  <a:cubicBezTo>
                    <a:pt x="941" y="477"/>
                    <a:pt x="1072" y="346"/>
                    <a:pt x="1239" y="346"/>
                  </a:cubicBezTo>
                  <a:close/>
                  <a:moveTo>
                    <a:pt x="2120" y="1394"/>
                  </a:moveTo>
                  <a:lnTo>
                    <a:pt x="2120" y="2561"/>
                  </a:lnTo>
                  <a:lnTo>
                    <a:pt x="358" y="2561"/>
                  </a:lnTo>
                  <a:lnTo>
                    <a:pt x="358" y="1394"/>
                  </a:lnTo>
                  <a:close/>
                  <a:moveTo>
                    <a:pt x="1227" y="1"/>
                  </a:moveTo>
                  <a:cubicBezTo>
                    <a:pt x="870" y="1"/>
                    <a:pt x="584" y="275"/>
                    <a:pt x="584" y="644"/>
                  </a:cubicBezTo>
                  <a:lnTo>
                    <a:pt x="584" y="1061"/>
                  </a:lnTo>
                  <a:lnTo>
                    <a:pt x="167" y="1061"/>
                  </a:lnTo>
                  <a:cubicBezTo>
                    <a:pt x="84" y="1061"/>
                    <a:pt x="1" y="1132"/>
                    <a:pt x="1" y="1215"/>
                  </a:cubicBezTo>
                  <a:lnTo>
                    <a:pt x="1" y="2727"/>
                  </a:lnTo>
                  <a:cubicBezTo>
                    <a:pt x="1" y="2811"/>
                    <a:pt x="84" y="2882"/>
                    <a:pt x="167" y="2882"/>
                  </a:cubicBezTo>
                  <a:lnTo>
                    <a:pt x="2263" y="2882"/>
                  </a:lnTo>
                  <a:cubicBezTo>
                    <a:pt x="2358" y="2882"/>
                    <a:pt x="2430" y="2811"/>
                    <a:pt x="2430" y="2727"/>
                  </a:cubicBezTo>
                  <a:lnTo>
                    <a:pt x="2430" y="1215"/>
                  </a:lnTo>
                  <a:cubicBezTo>
                    <a:pt x="2465" y="1132"/>
                    <a:pt x="2382" y="1061"/>
                    <a:pt x="2275" y="1061"/>
                  </a:cubicBezTo>
                  <a:lnTo>
                    <a:pt x="1870" y="1061"/>
                  </a:lnTo>
                  <a:lnTo>
                    <a:pt x="1870" y="644"/>
                  </a:lnTo>
                  <a:cubicBezTo>
                    <a:pt x="1870" y="287"/>
                    <a:pt x="1584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1" name="Google Shape;11961;p61"/>
            <p:cNvSpPr/>
            <p:nvPr/>
          </p:nvSpPr>
          <p:spPr>
            <a:xfrm>
              <a:off x="2715695" y="2177659"/>
              <a:ext cx="43782" cy="43402"/>
            </a:xfrm>
            <a:custGeom>
              <a:avLst/>
              <a:gdLst/>
              <a:ahLst/>
              <a:cxnLst/>
              <a:rect l="l" t="t" r="r" b="b"/>
              <a:pathLst>
                <a:path w="1382" h="1370" extrusionOk="0">
                  <a:moveTo>
                    <a:pt x="1048" y="345"/>
                  </a:moveTo>
                  <a:lnTo>
                    <a:pt x="1048" y="1048"/>
                  </a:lnTo>
                  <a:lnTo>
                    <a:pt x="346" y="1048"/>
                  </a:lnTo>
                  <a:lnTo>
                    <a:pt x="346" y="345"/>
                  </a:lnTo>
                  <a:close/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1215"/>
                  </a:lnTo>
                  <a:cubicBezTo>
                    <a:pt x="1" y="1298"/>
                    <a:pt x="72" y="1369"/>
                    <a:pt x="167" y="1369"/>
                  </a:cubicBezTo>
                  <a:lnTo>
                    <a:pt x="1203" y="1369"/>
                  </a:lnTo>
                  <a:cubicBezTo>
                    <a:pt x="1298" y="1369"/>
                    <a:pt x="1370" y="1298"/>
                    <a:pt x="1370" y="1215"/>
                  </a:cubicBezTo>
                  <a:lnTo>
                    <a:pt x="1370" y="167"/>
                  </a:lnTo>
                  <a:cubicBezTo>
                    <a:pt x="1382" y="83"/>
                    <a:pt x="1310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2" name="Google Shape;11962;p61"/>
            <p:cNvSpPr/>
            <p:nvPr/>
          </p:nvSpPr>
          <p:spPr>
            <a:xfrm>
              <a:off x="2770026" y="2177659"/>
              <a:ext cx="88292" cy="10581"/>
            </a:xfrm>
            <a:custGeom>
              <a:avLst/>
              <a:gdLst/>
              <a:ahLst/>
              <a:cxnLst/>
              <a:rect l="l" t="t" r="r" b="b"/>
              <a:pathLst>
                <a:path w="2787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2620" y="333"/>
                  </a:lnTo>
                  <a:cubicBezTo>
                    <a:pt x="2703" y="333"/>
                    <a:pt x="2786" y="262"/>
                    <a:pt x="2786" y="167"/>
                  </a:cubicBezTo>
                  <a:cubicBezTo>
                    <a:pt x="2786" y="83"/>
                    <a:pt x="2703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3" name="Google Shape;11963;p61"/>
            <p:cNvSpPr/>
            <p:nvPr/>
          </p:nvSpPr>
          <p:spPr>
            <a:xfrm>
              <a:off x="2770026" y="2194227"/>
              <a:ext cx="88292" cy="10613"/>
            </a:xfrm>
            <a:custGeom>
              <a:avLst/>
              <a:gdLst/>
              <a:ahLst/>
              <a:cxnLst/>
              <a:rect l="l" t="t" r="r" b="b"/>
              <a:pathLst>
                <a:path w="278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620" y="334"/>
                  </a:lnTo>
                  <a:cubicBezTo>
                    <a:pt x="2703" y="334"/>
                    <a:pt x="2786" y="251"/>
                    <a:pt x="2786" y="168"/>
                  </a:cubicBezTo>
                  <a:cubicBezTo>
                    <a:pt x="2786" y="72"/>
                    <a:pt x="270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4" name="Google Shape;11964;p61"/>
            <p:cNvSpPr/>
            <p:nvPr/>
          </p:nvSpPr>
          <p:spPr>
            <a:xfrm>
              <a:off x="2770026" y="2210828"/>
              <a:ext cx="88292" cy="10233"/>
            </a:xfrm>
            <a:custGeom>
              <a:avLst/>
              <a:gdLst/>
              <a:ahLst/>
              <a:cxnLst/>
              <a:rect l="l" t="t" r="r" b="b"/>
              <a:pathLst>
                <a:path w="2787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2620" y="322"/>
                  </a:lnTo>
                  <a:cubicBezTo>
                    <a:pt x="2703" y="322"/>
                    <a:pt x="2786" y="251"/>
                    <a:pt x="2786" y="168"/>
                  </a:cubicBezTo>
                  <a:cubicBezTo>
                    <a:pt x="2786" y="72"/>
                    <a:pt x="270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5" name="Google Shape;11965;p61"/>
            <p:cNvSpPr/>
            <p:nvPr/>
          </p:nvSpPr>
          <p:spPr>
            <a:xfrm>
              <a:off x="2908436" y="2058447"/>
              <a:ext cx="16252" cy="18913"/>
            </a:xfrm>
            <a:custGeom>
              <a:avLst/>
              <a:gdLst/>
              <a:ahLst/>
              <a:cxnLst/>
              <a:rect l="l" t="t" r="r" b="b"/>
              <a:pathLst>
                <a:path w="513" h="597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27"/>
                    <a:pt x="36" y="286"/>
                    <a:pt x="96" y="310"/>
                  </a:cubicBezTo>
                  <a:lnTo>
                    <a:pt x="96" y="429"/>
                  </a:lnTo>
                  <a:cubicBezTo>
                    <a:pt x="96" y="525"/>
                    <a:pt x="167" y="596"/>
                    <a:pt x="263" y="596"/>
                  </a:cubicBezTo>
                  <a:cubicBezTo>
                    <a:pt x="346" y="596"/>
                    <a:pt x="417" y="525"/>
                    <a:pt x="417" y="429"/>
                  </a:cubicBezTo>
                  <a:lnTo>
                    <a:pt x="417" y="310"/>
                  </a:lnTo>
                  <a:cubicBezTo>
                    <a:pt x="465" y="286"/>
                    <a:pt x="513" y="227"/>
                    <a:pt x="513" y="167"/>
                  </a:cubicBezTo>
                  <a:cubicBezTo>
                    <a:pt x="513" y="72"/>
                    <a:pt x="441" y="1"/>
                    <a:pt x="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66" name="Google Shape;11966;p61"/>
          <p:cNvGrpSpPr/>
          <p:nvPr/>
        </p:nvGrpSpPr>
        <p:grpSpPr>
          <a:xfrm>
            <a:off x="1293706" y="1966416"/>
            <a:ext cx="369294" cy="350444"/>
            <a:chOff x="1293706" y="1966416"/>
            <a:chExt cx="369294" cy="350444"/>
          </a:xfrm>
        </p:grpSpPr>
        <p:sp>
          <p:nvSpPr>
            <p:cNvPr id="11967" name="Google Shape;11967;p61"/>
            <p:cNvSpPr/>
            <p:nvPr/>
          </p:nvSpPr>
          <p:spPr>
            <a:xfrm>
              <a:off x="1509067" y="1966416"/>
              <a:ext cx="153933" cy="162994"/>
            </a:xfrm>
            <a:custGeom>
              <a:avLst/>
              <a:gdLst/>
              <a:ahLst/>
              <a:cxnLst/>
              <a:rect l="l" t="t" r="r" b="b"/>
              <a:pathLst>
                <a:path w="4859" h="5145" extrusionOk="0">
                  <a:moveTo>
                    <a:pt x="2514" y="0"/>
                  </a:moveTo>
                  <a:cubicBezTo>
                    <a:pt x="1759" y="0"/>
                    <a:pt x="1016" y="363"/>
                    <a:pt x="560" y="1036"/>
                  </a:cubicBezTo>
                  <a:cubicBezTo>
                    <a:pt x="1" y="1870"/>
                    <a:pt x="36" y="2953"/>
                    <a:pt x="632" y="3739"/>
                  </a:cubicBezTo>
                  <a:lnTo>
                    <a:pt x="572" y="4965"/>
                  </a:lnTo>
                  <a:cubicBezTo>
                    <a:pt x="572" y="5025"/>
                    <a:pt x="596" y="5085"/>
                    <a:pt x="643" y="5108"/>
                  </a:cubicBezTo>
                  <a:cubicBezTo>
                    <a:pt x="679" y="5120"/>
                    <a:pt x="703" y="5144"/>
                    <a:pt x="739" y="5144"/>
                  </a:cubicBezTo>
                  <a:cubicBezTo>
                    <a:pt x="763" y="5144"/>
                    <a:pt x="774" y="5144"/>
                    <a:pt x="810" y="5120"/>
                  </a:cubicBezTo>
                  <a:lnTo>
                    <a:pt x="1929" y="4608"/>
                  </a:lnTo>
                  <a:cubicBezTo>
                    <a:pt x="2120" y="4644"/>
                    <a:pt x="2310" y="4680"/>
                    <a:pt x="2501" y="4680"/>
                  </a:cubicBezTo>
                  <a:cubicBezTo>
                    <a:pt x="3275" y="4680"/>
                    <a:pt x="4013" y="4311"/>
                    <a:pt x="4453" y="3632"/>
                  </a:cubicBezTo>
                  <a:cubicBezTo>
                    <a:pt x="4692" y="3275"/>
                    <a:pt x="4823" y="2858"/>
                    <a:pt x="4846" y="2441"/>
                  </a:cubicBezTo>
                  <a:cubicBezTo>
                    <a:pt x="4858" y="2370"/>
                    <a:pt x="4787" y="2287"/>
                    <a:pt x="4692" y="2287"/>
                  </a:cubicBezTo>
                  <a:cubicBezTo>
                    <a:pt x="4608" y="2287"/>
                    <a:pt x="4513" y="2358"/>
                    <a:pt x="4513" y="2441"/>
                  </a:cubicBezTo>
                  <a:cubicBezTo>
                    <a:pt x="4501" y="2799"/>
                    <a:pt x="4382" y="3156"/>
                    <a:pt x="4168" y="3453"/>
                  </a:cubicBezTo>
                  <a:cubicBezTo>
                    <a:pt x="3786" y="4030"/>
                    <a:pt x="3158" y="4352"/>
                    <a:pt x="2504" y="4352"/>
                  </a:cubicBezTo>
                  <a:cubicBezTo>
                    <a:pt x="2321" y="4352"/>
                    <a:pt x="2136" y="4327"/>
                    <a:pt x="1953" y="4275"/>
                  </a:cubicBezTo>
                  <a:cubicBezTo>
                    <a:pt x="1933" y="4270"/>
                    <a:pt x="1918" y="4267"/>
                    <a:pt x="1903" y="4267"/>
                  </a:cubicBezTo>
                  <a:cubicBezTo>
                    <a:pt x="1882" y="4267"/>
                    <a:pt x="1862" y="4273"/>
                    <a:pt x="1834" y="4287"/>
                  </a:cubicBezTo>
                  <a:lnTo>
                    <a:pt x="929" y="4727"/>
                  </a:lnTo>
                  <a:lnTo>
                    <a:pt x="977" y="3715"/>
                  </a:lnTo>
                  <a:cubicBezTo>
                    <a:pt x="977" y="3668"/>
                    <a:pt x="953" y="3632"/>
                    <a:pt x="941" y="3596"/>
                  </a:cubicBezTo>
                  <a:cubicBezTo>
                    <a:pt x="393" y="2906"/>
                    <a:pt x="358" y="1953"/>
                    <a:pt x="858" y="1227"/>
                  </a:cubicBezTo>
                  <a:cubicBezTo>
                    <a:pt x="1237" y="646"/>
                    <a:pt x="1868" y="336"/>
                    <a:pt x="2512" y="336"/>
                  </a:cubicBezTo>
                  <a:cubicBezTo>
                    <a:pt x="2898" y="336"/>
                    <a:pt x="3288" y="447"/>
                    <a:pt x="3632" y="679"/>
                  </a:cubicBezTo>
                  <a:cubicBezTo>
                    <a:pt x="4037" y="941"/>
                    <a:pt x="4334" y="1358"/>
                    <a:pt x="4453" y="1822"/>
                  </a:cubicBezTo>
                  <a:cubicBezTo>
                    <a:pt x="4484" y="1893"/>
                    <a:pt x="4548" y="1947"/>
                    <a:pt x="4618" y="1947"/>
                  </a:cubicBezTo>
                  <a:cubicBezTo>
                    <a:pt x="4631" y="1947"/>
                    <a:pt x="4643" y="1945"/>
                    <a:pt x="4656" y="1941"/>
                  </a:cubicBezTo>
                  <a:cubicBezTo>
                    <a:pt x="4751" y="1906"/>
                    <a:pt x="4811" y="1822"/>
                    <a:pt x="4787" y="1727"/>
                  </a:cubicBezTo>
                  <a:cubicBezTo>
                    <a:pt x="4632" y="1179"/>
                    <a:pt x="4287" y="703"/>
                    <a:pt x="3811" y="393"/>
                  </a:cubicBezTo>
                  <a:cubicBezTo>
                    <a:pt x="3412" y="128"/>
                    <a:pt x="2961" y="0"/>
                    <a:pt x="25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8" name="Google Shape;11968;p61"/>
            <p:cNvSpPr/>
            <p:nvPr/>
          </p:nvSpPr>
          <p:spPr>
            <a:xfrm>
              <a:off x="1574328" y="2021096"/>
              <a:ext cx="28702" cy="54363"/>
            </a:xfrm>
            <a:custGeom>
              <a:avLst/>
              <a:gdLst/>
              <a:ahLst/>
              <a:cxnLst/>
              <a:rect l="l" t="t" r="r" b="b"/>
              <a:pathLst>
                <a:path w="906" h="1716" extrusionOk="0">
                  <a:moveTo>
                    <a:pt x="179" y="1"/>
                  </a:moveTo>
                  <a:cubicBezTo>
                    <a:pt x="84" y="1"/>
                    <a:pt x="12" y="84"/>
                    <a:pt x="12" y="168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262" y="334"/>
                  </a:lnTo>
                  <a:lnTo>
                    <a:pt x="262" y="1394"/>
                  </a:lnTo>
                  <a:lnTo>
                    <a:pt x="155" y="1394"/>
                  </a:lnTo>
                  <a:cubicBezTo>
                    <a:pt x="72" y="1394"/>
                    <a:pt x="0" y="1465"/>
                    <a:pt x="0" y="1549"/>
                  </a:cubicBezTo>
                  <a:cubicBezTo>
                    <a:pt x="0" y="1644"/>
                    <a:pt x="72" y="1715"/>
                    <a:pt x="155" y="1715"/>
                  </a:cubicBezTo>
                  <a:lnTo>
                    <a:pt x="727" y="1715"/>
                  </a:lnTo>
                  <a:cubicBezTo>
                    <a:pt x="822" y="1715"/>
                    <a:pt x="893" y="1644"/>
                    <a:pt x="893" y="1549"/>
                  </a:cubicBezTo>
                  <a:cubicBezTo>
                    <a:pt x="905" y="1465"/>
                    <a:pt x="834" y="1394"/>
                    <a:pt x="727" y="1394"/>
                  </a:cubicBezTo>
                  <a:lnTo>
                    <a:pt x="608" y="1394"/>
                  </a:lnTo>
                  <a:lnTo>
                    <a:pt x="608" y="168"/>
                  </a:lnTo>
                  <a:cubicBezTo>
                    <a:pt x="608" y="84"/>
                    <a:pt x="536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9" name="Google Shape;11969;p61"/>
            <p:cNvSpPr/>
            <p:nvPr/>
          </p:nvSpPr>
          <p:spPr>
            <a:xfrm>
              <a:off x="1578098" y="2004147"/>
              <a:ext cx="15872" cy="16252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0" y="0"/>
                  </a:moveTo>
                  <a:cubicBezTo>
                    <a:pt x="119" y="0"/>
                    <a:pt x="0" y="119"/>
                    <a:pt x="0" y="262"/>
                  </a:cubicBezTo>
                  <a:cubicBezTo>
                    <a:pt x="0" y="393"/>
                    <a:pt x="119" y="512"/>
                    <a:pt x="250" y="512"/>
                  </a:cubicBezTo>
                  <a:cubicBezTo>
                    <a:pt x="381" y="512"/>
                    <a:pt x="500" y="393"/>
                    <a:pt x="500" y="262"/>
                  </a:cubicBezTo>
                  <a:cubicBezTo>
                    <a:pt x="489" y="107"/>
                    <a:pt x="381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0" name="Google Shape;11970;p61"/>
            <p:cNvSpPr/>
            <p:nvPr/>
          </p:nvSpPr>
          <p:spPr>
            <a:xfrm>
              <a:off x="1293706" y="1999997"/>
              <a:ext cx="274982" cy="316863"/>
            </a:xfrm>
            <a:custGeom>
              <a:avLst/>
              <a:gdLst/>
              <a:ahLst/>
              <a:cxnLst/>
              <a:rect l="l" t="t" r="r" b="b"/>
              <a:pathLst>
                <a:path w="8680" h="10002" extrusionOk="0">
                  <a:moveTo>
                    <a:pt x="2096" y="2655"/>
                  </a:moveTo>
                  <a:lnTo>
                    <a:pt x="2096" y="3727"/>
                  </a:lnTo>
                  <a:cubicBezTo>
                    <a:pt x="1905" y="3644"/>
                    <a:pt x="1762" y="3465"/>
                    <a:pt x="1762" y="3251"/>
                  </a:cubicBezTo>
                  <a:lnTo>
                    <a:pt x="1762" y="3132"/>
                  </a:lnTo>
                  <a:cubicBezTo>
                    <a:pt x="1762" y="2905"/>
                    <a:pt x="1893" y="2727"/>
                    <a:pt x="2096" y="2655"/>
                  </a:cubicBezTo>
                  <a:close/>
                  <a:moveTo>
                    <a:pt x="6620" y="2655"/>
                  </a:moveTo>
                  <a:cubicBezTo>
                    <a:pt x="6822" y="2727"/>
                    <a:pt x="6965" y="2905"/>
                    <a:pt x="6965" y="3132"/>
                  </a:cubicBezTo>
                  <a:lnTo>
                    <a:pt x="6965" y="3251"/>
                  </a:lnTo>
                  <a:cubicBezTo>
                    <a:pt x="6965" y="3465"/>
                    <a:pt x="6834" y="3644"/>
                    <a:pt x="6620" y="3727"/>
                  </a:cubicBezTo>
                  <a:lnTo>
                    <a:pt x="6620" y="2655"/>
                  </a:lnTo>
                  <a:close/>
                  <a:moveTo>
                    <a:pt x="6703" y="4060"/>
                  </a:moveTo>
                  <a:lnTo>
                    <a:pt x="6858" y="5394"/>
                  </a:lnTo>
                  <a:lnTo>
                    <a:pt x="6346" y="5394"/>
                  </a:lnTo>
                  <a:cubicBezTo>
                    <a:pt x="6525" y="5108"/>
                    <a:pt x="6620" y="4763"/>
                    <a:pt x="6620" y="4406"/>
                  </a:cubicBezTo>
                  <a:lnTo>
                    <a:pt x="6620" y="4084"/>
                  </a:lnTo>
                  <a:cubicBezTo>
                    <a:pt x="6656" y="4084"/>
                    <a:pt x="6668" y="4060"/>
                    <a:pt x="6703" y="4060"/>
                  </a:cubicBezTo>
                  <a:close/>
                  <a:moveTo>
                    <a:pt x="3739" y="1405"/>
                  </a:moveTo>
                  <a:cubicBezTo>
                    <a:pt x="3810" y="1643"/>
                    <a:pt x="3941" y="1953"/>
                    <a:pt x="4132" y="2251"/>
                  </a:cubicBezTo>
                  <a:cubicBezTo>
                    <a:pt x="4572" y="2870"/>
                    <a:pt x="5179" y="3227"/>
                    <a:pt x="5917" y="3274"/>
                  </a:cubicBezTo>
                  <a:lnTo>
                    <a:pt x="5917" y="3572"/>
                  </a:lnTo>
                  <a:cubicBezTo>
                    <a:pt x="5906" y="4215"/>
                    <a:pt x="5572" y="4822"/>
                    <a:pt x="5001" y="5168"/>
                  </a:cubicBezTo>
                  <a:lnTo>
                    <a:pt x="4751" y="5310"/>
                  </a:lnTo>
                  <a:cubicBezTo>
                    <a:pt x="4632" y="5382"/>
                    <a:pt x="4498" y="5418"/>
                    <a:pt x="4364" y="5418"/>
                  </a:cubicBezTo>
                  <a:cubicBezTo>
                    <a:pt x="4230" y="5418"/>
                    <a:pt x="4096" y="5382"/>
                    <a:pt x="3977" y="5310"/>
                  </a:cubicBezTo>
                  <a:lnTo>
                    <a:pt x="3727" y="5168"/>
                  </a:lnTo>
                  <a:cubicBezTo>
                    <a:pt x="3155" y="4834"/>
                    <a:pt x="2810" y="4227"/>
                    <a:pt x="2810" y="3572"/>
                  </a:cubicBezTo>
                  <a:lnTo>
                    <a:pt x="2810" y="2322"/>
                  </a:lnTo>
                  <a:cubicBezTo>
                    <a:pt x="3024" y="2239"/>
                    <a:pt x="3429" y="1977"/>
                    <a:pt x="3739" y="1405"/>
                  </a:cubicBezTo>
                  <a:close/>
                  <a:moveTo>
                    <a:pt x="5477" y="5715"/>
                  </a:moveTo>
                  <a:cubicBezTo>
                    <a:pt x="5429" y="5727"/>
                    <a:pt x="5394" y="5763"/>
                    <a:pt x="5346" y="5775"/>
                  </a:cubicBezTo>
                  <a:lnTo>
                    <a:pt x="5346" y="5715"/>
                  </a:lnTo>
                  <a:close/>
                  <a:moveTo>
                    <a:pt x="5001" y="5549"/>
                  </a:moveTo>
                  <a:lnTo>
                    <a:pt x="5001" y="5870"/>
                  </a:lnTo>
                  <a:cubicBezTo>
                    <a:pt x="4953" y="5882"/>
                    <a:pt x="4894" y="5882"/>
                    <a:pt x="4846" y="5882"/>
                  </a:cubicBezTo>
                  <a:cubicBezTo>
                    <a:pt x="4822" y="5810"/>
                    <a:pt x="4798" y="5751"/>
                    <a:pt x="4727" y="5691"/>
                  </a:cubicBezTo>
                  <a:cubicBezTo>
                    <a:pt x="4786" y="5656"/>
                    <a:pt x="4846" y="5644"/>
                    <a:pt x="4905" y="5596"/>
                  </a:cubicBezTo>
                  <a:lnTo>
                    <a:pt x="5001" y="5549"/>
                  </a:lnTo>
                  <a:close/>
                  <a:moveTo>
                    <a:pt x="4378" y="5881"/>
                  </a:moveTo>
                  <a:cubicBezTo>
                    <a:pt x="4474" y="5881"/>
                    <a:pt x="4536" y="5960"/>
                    <a:pt x="4536" y="6061"/>
                  </a:cubicBezTo>
                  <a:cubicBezTo>
                    <a:pt x="4536" y="6168"/>
                    <a:pt x="4465" y="6239"/>
                    <a:pt x="4358" y="6239"/>
                  </a:cubicBezTo>
                  <a:cubicBezTo>
                    <a:pt x="4263" y="6239"/>
                    <a:pt x="4179" y="6168"/>
                    <a:pt x="4179" y="6061"/>
                  </a:cubicBezTo>
                  <a:cubicBezTo>
                    <a:pt x="4179" y="5953"/>
                    <a:pt x="4263" y="5882"/>
                    <a:pt x="4358" y="5882"/>
                  </a:cubicBezTo>
                  <a:cubicBezTo>
                    <a:pt x="4365" y="5881"/>
                    <a:pt x="4371" y="5881"/>
                    <a:pt x="4378" y="5881"/>
                  </a:cubicBezTo>
                  <a:close/>
                  <a:moveTo>
                    <a:pt x="3703" y="5537"/>
                  </a:moveTo>
                  <a:lnTo>
                    <a:pt x="3798" y="5584"/>
                  </a:lnTo>
                  <a:lnTo>
                    <a:pt x="3977" y="5668"/>
                  </a:lnTo>
                  <a:cubicBezTo>
                    <a:pt x="3882" y="5763"/>
                    <a:pt x="3822" y="5894"/>
                    <a:pt x="3822" y="6025"/>
                  </a:cubicBezTo>
                  <a:cubicBezTo>
                    <a:pt x="3846" y="6144"/>
                    <a:pt x="3870" y="6251"/>
                    <a:pt x="3917" y="6322"/>
                  </a:cubicBezTo>
                  <a:lnTo>
                    <a:pt x="3703" y="6180"/>
                  </a:lnTo>
                  <a:lnTo>
                    <a:pt x="3703" y="5537"/>
                  </a:lnTo>
                  <a:close/>
                  <a:moveTo>
                    <a:pt x="4870" y="6203"/>
                  </a:moveTo>
                  <a:cubicBezTo>
                    <a:pt x="4882" y="6215"/>
                    <a:pt x="4897" y="6221"/>
                    <a:pt x="4914" y="6221"/>
                  </a:cubicBezTo>
                  <a:cubicBezTo>
                    <a:pt x="4932" y="6221"/>
                    <a:pt x="4953" y="6215"/>
                    <a:pt x="4977" y="6203"/>
                  </a:cubicBezTo>
                  <a:lnTo>
                    <a:pt x="4977" y="6203"/>
                  </a:lnTo>
                  <a:lnTo>
                    <a:pt x="4810" y="6322"/>
                  </a:lnTo>
                  <a:cubicBezTo>
                    <a:pt x="4834" y="6299"/>
                    <a:pt x="4846" y="6251"/>
                    <a:pt x="4870" y="6203"/>
                  </a:cubicBezTo>
                  <a:close/>
                  <a:moveTo>
                    <a:pt x="4465" y="6561"/>
                  </a:moveTo>
                  <a:lnTo>
                    <a:pt x="4358" y="6644"/>
                  </a:lnTo>
                  <a:lnTo>
                    <a:pt x="4239" y="6561"/>
                  </a:lnTo>
                  <a:lnTo>
                    <a:pt x="4239" y="6561"/>
                  </a:lnTo>
                  <a:cubicBezTo>
                    <a:pt x="4274" y="6584"/>
                    <a:pt x="4322" y="6584"/>
                    <a:pt x="4346" y="6584"/>
                  </a:cubicBezTo>
                  <a:cubicBezTo>
                    <a:pt x="4393" y="6584"/>
                    <a:pt x="4417" y="6584"/>
                    <a:pt x="4465" y="6561"/>
                  </a:cubicBezTo>
                  <a:close/>
                  <a:moveTo>
                    <a:pt x="5013" y="6596"/>
                  </a:moveTo>
                  <a:lnTo>
                    <a:pt x="5013" y="7334"/>
                  </a:lnTo>
                  <a:lnTo>
                    <a:pt x="4620" y="6882"/>
                  </a:lnTo>
                  <a:lnTo>
                    <a:pt x="5013" y="6596"/>
                  </a:lnTo>
                  <a:close/>
                  <a:moveTo>
                    <a:pt x="3727" y="6608"/>
                  </a:moveTo>
                  <a:lnTo>
                    <a:pt x="4120" y="6894"/>
                  </a:lnTo>
                  <a:lnTo>
                    <a:pt x="3727" y="7358"/>
                  </a:lnTo>
                  <a:lnTo>
                    <a:pt x="3727" y="6608"/>
                  </a:lnTo>
                  <a:close/>
                  <a:moveTo>
                    <a:pt x="4334" y="0"/>
                  </a:moveTo>
                  <a:cubicBezTo>
                    <a:pt x="3715" y="0"/>
                    <a:pt x="3143" y="226"/>
                    <a:pt x="2691" y="631"/>
                  </a:cubicBezTo>
                  <a:cubicBezTo>
                    <a:pt x="2250" y="1024"/>
                    <a:pt x="1953" y="1584"/>
                    <a:pt x="1869" y="2179"/>
                  </a:cubicBezTo>
                  <a:lnTo>
                    <a:pt x="1846" y="2370"/>
                  </a:lnTo>
                  <a:cubicBezTo>
                    <a:pt x="1560" y="2501"/>
                    <a:pt x="1369" y="2798"/>
                    <a:pt x="1369" y="3132"/>
                  </a:cubicBezTo>
                  <a:lnTo>
                    <a:pt x="1369" y="3251"/>
                  </a:lnTo>
                  <a:cubicBezTo>
                    <a:pt x="1369" y="3501"/>
                    <a:pt x="1488" y="3727"/>
                    <a:pt x="1655" y="3882"/>
                  </a:cubicBezTo>
                  <a:lnTo>
                    <a:pt x="1453" y="5537"/>
                  </a:lnTo>
                  <a:cubicBezTo>
                    <a:pt x="1453" y="5584"/>
                    <a:pt x="1476" y="5644"/>
                    <a:pt x="1500" y="5668"/>
                  </a:cubicBezTo>
                  <a:cubicBezTo>
                    <a:pt x="1536" y="5703"/>
                    <a:pt x="1572" y="5727"/>
                    <a:pt x="1631" y="5727"/>
                  </a:cubicBezTo>
                  <a:lnTo>
                    <a:pt x="3334" y="5727"/>
                  </a:lnTo>
                  <a:lnTo>
                    <a:pt x="3334" y="6168"/>
                  </a:lnTo>
                  <a:lnTo>
                    <a:pt x="1607" y="6715"/>
                  </a:lnTo>
                  <a:cubicBezTo>
                    <a:pt x="655" y="7025"/>
                    <a:pt x="0" y="7906"/>
                    <a:pt x="0" y="8918"/>
                  </a:cubicBezTo>
                  <a:lnTo>
                    <a:pt x="0" y="9835"/>
                  </a:lnTo>
                  <a:cubicBezTo>
                    <a:pt x="0" y="9930"/>
                    <a:pt x="72" y="10001"/>
                    <a:pt x="167" y="10001"/>
                  </a:cubicBezTo>
                  <a:lnTo>
                    <a:pt x="2262" y="10001"/>
                  </a:lnTo>
                  <a:cubicBezTo>
                    <a:pt x="2346" y="10001"/>
                    <a:pt x="2429" y="9930"/>
                    <a:pt x="2429" y="9835"/>
                  </a:cubicBezTo>
                  <a:cubicBezTo>
                    <a:pt x="2429" y="9751"/>
                    <a:pt x="2346" y="9680"/>
                    <a:pt x="2262" y="9680"/>
                  </a:cubicBezTo>
                  <a:lnTo>
                    <a:pt x="322" y="9680"/>
                  </a:lnTo>
                  <a:lnTo>
                    <a:pt x="322" y="8930"/>
                  </a:lnTo>
                  <a:cubicBezTo>
                    <a:pt x="322" y="8073"/>
                    <a:pt x="881" y="7323"/>
                    <a:pt x="1691" y="7061"/>
                  </a:cubicBezTo>
                  <a:lnTo>
                    <a:pt x="3322" y="6537"/>
                  </a:lnTo>
                  <a:lnTo>
                    <a:pt x="3322" y="7835"/>
                  </a:lnTo>
                  <a:cubicBezTo>
                    <a:pt x="3322" y="7906"/>
                    <a:pt x="3358" y="7966"/>
                    <a:pt x="3417" y="7989"/>
                  </a:cubicBezTo>
                  <a:cubicBezTo>
                    <a:pt x="3441" y="7989"/>
                    <a:pt x="3465" y="8013"/>
                    <a:pt x="3477" y="8013"/>
                  </a:cubicBezTo>
                  <a:cubicBezTo>
                    <a:pt x="3524" y="8013"/>
                    <a:pt x="3584" y="7989"/>
                    <a:pt x="3620" y="7954"/>
                  </a:cubicBezTo>
                  <a:lnTo>
                    <a:pt x="4298" y="7144"/>
                  </a:lnTo>
                  <a:lnTo>
                    <a:pt x="4989" y="7954"/>
                  </a:lnTo>
                  <a:cubicBezTo>
                    <a:pt x="5013" y="7989"/>
                    <a:pt x="5060" y="8013"/>
                    <a:pt x="5120" y="8013"/>
                  </a:cubicBezTo>
                  <a:cubicBezTo>
                    <a:pt x="5132" y="8013"/>
                    <a:pt x="5167" y="8013"/>
                    <a:pt x="5179" y="7989"/>
                  </a:cubicBezTo>
                  <a:cubicBezTo>
                    <a:pt x="5251" y="7966"/>
                    <a:pt x="5286" y="7906"/>
                    <a:pt x="5286" y="7835"/>
                  </a:cubicBezTo>
                  <a:lnTo>
                    <a:pt x="5286" y="6537"/>
                  </a:lnTo>
                  <a:lnTo>
                    <a:pt x="6906" y="7061"/>
                  </a:lnTo>
                  <a:cubicBezTo>
                    <a:pt x="7727" y="7323"/>
                    <a:pt x="8275" y="8073"/>
                    <a:pt x="8275" y="8930"/>
                  </a:cubicBezTo>
                  <a:lnTo>
                    <a:pt x="8275" y="9680"/>
                  </a:lnTo>
                  <a:lnTo>
                    <a:pt x="2917" y="9680"/>
                  </a:lnTo>
                  <a:cubicBezTo>
                    <a:pt x="2822" y="9680"/>
                    <a:pt x="2750" y="9751"/>
                    <a:pt x="2750" y="9835"/>
                  </a:cubicBezTo>
                  <a:cubicBezTo>
                    <a:pt x="2750" y="9930"/>
                    <a:pt x="2822" y="10001"/>
                    <a:pt x="2917" y="10001"/>
                  </a:cubicBezTo>
                  <a:lnTo>
                    <a:pt x="8513" y="10001"/>
                  </a:lnTo>
                  <a:cubicBezTo>
                    <a:pt x="8608" y="10001"/>
                    <a:pt x="8680" y="9930"/>
                    <a:pt x="8680" y="9835"/>
                  </a:cubicBezTo>
                  <a:lnTo>
                    <a:pt x="8680" y="8918"/>
                  </a:lnTo>
                  <a:cubicBezTo>
                    <a:pt x="8680" y="7906"/>
                    <a:pt x="8037" y="7013"/>
                    <a:pt x="7072" y="6715"/>
                  </a:cubicBezTo>
                  <a:lnTo>
                    <a:pt x="5346" y="6168"/>
                  </a:lnTo>
                  <a:lnTo>
                    <a:pt x="5346" y="6144"/>
                  </a:lnTo>
                  <a:cubicBezTo>
                    <a:pt x="5608" y="6061"/>
                    <a:pt x="5846" y="5930"/>
                    <a:pt x="6060" y="5727"/>
                  </a:cubicBezTo>
                  <a:lnTo>
                    <a:pt x="7037" y="5727"/>
                  </a:lnTo>
                  <a:cubicBezTo>
                    <a:pt x="7084" y="5727"/>
                    <a:pt x="7132" y="5715"/>
                    <a:pt x="7180" y="5668"/>
                  </a:cubicBezTo>
                  <a:cubicBezTo>
                    <a:pt x="7203" y="5644"/>
                    <a:pt x="7215" y="5584"/>
                    <a:pt x="7215" y="5537"/>
                  </a:cubicBezTo>
                  <a:lnTo>
                    <a:pt x="7025" y="3882"/>
                  </a:lnTo>
                  <a:cubicBezTo>
                    <a:pt x="7203" y="3739"/>
                    <a:pt x="7311" y="3501"/>
                    <a:pt x="7311" y="3251"/>
                  </a:cubicBezTo>
                  <a:lnTo>
                    <a:pt x="7311" y="3132"/>
                  </a:lnTo>
                  <a:cubicBezTo>
                    <a:pt x="7311" y="2798"/>
                    <a:pt x="7108" y="2501"/>
                    <a:pt x="6834" y="2370"/>
                  </a:cubicBezTo>
                  <a:lnTo>
                    <a:pt x="6799" y="2179"/>
                  </a:lnTo>
                  <a:cubicBezTo>
                    <a:pt x="6727" y="1548"/>
                    <a:pt x="6418" y="988"/>
                    <a:pt x="5941" y="584"/>
                  </a:cubicBezTo>
                  <a:cubicBezTo>
                    <a:pt x="5909" y="557"/>
                    <a:pt x="5870" y="545"/>
                    <a:pt x="5831" y="545"/>
                  </a:cubicBezTo>
                  <a:cubicBezTo>
                    <a:pt x="5783" y="545"/>
                    <a:pt x="5736" y="563"/>
                    <a:pt x="5703" y="596"/>
                  </a:cubicBezTo>
                  <a:cubicBezTo>
                    <a:pt x="5644" y="667"/>
                    <a:pt x="5656" y="774"/>
                    <a:pt x="5715" y="834"/>
                  </a:cubicBezTo>
                  <a:cubicBezTo>
                    <a:pt x="6132" y="1179"/>
                    <a:pt x="6382" y="1667"/>
                    <a:pt x="6465" y="2203"/>
                  </a:cubicBezTo>
                  <a:lnTo>
                    <a:pt x="6465" y="2262"/>
                  </a:lnTo>
                  <a:lnTo>
                    <a:pt x="6429" y="2262"/>
                  </a:lnTo>
                  <a:cubicBezTo>
                    <a:pt x="6334" y="2262"/>
                    <a:pt x="6263" y="2334"/>
                    <a:pt x="6263" y="2429"/>
                  </a:cubicBezTo>
                  <a:lnTo>
                    <a:pt x="6263" y="3905"/>
                  </a:lnTo>
                  <a:lnTo>
                    <a:pt x="6263" y="3917"/>
                  </a:lnTo>
                  <a:lnTo>
                    <a:pt x="6263" y="3929"/>
                  </a:lnTo>
                  <a:lnTo>
                    <a:pt x="6263" y="4382"/>
                  </a:lnTo>
                  <a:cubicBezTo>
                    <a:pt x="6263" y="4751"/>
                    <a:pt x="6132" y="5096"/>
                    <a:pt x="5894" y="5358"/>
                  </a:cubicBezTo>
                  <a:lnTo>
                    <a:pt x="5322" y="5358"/>
                  </a:lnTo>
                  <a:lnTo>
                    <a:pt x="5322" y="5310"/>
                  </a:lnTo>
                  <a:cubicBezTo>
                    <a:pt x="5894" y="4894"/>
                    <a:pt x="6239" y="4239"/>
                    <a:pt x="6239" y="3524"/>
                  </a:cubicBezTo>
                  <a:lnTo>
                    <a:pt x="6239" y="3072"/>
                  </a:lnTo>
                  <a:cubicBezTo>
                    <a:pt x="6239" y="2977"/>
                    <a:pt x="6168" y="2905"/>
                    <a:pt x="6072" y="2905"/>
                  </a:cubicBezTo>
                  <a:cubicBezTo>
                    <a:pt x="4596" y="2905"/>
                    <a:pt x="4096" y="1619"/>
                    <a:pt x="3929" y="869"/>
                  </a:cubicBezTo>
                  <a:cubicBezTo>
                    <a:pt x="3929" y="846"/>
                    <a:pt x="3917" y="834"/>
                    <a:pt x="3917" y="822"/>
                  </a:cubicBezTo>
                  <a:cubicBezTo>
                    <a:pt x="3889" y="720"/>
                    <a:pt x="3811" y="683"/>
                    <a:pt x="3755" y="683"/>
                  </a:cubicBezTo>
                  <a:cubicBezTo>
                    <a:pt x="3739" y="683"/>
                    <a:pt x="3725" y="686"/>
                    <a:pt x="3715" y="691"/>
                  </a:cubicBezTo>
                  <a:cubicBezTo>
                    <a:pt x="3655" y="703"/>
                    <a:pt x="3596" y="750"/>
                    <a:pt x="3584" y="810"/>
                  </a:cubicBezTo>
                  <a:cubicBezTo>
                    <a:pt x="3310" y="1679"/>
                    <a:pt x="2750" y="1953"/>
                    <a:pt x="2608" y="2012"/>
                  </a:cubicBezTo>
                  <a:cubicBezTo>
                    <a:pt x="2512" y="2012"/>
                    <a:pt x="2441" y="2084"/>
                    <a:pt x="2441" y="2179"/>
                  </a:cubicBezTo>
                  <a:lnTo>
                    <a:pt x="2441" y="3548"/>
                  </a:lnTo>
                  <a:cubicBezTo>
                    <a:pt x="2441" y="4239"/>
                    <a:pt x="2786" y="4918"/>
                    <a:pt x="3346" y="5334"/>
                  </a:cubicBezTo>
                  <a:lnTo>
                    <a:pt x="3346" y="5370"/>
                  </a:lnTo>
                  <a:lnTo>
                    <a:pt x="1846" y="5370"/>
                  </a:lnTo>
                  <a:lnTo>
                    <a:pt x="2012" y="4048"/>
                  </a:lnTo>
                  <a:cubicBezTo>
                    <a:pt x="2084" y="4060"/>
                    <a:pt x="2155" y="4084"/>
                    <a:pt x="2250" y="4084"/>
                  </a:cubicBezTo>
                  <a:cubicBezTo>
                    <a:pt x="2334" y="4084"/>
                    <a:pt x="2417" y="4001"/>
                    <a:pt x="2417" y="3917"/>
                  </a:cubicBezTo>
                  <a:lnTo>
                    <a:pt x="2417" y="2441"/>
                  </a:lnTo>
                  <a:cubicBezTo>
                    <a:pt x="2417" y="2358"/>
                    <a:pt x="2334" y="2274"/>
                    <a:pt x="2250" y="2274"/>
                  </a:cubicBezTo>
                  <a:lnTo>
                    <a:pt x="2215" y="2274"/>
                  </a:lnTo>
                  <a:lnTo>
                    <a:pt x="2215" y="2215"/>
                  </a:lnTo>
                  <a:cubicBezTo>
                    <a:pt x="2274" y="1703"/>
                    <a:pt x="2536" y="1227"/>
                    <a:pt x="2917" y="881"/>
                  </a:cubicBezTo>
                  <a:cubicBezTo>
                    <a:pt x="3310" y="536"/>
                    <a:pt x="3810" y="346"/>
                    <a:pt x="4334" y="346"/>
                  </a:cubicBezTo>
                  <a:cubicBezTo>
                    <a:pt x="4608" y="346"/>
                    <a:pt x="4894" y="405"/>
                    <a:pt x="5167" y="512"/>
                  </a:cubicBezTo>
                  <a:cubicBezTo>
                    <a:pt x="5187" y="518"/>
                    <a:pt x="5208" y="521"/>
                    <a:pt x="5229" y="521"/>
                  </a:cubicBezTo>
                  <a:cubicBezTo>
                    <a:pt x="5297" y="521"/>
                    <a:pt x="5366" y="490"/>
                    <a:pt x="5394" y="417"/>
                  </a:cubicBezTo>
                  <a:cubicBezTo>
                    <a:pt x="5417" y="334"/>
                    <a:pt x="5394" y="226"/>
                    <a:pt x="5298" y="191"/>
                  </a:cubicBezTo>
                  <a:cubicBezTo>
                    <a:pt x="4989" y="60"/>
                    <a:pt x="4679" y="0"/>
                    <a:pt x="4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1" name="Google Shape;11971;p61"/>
            <p:cNvSpPr/>
            <p:nvPr/>
          </p:nvSpPr>
          <p:spPr>
            <a:xfrm>
              <a:off x="1426826" y="2243648"/>
              <a:ext cx="10233" cy="11341"/>
            </a:xfrm>
            <a:custGeom>
              <a:avLst/>
              <a:gdLst/>
              <a:ahLst/>
              <a:cxnLst/>
              <a:rect l="l" t="t" r="r" b="b"/>
              <a:pathLst>
                <a:path w="323" h="358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203"/>
                  </a:lnTo>
                  <a:cubicBezTo>
                    <a:pt x="1" y="286"/>
                    <a:pt x="72" y="358"/>
                    <a:pt x="156" y="358"/>
                  </a:cubicBezTo>
                  <a:cubicBezTo>
                    <a:pt x="251" y="358"/>
                    <a:pt x="322" y="286"/>
                    <a:pt x="322" y="203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2" name="Google Shape;11972;p61"/>
            <p:cNvSpPr/>
            <p:nvPr/>
          </p:nvSpPr>
          <p:spPr>
            <a:xfrm>
              <a:off x="1426826" y="2262149"/>
              <a:ext cx="10233" cy="11341"/>
            </a:xfrm>
            <a:custGeom>
              <a:avLst/>
              <a:gdLst/>
              <a:ahLst/>
              <a:cxnLst/>
              <a:rect l="l" t="t" r="r" b="b"/>
              <a:pathLst>
                <a:path w="323" h="358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72" y="357"/>
                    <a:pt x="156" y="357"/>
                  </a:cubicBezTo>
                  <a:cubicBezTo>
                    <a:pt x="251" y="357"/>
                    <a:pt x="322" y="286"/>
                    <a:pt x="322" y="191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3" name="Google Shape;11973;p61"/>
            <p:cNvSpPr/>
            <p:nvPr/>
          </p:nvSpPr>
          <p:spPr>
            <a:xfrm>
              <a:off x="1471336" y="2261389"/>
              <a:ext cx="63804" cy="30571"/>
            </a:xfrm>
            <a:custGeom>
              <a:avLst/>
              <a:gdLst/>
              <a:ahLst/>
              <a:cxnLst/>
              <a:rect l="l" t="t" r="r" b="b"/>
              <a:pathLst>
                <a:path w="2014" h="965" extrusionOk="0">
                  <a:moveTo>
                    <a:pt x="1596" y="322"/>
                  </a:moveTo>
                  <a:cubicBezTo>
                    <a:pt x="1644" y="322"/>
                    <a:pt x="1668" y="346"/>
                    <a:pt x="1668" y="393"/>
                  </a:cubicBezTo>
                  <a:lnTo>
                    <a:pt x="1668" y="560"/>
                  </a:lnTo>
                  <a:cubicBezTo>
                    <a:pt x="1668" y="607"/>
                    <a:pt x="1644" y="631"/>
                    <a:pt x="1596" y="631"/>
                  </a:cubicBezTo>
                  <a:lnTo>
                    <a:pt x="394" y="631"/>
                  </a:lnTo>
                  <a:cubicBezTo>
                    <a:pt x="346" y="631"/>
                    <a:pt x="310" y="607"/>
                    <a:pt x="310" y="560"/>
                  </a:cubicBezTo>
                  <a:lnTo>
                    <a:pt x="310" y="393"/>
                  </a:lnTo>
                  <a:cubicBezTo>
                    <a:pt x="310" y="346"/>
                    <a:pt x="346" y="322"/>
                    <a:pt x="394" y="322"/>
                  </a:cubicBezTo>
                  <a:close/>
                  <a:moveTo>
                    <a:pt x="406" y="0"/>
                  </a:moveTo>
                  <a:cubicBezTo>
                    <a:pt x="180" y="0"/>
                    <a:pt x="1" y="179"/>
                    <a:pt x="1" y="393"/>
                  </a:cubicBezTo>
                  <a:lnTo>
                    <a:pt x="1" y="560"/>
                  </a:lnTo>
                  <a:cubicBezTo>
                    <a:pt x="1" y="786"/>
                    <a:pt x="180" y="965"/>
                    <a:pt x="406" y="965"/>
                  </a:cubicBezTo>
                  <a:lnTo>
                    <a:pt x="1608" y="965"/>
                  </a:lnTo>
                  <a:cubicBezTo>
                    <a:pt x="1834" y="965"/>
                    <a:pt x="2013" y="786"/>
                    <a:pt x="2013" y="560"/>
                  </a:cubicBezTo>
                  <a:lnTo>
                    <a:pt x="2013" y="393"/>
                  </a:lnTo>
                  <a:cubicBezTo>
                    <a:pt x="2013" y="179"/>
                    <a:pt x="1834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4" name="Google Shape;11974;p61"/>
            <p:cNvSpPr/>
            <p:nvPr/>
          </p:nvSpPr>
          <p:spPr>
            <a:xfrm>
              <a:off x="1420807" y="2092788"/>
              <a:ext cx="22271" cy="36971"/>
            </a:xfrm>
            <a:custGeom>
              <a:avLst/>
              <a:gdLst/>
              <a:ahLst/>
              <a:cxnLst/>
              <a:rect l="l" t="t" r="r" b="b"/>
              <a:pathLst>
                <a:path w="703" h="116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1000"/>
                  </a:lnTo>
                  <a:cubicBezTo>
                    <a:pt x="0" y="1096"/>
                    <a:pt x="84" y="1167"/>
                    <a:pt x="167" y="1167"/>
                  </a:cubicBezTo>
                  <a:lnTo>
                    <a:pt x="536" y="1167"/>
                  </a:lnTo>
                  <a:cubicBezTo>
                    <a:pt x="632" y="1167"/>
                    <a:pt x="703" y="1096"/>
                    <a:pt x="703" y="1000"/>
                  </a:cubicBezTo>
                  <a:cubicBezTo>
                    <a:pt x="703" y="893"/>
                    <a:pt x="620" y="822"/>
                    <a:pt x="524" y="822"/>
                  </a:cubicBezTo>
                  <a:lnTo>
                    <a:pt x="334" y="822"/>
                  </a:ln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75" name="Google Shape;11975;p61"/>
          <p:cNvGrpSpPr/>
          <p:nvPr/>
        </p:nvGrpSpPr>
        <p:grpSpPr>
          <a:xfrm>
            <a:off x="3967213" y="1975477"/>
            <a:ext cx="368185" cy="331816"/>
            <a:chOff x="3967213" y="1975477"/>
            <a:chExt cx="368185" cy="331816"/>
          </a:xfrm>
        </p:grpSpPr>
        <p:sp>
          <p:nvSpPr>
            <p:cNvPr id="11976" name="Google Shape;11976;p61"/>
            <p:cNvSpPr/>
            <p:nvPr/>
          </p:nvSpPr>
          <p:spPr>
            <a:xfrm>
              <a:off x="3967213" y="1975477"/>
              <a:ext cx="368185" cy="331816"/>
            </a:xfrm>
            <a:custGeom>
              <a:avLst/>
              <a:gdLst/>
              <a:ahLst/>
              <a:cxnLst/>
              <a:rect l="l" t="t" r="r" b="b"/>
              <a:pathLst>
                <a:path w="11622" h="10474" extrusionOk="0">
                  <a:moveTo>
                    <a:pt x="9026" y="0"/>
                  </a:moveTo>
                  <a:cubicBezTo>
                    <a:pt x="7585" y="0"/>
                    <a:pt x="6430" y="1179"/>
                    <a:pt x="6430" y="2608"/>
                  </a:cubicBezTo>
                  <a:cubicBezTo>
                    <a:pt x="6430" y="3072"/>
                    <a:pt x="6549" y="3513"/>
                    <a:pt x="6763" y="3882"/>
                  </a:cubicBezTo>
                  <a:lnTo>
                    <a:pt x="5680" y="3882"/>
                  </a:lnTo>
                  <a:cubicBezTo>
                    <a:pt x="5597" y="3882"/>
                    <a:pt x="5513" y="3965"/>
                    <a:pt x="5513" y="4048"/>
                  </a:cubicBezTo>
                  <a:cubicBezTo>
                    <a:pt x="5513" y="4144"/>
                    <a:pt x="5597" y="4215"/>
                    <a:pt x="5680" y="4215"/>
                  </a:cubicBezTo>
                  <a:lnTo>
                    <a:pt x="6978" y="4215"/>
                  </a:lnTo>
                  <a:cubicBezTo>
                    <a:pt x="7454" y="4810"/>
                    <a:pt x="8192" y="5191"/>
                    <a:pt x="9014" y="5191"/>
                  </a:cubicBezTo>
                  <a:cubicBezTo>
                    <a:pt x="9180" y="5191"/>
                    <a:pt x="9359" y="5180"/>
                    <a:pt x="9502" y="5156"/>
                  </a:cubicBezTo>
                  <a:lnTo>
                    <a:pt x="9502" y="5775"/>
                  </a:lnTo>
                  <a:lnTo>
                    <a:pt x="977" y="5775"/>
                  </a:lnTo>
                  <a:cubicBezTo>
                    <a:pt x="905" y="5775"/>
                    <a:pt x="834" y="5834"/>
                    <a:pt x="810" y="5906"/>
                  </a:cubicBezTo>
                  <a:lnTo>
                    <a:pt x="322" y="8466"/>
                  </a:lnTo>
                  <a:lnTo>
                    <a:pt x="322" y="2965"/>
                  </a:lnTo>
                  <a:lnTo>
                    <a:pt x="2691" y="2965"/>
                  </a:lnTo>
                  <a:lnTo>
                    <a:pt x="3882" y="4156"/>
                  </a:lnTo>
                  <a:cubicBezTo>
                    <a:pt x="3906" y="4179"/>
                    <a:pt x="3953" y="4203"/>
                    <a:pt x="4001" y="4203"/>
                  </a:cubicBezTo>
                  <a:lnTo>
                    <a:pt x="5001" y="4203"/>
                  </a:lnTo>
                  <a:cubicBezTo>
                    <a:pt x="5085" y="4203"/>
                    <a:pt x="5156" y="4120"/>
                    <a:pt x="5156" y="4037"/>
                  </a:cubicBezTo>
                  <a:cubicBezTo>
                    <a:pt x="5156" y="3941"/>
                    <a:pt x="5085" y="3870"/>
                    <a:pt x="5001" y="3870"/>
                  </a:cubicBezTo>
                  <a:lnTo>
                    <a:pt x="4073" y="3870"/>
                  </a:lnTo>
                  <a:lnTo>
                    <a:pt x="2882" y="2679"/>
                  </a:lnTo>
                  <a:cubicBezTo>
                    <a:pt x="2858" y="2655"/>
                    <a:pt x="2810" y="2632"/>
                    <a:pt x="2763" y="2632"/>
                  </a:cubicBezTo>
                  <a:lnTo>
                    <a:pt x="155" y="2632"/>
                  </a:lnTo>
                  <a:cubicBezTo>
                    <a:pt x="72" y="2632"/>
                    <a:pt x="1" y="2715"/>
                    <a:pt x="1" y="2798"/>
                  </a:cubicBezTo>
                  <a:lnTo>
                    <a:pt x="1" y="10299"/>
                  </a:lnTo>
                  <a:cubicBezTo>
                    <a:pt x="1" y="10457"/>
                    <a:pt x="121" y="10466"/>
                    <a:pt x="248" y="10466"/>
                  </a:cubicBezTo>
                  <a:cubicBezTo>
                    <a:pt x="264" y="10466"/>
                    <a:pt x="281" y="10466"/>
                    <a:pt x="298" y="10466"/>
                  </a:cubicBezTo>
                  <a:cubicBezTo>
                    <a:pt x="414" y="10466"/>
                    <a:pt x="3457" y="10474"/>
                    <a:pt x="6062" y="10474"/>
                  </a:cubicBezTo>
                  <a:cubicBezTo>
                    <a:pt x="8016" y="10474"/>
                    <a:pt x="9723" y="10469"/>
                    <a:pt x="9764" y="10454"/>
                  </a:cubicBezTo>
                  <a:cubicBezTo>
                    <a:pt x="9799" y="10418"/>
                    <a:pt x="9847" y="10371"/>
                    <a:pt x="9859" y="10335"/>
                  </a:cubicBezTo>
                  <a:lnTo>
                    <a:pt x="10192" y="8609"/>
                  </a:lnTo>
                  <a:cubicBezTo>
                    <a:pt x="10204" y="8513"/>
                    <a:pt x="10145" y="8430"/>
                    <a:pt x="10061" y="8406"/>
                  </a:cubicBezTo>
                  <a:cubicBezTo>
                    <a:pt x="10053" y="8405"/>
                    <a:pt x="10045" y="8405"/>
                    <a:pt x="10037" y="8405"/>
                  </a:cubicBezTo>
                  <a:cubicBezTo>
                    <a:pt x="9952" y="8405"/>
                    <a:pt x="9881" y="8461"/>
                    <a:pt x="9859" y="8537"/>
                  </a:cubicBezTo>
                  <a:lnTo>
                    <a:pt x="9561" y="10121"/>
                  </a:lnTo>
                  <a:lnTo>
                    <a:pt x="393" y="10121"/>
                  </a:lnTo>
                  <a:lnTo>
                    <a:pt x="1155" y="6132"/>
                  </a:lnTo>
                  <a:lnTo>
                    <a:pt x="10335" y="6132"/>
                  </a:lnTo>
                  <a:lnTo>
                    <a:pt x="10014" y="7870"/>
                  </a:lnTo>
                  <a:cubicBezTo>
                    <a:pt x="10002" y="7966"/>
                    <a:pt x="10061" y="8049"/>
                    <a:pt x="10145" y="8061"/>
                  </a:cubicBezTo>
                  <a:cubicBezTo>
                    <a:pt x="10159" y="8064"/>
                    <a:pt x="10173" y="8066"/>
                    <a:pt x="10186" y="8066"/>
                  </a:cubicBezTo>
                  <a:cubicBezTo>
                    <a:pt x="10263" y="8066"/>
                    <a:pt x="10325" y="8011"/>
                    <a:pt x="10335" y="7930"/>
                  </a:cubicBezTo>
                  <a:lnTo>
                    <a:pt x="10716" y="6001"/>
                  </a:lnTo>
                  <a:cubicBezTo>
                    <a:pt x="10728" y="5953"/>
                    <a:pt x="10716" y="5894"/>
                    <a:pt x="10680" y="5870"/>
                  </a:cubicBezTo>
                  <a:cubicBezTo>
                    <a:pt x="10657" y="5822"/>
                    <a:pt x="10609" y="5811"/>
                    <a:pt x="10550" y="5811"/>
                  </a:cubicBezTo>
                  <a:lnTo>
                    <a:pt x="9847" y="5811"/>
                  </a:lnTo>
                  <a:lnTo>
                    <a:pt x="9847" y="5096"/>
                  </a:lnTo>
                  <a:cubicBezTo>
                    <a:pt x="10776" y="4775"/>
                    <a:pt x="11466" y="3965"/>
                    <a:pt x="11585" y="2965"/>
                  </a:cubicBezTo>
                  <a:cubicBezTo>
                    <a:pt x="11609" y="2858"/>
                    <a:pt x="11550" y="2774"/>
                    <a:pt x="11454" y="2751"/>
                  </a:cubicBezTo>
                  <a:cubicBezTo>
                    <a:pt x="11448" y="2750"/>
                    <a:pt x="11442" y="2749"/>
                    <a:pt x="11436" y="2749"/>
                  </a:cubicBezTo>
                  <a:cubicBezTo>
                    <a:pt x="11358" y="2749"/>
                    <a:pt x="11275" y="2817"/>
                    <a:pt x="11264" y="2905"/>
                  </a:cubicBezTo>
                  <a:cubicBezTo>
                    <a:pt x="11109" y="4025"/>
                    <a:pt x="10145" y="4870"/>
                    <a:pt x="9014" y="4870"/>
                  </a:cubicBezTo>
                  <a:cubicBezTo>
                    <a:pt x="7763" y="4870"/>
                    <a:pt x="6751" y="3858"/>
                    <a:pt x="6751" y="2608"/>
                  </a:cubicBezTo>
                  <a:cubicBezTo>
                    <a:pt x="6751" y="1358"/>
                    <a:pt x="7763" y="346"/>
                    <a:pt x="9014" y="346"/>
                  </a:cubicBezTo>
                  <a:cubicBezTo>
                    <a:pt x="10133" y="346"/>
                    <a:pt x="11097" y="1179"/>
                    <a:pt x="11264" y="2274"/>
                  </a:cubicBezTo>
                  <a:cubicBezTo>
                    <a:pt x="11275" y="2363"/>
                    <a:pt x="11358" y="2431"/>
                    <a:pt x="11436" y="2431"/>
                  </a:cubicBezTo>
                  <a:cubicBezTo>
                    <a:pt x="11442" y="2431"/>
                    <a:pt x="11448" y="2430"/>
                    <a:pt x="11454" y="2429"/>
                  </a:cubicBezTo>
                  <a:cubicBezTo>
                    <a:pt x="11550" y="2417"/>
                    <a:pt x="11621" y="2322"/>
                    <a:pt x="11609" y="2239"/>
                  </a:cubicBezTo>
                  <a:cubicBezTo>
                    <a:pt x="11514" y="1620"/>
                    <a:pt x="11204" y="1060"/>
                    <a:pt x="10740" y="643"/>
                  </a:cubicBezTo>
                  <a:cubicBezTo>
                    <a:pt x="10264" y="227"/>
                    <a:pt x="9657" y="0"/>
                    <a:pt x="90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7" name="Google Shape;11977;p61"/>
            <p:cNvSpPr/>
            <p:nvPr/>
          </p:nvSpPr>
          <p:spPr>
            <a:xfrm>
              <a:off x="4237665" y="2034307"/>
              <a:ext cx="32092" cy="63772"/>
            </a:xfrm>
            <a:custGeom>
              <a:avLst/>
              <a:gdLst/>
              <a:ahLst/>
              <a:cxnLst/>
              <a:rect l="l" t="t" r="r" b="b"/>
              <a:pathLst>
                <a:path w="1013" h="2013" extrusionOk="0">
                  <a:moveTo>
                    <a:pt x="179" y="1"/>
                  </a:moveTo>
                  <a:cubicBezTo>
                    <a:pt x="84" y="1"/>
                    <a:pt x="12" y="72"/>
                    <a:pt x="12" y="167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322" y="334"/>
                  </a:lnTo>
                  <a:lnTo>
                    <a:pt x="322" y="1691"/>
                  </a:lnTo>
                  <a:lnTo>
                    <a:pt x="167" y="1691"/>
                  </a:lnTo>
                  <a:cubicBezTo>
                    <a:pt x="72" y="1691"/>
                    <a:pt x="0" y="1763"/>
                    <a:pt x="0" y="1846"/>
                  </a:cubicBezTo>
                  <a:cubicBezTo>
                    <a:pt x="0" y="1941"/>
                    <a:pt x="72" y="2013"/>
                    <a:pt x="167" y="2013"/>
                  </a:cubicBezTo>
                  <a:lnTo>
                    <a:pt x="846" y="2013"/>
                  </a:lnTo>
                  <a:cubicBezTo>
                    <a:pt x="941" y="2013"/>
                    <a:pt x="1012" y="1941"/>
                    <a:pt x="1012" y="1846"/>
                  </a:cubicBezTo>
                  <a:cubicBezTo>
                    <a:pt x="1012" y="1775"/>
                    <a:pt x="941" y="1703"/>
                    <a:pt x="846" y="1703"/>
                  </a:cubicBezTo>
                  <a:lnTo>
                    <a:pt x="667" y="1703"/>
                  </a:lnTo>
                  <a:lnTo>
                    <a:pt x="667" y="167"/>
                  </a:lnTo>
                  <a:cubicBezTo>
                    <a:pt x="667" y="72"/>
                    <a:pt x="59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8" name="Google Shape;11978;p61"/>
            <p:cNvSpPr/>
            <p:nvPr/>
          </p:nvSpPr>
          <p:spPr>
            <a:xfrm>
              <a:off x="4241815" y="2014317"/>
              <a:ext cx="17012" cy="17012"/>
            </a:xfrm>
            <a:custGeom>
              <a:avLst/>
              <a:gdLst/>
              <a:ahLst/>
              <a:cxnLst/>
              <a:rect l="l" t="t" r="r" b="b"/>
              <a:pathLst>
                <a:path w="537" h="537" extrusionOk="0">
                  <a:moveTo>
                    <a:pt x="274" y="1"/>
                  </a:moveTo>
                  <a:cubicBezTo>
                    <a:pt x="119" y="1"/>
                    <a:pt x="0" y="120"/>
                    <a:pt x="0" y="263"/>
                  </a:cubicBezTo>
                  <a:cubicBezTo>
                    <a:pt x="0" y="417"/>
                    <a:pt x="119" y="536"/>
                    <a:pt x="274" y="536"/>
                  </a:cubicBezTo>
                  <a:cubicBezTo>
                    <a:pt x="417" y="536"/>
                    <a:pt x="536" y="417"/>
                    <a:pt x="536" y="263"/>
                  </a:cubicBezTo>
                  <a:cubicBezTo>
                    <a:pt x="536" y="120"/>
                    <a:pt x="417" y="1"/>
                    <a:pt x="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79" name="Google Shape;11979;p61"/>
          <p:cNvGrpSpPr/>
          <p:nvPr/>
        </p:nvGrpSpPr>
        <p:grpSpPr>
          <a:xfrm>
            <a:off x="8047661" y="1969046"/>
            <a:ext cx="279132" cy="356875"/>
            <a:chOff x="8047661" y="1969046"/>
            <a:chExt cx="279132" cy="356875"/>
          </a:xfrm>
        </p:grpSpPr>
        <p:sp>
          <p:nvSpPr>
            <p:cNvPr id="11980" name="Google Shape;11980;p61"/>
            <p:cNvSpPr/>
            <p:nvPr/>
          </p:nvSpPr>
          <p:spPr>
            <a:xfrm>
              <a:off x="8169502" y="2126115"/>
              <a:ext cx="33961" cy="15713"/>
            </a:xfrm>
            <a:custGeom>
              <a:avLst/>
              <a:gdLst/>
              <a:ahLst/>
              <a:cxnLst/>
              <a:rect l="l" t="t" r="r" b="b"/>
              <a:pathLst>
                <a:path w="1072" h="496" extrusionOk="0">
                  <a:moveTo>
                    <a:pt x="175" y="0"/>
                  </a:moveTo>
                  <a:cubicBezTo>
                    <a:pt x="145" y="0"/>
                    <a:pt x="113" y="7"/>
                    <a:pt x="83" y="20"/>
                  </a:cubicBezTo>
                  <a:cubicBezTo>
                    <a:pt x="12" y="67"/>
                    <a:pt x="0" y="175"/>
                    <a:pt x="48" y="246"/>
                  </a:cubicBezTo>
                  <a:cubicBezTo>
                    <a:pt x="143" y="413"/>
                    <a:pt x="322" y="496"/>
                    <a:pt x="536" y="496"/>
                  </a:cubicBezTo>
                  <a:cubicBezTo>
                    <a:pt x="738" y="496"/>
                    <a:pt x="917" y="413"/>
                    <a:pt x="1024" y="246"/>
                  </a:cubicBezTo>
                  <a:cubicBezTo>
                    <a:pt x="1072" y="175"/>
                    <a:pt x="1060" y="67"/>
                    <a:pt x="976" y="20"/>
                  </a:cubicBezTo>
                  <a:cubicBezTo>
                    <a:pt x="951" y="7"/>
                    <a:pt x="921" y="0"/>
                    <a:pt x="891" y="0"/>
                  </a:cubicBezTo>
                  <a:cubicBezTo>
                    <a:pt x="837" y="0"/>
                    <a:pt x="785" y="22"/>
                    <a:pt x="762" y="67"/>
                  </a:cubicBezTo>
                  <a:cubicBezTo>
                    <a:pt x="714" y="127"/>
                    <a:pt x="643" y="175"/>
                    <a:pt x="536" y="175"/>
                  </a:cubicBezTo>
                  <a:cubicBezTo>
                    <a:pt x="429" y="175"/>
                    <a:pt x="357" y="127"/>
                    <a:pt x="310" y="67"/>
                  </a:cubicBezTo>
                  <a:cubicBezTo>
                    <a:pt x="279" y="22"/>
                    <a:pt x="229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1" name="Google Shape;11981;p61"/>
            <p:cNvSpPr/>
            <p:nvPr/>
          </p:nvSpPr>
          <p:spPr>
            <a:xfrm>
              <a:off x="8141592" y="2047517"/>
              <a:ext cx="27562" cy="10581"/>
            </a:xfrm>
            <a:custGeom>
              <a:avLst/>
              <a:gdLst/>
              <a:ahLst/>
              <a:cxnLst/>
              <a:rect l="l" t="t" r="r" b="b"/>
              <a:pathLst>
                <a:path w="870" h="334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cubicBezTo>
                    <a:pt x="0" y="262"/>
                    <a:pt x="71" y="334"/>
                    <a:pt x="167" y="334"/>
                  </a:cubicBezTo>
                  <a:lnTo>
                    <a:pt x="703" y="334"/>
                  </a:lnTo>
                  <a:cubicBezTo>
                    <a:pt x="786" y="334"/>
                    <a:pt x="869" y="262"/>
                    <a:pt x="869" y="167"/>
                  </a:cubicBezTo>
                  <a:cubicBezTo>
                    <a:pt x="869" y="84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2" name="Google Shape;11982;p61"/>
            <p:cNvSpPr/>
            <p:nvPr/>
          </p:nvSpPr>
          <p:spPr>
            <a:xfrm>
              <a:off x="8203431" y="2047517"/>
              <a:ext cx="27181" cy="10581"/>
            </a:xfrm>
            <a:custGeom>
              <a:avLst/>
              <a:gdLst/>
              <a:ahLst/>
              <a:cxnLst/>
              <a:rect l="l" t="t" r="r" b="b"/>
              <a:pathLst>
                <a:path w="85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7" y="334"/>
                  </a:cubicBezTo>
                  <a:lnTo>
                    <a:pt x="703" y="334"/>
                  </a:lnTo>
                  <a:cubicBezTo>
                    <a:pt x="786" y="334"/>
                    <a:pt x="858" y="262"/>
                    <a:pt x="858" y="167"/>
                  </a:cubicBezTo>
                  <a:cubicBezTo>
                    <a:pt x="858" y="84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3" name="Google Shape;11983;p61"/>
            <p:cNvSpPr/>
            <p:nvPr/>
          </p:nvSpPr>
          <p:spPr>
            <a:xfrm>
              <a:off x="8047661" y="1969046"/>
              <a:ext cx="279132" cy="356875"/>
            </a:xfrm>
            <a:custGeom>
              <a:avLst/>
              <a:gdLst/>
              <a:ahLst/>
              <a:cxnLst/>
              <a:rect l="l" t="t" r="r" b="b"/>
              <a:pathLst>
                <a:path w="8811" h="11265" extrusionOk="0">
                  <a:moveTo>
                    <a:pt x="4382" y="334"/>
                  </a:moveTo>
                  <a:cubicBezTo>
                    <a:pt x="5751" y="334"/>
                    <a:pt x="6870" y="1453"/>
                    <a:pt x="6870" y="2823"/>
                  </a:cubicBezTo>
                  <a:lnTo>
                    <a:pt x="6870" y="3192"/>
                  </a:lnTo>
                  <a:lnTo>
                    <a:pt x="6132" y="3192"/>
                  </a:lnTo>
                  <a:lnTo>
                    <a:pt x="6132" y="3180"/>
                  </a:lnTo>
                  <a:cubicBezTo>
                    <a:pt x="6132" y="3085"/>
                    <a:pt x="6061" y="3013"/>
                    <a:pt x="5977" y="3013"/>
                  </a:cubicBezTo>
                  <a:lnTo>
                    <a:pt x="4739" y="3013"/>
                  </a:lnTo>
                  <a:cubicBezTo>
                    <a:pt x="4644" y="3013"/>
                    <a:pt x="4572" y="3085"/>
                    <a:pt x="4572" y="3180"/>
                  </a:cubicBezTo>
                  <a:lnTo>
                    <a:pt x="4572" y="3228"/>
                  </a:lnTo>
                  <a:cubicBezTo>
                    <a:pt x="4513" y="3192"/>
                    <a:pt x="4453" y="3192"/>
                    <a:pt x="4382" y="3192"/>
                  </a:cubicBezTo>
                  <a:cubicBezTo>
                    <a:pt x="4310" y="3192"/>
                    <a:pt x="4251" y="3216"/>
                    <a:pt x="4191" y="3228"/>
                  </a:cubicBezTo>
                  <a:lnTo>
                    <a:pt x="4191" y="3180"/>
                  </a:lnTo>
                  <a:cubicBezTo>
                    <a:pt x="4191" y="3085"/>
                    <a:pt x="4108" y="3013"/>
                    <a:pt x="4025" y="3013"/>
                  </a:cubicBezTo>
                  <a:lnTo>
                    <a:pt x="2786" y="3013"/>
                  </a:lnTo>
                  <a:cubicBezTo>
                    <a:pt x="2703" y="3013"/>
                    <a:pt x="2620" y="3085"/>
                    <a:pt x="2620" y="3180"/>
                  </a:cubicBezTo>
                  <a:lnTo>
                    <a:pt x="2620" y="3192"/>
                  </a:lnTo>
                  <a:lnTo>
                    <a:pt x="1893" y="3192"/>
                  </a:lnTo>
                  <a:lnTo>
                    <a:pt x="1893" y="2823"/>
                  </a:lnTo>
                  <a:cubicBezTo>
                    <a:pt x="1893" y="1453"/>
                    <a:pt x="3013" y="334"/>
                    <a:pt x="4382" y="334"/>
                  </a:cubicBezTo>
                  <a:close/>
                  <a:moveTo>
                    <a:pt x="3846" y="3323"/>
                  </a:moveTo>
                  <a:lnTo>
                    <a:pt x="3846" y="3704"/>
                  </a:lnTo>
                  <a:cubicBezTo>
                    <a:pt x="3846" y="3799"/>
                    <a:pt x="3751" y="3894"/>
                    <a:pt x="3656" y="3894"/>
                  </a:cubicBezTo>
                  <a:lnTo>
                    <a:pt x="3120" y="3894"/>
                  </a:lnTo>
                  <a:cubicBezTo>
                    <a:pt x="3013" y="3894"/>
                    <a:pt x="2917" y="3799"/>
                    <a:pt x="2917" y="3704"/>
                  </a:cubicBezTo>
                  <a:lnTo>
                    <a:pt x="2917" y="3323"/>
                  </a:lnTo>
                  <a:lnTo>
                    <a:pt x="3203" y="3323"/>
                  </a:lnTo>
                  <a:lnTo>
                    <a:pt x="3203" y="3525"/>
                  </a:lnTo>
                  <a:cubicBezTo>
                    <a:pt x="3239" y="3609"/>
                    <a:pt x="3310" y="3692"/>
                    <a:pt x="3394" y="3692"/>
                  </a:cubicBezTo>
                  <a:cubicBezTo>
                    <a:pt x="3489" y="3692"/>
                    <a:pt x="3560" y="3609"/>
                    <a:pt x="3560" y="3525"/>
                  </a:cubicBezTo>
                  <a:lnTo>
                    <a:pt x="3560" y="3323"/>
                  </a:lnTo>
                  <a:close/>
                  <a:moveTo>
                    <a:pt x="5799" y="3323"/>
                  </a:moveTo>
                  <a:lnTo>
                    <a:pt x="5799" y="3704"/>
                  </a:lnTo>
                  <a:cubicBezTo>
                    <a:pt x="5799" y="3799"/>
                    <a:pt x="5703" y="3894"/>
                    <a:pt x="5596" y="3894"/>
                  </a:cubicBezTo>
                  <a:lnTo>
                    <a:pt x="5061" y="3894"/>
                  </a:lnTo>
                  <a:cubicBezTo>
                    <a:pt x="4965" y="3894"/>
                    <a:pt x="4870" y="3799"/>
                    <a:pt x="4870" y="3704"/>
                  </a:cubicBezTo>
                  <a:lnTo>
                    <a:pt x="4870" y="3323"/>
                  </a:lnTo>
                  <a:lnTo>
                    <a:pt x="5156" y="3323"/>
                  </a:lnTo>
                  <a:lnTo>
                    <a:pt x="5156" y="3525"/>
                  </a:lnTo>
                  <a:cubicBezTo>
                    <a:pt x="5180" y="3609"/>
                    <a:pt x="5263" y="3692"/>
                    <a:pt x="5346" y="3692"/>
                  </a:cubicBezTo>
                  <a:cubicBezTo>
                    <a:pt x="5442" y="3692"/>
                    <a:pt x="5513" y="3609"/>
                    <a:pt x="5513" y="3525"/>
                  </a:cubicBezTo>
                  <a:lnTo>
                    <a:pt x="5513" y="3323"/>
                  </a:lnTo>
                  <a:close/>
                  <a:moveTo>
                    <a:pt x="6954" y="3525"/>
                  </a:moveTo>
                  <a:cubicBezTo>
                    <a:pt x="7025" y="3525"/>
                    <a:pt x="7097" y="3549"/>
                    <a:pt x="7168" y="3609"/>
                  </a:cubicBezTo>
                  <a:cubicBezTo>
                    <a:pt x="7227" y="3668"/>
                    <a:pt x="7239" y="3751"/>
                    <a:pt x="7239" y="3823"/>
                  </a:cubicBezTo>
                  <a:cubicBezTo>
                    <a:pt x="7227" y="3954"/>
                    <a:pt x="7085" y="4073"/>
                    <a:pt x="6942" y="4073"/>
                  </a:cubicBezTo>
                  <a:lnTo>
                    <a:pt x="6870" y="4073"/>
                  </a:lnTo>
                  <a:lnTo>
                    <a:pt x="6870" y="4061"/>
                  </a:lnTo>
                  <a:cubicBezTo>
                    <a:pt x="6870" y="3966"/>
                    <a:pt x="6787" y="3894"/>
                    <a:pt x="6704" y="3894"/>
                  </a:cubicBezTo>
                  <a:cubicBezTo>
                    <a:pt x="6608" y="3894"/>
                    <a:pt x="6537" y="3966"/>
                    <a:pt x="6537" y="4061"/>
                  </a:cubicBezTo>
                  <a:cubicBezTo>
                    <a:pt x="6537" y="4775"/>
                    <a:pt x="6180" y="5442"/>
                    <a:pt x="5584" y="5835"/>
                  </a:cubicBezTo>
                  <a:lnTo>
                    <a:pt x="5584" y="5799"/>
                  </a:lnTo>
                  <a:lnTo>
                    <a:pt x="5501" y="5037"/>
                  </a:lnTo>
                  <a:cubicBezTo>
                    <a:pt x="5453" y="4680"/>
                    <a:pt x="5156" y="4418"/>
                    <a:pt x="4811" y="4418"/>
                  </a:cubicBezTo>
                  <a:lnTo>
                    <a:pt x="3989" y="4418"/>
                  </a:lnTo>
                  <a:cubicBezTo>
                    <a:pt x="3632" y="4418"/>
                    <a:pt x="3334" y="4680"/>
                    <a:pt x="3310" y="5037"/>
                  </a:cubicBezTo>
                  <a:lnTo>
                    <a:pt x="3215" y="5799"/>
                  </a:lnTo>
                  <a:lnTo>
                    <a:pt x="3215" y="5835"/>
                  </a:lnTo>
                  <a:cubicBezTo>
                    <a:pt x="2953" y="5668"/>
                    <a:pt x="2739" y="5454"/>
                    <a:pt x="2584" y="5204"/>
                  </a:cubicBezTo>
                  <a:cubicBezTo>
                    <a:pt x="2358" y="4859"/>
                    <a:pt x="2239" y="4466"/>
                    <a:pt x="2239" y="4061"/>
                  </a:cubicBezTo>
                  <a:cubicBezTo>
                    <a:pt x="2239" y="3966"/>
                    <a:pt x="2167" y="3894"/>
                    <a:pt x="2072" y="3894"/>
                  </a:cubicBezTo>
                  <a:cubicBezTo>
                    <a:pt x="1989" y="3894"/>
                    <a:pt x="1905" y="3966"/>
                    <a:pt x="1905" y="4061"/>
                  </a:cubicBezTo>
                  <a:lnTo>
                    <a:pt x="1905" y="4073"/>
                  </a:lnTo>
                  <a:lnTo>
                    <a:pt x="1810" y="4073"/>
                  </a:lnTo>
                  <a:cubicBezTo>
                    <a:pt x="1727" y="4073"/>
                    <a:pt x="1655" y="4049"/>
                    <a:pt x="1596" y="3990"/>
                  </a:cubicBezTo>
                  <a:cubicBezTo>
                    <a:pt x="1536" y="3930"/>
                    <a:pt x="1524" y="3847"/>
                    <a:pt x="1524" y="3775"/>
                  </a:cubicBezTo>
                  <a:cubicBezTo>
                    <a:pt x="1536" y="3644"/>
                    <a:pt x="1667" y="3525"/>
                    <a:pt x="1822" y="3525"/>
                  </a:cubicBezTo>
                  <a:lnTo>
                    <a:pt x="2608" y="3525"/>
                  </a:lnTo>
                  <a:lnTo>
                    <a:pt x="2608" y="3716"/>
                  </a:lnTo>
                  <a:cubicBezTo>
                    <a:pt x="2608" y="4001"/>
                    <a:pt x="2846" y="4240"/>
                    <a:pt x="3132" y="4240"/>
                  </a:cubicBezTo>
                  <a:lnTo>
                    <a:pt x="3668" y="4240"/>
                  </a:lnTo>
                  <a:cubicBezTo>
                    <a:pt x="3953" y="4240"/>
                    <a:pt x="4191" y="4001"/>
                    <a:pt x="4191" y="3716"/>
                  </a:cubicBezTo>
                  <a:cubicBezTo>
                    <a:pt x="4191" y="3609"/>
                    <a:pt x="4275" y="3525"/>
                    <a:pt x="4382" y="3525"/>
                  </a:cubicBezTo>
                  <a:cubicBezTo>
                    <a:pt x="4489" y="3525"/>
                    <a:pt x="4572" y="3609"/>
                    <a:pt x="4572" y="3716"/>
                  </a:cubicBezTo>
                  <a:cubicBezTo>
                    <a:pt x="4572" y="4001"/>
                    <a:pt x="4811" y="4240"/>
                    <a:pt x="5096" y="4240"/>
                  </a:cubicBezTo>
                  <a:lnTo>
                    <a:pt x="5632" y="4240"/>
                  </a:lnTo>
                  <a:cubicBezTo>
                    <a:pt x="5906" y="4240"/>
                    <a:pt x="6144" y="4001"/>
                    <a:pt x="6144" y="3716"/>
                  </a:cubicBezTo>
                  <a:lnTo>
                    <a:pt x="6144" y="3525"/>
                  </a:lnTo>
                  <a:close/>
                  <a:moveTo>
                    <a:pt x="4799" y="4740"/>
                  </a:moveTo>
                  <a:cubicBezTo>
                    <a:pt x="4989" y="4740"/>
                    <a:pt x="5144" y="4882"/>
                    <a:pt x="5156" y="5073"/>
                  </a:cubicBezTo>
                  <a:lnTo>
                    <a:pt x="5239" y="5835"/>
                  </a:lnTo>
                  <a:cubicBezTo>
                    <a:pt x="5239" y="5978"/>
                    <a:pt x="5168" y="6133"/>
                    <a:pt x="5037" y="6204"/>
                  </a:cubicBezTo>
                  <a:lnTo>
                    <a:pt x="4549" y="6454"/>
                  </a:lnTo>
                  <a:cubicBezTo>
                    <a:pt x="4495" y="6478"/>
                    <a:pt x="4438" y="6490"/>
                    <a:pt x="4382" y="6490"/>
                  </a:cubicBezTo>
                  <a:cubicBezTo>
                    <a:pt x="4325" y="6490"/>
                    <a:pt x="4269" y="6478"/>
                    <a:pt x="4215" y="6454"/>
                  </a:cubicBezTo>
                  <a:lnTo>
                    <a:pt x="3727" y="6204"/>
                  </a:lnTo>
                  <a:cubicBezTo>
                    <a:pt x="3596" y="6133"/>
                    <a:pt x="3501" y="5990"/>
                    <a:pt x="3537" y="5835"/>
                  </a:cubicBezTo>
                  <a:lnTo>
                    <a:pt x="3620" y="5073"/>
                  </a:lnTo>
                  <a:cubicBezTo>
                    <a:pt x="3632" y="4894"/>
                    <a:pt x="3798" y="4740"/>
                    <a:pt x="3977" y="4740"/>
                  </a:cubicBezTo>
                  <a:close/>
                  <a:moveTo>
                    <a:pt x="2965" y="6633"/>
                  </a:moveTo>
                  <a:lnTo>
                    <a:pt x="2965" y="6966"/>
                  </a:lnTo>
                  <a:cubicBezTo>
                    <a:pt x="2965" y="7109"/>
                    <a:pt x="2882" y="7240"/>
                    <a:pt x="2727" y="7299"/>
                  </a:cubicBezTo>
                  <a:lnTo>
                    <a:pt x="2346" y="7049"/>
                  </a:lnTo>
                  <a:cubicBezTo>
                    <a:pt x="2239" y="6978"/>
                    <a:pt x="2227" y="6871"/>
                    <a:pt x="2251" y="6799"/>
                  </a:cubicBezTo>
                  <a:cubicBezTo>
                    <a:pt x="2286" y="6728"/>
                    <a:pt x="2346" y="6633"/>
                    <a:pt x="2465" y="6633"/>
                  </a:cubicBezTo>
                  <a:close/>
                  <a:moveTo>
                    <a:pt x="6275" y="6633"/>
                  </a:moveTo>
                  <a:cubicBezTo>
                    <a:pt x="6382" y="6633"/>
                    <a:pt x="6465" y="6728"/>
                    <a:pt x="6477" y="6799"/>
                  </a:cubicBezTo>
                  <a:cubicBezTo>
                    <a:pt x="6513" y="6871"/>
                    <a:pt x="6489" y="6978"/>
                    <a:pt x="6394" y="7049"/>
                  </a:cubicBezTo>
                  <a:lnTo>
                    <a:pt x="6001" y="7299"/>
                  </a:lnTo>
                  <a:cubicBezTo>
                    <a:pt x="5870" y="7240"/>
                    <a:pt x="5763" y="7109"/>
                    <a:pt x="5763" y="6966"/>
                  </a:cubicBezTo>
                  <a:lnTo>
                    <a:pt x="5763" y="6633"/>
                  </a:lnTo>
                  <a:close/>
                  <a:moveTo>
                    <a:pt x="2953" y="6109"/>
                  </a:moveTo>
                  <a:lnTo>
                    <a:pt x="2953" y="6311"/>
                  </a:lnTo>
                  <a:lnTo>
                    <a:pt x="2465" y="6311"/>
                  </a:lnTo>
                  <a:cubicBezTo>
                    <a:pt x="2203" y="6311"/>
                    <a:pt x="2001" y="6454"/>
                    <a:pt x="1929" y="6692"/>
                  </a:cubicBezTo>
                  <a:cubicBezTo>
                    <a:pt x="1846" y="6930"/>
                    <a:pt x="1941" y="7168"/>
                    <a:pt x="2144" y="7323"/>
                  </a:cubicBezTo>
                  <a:lnTo>
                    <a:pt x="4191" y="8669"/>
                  </a:lnTo>
                  <a:lnTo>
                    <a:pt x="4191" y="8954"/>
                  </a:lnTo>
                  <a:lnTo>
                    <a:pt x="3489" y="8954"/>
                  </a:lnTo>
                  <a:cubicBezTo>
                    <a:pt x="3370" y="8954"/>
                    <a:pt x="3239" y="8943"/>
                    <a:pt x="3120" y="8931"/>
                  </a:cubicBezTo>
                  <a:lnTo>
                    <a:pt x="3120" y="8776"/>
                  </a:lnTo>
                  <a:cubicBezTo>
                    <a:pt x="3120" y="8692"/>
                    <a:pt x="3036" y="8609"/>
                    <a:pt x="2953" y="8609"/>
                  </a:cubicBezTo>
                  <a:cubicBezTo>
                    <a:pt x="2858" y="8609"/>
                    <a:pt x="2786" y="8692"/>
                    <a:pt x="2786" y="8776"/>
                  </a:cubicBezTo>
                  <a:lnTo>
                    <a:pt x="2786" y="8835"/>
                  </a:lnTo>
                  <a:cubicBezTo>
                    <a:pt x="2060" y="8550"/>
                    <a:pt x="1524" y="7835"/>
                    <a:pt x="1524" y="7002"/>
                  </a:cubicBezTo>
                  <a:cubicBezTo>
                    <a:pt x="1524" y="6514"/>
                    <a:pt x="1929" y="6109"/>
                    <a:pt x="2417" y="6109"/>
                  </a:cubicBezTo>
                  <a:close/>
                  <a:moveTo>
                    <a:pt x="6323" y="6133"/>
                  </a:moveTo>
                  <a:cubicBezTo>
                    <a:pt x="6823" y="6133"/>
                    <a:pt x="7216" y="6526"/>
                    <a:pt x="7216" y="7026"/>
                  </a:cubicBezTo>
                  <a:cubicBezTo>
                    <a:pt x="7227" y="7835"/>
                    <a:pt x="6692" y="8550"/>
                    <a:pt x="5954" y="8835"/>
                  </a:cubicBezTo>
                  <a:lnTo>
                    <a:pt x="5954" y="8776"/>
                  </a:lnTo>
                  <a:cubicBezTo>
                    <a:pt x="5954" y="8692"/>
                    <a:pt x="5882" y="8609"/>
                    <a:pt x="5799" y="8609"/>
                  </a:cubicBezTo>
                  <a:cubicBezTo>
                    <a:pt x="5703" y="8609"/>
                    <a:pt x="5632" y="8692"/>
                    <a:pt x="5632" y="8776"/>
                  </a:cubicBezTo>
                  <a:lnTo>
                    <a:pt x="5632" y="8931"/>
                  </a:lnTo>
                  <a:cubicBezTo>
                    <a:pt x="5513" y="8954"/>
                    <a:pt x="5394" y="8954"/>
                    <a:pt x="5263" y="8954"/>
                  </a:cubicBezTo>
                  <a:lnTo>
                    <a:pt x="4549" y="8954"/>
                  </a:lnTo>
                  <a:lnTo>
                    <a:pt x="4549" y="8669"/>
                  </a:lnTo>
                  <a:lnTo>
                    <a:pt x="5180" y="8252"/>
                  </a:lnTo>
                  <a:cubicBezTo>
                    <a:pt x="5263" y="8216"/>
                    <a:pt x="5275" y="8109"/>
                    <a:pt x="5227" y="8038"/>
                  </a:cubicBezTo>
                  <a:cubicBezTo>
                    <a:pt x="5198" y="7986"/>
                    <a:pt x="5151" y="7962"/>
                    <a:pt x="5099" y="7962"/>
                  </a:cubicBezTo>
                  <a:cubicBezTo>
                    <a:pt x="5067" y="7962"/>
                    <a:pt x="5033" y="7972"/>
                    <a:pt x="5001" y="7990"/>
                  </a:cubicBezTo>
                  <a:lnTo>
                    <a:pt x="4394" y="8407"/>
                  </a:lnTo>
                  <a:lnTo>
                    <a:pt x="3060" y="7514"/>
                  </a:lnTo>
                  <a:cubicBezTo>
                    <a:pt x="3215" y="7383"/>
                    <a:pt x="3322" y="7180"/>
                    <a:pt x="3322" y="6966"/>
                  </a:cubicBezTo>
                  <a:lnTo>
                    <a:pt x="3322" y="6276"/>
                  </a:lnTo>
                  <a:cubicBezTo>
                    <a:pt x="3322" y="6276"/>
                    <a:pt x="3334" y="6276"/>
                    <a:pt x="3358" y="6287"/>
                  </a:cubicBezTo>
                  <a:cubicBezTo>
                    <a:pt x="3417" y="6383"/>
                    <a:pt x="3501" y="6442"/>
                    <a:pt x="3596" y="6502"/>
                  </a:cubicBezTo>
                  <a:lnTo>
                    <a:pt x="4084" y="6752"/>
                  </a:lnTo>
                  <a:cubicBezTo>
                    <a:pt x="4191" y="6799"/>
                    <a:pt x="4287" y="6823"/>
                    <a:pt x="4394" y="6823"/>
                  </a:cubicBezTo>
                  <a:cubicBezTo>
                    <a:pt x="4501" y="6823"/>
                    <a:pt x="4608" y="6799"/>
                    <a:pt x="4703" y="6752"/>
                  </a:cubicBezTo>
                  <a:lnTo>
                    <a:pt x="5192" y="6502"/>
                  </a:lnTo>
                  <a:cubicBezTo>
                    <a:pt x="5299" y="6454"/>
                    <a:pt x="5382" y="6383"/>
                    <a:pt x="5430" y="6287"/>
                  </a:cubicBezTo>
                  <a:cubicBezTo>
                    <a:pt x="5453" y="6287"/>
                    <a:pt x="5453" y="6287"/>
                    <a:pt x="5465" y="6276"/>
                  </a:cubicBezTo>
                  <a:lnTo>
                    <a:pt x="5465" y="6966"/>
                  </a:lnTo>
                  <a:cubicBezTo>
                    <a:pt x="5465" y="7168"/>
                    <a:pt x="5573" y="7383"/>
                    <a:pt x="5727" y="7514"/>
                  </a:cubicBezTo>
                  <a:lnTo>
                    <a:pt x="5632" y="7585"/>
                  </a:lnTo>
                  <a:cubicBezTo>
                    <a:pt x="5549" y="7633"/>
                    <a:pt x="5537" y="7740"/>
                    <a:pt x="5584" y="7811"/>
                  </a:cubicBezTo>
                  <a:cubicBezTo>
                    <a:pt x="5608" y="7859"/>
                    <a:pt x="5668" y="7883"/>
                    <a:pt x="5715" y="7883"/>
                  </a:cubicBezTo>
                  <a:cubicBezTo>
                    <a:pt x="5751" y="7883"/>
                    <a:pt x="5775" y="7871"/>
                    <a:pt x="5811" y="7859"/>
                  </a:cubicBezTo>
                  <a:lnTo>
                    <a:pt x="6596" y="7335"/>
                  </a:lnTo>
                  <a:cubicBezTo>
                    <a:pt x="6799" y="7204"/>
                    <a:pt x="6894" y="6942"/>
                    <a:pt x="6823" y="6704"/>
                  </a:cubicBezTo>
                  <a:cubicBezTo>
                    <a:pt x="6739" y="6466"/>
                    <a:pt x="6537" y="6323"/>
                    <a:pt x="6287" y="6323"/>
                  </a:cubicBezTo>
                  <a:lnTo>
                    <a:pt x="5787" y="6323"/>
                  </a:lnTo>
                  <a:lnTo>
                    <a:pt x="5787" y="6133"/>
                  </a:lnTo>
                  <a:close/>
                  <a:moveTo>
                    <a:pt x="4406" y="1"/>
                  </a:moveTo>
                  <a:cubicBezTo>
                    <a:pt x="2858" y="1"/>
                    <a:pt x="1596" y="1263"/>
                    <a:pt x="1596" y="2811"/>
                  </a:cubicBezTo>
                  <a:lnTo>
                    <a:pt x="1596" y="3239"/>
                  </a:lnTo>
                  <a:cubicBezTo>
                    <a:pt x="1405" y="3335"/>
                    <a:pt x="1262" y="3513"/>
                    <a:pt x="1239" y="3716"/>
                  </a:cubicBezTo>
                  <a:cubicBezTo>
                    <a:pt x="1227" y="3894"/>
                    <a:pt x="1286" y="4061"/>
                    <a:pt x="1382" y="4192"/>
                  </a:cubicBezTo>
                  <a:cubicBezTo>
                    <a:pt x="1501" y="4323"/>
                    <a:pt x="1667" y="4382"/>
                    <a:pt x="1834" y="4382"/>
                  </a:cubicBezTo>
                  <a:lnTo>
                    <a:pt x="1953" y="4382"/>
                  </a:lnTo>
                  <a:cubicBezTo>
                    <a:pt x="2001" y="4740"/>
                    <a:pt x="2132" y="5073"/>
                    <a:pt x="2322" y="5371"/>
                  </a:cubicBezTo>
                  <a:cubicBezTo>
                    <a:pt x="2417" y="5502"/>
                    <a:pt x="2513" y="5633"/>
                    <a:pt x="2632" y="5752"/>
                  </a:cubicBezTo>
                  <a:lnTo>
                    <a:pt x="2453" y="5752"/>
                  </a:lnTo>
                  <a:cubicBezTo>
                    <a:pt x="1786" y="5752"/>
                    <a:pt x="1239" y="6311"/>
                    <a:pt x="1239" y="6978"/>
                  </a:cubicBezTo>
                  <a:cubicBezTo>
                    <a:pt x="1239" y="7228"/>
                    <a:pt x="1286" y="7466"/>
                    <a:pt x="1358" y="7692"/>
                  </a:cubicBezTo>
                  <a:lnTo>
                    <a:pt x="881" y="7823"/>
                  </a:lnTo>
                  <a:cubicBezTo>
                    <a:pt x="358" y="7978"/>
                    <a:pt x="0" y="8466"/>
                    <a:pt x="0" y="9002"/>
                  </a:cubicBezTo>
                  <a:lnTo>
                    <a:pt x="0" y="11098"/>
                  </a:lnTo>
                  <a:cubicBezTo>
                    <a:pt x="0" y="11193"/>
                    <a:pt x="72" y="11264"/>
                    <a:pt x="167" y="11264"/>
                  </a:cubicBezTo>
                  <a:cubicBezTo>
                    <a:pt x="250" y="11264"/>
                    <a:pt x="334" y="11193"/>
                    <a:pt x="334" y="11098"/>
                  </a:cubicBezTo>
                  <a:lnTo>
                    <a:pt x="334" y="9002"/>
                  </a:lnTo>
                  <a:cubicBezTo>
                    <a:pt x="334" y="8597"/>
                    <a:pt x="596" y="8252"/>
                    <a:pt x="965" y="8133"/>
                  </a:cubicBezTo>
                  <a:lnTo>
                    <a:pt x="1477" y="7990"/>
                  </a:lnTo>
                  <a:cubicBezTo>
                    <a:pt x="1739" y="8538"/>
                    <a:pt x="2239" y="8954"/>
                    <a:pt x="2834" y="9145"/>
                  </a:cubicBezTo>
                  <a:lnTo>
                    <a:pt x="2834" y="11098"/>
                  </a:lnTo>
                  <a:cubicBezTo>
                    <a:pt x="2834" y="11193"/>
                    <a:pt x="2906" y="11264"/>
                    <a:pt x="2989" y="11264"/>
                  </a:cubicBezTo>
                  <a:cubicBezTo>
                    <a:pt x="3084" y="11264"/>
                    <a:pt x="3156" y="11193"/>
                    <a:pt x="3156" y="11098"/>
                  </a:cubicBezTo>
                  <a:lnTo>
                    <a:pt x="3156" y="9228"/>
                  </a:lnTo>
                  <a:cubicBezTo>
                    <a:pt x="3275" y="9240"/>
                    <a:pt x="3394" y="9252"/>
                    <a:pt x="3525" y="9252"/>
                  </a:cubicBezTo>
                  <a:lnTo>
                    <a:pt x="4239" y="9252"/>
                  </a:lnTo>
                  <a:lnTo>
                    <a:pt x="4239" y="11098"/>
                  </a:lnTo>
                  <a:cubicBezTo>
                    <a:pt x="4239" y="11193"/>
                    <a:pt x="4322" y="11264"/>
                    <a:pt x="4406" y="11264"/>
                  </a:cubicBezTo>
                  <a:cubicBezTo>
                    <a:pt x="4501" y="11264"/>
                    <a:pt x="4572" y="11193"/>
                    <a:pt x="4572" y="11098"/>
                  </a:cubicBezTo>
                  <a:lnTo>
                    <a:pt x="4572" y="9252"/>
                  </a:lnTo>
                  <a:lnTo>
                    <a:pt x="5287" y="9252"/>
                  </a:lnTo>
                  <a:cubicBezTo>
                    <a:pt x="5406" y="9252"/>
                    <a:pt x="5537" y="9240"/>
                    <a:pt x="5656" y="9228"/>
                  </a:cubicBezTo>
                  <a:lnTo>
                    <a:pt x="5656" y="11098"/>
                  </a:lnTo>
                  <a:cubicBezTo>
                    <a:pt x="5656" y="11193"/>
                    <a:pt x="5727" y="11264"/>
                    <a:pt x="5823" y="11264"/>
                  </a:cubicBezTo>
                  <a:cubicBezTo>
                    <a:pt x="5906" y="11264"/>
                    <a:pt x="5989" y="11193"/>
                    <a:pt x="5989" y="11098"/>
                  </a:cubicBezTo>
                  <a:lnTo>
                    <a:pt x="5989" y="9145"/>
                  </a:lnTo>
                  <a:cubicBezTo>
                    <a:pt x="6585" y="8954"/>
                    <a:pt x="7061" y="8538"/>
                    <a:pt x="7335" y="7990"/>
                  </a:cubicBezTo>
                  <a:lnTo>
                    <a:pt x="7847" y="8133"/>
                  </a:lnTo>
                  <a:cubicBezTo>
                    <a:pt x="8216" y="8240"/>
                    <a:pt x="8490" y="8597"/>
                    <a:pt x="8490" y="9002"/>
                  </a:cubicBezTo>
                  <a:lnTo>
                    <a:pt x="8490" y="11098"/>
                  </a:lnTo>
                  <a:cubicBezTo>
                    <a:pt x="8490" y="11193"/>
                    <a:pt x="8561" y="11264"/>
                    <a:pt x="8644" y="11264"/>
                  </a:cubicBezTo>
                  <a:cubicBezTo>
                    <a:pt x="8740" y="11264"/>
                    <a:pt x="8811" y="11193"/>
                    <a:pt x="8811" y="11098"/>
                  </a:cubicBezTo>
                  <a:lnTo>
                    <a:pt x="8811" y="9002"/>
                  </a:lnTo>
                  <a:cubicBezTo>
                    <a:pt x="8787" y="8490"/>
                    <a:pt x="8430" y="8014"/>
                    <a:pt x="7906" y="7859"/>
                  </a:cubicBezTo>
                  <a:lnTo>
                    <a:pt x="7430" y="7716"/>
                  </a:lnTo>
                  <a:cubicBezTo>
                    <a:pt x="7501" y="7502"/>
                    <a:pt x="7549" y="7264"/>
                    <a:pt x="7549" y="7002"/>
                  </a:cubicBezTo>
                  <a:cubicBezTo>
                    <a:pt x="7549" y="6335"/>
                    <a:pt x="7001" y="5787"/>
                    <a:pt x="6335" y="5787"/>
                  </a:cubicBezTo>
                  <a:lnTo>
                    <a:pt x="6156" y="5787"/>
                  </a:lnTo>
                  <a:cubicBezTo>
                    <a:pt x="6513" y="5418"/>
                    <a:pt x="6763" y="4942"/>
                    <a:pt x="6835" y="4406"/>
                  </a:cubicBezTo>
                  <a:lnTo>
                    <a:pt x="6942" y="4406"/>
                  </a:lnTo>
                  <a:cubicBezTo>
                    <a:pt x="7263" y="4406"/>
                    <a:pt x="7537" y="4168"/>
                    <a:pt x="7561" y="3847"/>
                  </a:cubicBezTo>
                  <a:cubicBezTo>
                    <a:pt x="7573" y="3668"/>
                    <a:pt x="7525" y="3513"/>
                    <a:pt x="7418" y="3370"/>
                  </a:cubicBezTo>
                  <a:cubicBezTo>
                    <a:pt x="7358" y="3311"/>
                    <a:pt x="7299" y="3275"/>
                    <a:pt x="7227" y="3228"/>
                  </a:cubicBezTo>
                  <a:lnTo>
                    <a:pt x="7227" y="2811"/>
                  </a:lnTo>
                  <a:cubicBezTo>
                    <a:pt x="7227" y="1263"/>
                    <a:pt x="5954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84" name="Google Shape;11984;p61"/>
          <p:cNvGrpSpPr/>
          <p:nvPr/>
        </p:nvGrpSpPr>
        <p:grpSpPr>
          <a:xfrm>
            <a:off x="7596157" y="1968159"/>
            <a:ext cx="279544" cy="358142"/>
            <a:chOff x="7596157" y="1968159"/>
            <a:chExt cx="279544" cy="358142"/>
          </a:xfrm>
        </p:grpSpPr>
        <p:sp>
          <p:nvSpPr>
            <p:cNvPr id="11985" name="Google Shape;11985;p61"/>
            <p:cNvSpPr/>
            <p:nvPr/>
          </p:nvSpPr>
          <p:spPr>
            <a:xfrm>
              <a:off x="7696868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6" name="Google Shape;11986;p61"/>
            <p:cNvSpPr/>
            <p:nvPr/>
          </p:nvSpPr>
          <p:spPr>
            <a:xfrm>
              <a:off x="7764378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7" name="Google Shape;11987;p61"/>
            <p:cNvSpPr/>
            <p:nvPr/>
          </p:nvSpPr>
          <p:spPr>
            <a:xfrm>
              <a:off x="7713088" y="2143032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4" y="1"/>
                  </a:moveTo>
                  <a:cubicBezTo>
                    <a:pt x="140" y="1"/>
                    <a:pt x="96" y="16"/>
                    <a:pt x="60" y="45"/>
                  </a:cubicBezTo>
                  <a:cubicBezTo>
                    <a:pt x="1" y="105"/>
                    <a:pt x="1" y="200"/>
                    <a:pt x="60" y="283"/>
                  </a:cubicBezTo>
                  <a:cubicBezTo>
                    <a:pt x="203" y="414"/>
                    <a:pt x="441" y="498"/>
                    <a:pt x="703" y="498"/>
                  </a:cubicBezTo>
                  <a:cubicBezTo>
                    <a:pt x="953" y="498"/>
                    <a:pt x="1203" y="414"/>
                    <a:pt x="1334" y="283"/>
                  </a:cubicBezTo>
                  <a:cubicBezTo>
                    <a:pt x="1429" y="200"/>
                    <a:pt x="1429" y="105"/>
                    <a:pt x="1370" y="45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8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8" name="Google Shape;11988;p61"/>
            <p:cNvSpPr/>
            <p:nvPr/>
          </p:nvSpPr>
          <p:spPr>
            <a:xfrm>
              <a:off x="7691197" y="2075427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8" y="334"/>
                  </a:cubicBezTo>
                  <a:lnTo>
                    <a:pt x="525" y="334"/>
                  </a:lnTo>
                  <a:cubicBezTo>
                    <a:pt x="620" y="334"/>
                    <a:pt x="692" y="251"/>
                    <a:pt x="692" y="167"/>
                  </a:cubicBezTo>
                  <a:cubicBezTo>
                    <a:pt x="692" y="72"/>
                    <a:pt x="62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9" name="Google Shape;11989;p61"/>
            <p:cNvSpPr/>
            <p:nvPr/>
          </p:nvSpPr>
          <p:spPr>
            <a:xfrm>
              <a:off x="7758739" y="2075427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91" y="251"/>
                    <a:pt x="691" y="167"/>
                  </a:cubicBezTo>
                  <a:cubicBezTo>
                    <a:pt x="691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0" name="Google Shape;11990;p61"/>
            <p:cNvSpPr/>
            <p:nvPr/>
          </p:nvSpPr>
          <p:spPr>
            <a:xfrm>
              <a:off x="7596157" y="1968159"/>
              <a:ext cx="279544" cy="358142"/>
            </a:xfrm>
            <a:custGeom>
              <a:avLst/>
              <a:gdLst/>
              <a:ahLst/>
              <a:cxnLst/>
              <a:rect l="l" t="t" r="r" b="b"/>
              <a:pathLst>
                <a:path w="8824" h="11305" extrusionOk="0">
                  <a:moveTo>
                    <a:pt x="2287" y="481"/>
                  </a:moveTo>
                  <a:cubicBezTo>
                    <a:pt x="2394" y="565"/>
                    <a:pt x="2525" y="600"/>
                    <a:pt x="2691" y="636"/>
                  </a:cubicBezTo>
                  <a:cubicBezTo>
                    <a:pt x="3001" y="708"/>
                    <a:pt x="3322" y="708"/>
                    <a:pt x="3537" y="708"/>
                  </a:cubicBezTo>
                  <a:lnTo>
                    <a:pt x="5299" y="708"/>
                  </a:lnTo>
                  <a:cubicBezTo>
                    <a:pt x="5739" y="708"/>
                    <a:pt x="6192" y="898"/>
                    <a:pt x="6490" y="1243"/>
                  </a:cubicBezTo>
                  <a:cubicBezTo>
                    <a:pt x="6787" y="1589"/>
                    <a:pt x="6930" y="2029"/>
                    <a:pt x="6894" y="2482"/>
                  </a:cubicBezTo>
                  <a:lnTo>
                    <a:pt x="6751" y="3744"/>
                  </a:lnTo>
                  <a:lnTo>
                    <a:pt x="6728" y="3744"/>
                  </a:lnTo>
                  <a:cubicBezTo>
                    <a:pt x="6620" y="3744"/>
                    <a:pt x="6537" y="3660"/>
                    <a:pt x="6537" y="3553"/>
                  </a:cubicBezTo>
                  <a:lnTo>
                    <a:pt x="6537" y="2839"/>
                  </a:lnTo>
                  <a:cubicBezTo>
                    <a:pt x="6537" y="2446"/>
                    <a:pt x="6216" y="2136"/>
                    <a:pt x="5835" y="2136"/>
                  </a:cubicBezTo>
                  <a:lnTo>
                    <a:pt x="4954" y="2136"/>
                  </a:lnTo>
                  <a:cubicBezTo>
                    <a:pt x="3846" y="2136"/>
                    <a:pt x="3072" y="1886"/>
                    <a:pt x="2644" y="1374"/>
                  </a:cubicBezTo>
                  <a:cubicBezTo>
                    <a:pt x="2382" y="1065"/>
                    <a:pt x="2299" y="719"/>
                    <a:pt x="2287" y="481"/>
                  </a:cubicBezTo>
                  <a:close/>
                  <a:moveTo>
                    <a:pt x="2215" y="1398"/>
                  </a:moveTo>
                  <a:cubicBezTo>
                    <a:pt x="2263" y="1458"/>
                    <a:pt x="2310" y="1529"/>
                    <a:pt x="2370" y="1589"/>
                  </a:cubicBezTo>
                  <a:cubicBezTo>
                    <a:pt x="2858" y="2172"/>
                    <a:pt x="3715" y="2470"/>
                    <a:pt x="4942" y="2470"/>
                  </a:cubicBezTo>
                  <a:lnTo>
                    <a:pt x="5823" y="2470"/>
                  </a:lnTo>
                  <a:cubicBezTo>
                    <a:pt x="6025" y="2470"/>
                    <a:pt x="6192" y="2624"/>
                    <a:pt x="6192" y="2839"/>
                  </a:cubicBezTo>
                  <a:lnTo>
                    <a:pt x="6192" y="3553"/>
                  </a:lnTo>
                  <a:cubicBezTo>
                    <a:pt x="6192" y="3839"/>
                    <a:pt x="6430" y="4077"/>
                    <a:pt x="6716" y="4077"/>
                  </a:cubicBezTo>
                  <a:lnTo>
                    <a:pt x="6978" y="4077"/>
                  </a:lnTo>
                  <a:cubicBezTo>
                    <a:pt x="7049" y="4077"/>
                    <a:pt x="7132" y="4101"/>
                    <a:pt x="7192" y="4160"/>
                  </a:cubicBezTo>
                  <a:cubicBezTo>
                    <a:pt x="7252" y="4220"/>
                    <a:pt x="7263" y="4291"/>
                    <a:pt x="7263" y="4375"/>
                  </a:cubicBezTo>
                  <a:cubicBezTo>
                    <a:pt x="7252" y="4506"/>
                    <a:pt x="7109" y="4625"/>
                    <a:pt x="6966" y="4625"/>
                  </a:cubicBezTo>
                  <a:lnTo>
                    <a:pt x="6894" y="4625"/>
                  </a:lnTo>
                  <a:lnTo>
                    <a:pt x="6894" y="4613"/>
                  </a:lnTo>
                  <a:cubicBezTo>
                    <a:pt x="6894" y="4518"/>
                    <a:pt x="6811" y="4446"/>
                    <a:pt x="6728" y="4446"/>
                  </a:cubicBezTo>
                  <a:cubicBezTo>
                    <a:pt x="6632" y="4446"/>
                    <a:pt x="6561" y="4518"/>
                    <a:pt x="6561" y="4613"/>
                  </a:cubicBezTo>
                  <a:cubicBezTo>
                    <a:pt x="6561" y="4815"/>
                    <a:pt x="6537" y="5006"/>
                    <a:pt x="6478" y="5208"/>
                  </a:cubicBezTo>
                  <a:cubicBezTo>
                    <a:pt x="6359" y="4982"/>
                    <a:pt x="6120" y="4803"/>
                    <a:pt x="5835" y="4803"/>
                  </a:cubicBezTo>
                  <a:lnTo>
                    <a:pt x="3001" y="4803"/>
                  </a:lnTo>
                  <a:cubicBezTo>
                    <a:pt x="2727" y="4803"/>
                    <a:pt x="2489" y="4970"/>
                    <a:pt x="2370" y="5208"/>
                  </a:cubicBezTo>
                  <a:cubicBezTo>
                    <a:pt x="2310" y="5006"/>
                    <a:pt x="2275" y="4815"/>
                    <a:pt x="2275" y="4613"/>
                  </a:cubicBezTo>
                  <a:cubicBezTo>
                    <a:pt x="2275" y="4518"/>
                    <a:pt x="2203" y="4446"/>
                    <a:pt x="2108" y="4446"/>
                  </a:cubicBezTo>
                  <a:cubicBezTo>
                    <a:pt x="2025" y="4446"/>
                    <a:pt x="1953" y="4518"/>
                    <a:pt x="1953" y="4613"/>
                  </a:cubicBezTo>
                  <a:lnTo>
                    <a:pt x="1953" y="4625"/>
                  </a:lnTo>
                  <a:lnTo>
                    <a:pt x="1846" y="4625"/>
                  </a:lnTo>
                  <a:cubicBezTo>
                    <a:pt x="1775" y="4625"/>
                    <a:pt x="1691" y="4589"/>
                    <a:pt x="1632" y="4529"/>
                  </a:cubicBezTo>
                  <a:cubicBezTo>
                    <a:pt x="1572" y="4470"/>
                    <a:pt x="1560" y="4399"/>
                    <a:pt x="1560" y="4327"/>
                  </a:cubicBezTo>
                  <a:cubicBezTo>
                    <a:pt x="1572" y="4196"/>
                    <a:pt x="1715" y="4077"/>
                    <a:pt x="1858" y="4077"/>
                  </a:cubicBezTo>
                  <a:lnTo>
                    <a:pt x="2096" y="4077"/>
                  </a:lnTo>
                  <a:cubicBezTo>
                    <a:pt x="2382" y="4077"/>
                    <a:pt x="2620" y="3839"/>
                    <a:pt x="2620" y="3553"/>
                  </a:cubicBezTo>
                  <a:lnTo>
                    <a:pt x="2620" y="2672"/>
                  </a:lnTo>
                  <a:cubicBezTo>
                    <a:pt x="2620" y="2601"/>
                    <a:pt x="2644" y="2541"/>
                    <a:pt x="2703" y="2505"/>
                  </a:cubicBezTo>
                  <a:cubicBezTo>
                    <a:pt x="2787" y="2470"/>
                    <a:pt x="2810" y="2363"/>
                    <a:pt x="2763" y="2291"/>
                  </a:cubicBezTo>
                  <a:cubicBezTo>
                    <a:pt x="2739" y="2236"/>
                    <a:pt x="2685" y="2207"/>
                    <a:pt x="2630" y="2207"/>
                  </a:cubicBezTo>
                  <a:cubicBezTo>
                    <a:pt x="2602" y="2207"/>
                    <a:pt x="2573" y="2215"/>
                    <a:pt x="2549" y="2232"/>
                  </a:cubicBezTo>
                  <a:cubicBezTo>
                    <a:pt x="2382" y="2315"/>
                    <a:pt x="2287" y="2494"/>
                    <a:pt x="2287" y="2672"/>
                  </a:cubicBezTo>
                  <a:lnTo>
                    <a:pt x="2287" y="3553"/>
                  </a:lnTo>
                  <a:cubicBezTo>
                    <a:pt x="2287" y="3660"/>
                    <a:pt x="2203" y="3744"/>
                    <a:pt x="2096" y="3744"/>
                  </a:cubicBezTo>
                  <a:lnTo>
                    <a:pt x="2072" y="3744"/>
                  </a:lnTo>
                  <a:lnTo>
                    <a:pt x="1929" y="2482"/>
                  </a:lnTo>
                  <a:cubicBezTo>
                    <a:pt x="1894" y="2089"/>
                    <a:pt x="1989" y="1708"/>
                    <a:pt x="2215" y="1398"/>
                  </a:cubicBezTo>
                  <a:close/>
                  <a:moveTo>
                    <a:pt x="5823" y="5125"/>
                  </a:moveTo>
                  <a:cubicBezTo>
                    <a:pt x="6025" y="5125"/>
                    <a:pt x="6192" y="5291"/>
                    <a:pt x="6192" y="5506"/>
                  </a:cubicBezTo>
                  <a:lnTo>
                    <a:pt x="6192" y="5684"/>
                  </a:lnTo>
                  <a:cubicBezTo>
                    <a:pt x="6192" y="6661"/>
                    <a:pt x="5382" y="7470"/>
                    <a:pt x="4406" y="7470"/>
                  </a:cubicBezTo>
                  <a:cubicBezTo>
                    <a:pt x="3418" y="7470"/>
                    <a:pt x="2620" y="6661"/>
                    <a:pt x="2620" y="5684"/>
                  </a:cubicBezTo>
                  <a:lnTo>
                    <a:pt x="2620" y="5506"/>
                  </a:lnTo>
                  <a:cubicBezTo>
                    <a:pt x="2620" y="5291"/>
                    <a:pt x="2775" y="5125"/>
                    <a:pt x="2989" y="5125"/>
                  </a:cubicBezTo>
                  <a:close/>
                  <a:moveTo>
                    <a:pt x="2114" y="1"/>
                  </a:moveTo>
                  <a:cubicBezTo>
                    <a:pt x="2100" y="1"/>
                    <a:pt x="2086" y="2"/>
                    <a:pt x="2072" y="5"/>
                  </a:cubicBezTo>
                  <a:cubicBezTo>
                    <a:pt x="2013" y="29"/>
                    <a:pt x="1965" y="77"/>
                    <a:pt x="1953" y="136"/>
                  </a:cubicBezTo>
                  <a:cubicBezTo>
                    <a:pt x="1953" y="172"/>
                    <a:pt x="1870" y="577"/>
                    <a:pt x="2072" y="1053"/>
                  </a:cubicBezTo>
                  <a:cubicBezTo>
                    <a:pt x="1727" y="1446"/>
                    <a:pt x="1572" y="1970"/>
                    <a:pt x="1620" y="2494"/>
                  </a:cubicBezTo>
                  <a:lnTo>
                    <a:pt x="1751" y="3732"/>
                  </a:lnTo>
                  <a:cubicBezTo>
                    <a:pt x="1489" y="3779"/>
                    <a:pt x="1275" y="3994"/>
                    <a:pt x="1251" y="4268"/>
                  </a:cubicBezTo>
                  <a:cubicBezTo>
                    <a:pt x="1239" y="4446"/>
                    <a:pt x="1298" y="4613"/>
                    <a:pt x="1394" y="4744"/>
                  </a:cubicBezTo>
                  <a:cubicBezTo>
                    <a:pt x="1513" y="4875"/>
                    <a:pt x="1679" y="4934"/>
                    <a:pt x="1846" y="4934"/>
                  </a:cubicBezTo>
                  <a:lnTo>
                    <a:pt x="1965" y="4934"/>
                  </a:lnTo>
                  <a:cubicBezTo>
                    <a:pt x="2013" y="5280"/>
                    <a:pt x="2132" y="5589"/>
                    <a:pt x="2310" y="5887"/>
                  </a:cubicBezTo>
                  <a:cubicBezTo>
                    <a:pt x="2334" y="6196"/>
                    <a:pt x="2441" y="6482"/>
                    <a:pt x="2584" y="6732"/>
                  </a:cubicBezTo>
                  <a:cubicBezTo>
                    <a:pt x="2429" y="6768"/>
                    <a:pt x="2287" y="6899"/>
                    <a:pt x="2287" y="7077"/>
                  </a:cubicBezTo>
                  <a:lnTo>
                    <a:pt x="2287" y="7923"/>
                  </a:lnTo>
                  <a:cubicBezTo>
                    <a:pt x="2287" y="8089"/>
                    <a:pt x="2191" y="8220"/>
                    <a:pt x="2037" y="8268"/>
                  </a:cubicBezTo>
                  <a:lnTo>
                    <a:pt x="858" y="8625"/>
                  </a:lnTo>
                  <a:cubicBezTo>
                    <a:pt x="346" y="8792"/>
                    <a:pt x="1" y="9244"/>
                    <a:pt x="1" y="9804"/>
                  </a:cubicBezTo>
                  <a:lnTo>
                    <a:pt x="1" y="11137"/>
                  </a:lnTo>
                  <a:cubicBezTo>
                    <a:pt x="1" y="11233"/>
                    <a:pt x="72" y="11304"/>
                    <a:pt x="167" y="11304"/>
                  </a:cubicBezTo>
                  <a:cubicBezTo>
                    <a:pt x="251" y="11304"/>
                    <a:pt x="322" y="11233"/>
                    <a:pt x="322" y="11137"/>
                  </a:cubicBezTo>
                  <a:lnTo>
                    <a:pt x="322" y="9804"/>
                  </a:lnTo>
                  <a:cubicBezTo>
                    <a:pt x="322" y="9399"/>
                    <a:pt x="584" y="9054"/>
                    <a:pt x="953" y="8935"/>
                  </a:cubicBezTo>
                  <a:lnTo>
                    <a:pt x="2025" y="8613"/>
                  </a:lnTo>
                  <a:cubicBezTo>
                    <a:pt x="2322" y="9352"/>
                    <a:pt x="3287" y="9887"/>
                    <a:pt x="4394" y="9887"/>
                  </a:cubicBezTo>
                  <a:cubicBezTo>
                    <a:pt x="4775" y="9887"/>
                    <a:pt x="5168" y="9828"/>
                    <a:pt x="5501" y="9697"/>
                  </a:cubicBezTo>
                  <a:cubicBezTo>
                    <a:pt x="5597" y="9661"/>
                    <a:pt x="5644" y="9578"/>
                    <a:pt x="5608" y="9482"/>
                  </a:cubicBezTo>
                  <a:cubicBezTo>
                    <a:pt x="5590" y="9418"/>
                    <a:pt x="5529" y="9375"/>
                    <a:pt x="5464" y="9375"/>
                  </a:cubicBezTo>
                  <a:cubicBezTo>
                    <a:pt x="5445" y="9375"/>
                    <a:pt x="5425" y="9379"/>
                    <a:pt x="5406" y="9387"/>
                  </a:cubicBezTo>
                  <a:cubicBezTo>
                    <a:pt x="5085" y="9482"/>
                    <a:pt x="4751" y="9554"/>
                    <a:pt x="4394" y="9554"/>
                  </a:cubicBezTo>
                  <a:cubicBezTo>
                    <a:pt x="3870" y="9554"/>
                    <a:pt x="3382" y="9435"/>
                    <a:pt x="2989" y="9197"/>
                  </a:cubicBezTo>
                  <a:cubicBezTo>
                    <a:pt x="2668" y="8994"/>
                    <a:pt x="2429" y="8744"/>
                    <a:pt x="2322" y="8459"/>
                  </a:cubicBezTo>
                  <a:cubicBezTo>
                    <a:pt x="2501" y="8328"/>
                    <a:pt x="2608" y="8125"/>
                    <a:pt x="2608" y="7899"/>
                  </a:cubicBezTo>
                  <a:lnTo>
                    <a:pt x="2608" y="7054"/>
                  </a:lnTo>
                  <a:cubicBezTo>
                    <a:pt x="2608" y="7054"/>
                    <a:pt x="2608" y="7030"/>
                    <a:pt x="2620" y="7030"/>
                  </a:cubicBezTo>
                  <a:lnTo>
                    <a:pt x="2810" y="7030"/>
                  </a:lnTo>
                  <a:cubicBezTo>
                    <a:pt x="3191" y="7470"/>
                    <a:pt x="3763" y="7744"/>
                    <a:pt x="4382" y="7744"/>
                  </a:cubicBezTo>
                  <a:cubicBezTo>
                    <a:pt x="5013" y="7744"/>
                    <a:pt x="5573" y="7482"/>
                    <a:pt x="5966" y="7030"/>
                  </a:cubicBezTo>
                  <a:lnTo>
                    <a:pt x="6156" y="7030"/>
                  </a:lnTo>
                  <a:cubicBezTo>
                    <a:pt x="6156" y="7030"/>
                    <a:pt x="6168" y="7030"/>
                    <a:pt x="6168" y="7054"/>
                  </a:cubicBezTo>
                  <a:lnTo>
                    <a:pt x="6168" y="7899"/>
                  </a:lnTo>
                  <a:cubicBezTo>
                    <a:pt x="6168" y="8125"/>
                    <a:pt x="6275" y="8328"/>
                    <a:pt x="6454" y="8459"/>
                  </a:cubicBezTo>
                  <a:cubicBezTo>
                    <a:pt x="6382" y="8673"/>
                    <a:pt x="6216" y="8875"/>
                    <a:pt x="5989" y="9042"/>
                  </a:cubicBezTo>
                  <a:cubicBezTo>
                    <a:pt x="5918" y="9101"/>
                    <a:pt x="5906" y="9209"/>
                    <a:pt x="5966" y="9280"/>
                  </a:cubicBezTo>
                  <a:cubicBezTo>
                    <a:pt x="5989" y="9328"/>
                    <a:pt x="6037" y="9340"/>
                    <a:pt x="6097" y="9340"/>
                  </a:cubicBezTo>
                  <a:cubicBezTo>
                    <a:pt x="6132" y="9340"/>
                    <a:pt x="6168" y="9328"/>
                    <a:pt x="6204" y="9316"/>
                  </a:cubicBezTo>
                  <a:cubicBezTo>
                    <a:pt x="6466" y="9101"/>
                    <a:pt x="6644" y="8863"/>
                    <a:pt x="6751" y="8601"/>
                  </a:cubicBezTo>
                  <a:lnTo>
                    <a:pt x="7823" y="8923"/>
                  </a:lnTo>
                  <a:cubicBezTo>
                    <a:pt x="8204" y="9042"/>
                    <a:pt x="8454" y="9387"/>
                    <a:pt x="8454" y="9792"/>
                  </a:cubicBezTo>
                  <a:lnTo>
                    <a:pt x="8454" y="11126"/>
                  </a:lnTo>
                  <a:cubicBezTo>
                    <a:pt x="8454" y="11221"/>
                    <a:pt x="8525" y="11292"/>
                    <a:pt x="8621" y="11292"/>
                  </a:cubicBezTo>
                  <a:cubicBezTo>
                    <a:pt x="8704" y="11292"/>
                    <a:pt x="8776" y="11221"/>
                    <a:pt x="8776" y="11126"/>
                  </a:cubicBezTo>
                  <a:lnTo>
                    <a:pt x="8776" y="9792"/>
                  </a:lnTo>
                  <a:cubicBezTo>
                    <a:pt x="8823" y="9280"/>
                    <a:pt x="8478" y="8804"/>
                    <a:pt x="7966" y="8661"/>
                  </a:cubicBezTo>
                  <a:lnTo>
                    <a:pt x="6787" y="8304"/>
                  </a:lnTo>
                  <a:cubicBezTo>
                    <a:pt x="6632" y="8256"/>
                    <a:pt x="6537" y="8101"/>
                    <a:pt x="6537" y="7958"/>
                  </a:cubicBezTo>
                  <a:lnTo>
                    <a:pt x="6537" y="7113"/>
                  </a:lnTo>
                  <a:cubicBezTo>
                    <a:pt x="6537" y="6935"/>
                    <a:pt x="6394" y="6792"/>
                    <a:pt x="6239" y="6768"/>
                  </a:cubicBezTo>
                  <a:cubicBezTo>
                    <a:pt x="6382" y="6518"/>
                    <a:pt x="6490" y="6232"/>
                    <a:pt x="6513" y="5923"/>
                  </a:cubicBezTo>
                  <a:cubicBezTo>
                    <a:pt x="6692" y="5625"/>
                    <a:pt x="6811" y="5303"/>
                    <a:pt x="6859" y="4970"/>
                  </a:cubicBezTo>
                  <a:lnTo>
                    <a:pt x="6966" y="4970"/>
                  </a:lnTo>
                  <a:cubicBezTo>
                    <a:pt x="7287" y="4970"/>
                    <a:pt x="7561" y="4732"/>
                    <a:pt x="7585" y="4410"/>
                  </a:cubicBezTo>
                  <a:cubicBezTo>
                    <a:pt x="7609" y="4232"/>
                    <a:pt x="7549" y="4077"/>
                    <a:pt x="7442" y="3934"/>
                  </a:cubicBezTo>
                  <a:cubicBezTo>
                    <a:pt x="7347" y="3839"/>
                    <a:pt x="7216" y="3779"/>
                    <a:pt x="7085" y="3744"/>
                  </a:cubicBezTo>
                  <a:lnTo>
                    <a:pt x="7216" y="2505"/>
                  </a:lnTo>
                  <a:cubicBezTo>
                    <a:pt x="7275" y="1958"/>
                    <a:pt x="7097" y="1422"/>
                    <a:pt x="6728" y="1005"/>
                  </a:cubicBezTo>
                  <a:cubicBezTo>
                    <a:pt x="6359" y="600"/>
                    <a:pt x="5835" y="362"/>
                    <a:pt x="5287" y="362"/>
                  </a:cubicBezTo>
                  <a:lnTo>
                    <a:pt x="3525" y="362"/>
                  </a:lnTo>
                  <a:cubicBezTo>
                    <a:pt x="2918" y="362"/>
                    <a:pt x="2406" y="243"/>
                    <a:pt x="2227" y="53"/>
                  </a:cubicBezTo>
                  <a:cubicBezTo>
                    <a:pt x="2200" y="16"/>
                    <a:pt x="2159" y="1"/>
                    <a:pt x="21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91" name="Google Shape;11991;p61"/>
          <p:cNvGrpSpPr/>
          <p:nvPr/>
        </p:nvGrpSpPr>
        <p:grpSpPr>
          <a:xfrm>
            <a:off x="7147315" y="1969046"/>
            <a:ext cx="279513" cy="357636"/>
            <a:chOff x="7147315" y="1969046"/>
            <a:chExt cx="279513" cy="357636"/>
          </a:xfrm>
        </p:grpSpPr>
        <p:sp>
          <p:nvSpPr>
            <p:cNvPr id="11992" name="Google Shape;11992;p61"/>
            <p:cNvSpPr/>
            <p:nvPr/>
          </p:nvSpPr>
          <p:spPr>
            <a:xfrm>
              <a:off x="7248026" y="208109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3" y="512"/>
                    <a:pt x="167" y="512"/>
                  </a:cubicBezTo>
                  <a:cubicBezTo>
                    <a:pt x="262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3" name="Google Shape;11993;p61"/>
            <p:cNvSpPr/>
            <p:nvPr/>
          </p:nvSpPr>
          <p:spPr>
            <a:xfrm>
              <a:off x="7315536" y="208109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4" name="Google Shape;11994;p61"/>
            <p:cNvSpPr/>
            <p:nvPr/>
          </p:nvSpPr>
          <p:spPr>
            <a:xfrm>
              <a:off x="7241595" y="2064308"/>
              <a:ext cx="28702" cy="16442"/>
            </a:xfrm>
            <a:custGeom>
              <a:avLst/>
              <a:gdLst/>
              <a:ahLst/>
              <a:cxnLst/>
              <a:rect l="l" t="t" r="r" b="b"/>
              <a:pathLst>
                <a:path w="906" h="519" extrusionOk="0">
                  <a:moveTo>
                    <a:pt x="190" y="0"/>
                  </a:moveTo>
                  <a:cubicBezTo>
                    <a:pt x="116" y="0"/>
                    <a:pt x="54" y="45"/>
                    <a:pt x="25" y="113"/>
                  </a:cubicBezTo>
                  <a:cubicBezTo>
                    <a:pt x="1" y="209"/>
                    <a:pt x="48" y="292"/>
                    <a:pt x="132" y="316"/>
                  </a:cubicBezTo>
                  <a:lnTo>
                    <a:pt x="667" y="494"/>
                  </a:lnTo>
                  <a:cubicBezTo>
                    <a:pt x="679" y="494"/>
                    <a:pt x="703" y="518"/>
                    <a:pt x="727" y="518"/>
                  </a:cubicBezTo>
                  <a:cubicBezTo>
                    <a:pt x="798" y="518"/>
                    <a:pt x="858" y="471"/>
                    <a:pt x="894" y="399"/>
                  </a:cubicBezTo>
                  <a:cubicBezTo>
                    <a:pt x="906" y="304"/>
                    <a:pt x="858" y="221"/>
                    <a:pt x="775" y="185"/>
                  </a:cubicBezTo>
                  <a:lnTo>
                    <a:pt x="239" y="6"/>
                  </a:lnTo>
                  <a:cubicBezTo>
                    <a:pt x="222" y="2"/>
                    <a:pt x="206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5" name="Google Shape;11995;p61"/>
            <p:cNvSpPr/>
            <p:nvPr/>
          </p:nvSpPr>
          <p:spPr>
            <a:xfrm>
              <a:off x="7303466" y="2064276"/>
              <a:ext cx="28702" cy="16474"/>
            </a:xfrm>
            <a:custGeom>
              <a:avLst/>
              <a:gdLst/>
              <a:ahLst/>
              <a:cxnLst/>
              <a:rect l="l" t="t" r="r" b="b"/>
              <a:pathLst>
                <a:path w="906" h="520" extrusionOk="0">
                  <a:moveTo>
                    <a:pt x="718" y="0"/>
                  </a:moveTo>
                  <a:cubicBezTo>
                    <a:pt x="701" y="0"/>
                    <a:pt x="684" y="2"/>
                    <a:pt x="667" y="7"/>
                  </a:cubicBezTo>
                  <a:lnTo>
                    <a:pt x="131" y="186"/>
                  </a:lnTo>
                  <a:cubicBezTo>
                    <a:pt x="36" y="222"/>
                    <a:pt x="0" y="305"/>
                    <a:pt x="24" y="400"/>
                  </a:cubicBezTo>
                  <a:cubicBezTo>
                    <a:pt x="60" y="472"/>
                    <a:pt x="108" y="519"/>
                    <a:pt x="191" y="519"/>
                  </a:cubicBezTo>
                  <a:cubicBezTo>
                    <a:pt x="203" y="519"/>
                    <a:pt x="215" y="519"/>
                    <a:pt x="250" y="495"/>
                  </a:cubicBezTo>
                  <a:lnTo>
                    <a:pt x="786" y="317"/>
                  </a:lnTo>
                  <a:cubicBezTo>
                    <a:pt x="858" y="293"/>
                    <a:pt x="905" y="210"/>
                    <a:pt x="870" y="114"/>
                  </a:cubicBezTo>
                  <a:cubicBezTo>
                    <a:pt x="850" y="38"/>
                    <a:pt x="786" y="0"/>
                    <a:pt x="7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6" name="Google Shape;11996;p61"/>
            <p:cNvSpPr/>
            <p:nvPr/>
          </p:nvSpPr>
          <p:spPr>
            <a:xfrm>
              <a:off x="7281575" y="2277229"/>
              <a:ext cx="10993" cy="49452"/>
            </a:xfrm>
            <a:custGeom>
              <a:avLst/>
              <a:gdLst/>
              <a:ahLst/>
              <a:cxnLst/>
              <a:rect l="l" t="t" r="r" b="b"/>
              <a:pathLst>
                <a:path w="347" h="1561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405"/>
                  </a:lnTo>
                  <a:cubicBezTo>
                    <a:pt x="1" y="1489"/>
                    <a:pt x="72" y="1560"/>
                    <a:pt x="167" y="1560"/>
                  </a:cubicBezTo>
                  <a:cubicBezTo>
                    <a:pt x="251" y="1560"/>
                    <a:pt x="334" y="1489"/>
                    <a:pt x="334" y="1405"/>
                  </a:cubicBezTo>
                  <a:lnTo>
                    <a:pt x="334" y="167"/>
                  </a:lnTo>
                  <a:cubicBezTo>
                    <a:pt x="346" y="72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7" name="Google Shape;11997;p61"/>
            <p:cNvSpPr/>
            <p:nvPr/>
          </p:nvSpPr>
          <p:spPr>
            <a:xfrm>
              <a:off x="7147315" y="1969046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906" y="370"/>
                  </a:moveTo>
                  <a:cubicBezTo>
                    <a:pt x="5977" y="370"/>
                    <a:pt x="6858" y="1239"/>
                    <a:pt x="6858" y="2323"/>
                  </a:cubicBezTo>
                  <a:lnTo>
                    <a:pt x="6858" y="3394"/>
                  </a:lnTo>
                  <a:lnTo>
                    <a:pt x="6632" y="3394"/>
                  </a:lnTo>
                  <a:cubicBezTo>
                    <a:pt x="6632" y="3394"/>
                    <a:pt x="6620" y="3394"/>
                    <a:pt x="6620" y="3370"/>
                  </a:cubicBezTo>
                  <a:cubicBezTo>
                    <a:pt x="6549" y="3001"/>
                    <a:pt x="6275" y="2037"/>
                    <a:pt x="5537" y="1311"/>
                  </a:cubicBezTo>
                  <a:cubicBezTo>
                    <a:pt x="5507" y="1281"/>
                    <a:pt x="5465" y="1266"/>
                    <a:pt x="5422" y="1266"/>
                  </a:cubicBezTo>
                  <a:cubicBezTo>
                    <a:pt x="5379" y="1266"/>
                    <a:pt x="5334" y="1281"/>
                    <a:pt x="5298" y="1311"/>
                  </a:cubicBezTo>
                  <a:cubicBezTo>
                    <a:pt x="5298" y="1311"/>
                    <a:pt x="4822" y="1787"/>
                    <a:pt x="4358" y="1965"/>
                  </a:cubicBezTo>
                  <a:cubicBezTo>
                    <a:pt x="3882" y="1787"/>
                    <a:pt x="3417" y="1323"/>
                    <a:pt x="3417" y="1311"/>
                  </a:cubicBezTo>
                  <a:cubicBezTo>
                    <a:pt x="3387" y="1281"/>
                    <a:pt x="3349" y="1266"/>
                    <a:pt x="3307" y="1266"/>
                  </a:cubicBezTo>
                  <a:cubicBezTo>
                    <a:pt x="3265" y="1266"/>
                    <a:pt x="3221" y="1281"/>
                    <a:pt x="3179" y="1311"/>
                  </a:cubicBezTo>
                  <a:cubicBezTo>
                    <a:pt x="3120" y="1370"/>
                    <a:pt x="3060" y="1442"/>
                    <a:pt x="3001" y="1513"/>
                  </a:cubicBezTo>
                  <a:cubicBezTo>
                    <a:pt x="2941" y="1584"/>
                    <a:pt x="2965" y="1692"/>
                    <a:pt x="3024" y="1751"/>
                  </a:cubicBezTo>
                  <a:cubicBezTo>
                    <a:pt x="3057" y="1778"/>
                    <a:pt x="3096" y="1790"/>
                    <a:pt x="3134" y="1790"/>
                  </a:cubicBezTo>
                  <a:cubicBezTo>
                    <a:pt x="3180" y="1790"/>
                    <a:pt x="3224" y="1772"/>
                    <a:pt x="3251" y="1739"/>
                  </a:cubicBezTo>
                  <a:cubicBezTo>
                    <a:pt x="3274" y="1704"/>
                    <a:pt x="3298" y="1692"/>
                    <a:pt x="3322" y="1680"/>
                  </a:cubicBezTo>
                  <a:cubicBezTo>
                    <a:pt x="3513" y="1858"/>
                    <a:pt x="3917" y="2168"/>
                    <a:pt x="4310" y="2299"/>
                  </a:cubicBezTo>
                  <a:cubicBezTo>
                    <a:pt x="4328" y="2311"/>
                    <a:pt x="4349" y="2317"/>
                    <a:pt x="4368" y="2317"/>
                  </a:cubicBezTo>
                  <a:cubicBezTo>
                    <a:pt x="4388" y="2317"/>
                    <a:pt x="4405" y="2311"/>
                    <a:pt x="4417" y="2299"/>
                  </a:cubicBezTo>
                  <a:cubicBezTo>
                    <a:pt x="4822" y="2168"/>
                    <a:pt x="5227" y="1834"/>
                    <a:pt x="5418" y="1680"/>
                  </a:cubicBezTo>
                  <a:cubicBezTo>
                    <a:pt x="6001" y="2335"/>
                    <a:pt x="6215" y="3132"/>
                    <a:pt x="6299" y="3466"/>
                  </a:cubicBezTo>
                  <a:cubicBezTo>
                    <a:pt x="6322" y="3632"/>
                    <a:pt x="6477" y="3728"/>
                    <a:pt x="6620" y="3728"/>
                  </a:cubicBezTo>
                  <a:lnTo>
                    <a:pt x="6918" y="3728"/>
                  </a:lnTo>
                  <a:cubicBezTo>
                    <a:pt x="6989" y="3728"/>
                    <a:pt x="7072" y="3763"/>
                    <a:pt x="7132" y="3823"/>
                  </a:cubicBezTo>
                  <a:cubicBezTo>
                    <a:pt x="7192" y="3882"/>
                    <a:pt x="7203" y="3954"/>
                    <a:pt x="7203" y="4025"/>
                  </a:cubicBezTo>
                  <a:cubicBezTo>
                    <a:pt x="7192" y="4168"/>
                    <a:pt x="7049" y="4287"/>
                    <a:pt x="6906" y="4287"/>
                  </a:cubicBezTo>
                  <a:lnTo>
                    <a:pt x="6834" y="4287"/>
                  </a:lnTo>
                  <a:lnTo>
                    <a:pt x="6834" y="4263"/>
                  </a:lnTo>
                  <a:cubicBezTo>
                    <a:pt x="6834" y="4180"/>
                    <a:pt x="6751" y="4097"/>
                    <a:pt x="6668" y="4097"/>
                  </a:cubicBezTo>
                  <a:cubicBezTo>
                    <a:pt x="6572" y="4097"/>
                    <a:pt x="6501" y="4180"/>
                    <a:pt x="6501" y="4263"/>
                  </a:cubicBezTo>
                  <a:cubicBezTo>
                    <a:pt x="6501" y="5442"/>
                    <a:pt x="5548" y="6395"/>
                    <a:pt x="4370" y="6395"/>
                  </a:cubicBezTo>
                  <a:cubicBezTo>
                    <a:pt x="3203" y="6395"/>
                    <a:pt x="2250" y="5442"/>
                    <a:pt x="2250" y="4263"/>
                  </a:cubicBezTo>
                  <a:cubicBezTo>
                    <a:pt x="2250" y="4180"/>
                    <a:pt x="2167" y="4097"/>
                    <a:pt x="2084" y="4097"/>
                  </a:cubicBezTo>
                  <a:cubicBezTo>
                    <a:pt x="1989" y="4097"/>
                    <a:pt x="1953" y="4144"/>
                    <a:pt x="1953" y="4240"/>
                  </a:cubicBezTo>
                  <a:lnTo>
                    <a:pt x="1846" y="4251"/>
                  </a:lnTo>
                  <a:cubicBezTo>
                    <a:pt x="1774" y="4251"/>
                    <a:pt x="1691" y="4228"/>
                    <a:pt x="1631" y="4168"/>
                  </a:cubicBezTo>
                  <a:cubicBezTo>
                    <a:pt x="1572" y="4109"/>
                    <a:pt x="1560" y="4025"/>
                    <a:pt x="1560" y="3954"/>
                  </a:cubicBezTo>
                  <a:cubicBezTo>
                    <a:pt x="1572" y="3823"/>
                    <a:pt x="1715" y="3704"/>
                    <a:pt x="1858" y="3704"/>
                  </a:cubicBezTo>
                  <a:lnTo>
                    <a:pt x="2131" y="3704"/>
                  </a:lnTo>
                  <a:cubicBezTo>
                    <a:pt x="2286" y="3704"/>
                    <a:pt x="2429" y="3597"/>
                    <a:pt x="2453" y="3430"/>
                  </a:cubicBezTo>
                  <a:cubicBezTo>
                    <a:pt x="2500" y="3216"/>
                    <a:pt x="2631" y="2751"/>
                    <a:pt x="2905" y="2275"/>
                  </a:cubicBezTo>
                  <a:cubicBezTo>
                    <a:pt x="2941" y="2204"/>
                    <a:pt x="2917" y="2096"/>
                    <a:pt x="2846" y="2049"/>
                  </a:cubicBezTo>
                  <a:cubicBezTo>
                    <a:pt x="2820" y="2034"/>
                    <a:pt x="2791" y="2027"/>
                    <a:pt x="2763" y="2027"/>
                  </a:cubicBezTo>
                  <a:cubicBezTo>
                    <a:pt x="2702" y="2027"/>
                    <a:pt x="2644" y="2059"/>
                    <a:pt x="2620" y="2108"/>
                  </a:cubicBezTo>
                  <a:cubicBezTo>
                    <a:pt x="2322" y="2632"/>
                    <a:pt x="2203" y="3120"/>
                    <a:pt x="2143" y="3370"/>
                  </a:cubicBezTo>
                  <a:cubicBezTo>
                    <a:pt x="2143" y="3370"/>
                    <a:pt x="2143" y="3394"/>
                    <a:pt x="2131" y="3394"/>
                  </a:cubicBezTo>
                  <a:lnTo>
                    <a:pt x="1905" y="3394"/>
                  </a:lnTo>
                  <a:lnTo>
                    <a:pt x="1905" y="2323"/>
                  </a:lnTo>
                  <a:cubicBezTo>
                    <a:pt x="1905" y="1251"/>
                    <a:pt x="2786" y="370"/>
                    <a:pt x="3846" y="370"/>
                  </a:cubicBezTo>
                  <a:close/>
                  <a:moveTo>
                    <a:pt x="2096" y="5121"/>
                  </a:moveTo>
                  <a:cubicBezTo>
                    <a:pt x="2274" y="5573"/>
                    <a:pt x="2584" y="5978"/>
                    <a:pt x="2989" y="6264"/>
                  </a:cubicBezTo>
                  <a:lnTo>
                    <a:pt x="2989" y="7214"/>
                  </a:lnTo>
                  <a:lnTo>
                    <a:pt x="1357" y="5240"/>
                  </a:lnTo>
                  <a:lnTo>
                    <a:pt x="2096" y="5121"/>
                  </a:lnTo>
                  <a:close/>
                  <a:moveTo>
                    <a:pt x="6715" y="5121"/>
                  </a:moveTo>
                  <a:lnTo>
                    <a:pt x="7453" y="5240"/>
                  </a:lnTo>
                  <a:lnTo>
                    <a:pt x="5822" y="7228"/>
                  </a:lnTo>
                  <a:lnTo>
                    <a:pt x="5822" y="6264"/>
                  </a:lnTo>
                  <a:cubicBezTo>
                    <a:pt x="6215" y="5978"/>
                    <a:pt x="6537" y="5573"/>
                    <a:pt x="6715" y="5121"/>
                  </a:cubicBezTo>
                  <a:close/>
                  <a:moveTo>
                    <a:pt x="5489" y="6454"/>
                  </a:moveTo>
                  <a:lnTo>
                    <a:pt x="5489" y="7633"/>
                  </a:lnTo>
                  <a:lnTo>
                    <a:pt x="4417" y="8931"/>
                  </a:lnTo>
                  <a:lnTo>
                    <a:pt x="3346" y="7633"/>
                  </a:lnTo>
                  <a:lnTo>
                    <a:pt x="3346" y="6454"/>
                  </a:lnTo>
                  <a:cubicBezTo>
                    <a:pt x="3679" y="6621"/>
                    <a:pt x="4036" y="6704"/>
                    <a:pt x="4417" y="6704"/>
                  </a:cubicBezTo>
                  <a:cubicBezTo>
                    <a:pt x="4810" y="6704"/>
                    <a:pt x="5167" y="6621"/>
                    <a:pt x="5489" y="6454"/>
                  </a:cubicBezTo>
                  <a:close/>
                  <a:moveTo>
                    <a:pt x="3894" y="1"/>
                  </a:moveTo>
                  <a:cubicBezTo>
                    <a:pt x="2631" y="1"/>
                    <a:pt x="1608" y="1025"/>
                    <a:pt x="1608" y="2287"/>
                  </a:cubicBezTo>
                  <a:lnTo>
                    <a:pt x="1608" y="3418"/>
                  </a:lnTo>
                  <a:cubicBezTo>
                    <a:pt x="1417" y="3513"/>
                    <a:pt x="1274" y="3692"/>
                    <a:pt x="1250" y="3894"/>
                  </a:cubicBezTo>
                  <a:cubicBezTo>
                    <a:pt x="1238" y="4073"/>
                    <a:pt x="1286" y="4240"/>
                    <a:pt x="1393" y="4371"/>
                  </a:cubicBezTo>
                  <a:cubicBezTo>
                    <a:pt x="1512" y="4501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1977" y="4644"/>
                    <a:pt x="1989" y="4716"/>
                    <a:pt x="2000" y="4775"/>
                  </a:cubicBezTo>
                  <a:lnTo>
                    <a:pt x="1262" y="4894"/>
                  </a:lnTo>
                  <a:cubicBezTo>
                    <a:pt x="1155" y="4906"/>
                    <a:pt x="1048" y="4978"/>
                    <a:pt x="1012" y="5073"/>
                  </a:cubicBezTo>
                  <a:cubicBezTo>
                    <a:pt x="965" y="5180"/>
                    <a:pt x="965" y="5275"/>
                    <a:pt x="1012" y="5383"/>
                  </a:cubicBezTo>
                  <a:lnTo>
                    <a:pt x="2108" y="7502"/>
                  </a:lnTo>
                  <a:lnTo>
                    <a:pt x="857" y="7883"/>
                  </a:lnTo>
                  <a:cubicBezTo>
                    <a:pt x="334" y="8050"/>
                    <a:pt x="0" y="8514"/>
                    <a:pt x="0" y="9062"/>
                  </a:cubicBezTo>
                  <a:lnTo>
                    <a:pt x="0" y="11109"/>
                  </a:lnTo>
                  <a:cubicBezTo>
                    <a:pt x="0" y="11205"/>
                    <a:pt x="72" y="11276"/>
                    <a:pt x="155" y="11276"/>
                  </a:cubicBezTo>
                  <a:cubicBezTo>
                    <a:pt x="250" y="11276"/>
                    <a:pt x="322" y="11205"/>
                    <a:pt x="322" y="11109"/>
                  </a:cubicBezTo>
                  <a:lnTo>
                    <a:pt x="322" y="9062"/>
                  </a:lnTo>
                  <a:cubicBezTo>
                    <a:pt x="322" y="8943"/>
                    <a:pt x="357" y="8823"/>
                    <a:pt x="381" y="8716"/>
                  </a:cubicBezTo>
                  <a:lnTo>
                    <a:pt x="1215" y="9431"/>
                  </a:lnTo>
                  <a:cubicBezTo>
                    <a:pt x="1334" y="9538"/>
                    <a:pt x="1405" y="9681"/>
                    <a:pt x="1405" y="9847"/>
                  </a:cubicBezTo>
                  <a:lnTo>
                    <a:pt x="1405" y="11109"/>
                  </a:lnTo>
                  <a:cubicBezTo>
                    <a:pt x="1405" y="11205"/>
                    <a:pt x="1488" y="11276"/>
                    <a:pt x="1572" y="11276"/>
                  </a:cubicBezTo>
                  <a:cubicBezTo>
                    <a:pt x="1667" y="11276"/>
                    <a:pt x="1738" y="11205"/>
                    <a:pt x="1738" y="11109"/>
                  </a:cubicBezTo>
                  <a:lnTo>
                    <a:pt x="1738" y="9847"/>
                  </a:lnTo>
                  <a:cubicBezTo>
                    <a:pt x="1738" y="9597"/>
                    <a:pt x="1631" y="9359"/>
                    <a:pt x="1441" y="9181"/>
                  </a:cubicBezTo>
                  <a:lnTo>
                    <a:pt x="572" y="8431"/>
                  </a:lnTo>
                  <a:cubicBezTo>
                    <a:pt x="679" y="8335"/>
                    <a:pt x="810" y="8240"/>
                    <a:pt x="965" y="8192"/>
                  </a:cubicBezTo>
                  <a:lnTo>
                    <a:pt x="2274" y="7776"/>
                  </a:lnTo>
                  <a:lnTo>
                    <a:pt x="2989" y="9145"/>
                  </a:lnTo>
                  <a:lnTo>
                    <a:pt x="2762" y="9597"/>
                  </a:lnTo>
                  <a:cubicBezTo>
                    <a:pt x="2679" y="9776"/>
                    <a:pt x="2691" y="9966"/>
                    <a:pt x="2810" y="10133"/>
                  </a:cubicBezTo>
                  <a:lnTo>
                    <a:pt x="3572" y="11205"/>
                  </a:lnTo>
                  <a:cubicBezTo>
                    <a:pt x="3596" y="11252"/>
                    <a:pt x="3655" y="11276"/>
                    <a:pt x="3703" y="11276"/>
                  </a:cubicBezTo>
                  <a:cubicBezTo>
                    <a:pt x="3727" y="11276"/>
                    <a:pt x="3763" y="11264"/>
                    <a:pt x="3786" y="11252"/>
                  </a:cubicBezTo>
                  <a:cubicBezTo>
                    <a:pt x="3870" y="11193"/>
                    <a:pt x="3882" y="11086"/>
                    <a:pt x="3834" y="11014"/>
                  </a:cubicBezTo>
                  <a:lnTo>
                    <a:pt x="3072" y="9943"/>
                  </a:lnTo>
                  <a:cubicBezTo>
                    <a:pt x="3036" y="9883"/>
                    <a:pt x="3036" y="9800"/>
                    <a:pt x="3060" y="9740"/>
                  </a:cubicBezTo>
                  <a:lnTo>
                    <a:pt x="3310" y="9228"/>
                  </a:lnTo>
                  <a:cubicBezTo>
                    <a:pt x="3346" y="9181"/>
                    <a:pt x="3346" y="9121"/>
                    <a:pt x="3310" y="9073"/>
                  </a:cubicBezTo>
                  <a:lnTo>
                    <a:pt x="1917" y="6395"/>
                  </a:lnTo>
                  <a:lnTo>
                    <a:pt x="4263" y="9252"/>
                  </a:lnTo>
                  <a:cubicBezTo>
                    <a:pt x="4298" y="9300"/>
                    <a:pt x="4346" y="9312"/>
                    <a:pt x="4405" y="9312"/>
                  </a:cubicBezTo>
                  <a:cubicBezTo>
                    <a:pt x="4441" y="9312"/>
                    <a:pt x="4489" y="9300"/>
                    <a:pt x="4536" y="9252"/>
                  </a:cubicBezTo>
                  <a:lnTo>
                    <a:pt x="6882" y="6395"/>
                  </a:lnTo>
                  <a:lnTo>
                    <a:pt x="5489" y="9073"/>
                  </a:lnTo>
                  <a:cubicBezTo>
                    <a:pt x="5453" y="9121"/>
                    <a:pt x="5453" y="9181"/>
                    <a:pt x="5489" y="9228"/>
                  </a:cubicBezTo>
                  <a:lnTo>
                    <a:pt x="5739" y="9740"/>
                  </a:lnTo>
                  <a:cubicBezTo>
                    <a:pt x="5775" y="9800"/>
                    <a:pt x="5775" y="9871"/>
                    <a:pt x="5727" y="9943"/>
                  </a:cubicBezTo>
                  <a:lnTo>
                    <a:pt x="4965" y="11014"/>
                  </a:lnTo>
                  <a:cubicBezTo>
                    <a:pt x="4906" y="11086"/>
                    <a:pt x="4941" y="11193"/>
                    <a:pt x="5013" y="11252"/>
                  </a:cubicBezTo>
                  <a:cubicBezTo>
                    <a:pt x="5037" y="11264"/>
                    <a:pt x="5072" y="11276"/>
                    <a:pt x="5096" y="11276"/>
                  </a:cubicBezTo>
                  <a:cubicBezTo>
                    <a:pt x="5144" y="11276"/>
                    <a:pt x="5203" y="11252"/>
                    <a:pt x="5239" y="11205"/>
                  </a:cubicBezTo>
                  <a:lnTo>
                    <a:pt x="5989" y="10133"/>
                  </a:lnTo>
                  <a:cubicBezTo>
                    <a:pt x="6108" y="9966"/>
                    <a:pt x="6132" y="9776"/>
                    <a:pt x="6037" y="9597"/>
                  </a:cubicBezTo>
                  <a:lnTo>
                    <a:pt x="5810" y="9145"/>
                  </a:lnTo>
                  <a:lnTo>
                    <a:pt x="6525" y="7776"/>
                  </a:lnTo>
                  <a:lnTo>
                    <a:pt x="7834" y="8192"/>
                  </a:lnTo>
                  <a:cubicBezTo>
                    <a:pt x="7989" y="8240"/>
                    <a:pt x="8120" y="8335"/>
                    <a:pt x="8227" y="8431"/>
                  </a:cubicBezTo>
                  <a:lnTo>
                    <a:pt x="7358" y="9181"/>
                  </a:lnTo>
                  <a:cubicBezTo>
                    <a:pt x="7168" y="9347"/>
                    <a:pt x="7061" y="9585"/>
                    <a:pt x="7061" y="9847"/>
                  </a:cubicBezTo>
                  <a:lnTo>
                    <a:pt x="7061" y="11109"/>
                  </a:lnTo>
                  <a:cubicBezTo>
                    <a:pt x="7061" y="11205"/>
                    <a:pt x="7144" y="11276"/>
                    <a:pt x="7227" y="11276"/>
                  </a:cubicBezTo>
                  <a:cubicBezTo>
                    <a:pt x="7323" y="11276"/>
                    <a:pt x="7394" y="11205"/>
                    <a:pt x="7394" y="11109"/>
                  </a:cubicBezTo>
                  <a:lnTo>
                    <a:pt x="7394" y="9847"/>
                  </a:lnTo>
                  <a:cubicBezTo>
                    <a:pt x="7394" y="9681"/>
                    <a:pt x="7465" y="9538"/>
                    <a:pt x="7584" y="9431"/>
                  </a:cubicBezTo>
                  <a:lnTo>
                    <a:pt x="8418" y="8716"/>
                  </a:lnTo>
                  <a:cubicBezTo>
                    <a:pt x="8466" y="8823"/>
                    <a:pt x="8477" y="8943"/>
                    <a:pt x="8477" y="9062"/>
                  </a:cubicBezTo>
                  <a:lnTo>
                    <a:pt x="8477" y="11109"/>
                  </a:lnTo>
                  <a:cubicBezTo>
                    <a:pt x="8477" y="11205"/>
                    <a:pt x="8549" y="11276"/>
                    <a:pt x="8644" y="11276"/>
                  </a:cubicBezTo>
                  <a:cubicBezTo>
                    <a:pt x="8727" y="11276"/>
                    <a:pt x="8811" y="11205"/>
                    <a:pt x="8811" y="11109"/>
                  </a:cubicBezTo>
                  <a:lnTo>
                    <a:pt x="8811" y="9062"/>
                  </a:lnTo>
                  <a:cubicBezTo>
                    <a:pt x="8823" y="8538"/>
                    <a:pt x="8477" y="8073"/>
                    <a:pt x="7965" y="7919"/>
                  </a:cubicBezTo>
                  <a:lnTo>
                    <a:pt x="6715" y="7526"/>
                  </a:lnTo>
                  <a:lnTo>
                    <a:pt x="7811" y="5418"/>
                  </a:lnTo>
                  <a:cubicBezTo>
                    <a:pt x="7858" y="5311"/>
                    <a:pt x="7858" y="5204"/>
                    <a:pt x="7811" y="5097"/>
                  </a:cubicBezTo>
                  <a:cubicBezTo>
                    <a:pt x="7763" y="5002"/>
                    <a:pt x="7668" y="4942"/>
                    <a:pt x="7561" y="4918"/>
                  </a:cubicBezTo>
                  <a:lnTo>
                    <a:pt x="6811" y="4799"/>
                  </a:lnTo>
                  <a:cubicBezTo>
                    <a:pt x="6822" y="4728"/>
                    <a:pt x="6846" y="4656"/>
                    <a:pt x="6858" y="4597"/>
                  </a:cubicBezTo>
                  <a:lnTo>
                    <a:pt x="6965" y="4597"/>
                  </a:lnTo>
                  <a:cubicBezTo>
                    <a:pt x="7287" y="4597"/>
                    <a:pt x="7561" y="4359"/>
                    <a:pt x="7584" y="4049"/>
                  </a:cubicBezTo>
                  <a:cubicBezTo>
                    <a:pt x="7608" y="3870"/>
                    <a:pt x="7549" y="3704"/>
                    <a:pt x="7442" y="3573"/>
                  </a:cubicBezTo>
                  <a:cubicBezTo>
                    <a:pt x="7382" y="3513"/>
                    <a:pt x="7323" y="3466"/>
                    <a:pt x="7251" y="3418"/>
                  </a:cubicBezTo>
                  <a:lnTo>
                    <a:pt x="7251" y="2287"/>
                  </a:lnTo>
                  <a:cubicBezTo>
                    <a:pt x="7251" y="1025"/>
                    <a:pt x="6215" y="1"/>
                    <a:pt x="4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8" name="Google Shape;11998;p61"/>
            <p:cNvSpPr/>
            <p:nvPr/>
          </p:nvSpPr>
          <p:spPr>
            <a:xfrm>
              <a:off x="7248026" y="2111067"/>
              <a:ext cx="78471" cy="36052"/>
            </a:xfrm>
            <a:custGeom>
              <a:avLst/>
              <a:gdLst/>
              <a:ahLst/>
              <a:cxnLst/>
              <a:rect l="l" t="t" r="r" b="b"/>
              <a:pathLst>
                <a:path w="2477" h="1138" extrusionOk="0">
                  <a:moveTo>
                    <a:pt x="619" y="411"/>
                  </a:moveTo>
                  <a:cubicBezTo>
                    <a:pt x="679" y="411"/>
                    <a:pt x="738" y="423"/>
                    <a:pt x="798" y="423"/>
                  </a:cubicBezTo>
                  <a:lnTo>
                    <a:pt x="703" y="602"/>
                  </a:lnTo>
                  <a:lnTo>
                    <a:pt x="619" y="411"/>
                  </a:lnTo>
                  <a:close/>
                  <a:moveTo>
                    <a:pt x="1846" y="411"/>
                  </a:moveTo>
                  <a:lnTo>
                    <a:pt x="1762" y="602"/>
                  </a:lnTo>
                  <a:lnTo>
                    <a:pt x="1667" y="423"/>
                  </a:lnTo>
                  <a:cubicBezTo>
                    <a:pt x="1727" y="423"/>
                    <a:pt x="1786" y="411"/>
                    <a:pt x="1846" y="411"/>
                  </a:cubicBezTo>
                  <a:close/>
                  <a:moveTo>
                    <a:pt x="2310" y="1"/>
                  </a:moveTo>
                  <a:cubicBezTo>
                    <a:pt x="2295" y="1"/>
                    <a:pt x="2279" y="2"/>
                    <a:pt x="2262" y="7"/>
                  </a:cubicBezTo>
                  <a:cubicBezTo>
                    <a:pt x="1965" y="78"/>
                    <a:pt x="1607" y="114"/>
                    <a:pt x="1238" y="114"/>
                  </a:cubicBezTo>
                  <a:cubicBezTo>
                    <a:pt x="869" y="114"/>
                    <a:pt x="524" y="66"/>
                    <a:pt x="214" y="7"/>
                  </a:cubicBezTo>
                  <a:cubicBezTo>
                    <a:pt x="203" y="5"/>
                    <a:pt x="191" y="4"/>
                    <a:pt x="180" y="4"/>
                  </a:cubicBezTo>
                  <a:cubicBezTo>
                    <a:pt x="100" y="4"/>
                    <a:pt x="34" y="42"/>
                    <a:pt x="24" y="126"/>
                  </a:cubicBezTo>
                  <a:cubicBezTo>
                    <a:pt x="0" y="221"/>
                    <a:pt x="48" y="304"/>
                    <a:pt x="143" y="316"/>
                  </a:cubicBezTo>
                  <a:cubicBezTo>
                    <a:pt x="167" y="316"/>
                    <a:pt x="203" y="340"/>
                    <a:pt x="226" y="340"/>
                  </a:cubicBezTo>
                  <a:lnTo>
                    <a:pt x="560" y="1054"/>
                  </a:lnTo>
                  <a:cubicBezTo>
                    <a:pt x="584" y="1114"/>
                    <a:pt x="643" y="1138"/>
                    <a:pt x="703" y="1138"/>
                  </a:cubicBezTo>
                  <a:cubicBezTo>
                    <a:pt x="762" y="1138"/>
                    <a:pt x="822" y="1114"/>
                    <a:pt x="857" y="1054"/>
                  </a:cubicBezTo>
                  <a:lnTo>
                    <a:pt x="1167" y="435"/>
                  </a:lnTo>
                  <a:lnTo>
                    <a:pt x="1310" y="435"/>
                  </a:lnTo>
                  <a:lnTo>
                    <a:pt x="1619" y="1054"/>
                  </a:lnTo>
                  <a:cubicBezTo>
                    <a:pt x="1655" y="1114"/>
                    <a:pt x="1715" y="1138"/>
                    <a:pt x="1774" y="1138"/>
                  </a:cubicBezTo>
                  <a:cubicBezTo>
                    <a:pt x="1834" y="1138"/>
                    <a:pt x="1893" y="1090"/>
                    <a:pt x="1917" y="1054"/>
                  </a:cubicBezTo>
                  <a:lnTo>
                    <a:pt x="2250" y="340"/>
                  </a:lnTo>
                  <a:cubicBezTo>
                    <a:pt x="2274" y="340"/>
                    <a:pt x="2310" y="316"/>
                    <a:pt x="2334" y="316"/>
                  </a:cubicBezTo>
                  <a:cubicBezTo>
                    <a:pt x="2417" y="304"/>
                    <a:pt x="2477" y="221"/>
                    <a:pt x="2465" y="126"/>
                  </a:cubicBezTo>
                  <a:cubicBezTo>
                    <a:pt x="2445" y="47"/>
                    <a:pt x="2384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99" name="Google Shape;11999;p61"/>
          <p:cNvGrpSpPr/>
          <p:nvPr/>
        </p:nvGrpSpPr>
        <p:grpSpPr>
          <a:xfrm>
            <a:off x="6697681" y="1968317"/>
            <a:ext cx="280305" cy="359093"/>
            <a:chOff x="6697681" y="1968317"/>
            <a:chExt cx="280305" cy="359093"/>
          </a:xfrm>
        </p:grpSpPr>
        <p:sp>
          <p:nvSpPr>
            <p:cNvPr id="12000" name="Google Shape;12000;p61"/>
            <p:cNvSpPr/>
            <p:nvPr/>
          </p:nvSpPr>
          <p:spPr>
            <a:xfrm>
              <a:off x="6799152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1" name="Google Shape;12001;p61"/>
            <p:cNvSpPr/>
            <p:nvPr/>
          </p:nvSpPr>
          <p:spPr>
            <a:xfrm>
              <a:off x="6866662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2" name="Google Shape;12002;p61"/>
            <p:cNvSpPr/>
            <p:nvPr/>
          </p:nvSpPr>
          <p:spPr>
            <a:xfrm>
              <a:off x="6815372" y="2143032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4" y="1"/>
                  </a:moveTo>
                  <a:cubicBezTo>
                    <a:pt x="141" y="1"/>
                    <a:pt x="96" y="16"/>
                    <a:pt x="60" y="45"/>
                  </a:cubicBezTo>
                  <a:cubicBezTo>
                    <a:pt x="1" y="105"/>
                    <a:pt x="1" y="200"/>
                    <a:pt x="60" y="283"/>
                  </a:cubicBezTo>
                  <a:cubicBezTo>
                    <a:pt x="203" y="414"/>
                    <a:pt x="441" y="498"/>
                    <a:pt x="703" y="498"/>
                  </a:cubicBezTo>
                  <a:cubicBezTo>
                    <a:pt x="965" y="498"/>
                    <a:pt x="1203" y="414"/>
                    <a:pt x="1334" y="283"/>
                  </a:cubicBezTo>
                  <a:cubicBezTo>
                    <a:pt x="1429" y="200"/>
                    <a:pt x="1429" y="105"/>
                    <a:pt x="1370" y="45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9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3" name="Google Shape;12003;p61"/>
            <p:cNvSpPr/>
            <p:nvPr/>
          </p:nvSpPr>
          <p:spPr>
            <a:xfrm>
              <a:off x="6697681" y="1968317"/>
              <a:ext cx="280305" cy="358713"/>
            </a:xfrm>
            <a:custGeom>
              <a:avLst/>
              <a:gdLst/>
              <a:ahLst/>
              <a:cxnLst/>
              <a:rect l="l" t="t" r="r" b="b"/>
              <a:pathLst>
                <a:path w="8848" h="11323" extrusionOk="0">
                  <a:moveTo>
                    <a:pt x="4430" y="345"/>
                  </a:moveTo>
                  <a:cubicBezTo>
                    <a:pt x="4978" y="345"/>
                    <a:pt x="5502" y="512"/>
                    <a:pt x="5918" y="822"/>
                  </a:cubicBezTo>
                  <a:cubicBezTo>
                    <a:pt x="6252" y="1072"/>
                    <a:pt x="6526" y="1417"/>
                    <a:pt x="6668" y="1786"/>
                  </a:cubicBezTo>
                  <a:lnTo>
                    <a:pt x="6371" y="1786"/>
                  </a:lnTo>
                  <a:cubicBezTo>
                    <a:pt x="6287" y="1786"/>
                    <a:pt x="6216" y="1857"/>
                    <a:pt x="6216" y="1953"/>
                  </a:cubicBezTo>
                  <a:cubicBezTo>
                    <a:pt x="6216" y="2048"/>
                    <a:pt x="6287" y="2119"/>
                    <a:pt x="6371" y="2119"/>
                  </a:cubicBezTo>
                  <a:lnTo>
                    <a:pt x="7085" y="2119"/>
                  </a:lnTo>
                  <a:cubicBezTo>
                    <a:pt x="7085" y="2119"/>
                    <a:pt x="7109" y="2119"/>
                    <a:pt x="7109" y="2131"/>
                  </a:cubicBezTo>
                  <a:lnTo>
                    <a:pt x="7109" y="2846"/>
                  </a:lnTo>
                  <a:cubicBezTo>
                    <a:pt x="7109" y="2846"/>
                    <a:pt x="7109" y="2858"/>
                    <a:pt x="7085" y="2858"/>
                  </a:cubicBezTo>
                  <a:lnTo>
                    <a:pt x="1787" y="2858"/>
                  </a:lnTo>
                  <a:cubicBezTo>
                    <a:pt x="1787" y="2858"/>
                    <a:pt x="1775" y="2858"/>
                    <a:pt x="1775" y="2846"/>
                  </a:cubicBezTo>
                  <a:lnTo>
                    <a:pt x="1775" y="2131"/>
                  </a:lnTo>
                  <a:lnTo>
                    <a:pt x="1763" y="2131"/>
                  </a:lnTo>
                  <a:lnTo>
                    <a:pt x="5668" y="2119"/>
                  </a:lnTo>
                  <a:cubicBezTo>
                    <a:pt x="5752" y="2119"/>
                    <a:pt x="5823" y="2048"/>
                    <a:pt x="5823" y="1953"/>
                  </a:cubicBezTo>
                  <a:cubicBezTo>
                    <a:pt x="5823" y="1857"/>
                    <a:pt x="5752" y="1786"/>
                    <a:pt x="5668" y="1786"/>
                  </a:cubicBezTo>
                  <a:lnTo>
                    <a:pt x="2180" y="1786"/>
                  </a:lnTo>
                  <a:cubicBezTo>
                    <a:pt x="2335" y="1417"/>
                    <a:pt x="2585" y="1072"/>
                    <a:pt x="2942" y="822"/>
                  </a:cubicBezTo>
                  <a:cubicBezTo>
                    <a:pt x="3370" y="512"/>
                    <a:pt x="3870" y="345"/>
                    <a:pt x="4430" y="345"/>
                  </a:cubicBezTo>
                  <a:close/>
                  <a:moveTo>
                    <a:pt x="6918" y="3179"/>
                  </a:moveTo>
                  <a:lnTo>
                    <a:pt x="6918" y="3191"/>
                  </a:lnTo>
                  <a:lnTo>
                    <a:pt x="6918" y="3739"/>
                  </a:lnTo>
                  <a:lnTo>
                    <a:pt x="6716" y="3739"/>
                  </a:lnTo>
                  <a:cubicBezTo>
                    <a:pt x="6621" y="3739"/>
                    <a:pt x="6526" y="3643"/>
                    <a:pt x="6526" y="3548"/>
                  </a:cubicBezTo>
                  <a:lnTo>
                    <a:pt x="6526" y="3179"/>
                  </a:lnTo>
                  <a:close/>
                  <a:moveTo>
                    <a:pt x="2335" y="3203"/>
                  </a:moveTo>
                  <a:lnTo>
                    <a:pt x="2335" y="3560"/>
                  </a:lnTo>
                  <a:cubicBezTo>
                    <a:pt x="2335" y="3667"/>
                    <a:pt x="2239" y="3751"/>
                    <a:pt x="2132" y="3751"/>
                  </a:cubicBezTo>
                  <a:lnTo>
                    <a:pt x="1942" y="3751"/>
                  </a:lnTo>
                  <a:lnTo>
                    <a:pt x="1942" y="3203"/>
                  </a:lnTo>
                  <a:close/>
                  <a:moveTo>
                    <a:pt x="6180" y="3179"/>
                  </a:moveTo>
                  <a:lnTo>
                    <a:pt x="6180" y="3548"/>
                  </a:lnTo>
                  <a:cubicBezTo>
                    <a:pt x="6180" y="3834"/>
                    <a:pt x="6418" y="4072"/>
                    <a:pt x="6704" y="4072"/>
                  </a:cubicBezTo>
                  <a:lnTo>
                    <a:pt x="6978" y="4072"/>
                  </a:lnTo>
                  <a:cubicBezTo>
                    <a:pt x="7049" y="4072"/>
                    <a:pt x="7121" y="4096"/>
                    <a:pt x="7180" y="4155"/>
                  </a:cubicBezTo>
                  <a:cubicBezTo>
                    <a:pt x="7240" y="4215"/>
                    <a:pt x="7252" y="4286"/>
                    <a:pt x="7252" y="4370"/>
                  </a:cubicBezTo>
                  <a:cubicBezTo>
                    <a:pt x="7240" y="4501"/>
                    <a:pt x="7109" y="4620"/>
                    <a:pt x="6954" y="4620"/>
                  </a:cubicBezTo>
                  <a:lnTo>
                    <a:pt x="6883" y="4620"/>
                  </a:lnTo>
                  <a:lnTo>
                    <a:pt x="6883" y="4608"/>
                  </a:lnTo>
                  <a:cubicBezTo>
                    <a:pt x="6883" y="4513"/>
                    <a:pt x="6811" y="4441"/>
                    <a:pt x="6716" y="4441"/>
                  </a:cubicBezTo>
                  <a:cubicBezTo>
                    <a:pt x="6633" y="4441"/>
                    <a:pt x="6561" y="4513"/>
                    <a:pt x="6561" y="4608"/>
                  </a:cubicBezTo>
                  <a:cubicBezTo>
                    <a:pt x="6561" y="4810"/>
                    <a:pt x="6526" y="5001"/>
                    <a:pt x="6466" y="5203"/>
                  </a:cubicBezTo>
                  <a:cubicBezTo>
                    <a:pt x="6383" y="4977"/>
                    <a:pt x="6121" y="4798"/>
                    <a:pt x="5847" y="4798"/>
                  </a:cubicBezTo>
                  <a:lnTo>
                    <a:pt x="3013" y="4798"/>
                  </a:lnTo>
                  <a:cubicBezTo>
                    <a:pt x="2727" y="4798"/>
                    <a:pt x="2489" y="4965"/>
                    <a:pt x="2370" y="5203"/>
                  </a:cubicBezTo>
                  <a:cubicBezTo>
                    <a:pt x="2311" y="5001"/>
                    <a:pt x="2287" y="4810"/>
                    <a:pt x="2287" y="4608"/>
                  </a:cubicBezTo>
                  <a:cubicBezTo>
                    <a:pt x="2287" y="4513"/>
                    <a:pt x="2215" y="4441"/>
                    <a:pt x="2120" y="4441"/>
                  </a:cubicBezTo>
                  <a:cubicBezTo>
                    <a:pt x="2037" y="4441"/>
                    <a:pt x="1954" y="4513"/>
                    <a:pt x="1954" y="4608"/>
                  </a:cubicBezTo>
                  <a:lnTo>
                    <a:pt x="1954" y="4620"/>
                  </a:lnTo>
                  <a:lnTo>
                    <a:pt x="1858" y="4620"/>
                  </a:lnTo>
                  <a:cubicBezTo>
                    <a:pt x="1775" y="4620"/>
                    <a:pt x="1704" y="4584"/>
                    <a:pt x="1644" y="4524"/>
                  </a:cubicBezTo>
                  <a:cubicBezTo>
                    <a:pt x="1584" y="4465"/>
                    <a:pt x="1573" y="4394"/>
                    <a:pt x="1573" y="4322"/>
                  </a:cubicBezTo>
                  <a:cubicBezTo>
                    <a:pt x="1584" y="4191"/>
                    <a:pt x="1715" y="4072"/>
                    <a:pt x="1870" y="4072"/>
                  </a:cubicBezTo>
                  <a:lnTo>
                    <a:pt x="2108" y="4072"/>
                  </a:lnTo>
                  <a:cubicBezTo>
                    <a:pt x="2394" y="4072"/>
                    <a:pt x="2632" y="3834"/>
                    <a:pt x="2632" y="3548"/>
                  </a:cubicBezTo>
                  <a:lnTo>
                    <a:pt x="2632" y="3179"/>
                  </a:lnTo>
                  <a:close/>
                  <a:moveTo>
                    <a:pt x="2013" y="5108"/>
                  </a:moveTo>
                  <a:cubicBezTo>
                    <a:pt x="2073" y="5394"/>
                    <a:pt x="2180" y="5656"/>
                    <a:pt x="2335" y="5894"/>
                  </a:cubicBezTo>
                  <a:lnTo>
                    <a:pt x="2335" y="7108"/>
                  </a:lnTo>
                  <a:cubicBezTo>
                    <a:pt x="2335" y="7251"/>
                    <a:pt x="2346" y="7382"/>
                    <a:pt x="2370" y="7537"/>
                  </a:cubicBezTo>
                  <a:lnTo>
                    <a:pt x="1215" y="7846"/>
                  </a:lnTo>
                  <a:cubicBezTo>
                    <a:pt x="1168" y="7727"/>
                    <a:pt x="1120" y="7477"/>
                    <a:pt x="1346" y="7180"/>
                  </a:cubicBezTo>
                  <a:cubicBezTo>
                    <a:pt x="1596" y="6822"/>
                    <a:pt x="1620" y="6584"/>
                    <a:pt x="1620" y="6239"/>
                  </a:cubicBezTo>
                  <a:lnTo>
                    <a:pt x="1620" y="6156"/>
                  </a:lnTo>
                  <a:cubicBezTo>
                    <a:pt x="1632" y="5763"/>
                    <a:pt x="1715" y="5608"/>
                    <a:pt x="1834" y="5429"/>
                  </a:cubicBezTo>
                  <a:cubicBezTo>
                    <a:pt x="1894" y="5346"/>
                    <a:pt x="1954" y="5239"/>
                    <a:pt x="2013" y="5108"/>
                  </a:cubicBezTo>
                  <a:close/>
                  <a:moveTo>
                    <a:pt x="6871" y="5084"/>
                  </a:moveTo>
                  <a:cubicBezTo>
                    <a:pt x="6918" y="5215"/>
                    <a:pt x="6990" y="5322"/>
                    <a:pt x="7049" y="5406"/>
                  </a:cubicBezTo>
                  <a:cubicBezTo>
                    <a:pt x="7168" y="5584"/>
                    <a:pt x="7252" y="5751"/>
                    <a:pt x="7276" y="6120"/>
                  </a:cubicBezTo>
                  <a:lnTo>
                    <a:pt x="7276" y="6215"/>
                  </a:lnTo>
                  <a:cubicBezTo>
                    <a:pt x="7276" y="6549"/>
                    <a:pt x="7288" y="6787"/>
                    <a:pt x="7538" y="7144"/>
                  </a:cubicBezTo>
                  <a:cubicBezTo>
                    <a:pt x="7728" y="7477"/>
                    <a:pt x="7704" y="7727"/>
                    <a:pt x="7657" y="7846"/>
                  </a:cubicBezTo>
                  <a:lnTo>
                    <a:pt x="6514" y="7501"/>
                  </a:lnTo>
                  <a:cubicBezTo>
                    <a:pt x="6537" y="7370"/>
                    <a:pt x="6561" y="7227"/>
                    <a:pt x="6561" y="7072"/>
                  </a:cubicBezTo>
                  <a:lnTo>
                    <a:pt x="6561" y="5870"/>
                  </a:lnTo>
                  <a:cubicBezTo>
                    <a:pt x="6704" y="5632"/>
                    <a:pt x="6811" y="5358"/>
                    <a:pt x="6871" y="5084"/>
                  </a:cubicBezTo>
                  <a:close/>
                  <a:moveTo>
                    <a:pt x="5847" y="5120"/>
                  </a:moveTo>
                  <a:cubicBezTo>
                    <a:pt x="6049" y="5120"/>
                    <a:pt x="6216" y="5286"/>
                    <a:pt x="6216" y="5501"/>
                  </a:cubicBezTo>
                  <a:lnTo>
                    <a:pt x="6216" y="7084"/>
                  </a:lnTo>
                  <a:cubicBezTo>
                    <a:pt x="6216" y="8073"/>
                    <a:pt x="5406" y="8870"/>
                    <a:pt x="4430" y="8870"/>
                  </a:cubicBezTo>
                  <a:cubicBezTo>
                    <a:pt x="3442" y="8870"/>
                    <a:pt x="2644" y="8073"/>
                    <a:pt x="2644" y="7084"/>
                  </a:cubicBezTo>
                  <a:lnTo>
                    <a:pt x="2644" y="5501"/>
                  </a:lnTo>
                  <a:cubicBezTo>
                    <a:pt x="2644" y="5286"/>
                    <a:pt x="2811" y="5120"/>
                    <a:pt x="3013" y="5120"/>
                  </a:cubicBezTo>
                  <a:close/>
                  <a:moveTo>
                    <a:pt x="4442" y="0"/>
                  </a:moveTo>
                  <a:cubicBezTo>
                    <a:pt x="3823" y="0"/>
                    <a:pt x="3239" y="179"/>
                    <a:pt x="2763" y="536"/>
                  </a:cubicBezTo>
                  <a:cubicBezTo>
                    <a:pt x="2335" y="857"/>
                    <a:pt x="2001" y="1286"/>
                    <a:pt x="1858" y="1774"/>
                  </a:cubicBezTo>
                  <a:lnTo>
                    <a:pt x="1799" y="1774"/>
                  </a:lnTo>
                  <a:cubicBezTo>
                    <a:pt x="1596" y="1774"/>
                    <a:pt x="1453" y="1929"/>
                    <a:pt x="1453" y="2119"/>
                  </a:cubicBezTo>
                  <a:lnTo>
                    <a:pt x="1453" y="2834"/>
                  </a:lnTo>
                  <a:cubicBezTo>
                    <a:pt x="1453" y="2965"/>
                    <a:pt x="1525" y="3072"/>
                    <a:pt x="1632" y="3131"/>
                  </a:cubicBezTo>
                  <a:lnTo>
                    <a:pt x="1632" y="3786"/>
                  </a:lnTo>
                  <a:cubicBezTo>
                    <a:pt x="1442" y="3870"/>
                    <a:pt x="1299" y="4048"/>
                    <a:pt x="1275" y="4263"/>
                  </a:cubicBezTo>
                  <a:cubicBezTo>
                    <a:pt x="1263" y="4441"/>
                    <a:pt x="1323" y="4608"/>
                    <a:pt x="1418" y="4739"/>
                  </a:cubicBezTo>
                  <a:cubicBezTo>
                    <a:pt x="1501" y="4822"/>
                    <a:pt x="1620" y="4882"/>
                    <a:pt x="1715" y="4917"/>
                  </a:cubicBezTo>
                  <a:cubicBezTo>
                    <a:pt x="1680" y="5036"/>
                    <a:pt x="1632" y="5120"/>
                    <a:pt x="1561" y="5227"/>
                  </a:cubicBezTo>
                  <a:cubicBezTo>
                    <a:pt x="1442" y="5417"/>
                    <a:pt x="1287" y="5644"/>
                    <a:pt x="1275" y="6120"/>
                  </a:cubicBezTo>
                  <a:lnTo>
                    <a:pt x="1275" y="6227"/>
                  </a:lnTo>
                  <a:cubicBezTo>
                    <a:pt x="1275" y="6549"/>
                    <a:pt x="1263" y="6715"/>
                    <a:pt x="1061" y="6989"/>
                  </a:cubicBezTo>
                  <a:cubicBezTo>
                    <a:pt x="763" y="7382"/>
                    <a:pt x="811" y="7739"/>
                    <a:pt x="882" y="7942"/>
                  </a:cubicBezTo>
                  <a:cubicBezTo>
                    <a:pt x="370" y="8084"/>
                    <a:pt x="1" y="8573"/>
                    <a:pt x="1" y="9108"/>
                  </a:cubicBezTo>
                  <a:lnTo>
                    <a:pt x="1" y="11144"/>
                  </a:lnTo>
                  <a:cubicBezTo>
                    <a:pt x="1" y="11240"/>
                    <a:pt x="84" y="11311"/>
                    <a:pt x="168" y="11311"/>
                  </a:cubicBezTo>
                  <a:cubicBezTo>
                    <a:pt x="263" y="11311"/>
                    <a:pt x="334" y="11240"/>
                    <a:pt x="334" y="11144"/>
                  </a:cubicBezTo>
                  <a:lnTo>
                    <a:pt x="334" y="9108"/>
                  </a:lnTo>
                  <a:cubicBezTo>
                    <a:pt x="334" y="8704"/>
                    <a:pt x="596" y="8370"/>
                    <a:pt x="977" y="8251"/>
                  </a:cubicBezTo>
                  <a:lnTo>
                    <a:pt x="1596" y="8073"/>
                  </a:lnTo>
                  <a:lnTo>
                    <a:pt x="1596" y="11144"/>
                  </a:lnTo>
                  <a:cubicBezTo>
                    <a:pt x="1596" y="11240"/>
                    <a:pt x="1668" y="11311"/>
                    <a:pt x="1763" y="11311"/>
                  </a:cubicBezTo>
                  <a:cubicBezTo>
                    <a:pt x="1846" y="11311"/>
                    <a:pt x="1930" y="11240"/>
                    <a:pt x="1930" y="11144"/>
                  </a:cubicBezTo>
                  <a:lnTo>
                    <a:pt x="1930" y="7977"/>
                  </a:lnTo>
                  <a:lnTo>
                    <a:pt x="2430" y="7834"/>
                  </a:lnTo>
                  <a:cubicBezTo>
                    <a:pt x="2442" y="7858"/>
                    <a:pt x="2466" y="7906"/>
                    <a:pt x="2477" y="7930"/>
                  </a:cubicBezTo>
                  <a:lnTo>
                    <a:pt x="2477" y="11168"/>
                  </a:lnTo>
                  <a:cubicBezTo>
                    <a:pt x="2477" y="11251"/>
                    <a:pt x="2549" y="11323"/>
                    <a:pt x="2644" y="11323"/>
                  </a:cubicBezTo>
                  <a:cubicBezTo>
                    <a:pt x="2727" y="11323"/>
                    <a:pt x="2799" y="11251"/>
                    <a:pt x="2799" y="11168"/>
                  </a:cubicBezTo>
                  <a:lnTo>
                    <a:pt x="2799" y="8465"/>
                  </a:lnTo>
                  <a:cubicBezTo>
                    <a:pt x="3192" y="8918"/>
                    <a:pt x="3775" y="9216"/>
                    <a:pt x="4406" y="9216"/>
                  </a:cubicBezTo>
                  <a:cubicBezTo>
                    <a:pt x="5323" y="9216"/>
                    <a:pt x="6097" y="8644"/>
                    <a:pt x="6395" y="7846"/>
                  </a:cubicBezTo>
                  <a:lnTo>
                    <a:pt x="6895" y="7989"/>
                  </a:lnTo>
                  <a:lnTo>
                    <a:pt x="6895" y="11168"/>
                  </a:lnTo>
                  <a:cubicBezTo>
                    <a:pt x="6895" y="11251"/>
                    <a:pt x="6966" y="11323"/>
                    <a:pt x="7061" y="11323"/>
                  </a:cubicBezTo>
                  <a:cubicBezTo>
                    <a:pt x="7145" y="11323"/>
                    <a:pt x="7228" y="11251"/>
                    <a:pt x="7228" y="11168"/>
                  </a:cubicBezTo>
                  <a:lnTo>
                    <a:pt x="7228" y="8084"/>
                  </a:lnTo>
                  <a:lnTo>
                    <a:pt x="7847" y="8263"/>
                  </a:lnTo>
                  <a:cubicBezTo>
                    <a:pt x="8216" y="8370"/>
                    <a:pt x="8490" y="8727"/>
                    <a:pt x="8490" y="9120"/>
                  </a:cubicBezTo>
                  <a:lnTo>
                    <a:pt x="8490" y="11168"/>
                  </a:lnTo>
                  <a:cubicBezTo>
                    <a:pt x="8490" y="11251"/>
                    <a:pt x="8562" y="11323"/>
                    <a:pt x="8657" y="11323"/>
                  </a:cubicBezTo>
                  <a:cubicBezTo>
                    <a:pt x="8740" y="11323"/>
                    <a:pt x="8812" y="11251"/>
                    <a:pt x="8812" y="11168"/>
                  </a:cubicBezTo>
                  <a:lnTo>
                    <a:pt x="8812" y="9120"/>
                  </a:lnTo>
                  <a:cubicBezTo>
                    <a:pt x="8847" y="8573"/>
                    <a:pt x="8490" y="8096"/>
                    <a:pt x="7966" y="7953"/>
                  </a:cubicBezTo>
                  <a:cubicBezTo>
                    <a:pt x="8026" y="7763"/>
                    <a:pt x="8085" y="7406"/>
                    <a:pt x="7788" y="7001"/>
                  </a:cubicBezTo>
                  <a:cubicBezTo>
                    <a:pt x="7597" y="6727"/>
                    <a:pt x="7597" y="6572"/>
                    <a:pt x="7585" y="6239"/>
                  </a:cubicBezTo>
                  <a:lnTo>
                    <a:pt x="7585" y="6132"/>
                  </a:lnTo>
                  <a:cubicBezTo>
                    <a:pt x="7573" y="5656"/>
                    <a:pt x="7430" y="5441"/>
                    <a:pt x="7299" y="5239"/>
                  </a:cubicBezTo>
                  <a:cubicBezTo>
                    <a:pt x="7240" y="5144"/>
                    <a:pt x="7180" y="5048"/>
                    <a:pt x="7133" y="4929"/>
                  </a:cubicBezTo>
                  <a:cubicBezTo>
                    <a:pt x="7371" y="4870"/>
                    <a:pt x="7573" y="4667"/>
                    <a:pt x="7597" y="4405"/>
                  </a:cubicBezTo>
                  <a:cubicBezTo>
                    <a:pt x="7609" y="4227"/>
                    <a:pt x="7549" y="4072"/>
                    <a:pt x="7442" y="3929"/>
                  </a:cubicBezTo>
                  <a:cubicBezTo>
                    <a:pt x="7383" y="3870"/>
                    <a:pt x="7323" y="3834"/>
                    <a:pt x="7252" y="3786"/>
                  </a:cubicBezTo>
                  <a:lnTo>
                    <a:pt x="7252" y="3131"/>
                  </a:lnTo>
                  <a:cubicBezTo>
                    <a:pt x="7359" y="3072"/>
                    <a:pt x="7430" y="2965"/>
                    <a:pt x="7430" y="2834"/>
                  </a:cubicBezTo>
                  <a:lnTo>
                    <a:pt x="7430" y="2119"/>
                  </a:lnTo>
                  <a:cubicBezTo>
                    <a:pt x="7430" y="1929"/>
                    <a:pt x="7288" y="1774"/>
                    <a:pt x="7097" y="1774"/>
                  </a:cubicBezTo>
                  <a:lnTo>
                    <a:pt x="7026" y="1774"/>
                  </a:lnTo>
                  <a:cubicBezTo>
                    <a:pt x="6871" y="1298"/>
                    <a:pt x="6549" y="857"/>
                    <a:pt x="6121" y="536"/>
                  </a:cubicBezTo>
                  <a:cubicBezTo>
                    <a:pt x="5644" y="179"/>
                    <a:pt x="5049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4" name="Google Shape;12004;p61"/>
            <p:cNvSpPr/>
            <p:nvPr/>
          </p:nvSpPr>
          <p:spPr>
            <a:xfrm>
              <a:off x="6888933" y="2249319"/>
              <a:ext cx="10201" cy="78091"/>
            </a:xfrm>
            <a:custGeom>
              <a:avLst/>
              <a:gdLst/>
              <a:ahLst/>
              <a:cxnLst/>
              <a:rect l="l" t="t" r="r" b="b"/>
              <a:pathLst>
                <a:path w="322" h="2465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2298"/>
                  </a:lnTo>
                  <a:cubicBezTo>
                    <a:pt x="0" y="2381"/>
                    <a:pt x="72" y="2465"/>
                    <a:pt x="167" y="2465"/>
                  </a:cubicBezTo>
                  <a:cubicBezTo>
                    <a:pt x="250" y="2465"/>
                    <a:pt x="322" y="2381"/>
                    <a:pt x="322" y="2298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5" name="Google Shape;12005;p61"/>
            <p:cNvSpPr/>
            <p:nvPr/>
          </p:nvSpPr>
          <p:spPr>
            <a:xfrm>
              <a:off x="6793133" y="2075364"/>
              <a:ext cx="22651" cy="13306"/>
            </a:xfrm>
            <a:custGeom>
              <a:avLst/>
              <a:gdLst/>
              <a:ahLst/>
              <a:cxnLst/>
              <a:rect l="l" t="t" r="r" b="b"/>
              <a:pathLst>
                <a:path w="715" h="420" extrusionOk="0">
                  <a:moveTo>
                    <a:pt x="517" y="1"/>
                  </a:moveTo>
                  <a:cubicBezTo>
                    <a:pt x="508" y="1"/>
                    <a:pt x="498" y="1"/>
                    <a:pt x="488" y="2"/>
                  </a:cubicBezTo>
                  <a:lnTo>
                    <a:pt x="131" y="98"/>
                  </a:lnTo>
                  <a:cubicBezTo>
                    <a:pt x="48" y="122"/>
                    <a:pt x="0" y="217"/>
                    <a:pt x="12" y="300"/>
                  </a:cubicBezTo>
                  <a:cubicBezTo>
                    <a:pt x="36" y="372"/>
                    <a:pt x="107" y="419"/>
                    <a:pt x="179" y="419"/>
                  </a:cubicBezTo>
                  <a:lnTo>
                    <a:pt x="226" y="419"/>
                  </a:lnTo>
                  <a:lnTo>
                    <a:pt x="584" y="336"/>
                  </a:lnTo>
                  <a:cubicBezTo>
                    <a:pt x="667" y="300"/>
                    <a:pt x="715" y="217"/>
                    <a:pt x="703" y="122"/>
                  </a:cubicBezTo>
                  <a:cubicBezTo>
                    <a:pt x="671" y="47"/>
                    <a:pt x="600" y="1"/>
                    <a:pt x="5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6" name="Google Shape;12006;p61"/>
            <p:cNvSpPr/>
            <p:nvPr/>
          </p:nvSpPr>
          <p:spPr>
            <a:xfrm>
              <a:off x="6859502" y="2075649"/>
              <a:ext cx="23792" cy="13401"/>
            </a:xfrm>
            <a:custGeom>
              <a:avLst/>
              <a:gdLst/>
              <a:ahLst/>
              <a:cxnLst/>
              <a:rect l="l" t="t" r="r" b="b"/>
              <a:pathLst>
                <a:path w="751" h="423" extrusionOk="0">
                  <a:moveTo>
                    <a:pt x="201" y="0"/>
                  </a:moveTo>
                  <a:cubicBezTo>
                    <a:pt x="128" y="0"/>
                    <a:pt x="57" y="54"/>
                    <a:pt x="36" y="124"/>
                  </a:cubicBezTo>
                  <a:cubicBezTo>
                    <a:pt x="1" y="220"/>
                    <a:pt x="60" y="303"/>
                    <a:pt x="155" y="339"/>
                  </a:cubicBezTo>
                  <a:lnTo>
                    <a:pt x="513" y="422"/>
                  </a:lnTo>
                  <a:lnTo>
                    <a:pt x="548" y="422"/>
                  </a:lnTo>
                  <a:cubicBezTo>
                    <a:pt x="632" y="422"/>
                    <a:pt x="691" y="386"/>
                    <a:pt x="715" y="303"/>
                  </a:cubicBezTo>
                  <a:cubicBezTo>
                    <a:pt x="751" y="220"/>
                    <a:pt x="691" y="124"/>
                    <a:pt x="596" y="101"/>
                  </a:cubicBezTo>
                  <a:lnTo>
                    <a:pt x="239" y="5"/>
                  </a:lnTo>
                  <a:cubicBezTo>
                    <a:pt x="226" y="2"/>
                    <a:pt x="213" y="0"/>
                    <a:pt x="2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07" name="Google Shape;12007;p61"/>
          <p:cNvGrpSpPr/>
          <p:nvPr/>
        </p:nvGrpSpPr>
        <p:grpSpPr>
          <a:xfrm>
            <a:off x="6248839" y="1967937"/>
            <a:ext cx="280273" cy="358744"/>
            <a:chOff x="6248839" y="1967937"/>
            <a:chExt cx="280273" cy="358744"/>
          </a:xfrm>
        </p:grpSpPr>
        <p:sp>
          <p:nvSpPr>
            <p:cNvPr id="12008" name="Google Shape;12008;p61"/>
            <p:cNvSpPr/>
            <p:nvPr/>
          </p:nvSpPr>
          <p:spPr>
            <a:xfrm>
              <a:off x="6383859" y="2316449"/>
              <a:ext cx="10613" cy="10233"/>
            </a:xfrm>
            <a:custGeom>
              <a:avLst/>
              <a:gdLst/>
              <a:ahLst/>
              <a:cxnLst/>
              <a:rect l="l" t="t" r="r" b="b"/>
              <a:pathLst>
                <a:path w="335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34" y="251"/>
                    <a:pt x="334" y="167"/>
                  </a:cubicBezTo>
                  <a:cubicBezTo>
                    <a:pt x="334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9" name="Google Shape;12009;p61"/>
            <p:cNvSpPr/>
            <p:nvPr/>
          </p:nvSpPr>
          <p:spPr>
            <a:xfrm>
              <a:off x="6248839" y="1967937"/>
              <a:ext cx="280273" cy="358364"/>
            </a:xfrm>
            <a:custGeom>
              <a:avLst/>
              <a:gdLst/>
              <a:ahLst/>
              <a:cxnLst/>
              <a:rect l="l" t="t" r="r" b="b"/>
              <a:pathLst>
                <a:path w="8847" h="11312" extrusionOk="0">
                  <a:moveTo>
                    <a:pt x="4001" y="357"/>
                  </a:moveTo>
                  <a:cubicBezTo>
                    <a:pt x="4156" y="357"/>
                    <a:pt x="4311" y="476"/>
                    <a:pt x="4358" y="643"/>
                  </a:cubicBezTo>
                  <a:lnTo>
                    <a:pt x="4430" y="953"/>
                  </a:lnTo>
                  <a:cubicBezTo>
                    <a:pt x="4442" y="1024"/>
                    <a:pt x="4513" y="1072"/>
                    <a:pt x="4596" y="1072"/>
                  </a:cubicBezTo>
                  <a:lnTo>
                    <a:pt x="4632" y="1072"/>
                  </a:lnTo>
                  <a:cubicBezTo>
                    <a:pt x="4727" y="1060"/>
                    <a:pt x="4787" y="953"/>
                    <a:pt x="4751" y="881"/>
                  </a:cubicBezTo>
                  <a:lnTo>
                    <a:pt x="4680" y="560"/>
                  </a:lnTo>
                  <a:cubicBezTo>
                    <a:pt x="4668" y="488"/>
                    <a:pt x="4632" y="429"/>
                    <a:pt x="4596" y="369"/>
                  </a:cubicBezTo>
                  <a:lnTo>
                    <a:pt x="5549" y="369"/>
                  </a:lnTo>
                  <a:cubicBezTo>
                    <a:pt x="5942" y="369"/>
                    <a:pt x="6299" y="643"/>
                    <a:pt x="6406" y="1036"/>
                  </a:cubicBezTo>
                  <a:lnTo>
                    <a:pt x="6656" y="1989"/>
                  </a:lnTo>
                  <a:lnTo>
                    <a:pt x="6001" y="1989"/>
                  </a:lnTo>
                  <a:cubicBezTo>
                    <a:pt x="5918" y="1989"/>
                    <a:pt x="5846" y="2072"/>
                    <a:pt x="5846" y="2155"/>
                  </a:cubicBezTo>
                  <a:cubicBezTo>
                    <a:pt x="5846" y="2250"/>
                    <a:pt x="5918" y="2322"/>
                    <a:pt x="6001" y="2322"/>
                  </a:cubicBezTo>
                  <a:lnTo>
                    <a:pt x="6751" y="2322"/>
                  </a:lnTo>
                  <a:lnTo>
                    <a:pt x="6858" y="2691"/>
                  </a:lnTo>
                  <a:lnTo>
                    <a:pt x="1977" y="2691"/>
                  </a:lnTo>
                  <a:lnTo>
                    <a:pt x="2096" y="2310"/>
                  </a:lnTo>
                  <a:lnTo>
                    <a:pt x="5311" y="2310"/>
                  </a:lnTo>
                  <a:cubicBezTo>
                    <a:pt x="5394" y="2310"/>
                    <a:pt x="5465" y="2239"/>
                    <a:pt x="5465" y="2143"/>
                  </a:cubicBezTo>
                  <a:cubicBezTo>
                    <a:pt x="5465" y="2048"/>
                    <a:pt x="5394" y="1977"/>
                    <a:pt x="5311" y="1977"/>
                  </a:cubicBezTo>
                  <a:lnTo>
                    <a:pt x="2167" y="1977"/>
                  </a:lnTo>
                  <a:lnTo>
                    <a:pt x="2417" y="1024"/>
                  </a:lnTo>
                  <a:cubicBezTo>
                    <a:pt x="2525" y="643"/>
                    <a:pt x="2882" y="357"/>
                    <a:pt x="3287" y="357"/>
                  </a:cubicBezTo>
                  <a:close/>
                  <a:moveTo>
                    <a:pt x="2310" y="3024"/>
                  </a:moveTo>
                  <a:lnTo>
                    <a:pt x="2310" y="3572"/>
                  </a:lnTo>
                  <a:lnTo>
                    <a:pt x="1941" y="3572"/>
                  </a:lnTo>
                  <a:lnTo>
                    <a:pt x="1941" y="3024"/>
                  </a:lnTo>
                  <a:close/>
                  <a:moveTo>
                    <a:pt x="6918" y="3024"/>
                  </a:moveTo>
                  <a:lnTo>
                    <a:pt x="6918" y="3572"/>
                  </a:lnTo>
                  <a:lnTo>
                    <a:pt x="6537" y="3572"/>
                  </a:lnTo>
                  <a:lnTo>
                    <a:pt x="6537" y="3024"/>
                  </a:lnTo>
                  <a:close/>
                  <a:moveTo>
                    <a:pt x="6204" y="3024"/>
                  </a:moveTo>
                  <a:lnTo>
                    <a:pt x="6204" y="3572"/>
                  </a:lnTo>
                  <a:lnTo>
                    <a:pt x="6168" y="3572"/>
                  </a:lnTo>
                  <a:lnTo>
                    <a:pt x="6168" y="3560"/>
                  </a:lnTo>
                  <a:cubicBezTo>
                    <a:pt x="6180" y="3465"/>
                    <a:pt x="6108" y="3393"/>
                    <a:pt x="6025" y="3393"/>
                  </a:cubicBezTo>
                  <a:lnTo>
                    <a:pt x="4787" y="3393"/>
                  </a:lnTo>
                  <a:cubicBezTo>
                    <a:pt x="4692" y="3393"/>
                    <a:pt x="4620" y="3465"/>
                    <a:pt x="4620" y="3560"/>
                  </a:cubicBezTo>
                  <a:lnTo>
                    <a:pt x="4620" y="3608"/>
                  </a:lnTo>
                  <a:cubicBezTo>
                    <a:pt x="4561" y="3572"/>
                    <a:pt x="4501" y="3572"/>
                    <a:pt x="4430" y="3572"/>
                  </a:cubicBezTo>
                  <a:cubicBezTo>
                    <a:pt x="4358" y="3572"/>
                    <a:pt x="4299" y="3584"/>
                    <a:pt x="4239" y="3608"/>
                  </a:cubicBezTo>
                  <a:lnTo>
                    <a:pt x="4239" y="3560"/>
                  </a:lnTo>
                  <a:cubicBezTo>
                    <a:pt x="4239" y="3465"/>
                    <a:pt x="4156" y="3393"/>
                    <a:pt x="4072" y="3393"/>
                  </a:cubicBezTo>
                  <a:lnTo>
                    <a:pt x="2834" y="3393"/>
                  </a:lnTo>
                  <a:cubicBezTo>
                    <a:pt x="2751" y="3393"/>
                    <a:pt x="2667" y="3465"/>
                    <a:pt x="2667" y="3560"/>
                  </a:cubicBezTo>
                  <a:lnTo>
                    <a:pt x="2667" y="3572"/>
                  </a:lnTo>
                  <a:lnTo>
                    <a:pt x="2644" y="3572"/>
                  </a:lnTo>
                  <a:lnTo>
                    <a:pt x="2644" y="3024"/>
                  </a:lnTo>
                  <a:close/>
                  <a:moveTo>
                    <a:pt x="3894" y="3727"/>
                  </a:moveTo>
                  <a:lnTo>
                    <a:pt x="3894" y="4096"/>
                  </a:lnTo>
                  <a:cubicBezTo>
                    <a:pt x="3894" y="4203"/>
                    <a:pt x="3799" y="4286"/>
                    <a:pt x="3703" y="4286"/>
                  </a:cubicBezTo>
                  <a:lnTo>
                    <a:pt x="3168" y="4286"/>
                  </a:lnTo>
                  <a:cubicBezTo>
                    <a:pt x="3060" y="4286"/>
                    <a:pt x="2965" y="4203"/>
                    <a:pt x="2965" y="4096"/>
                  </a:cubicBezTo>
                  <a:lnTo>
                    <a:pt x="2965" y="3727"/>
                  </a:lnTo>
                  <a:lnTo>
                    <a:pt x="3287" y="3727"/>
                  </a:lnTo>
                  <a:lnTo>
                    <a:pt x="3287" y="3739"/>
                  </a:lnTo>
                  <a:lnTo>
                    <a:pt x="3287" y="3917"/>
                  </a:lnTo>
                  <a:cubicBezTo>
                    <a:pt x="3287" y="4001"/>
                    <a:pt x="3358" y="4084"/>
                    <a:pt x="3441" y="4084"/>
                  </a:cubicBezTo>
                  <a:cubicBezTo>
                    <a:pt x="3537" y="4084"/>
                    <a:pt x="3608" y="4001"/>
                    <a:pt x="3608" y="3917"/>
                  </a:cubicBezTo>
                  <a:lnTo>
                    <a:pt x="3608" y="3739"/>
                  </a:lnTo>
                  <a:lnTo>
                    <a:pt x="3608" y="3727"/>
                  </a:lnTo>
                  <a:close/>
                  <a:moveTo>
                    <a:pt x="5858" y="3727"/>
                  </a:moveTo>
                  <a:lnTo>
                    <a:pt x="5858" y="4096"/>
                  </a:lnTo>
                  <a:cubicBezTo>
                    <a:pt x="5858" y="4203"/>
                    <a:pt x="5763" y="4286"/>
                    <a:pt x="5668" y="4286"/>
                  </a:cubicBezTo>
                  <a:lnTo>
                    <a:pt x="5132" y="4286"/>
                  </a:lnTo>
                  <a:cubicBezTo>
                    <a:pt x="5025" y="4286"/>
                    <a:pt x="4930" y="4203"/>
                    <a:pt x="4930" y="4096"/>
                  </a:cubicBezTo>
                  <a:lnTo>
                    <a:pt x="4930" y="3727"/>
                  </a:lnTo>
                  <a:lnTo>
                    <a:pt x="5215" y="3727"/>
                  </a:lnTo>
                  <a:lnTo>
                    <a:pt x="5215" y="3739"/>
                  </a:lnTo>
                  <a:lnTo>
                    <a:pt x="5215" y="3917"/>
                  </a:lnTo>
                  <a:cubicBezTo>
                    <a:pt x="5227" y="4001"/>
                    <a:pt x="5311" y="4084"/>
                    <a:pt x="5406" y="4084"/>
                  </a:cubicBezTo>
                  <a:cubicBezTo>
                    <a:pt x="5501" y="4084"/>
                    <a:pt x="5573" y="4001"/>
                    <a:pt x="5573" y="3917"/>
                  </a:cubicBezTo>
                  <a:lnTo>
                    <a:pt x="5573" y="3739"/>
                  </a:lnTo>
                  <a:lnTo>
                    <a:pt x="5573" y="3727"/>
                  </a:lnTo>
                  <a:close/>
                  <a:moveTo>
                    <a:pt x="7013" y="3917"/>
                  </a:moveTo>
                  <a:cubicBezTo>
                    <a:pt x="7085" y="3917"/>
                    <a:pt x="7168" y="3941"/>
                    <a:pt x="7228" y="4001"/>
                  </a:cubicBezTo>
                  <a:cubicBezTo>
                    <a:pt x="7287" y="4060"/>
                    <a:pt x="7299" y="4144"/>
                    <a:pt x="7299" y="4215"/>
                  </a:cubicBezTo>
                  <a:cubicBezTo>
                    <a:pt x="7287" y="4346"/>
                    <a:pt x="7144" y="4465"/>
                    <a:pt x="7001" y="4465"/>
                  </a:cubicBezTo>
                  <a:lnTo>
                    <a:pt x="6930" y="4465"/>
                  </a:lnTo>
                  <a:lnTo>
                    <a:pt x="6930" y="4453"/>
                  </a:lnTo>
                  <a:cubicBezTo>
                    <a:pt x="6930" y="4358"/>
                    <a:pt x="6847" y="4286"/>
                    <a:pt x="6763" y="4286"/>
                  </a:cubicBezTo>
                  <a:cubicBezTo>
                    <a:pt x="6680" y="4286"/>
                    <a:pt x="6597" y="4358"/>
                    <a:pt x="6597" y="4453"/>
                  </a:cubicBezTo>
                  <a:lnTo>
                    <a:pt x="6597" y="4536"/>
                  </a:lnTo>
                  <a:cubicBezTo>
                    <a:pt x="6156" y="4858"/>
                    <a:pt x="5608" y="4941"/>
                    <a:pt x="5418" y="4953"/>
                  </a:cubicBezTo>
                  <a:cubicBezTo>
                    <a:pt x="5311" y="4870"/>
                    <a:pt x="5156" y="4810"/>
                    <a:pt x="4989" y="4810"/>
                  </a:cubicBezTo>
                  <a:lnTo>
                    <a:pt x="3930" y="4810"/>
                  </a:lnTo>
                  <a:cubicBezTo>
                    <a:pt x="3775" y="4810"/>
                    <a:pt x="3620" y="4870"/>
                    <a:pt x="3501" y="4953"/>
                  </a:cubicBezTo>
                  <a:cubicBezTo>
                    <a:pt x="3334" y="4941"/>
                    <a:pt x="2775" y="4858"/>
                    <a:pt x="2322" y="4536"/>
                  </a:cubicBezTo>
                  <a:lnTo>
                    <a:pt x="2322" y="4453"/>
                  </a:lnTo>
                  <a:cubicBezTo>
                    <a:pt x="2298" y="4358"/>
                    <a:pt x="2227" y="4286"/>
                    <a:pt x="2132" y="4286"/>
                  </a:cubicBezTo>
                  <a:cubicBezTo>
                    <a:pt x="2048" y="4286"/>
                    <a:pt x="1977" y="4358"/>
                    <a:pt x="1977" y="4453"/>
                  </a:cubicBezTo>
                  <a:lnTo>
                    <a:pt x="1977" y="4465"/>
                  </a:lnTo>
                  <a:lnTo>
                    <a:pt x="1870" y="4465"/>
                  </a:lnTo>
                  <a:cubicBezTo>
                    <a:pt x="1798" y="4465"/>
                    <a:pt x="1715" y="4441"/>
                    <a:pt x="1655" y="4382"/>
                  </a:cubicBezTo>
                  <a:cubicBezTo>
                    <a:pt x="1596" y="4322"/>
                    <a:pt x="1584" y="4239"/>
                    <a:pt x="1584" y="4167"/>
                  </a:cubicBezTo>
                  <a:cubicBezTo>
                    <a:pt x="1596" y="4036"/>
                    <a:pt x="1739" y="3917"/>
                    <a:pt x="1882" y="3917"/>
                  </a:cubicBezTo>
                  <a:lnTo>
                    <a:pt x="2667" y="3917"/>
                  </a:lnTo>
                  <a:lnTo>
                    <a:pt x="2667" y="4108"/>
                  </a:lnTo>
                  <a:cubicBezTo>
                    <a:pt x="2667" y="4394"/>
                    <a:pt x="2906" y="4632"/>
                    <a:pt x="3191" y="4632"/>
                  </a:cubicBezTo>
                  <a:lnTo>
                    <a:pt x="3727" y="4632"/>
                  </a:lnTo>
                  <a:cubicBezTo>
                    <a:pt x="4013" y="4632"/>
                    <a:pt x="4251" y="4394"/>
                    <a:pt x="4251" y="4108"/>
                  </a:cubicBezTo>
                  <a:cubicBezTo>
                    <a:pt x="4251" y="4001"/>
                    <a:pt x="4334" y="3917"/>
                    <a:pt x="4442" y="3917"/>
                  </a:cubicBezTo>
                  <a:cubicBezTo>
                    <a:pt x="4549" y="3917"/>
                    <a:pt x="4632" y="4001"/>
                    <a:pt x="4632" y="4108"/>
                  </a:cubicBezTo>
                  <a:cubicBezTo>
                    <a:pt x="4632" y="4394"/>
                    <a:pt x="4870" y="4632"/>
                    <a:pt x="5156" y="4632"/>
                  </a:cubicBezTo>
                  <a:lnTo>
                    <a:pt x="5692" y="4632"/>
                  </a:lnTo>
                  <a:cubicBezTo>
                    <a:pt x="5977" y="4632"/>
                    <a:pt x="6216" y="4394"/>
                    <a:pt x="6216" y="4108"/>
                  </a:cubicBezTo>
                  <a:lnTo>
                    <a:pt x="6216" y="3917"/>
                  </a:lnTo>
                  <a:close/>
                  <a:moveTo>
                    <a:pt x="4215" y="5132"/>
                  </a:moveTo>
                  <a:cubicBezTo>
                    <a:pt x="4156" y="5251"/>
                    <a:pt x="4037" y="5334"/>
                    <a:pt x="3894" y="5334"/>
                  </a:cubicBezTo>
                  <a:lnTo>
                    <a:pt x="3560" y="5334"/>
                  </a:lnTo>
                  <a:cubicBezTo>
                    <a:pt x="3620" y="5215"/>
                    <a:pt x="3739" y="5132"/>
                    <a:pt x="3894" y="5132"/>
                  </a:cubicBezTo>
                  <a:close/>
                  <a:moveTo>
                    <a:pt x="5006" y="5152"/>
                  </a:moveTo>
                  <a:cubicBezTo>
                    <a:pt x="5123" y="5152"/>
                    <a:pt x="5234" y="5239"/>
                    <a:pt x="5287" y="5346"/>
                  </a:cubicBezTo>
                  <a:lnTo>
                    <a:pt x="4965" y="5346"/>
                  </a:lnTo>
                  <a:cubicBezTo>
                    <a:pt x="4811" y="5346"/>
                    <a:pt x="4692" y="5275"/>
                    <a:pt x="4632" y="5156"/>
                  </a:cubicBezTo>
                  <a:lnTo>
                    <a:pt x="4965" y="5156"/>
                  </a:lnTo>
                  <a:cubicBezTo>
                    <a:pt x="4979" y="5153"/>
                    <a:pt x="4993" y="5152"/>
                    <a:pt x="5006" y="5152"/>
                  </a:cubicBezTo>
                  <a:close/>
                  <a:moveTo>
                    <a:pt x="6549" y="4941"/>
                  </a:moveTo>
                  <a:lnTo>
                    <a:pt x="6549" y="4941"/>
                  </a:lnTo>
                  <a:cubicBezTo>
                    <a:pt x="6406" y="5965"/>
                    <a:pt x="5513" y="6763"/>
                    <a:pt x="4442" y="6763"/>
                  </a:cubicBezTo>
                  <a:cubicBezTo>
                    <a:pt x="3370" y="6763"/>
                    <a:pt x="2477" y="5965"/>
                    <a:pt x="2334" y="4941"/>
                  </a:cubicBezTo>
                  <a:lnTo>
                    <a:pt x="2334" y="4941"/>
                  </a:lnTo>
                  <a:cubicBezTo>
                    <a:pt x="2667" y="5132"/>
                    <a:pt x="3025" y="5227"/>
                    <a:pt x="3251" y="5251"/>
                  </a:cubicBezTo>
                  <a:cubicBezTo>
                    <a:pt x="3227" y="5334"/>
                    <a:pt x="3203" y="5418"/>
                    <a:pt x="3203" y="5489"/>
                  </a:cubicBezTo>
                  <a:cubicBezTo>
                    <a:pt x="3203" y="5584"/>
                    <a:pt x="3287" y="5656"/>
                    <a:pt x="3370" y="5656"/>
                  </a:cubicBezTo>
                  <a:lnTo>
                    <a:pt x="3906" y="5656"/>
                  </a:lnTo>
                  <a:cubicBezTo>
                    <a:pt x="4120" y="5656"/>
                    <a:pt x="4311" y="5572"/>
                    <a:pt x="4442" y="5406"/>
                  </a:cubicBezTo>
                  <a:cubicBezTo>
                    <a:pt x="4572" y="5549"/>
                    <a:pt x="4751" y="5656"/>
                    <a:pt x="4977" y="5656"/>
                  </a:cubicBezTo>
                  <a:lnTo>
                    <a:pt x="5513" y="5656"/>
                  </a:lnTo>
                  <a:cubicBezTo>
                    <a:pt x="5596" y="5656"/>
                    <a:pt x="5680" y="5584"/>
                    <a:pt x="5680" y="5489"/>
                  </a:cubicBezTo>
                  <a:cubicBezTo>
                    <a:pt x="5680" y="5406"/>
                    <a:pt x="5656" y="5334"/>
                    <a:pt x="5632" y="5251"/>
                  </a:cubicBezTo>
                  <a:cubicBezTo>
                    <a:pt x="5858" y="5215"/>
                    <a:pt x="6216" y="5120"/>
                    <a:pt x="6549" y="4941"/>
                  </a:cubicBezTo>
                  <a:close/>
                  <a:moveTo>
                    <a:pt x="5501" y="6846"/>
                  </a:moveTo>
                  <a:lnTo>
                    <a:pt x="5501" y="7203"/>
                  </a:lnTo>
                  <a:lnTo>
                    <a:pt x="4430" y="7799"/>
                  </a:lnTo>
                  <a:lnTo>
                    <a:pt x="3358" y="7203"/>
                  </a:lnTo>
                  <a:lnTo>
                    <a:pt x="3358" y="6846"/>
                  </a:lnTo>
                  <a:cubicBezTo>
                    <a:pt x="3680" y="7013"/>
                    <a:pt x="4037" y="7096"/>
                    <a:pt x="4430" y="7096"/>
                  </a:cubicBezTo>
                  <a:cubicBezTo>
                    <a:pt x="4811" y="7096"/>
                    <a:pt x="5168" y="7013"/>
                    <a:pt x="5501" y="6846"/>
                  </a:cubicBezTo>
                  <a:close/>
                  <a:moveTo>
                    <a:pt x="5954" y="7323"/>
                  </a:moveTo>
                  <a:lnTo>
                    <a:pt x="6168" y="7751"/>
                  </a:lnTo>
                  <a:lnTo>
                    <a:pt x="5311" y="8501"/>
                  </a:lnTo>
                  <a:cubicBezTo>
                    <a:pt x="5263" y="8525"/>
                    <a:pt x="5215" y="8549"/>
                    <a:pt x="5168" y="8549"/>
                  </a:cubicBezTo>
                  <a:cubicBezTo>
                    <a:pt x="5132" y="8549"/>
                    <a:pt x="5073" y="8513"/>
                    <a:pt x="5037" y="8466"/>
                  </a:cubicBezTo>
                  <a:lnTo>
                    <a:pt x="4680" y="8025"/>
                  </a:lnTo>
                  <a:lnTo>
                    <a:pt x="5942" y="7323"/>
                  </a:lnTo>
                  <a:close/>
                  <a:moveTo>
                    <a:pt x="2906" y="7334"/>
                  </a:moveTo>
                  <a:lnTo>
                    <a:pt x="4180" y="8037"/>
                  </a:lnTo>
                  <a:lnTo>
                    <a:pt x="3822" y="8489"/>
                  </a:lnTo>
                  <a:cubicBezTo>
                    <a:pt x="3787" y="8525"/>
                    <a:pt x="3739" y="8549"/>
                    <a:pt x="3680" y="8561"/>
                  </a:cubicBezTo>
                  <a:cubicBezTo>
                    <a:pt x="3644" y="8561"/>
                    <a:pt x="3584" y="8549"/>
                    <a:pt x="3549" y="8513"/>
                  </a:cubicBezTo>
                  <a:lnTo>
                    <a:pt x="2691" y="7775"/>
                  </a:lnTo>
                  <a:lnTo>
                    <a:pt x="2894" y="7334"/>
                  </a:lnTo>
                  <a:close/>
                  <a:moveTo>
                    <a:pt x="3299" y="0"/>
                  </a:moveTo>
                  <a:cubicBezTo>
                    <a:pt x="2739" y="0"/>
                    <a:pt x="2251" y="369"/>
                    <a:pt x="2108" y="905"/>
                  </a:cubicBezTo>
                  <a:lnTo>
                    <a:pt x="1644" y="2655"/>
                  </a:lnTo>
                  <a:lnTo>
                    <a:pt x="1060" y="2655"/>
                  </a:lnTo>
                  <a:cubicBezTo>
                    <a:pt x="977" y="2655"/>
                    <a:pt x="893" y="2727"/>
                    <a:pt x="893" y="2810"/>
                  </a:cubicBezTo>
                  <a:cubicBezTo>
                    <a:pt x="893" y="2905"/>
                    <a:pt x="977" y="2977"/>
                    <a:pt x="1060" y="2977"/>
                  </a:cubicBezTo>
                  <a:lnTo>
                    <a:pt x="1596" y="2977"/>
                  </a:lnTo>
                  <a:lnTo>
                    <a:pt x="1596" y="3584"/>
                  </a:lnTo>
                  <a:cubicBezTo>
                    <a:pt x="1405" y="3679"/>
                    <a:pt x="1274" y="3858"/>
                    <a:pt x="1239" y="4060"/>
                  </a:cubicBezTo>
                  <a:cubicBezTo>
                    <a:pt x="1227" y="4239"/>
                    <a:pt x="1286" y="4406"/>
                    <a:pt x="1394" y="4536"/>
                  </a:cubicBezTo>
                  <a:cubicBezTo>
                    <a:pt x="1513" y="4679"/>
                    <a:pt x="1667" y="4739"/>
                    <a:pt x="1834" y="4739"/>
                  </a:cubicBezTo>
                  <a:lnTo>
                    <a:pt x="1941" y="4739"/>
                  </a:lnTo>
                  <a:cubicBezTo>
                    <a:pt x="1989" y="5513"/>
                    <a:pt x="2406" y="6180"/>
                    <a:pt x="3001" y="6596"/>
                  </a:cubicBezTo>
                  <a:lnTo>
                    <a:pt x="3001" y="6965"/>
                  </a:lnTo>
                  <a:cubicBezTo>
                    <a:pt x="2959" y="6953"/>
                    <a:pt x="2920" y="6947"/>
                    <a:pt x="2885" y="6947"/>
                  </a:cubicBezTo>
                  <a:cubicBezTo>
                    <a:pt x="2849" y="6947"/>
                    <a:pt x="2816" y="6953"/>
                    <a:pt x="2787" y="6965"/>
                  </a:cubicBezTo>
                  <a:cubicBezTo>
                    <a:pt x="2703" y="7001"/>
                    <a:pt x="2620" y="7061"/>
                    <a:pt x="2584" y="7144"/>
                  </a:cubicBezTo>
                  <a:lnTo>
                    <a:pt x="2322" y="7668"/>
                  </a:lnTo>
                  <a:lnTo>
                    <a:pt x="882" y="8096"/>
                  </a:lnTo>
                  <a:cubicBezTo>
                    <a:pt x="358" y="8251"/>
                    <a:pt x="0" y="8739"/>
                    <a:pt x="0" y="9275"/>
                  </a:cubicBezTo>
                  <a:lnTo>
                    <a:pt x="0" y="11133"/>
                  </a:lnTo>
                  <a:cubicBezTo>
                    <a:pt x="0" y="11228"/>
                    <a:pt x="84" y="11299"/>
                    <a:pt x="167" y="11299"/>
                  </a:cubicBezTo>
                  <a:cubicBezTo>
                    <a:pt x="262" y="11299"/>
                    <a:pt x="334" y="11228"/>
                    <a:pt x="334" y="11133"/>
                  </a:cubicBezTo>
                  <a:lnTo>
                    <a:pt x="334" y="9275"/>
                  </a:lnTo>
                  <a:cubicBezTo>
                    <a:pt x="334" y="8870"/>
                    <a:pt x="596" y="8525"/>
                    <a:pt x="977" y="8406"/>
                  </a:cubicBezTo>
                  <a:lnTo>
                    <a:pt x="1596" y="8227"/>
                  </a:lnTo>
                  <a:lnTo>
                    <a:pt x="1596" y="11133"/>
                  </a:lnTo>
                  <a:cubicBezTo>
                    <a:pt x="1596" y="11228"/>
                    <a:pt x="1667" y="11299"/>
                    <a:pt x="1763" y="11299"/>
                  </a:cubicBezTo>
                  <a:cubicBezTo>
                    <a:pt x="1846" y="11299"/>
                    <a:pt x="1929" y="11228"/>
                    <a:pt x="1929" y="11133"/>
                  </a:cubicBezTo>
                  <a:lnTo>
                    <a:pt x="1929" y="8144"/>
                  </a:lnTo>
                  <a:lnTo>
                    <a:pt x="2298" y="8037"/>
                  </a:lnTo>
                  <a:lnTo>
                    <a:pt x="2298" y="11144"/>
                  </a:lnTo>
                  <a:cubicBezTo>
                    <a:pt x="2298" y="11240"/>
                    <a:pt x="2370" y="11311"/>
                    <a:pt x="2465" y="11311"/>
                  </a:cubicBezTo>
                  <a:cubicBezTo>
                    <a:pt x="2548" y="11311"/>
                    <a:pt x="2620" y="11240"/>
                    <a:pt x="2620" y="11144"/>
                  </a:cubicBezTo>
                  <a:lnTo>
                    <a:pt x="2620" y="8144"/>
                  </a:lnTo>
                  <a:lnTo>
                    <a:pt x="3310" y="8739"/>
                  </a:lnTo>
                  <a:cubicBezTo>
                    <a:pt x="3394" y="8811"/>
                    <a:pt x="3513" y="8858"/>
                    <a:pt x="3656" y="8858"/>
                  </a:cubicBezTo>
                  <a:lnTo>
                    <a:pt x="3691" y="8858"/>
                  </a:lnTo>
                  <a:cubicBezTo>
                    <a:pt x="3846" y="8847"/>
                    <a:pt x="3965" y="8787"/>
                    <a:pt x="4049" y="8668"/>
                  </a:cubicBezTo>
                  <a:lnTo>
                    <a:pt x="4394" y="8227"/>
                  </a:lnTo>
                  <a:lnTo>
                    <a:pt x="4739" y="8668"/>
                  </a:lnTo>
                  <a:cubicBezTo>
                    <a:pt x="4823" y="8763"/>
                    <a:pt x="4942" y="8847"/>
                    <a:pt x="5096" y="8858"/>
                  </a:cubicBezTo>
                  <a:lnTo>
                    <a:pt x="5144" y="8858"/>
                  </a:lnTo>
                  <a:cubicBezTo>
                    <a:pt x="5263" y="8858"/>
                    <a:pt x="5382" y="8811"/>
                    <a:pt x="5477" y="8739"/>
                  </a:cubicBezTo>
                  <a:lnTo>
                    <a:pt x="6347" y="7989"/>
                  </a:lnTo>
                  <a:lnTo>
                    <a:pt x="6882" y="8144"/>
                  </a:lnTo>
                  <a:lnTo>
                    <a:pt x="6882" y="11133"/>
                  </a:lnTo>
                  <a:cubicBezTo>
                    <a:pt x="6882" y="11228"/>
                    <a:pt x="6954" y="11299"/>
                    <a:pt x="7049" y="11299"/>
                  </a:cubicBezTo>
                  <a:cubicBezTo>
                    <a:pt x="7132" y="11299"/>
                    <a:pt x="7204" y="11228"/>
                    <a:pt x="7204" y="11133"/>
                  </a:cubicBezTo>
                  <a:lnTo>
                    <a:pt x="7204" y="8227"/>
                  </a:lnTo>
                  <a:lnTo>
                    <a:pt x="7835" y="8406"/>
                  </a:lnTo>
                  <a:cubicBezTo>
                    <a:pt x="8204" y="8513"/>
                    <a:pt x="8478" y="8870"/>
                    <a:pt x="8478" y="9275"/>
                  </a:cubicBezTo>
                  <a:lnTo>
                    <a:pt x="8478" y="11133"/>
                  </a:lnTo>
                  <a:cubicBezTo>
                    <a:pt x="8478" y="11228"/>
                    <a:pt x="8549" y="11299"/>
                    <a:pt x="8633" y="11299"/>
                  </a:cubicBezTo>
                  <a:cubicBezTo>
                    <a:pt x="8728" y="11299"/>
                    <a:pt x="8799" y="11228"/>
                    <a:pt x="8799" y="11133"/>
                  </a:cubicBezTo>
                  <a:lnTo>
                    <a:pt x="8799" y="9275"/>
                  </a:lnTo>
                  <a:cubicBezTo>
                    <a:pt x="8847" y="8763"/>
                    <a:pt x="8478" y="8287"/>
                    <a:pt x="7954" y="8132"/>
                  </a:cubicBezTo>
                  <a:lnTo>
                    <a:pt x="6513" y="7692"/>
                  </a:lnTo>
                  <a:lnTo>
                    <a:pt x="6263" y="7180"/>
                  </a:lnTo>
                  <a:cubicBezTo>
                    <a:pt x="6216" y="7084"/>
                    <a:pt x="6144" y="7025"/>
                    <a:pt x="6049" y="7001"/>
                  </a:cubicBezTo>
                  <a:cubicBezTo>
                    <a:pt x="6013" y="6989"/>
                    <a:pt x="5977" y="6983"/>
                    <a:pt x="5942" y="6983"/>
                  </a:cubicBezTo>
                  <a:cubicBezTo>
                    <a:pt x="5906" y="6983"/>
                    <a:pt x="5870" y="6989"/>
                    <a:pt x="5835" y="7001"/>
                  </a:cubicBezTo>
                  <a:lnTo>
                    <a:pt x="5835" y="6620"/>
                  </a:lnTo>
                  <a:cubicBezTo>
                    <a:pt x="6430" y="6203"/>
                    <a:pt x="6835" y="5537"/>
                    <a:pt x="6894" y="4763"/>
                  </a:cubicBezTo>
                  <a:lnTo>
                    <a:pt x="6966" y="4763"/>
                  </a:lnTo>
                  <a:cubicBezTo>
                    <a:pt x="7299" y="4763"/>
                    <a:pt x="7561" y="4525"/>
                    <a:pt x="7597" y="4215"/>
                  </a:cubicBezTo>
                  <a:cubicBezTo>
                    <a:pt x="7609" y="4036"/>
                    <a:pt x="7549" y="3870"/>
                    <a:pt x="7442" y="3739"/>
                  </a:cubicBezTo>
                  <a:cubicBezTo>
                    <a:pt x="7382" y="3679"/>
                    <a:pt x="7323" y="3632"/>
                    <a:pt x="7251" y="3584"/>
                  </a:cubicBezTo>
                  <a:lnTo>
                    <a:pt x="7251" y="2977"/>
                  </a:lnTo>
                  <a:lnTo>
                    <a:pt x="7787" y="2977"/>
                  </a:lnTo>
                  <a:cubicBezTo>
                    <a:pt x="7882" y="2977"/>
                    <a:pt x="7954" y="2905"/>
                    <a:pt x="7954" y="2810"/>
                  </a:cubicBezTo>
                  <a:cubicBezTo>
                    <a:pt x="7954" y="2727"/>
                    <a:pt x="7882" y="2655"/>
                    <a:pt x="7787" y="2655"/>
                  </a:cubicBezTo>
                  <a:lnTo>
                    <a:pt x="7204" y="2655"/>
                  </a:lnTo>
                  <a:lnTo>
                    <a:pt x="6751" y="905"/>
                  </a:lnTo>
                  <a:cubicBezTo>
                    <a:pt x="6597" y="369"/>
                    <a:pt x="6120" y="0"/>
                    <a:pt x="5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0" name="Google Shape;12010;p61"/>
            <p:cNvSpPr/>
            <p:nvPr/>
          </p:nvSpPr>
          <p:spPr>
            <a:xfrm>
              <a:off x="6445730" y="2238009"/>
              <a:ext cx="10201" cy="88672"/>
            </a:xfrm>
            <a:custGeom>
              <a:avLst/>
              <a:gdLst/>
              <a:ahLst/>
              <a:cxnLst/>
              <a:rect l="l" t="t" r="r" b="b"/>
              <a:pathLst>
                <a:path w="322" h="2799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2643"/>
                  </a:lnTo>
                  <a:cubicBezTo>
                    <a:pt x="1" y="2727"/>
                    <a:pt x="72" y="2798"/>
                    <a:pt x="167" y="2798"/>
                  </a:cubicBezTo>
                  <a:cubicBezTo>
                    <a:pt x="251" y="2798"/>
                    <a:pt x="322" y="2727"/>
                    <a:pt x="322" y="2643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1" name="Google Shape;12011;p61"/>
            <p:cNvSpPr/>
            <p:nvPr/>
          </p:nvSpPr>
          <p:spPr>
            <a:xfrm>
              <a:off x="6383859" y="2249319"/>
              <a:ext cx="10613" cy="10581"/>
            </a:xfrm>
            <a:custGeom>
              <a:avLst/>
              <a:gdLst/>
              <a:ahLst/>
              <a:cxnLst/>
              <a:rect l="l" t="t" r="r" b="b"/>
              <a:pathLst>
                <a:path w="335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cubicBezTo>
                    <a:pt x="251" y="334"/>
                    <a:pt x="334" y="262"/>
                    <a:pt x="334" y="167"/>
                  </a:cubicBezTo>
                  <a:cubicBezTo>
                    <a:pt x="334" y="84"/>
                    <a:pt x="275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2" name="Google Shape;12012;p61"/>
            <p:cNvSpPr/>
            <p:nvPr/>
          </p:nvSpPr>
          <p:spPr>
            <a:xfrm>
              <a:off x="6383859" y="2282868"/>
              <a:ext cx="10613" cy="10613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34" y="251"/>
                    <a:pt x="334" y="168"/>
                  </a:cubicBezTo>
                  <a:cubicBezTo>
                    <a:pt x="334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3" name="Google Shape;12013;p61"/>
            <p:cNvSpPr/>
            <p:nvPr/>
          </p:nvSpPr>
          <p:spPr>
            <a:xfrm>
              <a:off x="6378220" y="2154247"/>
              <a:ext cx="21891" cy="10233"/>
            </a:xfrm>
            <a:custGeom>
              <a:avLst/>
              <a:gdLst/>
              <a:ahLst/>
              <a:cxnLst/>
              <a:rect l="l" t="t" r="r" b="b"/>
              <a:pathLst>
                <a:path w="69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91" y="251"/>
                    <a:pt x="691" y="168"/>
                  </a:cubicBezTo>
                  <a:cubicBezTo>
                    <a:pt x="691" y="60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14" name="Google Shape;12014;p61"/>
          <p:cNvGrpSpPr/>
          <p:nvPr/>
        </p:nvGrpSpPr>
        <p:grpSpPr>
          <a:xfrm>
            <a:off x="5801485" y="1969046"/>
            <a:ext cx="279164" cy="357794"/>
            <a:chOff x="5801485" y="1969046"/>
            <a:chExt cx="279164" cy="357794"/>
          </a:xfrm>
        </p:grpSpPr>
        <p:sp>
          <p:nvSpPr>
            <p:cNvPr id="12015" name="Google Shape;12015;p61"/>
            <p:cNvSpPr/>
            <p:nvPr/>
          </p:nvSpPr>
          <p:spPr>
            <a:xfrm>
              <a:off x="5901436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8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6" name="Google Shape;12016;p61"/>
            <p:cNvSpPr/>
            <p:nvPr/>
          </p:nvSpPr>
          <p:spPr>
            <a:xfrm>
              <a:off x="5968597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7" name="Google Shape;12017;p61"/>
            <p:cNvSpPr/>
            <p:nvPr/>
          </p:nvSpPr>
          <p:spPr>
            <a:xfrm>
              <a:off x="5801485" y="1969046"/>
              <a:ext cx="279164" cy="357636"/>
            </a:xfrm>
            <a:custGeom>
              <a:avLst/>
              <a:gdLst/>
              <a:ahLst/>
              <a:cxnLst/>
              <a:rect l="l" t="t" r="r" b="b"/>
              <a:pathLst>
                <a:path w="8812" h="11289" extrusionOk="0">
                  <a:moveTo>
                    <a:pt x="1739" y="1025"/>
                  </a:moveTo>
                  <a:cubicBezTo>
                    <a:pt x="1834" y="1037"/>
                    <a:pt x="1929" y="1132"/>
                    <a:pt x="1929" y="1227"/>
                  </a:cubicBezTo>
                  <a:lnTo>
                    <a:pt x="1929" y="1275"/>
                  </a:lnTo>
                  <a:cubicBezTo>
                    <a:pt x="1858" y="1323"/>
                    <a:pt x="1822" y="1370"/>
                    <a:pt x="1775" y="1406"/>
                  </a:cubicBezTo>
                  <a:lnTo>
                    <a:pt x="1739" y="1406"/>
                  </a:lnTo>
                  <a:cubicBezTo>
                    <a:pt x="1644" y="1406"/>
                    <a:pt x="1548" y="1323"/>
                    <a:pt x="1548" y="1215"/>
                  </a:cubicBezTo>
                  <a:cubicBezTo>
                    <a:pt x="1548" y="1108"/>
                    <a:pt x="1644" y="1025"/>
                    <a:pt x="1739" y="1025"/>
                  </a:cubicBezTo>
                  <a:close/>
                  <a:moveTo>
                    <a:pt x="7064" y="1048"/>
                  </a:moveTo>
                  <a:cubicBezTo>
                    <a:pt x="7143" y="1048"/>
                    <a:pt x="7228" y="1137"/>
                    <a:pt x="7228" y="1227"/>
                  </a:cubicBezTo>
                  <a:cubicBezTo>
                    <a:pt x="7228" y="1334"/>
                    <a:pt x="7133" y="1430"/>
                    <a:pt x="7025" y="1430"/>
                  </a:cubicBezTo>
                  <a:lnTo>
                    <a:pt x="7002" y="1430"/>
                  </a:lnTo>
                  <a:cubicBezTo>
                    <a:pt x="6954" y="1382"/>
                    <a:pt x="6894" y="1334"/>
                    <a:pt x="6847" y="1287"/>
                  </a:cubicBezTo>
                  <a:lnTo>
                    <a:pt x="6847" y="1251"/>
                  </a:lnTo>
                  <a:cubicBezTo>
                    <a:pt x="6847" y="1144"/>
                    <a:pt x="6942" y="1049"/>
                    <a:pt x="7049" y="1049"/>
                  </a:cubicBezTo>
                  <a:cubicBezTo>
                    <a:pt x="7054" y="1048"/>
                    <a:pt x="7059" y="1048"/>
                    <a:pt x="7064" y="1048"/>
                  </a:cubicBezTo>
                  <a:close/>
                  <a:moveTo>
                    <a:pt x="7025" y="334"/>
                  </a:moveTo>
                  <a:cubicBezTo>
                    <a:pt x="7514" y="334"/>
                    <a:pt x="7918" y="739"/>
                    <a:pt x="7918" y="1227"/>
                  </a:cubicBezTo>
                  <a:cubicBezTo>
                    <a:pt x="7918" y="1549"/>
                    <a:pt x="7764" y="1846"/>
                    <a:pt x="7490" y="1989"/>
                  </a:cubicBezTo>
                  <a:cubicBezTo>
                    <a:pt x="7418" y="1882"/>
                    <a:pt x="7335" y="1787"/>
                    <a:pt x="7252" y="1692"/>
                  </a:cubicBezTo>
                  <a:cubicBezTo>
                    <a:pt x="7418" y="1608"/>
                    <a:pt x="7537" y="1430"/>
                    <a:pt x="7537" y="1227"/>
                  </a:cubicBezTo>
                  <a:cubicBezTo>
                    <a:pt x="7537" y="953"/>
                    <a:pt x="7299" y="715"/>
                    <a:pt x="7013" y="715"/>
                  </a:cubicBezTo>
                  <a:cubicBezTo>
                    <a:pt x="6787" y="715"/>
                    <a:pt x="6609" y="846"/>
                    <a:pt x="6537" y="1037"/>
                  </a:cubicBezTo>
                  <a:cubicBezTo>
                    <a:pt x="6430" y="965"/>
                    <a:pt x="6323" y="906"/>
                    <a:pt x="6204" y="834"/>
                  </a:cubicBezTo>
                  <a:cubicBezTo>
                    <a:pt x="6371" y="537"/>
                    <a:pt x="6692" y="334"/>
                    <a:pt x="7025" y="334"/>
                  </a:cubicBezTo>
                  <a:close/>
                  <a:moveTo>
                    <a:pt x="1727" y="334"/>
                  </a:moveTo>
                  <a:cubicBezTo>
                    <a:pt x="2072" y="334"/>
                    <a:pt x="2382" y="537"/>
                    <a:pt x="2537" y="846"/>
                  </a:cubicBezTo>
                  <a:cubicBezTo>
                    <a:pt x="2430" y="906"/>
                    <a:pt x="2310" y="977"/>
                    <a:pt x="2203" y="1049"/>
                  </a:cubicBezTo>
                  <a:cubicBezTo>
                    <a:pt x="2132" y="858"/>
                    <a:pt x="1941" y="727"/>
                    <a:pt x="1727" y="727"/>
                  </a:cubicBezTo>
                  <a:cubicBezTo>
                    <a:pt x="1441" y="727"/>
                    <a:pt x="1215" y="965"/>
                    <a:pt x="1215" y="1239"/>
                  </a:cubicBezTo>
                  <a:cubicBezTo>
                    <a:pt x="1215" y="1453"/>
                    <a:pt x="1334" y="1620"/>
                    <a:pt x="1489" y="1704"/>
                  </a:cubicBezTo>
                  <a:cubicBezTo>
                    <a:pt x="1406" y="1799"/>
                    <a:pt x="1334" y="1906"/>
                    <a:pt x="1251" y="2001"/>
                  </a:cubicBezTo>
                  <a:cubicBezTo>
                    <a:pt x="1001" y="1823"/>
                    <a:pt x="834" y="1549"/>
                    <a:pt x="834" y="1227"/>
                  </a:cubicBezTo>
                  <a:cubicBezTo>
                    <a:pt x="834" y="739"/>
                    <a:pt x="1239" y="334"/>
                    <a:pt x="1727" y="334"/>
                  </a:cubicBezTo>
                  <a:close/>
                  <a:moveTo>
                    <a:pt x="4382" y="691"/>
                  </a:moveTo>
                  <a:cubicBezTo>
                    <a:pt x="6287" y="691"/>
                    <a:pt x="7835" y="2239"/>
                    <a:pt x="7835" y="4144"/>
                  </a:cubicBezTo>
                  <a:cubicBezTo>
                    <a:pt x="7847" y="6049"/>
                    <a:pt x="6287" y="7597"/>
                    <a:pt x="4382" y="7597"/>
                  </a:cubicBezTo>
                  <a:cubicBezTo>
                    <a:pt x="2477" y="7597"/>
                    <a:pt x="929" y="6049"/>
                    <a:pt x="929" y="4144"/>
                  </a:cubicBezTo>
                  <a:cubicBezTo>
                    <a:pt x="929" y="2239"/>
                    <a:pt x="2477" y="691"/>
                    <a:pt x="4382" y="691"/>
                  </a:cubicBezTo>
                  <a:close/>
                  <a:moveTo>
                    <a:pt x="1739" y="1"/>
                  </a:moveTo>
                  <a:cubicBezTo>
                    <a:pt x="1072" y="1"/>
                    <a:pt x="525" y="549"/>
                    <a:pt x="525" y="1215"/>
                  </a:cubicBezTo>
                  <a:cubicBezTo>
                    <a:pt x="525" y="1644"/>
                    <a:pt x="751" y="2037"/>
                    <a:pt x="1108" y="2263"/>
                  </a:cubicBezTo>
                  <a:cubicBezTo>
                    <a:pt x="786" y="2811"/>
                    <a:pt x="608" y="3454"/>
                    <a:pt x="608" y="4132"/>
                  </a:cubicBezTo>
                  <a:cubicBezTo>
                    <a:pt x="608" y="5621"/>
                    <a:pt x="1477" y="6918"/>
                    <a:pt x="2739" y="7538"/>
                  </a:cubicBezTo>
                  <a:lnTo>
                    <a:pt x="882" y="8097"/>
                  </a:lnTo>
                  <a:cubicBezTo>
                    <a:pt x="358" y="8240"/>
                    <a:pt x="1" y="8728"/>
                    <a:pt x="1" y="9264"/>
                  </a:cubicBezTo>
                  <a:lnTo>
                    <a:pt x="1" y="11133"/>
                  </a:lnTo>
                  <a:cubicBezTo>
                    <a:pt x="1" y="11217"/>
                    <a:pt x="72" y="11288"/>
                    <a:pt x="167" y="11288"/>
                  </a:cubicBezTo>
                  <a:cubicBezTo>
                    <a:pt x="251" y="11288"/>
                    <a:pt x="334" y="11217"/>
                    <a:pt x="334" y="11133"/>
                  </a:cubicBezTo>
                  <a:lnTo>
                    <a:pt x="334" y="9264"/>
                  </a:lnTo>
                  <a:cubicBezTo>
                    <a:pt x="334" y="8871"/>
                    <a:pt x="596" y="8526"/>
                    <a:pt x="965" y="8407"/>
                  </a:cubicBezTo>
                  <a:lnTo>
                    <a:pt x="2834" y="7859"/>
                  </a:lnTo>
                  <a:cubicBezTo>
                    <a:pt x="2930" y="7823"/>
                    <a:pt x="3025" y="7764"/>
                    <a:pt x="3108" y="7692"/>
                  </a:cubicBezTo>
                  <a:cubicBezTo>
                    <a:pt x="3513" y="7835"/>
                    <a:pt x="3965" y="7919"/>
                    <a:pt x="4406" y="7919"/>
                  </a:cubicBezTo>
                  <a:cubicBezTo>
                    <a:pt x="4858" y="7919"/>
                    <a:pt x="5299" y="7835"/>
                    <a:pt x="5704" y="7692"/>
                  </a:cubicBezTo>
                  <a:cubicBezTo>
                    <a:pt x="5775" y="7764"/>
                    <a:pt x="5882" y="7811"/>
                    <a:pt x="5990" y="7859"/>
                  </a:cubicBezTo>
                  <a:lnTo>
                    <a:pt x="7847" y="8407"/>
                  </a:lnTo>
                  <a:cubicBezTo>
                    <a:pt x="8216" y="8514"/>
                    <a:pt x="8490" y="8871"/>
                    <a:pt x="8490" y="9264"/>
                  </a:cubicBezTo>
                  <a:lnTo>
                    <a:pt x="8490" y="11133"/>
                  </a:lnTo>
                  <a:cubicBezTo>
                    <a:pt x="8490" y="11217"/>
                    <a:pt x="8561" y="11288"/>
                    <a:pt x="8645" y="11288"/>
                  </a:cubicBezTo>
                  <a:cubicBezTo>
                    <a:pt x="8740" y="11288"/>
                    <a:pt x="8811" y="11217"/>
                    <a:pt x="8811" y="11133"/>
                  </a:cubicBezTo>
                  <a:lnTo>
                    <a:pt x="8811" y="9264"/>
                  </a:lnTo>
                  <a:cubicBezTo>
                    <a:pt x="8787" y="8728"/>
                    <a:pt x="8430" y="8252"/>
                    <a:pt x="7906" y="8097"/>
                  </a:cubicBezTo>
                  <a:lnTo>
                    <a:pt x="6049" y="7538"/>
                  </a:lnTo>
                  <a:cubicBezTo>
                    <a:pt x="7299" y="6918"/>
                    <a:pt x="8180" y="5633"/>
                    <a:pt x="8180" y="4132"/>
                  </a:cubicBezTo>
                  <a:cubicBezTo>
                    <a:pt x="8180" y="3454"/>
                    <a:pt x="7990" y="2811"/>
                    <a:pt x="7680" y="2263"/>
                  </a:cubicBezTo>
                  <a:cubicBezTo>
                    <a:pt x="8037" y="2037"/>
                    <a:pt x="8264" y="1644"/>
                    <a:pt x="8264" y="1215"/>
                  </a:cubicBezTo>
                  <a:cubicBezTo>
                    <a:pt x="8264" y="549"/>
                    <a:pt x="7716" y="1"/>
                    <a:pt x="7049" y="1"/>
                  </a:cubicBezTo>
                  <a:cubicBezTo>
                    <a:pt x="6573" y="1"/>
                    <a:pt x="6156" y="263"/>
                    <a:pt x="5942" y="680"/>
                  </a:cubicBezTo>
                  <a:cubicBezTo>
                    <a:pt x="5466" y="477"/>
                    <a:pt x="4942" y="358"/>
                    <a:pt x="4394" y="358"/>
                  </a:cubicBezTo>
                  <a:cubicBezTo>
                    <a:pt x="3846" y="358"/>
                    <a:pt x="3323" y="477"/>
                    <a:pt x="2846" y="680"/>
                  </a:cubicBezTo>
                  <a:cubicBezTo>
                    <a:pt x="2632" y="263"/>
                    <a:pt x="2215" y="1"/>
                    <a:pt x="1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8" name="Google Shape;12018;p61"/>
            <p:cNvSpPr/>
            <p:nvPr/>
          </p:nvSpPr>
          <p:spPr>
            <a:xfrm>
              <a:off x="5895797" y="2075427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524" y="334"/>
                  </a:lnTo>
                  <a:cubicBezTo>
                    <a:pt x="619" y="334"/>
                    <a:pt x="691" y="251"/>
                    <a:pt x="691" y="167"/>
                  </a:cubicBezTo>
                  <a:cubicBezTo>
                    <a:pt x="691" y="72"/>
                    <a:pt x="619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9" name="Google Shape;12019;p61"/>
            <p:cNvSpPr/>
            <p:nvPr/>
          </p:nvSpPr>
          <p:spPr>
            <a:xfrm>
              <a:off x="5962927" y="2075427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1"/>
                    <a:pt x="72" y="334"/>
                    <a:pt x="155" y="334"/>
                  </a:cubicBezTo>
                  <a:lnTo>
                    <a:pt x="513" y="334"/>
                  </a:lnTo>
                  <a:cubicBezTo>
                    <a:pt x="608" y="334"/>
                    <a:pt x="679" y="251"/>
                    <a:pt x="679" y="167"/>
                  </a:cubicBezTo>
                  <a:cubicBezTo>
                    <a:pt x="679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0" name="Google Shape;12020;p61"/>
            <p:cNvSpPr/>
            <p:nvPr/>
          </p:nvSpPr>
          <p:spPr>
            <a:xfrm>
              <a:off x="5845615" y="2282868"/>
              <a:ext cx="10233" cy="43813"/>
            </a:xfrm>
            <a:custGeom>
              <a:avLst/>
              <a:gdLst/>
              <a:ahLst/>
              <a:cxnLst/>
              <a:rect l="l" t="t" r="r" b="b"/>
              <a:pathLst>
                <a:path w="323" h="1383" extrusionOk="0">
                  <a:moveTo>
                    <a:pt x="155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1227"/>
                  </a:lnTo>
                  <a:cubicBezTo>
                    <a:pt x="1" y="1311"/>
                    <a:pt x="72" y="1382"/>
                    <a:pt x="155" y="1382"/>
                  </a:cubicBezTo>
                  <a:cubicBezTo>
                    <a:pt x="251" y="1382"/>
                    <a:pt x="322" y="1311"/>
                    <a:pt x="322" y="1227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1" name="Google Shape;12021;p61"/>
            <p:cNvSpPr/>
            <p:nvPr/>
          </p:nvSpPr>
          <p:spPr>
            <a:xfrm>
              <a:off x="6024798" y="2282868"/>
              <a:ext cx="10201" cy="43813"/>
            </a:xfrm>
            <a:custGeom>
              <a:avLst/>
              <a:gdLst/>
              <a:ahLst/>
              <a:cxnLst/>
              <a:rect l="l" t="t" r="r" b="b"/>
              <a:pathLst>
                <a:path w="322" h="138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227"/>
                  </a:lnTo>
                  <a:cubicBezTo>
                    <a:pt x="0" y="1311"/>
                    <a:pt x="72" y="1382"/>
                    <a:pt x="155" y="1382"/>
                  </a:cubicBezTo>
                  <a:cubicBezTo>
                    <a:pt x="250" y="1382"/>
                    <a:pt x="322" y="1311"/>
                    <a:pt x="322" y="1227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2" name="Google Shape;12022;p61"/>
            <p:cNvSpPr/>
            <p:nvPr/>
          </p:nvSpPr>
          <p:spPr>
            <a:xfrm>
              <a:off x="5868267" y="2260248"/>
              <a:ext cx="144112" cy="66591"/>
            </a:xfrm>
            <a:custGeom>
              <a:avLst/>
              <a:gdLst/>
              <a:ahLst/>
              <a:cxnLst/>
              <a:rect l="l" t="t" r="r" b="b"/>
              <a:pathLst>
                <a:path w="4549" h="2102" extrusionOk="0">
                  <a:moveTo>
                    <a:pt x="2274" y="1"/>
                  </a:moveTo>
                  <a:cubicBezTo>
                    <a:pt x="1715" y="1"/>
                    <a:pt x="1203" y="191"/>
                    <a:pt x="786" y="548"/>
                  </a:cubicBezTo>
                  <a:cubicBezTo>
                    <a:pt x="381" y="894"/>
                    <a:pt x="95" y="1382"/>
                    <a:pt x="12" y="1906"/>
                  </a:cubicBezTo>
                  <a:cubicBezTo>
                    <a:pt x="0" y="2001"/>
                    <a:pt x="48" y="2084"/>
                    <a:pt x="143" y="2096"/>
                  </a:cubicBezTo>
                  <a:cubicBezTo>
                    <a:pt x="155" y="2100"/>
                    <a:pt x="168" y="2101"/>
                    <a:pt x="181" y="2101"/>
                  </a:cubicBezTo>
                  <a:cubicBezTo>
                    <a:pt x="253" y="2101"/>
                    <a:pt x="323" y="2046"/>
                    <a:pt x="333" y="1965"/>
                  </a:cubicBezTo>
                  <a:cubicBezTo>
                    <a:pt x="500" y="1024"/>
                    <a:pt x="1310" y="334"/>
                    <a:pt x="2262" y="334"/>
                  </a:cubicBezTo>
                  <a:cubicBezTo>
                    <a:pt x="3215" y="334"/>
                    <a:pt x="4024" y="1013"/>
                    <a:pt x="4179" y="1965"/>
                  </a:cubicBezTo>
                  <a:cubicBezTo>
                    <a:pt x="4191" y="2036"/>
                    <a:pt x="4263" y="2096"/>
                    <a:pt x="4346" y="2096"/>
                  </a:cubicBezTo>
                  <a:lnTo>
                    <a:pt x="4370" y="2096"/>
                  </a:lnTo>
                  <a:cubicBezTo>
                    <a:pt x="4489" y="2084"/>
                    <a:pt x="4548" y="2001"/>
                    <a:pt x="4536" y="1906"/>
                  </a:cubicBezTo>
                  <a:cubicBezTo>
                    <a:pt x="4441" y="1382"/>
                    <a:pt x="4179" y="894"/>
                    <a:pt x="3762" y="548"/>
                  </a:cubicBezTo>
                  <a:cubicBezTo>
                    <a:pt x="3346" y="191"/>
                    <a:pt x="2822" y="1"/>
                    <a:pt x="2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3" name="Google Shape;12023;p61"/>
            <p:cNvSpPr/>
            <p:nvPr/>
          </p:nvSpPr>
          <p:spPr>
            <a:xfrm>
              <a:off x="5890126" y="2013556"/>
              <a:ext cx="10581" cy="10613"/>
            </a:xfrm>
            <a:custGeom>
              <a:avLst/>
              <a:gdLst/>
              <a:ahLst/>
              <a:cxnLst/>
              <a:rect l="l" t="t" r="r" b="b"/>
              <a:pathLst>
                <a:path w="334" h="335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263"/>
                    <a:pt x="84" y="334"/>
                    <a:pt x="167" y="334"/>
                  </a:cubicBezTo>
                  <a:cubicBezTo>
                    <a:pt x="251" y="334"/>
                    <a:pt x="334" y="263"/>
                    <a:pt x="334" y="168"/>
                  </a:cubicBezTo>
                  <a:cubicBezTo>
                    <a:pt x="334" y="84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4" name="Google Shape;12024;p61"/>
            <p:cNvSpPr/>
            <p:nvPr/>
          </p:nvSpPr>
          <p:spPr>
            <a:xfrm>
              <a:off x="5979907" y="2013556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cubicBezTo>
                    <a:pt x="250" y="334"/>
                    <a:pt x="322" y="263"/>
                    <a:pt x="322" y="168"/>
                  </a:cubicBez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5" name="Google Shape;12025;p61"/>
            <p:cNvSpPr/>
            <p:nvPr/>
          </p:nvSpPr>
          <p:spPr>
            <a:xfrm>
              <a:off x="5861455" y="2002247"/>
              <a:ext cx="127892" cy="155454"/>
            </a:xfrm>
            <a:custGeom>
              <a:avLst/>
              <a:gdLst/>
              <a:ahLst/>
              <a:cxnLst/>
              <a:rect l="l" t="t" r="r" b="b"/>
              <a:pathLst>
                <a:path w="4037" h="4907" extrusionOk="0">
                  <a:moveTo>
                    <a:pt x="2489" y="346"/>
                  </a:moveTo>
                  <a:cubicBezTo>
                    <a:pt x="2596" y="346"/>
                    <a:pt x="2680" y="441"/>
                    <a:pt x="2680" y="536"/>
                  </a:cubicBezTo>
                  <a:cubicBezTo>
                    <a:pt x="2680" y="644"/>
                    <a:pt x="2596" y="739"/>
                    <a:pt x="2489" y="739"/>
                  </a:cubicBezTo>
                  <a:cubicBezTo>
                    <a:pt x="2382" y="739"/>
                    <a:pt x="2299" y="644"/>
                    <a:pt x="2299" y="536"/>
                  </a:cubicBezTo>
                  <a:cubicBezTo>
                    <a:pt x="2311" y="441"/>
                    <a:pt x="2382" y="346"/>
                    <a:pt x="2489" y="346"/>
                  </a:cubicBezTo>
                  <a:close/>
                  <a:moveTo>
                    <a:pt x="2954" y="715"/>
                  </a:moveTo>
                  <a:cubicBezTo>
                    <a:pt x="3084" y="775"/>
                    <a:pt x="3192" y="894"/>
                    <a:pt x="3192" y="1060"/>
                  </a:cubicBezTo>
                  <a:cubicBezTo>
                    <a:pt x="3204" y="1275"/>
                    <a:pt x="3037" y="1429"/>
                    <a:pt x="2846" y="1429"/>
                  </a:cubicBezTo>
                  <a:lnTo>
                    <a:pt x="2132" y="1429"/>
                  </a:lnTo>
                  <a:cubicBezTo>
                    <a:pt x="1918" y="1429"/>
                    <a:pt x="1763" y="1275"/>
                    <a:pt x="1763" y="1060"/>
                  </a:cubicBezTo>
                  <a:cubicBezTo>
                    <a:pt x="1763" y="917"/>
                    <a:pt x="1858" y="775"/>
                    <a:pt x="2001" y="715"/>
                  </a:cubicBezTo>
                  <a:cubicBezTo>
                    <a:pt x="2072" y="917"/>
                    <a:pt x="2263" y="1048"/>
                    <a:pt x="2477" y="1048"/>
                  </a:cubicBezTo>
                  <a:cubicBezTo>
                    <a:pt x="2692" y="1048"/>
                    <a:pt x="2870" y="917"/>
                    <a:pt x="2954" y="715"/>
                  </a:cubicBezTo>
                  <a:close/>
                  <a:moveTo>
                    <a:pt x="2501" y="1"/>
                  </a:moveTo>
                  <a:cubicBezTo>
                    <a:pt x="2263" y="1"/>
                    <a:pt x="2072" y="155"/>
                    <a:pt x="2013" y="370"/>
                  </a:cubicBezTo>
                  <a:cubicBezTo>
                    <a:pt x="1703" y="429"/>
                    <a:pt x="1453" y="715"/>
                    <a:pt x="1453" y="1060"/>
                  </a:cubicBezTo>
                  <a:lnTo>
                    <a:pt x="1453" y="1132"/>
                  </a:lnTo>
                  <a:cubicBezTo>
                    <a:pt x="1203" y="1251"/>
                    <a:pt x="965" y="1418"/>
                    <a:pt x="763" y="1632"/>
                  </a:cubicBezTo>
                  <a:cubicBezTo>
                    <a:pt x="346" y="2049"/>
                    <a:pt x="84" y="2596"/>
                    <a:pt x="48" y="3192"/>
                  </a:cubicBezTo>
                  <a:cubicBezTo>
                    <a:pt x="1" y="3763"/>
                    <a:pt x="167" y="4346"/>
                    <a:pt x="501" y="4823"/>
                  </a:cubicBezTo>
                  <a:cubicBezTo>
                    <a:pt x="537" y="4870"/>
                    <a:pt x="596" y="4906"/>
                    <a:pt x="644" y="4906"/>
                  </a:cubicBezTo>
                  <a:cubicBezTo>
                    <a:pt x="668" y="4906"/>
                    <a:pt x="715" y="4882"/>
                    <a:pt x="739" y="4870"/>
                  </a:cubicBezTo>
                  <a:cubicBezTo>
                    <a:pt x="822" y="4811"/>
                    <a:pt x="834" y="4704"/>
                    <a:pt x="775" y="4632"/>
                  </a:cubicBezTo>
                  <a:cubicBezTo>
                    <a:pt x="477" y="4227"/>
                    <a:pt x="334" y="3727"/>
                    <a:pt x="370" y="3215"/>
                  </a:cubicBezTo>
                  <a:cubicBezTo>
                    <a:pt x="406" y="2715"/>
                    <a:pt x="632" y="2227"/>
                    <a:pt x="1001" y="1858"/>
                  </a:cubicBezTo>
                  <a:cubicBezTo>
                    <a:pt x="1156" y="1703"/>
                    <a:pt x="1358" y="1548"/>
                    <a:pt x="1584" y="1465"/>
                  </a:cubicBezTo>
                  <a:cubicBezTo>
                    <a:pt x="1703" y="1656"/>
                    <a:pt x="1918" y="1775"/>
                    <a:pt x="2156" y="1775"/>
                  </a:cubicBezTo>
                  <a:lnTo>
                    <a:pt x="2870" y="1775"/>
                  </a:lnTo>
                  <a:cubicBezTo>
                    <a:pt x="3108" y="1775"/>
                    <a:pt x="3335" y="1656"/>
                    <a:pt x="3454" y="1465"/>
                  </a:cubicBezTo>
                  <a:cubicBezTo>
                    <a:pt x="3573" y="1525"/>
                    <a:pt x="3680" y="1584"/>
                    <a:pt x="3787" y="1656"/>
                  </a:cubicBezTo>
                  <a:cubicBezTo>
                    <a:pt x="3811" y="1668"/>
                    <a:pt x="3846" y="1679"/>
                    <a:pt x="3882" y="1679"/>
                  </a:cubicBezTo>
                  <a:cubicBezTo>
                    <a:pt x="3930" y="1679"/>
                    <a:pt x="3989" y="1656"/>
                    <a:pt x="4025" y="1608"/>
                  </a:cubicBezTo>
                  <a:cubicBezTo>
                    <a:pt x="4037" y="1537"/>
                    <a:pt x="4013" y="1429"/>
                    <a:pt x="3942" y="1370"/>
                  </a:cubicBezTo>
                  <a:cubicBezTo>
                    <a:pt x="3811" y="1287"/>
                    <a:pt x="3680" y="1191"/>
                    <a:pt x="3537" y="1132"/>
                  </a:cubicBezTo>
                  <a:lnTo>
                    <a:pt x="3537" y="1060"/>
                  </a:lnTo>
                  <a:cubicBezTo>
                    <a:pt x="3537" y="739"/>
                    <a:pt x="3311" y="453"/>
                    <a:pt x="2989" y="370"/>
                  </a:cubicBezTo>
                  <a:cubicBezTo>
                    <a:pt x="2930" y="167"/>
                    <a:pt x="2727" y="1"/>
                    <a:pt x="2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6" name="Google Shape;12026;p61"/>
            <p:cNvSpPr/>
            <p:nvPr/>
          </p:nvSpPr>
          <p:spPr>
            <a:xfrm>
              <a:off x="5890886" y="2060633"/>
              <a:ext cx="128652" cy="127227"/>
            </a:xfrm>
            <a:custGeom>
              <a:avLst/>
              <a:gdLst/>
              <a:ahLst/>
              <a:cxnLst/>
              <a:rect l="l" t="t" r="r" b="b"/>
              <a:pathLst>
                <a:path w="4061" h="4016" extrusionOk="0">
                  <a:moveTo>
                    <a:pt x="3421" y="1"/>
                  </a:moveTo>
                  <a:cubicBezTo>
                    <a:pt x="3385" y="1"/>
                    <a:pt x="3346" y="13"/>
                    <a:pt x="3310" y="39"/>
                  </a:cubicBezTo>
                  <a:cubicBezTo>
                    <a:pt x="3239" y="98"/>
                    <a:pt x="3227" y="206"/>
                    <a:pt x="3287" y="277"/>
                  </a:cubicBezTo>
                  <a:cubicBezTo>
                    <a:pt x="3584" y="682"/>
                    <a:pt x="3727" y="1182"/>
                    <a:pt x="3691" y="1694"/>
                  </a:cubicBezTo>
                  <a:cubicBezTo>
                    <a:pt x="3656" y="2194"/>
                    <a:pt x="3429" y="2682"/>
                    <a:pt x="3060" y="3039"/>
                  </a:cubicBezTo>
                  <a:cubicBezTo>
                    <a:pt x="2703" y="3396"/>
                    <a:pt x="2215" y="3623"/>
                    <a:pt x="1703" y="3670"/>
                  </a:cubicBezTo>
                  <a:cubicBezTo>
                    <a:pt x="1665" y="3672"/>
                    <a:pt x="1626" y="3673"/>
                    <a:pt x="1588" y="3673"/>
                  </a:cubicBezTo>
                  <a:cubicBezTo>
                    <a:pt x="1125" y="3673"/>
                    <a:pt x="661" y="3540"/>
                    <a:pt x="298" y="3265"/>
                  </a:cubicBezTo>
                  <a:cubicBezTo>
                    <a:pt x="263" y="3241"/>
                    <a:pt x="227" y="3228"/>
                    <a:pt x="191" y="3228"/>
                  </a:cubicBezTo>
                  <a:cubicBezTo>
                    <a:pt x="142" y="3228"/>
                    <a:pt x="95" y="3253"/>
                    <a:pt x="60" y="3301"/>
                  </a:cubicBezTo>
                  <a:cubicBezTo>
                    <a:pt x="0" y="3373"/>
                    <a:pt x="12" y="3480"/>
                    <a:pt x="84" y="3539"/>
                  </a:cubicBezTo>
                  <a:cubicBezTo>
                    <a:pt x="501" y="3849"/>
                    <a:pt x="1024" y="4016"/>
                    <a:pt x="1548" y="4016"/>
                  </a:cubicBezTo>
                  <a:lnTo>
                    <a:pt x="1727" y="4016"/>
                  </a:lnTo>
                  <a:cubicBezTo>
                    <a:pt x="2322" y="3968"/>
                    <a:pt x="2870" y="3718"/>
                    <a:pt x="3287" y="3301"/>
                  </a:cubicBezTo>
                  <a:cubicBezTo>
                    <a:pt x="3703" y="2884"/>
                    <a:pt x="3953" y="2325"/>
                    <a:pt x="4001" y="1730"/>
                  </a:cubicBezTo>
                  <a:cubicBezTo>
                    <a:pt x="4060" y="1122"/>
                    <a:pt x="3894" y="539"/>
                    <a:pt x="3549" y="63"/>
                  </a:cubicBezTo>
                  <a:cubicBezTo>
                    <a:pt x="3515" y="22"/>
                    <a:pt x="3469" y="1"/>
                    <a:pt x="34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7" name="Google Shape;12027;p61"/>
            <p:cNvSpPr/>
            <p:nvPr/>
          </p:nvSpPr>
          <p:spPr>
            <a:xfrm>
              <a:off x="5910116" y="2122947"/>
              <a:ext cx="61142" cy="33232"/>
            </a:xfrm>
            <a:custGeom>
              <a:avLst/>
              <a:gdLst/>
              <a:ahLst/>
              <a:cxnLst/>
              <a:rect l="l" t="t" r="r" b="b"/>
              <a:pathLst>
                <a:path w="1930" h="1049" extrusionOk="0">
                  <a:moveTo>
                    <a:pt x="1560" y="346"/>
                  </a:moveTo>
                  <a:cubicBezTo>
                    <a:pt x="1477" y="560"/>
                    <a:pt x="1239" y="715"/>
                    <a:pt x="953" y="715"/>
                  </a:cubicBezTo>
                  <a:cubicBezTo>
                    <a:pt x="667" y="715"/>
                    <a:pt x="429" y="548"/>
                    <a:pt x="358" y="346"/>
                  </a:cubicBezTo>
                  <a:close/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644"/>
                    <a:pt x="429" y="1048"/>
                    <a:pt x="965" y="1048"/>
                  </a:cubicBezTo>
                  <a:cubicBezTo>
                    <a:pt x="1501" y="1048"/>
                    <a:pt x="1929" y="656"/>
                    <a:pt x="1929" y="167"/>
                  </a:cubicBezTo>
                  <a:cubicBezTo>
                    <a:pt x="1918" y="84"/>
                    <a:pt x="1846" y="1"/>
                    <a:pt x="1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28" name="Google Shape;12028;p61"/>
          <p:cNvGrpSpPr/>
          <p:nvPr/>
        </p:nvGrpSpPr>
        <p:grpSpPr>
          <a:xfrm>
            <a:off x="5352643" y="1969046"/>
            <a:ext cx="278404" cy="358364"/>
            <a:chOff x="5352643" y="1969046"/>
            <a:chExt cx="278404" cy="358364"/>
          </a:xfrm>
        </p:grpSpPr>
        <p:sp>
          <p:nvSpPr>
            <p:cNvPr id="12029" name="Google Shape;12029;p61"/>
            <p:cNvSpPr/>
            <p:nvPr/>
          </p:nvSpPr>
          <p:spPr>
            <a:xfrm>
              <a:off x="5352643" y="1969046"/>
              <a:ext cx="278404" cy="358364"/>
            </a:xfrm>
            <a:custGeom>
              <a:avLst/>
              <a:gdLst/>
              <a:ahLst/>
              <a:cxnLst/>
              <a:rect l="l" t="t" r="r" b="b"/>
              <a:pathLst>
                <a:path w="8788" h="11312" extrusionOk="0">
                  <a:moveTo>
                    <a:pt x="4882" y="453"/>
                  </a:moveTo>
                  <a:cubicBezTo>
                    <a:pt x="5418" y="739"/>
                    <a:pt x="5834" y="1430"/>
                    <a:pt x="5953" y="2299"/>
                  </a:cubicBezTo>
                  <a:lnTo>
                    <a:pt x="5239" y="2299"/>
                  </a:lnTo>
                  <a:cubicBezTo>
                    <a:pt x="5215" y="1632"/>
                    <a:pt x="5096" y="918"/>
                    <a:pt x="4882" y="453"/>
                  </a:cubicBezTo>
                  <a:close/>
                  <a:moveTo>
                    <a:pt x="5667" y="687"/>
                  </a:moveTo>
                  <a:lnTo>
                    <a:pt x="5667" y="687"/>
                  </a:lnTo>
                  <a:cubicBezTo>
                    <a:pt x="6245" y="1045"/>
                    <a:pt x="6669" y="1625"/>
                    <a:pt x="6811" y="2299"/>
                  </a:cubicBezTo>
                  <a:lnTo>
                    <a:pt x="6299" y="2299"/>
                  </a:lnTo>
                  <a:cubicBezTo>
                    <a:pt x="6227" y="1692"/>
                    <a:pt x="6013" y="1144"/>
                    <a:pt x="5691" y="727"/>
                  </a:cubicBezTo>
                  <a:cubicBezTo>
                    <a:pt x="5682" y="708"/>
                    <a:pt x="5680" y="697"/>
                    <a:pt x="5667" y="687"/>
                  </a:cubicBezTo>
                  <a:close/>
                  <a:moveTo>
                    <a:pt x="3894" y="477"/>
                  </a:moveTo>
                  <a:lnTo>
                    <a:pt x="3894" y="477"/>
                  </a:lnTo>
                  <a:cubicBezTo>
                    <a:pt x="3679" y="918"/>
                    <a:pt x="3572" y="1632"/>
                    <a:pt x="3524" y="2311"/>
                  </a:cubicBezTo>
                  <a:lnTo>
                    <a:pt x="2810" y="2311"/>
                  </a:lnTo>
                  <a:cubicBezTo>
                    <a:pt x="2810" y="2263"/>
                    <a:pt x="2834" y="2215"/>
                    <a:pt x="2846" y="2156"/>
                  </a:cubicBezTo>
                  <a:cubicBezTo>
                    <a:pt x="2858" y="2061"/>
                    <a:pt x="2798" y="1977"/>
                    <a:pt x="2715" y="1954"/>
                  </a:cubicBezTo>
                  <a:cubicBezTo>
                    <a:pt x="2707" y="1953"/>
                    <a:pt x="2699" y="1952"/>
                    <a:pt x="2691" y="1952"/>
                  </a:cubicBezTo>
                  <a:cubicBezTo>
                    <a:pt x="2606" y="1952"/>
                    <a:pt x="2534" y="2009"/>
                    <a:pt x="2512" y="2096"/>
                  </a:cubicBezTo>
                  <a:cubicBezTo>
                    <a:pt x="2501" y="2168"/>
                    <a:pt x="2489" y="2239"/>
                    <a:pt x="2489" y="2311"/>
                  </a:cubicBezTo>
                  <a:lnTo>
                    <a:pt x="1977" y="2311"/>
                  </a:lnTo>
                  <a:cubicBezTo>
                    <a:pt x="2108" y="1620"/>
                    <a:pt x="2512" y="1037"/>
                    <a:pt x="3096" y="691"/>
                  </a:cubicBezTo>
                  <a:lnTo>
                    <a:pt x="3096" y="691"/>
                  </a:lnTo>
                  <a:cubicBezTo>
                    <a:pt x="2953" y="870"/>
                    <a:pt x="2834" y="1096"/>
                    <a:pt x="2727" y="1346"/>
                  </a:cubicBezTo>
                  <a:cubicBezTo>
                    <a:pt x="2703" y="1442"/>
                    <a:pt x="2727" y="1525"/>
                    <a:pt x="2810" y="1573"/>
                  </a:cubicBezTo>
                  <a:cubicBezTo>
                    <a:pt x="2835" y="1582"/>
                    <a:pt x="2860" y="1586"/>
                    <a:pt x="2884" y="1586"/>
                  </a:cubicBezTo>
                  <a:cubicBezTo>
                    <a:pt x="2951" y="1586"/>
                    <a:pt x="3010" y="1551"/>
                    <a:pt x="3036" y="1489"/>
                  </a:cubicBezTo>
                  <a:cubicBezTo>
                    <a:pt x="3251" y="1013"/>
                    <a:pt x="3548" y="644"/>
                    <a:pt x="3894" y="477"/>
                  </a:cubicBezTo>
                  <a:close/>
                  <a:moveTo>
                    <a:pt x="4382" y="334"/>
                  </a:moveTo>
                  <a:cubicBezTo>
                    <a:pt x="4417" y="334"/>
                    <a:pt x="4560" y="441"/>
                    <a:pt x="4691" y="894"/>
                  </a:cubicBezTo>
                  <a:cubicBezTo>
                    <a:pt x="4810" y="1263"/>
                    <a:pt x="4882" y="1763"/>
                    <a:pt x="4918" y="2323"/>
                  </a:cubicBezTo>
                  <a:lnTo>
                    <a:pt x="3846" y="2323"/>
                  </a:lnTo>
                  <a:cubicBezTo>
                    <a:pt x="3870" y="1763"/>
                    <a:pt x="3941" y="1263"/>
                    <a:pt x="4060" y="894"/>
                  </a:cubicBezTo>
                  <a:cubicBezTo>
                    <a:pt x="4203" y="430"/>
                    <a:pt x="4334" y="334"/>
                    <a:pt x="4382" y="334"/>
                  </a:cubicBezTo>
                  <a:close/>
                  <a:moveTo>
                    <a:pt x="7025" y="2632"/>
                  </a:moveTo>
                  <a:cubicBezTo>
                    <a:pt x="7025" y="2632"/>
                    <a:pt x="7037" y="2632"/>
                    <a:pt x="7037" y="2644"/>
                  </a:cubicBezTo>
                  <a:lnTo>
                    <a:pt x="7037" y="3180"/>
                  </a:lnTo>
                  <a:lnTo>
                    <a:pt x="1715" y="3180"/>
                  </a:lnTo>
                  <a:lnTo>
                    <a:pt x="1715" y="2644"/>
                  </a:lnTo>
                  <a:cubicBezTo>
                    <a:pt x="1715" y="2644"/>
                    <a:pt x="1715" y="2632"/>
                    <a:pt x="1727" y="2632"/>
                  </a:cubicBezTo>
                  <a:close/>
                  <a:moveTo>
                    <a:pt x="1905" y="3525"/>
                  </a:moveTo>
                  <a:lnTo>
                    <a:pt x="1905" y="3716"/>
                  </a:lnTo>
                  <a:lnTo>
                    <a:pt x="1834" y="3716"/>
                  </a:lnTo>
                  <a:cubicBezTo>
                    <a:pt x="1810" y="3716"/>
                    <a:pt x="1762" y="3716"/>
                    <a:pt x="1715" y="3728"/>
                  </a:cubicBezTo>
                  <a:lnTo>
                    <a:pt x="1715" y="3525"/>
                  </a:lnTo>
                  <a:close/>
                  <a:moveTo>
                    <a:pt x="7049" y="3525"/>
                  </a:moveTo>
                  <a:lnTo>
                    <a:pt x="7049" y="3728"/>
                  </a:lnTo>
                  <a:cubicBezTo>
                    <a:pt x="7013" y="3728"/>
                    <a:pt x="6977" y="3716"/>
                    <a:pt x="6942" y="3716"/>
                  </a:cubicBezTo>
                  <a:lnTo>
                    <a:pt x="6846" y="3716"/>
                  </a:lnTo>
                  <a:lnTo>
                    <a:pt x="6846" y="3525"/>
                  </a:lnTo>
                  <a:close/>
                  <a:moveTo>
                    <a:pt x="1905" y="4049"/>
                  </a:moveTo>
                  <a:lnTo>
                    <a:pt x="1905" y="4585"/>
                  </a:lnTo>
                  <a:lnTo>
                    <a:pt x="1905" y="4597"/>
                  </a:lnTo>
                  <a:lnTo>
                    <a:pt x="1822" y="4597"/>
                  </a:lnTo>
                  <a:cubicBezTo>
                    <a:pt x="1750" y="4597"/>
                    <a:pt x="1667" y="4561"/>
                    <a:pt x="1608" y="4501"/>
                  </a:cubicBezTo>
                  <a:cubicBezTo>
                    <a:pt x="1548" y="4442"/>
                    <a:pt x="1536" y="4371"/>
                    <a:pt x="1536" y="4299"/>
                  </a:cubicBezTo>
                  <a:cubicBezTo>
                    <a:pt x="1548" y="4168"/>
                    <a:pt x="1691" y="4049"/>
                    <a:pt x="1834" y="4049"/>
                  </a:cubicBezTo>
                  <a:close/>
                  <a:moveTo>
                    <a:pt x="6953" y="4049"/>
                  </a:moveTo>
                  <a:cubicBezTo>
                    <a:pt x="7025" y="4049"/>
                    <a:pt x="7108" y="4073"/>
                    <a:pt x="7168" y="4132"/>
                  </a:cubicBezTo>
                  <a:cubicBezTo>
                    <a:pt x="7204" y="4192"/>
                    <a:pt x="7227" y="4263"/>
                    <a:pt x="7227" y="4359"/>
                  </a:cubicBezTo>
                  <a:cubicBezTo>
                    <a:pt x="7204" y="4490"/>
                    <a:pt x="7073" y="4609"/>
                    <a:pt x="6930" y="4609"/>
                  </a:cubicBezTo>
                  <a:lnTo>
                    <a:pt x="6846" y="4609"/>
                  </a:lnTo>
                  <a:lnTo>
                    <a:pt x="6846" y="4597"/>
                  </a:lnTo>
                  <a:lnTo>
                    <a:pt x="6846" y="4049"/>
                  </a:lnTo>
                  <a:close/>
                  <a:moveTo>
                    <a:pt x="6525" y="3525"/>
                  </a:moveTo>
                  <a:lnTo>
                    <a:pt x="6513" y="4049"/>
                  </a:lnTo>
                  <a:lnTo>
                    <a:pt x="5644" y="4644"/>
                  </a:lnTo>
                  <a:cubicBezTo>
                    <a:pt x="5559" y="4703"/>
                    <a:pt x="5463" y="4727"/>
                    <a:pt x="5363" y="4727"/>
                  </a:cubicBezTo>
                  <a:cubicBezTo>
                    <a:pt x="5322" y="4727"/>
                    <a:pt x="5281" y="4723"/>
                    <a:pt x="5239" y="4716"/>
                  </a:cubicBezTo>
                  <a:cubicBezTo>
                    <a:pt x="5108" y="4668"/>
                    <a:pt x="4989" y="4561"/>
                    <a:pt x="4929" y="4442"/>
                  </a:cubicBezTo>
                  <a:cubicBezTo>
                    <a:pt x="4846" y="4228"/>
                    <a:pt x="4620" y="4085"/>
                    <a:pt x="4382" y="4085"/>
                  </a:cubicBezTo>
                  <a:cubicBezTo>
                    <a:pt x="4144" y="4085"/>
                    <a:pt x="3917" y="4228"/>
                    <a:pt x="3834" y="4442"/>
                  </a:cubicBezTo>
                  <a:cubicBezTo>
                    <a:pt x="3775" y="4585"/>
                    <a:pt x="3655" y="4680"/>
                    <a:pt x="3513" y="4716"/>
                  </a:cubicBezTo>
                  <a:cubicBezTo>
                    <a:pt x="3473" y="4730"/>
                    <a:pt x="3431" y="4737"/>
                    <a:pt x="3390" y="4737"/>
                  </a:cubicBezTo>
                  <a:cubicBezTo>
                    <a:pt x="3296" y="4737"/>
                    <a:pt x="3202" y="4702"/>
                    <a:pt x="3120" y="4644"/>
                  </a:cubicBezTo>
                  <a:lnTo>
                    <a:pt x="2251" y="4049"/>
                  </a:lnTo>
                  <a:lnTo>
                    <a:pt x="2251" y="3525"/>
                  </a:lnTo>
                  <a:close/>
                  <a:moveTo>
                    <a:pt x="4382" y="4406"/>
                  </a:moveTo>
                  <a:cubicBezTo>
                    <a:pt x="4501" y="4406"/>
                    <a:pt x="4584" y="4466"/>
                    <a:pt x="4632" y="4561"/>
                  </a:cubicBezTo>
                  <a:cubicBezTo>
                    <a:pt x="4715" y="4787"/>
                    <a:pt x="4918" y="4954"/>
                    <a:pt x="5156" y="5025"/>
                  </a:cubicBezTo>
                  <a:cubicBezTo>
                    <a:pt x="5227" y="5037"/>
                    <a:pt x="5299" y="5061"/>
                    <a:pt x="5382" y="5061"/>
                  </a:cubicBezTo>
                  <a:cubicBezTo>
                    <a:pt x="5537" y="5061"/>
                    <a:pt x="5703" y="5013"/>
                    <a:pt x="5834" y="4906"/>
                  </a:cubicBezTo>
                  <a:lnTo>
                    <a:pt x="6501" y="4442"/>
                  </a:lnTo>
                  <a:lnTo>
                    <a:pt x="6501" y="4597"/>
                  </a:lnTo>
                  <a:cubicBezTo>
                    <a:pt x="6501" y="5775"/>
                    <a:pt x="5549" y="6728"/>
                    <a:pt x="4382" y="6728"/>
                  </a:cubicBezTo>
                  <a:cubicBezTo>
                    <a:pt x="3203" y="6728"/>
                    <a:pt x="2251" y="5775"/>
                    <a:pt x="2251" y="4597"/>
                  </a:cubicBezTo>
                  <a:lnTo>
                    <a:pt x="2251" y="4442"/>
                  </a:lnTo>
                  <a:lnTo>
                    <a:pt x="2917" y="4906"/>
                  </a:lnTo>
                  <a:cubicBezTo>
                    <a:pt x="3070" y="5000"/>
                    <a:pt x="3235" y="5051"/>
                    <a:pt x="3403" y="5051"/>
                  </a:cubicBezTo>
                  <a:cubicBezTo>
                    <a:pt x="3471" y="5051"/>
                    <a:pt x="3539" y="5042"/>
                    <a:pt x="3608" y="5025"/>
                  </a:cubicBezTo>
                  <a:cubicBezTo>
                    <a:pt x="3846" y="4954"/>
                    <a:pt x="4036" y="4787"/>
                    <a:pt x="4120" y="4561"/>
                  </a:cubicBezTo>
                  <a:cubicBezTo>
                    <a:pt x="4167" y="4478"/>
                    <a:pt x="4263" y="4406"/>
                    <a:pt x="4382" y="4406"/>
                  </a:cubicBezTo>
                  <a:close/>
                  <a:moveTo>
                    <a:pt x="2977" y="7228"/>
                  </a:moveTo>
                  <a:lnTo>
                    <a:pt x="2977" y="7561"/>
                  </a:lnTo>
                  <a:cubicBezTo>
                    <a:pt x="2977" y="7704"/>
                    <a:pt x="2893" y="7835"/>
                    <a:pt x="2739" y="7895"/>
                  </a:cubicBezTo>
                  <a:lnTo>
                    <a:pt x="2358" y="7645"/>
                  </a:lnTo>
                  <a:cubicBezTo>
                    <a:pt x="2251" y="7573"/>
                    <a:pt x="2239" y="7466"/>
                    <a:pt x="2262" y="7395"/>
                  </a:cubicBezTo>
                  <a:cubicBezTo>
                    <a:pt x="2298" y="7323"/>
                    <a:pt x="2358" y="7228"/>
                    <a:pt x="2477" y="7228"/>
                  </a:cubicBezTo>
                  <a:close/>
                  <a:moveTo>
                    <a:pt x="6275" y="7228"/>
                  </a:moveTo>
                  <a:cubicBezTo>
                    <a:pt x="6382" y="7228"/>
                    <a:pt x="6465" y="7323"/>
                    <a:pt x="6477" y="7395"/>
                  </a:cubicBezTo>
                  <a:cubicBezTo>
                    <a:pt x="6513" y="7466"/>
                    <a:pt x="6489" y="7573"/>
                    <a:pt x="6394" y="7645"/>
                  </a:cubicBezTo>
                  <a:lnTo>
                    <a:pt x="6001" y="7895"/>
                  </a:lnTo>
                  <a:cubicBezTo>
                    <a:pt x="5882" y="7835"/>
                    <a:pt x="5775" y="7704"/>
                    <a:pt x="5775" y="7561"/>
                  </a:cubicBezTo>
                  <a:lnTo>
                    <a:pt x="5775" y="7228"/>
                  </a:lnTo>
                  <a:close/>
                  <a:moveTo>
                    <a:pt x="2977" y="6704"/>
                  </a:moveTo>
                  <a:lnTo>
                    <a:pt x="2977" y="6907"/>
                  </a:lnTo>
                  <a:lnTo>
                    <a:pt x="2489" y="6907"/>
                  </a:lnTo>
                  <a:cubicBezTo>
                    <a:pt x="2239" y="6907"/>
                    <a:pt x="2024" y="7049"/>
                    <a:pt x="1953" y="7288"/>
                  </a:cubicBezTo>
                  <a:cubicBezTo>
                    <a:pt x="1881" y="7526"/>
                    <a:pt x="1965" y="7764"/>
                    <a:pt x="2179" y="7919"/>
                  </a:cubicBezTo>
                  <a:lnTo>
                    <a:pt x="4167" y="9240"/>
                  </a:lnTo>
                  <a:cubicBezTo>
                    <a:pt x="4036" y="9300"/>
                    <a:pt x="3929" y="9419"/>
                    <a:pt x="3894" y="9550"/>
                  </a:cubicBezTo>
                  <a:lnTo>
                    <a:pt x="3501" y="9550"/>
                  </a:lnTo>
                  <a:cubicBezTo>
                    <a:pt x="2429" y="9550"/>
                    <a:pt x="1548" y="8669"/>
                    <a:pt x="1548" y="7597"/>
                  </a:cubicBezTo>
                  <a:cubicBezTo>
                    <a:pt x="1548" y="7109"/>
                    <a:pt x="1953" y="6704"/>
                    <a:pt x="2441" y="6704"/>
                  </a:cubicBezTo>
                  <a:close/>
                  <a:moveTo>
                    <a:pt x="6311" y="6728"/>
                  </a:moveTo>
                  <a:cubicBezTo>
                    <a:pt x="6811" y="6728"/>
                    <a:pt x="7204" y="7121"/>
                    <a:pt x="7204" y="7621"/>
                  </a:cubicBezTo>
                  <a:cubicBezTo>
                    <a:pt x="7227" y="8669"/>
                    <a:pt x="6346" y="9550"/>
                    <a:pt x="5263" y="9550"/>
                  </a:cubicBezTo>
                  <a:lnTo>
                    <a:pt x="4870" y="9550"/>
                  </a:lnTo>
                  <a:cubicBezTo>
                    <a:pt x="4822" y="9419"/>
                    <a:pt x="4727" y="9300"/>
                    <a:pt x="4584" y="9240"/>
                  </a:cubicBezTo>
                  <a:lnTo>
                    <a:pt x="5168" y="8847"/>
                  </a:lnTo>
                  <a:cubicBezTo>
                    <a:pt x="5239" y="8812"/>
                    <a:pt x="5263" y="8704"/>
                    <a:pt x="5215" y="8633"/>
                  </a:cubicBezTo>
                  <a:cubicBezTo>
                    <a:pt x="5186" y="8582"/>
                    <a:pt x="5134" y="8557"/>
                    <a:pt x="5082" y="8557"/>
                  </a:cubicBezTo>
                  <a:cubicBezTo>
                    <a:pt x="5049" y="8557"/>
                    <a:pt x="5016" y="8567"/>
                    <a:pt x="4989" y="8585"/>
                  </a:cubicBezTo>
                  <a:lnTo>
                    <a:pt x="4382" y="9002"/>
                  </a:lnTo>
                  <a:lnTo>
                    <a:pt x="3036" y="8109"/>
                  </a:lnTo>
                  <a:cubicBezTo>
                    <a:pt x="3203" y="7978"/>
                    <a:pt x="3310" y="7776"/>
                    <a:pt x="3310" y="7561"/>
                  </a:cubicBezTo>
                  <a:lnTo>
                    <a:pt x="3310" y="6811"/>
                  </a:lnTo>
                  <a:cubicBezTo>
                    <a:pt x="3632" y="6978"/>
                    <a:pt x="3989" y="7061"/>
                    <a:pt x="4382" y="7061"/>
                  </a:cubicBezTo>
                  <a:cubicBezTo>
                    <a:pt x="4763" y="7061"/>
                    <a:pt x="5120" y="6978"/>
                    <a:pt x="5453" y="6811"/>
                  </a:cubicBezTo>
                  <a:lnTo>
                    <a:pt x="5453" y="7561"/>
                  </a:lnTo>
                  <a:cubicBezTo>
                    <a:pt x="5453" y="7764"/>
                    <a:pt x="5560" y="7978"/>
                    <a:pt x="5715" y="8109"/>
                  </a:cubicBezTo>
                  <a:lnTo>
                    <a:pt x="5620" y="8181"/>
                  </a:lnTo>
                  <a:cubicBezTo>
                    <a:pt x="5537" y="8228"/>
                    <a:pt x="5525" y="8335"/>
                    <a:pt x="5572" y="8407"/>
                  </a:cubicBezTo>
                  <a:cubicBezTo>
                    <a:pt x="5596" y="8454"/>
                    <a:pt x="5656" y="8478"/>
                    <a:pt x="5703" y="8478"/>
                  </a:cubicBezTo>
                  <a:cubicBezTo>
                    <a:pt x="5739" y="8478"/>
                    <a:pt x="5763" y="8466"/>
                    <a:pt x="5799" y="8454"/>
                  </a:cubicBezTo>
                  <a:lnTo>
                    <a:pt x="6584" y="7930"/>
                  </a:lnTo>
                  <a:cubicBezTo>
                    <a:pt x="6787" y="7800"/>
                    <a:pt x="6882" y="7538"/>
                    <a:pt x="6811" y="7299"/>
                  </a:cubicBezTo>
                  <a:cubicBezTo>
                    <a:pt x="6727" y="7061"/>
                    <a:pt x="6525" y="6918"/>
                    <a:pt x="6275" y="6918"/>
                  </a:cubicBezTo>
                  <a:lnTo>
                    <a:pt x="5775" y="6918"/>
                  </a:lnTo>
                  <a:lnTo>
                    <a:pt x="5775" y="6728"/>
                  </a:lnTo>
                  <a:close/>
                  <a:moveTo>
                    <a:pt x="4382" y="9526"/>
                  </a:moveTo>
                  <a:cubicBezTo>
                    <a:pt x="4489" y="9538"/>
                    <a:pt x="4572" y="9609"/>
                    <a:pt x="4572" y="9716"/>
                  </a:cubicBezTo>
                  <a:cubicBezTo>
                    <a:pt x="4572" y="9824"/>
                    <a:pt x="4489" y="9907"/>
                    <a:pt x="4382" y="9907"/>
                  </a:cubicBezTo>
                  <a:cubicBezTo>
                    <a:pt x="4275" y="9907"/>
                    <a:pt x="4191" y="9824"/>
                    <a:pt x="4191" y="9716"/>
                  </a:cubicBezTo>
                  <a:cubicBezTo>
                    <a:pt x="4191" y="9609"/>
                    <a:pt x="4275" y="9526"/>
                    <a:pt x="4382" y="9526"/>
                  </a:cubicBezTo>
                  <a:close/>
                  <a:moveTo>
                    <a:pt x="4406" y="1"/>
                  </a:moveTo>
                  <a:cubicBezTo>
                    <a:pt x="3727" y="1"/>
                    <a:pt x="3060" y="251"/>
                    <a:pt x="2548" y="691"/>
                  </a:cubicBezTo>
                  <a:cubicBezTo>
                    <a:pt x="2072" y="1108"/>
                    <a:pt x="1750" y="1692"/>
                    <a:pt x="1643" y="2323"/>
                  </a:cubicBezTo>
                  <a:cubicBezTo>
                    <a:pt x="1512" y="2358"/>
                    <a:pt x="1417" y="2501"/>
                    <a:pt x="1417" y="2644"/>
                  </a:cubicBezTo>
                  <a:lnTo>
                    <a:pt x="1417" y="3906"/>
                  </a:lnTo>
                  <a:cubicBezTo>
                    <a:pt x="1334" y="4001"/>
                    <a:pt x="1250" y="4132"/>
                    <a:pt x="1238" y="4263"/>
                  </a:cubicBezTo>
                  <a:cubicBezTo>
                    <a:pt x="1227" y="4442"/>
                    <a:pt x="1286" y="4609"/>
                    <a:pt x="1393" y="4740"/>
                  </a:cubicBezTo>
                  <a:cubicBezTo>
                    <a:pt x="1512" y="4882"/>
                    <a:pt x="1667" y="4942"/>
                    <a:pt x="1834" y="4942"/>
                  </a:cubicBezTo>
                  <a:lnTo>
                    <a:pt x="1953" y="4942"/>
                  </a:lnTo>
                  <a:cubicBezTo>
                    <a:pt x="2024" y="5502"/>
                    <a:pt x="2298" y="5990"/>
                    <a:pt x="2703" y="6383"/>
                  </a:cubicBezTo>
                  <a:lnTo>
                    <a:pt x="2465" y="6383"/>
                  </a:lnTo>
                  <a:cubicBezTo>
                    <a:pt x="1786" y="6383"/>
                    <a:pt x="1238" y="6930"/>
                    <a:pt x="1238" y="7597"/>
                  </a:cubicBezTo>
                  <a:cubicBezTo>
                    <a:pt x="1238" y="7859"/>
                    <a:pt x="1286" y="8097"/>
                    <a:pt x="1358" y="8311"/>
                  </a:cubicBezTo>
                  <a:lnTo>
                    <a:pt x="881" y="8454"/>
                  </a:lnTo>
                  <a:cubicBezTo>
                    <a:pt x="357" y="8597"/>
                    <a:pt x="0" y="9085"/>
                    <a:pt x="0" y="9621"/>
                  </a:cubicBezTo>
                  <a:lnTo>
                    <a:pt x="0" y="11133"/>
                  </a:lnTo>
                  <a:cubicBezTo>
                    <a:pt x="0" y="11217"/>
                    <a:pt x="84" y="11288"/>
                    <a:pt x="167" y="11288"/>
                  </a:cubicBezTo>
                  <a:cubicBezTo>
                    <a:pt x="250" y="11288"/>
                    <a:pt x="334" y="11217"/>
                    <a:pt x="334" y="11133"/>
                  </a:cubicBezTo>
                  <a:lnTo>
                    <a:pt x="334" y="9621"/>
                  </a:lnTo>
                  <a:cubicBezTo>
                    <a:pt x="334" y="9490"/>
                    <a:pt x="357" y="9359"/>
                    <a:pt x="417" y="9252"/>
                  </a:cubicBezTo>
                  <a:lnTo>
                    <a:pt x="1227" y="9955"/>
                  </a:lnTo>
                  <a:cubicBezTo>
                    <a:pt x="1346" y="10050"/>
                    <a:pt x="1417" y="10205"/>
                    <a:pt x="1417" y="10371"/>
                  </a:cubicBezTo>
                  <a:lnTo>
                    <a:pt x="1417" y="11145"/>
                  </a:lnTo>
                  <a:cubicBezTo>
                    <a:pt x="1417" y="11228"/>
                    <a:pt x="1489" y="11312"/>
                    <a:pt x="1584" y="11312"/>
                  </a:cubicBezTo>
                  <a:cubicBezTo>
                    <a:pt x="1667" y="11312"/>
                    <a:pt x="1739" y="11228"/>
                    <a:pt x="1739" y="11145"/>
                  </a:cubicBezTo>
                  <a:lnTo>
                    <a:pt x="1739" y="10359"/>
                  </a:lnTo>
                  <a:cubicBezTo>
                    <a:pt x="1739" y="10097"/>
                    <a:pt x="1643" y="9859"/>
                    <a:pt x="1441" y="9681"/>
                  </a:cubicBezTo>
                  <a:lnTo>
                    <a:pt x="607" y="8966"/>
                  </a:lnTo>
                  <a:cubicBezTo>
                    <a:pt x="715" y="8883"/>
                    <a:pt x="834" y="8812"/>
                    <a:pt x="965" y="8764"/>
                  </a:cubicBezTo>
                  <a:lnTo>
                    <a:pt x="1477" y="8609"/>
                  </a:lnTo>
                  <a:cubicBezTo>
                    <a:pt x="1846" y="9359"/>
                    <a:pt x="2620" y="9883"/>
                    <a:pt x="3513" y="9883"/>
                  </a:cubicBezTo>
                  <a:lnTo>
                    <a:pt x="3905" y="9883"/>
                  </a:lnTo>
                  <a:cubicBezTo>
                    <a:pt x="3941" y="10026"/>
                    <a:pt x="4084" y="10145"/>
                    <a:pt x="4227" y="10205"/>
                  </a:cubicBezTo>
                  <a:lnTo>
                    <a:pt x="4227" y="11133"/>
                  </a:lnTo>
                  <a:cubicBezTo>
                    <a:pt x="4227" y="11217"/>
                    <a:pt x="4298" y="11288"/>
                    <a:pt x="4394" y="11288"/>
                  </a:cubicBezTo>
                  <a:cubicBezTo>
                    <a:pt x="4477" y="11288"/>
                    <a:pt x="4560" y="11217"/>
                    <a:pt x="4560" y="11133"/>
                  </a:cubicBezTo>
                  <a:lnTo>
                    <a:pt x="4560" y="10205"/>
                  </a:lnTo>
                  <a:cubicBezTo>
                    <a:pt x="4703" y="10157"/>
                    <a:pt x="4822" y="10026"/>
                    <a:pt x="4882" y="9883"/>
                  </a:cubicBezTo>
                  <a:lnTo>
                    <a:pt x="5275" y="9883"/>
                  </a:lnTo>
                  <a:cubicBezTo>
                    <a:pt x="6168" y="9883"/>
                    <a:pt x="6942" y="9359"/>
                    <a:pt x="7311" y="8609"/>
                  </a:cubicBezTo>
                  <a:lnTo>
                    <a:pt x="7811" y="8764"/>
                  </a:lnTo>
                  <a:cubicBezTo>
                    <a:pt x="7954" y="8812"/>
                    <a:pt x="8085" y="8883"/>
                    <a:pt x="8168" y="8966"/>
                  </a:cubicBezTo>
                  <a:lnTo>
                    <a:pt x="7346" y="9681"/>
                  </a:lnTo>
                  <a:cubicBezTo>
                    <a:pt x="7144" y="9847"/>
                    <a:pt x="7049" y="10086"/>
                    <a:pt x="7049" y="10359"/>
                  </a:cubicBezTo>
                  <a:lnTo>
                    <a:pt x="7049" y="11133"/>
                  </a:lnTo>
                  <a:cubicBezTo>
                    <a:pt x="7049" y="11217"/>
                    <a:pt x="7120" y="11288"/>
                    <a:pt x="7204" y="11288"/>
                  </a:cubicBezTo>
                  <a:cubicBezTo>
                    <a:pt x="7299" y="11288"/>
                    <a:pt x="7370" y="11217"/>
                    <a:pt x="7370" y="11133"/>
                  </a:cubicBezTo>
                  <a:lnTo>
                    <a:pt x="7370" y="10359"/>
                  </a:lnTo>
                  <a:cubicBezTo>
                    <a:pt x="7370" y="10193"/>
                    <a:pt x="7442" y="10038"/>
                    <a:pt x="7561" y="9943"/>
                  </a:cubicBezTo>
                  <a:lnTo>
                    <a:pt x="8370" y="9240"/>
                  </a:lnTo>
                  <a:cubicBezTo>
                    <a:pt x="8430" y="9359"/>
                    <a:pt x="8454" y="9478"/>
                    <a:pt x="8454" y="9609"/>
                  </a:cubicBezTo>
                  <a:lnTo>
                    <a:pt x="8454" y="11109"/>
                  </a:lnTo>
                  <a:cubicBezTo>
                    <a:pt x="8454" y="11205"/>
                    <a:pt x="8525" y="11276"/>
                    <a:pt x="8620" y="11276"/>
                  </a:cubicBezTo>
                  <a:cubicBezTo>
                    <a:pt x="8704" y="11276"/>
                    <a:pt x="8787" y="11205"/>
                    <a:pt x="8787" y="11109"/>
                  </a:cubicBezTo>
                  <a:lnTo>
                    <a:pt x="8787" y="9609"/>
                  </a:lnTo>
                  <a:cubicBezTo>
                    <a:pt x="8787" y="9085"/>
                    <a:pt x="8430" y="8597"/>
                    <a:pt x="7906" y="8454"/>
                  </a:cubicBezTo>
                  <a:lnTo>
                    <a:pt x="7430" y="8311"/>
                  </a:lnTo>
                  <a:cubicBezTo>
                    <a:pt x="7501" y="8097"/>
                    <a:pt x="7549" y="7859"/>
                    <a:pt x="7549" y="7597"/>
                  </a:cubicBezTo>
                  <a:cubicBezTo>
                    <a:pt x="7549" y="6930"/>
                    <a:pt x="7001" y="6383"/>
                    <a:pt x="6322" y="6383"/>
                  </a:cubicBezTo>
                  <a:lnTo>
                    <a:pt x="6084" y="6383"/>
                  </a:lnTo>
                  <a:cubicBezTo>
                    <a:pt x="6477" y="6014"/>
                    <a:pt x="6751" y="5502"/>
                    <a:pt x="6834" y="4942"/>
                  </a:cubicBezTo>
                  <a:lnTo>
                    <a:pt x="6942" y="4942"/>
                  </a:lnTo>
                  <a:cubicBezTo>
                    <a:pt x="7263" y="4942"/>
                    <a:pt x="7537" y="4704"/>
                    <a:pt x="7561" y="4382"/>
                  </a:cubicBezTo>
                  <a:cubicBezTo>
                    <a:pt x="7573" y="4204"/>
                    <a:pt x="7525" y="4049"/>
                    <a:pt x="7418" y="3906"/>
                  </a:cubicBezTo>
                  <a:lnTo>
                    <a:pt x="7406" y="3894"/>
                  </a:lnTo>
                  <a:lnTo>
                    <a:pt x="7406" y="2644"/>
                  </a:lnTo>
                  <a:cubicBezTo>
                    <a:pt x="7406" y="2501"/>
                    <a:pt x="7311" y="2382"/>
                    <a:pt x="7180" y="2323"/>
                  </a:cubicBezTo>
                  <a:cubicBezTo>
                    <a:pt x="7073" y="1692"/>
                    <a:pt x="6751" y="1132"/>
                    <a:pt x="6275" y="691"/>
                  </a:cubicBezTo>
                  <a:cubicBezTo>
                    <a:pt x="5751" y="239"/>
                    <a:pt x="5096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0" name="Google Shape;12030;p61"/>
            <p:cNvSpPr/>
            <p:nvPr/>
          </p:nvSpPr>
          <p:spPr>
            <a:xfrm>
              <a:off x="5452593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50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1" name="Google Shape;12031;p61"/>
            <p:cNvSpPr/>
            <p:nvPr/>
          </p:nvSpPr>
          <p:spPr>
            <a:xfrm>
              <a:off x="5519723" y="2092408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2" name="Google Shape;12032;p61"/>
            <p:cNvSpPr/>
            <p:nvPr/>
          </p:nvSpPr>
          <p:spPr>
            <a:xfrm>
              <a:off x="5474833" y="2137298"/>
              <a:ext cx="32852" cy="10201"/>
            </a:xfrm>
            <a:custGeom>
              <a:avLst/>
              <a:gdLst/>
              <a:ahLst/>
              <a:cxnLst/>
              <a:rect l="l" t="t" r="r" b="b"/>
              <a:pathLst>
                <a:path w="1037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882" y="322"/>
                  </a:lnTo>
                  <a:cubicBezTo>
                    <a:pt x="965" y="322"/>
                    <a:pt x="1037" y="250"/>
                    <a:pt x="1037" y="167"/>
                  </a:cubicBezTo>
                  <a:cubicBezTo>
                    <a:pt x="1037" y="72"/>
                    <a:pt x="965" y="0"/>
                    <a:pt x="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33" name="Google Shape;12033;p61"/>
          <p:cNvGrpSpPr/>
          <p:nvPr/>
        </p:nvGrpSpPr>
        <p:grpSpPr>
          <a:xfrm>
            <a:off x="4897750" y="1968317"/>
            <a:ext cx="279132" cy="358364"/>
            <a:chOff x="4897750" y="1968317"/>
            <a:chExt cx="279132" cy="358364"/>
          </a:xfrm>
        </p:grpSpPr>
        <p:sp>
          <p:nvSpPr>
            <p:cNvPr id="12034" name="Google Shape;12034;p61"/>
            <p:cNvSpPr/>
            <p:nvPr/>
          </p:nvSpPr>
          <p:spPr>
            <a:xfrm>
              <a:off x="4997700" y="2075427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5" name="Google Shape;12035;p61"/>
            <p:cNvSpPr/>
            <p:nvPr/>
          </p:nvSpPr>
          <p:spPr>
            <a:xfrm>
              <a:off x="5064830" y="2075427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56" y="512"/>
                  </a:cubicBezTo>
                  <a:cubicBezTo>
                    <a:pt x="251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6" name="Google Shape;12036;p61"/>
            <p:cNvSpPr/>
            <p:nvPr/>
          </p:nvSpPr>
          <p:spPr>
            <a:xfrm>
              <a:off x="5013920" y="2115122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3" y="1"/>
                  </a:moveTo>
                  <a:cubicBezTo>
                    <a:pt x="140" y="1"/>
                    <a:pt x="96" y="15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cubicBezTo>
                    <a:pt x="203" y="414"/>
                    <a:pt x="441" y="510"/>
                    <a:pt x="691" y="510"/>
                  </a:cubicBezTo>
                  <a:cubicBezTo>
                    <a:pt x="953" y="510"/>
                    <a:pt x="1203" y="414"/>
                    <a:pt x="1334" y="283"/>
                  </a:cubicBezTo>
                  <a:cubicBezTo>
                    <a:pt x="1429" y="212"/>
                    <a:pt x="1429" y="105"/>
                    <a:pt x="1370" y="45"/>
                  </a:cubicBezTo>
                  <a:cubicBezTo>
                    <a:pt x="1334" y="15"/>
                    <a:pt x="1292" y="1"/>
                    <a:pt x="1251" y="1"/>
                  </a:cubicBezTo>
                  <a:cubicBezTo>
                    <a:pt x="1209" y="1"/>
                    <a:pt x="1167" y="15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0" y="176"/>
                    <a:pt x="358" y="105"/>
                    <a:pt x="298" y="45"/>
                  </a:cubicBezTo>
                  <a:cubicBezTo>
                    <a:pt x="268" y="15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7" name="Google Shape;12037;p61"/>
            <p:cNvSpPr/>
            <p:nvPr/>
          </p:nvSpPr>
          <p:spPr>
            <a:xfrm>
              <a:off x="4897750" y="1968317"/>
              <a:ext cx="279132" cy="358364"/>
            </a:xfrm>
            <a:custGeom>
              <a:avLst/>
              <a:gdLst/>
              <a:ahLst/>
              <a:cxnLst/>
              <a:rect l="l" t="t" r="r" b="b"/>
              <a:pathLst>
                <a:path w="8811" h="11312" extrusionOk="0">
                  <a:moveTo>
                    <a:pt x="6108" y="357"/>
                  </a:moveTo>
                  <a:cubicBezTo>
                    <a:pt x="6263" y="357"/>
                    <a:pt x="6418" y="476"/>
                    <a:pt x="6465" y="643"/>
                  </a:cubicBezTo>
                  <a:lnTo>
                    <a:pt x="6668" y="1441"/>
                  </a:lnTo>
                  <a:lnTo>
                    <a:pt x="6180" y="1441"/>
                  </a:lnTo>
                  <a:cubicBezTo>
                    <a:pt x="6084" y="1441"/>
                    <a:pt x="6013" y="1524"/>
                    <a:pt x="6013" y="1607"/>
                  </a:cubicBezTo>
                  <a:cubicBezTo>
                    <a:pt x="6013" y="1703"/>
                    <a:pt x="6084" y="1774"/>
                    <a:pt x="6180" y="1774"/>
                  </a:cubicBezTo>
                  <a:lnTo>
                    <a:pt x="6763" y="1774"/>
                  </a:lnTo>
                  <a:lnTo>
                    <a:pt x="6846" y="2143"/>
                  </a:lnTo>
                  <a:lnTo>
                    <a:pt x="1965" y="2143"/>
                  </a:lnTo>
                  <a:lnTo>
                    <a:pt x="2024" y="1774"/>
                  </a:lnTo>
                  <a:lnTo>
                    <a:pt x="5430" y="1774"/>
                  </a:lnTo>
                  <a:cubicBezTo>
                    <a:pt x="5525" y="1774"/>
                    <a:pt x="5596" y="1703"/>
                    <a:pt x="5596" y="1607"/>
                  </a:cubicBezTo>
                  <a:cubicBezTo>
                    <a:pt x="5596" y="1524"/>
                    <a:pt x="5525" y="1441"/>
                    <a:pt x="5430" y="1441"/>
                  </a:cubicBezTo>
                  <a:lnTo>
                    <a:pt x="2120" y="1441"/>
                  </a:lnTo>
                  <a:lnTo>
                    <a:pt x="2322" y="643"/>
                  </a:lnTo>
                  <a:cubicBezTo>
                    <a:pt x="2370" y="476"/>
                    <a:pt x="2513" y="357"/>
                    <a:pt x="2679" y="357"/>
                  </a:cubicBezTo>
                  <a:close/>
                  <a:moveTo>
                    <a:pt x="2262" y="2477"/>
                  </a:moveTo>
                  <a:lnTo>
                    <a:pt x="2262" y="3012"/>
                  </a:lnTo>
                  <a:cubicBezTo>
                    <a:pt x="2262" y="3120"/>
                    <a:pt x="2179" y="3203"/>
                    <a:pt x="2072" y="3203"/>
                  </a:cubicBezTo>
                  <a:lnTo>
                    <a:pt x="1881" y="3203"/>
                  </a:lnTo>
                  <a:lnTo>
                    <a:pt x="1881" y="2477"/>
                  </a:lnTo>
                  <a:close/>
                  <a:moveTo>
                    <a:pt x="6858" y="2477"/>
                  </a:moveTo>
                  <a:lnTo>
                    <a:pt x="6858" y="3203"/>
                  </a:lnTo>
                  <a:lnTo>
                    <a:pt x="6668" y="3203"/>
                  </a:lnTo>
                  <a:cubicBezTo>
                    <a:pt x="6561" y="3203"/>
                    <a:pt x="6477" y="3108"/>
                    <a:pt x="6477" y="3012"/>
                  </a:cubicBezTo>
                  <a:lnTo>
                    <a:pt x="6477" y="2477"/>
                  </a:lnTo>
                  <a:close/>
                  <a:moveTo>
                    <a:pt x="6144" y="2489"/>
                  </a:moveTo>
                  <a:lnTo>
                    <a:pt x="6144" y="3024"/>
                  </a:lnTo>
                  <a:cubicBezTo>
                    <a:pt x="6144" y="3310"/>
                    <a:pt x="6382" y="3548"/>
                    <a:pt x="6668" y="3548"/>
                  </a:cubicBezTo>
                  <a:lnTo>
                    <a:pt x="6942" y="3548"/>
                  </a:lnTo>
                  <a:cubicBezTo>
                    <a:pt x="7013" y="3548"/>
                    <a:pt x="7085" y="3572"/>
                    <a:pt x="7144" y="3632"/>
                  </a:cubicBezTo>
                  <a:cubicBezTo>
                    <a:pt x="7204" y="3691"/>
                    <a:pt x="7215" y="3774"/>
                    <a:pt x="7215" y="3846"/>
                  </a:cubicBezTo>
                  <a:cubicBezTo>
                    <a:pt x="7204" y="3977"/>
                    <a:pt x="7073" y="4096"/>
                    <a:pt x="6918" y="4096"/>
                  </a:cubicBezTo>
                  <a:lnTo>
                    <a:pt x="6846" y="4096"/>
                  </a:lnTo>
                  <a:lnTo>
                    <a:pt x="6846" y="4084"/>
                  </a:lnTo>
                  <a:cubicBezTo>
                    <a:pt x="6846" y="3989"/>
                    <a:pt x="6775" y="3917"/>
                    <a:pt x="6680" y="3917"/>
                  </a:cubicBezTo>
                  <a:cubicBezTo>
                    <a:pt x="6596" y="3917"/>
                    <a:pt x="6525" y="3989"/>
                    <a:pt x="6525" y="4084"/>
                  </a:cubicBezTo>
                  <a:cubicBezTo>
                    <a:pt x="6525" y="5263"/>
                    <a:pt x="5572" y="6215"/>
                    <a:pt x="4394" y="6215"/>
                  </a:cubicBezTo>
                  <a:cubicBezTo>
                    <a:pt x="3203" y="6215"/>
                    <a:pt x="2251" y="5263"/>
                    <a:pt x="2251" y="4084"/>
                  </a:cubicBezTo>
                  <a:cubicBezTo>
                    <a:pt x="2251" y="3989"/>
                    <a:pt x="2179" y="3917"/>
                    <a:pt x="2084" y="3917"/>
                  </a:cubicBezTo>
                  <a:cubicBezTo>
                    <a:pt x="2001" y="3917"/>
                    <a:pt x="1917" y="3989"/>
                    <a:pt x="1917" y="4084"/>
                  </a:cubicBezTo>
                  <a:lnTo>
                    <a:pt x="1917" y="4096"/>
                  </a:lnTo>
                  <a:lnTo>
                    <a:pt x="1822" y="4096"/>
                  </a:lnTo>
                  <a:cubicBezTo>
                    <a:pt x="1739" y="4096"/>
                    <a:pt x="1667" y="4072"/>
                    <a:pt x="1608" y="4013"/>
                  </a:cubicBezTo>
                  <a:cubicBezTo>
                    <a:pt x="1548" y="3953"/>
                    <a:pt x="1536" y="3870"/>
                    <a:pt x="1536" y="3798"/>
                  </a:cubicBezTo>
                  <a:cubicBezTo>
                    <a:pt x="1548" y="3667"/>
                    <a:pt x="1679" y="3548"/>
                    <a:pt x="1834" y="3548"/>
                  </a:cubicBezTo>
                  <a:lnTo>
                    <a:pt x="2072" y="3548"/>
                  </a:lnTo>
                  <a:cubicBezTo>
                    <a:pt x="2358" y="3548"/>
                    <a:pt x="2584" y="3310"/>
                    <a:pt x="2584" y="3024"/>
                  </a:cubicBezTo>
                  <a:lnTo>
                    <a:pt x="2584" y="2489"/>
                  </a:lnTo>
                  <a:close/>
                  <a:moveTo>
                    <a:pt x="2989" y="6894"/>
                  </a:moveTo>
                  <a:cubicBezTo>
                    <a:pt x="3013" y="6894"/>
                    <a:pt x="3024" y="6894"/>
                    <a:pt x="3036" y="6906"/>
                  </a:cubicBezTo>
                  <a:cubicBezTo>
                    <a:pt x="3227" y="7120"/>
                    <a:pt x="3513" y="7263"/>
                    <a:pt x="3858" y="7358"/>
                  </a:cubicBezTo>
                  <a:lnTo>
                    <a:pt x="3858" y="7370"/>
                  </a:lnTo>
                  <a:lnTo>
                    <a:pt x="3858" y="8120"/>
                  </a:lnTo>
                  <a:cubicBezTo>
                    <a:pt x="3334" y="8025"/>
                    <a:pt x="2858" y="7799"/>
                    <a:pt x="2536" y="7465"/>
                  </a:cubicBezTo>
                  <a:lnTo>
                    <a:pt x="2929" y="6918"/>
                  </a:lnTo>
                  <a:cubicBezTo>
                    <a:pt x="2953" y="6906"/>
                    <a:pt x="2965" y="6894"/>
                    <a:pt x="2989" y="6894"/>
                  </a:cubicBezTo>
                  <a:close/>
                  <a:moveTo>
                    <a:pt x="5763" y="6894"/>
                  </a:moveTo>
                  <a:cubicBezTo>
                    <a:pt x="5775" y="6894"/>
                    <a:pt x="5799" y="6906"/>
                    <a:pt x="5822" y="6918"/>
                  </a:cubicBezTo>
                  <a:lnTo>
                    <a:pt x="6227" y="7465"/>
                  </a:lnTo>
                  <a:cubicBezTo>
                    <a:pt x="5894" y="7799"/>
                    <a:pt x="5418" y="8025"/>
                    <a:pt x="4894" y="8120"/>
                  </a:cubicBezTo>
                  <a:lnTo>
                    <a:pt x="4894" y="7370"/>
                  </a:lnTo>
                  <a:lnTo>
                    <a:pt x="4894" y="7358"/>
                  </a:lnTo>
                  <a:cubicBezTo>
                    <a:pt x="5239" y="7263"/>
                    <a:pt x="5525" y="7120"/>
                    <a:pt x="5715" y="6906"/>
                  </a:cubicBezTo>
                  <a:cubicBezTo>
                    <a:pt x="5727" y="6894"/>
                    <a:pt x="5751" y="6894"/>
                    <a:pt x="5763" y="6894"/>
                  </a:cubicBezTo>
                  <a:close/>
                  <a:moveTo>
                    <a:pt x="5465" y="6299"/>
                  </a:moveTo>
                  <a:lnTo>
                    <a:pt x="5465" y="6727"/>
                  </a:lnTo>
                  <a:cubicBezTo>
                    <a:pt x="5310" y="6882"/>
                    <a:pt x="5096" y="6989"/>
                    <a:pt x="4834" y="7049"/>
                  </a:cubicBezTo>
                  <a:cubicBezTo>
                    <a:pt x="4668" y="7084"/>
                    <a:pt x="4572" y="7227"/>
                    <a:pt x="4572" y="7370"/>
                  </a:cubicBezTo>
                  <a:lnTo>
                    <a:pt x="4572" y="8144"/>
                  </a:lnTo>
                  <a:cubicBezTo>
                    <a:pt x="4513" y="8150"/>
                    <a:pt x="4450" y="8153"/>
                    <a:pt x="4388" y="8153"/>
                  </a:cubicBezTo>
                  <a:cubicBezTo>
                    <a:pt x="4325" y="8153"/>
                    <a:pt x="4263" y="8150"/>
                    <a:pt x="4203" y="8144"/>
                  </a:cubicBezTo>
                  <a:lnTo>
                    <a:pt x="4203" y="7370"/>
                  </a:lnTo>
                  <a:cubicBezTo>
                    <a:pt x="4203" y="7203"/>
                    <a:pt x="4096" y="7072"/>
                    <a:pt x="3941" y="7049"/>
                  </a:cubicBezTo>
                  <a:cubicBezTo>
                    <a:pt x="3691" y="6989"/>
                    <a:pt x="3465" y="6870"/>
                    <a:pt x="3322" y="6727"/>
                  </a:cubicBezTo>
                  <a:lnTo>
                    <a:pt x="3322" y="6299"/>
                  </a:lnTo>
                  <a:cubicBezTo>
                    <a:pt x="3644" y="6465"/>
                    <a:pt x="4001" y="6549"/>
                    <a:pt x="4394" y="6549"/>
                  </a:cubicBezTo>
                  <a:cubicBezTo>
                    <a:pt x="4775" y="6549"/>
                    <a:pt x="5132" y="6465"/>
                    <a:pt x="5465" y="6299"/>
                  </a:cubicBezTo>
                  <a:close/>
                  <a:moveTo>
                    <a:pt x="2691" y="0"/>
                  </a:moveTo>
                  <a:cubicBezTo>
                    <a:pt x="2382" y="0"/>
                    <a:pt x="2096" y="226"/>
                    <a:pt x="2024" y="524"/>
                  </a:cubicBezTo>
                  <a:lnTo>
                    <a:pt x="1596" y="2250"/>
                  </a:lnTo>
                  <a:lnTo>
                    <a:pt x="1596" y="2298"/>
                  </a:lnTo>
                  <a:lnTo>
                    <a:pt x="1596" y="3251"/>
                  </a:lnTo>
                  <a:cubicBezTo>
                    <a:pt x="1393" y="3334"/>
                    <a:pt x="1262" y="3512"/>
                    <a:pt x="1239" y="3727"/>
                  </a:cubicBezTo>
                  <a:cubicBezTo>
                    <a:pt x="1215" y="3905"/>
                    <a:pt x="1274" y="4072"/>
                    <a:pt x="1381" y="4203"/>
                  </a:cubicBezTo>
                  <a:cubicBezTo>
                    <a:pt x="1500" y="4334"/>
                    <a:pt x="1667" y="4394"/>
                    <a:pt x="1834" y="4394"/>
                  </a:cubicBezTo>
                  <a:lnTo>
                    <a:pt x="1953" y="4394"/>
                  </a:lnTo>
                  <a:cubicBezTo>
                    <a:pt x="2048" y="5096"/>
                    <a:pt x="2441" y="5691"/>
                    <a:pt x="2989" y="6072"/>
                  </a:cubicBezTo>
                  <a:lnTo>
                    <a:pt x="2989" y="6537"/>
                  </a:lnTo>
                  <a:cubicBezTo>
                    <a:pt x="2870" y="6537"/>
                    <a:pt x="2763" y="6596"/>
                    <a:pt x="2691" y="6703"/>
                  </a:cubicBezTo>
                  <a:lnTo>
                    <a:pt x="2215" y="7346"/>
                  </a:lnTo>
                  <a:lnTo>
                    <a:pt x="881" y="7739"/>
                  </a:lnTo>
                  <a:cubicBezTo>
                    <a:pt x="357" y="7894"/>
                    <a:pt x="0" y="8382"/>
                    <a:pt x="0" y="8918"/>
                  </a:cubicBezTo>
                  <a:lnTo>
                    <a:pt x="0" y="11132"/>
                  </a:lnTo>
                  <a:cubicBezTo>
                    <a:pt x="0" y="11228"/>
                    <a:pt x="72" y="11299"/>
                    <a:pt x="167" y="11299"/>
                  </a:cubicBezTo>
                  <a:cubicBezTo>
                    <a:pt x="250" y="11299"/>
                    <a:pt x="322" y="11228"/>
                    <a:pt x="322" y="11132"/>
                  </a:cubicBezTo>
                  <a:lnTo>
                    <a:pt x="322" y="8918"/>
                  </a:lnTo>
                  <a:cubicBezTo>
                    <a:pt x="322" y="8513"/>
                    <a:pt x="596" y="8180"/>
                    <a:pt x="965" y="8061"/>
                  </a:cubicBezTo>
                  <a:lnTo>
                    <a:pt x="2322" y="7656"/>
                  </a:lnTo>
                  <a:cubicBezTo>
                    <a:pt x="2501" y="7846"/>
                    <a:pt x="2727" y="8001"/>
                    <a:pt x="2977" y="8132"/>
                  </a:cubicBezTo>
                  <a:lnTo>
                    <a:pt x="2286" y="8132"/>
                  </a:lnTo>
                  <a:cubicBezTo>
                    <a:pt x="1810" y="8132"/>
                    <a:pt x="1417" y="8513"/>
                    <a:pt x="1417" y="9001"/>
                  </a:cubicBezTo>
                  <a:cubicBezTo>
                    <a:pt x="1417" y="9096"/>
                    <a:pt x="1489" y="9168"/>
                    <a:pt x="1572" y="9168"/>
                  </a:cubicBezTo>
                  <a:cubicBezTo>
                    <a:pt x="1667" y="9168"/>
                    <a:pt x="1739" y="9096"/>
                    <a:pt x="1739" y="9001"/>
                  </a:cubicBezTo>
                  <a:cubicBezTo>
                    <a:pt x="1739" y="8704"/>
                    <a:pt x="1977" y="8465"/>
                    <a:pt x="2274" y="8465"/>
                  </a:cubicBezTo>
                  <a:lnTo>
                    <a:pt x="4406" y="8465"/>
                  </a:lnTo>
                  <a:cubicBezTo>
                    <a:pt x="5239" y="8465"/>
                    <a:pt x="6001" y="8168"/>
                    <a:pt x="6489" y="7668"/>
                  </a:cubicBezTo>
                  <a:lnTo>
                    <a:pt x="7847" y="8073"/>
                  </a:lnTo>
                  <a:cubicBezTo>
                    <a:pt x="8216" y="8168"/>
                    <a:pt x="8478" y="8537"/>
                    <a:pt x="8478" y="8930"/>
                  </a:cubicBezTo>
                  <a:lnTo>
                    <a:pt x="8478" y="11144"/>
                  </a:lnTo>
                  <a:cubicBezTo>
                    <a:pt x="8478" y="11240"/>
                    <a:pt x="8561" y="11311"/>
                    <a:pt x="8644" y="11311"/>
                  </a:cubicBezTo>
                  <a:cubicBezTo>
                    <a:pt x="8739" y="11311"/>
                    <a:pt x="8811" y="11240"/>
                    <a:pt x="8811" y="11144"/>
                  </a:cubicBezTo>
                  <a:lnTo>
                    <a:pt x="8811" y="8930"/>
                  </a:lnTo>
                  <a:cubicBezTo>
                    <a:pt x="8787" y="8394"/>
                    <a:pt x="8430" y="7918"/>
                    <a:pt x="7906" y="7775"/>
                  </a:cubicBezTo>
                  <a:lnTo>
                    <a:pt x="6561" y="7370"/>
                  </a:lnTo>
                  <a:lnTo>
                    <a:pt x="6084" y="6727"/>
                  </a:lnTo>
                  <a:cubicBezTo>
                    <a:pt x="6013" y="6644"/>
                    <a:pt x="5906" y="6584"/>
                    <a:pt x="5787" y="6572"/>
                  </a:cubicBezTo>
                  <a:lnTo>
                    <a:pt x="5787" y="6108"/>
                  </a:lnTo>
                  <a:cubicBezTo>
                    <a:pt x="6346" y="5715"/>
                    <a:pt x="6727" y="5120"/>
                    <a:pt x="6834" y="4417"/>
                  </a:cubicBezTo>
                  <a:lnTo>
                    <a:pt x="6942" y="4417"/>
                  </a:lnTo>
                  <a:cubicBezTo>
                    <a:pt x="7263" y="4417"/>
                    <a:pt x="7537" y="4179"/>
                    <a:pt x="7561" y="3870"/>
                  </a:cubicBezTo>
                  <a:cubicBezTo>
                    <a:pt x="7573" y="3691"/>
                    <a:pt x="7513" y="3524"/>
                    <a:pt x="7418" y="3393"/>
                  </a:cubicBezTo>
                  <a:cubicBezTo>
                    <a:pt x="7346" y="3334"/>
                    <a:pt x="7299" y="3298"/>
                    <a:pt x="7215" y="3251"/>
                  </a:cubicBezTo>
                  <a:lnTo>
                    <a:pt x="7215" y="2298"/>
                  </a:lnTo>
                  <a:lnTo>
                    <a:pt x="7215" y="2250"/>
                  </a:lnTo>
                  <a:lnTo>
                    <a:pt x="6787" y="524"/>
                  </a:lnTo>
                  <a:cubicBezTo>
                    <a:pt x="6715" y="214"/>
                    <a:pt x="6430" y="0"/>
                    <a:pt x="6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8" name="Google Shape;12038;p61"/>
            <p:cNvSpPr/>
            <p:nvPr/>
          </p:nvSpPr>
          <p:spPr>
            <a:xfrm>
              <a:off x="4992030" y="2058827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3"/>
                    <a:pt x="691" y="167"/>
                  </a:cubicBezTo>
                  <a:cubicBezTo>
                    <a:pt x="691" y="60"/>
                    <a:pt x="608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9" name="Google Shape;12039;p61"/>
            <p:cNvSpPr/>
            <p:nvPr/>
          </p:nvSpPr>
          <p:spPr>
            <a:xfrm>
              <a:off x="5059191" y="2058827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3"/>
                    <a:pt x="679" y="167"/>
                  </a:cubicBezTo>
                  <a:cubicBezTo>
                    <a:pt x="679" y="60"/>
                    <a:pt x="607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0" name="Google Shape;12040;p61"/>
            <p:cNvSpPr/>
            <p:nvPr/>
          </p:nvSpPr>
          <p:spPr>
            <a:xfrm>
              <a:off x="4941500" y="2271558"/>
              <a:ext cx="10581" cy="55123"/>
            </a:xfrm>
            <a:custGeom>
              <a:avLst/>
              <a:gdLst/>
              <a:ahLst/>
              <a:cxnLst/>
              <a:rect l="l" t="t" r="r" b="b"/>
              <a:pathLst>
                <a:path w="334" h="1740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1584"/>
                  </a:lnTo>
                  <a:cubicBezTo>
                    <a:pt x="0" y="1668"/>
                    <a:pt x="84" y="1739"/>
                    <a:pt x="167" y="1739"/>
                  </a:cubicBezTo>
                  <a:cubicBezTo>
                    <a:pt x="250" y="1739"/>
                    <a:pt x="334" y="1668"/>
                    <a:pt x="334" y="1584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1" name="Google Shape;12041;p61"/>
            <p:cNvSpPr/>
            <p:nvPr/>
          </p:nvSpPr>
          <p:spPr>
            <a:xfrm>
              <a:off x="4963739" y="2254578"/>
              <a:ext cx="10993" cy="10613"/>
            </a:xfrm>
            <a:custGeom>
              <a:avLst/>
              <a:gdLst/>
              <a:ahLst/>
              <a:cxnLst/>
              <a:rect l="l" t="t" r="r" b="b"/>
              <a:pathLst>
                <a:path w="347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2" name="Google Shape;12042;p61"/>
            <p:cNvSpPr/>
            <p:nvPr/>
          </p:nvSpPr>
          <p:spPr>
            <a:xfrm>
              <a:off x="5098791" y="2254578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3" name="Google Shape;12043;p61"/>
            <p:cNvSpPr/>
            <p:nvPr/>
          </p:nvSpPr>
          <p:spPr>
            <a:xfrm>
              <a:off x="5098791" y="2282868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4" name="Google Shape;12044;p61"/>
            <p:cNvSpPr/>
            <p:nvPr/>
          </p:nvSpPr>
          <p:spPr>
            <a:xfrm>
              <a:off x="4963739" y="2282868"/>
              <a:ext cx="10993" cy="10613"/>
            </a:xfrm>
            <a:custGeom>
              <a:avLst/>
              <a:gdLst/>
              <a:ahLst/>
              <a:cxnLst/>
              <a:rect l="l" t="t" r="r" b="b"/>
              <a:pathLst>
                <a:path w="347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5" name="Google Shape;12045;p61"/>
            <p:cNvSpPr/>
            <p:nvPr/>
          </p:nvSpPr>
          <p:spPr>
            <a:xfrm>
              <a:off x="5098791" y="2310778"/>
              <a:ext cx="10201" cy="10233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6" name="Google Shape;12046;p61"/>
            <p:cNvSpPr/>
            <p:nvPr/>
          </p:nvSpPr>
          <p:spPr>
            <a:xfrm>
              <a:off x="4963739" y="2310778"/>
              <a:ext cx="10233" cy="10233"/>
            </a:xfrm>
            <a:custGeom>
              <a:avLst/>
              <a:gdLst/>
              <a:ahLst/>
              <a:cxnLst/>
              <a:rect l="l" t="t" r="r" b="b"/>
              <a:pathLst>
                <a:path w="323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22" y="251"/>
                    <a:pt x="322" y="168"/>
                  </a:cubicBezTo>
                  <a:cubicBezTo>
                    <a:pt x="322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047" name="Google Shape;12047;p61"/>
          <p:cNvSpPr/>
          <p:nvPr/>
        </p:nvSpPr>
        <p:spPr>
          <a:xfrm>
            <a:off x="872362" y="1513044"/>
            <a:ext cx="325164" cy="347783"/>
          </a:xfrm>
          <a:custGeom>
            <a:avLst/>
            <a:gdLst/>
            <a:ahLst/>
            <a:cxnLst/>
            <a:rect l="l" t="t" r="r" b="b"/>
            <a:pathLst>
              <a:path w="10264" h="10978" extrusionOk="0">
                <a:moveTo>
                  <a:pt x="3096" y="310"/>
                </a:moveTo>
                <a:lnTo>
                  <a:pt x="3096" y="381"/>
                </a:lnTo>
                <a:lnTo>
                  <a:pt x="3096" y="3870"/>
                </a:lnTo>
                <a:cubicBezTo>
                  <a:pt x="3096" y="4787"/>
                  <a:pt x="3811" y="5549"/>
                  <a:pt x="4704" y="5644"/>
                </a:cubicBezTo>
                <a:lnTo>
                  <a:pt x="4704" y="6965"/>
                </a:lnTo>
                <a:lnTo>
                  <a:pt x="2656" y="6965"/>
                </a:lnTo>
                <a:lnTo>
                  <a:pt x="2656" y="310"/>
                </a:lnTo>
                <a:close/>
                <a:moveTo>
                  <a:pt x="7585" y="310"/>
                </a:moveTo>
                <a:lnTo>
                  <a:pt x="7585" y="6965"/>
                </a:lnTo>
                <a:lnTo>
                  <a:pt x="5549" y="6965"/>
                </a:lnTo>
                <a:lnTo>
                  <a:pt x="5549" y="5644"/>
                </a:lnTo>
                <a:cubicBezTo>
                  <a:pt x="6454" y="5549"/>
                  <a:pt x="7168" y="4787"/>
                  <a:pt x="7168" y="3870"/>
                </a:cubicBezTo>
                <a:lnTo>
                  <a:pt x="7168" y="381"/>
                </a:lnTo>
                <a:lnTo>
                  <a:pt x="7168" y="310"/>
                </a:lnTo>
                <a:close/>
                <a:moveTo>
                  <a:pt x="2370" y="310"/>
                </a:moveTo>
                <a:lnTo>
                  <a:pt x="2370" y="7132"/>
                </a:lnTo>
                <a:cubicBezTo>
                  <a:pt x="2370" y="7215"/>
                  <a:pt x="2453" y="7287"/>
                  <a:pt x="2537" y="7287"/>
                </a:cubicBezTo>
                <a:lnTo>
                  <a:pt x="4728" y="7287"/>
                </a:lnTo>
                <a:lnTo>
                  <a:pt x="4728" y="7823"/>
                </a:lnTo>
                <a:lnTo>
                  <a:pt x="334" y="7823"/>
                </a:lnTo>
                <a:lnTo>
                  <a:pt x="334" y="7287"/>
                </a:lnTo>
                <a:lnTo>
                  <a:pt x="1668" y="7287"/>
                </a:lnTo>
                <a:cubicBezTo>
                  <a:pt x="1751" y="7287"/>
                  <a:pt x="1822" y="7215"/>
                  <a:pt x="1822" y="7132"/>
                </a:cubicBezTo>
                <a:lnTo>
                  <a:pt x="1822" y="6692"/>
                </a:lnTo>
                <a:cubicBezTo>
                  <a:pt x="1822" y="6608"/>
                  <a:pt x="1751" y="6537"/>
                  <a:pt x="1668" y="6537"/>
                </a:cubicBezTo>
                <a:cubicBezTo>
                  <a:pt x="1572" y="6537"/>
                  <a:pt x="1501" y="6608"/>
                  <a:pt x="1501" y="6692"/>
                </a:cubicBezTo>
                <a:lnTo>
                  <a:pt x="1501" y="6965"/>
                </a:lnTo>
                <a:lnTo>
                  <a:pt x="322" y="6965"/>
                </a:lnTo>
                <a:lnTo>
                  <a:pt x="322" y="5501"/>
                </a:lnTo>
                <a:cubicBezTo>
                  <a:pt x="596" y="5477"/>
                  <a:pt x="846" y="5346"/>
                  <a:pt x="1049" y="5144"/>
                </a:cubicBezTo>
                <a:cubicBezTo>
                  <a:pt x="1287" y="4906"/>
                  <a:pt x="1430" y="4596"/>
                  <a:pt x="1430" y="4275"/>
                </a:cubicBezTo>
                <a:lnTo>
                  <a:pt x="1430" y="310"/>
                </a:lnTo>
                <a:lnTo>
                  <a:pt x="1513" y="310"/>
                </a:lnTo>
                <a:lnTo>
                  <a:pt x="1513" y="6061"/>
                </a:lnTo>
                <a:cubicBezTo>
                  <a:pt x="1513" y="6144"/>
                  <a:pt x="1584" y="6215"/>
                  <a:pt x="1680" y="6215"/>
                </a:cubicBezTo>
                <a:cubicBezTo>
                  <a:pt x="1763" y="6215"/>
                  <a:pt x="1846" y="6144"/>
                  <a:pt x="1846" y="6061"/>
                </a:cubicBezTo>
                <a:lnTo>
                  <a:pt x="1846" y="310"/>
                </a:lnTo>
                <a:close/>
                <a:moveTo>
                  <a:pt x="8430" y="310"/>
                </a:moveTo>
                <a:lnTo>
                  <a:pt x="8430" y="7132"/>
                </a:lnTo>
                <a:cubicBezTo>
                  <a:pt x="8430" y="7215"/>
                  <a:pt x="8502" y="7287"/>
                  <a:pt x="8597" y="7287"/>
                </a:cubicBezTo>
                <a:lnTo>
                  <a:pt x="9943" y="7287"/>
                </a:lnTo>
                <a:lnTo>
                  <a:pt x="9943" y="7823"/>
                </a:lnTo>
                <a:lnTo>
                  <a:pt x="5549" y="7823"/>
                </a:lnTo>
                <a:lnTo>
                  <a:pt x="5549" y="7287"/>
                </a:lnTo>
                <a:lnTo>
                  <a:pt x="7728" y="7287"/>
                </a:lnTo>
                <a:cubicBezTo>
                  <a:pt x="7823" y="7287"/>
                  <a:pt x="7895" y="7215"/>
                  <a:pt x="7895" y="7132"/>
                </a:cubicBezTo>
                <a:lnTo>
                  <a:pt x="7895" y="310"/>
                </a:lnTo>
                <a:close/>
                <a:moveTo>
                  <a:pt x="4716" y="8144"/>
                </a:moveTo>
                <a:lnTo>
                  <a:pt x="4716" y="8751"/>
                </a:lnTo>
                <a:lnTo>
                  <a:pt x="322" y="8751"/>
                </a:lnTo>
                <a:lnTo>
                  <a:pt x="322" y="8144"/>
                </a:lnTo>
                <a:close/>
                <a:moveTo>
                  <a:pt x="9943" y="8144"/>
                </a:moveTo>
                <a:lnTo>
                  <a:pt x="9943" y="8751"/>
                </a:lnTo>
                <a:lnTo>
                  <a:pt x="5549" y="8751"/>
                </a:lnTo>
                <a:lnTo>
                  <a:pt x="5549" y="8144"/>
                </a:lnTo>
                <a:close/>
                <a:moveTo>
                  <a:pt x="4716" y="9073"/>
                </a:moveTo>
                <a:lnTo>
                  <a:pt x="4716" y="9609"/>
                </a:lnTo>
                <a:lnTo>
                  <a:pt x="322" y="9609"/>
                </a:lnTo>
                <a:lnTo>
                  <a:pt x="322" y="9073"/>
                </a:lnTo>
                <a:close/>
                <a:moveTo>
                  <a:pt x="9943" y="9073"/>
                </a:moveTo>
                <a:lnTo>
                  <a:pt x="9943" y="9609"/>
                </a:lnTo>
                <a:lnTo>
                  <a:pt x="5549" y="9609"/>
                </a:lnTo>
                <a:lnTo>
                  <a:pt x="5549" y="9073"/>
                </a:lnTo>
                <a:close/>
                <a:moveTo>
                  <a:pt x="6823" y="619"/>
                </a:moveTo>
                <a:lnTo>
                  <a:pt x="6823" y="3834"/>
                </a:lnTo>
                <a:cubicBezTo>
                  <a:pt x="6847" y="4668"/>
                  <a:pt x="6192" y="5322"/>
                  <a:pt x="5394" y="5322"/>
                </a:cubicBezTo>
                <a:cubicBezTo>
                  <a:pt x="5311" y="5322"/>
                  <a:pt x="5240" y="5406"/>
                  <a:pt x="5240" y="5489"/>
                </a:cubicBezTo>
                <a:lnTo>
                  <a:pt x="5240" y="7132"/>
                </a:lnTo>
                <a:lnTo>
                  <a:pt x="5240" y="7977"/>
                </a:lnTo>
                <a:lnTo>
                  <a:pt x="5240" y="8918"/>
                </a:lnTo>
                <a:lnTo>
                  <a:pt x="5240" y="9763"/>
                </a:lnTo>
                <a:lnTo>
                  <a:pt x="5240" y="10644"/>
                </a:lnTo>
                <a:lnTo>
                  <a:pt x="5025" y="10644"/>
                </a:lnTo>
                <a:lnTo>
                  <a:pt x="5025" y="9752"/>
                </a:lnTo>
                <a:lnTo>
                  <a:pt x="5025" y="8894"/>
                </a:lnTo>
                <a:lnTo>
                  <a:pt x="5025" y="7966"/>
                </a:lnTo>
                <a:lnTo>
                  <a:pt x="5025" y="7108"/>
                </a:lnTo>
                <a:lnTo>
                  <a:pt x="5025" y="5465"/>
                </a:lnTo>
                <a:cubicBezTo>
                  <a:pt x="5025" y="5370"/>
                  <a:pt x="4954" y="5299"/>
                  <a:pt x="4859" y="5299"/>
                </a:cubicBezTo>
                <a:cubicBezTo>
                  <a:pt x="4061" y="5299"/>
                  <a:pt x="3406" y="4644"/>
                  <a:pt x="3406" y="3834"/>
                </a:cubicBezTo>
                <a:lnTo>
                  <a:pt x="3406" y="619"/>
                </a:lnTo>
                <a:cubicBezTo>
                  <a:pt x="3942" y="869"/>
                  <a:pt x="4525" y="1012"/>
                  <a:pt x="5120" y="1012"/>
                </a:cubicBezTo>
                <a:cubicBezTo>
                  <a:pt x="5716" y="1012"/>
                  <a:pt x="6287" y="881"/>
                  <a:pt x="6823" y="619"/>
                </a:cubicBezTo>
                <a:close/>
                <a:moveTo>
                  <a:pt x="4716" y="9930"/>
                </a:moveTo>
                <a:lnTo>
                  <a:pt x="4716" y="10656"/>
                </a:lnTo>
                <a:lnTo>
                  <a:pt x="322" y="10656"/>
                </a:lnTo>
                <a:lnTo>
                  <a:pt x="322" y="9930"/>
                </a:lnTo>
                <a:close/>
                <a:moveTo>
                  <a:pt x="1251" y="0"/>
                </a:moveTo>
                <a:cubicBezTo>
                  <a:pt x="1156" y="0"/>
                  <a:pt x="1084" y="72"/>
                  <a:pt x="1084" y="155"/>
                </a:cubicBezTo>
                <a:lnTo>
                  <a:pt x="1084" y="4287"/>
                </a:lnTo>
                <a:cubicBezTo>
                  <a:pt x="1084" y="4537"/>
                  <a:pt x="989" y="4763"/>
                  <a:pt x="810" y="4941"/>
                </a:cubicBezTo>
                <a:cubicBezTo>
                  <a:pt x="632" y="5120"/>
                  <a:pt x="418" y="5203"/>
                  <a:pt x="156" y="5203"/>
                </a:cubicBezTo>
                <a:cubicBezTo>
                  <a:pt x="72" y="5203"/>
                  <a:pt x="1" y="5275"/>
                  <a:pt x="1" y="5370"/>
                </a:cubicBezTo>
                <a:lnTo>
                  <a:pt x="1" y="7144"/>
                </a:lnTo>
                <a:lnTo>
                  <a:pt x="1" y="7989"/>
                </a:lnTo>
                <a:lnTo>
                  <a:pt x="1" y="8930"/>
                </a:lnTo>
                <a:lnTo>
                  <a:pt x="1" y="9775"/>
                </a:lnTo>
                <a:lnTo>
                  <a:pt x="1" y="10811"/>
                </a:lnTo>
                <a:cubicBezTo>
                  <a:pt x="1" y="10906"/>
                  <a:pt x="72" y="10978"/>
                  <a:pt x="156" y="10978"/>
                </a:cubicBezTo>
                <a:lnTo>
                  <a:pt x="8180" y="10978"/>
                </a:lnTo>
                <a:cubicBezTo>
                  <a:pt x="8276" y="10978"/>
                  <a:pt x="8347" y="10906"/>
                  <a:pt x="8347" y="10811"/>
                </a:cubicBezTo>
                <a:cubicBezTo>
                  <a:pt x="8347" y="10728"/>
                  <a:pt x="8276" y="10656"/>
                  <a:pt x="8180" y="10656"/>
                </a:cubicBezTo>
                <a:lnTo>
                  <a:pt x="5549" y="10656"/>
                </a:lnTo>
                <a:lnTo>
                  <a:pt x="5549" y="9918"/>
                </a:lnTo>
                <a:lnTo>
                  <a:pt x="9943" y="9918"/>
                </a:lnTo>
                <a:lnTo>
                  <a:pt x="9943" y="10656"/>
                </a:lnTo>
                <a:lnTo>
                  <a:pt x="8811" y="10656"/>
                </a:lnTo>
                <a:cubicBezTo>
                  <a:pt x="8716" y="10656"/>
                  <a:pt x="8645" y="10728"/>
                  <a:pt x="8645" y="10811"/>
                </a:cubicBezTo>
                <a:cubicBezTo>
                  <a:pt x="8645" y="10906"/>
                  <a:pt x="8716" y="10978"/>
                  <a:pt x="8811" y="10978"/>
                </a:cubicBezTo>
                <a:lnTo>
                  <a:pt x="10085" y="10978"/>
                </a:lnTo>
                <a:cubicBezTo>
                  <a:pt x="10181" y="10978"/>
                  <a:pt x="10252" y="10906"/>
                  <a:pt x="10252" y="10811"/>
                </a:cubicBezTo>
                <a:lnTo>
                  <a:pt x="10252" y="6644"/>
                </a:lnTo>
                <a:cubicBezTo>
                  <a:pt x="10252" y="6561"/>
                  <a:pt x="10181" y="6489"/>
                  <a:pt x="10085" y="6489"/>
                </a:cubicBezTo>
                <a:cubicBezTo>
                  <a:pt x="10002" y="6489"/>
                  <a:pt x="9919" y="6561"/>
                  <a:pt x="9919" y="6644"/>
                </a:cubicBezTo>
                <a:lnTo>
                  <a:pt x="9919" y="6977"/>
                </a:lnTo>
                <a:lnTo>
                  <a:pt x="8752" y="6977"/>
                </a:lnTo>
                <a:lnTo>
                  <a:pt x="8752" y="322"/>
                </a:lnTo>
                <a:lnTo>
                  <a:pt x="8835" y="322"/>
                </a:lnTo>
                <a:lnTo>
                  <a:pt x="8835" y="4287"/>
                </a:lnTo>
                <a:cubicBezTo>
                  <a:pt x="8835" y="4608"/>
                  <a:pt x="8966" y="4941"/>
                  <a:pt x="9204" y="5156"/>
                </a:cubicBezTo>
                <a:cubicBezTo>
                  <a:pt x="9407" y="5358"/>
                  <a:pt x="9657" y="5489"/>
                  <a:pt x="9943" y="5513"/>
                </a:cubicBezTo>
                <a:lnTo>
                  <a:pt x="9943" y="6013"/>
                </a:lnTo>
                <a:cubicBezTo>
                  <a:pt x="9943" y="6096"/>
                  <a:pt x="10014" y="6180"/>
                  <a:pt x="10097" y="6180"/>
                </a:cubicBezTo>
                <a:cubicBezTo>
                  <a:pt x="10193" y="6180"/>
                  <a:pt x="10264" y="6096"/>
                  <a:pt x="10264" y="6013"/>
                </a:cubicBezTo>
                <a:lnTo>
                  <a:pt x="10264" y="5370"/>
                </a:lnTo>
                <a:cubicBezTo>
                  <a:pt x="10264" y="5275"/>
                  <a:pt x="10193" y="5203"/>
                  <a:pt x="10097" y="5203"/>
                </a:cubicBezTo>
                <a:cubicBezTo>
                  <a:pt x="9847" y="5203"/>
                  <a:pt x="9621" y="5120"/>
                  <a:pt x="9442" y="4941"/>
                </a:cubicBezTo>
                <a:cubicBezTo>
                  <a:pt x="9264" y="4763"/>
                  <a:pt x="9181" y="4537"/>
                  <a:pt x="9181" y="4287"/>
                </a:cubicBezTo>
                <a:lnTo>
                  <a:pt x="9181" y="155"/>
                </a:lnTo>
                <a:cubicBezTo>
                  <a:pt x="9181" y="72"/>
                  <a:pt x="9109" y="0"/>
                  <a:pt x="9014" y="0"/>
                </a:cubicBezTo>
                <a:lnTo>
                  <a:pt x="7002" y="0"/>
                </a:lnTo>
                <a:cubicBezTo>
                  <a:pt x="6918" y="0"/>
                  <a:pt x="6847" y="72"/>
                  <a:pt x="6847" y="155"/>
                </a:cubicBezTo>
                <a:lnTo>
                  <a:pt x="6847" y="310"/>
                </a:lnTo>
                <a:cubicBezTo>
                  <a:pt x="6323" y="596"/>
                  <a:pt x="5728" y="738"/>
                  <a:pt x="5132" y="738"/>
                </a:cubicBezTo>
                <a:cubicBezTo>
                  <a:pt x="4537" y="738"/>
                  <a:pt x="3942" y="596"/>
                  <a:pt x="3418" y="310"/>
                </a:cubicBezTo>
                <a:lnTo>
                  <a:pt x="3418" y="155"/>
                </a:lnTo>
                <a:cubicBezTo>
                  <a:pt x="3418" y="72"/>
                  <a:pt x="3346" y="0"/>
                  <a:pt x="325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048" name="Google Shape;12048;p61"/>
          <p:cNvGrpSpPr/>
          <p:nvPr/>
        </p:nvGrpSpPr>
        <p:grpSpPr>
          <a:xfrm>
            <a:off x="1767449" y="1513044"/>
            <a:ext cx="324403" cy="347783"/>
            <a:chOff x="1767449" y="1513044"/>
            <a:chExt cx="324403" cy="347783"/>
          </a:xfrm>
        </p:grpSpPr>
        <p:sp>
          <p:nvSpPr>
            <p:cNvPr id="12049" name="Google Shape;12049;p61"/>
            <p:cNvSpPr/>
            <p:nvPr/>
          </p:nvSpPr>
          <p:spPr>
            <a:xfrm>
              <a:off x="1850039" y="1513044"/>
              <a:ext cx="159604" cy="347783"/>
            </a:xfrm>
            <a:custGeom>
              <a:avLst/>
              <a:gdLst/>
              <a:ahLst/>
              <a:cxnLst/>
              <a:rect l="l" t="t" r="r" b="b"/>
              <a:pathLst>
                <a:path w="5038" h="10978" extrusionOk="0">
                  <a:moveTo>
                    <a:pt x="1918" y="1893"/>
                  </a:moveTo>
                  <a:cubicBezTo>
                    <a:pt x="2156" y="1893"/>
                    <a:pt x="2358" y="2084"/>
                    <a:pt x="2358" y="2322"/>
                  </a:cubicBezTo>
                  <a:lnTo>
                    <a:pt x="2358" y="3465"/>
                  </a:lnTo>
                  <a:lnTo>
                    <a:pt x="1501" y="3465"/>
                  </a:lnTo>
                  <a:lnTo>
                    <a:pt x="1501" y="2703"/>
                  </a:lnTo>
                  <a:lnTo>
                    <a:pt x="1501" y="2310"/>
                  </a:lnTo>
                  <a:cubicBezTo>
                    <a:pt x="1501" y="2191"/>
                    <a:pt x="1549" y="2084"/>
                    <a:pt x="1620" y="2012"/>
                  </a:cubicBezTo>
                  <a:cubicBezTo>
                    <a:pt x="1703" y="1929"/>
                    <a:pt x="1822" y="1893"/>
                    <a:pt x="1918" y="1893"/>
                  </a:cubicBezTo>
                  <a:close/>
                  <a:moveTo>
                    <a:pt x="751" y="322"/>
                  </a:moveTo>
                  <a:cubicBezTo>
                    <a:pt x="989" y="322"/>
                    <a:pt x="1180" y="524"/>
                    <a:pt x="1180" y="750"/>
                  </a:cubicBezTo>
                  <a:lnTo>
                    <a:pt x="1180" y="2322"/>
                  </a:lnTo>
                  <a:lnTo>
                    <a:pt x="1180" y="2715"/>
                  </a:lnTo>
                  <a:lnTo>
                    <a:pt x="1180" y="3465"/>
                  </a:lnTo>
                  <a:lnTo>
                    <a:pt x="715" y="3465"/>
                  </a:lnTo>
                  <a:cubicBezTo>
                    <a:pt x="572" y="3465"/>
                    <a:pt x="429" y="3513"/>
                    <a:pt x="310" y="3584"/>
                  </a:cubicBezTo>
                  <a:lnTo>
                    <a:pt x="310" y="738"/>
                  </a:lnTo>
                  <a:lnTo>
                    <a:pt x="334" y="738"/>
                  </a:lnTo>
                  <a:cubicBezTo>
                    <a:pt x="334" y="619"/>
                    <a:pt x="370" y="524"/>
                    <a:pt x="453" y="441"/>
                  </a:cubicBezTo>
                  <a:cubicBezTo>
                    <a:pt x="525" y="369"/>
                    <a:pt x="644" y="322"/>
                    <a:pt x="751" y="322"/>
                  </a:cubicBezTo>
                  <a:close/>
                  <a:moveTo>
                    <a:pt x="4335" y="1870"/>
                  </a:moveTo>
                  <a:cubicBezTo>
                    <a:pt x="4537" y="1870"/>
                    <a:pt x="4716" y="2036"/>
                    <a:pt x="4716" y="2262"/>
                  </a:cubicBezTo>
                  <a:lnTo>
                    <a:pt x="4716" y="3275"/>
                  </a:lnTo>
                  <a:cubicBezTo>
                    <a:pt x="4704" y="3477"/>
                    <a:pt x="4537" y="3656"/>
                    <a:pt x="4335" y="3656"/>
                  </a:cubicBezTo>
                  <a:lnTo>
                    <a:pt x="4239" y="3656"/>
                  </a:lnTo>
                  <a:cubicBezTo>
                    <a:pt x="4037" y="3656"/>
                    <a:pt x="3858" y="3501"/>
                    <a:pt x="3858" y="3275"/>
                  </a:cubicBezTo>
                  <a:lnTo>
                    <a:pt x="3858" y="2286"/>
                  </a:lnTo>
                  <a:lnTo>
                    <a:pt x="3858" y="2262"/>
                  </a:lnTo>
                  <a:cubicBezTo>
                    <a:pt x="3858" y="2048"/>
                    <a:pt x="4013" y="1870"/>
                    <a:pt x="4239" y="1870"/>
                  </a:cubicBezTo>
                  <a:close/>
                  <a:moveTo>
                    <a:pt x="3108" y="1870"/>
                  </a:moveTo>
                  <a:cubicBezTo>
                    <a:pt x="3335" y="1870"/>
                    <a:pt x="3525" y="2048"/>
                    <a:pt x="3525" y="2286"/>
                  </a:cubicBezTo>
                  <a:lnTo>
                    <a:pt x="3525" y="3275"/>
                  </a:lnTo>
                  <a:lnTo>
                    <a:pt x="3525" y="3501"/>
                  </a:lnTo>
                  <a:cubicBezTo>
                    <a:pt x="3525" y="3715"/>
                    <a:pt x="3346" y="3917"/>
                    <a:pt x="3108" y="3917"/>
                  </a:cubicBezTo>
                  <a:lnTo>
                    <a:pt x="3037" y="3917"/>
                  </a:lnTo>
                  <a:lnTo>
                    <a:pt x="3037" y="3620"/>
                  </a:lnTo>
                  <a:cubicBezTo>
                    <a:pt x="3037" y="3525"/>
                    <a:pt x="2965" y="3453"/>
                    <a:pt x="2870" y="3453"/>
                  </a:cubicBezTo>
                  <a:lnTo>
                    <a:pt x="2668" y="3453"/>
                  </a:lnTo>
                  <a:lnTo>
                    <a:pt x="2668" y="2310"/>
                  </a:lnTo>
                  <a:lnTo>
                    <a:pt x="2668" y="2286"/>
                  </a:lnTo>
                  <a:cubicBezTo>
                    <a:pt x="2668" y="2072"/>
                    <a:pt x="2846" y="1870"/>
                    <a:pt x="3085" y="1870"/>
                  </a:cubicBezTo>
                  <a:close/>
                  <a:moveTo>
                    <a:pt x="2727" y="3763"/>
                  </a:moveTo>
                  <a:lnTo>
                    <a:pt x="2727" y="4632"/>
                  </a:lnTo>
                  <a:cubicBezTo>
                    <a:pt x="2727" y="4846"/>
                    <a:pt x="2549" y="5025"/>
                    <a:pt x="2323" y="5025"/>
                  </a:cubicBezTo>
                  <a:lnTo>
                    <a:pt x="727" y="5025"/>
                  </a:lnTo>
                  <a:cubicBezTo>
                    <a:pt x="513" y="5025"/>
                    <a:pt x="334" y="4846"/>
                    <a:pt x="334" y="4632"/>
                  </a:cubicBezTo>
                  <a:lnTo>
                    <a:pt x="334" y="4167"/>
                  </a:lnTo>
                  <a:cubicBezTo>
                    <a:pt x="334" y="3941"/>
                    <a:pt x="513" y="3763"/>
                    <a:pt x="727" y="3763"/>
                  </a:cubicBezTo>
                  <a:close/>
                  <a:moveTo>
                    <a:pt x="763" y="0"/>
                  </a:moveTo>
                  <a:cubicBezTo>
                    <a:pt x="572" y="0"/>
                    <a:pt x="370" y="72"/>
                    <a:pt x="227" y="227"/>
                  </a:cubicBezTo>
                  <a:cubicBezTo>
                    <a:pt x="72" y="369"/>
                    <a:pt x="1" y="548"/>
                    <a:pt x="1" y="762"/>
                  </a:cubicBezTo>
                  <a:lnTo>
                    <a:pt x="1" y="6751"/>
                  </a:lnTo>
                  <a:cubicBezTo>
                    <a:pt x="1" y="6846"/>
                    <a:pt x="72" y="6918"/>
                    <a:pt x="167" y="6918"/>
                  </a:cubicBezTo>
                  <a:cubicBezTo>
                    <a:pt x="251" y="6918"/>
                    <a:pt x="334" y="6846"/>
                    <a:pt x="334" y="6751"/>
                  </a:cubicBezTo>
                  <a:lnTo>
                    <a:pt x="334" y="5239"/>
                  </a:lnTo>
                  <a:cubicBezTo>
                    <a:pt x="453" y="5310"/>
                    <a:pt x="584" y="5358"/>
                    <a:pt x="727" y="5358"/>
                  </a:cubicBezTo>
                  <a:lnTo>
                    <a:pt x="2323" y="5358"/>
                  </a:lnTo>
                  <a:cubicBezTo>
                    <a:pt x="2727" y="5358"/>
                    <a:pt x="3037" y="5025"/>
                    <a:pt x="3037" y="4644"/>
                  </a:cubicBezTo>
                  <a:lnTo>
                    <a:pt x="3037" y="4239"/>
                  </a:lnTo>
                  <a:lnTo>
                    <a:pt x="3108" y="4239"/>
                  </a:lnTo>
                  <a:cubicBezTo>
                    <a:pt x="3394" y="4239"/>
                    <a:pt x="3644" y="4072"/>
                    <a:pt x="3763" y="3822"/>
                  </a:cubicBezTo>
                  <a:cubicBezTo>
                    <a:pt x="3882" y="3929"/>
                    <a:pt x="4049" y="3989"/>
                    <a:pt x="4216" y="3989"/>
                  </a:cubicBezTo>
                  <a:lnTo>
                    <a:pt x="4299" y="3989"/>
                  </a:lnTo>
                  <a:cubicBezTo>
                    <a:pt x="4442" y="3989"/>
                    <a:pt x="4573" y="3941"/>
                    <a:pt x="4692" y="3870"/>
                  </a:cubicBezTo>
                  <a:lnTo>
                    <a:pt x="4692" y="8335"/>
                  </a:lnTo>
                  <a:lnTo>
                    <a:pt x="2989" y="8335"/>
                  </a:lnTo>
                  <a:cubicBezTo>
                    <a:pt x="2906" y="8335"/>
                    <a:pt x="2834" y="8406"/>
                    <a:pt x="2834" y="8501"/>
                  </a:cubicBezTo>
                  <a:cubicBezTo>
                    <a:pt x="2834" y="8585"/>
                    <a:pt x="2906" y="8656"/>
                    <a:pt x="2989" y="8656"/>
                  </a:cubicBezTo>
                  <a:lnTo>
                    <a:pt x="4692" y="8656"/>
                  </a:lnTo>
                  <a:lnTo>
                    <a:pt x="4692" y="9299"/>
                  </a:lnTo>
                  <a:lnTo>
                    <a:pt x="334" y="9299"/>
                  </a:lnTo>
                  <a:lnTo>
                    <a:pt x="334" y="8656"/>
                  </a:lnTo>
                  <a:lnTo>
                    <a:pt x="2311" y="8656"/>
                  </a:lnTo>
                  <a:cubicBezTo>
                    <a:pt x="2394" y="8656"/>
                    <a:pt x="2477" y="8585"/>
                    <a:pt x="2477" y="8501"/>
                  </a:cubicBezTo>
                  <a:cubicBezTo>
                    <a:pt x="2477" y="8406"/>
                    <a:pt x="2394" y="8335"/>
                    <a:pt x="2311" y="8335"/>
                  </a:cubicBezTo>
                  <a:lnTo>
                    <a:pt x="346" y="8335"/>
                  </a:lnTo>
                  <a:lnTo>
                    <a:pt x="346" y="7382"/>
                  </a:lnTo>
                  <a:cubicBezTo>
                    <a:pt x="346" y="7287"/>
                    <a:pt x="275" y="7215"/>
                    <a:pt x="179" y="7215"/>
                  </a:cubicBezTo>
                  <a:cubicBezTo>
                    <a:pt x="96" y="7215"/>
                    <a:pt x="13" y="7287"/>
                    <a:pt x="13" y="7382"/>
                  </a:cubicBezTo>
                  <a:lnTo>
                    <a:pt x="13" y="9454"/>
                  </a:lnTo>
                  <a:cubicBezTo>
                    <a:pt x="13" y="9537"/>
                    <a:pt x="96" y="9609"/>
                    <a:pt x="179" y="9609"/>
                  </a:cubicBezTo>
                  <a:lnTo>
                    <a:pt x="1299" y="9609"/>
                  </a:lnTo>
                  <a:lnTo>
                    <a:pt x="1299" y="10823"/>
                  </a:lnTo>
                  <a:cubicBezTo>
                    <a:pt x="1299" y="10906"/>
                    <a:pt x="1370" y="10978"/>
                    <a:pt x="1465" y="10978"/>
                  </a:cubicBezTo>
                  <a:lnTo>
                    <a:pt x="2203" y="10978"/>
                  </a:lnTo>
                  <a:cubicBezTo>
                    <a:pt x="2299" y="10978"/>
                    <a:pt x="2370" y="10906"/>
                    <a:pt x="2370" y="10823"/>
                  </a:cubicBezTo>
                  <a:cubicBezTo>
                    <a:pt x="2370" y="10728"/>
                    <a:pt x="2299" y="10656"/>
                    <a:pt x="2203" y="10656"/>
                  </a:cubicBezTo>
                  <a:lnTo>
                    <a:pt x="1608" y="10656"/>
                  </a:lnTo>
                  <a:lnTo>
                    <a:pt x="1608" y="9597"/>
                  </a:lnTo>
                  <a:lnTo>
                    <a:pt x="3442" y="9597"/>
                  </a:lnTo>
                  <a:lnTo>
                    <a:pt x="3442" y="10656"/>
                  </a:lnTo>
                  <a:lnTo>
                    <a:pt x="2834" y="10656"/>
                  </a:lnTo>
                  <a:cubicBezTo>
                    <a:pt x="2739" y="10656"/>
                    <a:pt x="2668" y="10728"/>
                    <a:pt x="2668" y="10823"/>
                  </a:cubicBezTo>
                  <a:cubicBezTo>
                    <a:pt x="2668" y="10906"/>
                    <a:pt x="2739" y="10978"/>
                    <a:pt x="2834" y="10978"/>
                  </a:cubicBezTo>
                  <a:lnTo>
                    <a:pt x="3585" y="10978"/>
                  </a:lnTo>
                  <a:cubicBezTo>
                    <a:pt x="3680" y="10978"/>
                    <a:pt x="3751" y="10906"/>
                    <a:pt x="3751" y="10823"/>
                  </a:cubicBezTo>
                  <a:lnTo>
                    <a:pt x="3751" y="9609"/>
                  </a:lnTo>
                  <a:lnTo>
                    <a:pt x="4870" y="9609"/>
                  </a:lnTo>
                  <a:cubicBezTo>
                    <a:pt x="4954" y="9609"/>
                    <a:pt x="5037" y="9537"/>
                    <a:pt x="5037" y="9454"/>
                  </a:cubicBezTo>
                  <a:lnTo>
                    <a:pt x="5037" y="2703"/>
                  </a:lnTo>
                  <a:lnTo>
                    <a:pt x="5037" y="2262"/>
                  </a:lnTo>
                  <a:cubicBezTo>
                    <a:pt x="5037" y="1870"/>
                    <a:pt x="4716" y="1560"/>
                    <a:pt x="4335" y="1560"/>
                  </a:cubicBezTo>
                  <a:lnTo>
                    <a:pt x="4239" y="1560"/>
                  </a:lnTo>
                  <a:cubicBezTo>
                    <a:pt x="4025" y="1560"/>
                    <a:pt x="3823" y="1667"/>
                    <a:pt x="3692" y="1834"/>
                  </a:cubicBezTo>
                  <a:cubicBezTo>
                    <a:pt x="3561" y="1667"/>
                    <a:pt x="3346" y="1560"/>
                    <a:pt x="3132" y="1560"/>
                  </a:cubicBezTo>
                  <a:lnTo>
                    <a:pt x="3096" y="1560"/>
                  </a:lnTo>
                  <a:cubicBezTo>
                    <a:pt x="2858" y="1560"/>
                    <a:pt x="2656" y="1667"/>
                    <a:pt x="2513" y="1846"/>
                  </a:cubicBezTo>
                  <a:cubicBezTo>
                    <a:pt x="2382" y="1679"/>
                    <a:pt x="2180" y="1560"/>
                    <a:pt x="1942" y="1560"/>
                  </a:cubicBezTo>
                  <a:cubicBezTo>
                    <a:pt x="1787" y="1560"/>
                    <a:pt x="1644" y="1608"/>
                    <a:pt x="1501" y="1691"/>
                  </a:cubicBezTo>
                  <a:lnTo>
                    <a:pt x="1501" y="738"/>
                  </a:lnTo>
                  <a:cubicBezTo>
                    <a:pt x="1501" y="322"/>
                    <a:pt x="1168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0" name="Google Shape;12050;p61"/>
            <p:cNvSpPr/>
            <p:nvPr/>
          </p:nvSpPr>
          <p:spPr>
            <a:xfrm>
              <a:off x="1887009" y="1702332"/>
              <a:ext cx="53222" cy="48375"/>
            </a:xfrm>
            <a:custGeom>
              <a:avLst/>
              <a:gdLst/>
              <a:ahLst/>
              <a:cxnLst/>
              <a:rect l="l" t="t" r="r" b="b"/>
              <a:pathLst>
                <a:path w="1680" h="1527" extrusionOk="0">
                  <a:moveTo>
                    <a:pt x="1084" y="562"/>
                  </a:moveTo>
                  <a:lnTo>
                    <a:pt x="1013" y="979"/>
                  </a:lnTo>
                  <a:lnTo>
                    <a:pt x="608" y="979"/>
                  </a:lnTo>
                  <a:lnTo>
                    <a:pt x="679" y="562"/>
                  </a:lnTo>
                  <a:close/>
                  <a:moveTo>
                    <a:pt x="572" y="1"/>
                  </a:moveTo>
                  <a:cubicBezTo>
                    <a:pt x="487" y="1"/>
                    <a:pt x="415" y="57"/>
                    <a:pt x="394" y="133"/>
                  </a:cubicBezTo>
                  <a:lnTo>
                    <a:pt x="382" y="228"/>
                  </a:lnTo>
                  <a:lnTo>
                    <a:pt x="310" y="228"/>
                  </a:lnTo>
                  <a:cubicBezTo>
                    <a:pt x="215" y="228"/>
                    <a:pt x="143" y="300"/>
                    <a:pt x="143" y="395"/>
                  </a:cubicBezTo>
                  <a:cubicBezTo>
                    <a:pt x="143" y="478"/>
                    <a:pt x="215" y="562"/>
                    <a:pt x="310" y="562"/>
                  </a:cubicBezTo>
                  <a:lnTo>
                    <a:pt x="322" y="562"/>
                  </a:lnTo>
                  <a:lnTo>
                    <a:pt x="251" y="979"/>
                  </a:lnTo>
                  <a:lnTo>
                    <a:pt x="155" y="979"/>
                  </a:lnTo>
                  <a:cubicBezTo>
                    <a:pt x="72" y="979"/>
                    <a:pt x="1" y="1050"/>
                    <a:pt x="1" y="1133"/>
                  </a:cubicBezTo>
                  <a:cubicBezTo>
                    <a:pt x="1" y="1229"/>
                    <a:pt x="72" y="1300"/>
                    <a:pt x="155" y="1300"/>
                  </a:cubicBezTo>
                  <a:lnTo>
                    <a:pt x="191" y="1300"/>
                  </a:lnTo>
                  <a:lnTo>
                    <a:pt x="191" y="1336"/>
                  </a:lnTo>
                  <a:cubicBezTo>
                    <a:pt x="167" y="1419"/>
                    <a:pt x="239" y="1514"/>
                    <a:pt x="322" y="1526"/>
                  </a:cubicBezTo>
                  <a:lnTo>
                    <a:pt x="346" y="1526"/>
                  </a:lnTo>
                  <a:cubicBezTo>
                    <a:pt x="429" y="1526"/>
                    <a:pt x="501" y="1467"/>
                    <a:pt x="513" y="1395"/>
                  </a:cubicBezTo>
                  <a:lnTo>
                    <a:pt x="536" y="1300"/>
                  </a:lnTo>
                  <a:lnTo>
                    <a:pt x="929" y="1300"/>
                  </a:lnTo>
                  <a:lnTo>
                    <a:pt x="929" y="1336"/>
                  </a:lnTo>
                  <a:cubicBezTo>
                    <a:pt x="917" y="1419"/>
                    <a:pt x="977" y="1514"/>
                    <a:pt x="1060" y="1526"/>
                  </a:cubicBezTo>
                  <a:lnTo>
                    <a:pt x="1096" y="1526"/>
                  </a:lnTo>
                  <a:cubicBezTo>
                    <a:pt x="1167" y="1526"/>
                    <a:pt x="1239" y="1467"/>
                    <a:pt x="1263" y="1395"/>
                  </a:cubicBezTo>
                  <a:lnTo>
                    <a:pt x="1275" y="1300"/>
                  </a:lnTo>
                  <a:lnTo>
                    <a:pt x="1370" y="1300"/>
                  </a:lnTo>
                  <a:cubicBezTo>
                    <a:pt x="1453" y="1300"/>
                    <a:pt x="1525" y="1229"/>
                    <a:pt x="1525" y="1133"/>
                  </a:cubicBezTo>
                  <a:cubicBezTo>
                    <a:pt x="1525" y="1050"/>
                    <a:pt x="1453" y="979"/>
                    <a:pt x="1370" y="979"/>
                  </a:cubicBezTo>
                  <a:lnTo>
                    <a:pt x="1334" y="979"/>
                  </a:lnTo>
                  <a:lnTo>
                    <a:pt x="1406" y="562"/>
                  </a:lnTo>
                  <a:lnTo>
                    <a:pt x="1513" y="562"/>
                  </a:lnTo>
                  <a:cubicBezTo>
                    <a:pt x="1608" y="562"/>
                    <a:pt x="1679" y="478"/>
                    <a:pt x="1679" y="395"/>
                  </a:cubicBezTo>
                  <a:cubicBezTo>
                    <a:pt x="1679" y="300"/>
                    <a:pt x="1608" y="228"/>
                    <a:pt x="1513" y="228"/>
                  </a:cubicBezTo>
                  <a:lnTo>
                    <a:pt x="1465" y="228"/>
                  </a:lnTo>
                  <a:lnTo>
                    <a:pt x="1465" y="205"/>
                  </a:lnTo>
                  <a:cubicBezTo>
                    <a:pt x="1489" y="109"/>
                    <a:pt x="1429" y="26"/>
                    <a:pt x="1334" y="2"/>
                  </a:cubicBezTo>
                  <a:cubicBezTo>
                    <a:pt x="1327" y="1"/>
                    <a:pt x="1320" y="1"/>
                    <a:pt x="1312" y="1"/>
                  </a:cubicBezTo>
                  <a:cubicBezTo>
                    <a:pt x="1235" y="1"/>
                    <a:pt x="1154" y="57"/>
                    <a:pt x="1144" y="133"/>
                  </a:cubicBezTo>
                  <a:lnTo>
                    <a:pt x="1132" y="228"/>
                  </a:lnTo>
                  <a:lnTo>
                    <a:pt x="727" y="228"/>
                  </a:lnTo>
                  <a:lnTo>
                    <a:pt x="727" y="205"/>
                  </a:lnTo>
                  <a:cubicBezTo>
                    <a:pt x="739" y="109"/>
                    <a:pt x="679" y="26"/>
                    <a:pt x="596" y="2"/>
                  </a:cubicBezTo>
                  <a:cubicBezTo>
                    <a:pt x="588" y="1"/>
                    <a:pt x="580" y="1"/>
                    <a:pt x="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1" name="Google Shape;12051;p61"/>
            <p:cNvSpPr/>
            <p:nvPr/>
          </p:nvSpPr>
          <p:spPr>
            <a:xfrm>
              <a:off x="1943970" y="1686745"/>
              <a:ext cx="28702" cy="63962"/>
            </a:xfrm>
            <a:custGeom>
              <a:avLst/>
              <a:gdLst/>
              <a:ahLst/>
              <a:cxnLst/>
              <a:rect l="l" t="t" r="r" b="b"/>
              <a:pathLst>
                <a:path w="906" h="2019" extrusionOk="0">
                  <a:moveTo>
                    <a:pt x="457" y="0"/>
                  </a:moveTo>
                  <a:cubicBezTo>
                    <a:pt x="429" y="0"/>
                    <a:pt x="399" y="6"/>
                    <a:pt x="370" y="18"/>
                  </a:cubicBezTo>
                  <a:lnTo>
                    <a:pt x="108" y="173"/>
                  </a:lnTo>
                  <a:cubicBezTo>
                    <a:pt x="24" y="220"/>
                    <a:pt x="0" y="304"/>
                    <a:pt x="48" y="399"/>
                  </a:cubicBezTo>
                  <a:cubicBezTo>
                    <a:pt x="73" y="448"/>
                    <a:pt x="126" y="475"/>
                    <a:pt x="184" y="475"/>
                  </a:cubicBezTo>
                  <a:cubicBezTo>
                    <a:pt x="210" y="475"/>
                    <a:pt x="237" y="470"/>
                    <a:pt x="262" y="459"/>
                  </a:cubicBezTo>
                  <a:lnTo>
                    <a:pt x="298" y="435"/>
                  </a:lnTo>
                  <a:lnTo>
                    <a:pt x="298" y="1685"/>
                  </a:lnTo>
                  <a:lnTo>
                    <a:pt x="191" y="1685"/>
                  </a:lnTo>
                  <a:cubicBezTo>
                    <a:pt x="108" y="1685"/>
                    <a:pt x="24" y="1768"/>
                    <a:pt x="24" y="1852"/>
                  </a:cubicBezTo>
                  <a:cubicBezTo>
                    <a:pt x="24" y="1947"/>
                    <a:pt x="108" y="2018"/>
                    <a:pt x="191" y="2018"/>
                  </a:cubicBezTo>
                  <a:lnTo>
                    <a:pt x="739" y="2018"/>
                  </a:lnTo>
                  <a:cubicBezTo>
                    <a:pt x="834" y="2018"/>
                    <a:pt x="905" y="1947"/>
                    <a:pt x="905" y="1852"/>
                  </a:cubicBezTo>
                  <a:cubicBezTo>
                    <a:pt x="905" y="1768"/>
                    <a:pt x="822" y="1673"/>
                    <a:pt x="727" y="1673"/>
                  </a:cubicBezTo>
                  <a:lnTo>
                    <a:pt x="608" y="1673"/>
                  </a:lnTo>
                  <a:lnTo>
                    <a:pt x="608" y="161"/>
                  </a:lnTo>
                  <a:cubicBezTo>
                    <a:pt x="608" y="101"/>
                    <a:pt x="584" y="54"/>
                    <a:pt x="536" y="18"/>
                  </a:cubicBezTo>
                  <a:cubicBezTo>
                    <a:pt x="512" y="6"/>
                    <a:pt x="486" y="0"/>
                    <a:pt x="4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2" name="Google Shape;12052;p61"/>
            <p:cNvSpPr/>
            <p:nvPr/>
          </p:nvSpPr>
          <p:spPr>
            <a:xfrm>
              <a:off x="2029221" y="1707306"/>
              <a:ext cx="62631" cy="10201"/>
            </a:xfrm>
            <a:custGeom>
              <a:avLst/>
              <a:gdLst/>
              <a:ahLst/>
              <a:cxnLst/>
              <a:rect l="l" t="t" r="r" b="b"/>
              <a:pathLst>
                <a:path w="1977" h="322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21"/>
                    <a:pt x="167" y="321"/>
                  </a:cubicBezTo>
                  <a:lnTo>
                    <a:pt x="1822" y="321"/>
                  </a:lnTo>
                  <a:cubicBezTo>
                    <a:pt x="1905" y="321"/>
                    <a:pt x="1977" y="250"/>
                    <a:pt x="1977" y="167"/>
                  </a:cubicBezTo>
                  <a:cubicBezTo>
                    <a:pt x="1977" y="60"/>
                    <a:pt x="1905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3" name="Google Shape;12053;p61"/>
            <p:cNvSpPr/>
            <p:nvPr/>
          </p:nvSpPr>
          <p:spPr>
            <a:xfrm>
              <a:off x="2029221" y="1758311"/>
              <a:ext cx="47552" cy="46696"/>
            </a:xfrm>
            <a:custGeom>
              <a:avLst/>
              <a:gdLst/>
              <a:ahLst/>
              <a:cxnLst/>
              <a:rect l="l" t="t" r="r" b="b"/>
              <a:pathLst>
                <a:path w="1501" h="1474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5"/>
                    <a:pt x="0" y="200"/>
                    <a:pt x="60" y="259"/>
                  </a:cubicBezTo>
                  <a:lnTo>
                    <a:pt x="1227" y="1426"/>
                  </a:lnTo>
                  <a:cubicBezTo>
                    <a:pt x="1250" y="1450"/>
                    <a:pt x="1298" y="1474"/>
                    <a:pt x="1346" y="1474"/>
                  </a:cubicBezTo>
                  <a:cubicBezTo>
                    <a:pt x="1381" y="1474"/>
                    <a:pt x="1429" y="1450"/>
                    <a:pt x="1465" y="1426"/>
                  </a:cubicBezTo>
                  <a:cubicBezTo>
                    <a:pt x="1500" y="1378"/>
                    <a:pt x="1500" y="1271"/>
                    <a:pt x="1441" y="1200"/>
                  </a:cubicBezTo>
                  <a:lnTo>
                    <a:pt x="286" y="45"/>
                  </a:ln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4" name="Google Shape;12054;p61"/>
            <p:cNvSpPr/>
            <p:nvPr/>
          </p:nvSpPr>
          <p:spPr>
            <a:xfrm>
              <a:off x="2029221" y="1615339"/>
              <a:ext cx="47552" cy="46728"/>
            </a:xfrm>
            <a:custGeom>
              <a:avLst/>
              <a:gdLst/>
              <a:ahLst/>
              <a:cxnLst/>
              <a:rect l="l" t="t" r="r" b="b"/>
              <a:pathLst>
                <a:path w="1501" h="1475" extrusionOk="0">
                  <a:moveTo>
                    <a:pt x="1334" y="1"/>
                  </a:moveTo>
                  <a:cubicBezTo>
                    <a:pt x="1295" y="1"/>
                    <a:pt x="1256" y="16"/>
                    <a:pt x="1227" y="46"/>
                  </a:cubicBezTo>
                  <a:lnTo>
                    <a:pt x="60" y="1200"/>
                  </a:lnTo>
                  <a:cubicBezTo>
                    <a:pt x="0" y="1260"/>
                    <a:pt x="0" y="1367"/>
                    <a:pt x="60" y="1427"/>
                  </a:cubicBezTo>
                  <a:cubicBezTo>
                    <a:pt x="96" y="1462"/>
                    <a:pt x="131" y="1474"/>
                    <a:pt x="179" y="1474"/>
                  </a:cubicBezTo>
                  <a:cubicBezTo>
                    <a:pt x="226" y="1474"/>
                    <a:pt x="274" y="1462"/>
                    <a:pt x="298" y="1427"/>
                  </a:cubicBezTo>
                  <a:lnTo>
                    <a:pt x="1465" y="272"/>
                  </a:lnTo>
                  <a:cubicBezTo>
                    <a:pt x="1500" y="212"/>
                    <a:pt x="1500" y="105"/>
                    <a:pt x="1441" y="46"/>
                  </a:cubicBezTo>
                  <a:cubicBezTo>
                    <a:pt x="1411" y="16"/>
                    <a:pt x="1372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5" name="Google Shape;12055;p61"/>
            <p:cNvSpPr/>
            <p:nvPr/>
          </p:nvSpPr>
          <p:spPr>
            <a:xfrm>
              <a:off x="1767449" y="1703504"/>
              <a:ext cx="63012" cy="10233"/>
            </a:xfrm>
            <a:custGeom>
              <a:avLst/>
              <a:gdLst/>
              <a:ahLst/>
              <a:cxnLst/>
              <a:rect l="l" t="t" r="r" b="b"/>
              <a:pathLst>
                <a:path w="1989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1822" y="322"/>
                  </a:lnTo>
                  <a:cubicBezTo>
                    <a:pt x="1905" y="322"/>
                    <a:pt x="1989" y="251"/>
                    <a:pt x="1989" y="168"/>
                  </a:cubicBezTo>
                  <a:cubicBezTo>
                    <a:pt x="1989" y="72"/>
                    <a:pt x="1905" y="1"/>
                    <a:pt x="1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6" name="Google Shape;12056;p61"/>
            <p:cNvSpPr/>
            <p:nvPr/>
          </p:nvSpPr>
          <p:spPr>
            <a:xfrm>
              <a:off x="1783289" y="1615719"/>
              <a:ext cx="47552" cy="46728"/>
            </a:xfrm>
            <a:custGeom>
              <a:avLst/>
              <a:gdLst/>
              <a:ahLst/>
              <a:cxnLst/>
              <a:rect l="l" t="t" r="r" b="b"/>
              <a:pathLst>
                <a:path w="1501" h="1475" extrusionOk="0">
                  <a:moveTo>
                    <a:pt x="167" y="1"/>
                  </a:moveTo>
                  <a:cubicBezTo>
                    <a:pt x="128" y="1"/>
                    <a:pt x="90" y="16"/>
                    <a:pt x="60" y="45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1215" y="1427"/>
                  </a:lnTo>
                  <a:cubicBezTo>
                    <a:pt x="1251" y="1462"/>
                    <a:pt x="1286" y="1474"/>
                    <a:pt x="1334" y="1474"/>
                  </a:cubicBezTo>
                  <a:cubicBezTo>
                    <a:pt x="1382" y="1474"/>
                    <a:pt x="1429" y="1462"/>
                    <a:pt x="1453" y="1427"/>
                  </a:cubicBezTo>
                  <a:cubicBezTo>
                    <a:pt x="1501" y="1367"/>
                    <a:pt x="1501" y="1272"/>
                    <a:pt x="1441" y="1212"/>
                  </a:cubicBezTo>
                  <a:lnTo>
                    <a:pt x="274" y="45"/>
                  </a:lnTo>
                  <a:cubicBezTo>
                    <a:pt x="244" y="16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7" name="Google Shape;12057;p61"/>
            <p:cNvSpPr/>
            <p:nvPr/>
          </p:nvSpPr>
          <p:spPr>
            <a:xfrm>
              <a:off x="1783289" y="1758311"/>
              <a:ext cx="47552" cy="46696"/>
            </a:xfrm>
            <a:custGeom>
              <a:avLst/>
              <a:gdLst/>
              <a:ahLst/>
              <a:cxnLst/>
              <a:rect l="l" t="t" r="r" b="b"/>
              <a:pathLst>
                <a:path w="1501" h="1474" extrusionOk="0">
                  <a:moveTo>
                    <a:pt x="1328" y="0"/>
                  </a:moveTo>
                  <a:cubicBezTo>
                    <a:pt x="1286" y="0"/>
                    <a:pt x="1245" y="15"/>
                    <a:pt x="1215" y="45"/>
                  </a:cubicBezTo>
                  <a:lnTo>
                    <a:pt x="60" y="1200"/>
                  </a:lnTo>
                  <a:cubicBezTo>
                    <a:pt x="0" y="1259"/>
                    <a:pt x="0" y="1367"/>
                    <a:pt x="60" y="1426"/>
                  </a:cubicBezTo>
                  <a:cubicBezTo>
                    <a:pt x="84" y="1450"/>
                    <a:pt x="131" y="1474"/>
                    <a:pt x="179" y="1474"/>
                  </a:cubicBezTo>
                  <a:cubicBezTo>
                    <a:pt x="215" y="1474"/>
                    <a:pt x="262" y="1450"/>
                    <a:pt x="298" y="1426"/>
                  </a:cubicBezTo>
                  <a:lnTo>
                    <a:pt x="1453" y="259"/>
                  </a:lnTo>
                  <a:cubicBezTo>
                    <a:pt x="1501" y="200"/>
                    <a:pt x="1501" y="105"/>
                    <a:pt x="1441" y="45"/>
                  </a:cubicBezTo>
                  <a:cubicBezTo>
                    <a:pt x="1411" y="15"/>
                    <a:pt x="1370" y="0"/>
                    <a:pt x="13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58" name="Google Shape;12058;p61"/>
          <p:cNvGrpSpPr/>
          <p:nvPr/>
        </p:nvGrpSpPr>
        <p:grpSpPr>
          <a:xfrm>
            <a:off x="4007193" y="1512727"/>
            <a:ext cx="320633" cy="348100"/>
            <a:chOff x="4007193" y="1512727"/>
            <a:chExt cx="320633" cy="348100"/>
          </a:xfrm>
        </p:grpSpPr>
        <p:sp>
          <p:nvSpPr>
            <p:cNvPr id="12059" name="Google Shape;12059;p61"/>
            <p:cNvSpPr/>
            <p:nvPr/>
          </p:nvSpPr>
          <p:spPr>
            <a:xfrm>
              <a:off x="4177695" y="1512727"/>
              <a:ext cx="143732" cy="153109"/>
            </a:xfrm>
            <a:custGeom>
              <a:avLst/>
              <a:gdLst/>
              <a:ahLst/>
              <a:cxnLst/>
              <a:rect l="l" t="t" r="r" b="b"/>
              <a:pathLst>
                <a:path w="4537" h="4833" extrusionOk="0">
                  <a:moveTo>
                    <a:pt x="2359" y="1"/>
                  </a:moveTo>
                  <a:cubicBezTo>
                    <a:pt x="2213" y="1"/>
                    <a:pt x="2065" y="16"/>
                    <a:pt x="1917" y="46"/>
                  </a:cubicBezTo>
                  <a:cubicBezTo>
                    <a:pt x="1346" y="165"/>
                    <a:pt x="846" y="498"/>
                    <a:pt x="524" y="987"/>
                  </a:cubicBezTo>
                  <a:cubicBezTo>
                    <a:pt x="0" y="1761"/>
                    <a:pt x="36" y="2773"/>
                    <a:pt x="584" y="3523"/>
                  </a:cubicBezTo>
                  <a:lnTo>
                    <a:pt x="536" y="4666"/>
                  </a:lnTo>
                  <a:cubicBezTo>
                    <a:pt x="536" y="4725"/>
                    <a:pt x="572" y="4773"/>
                    <a:pt x="607" y="4797"/>
                  </a:cubicBezTo>
                  <a:cubicBezTo>
                    <a:pt x="643" y="4809"/>
                    <a:pt x="667" y="4832"/>
                    <a:pt x="703" y="4832"/>
                  </a:cubicBezTo>
                  <a:cubicBezTo>
                    <a:pt x="727" y="4832"/>
                    <a:pt x="750" y="4832"/>
                    <a:pt x="774" y="4809"/>
                  </a:cubicBezTo>
                  <a:lnTo>
                    <a:pt x="1822" y="4332"/>
                  </a:lnTo>
                  <a:cubicBezTo>
                    <a:pt x="2006" y="4381"/>
                    <a:pt x="2191" y="4404"/>
                    <a:pt x="2373" y="4404"/>
                  </a:cubicBezTo>
                  <a:cubicBezTo>
                    <a:pt x="3091" y="4404"/>
                    <a:pt x="3771" y="4044"/>
                    <a:pt x="4179" y="3427"/>
                  </a:cubicBezTo>
                  <a:cubicBezTo>
                    <a:pt x="4382" y="3142"/>
                    <a:pt x="4501" y="2832"/>
                    <a:pt x="4537" y="2487"/>
                  </a:cubicBezTo>
                  <a:cubicBezTo>
                    <a:pt x="4525" y="2392"/>
                    <a:pt x="4453" y="2320"/>
                    <a:pt x="4382" y="2296"/>
                  </a:cubicBezTo>
                  <a:cubicBezTo>
                    <a:pt x="4374" y="2295"/>
                    <a:pt x="4366" y="2295"/>
                    <a:pt x="4358" y="2295"/>
                  </a:cubicBezTo>
                  <a:cubicBezTo>
                    <a:pt x="4275" y="2295"/>
                    <a:pt x="4214" y="2352"/>
                    <a:pt x="4203" y="2439"/>
                  </a:cubicBezTo>
                  <a:cubicBezTo>
                    <a:pt x="4156" y="2713"/>
                    <a:pt x="4072" y="2987"/>
                    <a:pt x="3906" y="3237"/>
                  </a:cubicBezTo>
                  <a:cubicBezTo>
                    <a:pt x="3554" y="3774"/>
                    <a:pt x="2971" y="4074"/>
                    <a:pt x="2360" y="4074"/>
                  </a:cubicBezTo>
                  <a:cubicBezTo>
                    <a:pt x="2185" y="4074"/>
                    <a:pt x="2008" y="4049"/>
                    <a:pt x="1834" y="3999"/>
                  </a:cubicBezTo>
                  <a:cubicBezTo>
                    <a:pt x="1814" y="3994"/>
                    <a:pt x="1798" y="3991"/>
                    <a:pt x="1784" y="3991"/>
                  </a:cubicBezTo>
                  <a:cubicBezTo>
                    <a:pt x="1762" y="3991"/>
                    <a:pt x="1743" y="3997"/>
                    <a:pt x="1715" y="4011"/>
                  </a:cubicBezTo>
                  <a:lnTo>
                    <a:pt x="869" y="4416"/>
                  </a:lnTo>
                  <a:lnTo>
                    <a:pt x="905" y="3475"/>
                  </a:lnTo>
                  <a:cubicBezTo>
                    <a:pt x="905" y="3427"/>
                    <a:pt x="893" y="3404"/>
                    <a:pt x="881" y="3368"/>
                  </a:cubicBezTo>
                  <a:cubicBezTo>
                    <a:pt x="369" y="2737"/>
                    <a:pt x="346" y="1856"/>
                    <a:pt x="786" y="1165"/>
                  </a:cubicBezTo>
                  <a:cubicBezTo>
                    <a:pt x="1072" y="748"/>
                    <a:pt x="1489" y="475"/>
                    <a:pt x="1977" y="379"/>
                  </a:cubicBezTo>
                  <a:cubicBezTo>
                    <a:pt x="2104" y="352"/>
                    <a:pt x="2231" y="339"/>
                    <a:pt x="2357" y="339"/>
                  </a:cubicBezTo>
                  <a:cubicBezTo>
                    <a:pt x="2721" y="339"/>
                    <a:pt x="3071" y="452"/>
                    <a:pt x="3382" y="665"/>
                  </a:cubicBezTo>
                  <a:cubicBezTo>
                    <a:pt x="3798" y="939"/>
                    <a:pt x="4084" y="1380"/>
                    <a:pt x="4179" y="1868"/>
                  </a:cubicBezTo>
                  <a:cubicBezTo>
                    <a:pt x="4200" y="1949"/>
                    <a:pt x="4263" y="2004"/>
                    <a:pt x="4340" y="2004"/>
                  </a:cubicBezTo>
                  <a:cubicBezTo>
                    <a:pt x="4354" y="2004"/>
                    <a:pt x="4368" y="2002"/>
                    <a:pt x="4382" y="1999"/>
                  </a:cubicBezTo>
                  <a:cubicBezTo>
                    <a:pt x="4465" y="1987"/>
                    <a:pt x="4525" y="1903"/>
                    <a:pt x="4513" y="1808"/>
                  </a:cubicBezTo>
                  <a:cubicBezTo>
                    <a:pt x="4406" y="1225"/>
                    <a:pt x="4060" y="725"/>
                    <a:pt x="3572" y="379"/>
                  </a:cubicBezTo>
                  <a:cubicBezTo>
                    <a:pt x="3208" y="130"/>
                    <a:pt x="2790" y="1"/>
                    <a:pt x="23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0" name="Google Shape;12060;p61"/>
            <p:cNvSpPr/>
            <p:nvPr/>
          </p:nvSpPr>
          <p:spPr>
            <a:xfrm>
              <a:off x="4214666" y="1543583"/>
              <a:ext cx="77711" cy="77363"/>
            </a:xfrm>
            <a:custGeom>
              <a:avLst/>
              <a:gdLst/>
              <a:ahLst/>
              <a:cxnLst/>
              <a:rect l="l" t="t" r="r" b="b"/>
              <a:pathLst>
                <a:path w="2453" h="2442" extrusionOk="0">
                  <a:moveTo>
                    <a:pt x="1072" y="346"/>
                  </a:moveTo>
                  <a:lnTo>
                    <a:pt x="1072" y="1239"/>
                  </a:lnTo>
                  <a:cubicBezTo>
                    <a:pt x="1072" y="1322"/>
                    <a:pt x="1143" y="1406"/>
                    <a:pt x="1238" y="1406"/>
                  </a:cubicBezTo>
                  <a:lnTo>
                    <a:pt x="2131" y="1406"/>
                  </a:lnTo>
                  <a:cubicBezTo>
                    <a:pt x="2048" y="1822"/>
                    <a:pt x="1679" y="2144"/>
                    <a:pt x="1238" y="2144"/>
                  </a:cubicBezTo>
                  <a:cubicBezTo>
                    <a:pt x="726" y="2144"/>
                    <a:pt x="322" y="1739"/>
                    <a:pt x="322" y="1239"/>
                  </a:cubicBezTo>
                  <a:cubicBezTo>
                    <a:pt x="322" y="787"/>
                    <a:pt x="655" y="417"/>
                    <a:pt x="1072" y="346"/>
                  </a:cubicBezTo>
                  <a:close/>
                  <a:moveTo>
                    <a:pt x="1215" y="1"/>
                  </a:moveTo>
                  <a:cubicBezTo>
                    <a:pt x="548" y="1"/>
                    <a:pt x="0" y="548"/>
                    <a:pt x="0" y="1215"/>
                  </a:cubicBezTo>
                  <a:cubicBezTo>
                    <a:pt x="0" y="1894"/>
                    <a:pt x="548" y="2441"/>
                    <a:pt x="1215" y="2441"/>
                  </a:cubicBezTo>
                  <a:cubicBezTo>
                    <a:pt x="1893" y="2441"/>
                    <a:pt x="2441" y="1894"/>
                    <a:pt x="2441" y="1215"/>
                  </a:cubicBezTo>
                  <a:cubicBezTo>
                    <a:pt x="2453" y="1144"/>
                    <a:pt x="2381" y="1072"/>
                    <a:pt x="2286" y="1072"/>
                  </a:cubicBezTo>
                  <a:lnTo>
                    <a:pt x="1381" y="1072"/>
                  </a:lnTo>
                  <a:lnTo>
                    <a:pt x="1381" y="167"/>
                  </a:lnTo>
                  <a:cubicBezTo>
                    <a:pt x="1381" y="72"/>
                    <a:pt x="1310" y="1"/>
                    <a:pt x="1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1" name="Google Shape;12061;p61"/>
            <p:cNvSpPr/>
            <p:nvPr/>
          </p:nvSpPr>
          <p:spPr>
            <a:xfrm>
              <a:off x="4007193" y="1541334"/>
              <a:ext cx="320633" cy="319493"/>
            </a:xfrm>
            <a:custGeom>
              <a:avLst/>
              <a:gdLst/>
              <a:ahLst/>
              <a:cxnLst/>
              <a:rect l="l" t="t" r="r" b="b"/>
              <a:pathLst>
                <a:path w="10121" h="10085" extrusionOk="0">
                  <a:moveTo>
                    <a:pt x="3823" y="1239"/>
                  </a:moveTo>
                  <a:lnTo>
                    <a:pt x="4823" y="2227"/>
                  </a:lnTo>
                  <a:cubicBezTo>
                    <a:pt x="5418" y="2822"/>
                    <a:pt x="5525" y="3739"/>
                    <a:pt x="5085" y="4453"/>
                  </a:cubicBezTo>
                  <a:cubicBezTo>
                    <a:pt x="5049" y="4501"/>
                    <a:pt x="5061" y="4596"/>
                    <a:pt x="5120" y="4644"/>
                  </a:cubicBezTo>
                  <a:lnTo>
                    <a:pt x="5442" y="4965"/>
                  </a:lnTo>
                  <a:cubicBezTo>
                    <a:pt x="5478" y="5002"/>
                    <a:pt x="5524" y="5016"/>
                    <a:pt x="5567" y="5016"/>
                  </a:cubicBezTo>
                  <a:cubicBezTo>
                    <a:pt x="5594" y="5016"/>
                    <a:pt x="5621" y="5010"/>
                    <a:pt x="5644" y="5001"/>
                  </a:cubicBezTo>
                  <a:cubicBezTo>
                    <a:pt x="5939" y="4824"/>
                    <a:pt x="6267" y="4736"/>
                    <a:pt x="6591" y="4736"/>
                  </a:cubicBezTo>
                  <a:cubicBezTo>
                    <a:pt x="7053" y="4736"/>
                    <a:pt x="7509" y="4913"/>
                    <a:pt x="7859" y="5263"/>
                  </a:cubicBezTo>
                  <a:lnTo>
                    <a:pt x="8859" y="6263"/>
                  </a:lnTo>
                  <a:lnTo>
                    <a:pt x="6299" y="8823"/>
                  </a:lnTo>
                  <a:lnTo>
                    <a:pt x="5299" y="7823"/>
                  </a:lnTo>
                  <a:cubicBezTo>
                    <a:pt x="5073" y="7608"/>
                    <a:pt x="4906" y="7335"/>
                    <a:pt x="4835" y="7037"/>
                  </a:cubicBezTo>
                  <a:cubicBezTo>
                    <a:pt x="4704" y="6561"/>
                    <a:pt x="4775" y="6037"/>
                    <a:pt x="5025" y="5608"/>
                  </a:cubicBezTo>
                  <a:cubicBezTo>
                    <a:pt x="5073" y="5549"/>
                    <a:pt x="5061" y="5465"/>
                    <a:pt x="5001" y="5418"/>
                  </a:cubicBezTo>
                  <a:lnTo>
                    <a:pt x="4668" y="5084"/>
                  </a:lnTo>
                  <a:cubicBezTo>
                    <a:pt x="4634" y="5051"/>
                    <a:pt x="4597" y="5036"/>
                    <a:pt x="4560" y="5036"/>
                  </a:cubicBezTo>
                  <a:cubicBezTo>
                    <a:pt x="4532" y="5036"/>
                    <a:pt x="4503" y="5045"/>
                    <a:pt x="4477" y="5060"/>
                  </a:cubicBezTo>
                  <a:cubicBezTo>
                    <a:pt x="4186" y="5235"/>
                    <a:pt x="3864" y="5321"/>
                    <a:pt x="3543" y="5321"/>
                  </a:cubicBezTo>
                  <a:cubicBezTo>
                    <a:pt x="3077" y="5321"/>
                    <a:pt x="2616" y="5139"/>
                    <a:pt x="2263" y="4787"/>
                  </a:cubicBezTo>
                  <a:lnTo>
                    <a:pt x="1263" y="3798"/>
                  </a:lnTo>
                  <a:lnTo>
                    <a:pt x="3823" y="1239"/>
                  </a:lnTo>
                  <a:close/>
                  <a:moveTo>
                    <a:pt x="9371" y="6192"/>
                  </a:moveTo>
                  <a:lnTo>
                    <a:pt x="9716" y="6537"/>
                  </a:lnTo>
                  <a:lnTo>
                    <a:pt x="6561" y="9692"/>
                  </a:lnTo>
                  <a:lnTo>
                    <a:pt x="6216" y="9347"/>
                  </a:lnTo>
                  <a:lnTo>
                    <a:pt x="9192" y="6370"/>
                  </a:lnTo>
                  <a:lnTo>
                    <a:pt x="9371" y="6192"/>
                  </a:lnTo>
                  <a:close/>
                  <a:moveTo>
                    <a:pt x="3561" y="0"/>
                  </a:moveTo>
                  <a:cubicBezTo>
                    <a:pt x="3513" y="0"/>
                    <a:pt x="3465" y="12"/>
                    <a:pt x="3442" y="36"/>
                  </a:cubicBezTo>
                  <a:lnTo>
                    <a:pt x="2191" y="1286"/>
                  </a:lnTo>
                  <a:cubicBezTo>
                    <a:pt x="2132" y="1346"/>
                    <a:pt x="2132" y="1453"/>
                    <a:pt x="2191" y="1512"/>
                  </a:cubicBezTo>
                  <a:cubicBezTo>
                    <a:pt x="2221" y="1542"/>
                    <a:pt x="2260" y="1557"/>
                    <a:pt x="2299" y="1557"/>
                  </a:cubicBezTo>
                  <a:cubicBezTo>
                    <a:pt x="2337" y="1557"/>
                    <a:pt x="2376" y="1542"/>
                    <a:pt x="2406" y="1512"/>
                  </a:cubicBezTo>
                  <a:lnTo>
                    <a:pt x="3561" y="369"/>
                  </a:lnTo>
                  <a:lnTo>
                    <a:pt x="3894" y="715"/>
                  </a:lnTo>
                  <a:lnTo>
                    <a:pt x="3715" y="893"/>
                  </a:lnTo>
                  <a:lnTo>
                    <a:pt x="917" y="3691"/>
                  </a:lnTo>
                  <a:lnTo>
                    <a:pt x="739" y="3870"/>
                  </a:lnTo>
                  <a:lnTo>
                    <a:pt x="405" y="3525"/>
                  </a:lnTo>
                  <a:lnTo>
                    <a:pt x="1965" y="1965"/>
                  </a:lnTo>
                  <a:cubicBezTo>
                    <a:pt x="2025" y="1905"/>
                    <a:pt x="2025" y="1798"/>
                    <a:pt x="1965" y="1739"/>
                  </a:cubicBezTo>
                  <a:cubicBezTo>
                    <a:pt x="1935" y="1709"/>
                    <a:pt x="1894" y="1694"/>
                    <a:pt x="1852" y="1694"/>
                  </a:cubicBezTo>
                  <a:cubicBezTo>
                    <a:pt x="1810" y="1694"/>
                    <a:pt x="1769" y="1709"/>
                    <a:pt x="1739" y="1739"/>
                  </a:cubicBezTo>
                  <a:lnTo>
                    <a:pt x="60" y="3417"/>
                  </a:lnTo>
                  <a:cubicBezTo>
                    <a:pt x="1" y="3477"/>
                    <a:pt x="1" y="3584"/>
                    <a:pt x="60" y="3644"/>
                  </a:cubicBezTo>
                  <a:lnTo>
                    <a:pt x="620" y="4203"/>
                  </a:lnTo>
                  <a:cubicBezTo>
                    <a:pt x="655" y="4239"/>
                    <a:pt x="703" y="4251"/>
                    <a:pt x="739" y="4251"/>
                  </a:cubicBezTo>
                  <a:cubicBezTo>
                    <a:pt x="786" y="4251"/>
                    <a:pt x="834" y="4239"/>
                    <a:pt x="858" y="4203"/>
                  </a:cubicBezTo>
                  <a:lnTo>
                    <a:pt x="1036" y="4025"/>
                  </a:lnTo>
                  <a:lnTo>
                    <a:pt x="2037" y="5025"/>
                  </a:lnTo>
                  <a:cubicBezTo>
                    <a:pt x="2453" y="5441"/>
                    <a:pt x="3003" y="5657"/>
                    <a:pt x="3558" y="5657"/>
                  </a:cubicBezTo>
                  <a:cubicBezTo>
                    <a:pt x="3892" y="5657"/>
                    <a:pt x="4228" y="5579"/>
                    <a:pt x="4537" y="5418"/>
                  </a:cubicBezTo>
                  <a:lnTo>
                    <a:pt x="4692" y="5560"/>
                  </a:lnTo>
                  <a:cubicBezTo>
                    <a:pt x="4430" y="6037"/>
                    <a:pt x="4370" y="6608"/>
                    <a:pt x="4525" y="7144"/>
                  </a:cubicBezTo>
                  <a:cubicBezTo>
                    <a:pt x="4632" y="7501"/>
                    <a:pt x="4811" y="7811"/>
                    <a:pt x="5073" y="8085"/>
                  </a:cubicBezTo>
                  <a:lnTo>
                    <a:pt x="6073" y="9073"/>
                  </a:lnTo>
                  <a:lnTo>
                    <a:pt x="5894" y="9251"/>
                  </a:lnTo>
                  <a:cubicBezTo>
                    <a:pt x="5835" y="9311"/>
                    <a:pt x="5835" y="9418"/>
                    <a:pt x="5894" y="9478"/>
                  </a:cubicBezTo>
                  <a:lnTo>
                    <a:pt x="6454" y="10049"/>
                  </a:lnTo>
                  <a:cubicBezTo>
                    <a:pt x="6490" y="10073"/>
                    <a:pt x="6537" y="10085"/>
                    <a:pt x="6573" y="10085"/>
                  </a:cubicBezTo>
                  <a:cubicBezTo>
                    <a:pt x="6621" y="10085"/>
                    <a:pt x="6668" y="10073"/>
                    <a:pt x="6692" y="10049"/>
                  </a:cubicBezTo>
                  <a:lnTo>
                    <a:pt x="10073" y="6668"/>
                  </a:lnTo>
                  <a:cubicBezTo>
                    <a:pt x="10121" y="6596"/>
                    <a:pt x="10121" y="6489"/>
                    <a:pt x="10061" y="6430"/>
                  </a:cubicBezTo>
                  <a:lnTo>
                    <a:pt x="9490" y="5858"/>
                  </a:lnTo>
                  <a:cubicBezTo>
                    <a:pt x="9460" y="5828"/>
                    <a:pt x="9421" y="5813"/>
                    <a:pt x="9383" y="5813"/>
                  </a:cubicBezTo>
                  <a:cubicBezTo>
                    <a:pt x="9344" y="5813"/>
                    <a:pt x="9305" y="5828"/>
                    <a:pt x="9276" y="5858"/>
                  </a:cubicBezTo>
                  <a:lnTo>
                    <a:pt x="9097" y="6037"/>
                  </a:lnTo>
                  <a:lnTo>
                    <a:pt x="8097" y="5049"/>
                  </a:lnTo>
                  <a:cubicBezTo>
                    <a:pt x="7683" y="4627"/>
                    <a:pt x="7137" y="4413"/>
                    <a:pt x="6585" y="4413"/>
                  </a:cubicBezTo>
                  <a:cubicBezTo>
                    <a:pt x="6248" y="4413"/>
                    <a:pt x="5908" y="4493"/>
                    <a:pt x="5597" y="4656"/>
                  </a:cubicBezTo>
                  <a:lnTo>
                    <a:pt x="5442" y="4501"/>
                  </a:lnTo>
                  <a:cubicBezTo>
                    <a:pt x="5882" y="3691"/>
                    <a:pt x="5728" y="2679"/>
                    <a:pt x="5061" y="2001"/>
                  </a:cubicBezTo>
                  <a:lnTo>
                    <a:pt x="4061" y="1012"/>
                  </a:lnTo>
                  <a:lnTo>
                    <a:pt x="4239" y="834"/>
                  </a:lnTo>
                  <a:cubicBezTo>
                    <a:pt x="4299" y="774"/>
                    <a:pt x="4299" y="667"/>
                    <a:pt x="4239" y="607"/>
                  </a:cubicBezTo>
                  <a:lnTo>
                    <a:pt x="3680" y="36"/>
                  </a:lnTo>
                  <a:cubicBezTo>
                    <a:pt x="3644" y="12"/>
                    <a:pt x="3596" y="0"/>
                    <a:pt x="3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2" name="Google Shape;12062;p61"/>
            <p:cNvSpPr/>
            <p:nvPr/>
          </p:nvSpPr>
          <p:spPr>
            <a:xfrm>
              <a:off x="4064914" y="1665805"/>
              <a:ext cx="101123" cy="40012"/>
            </a:xfrm>
            <a:custGeom>
              <a:avLst/>
              <a:gdLst/>
              <a:ahLst/>
              <a:cxnLst/>
              <a:rect l="l" t="t" r="r" b="b"/>
              <a:pathLst>
                <a:path w="3192" h="1263" extrusionOk="0">
                  <a:moveTo>
                    <a:pt x="2703" y="310"/>
                  </a:moveTo>
                  <a:lnTo>
                    <a:pt x="2608" y="417"/>
                  </a:lnTo>
                  <a:cubicBezTo>
                    <a:pt x="2346" y="739"/>
                    <a:pt x="2001" y="941"/>
                    <a:pt x="1631" y="941"/>
                  </a:cubicBezTo>
                  <a:cubicBezTo>
                    <a:pt x="1274" y="941"/>
                    <a:pt x="929" y="774"/>
                    <a:pt x="679" y="477"/>
                  </a:cubicBezTo>
                  <a:cubicBezTo>
                    <a:pt x="679" y="477"/>
                    <a:pt x="619" y="393"/>
                    <a:pt x="548" y="310"/>
                  </a:cubicBezTo>
                  <a:close/>
                  <a:moveTo>
                    <a:pt x="191" y="0"/>
                  </a:moveTo>
                  <a:cubicBezTo>
                    <a:pt x="131" y="0"/>
                    <a:pt x="72" y="24"/>
                    <a:pt x="36" y="84"/>
                  </a:cubicBezTo>
                  <a:cubicBezTo>
                    <a:pt x="0" y="143"/>
                    <a:pt x="24" y="203"/>
                    <a:pt x="48" y="250"/>
                  </a:cubicBezTo>
                  <a:cubicBezTo>
                    <a:pt x="155" y="369"/>
                    <a:pt x="393" y="667"/>
                    <a:pt x="393" y="679"/>
                  </a:cubicBezTo>
                  <a:cubicBezTo>
                    <a:pt x="703" y="1060"/>
                    <a:pt x="1143" y="1262"/>
                    <a:pt x="1584" y="1262"/>
                  </a:cubicBezTo>
                  <a:lnTo>
                    <a:pt x="1620" y="1262"/>
                  </a:lnTo>
                  <a:cubicBezTo>
                    <a:pt x="2072" y="1250"/>
                    <a:pt x="2524" y="1024"/>
                    <a:pt x="2846" y="619"/>
                  </a:cubicBezTo>
                  <a:lnTo>
                    <a:pt x="3132" y="262"/>
                  </a:lnTo>
                  <a:cubicBezTo>
                    <a:pt x="3191" y="203"/>
                    <a:pt x="3191" y="143"/>
                    <a:pt x="3167" y="84"/>
                  </a:cubicBezTo>
                  <a:cubicBezTo>
                    <a:pt x="3132" y="24"/>
                    <a:pt x="3072" y="0"/>
                    <a:pt x="3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3" name="Google Shape;12063;p61"/>
            <p:cNvSpPr/>
            <p:nvPr/>
          </p:nvSpPr>
          <p:spPr>
            <a:xfrm>
              <a:off x="4162235" y="1749155"/>
              <a:ext cx="101851" cy="60382"/>
            </a:xfrm>
            <a:custGeom>
              <a:avLst/>
              <a:gdLst/>
              <a:ahLst/>
              <a:cxnLst/>
              <a:rect l="l" t="t" r="r" b="b"/>
              <a:pathLst>
                <a:path w="3215" h="190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536"/>
                    <a:pt x="238" y="786"/>
                    <a:pt x="286" y="834"/>
                  </a:cubicBezTo>
                  <a:lnTo>
                    <a:pt x="1310" y="1858"/>
                  </a:lnTo>
                  <a:cubicBezTo>
                    <a:pt x="1346" y="1894"/>
                    <a:pt x="1381" y="1906"/>
                    <a:pt x="1429" y="1906"/>
                  </a:cubicBezTo>
                  <a:cubicBezTo>
                    <a:pt x="1476" y="1906"/>
                    <a:pt x="1512" y="1894"/>
                    <a:pt x="1548" y="1858"/>
                  </a:cubicBezTo>
                  <a:lnTo>
                    <a:pt x="3143" y="274"/>
                  </a:lnTo>
                  <a:cubicBezTo>
                    <a:pt x="3203" y="239"/>
                    <a:pt x="3215" y="167"/>
                    <a:pt x="3191" y="108"/>
                  </a:cubicBezTo>
                  <a:cubicBezTo>
                    <a:pt x="3155" y="48"/>
                    <a:pt x="3096" y="1"/>
                    <a:pt x="3036" y="1"/>
                  </a:cubicBezTo>
                  <a:lnTo>
                    <a:pt x="1607" y="1"/>
                  </a:lnTo>
                  <a:cubicBezTo>
                    <a:pt x="1524" y="1"/>
                    <a:pt x="1441" y="72"/>
                    <a:pt x="1441" y="167"/>
                  </a:cubicBezTo>
                  <a:cubicBezTo>
                    <a:pt x="1441" y="251"/>
                    <a:pt x="1524" y="334"/>
                    <a:pt x="1607" y="334"/>
                  </a:cubicBezTo>
                  <a:lnTo>
                    <a:pt x="2631" y="334"/>
                  </a:lnTo>
                  <a:lnTo>
                    <a:pt x="1429" y="1537"/>
                  </a:lnTo>
                  <a:lnTo>
                    <a:pt x="500" y="608"/>
                  </a:lnTo>
                  <a:cubicBezTo>
                    <a:pt x="488" y="596"/>
                    <a:pt x="393" y="489"/>
                    <a:pt x="345" y="334"/>
                  </a:cubicBezTo>
                  <a:lnTo>
                    <a:pt x="965" y="334"/>
                  </a:lnTo>
                  <a:cubicBezTo>
                    <a:pt x="1060" y="334"/>
                    <a:pt x="1131" y="251"/>
                    <a:pt x="1131" y="167"/>
                  </a:cubicBezTo>
                  <a:cubicBezTo>
                    <a:pt x="1131" y="72"/>
                    <a:pt x="1060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64" name="Google Shape;12064;p61"/>
          <p:cNvGrpSpPr/>
          <p:nvPr/>
        </p:nvGrpSpPr>
        <p:grpSpPr>
          <a:xfrm>
            <a:off x="3530425" y="1508747"/>
            <a:ext cx="368175" cy="344594"/>
            <a:chOff x="3530425" y="1508747"/>
            <a:chExt cx="368175" cy="344594"/>
          </a:xfrm>
        </p:grpSpPr>
        <p:sp>
          <p:nvSpPr>
            <p:cNvPr id="12065" name="Google Shape;12065;p61"/>
            <p:cNvSpPr/>
            <p:nvPr/>
          </p:nvSpPr>
          <p:spPr>
            <a:xfrm>
              <a:off x="3530425" y="1508747"/>
              <a:ext cx="316765" cy="344594"/>
            </a:xfrm>
            <a:custGeom>
              <a:avLst/>
              <a:gdLst/>
              <a:ahLst/>
              <a:cxnLst/>
              <a:rect l="l" t="t" r="r" b="b"/>
              <a:pathLst>
                <a:path w="7848" h="8538" extrusionOk="0">
                  <a:moveTo>
                    <a:pt x="6835" y="3406"/>
                  </a:moveTo>
                  <a:cubicBezTo>
                    <a:pt x="7252" y="3466"/>
                    <a:pt x="7561" y="3823"/>
                    <a:pt x="7561" y="4251"/>
                  </a:cubicBezTo>
                  <a:cubicBezTo>
                    <a:pt x="7573" y="4704"/>
                    <a:pt x="7264" y="5061"/>
                    <a:pt x="6835" y="5121"/>
                  </a:cubicBezTo>
                  <a:lnTo>
                    <a:pt x="6835" y="3406"/>
                  </a:lnTo>
                  <a:close/>
                  <a:moveTo>
                    <a:pt x="2144" y="3263"/>
                  </a:moveTo>
                  <a:lnTo>
                    <a:pt x="2144" y="5263"/>
                  </a:lnTo>
                  <a:lnTo>
                    <a:pt x="1263" y="5263"/>
                  </a:lnTo>
                  <a:lnTo>
                    <a:pt x="1263" y="3263"/>
                  </a:lnTo>
                  <a:close/>
                  <a:moveTo>
                    <a:pt x="1013" y="3275"/>
                  </a:moveTo>
                  <a:lnTo>
                    <a:pt x="1013" y="5287"/>
                  </a:lnTo>
                  <a:lnTo>
                    <a:pt x="715" y="5287"/>
                  </a:lnTo>
                  <a:cubicBezTo>
                    <a:pt x="477" y="5287"/>
                    <a:pt x="287" y="5085"/>
                    <a:pt x="287" y="4847"/>
                  </a:cubicBezTo>
                  <a:lnTo>
                    <a:pt x="287" y="3704"/>
                  </a:lnTo>
                  <a:cubicBezTo>
                    <a:pt x="287" y="3466"/>
                    <a:pt x="477" y="3275"/>
                    <a:pt x="715" y="3275"/>
                  </a:cubicBezTo>
                  <a:close/>
                  <a:moveTo>
                    <a:pt x="2287" y="6252"/>
                  </a:moveTo>
                  <a:lnTo>
                    <a:pt x="2287" y="6847"/>
                  </a:lnTo>
                  <a:lnTo>
                    <a:pt x="2037" y="6847"/>
                  </a:lnTo>
                  <a:lnTo>
                    <a:pt x="2204" y="6252"/>
                  </a:lnTo>
                  <a:close/>
                  <a:moveTo>
                    <a:pt x="2108" y="5549"/>
                  </a:moveTo>
                  <a:lnTo>
                    <a:pt x="1608" y="7407"/>
                  </a:lnTo>
                  <a:lnTo>
                    <a:pt x="1275" y="7407"/>
                  </a:lnTo>
                  <a:lnTo>
                    <a:pt x="1275" y="5549"/>
                  </a:lnTo>
                  <a:close/>
                  <a:moveTo>
                    <a:pt x="6561" y="263"/>
                  </a:moveTo>
                  <a:lnTo>
                    <a:pt x="6561" y="8276"/>
                  </a:lnTo>
                  <a:lnTo>
                    <a:pt x="5966" y="8276"/>
                  </a:lnTo>
                  <a:lnTo>
                    <a:pt x="5966" y="2632"/>
                  </a:lnTo>
                  <a:cubicBezTo>
                    <a:pt x="5966" y="2561"/>
                    <a:pt x="5906" y="2501"/>
                    <a:pt x="5835" y="2501"/>
                  </a:cubicBezTo>
                  <a:cubicBezTo>
                    <a:pt x="5764" y="2501"/>
                    <a:pt x="5704" y="2561"/>
                    <a:pt x="5704" y="2632"/>
                  </a:cubicBezTo>
                  <a:lnTo>
                    <a:pt x="5704" y="7395"/>
                  </a:lnTo>
                  <a:cubicBezTo>
                    <a:pt x="5537" y="7157"/>
                    <a:pt x="5264" y="6847"/>
                    <a:pt x="4942" y="6537"/>
                  </a:cubicBezTo>
                  <a:cubicBezTo>
                    <a:pt x="4573" y="6180"/>
                    <a:pt x="4180" y="5883"/>
                    <a:pt x="3775" y="5668"/>
                  </a:cubicBezTo>
                  <a:cubicBezTo>
                    <a:pt x="3323" y="5430"/>
                    <a:pt x="2858" y="5299"/>
                    <a:pt x="2394" y="5287"/>
                  </a:cubicBezTo>
                  <a:lnTo>
                    <a:pt x="2394" y="3263"/>
                  </a:lnTo>
                  <a:cubicBezTo>
                    <a:pt x="2858" y="3239"/>
                    <a:pt x="3335" y="3108"/>
                    <a:pt x="3775" y="2870"/>
                  </a:cubicBezTo>
                  <a:cubicBezTo>
                    <a:pt x="4180" y="2668"/>
                    <a:pt x="4573" y="2382"/>
                    <a:pt x="4942" y="2001"/>
                  </a:cubicBezTo>
                  <a:cubicBezTo>
                    <a:pt x="5264" y="1692"/>
                    <a:pt x="5525" y="1370"/>
                    <a:pt x="5704" y="1144"/>
                  </a:cubicBezTo>
                  <a:lnTo>
                    <a:pt x="5704" y="1989"/>
                  </a:lnTo>
                  <a:cubicBezTo>
                    <a:pt x="5704" y="2061"/>
                    <a:pt x="5764" y="2120"/>
                    <a:pt x="5835" y="2120"/>
                  </a:cubicBezTo>
                  <a:cubicBezTo>
                    <a:pt x="5906" y="2120"/>
                    <a:pt x="5966" y="2061"/>
                    <a:pt x="5966" y="1989"/>
                  </a:cubicBezTo>
                  <a:lnTo>
                    <a:pt x="5966" y="263"/>
                  </a:lnTo>
                  <a:close/>
                  <a:moveTo>
                    <a:pt x="5847" y="1"/>
                  </a:moveTo>
                  <a:cubicBezTo>
                    <a:pt x="5776" y="1"/>
                    <a:pt x="5716" y="60"/>
                    <a:pt x="5716" y="132"/>
                  </a:cubicBezTo>
                  <a:lnTo>
                    <a:pt x="5716" y="668"/>
                  </a:lnTo>
                  <a:cubicBezTo>
                    <a:pt x="5645" y="799"/>
                    <a:pt x="5299" y="1311"/>
                    <a:pt x="4763" y="1834"/>
                  </a:cubicBezTo>
                  <a:cubicBezTo>
                    <a:pt x="4216" y="2370"/>
                    <a:pt x="3335" y="3001"/>
                    <a:pt x="2275" y="3001"/>
                  </a:cubicBezTo>
                  <a:lnTo>
                    <a:pt x="703" y="3001"/>
                  </a:lnTo>
                  <a:cubicBezTo>
                    <a:pt x="311" y="3001"/>
                    <a:pt x="1" y="3323"/>
                    <a:pt x="1" y="3704"/>
                  </a:cubicBezTo>
                  <a:lnTo>
                    <a:pt x="1" y="4847"/>
                  </a:lnTo>
                  <a:cubicBezTo>
                    <a:pt x="1" y="5240"/>
                    <a:pt x="311" y="5549"/>
                    <a:pt x="703" y="5549"/>
                  </a:cubicBezTo>
                  <a:lnTo>
                    <a:pt x="1001" y="5549"/>
                  </a:lnTo>
                  <a:lnTo>
                    <a:pt x="1001" y="7561"/>
                  </a:lnTo>
                  <a:cubicBezTo>
                    <a:pt x="1001" y="7633"/>
                    <a:pt x="1061" y="7692"/>
                    <a:pt x="1132" y="7692"/>
                  </a:cubicBezTo>
                  <a:lnTo>
                    <a:pt x="1692" y="7692"/>
                  </a:lnTo>
                  <a:cubicBezTo>
                    <a:pt x="1751" y="7692"/>
                    <a:pt x="1811" y="7645"/>
                    <a:pt x="1823" y="7585"/>
                  </a:cubicBezTo>
                  <a:lnTo>
                    <a:pt x="1942" y="7109"/>
                  </a:lnTo>
                  <a:lnTo>
                    <a:pt x="2406" y="7109"/>
                  </a:lnTo>
                  <a:cubicBezTo>
                    <a:pt x="2477" y="7109"/>
                    <a:pt x="2537" y="7049"/>
                    <a:pt x="2537" y="6978"/>
                  </a:cubicBezTo>
                  <a:lnTo>
                    <a:pt x="2537" y="6121"/>
                  </a:lnTo>
                  <a:cubicBezTo>
                    <a:pt x="2537" y="6037"/>
                    <a:pt x="2477" y="5978"/>
                    <a:pt x="2406" y="5978"/>
                  </a:cubicBezTo>
                  <a:lnTo>
                    <a:pt x="2239" y="5978"/>
                  </a:lnTo>
                  <a:lnTo>
                    <a:pt x="2358" y="5537"/>
                  </a:lnTo>
                  <a:cubicBezTo>
                    <a:pt x="3370" y="5585"/>
                    <a:pt x="4228" y="6192"/>
                    <a:pt x="4740" y="6716"/>
                  </a:cubicBezTo>
                  <a:cubicBezTo>
                    <a:pt x="5264" y="7216"/>
                    <a:pt x="5609" y="7740"/>
                    <a:pt x="5692" y="7871"/>
                  </a:cubicBezTo>
                  <a:lnTo>
                    <a:pt x="5692" y="8407"/>
                  </a:lnTo>
                  <a:cubicBezTo>
                    <a:pt x="5692" y="8478"/>
                    <a:pt x="5752" y="8538"/>
                    <a:pt x="5835" y="8538"/>
                  </a:cubicBezTo>
                  <a:lnTo>
                    <a:pt x="6692" y="8538"/>
                  </a:lnTo>
                  <a:cubicBezTo>
                    <a:pt x="6764" y="8538"/>
                    <a:pt x="6823" y="8478"/>
                    <a:pt x="6823" y="8407"/>
                  </a:cubicBezTo>
                  <a:lnTo>
                    <a:pt x="6823" y="5406"/>
                  </a:lnTo>
                  <a:cubicBezTo>
                    <a:pt x="7395" y="5323"/>
                    <a:pt x="7823" y="4847"/>
                    <a:pt x="7823" y="4275"/>
                  </a:cubicBezTo>
                  <a:cubicBezTo>
                    <a:pt x="7847" y="3692"/>
                    <a:pt x="7407" y="3216"/>
                    <a:pt x="6835" y="3144"/>
                  </a:cubicBezTo>
                  <a:lnTo>
                    <a:pt x="6835" y="132"/>
                  </a:lnTo>
                  <a:cubicBezTo>
                    <a:pt x="6835" y="60"/>
                    <a:pt x="6776" y="1"/>
                    <a:pt x="6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6" name="Google Shape;12066;p61"/>
            <p:cNvSpPr/>
            <p:nvPr/>
          </p:nvSpPr>
          <p:spPr>
            <a:xfrm>
              <a:off x="3870185" y="1675515"/>
              <a:ext cx="28415" cy="11099"/>
            </a:xfrm>
            <a:custGeom>
              <a:avLst/>
              <a:gdLst/>
              <a:ahLst/>
              <a:cxnLst/>
              <a:rect l="l" t="t" r="r" b="b"/>
              <a:pathLst>
                <a:path w="704" h="275" extrusionOk="0">
                  <a:moveTo>
                    <a:pt x="144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5"/>
                    <a:pt x="60" y="274"/>
                    <a:pt x="144" y="274"/>
                  </a:cubicBezTo>
                  <a:lnTo>
                    <a:pt x="572" y="274"/>
                  </a:lnTo>
                  <a:cubicBezTo>
                    <a:pt x="644" y="274"/>
                    <a:pt x="703" y="215"/>
                    <a:pt x="703" y="143"/>
                  </a:cubicBezTo>
                  <a:cubicBezTo>
                    <a:pt x="703" y="60"/>
                    <a:pt x="644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7" name="Google Shape;12067;p61"/>
            <p:cNvSpPr/>
            <p:nvPr/>
          </p:nvSpPr>
          <p:spPr>
            <a:xfrm>
              <a:off x="3846170" y="1610293"/>
              <a:ext cx="25993" cy="22965"/>
            </a:xfrm>
            <a:custGeom>
              <a:avLst/>
              <a:gdLst/>
              <a:ahLst/>
              <a:cxnLst/>
              <a:rect l="l" t="t" r="r" b="b"/>
              <a:pathLst>
                <a:path w="644" h="569" extrusionOk="0">
                  <a:moveTo>
                    <a:pt x="489" y="0"/>
                  </a:moveTo>
                  <a:cubicBezTo>
                    <a:pt x="456" y="0"/>
                    <a:pt x="423" y="15"/>
                    <a:pt x="393" y="45"/>
                  </a:cubicBezTo>
                  <a:lnTo>
                    <a:pt x="96" y="342"/>
                  </a:lnTo>
                  <a:cubicBezTo>
                    <a:pt x="0" y="426"/>
                    <a:pt x="60" y="569"/>
                    <a:pt x="179" y="569"/>
                  </a:cubicBezTo>
                  <a:cubicBezTo>
                    <a:pt x="215" y="569"/>
                    <a:pt x="262" y="545"/>
                    <a:pt x="274" y="521"/>
                  </a:cubicBezTo>
                  <a:lnTo>
                    <a:pt x="572" y="223"/>
                  </a:lnTo>
                  <a:cubicBezTo>
                    <a:pt x="643" y="176"/>
                    <a:pt x="643" y="104"/>
                    <a:pt x="584" y="45"/>
                  </a:cubicBezTo>
                  <a:cubicBezTo>
                    <a:pt x="554" y="15"/>
                    <a:pt x="521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8" name="Google Shape;12068;p61"/>
            <p:cNvSpPr/>
            <p:nvPr/>
          </p:nvSpPr>
          <p:spPr>
            <a:xfrm>
              <a:off x="3847623" y="1728508"/>
              <a:ext cx="24540" cy="23086"/>
            </a:xfrm>
            <a:custGeom>
              <a:avLst/>
              <a:gdLst/>
              <a:ahLst/>
              <a:cxnLst/>
              <a:rect l="l" t="t" r="r" b="b"/>
              <a:pathLst>
                <a:path w="608" h="572" extrusionOk="0">
                  <a:moveTo>
                    <a:pt x="155" y="0"/>
                  </a:moveTo>
                  <a:cubicBezTo>
                    <a:pt x="122" y="0"/>
                    <a:pt x="89" y="15"/>
                    <a:pt x="60" y="45"/>
                  </a:cubicBezTo>
                  <a:cubicBezTo>
                    <a:pt x="0" y="104"/>
                    <a:pt x="0" y="176"/>
                    <a:pt x="60" y="235"/>
                  </a:cubicBezTo>
                  <a:lnTo>
                    <a:pt x="357" y="533"/>
                  </a:lnTo>
                  <a:cubicBezTo>
                    <a:pt x="384" y="560"/>
                    <a:pt x="416" y="572"/>
                    <a:pt x="447" y="572"/>
                  </a:cubicBezTo>
                  <a:cubicBezTo>
                    <a:pt x="485" y="572"/>
                    <a:pt x="522" y="554"/>
                    <a:pt x="548" y="521"/>
                  </a:cubicBezTo>
                  <a:cubicBezTo>
                    <a:pt x="607" y="473"/>
                    <a:pt x="607" y="390"/>
                    <a:pt x="548" y="342"/>
                  </a:cubicBezTo>
                  <a:lnTo>
                    <a:pt x="250" y="45"/>
                  </a:lnTo>
                  <a:cubicBezTo>
                    <a:pt x="220" y="15"/>
                    <a:pt x="18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69" name="Google Shape;12069;p61"/>
          <p:cNvGrpSpPr/>
          <p:nvPr/>
        </p:nvGrpSpPr>
        <p:grpSpPr>
          <a:xfrm>
            <a:off x="3127598" y="1513234"/>
            <a:ext cx="289714" cy="347593"/>
            <a:chOff x="3127598" y="1513234"/>
            <a:chExt cx="289714" cy="347593"/>
          </a:xfrm>
        </p:grpSpPr>
        <p:sp>
          <p:nvSpPr>
            <p:cNvPr id="12070" name="Google Shape;12070;p61"/>
            <p:cNvSpPr/>
            <p:nvPr/>
          </p:nvSpPr>
          <p:spPr>
            <a:xfrm>
              <a:off x="3127598" y="1513234"/>
              <a:ext cx="289714" cy="347593"/>
            </a:xfrm>
            <a:custGeom>
              <a:avLst/>
              <a:gdLst/>
              <a:ahLst/>
              <a:cxnLst/>
              <a:rect l="l" t="t" r="r" b="b"/>
              <a:pathLst>
                <a:path w="9145" h="10972" extrusionOk="0">
                  <a:moveTo>
                    <a:pt x="1917" y="8995"/>
                  </a:moveTo>
                  <a:lnTo>
                    <a:pt x="1917" y="10412"/>
                  </a:lnTo>
                  <a:lnTo>
                    <a:pt x="1358" y="9841"/>
                  </a:lnTo>
                  <a:lnTo>
                    <a:pt x="548" y="8995"/>
                  </a:lnTo>
                  <a:close/>
                  <a:moveTo>
                    <a:pt x="6192" y="0"/>
                  </a:moveTo>
                  <a:cubicBezTo>
                    <a:pt x="5828" y="0"/>
                    <a:pt x="5465" y="137"/>
                    <a:pt x="5191" y="411"/>
                  </a:cubicBezTo>
                  <a:lnTo>
                    <a:pt x="5156" y="435"/>
                  </a:lnTo>
                  <a:cubicBezTo>
                    <a:pt x="5096" y="494"/>
                    <a:pt x="5096" y="602"/>
                    <a:pt x="5168" y="661"/>
                  </a:cubicBezTo>
                  <a:cubicBezTo>
                    <a:pt x="5196" y="689"/>
                    <a:pt x="5235" y="704"/>
                    <a:pt x="5275" y="704"/>
                  </a:cubicBezTo>
                  <a:cubicBezTo>
                    <a:pt x="5319" y="704"/>
                    <a:pt x="5363" y="686"/>
                    <a:pt x="5394" y="649"/>
                  </a:cubicBezTo>
                  <a:lnTo>
                    <a:pt x="5430" y="613"/>
                  </a:lnTo>
                  <a:cubicBezTo>
                    <a:pt x="5644" y="399"/>
                    <a:pt x="5927" y="292"/>
                    <a:pt x="6209" y="292"/>
                  </a:cubicBezTo>
                  <a:cubicBezTo>
                    <a:pt x="6492" y="292"/>
                    <a:pt x="6775" y="399"/>
                    <a:pt x="6989" y="613"/>
                  </a:cubicBezTo>
                  <a:cubicBezTo>
                    <a:pt x="7418" y="1042"/>
                    <a:pt x="7418" y="1745"/>
                    <a:pt x="6989" y="2185"/>
                  </a:cubicBezTo>
                  <a:cubicBezTo>
                    <a:pt x="6775" y="2399"/>
                    <a:pt x="6492" y="2507"/>
                    <a:pt x="6209" y="2507"/>
                  </a:cubicBezTo>
                  <a:cubicBezTo>
                    <a:pt x="5927" y="2507"/>
                    <a:pt x="5644" y="2399"/>
                    <a:pt x="5430" y="2185"/>
                  </a:cubicBezTo>
                  <a:cubicBezTo>
                    <a:pt x="5168" y="1923"/>
                    <a:pt x="5049" y="1554"/>
                    <a:pt x="5132" y="1209"/>
                  </a:cubicBezTo>
                  <a:cubicBezTo>
                    <a:pt x="5144" y="1125"/>
                    <a:pt x="5084" y="1030"/>
                    <a:pt x="4989" y="1018"/>
                  </a:cubicBezTo>
                  <a:cubicBezTo>
                    <a:pt x="4982" y="1017"/>
                    <a:pt x="4975" y="1017"/>
                    <a:pt x="4967" y="1017"/>
                  </a:cubicBezTo>
                  <a:cubicBezTo>
                    <a:pt x="4890" y="1017"/>
                    <a:pt x="4809" y="1073"/>
                    <a:pt x="4798" y="1149"/>
                  </a:cubicBezTo>
                  <a:cubicBezTo>
                    <a:pt x="4751" y="1387"/>
                    <a:pt x="4775" y="1614"/>
                    <a:pt x="4846" y="1840"/>
                  </a:cubicBezTo>
                  <a:lnTo>
                    <a:pt x="3132" y="1840"/>
                  </a:lnTo>
                  <a:cubicBezTo>
                    <a:pt x="3048" y="1840"/>
                    <a:pt x="2965" y="1911"/>
                    <a:pt x="2965" y="2006"/>
                  </a:cubicBezTo>
                  <a:cubicBezTo>
                    <a:pt x="2965" y="2090"/>
                    <a:pt x="3048" y="2161"/>
                    <a:pt x="3132" y="2161"/>
                  </a:cubicBezTo>
                  <a:lnTo>
                    <a:pt x="4989" y="2161"/>
                  </a:lnTo>
                  <a:lnTo>
                    <a:pt x="5084" y="2304"/>
                  </a:lnTo>
                  <a:lnTo>
                    <a:pt x="4310" y="3078"/>
                  </a:lnTo>
                  <a:cubicBezTo>
                    <a:pt x="4251" y="3126"/>
                    <a:pt x="4251" y="3233"/>
                    <a:pt x="4310" y="3292"/>
                  </a:cubicBezTo>
                  <a:cubicBezTo>
                    <a:pt x="4334" y="3328"/>
                    <a:pt x="4382" y="3340"/>
                    <a:pt x="4429" y="3340"/>
                  </a:cubicBezTo>
                  <a:cubicBezTo>
                    <a:pt x="4477" y="3340"/>
                    <a:pt x="4513" y="3328"/>
                    <a:pt x="4548" y="3292"/>
                  </a:cubicBezTo>
                  <a:lnTo>
                    <a:pt x="5322" y="2518"/>
                  </a:lnTo>
                  <a:cubicBezTo>
                    <a:pt x="5572" y="2733"/>
                    <a:pt x="5882" y="2840"/>
                    <a:pt x="6203" y="2840"/>
                  </a:cubicBezTo>
                  <a:cubicBezTo>
                    <a:pt x="6561" y="2840"/>
                    <a:pt x="6930" y="2697"/>
                    <a:pt x="7215" y="2423"/>
                  </a:cubicBezTo>
                  <a:cubicBezTo>
                    <a:pt x="7287" y="2340"/>
                    <a:pt x="7358" y="2256"/>
                    <a:pt x="7418" y="2161"/>
                  </a:cubicBezTo>
                  <a:lnTo>
                    <a:pt x="8835" y="2161"/>
                  </a:lnTo>
                  <a:lnTo>
                    <a:pt x="8835" y="10662"/>
                  </a:lnTo>
                  <a:lnTo>
                    <a:pt x="2239" y="10662"/>
                  </a:lnTo>
                  <a:lnTo>
                    <a:pt x="2239" y="8864"/>
                  </a:lnTo>
                  <a:cubicBezTo>
                    <a:pt x="2239" y="8769"/>
                    <a:pt x="2167" y="8698"/>
                    <a:pt x="2072" y="8698"/>
                  </a:cubicBezTo>
                  <a:lnTo>
                    <a:pt x="334" y="8698"/>
                  </a:lnTo>
                  <a:lnTo>
                    <a:pt x="334" y="2161"/>
                  </a:lnTo>
                  <a:lnTo>
                    <a:pt x="2489" y="2161"/>
                  </a:lnTo>
                  <a:cubicBezTo>
                    <a:pt x="2584" y="2161"/>
                    <a:pt x="2655" y="2090"/>
                    <a:pt x="2655" y="2006"/>
                  </a:cubicBezTo>
                  <a:cubicBezTo>
                    <a:pt x="2655" y="1911"/>
                    <a:pt x="2584" y="1840"/>
                    <a:pt x="2489" y="1840"/>
                  </a:cubicBezTo>
                  <a:lnTo>
                    <a:pt x="167" y="1840"/>
                  </a:lnTo>
                  <a:cubicBezTo>
                    <a:pt x="84" y="1840"/>
                    <a:pt x="0" y="1911"/>
                    <a:pt x="0" y="2006"/>
                  </a:cubicBezTo>
                  <a:lnTo>
                    <a:pt x="0" y="8853"/>
                  </a:lnTo>
                  <a:cubicBezTo>
                    <a:pt x="0" y="8888"/>
                    <a:pt x="24" y="8936"/>
                    <a:pt x="48" y="8972"/>
                  </a:cubicBezTo>
                  <a:lnTo>
                    <a:pt x="1060" y="10007"/>
                  </a:lnTo>
                  <a:lnTo>
                    <a:pt x="1953" y="10936"/>
                  </a:lnTo>
                  <a:cubicBezTo>
                    <a:pt x="1989" y="10960"/>
                    <a:pt x="2024" y="10972"/>
                    <a:pt x="2072" y="10972"/>
                  </a:cubicBezTo>
                  <a:lnTo>
                    <a:pt x="8978" y="10972"/>
                  </a:lnTo>
                  <a:cubicBezTo>
                    <a:pt x="9073" y="10972"/>
                    <a:pt x="9144" y="10900"/>
                    <a:pt x="9144" y="10817"/>
                  </a:cubicBezTo>
                  <a:lnTo>
                    <a:pt x="9144" y="2006"/>
                  </a:lnTo>
                  <a:cubicBezTo>
                    <a:pt x="9132" y="1911"/>
                    <a:pt x="9073" y="1840"/>
                    <a:pt x="8978" y="1840"/>
                  </a:cubicBezTo>
                  <a:lnTo>
                    <a:pt x="7549" y="1840"/>
                  </a:lnTo>
                  <a:cubicBezTo>
                    <a:pt x="7704" y="1352"/>
                    <a:pt x="7585" y="792"/>
                    <a:pt x="7192" y="411"/>
                  </a:cubicBezTo>
                  <a:cubicBezTo>
                    <a:pt x="6918" y="137"/>
                    <a:pt x="6555" y="0"/>
                    <a:pt x="6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1" name="Google Shape;12071;p61"/>
            <p:cNvSpPr/>
            <p:nvPr/>
          </p:nvSpPr>
          <p:spPr>
            <a:xfrm>
              <a:off x="3254698" y="1788375"/>
              <a:ext cx="121493" cy="10233"/>
            </a:xfrm>
            <a:custGeom>
              <a:avLst/>
              <a:gdLst/>
              <a:ahLst/>
              <a:cxnLst/>
              <a:rect l="l" t="t" r="r" b="b"/>
              <a:pathLst>
                <a:path w="3835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3680" y="322"/>
                  </a:lnTo>
                  <a:cubicBezTo>
                    <a:pt x="3763" y="322"/>
                    <a:pt x="3834" y="251"/>
                    <a:pt x="3834" y="168"/>
                  </a:cubicBezTo>
                  <a:cubicBezTo>
                    <a:pt x="3834" y="72"/>
                    <a:pt x="3763" y="1"/>
                    <a:pt x="3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2" name="Google Shape;12072;p61"/>
            <p:cNvSpPr/>
            <p:nvPr/>
          </p:nvSpPr>
          <p:spPr>
            <a:xfrm>
              <a:off x="3185668" y="1638275"/>
              <a:ext cx="172783" cy="29051"/>
            </a:xfrm>
            <a:custGeom>
              <a:avLst/>
              <a:gdLst/>
              <a:ahLst/>
              <a:cxnLst/>
              <a:rect l="l" t="t" r="r" b="b"/>
              <a:pathLst>
                <a:path w="5454" h="917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750"/>
                  </a:lnTo>
                  <a:cubicBezTo>
                    <a:pt x="1" y="834"/>
                    <a:pt x="72" y="917"/>
                    <a:pt x="168" y="917"/>
                  </a:cubicBezTo>
                  <a:lnTo>
                    <a:pt x="5275" y="917"/>
                  </a:lnTo>
                  <a:cubicBezTo>
                    <a:pt x="5359" y="917"/>
                    <a:pt x="5430" y="834"/>
                    <a:pt x="5430" y="750"/>
                  </a:cubicBezTo>
                  <a:lnTo>
                    <a:pt x="5430" y="167"/>
                  </a:lnTo>
                  <a:cubicBezTo>
                    <a:pt x="5454" y="84"/>
                    <a:pt x="5382" y="0"/>
                    <a:pt x="5287" y="0"/>
                  </a:cubicBezTo>
                  <a:lnTo>
                    <a:pt x="4228" y="0"/>
                  </a:lnTo>
                  <a:cubicBezTo>
                    <a:pt x="4144" y="0"/>
                    <a:pt x="4073" y="84"/>
                    <a:pt x="4073" y="167"/>
                  </a:cubicBezTo>
                  <a:cubicBezTo>
                    <a:pt x="4073" y="262"/>
                    <a:pt x="4144" y="334"/>
                    <a:pt x="4228" y="334"/>
                  </a:cubicBezTo>
                  <a:lnTo>
                    <a:pt x="5121" y="334"/>
                  </a:lnTo>
                  <a:lnTo>
                    <a:pt x="5121" y="584"/>
                  </a:lnTo>
                  <a:lnTo>
                    <a:pt x="334" y="584"/>
                  </a:lnTo>
                  <a:lnTo>
                    <a:pt x="334" y="334"/>
                  </a:lnTo>
                  <a:lnTo>
                    <a:pt x="3597" y="334"/>
                  </a:lnTo>
                  <a:cubicBezTo>
                    <a:pt x="3680" y="334"/>
                    <a:pt x="3751" y="262"/>
                    <a:pt x="3751" y="167"/>
                  </a:cubicBezTo>
                  <a:cubicBezTo>
                    <a:pt x="3751" y="84"/>
                    <a:pt x="3680" y="0"/>
                    <a:pt x="3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3" name="Google Shape;12073;p61"/>
            <p:cNvSpPr/>
            <p:nvPr/>
          </p:nvSpPr>
          <p:spPr>
            <a:xfrm>
              <a:off x="3186428" y="1681645"/>
              <a:ext cx="172022" cy="10581"/>
            </a:xfrm>
            <a:custGeom>
              <a:avLst/>
              <a:gdLst/>
              <a:ahLst/>
              <a:cxnLst/>
              <a:rect l="l" t="t" r="r" b="b"/>
              <a:pathLst>
                <a:path w="5430" h="334" extrusionOk="0">
                  <a:moveTo>
                    <a:pt x="155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5" y="334"/>
                  </a:cubicBezTo>
                  <a:lnTo>
                    <a:pt x="5263" y="334"/>
                  </a:lnTo>
                  <a:cubicBezTo>
                    <a:pt x="5358" y="334"/>
                    <a:pt x="5430" y="262"/>
                    <a:pt x="5430" y="167"/>
                  </a:cubicBezTo>
                  <a:cubicBezTo>
                    <a:pt x="5430" y="84"/>
                    <a:pt x="5358" y="0"/>
                    <a:pt x="5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4" name="Google Shape;12074;p61"/>
            <p:cNvSpPr/>
            <p:nvPr/>
          </p:nvSpPr>
          <p:spPr>
            <a:xfrm>
              <a:off x="3186428" y="1707306"/>
              <a:ext cx="172022" cy="10201"/>
            </a:xfrm>
            <a:custGeom>
              <a:avLst/>
              <a:gdLst/>
              <a:ahLst/>
              <a:cxnLst/>
              <a:rect l="l" t="t" r="r" b="b"/>
              <a:pathLst>
                <a:path w="5430" h="322" extrusionOk="0">
                  <a:moveTo>
                    <a:pt x="155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1"/>
                    <a:pt x="155" y="321"/>
                  </a:cubicBezTo>
                  <a:lnTo>
                    <a:pt x="5263" y="321"/>
                  </a:lnTo>
                  <a:cubicBezTo>
                    <a:pt x="5358" y="321"/>
                    <a:pt x="5430" y="250"/>
                    <a:pt x="5430" y="167"/>
                  </a:cubicBezTo>
                  <a:cubicBezTo>
                    <a:pt x="5430" y="71"/>
                    <a:pt x="5358" y="0"/>
                    <a:pt x="5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75" name="Google Shape;12075;p61"/>
          <p:cNvGrpSpPr/>
          <p:nvPr/>
        </p:nvGrpSpPr>
        <p:grpSpPr>
          <a:xfrm>
            <a:off x="2662884" y="1513044"/>
            <a:ext cx="322914" cy="348543"/>
            <a:chOff x="2662884" y="1513044"/>
            <a:chExt cx="322914" cy="348543"/>
          </a:xfrm>
        </p:grpSpPr>
        <p:sp>
          <p:nvSpPr>
            <p:cNvPr id="12076" name="Google Shape;12076;p61"/>
            <p:cNvSpPr/>
            <p:nvPr/>
          </p:nvSpPr>
          <p:spPr>
            <a:xfrm>
              <a:off x="2662884" y="1513044"/>
              <a:ext cx="260663" cy="348543"/>
            </a:xfrm>
            <a:custGeom>
              <a:avLst/>
              <a:gdLst/>
              <a:ahLst/>
              <a:cxnLst/>
              <a:rect l="l" t="t" r="r" b="b"/>
              <a:pathLst>
                <a:path w="8228" h="11002" extrusionOk="0">
                  <a:moveTo>
                    <a:pt x="5692" y="0"/>
                  </a:moveTo>
                  <a:cubicBezTo>
                    <a:pt x="5597" y="0"/>
                    <a:pt x="5525" y="72"/>
                    <a:pt x="5525" y="167"/>
                  </a:cubicBezTo>
                  <a:cubicBezTo>
                    <a:pt x="5525" y="250"/>
                    <a:pt x="5597" y="322"/>
                    <a:pt x="5692" y="322"/>
                  </a:cubicBezTo>
                  <a:lnTo>
                    <a:pt x="7907" y="322"/>
                  </a:lnTo>
                  <a:lnTo>
                    <a:pt x="7907" y="10668"/>
                  </a:lnTo>
                  <a:lnTo>
                    <a:pt x="334" y="10668"/>
                  </a:lnTo>
                  <a:lnTo>
                    <a:pt x="334" y="9406"/>
                  </a:lnTo>
                  <a:cubicBezTo>
                    <a:pt x="334" y="9311"/>
                    <a:pt x="251" y="9240"/>
                    <a:pt x="167" y="9240"/>
                  </a:cubicBezTo>
                  <a:cubicBezTo>
                    <a:pt x="72" y="9240"/>
                    <a:pt x="1" y="9311"/>
                    <a:pt x="1" y="9406"/>
                  </a:cubicBezTo>
                  <a:lnTo>
                    <a:pt x="1" y="10835"/>
                  </a:lnTo>
                  <a:cubicBezTo>
                    <a:pt x="1" y="10918"/>
                    <a:pt x="72" y="11002"/>
                    <a:pt x="167" y="11002"/>
                  </a:cubicBezTo>
                  <a:lnTo>
                    <a:pt x="8049" y="11002"/>
                  </a:lnTo>
                  <a:cubicBezTo>
                    <a:pt x="8145" y="11002"/>
                    <a:pt x="8216" y="10918"/>
                    <a:pt x="8216" y="10835"/>
                  </a:cubicBezTo>
                  <a:lnTo>
                    <a:pt x="8216" y="179"/>
                  </a:lnTo>
                  <a:cubicBezTo>
                    <a:pt x="8228" y="60"/>
                    <a:pt x="8157" y="0"/>
                    <a:pt x="80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7" name="Google Shape;12077;p61"/>
            <p:cNvSpPr/>
            <p:nvPr/>
          </p:nvSpPr>
          <p:spPr>
            <a:xfrm>
              <a:off x="2663264" y="1513044"/>
              <a:ext cx="165243" cy="282554"/>
            </a:xfrm>
            <a:custGeom>
              <a:avLst/>
              <a:gdLst/>
              <a:ahLst/>
              <a:cxnLst/>
              <a:rect l="l" t="t" r="r" b="b"/>
              <a:pathLst>
                <a:path w="5216" h="8919" extrusionOk="0">
                  <a:moveTo>
                    <a:pt x="2358" y="548"/>
                  </a:moveTo>
                  <a:lnTo>
                    <a:pt x="2358" y="2346"/>
                  </a:lnTo>
                  <a:lnTo>
                    <a:pt x="560" y="2346"/>
                  </a:lnTo>
                  <a:lnTo>
                    <a:pt x="2358" y="548"/>
                  </a:lnTo>
                  <a:close/>
                  <a:moveTo>
                    <a:pt x="2537" y="0"/>
                  </a:moveTo>
                  <a:cubicBezTo>
                    <a:pt x="2418" y="0"/>
                    <a:pt x="2299" y="167"/>
                    <a:pt x="2227" y="238"/>
                  </a:cubicBezTo>
                  <a:lnTo>
                    <a:pt x="108" y="2346"/>
                  </a:lnTo>
                  <a:cubicBezTo>
                    <a:pt x="60" y="2393"/>
                    <a:pt x="1" y="2441"/>
                    <a:pt x="1" y="2513"/>
                  </a:cubicBezTo>
                  <a:lnTo>
                    <a:pt x="1" y="8751"/>
                  </a:lnTo>
                  <a:cubicBezTo>
                    <a:pt x="1" y="8835"/>
                    <a:pt x="72" y="8918"/>
                    <a:pt x="167" y="8918"/>
                  </a:cubicBezTo>
                  <a:cubicBezTo>
                    <a:pt x="263" y="8918"/>
                    <a:pt x="334" y="8835"/>
                    <a:pt x="334" y="8751"/>
                  </a:cubicBezTo>
                  <a:lnTo>
                    <a:pt x="334" y="2667"/>
                  </a:lnTo>
                  <a:lnTo>
                    <a:pt x="2525" y="2667"/>
                  </a:lnTo>
                  <a:cubicBezTo>
                    <a:pt x="2608" y="2667"/>
                    <a:pt x="2680" y="2584"/>
                    <a:pt x="2680" y="2501"/>
                  </a:cubicBezTo>
                  <a:lnTo>
                    <a:pt x="2680" y="310"/>
                  </a:lnTo>
                  <a:lnTo>
                    <a:pt x="5049" y="310"/>
                  </a:lnTo>
                  <a:cubicBezTo>
                    <a:pt x="5144" y="310"/>
                    <a:pt x="5216" y="238"/>
                    <a:pt x="5216" y="143"/>
                  </a:cubicBezTo>
                  <a:cubicBezTo>
                    <a:pt x="5216" y="60"/>
                    <a:pt x="5132" y="0"/>
                    <a:pt x="5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8" name="Google Shape;12078;p61"/>
            <p:cNvSpPr/>
            <p:nvPr/>
          </p:nvSpPr>
          <p:spPr>
            <a:xfrm>
              <a:off x="2717596" y="1747634"/>
              <a:ext cx="152412" cy="10613"/>
            </a:xfrm>
            <a:custGeom>
              <a:avLst/>
              <a:gdLst/>
              <a:ahLst/>
              <a:cxnLst/>
              <a:rect l="l" t="t" r="r" b="b"/>
              <a:pathLst>
                <a:path w="4811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63"/>
                    <a:pt x="4810" y="168"/>
                  </a:cubicBezTo>
                  <a:cubicBezTo>
                    <a:pt x="4798" y="84"/>
                    <a:pt x="4739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9" name="Google Shape;12079;p61"/>
            <p:cNvSpPr/>
            <p:nvPr/>
          </p:nvSpPr>
          <p:spPr>
            <a:xfrm>
              <a:off x="2788876" y="1809886"/>
              <a:ext cx="81132" cy="10581"/>
            </a:xfrm>
            <a:custGeom>
              <a:avLst/>
              <a:gdLst/>
              <a:ahLst/>
              <a:cxnLst/>
              <a:rect l="l" t="t" r="r" b="b"/>
              <a:pathLst>
                <a:path w="2561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394" y="334"/>
                  </a:lnTo>
                  <a:cubicBezTo>
                    <a:pt x="2489" y="334"/>
                    <a:pt x="2560" y="262"/>
                    <a:pt x="2560" y="167"/>
                  </a:cubicBezTo>
                  <a:cubicBezTo>
                    <a:pt x="2560" y="84"/>
                    <a:pt x="2489" y="1"/>
                    <a:pt x="2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0" name="Google Shape;12080;p61"/>
            <p:cNvSpPr/>
            <p:nvPr/>
          </p:nvSpPr>
          <p:spPr>
            <a:xfrm>
              <a:off x="2717596" y="1722385"/>
              <a:ext cx="152412" cy="10201"/>
            </a:xfrm>
            <a:custGeom>
              <a:avLst/>
              <a:gdLst/>
              <a:ahLst/>
              <a:cxnLst/>
              <a:rect l="l" t="t" r="r" b="b"/>
              <a:pathLst>
                <a:path w="4811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4644" y="322"/>
                  </a:lnTo>
                  <a:cubicBezTo>
                    <a:pt x="4739" y="322"/>
                    <a:pt x="4810" y="250"/>
                    <a:pt x="4810" y="167"/>
                  </a:cubicBezTo>
                  <a:cubicBezTo>
                    <a:pt x="4798" y="60"/>
                    <a:pt x="4739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1" name="Google Shape;12081;p61"/>
            <p:cNvSpPr/>
            <p:nvPr/>
          </p:nvSpPr>
          <p:spPr>
            <a:xfrm>
              <a:off x="2717596" y="1696344"/>
              <a:ext cx="152412" cy="10613"/>
            </a:xfrm>
            <a:custGeom>
              <a:avLst/>
              <a:gdLst/>
              <a:ahLst/>
              <a:cxnLst/>
              <a:rect l="l" t="t" r="r" b="b"/>
              <a:pathLst>
                <a:path w="4811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51"/>
                    <a:pt x="4810" y="167"/>
                  </a:cubicBezTo>
                  <a:cubicBezTo>
                    <a:pt x="4798" y="72"/>
                    <a:pt x="4739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2" name="Google Shape;12082;p61"/>
            <p:cNvSpPr/>
            <p:nvPr/>
          </p:nvSpPr>
          <p:spPr>
            <a:xfrm>
              <a:off x="2717596" y="1670335"/>
              <a:ext cx="152412" cy="10581"/>
            </a:xfrm>
            <a:custGeom>
              <a:avLst/>
              <a:gdLst/>
              <a:ahLst/>
              <a:cxnLst/>
              <a:rect l="l" t="t" r="r" b="b"/>
              <a:pathLst>
                <a:path w="4811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62"/>
                    <a:pt x="4810" y="167"/>
                  </a:cubicBezTo>
                  <a:cubicBezTo>
                    <a:pt x="4810" y="84"/>
                    <a:pt x="4739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3" name="Google Shape;12083;p61"/>
            <p:cNvSpPr/>
            <p:nvPr/>
          </p:nvSpPr>
          <p:spPr>
            <a:xfrm>
              <a:off x="2778326" y="1594145"/>
              <a:ext cx="31332" cy="61111"/>
            </a:xfrm>
            <a:custGeom>
              <a:avLst/>
              <a:gdLst/>
              <a:ahLst/>
              <a:cxnLst/>
              <a:rect l="l" t="t" r="r" b="b"/>
              <a:pathLst>
                <a:path w="989" h="1929" extrusionOk="0">
                  <a:moveTo>
                    <a:pt x="179" y="0"/>
                  </a:moveTo>
                  <a:cubicBezTo>
                    <a:pt x="95" y="0"/>
                    <a:pt x="12" y="72"/>
                    <a:pt x="12" y="167"/>
                  </a:cubicBezTo>
                  <a:cubicBezTo>
                    <a:pt x="12" y="250"/>
                    <a:pt x="95" y="322"/>
                    <a:pt x="179" y="322"/>
                  </a:cubicBezTo>
                  <a:lnTo>
                    <a:pt x="333" y="322"/>
                  </a:lnTo>
                  <a:lnTo>
                    <a:pt x="333" y="1607"/>
                  </a:lnTo>
                  <a:lnTo>
                    <a:pt x="167" y="1607"/>
                  </a:lnTo>
                  <a:cubicBezTo>
                    <a:pt x="72" y="1607"/>
                    <a:pt x="0" y="1679"/>
                    <a:pt x="0" y="1774"/>
                  </a:cubicBezTo>
                  <a:cubicBezTo>
                    <a:pt x="0" y="1858"/>
                    <a:pt x="72" y="1929"/>
                    <a:pt x="167" y="1929"/>
                  </a:cubicBezTo>
                  <a:lnTo>
                    <a:pt x="822" y="1929"/>
                  </a:lnTo>
                  <a:cubicBezTo>
                    <a:pt x="905" y="1929"/>
                    <a:pt x="988" y="1858"/>
                    <a:pt x="988" y="1774"/>
                  </a:cubicBezTo>
                  <a:cubicBezTo>
                    <a:pt x="976" y="1679"/>
                    <a:pt x="893" y="1607"/>
                    <a:pt x="810" y="1607"/>
                  </a:cubicBezTo>
                  <a:lnTo>
                    <a:pt x="643" y="1607"/>
                  </a:lnTo>
                  <a:lnTo>
                    <a:pt x="643" y="167"/>
                  </a:lnTo>
                  <a:cubicBezTo>
                    <a:pt x="643" y="72"/>
                    <a:pt x="572" y="0"/>
                    <a:pt x="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4" name="Google Shape;12084;p61"/>
            <p:cNvSpPr/>
            <p:nvPr/>
          </p:nvSpPr>
          <p:spPr>
            <a:xfrm>
              <a:off x="2782476" y="1575263"/>
              <a:ext cx="16220" cy="15872"/>
            </a:xfrm>
            <a:custGeom>
              <a:avLst/>
              <a:gdLst/>
              <a:ahLst/>
              <a:cxnLst/>
              <a:rect l="l" t="t" r="r" b="b"/>
              <a:pathLst>
                <a:path w="512" h="501" extrusionOk="0">
                  <a:moveTo>
                    <a:pt x="262" y="1"/>
                  </a:moveTo>
                  <a:cubicBezTo>
                    <a:pt x="131" y="1"/>
                    <a:pt x="0" y="120"/>
                    <a:pt x="0" y="251"/>
                  </a:cubicBezTo>
                  <a:cubicBezTo>
                    <a:pt x="0" y="382"/>
                    <a:pt x="119" y="501"/>
                    <a:pt x="262" y="501"/>
                  </a:cubicBezTo>
                  <a:cubicBezTo>
                    <a:pt x="393" y="501"/>
                    <a:pt x="512" y="382"/>
                    <a:pt x="512" y="251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5" name="Google Shape;12085;p61"/>
            <p:cNvSpPr/>
            <p:nvPr/>
          </p:nvSpPr>
          <p:spPr>
            <a:xfrm>
              <a:off x="2943537" y="1513044"/>
              <a:ext cx="42261" cy="347783"/>
            </a:xfrm>
            <a:custGeom>
              <a:avLst/>
              <a:gdLst/>
              <a:ahLst/>
              <a:cxnLst/>
              <a:rect l="l" t="t" r="r" b="b"/>
              <a:pathLst>
                <a:path w="1334" h="10978" extrusionOk="0">
                  <a:moveTo>
                    <a:pt x="667" y="310"/>
                  </a:moveTo>
                  <a:cubicBezTo>
                    <a:pt x="857" y="310"/>
                    <a:pt x="1012" y="477"/>
                    <a:pt x="1012" y="655"/>
                  </a:cubicBezTo>
                  <a:lnTo>
                    <a:pt x="1012" y="1477"/>
                  </a:lnTo>
                  <a:lnTo>
                    <a:pt x="321" y="1477"/>
                  </a:lnTo>
                  <a:lnTo>
                    <a:pt x="321" y="655"/>
                  </a:lnTo>
                  <a:cubicBezTo>
                    <a:pt x="321" y="465"/>
                    <a:pt x="488" y="310"/>
                    <a:pt x="667" y="310"/>
                  </a:cubicBezTo>
                  <a:close/>
                  <a:moveTo>
                    <a:pt x="1024" y="1798"/>
                  </a:moveTo>
                  <a:lnTo>
                    <a:pt x="1024" y="2453"/>
                  </a:lnTo>
                  <a:lnTo>
                    <a:pt x="321" y="2453"/>
                  </a:lnTo>
                  <a:lnTo>
                    <a:pt x="321" y="1798"/>
                  </a:lnTo>
                  <a:close/>
                  <a:moveTo>
                    <a:pt x="964" y="9597"/>
                  </a:moveTo>
                  <a:lnTo>
                    <a:pt x="833" y="10525"/>
                  </a:lnTo>
                  <a:cubicBezTo>
                    <a:pt x="810" y="10597"/>
                    <a:pt x="750" y="10656"/>
                    <a:pt x="679" y="10656"/>
                  </a:cubicBezTo>
                  <a:cubicBezTo>
                    <a:pt x="607" y="10656"/>
                    <a:pt x="536" y="10597"/>
                    <a:pt x="536" y="10525"/>
                  </a:cubicBezTo>
                  <a:lnTo>
                    <a:pt x="417" y="9597"/>
                  </a:lnTo>
                  <a:close/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1631"/>
                  </a:lnTo>
                  <a:lnTo>
                    <a:pt x="0" y="2822"/>
                  </a:lnTo>
                  <a:lnTo>
                    <a:pt x="0" y="4810"/>
                  </a:lnTo>
                  <a:cubicBezTo>
                    <a:pt x="0" y="4894"/>
                    <a:pt x="71" y="4965"/>
                    <a:pt x="167" y="4965"/>
                  </a:cubicBezTo>
                  <a:cubicBezTo>
                    <a:pt x="250" y="4965"/>
                    <a:pt x="321" y="4894"/>
                    <a:pt x="321" y="4810"/>
                  </a:cubicBezTo>
                  <a:lnTo>
                    <a:pt x="321" y="2763"/>
                  </a:lnTo>
                  <a:lnTo>
                    <a:pt x="1024" y="2763"/>
                  </a:lnTo>
                  <a:lnTo>
                    <a:pt x="1024" y="9275"/>
                  </a:lnTo>
                  <a:lnTo>
                    <a:pt x="321" y="9275"/>
                  </a:lnTo>
                  <a:lnTo>
                    <a:pt x="321" y="5430"/>
                  </a:lnTo>
                  <a:cubicBezTo>
                    <a:pt x="321" y="5346"/>
                    <a:pt x="250" y="5263"/>
                    <a:pt x="167" y="5263"/>
                  </a:cubicBezTo>
                  <a:cubicBezTo>
                    <a:pt x="71" y="5263"/>
                    <a:pt x="0" y="5346"/>
                    <a:pt x="0" y="5430"/>
                  </a:cubicBezTo>
                  <a:lnTo>
                    <a:pt x="0" y="9430"/>
                  </a:lnTo>
                  <a:cubicBezTo>
                    <a:pt x="0" y="9490"/>
                    <a:pt x="24" y="9537"/>
                    <a:pt x="60" y="9561"/>
                  </a:cubicBezTo>
                  <a:lnTo>
                    <a:pt x="191" y="10561"/>
                  </a:lnTo>
                  <a:cubicBezTo>
                    <a:pt x="226" y="10799"/>
                    <a:pt x="429" y="10978"/>
                    <a:pt x="667" y="10978"/>
                  </a:cubicBezTo>
                  <a:cubicBezTo>
                    <a:pt x="905" y="10978"/>
                    <a:pt x="1119" y="10799"/>
                    <a:pt x="1143" y="10561"/>
                  </a:cubicBezTo>
                  <a:lnTo>
                    <a:pt x="1274" y="9561"/>
                  </a:lnTo>
                  <a:cubicBezTo>
                    <a:pt x="1322" y="9537"/>
                    <a:pt x="1334" y="9490"/>
                    <a:pt x="1334" y="9430"/>
                  </a:cubicBezTo>
                  <a:lnTo>
                    <a:pt x="1334" y="2822"/>
                  </a:lnTo>
                  <a:lnTo>
                    <a:pt x="1334" y="1631"/>
                  </a:lnTo>
                  <a:lnTo>
                    <a:pt x="1334" y="667"/>
                  </a:lnTo>
                  <a:cubicBezTo>
                    <a:pt x="1334" y="298"/>
                    <a:pt x="1036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86" name="Google Shape;12086;p61"/>
          <p:cNvGrpSpPr/>
          <p:nvPr/>
        </p:nvGrpSpPr>
        <p:grpSpPr>
          <a:xfrm>
            <a:off x="2232511" y="1512759"/>
            <a:ext cx="299534" cy="348068"/>
            <a:chOff x="2232511" y="1512759"/>
            <a:chExt cx="299534" cy="348068"/>
          </a:xfrm>
        </p:grpSpPr>
        <p:sp>
          <p:nvSpPr>
            <p:cNvPr id="12087" name="Google Shape;12087;p61"/>
            <p:cNvSpPr/>
            <p:nvPr/>
          </p:nvSpPr>
          <p:spPr>
            <a:xfrm>
              <a:off x="2278162" y="1715226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846" y="333"/>
                  </a:lnTo>
                  <a:cubicBezTo>
                    <a:pt x="2929" y="333"/>
                    <a:pt x="3013" y="250"/>
                    <a:pt x="3013" y="167"/>
                  </a:cubicBezTo>
                  <a:cubicBezTo>
                    <a:pt x="3013" y="71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8" name="Google Shape;12088;p61"/>
            <p:cNvSpPr/>
            <p:nvPr/>
          </p:nvSpPr>
          <p:spPr>
            <a:xfrm>
              <a:off x="2278162" y="1734455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846" y="334"/>
                  </a:lnTo>
                  <a:cubicBezTo>
                    <a:pt x="2929" y="334"/>
                    <a:pt x="3013" y="262"/>
                    <a:pt x="3013" y="167"/>
                  </a:cubicBezTo>
                  <a:cubicBezTo>
                    <a:pt x="3013" y="84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9" name="Google Shape;12089;p61"/>
            <p:cNvSpPr/>
            <p:nvPr/>
          </p:nvSpPr>
          <p:spPr>
            <a:xfrm>
              <a:off x="2278162" y="1754446"/>
              <a:ext cx="95452" cy="10201"/>
            </a:xfrm>
            <a:custGeom>
              <a:avLst/>
              <a:gdLst/>
              <a:ahLst/>
              <a:cxnLst/>
              <a:rect l="l" t="t" r="r" b="b"/>
              <a:pathLst>
                <a:path w="3013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2846" y="322"/>
                  </a:lnTo>
                  <a:cubicBezTo>
                    <a:pt x="2929" y="322"/>
                    <a:pt x="3013" y="250"/>
                    <a:pt x="3013" y="167"/>
                  </a:cubicBezTo>
                  <a:cubicBezTo>
                    <a:pt x="3013" y="72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0" name="Google Shape;12090;p61"/>
            <p:cNvSpPr/>
            <p:nvPr/>
          </p:nvSpPr>
          <p:spPr>
            <a:xfrm>
              <a:off x="2278162" y="1773675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846" y="334"/>
                  </a:lnTo>
                  <a:cubicBezTo>
                    <a:pt x="2929" y="334"/>
                    <a:pt x="3013" y="251"/>
                    <a:pt x="3013" y="167"/>
                  </a:cubicBezTo>
                  <a:cubicBezTo>
                    <a:pt x="3013" y="72"/>
                    <a:pt x="2929" y="1"/>
                    <a:pt x="2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1" name="Google Shape;12091;p61"/>
            <p:cNvSpPr/>
            <p:nvPr/>
          </p:nvSpPr>
          <p:spPr>
            <a:xfrm>
              <a:off x="2232511" y="1512759"/>
              <a:ext cx="299534" cy="348068"/>
            </a:xfrm>
            <a:custGeom>
              <a:avLst/>
              <a:gdLst/>
              <a:ahLst/>
              <a:cxnLst/>
              <a:rect l="l" t="t" r="r" b="b"/>
              <a:pathLst>
                <a:path w="9455" h="10987" extrusionOk="0">
                  <a:moveTo>
                    <a:pt x="2965" y="1700"/>
                  </a:moveTo>
                  <a:cubicBezTo>
                    <a:pt x="3275" y="1700"/>
                    <a:pt x="3537" y="1950"/>
                    <a:pt x="3561" y="2271"/>
                  </a:cubicBezTo>
                  <a:cubicBezTo>
                    <a:pt x="3561" y="2355"/>
                    <a:pt x="3632" y="2414"/>
                    <a:pt x="3715" y="2414"/>
                  </a:cubicBezTo>
                  <a:lnTo>
                    <a:pt x="4275" y="2414"/>
                  </a:lnTo>
                  <a:lnTo>
                    <a:pt x="4275" y="3367"/>
                  </a:lnTo>
                  <a:lnTo>
                    <a:pt x="3977" y="3367"/>
                  </a:lnTo>
                  <a:cubicBezTo>
                    <a:pt x="3882" y="3367"/>
                    <a:pt x="3811" y="3438"/>
                    <a:pt x="3811" y="3534"/>
                  </a:cubicBezTo>
                  <a:cubicBezTo>
                    <a:pt x="3811" y="3629"/>
                    <a:pt x="3882" y="3700"/>
                    <a:pt x="3977" y="3700"/>
                  </a:cubicBezTo>
                  <a:lnTo>
                    <a:pt x="4418" y="3700"/>
                  </a:lnTo>
                  <a:cubicBezTo>
                    <a:pt x="4513" y="3700"/>
                    <a:pt x="4585" y="3629"/>
                    <a:pt x="4585" y="3534"/>
                  </a:cubicBezTo>
                  <a:lnTo>
                    <a:pt x="4585" y="3403"/>
                  </a:lnTo>
                  <a:lnTo>
                    <a:pt x="5073" y="3403"/>
                  </a:lnTo>
                  <a:lnTo>
                    <a:pt x="5073" y="9891"/>
                  </a:lnTo>
                  <a:lnTo>
                    <a:pt x="834" y="9891"/>
                  </a:lnTo>
                  <a:lnTo>
                    <a:pt x="834" y="3403"/>
                  </a:lnTo>
                  <a:lnTo>
                    <a:pt x="1322" y="3403"/>
                  </a:lnTo>
                  <a:lnTo>
                    <a:pt x="1322" y="3534"/>
                  </a:lnTo>
                  <a:cubicBezTo>
                    <a:pt x="1322" y="3629"/>
                    <a:pt x="1394" y="3700"/>
                    <a:pt x="1489" y="3700"/>
                  </a:cubicBezTo>
                  <a:lnTo>
                    <a:pt x="3346" y="3700"/>
                  </a:lnTo>
                  <a:cubicBezTo>
                    <a:pt x="3442" y="3700"/>
                    <a:pt x="3513" y="3629"/>
                    <a:pt x="3513" y="3534"/>
                  </a:cubicBezTo>
                  <a:cubicBezTo>
                    <a:pt x="3513" y="3438"/>
                    <a:pt x="3442" y="3367"/>
                    <a:pt x="3346" y="3367"/>
                  </a:cubicBezTo>
                  <a:lnTo>
                    <a:pt x="1656" y="3367"/>
                  </a:lnTo>
                  <a:lnTo>
                    <a:pt x="1656" y="2414"/>
                  </a:lnTo>
                  <a:lnTo>
                    <a:pt x="2203" y="2414"/>
                  </a:lnTo>
                  <a:cubicBezTo>
                    <a:pt x="2287" y="2414"/>
                    <a:pt x="2346" y="2355"/>
                    <a:pt x="2370" y="2271"/>
                  </a:cubicBezTo>
                  <a:cubicBezTo>
                    <a:pt x="2382" y="1950"/>
                    <a:pt x="2644" y="1700"/>
                    <a:pt x="2965" y="1700"/>
                  </a:cubicBezTo>
                  <a:close/>
                  <a:moveTo>
                    <a:pt x="7091" y="1"/>
                  </a:moveTo>
                  <a:cubicBezTo>
                    <a:pt x="6970" y="1"/>
                    <a:pt x="6849" y="12"/>
                    <a:pt x="6728" y="33"/>
                  </a:cubicBezTo>
                  <a:cubicBezTo>
                    <a:pt x="6192" y="140"/>
                    <a:pt x="5728" y="450"/>
                    <a:pt x="5418" y="914"/>
                  </a:cubicBezTo>
                  <a:cubicBezTo>
                    <a:pt x="5085" y="1402"/>
                    <a:pt x="5001" y="1986"/>
                    <a:pt x="5120" y="2522"/>
                  </a:cubicBezTo>
                  <a:lnTo>
                    <a:pt x="4585" y="2522"/>
                  </a:lnTo>
                  <a:lnTo>
                    <a:pt x="4585" y="2248"/>
                  </a:lnTo>
                  <a:cubicBezTo>
                    <a:pt x="4585" y="2164"/>
                    <a:pt x="4501" y="2093"/>
                    <a:pt x="4418" y="2093"/>
                  </a:cubicBezTo>
                  <a:lnTo>
                    <a:pt x="3846" y="2093"/>
                  </a:lnTo>
                  <a:cubicBezTo>
                    <a:pt x="3763" y="1676"/>
                    <a:pt x="3394" y="1379"/>
                    <a:pt x="2953" y="1379"/>
                  </a:cubicBezTo>
                  <a:cubicBezTo>
                    <a:pt x="2525" y="1379"/>
                    <a:pt x="2156" y="1676"/>
                    <a:pt x="2061" y="2093"/>
                  </a:cubicBezTo>
                  <a:lnTo>
                    <a:pt x="1501" y="2093"/>
                  </a:lnTo>
                  <a:cubicBezTo>
                    <a:pt x="1406" y="2093"/>
                    <a:pt x="1334" y="2164"/>
                    <a:pt x="1334" y="2248"/>
                  </a:cubicBezTo>
                  <a:lnTo>
                    <a:pt x="1334" y="2522"/>
                  </a:lnTo>
                  <a:lnTo>
                    <a:pt x="156" y="2522"/>
                  </a:lnTo>
                  <a:cubicBezTo>
                    <a:pt x="72" y="2522"/>
                    <a:pt x="1" y="2593"/>
                    <a:pt x="1" y="2688"/>
                  </a:cubicBezTo>
                  <a:lnTo>
                    <a:pt x="1" y="10832"/>
                  </a:lnTo>
                  <a:cubicBezTo>
                    <a:pt x="1" y="10915"/>
                    <a:pt x="72" y="10987"/>
                    <a:pt x="156" y="10987"/>
                  </a:cubicBezTo>
                  <a:lnTo>
                    <a:pt x="3370" y="10987"/>
                  </a:lnTo>
                  <a:cubicBezTo>
                    <a:pt x="3465" y="10987"/>
                    <a:pt x="3537" y="10915"/>
                    <a:pt x="3537" y="10832"/>
                  </a:cubicBezTo>
                  <a:cubicBezTo>
                    <a:pt x="3537" y="10737"/>
                    <a:pt x="3465" y="10665"/>
                    <a:pt x="3370" y="10665"/>
                  </a:cubicBezTo>
                  <a:lnTo>
                    <a:pt x="322" y="10665"/>
                  </a:lnTo>
                  <a:lnTo>
                    <a:pt x="322" y="2843"/>
                  </a:lnTo>
                  <a:lnTo>
                    <a:pt x="1334" y="2843"/>
                  </a:lnTo>
                  <a:lnTo>
                    <a:pt x="1334" y="3069"/>
                  </a:lnTo>
                  <a:lnTo>
                    <a:pt x="679" y="3069"/>
                  </a:lnTo>
                  <a:cubicBezTo>
                    <a:pt x="596" y="3069"/>
                    <a:pt x="513" y="3141"/>
                    <a:pt x="513" y="3236"/>
                  </a:cubicBezTo>
                  <a:lnTo>
                    <a:pt x="513" y="10058"/>
                  </a:lnTo>
                  <a:cubicBezTo>
                    <a:pt x="513" y="10142"/>
                    <a:pt x="596" y="10213"/>
                    <a:pt x="679" y="10213"/>
                  </a:cubicBezTo>
                  <a:lnTo>
                    <a:pt x="5228" y="10213"/>
                  </a:lnTo>
                  <a:cubicBezTo>
                    <a:pt x="5311" y="10213"/>
                    <a:pt x="5382" y="10142"/>
                    <a:pt x="5382" y="10058"/>
                  </a:cubicBezTo>
                  <a:lnTo>
                    <a:pt x="5382" y="3236"/>
                  </a:lnTo>
                  <a:cubicBezTo>
                    <a:pt x="5382" y="3141"/>
                    <a:pt x="5311" y="3069"/>
                    <a:pt x="5228" y="3069"/>
                  </a:cubicBezTo>
                  <a:lnTo>
                    <a:pt x="4585" y="3069"/>
                  </a:lnTo>
                  <a:lnTo>
                    <a:pt x="4585" y="2843"/>
                  </a:lnTo>
                  <a:lnTo>
                    <a:pt x="5228" y="2843"/>
                  </a:lnTo>
                  <a:cubicBezTo>
                    <a:pt x="5287" y="2998"/>
                    <a:pt x="5370" y="3141"/>
                    <a:pt x="5478" y="3284"/>
                  </a:cubicBezTo>
                  <a:lnTo>
                    <a:pt x="5430" y="4331"/>
                  </a:lnTo>
                  <a:cubicBezTo>
                    <a:pt x="5430" y="4391"/>
                    <a:pt x="5466" y="4438"/>
                    <a:pt x="5501" y="4474"/>
                  </a:cubicBezTo>
                  <a:cubicBezTo>
                    <a:pt x="5537" y="4486"/>
                    <a:pt x="5561" y="4498"/>
                    <a:pt x="5597" y="4498"/>
                  </a:cubicBezTo>
                  <a:lnTo>
                    <a:pt x="5609" y="4498"/>
                  </a:lnTo>
                  <a:lnTo>
                    <a:pt x="5609" y="10665"/>
                  </a:lnTo>
                  <a:lnTo>
                    <a:pt x="3989" y="10665"/>
                  </a:lnTo>
                  <a:cubicBezTo>
                    <a:pt x="3894" y="10665"/>
                    <a:pt x="3823" y="10737"/>
                    <a:pt x="3823" y="10820"/>
                  </a:cubicBezTo>
                  <a:cubicBezTo>
                    <a:pt x="3823" y="10915"/>
                    <a:pt x="3894" y="10987"/>
                    <a:pt x="3989" y="10987"/>
                  </a:cubicBezTo>
                  <a:lnTo>
                    <a:pt x="5775" y="10987"/>
                  </a:lnTo>
                  <a:cubicBezTo>
                    <a:pt x="5859" y="10987"/>
                    <a:pt x="5942" y="10915"/>
                    <a:pt x="5942" y="10820"/>
                  </a:cubicBezTo>
                  <a:lnTo>
                    <a:pt x="5942" y="4367"/>
                  </a:lnTo>
                  <a:lnTo>
                    <a:pt x="6621" y="4046"/>
                  </a:lnTo>
                  <a:cubicBezTo>
                    <a:pt x="6796" y="4092"/>
                    <a:pt x="6971" y="4109"/>
                    <a:pt x="7152" y="4109"/>
                  </a:cubicBezTo>
                  <a:cubicBezTo>
                    <a:pt x="7205" y="4109"/>
                    <a:pt x="7258" y="4108"/>
                    <a:pt x="7311" y="4105"/>
                  </a:cubicBezTo>
                  <a:cubicBezTo>
                    <a:pt x="7395" y="4081"/>
                    <a:pt x="7454" y="4010"/>
                    <a:pt x="7454" y="3926"/>
                  </a:cubicBezTo>
                  <a:cubicBezTo>
                    <a:pt x="7454" y="3831"/>
                    <a:pt x="7371" y="3772"/>
                    <a:pt x="7275" y="3772"/>
                  </a:cubicBezTo>
                  <a:cubicBezTo>
                    <a:pt x="7230" y="3774"/>
                    <a:pt x="7184" y="3776"/>
                    <a:pt x="7137" y="3776"/>
                  </a:cubicBezTo>
                  <a:cubicBezTo>
                    <a:pt x="6977" y="3776"/>
                    <a:pt x="6813" y="3758"/>
                    <a:pt x="6656" y="3712"/>
                  </a:cubicBezTo>
                  <a:cubicBezTo>
                    <a:pt x="6637" y="3707"/>
                    <a:pt x="6619" y="3704"/>
                    <a:pt x="6602" y="3704"/>
                  </a:cubicBezTo>
                  <a:cubicBezTo>
                    <a:pt x="6579" y="3704"/>
                    <a:pt x="6558" y="3710"/>
                    <a:pt x="6537" y="3724"/>
                  </a:cubicBezTo>
                  <a:lnTo>
                    <a:pt x="5763" y="4081"/>
                  </a:lnTo>
                  <a:lnTo>
                    <a:pt x="5799" y="3236"/>
                  </a:lnTo>
                  <a:cubicBezTo>
                    <a:pt x="5799" y="3188"/>
                    <a:pt x="5787" y="3164"/>
                    <a:pt x="5775" y="3129"/>
                  </a:cubicBezTo>
                  <a:cubicBezTo>
                    <a:pt x="5656" y="2986"/>
                    <a:pt x="5561" y="2819"/>
                    <a:pt x="5501" y="2652"/>
                  </a:cubicBezTo>
                  <a:cubicBezTo>
                    <a:pt x="5501" y="2641"/>
                    <a:pt x="5501" y="2641"/>
                    <a:pt x="5490" y="2629"/>
                  </a:cubicBezTo>
                  <a:cubicBezTo>
                    <a:pt x="5311" y="2117"/>
                    <a:pt x="5382" y="1557"/>
                    <a:pt x="5680" y="1093"/>
                  </a:cubicBezTo>
                  <a:cubicBezTo>
                    <a:pt x="5942" y="712"/>
                    <a:pt x="6323" y="450"/>
                    <a:pt x="6787" y="366"/>
                  </a:cubicBezTo>
                  <a:cubicBezTo>
                    <a:pt x="6900" y="342"/>
                    <a:pt x="7015" y="330"/>
                    <a:pt x="7129" y="330"/>
                  </a:cubicBezTo>
                  <a:cubicBezTo>
                    <a:pt x="7461" y="330"/>
                    <a:pt x="7793" y="431"/>
                    <a:pt x="8085" y="617"/>
                  </a:cubicBezTo>
                  <a:cubicBezTo>
                    <a:pt x="8871" y="1152"/>
                    <a:pt x="9097" y="2224"/>
                    <a:pt x="8561" y="3010"/>
                  </a:cubicBezTo>
                  <a:cubicBezTo>
                    <a:pt x="8383" y="3284"/>
                    <a:pt x="8145" y="3486"/>
                    <a:pt x="7847" y="3629"/>
                  </a:cubicBezTo>
                  <a:cubicBezTo>
                    <a:pt x="7764" y="3665"/>
                    <a:pt x="7728" y="3760"/>
                    <a:pt x="7764" y="3831"/>
                  </a:cubicBezTo>
                  <a:cubicBezTo>
                    <a:pt x="7798" y="3883"/>
                    <a:pt x="7857" y="3922"/>
                    <a:pt x="7914" y="3922"/>
                  </a:cubicBezTo>
                  <a:cubicBezTo>
                    <a:pt x="7936" y="3922"/>
                    <a:pt x="7958" y="3916"/>
                    <a:pt x="7978" y="3903"/>
                  </a:cubicBezTo>
                  <a:cubicBezTo>
                    <a:pt x="8323" y="3748"/>
                    <a:pt x="8597" y="3510"/>
                    <a:pt x="8811" y="3188"/>
                  </a:cubicBezTo>
                  <a:cubicBezTo>
                    <a:pt x="9454" y="2260"/>
                    <a:pt x="9192" y="974"/>
                    <a:pt x="8264" y="355"/>
                  </a:cubicBezTo>
                  <a:cubicBezTo>
                    <a:pt x="7904" y="124"/>
                    <a:pt x="7503" y="1"/>
                    <a:pt x="70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2" name="Google Shape;12092;p61"/>
            <p:cNvSpPr/>
            <p:nvPr/>
          </p:nvSpPr>
          <p:spPr>
            <a:xfrm>
              <a:off x="2422623" y="1574883"/>
              <a:ext cx="10201" cy="11373"/>
            </a:xfrm>
            <a:custGeom>
              <a:avLst/>
              <a:gdLst/>
              <a:ahLst/>
              <a:cxnLst/>
              <a:rect l="l" t="t" r="r" b="b"/>
              <a:pathLst>
                <a:path w="322" h="359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55" y="358"/>
                  </a:cubicBezTo>
                  <a:cubicBezTo>
                    <a:pt x="251" y="358"/>
                    <a:pt x="322" y="275"/>
                    <a:pt x="322" y="191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3" name="Google Shape;12093;p61"/>
            <p:cNvSpPr/>
            <p:nvPr/>
          </p:nvSpPr>
          <p:spPr>
            <a:xfrm>
              <a:off x="2442613" y="1574883"/>
              <a:ext cx="10581" cy="11373"/>
            </a:xfrm>
            <a:custGeom>
              <a:avLst/>
              <a:gdLst/>
              <a:ahLst/>
              <a:cxnLst/>
              <a:rect l="l" t="t" r="r" b="b"/>
              <a:pathLst>
                <a:path w="334" h="359" extrusionOk="0">
                  <a:moveTo>
                    <a:pt x="167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191"/>
                  </a:lnTo>
                  <a:cubicBezTo>
                    <a:pt x="1" y="275"/>
                    <a:pt x="84" y="358"/>
                    <a:pt x="167" y="358"/>
                  </a:cubicBezTo>
                  <a:cubicBezTo>
                    <a:pt x="262" y="358"/>
                    <a:pt x="334" y="275"/>
                    <a:pt x="334" y="191"/>
                  </a:cubicBezTo>
                  <a:lnTo>
                    <a:pt x="334" y="156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4" name="Google Shape;12094;p61"/>
            <p:cNvSpPr/>
            <p:nvPr/>
          </p:nvSpPr>
          <p:spPr>
            <a:xfrm>
              <a:off x="2462983" y="1574883"/>
              <a:ext cx="10581" cy="11373"/>
            </a:xfrm>
            <a:custGeom>
              <a:avLst/>
              <a:gdLst/>
              <a:ahLst/>
              <a:cxnLst/>
              <a:rect l="l" t="t" r="r" b="b"/>
              <a:pathLst>
                <a:path w="334" h="359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67" y="358"/>
                  </a:cubicBezTo>
                  <a:cubicBezTo>
                    <a:pt x="250" y="358"/>
                    <a:pt x="334" y="275"/>
                    <a:pt x="334" y="191"/>
                  </a:cubicBezTo>
                  <a:lnTo>
                    <a:pt x="334" y="156"/>
                  </a:lnTo>
                  <a:cubicBezTo>
                    <a:pt x="310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5" name="Google Shape;12095;p61"/>
            <p:cNvSpPr/>
            <p:nvPr/>
          </p:nvSpPr>
          <p:spPr>
            <a:xfrm>
              <a:off x="2482974" y="1574883"/>
              <a:ext cx="10201" cy="11373"/>
            </a:xfrm>
            <a:custGeom>
              <a:avLst/>
              <a:gdLst/>
              <a:ahLst/>
              <a:cxnLst/>
              <a:rect l="l" t="t" r="r" b="b"/>
              <a:pathLst>
                <a:path w="322" h="359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55" y="358"/>
                  </a:cubicBezTo>
                  <a:cubicBezTo>
                    <a:pt x="251" y="358"/>
                    <a:pt x="322" y="275"/>
                    <a:pt x="322" y="191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6" name="Google Shape;12096;p61"/>
            <p:cNvSpPr/>
            <p:nvPr/>
          </p:nvSpPr>
          <p:spPr>
            <a:xfrm>
              <a:off x="2312852" y="1654495"/>
              <a:ext cx="26073" cy="49041"/>
            </a:xfrm>
            <a:custGeom>
              <a:avLst/>
              <a:gdLst/>
              <a:ahLst/>
              <a:cxnLst/>
              <a:rect l="l" t="t" r="r" b="b"/>
              <a:pathLst>
                <a:path w="823" h="1548" extrusionOk="0">
                  <a:moveTo>
                    <a:pt x="179" y="0"/>
                  </a:moveTo>
                  <a:cubicBezTo>
                    <a:pt x="96" y="0"/>
                    <a:pt x="25" y="72"/>
                    <a:pt x="25" y="167"/>
                  </a:cubicBezTo>
                  <a:cubicBezTo>
                    <a:pt x="25" y="250"/>
                    <a:pt x="96" y="322"/>
                    <a:pt x="179" y="322"/>
                  </a:cubicBezTo>
                  <a:lnTo>
                    <a:pt x="263" y="322"/>
                  </a:lnTo>
                  <a:lnTo>
                    <a:pt x="263" y="1215"/>
                  </a:lnTo>
                  <a:lnTo>
                    <a:pt x="167" y="1215"/>
                  </a:lnTo>
                  <a:cubicBezTo>
                    <a:pt x="84" y="1215"/>
                    <a:pt x="1" y="1298"/>
                    <a:pt x="1" y="1381"/>
                  </a:cubicBezTo>
                  <a:cubicBezTo>
                    <a:pt x="1" y="1477"/>
                    <a:pt x="84" y="1548"/>
                    <a:pt x="167" y="1548"/>
                  </a:cubicBezTo>
                  <a:lnTo>
                    <a:pt x="656" y="1548"/>
                  </a:lnTo>
                  <a:cubicBezTo>
                    <a:pt x="751" y="1548"/>
                    <a:pt x="822" y="1477"/>
                    <a:pt x="822" y="1381"/>
                  </a:cubicBezTo>
                  <a:cubicBezTo>
                    <a:pt x="822" y="1274"/>
                    <a:pt x="751" y="1203"/>
                    <a:pt x="668" y="1203"/>
                  </a:cubicBezTo>
                  <a:lnTo>
                    <a:pt x="572" y="1203"/>
                  </a:lnTo>
                  <a:lnTo>
                    <a:pt x="572" y="167"/>
                  </a:lnTo>
                  <a:cubicBezTo>
                    <a:pt x="572" y="72"/>
                    <a:pt x="501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7" name="Google Shape;12097;p61"/>
            <p:cNvSpPr/>
            <p:nvPr/>
          </p:nvSpPr>
          <p:spPr>
            <a:xfrm>
              <a:off x="2316242" y="1637135"/>
              <a:ext cx="14383" cy="13971"/>
            </a:xfrm>
            <a:custGeom>
              <a:avLst/>
              <a:gdLst/>
              <a:ahLst/>
              <a:cxnLst/>
              <a:rect l="l" t="t" r="r" b="b"/>
              <a:pathLst>
                <a:path w="454" h="441" extrusionOk="0">
                  <a:moveTo>
                    <a:pt x="227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108" y="441"/>
                    <a:pt x="227" y="441"/>
                  </a:cubicBezTo>
                  <a:cubicBezTo>
                    <a:pt x="358" y="441"/>
                    <a:pt x="453" y="334"/>
                    <a:pt x="453" y="215"/>
                  </a:cubicBezTo>
                  <a:cubicBezTo>
                    <a:pt x="453" y="96"/>
                    <a:pt x="358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98" name="Google Shape;12098;p61"/>
          <p:cNvGrpSpPr/>
          <p:nvPr/>
        </p:nvGrpSpPr>
        <p:grpSpPr>
          <a:xfrm>
            <a:off x="1331406" y="1513361"/>
            <a:ext cx="301784" cy="348607"/>
            <a:chOff x="1331406" y="1513361"/>
            <a:chExt cx="301784" cy="348607"/>
          </a:xfrm>
        </p:grpSpPr>
        <p:sp>
          <p:nvSpPr>
            <p:cNvPr id="12099" name="Google Shape;12099;p61"/>
            <p:cNvSpPr/>
            <p:nvPr/>
          </p:nvSpPr>
          <p:spPr>
            <a:xfrm>
              <a:off x="1473237" y="1513361"/>
              <a:ext cx="159952" cy="169076"/>
            </a:xfrm>
            <a:custGeom>
              <a:avLst/>
              <a:gdLst/>
              <a:ahLst/>
              <a:cxnLst/>
              <a:rect l="l" t="t" r="r" b="b"/>
              <a:pathLst>
                <a:path w="5049" h="5337" extrusionOk="0">
                  <a:moveTo>
                    <a:pt x="2623" y="0"/>
                  </a:moveTo>
                  <a:cubicBezTo>
                    <a:pt x="2460" y="0"/>
                    <a:pt x="2295" y="17"/>
                    <a:pt x="2132" y="50"/>
                  </a:cubicBezTo>
                  <a:cubicBezTo>
                    <a:pt x="1489" y="169"/>
                    <a:pt x="941" y="538"/>
                    <a:pt x="584" y="1074"/>
                  </a:cubicBezTo>
                  <a:cubicBezTo>
                    <a:pt x="0" y="1943"/>
                    <a:pt x="36" y="3050"/>
                    <a:pt x="655" y="3884"/>
                  </a:cubicBezTo>
                  <a:lnTo>
                    <a:pt x="596" y="5170"/>
                  </a:lnTo>
                  <a:cubicBezTo>
                    <a:pt x="596" y="5229"/>
                    <a:pt x="631" y="5277"/>
                    <a:pt x="679" y="5300"/>
                  </a:cubicBezTo>
                  <a:cubicBezTo>
                    <a:pt x="703" y="5312"/>
                    <a:pt x="739" y="5336"/>
                    <a:pt x="762" y="5336"/>
                  </a:cubicBezTo>
                  <a:cubicBezTo>
                    <a:pt x="798" y="5336"/>
                    <a:pt x="810" y="5336"/>
                    <a:pt x="834" y="5312"/>
                  </a:cubicBezTo>
                  <a:lnTo>
                    <a:pt x="2001" y="4777"/>
                  </a:lnTo>
                  <a:cubicBezTo>
                    <a:pt x="2203" y="4836"/>
                    <a:pt x="2417" y="4860"/>
                    <a:pt x="2608" y="4860"/>
                  </a:cubicBezTo>
                  <a:cubicBezTo>
                    <a:pt x="3394" y="4860"/>
                    <a:pt x="4156" y="4467"/>
                    <a:pt x="4620" y="3765"/>
                  </a:cubicBezTo>
                  <a:cubicBezTo>
                    <a:pt x="4870" y="3395"/>
                    <a:pt x="5001" y="2967"/>
                    <a:pt x="5025" y="2514"/>
                  </a:cubicBezTo>
                  <a:cubicBezTo>
                    <a:pt x="5049" y="2431"/>
                    <a:pt x="4989" y="2360"/>
                    <a:pt x="4906" y="2360"/>
                  </a:cubicBezTo>
                  <a:cubicBezTo>
                    <a:pt x="4811" y="2360"/>
                    <a:pt x="4739" y="2431"/>
                    <a:pt x="4739" y="2503"/>
                  </a:cubicBezTo>
                  <a:cubicBezTo>
                    <a:pt x="4715" y="2895"/>
                    <a:pt x="4608" y="3265"/>
                    <a:pt x="4382" y="3586"/>
                  </a:cubicBezTo>
                  <a:cubicBezTo>
                    <a:pt x="3981" y="4183"/>
                    <a:pt x="3325" y="4524"/>
                    <a:pt x="2630" y="4524"/>
                  </a:cubicBezTo>
                  <a:cubicBezTo>
                    <a:pt x="2438" y="4524"/>
                    <a:pt x="2242" y="4498"/>
                    <a:pt x="2048" y="4443"/>
                  </a:cubicBezTo>
                  <a:cubicBezTo>
                    <a:pt x="2027" y="4433"/>
                    <a:pt x="2008" y="4427"/>
                    <a:pt x="1990" y="4427"/>
                  </a:cubicBezTo>
                  <a:cubicBezTo>
                    <a:pt x="1969" y="4427"/>
                    <a:pt x="1949" y="4435"/>
                    <a:pt x="1929" y="4455"/>
                  </a:cubicBezTo>
                  <a:lnTo>
                    <a:pt x="953" y="4919"/>
                  </a:lnTo>
                  <a:lnTo>
                    <a:pt x="1001" y="3848"/>
                  </a:lnTo>
                  <a:cubicBezTo>
                    <a:pt x="1001" y="3800"/>
                    <a:pt x="989" y="3765"/>
                    <a:pt x="977" y="3741"/>
                  </a:cubicBezTo>
                  <a:cubicBezTo>
                    <a:pt x="405" y="3026"/>
                    <a:pt x="358" y="2026"/>
                    <a:pt x="870" y="1252"/>
                  </a:cubicBezTo>
                  <a:cubicBezTo>
                    <a:pt x="1179" y="788"/>
                    <a:pt x="1655" y="467"/>
                    <a:pt x="2203" y="359"/>
                  </a:cubicBezTo>
                  <a:cubicBezTo>
                    <a:pt x="2344" y="332"/>
                    <a:pt x="2485" y="319"/>
                    <a:pt x="2624" y="319"/>
                  </a:cubicBezTo>
                  <a:cubicBezTo>
                    <a:pt x="3038" y="319"/>
                    <a:pt x="3439" y="437"/>
                    <a:pt x="3787" y="669"/>
                  </a:cubicBezTo>
                  <a:cubicBezTo>
                    <a:pt x="4227" y="967"/>
                    <a:pt x="4525" y="1419"/>
                    <a:pt x="4668" y="1919"/>
                  </a:cubicBezTo>
                  <a:cubicBezTo>
                    <a:pt x="4678" y="1998"/>
                    <a:pt x="4736" y="2044"/>
                    <a:pt x="4811" y="2044"/>
                  </a:cubicBezTo>
                  <a:cubicBezTo>
                    <a:pt x="4826" y="2044"/>
                    <a:pt x="4842" y="2042"/>
                    <a:pt x="4858" y="2038"/>
                  </a:cubicBezTo>
                  <a:cubicBezTo>
                    <a:pt x="4942" y="2026"/>
                    <a:pt x="4989" y="1943"/>
                    <a:pt x="4977" y="1848"/>
                  </a:cubicBezTo>
                  <a:cubicBezTo>
                    <a:pt x="4822" y="1252"/>
                    <a:pt x="4465" y="752"/>
                    <a:pt x="3965" y="407"/>
                  </a:cubicBezTo>
                  <a:cubicBezTo>
                    <a:pt x="3566" y="141"/>
                    <a:pt x="3100" y="0"/>
                    <a:pt x="26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0" name="Google Shape;12100;p61"/>
            <p:cNvSpPr/>
            <p:nvPr/>
          </p:nvSpPr>
          <p:spPr>
            <a:xfrm>
              <a:off x="1331406" y="1579033"/>
              <a:ext cx="152412" cy="282934"/>
            </a:xfrm>
            <a:custGeom>
              <a:avLst/>
              <a:gdLst/>
              <a:ahLst/>
              <a:cxnLst/>
              <a:rect l="l" t="t" r="r" b="b"/>
              <a:pathLst>
                <a:path w="4811" h="8931" extrusionOk="0">
                  <a:moveTo>
                    <a:pt x="1132" y="310"/>
                  </a:moveTo>
                  <a:cubicBezTo>
                    <a:pt x="1203" y="310"/>
                    <a:pt x="1263" y="346"/>
                    <a:pt x="1310" y="382"/>
                  </a:cubicBezTo>
                  <a:cubicBezTo>
                    <a:pt x="1358" y="430"/>
                    <a:pt x="1382" y="501"/>
                    <a:pt x="1382" y="560"/>
                  </a:cubicBezTo>
                  <a:lnTo>
                    <a:pt x="1382" y="2073"/>
                  </a:lnTo>
                  <a:lnTo>
                    <a:pt x="858" y="2073"/>
                  </a:lnTo>
                  <a:lnTo>
                    <a:pt x="858" y="560"/>
                  </a:lnTo>
                  <a:cubicBezTo>
                    <a:pt x="870" y="430"/>
                    <a:pt x="977" y="310"/>
                    <a:pt x="1132" y="310"/>
                  </a:cubicBezTo>
                  <a:close/>
                  <a:moveTo>
                    <a:pt x="3644" y="310"/>
                  </a:moveTo>
                  <a:cubicBezTo>
                    <a:pt x="3727" y="310"/>
                    <a:pt x="3787" y="346"/>
                    <a:pt x="3823" y="382"/>
                  </a:cubicBezTo>
                  <a:cubicBezTo>
                    <a:pt x="3870" y="430"/>
                    <a:pt x="3906" y="501"/>
                    <a:pt x="3906" y="560"/>
                  </a:cubicBezTo>
                  <a:lnTo>
                    <a:pt x="3906" y="2073"/>
                  </a:lnTo>
                  <a:lnTo>
                    <a:pt x="3382" y="2073"/>
                  </a:lnTo>
                  <a:lnTo>
                    <a:pt x="3382" y="560"/>
                  </a:lnTo>
                  <a:cubicBezTo>
                    <a:pt x="3394" y="430"/>
                    <a:pt x="3513" y="310"/>
                    <a:pt x="3644" y="310"/>
                  </a:cubicBezTo>
                  <a:close/>
                  <a:moveTo>
                    <a:pt x="4454" y="2406"/>
                  </a:moveTo>
                  <a:lnTo>
                    <a:pt x="4454" y="2918"/>
                  </a:lnTo>
                  <a:lnTo>
                    <a:pt x="310" y="2918"/>
                  </a:lnTo>
                  <a:lnTo>
                    <a:pt x="310" y="2406"/>
                  </a:lnTo>
                  <a:close/>
                  <a:moveTo>
                    <a:pt x="2989" y="5513"/>
                  </a:moveTo>
                  <a:lnTo>
                    <a:pt x="2989" y="5978"/>
                  </a:lnTo>
                  <a:lnTo>
                    <a:pt x="1787" y="5978"/>
                  </a:lnTo>
                  <a:lnTo>
                    <a:pt x="1787" y="5513"/>
                  </a:lnTo>
                  <a:close/>
                  <a:moveTo>
                    <a:pt x="2846" y="6299"/>
                  </a:moveTo>
                  <a:lnTo>
                    <a:pt x="2846" y="6752"/>
                  </a:lnTo>
                  <a:lnTo>
                    <a:pt x="1930" y="6752"/>
                  </a:lnTo>
                  <a:lnTo>
                    <a:pt x="1930" y="6299"/>
                  </a:lnTo>
                  <a:close/>
                  <a:moveTo>
                    <a:pt x="1132" y="1"/>
                  </a:moveTo>
                  <a:cubicBezTo>
                    <a:pt x="798" y="1"/>
                    <a:pt x="548" y="263"/>
                    <a:pt x="548" y="572"/>
                  </a:cubicBezTo>
                  <a:lnTo>
                    <a:pt x="548" y="2084"/>
                  </a:lnTo>
                  <a:lnTo>
                    <a:pt x="167" y="2084"/>
                  </a:lnTo>
                  <a:cubicBezTo>
                    <a:pt x="72" y="2084"/>
                    <a:pt x="1" y="2156"/>
                    <a:pt x="1" y="2239"/>
                  </a:cubicBezTo>
                  <a:lnTo>
                    <a:pt x="1" y="3061"/>
                  </a:lnTo>
                  <a:cubicBezTo>
                    <a:pt x="1" y="3156"/>
                    <a:pt x="72" y="3227"/>
                    <a:pt x="167" y="3227"/>
                  </a:cubicBezTo>
                  <a:lnTo>
                    <a:pt x="203" y="3227"/>
                  </a:lnTo>
                  <a:lnTo>
                    <a:pt x="203" y="3823"/>
                  </a:lnTo>
                  <a:cubicBezTo>
                    <a:pt x="203" y="3847"/>
                    <a:pt x="227" y="3894"/>
                    <a:pt x="239" y="3930"/>
                  </a:cubicBezTo>
                  <a:lnTo>
                    <a:pt x="727" y="4537"/>
                  </a:lnTo>
                  <a:cubicBezTo>
                    <a:pt x="760" y="4576"/>
                    <a:pt x="807" y="4594"/>
                    <a:pt x="853" y="4594"/>
                  </a:cubicBezTo>
                  <a:cubicBezTo>
                    <a:pt x="890" y="4594"/>
                    <a:pt x="926" y="4582"/>
                    <a:pt x="953" y="4561"/>
                  </a:cubicBezTo>
                  <a:cubicBezTo>
                    <a:pt x="1025" y="4501"/>
                    <a:pt x="1025" y="4406"/>
                    <a:pt x="977" y="4347"/>
                  </a:cubicBezTo>
                  <a:lnTo>
                    <a:pt x="525" y="3775"/>
                  </a:lnTo>
                  <a:lnTo>
                    <a:pt x="525" y="3239"/>
                  </a:lnTo>
                  <a:lnTo>
                    <a:pt x="4239" y="3239"/>
                  </a:lnTo>
                  <a:lnTo>
                    <a:pt x="4239" y="3775"/>
                  </a:lnTo>
                  <a:lnTo>
                    <a:pt x="3084" y="5216"/>
                  </a:lnTo>
                  <a:lnTo>
                    <a:pt x="1691" y="5216"/>
                  </a:lnTo>
                  <a:lnTo>
                    <a:pt x="1429" y="4882"/>
                  </a:lnTo>
                  <a:cubicBezTo>
                    <a:pt x="1418" y="4847"/>
                    <a:pt x="1394" y="4835"/>
                    <a:pt x="1382" y="4823"/>
                  </a:cubicBezTo>
                  <a:cubicBezTo>
                    <a:pt x="1351" y="4797"/>
                    <a:pt x="1313" y="4785"/>
                    <a:pt x="1277" y="4785"/>
                  </a:cubicBezTo>
                  <a:cubicBezTo>
                    <a:pt x="1229" y="4785"/>
                    <a:pt x="1183" y="4806"/>
                    <a:pt x="1156" y="4847"/>
                  </a:cubicBezTo>
                  <a:cubicBezTo>
                    <a:pt x="1120" y="4906"/>
                    <a:pt x="1120" y="4978"/>
                    <a:pt x="1156" y="5037"/>
                  </a:cubicBezTo>
                  <a:lnTo>
                    <a:pt x="1489" y="5442"/>
                  </a:lnTo>
                  <a:lnTo>
                    <a:pt x="1489" y="6156"/>
                  </a:lnTo>
                  <a:cubicBezTo>
                    <a:pt x="1489" y="6252"/>
                    <a:pt x="1560" y="6311"/>
                    <a:pt x="1632" y="6323"/>
                  </a:cubicBezTo>
                  <a:lnTo>
                    <a:pt x="1632" y="6942"/>
                  </a:lnTo>
                  <a:cubicBezTo>
                    <a:pt x="1632" y="7037"/>
                    <a:pt x="1715" y="7109"/>
                    <a:pt x="1799" y="7109"/>
                  </a:cubicBezTo>
                  <a:lnTo>
                    <a:pt x="1834" y="7109"/>
                  </a:lnTo>
                  <a:lnTo>
                    <a:pt x="1834" y="8764"/>
                  </a:lnTo>
                  <a:cubicBezTo>
                    <a:pt x="1834" y="8859"/>
                    <a:pt x="1906" y="8931"/>
                    <a:pt x="1989" y="8931"/>
                  </a:cubicBezTo>
                  <a:lnTo>
                    <a:pt x="2846" y="8931"/>
                  </a:lnTo>
                  <a:cubicBezTo>
                    <a:pt x="2930" y="8931"/>
                    <a:pt x="3001" y="8859"/>
                    <a:pt x="3001" y="8764"/>
                  </a:cubicBezTo>
                  <a:lnTo>
                    <a:pt x="3001" y="8145"/>
                  </a:lnTo>
                  <a:cubicBezTo>
                    <a:pt x="3001" y="8050"/>
                    <a:pt x="2930" y="7978"/>
                    <a:pt x="2846" y="7978"/>
                  </a:cubicBezTo>
                  <a:cubicBezTo>
                    <a:pt x="2751" y="7978"/>
                    <a:pt x="2680" y="8050"/>
                    <a:pt x="2680" y="8145"/>
                  </a:cubicBezTo>
                  <a:lnTo>
                    <a:pt x="2680" y="8597"/>
                  </a:lnTo>
                  <a:lnTo>
                    <a:pt x="2156" y="8597"/>
                  </a:lnTo>
                  <a:lnTo>
                    <a:pt x="2156" y="7109"/>
                  </a:lnTo>
                  <a:lnTo>
                    <a:pt x="2680" y="7109"/>
                  </a:lnTo>
                  <a:lnTo>
                    <a:pt x="2680" y="7502"/>
                  </a:lnTo>
                  <a:cubicBezTo>
                    <a:pt x="2680" y="7585"/>
                    <a:pt x="2751" y="7669"/>
                    <a:pt x="2846" y="7669"/>
                  </a:cubicBezTo>
                  <a:cubicBezTo>
                    <a:pt x="2930" y="7669"/>
                    <a:pt x="3001" y="7585"/>
                    <a:pt x="3001" y="7502"/>
                  </a:cubicBezTo>
                  <a:lnTo>
                    <a:pt x="3001" y="7109"/>
                  </a:lnTo>
                  <a:lnTo>
                    <a:pt x="3037" y="7109"/>
                  </a:lnTo>
                  <a:cubicBezTo>
                    <a:pt x="3120" y="7109"/>
                    <a:pt x="3203" y="7037"/>
                    <a:pt x="3203" y="6954"/>
                  </a:cubicBezTo>
                  <a:lnTo>
                    <a:pt x="3203" y="6323"/>
                  </a:lnTo>
                  <a:cubicBezTo>
                    <a:pt x="3287" y="6323"/>
                    <a:pt x="3346" y="6252"/>
                    <a:pt x="3346" y="6156"/>
                  </a:cubicBezTo>
                  <a:lnTo>
                    <a:pt x="3346" y="5442"/>
                  </a:lnTo>
                  <a:lnTo>
                    <a:pt x="4573" y="3942"/>
                  </a:lnTo>
                  <a:cubicBezTo>
                    <a:pt x="4597" y="3906"/>
                    <a:pt x="4597" y="3882"/>
                    <a:pt x="4597" y="3835"/>
                  </a:cubicBezTo>
                  <a:lnTo>
                    <a:pt x="4597" y="3239"/>
                  </a:lnTo>
                  <a:lnTo>
                    <a:pt x="4644" y="3239"/>
                  </a:lnTo>
                  <a:cubicBezTo>
                    <a:pt x="4727" y="3239"/>
                    <a:pt x="4811" y="3168"/>
                    <a:pt x="4811" y="3073"/>
                  </a:cubicBezTo>
                  <a:lnTo>
                    <a:pt x="4811" y="2263"/>
                  </a:lnTo>
                  <a:cubicBezTo>
                    <a:pt x="4775" y="2156"/>
                    <a:pt x="4704" y="2084"/>
                    <a:pt x="4620" y="2084"/>
                  </a:cubicBezTo>
                  <a:lnTo>
                    <a:pt x="4227" y="2084"/>
                  </a:lnTo>
                  <a:lnTo>
                    <a:pt x="4227" y="584"/>
                  </a:lnTo>
                  <a:cubicBezTo>
                    <a:pt x="4227" y="430"/>
                    <a:pt x="4168" y="287"/>
                    <a:pt x="4061" y="156"/>
                  </a:cubicBezTo>
                  <a:cubicBezTo>
                    <a:pt x="3954" y="60"/>
                    <a:pt x="3811" y="1"/>
                    <a:pt x="3644" y="1"/>
                  </a:cubicBezTo>
                  <a:cubicBezTo>
                    <a:pt x="3323" y="1"/>
                    <a:pt x="3061" y="263"/>
                    <a:pt x="3061" y="572"/>
                  </a:cubicBezTo>
                  <a:lnTo>
                    <a:pt x="3061" y="2084"/>
                  </a:lnTo>
                  <a:lnTo>
                    <a:pt x="1715" y="2084"/>
                  </a:lnTo>
                  <a:lnTo>
                    <a:pt x="1715" y="572"/>
                  </a:lnTo>
                  <a:cubicBezTo>
                    <a:pt x="1715" y="430"/>
                    <a:pt x="1656" y="275"/>
                    <a:pt x="1549" y="156"/>
                  </a:cubicBezTo>
                  <a:cubicBezTo>
                    <a:pt x="1441" y="60"/>
                    <a:pt x="1298" y="1"/>
                    <a:pt x="1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1" name="Google Shape;12101;p61"/>
            <p:cNvSpPr/>
            <p:nvPr/>
          </p:nvSpPr>
          <p:spPr>
            <a:xfrm>
              <a:off x="1373667" y="1686935"/>
              <a:ext cx="66401" cy="10581"/>
            </a:xfrm>
            <a:custGeom>
              <a:avLst/>
              <a:gdLst/>
              <a:ahLst/>
              <a:cxnLst/>
              <a:rect l="l" t="t" r="r" b="b"/>
              <a:pathLst>
                <a:path w="2096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33"/>
                    <a:pt x="167" y="333"/>
                  </a:cubicBezTo>
                  <a:lnTo>
                    <a:pt x="1929" y="333"/>
                  </a:lnTo>
                  <a:cubicBezTo>
                    <a:pt x="2012" y="333"/>
                    <a:pt x="2096" y="250"/>
                    <a:pt x="2096" y="167"/>
                  </a:cubicBezTo>
                  <a:cubicBezTo>
                    <a:pt x="2096" y="72"/>
                    <a:pt x="2012" y="0"/>
                    <a:pt x="1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2" name="Google Shape;12102;p61"/>
            <p:cNvSpPr/>
            <p:nvPr/>
          </p:nvSpPr>
          <p:spPr>
            <a:xfrm>
              <a:off x="1518508" y="1536044"/>
              <a:ext cx="72452" cy="112812"/>
            </a:xfrm>
            <a:custGeom>
              <a:avLst/>
              <a:gdLst/>
              <a:ahLst/>
              <a:cxnLst/>
              <a:rect l="l" t="t" r="r" b="b"/>
              <a:pathLst>
                <a:path w="2287" h="3561" extrusionOk="0">
                  <a:moveTo>
                    <a:pt x="1596" y="334"/>
                  </a:moveTo>
                  <a:lnTo>
                    <a:pt x="1024" y="1084"/>
                  </a:lnTo>
                  <a:cubicBezTo>
                    <a:pt x="1000" y="1132"/>
                    <a:pt x="988" y="1203"/>
                    <a:pt x="1012" y="1251"/>
                  </a:cubicBezTo>
                  <a:cubicBezTo>
                    <a:pt x="1048" y="1310"/>
                    <a:pt x="1107" y="1346"/>
                    <a:pt x="1167" y="1346"/>
                  </a:cubicBezTo>
                  <a:lnTo>
                    <a:pt x="1774" y="1346"/>
                  </a:lnTo>
                  <a:lnTo>
                    <a:pt x="893" y="2370"/>
                  </a:lnTo>
                  <a:lnTo>
                    <a:pt x="1167" y="1775"/>
                  </a:lnTo>
                  <a:cubicBezTo>
                    <a:pt x="1191" y="1727"/>
                    <a:pt x="1179" y="1667"/>
                    <a:pt x="1155" y="1620"/>
                  </a:cubicBezTo>
                  <a:cubicBezTo>
                    <a:pt x="1119" y="1584"/>
                    <a:pt x="1072" y="1548"/>
                    <a:pt x="1012" y="1548"/>
                  </a:cubicBezTo>
                  <a:lnTo>
                    <a:pt x="453" y="1548"/>
                  </a:lnTo>
                  <a:lnTo>
                    <a:pt x="1155" y="334"/>
                  </a:lnTo>
                  <a:close/>
                  <a:moveTo>
                    <a:pt x="1048" y="1"/>
                  </a:moveTo>
                  <a:cubicBezTo>
                    <a:pt x="988" y="1"/>
                    <a:pt x="941" y="24"/>
                    <a:pt x="917" y="72"/>
                  </a:cubicBezTo>
                  <a:lnTo>
                    <a:pt x="36" y="1620"/>
                  </a:lnTo>
                  <a:cubicBezTo>
                    <a:pt x="0" y="1667"/>
                    <a:pt x="0" y="1727"/>
                    <a:pt x="36" y="1787"/>
                  </a:cubicBezTo>
                  <a:cubicBezTo>
                    <a:pt x="60" y="1834"/>
                    <a:pt x="107" y="1858"/>
                    <a:pt x="167" y="1858"/>
                  </a:cubicBezTo>
                  <a:lnTo>
                    <a:pt x="762" y="1858"/>
                  </a:lnTo>
                  <a:lnTo>
                    <a:pt x="95" y="3322"/>
                  </a:lnTo>
                  <a:cubicBezTo>
                    <a:pt x="60" y="3394"/>
                    <a:pt x="95" y="3477"/>
                    <a:pt x="155" y="3525"/>
                  </a:cubicBezTo>
                  <a:cubicBezTo>
                    <a:pt x="179" y="3537"/>
                    <a:pt x="215" y="3561"/>
                    <a:pt x="238" y="3561"/>
                  </a:cubicBezTo>
                  <a:cubicBezTo>
                    <a:pt x="286" y="3561"/>
                    <a:pt x="334" y="3537"/>
                    <a:pt x="357" y="3501"/>
                  </a:cubicBezTo>
                  <a:lnTo>
                    <a:pt x="2203" y="1275"/>
                  </a:lnTo>
                  <a:cubicBezTo>
                    <a:pt x="2262" y="1227"/>
                    <a:pt x="2286" y="1167"/>
                    <a:pt x="2250" y="1108"/>
                  </a:cubicBezTo>
                  <a:cubicBezTo>
                    <a:pt x="2227" y="1048"/>
                    <a:pt x="2167" y="1013"/>
                    <a:pt x="2108" y="1013"/>
                  </a:cubicBezTo>
                  <a:lnTo>
                    <a:pt x="1477" y="1013"/>
                  </a:lnTo>
                  <a:lnTo>
                    <a:pt x="2048" y="251"/>
                  </a:lnTo>
                  <a:cubicBezTo>
                    <a:pt x="2072" y="203"/>
                    <a:pt x="2084" y="132"/>
                    <a:pt x="2060" y="84"/>
                  </a:cubicBezTo>
                  <a:cubicBezTo>
                    <a:pt x="2024" y="24"/>
                    <a:pt x="1965" y="1"/>
                    <a:pt x="1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03" name="Google Shape;12103;p61"/>
          <p:cNvGrpSpPr/>
          <p:nvPr/>
        </p:nvGrpSpPr>
        <p:grpSpPr>
          <a:xfrm>
            <a:off x="7144274" y="1500214"/>
            <a:ext cx="282174" cy="355735"/>
            <a:chOff x="7144274" y="1500214"/>
            <a:chExt cx="282174" cy="355735"/>
          </a:xfrm>
        </p:grpSpPr>
        <p:sp>
          <p:nvSpPr>
            <p:cNvPr id="12104" name="Google Shape;12104;p61"/>
            <p:cNvSpPr/>
            <p:nvPr/>
          </p:nvSpPr>
          <p:spPr>
            <a:xfrm>
              <a:off x="7245745" y="1613375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5" name="Google Shape;12105;p61"/>
            <p:cNvSpPr/>
            <p:nvPr/>
          </p:nvSpPr>
          <p:spPr>
            <a:xfrm>
              <a:off x="7313635" y="1613375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6" name="Google Shape;12106;p61"/>
            <p:cNvSpPr/>
            <p:nvPr/>
          </p:nvSpPr>
          <p:spPr>
            <a:xfrm>
              <a:off x="7262345" y="1653070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4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03" y="426"/>
                    <a:pt x="441" y="509"/>
                    <a:pt x="715" y="509"/>
                  </a:cubicBezTo>
                  <a:cubicBezTo>
                    <a:pt x="977" y="509"/>
                    <a:pt x="1215" y="414"/>
                    <a:pt x="1370" y="283"/>
                  </a:cubicBezTo>
                  <a:cubicBezTo>
                    <a:pt x="1429" y="212"/>
                    <a:pt x="1429" y="105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8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7" name="Google Shape;12107;p61"/>
            <p:cNvSpPr/>
            <p:nvPr/>
          </p:nvSpPr>
          <p:spPr>
            <a:xfrm>
              <a:off x="7144274" y="1500214"/>
              <a:ext cx="282174" cy="355735"/>
            </a:xfrm>
            <a:custGeom>
              <a:avLst/>
              <a:gdLst/>
              <a:ahLst/>
              <a:cxnLst/>
              <a:rect l="l" t="t" r="r" b="b"/>
              <a:pathLst>
                <a:path w="8907" h="11229" extrusionOk="0">
                  <a:moveTo>
                    <a:pt x="7299" y="334"/>
                  </a:moveTo>
                  <a:cubicBezTo>
                    <a:pt x="7228" y="1048"/>
                    <a:pt x="6597" y="1608"/>
                    <a:pt x="5871" y="1608"/>
                  </a:cubicBezTo>
                  <a:lnTo>
                    <a:pt x="2656" y="1608"/>
                  </a:lnTo>
                  <a:cubicBezTo>
                    <a:pt x="2561" y="1608"/>
                    <a:pt x="2489" y="1679"/>
                    <a:pt x="2489" y="1775"/>
                  </a:cubicBezTo>
                  <a:cubicBezTo>
                    <a:pt x="2489" y="1858"/>
                    <a:pt x="2561" y="1941"/>
                    <a:pt x="2656" y="1941"/>
                  </a:cubicBezTo>
                  <a:lnTo>
                    <a:pt x="5871" y="1941"/>
                  </a:lnTo>
                  <a:cubicBezTo>
                    <a:pt x="6192" y="1941"/>
                    <a:pt x="6514" y="1846"/>
                    <a:pt x="6776" y="1679"/>
                  </a:cubicBezTo>
                  <a:lnTo>
                    <a:pt x="6776" y="3560"/>
                  </a:lnTo>
                  <a:cubicBezTo>
                    <a:pt x="6776" y="3644"/>
                    <a:pt x="6847" y="3727"/>
                    <a:pt x="6942" y="3727"/>
                  </a:cubicBezTo>
                  <a:lnTo>
                    <a:pt x="7026" y="3727"/>
                  </a:lnTo>
                  <a:cubicBezTo>
                    <a:pt x="7109" y="3727"/>
                    <a:pt x="7180" y="3751"/>
                    <a:pt x="7240" y="3810"/>
                  </a:cubicBezTo>
                  <a:cubicBezTo>
                    <a:pt x="7299" y="3870"/>
                    <a:pt x="7311" y="3941"/>
                    <a:pt x="7311" y="4037"/>
                  </a:cubicBezTo>
                  <a:cubicBezTo>
                    <a:pt x="7299" y="4180"/>
                    <a:pt x="7168" y="4287"/>
                    <a:pt x="7002" y="4287"/>
                  </a:cubicBezTo>
                  <a:lnTo>
                    <a:pt x="6930" y="4287"/>
                  </a:lnTo>
                  <a:lnTo>
                    <a:pt x="6930" y="4275"/>
                  </a:lnTo>
                  <a:cubicBezTo>
                    <a:pt x="6930" y="4180"/>
                    <a:pt x="6847" y="4108"/>
                    <a:pt x="6764" y="4108"/>
                  </a:cubicBezTo>
                  <a:cubicBezTo>
                    <a:pt x="6668" y="4108"/>
                    <a:pt x="6597" y="4180"/>
                    <a:pt x="6597" y="4275"/>
                  </a:cubicBezTo>
                  <a:cubicBezTo>
                    <a:pt x="6597" y="5465"/>
                    <a:pt x="5633" y="6430"/>
                    <a:pt x="4442" y="6430"/>
                  </a:cubicBezTo>
                  <a:cubicBezTo>
                    <a:pt x="3251" y="6430"/>
                    <a:pt x="2287" y="5465"/>
                    <a:pt x="2287" y="4275"/>
                  </a:cubicBezTo>
                  <a:cubicBezTo>
                    <a:pt x="2287" y="4180"/>
                    <a:pt x="2204" y="4108"/>
                    <a:pt x="2120" y="4108"/>
                  </a:cubicBezTo>
                  <a:cubicBezTo>
                    <a:pt x="2025" y="4108"/>
                    <a:pt x="1954" y="4180"/>
                    <a:pt x="1954" y="4275"/>
                  </a:cubicBezTo>
                  <a:lnTo>
                    <a:pt x="1954" y="4287"/>
                  </a:lnTo>
                  <a:lnTo>
                    <a:pt x="1846" y="4287"/>
                  </a:lnTo>
                  <a:cubicBezTo>
                    <a:pt x="1775" y="4287"/>
                    <a:pt x="1704" y="4263"/>
                    <a:pt x="1644" y="4203"/>
                  </a:cubicBezTo>
                  <a:cubicBezTo>
                    <a:pt x="1584" y="4144"/>
                    <a:pt x="1573" y="4061"/>
                    <a:pt x="1573" y="3977"/>
                  </a:cubicBezTo>
                  <a:cubicBezTo>
                    <a:pt x="1584" y="3822"/>
                    <a:pt x="1715" y="3727"/>
                    <a:pt x="1882" y="3727"/>
                  </a:cubicBezTo>
                  <a:lnTo>
                    <a:pt x="1942" y="3727"/>
                  </a:lnTo>
                  <a:cubicBezTo>
                    <a:pt x="2025" y="3727"/>
                    <a:pt x="2108" y="3644"/>
                    <a:pt x="2108" y="3560"/>
                  </a:cubicBezTo>
                  <a:lnTo>
                    <a:pt x="2108" y="1775"/>
                  </a:lnTo>
                  <a:cubicBezTo>
                    <a:pt x="2108" y="989"/>
                    <a:pt x="2739" y="334"/>
                    <a:pt x="3549" y="334"/>
                  </a:cubicBezTo>
                  <a:close/>
                  <a:moveTo>
                    <a:pt x="3025" y="6763"/>
                  </a:moveTo>
                  <a:lnTo>
                    <a:pt x="3025" y="7085"/>
                  </a:lnTo>
                  <a:cubicBezTo>
                    <a:pt x="3025" y="7239"/>
                    <a:pt x="2918" y="7382"/>
                    <a:pt x="2787" y="7430"/>
                  </a:cubicBezTo>
                  <a:lnTo>
                    <a:pt x="2406" y="7180"/>
                  </a:lnTo>
                  <a:cubicBezTo>
                    <a:pt x="2299" y="7097"/>
                    <a:pt x="2287" y="7001"/>
                    <a:pt x="2311" y="6918"/>
                  </a:cubicBezTo>
                  <a:cubicBezTo>
                    <a:pt x="2346" y="6847"/>
                    <a:pt x="2406" y="6763"/>
                    <a:pt x="2537" y="6763"/>
                  </a:cubicBezTo>
                  <a:close/>
                  <a:moveTo>
                    <a:pt x="6359" y="6763"/>
                  </a:moveTo>
                  <a:cubicBezTo>
                    <a:pt x="6478" y="6763"/>
                    <a:pt x="6549" y="6847"/>
                    <a:pt x="6585" y="6918"/>
                  </a:cubicBezTo>
                  <a:cubicBezTo>
                    <a:pt x="6609" y="7001"/>
                    <a:pt x="6597" y="7120"/>
                    <a:pt x="6490" y="7180"/>
                  </a:cubicBezTo>
                  <a:lnTo>
                    <a:pt x="6109" y="7430"/>
                  </a:lnTo>
                  <a:cubicBezTo>
                    <a:pt x="5954" y="7382"/>
                    <a:pt x="5859" y="7239"/>
                    <a:pt x="5859" y="7085"/>
                  </a:cubicBezTo>
                  <a:lnTo>
                    <a:pt x="5859" y="6763"/>
                  </a:lnTo>
                  <a:close/>
                  <a:moveTo>
                    <a:pt x="6371" y="6216"/>
                  </a:moveTo>
                  <a:cubicBezTo>
                    <a:pt x="6883" y="6216"/>
                    <a:pt x="7276" y="6620"/>
                    <a:pt x="7276" y="7132"/>
                  </a:cubicBezTo>
                  <a:cubicBezTo>
                    <a:pt x="7311" y="8156"/>
                    <a:pt x="6514" y="9025"/>
                    <a:pt x="5502" y="9097"/>
                  </a:cubicBezTo>
                  <a:lnTo>
                    <a:pt x="5502" y="8918"/>
                  </a:lnTo>
                  <a:cubicBezTo>
                    <a:pt x="5502" y="8823"/>
                    <a:pt x="5418" y="8752"/>
                    <a:pt x="5335" y="8752"/>
                  </a:cubicBezTo>
                  <a:cubicBezTo>
                    <a:pt x="5240" y="8752"/>
                    <a:pt x="5168" y="8823"/>
                    <a:pt x="5168" y="8918"/>
                  </a:cubicBezTo>
                  <a:lnTo>
                    <a:pt x="5168" y="9109"/>
                  </a:lnTo>
                  <a:lnTo>
                    <a:pt x="3716" y="9109"/>
                  </a:lnTo>
                  <a:lnTo>
                    <a:pt x="3716" y="8918"/>
                  </a:lnTo>
                  <a:cubicBezTo>
                    <a:pt x="3716" y="8823"/>
                    <a:pt x="3632" y="8752"/>
                    <a:pt x="3549" y="8752"/>
                  </a:cubicBezTo>
                  <a:cubicBezTo>
                    <a:pt x="3454" y="8752"/>
                    <a:pt x="3382" y="8823"/>
                    <a:pt x="3382" y="8918"/>
                  </a:cubicBezTo>
                  <a:lnTo>
                    <a:pt x="3382" y="9097"/>
                  </a:lnTo>
                  <a:cubicBezTo>
                    <a:pt x="2370" y="9002"/>
                    <a:pt x="1573" y="8156"/>
                    <a:pt x="1573" y="7132"/>
                  </a:cubicBezTo>
                  <a:cubicBezTo>
                    <a:pt x="1573" y="6620"/>
                    <a:pt x="1965" y="6227"/>
                    <a:pt x="2477" y="6227"/>
                  </a:cubicBezTo>
                  <a:lnTo>
                    <a:pt x="2906" y="6227"/>
                  </a:lnTo>
                  <a:cubicBezTo>
                    <a:pt x="2954" y="6251"/>
                    <a:pt x="3001" y="6287"/>
                    <a:pt x="3025" y="6311"/>
                  </a:cubicBezTo>
                  <a:lnTo>
                    <a:pt x="3025" y="6430"/>
                  </a:lnTo>
                  <a:lnTo>
                    <a:pt x="2525" y="6430"/>
                  </a:lnTo>
                  <a:cubicBezTo>
                    <a:pt x="2263" y="6430"/>
                    <a:pt x="2061" y="6585"/>
                    <a:pt x="1989" y="6835"/>
                  </a:cubicBezTo>
                  <a:cubicBezTo>
                    <a:pt x="1906" y="7085"/>
                    <a:pt x="2001" y="7323"/>
                    <a:pt x="2204" y="7454"/>
                  </a:cubicBezTo>
                  <a:lnTo>
                    <a:pt x="4037" y="8680"/>
                  </a:lnTo>
                  <a:cubicBezTo>
                    <a:pt x="4156" y="8752"/>
                    <a:pt x="4287" y="8799"/>
                    <a:pt x="4430" y="8799"/>
                  </a:cubicBezTo>
                  <a:cubicBezTo>
                    <a:pt x="4561" y="8799"/>
                    <a:pt x="4692" y="8752"/>
                    <a:pt x="4811" y="8680"/>
                  </a:cubicBezTo>
                  <a:lnTo>
                    <a:pt x="5228" y="8394"/>
                  </a:lnTo>
                  <a:cubicBezTo>
                    <a:pt x="5299" y="8347"/>
                    <a:pt x="5323" y="8252"/>
                    <a:pt x="5275" y="8168"/>
                  </a:cubicBezTo>
                  <a:cubicBezTo>
                    <a:pt x="5247" y="8125"/>
                    <a:pt x="5197" y="8104"/>
                    <a:pt x="5146" y="8104"/>
                  </a:cubicBezTo>
                  <a:cubicBezTo>
                    <a:pt x="5112" y="8104"/>
                    <a:pt x="5078" y="8113"/>
                    <a:pt x="5049" y="8132"/>
                  </a:cubicBezTo>
                  <a:lnTo>
                    <a:pt x="4632" y="8406"/>
                  </a:lnTo>
                  <a:cubicBezTo>
                    <a:pt x="4573" y="8454"/>
                    <a:pt x="4501" y="8478"/>
                    <a:pt x="4429" y="8478"/>
                  </a:cubicBezTo>
                  <a:cubicBezTo>
                    <a:pt x="4356" y="8478"/>
                    <a:pt x="4281" y="8454"/>
                    <a:pt x="4216" y="8406"/>
                  </a:cubicBezTo>
                  <a:lnTo>
                    <a:pt x="3073" y="7656"/>
                  </a:lnTo>
                  <a:cubicBezTo>
                    <a:pt x="3239" y="7513"/>
                    <a:pt x="3335" y="7323"/>
                    <a:pt x="3335" y="7097"/>
                  </a:cubicBezTo>
                  <a:lnTo>
                    <a:pt x="3335" y="6525"/>
                  </a:lnTo>
                  <a:cubicBezTo>
                    <a:pt x="3668" y="6680"/>
                    <a:pt x="4037" y="6775"/>
                    <a:pt x="4430" y="6775"/>
                  </a:cubicBezTo>
                  <a:cubicBezTo>
                    <a:pt x="4811" y="6775"/>
                    <a:pt x="5180" y="6680"/>
                    <a:pt x="5514" y="6525"/>
                  </a:cubicBezTo>
                  <a:lnTo>
                    <a:pt x="5514" y="7097"/>
                  </a:lnTo>
                  <a:cubicBezTo>
                    <a:pt x="5514" y="7323"/>
                    <a:pt x="5621" y="7513"/>
                    <a:pt x="5775" y="7656"/>
                  </a:cubicBezTo>
                  <a:lnTo>
                    <a:pt x="5668" y="7728"/>
                  </a:lnTo>
                  <a:cubicBezTo>
                    <a:pt x="5597" y="7775"/>
                    <a:pt x="5585" y="7871"/>
                    <a:pt x="5633" y="7954"/>
                  </a:cubicBezTo>
                  <a:cubicBezTo>
                    <a:pt x="5656" y="7990"/>
                    <a:pt x="5716" y="8025"/>
                    <a:pt x="5764" y="8025"/>
                  </a:cubicBezTo>
                  <a:cubicBezTo>
                    <a:pt x="5799" y="8025"/>
                    <a:pt x="5823" y="8001"/>
                    <a:pt x="5847" y="7990"/>
                  </a:cubicBezTo>
                  <a:lnTo>
                    <a:pt x="6645" y="7454"/>
                  </a:lnTo>
                  <a:cubicBezTo>
                    <a:pt x="6847" y="7323"/>
                    <a:pt x="6942" y="7073"/>
                    <a:pt x="6859" y="6835"/>
                  </a:cubicBezTo>
                  <a:cubicBezTo>
                    <a:pt x="6787" y="6597"/>
                    <a:pt x="6585" y="6430"/>
                    <a:pt x="6323" y="6430"/>
                  </a:cubicBezTo>
                  <a:lnTo>
                    <a:pt x="5823" y="6430"/>
                  </a:lnTo>
                  <a:lnTo>
                    <a:pt x="5823" y="6311"/>
                  </a:lnTo>
                  <a:cubicBezTo>
                    <a:pt x="5871" y="6287"/>
                    <a:pt x="5906" y="6251"/>
                    <a:pt x="5942" y="6216"/>
                  </a:cubicBezTo>
                  <a:close/>
                  <a:moveTo>
                    <a:pt x="3561" y="0"/>
                  </a:moveTo>
                  <a:cubicBezTo>
                    <a:pt x="2585" y="0"/>
                    <a:pt x="1787" y="786"/>
                    <a:pt x="1787" y="1775"/>
                  </a:cubicBezTo>
                  <a:lnTo>
                    <a:pt x="1787" y="3394"/>
                  </a:lnTo>
                  <a:cubicBezTo>
                    <a:pt x="1513" y="3441"/>
                    <a:pt x="1287" y="3668"/>
                    <a:pt x="1251" y="3930"/>
                  </a:cubicBezTo>
                  <a:cubicBezTo>
                    <a:pt x="1239" y="4108"/>
                    <a:pt x="1299" y="4275"/>
                    <a:pt x="1406" y="4406"/>
                  </a:cubicBezTo>
                  <a:cubicBezTo>
                    <a:pt x="1525" y="4537"/>
                    <a:pt x="1692" y="4608"/>
                    <a:pt x="1846" y="4608"/>
                  </a:cubicBezTo>
                  <a:lnTo>
                    <a:pt x="1989" y="4608"/>
                  </a:lnTo>
                  <a:cubicBezTo>
                    <a:pt x="2061" y="5108"/>
                    <a:pt x="2251" y="5537"/>
                    <a:pt x="2561" y="5894"/>
                  </a:cubicBezTo>
                  <a:lnTo>
                    <a:pt x="2489" y="5894"/>
                  </a:lnTo>
                  <a:cubicBezTo>
                    <a:pt x="1811" y="5894"/>
                    <a:pt x="1251" y="6442"/>
                    <a:pt x="1251" y="7132"/>
                  </a:cubicBezTo>
                  <a:cubicBezTo>
                    <a:pt x="1251" y="7382"/>
                    <a:pt x="1299" y="7620"/>
                    <a:pt x="1370" y="7859"/>
                  </a:cubicBezTo>
                  <a:lnTo>
                    <a:pt x="894" y="7990"/>
                  </a:lnTo>
                  <a:cubicBezTo>
                    <a:pt x="382" y="8144"/>
                    <a:pt x="1" y="8633"/>
                    <a:pt x="1" y="9180"/>
                  </a:cubicBezTo>
                  <a:lnTo>
                    <a:pt x="1" y="11061"/>
                  </a:lnTo>
                  <a:cubicBezTo>
                    <a:pt x="1" y="11145"/>
                    <a:pt x="84" y="11228"/>
                    <a:pt x="168" y="11228"/>
                  </a:cubicBezTo>
                  <a:cubicBezTo>
                    <a:pt x="263" y="11228"/>
                    <a:pt x="334" y="11145"/>
                    <a:pt x="334" y="11061"/>
                  </a:cubicBezTo>
                  <a:lnTo>
                    <a:pt x="334" y="9180"/>
                  </a:lnTo>
                  <a:cubicBezTo>
                    <a:pt x="334" y="8775"/>
                    <a:pt x="596" y="8418"/>
                    <a:pt x="989" y="8323"/>
                  </a:cubicBezTo>
                  <a:lnTo>
                    <a:pt x="1489" y="8168"/>
                  </a:lnTo>
                  <a:cubicBezTo>
                    <a:pt x="1846" y="8883"/>
                    <a:pt x="2561" y="9371"/>
                    <a:pt x="3394" y="9430"/>
                  </a:cubicBezTo>
                  <a:lnTo>
                    <a:pt x="3394" y="11061"/>
                  </a:lnTo>
                  <a:cubicBezTo>
                    <a:pt x="3394" y="11145"/>
                    <a:pt x="3478" y="11216"/>
                    <a:pt x="3561" y="11216"/>
                  </a:cubicBezTo>
                  <a:cubicBezTo>
                    <a:pt x="3656" y="11216"/>
                    <a:pt x="3728" y="11145"/>
                    <a:pt x="3728" y="11061"/>
                  </a:cubicBezTo>
                  <a:lnTo>
                    <a:pt x="3728" y="9430"/>
                  </a:lnTo>
                  <a:lnTo>
                    <a:pt x="5180" y="9430"/>
                  </a:lnTo>
                  <a:lnTo>
                    <a:pt x="5180" y="11061"/>
                  </a:lnTo>
                  <a:cubicBezTo>
                    <a:pt x="5180" y="11145"/>
                    <a:pt x="5263" y="11216"/>
                    <a:pt x="5347" y="11216"/>
                  </a:cubicBezTo>
                  <a:cubicBezTo>
                    <a:pt x="5430" y="11216"/>
                    <a:pt x="5514" y="11145"/>
                    <a:pt x="5514" y="11061"/>
                  </a:cubicBezTo>
                  <a:lnTo>
                    <a:pt x="5514" y="9430"/>
                  </a:lnTo>
                  <a:cubicBezTo>
                    <a:pt x="6347" y="9371"/>
                    <a:pt x="7061" y="8871"/>
                    <a:pt x="7419" y="8168"/>
                  </a:cubicBezTo>
                  <a:lnTo>
                    <a:pt x="7919" y="8323"/>
                  </a:lnTo>
                  <a:cubicBezTo>
                    <a:pt x="8311" y="8442"/>
                    <a:pt x="8573" y="8799"/>
                    <a:pt x="8573" y="9180"/>
                  </a:cubicBezTo>
                  <a:lnTo>
                    <a:pt x="8573" y="11061"/>
                  </a:lnTo>
                  <a:cubicBezTo>
                    <a:pt x="8573" y="11145"/>
                    <a:pt x="8657" y="11228"/>
                    <a:pt x="8740" y="11228"/>
                  </a:cubicBezTo>
                  <a:cubicBezTo>
                    <a:pt x="8823" y="11228"/>
                    <a:pt x="8907" y="11145"/>
                    <a:pt x="8907" y="11061"/>
                  </a:cubicBezTo>
                  <a:lnTo>
                    <a:pt x="8907" y="9180"/>
                  </a:lnTo>
                  <a:cubicBezTo>
                    <a:pt x="8895" y="8633"/>
                    <a:pt x="8514" y="8144"/>
                    <a:pt x="8002" y="7990"/>
                  </a:cubicBezTo>
                  <a:lnTo>
                    <a:pt x="7526" y="7859"/>
                  </a:lnTo>
                  <a:cubicBezTo>
                    <a:pt x="7597" y="7632"/>
                    <a:pt x="7645" y="7382"/>
                    <a:pt x="7645" y="7132"/>
                  </a:cubicBezTo>
                  <a:cubicBezTo>
                    <a:pt x="7645" y="6442"/>
                    <a:pt x="7085" y="5894"/>
                    <a:pt x="6406" y="5894"/>
                  </a:cubicBezTo>
                  <a:lnTo>
                    <a:pt x="6311" y="5894"/>
                  </a:lnTo>
                  <a:cubicBezTo>
                    <a:pt x="6609" y="5537"/>
                    <a:pt x="6823" y="5108"/>
                    <a:pt x="6895" y="4620"/>
                  </a:cubicBezTo>
                  <a:lnTo>
                    <a:pt x="7002" y="4620"/>
                  </a:lnTo>
                  <a:cubicBezTo>
                    <a:pt x="7323" y="4620"/>
                    <a:pt x="7597" y="4382"/>
                    <a:pt x="7645" y="4061"/>
                  </a:cubicBezTo>
                  <a:cubicBezTo>
                    <a:pt x="7657" y="3882"/>
                    <a:pt x="7597" y="3727"/>
                    <a:pt x="7490" y="3584"/>
                  </a:cubicBezTo>
                  <a:cubicBezTo>
                    <a:pt x="7383" y="3489"/>
                    <a:pt x="7252" y="3406"/>
                    <a:pt x="7121" y="3394"/>
                  </a:cubicBezTo>
                  <a:lnTo>
                    <a:pt x="7121" y="1429"/>
                  </a:lnTo>
                  <a:cubicBezTo>
                    <a:pt x="7442" y="1108"/>
                    <a:pt x="7657" y="655"/>
                    <a:pt x="7657" y="167"/>
                  </a:cubicBezTo>
                  <a:cubicBezTo>
                    <a:pt x="7657" y="72"/>
                    <a:pt x="7585" y="0"/>
                    <a:pt x="74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8" name="Google Shape;12108;p61"/>
            <p:cNvSpPr/>
            <p:nvPr/>
          </p:nvSpPr>
          <p:spPr>
            <a:xfrm>
              <a:off x="7239726" y="1594081"/>
              <a:ext cx="22651" cy="12165"/>
            </a:xfrm>
            <a:custGeom>
              <a:avLst/>
              <a:gdLst/>
              <a:ahLst/>
              <a:cxnLst/>
              <a:rect l="l" t="t" r="r" b="b"/>
              <a:pathLst>
                <a:path w="715" h="384" extrusionOk="0">
                  <a:moveTo>
                    <a:pt x="524" y="1"/>
                  </a:moveTo>
                  <a:cubicBezTo>
                    <a:pt x="517" y="1"/>
                    <a:pt x="508" y="1"/>
                    <a:pt x="500" y="2"/>
                  </a:cubicBezTo>
                  <a:lnTo>
                    <a:pt x="143" y="62"/>
                  </a:lnTo>
                  <a:cubicBezTo>
                    <a:pt x="60" y="74"/>
                    <a:pt x="0" y="169"/>
                    <a:pt x="12" y="252"/>
                  </a:cubicBezTo>
                  <a:cubicBezTo>
                    <a:pt x="24" y="324"/>
                    <a:pt x="95" y="383"/>
                    <a:pt x="179" y="383"/>
                  </a:cubicBezTo>
                  <a:lnTo>
                    <a:pt x="203" y="383"/>
                  </a:lnTo>
                  <a:lnTo>
                    <a:pt x="560" y="324"/>
                  </a:lnTo>
                  <a:cubicBezTo>
                    <a:pt x="655" y="312"/>
                    <a:pt x="715" y="228"/>
                    <a:pt x="703" y="133"/>
                  </a:cubicBezTo>
                  <a:cubicBezTo>
                    <a:pt x="681" y="57"/>
                    <a:pt x="609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9" name="Google Shape;12109;p61"/>
            <p:cNvSpPr/>
            <p:nvPr/>
          </p:nvSpPr>
          <p:spPr>
            <a:xfrm>
              <a:off x="7307616" y="1594462"/>
              <a:ext cx="22651" cy="12514"/>
            </a:xfrm>
            <a:custGeom>
              <a:avLst/>
              <a:gdLst/>
              <a:ahLst/>
              <a:cxnLst/>
              <a:rect l="l" t="t" r="r" b="b"/>
              <a:pathLst>
                <a:path w="715" h="395" extrusionOk="0">
                  <a:moveTo>
                    <a:pt x="181" y="1"/>
                  </a:moveTo>
                  <a:cubicBezTo>
                    <a:pt x="104" y="1"/>
                    <a:pt x="23" y="57"/>
                    <a:pt x="12" y="133"/>
                  </a:cubicBezTo>
                  <a:cubicBezTo>
                    <a:pt x="0" y="228"/>
                    <a:pt x="60" y="312"/>
                    <a:pt x="143" y="335"/>
                  </a:cubicBezTo>
                  <a:lnTo>
                    <a:pt x="500" y="395"/>
                  </a:lnTo>
                  <a:lnTo>
                    <a:pt x="536" y="395"/>
                  </a:lnTo>
                  <a:cubicBezTo>
                    <a:pt x="608" y="395"/>
                    <a:pt x="679" y="335"/>
                    <a:pt x="703" y="252"/>
                  </a:cubicBezTo>
                  <a:cubicBezTo>
                    <a:pt x="715" y="169"/>
                    <a:pt x="655" y="73"/>
                    <a:pt x="560" y="62"/>
                  </a:cubicBezTo>
                  <a:lnTo>
                    <a:pt x="203" y="2"/>
                  </a:lnTo>
                  <a:cubicBezTo>
                    <a:pt x="196" y="1"/>
                    <a:pt x="188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10" name="Google Shape;12110;p61"/>
          <p:cNvGrpSpPr/>
          <p:nvPr/>
        </p:nvGrpSpPr>
        <p:grpSpPr>
          <a:xfrm>
            <a:off x="6685262" y="1500214"/>
            <a:ext cx="289682" cy="354594"/>
            <a:chOff x="6685262" y="1500214"/>
            <a:chExt cx="289682" cy="354594"/>
          </a:xfrm>
        </p:grpSpPr>
        <p:sp>
          <p:nvSpPr>
            <p:cNvPr id="12111" name="Google Shape;12111;p61"/>
            <p:cNvSpPr/>
            <p:nvPr/>
          </p:nvSpPr>
          <p:spPr>
            <a:xfrm>
              <a:off x="6685262" y="1500214"/>
              <a:ext cx="289682" cy="354594"/>
            </a:xfrm>
            <a:custGeom>
              <a:avLst/>
              <a:gdLst/>
              <a:ahLst/>
              <a:cxnLst/>
              <a:rect l="l" t="t" r="r" b="b"/>
              <a:pathLst>
                <a:path w="9144" h="11193" extrusionOk="0">
                  <a:moveTo>
                    <a:pt x="7037" y="3310"/>
                  </a:moveTo>
                  <a:lnTo>
                    <a:pt x="7037" y="3322"/>
                  </a:lnTo>
                  <a:lnTo>
                    <a:pt x="7037" y="3691"/>
                  </a:lnTo>
                  <a:lnTo>
                    <a:pt x="6846" y="3691"/>
                  </a:lnTo>
                  <a:cubicBezTo>
                    <a:pt x="6739" y="3691"/>
                    <a:pt x="6656" y="3608"/>
                    <a:pt x="6656" y="3501"/>
                  </a:cubicBezTo>
                  <a:lnTo>
                    <a:pt x="6656" y="3310"/>
                  </a:lnTo>
                  <a:close/>
                  <a:moveTo>
                    <a:pt x="2465" y="3322"/>
                  </a:moveTo>
                  <a:lnTo>
                    <a:pt x="2465" y="3513"/>
                  </a:lnTo>
                  <a:cubicBezTo>
                    <a:pt x="2465" y="3620"/>
                    <a:pt x="2381" y="3703"/>
                    <a:pt x="2274" y="3703"/>
                  </a:cubicBezTo>
                  <a:lnTo>
                    <a:pt x="2096" y="3703"/>
                  </a:lnTo>
                  <a:lnTo>
                    <a:pt x="2096" y="3691"/>
                  </a:lnTo>
                  <a:lnTo>
                    <a:pt x="2096" y="3322"/>
                  </a:lnTo>
                  <a:close/>
                  <a:moveTo>
                    <a:pt x="4596" y="370"/>
                  </a:moveTo>
                  <a:lnTo>
                    <a:pt x="8453" y="2989"/>
                  </a:lnTo>
                  <a:lnTo>
                    <a:pt x="3691" y="2989"/>
                  </a:lnTo>
                  <a:cubicBezTo>
                    <a:pt x="3596" y="2989"/>
                    <a:pt x="3524" y="3072"/>
                    <a:pt x="3524" y="3156"/>
                  </a:cubicBezTo>
                  <a:cubicBezTo>
                    <a:pt x="3524" y="3251"/>
                    <a:pt x="3596" y="3322"/>
                    <a:pt x="3691" y="3322"/>
                  </a:cubicBezTo>
                  <a:lnTo>
                    <a:pt x="6334" y="3322"/>
                  </a:lnTo>
                  <a:lnTo>
                    <a:pt x="6334" y="3513"/>
                  </a:lnTo>
                  <a:cubicBezTo>
                    <a:pt x="6334" y="3799"/>
                    <a:pt x="6572" y="4037"/>
                    <a:pt x="6858" y="4037"/>
                  </a:cubicBezTo>
                  <a:lnTo>
                    <a:pt x="7120" y="4037"/>
                  </a:lnTo>
                  <a:cubicBezTo>
                    <a:pt x="7203" y="4037"/>
                    <a:pt x="7275" y="4061"/>
                    <a:pt x="7334" y="4120"/>
                  </a:cubicBezTo>
                  <a:cubicBezTo>
                    <a:pt x="7394" y="4180"/>
                    <a:pt x="7406" y="4263"/>
                    <a:pt x="7406" y="4334"/>
                  </a:cubicBezTo>
                  <a:cubicBezTo>
                    <a:pt x="7394" y="4465"/>
                    <a:pt x="7263" y="4584"/>
                    <a:pt x="7108" y="4584"/>
                  </a:cubicBezTo>
                  <a:lnTo>
                    <a:pt x="7037" y="4584"/>
                  </a:lnTo>
                  <a:lnTo>
                    <a:pt x="7037" y="4572"/>
                  </a:lnTo>
                  <a:cubicBezTo>
                    <a:pt x="7037" y="4477"/>
                    <a:pt x="6965" y="4406"/>
                    <a:pt x="6870" y="4406"/>
                  </a:cubicBezTo>
                  <a:cubicBezTo>
                    <a:pt x="6787" y="4406"/>
                    <a:pt x="6715" y="4477"/>
                    <a:pt x="6715" y="4572"/>
                  </a:cubicBezTo>
                  <a:cubicBezTo>
                    <a:pt x="6715" y="5692"/>
                    <a:pt x="5846" y="6597"/>
                    <a:pt x="4763" y="6680"/>
                  </a:cubicBezTo>
                  <a:lnTo>
                    <a:pt x="4763" y="6501"/>
                  </a:lnTo>
                  <a:cubicBezTo>
                    <a:pt x="4763" y="6418"/>
                    <a:pt x="4691" y="6347"/>
                    <a:pt x="4596" y="6347"/>
                  </a:cubicBezTo>
                  <a:cubicBezTo>
                    <a:pt x="4512" y="6347"/>
                    <a:pt x="4429" y="6418"/>
                    <a:pt x="4429" y="6501"/>
                  </a:cubicBezTo>
                  <a:lnTo>
                    <a:pt x="4429" y="6680"/>
                  </a:lnTo>
                  <a:cubicBezTo>
                    <a:pt x="3346" y="6597"/>
                    <a:pt x="2488" y="5692"/>
                    <a:pt x="2488" y="4572"/>
                  </a:cubicBezTo>
                  <a:cubicBezTo>
                    <a:pt x="2488" y="4477"/>
                    <a:pt x="2405" y="4406"/>
                    <a:pt x="2322" y="4406"/>
                  </a:cubicBezTo>
                  <a:cubicBezTo>
                    <a:pt x="2226" y="4406"/>
                    <a:pt x="2155" y="4477"/>
                    <a:pt x="2155" y="4572"/>
                  </a:cubicBezTo>
                  <a:lnTo>
                    <a:pt x="2155" y="4584"/>
                  </a:lnTo>
                  <a:lnTo>
                    <a:pt x="2048" y="4584"/>
                  </a:lnTo>
                  <a:cubicBezTo>
                    <a:pt x="1976" y="4584"/>
                    <a:pt x="1905" y="4561"/>
                    <a:pt x="1845" y="4501"/>
                  </a:cubicBezTo>
                  <a:cubicBezTo>
                    <a:pt x="1786" y="4442"/>
                    <a:pt x="1774" y="4358"/>
                    <a:pt x="1774" y="4287"/>
                  </a:cubicBezTo>
                  <a:cubicBezTo>
                    <a:pt x="1786" y="4156"/>
                    <a:pt x="1917" y="4037"/>
                    <a:pt x="2072" y="4037"/>
                  </a:cubicBezTo>
                  <a:lnTo>
                    <a:pt x="2310" y="4037"/>
                  </a:lnTo>
                  <a:cubicBezTo>
                    <a:pt x="2584" y="4037"/>
                    <a:pt x="2822" y="3799"/>
                    <a:pt x="2822" y="3513"/>
                  </a:cubicBezTo>
                  <a:lnTo>
                    <a:pt x="2822" y="3322"/>
                  </a:lnTo>
                  <a:lnTo>
                    <a:pt x="3024" y="3322"/>
                  </a:lnTo>
                  <a:cubicBezTo>
                    <a:pt x="3108" y="3322"/>
                    <a:pt x="3179" y="3251"/>
                    <a:pt x="3179" y="3156"/>
                  </a:cubicBezTo>
                  <a:cubicBezTo>
                    <a:pt x="3179" y="3072"/>
                    <a:pt x="3108" y="2989"/>
                    <a:pt x="3024" y="2989"/>
                  </a:cubicBezTo>
                  <a:lnTo>
                    <a:pt x="738" y="2989"/>
                  </a:lnTo>
                  <a:lnTo>
                    <a:pt x="4596" y="370"/>
                  </a:lnTo>
                  <a:close/>
                  <a:moveTo>
                    <a:pt x="5632" y="6763"/>
                  </a:moveTo>
                  <a:lnTo>
                    <a:pt x="5632" y="7144"/>
                  </a:lnTo>
                  <a:cubicBezTo>
                    <a:pt x="5644" y="7430"/>
                    <a:pt x="5798" y="7668"/>
                    <a:pt x="6060" y="7787"/>
                  </a:cubicBezTo>
                  <a:cubicBezTo>
                    <a:pt x="5977" y="7978"/>
                    <a:pt x="5858" y="8156"/>
                    <a:pt x="5715" y="8311"/>
                  </a:cubicBezTo>
                  <a:cubicBezTo>
                    <a:pt x="5655" y="8371"/>
                    <a:pt x="5655" y="8466"/>
                    <a:pt x="5715" y="8549"/>
                  </a:cubicBezTo>
                  <a:cubicBezTo>
                    <a:pt x="5739" y="8573"/>
                    <a:pt x="5786" y="8585"/>
                    <a:pt x="5834" y="8585"/>
                  </a:cubicBezTo>
                  <a:cubicBezTo>
                    <a:pt x="5882" y="8585"/>
                    <a:pt x="5917" y="8573"/>
                    <a:pt x="5953" y="8549"/>
                  </a:cubicBezTo>
                  <a:cubicBezTo>
                    <a:pt x="6132" y="8347"/>
                    <a:pt x="6275" y="8132"/>
                    <a:pt x="6370" y="7894"/>
                  </a:cubicBezTo>
                  <a:lnTo>
                    <a:pt x="6727" y="7990"/>
                  </a:lnTo>
                  <a:cubicBezTo>
                    <a:pt x="6572" y="8394"/>
                    <a:pt x="6310" y="8763"/>
                    <a:pt x="5953" y="9037"/>
                  </a:cubicBezTo>
                  <a:cubicBezTo>
                    <a:pt x="5548" y="9335"/>
                    <a:pt x="5072" y="9502"/>
                    <a:pt x="4572" y="9502"/>
                  </a:cubicBezTo>
                  <a:cubicBezTo>
                    <a:pt x="4072" y="9502"/>
                    <a:pt x="3596" y="9335"/>
                    <a:pt x="3203" y="9049"/>
                  </a:cubicBezTo>
                  <a:cubicBezTo>
                    <a:pt x="2846" y="8787"/>
                    <a:pt x="2572" y="8406"/>
                    <a:pt x="2405" y="8013"/>
                  </a:cubicBezTo>
                  <a:lnTo>
                    <a:pt x="2762" y="7906"/>
                  </a:lnTo>
                  <a:cubicBezTo>
                    <a:pt x="2905" y="8252"/>
                    <a:pt x="3119" y="8549"/>
                    <a:pt x="3405" y="8752"/>
                  </a:cubicBezTo>
                  <a:cubicBezTo>
                    <a:pt x="3739" y="9002"/>
                    <a:pt x="4131" y="9144"/>
                    <a:pt x="4548" y="9144"/>
                  </a:cubicBezTo>
                  <a:cubicBezTo>
                    <a:pt x="4822" y="9144"/>
                    <a:pt x="5072" y="9085"/>
                    <a:pt x="5322" y="8978"/>
                  </a:cubicBezTo>
                  <a:cubicBezTo>
                    <a:pt x="5417" y="8942"/>
                    <a:pt x="5441" y="8847"/>
                    <a:pt x="5417" y="8752"/>
                  </a:cubicBezTo>
                  <a:cubicBezTo>
                    <a:pt x="5391" y="8690"/>
                    <a:pt x="5332" y="8654"/>
                    <a:pt x="5265" y="8654"/>
                  </a:cubicBezTo>
                  <a:cubicBezTo>
                    <a:pt x="5241" y="8654"/>
                    <a:pt x="5216" y="8659"/>
                    <a:pt x="5191" y="8668"/>
                  </a:cubicBezTo>
                  <a:cubicBezTo>
                    <a:pt x="4989" y="8752"/>
                    <a:pt x="4774" y="8799"/>
                    <a:pt x="4548" y="8799"/>
                  </a:cubicBezTo>
                  <a:cubicBezTo>
                    <a:pt x="3893" y="8799"/>
                    <a:pt x="3322" y="8394"/>
                    <a:pt x="3084" y="7799"/>
                  </a:cubicBezTo>
                  <a:cubicBezTo>
                    <a:pt x="3334" y="7692"/>
                    <a:pt x="3500" y="7442"/>
                    <a:pt x="3500" y="7180"/>
                  </a:cubicBezTo>
                  <a:lnTo>
                    <a:pt x="3500" y="6787"/>
                  </a:lnTo>
                  <a:cubicBezTo>
                    <a:pt x="3774" y="6918"/>
                    <a:pt x="4072" y="7013"/>
                    <a:pt x="4405" y="7025"/>
                  </a:cubicBezTo>
                  <a:lnTo>
                    <a:pt x="4405" y="7573"/>
                  </a:lnTo>
                  <a:cubicBezTo>
                    <a:pt x="4405" y="7668"/>
                    <a:pt x="4477" y="7740"/>
                    <a:pt x="4560" y="7740"/>
                  </a:cubicBezTo>
                  <a:cubicBezTo>
                    <a:pt x="4655" y="7740"/>
                    <a:pt x="4727" y="7668"/>
                    <a:pt x="4727" y="7573"/>
                  </a:cubicBezTo>
                  <a:lnTo>
                    <a:pt x="4727" y="7001"/>
                  </a:lnTo>
                  <a:cubicBezTo>
                    <a:pt x="5060" y="6978"/>
                    <a:pt x="5358" y="6894"/>
                    <a:pt x="5632" y="6763"/>
                  </a:cubicBezTo>
                  <a:close/>
                  <a:moveTo>
                    <a:pt x="4562" y="0"/>
                  </a:moveTo>
                  <a:cubicBezTo>
                    <a:pt x="4530" y="0"/>
                    <a:pt x="4501" y="12"/>
                    <a:pt x="4477" y="36"/>
                  </a:cubicBezTo>
                  <a:lnTo>
                    <a:pt x="83" y="3025"/>
                  </a:lnTo>
                  <a:cubicBezTo>
                    <a:pt x="24" y="3072"/>
                    <a:pt x="0" y="3144"/>
                    <a:pt x="24" y="3203"/>
                  </a:cubicBezTo>
                  <a:cubicBezTo>
                    <a:pt x="60" y="3263"/>
                    <a:pt x="119" y="3322"/>
                    <a:pt x="191" y="3322"/>
                  </a:cubicBezTo>
                  <a:lnTo>
                    <a:pt x="1786" y="3322"/>
                  </a:lnTo>
                  <a:lnTo>
                    <a:pt x="1786" y="3751"/>
                  </a:lnTo>
                  <a:cubicBezTo>
                    <a:pt x="1584" y="3846"/>
                    <a:pt x="1453" y="4025"/>
                    <a:pt x="1441" y="4227"/>
                  </a:cubicBezTo>
                  <a:cubicBezTo>
                    <a:pt x="1429" y="4394"/>
                    <a:pt x="1488" y="4572"/>
                    <a:pt x="1584" y="4692"/>
                  </a:cubicBezTo>
                  <a:cubicBezTo>
                    <a:pt x="1703" y="4811"/>
                    <a:pt x="1869" y="4882"/>
                    <a:pt x="2036" y="4882"/>
                  </a:cubicBezTo>
                  <a:lnTo>
                    <a:pt x="2155" y="4882"/>
                  </a:lnTo>
                  <a:cubicBezTo>
                    <a:pt x="2238" y="5573"/>
                    <a:pt x="2631" y="6180"/>
                    <a:pt x="3179" y="6549"/>
                  </a:cubicBezTo>
                  <a:lnTo>
                    <a:pt x="3179" y="7132"/>
                  </a:lnTo>
                  <a:cubicBezTo>
                    <a:pt x="3179" y="7299"/>
                    <a:pt x="3072" y="7430"/>
                    <a:pt x="2929" y="7478"/>
                  </a:cubicBezTo>
                  <a:lnTo>
                    <a:pt x="1203" y="7978"/>
                  </a:lnTo>
                  <a:cubicBezTo>
                    <a:pt x="607" y="8156"/>
                    <a:pt x="202" y="8704"/>
                    <a:pt x="202" y="9323"/>
                  </a:cubicBezTo>
                  <a:lnTo>
                    <a:pt x="202" y="11026"/>
                  </a:lnTo>
                  <a:cubicBezTo>
                    <a:pt x="202" y="11121"/>
                    <a:pt x="274" y="11192"/>
                    <a:pt x="369" y="11192"/>
                  </a:cubicBezTo>
                  <a:cubicBezTo>
                    <a:pt x="452" y="11192"/>
                    <a:pt x="536" y="11121"/>
                    <a:pt x="536" y="11026"/>
                  </a:cubicBezTo>
                  <a:lnTo>
                    <a:pt x="536" y="9323"/>
                  </a:lnTo>
                  <a:cubicBezTo>
                    <a:pt x="536" y="8847"/>
                    <a:pt x="845" y="8430"/>
                    <a:pt x="1286" y="8287"/>
                  </a:cubicBezTo>
                  <a:lnTo>
                    <a:pt x="2107" y="8049"/>
                  </a:lnTo>
                  <a:cubicBezTo>
                    <a:pt x="2286" y="8549"/>
                    <a:pt x="2596" y="8966"/>
                    <a:pt x="3012" y="9275"/>
                  </a:cubicBezTo>
                  <a:cubicBezTo>
                    <a:pt x="3429" y="9585"/>
                    <a:pt x="3905" y="9752"/>
                    <a:pt x="4417" y="9776"/>
                  </a:cubicBezTo>
                  <a:lnTo>
                    <a:pt x="4417" y="11026"/>
                  </a:lnTo>
                  <a:cubicBezTo>
                    <a:pt x="4417" y="11121"/>
                    <a:pt x="4489" y="11192"/>
                    <a:pt x="4584" y="11192"/>
                  </a:cubicBezTo>
                  <a:cubicBezTo>
                    <a:pt x="4667" y="11192"/>
                    <a:pt x="4739" y="11121"/>
                    <a:pt x="4739" y="11026"/>
                  </a:cubicBezTo>
                  <a:lnTo>
                    <a:pt x="4739" y="9776"/>
                  </a:lnTo>
                  <a:cubicBezTo>
                    <a:pt x="5263" y="9752"/>
                    <a:pt x="5739" y="9573"/>
                    <a:pt x="6156" y="9252"/>
                  </a:cubicBezTo>
                  <a:cubicBezTo>
                    <a:pt x="6560" y="8942"/>
                    <a:pt x="6870" y="8525"/>
                    <a:pt x="7049" y="8049"/>
                  </a:cubicBezTo>
                  <a:lnTo>
                    <a:pt x="7870" y="8287"/>
                  </a:lnTo>
                  <a:cubicBezTo>
                    <a:pt x="8311" y="8418"/>
                    <a:pt x="8632" y="8835"/>
                    <a:pt x="8632" y="9311"/>
                  </a:cubicBezTo>
                  <a:lnTo>
                    <a:pt x="8632" y="11026"/>
                  </a:lnTo>
                  <a:cubicBezTo>
                    <a:pt x="8632" y="11121"/>
                    <a:pt x="8703" y="11192"/>
                    <a:pt x="8787" y="11192"/>
                  </a:cubicBezTo>
                  <a:cubicBezTo>
                    <a:pt x="8882" y="11192"/>
                    <a:pt x="8954" y="11121"/>
                    <a:pt x="8954" y="11026"/>
                  </a:cubicBezTo>
                  <a:lnTo>
                    <a:pt x="8954" y="9311"/>
                  </a:lnTo>
                  <a:cubicBezTo>
                    <a:pt x="8954" y="8704"/>
                    <a:pt x="8537" y="8156"/>
                    <a:pt x="7953" y="7978"/>
                  </a:cubicBezTo>
                  <a:lnTo>
                    <a:pt x="6227" y="7466"/>
                  </a:lnTo>
                  <a:cubicBezTo>
                    <a:pt x="6084" y="7430"/>
                    <a:pt x="5977" y="7275"/>
                    <a:pt x="5977" y="7132"/>
                  </a:cubicBezTo>
                  <a:lnTo>
                    <a:pt x="5977" y="6549"/>
                  </a:lnTo>
                  <a:cubicBezTo>
                    <a:pt x="6525" y="6156"/>
                    <a:pt x="6918" y="5561"/>
                    <a:pt x="7001" y="4882"/>
                  </a:cubicBezTo>
                  <a:lnTo>
                    <a:pt x="7108" y="4882"/>
                  </a:lnTo>
                  <a:cubicBezTo>
                    <a:pt x="7441" y="4882"/>
                    <a:pt x="7703" y="4644"/>
                    <a:pt x="7739" y="4346"/>
                  </a:cubicBezTo>
                  <a:cubicBezTo>
                    <a:pt x="7751" y="4180"/>
                    <a:pt x="7691" y="4001"/>
                    <a:pt x="7584" y="3882"/>
                  </a:cubicBezTo>
                  <a:cubicBezTo>
                    <a:pt x="7525" y="3822"/>
                    <a:pt x="7465" y="3775"/>
                    <a:pt x="7394" y="3739"/>
                  </a:cubicBezTo>
                  <a:lnTo>
                    <a:pt x="7394" y="3299"/>
                  </a:lnTo>
                  <a:lnTo>
                    <a:pt x="8989" y="3299"/>
                  </a:lnTo>
                  <a:cubicBezTo>
                    <a:pt x="9061" y="3299"/>
                    <a:pt x="9120" y="3263"/>
                    <a:pt x="9144" y="3179"/>
                  </a:cubicBezTo>
                  <a:cubicBezTo>
                    <a:pt x="9132" y="3132"/>
                    <a:pt x="9108" y="3048"/>
                    <a:pt x="9049" y="3025"/>
                  </a:cubicBezTo>
                  <a:lnTo>
                    <a:pt x="4655" y="36"/>
                  </a:lnTo>
                  <a:cubicBezTo>
                    <a:pt x="4626" y="12"/>
                    <a:pt x="4593" y="0"/>
                    <a:pt x="45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2" name="Google Shape;12112;p61"/>
            <p:cNvSpPr/>
            <p:nvPr/>
          </p:nvSpPr>
          <p:spPr>
            <a:xfrm>
              <a:off x="6792372" y="1655984"/>
              <a:ext cx="76222" cy="38143"/>
            </a:xfrm>
            <a:custGeom>
              <a:avLst/>
              <a:gdLst/>
              <a:ahLst/>
              <a:cxnLst/>
              <a:rect l="l" t="t" r="r" b="b"/>
              <a:pathLst>
                <a:path w="2406" h="1204" extrusionOk="0">
                  <a:moveTo>
                    <a:pt x="989" y="334"/>
                  </a:moveTo>
                  <a:cubicBezTo>
                    <a:pt x="917" y="441"/>
                    <a:pt x="798" y="537"/>
                    <a:pt x="667" y="537"/>
                  </a:cubicBezTo>
                  <a:lnTo>
                    <a:pt x="334" y="537"/>
                  </a:lnTo>
                  <a:cubicBezTo>
                    <a:pt x="393" y="417"/>
                    <a:pt x="512" y="334"/>
                    <a:pt x="667" y="334"/>
                  </a:cubicBezTo>
                  <a:close/>
                  <a:moveTo>
                    <a:pt x="1727" y="334"/>
                  </a:moveTo>
                  <a:cubicBezTo>
                    <a:pt x="1858" y="334"/>
                    <a:pt x="1989" y="417"/>
                    <a:pt x="2048" y="537"/>
                  </a:cubicBezTo>
                  <a:lnTo>
                    <a:pt x="1727" y="537"/>
                  </a:lnTo>
                  <a:cubicBezTo>
                    <a:pt x="1584" y="537"/>
                    <a:pt x="1453" y="453"/>
                    <a:pt x="1393" y="334"/>
                  </a:cubicBezTo>
                  <a:close/>
                  <a:moveTo>
                    <a:pt x="679" y="1"/>
                  </a:moveTo>
                  <a:cubicBezTo>
                    <a:pt x="298" y="1"/>
                    <a:pt x="0" y="310"/>
                    <a:pt x="0" y="679"/>
                  </a:cubicBezTo>
                  <a:lnTo>
                    <a:pt x="0" y="1037"/>
                  </a:lnTo>
                  <a:cubicBezTo>
                    <a:pt x="0" y="1132"/>
                    <a:pt x="72" y="1203"/>
                    <a:pt x="155" y="1203"/>
                  </a:cubicBezTo>
                  <a:cubicBezTo>
                    <a:pt x="250" y="1203"/>
                    <a:pt x="322" y="1132"/>
                    <a:pt x="322" y="1037"/>
                  </a:cubicBezTo>
                  <a:lnTo>
                    <a:pt x="322" y="846"/>
                  </a:lnTo>
                  <a:lnTo>
                    <a:pt x="679" y="846"/>
                  </a:lnTo>
                  <a:cubicBezTo>
                    <a:pt x="893" y="846"/>
                    <a:pt x="1084" y="751"/>
                    <a:pt x="1203" y="608"/>
                  </a:cubicBezTo>
                  <a:cubicBezTo>
                    <a:pt x="1334" y="751"/>
                    <a:pt x="1512" y="846"/>
                    <a:pt x="1727" y="846"/>
                  </a:cubicBezTo>
                  <a:lnTo>
                    <a:pt x="2084" y="846"/>
                  </a:lnTo>
                  <a:lnTo>
                    <a:pt x="2084" y="1037"/>
                  </a:lnTo>
                  <a:cubicBezTo>
                    <a:pt x="2084" y="1132"/>
                    <a:pt x="2155" y="1203"/>
                    <a:pt x="2239" y="1203"/>
                  </a:cubicBezTo>
                  <a:cubicBezTo>
                    <a:pt x="2334" y="1203"/>
                    <a:pt x="2405" y="1132"/>
                    <a:pt x="2405" y="1037"/>
                  </a:cubicBezTo>
                  <a:lnTo>
                    <a:pt x="2405" y="679"/>
                  </a:lnTo>
                  <a:cubicBezTo>
                    <a:pt x="2405" y="310"/>
                    <a:pt x="2096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3" name="Google Shape;12113;p61"/>
            <p:cNvSpPr/>
            <p:nvPr/>
          </p:nvSpPr>
          <p:spPr>
            <a:xfrm>
              <a:off x="6785593" y="1622815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524" y="333"/>
                  </a:lnTo>
                  <a:cubicBezTo>
                    <a:pt x="607" y="333"/>
                    <a:pt x="679" y="250"/>
                    <a:pt x="679" y="167"/>
                  </a:cubicBezTo>
                  <a:cubicBezTo>
                    <a:pt x="691" y="71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4" name="Google Shape;12114;p61"/>
            <p:cNvSpPr/>
            <p:nvPr/>
          </p:nvSpPr>
          <p:spPr>
            <a:xfrm>
              <a:off x="6852723" y="1622815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512" y="333"/>
                  </a:lnTo>
                  <a:cubicBezTo>
                    <a:pt x="608" y="333"/>
                    <a:pt x="679" y="250"/>
                    <a:pt x="679" y="167"/>
                  </a:cubicBezTo>
                  <a:cubicBezTo>
                    <a:pt x="679" y="71"/>
                    <a:pt x="60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15" name="Google Shape;12115;p61"/>
          <p:cNvGrpSpPr/>
          <p:nvPr/>
        </p:nvGrpSpPr>
        <p:grpSpPr>
          <a:xfrm>
            <a:off x="6200938" y="1500594"/>
            <a:ext cx="322154" cy="355355"/>
            <a:chOff x="6200938" y="1500594"/>
            <a:chExt cx="322154" cy="355355"/>
          </a:xfrm>
        </p:grpSpPr>
        <p:sp>
          <p:nvSpPr>
            <p:cNvPr id="12116" name="Google Shape;12116;p61"/>
            <p:cNvSpPr/>
            <p:nvPr/>
          </p:nvSpPr>
          <p:spPr>
            <a:xfrm>
              <a:off x="6325789" y="1605835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62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7" name="Google Shape;12117;p61"/>
            <p:cNvSpPr/>
            <p:nvPr/>
          </p:nvSpPr>
          <p:spPr>
            <a:xfrm>
              <a:off x="6387280" y="1605835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8" name="Google Shape;12118;p61"/>
            <p:cNvSpPr/>
            <p:nvPr/>
          </p:nvSpPr>
          <p:spPr>
            <a:xfrm>
              <a:off x="6345779" y="1650725"/>
              <a:ext cx="32472" cy="10201"/>
            </a:xfrm>
            <a:custGeom>
              <a:avLst/>
              <a:gdLst/>
              <a:ahLst/>
              <a:cxnLst/>
              <a:rect l="l" t="t" r="r" b="b"/>
              <a:pathLst>
                <a:path w="1025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858" y="322"/>
                  </a:lnTo>
                  <a:cubicBezTo>
                    <a:pt x="953" y="322"/>
                    <a:pt x="1024" y="250"/>
                    <a:pt x="1024" y="167"/>
                  </a:cubicBezTo>
                  <a:cubicBezTo>
                    <a:pt x="1024" y="72"/>
                    <a:pt x="953" y="0"/>
                    <a:pt x="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9" name="Google Shape;12119;p61"/>
            <p:cNvSpPr/>
            <p:nvPr/>
          </p:nvSpPr>
          <p:spPr>
            <a:xfrm>
              <a:off x="6200938" y="1500594"/>
              <a:ext cx="322154" cy="355355"/>
            </a:xfrm>
            <a:custGeom>
              <a:avLst/>
              <a:gdLst/>
              <a:ahLst/>
              <a:cxnLst/>
              <a:rect l="l" t="t" r="r" b="b"/>
              <a:pathLst>
                <a:path w="10169" h="11217" extrusionOk="0">
                  <a:moveTo>
                    <a:pt x="5072" y="322"/>
                  </a:moveTo>
                  <a:cubicBezTo>
                    <a:pt x="5251" y="322"/>
                    <a:pt x="5442" y="334"/>
                    <a:pt x="5608" y="381"/>
                  </a:cubicBezTo>
                  <a:lnTo>
                    <a:pt x="5608" y="1727"/>
                  </a:lnTo>
                  <a:cubicBezTo>
                    <a:pt x="5608" y="1822"/>
                    <a:pt x="5680" y="1893"/>
                    <a:pt x="5775" y="1893"/>
                  </a:cubicBezTo>
                  <a:cubicBezTo>
                    <a:pt x="5858" y="1893"/>
                    <a:pt x="5942" y="1822"/>
                    <a:pt x="5942" y="1727"/>
                  </a:cubicBezTo>
                  <a:lnTo>
                    <a:pt x="5942" y="465"/>
                  </a:lnTo>
                  <a:cubicBezTo>
                    <a:pt x="6835" y="798"/>
                    <a:pt x="7466" y="1632"/>
                    <a:pt x="7525" y="2608"/>
                  </a:cubicBezTo>
                  <a:lnTo>
                    <a:pt x="5942" y="2608"/>
                  </a:lnTo>
                  <a:lnTo>
                    <a:pt x="5942" y="2417"/>
                  </a:lnTo>
                  <a:cubicBezTo>
                    <a:pt x="5942" y="2322"/>
                    <a:pt x="5858" y="2251"/>
                    <a:pt x="5775" y="2251"/>
                  </a:cubicBezTo>
                  <a:cubicBezTo>
                    <a:pt x="5680" y="2251"/>
                    <a:pt x="5608" y="2322"/>
                    <a:pt x="5608" y="2417"/>
                  </a:cubicBezTo>
                  <a:lnTo>
                    <a:pt x="5608" y="2608"/>
                  </a:lnTo>
                  <a:lnTo>
                    <a:pt x="4537" y="2608"/>
                  </a:lnTo>
                  <a:lnTo>
                    <a:pt x="4537" y="381"/>
                  </a:lnTo>
                  <a:cubicBezTo>
                    <a:pt x="4715" y="334"/>
                    <a:pt x="4894" y="322"/>
                    <a:pt x="5072" y="322"/>
                  </a:cubicBezTo>
                  <a:close/>
                  <a:moveTo>
                    <a:pt x="4215" y="477"/>
                  </a:moveTo>
                  <a:lnTo>
                    <a:pt x="4215" y="2620"/>
                  </a:lnTo>
                  <a:lnTo>
                    <a:pt x="2620" y="2620"/>
                  </a:lnTo>
                  <a:cubicBezTo>
                    <a:pt x="2679" y="1643"/>
                    <a:pt x="3322" y="810"/>
                    <a:pt x="4215" y="477"/>
                  </a:cubicBezTo>
                  <a:close/>
                  <a:moveTo>
                    <a:pt x="7204" y="2941"/>
                  </a:moveTo>
                  <a:lnTo>
                    <a:pt x="7204" y="4013"/>
                  </a:lnTo>
                  <a:cubicBezTo>
                    <a:pt x="7204" y="4072"/>
                    <a:pt x="7204" y="4132"/>
                    <a:pt x="7192" y="4203"/>
                  </a:cubicBezTo>
                  <a:lnTo>
                    <a:pt x="2965" y="4203"/>
                  </a:lnTo>
                  <a:cubicBezTo>
                    <a:pt x="2965" y="4144"/>
                    <a:pt x="2953" y="4084"/>
                    <a:pt x="2953" y="4013"/>
                  </a:cubicBezTo>
                  <a:lnTo>
                    <a:pt x="2953" y="3656"/>
                  </a:lnTo>
                  <a:cubicBezTo>
                    <a:pt x="2953" y="3560"/>
                    <a:pt x="2870" y="3489"/>
                    <a:pt x="2786" y="3489"/>
                  </a:cubicBezTo>
                  <a:cubicBezTo>
                    <a:pt x="2691" y="3489"/>
                    <a:pt x="2620" y="3560"/>
                    <a:pt x="2620" y="3656"/>
                  </a:cubicBezTo>
                  <a:lnTo>
                    <a:pt x="2620" y="4013"/>
                  </a:lnTo>
                  <a:lnTo>
                    <a:pt x="2620" y="4203"/>
                  </a:lnTo>
                  <a:lnTo>
                    <a:pt x="2441" y="4203"/>
                  </a:lnTo>
                  <a:cubicBezTo>
                    <a:pt x="2334" y="4203"/>
                    <a:pt x="2251" y="4108"/>
                    <a:pt x="2251" y="4013"/>
                  </a:cubicBezTo>
                  <a:lnTo>
                    <a:pt x="2251" y="3132"/>
                  </a:lnTo>
                  <a:cubicBezTo>
                    <a:pt x="2251" y="3025"/>
                    <a:pt x="2334" y="2941"/>
                    <a:pt x="2441" y="2941"/>
                  </a:cubicBezTo>
                  <a:lnTo>
                    <a:pt x="2632" y="2941"/>
                  </a:lnTo>
                  <a:lnTo>
                    <a:pt x="2632" y="2953"/>
                  </a:lnTo>
                  <a:cubicBezTo>
                    <a:pt x="2632" y="3036"/>
                    <a:pt x="2715" y="3120"/>
                    <a:pt x="2798" y="3120"/>
                  </a:cubicBezTo>
                  <a:cubicBezTo>
                    <a:pt x="2882" y="3120"/>
                    <a:pt x="2965" y="3036"/>
                    <a:pt x="2965" y="2953"/>
                  </a:cubicBezTo>
                  <a:lnTo>
                    <a:pt x="2965" y="2941"/>
                  </a:lnTo>
                  <a:close/>
                  <a:moveTo>
                    <a:pt x="7692" y="2953"/>
                  </a:moveTo>
                  <a:cubicBezTo>
                    <a:pt x="7811" y="2953"/>
                    <a:pt x="7894" y="3036"/>
                    <a:pt x="7894" y="3144"/>
                  </a:cubicBezTo>
                  <a:lnTo>
                    <a:pt x="7894" y="4025"/>
                  </a:lnTo>
                  <a:cubicBezTo>
                    <a:pt x="7894" y="4120"/>
                    <a:pt x="7799" y="4215"/>
                    <a:pt x="7692" y="4215"/>
                  </a:cubicBezTo>
                  <a:lnTo>
                    <a:pt x="7501" y="4215"/>
                  </a:lnTo>
                  <a:lnTo>
                    <a:pt x="7501" y="4025"/>
                  </a:lnTo>
                  <a:lnTo>
                    <a:pt x="7501" y="2953"/>
                  </a:lnTo>
                  <a:close/>
                  <a:moveTo>
                    <a:pt x="7513" y="4513"/>
                  </a:moveTo>
                  <a:lnTo>
                    <a:pt x="7418" y="5096"/>
                  </a:lnTo>
                  <a:cubicBezTo>
                    <a:pt x="7394" y="5180"/>
                    <a:pt x="7323" y="5239"/>
                    <a:pt x="7239" y="5239"/>
                  </a:cubicBezTo>
                  <a:lnTo>
                    <a:pt x="7192" y="5239"/>
                  </a:lnTo>
                  <a:cubicBezTo>
                    <a:pt x="7323" y="5025"/>
                    <a:pt x="7418" y="4763"/>
                    <a:pt x="7478" y="4513"/>
                  </a:cubicBezTo>
                  <a:close/>
                  <a:moveTo>
                    <a:pt x="3691" y="4525"/>
                  </a:moveTo>
                  <a:lnTo>
                    <a:pt x="3822" y="5263"/>
                  </a:lnTo>
                  <a:lnTo>
                    <a:pt x="3346" y="5263"/>
                  </a:lnTo>
                  <a:cubicBezTo>
                    <a:pt x="3203" y="5037"/>
                    <a:pt x="3084" y="4799"/>
                    <a:pt x="3013" y="4525"/>
                  </a:cubicBezTo>
                  <a:close/>
                  <a:moveTo>
                    <a:pt x="6108" y="4525"/>
                  </a:moveTo>
                  <a:lnTo>
                    <a:pt x="5965" y="5263"/>
                  </a:lnTo>
                  <a:lnTo>
                    <a:pt x="4168" y="5263"/>
                  </a:lnTo>
                  <a:lnTo>
                    <a:pt x="4037" y="4525"/>
                  </a:lnTo>
                  <a:close/>
                  <a:moveTo>
                    <a:pt x="7144" y="4525"/>
                  </a:moveTo>
                  <a:cubicBezTo>
                    <a:pt x="7073" y="4787"/>
                    <a:pt x="6966" y="5025"/>
                    <a:pt x="6823" y="5227"/>
                  </a:cubicBezTo>
                  <a:cubicBezTo>
                    <a:pt x="6823" y="5239"/>
                    <a:pt x="6799" y="5239"/>
                    <a:pt x="6799" y="5263"/>
                  </a:cubicBezTo>
                  <a:lnTo>
                    <a:pt x="6323" y="5263"/>
                  </a:lnTo>
                  <a:lnTo>
                    <a:pt x="6465" y="4525"/>
                  </a:lnTo>
                  <a:close/>
                  <a:moveTo>
                    <a:pt x="2691" y="4549"/>
                  </a:moveTo>
                  <a:cubicBezTo>
                    <a:pt x="2751" y="4799"/>
                    <a:pt x="2846" y="5049"/>
                    <a:pt x="2977" y="5275"/>
                  </a:cubicBezTo>
                  <a:lnTo>
                    <a:pt x="2917" y="5275"/>
                  </a:lnTo>
                  <a:lnTo>
                    <a:pt x="2917" y="5263"/>
                  </a:lnTo>
                  <a:cubicBezTo>
                    <a:pt x="2834" y="5263"/>
                    <a:pt x="2751" y="5203"/>
                    <a:pt x="2739" y="5108"/>
                  </a:cubicBezTo>
                  <a:lnTo>
                    <a:pt x="2655" y="4549"/>
                  </a:lnTo>
                  <a:close/>
                  <a:moveTo>
                    <a:pt x="3906" y="5584"/>
                  </a:moveTo>
                  <a:lnTo>
                    <a:pt x="3941" y="5811"/>
                  </a:lnTo>
                  <a:cubicBezTo>
                    <a:pt x="3846" y="5751"/>
                    <a:pt x="3739" y="5680"/>
                    <a:pt x="3644" y="5584"/>
                  </a:cubicBezTo>
                  <a:close/>
                  <a:moveTo>
                    <a:pt x="6501" y="5584"/>
                  </a:moveTo>
                  <a:cubicBezTo>
                    <a:pt x="6418" y="5680"/>
                    <a:pt x="6311" y="5739"/>
                    <a:pt x="6204" y="5811"/>
                  </a:cubicBezTo>
                  <a:lnTo>
                    <a:pt x="6251" y="5584"/>
                  </a:lnTo>
                  <a:close/>
                  <a:moveTo>
                    <a:pt x="5906" y="5584"/>
                  </a:moveTo>
                  <a:lnTo>
                    <a:pt x="5870" y="5834"/>
                  </a:lnTo>
                  <a:cubicBezTo>
                    <a:pt x="5834" y="6013"/>
                    <a:pt x="5692" y="6132"/>
                    <a:pt x="5513" y="6132"/>
                  </a:cubicBezTo>
                  <a:lnTo>
                    <a:pt x="4632" y="6132"/>
                  </a:lnTo>
                  <a:cubicBezTo>
                    <a:pt x="4453" y="6132"/>
                    <a:pt x="4299" y="6013"/>
                    <a:pt x="4275" y="5834"/>
                  </a:cubicBezTo>
                  <a:lnTo>
                    <a:pt x="4227" y="5584"/>
                  </a:lnTo>
                  <a:close/>
                  <a:moveTo>
                    <a:pt x="6132" y="6204"/>
                  </a:moveTo>
                  <a:lnTo>
                    <a:pt x="6132" y="6775"/>
                  </a:lnTo>
                  <a:cubicBezTo>
                    <a:pt x="6132" y="7073"/>
                    <a:pt x="6346" y="7358"/>
                    <a:pt x="6620" y="7442"/>
                  </a:cubicBezTo>
                  <a:lnTo>
                    <a:pt x="6704" y="7466"/>
                  </a:lnTo>
                  <a:cubicBezTo>
                    <a:pt x="6406" y="7859"/>
                    <a:pt x="5870" y="8442"/>
                    <a:pt x="5072" y="8751"/>
                  </a:cubicBezTo>
                  <a:cubicBezTo>
                    <a:pt x="4287" y="8442"/>
                    <a:pt x="3751" y="7859"/>
                    <a:pt x="3441" y="7466"/>
                  </a:cubicBezTo>
                  <a:lnTo>
                    <a:pt x="3513" y="7442"/>
                  </a:lnTo>
                  <a:cubicBezTo>
                    <a:pt x="3810" y="7358"/>
                    <a:pt x="4001" y="7085"/>
                    <a:pt x="4001" y="6775"/>
                  </a:cubicBezTo>
                  <a:lnTo>
                    <a:pt x="4001" y="6204"/>
                  </a:lnTo>
                  <a:cubicBezTo>
                    <a:pt x="4049" y="6239"/>
                    <a:pt x="4108" y="6251"/>
                    <a:pt x="4168" y="6287"/>
                  </a:cubicBezTo>
                  <a:lnTo>
                    <a:pt x="4179" y="6287"/>
                  </a:lnTo>
                  <a:cubicBezTo>
                    <a:pt x="4299" y="6382"/>
                    <a:pt x="4465" y="6454"/>
                    <a:pt x="4632" y="6454"/>
                  </a:cubicBezTo>
                  <a:lnTo>
                    <a:pt x="5513" y="6454"/>
                  </a:lnTo>
                  <a:cubicBezTo>
                    <a:pt x="5668" y="6454"/>
                    <a:pt x="5834" y="6394"/>
                    <a:pt x="5954" y="6287"/>
                  </a:cubicBezTo>
                  <a:cubicBezTo>
                    <a:pt x="6013" y="6251"/>
                    <a:pt x="6073" y="6239"/>
                    <a:pt x="6132" y="6204"/>
                  </a:cubicBezTo>
                  <a:close/>
                  <a:moveTo>
                    <a:pt x="8942" y="6632"/>
                  </a:moveTo>
                  <a:cubicBezTo>
                    <a:pt x="9442" y="6632"/>
                    <a:pt x="9835" y="7025"/>
                    <a:pt x="9835" y="7525"/>
                  </a:cubicBezTo>
                  <a:lnTo>
                    <a:pt x="9835" y="8751"/>
                  </a:lnTo>
                  <a:lnTo>
                    <a:pt x="9823" y="8751"/>
                  </a:lnTo>
                  <a:cubicBezTo>
                    <a:pt x="9823" y="9049"/>
                    <a:pt x="9585" y="9287"/>
                    <a:pt x="9287" y="9287"/>
                  </a:cubicBezTo>
                  <a:lnTo>
                    <a:pt x="8049" y="9287"/>
                  </a:lnTo>
                  <a:lnTo>
                    <a:pt x="8049" y="7061"/>
                  </a:lnTo>
                  <a:cubicBezTo>
                    <a:pt x="8109" y="7025"/>
                    <a:pt x="8168" y="7001"/>
                    <a:pt x="8216" y="6954"/>
                  </a:cubicBezTo>
                  <a:lnTo>
                    <a:pt x="8454" y="6775"/>
                  </a:lnTo>
                  <a:cubicBezTo>
                    <a:pt x="8573" y="6692"/>
                    <a:pt x="8716" y="6632"/>
                    <a:pt x="8882" y="6632"/>
                  </a:cubicBezTo>
                  <a:close/>
                  <a:moveTo>
                    <a:pt x="5072" y="0"/>
                  </a:moveTo>
                  <a:cubicBezTo>
                    <a:pt x="3572" y="0"/>
                    <a:pt x="2358" y="1179"/>
                    <a:pt x="2274" y="2667"/>
                  </a:cubicBezTo>
                  <a:cubicBezTo>
                    <a:pt x="2072" y="2739"/>
                    <a:pt x="1917" y="2929"/>
                    <a:pt x="1917" y="3156"/>
                  </a:cubicBezTo>
                  <a:lnTo>
                    <a:pt x="1917" y="4037"/>
                  </a:lnTo>
                  <a:cubicBezTo>
                    <a:pt x="1917" y="4275"/>
                    <a:pt x="2084" y="4465"/>
                    <a:pt x="2298" y="4525"/>
                  </a:cubicBezTo>
                  <a:lnTo>
                    <a:pt x="2394" y="5168"/>
                  </a:lnTo>
                  <a:cubicBezTo>
                    <a:pt x="2441" y="5418"/>
                    <a:pt x="2655" y="5596"/>
                    <a:pt x="2906" y="5596"/>
                  </a:cubicBezTo>
                  <a:lnTo>
                    <a:pt x="3191" y="5596"/>
                  </a:lnTo>
                  <a:cubicBezTo>
                    <a:pt x="3334" y="5763"/>
                    <a:pt x="3489" y="5906"/>
                    <a:pt x="3679" y="6049"/>
                  </a:cubicBezTo>
                  <a:lnTo>
                    <a:pt x="3679" y="6799"/>
                  </a:lnTo>
                  <a:cubicBezTo>
                    <a:pt x="3679" y="6966"/>
                    <a:pt x="3572" y="7097"/>
                    <a:pt x="3429" y="7144"/>
                  </a:cubicBezTo>
                  <a:lnTo>
                    <a:pt x="3263" y="7192"/>
                  </a:lnTo>
                  <a:cubicBezTo>
                    <a:pt x="3203" y="7097"/>
                    <a:pt x="3167" y="7049"/>
                    <a:pt x="3167" y="7025"/>
                  </a:cubicBezTo>
                  <a:cubicBezTo>
                    <a:pt x="3108" y="6906"/>
                    <a:pt x="2989" y="6846"/>
                    <a:pt x="2870" y="6846"/>
                  </a:cubicBezTo>
                  <a:lnTo>
                    <a:pt x="2572" y="6846"/>
                  </a:lnTo>
                  <a:cubicBezTo>
                    <a:pt x="2429" y="6846"/>
                    <a:pt x="2263" y="6799"/>
                    <a:pt x="2144" y="6704"/>
                  </a:cubicBezTo>
                  <a:lnTo>
                    <a:pt x="1905" y="6525"/>
                  </a:lnTo>
                  <a:cubicBezTo>
                    <a:pt x="1727" y="6394"/>
                    <a:pt x="1501" y="6311"/>
                    <a:pt x="1286" y="6311"/>
                  </a:cubicBezTo>
                  <a:lnTo>
                    <a:pt x="1227" y="6311"/>
                  </a:lnTo>
                  <a:cubicBezTo>
                    <a:pt x="548" y="6311"/>
                    <a:pt x="0" y="6870"/>
                    <a:pt x="0" y="7537"/>
                  </a:cubicBezTo>
                  <a:lnTo>
                    <a:pt x="0" y="8775"/>
                  </a:lnTo>
                  <a:cubicBezTo>
                    <a:pt x="0" y="9192"/>
                    <a:pt x="298" y="9549"/>
                    <a:pt x="703" y="9621"/>
                  </a:cubicBezTo>
                  <a:lnTo>
                    <a:pt x="703" y="11049"/>
                  </a:lnTo>
                  <a:cubicBezTo>
                    <a:pt x="703" y="11133"/>
                    <a:pt x="774" y="11216"/>
                    <a:pt x="870" y="11216"/>
                  </a:cubicBezTo>
                  <a:cubicBezTo>
                    <a:pt x="953" y="11216"/>
                    <a:pt x="1024" y="11133"/>
                    <a:pt x="1024" y="11049"/>
                  </a:cubicBezTo>
                  <a:lnTo>
                    <a:pt x="1024" y="9633"/>
                  </a:lnTo>
                  <a:lnTo>
                    <a:pt x="2096" y="9633"/>
                  </a:lnTo>
                  <a:lnTo>
                    <a:pt x="2096" y="11049"/>
                  </a:lnTo>
                  <a:cubicBezTo>
                    <a:pt x="2096" y="11133"/>
                    <a:pt x="2179" y="11216"/>
                    <a:pt x="2263" y="11216"/>
                  </a:cubicBezTo>
                  <a:cubicBezTo>
                    <a:pt x="2358" y="11216"/>
                    <a:pt x="2429" y="11133"/>
                    <a:pt x="2429" y="11049"/>
                  </a:cubicBezTo>
                  <a:lnTo>
                    <a:pt x="2429" y="9109"/>
                  </a:lnTo>
                  <a:cubicBezTo>
                    <a:pt x="2429" y="9025"/>
                    <a:pt x="2358" y="8954"/>
                    <a:pt x="2263" y="8954"/>
                  </a:cubicBezTo>
                  <a:cubicBezTo>
                    <a:pt x="2179" y="8954"/>
                    <a:pt x="2096" y="9025"/>
                    <a:pt x="2096" y="9109"/>
                  </a:cubicBezTo>
                  <a:lnTo>
                    <a:pt x="2096" y="9311"/>
                  </a:lnTo>
                  <a:lnTo>
                    <a:pt x="870" y="9311"/>
                  </a:lnTo>
                  <a:cubicBezTo>
                    <a:pt x="572" y="9311"/>
                    <a:pt x="334" y="9073"/>
                    <a:pt x="334" y="8775"/>
                  </a:cubicBezTo>
                  <a:lnTo>
                    <a:pt x="334" y="7537"/>
                  </a:lnTo>
                  <a:cubicBezTo>
                    <a:pt x="334" y="7049"/>
                    <a:pt x="727" y="6644"/>
                    <a:pt x="1227" y="6644"/>
                  </a:cubicBezTo>
                  <a:lnTo>
                    <a:pt x="1286" y="6644"/>
                  </a:lnTo>
                  <a:cubicBezTo>
                    <a:pt x="1429" y="6644"/>
                    <a:pt x="1596" y="6692"/>
                    <a:pt x="1715" y="6787"/>
                  </a:cubicBezTo>
                  <a:lnTo>
                    <a:pt x="1953" y="6966"/>
                  </a:lnTo>
                  <a:cubicBezTo>
                    <a:pt x="2013" y="7013"/>
                    <a:pt x="2060" y="7049"/>
                    <a:pt x="2120" y="7073"/>
                  </a:cubicBezTo>
                  <a:lnTo>
                    <a:pt x="2120" y="8418"/>
                  </a:lnTo>
                  <a:cubicBezTo>
                    <a:pt x="2120" y="8501"/>
                    <a:pt x="2191" y="8573"/>
                    <a:pt x="2274" y="8573"/>
                  </a:cubicBezTo>
                  <a:cubicBezTo>
                    <a:pt x="2370" y="8573"/>
                    <a:pt x="2441" y="8501"/>
                    <a:pt x="2441" y="8418"/>
                  </a:cubicBezTo>
                  <a:lnTo>
                    <a:pt x="2441" y="7168"/>
                  </a:lnTo>
                  <a:cubicBezTo>
                    <a:pt x="2489" y="7168"/>
                    <a:pt x="2536" y="7180"/>
                    <a:pt x="2572" y="7180"/>
                  </a:cubicBezTo>
                  <a:lnTo>
                    <a:pt x="2894" y="7180"/>
                  </a:lnTo>
                  <a:cubicBezTo>
                    <a:pt x="2917" y="7239"/>
                    <a:pt x="3608" y="8549"/>
                    <a:pt x="5037" y="9097"/>
                  </a:cubicBezTo>
                  <a:cubicBezTo>
                    <a:pt x="5055" y="9103"/>
                    <a:pt x="5072" y="9106"/>
                    <a:pt x="5092" y="9106"/>
                  </a:cubicBezTo>
                  <a:cubicBezTo>
                    <a:pt x="5111" y="9106"/>
                    <a:pt x="5132" y="9103"/>
                    <a:pt x="5156" y="9097"/>
                  </a:cubicBezTo>
                  <a:cubicBezTo>
                    <a:pt x="6596" y="8561"/>
                    <a:pt x="7275" y="7239"/>
                    <a:pt x="7299" y="7180"/>
                  </a:cubicBezTo>
                  <a:lnTo>
                    <a:pt x="7608" y="7180"/>
                  </a:lnTo>
                  <a:cubicBezTo>
                    <a:pt x="7656" y="7180"/>
                    <a:pt x="7692" y="7180"/>
                    <a:pt x="7739" y="7168"/>
                  </a:cubicBezTo>
                  <a:lnTo>
                    <a:pt x="7739" y="11049"/>
                  </a:lnTo>
                  <a:cubicBezTo>
                    <a:pt x="7739" y="11133"/>
                    <a:pt x="7811" y="11216"/>
                    <a:pt x="7906" y="11216"/>
                  </a:cubicBezTo>
                  <a:cubicBezTo>
                    <a:pt x="7989" y="11216"/>
                    <a:pt x="8073" y="11133"/>
                    <a:pt x="8073" y="11049"/>
                  </a:cubicBezTo>
                  <a:lnTo>
                    <a:pt x="8073" y="9633"/>
                  </a:lnTo>
                  <a:lnTo>
                    <a:pt x="9144" y="9633"/>
                  </a:lnTo>
                  <a:lnTo>
                    <a:pt x="9144" y="11049"/>
                  </a:lnTo>
                  <a:cubicBezTo>
                    <a:pt x="9144" y="11133"/>
                    <a:pt x="9216" y="11216"/>
                    <a:pt x="9299" y="11216"/>
                  </a:cubicBezTo>
                  <a:cubicBezTo>
                    <a:pt x="9394" y="11216"/>
                    <a:pt x="9466" y="11133"/>
                    <a:pt x="9466" y="11049"/>
                  </a:cubicBezTo>
                  <a:lnTo>
                    <a:pt x="9466" y="9621"/>
                  </a:lnTo>
                  <a:cubicBezTo>
                    <a:pt x="9871" y="9549"/>
                    <a:pt x="10168" y="9192"/>
                    <a:pt x="10168" y="8775"/>
                  </a:cubicBezTo>
                  <a:lnTo>
                    <a:pt x="10168" y="7537"/>
                  </a:lnTo>
                  <a:cubicBezTo>
                    <a:pt x="10156" y="6846"/>
                    <a:pt x="9621" y="6311"/>
                    <a:pt x="8930" y="6311"/>
                  </a:cubicBezTo>
                  <a:lnTo>
                    <a:pt x="8871" y="6311"/>
                  </a:lnTo>
                  <a:cubicBezTo>
                    <a:pt x="8644" y="6311"/>
                    <a:pt x="8418" y="6394"/>
                    <a:pt x="8240" y="6525"/>
                  </a:cubicBezTo>
                  <a:lnTo>
                    <a:pt x="8013" y="6704"/>
                  </a:lnTo>
                  <a:cubicBezTo>
                    <a:pt x="7894" y="6787"/>
                    <a:pt x="7739" y="6846"/>
                    <a:pt x="7573" y="6846"/>
                  </a:cubicBezTo>
                  <a:lnTo>
                    <a:pt x="7275" y="6846"/>
                  </a:lnTo>
                  <a:cubicBezTo>
                    <a:pt x="7144" y="6846"/>
                    <a:pt x="7037" y="6930"/>
                    <a:pt x="6977" y="7025"/>
                  </a:cubicBezTo>
                  <a:cubicBezTo>
                    <a:pt x="6977" y="7049"/>
                    <a:pt x="6954" y="7097"/>
                    <a:pt x="6894" y="7192"/>
                  </a:cubicBezTo>
                  <a:lnTo>
                    <a:pt x="6727" y="7144"/>
                  </a:lnTo>
                  <a:cubicBezTo>
                    <a:pt x="6585" y="7097"/>
                    <a:pt x="6477" y="6954"/>
                    <a:pt x="6477" y="6799"/>
                  </a:cubicBezTo>
                  <a:lnTo>
                    <a:pt x="6477" y="6049"/>
                  </a:lnTo>
                  <a:cubicBezTo>
                    <a:pt x="6656" y="5930"/>
                    <a:pt x="6823" y="5775"/>
                    <a:pt x="6966" y="5596"/>
                  </a:cubicBezTo>
                  <a:lnTo>
                    <a:pt x="7251" y="5596"/>
                  </a:lnTo>
                  <a:cubicBezTo>
                    <a:pt x="7501" y="5596"/>
                    <a:pt x="7716" y="5418"/>
                    <a:pt x="7751" y="5168"/>
                  </a:cubicBezTo>
                  <a:lnTo>
                    <a:pt x="7859" y="4525"/>
                  </a:lnTo>
                  <a:cubicBezTo>
                    <a:pt x="8073" y="4465"/>
                    <a:pt x="8228" y="4263"/>
                    <a:pt x="8228" y="4037"/>
                  </a:cubicBezTo>
                  <a:lnTo>
                    <a:pt x="8228" y="3156"/>
                  </a:lnTo>
                  <a:cubicBezTo>
                    <a:pt x="8228" y="2929"/>
                    <a:pt x="8085" y="2739"/>
                    <a:pt x="7870" y="2667"/>
                  </a:cubicBezTo>
                  <a:cubicBezTo>
                    <a:pt x="7799" y="1191"/>
                    <a:pt x="6585" y="0"/>
                    <a:pt x="5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0" name="Google Shape;12120;p61"/>
            <p:cNvSpPr/>
            <p:nvPr/>
          </p:nvSpPr>
          <p:spPr>
            <a:xfrm>
              <a:off x="6312199" y="1800445"/>
              <a:ext cx="99253" cy="54743"/>
            </a:xfrm>
            <a:custGeom>
              <a:avLst/>
              <a:gdLst/>
              <a:ahLst/>
              <a:cxnLst/>
              <a:rect l="l" t="t" r="r" b="b"/>
              <a:pathLst>
                <a:path w="3133" h="1728" extrusionOk="0">
                  <a:moveTo>
                    <a:pt x="1560" y="1"/>
                  </a:moveTo>
                  <a:cubicBezTo>
                    <a:pt x="703" y="1"/>
                    <a:pt x="1" y="703"/>
                    <a:pt x="1" y="1572"/>
                  </a:cubicBezTo>
                  <a:cubicBezTo>
                    <a:pt x="1" y="1656"/>
                    <a:pt x="72" y="1727"/>
                    <a:pt x="167" y="1727"/>
                  </a:cubicBezTo>
                  <a:cubicBezTo>
                    <a:pt x="251" y="1727"/>
                    <a:pt x="334" y="1656"/>
                    <a:pt x="334" y="1572"/>
                  </a:cubicBezTo>
                  <a:cubicBezTo>
                    <a:pt x="334" y="882"/>
                    <a:pt x="882" y="334"/>
                    <a:pt x="1560" y="334"/>
                  </a:cubicBezTo>
                  <a:cubicBezTo>
                    <a:pt x="2251" y="334"/>
                    <a:pt x="2799" y="882"/>
                    <a:pt x="2799" y="1572"/>
                  </a:cubicBezTo>
                  <a:cubicBezTo>
                    <a:pt x="2799" y="1656"/>
                    <a:pt x="2870" y="1727"/>
                    <a:pt x="2965" y="1727"/>
                  </a:cubicBezTo>
                  <a:cubicBezTo>
                    <a:pt x="3049" y="1727"/>
                    <a:pt x="3120" y="1656"/>
                    <a:pt x="3120" y="1572"/>
                  </a:cubicBezTo>
                  <a:cubicBezTo>
                    <a:pt x="3132" y="703"/>
                    <a:pt x="2430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21" name="Google Shape;12121;p61"/>
          <p:cNvGrpSpPr/>
          <p:nvPr/>
        </p:nvGrpSpPr>
        <p:grpSpPr>
          <a:xfrm>
            <a:off x="5289631" y="1500214"/>
            <a:ext cx="332355" cy="354974"/>
            <a:chOff x="5289631" y="1500214"/>
            <a:chExt cx="332355" cy="354974"/>
          </a:xfrm>
        </p:grpSpPr>
        <p:sp>
          <p:nvSpPr>
            <p:cNvPr id="12122" name="Google Shape;12122;p61"/>
            <p:cNvSpPr/>
            <p:nvPr/>
          </p:nvSpPr>
          <p:spPr>
            <a:xfrm>
              <a:off x="5432603" y="1667040"/>
              <a:ext cx="45651" cy="16157"/>
            </a:xfrm>
            <a:custGeom>
              <a:avLst/>
              <a:gdLst/>
              <a:ahLst/>
              <a:cxnLst/>
              <a:rect l="l" t="t" r="r" b="b"/>
              <a:pathLst>
                <a:path w="1441" h="510" extrusionOk="0">
                  <a:moveTo>
                    <a:pt x="183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0" y="104"/>
                    <a:pt x="0" y="211"/>
                    <a:pt x="60" y="283"/>
                  </a:cubicBezTo>
                  <a:cubicBezTo>
                    <a:pt x="203" y="426"/>
                    <a:pt x="441" y="509"/>
                    <a:pt x="691" y="509"/>
                  </a:cubicBezTo>
                  <a:cubicBezTo>
                    <a:pt x="965" y="509"/>
                    <a:pt x="1203" y="426"/>
                    <a:pt x="1334" y="283"/>
                  </a:cubicBezTo>
                  <a:cubicBezTo>
                    <a:pt x="1441" y="223"/>
                    <a:pt x="1441" y="128"/>
                    <a:pt x="1370" y="45"/>
                  </a:cubicBezTo>
                  <a:cubicBezTo>
                    <a:pt x="1334" y="15"/>
                    <a:pt x="1292" y="0"/>
                    <a:pt x="1251" y="0"/>
                  </a:cubicBezTo>
                  <a:cubicBezTo>
                    <a:pt x="1209" y="0"/>
                    <a:pt x="1167" y="15"/>
                    <a:pt x="1131" y="45"/>
                  </a:cubicBezTo>
                  <a:cubicBezTo>
                    <a:pt x="1072" y="104"/>
                    <a:pt x="917" y="188"/>
                    <a:pt x="715" y="188"/>
                  </a:cubicBezTo>
                  <a:cubicBezTo>
                    <a:pt x="500" y="188"/>
                    <a:pt x="358" y="104"/>
                    <a:pt x="298" y="45"/>
                  </a:cubicBezTo>
                  <a:cubicBezTo>
                    <a:pt x="268" y="15"/>
                    <a:pt x="227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3" name="Google Shape;12123;p61"/>
            <p:cNvSpPr/>
            <p:nvPr/>
          </p:nvSpPr>
          <p:spPr>
            <a:xfrm>
              <a:off x="5416763" y="1628074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4" name="Google Shape;12124;p61"/>
            <p:cNvSpPr/>
            <p:nvPr/>
          </p:nvSpPr>
          <p:spPr>
            <a:xfrm>
              <a:off x="5483893" y="1628074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5" name="Google Shape;12125;p61"/>
            <p:cNvSpPr/>
            <p:nvPr/>
          </p:nvSpPr>
          <p:spPr>
            <a:xfrm>
              <a:off x="5411093" y="1611474"/>
              <a:ext cx="21923" cy="10613"/>
            </a:xfrm>
            <a:custGeom>
              <a:avLst/>
              <a:gdLst/>
              <a:ahLst/>
              <a:cxnLst/>
              <a:rect l="l" t="t" r="r" b="b"/>
              <a:pathLst>
                <a:path w="692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525" y="334"/>
                  </a:lnTo>
                  <a:cubicBezTo>
                    <a:pt x="608" y="334"/>
                    <a:pt x="691" y="251"/>
                    <a:pt x="691" y="168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6" name="Google Shape;12126;p61"/>
            <p:cNvSpPr/>
            <p:nvPr/>
          </p:nvSpPr>
          <p:spPr>
            <a:xfrm>
              <a:off x="5478254" y="1611474"/>
              <a:ext cx="21511" cy="10613"/>
            </a:xfrm>
            <a:custGeom>
              <a:avLst/>
              <a:gdLst/>
              <a:ahLst/>
              <a:cxnLst/>
              <a:rect l="l" t="t" r="r" b="b"/>
              <a:pathLst>
                <a:path w="679" h="335" extrusionOk="0">
                  <a:moveTo>
                    <a:pt x="155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55" y="334"/>
                  </a:cubicBezTo>
                  <a:lnTo>
                    <a:pt x="524" y="334"/>
                  </a:lnTo>
                  <a:cubicBezTo>
                    <a:pt x="607" y="334"/>
                    <a:pt x="679" y="251"/>
                    <a:pt x="679" y="168"/>
                  </a:cubicBezTo>
                  <a:cubicBezTo>
                    <a:pt x="679" y="72"/>
                    <a:pt x="607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7" name="Google Shape;12127;p61"/>
            <p:cNvSpPr/>
            <p:nvPr/>
          </p:nvSpPr>
          <p:spPr>
            <a:xfrm>
              <a:off x="5289631" y="1500214"/>
              <a:ext cx="332355" cy="354974"/>
            </a:xfrm>
            <a:custGeom>
              <a:avLst/>
              <a:gdLst/>
              <a:ahLst/>
              <a:cxnLst/>
              <a:rect l="l" t="t" r="r" b="b"/>
              <a:pathLst>
                <a:path w="10491" h="11205" extrusionOk="0">
                  <a:moveTo>
                    <a:pt x="5930" y="322"/>
                  </a:moveTo>
                  <a:cubicBezTo>
                    <a:pt x="6395" y="322"/>
                    <a:pt x="6978" y="596"/>
                    <a:pt x="7347" y="858"/>
                  </a:cubicBezTo>
                  <a:cubicBezTo>
                    <a:pt x="7752" y="1143"/>
                    <a:pt x="8240" y="1655"/>
                    <a:pt x="8335" y="2429"/>
                  </a:cubicBezTo>
                  <a:cubicBezTo>
                    <a:pt x="8395" y="2989"/>
                    <a:pt x="8550" y="3263"/>
                    <a:pt x="8716" y="3513"/>
                  </a:cubicBezTo>
                  <a:cubicBezTo>
                    <a:pt x="8812" y="3680"/>
                    <a:pt x="8895" y="3822"/>
                    <a:pt x="8966" y="4049"/>
                  </a:cubicBezTo>
                  <a:cubicBezTo>
                    <a:pt x="9073" y="4370"/>
                    <a:pt x="9073" y="4632"/>
                    <a:pt x="9073" y="4894"/>
                  </a:cubicBezTo>
                  <a:cubicBezTo>
                    <a:pt x="9073" y="5144"/>
                    <a:pt x="9073" y="5406"/>
                    <a:pt x="9169" y="5715"/>
                  </a:cubicBezTo>
                  <a:cubicBezTo>
                    <a:pt x="9228" y="5918"/>
                    <a:pt x="9300" y="6085"/>
                    <a:pt x="9371" y="6239"/>
                  </a:cubicBezTo>
                  <a:cubicBezTo>
                    <a:pt x="9526" y="6537"/>
                    <a:pt x="9657" y="6799"/>
                    <a:pt x="9645" y="7442"/>
                  </a:cubicBezTo>
                  <a:cubicBezTo>
                    <a:pt x="9621" y="8037"/>
                    <a:pt x="9800" y="8430"/>
                    <a:pt x="9919" y="8740"/>
                  </a:cubicBezTo>
                  <a:cubicBezTo>
                    <a:pt x="10062" y="9049"/>
                    <a:pt x="10145" y="9264"/>
                    <a:pt x="10026" y="9597"/>
                  </a:cubicBezTo>
                  <a:cubicBezTo>
                    <a:pt x="9931" y="9918"/>
                    <a:pt x="9645" y="10133"/>
                    <a:pt x="9454" y="10252"/>
                  </a:cubicBezTo>
                  <a:lnTo>
                    <a:pt x="9454" y="9692"/>
                  </a:lnTo>
                  <a:cubicBezTo>
                    <a:pt x="9454" y="9168"/>
                    <a:pt x="9121" y="8704"/>
                    <a:pt x="8633" y="8549"/>
                  </a:cubicBezTo>
                  <a:lnTo>
                    <a:pt x="6811" y="7906"/>
                  </a:lnTo>
                  <a:cubicBezTo>
                    <a:pt x="6609" y="7835"/>
                    <a:pt x="6454" y="7620"/>
                    <a:pt x="6454" y="7394"/>
                  </a:cubicBezTo>
                  <a:lnTo>
                    <a:pt x="6454" y="6680"/>
                  </a:lnTo>
                  <a:cubicBezTo>
                    <a:pt x="7180" y="6263"/>
                    <a:pt x="7692" y="5465"/>
                    <a:pt x="7692" y="4561"/>
                  </a:cubicBezTo>
                  <a:lnTo>
                    <a:pt x="7692" y="3977"/>
                  </a:lnTo>
                  <a:cubicBezTo>
                    <a:pt x="7704" y="3989"/>
                    <a:pt x="7716" y="3989"/>
                    <a:pt x="7716" y="4001"/>
                  </a:cubicBezTo>
                  <a:cubicBezTo>
                    <a:pt x="8073" y="4263"/>
                    <a:pt x="8300" y="4418"/>
                    <a:pt x="8347" y="4989"/>
                  </a:cubicBezTo>
                  <a:cubicBezTo>
                    <a:pt x="8347" y="5073"/>
                    <a:pt x="8419" y="5132"/>
                    <a:pt x="8514" y="5132"/>
                  </a:cubicBezTo>
                  <a:lnTo>
                    <a:pt x="8526" y="5132"/>
                  </a:lnTo>
                  <a:cubicBezTo>
                    <a:pt x="8609" y="5132"/>
                    <a:pt x="8692" y="5049"/>
                    <a:pt x="8669" y="4953"/>
                  </a:cubicBezTo>
                  <a:cubicBezTo>
                    <a:pt x="8609" y="4239"/>
                    <a:pt x="8276" y="3989"/>
                    <a:pt x="7895" y="3739"/>
                  </a:cubicBezTo>
                  <a:cubicBezTo>
                    <a:pt x="7633" y="3560"/>
                    <a:pt x="7359" y="3370"/>
                    <a:pt x="7121" y="2965"/>
                  </a:cubicBezTo>
                  <a:cubicBezTo>
                    <a:pt x="6728" y="2322"/>
                    <a:pt x="6287" y="2215"/>
                    <a:pt x="5954" y="2132"/>
                  </a:cubicBezTo>
                  <a:cubicBezTo>
                    <a:pt x="5787" y="2084"/>
                    <a:pt x="5633" y="2060"/>
                    <a:pt x="5513" y="1965"/>
                  </a:cubicBezTo>
                  <a:cubicBezTo>
                    <a:pt x="5442" y="1917"/>
                    <a:pt x="5418" y="1834"/>
                    <a:pt x="5418" y="1763"/>
                  </a:cubicBezTo>
                  <a:lnTo>
                    <a:pt x="5418" y="1417"/>
                  </a:lnTo>
                  <a:cubicBezTo>
                    <a:pt x="5418" y="1322"/>
                    <a:pt x="5335" y="1251"/>
                    <a:pt x="5252" y="1251"/>
                  </a:cubicBezTo>
                  <a:cubicBezTo>
                    <a:pt x="5156" y="1251"/>
                    <a:pt x="5085" y="1322"/>
                    <a:pt x="5085" y="1417"/>
                  </a:cubicBezTo>
                  <a:lnTo>
                    <a:pt x="5085" y="1763"/>
                  </a:lnTo>
                  <a:cubicBezTo>
                    <a:pt x="5085" y="1846"/>
                    <a:pt x="5037" y="1917"/>
                    <a:pt x="4978" y="1965"/>
                  </a:cubicBezTo>
                  <a:cubicBezTo>
                    <a:pt x="4859" y="2060"/>
                    <a:pt x="4716" y="2084"/>
                    <a:pt x="4549" y="2132"/>
                  </a:cubicBezTo>
                  <a:cubicBezTo>
                    <a:pt x="4204" y="2215"/>
                    <a:pt x="3763" y="2322"/>
                    <a:pt x="3370" y="2965"/>
                  </a:cubicBezTo>
                  <a:cubicBezTo>
                    <a:pt x="3120" y="3370"/>
                    <a:pt x="2858" y="3549"/>
                    <a:pt x="2596" y="3739"/>
                  </a:cubicBezTo>
                  <a:cubicBezTo>
                    <a:pt x="2227" y="3989"/>
                    <a:pt x="1882" y="4239"/>
                    <a:pt x="1823" y="4953"/>
                  </a:cubicBezTo>
                  <a:cubicBezTo>
                    <a:pt x="1823" y="5049"/>
                    <a:pt x="1882" y="5120"/>
                    <a:pt x="1977" y="5132"/>
                  </a:cubicBezTo>
                  <a:cubicBezTo>
                    <a:pt x="2061" y="5132"/>
                    <a:pt x="2144" y="5073"/>
                    <a:pt x="2156" y="4989"/>
                  </a:cubicBezTo>
                  <a:cubicBezTo>
                    <a:pt x="2204" y="4418"/>
                    <a:pt x="2442" y="4263"/>
                    <a:pt x="2775" y="4001"/>
                  </a:cubicBezTo>
                  <a:cubicBezTo>
                    <a:pt x="3049" y="3822"/>
                    <a:pt x="3358" y="3584"/>
                    <a:pt x="3644" y="3144"/>
                  </a:cubicBezTo>
                  <a:cubicBezTo>
                    <a:pt x="3966" y="2620"/>
                    <a:pt x="4287" y="2525"/>
                    <a:pt x="4621" y="2453"/>
                  </a:cubicBezTo>
                  <a:cubicBezTo>
                    <a:pt x="4835" y="2394"/>
                    <a:pt x="5061" y="2346"/>
                    <a:pt x="5263" y="2179"/>
                  </a:cubicBezTo>
                  <a:cubicBezTo>
                    <a:pt x="5454" y="2346"/>
                    <a:pt x="5680" y="2394"/>
                    <a:pt x="5906" y="2453"/>
                  </a:cubicBezTo>
                  <a:cubicBezTo>
                    <a:pt x="6252" y="2548"/>
                    <a:pt x="6561" y="2620"/>
                    <a:pt x="6883" y="3144"/>
                  </a:cubicBezTo>
                  <a:cubicBezTo>
                    <a:pt x="7049" y="3394"/>
                    <a:pt x="7216" y="3584"/>
                    <a:pt x="7395" y="3715"/>
                  </a:cubicBezTo>
                  <a:lnTo>
                    <a:pt x="7395" y="4525"/>
                  </a:lnTo>
                  <a:cubicBezTo>
                    <a:pt x="7395" y="5680"/>
                    <a:pt x="6454" y="6656"/>
                    <a:pt x="5299" y="6668"/>
                  </a:cubicBezTo>
                  <a:cubicBezTo>
                    <a:pt x="5292" y="6668"/>
                    <a:pt x="5285" y="6668"/>
                    <a:pt x="5277" y="6668"/>
                  </a:cubicBezTo>
                  <a:cubicBezTo>
                    <a:pt x="4109" y="6668"/>
                    <a:pt x="3156" y="5720"/>
                    <a:pt x="3156" y="4549"/>
                  </a:cubicBezTo>
                  <a:lnTo>
                    <a:pt x="3156" y="4489"/>
                  </a:lnTo>
                  <a:cubicBezTo>
                    <a:pt x="3156" y="4406"/>
                    <a:pt x="3073" y="4334"/>
                    <a:pt x="2989" y="4334"/>
                  </a:cubicBezTo>
                  <a:cubicBezTo>
                    <a:pt x="2894" y="4334"/>
                    <a:pt x="2823" y="4406"/>
                    <a:pt x="2823" y="4489"/>
                  </a:cubicBezTo>
                  <a:lnTo>
                    <a:pt x="2823" y="4549"/>
                  </a:lnTo>
                  <a:cubicBezTo>
                    <a:pt x="2823" y="5465"/>
                    <a:pt x="3311" y="6251"/>
                    <a:pt x="4061" y="6680"/>
                  </a:cubicBezTo>
                  <a:lnTo>
                    <a:pt x="4061" y="7394"/>
                  </a:lnTo>
                  <a:cubicBezTo>
                    <a:pt x="4061" y="7620"/>
                    <a:pt x="3906" y="7823"/>
                    <a:pt x="3704" y="7906"/>
                  </a:cubicBezTo>
                  <a:lnTo>
                    <a:pt x="1882" y="8537"/>
                  </a:lnTo>
                  <a:cubicBezTo>
                    <a:pt x="1394" y="8716"/>
                    <a:pt x="1072" y="9180"/>
                    <a:pt x="1072" y="9692"/>
                  </a:cubicBezTo>
                  <a:lnTo>
                    <a:pt x="1072" y="10252"/>
                  </a:lnTo>
                  <a:cubicBezTo>
                    <a:pt x="858" y="10133"/>
                    <a:pt x="596" y="9906"/>
                    <a:pt x="489" y="9597"/>
                  </a:cubicBezTo>
                  <a:cubicBezTo>
                    <a:pt x="370" y="9252"/>
                    <a:pt x="453" y="9049"/>
                    <a:pt x="608" y="8740"/>
                  </a:cubicBezTo>
                  <a:cubicBezTo>
                    <a:pt x="739" y="8418"/>
                    <a:pt x="906" y="8049"/>
                    <a:pt x="894" y="7442"/>
                  </a:cubicBezTo>
                  <a:cubicBezTo>
                    <a:pt x="870" y="6799"/>
                    <a:pt x="1025" y="6513"/>
                    <a:pt x="1156" y="6239"/>
                  </a:cubicBezTo>
                  <a:cubicBezTo>
                    <a:pt x="1227" y="6085"/>
                    <a:pt x="1311" y="5918"/>
                    <a:pt x="1370" y="5715"/>
                  </a:cubicBezTo>
                  <a:cubicBezTo>
                    <a:pt x="1453" y="5406"/>
                    <a:pt x="1453" y="5144"/>
                    <a:pt x="1453" y="4894"/>
                  </a:cubicBezTo>
                  <a:cubicBezTo>
                    <a:pt x="1453" y="4632"/>
                    <a:pt x="1453" y="4370"/>
                    <a:pt x="1561" y="4049"/>
                  </a:cubicBezTo>
                  <a:cubicBezTo>
                    <a:pt x="1632" y="3822"/>
                    <a:pt x="1727" y="3680"/>
                    <a:pt x="1811" y="3513"/>
                  </a:cubicBezTo>
                  <a:cubicBezTo>
                    <a:pt x="1965" y="3263"/>
                    <a:pt x="2120" y="2989"/>
                    <a:pt x="2204" y="2429"/>
                  </a:cubicBezTo>
                  <a:cubicBezTo>
                    <a:pt x="2287" y="1655"/>
                    <a:pt x="2775" y="1155"/>
                    <a:pt x="3180" y="858"/>
                  </a:cubicBezTo>
                  <a:cubicBezTo>
                    <a:pt x="3692" y="489"/>
                    <a:pt x="4251" y="322"/>
                    <a:pt x="4597" y="322"/>
                  </a:cubicBezTo>
                  <a:cubicBezTo>
                    <a:pt x="4763" y="322"/>
                    <a:pt x="4894" y="358"/>
                    <a:pt x="4978" y="429"/>
                  </a:cubicBezTo>
                  <a:cubicBezTo>
                    <a:pt x="5067" y="489"/>
                    <a:pt x="5168" y="518"/>
                    <a:pt x="5268" y="518"/>
                  </a:cubicBezTo>
                  <a:cubicBezTo>
                    <a:pt x="5368" y="518"/>
                    <a:pt x="5466" y="489"/>
                    <a:pt x="5549" y="429"/>
                  </a:cubicBezTo>
                  <a:cubicBezTo>
                    <a:pt x="5656" y="370"/>
                    <a:pt x="5775" y="322"/>
                    <a:pt x="5930" y="322"/>
                  </a:cubicBezTo>
                  <a:close/>
                  <a:moveTo>
                    <a:pt x="4585" y="0"/>
                  </a:moveTo>
                  <a:cubicBezTo>
                    <a:pt x="4109" y="0"/>
                    <a:pt x="3478" y="239"/>
                    <a:pt x="2977" y="596"/>
                  </a:cubicBezTo>
                  <a:cubicBezTo>
                    <a:pt x="2525" y="917"/>
                    <a:pt x="1965" y="1489"/>
                    <a:pt x="1858" y="2382"/>
                  </a:cubicBezTo>
                  <a:cubicBezTo>
                    <a:pt x="1799" y="2870"/>
                    <a:pt x="1668" y="3096"/>
                    <a:pt x="1513" y="3334"/>
                  </a:cubicBezTo>
                  <a:cubicBezTo>
                    <a:pt x="1418" y="3501"/>
                    <a:pt x="1311" y="3680"/>
                    <a:pt x="1239" y="3941"/>
                  </a:cubicBezTo>
                  <a:cubicBezTo>
                    <a:pt x="1132" y="4311"/>
                    <a:pt x="1120" y="4596"/>
                    <a:pt x="1120" y="4882"/>
                  </a:cubicBezTo>
                  <a:cubicBezTo>
                    <a:pt x="1120" y="5120"/>
                    <a:pt x="1120" y="5346"/>
                    <a:pt x="1037" y="5608"/>
                  </a:cubicBezTo>
                  <a:cubicBezTo>
                    <a:pt x="1001" y="5787"/>
                    <a:pt x="918" y="5918"/>
                    <a:pt x="846" y="6073"/>
                  </a:cubicBezTo>
                  <a:cubicBezTo>
                    <a:pt x="703" y="6382"/>
                    <a:pt x="537" y="6716"/>
                    <a:pt x="549" y="7430"/>
                  </a:cubicBezTo>
                  <a:cubicBezTo>
                    <a:pt x="560" y="7966"/>
                    <a:pt x="418" y="8287"/>
                    <a:pt x="287" y="8585"/>
                  </a:cubicBezTo>
                  <a:cubicBezTo>
                    <a:pt x="132" y="8918"/>
                    <a:pt x="1" y="9228"/>
                    <a:pt x="168" y="9692"/>
                  </a:cubicBezTo>
                  <a:cubicBezTo>
                    <a:pt x="346" y="10192"/>
                    <a:pt x="846" y="10514"/>
                    <a:pt x="1061" y="10609"/>
                  </a:cubicBezTo>
                  <a:lnTo>
                    <a:pt x="1061" y="11026"/>
                  </a:lnTo>
                  <a:cubicBezTo>
                    <a:pt x="1061" y="11121"/>
                    <a:pt x="1132" y="11192"/>
                    <a:pt x="1215" y="11192"/>
                  </a:cubicBezTo>
                  <a:cubicBezTo>
                    <a:pt x="1311" y="11192"/>
                    <a:pt x="1382" y="11121"/>
                    <a:pt x="1382" y="11026"/>
                  </a:cubicBezTo>
                  <a:lnTo>
                    <a:pt x="1382" y="9668"/>
                  </a:lnTo>
                  <a:cubicBezTo>
                    <a:pt x="1382" y="9514"/>
                    <a:pt x="1430" y="9359"/>
                    <a:pt x="1501" y="9228"/>
                  </a:cubicBezTo>
                  <a:lnTo>
                    <a:pt x="2275" y="9895"/>
                  </a:lnTo>
                  <a:cubicBezTo>
                    <a:pt x="2394" y="10002"/>
                    <a:pt x="2465" y="10145"/>
                    <a:pt x="2465" y="10299"/>
                  </a:cubicBezTo>
                  <a:lnTo>
                    <a:pt x="2465" y="11026"/>
                  </a:lnTo>
                  <a:cubicBezTo>
                    <a:pt x="2465" y="11121"/>
                    <a:pt x="2549" y="11192"/>
                    <a:pt x="2632" y="11192"/>
                  </a:cubicBezTo>
                  <a:cubicBezTo>
                    <a:pt x="2716" y="11192"/>
                    <a:pt x="2799" y="11121"/>
                    <a:pt x="2799" y="11026"/>
                  </a:cubicBezTo>
                  <a:lnTo>
                    <a:pt x="2799" y="10299"/>
                  </a:lnTo>
                  <a:cubicBezTo>
                    <a:pt x="2799" y="10049"/>
                    <a:pt x="2692" y="9811"/>
                    <a:pt x="2501" y="9645"/>
                  </a:cubicBezTo>
                  <a:lnTo>
                    <a:pt x="1727" y="8978"/>
                  </a:lnTo>
                  <a:cubicBezTo>
                    <a:pt x="1799" y="8918"/>
                    <a:pt x="1882" y="8871"/>
                    <a:pt x="1977" y="8823"/>
                  </a:cubicBezTo>
                  <a:lnTo>
                    <a:pt x="3013" y="8454"/>
                  </a:lnTo>
                  <a:cubicBezTo>
                    <a:pt x="3728" y="9371"/>
                    <a:pt x="4466" y="10002"/>
                    <a:pt x="5192" y="10299"/>
                  </a:cubicBezTo>
                  <a:cubicBezTo>
                    <a:pt x="5204" y="10311"/>
                    <a:pt x="5240" y="10311"/>
                    <a:pt x="5252" y="10311"/>
                  </a:cubicBezTo>
                  <a:cubicBezTo>
                    <a:pt x="5263" y="10311"/>
                    <a:pt x="5299" y="10311"/>
                    <a:pt x="5311" y="10299"/>
                  </a:cubicBezTo>
                  <a:cubicBezTo>
                    <a:pt x="5764" y="10121"/>
                    <a:pt x="6216" y="9811"/>
                    <a:pt x="6668" y="9395"/>
                  </a:cubicBezTo>
                  <a:cubicBezTo>
                    <a:pt x="6728" y="9335"/>
                    <a:pt x="6740" y="9228"/>
                    <a:pt x="6668" y="9156"/>
                  </a:cubicBezTo>
                  <a:cubicBezTo>
                    <a:pt x="6636" y="9124"/>
                    <a:pt x="6590" y="9102"/>
                    <a:pt x="6543" y="9102"/>
                  </a:cubicBezTo>
                  <a:cubicBezTo>
                    <a:pt x="6503" y="9102"/>
                    <a:pt x="6463" y="9118"/>
                    <a:pt x="6430" y="9156"/>
                  </a:cubicBezTo>
                  <a:cubicBezTo>
                    <a:pt x="6025" y="9525"/>
                    <a:pt x="5644" y="9811"/>
                    <a:pt x="5252" y="9966"/>
                  </a:cubicBezTo>
                  <a:cubicBezTo>
                    <a:pt x="4478" y="9633"/>
                    <a:pt x="3811" y="8930"/>
                    <a:pt x="3347" y="8347"/>
                  </a:cubicBezTo>
                  <a:lnTo>
                    <a:pt x="3799" y="8204"/>
                  </a:lnTo>
                  <a:cubicBezTo>
                    <a:pt x="4132" y="8085"/>
                    <a:pt x="4370" y="7751"/>
                    <a:pt x="4370" y="7382"/>
                  </a:cubicBezTo>
                  <a:lnTo>
                    <a:pt x="4370" y="6811"/>
                  </a:lnTo>
                  <a:cubicBezTo>
                    <a:pt x="4656" y="6918"/>
                    <a:pt x="4954" y="6978"/>
                    <a:pt x="5263" y="6978"/>
                  </a:cubicBezTo>
                  <a:cubicBezTo>
                    <a:pt x="5585" y="6978"/>
                    <a:pt x="5883" y="6918"/>
                    <a:pt x="6156" y="6811"/>
                  </a:cubicBezTo>
                  <a:lnTo>
                    <a:pt x="6156" y="7382"/>
                  </a:lnTo>
                  <a:cubicBezTo>
                    <a:pt x="6156" y="7751"/>
                    <a:pt x="6395" y="8085"/>
                    <a:pt x="6740" y="8204"/>
                  </a:cubicBezTo>
                  <a:lnTo>
                    <a:pt x="7192" y="8347"/>
                  </a:lnTo>
                  <a:cubicBezTo>
                    <a:pt x="7097" y="8466"/>
                    <a:pt x="7014" y="8573"/>
                    <a:pt x="6907" y="8692"/>
                  </a:cubicBezTo>
                  <a:cubicBezTo>
                    <a:pt x="6847" y="8763"/>
                    <a:pt x="6847" y="8871"/>
                    <a:pt x="6918" y="8930"/>
                  </a:cubicBezTo>
                  <a:cubicBezTo>
                    <a:pt x="6954" y="8954"/>
                    <a:pt x="6990" y="8978"/>
                    <a:pt x="7026" y="8978"/>
                  </a:cubicBezTo>
                  <a:cubicBezTo>
                    <a:pt x="7073" y="8978"/>
                    <a:pt x="7109" y="8954"/>
                    <a:pt x="7145" y="8918"/>
                  </a:cubicBezTo>
                  <a:cubicBezTo>
                    <a:pt x="7264" y="8787"/>
                    <a:pt x="7383" y="8633"/>
                    <a:pt x="7502" y="8490"/>
                  </a:cubicBezTo>
                  <a:lnTo>
                    <a:pt x="8538" y="8859"/>
                  </a:lnTo>
                  <a:cubicBezTo>
                    <a:pt x="8645" y="8883"/>
                    <a:pt x="8740" y="8942"/>
                    <a:pt x="8812" y="9002"/>
                  </a:cubicBezTo>
                  <a:lnTo>
                    <a:pt x="8038" y="9656"/>
                  </a:lnTo>
                  <a:cubicBezTo>
                    <a:pt x="7847" y="9823"/>
                    <a:pt x="7740" y="10061"/>
                    <a:pt x="7740" y="10311"/>
                  </a:cubicBezTo>
                  <a:lnTo>
                    <a:pt x="7740" y="11038"/>
                  </a:lnTo>
                  <a:cubicBezTo>
                    <a:pt x="7740" y="11133"/>
                    <a:pt x="7811" y="11204"/>
                    <a:pt x="7895" y="11204"/>
                  </a:cubicBezTo>
                  <a:cubicBezTo>
                    <a:pt x="7990" y="11204"/>
                    <a:pt x="8061" y="11133"/>
                    <a:pt x="8061" y="11038"/>
                  </a:cubicBezTo>
                  <a:lnTo>
                    <a:pt x="8061" y="10311"/>
                  </a:lnTo>
                  <a:cubicBezTo>
                    <a:pt x="8061" y="10145"/>
                    <a:pt x="8133" y="10002"/>
                    <a:pt x="8252" y="9918"/>
                  </a:cubicBezTo>
                  <a:lnTo>
                    <a:pt x="9014" y="9264"/>
                  </a:lnTo>
                  <a:cubicBezTo>
                    <a:pt x="9085" y="9395"/>
                    <a:pt x="9133" y="9537"/>
                    <a:pt x="9133" y="9692"/>
                  </a:cubicBezTo>
                  <a:lnTo>
                    <a:pt x="9133" y="11049"/>
                  </a:lnTo>
                  <a:cubicBezTo>
                    <a:pt x="9133" y="11133"/>
                    <a:pt x="9204" y="11204"/>
                    <a:pt x="9300" y="11204"/>
                  </a:cubicBezTo>
                  <a:cubicBezTo>
                    <a:pt x="9383" y="11204"/>
                    <a:pt x="9466" y="11133"/>
                    <a:pt x="9466" y="11049"/>
                  </a:cubicBezTo>
                  <a:lnTo>
                    <a:pt x="9466" y="10633"/>
                  </a:lnTo>
                  <a:cubicBezTo>
                    <a:pt x="9681" y="10514"/>
                    <a:pt x="10193" y="10216"/>
                    <a:pt x="10359" y="9704"/>
                  </a:cubicBezTo>
                  <a:cubicBezTo>
                    <a:pt x="10490" y="9240"/>
                    <a:pt x="10359" y="8930"/>
                    <a:pt x="10228" y="8585"/>
                  </a:cubicBezTo>
                  <a:cubicBezTo>
                    <a:pt x="10085" y="8287"/>
                    <a:pt x="9955" y="7966"/>
                    <a:pt x="9955" y="7430"/>
                  </a:cubicBezTo>
                  <a:cubicBezTo>
                    <a:pt x="9966" y="6716"/>
                    <a:pt x="9812" y="6382"/>
                    <a:pt x="9657" y="6073"/>
                  </a:cubicBezTo>
                  <a:cubicBezTo>
                    <a:pt x="9585" y="5918"/>
                    <a:pt x="9526" y="5787"/>
                    <a:pt x="9466" y="5608"/>
                  </a:cubicBezTo>
                  <a:cubicBezTo>
                    <a:pt x="9395" y="5346"/>
                    <a:pt x="9395" y="5120"/>
                    <a:pt x="9395" y="4882"/>
                  </a:cubicBezTo>
                  <a:cubicBezTo>
                    <a:pt x="9395" y="4596"/>
                    <a:pt x="9395" y="4311"/>
                    <a:pt x="9276" y="3941"/>
                  </a:cubicBezTo>
                  <a:cubicBezTo>
                    <a:pt x="9193" y="3680"/>
                    <a:pt x="9097" y="3513"/>
                    <a:pt x="8990" y="3334"/>
                  </a:cubicBezTo>
                  <a:cubicBezTo>
                    <a:pt x="8835" y="3096"/>
                    <a:pt x="8704" y="2870"/>
                    <a:pt x="8645" y="2382"/>
                  </a:cubicBezTo>
                  <a:cubicBezTo>
                    <a:pt x="8538" y="1489"/>
                    <a:pt x="7978" y="917"/>
                    <a:pt x="7526" y="596"/>
                  </a:cubicBezTo>
                  <a:cubicBezTo>
                    <a:pt x="7026" y="239"/>
                    <a:pt x="6395" y="0"/>
                    <a:pt x="5918" y="0"/>
                  </a:cubicBezTo>
                  <a:cubicBezTo>
                    <a:pt x="5704" y="0"/>
                    <a:pt x="5502" y="48"/>
                    <a:pt x="5359" y="143"/>
                  </a:cubicBezTo>
                  <a:cubicBezTo>
                    <a:pt x="5329" y="167"/>
                    <a:pt x="5290" y="179"/>
                    <a:pt x="5252" y="179"/>
                  </a:cubicBezTo>
                  <a:cubicBezTo>
                    <a:pt x="5213" y="179"/>
                    <a:pt x="5174" y="167"/>
                    <a:pt x="5144" y="143"/>
                  </a:cubicBezTo>
                  <a:cubicBezTo>
                    <a:pt x="5002" y="48"/>
                    <a:pt x="4811" y="0"/>
                    <a:pt x="4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28" name="Google Shape;12128;p61"/>
          <p:cNvGrpSpPr/>
          <p:nvPr/>
        </p:nvGrpSpPr>
        <p:grpSpPr>
          <a:xfrm>
            <a:off x="5748295" y="1499833"/>
            <a:ext cx="323294" cy="356115"/>
            <a:chOff x="5748295" y="1499833"/>
            <a:chExt cx="323294" cy="356115"/>
          </a:xfrm>
        </p:grpSpPr>
        <p:sp>
          <p:nvSpPr>
            <p:cNvPr id="12129" name="Google Shape;12129;p61"/>
            <p:cNvSpPr/>
            <p:nvPr/>
          </p:nvSpPr>
          <p:spPr>
            <a:xfrm>
              <a:off x="5871276" y="1611474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lnTo>
                    <a:pt x="0" y="346"/>
                  </a:lnTo>
                  <a:cubicBezTo>
                    <a:pt x="0" y="429"/>
                    <a:pt x="84" y="513"/>
                    <a:pt x="167" y="513"/>
                  </a:cubicBezTo>
                  <a:cubicBezTo>
                    <a:pt x="250" y="513"/>
                    <a:pt x="334" y="429"/>
                    <a:pt x="334" y="346"/>
                  </a:cubicBezTo>
                  <a:lnTo>
                    <a:pt x="334" y="168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0" name="Google Shape;12130;p61"/>
            <p:cNvSpPr/>
            <p:nvPr/>
          </p:nvSpPr>
          <p:spPr>
            <a:xfrm>
              <a:off x="5938406" y="161147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346"/>
                  </a:lnTo>
                  <a:cubicBezTo>
                    <a:pt x="1" y="429"/>
                    <a:pt x="72" y="513"/>
                    <a:pt x="167" y="513"/>
                  </a:cubicBezTo>
                  <a:cubicBezTo>
                    <a:pt x="251" y="513"/>
                    <a:pt x="322" y="429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1" name="Google Shape;12131;p61"/>
            <p:cNvSpPr/>
            <p:nvPr/>
          </p:nvSpPr>
          <p:spPr>
            <a:xfrm>
              <a:off x="5887116" y="1650820"/>
              <a:ext cx="45683" cy="15777"/>
            </a:xfrm>
            <a:custGeom>
              <a:avLst/>
              <a:gdLst/>
              <a:ahLst/>
              <a:cxnLst/>
              <a:rect l="l" t="t" r="r" b="b"/>
              <a:pathLst>
                <a:path w="1442" h="498" extrusionOk="0">
                  <a:moveTo>
                    <a:pt x="183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0" y="104"/>
                    <a:pt x="0" y="199"/>
                    <a:pt x="60" y="283"/>
                  </a:cubicBezTo>
                  <a:cubicBezTo>
                    <a:pt x="203" y="414"/>
                    <a:pt x="441" y="497"/>
                    <a:pt x="691" y="497"/>
                  </a:cubicBezTo>
                  <a:cubicBezTo>
                    <a:pt x="965" y="497"/>
                    <a:pt x="1203" y="414"/>
                    <a:pt x="1334" y="283"/>
                  </a:cubicBezTo>
                  <a:cubicBezTo>
                    <a:pt x="1441" y="199"/>
                    <a:pt x="1441" y="104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1" y="45"/>
                  </a:cubicBezTo>
                  <a:cubicBezTo>
                    <a:pt x="1072" y="104"/>
                    <a:pt x="917" y="176"/>
                    <a:pt x="715" y="176"/>
                  </a:cubicBezTo>
                  <a:cubicBezTo>
                    <a:pt x="500" y="176"/>
                    <a:pt x="358" y="104"/>
                    <a:pt x="298" y="45"/>
                  </a:cubicBezTo>
                  <a:cubicBezTo>
                    <a:pt x="268" y="15"/>
                    <a:pt x="227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2" name="Google Shape;12132;p61"/>
            <p:cNvSpPr/>
            <p:nvPr/>
          </p:nvSpPr>
          <p:spPr>
            <a:xfrm>
              <a:off x="5748295" y="1499833"/>
              <a:ext cx="323294" cy="355355"/>
            </a:xfrm>
            <a:custGeom>
              <a:avLst/>
              <a:gdLst/>
              <a:ahLst/>
              <a:cxnLst/>
              <a:rect l="l" t="t" r="r" b="b"/>
              <a:pathLst>
                <a:path w="10205" h="11217" extrusionOk="0">
                  <a:moveTo>
                    <a:pt x="7026" y="334"/>
                  </a:moveTo>
                  <a:cubicBezTo>
                    <a:pt x="7323" y="334"/>
                    <a:pt x="7561" y="572"/>
                    <a:pt x="7561" y="870"/>
                  </a:cubicBezTo>
                  <a:lnTo>
                    <a:pt x="7561" y="3346"/>
                  </a:lnTo>
                  <a:lnTo>
                    <a:pt x="7371" y="3346"/>
                  </a:lnTo>
                  <a:cubicBezTo>
                    <a:pt x="7264" y="3346"/>
                    <a:pt x="7180" y="3251"/>
                    <a:pt x="7180" y="3156"/>
                  </a:cubicBezTo>
                  <a:lnTo>
                    <a:pt x="7180" y="2632"/>
                  </a:lnTo>
                  <a:cubicBezTo>
                    <a:pt x="7180" y="2156"/>
                    <a:pt x="6787" y="1763"/>
                    <a:pt x="6311" y="1763"/>
                  </a:cubicBezTo>
                  <a:lnTo>
                    <a:pt x="4561" y="1763"/>
                  </a:lnTo>
                  <a:cubicBezTo>
                    <a:pt x="4466" y="1763"/>
                    <a:pt x="4394" y="1846"/>
                    <a:pt x="4394" y="1929"/>
                  </a:cubicBezTo>
                  <a:cubicBezTo>
                    <a:pt x="4394" y="2025"/>
                    <a:pt x="4466" y="2096"/>
                    <a:pt x="4561" y="2096"/>
                  </a:cubicBezTo>
                  <a:lnTo>
                    <a:pt x="6311" y="2096"/>
                  </a:lnTo>
                  <a:cubicBezTo>
                    <a:pt x="6609" y="2096"/>
                    <a:pt x="6847" y="2334"/>
                    <a:pt x="6847" y="2632"/>
                  </a:cubicBezTo>
                  <a:lnTo>
                    <a:pt x="6847" y="3156"/>
                  </a:lnTo>
                  <a:cubicBezTo>
                    <a:pt x="6847" y="3441"/>
                    <a:pt x="7085" y="3680"/>
                    <a:pt x="7371" y="3680"/>
                  </a:cubicBezTo>
                  <a:lnTo>
                    <a:pt x="7633" y="3680"/>
                  </a:lnTo>
                  <a:cubicBezTo>
                    <a:pt x="7704" y="3680"/>
                    <a:pt x="7788" y="3703"/>
                    <a:pt x="7847" y="3763"/>
                  </a:cubicBezTo>
                  <a:cubicBezTo>
                    <a:pt x="7907" y="3822"/>
                    <a:pt x="7919" y="3894"/>
                    <a:pt x="7919" y="3977"/>
                  </a:cubicBezTo>
                  <a:cubicBezTo>
                    <a:pt x="7907" y="4108"/>
                    <a:pt x="7776" y="4227"/>
                    <a:pt x="7621" y="4227"/>
                  </a:cubicBezTo>
                  <a:lnTo>
                    <a:pt x="7549" y="4227"/>
                  </a:lnTo>
                  <a:lnTo>
                    <a:pt x="7549" y="4215"/>
                  </a:lnTo>
                  <a:cubicBezTo>
                    <a:pt x="7549" y="4120"/>
                    <a:pt x="7478" y="4049"/>
                    <a:pt x="7383" y="4049"/>
                  </a:cubicBezTo>
                  <a:cubicBezTo>
                    <a:pt x="7299" y="4049"/>
                    <a:pt x="7216" y="4120"/>
                    <a:pt x="7216" y="4215"/>
                  </a:cubicBezTo>
                  <a:cubicBezTo>
                    <a:pt x="7216" y="5370"/>
                    <a:pt x="6264" y="6323"/>
                    <a:pt x="5109" y="6323"/>
                  </a:cubicBezTo>
                  <a:cubicBezTo>
                    <a:pt x="5101" y="6323"/>
                    <a:pt x="5094" y="6323"/>
                    <a:pt x="5087" y="6323"/>
                  </a:cubicBezTo>
                  <a:cubicBezTo>
                    <a:pt x="3930" y="6323"/>
                    <a:pt x="2989" y="5375"/>
                    <a:pt x="2989" y="4215"/>
                  </a:cubicBezTo>
                  <a:cubicBezTo>
                    <a:pt x="2989" y="4120"/>
                    <a:pt x="2918" y="4049"/>
                    <a:pt x="2835" y="4049"/>
                  </a:cubicBezTo>
                  <a:cubicBezTo>
                    <a:pt x="2739" y="4049"/>
                    <a:pt x="2668" y="4120"/>
                    <a:pt x="2668" y="4215"/>
                  </a:cubicBezTo>
                  <a:lnTo>
                    <a:pt x="2668" y="4227"/>
                  </a:lnTo>
                  <a:lnTo>
                    <a:pt x="2561" y="4227"/>
                  </a:lnTo>
                  <a:cubicBezTo>
                    <a:pt x="2489" y="4227"/>
                    <a:pt x="2418" y="4192"/>
                    <a:pt x="2358" y="4132"/>
                  </a:cubicBezTo>
                  <a:cubicBezTo>
                    <a:pt x="2299" y="4073"/>
                    <a:pt x="2275" y="4001"/>
                    <a:pt x="2275" y="3930"/>
                  </a:cubicBezTo>
                  <a:cubicBezTo>
                    <a:pt x="2299" y="3799"/>
                    <a:pt x="2430" y="3680"/>
                    <a:pt x="2573" y="3680"/>
                  </a:cubicBezTo>
                  <a:lnTo>
                    <a:pt x="2811" y="3680"/>
                  </a:lnTo>
                  <a:cubicBezTo>
                    <a:pt x="3097" y="3680"/>
                    <a:pt x="3335" y="3441"/>
                    <a:pt x="3335" y="3156"/>
                  </a:cubicBezTo>
                  <a:lnTo>
                    <a:pt x="3335" y="2632"/>
                  </a:lnTo>
                  <a:cubicBezTo>
                    <a:pt x="3335" y="2334"/>
                    <a:pt x="3573" y="2096"/>
                    <a:pt x="3870" y="2096"/>
                  </a:cubicBezTo>
                  <a:cubicBezTo>
                    <a:pt x="3954" y="2096"/>
                    <a:pt x="4037" y="2025"/>
                    <a:pt x="4037" y="1929"/>
                  </a:cubicBezTo>
                  <a:cubicBezTo>
                    <a:pt x="4037" y="1846"/>
                    <a:pt x="3954" y="1763"/>
                    <a:pt x="3870" y="1763"/>
                  </a:cubicBezTo>
                  <a:cubicBezTo>
                    <a:pt x="3394" y="1763"/>
                    <a:pt x="3013" y="2156"/>
                    <a:pt x="3013" y="2632"/>
                  </a:cubicBezTo>
                  <a:lnTo>
                    <a:pt x="3013" y="3156"/>
                  </a:lnTo>
                  <a:cubicBezTo>
                    <a:pt x="3013" y="3251"/>
                    <a:pt x="2918" y="3346"/>
                    <a:pt x="2811" y="3346"/>
                  </a:cubicBezTo>
                  <a:lnTo>
                    <a:pt x="2620" y="3346"/>
                  </a:lnTo>
                  <a:lnTo>
                    <a:pt x="2620" y="870"/>
                  </a:lnTo>
                  <a:cubicBezTo>
                    <a:pt x="2620" y="572"/>
                    <a:pt x="2858" y="334"/>
                    <a:pt x="3156" y="334"/>
                  </a:cubicBezTo>
                  <a:close/>
                  <a:moveTo>
                    <a:pt x="6549" y="6204"/>
                  </a:moveTo>
                  <a:lnTo>
                    <a:pt x="6549" y="6632"/>
                  </a:lnTo>
                  <a:cubicBezTo>
                    <a:pt x="6549" y="6811"/>
                    <a:pt x="6621" y="6990"/>
                    <a:pt x="6764" y="7121"/>
                  </a:cubicBezTo>
                  <a:lnTo>
                    <a:pt x="7085" y="7454"/>
                  </a:lnTo>
                  <a:lnTo>
                    <a:pt x="7085" y="8085"/>
                  </a:lnTo>
                  <a:lnTo>
                    <a:pt x="7061" y="8085"/>
                  </a:lnTo>
                  <a:cubicBezTo>
                    <a:pt x="7061" y="9097"/>
                    <a:pt x="6264" y="9930"/>
                    <a:pt x="5287" y="10014"/>
                  </a:cubicBezTo>
                  <a:lnTo>
                    <a:pt x="5287" y="9835"/>
                  </a:lnTo>
                  <a:cubicBezTo>
                    <a:pt x="5287" y="9752"/>
                    <a:pt x="5204" y="9668"/>
                    <a:pt x="5121" y="9668"/>
                  </a:cubicBezTo>
                  <a:cubicBezTo>
                    <a:pt x="5037" y="9668"/>
                    <a:pt x="4954" y="9752"/>
                    <a:pt x="4954" y="9835"/>
                  </a:cubicBezTo>
                  <a:lnTo>
                    <a:pt x="4954" y="10014"/>
                  </a:lnTo>
                  <a:cubicBezTo>
                    <a:pt x="3966" y="9930"/>
                    <a:pt x="3192" y="9097"/>
                    <a:pt x="3192" y="8085"/>
                  </a:cubicBezTo>
                  <a:lnTo>
                    <a:pt x="3192" y="7442"/>
                  </a:lnTo>
                  <a:lnTo>
                    <a:pt x="3513" y="7109"/>
                  </a:lnTo>
                  <a:cubicBezTo>
                    <a:pt x="3644" y="6978"/>
                    <a:pt x="3728" y="6811"/>
                    <a:pt x="3728" y="6620"/>
                  </a:cubicBezTo>
                  <a:lnTo>
                    <a:pt x="3728" y="6204"/>
                  </a:lnTo>
                  <a:cubicBezTo>
                    <a:pt x="4120" y="6489"/>
                    <a:pt x="4621" y="6668"/>
                    <a:pt x="5132" y="6668"/>
                  </a:cubicBezTo>
                  <a:cubicBezTo>
                    <a:pt x="5668" y="6668"/>
                    <a:pt x="6145" y="6501"/>
                    <a:pt x="6549" y="6204"/>
                  </a:cubicBezTo>
                  <a:close/>
                  <a:moveTo>
                    <a:pt x="3168" y="1"/>
                  </a:moveTo>
                  <a:cubicBezTo>
                    <a:pt x="2692" y="1"/>
                    <a:pt x="2311" y="382"/>
                    <a:pt x="2311" y="858"/>
                  </a:cubicBezTo>
                  <a:lnTo>
                    <a:pt x="2311" y="3394"/>
                  </a:lnTo>
                  <a:cubicBezTo>
                    <a:pt x="2120" y="3477"/>
                    <a:pt x="1977" y="3656"/>
                    <a:pt x="1965" y="3870"/>
                  </a:cubicBezTo>
                  <a:cubicBezTo>
                    <a:pt x="1954" y="4037"/>
                    <a:pt x="2013" y="4215"/>
                    <a:pt x="2120" y="4334"/>
                  </a:cubicBezTo>
                  <a:cubicBezTo>
                    <a:pt x="2239" y="4454"/>
                    <a:pt x="2394" y="4525"/>
                    <a:pt x="2561" y="4525"/>
                  </a:cubicBezTo>
                  <a:lnTo>
                    <a:pt x="2680" y="4525"/>
                  </a:lnTo>
                  <a:cubicBezTo>
                    <a:pt x="2751" y="5049"/>
                    <a:pt x="2989" y="5525"/>
                    <a:pt x="3347" y="5894"/>
                  </a:cubicBezTo>
                  <a:lnTo>
                    <a:pt x="3347" y="6609"/>
                  </a:lnTo>
                  <a:cubicBezTo>
                    <a:pt x="3347" y="6716"/>
                    <a:pt x="3311" y="6799"/>
                    <a:pt x="3251" y="6859"/>
                  </a:cubicBezTo>
                  <a:lnTo>
                    <a:pt x="2632" y="7466"/>
                  </a:lnTo>
                  <a:cubicBezTo>
                    <a:pt x="2573" y="7525"/>
                    <a:pt x="2513" y="7561"/>
                    <a:pt x="2442" y="7573"/>
                  </a:cubicBezTo>
                  <a:lnTo>
                    <a:pt x="1299" y="7787"/>
                  </a:lnTo>
                  <a:cubicBezTo>
                    <a:pt x="549" y="7918"/>
                    <a:pt x="1" y="8573"/>
                    <a:pt x="1" y="9335"/>
                  </a:cubicBezTo>
                  <a:lnTo>
                    <a:pt x="1" y="11038"/>
                  </a:lnTo>
                  <a:cubicBezTo>
                    <a:pt x="1" y="11133"/>
                    <a:pt x="72" y="11204"/>
                    <a:pt x="168" y="11204"/>
                  </a:cubicBezTo>
                  <a:cubicBezTo>
                    <a:pt x="251" y="11204"/>
                    <a:pt x="334" y="11133"/>
                    <a:pt x="334" y="11038"/>
                  </a:cubicBezTo>
                  <a:lnTo>
                    <a:pt x="334" y="9335"/>
                  </a:lnTo>
                  <a:cubicBezTo>
                    <a:pt x="334" y="8740"/>
                    <a:pt x="763" y="8216"/>
                    <a:pt x="1358" y="8109"/>
                  </a:cubicBezTo>
                  <a:lnTo>
                    <a:pt x="2120" y="7978"/>
                  </a:lnTo>
                  <a:lnTo>
                    <a:pt x="2120" y="11061"/>
                  </a:lnTo>
                  <a:cubicBezTo>
                    <a:pt x="2120" y="11145"/>
                    <a:pt x="2192" y="11216"/>
                    <a:pt x="2275" y="11216"/>
                  </a:cubicBezTo>
                  <a:cubicBezTo>
                    <a:pt x="2370" y="11216"/>
                    <a:pt x="2442" y="11145"/>
                    <a:pt x="2442" y="11061"/>
                  </a:cubicBezTo>
                  <a:lnTo>
                    <a:pt x="2442" y="7918"/>
                  </a:lnTo>
                  <a:lnTo>
                    <a:pt x="2501" y="7894"/>
                  </a:lnTo>
                  <a:cubicBezTo>
                    <a:pt x="2620" y="7883"/>
                    <a:pt x="2727" y="7823"/>
                    <a:pt x="2835" y="7752"/>
                  </a:cubicBezTo>
                  <a:lnTo>
                    <a:pt x="2835" y="8061"/>
                  </a:lnTo>
                  <a:cubicBezTo>
                    <a:pt x="2835" y="9311"/>
                    <a:pt x="3847" y="10347"/>
                    <a:pt x="5109" y="10347"/>
                  </a:cubicBezTo>
                  <a:cubicBezTo>
                    <a:pt x="6359" y="10347"/>
                    <a:pt x="7383" y="9335"/>
                    <a:pt x="7383" y="8061"/>
                  </a:cubicBezTo>
                  <a:lnTo>
                    <a:pt x="7383" y="7752"/>
                  </a:lnTo>
                  <a:cubicBezTo>
                    <a:pt x="7478" y="7823"/>
                    <a:pt x="7597" y="7883"/>
                    <a:pt x="7716" y="7894"/>
                  </a:cubicBezTo>
                  <a:lnTo>
                    <a:pt x="7776" y="7918"/>
                  </a:lnTo>
                  <a:lnTo>
                    <a:pt x="7776" y="8240"/>
                  </a:lnTo>
                  <a:cubicBezTo>
                    <a:pt x="7776" y="8335"/>
                    <a:pt x="7847" y="8406"/>
                    <a:pt x="7930" y="8406"/>
                  </a:cubicBezTo>
                  <a:cubicBezTo>
                    <a:pt x="8026" y="8406"/>
                    <a:pt x="8097" y="8335"/>
                    <a:pt x="8097" y="8240"/>
                  </a:cubicBezTo>
                  <a:lnTo>
                    <a:pt x="8097" y="7978"/>
                  </a:lnTo>
                  <a:lnTo>
                    <a:pt x="8859" y="8109"/>
                  </a:lnTo>
                  <a:cubicBezTo>
                    <a:pt x="9454" y="8216"/>
                    <a:pt x="9883" y="8728"/>
                    <a:pt x="9883" y="9323"/>
                  </a:cubicBezTo>
                  <a:lnTo>
                    <a:pt x="9883" y="11038"/>
                  </a:lnTo>
                  <a:cubicBezTo>
                    <a:pt x="9883" y="11133"/>
                    <a:pt x="9955" y="11204"/>
                    <a:pt x="10050" y="11204"/>
                  </a:cubicBezTo>
                  <a:cubicBezTo>
                    <a:pt x="10133" y="11204"/>
                    <a:pt x="10205" y="11133"/>
                    <a:pt x="10205" y="11038"/>
                  </a:cubicBezTo>
                  <a:lnTo>
                    <a:pt x="10205" y="9323"/>
                  </a:lnTo>
                  <a:cubicBezTo>
                    <a:pt x="10181" y="8585"/>
                    <a:pt x="9645" y="7930"/>
                    <a:pt x="8907" y="7799"/>
                  </a:cubicBezTo>
                  <a:lnTo>
                    <a:pt x="7752" y="7585"/>
                  </a:lnTo>
                  <a:cubicBezTo>
                    <a:pt x="7680" y="7573"/>
                    <a:pt x="7621" y="7549"/>
                    <a:pt x="7561" y="7490"/>
                  </a:cubicBezTo>
                  <a:lnTo>
                    <a:pt x="6954" y="6870"/>
                  </a:lnTo>
                  <a:cubicBezTo>
                    <a:pt x="6883" y="6799"/>
                    <a:pt x="6847" y="6716"/>
                    <a:pt x="6847" y="6620"/>
                  </a:cubicBezTo>
                  <a:lnTo>
                    <a:pt x="6847" y="5906"/>
                  </a:lnTo>
                  <a:cubicBezTo>
                    <a:pt x="7204" y="5549"/>
                    <a:pt x="7442" y="5073"/>
                    <a:pt x="7514" y="4537"/>
                  </a:cubicBezTo>
                  <a:lnTo>
                    <a:pt x="7621" y="4537"/>
                  </a:lnTo>
                  <a:cubicBezTo>
                    <a:pt x="7954" y="4537"/>
                    <a:pt x="8216" y="4299"/>
                    <a:pt x="8252" y="4001"/>
                  </a:cubicBezTo>
                  <a:cubicBezTo>
                    <a:pt x="8264" y="3834"/>
                    <a:pt x="8204" y="3656"/>
                    <a:pt x="8097" y="3537"/>
                  </a:cubicBezTo>
                  <a:cubicBezTo>
                    <a:pt x="8038" y="3477"/>
                    <a:pt x="7978" y="3441"/>
                    <a:pt x="7907" y="3394"/>
                  </a:cubicBezTo>
                  <a:lnTo>
                    <a:pt x="7907" y="858"/>
                  </a:lnTo>
                  <a:cubicBezTo>
                    <a:pt x="7907" y="382"/>
                    <a:pt x="7514" y="1"/>
                    <a:pt x="7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3" name="Google Shape;12133;p61"/>
            <p:cNvSpPr/>
            <p:nvPr/>
          </p:nvSpPr>
          <p:spPr>
            <a:xfrm>
              <a:off x="5865225" y="1594842"/>
              <a:ext cx="22683" cy="12894"/>
            </a:xfrm>
            <a:custGeom>
              <a:avLst/>
              <a:gdLst/>
              <a:ahLst/>
              <a:cxnLst/>
              <a:rect l="l" t="t" r="r" b="b"/>
              <a:pathLst>
                <a:path w="716" h="407" extrusionOk="0">
                  <a:moveTo>
                    <a:pt x="191" y="0"/>
                  </a:moveTo>
                  <a:cubicBezTo>
                    <a:pt x="104" y="0"/>
                    <a:pt x="24" y="58"/>
                    <a:pt x="13" y="145"/>
                  </a:cubicBezTo>
                  <a:cubicBezTo>
                    <a:pt x="1" y="228"/>
                    <a:pt x="60" y="323"/>
                    <a:pt x="156" y="335"/>
                  </a:cubicBezTo>
                  <a:lnTo>
                    <a:pt x="513" y="407"/>
                  </a:lnTo>
                  <a:lnTo>
                    <a:pt x="537" y="407"/>
                  </a:lnTo>
                  <a:cubicBezTo>
                    <a:pt x="608" y="407"/>
                    <a:pt x="691" y="347"/>
                    <a:pt x="703" y="276"/>
                  </a:cubicBezTo>
                  <a:cubicBezTo>
                    <a:pt x="715" y="181"/>
                    <a:pt x="656" y="97"/>
                    <a:pt x="572" y="85"/>
                  </a:cubicBezTo>
                  <a:lnTo>
                    <a:pt x="215" y="2"/>
                  </a:lnTo>
                  <a:cubicBezTo>
                    <a:pt x="207" y="1"/>
                    <a:pt x="199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4" name="Google Shape;12134;p61"/>
            <p:cNvSpPr/>
            <p:nvPr/>
          </p:nvSpPr>
          <p:spPr>
            <a:xfrm>
              <a:off x="5931627" y="1594462"/>
              <a:ext cx="23412" cy="12894"/>
            </a:xfrm>
            <a:custGeom>
              <a:avLst/>
              <a:gdLst/>
              <a:ahLst/>
              <a:cxnLst/>
              <a:rect l="l" t="t" r="r" b="b"/>
              <a:pathLst>
                <a:path w="739" h="407" extrusionOk="0">
                  <a:moveTo>
                    <a:pt x="534" y="1"/>
                  </a:moveTo>
                  <a:cubicBezTo>
                    <a:pt x="527" y="1"/>
                    <a:pt x="519" y="1"/>
                    <a:pt x="512" y="2"/>
                  </a:cubicBezTo>
                  <a:lnTo>
                    <a:pt x="155" y="73"/>
                  </a:lnTo>
                  <a:cubicBezTo>
                    <a:pt x="60" y="97"/>
                    <a:pt x="0" y="181"/>
                    <a:pt x="12" y="276"/>
                  </a:cubicBezTo>
                  <a:cubicBezTo>
                    <a:pt x="36" y="347"/>
                    <a:pt x="107" y="407"/>
                    <a:pt x="179" y="407"/>
                  </a:cubicBezTo>
                  <a:lnTo>
                    <a:pt x="215" y="407"/>
                  </a:lnTo>
                  <a:lnTo>
                    <a:pt x="572" y="335"/>
                  </a:lnTo>
                  <a:cubicBezTo>
                    <a:pt x="679" y="312"/>
                    <a:pt x="739" y="228"/>
                    <a:pt x="703" y="133"/>
                  </a:cubicBezTo>
                  <a:cubicBezTo>
                    <a:pt x="692" y="57"/>
                    <a:pt x="611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5" name="Google Shape;12135;p61"/>
            <p:cNvSpPr/>
            <p:nvPr/>
          </p:nvSpPr>
          <p:spPr>
            <a:xfrm>
              <a:off x="5993846" y="1778586"/>
              <a:ext cx="10613" cy="77363"/>
            </a:xfrm>
            <a:custGeom>
              <a:avLst/>
              <a:gdLst/>
              <a:ahLst/>
              <a:cxnLst/>
              <a:rect l="l" t="t" r="r" b="b"/>
              <a:pathLst>
                <a:path w="335" h="244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2274"/>
                  </a:lnTo>
                  <a:cubicBezTo>
                    <a:pt x="1" y="2358"/>
                    <a:pt x="84" y="2441"/>
                    <a:pt x="168" y="2441"/>
                  </a:cubicBezTo>
                  <a:cubicBezTo>
                    <a:pt x="251" y="2441"/>
                    <a:pt x="334" y="2358"/>
                    <a:pt x="334" y="2274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36" name="Google Shape;12136;p61"/>
          <p:cNvGrpSpPr/>
          <p:nvPr/>
        </p:nvGrpSpPr>
        <p:grpSpPr>
          <a:xfrm>
            <a:off x="8047661" y="1501037"/>
            <a:ext cx="278404" cy="355260"/>
            <a:chOff x="8047661" y="1501037"/>
            <a:chExt cx="278404" cy="355260"/>
          </a:xfrm>
        </p:grpSpPr>
        <p:sp>
          <p:nvSpPr>
            <p:cNvPr id="12137" name="Google Shape;12137;p61"/>
            <p:cNvSpPr/>
            <p:nvPr/>
          </p:nvSpPr>
          <p:spPr>
            <a:xfrm>
              <a:off x="8147611" y="1622815"/>
              <a:ext cx="10581" cy="16220"/>
            </a:xfrm>
            <a:custGeom>
              <a:avLst/>
              <a:gdLst/>
              <a:ahLst/>
              <a:cxnLst/>
              <a:rect l="l" t="t" r="r" b="b"/>
              <a:pathLst>
                <a:path w="334" h="512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51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8" name="Google Shape;12138;p61"/>
            <p:cNvSpPr/>
            <p:nvPr/>
          </p:nvSpPr>
          <p:spPr>
            <a:xfrm>
              <a:off x="8214741" y="1622815"/>
              <a:ext cx="10233" cy="16220"/>
            </a:xfrm>
            <a:custGeom>
              <a:avLst/>
              <a:gdLst/>
              <a:ahLst/>
              <a:cxnLst/>
              <a:rect l="l" t="t" r="r" b="b"/>
              <a:pathLst>
                <a:path w="323" h="512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9" name="Google Shape;12139;p61"/>
            <p:cNvSpPr/>
            <p:nvPr/>
          </p:nvSpPr>
          <p:spPr>
            <a:xfrm>
              <a:off x="8163451" y="1661370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4" y="0"/>
                  </a:moveTo>
                  <a:cubicBezTo>
                    <a:pt x="141" y="0"/>
                    <a:pt x="96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03" y="426"/>
                    <a:pt x="441" y="509"/>
                    <a:pt x="691" y="509"/>
                  </a:cubicBezTo>
                  <a:cubicBezTo>
                    <a:pt x="965" y="509"/>
                    <a:pt x="1203" y="426"/>
                    <a:pt x="1334" y="283"/>
                  </a:cubicBezTo>
                  <a:cubicBezTo>
                    <a:pt x="1429" y="224"/>
                    <a:pt x="1429" y="128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2" y="45"/>
                  </a:cubicBezTo>
                  <a:cubicBezTo>
                    <a:pt x="1072" y="105"/>
                    <a:pt x="917" y="188"/>
                    <a:pt x="715" y="188"/>
                  </a:cubicBezTo>
                  <a:cubicBezTo>
                    <a:pt x="501" y="188"/>
                    <a:pt x="358" y="105"/>
                    <a:pt x="298" y="45"/>
                  </a:cubicBezTo>
                  <a:cubicBezTo>
                    <a:pt x="269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0" name="Google Shape;12140;p61"/>
            <p:cNvSpPr/>
            <p:nvPr/>
          </p:nvSpPr>
          <p:spPr>
            <a:xfrm>
              <a:off x="8047661" y="1501037"/>
              <a:ext cx="278404" cy="355260"/>
            </a:xfrm>
            <a:custGeom>
              <a:avLst/>
              <a:gdLst/>
              <a:ahLst/>
              <a:cxnLst/>
              <a:rect l="l" t="t" r="r" b="b"/>
              <a:pathLst>
                <a:path w="8788" h="11214" extrusionOk="0">
                  <a:moveTo>
                    <a:pt x="5358" y="344"/>
                  </a:moveTo>
                  <a:lnTo>
                    <a:pt x="5823" y="808"/>
                  </a:lnTo>
                  <a:cubicBezTo>
                    <a:pt x="5858" y="844"/>
                    <a:pt x="5894" y="856"/>
                    <a:pt x="5942" y="856"/>
                  </a:cubicBezTo>
                  <a:lnTo>
                    <a:pt x="6751" y="856"/>
                  </a:lnTo>
                  <a:lnTo>
                    <a:pt x="6477" y="1510"/>
                  </a:lnTo>
                  <a:cubicBezTo>
                    <a:pt x="6465" y="1558"/>
                    <a:pt x="6465" y="1618"/>
                    <a:pt x="6489" y="1653"/>
                  </a:cubicBezTo>
                  <a:cubicBezTo>
                    <a:pt x="6525" y="1701"/>
                    <a:pt x="6573" y="1737"/>
                    <a:pt x="6632" y="1737"/>
                  </a:cubicBezTo>
                  <a:lnTo>
                    <a:pt x="7287" y="1737"/>
                  </a:lnTo>
                  <a:lnTo>
                    <a:pt x="7001" y="2570"/>
                  </a:lnTo>
                  <a:cubicBezTo>
                    <a:pt x="6989" y="2630"/>
                    <a:pt x="7001" y="2689"/>
                    <a:pt x="7049" y="2725"/>
                  </a:cubicBezTo>
                  <a:lnTo>
                    <a:pt x="7311" y="2999"/>
                  </a:lnTo>
                  <a:lnTo>
                    <a:pt x="7025" y="3677"/>
                  </a:lnTo>
                  <a:cubicBezTo>
                    <a:pt x="6989" y="3665"/>
                    <a:pt x="6942" y="3665"/>
                    <a:pt x="6882" y="3665"/>
                  </a:cubicBezTo>
                  <a:lnTo>
                    <a:pt x="6608" y="3665"/>
                  </a:lnTo>
                  <a:cubicBezTo>
                    <a:pt x="6513" y="3665"/>
                    <a:pt x="6418" y="3582"/>
                    <a:pt x="6418" y="3475"/>
                  </a:cubicBezTo>
                  <a:lnTo>
                    <a:pt x="6418" y="3118"/>
                  </a:lnTo>
                  <a:cubicBezTo>
                    <a:pt x="6418" y="3058"/>
                    <a:pt x="6394" y="3011"/>
                    <a:pt x="6346" y="2987"/>
                  </a:cubicBezTo>
                  <a:lnTo>
                    <a:pt x="5287" y="2284"/>
                  </a:lnTo>
                  <a:cubicBezTo>
                    <a:pt x="5261" y="2265"/>
                    <a:pt x="5227" y="2256"/>
                    <a:pt x="5194" y="2256"/>
                  </a:cubicBezTo>
                  <a:cubicBezTo>
                    <a:pt x="5168" y="2256"/>
                    <a:pt x="5141" y="2262"/>
                    <a:pt x="5120" y="2272"/>
                  </a:cubicBezTo>
                  <a:cubicBezTo>
                    <a:pt x="5061" y="2296"/>
                    <a:pt x="5037" y="2356"/>
                    <a:pt x="5037" y="2415"/>
                  </a:cubicBezTo>
                  <a:lnTo>
                    <a:pt x="5037" y="2832"/>
                  </a:lnTo>
                  <a:lnTo>
                    <a:pt x="4049" y="2272"/>
                  </a:lnTo>
                  <a:cubicBezTo>
                    <a:pt x="4022" y="2255"/>
                    <a:pt x="3994" y="2247"/>
                    <a:pt x="3967" y="2247"/>
                  </a:cubicBezTo>
                  <a:cubicBezTo>
                    <a:pt x="3919" y="2247"/>
                    <a:pt x="3872" y="2270"/>
                    <a:pt x="3834" y="2308"/>
                  </a:cubicBezTo>
                  <a:lnTo>
                    <a:pt x="3560" y="2725"/>
                  </a:lnTo>
                  <a:lnTo>
                    <a:pt x="3156" y="2534"/>
                  </a:lnTo>
                  <a:cubicBezTo>
                    <a:pt x="3132" y="2521"/>
                    <a:pt x="3108" y="2515"/>
                    <a:pt x="3084" y="2515"/>
                  </a:cubicBezTo>
                  <a:cubicBezTo>
                    <a:pt x="3024" y="2515"/>
                    <a:pt x="2967" y="2554"/>
                    <a:pt x="2941" y="2606"/>
                  </a:cubicBezTo>
                  <a:cubicBezTo>
                    <a:pt x="2894" y="2701"/>
                    <a:pt x="2941" y="2784"/>
                    <a:pt x="3013" y="2832"/>
                  </a:cubicBezTo>
                  <a:lnTo>
                    <a:pt x="3537" y="3082"/>
                  </a:lnTo>
                  <a:cubicBezTo>
                    <a:pt x="3561" y="3094"/>
                    <a:pt x="3587" y="3101"/>
                    <a:pt x="3613" y="3101"/>
                  </a:cubicBezTo>
                  <a:cubicBezTo>
                    <a:pt x="3661" y="3101"/>
                    <a:pt x="3708" y="3077"/>
                    <a:pt x="3739" y="3022"/>
                  </a:cubicBezTo>
                  <a:lnTo>
                    <a:pt x="4013" y="2630"/>
                  </a:lnTo>
                  <a:lnTo>
                    <a:pt x="5108" y="3249"/>
                  </a:lnTo>
                  <a:cubicBezTo>
                    <a:pt x="5132" y="3267"/>
                    <a:pt x="5162" y="3275"/>
                    <a:pt x="5192" y="3275"/>
                  </a:cubicBezTo>
                  <a:cubicBezTo>
                    <a:pt x="5221" y="3275"/>
                    <a:pt x="5251" y="3267"/>
                    <a:pt x="5275" y="3249"/>
                  </a:cubicBezTo>
                  <a:cubicBezTo>
                    <a:pt x="5322" y="3225"/>
                    <a:pt x="5346" y="3165"/>
                    <a:pt x="5346" y="3106"/>
                  </a:cubicBezTo>
                  <a:lnTo>
                    <a:pt x="5346" y="2701"/>
                  </a:lnTo>
                  <a:lnTo>
                    <a:pt x="6073" y="3177"/>
                  </a:lnTo>
                  <a:lnTo>
                    <a:pt x="6073" y="3439"/>
                  </a:lnTo>
                  <a:cubicBezTo>
                    <a:pt x="6073" y="3725"/>
                    <a:pt x="6311" y="3963"/>
                    <a:pt x="6596" y="3963"/>
                  </a:cubicBezTo>
                  <a:lnTo>
                    <a:pt x="6870" y="3963"/>
                  </a:lnTo>
                  <a:cubicBezTo>
                    <a:pt x="6942" y="3963"/>
                    <a:pt x="7013" y="3999"/>
                    <a:pt x="7073" y="4058"/>
                  </a:cubicBezTo>
                  <a:cubicBezTo>
                    <a:pt x="7132" y="4118"/>
                    <a:pt x="7144" y="4189"/>
                    <a:pt x="7144" y="4261"/>
                  </a:cubicBezTo>
                  <a:cubicBezTo>
                    <a:pt x="7132" y="4392"/>
                    <a:pt x="7001" y="4511"/>
                    <a:pt x="6846" y="4511"/>
                  </a:cubicBezTo>
                  <a:lnTo>
                    <a:pt x="6775" y="4511"/>
                  </a:lnTo>
                  <a:lnTo>
                    <a:pt x="6775" y="4499"/>
                  </a:lnTo>
                  <a:cubicBezTo>
                    <a:pt x="6775" y="4416"/>
                    <a:pt x="6704" y="4332"/>
                    <a:pt x="6608" y="4332"/>
                  </a:cubicBezTo>
                  <a:cubicBezTo>
                    <a:pt x="6525" y="4332"/>
                    <a:pt x="6454" y="4416"/>
                    <a:pt x="6454" y="4499"/>
                  </a:cubicBezTo>
                  <a:cubicBezTo>
                    <a:pt x="6454" y="5666"/>
                    <a:pt x="5501" y="6618"/>
                    <a:pt x="4334" y="6618"/>
                  </a:cubicBezTo>
                  <a:cubicBezTo>
                    <a:pt x="4320" y="6618"/>
                    <a:pt x="4306" y="6619"/>
                    <a:pt x="4292" y="6619"/>
                  </a:cubicBezTo>
                  <a:cubicBezTo>
                    <a:pt x="3180" y="6619"/>
                    <a:pt x="2263" y="5687"/>
                    <a:pt x="2263" y="4535"/>
                  </a:cubicBezTo>
                  <a:cubicBezTo>
                    <a:pt x="2263" y="4439"/>
                    <a:pt x="2191" y="4368"/>
                    <a:pt x="2108" y="4368"/>
                  </a:cubicBezTo>
                  <a:cubicBezTo>
                    <a:pt x="2013" y="4368"/>
                    <a:pt x="1941" y="4439"/>
                    <a:pt x="1941" y="4535"/>
                  </a:cubicBezTo>
                  <a:lnTo>
                    <a:pt x="1941" y="4546"/>
                  </a:lnTo>
                  <a:lnTo>
                    <a:pt x="1834" y="4546"/>
                  </a:lnTo>
                  <a:cubicBezTo>
                    <a:pt x="1763" y="4546"/>
                    <a:pt x="1691" y="4511"/>
                    <a:pt x="1632" y="4451"/>
                  </a:cubicBezTo>
                  <a:cubicBezTo>
                    <a:pt x="1572" y="4392"/>
                    <a:pt x="1548" y="4320"/>
                    <a:pt x="1548" y="4249"/>
                  </a:cubicBezTo>
                  <a:cubicBezTo>
                    <a:pt x="1572" y="4118"/>
                    <a:pt x="1703" y="3999"/>
                    <a:pt x="1846" y="3999"/>
                  </a:cubicBezTo>
                  <a:lnTo>
                    <a:pt x="2084" y="3999"/>
                  </a:lnTo>
                  <a:cubicBezTo>
                    <a:pt x="2370" y="3999"/>
                    <a:pt x="2608" y="3761"/>
                    <a:pt x="2608" y="3475"/>
                  </a:cubicBezTo>
                  <a:lnTo>
                    <a:pt x="2608" y="2415"/>
                  </a:lnTo>
                  <a:cubicBezTo>
                    <a:pt x="2608" y="2332"/>
                    <a:pt x="2536" y="2249"/>
                    <a:pt x="2441" y="2249"/>
                  </a:cubicBezTo>
                  <a:cubicBezTo>
                    <a:pt x="2358" y="2249"/>
                    <a:pt x="2286" y="2332"/>
                    <a:pt x="2286" y="2415"/>
                  </a:cubicBezTo>
                  <a:lnTo>
                    <a:pt x="2286" y="3475"/>
                  </a:lnTo>
                  <a:cubicBezTo>
                    <a:pt x="2286" y="3582"/>
                    <a:pt x="2191" y="3665"/>
                    <a:pt x="2084" y="3665"/>
                  </a:cubicBezTo>
                  <a:lnTo>
                    <a:pt x="1846" y="3665"/>
                  </a:lnTo>
                  <a:cubicBezTo>
                    <a:pt x="1786" y="3665"/>
                    <a:pt x="1727" y="3677"/>
                    <a:pt x="1691" y="3701"/>
                  </a:cubicBezTo>
                  <a:lnTo>
                    <a:pt x="1405" y="2999"/>
                  </a:lnTo>
                  <a:lnTo>
                    <a:pt x="1667" y="2725"/>
                  </a:lnTo>
                  <a:cubicBezTo>
                    <a:pt x="1715" y="2689"/>
                    <a:pt x="1727" y="2630"/>
                    <a:pt x="1715" y="2570"/>
                  </a:cubicBezTo>
                  <a:lnTo>
                    <a:pt x="1429" y="1737"/>
                  </a:lnTo>
                  <a:lnTo>
                    <a:pt x="1905" y="1737"/>
                  </a:lnTo>
                  <a:cubicBezTo>
                    <a:pt x="2001" y="1737"/>
                    <a:pt x="2072" y="1653"/>
                    <a:pt x="2072" y="1570"/>
                  </a:cubicBezTo>
                  <a:lnTo>
                    <a:pt x="2072" y="856"/>
                  </a:lnTo>
                  <a:lnTo>
                    <a:pt x="2786" y="856"/>
                  </a:lnTo>
                  <a:cubicBezTo>
                    <a:pt x="2822" y="856"/>
                    <a:pt x="2858" y="832"/>
                    <a:pt x="2894" y="820"/>
                  </a:cubicBezTo>
                  <a:lnTo>
                    <a:pt x="3537" y="344"/>
                  </a:lnTo>
                  <a:lnTo>
                    <a:pt x="4156" y="510"/>
                  </a:lnTo>
                  <a:lnTo>
                    <a:pt x="4215" y="510"/>
                  </a:lnTo>
                  <a:lnTo>
                    <a:pt x="5358" y="344"/>
                  </a:lnTo>
                  <a:close/>
                  <a:moveTo>
                    <a:pt x="2882" y="7225"/>
                  </a:moveTo>
                  <a:lnTo>
                    <a:pt x="4096" y="7892"/>
                  </a:lnTo>
                  <a:lnTo>
                    <a:pt x="3203" y="8654"/>
                  </a:lnTo>
                  <a:lnTo>
                    <a:pt x="3191" y="8654"/>
                  </a:lnTo>
                  <a:lnTo>
                    <a:pt x="2644" y="7690"/>
                  </a:lnTo>
                  <a:lnTo>
                    <a:pt x="2858" y="7225"/>
                  </a:lnTo>
                  <a:close/>
                  <a:moveTo>
                    <a:pt x="5442" y="6737"/>
                  </a:moveTo>
                  <a:lnTo>
                    <a:pt x="5442" y="7094"/>
                  </a:lnTo>
                  <a:lnTo>
                    <a:pt x="5239" y="7190"/>
                  </a:lnTo>
                  <a:cubicBezTo>
                    <a:pt x="5168" y="7237"/>
                    <a:pt x="5144" y="7344"/>
                    <a:pt x="5180" y="7416"/>
                  </a:cubicBezTo>
                  <a:cubicBezTo>
                    <a:pt x="5212" y="7465"/>
                    <a:pt x="5273" y="7497"/>
                    <a:pt x="5331" y="7497"/>
                  </a:cubicBezTo>
                  <a:cubicBezTo>
                    <a:pt x="5357" y="7497"/>
                    <a:pt x="5383" y="7490"/>
                    <a:pt x="5406" y="7475"/>
                  </a:cubicBezTo>
                  <a:lnTo>
                    <a:pt x="5882" y="7213"/>
                  </a:lnTo>
                  <a:lnTo>
                    <a:pt x="5894" y="7213"/>
                  </a:lnTo>
                  <a:lnTo>
                    <a:pt x="6120" y="7666"/>
                  </a:lnTo>
                  <a:lnTo>
                    <a:pt x="5573" y="8654"/>
                  </a:lnTo>
                  <a:lnTo>
                    <a:pt x="5561" y="8654"/>
                  </a:lnTo>
                  <a:lnTo>
                    <a:pt x="4668" y="7892"/>
                  </a:lnTo>
                  <a:lnTo>
                    <a:pt x="4811" y="7821"/>
                  </a:lnTo>
                  <a:cubicBezTo>
                    <a:pt x="4882" y="7773"/>
                    <a:pt x="4918" y="7666"/>
                    <a:pt x="4870" y="7594"/>
                  </a:cubicBezTo>
                  <a:cubicBezTo>
                    <a:pt x="4837" y="7545"/>
                    <a:pt x="4782" y="7513"/>
                    <a:pt x="4724" y="7513"/>
                  </a:cubicBezTo>
                  <a:cubicBezTo>
                    <a:pt x="4697" y="7513"/>
                    <a:pt x="4670" y="7520"/>
                    <a:pt x="4644" y="7535"/>
                  </a:cubicBezTo>
                  <a:lnTo>
                    <a:pt x="4382" y="7690"/>
                  </a:lnTo>
                  <a:lnTo>
                    <a:pt x="3310" y="7094"/>
                  </a:lnTo>
                  <a:lnTo>
                    <a:pt x="3310" y="6737"/>
                  </a:lnTo>
                  <a:cubicBezTo>
                    <a:pt x="3632" y="6892"/>
                    <a:pt x="3989" y="6975"/>
                    <a:pt x="4382" y="6975"/>
                  </a:cubicBezTo>
                  <a:cubicBezTo>
                    <a:pt x="4763" y="6975"/>
                    <a:pt x="5120" y="6880"/>
                    <a:pt x="5442" y="6737"/>
                  </a:cubicBezTo>
                  <a:close/>
                  <a:moveTo>
                    <a:pt x="4382" y="8071"/>
                  </a:moveTo>
                  <a:lnTo>
                    <a:pt x="4572" y="8237"/>
                  </a:lnTo>
                  <a:lnTo>
                    <a:pt x="4560" y="9630"/>
                  </a:lnTo>
                  <a:lnTo>
                    <a:pt x="4203" y="9630"/>
                  </a:lnTo>
                  <a:cubicBezTo>
                    <a:pt x="4203" y="9630"/>
                    <a:pt x="4191" y="9630"/>
                    <a:pt x="4191" y="9619"/>
                  </a:cubicBezTo>
                  <a:lnTo>
                    <a:pt x="4191" y="8237"/>
                  </a:lnTo>
                  <a:lnTo>
                    <a:pt x="4382" y="8071"/>
                  </a:lnTo>
                  <a:close/>
                  <a:moveTo>
                    <a:pt x="453" y="8726"/>
                  </a:moveTo>
                  <a:lnTo>
                    <a:pt x="1393" y="9535"/>
                  </a:lnTo>
                  <a:cubicBezTo>
                    <a:pt x="1512" y="9630"/>
                    <a:pt x="1584" y="9785"/>
                    <a:pt x="1584" y="9928"/>
                  </a:cubicBezTo>
                  <a:lnTo>
                    <a:pt x="1584" y="10107"/>
                  </a:lnTo>
                  <a:lnTo>
                    <a:pt x="334" y="9833"/>
                  </a:lnTo>
                  <a:lnTo>
                    <a:pt x="334" y="9178"/>
                  </a:lnTo>
                  <a:cubicBezTo>
                    <a:pt x="334" y="9011"/>
                    <a:pt x="369" y="8857"/>
                    <a:pt x="453" y="8726"/>
                  </a:cubicBezTo>
                  <a:close/>
                  <a:moveTo>
                    <a:pt x="3504" y="0"/>
                  </a:moveTo>
                  <a:cubicBezTo>
                    <a:pt x="3468" y="0"/>
                    <a:pt x="3431" y="17"/>
                    <a:pt x="3406" y="34"/>
                  </a:cubicBezTo>
                  <a:lnTo>
                    <a:pt x="2751" y="522"/>
                  </a:lnTo>
                  <a:lnTo>
                    <a:pt x="1941" y="522"/>
                  </a:lnTo>
                  <a:cubicBezTo>
                    <a:pt x="1846" y="522"/>
                    <a:pt x="1774" y="606"/>
                    <a:pt x="1774" y="689"/>
                  </a:cubicBezTo>
                  <a:lnTo>
                    <a:pt x="1774" y="1403"/>
                  </a:lnTo>
                  <a:lnTo>
                    <a:pt x="1239" y="1403"/>
                  </a:lnTo>
                  <a:cubicBezTo>
                    <a:pt x="1179" y="1403"/>
                    <a:pt x="1131" y="1439"/>
                    <a:pt x="1108" y="1475"/>
                  </a:cubicBezTo>
                  <a:cubicBezTo>
                    <a:pt x="1072" y="1522"/>
                    <a:pt x="1060" y="1582"/>
                    <a:pt x="1072" y="1629"/>
                  </a:cubicBezTo>
                  <a:lnTo>
                    <a:pt x="1382" y="2582"/>
                  </a:lnTo>
                  <a:lnTo>
                    <a:pt x="1108" y="2868"/>
                  </a:lnTo>
                  <a:cubicBezTo>
                    <a:pt x="1060" y="2903"/>
                    <a:pt x="1048" y="2987"/>
                    <a:pt x="1072" y="3046"/>
                  </a:cubicBezTo>
                  <a:lnTo>
                    <a:pt x="1417" y="3892"/>
                  </a:lnTo>
                  <a:cubicBezTo>
                    <a:pt x="1322" y="3975"/>
                    <a:pt x="1262" y="4106"/>
                    <a:pt x="1251" y="4249"/>
                  </a:cubicBezTo>
                  <a:cubicBezTo>
                    <a:pt x="1239" y="4404"/>
                    <a:pt x="1298" y="4582"/>
                    <a:pt x="1405" y="4701"/>
                  </a:cubicBezTo>
                  <a:cubicBezTo>
                    <a:pt x="1524" y="4832"/>
                    <a:pt x="1679" y="4904"/>
                    <a:pt x="1846" y="4904"/>
                  </a:cubicBezTo>
                  <a:lnTo>
                    <a:pt x="1965" y="4904"/>
                  </a:lnTo>
                  <a:cubicBezTo>
                    <a:pt x="2060" y="5582"/>
                    <a:pt x="2441" y="6190"/>
                    <a:pt x="2989" y="6571"/>
                  </a:cubicBezTo>
                  <a:lnTo>
                    <a:pt x="2989" y="6940"/>
                  </a:lnTo>
                  <a:cubicBezTo>
                    <a:pt x="2953" y="6928"/>
                    <a:pt x="2917" y="6922"/>
                    <a:pt x="2883" y="6922"/>
                  </a:cubicBezTo>
                  <a:cubicBezTo>
                    <a:pt x="2849" y="6922"/>
                    <a:pt x="2816" y="6928"/>
                    <a:pt x="2786" y="6940"/>
                  </a:cubicBezTo>
                  <a:cubicBezTo>
                    <a:pt x="2691" y="6963"/>
                    <a:pt x="2620" y="7035"/>
                    <a:pt x="2572" y="7118"/>
                  </a:cubicBezTo>
                  <a:lnTo>
                    <a:pt x="2322" y="7618"/>
                  </a:lnTo>
                  <a:lnTo>
                    <a:pt x="881" y="8035"/>
                  </a:lnTo>
                  <a:cubicBezTo>
                    <a:pt x="358" y="8190"/>
                    <a:pt x="0" y="8666"/>
                    <a:pt x="0" y="9202"/>
                  </a:cubicBezTo>
                  <a:lnTo>
                    <a:pt x="0" y="11047"/>
                  </a:lnTo>
                  <a:cubicBezTo>
                    <a:pt x="0" y="11131"/>
                    <a:pt x="72" y="11214"/>
                    <a:pt x="167" y="11214"/>
                  </a:cubicBezTo>
                  <a:cubicBezTo>
                    <a:pt x="250" y="11214"/>
                    <a:pt x="334" y="11131"/>
                    <a:pt x="334" y="11047"/>
                  </a:cubicBezTo>
                  <a:lnTo>
                    <a:pt x="334" y="10202"/>
                  </a:lnTo>
                  <a:lnTo>
                    <a:pt x="1584" y="10476"/>
                  </a:lnTo>
                  <a:lnTo>
                    <a:pt x="1584" y="11047"/>
                  </a:lnTo>
                  <a:cubicBezTo>
                    <a:pt x="1584" y="11131"/>
                    <a:pt x="1655" y="11214"/>
                    <a:pt x="1739" y="11214"/>
                  </a:cubicBezTo>
                  <a:cubicBezTo>
                    <a:pt x="1834" y="11214"/>
                    <a:pt x="1905" y="11131"/>
                    <a:pt x="1905" y="11047"/>
                  </a:cubicBezTo>
                  <a:lnTo>
                    <a:pt x="1905" y="9952"/>
                  </a:lnTo>
                  <a:cubicBezTo>
                    <a:pt x="1905" y="9690"/>
                    <a:pt x="1798" y="9452"/>
                    <a:pt x="1608" y="9297"/>
                  </a:cubicBezTo>
                  <a:lnTo>
                    <a:pt x="667" y="8487"/>
                  </a:lnTo>
                  <a:cubicBezTo>
                    <a:pt x="762" y="8416"/>
                    <a:pt x="870" y="8368"/>
                    <a:pt x="965" y="8345"/>
                  </a:cubicBezTo>
                  <a:lnTo>
                    <a:pt x="2382" y="7928"/>
                  </a:lnTo>
                  <a:lnTo>
                    <a:pt x="2906" y="8833"/>
                  </a:lnTo>
                  <a:cubicBezTo>
                    <a:pt x="2953" y="8916"/>
                    <a:pt x="3036" y="8976"/>
                    <a:pt x="3144" y="8999"/>
                  </a:cubicBezTo>
                  <a:lnTo>
                    <a:pt x="3203" y="8999"/>
                  </a:lnTo>
                  <a:cubicBezTo>
                    <a:pt x="3275" y="8999"/>
                    <a:pt x="3370" y="8964"/>
                    <a:pt x="3429" y="8916"/>
                  </a:cubicBezTo>
                  <a:lnTo>
                    <a:pt x="3870" y="8535"/>
                  </a:lnTo>
                  <a:lnTo>
                    <a:pt x="3870" y="9630"/>
                  </a:lnTo>
                  <a:cubicBezTo>
                    <a:pt x="3870" y="9833"/>
                    <a:pt x="4025" y="9976"/>
                    <a:pt x="4215" y="9976"/>
                  </a:cubicBezTo>
                  <a:lnTo>
                    <a:pt x="4572" y="9976"/>
                  </a:lnTo>
                  <a:cubicBezTo>
                    <a:pt x="4763" y="9976"/>
                    <a:pt x="4918" y="9833"/>
                    <a:pt x="4918" y="9630"/>
                  </a:cubicBezTo>
                  <a:lnTo>
                    <a:pt x="4918" y="8535"/>
                  </a:lnTo>
                  <a:lnTo>
                    <a:pt x="5358" y="8916"/>
                  </a:lnTo>
                  <a:cubicBezTo>
                    <a:pt x="5418" y="8976"/>
                    <a:pt x="5489" y="8999"/>
                    <a:pt x="5584" y="8999"/>
                  </a:cubicBezTo>
                  <a:lnTo>
                    <a:pt x="5644" y="8999"/>
                  </a:lnTo>
                  <a:cubicBezTo>
                    <a:pt x="5751" y="8976"/>
                    <a:pt x="5834" y="8916"/>
                    <a:pt x="5882" y="8833"/>
                  </a:cubicBezTo>
                  <a:lnTo>
                    <a:pt x="6406" y="7928"/>
                  </a:lnTo>
                  <a:lnTo>
                    <a:pt x="7811" y="8345"/>
                  </a:lnTo>
                  <a:cubicBezTo>
                    <a:pt x="7918" y="8368"/>
                    <a:pt x="8025" y="8428"/>
                    <a:pt x="8109" y="8487"/>
                  </a:cubicBezTo>
                  <a:lnTo>
                    <a:pt x="7180" y="9297"/>
                  </a:lnTo>
                  <a:cubicBezTo>
                    <a:pt x="6977" y="9452"/>
                    <a:pt x="6882" y="9690"/>
                    <a:pt x="6882" y="9952"/>
                  </a:cubicBezTo>
                  <a:lnTo>
                    <a:pt x="6882" y="11035"/>
                  </a:lnTo>
                  <a:cubicBezTo>
                    <a:pt x="6882" y="11119"/>
                    <a:pt x="6954" y="11202"/>
                    <a:pt x="7037" y="11202"/>
                  </a:cubicBezTo>
                  <a:cubicBezTo>
                    <a:pt x="7132" y="11202"/>
                    <a:pt x="7204" y="11119"/>
                    <a:pt x="7204" y="11035"/>
                  </a:cubicBezTo>
                  <a:lnTo>
                    <a:pt x="7204" y="10464"/>
                  </a:lnTo>
                  <a:lnTo>
                    <a:pt x="7430" y="10428"/>
                  </a:lnTo>
                  <a:cubicBezTo>
                    <a:pt x="7513" y="10404"/>
                    <a:pt x="7573" y="10321"/>
                    <a:pt x="7549" y="10226"/>
                  </a:cubicBezTo>
                  <a:cubicBezTo>
                    <a:pt x="7539" y="10155"/>
                    <a:pt x="7469" y="10101"/>
                    <a:pt x="7397" y="10101"/>
                  </a:cubicBezTo>
                  <a:cubicBezTo>
                    <a:pt x="7384" y="10101"/>
                    <a:pt x="7371" y="10103"/>
                    <a:pt x="7358" y="10107"/>
                  </a:cubicBezTo>
                  <a:lnTo>
                    <a:pt x="7204" y="10142"/>
                  </a:lnTo>
                  <a:lnTo>
                    <a:pt x="7204" y="9952"/>
                  </a:lnTo>
                  <a:cubicBezTo>
                    <a:pt x="7204" y="9785"/>
                    <a:pt x="7275" y="9630"/>
                    <a:pt x="7394" y="9547"/>
                  </a:cubicBezTo>
                  <a:lnTo>
                    <a:pt x="8335" y="8737"/>
                  </a:lnTo>
                  <a:cubicBezTo>
                    <a:pt x="8406" y="8880"/>
                    <a:pt x="8454" y="9023"/>
                    <a:pt x="8454" y="9190"/>
                  </a:cubicBezTo>
                  <a:lnTo>
                    <a:pt x="8454" y="9845"/>
                  </a:lnTo>
                  <a:lnTo>
                    <a:pt x="8049" y="9928"/>
                  </a:lnTo>
                  <a:cubicBezTo>
                    <a:pt x="7966" y="9952"/>
                    <a:pt x="7906" y="10035"/>
                    <a:pt x="7930" y="10131"/>
                  </a:cubicBezTo>
                  <a:cubicBezTo>
                    <a:pt x="7954" y="10202"/>
                    <a:pt x="8025" y="10261"/>
                    <a:pt x="8097" y="10261"/>
                  </a:cubicBezTo>
                  <a:lnTo>
                    <a:pt x="8132" y="10261"/>
                  </a:lnTo>
                  <a:lnTo>
                    <a:pt x="8454" y="10190"/>
                  </a:lnTo>
                  <a:lnTo>
                    <a:pt x="8454" y="11035"/>
                  </a:lnTo>
                  <a:cubicBezTo>
                    <a:pt x="8454" y="11119"/>
                    <a:pt x="8525" y="11202"/>
                    <a:pt x="8621" y="11202"/>
                  </a:cubicBezTo>
                  <a:cubicBezTo>
                    <a:pt x="8704" y="11202"/>
                    <a:pt x="8787" y="11119"/>
                    <a:pt x="8787" y="11035"/>
                  </a:cubicBezTo>
                  <a:lnTo>
                    <a:pt x="8751" y="9190"/>
                  </a:lnTo>
                  <a:cubicBezTo>
                    <a:pt x="8751" y="8654"/>
                    <a:pt x="8394" y="8178"/>
                    <a:pt x="7870" y="8023"/>
                  </a:cubicBezTo>
                  <a:lnTo>
                    <a:pt x="6430" y="7606"/>
                  </a:lnTo>
                  <a:lnTo>
                    <a:pt x="6180" y="7106"/>
                  </a:lnTo>
                  <a:cubicBezTo>
                    <a:pt x="6132" y="7011"/>
                    <a:pt x="6061" y="6952"/>
                    <a:pt x="5965" y="6928"/>
                  </a:cubicBezTo>
                  <a:cubicBezTo>
                    <a:pt x="5930" y="6922"/>
                    <a:pt x="5894" y="6919"/>
                    <a:pt x="5860" y="6919"/>
                  </a:cubicBezTo>
                  <a:cubicBezTo>
                    <a:pt x="5826" y="6919"/>
                    <a:pt x="5793" y="6922"/>
                    <a:pt x="5763" y="6928"/>
                  </a:cubicBezTo>
                  <a:lnTo>
                    <a:pt x="5763" y="6559"/>
                  </a:lnTo>
                  <a:cubicBezTo>
                    <a:pt x="6311" y="6166"/>
                    <a:pt x="6704" y="5570"/>
                    <a:pt x="6787" y="4892"/>
                  </a:cubicBezTo>
                  <a:lnTo>
                    <a:pt x="6894" y="4892"/>
                  </a:lnTo>
                  <a:cubicBezTo>
                    <a:pt x="7216" y="4892"/>
                    <a:pt x="7489" y="4654"/>
                    <a:pt x="7513" y="4356"/>
                  </a:cubicBezTo>
                  <a:cubicBezTo>
                    <a:pt x="7537" y="4189"/>
                    <a:pt x="7478" y="4011"/>
                    <a:pt x="7370" y="3892"/>
                  </a:cubicBezTo>
                  <a:lnTo>
                    <a:pt x="7358" y="3868"/>
                  </a:lnTo>
                  <a:lnTo>
                    <a:pt x="7680" y="3034"/>
                  </a:lnTo>
                  <a:cubicBezTo>
                    <a:pt x="7716" y="2975"/>
                    <a:pt x="7692" y="2903"/>
                    <a:pt x="7656" y="2856"/>
                  </a:cubicBezTo>
                  <a:lnTo>
                    <a:pt x="7370" y="2582"/>
                  </a:lnTo>
                  <a:lnTo>
                    <a:pt x="7680" y="1629"/>
                  </a:lnTo>
                  <a:cubicBezTo>
                    <a:pt x="7692" y="1582"/>
                    <a:pt x="7692" y="1522"/>
                    <a:pt x="7656" y="1475"/>
                  </a:cubicBezTo>
                  <a:cubicBezTo>
                    <a:pt x="7620" y="1427"/>
                    <a:pt x="7573" y="1403"/>
                    <a:pt x="7513" y="1403"/>
                  </a:cubicBezTo>
                  <a:lnTo>
                    <a:pt x="6882" y="1403"/>
                  </a:lnTo>
                  <a:lnTo>
                    <a:pt x="7144" y="748"/>
                  </a:lnTo>
                  <a:cubicBezTo>
                    <a:pt x="7156" y="701"/>
                    <a:pt x="7156" y="641"/>
                    <a:pt x="7132" y="606"/>
                  </a:cubicBezTo>
                  <a:cubicBezTo>
                    <a:pt x="7097" y="558"/>
                    <a:pt x="7061" y="522"/>
                    <a:pt x="7001" y="522"/>
                  </a:cubicBezTo>
                  <a:lnTo>
                    <a:pt x="6013" y="522"/>
                  </a:lnTo>
                  <a:lnTo>
                    <a:pt x="5537" y="46"/>
                  </a:lnTo>
                  <a:cubicBezTo>
                    <a:pt x="5519" y="28"/>
                    <a:pt x="5479" y="2"/>
                    <a:pt x="5440" y="2"/>
                  </a:cubicBezTo>
                  <a:cubicBezTo>
                    <a:pt x="5429" y="2"/>
                    <a:pt x="5417" y="5"/>
                    <a:pt x="5406" y="10"/>
                  </a:cubicBezTo>
                  <a:lnTo>
                    <a:pt x="4215" y="165"/>
                  </a:lnTo>
                  <a:lnTo>
                    <a:pt x="3548" y="10"/>
                  </a:lnTo>
                  <a:cubicBezTo>
                    <a:pt x="3535" y="3"/>
                    <a:pt x="3520" y="0"/>
                    <a:pt x="35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41" name="Google Shape;12141;p61"/>
          <p:cNvGrpSpPr/>
          <p:nvPr/>
        </p:nvGrpSpPr>
        <p:grpSpPr>
          <a:xfrm>
            <a:off x="4903389" y="1500214"/>
            <a:ext cx="267854" cy="355735"/>
            <a:chOff x="4903389" y="1500214"/>
            <a:chExt cx="267854" cy="355735"/>
          </a:xfrm>
        </p:grpSpPr>
        <p:sp>
          <p:nvSpPr>
            <p:cNvPr id="12142" name="Google Shape;12142;p61"/>
            <p:cNvSpPr/>
            <p:nvPr/>
          </p:nvSpPr>
          <p:spPr>
            <a:xfrm>
              <a:off x="4997700" y="16118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3" name="Google Shape;12143;p61"/>
            <p:cNvSpPr/>
            <p:nvPr/>
          </p:nvSpPr>
          <p:spPr>
            <a:xfrm>
              <a:off x="5064830" y="161185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6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4" name="Google Shape;12144;p61"/>
            <p:cNvSpPr/>
            <p:nvPr/>
          </p:nvSpPr>
          <p:spPr>
            <a:xfrm>
              <a:off x="5013160" y="1650820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199"/>
                    <a:pt x="60" y="283"/>
                  </a:cubicBezTo>
                  <a:cubicBezTo>
                    <a:pt x="203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29" y="223"/>
                    <a:pt x="1429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5" name="Google Shape;12145;p61"/>
            <p:cNvSpPr/>
            <p:nvPr/>
          </p:nvSpPr>
          <p:spPr>
            <a:xfrm>
              <a:off x="4903389" y="1500214"/>
              <a:ext cx="267854" cy="355735"/>
            </a:xfrm>
            <a:custGeom>
              <a:avLst/>
              <a:gdLst/>
              <a:ahLst/>
              <a:cxnLst/>
              <a:rect l="l" t="t" r="r" b="b"/>
              <a:pathLst>
                <a:path w="8455" h="11229" extrusionOk="0">
                  <a:moveTo>
                    <a:pt x="1382" y="3144"/>
                  </a:moveTo>
                  <a:lnTo>
                    <a:pt x="1382" y="3394"/>
                  </a:lnTo>
                  <a:cubicBezTo>
                    <a:pt x="1180" y="3489"/>
                    <a:pt x="1025" y="3691"/>
                    <a:pt x="1025" y="3941"/>
                  </a:cubicBezTo>
                  <a:cubicBezTo>
                    <a:pt x="1025" y="4275"/>
                    <a:pt x="1299" y="4537"/>
                    <a:pt x="1620" y="4537"/>
                  </a:cubicBezTo>
                  <a:lnTo>
                    <a:pt x="1739" y="4537"/>
                  </a:lnTo>
                  <a:cubicBezTo>
                    <a:pt x="1811" y="5073"/>
                    <a:pt x="2073" y="5549"/>
                    <a:pt x="2430" y="5930"/>
                  </a:cubicBezTo>
                  <a:cubicBezTo>
                    <a:pt x="2362" y="5952"/>
                    <a:pt x="2270" y="5961"/>
                    <a:pt x="2172" y="5961"/>
                  </a:cubicBezTo>
                  <a:cubicBezTo>
                    <a:pt x="2116" y="5961"/>
                    <a:pt x="2058" y="5958"/>
                    <a:pt x="2001" y="5954"/>
                  </a:cubicBezTo>
                  <a:cubicBezTo>
                    <a:pt x="1656" y="5894"/>
                    <a:pt x="1370" y="5644"/>
                    <a:pt x="1251" y="5299"/>
                  </a:cubicBezTo>
                  <a:cubicBezTo>
                    <a:pt x="1203" y="5168"/>
                    <a:pt x="1192" y="5037"/>
                    <a:pt x="1203" y="4894"/>
                  </a:cubicBezTo>
                  <a:cubicBezTo>
                    <a:pt x="1215" y="4715"/>
                    <a:pt x="1144" y="4537"/>
                    <a:pt x="989" y="4442"/>
                  </a:cubicBezTo>
                  <a:cubicBezTo>
                    <a:pt x="751" y="4275"/>
                    <a:pt x="620" y="3989"/>
                    <a:pt x="691" y="3703"/>
                  </a:cubicBezTo>
                  <a:cubicBezTo>
                    <a:pt x="751" y="3429"/>
                    <a:pt x="965" y="3203"/>
                    <a:pt x="1251" y="3156"/>
                  </a:cubicBezTo>
                  <a:cubicBezTo>
                    <a:pt x="1299" y="3144"/>
                    <a:pt x="1334" y="3144"/>
                    <a:pt x="1382" y="3144"/>
                  </a:cubicBezTo>
                  <a:close/>
                  <a:moveTo>
                    <a:pt x="7002" y="3144"/>
                  </a:moveTo>
                  <a:cubicBezTo>
                    <a:pt x="7037" y="3144"/>
                    <a:pt x="7085" y="3144"/>
                    <a:pt x="7145" y="3156"/>
                  </a:cubicBezTo>
                  <a:cubicBezTo>
                    <a:pt x="7430" y="3203"/>
                    <a:pt x="7669" y="3441"/>
                    <a:pt x="7716" y="3703"/>
                  </a:cubicBezTo>
                  <a:cubicBezTo>
                    <a:pt x="7776" y="3989"/>
                    <a:pt x="7657" y="4275"/>
                    <a:pt x="7418" y="4442"/>
                  </a:cubicBezTo>
                  <a:cubicBezTo>
                    <a:pt x="7264" y="4537"/>
                    <a:pt x="7180" y="4715"/>
                    <a:pt x="7192" y="4894"/>
                  </a:cubicBezTo>
                  <a:cubicBezTo>
                    <a:pt x="7204" y="5037"/>
                    <a:pt x="7192" y="5168"/>
                    <a:pt x="7145" y="5299"/>
                  </a:cubicBezTo>
                  <a:cubicBezTo>
                    <a:pt x="7037" y="5632"/>
                    <a:pt x="6740" y="5894"/>
                    <a:pt x="6406" y="5954"/>
                  </a:cubicBezTo>
                  <a:cubicBezTo>
                    <a:pt x="6348" y="5966"/>
                    <a:pt x="6290" y="5971"/>
                    <a:pt x="6233" y="5971"/>
                  </a:cubicBezTo>
                  <a:cubicBezTo>
                    <a:pt x="6126" y="5971"/>
                    <a:pt x="6023" y="5953"/>
                    <a:pt x="5930" y="5930"/>
                  </a:cubicBezTo>
                  <a:cubicBezTo>
                    <a:pt x="6287" y="5549"/>
                    <a:pt x="6537" y="5073"/>
                    <a:pt x="6609" y="4537"/>
                  </a:cubicBezTo>
                  <a:lnTo>
                    <a:pt x="6728" y="4537"/>
                  </a:lnTo>
                  <a:cubicBezTo>
                    <a:pt x="7061" y="4537"/>
                    <a:pt x="7323" y="4275"/>
                    <a:pt x="7323" y="3941"/>
                  </a:cubicBezTo>
                  <a:cubicBezTo>
                    <a:pt x="7323" y="3703"/>
                    <a:pt x="7168" y="3501"/>
                    <a:pt x="6966" y="3394"/>
                  </a:cubicBezTo>
                  <a:lnTo>
                    <a:pt x="6966" y="3144"/>
                  </a:lnTo>
                  <a:close/>
                  <a:moveTo>
                    <a:pt x="4216" y="346"/>
                  </a:moveTo>
                  <a:cubicBezTo>
                    <a:pt x="5585" y="346"/>
                    <a:pt x="6680" y="1441"/>
                    <a:pt x="6680" y="2810"/>
                  </a:cubicBezTo>
                  <a:lnTo>
                    <a:pt x="6680" y="3346"/>
                  </a:lnTo>
                  <a:lnTo>
                    <a:pt x="6668" y="3346"/>
                  </a:lnTo>
                  <a:cubicBezTo>
                    <a:pt x="6502" y="3346"/>
                    <a:pt x="6347" y="3322"/>
                    <a:pt x="6192" y="3287"/>
                  </a:cubicBezTo>
                  <a:cubicBezTo>
                    <a:pt x="6180" y="3283"/>
                    <a:pt x="6167" y="3281"/>
                    <a:pt x="6154" y="3281"/>
                  </a:cubicBezTo>
                  <a:cubicBezTo>
                    <a:pt x="6081" y="3281"/>
                    <a:pt x="6008" y="3335"/>
                    <a:pt x="5978" y="3406"/>
                  </a:cubicBezTo>
                  <a:cubicBezTo>
                    <a:pt x="5954" y="3501"/>
                    <a:pt x="6014" y="3584"/>
                    <a:pt x="6097" y="3620"/>
                  </a:cubicBezTo>
                  <a:cubicBezTo>
                    <a:pt x="6299" y="3680"/>
                    <a:pt x="6490" y="3691"/>
                    <a:pt x="6668" y="3691"/>
                  </a:cubicBezTo>
                  <a:lnTo>
                    <a:pt x="6752" y="3691"/>
                  </a:lnTo>
                  <a:cubicBezTo>
                    <a:pt x="6907" y="3691"/>
                    <a:pt x="7026" y="3810"/>
                    <a:pt x="7026" y="3965"/>
                  </a:cubicBezTo>
                  <a:cubicBezTo>
                    <a:pt x="7026" y="4108"/>
                    <a:pt x="6907" y="4227"/>
                    <a:pt x="6752" y="4227"/>
                  </a:cubicBezTo>
                  <a:lnTo>
                    <a:pt x="6656" y="4227"/>
                  </a:lnTo>
                  <a:lnTo>
                    <a:pt x="6656" y="4215"/>
                  </a:lnTo>
                  <a:cubicBezTo>
                    <a:pt x="6656" y="4120"/>
                    <a:pt x="6573" y="4049"/>
                    <a:pt x="6490" y="4049"/>
                  </a:cubicBezTo>
                  <a:cubicBezTo>
                    <a:pt x="6395" y="4049"/>
                    <a:pt x="6323" y="4120"/>
                    <a:pt x="6323" y="4215"/>
                  </a:cubicBezTo>
                  <a:cubicBezTo>
                    <a:pt x="6323" y="5370"/>
                    <a:pt x="5371" y="6323"/>
                    <a:pt x="4216" y="6323"/>
                  </a:cubicBezTo>
                  <a:cubicBezTo>
                    <a:pt x="3037" y="6311"/>
                    <a:pt x="2084" y="5358"/>
                    <a:pt x="2084" y="4203"/>
                  </a:cubicBezTo>
                  <a:cubicBezTo>
                    <a:pt x="2084" y="4108"/>
                    <a:pt x="2013" y="4037"/>
                    <a:pt x="1918" y="4037"/>
                  </a:cubicBezTo>
                  <a:cubicBezTo>
                    <a:pt x="1834" y="4037"/>
                    <a:pt x="1763" y="4108"/>
                    <a:pt x="1763" y="4203"/>
                  </a:cubicBezTo>
                  <a:lnTo>
                    <a:pt x="1763" y="4215"/>
                  </a:lnTo>
                  <a:lnTo>
                    <a:pt x="1656" y="4215"/>
                  </a:lnTo>
                  <a:cubicBezTo>
                    <a:pt x="1501" y="4215"/>
                    <a:pt x="1382" y="4096"/>
                    <a:pt x="1382" y="3941"/>
                  </a:cubicBezTo>
                  <a:cubicBezTo>
                    <a:pt x="1382" y="3799"/>
                    <a:pt x="1501" y="3680"/>
                    <a:pt x="1656" y="3680"/>
                  </a:cubicBezTo>
                  <a:lnTo>
                    <a:pt x="1739" y="3680"/>
                  </a:lnTo>
                  <a:cubicBezTo>
                    <a:pt x="2918" y="3680"/>
                    <a:pt x="3847" y="2667"/>
                    <a:pt x="4180" y="2215"/>
                  </a:cubicBezTo>
                  <a:lnTo>
                    <a:pt x="4216" y="2215"/>
                  </a:lnTo>
                  <a:cubicBezTo>
                    <a:pt x="4418" y="2489"/>
                    <a:pt x="4871" y="2977"/>
                    <a:pt x="5454" y="3322"/>
                  </a:cubicBezTo>
                  <a:cubicBezTo>
                    <a:pt x="5476" y="3337"/>
                    <a:pt x="5502" y="3344"/>
                    <a:pt x="5528" y="3344"/>
                  </a:cubicBezTo>
                  <a:cubicBezTo>
                    <a:pt x="5586" y="3344"/>
                    <a:pt x="5644" y="3312"/>
                    <a:pt x="5668" y="3263"/>
                  </a:cubicBezTo>
                  <a:cubicBezTo>
                    <a:pt x="5716" y="3191"/>
                    <a:pt x="5680" y="3084"/>
                    <a:pt x="5609" y="3037"/>
                  </a:cubicBezTo>
                  <a:cubicBezTo>
                    <a:pt x="5073" y="2727"/>
                    <a:pt x="4680" y="2263"/>
                    <a:pt x="4478" y="2025"/>
                  </a:cubicBezTo>
                  <a:cubicBezTo>
                    <a:pt x="4418" y="1929"/>
                    <a:pt x="4323" y="1894"/>
                    <a:pt x="4216" y="1894"/>
                  </a:cubicBezTo>
                  <a:cubicBezTo>
                    <a:pt x="4109" y="1894"/>
                    <a:pt x="4001" y="1941"/>
                    <a:pt x="3942" y="2025"/>
                  </a:cubicBezTo>
                  <a:cubicBezTo>
                    <a:pt x="2989" y="3227"/>
                    <a:pt x="2096" y="3346"/>
                    <a:pt x="1763" y="3346"/>
                  </a:cubicBezTo>
                  <a:lnTo>
                    <a:pt x="1739" y="3346"/>
                  </a:lnTo>
                  <a:lnTo>
                    <a:pt x="1739" y="2810"/>
                  </a:lnTo>
                  <a:cubicBezTo>
                    <a:pt x="1739" y="1453"/>
                    <a:pt x="2846" y="346"/>
                    <a:pt x="4216" y="346"/>
                  </a:cubicBezTo>
                  <a:close/>
                  <a:moveTo>
                    <a:pt x="5085" y="6477"/>
                  </a:moveTo>
                  <a:lnTo>
                    <a:pt x="5085" y="7359"/>
                  </a:lnTo>
                  <a:cubicBezTo>
                    <a:pt x="5085" y="7847"/>
                    <a:pt x="4692" y="8252"/>
                    <a:pt x="4192" y="8252"/>
                  </a:cubicBezTo>
                  <a:cubicBezTo>
                    <a:pt x="3704" y="8252"/>
                    <a:pt x="3299" y="7847"/>
                    <a:pt x="3299" y="7359"/>
                  </a:cubicBezTo>
                  <a:lnTo>
                    <a:pt x="3299" y="6477"/>
                  </a:lnTo>
                  <a:cubicBezTo>
                    <a:pt x="3573" y="6585"/>
                    <a:pt x="3882" y="6644"/>
                    <a:pt x="4192" y="6644"/>
                  </a:cubicBezTo>
                  <a:cubicBezTo>
                    <a:pt x="4513" y="6644"/>
                    <a:pt x="4811" y="6585"/>
                    <a:pt x="5085" y="6477"/>
                  </a:cubicBezTo>
                  <a:close/>
                  <a:moveTo>
                    <a:pt x="5430" y="7061"/>
                  </a:moveTo>
                  <a:lnTo>
                    <a:pt x="5883" y="7204"/>
                  </a:lnTo>
                  <a:cubicBezTo>
                    <a:pt x="5954" y="7239"/>
                    <a:pt x="6002" y="7299"/>
                    <a:pt x="6002" y="7370"/>
                  </a:cubicBezTo>
                  <a:cubicBezTo>
                    <a:pt x="6014" y="7990"/>
                    <a:pt x="5883" y="8502"/>
                    <a:pt x="5752" y="8799"/>
                  </a:cubicBezTo>
                  <a:cubicBezTo>
                    <a:pt x="5664" y="9003"/>
                    <a:pt x="5465" y="9128"/>
                    <a:pt x="5259" y="9128"/>
                  </a:cubicBezTo>
                  <a:cubicBezTo>
                    <a:pt x="5213" y="9128"/>
                    <a:pt x="5166" y="9122"/>
                    <a:pt x="5121" y="9109"/>
                  </a:cubicBezTo>
                  <a:lnTo>
                    <a:pt x="4240" y="8883"/>
                  </a:lnTo>
                  <a:lnTo>
                    <a:pt x="4168" y="8883"/>
                  </a:lnTo>
                  <a:lnTo>
                    <a:pt x="3287" y="9109"/>
                  </a:lnTo>
                  <a:cubicBezTo>
                    <a:pt x="3247" y="9118"/>
                    <a:pt x="3205" y="9123"/>
                    <a:pt x="3164" y="9123"/>
                  </a:cubicBezTo>
                  <a:cubicBezTo>
                    <a:pt x="2953" y="9123"/>
                    <a:pt x="2748" y="8999"/>
                    <a:pt x="2668" y="8799"/>
                  </a:cubicBezTo>
                  <a:cubicBezTo>
                    <a:pt x="2525" y="8490"/>
                    <a:pt x="2394" y="7990"/>
                    <a:pt x="2430" y="7370"/>
                  </a:cubicBezTo>
                  <a:cubicBezTo>
                    <a:pt x="2430" y="7299"/>
                    <a:pt x="2489" y="7216"/>
                    <a:pt x="2549" y="7204"/>
                  </a:cubicBezTo>
                  <a:lnTo>
                    <a:pt x="2989" y="7061"/>
                  </a:lnTo>
                  <a:lnTo>
                    <a:pt x="2989" y="7359"/>
                  </a:lnTo>
                  <a:cubicBezTo>
                    <a:pt x="2989" y="8025"/>
                    <a:pt x="3537" y="8573"/>
                    <a:pt x="4216" y="8573"/>
                  </a:cubicBezTo>
                  <a:cubicBezTo>
                    <a:pt x="4882" y="8573"/>
                    <a:pt x="5430" y="8025"/>
                    <a:pt x="5430" y="7359"/>
                  </a:cubicBezTo>
                  <a:lnTo>
                    <a:pt x="5430" y="7061"/>
                  </a:lnTo>
                  <a:close/>
                  <a:moveTo>
                    <a:pt x="4204" y="0"/>
                  </a:moveTo>
                  <a:cubicBezTo>
                    <a:pt x="2656" y="0"/>
                    <a:pt x="1406" y="1251"/>
                    <a:pt x="1406" y="2798"/>
                  </a:cubicBezTo>
                  <a:lnTo>
                    <a:pt x="1406" y="2810"/>
                  </a:lnTo>
                  <a:cubicBezTo>
                    <a:pt x="1346" y="2810"/>
                    <a:pt x="1263" y="2810"/>
                    <a:pt x="1203" y="2822"/>
                  </a:cubicBezTo>
                  <a:cubicBezTo>
                    <a:pt x="787" y="2906"/>
                    <a:pt x="453" y="3227"/>
                    <a:pt x="370" y="3644"/>
                  </a:cubicBezTo>
                  <a:cubicBezTo>
                    <a:pt x="287" y="4061"/>
                    <a:pt x="465" y="4477"/>
                    <a:pt x="811" y="4715"/>
                  </a:cubicBezTo>
                  <a:cubicBezTo>
                    <a:pt x="870" y="4751"/>
                    <a:pt x="894" y="4823"/>
                    <a:pt x="882" y="4882"/>
                  </a:cubicBezTo>
                  <a:cubicBezTo>
                    <a:pt x="870" y="5061"/>
                    <a:pt x="882" y="5239"/>
                    <a:pt x="941" y="5418"/>
                  </a:cubicBezTo>
                  <a:cubicBezTo>
                    <a:pt x="1084" y="5858"/>
                    <a:pt x="1477" y="6204"/>
                    <a:pt x="1942" y="6299"/>
                  </a:cubicBezTo>
                  <a:cubicBezTo>
                    <a:pt x="2013" y="6311"/>
                    <a:pt x="2096" y="6311"/>
                    <a:pt x="2180" y="6311"/>
                  </a:cubicBezTo>
                  <a:cubicBezTo>
                    <a:pt x="2370" y="6311"/>
                    <a:pt x="2561" y="6263"/>
                    <a:pt x="2739" y="6180"/>
                  </a:cubicBezTo>
                  <a:cubicBezTo>
                    <a:pt x="2811" y="6239"/>
                    <a:pt x="2894" y="6275"/>
                    <a:pt x="2977" y="6323"/>
                  </a:cubicBezTo>
                  <a:lnTo>
                    <a:pt x="2977" y="6716"/>
                  </a:lnTo>
                  <a:lnTo>
                    <a:pt x="2430" y="6906"/>
                  </a:lnTo>
                  <a:cubicBezTo>
                    <a:pt x="2239" y="6978"/>
                    <a:pt x="2096" y="7156"/>
                    <a:pt x="2084" y="7370"/>
                  </a:cubicBezTo>
                  <a:lnTo>
                    <a:pt x="2084" y="7394"/>
                  </a:lnTo>
                  <a:lnTo>
                    <a:pt x="822" y="7847"/>
                  </a:lnTo>
                  <a:cubicBezTo>
                    <a:pt x="334" y="8025"/>
                    <a:pt x="1" y="8466"/>
                    <a:pt x="1" y="8990"/>
                  </a:cubicBezTo>
                  <a:lnTo>
                    <a:pt x="1" y="11061"/>
                  </a:lnTo>
                  <a:cubicBezTo>
                    <a:pt x="1" y="11145"/>
                    <a:pt x="72" y="11228"/>
                    <a:pt x="168" y="11228"/>
                  </a:cubicBezTo>
                  <a:cubicBezTo>
                    <a:pt x="251" y="11228"/>
                    <a:pt x="334" y="11145"/>
                    <a:pt x="334" y="11061"/>
                  </a:cubicBezTo>
                  <a:lnTo>
                    <a:pt x="334" y="8990"/>
                  </a:lnTo>
                  <a:cubicBezTo>
                    <a:pt x="334" y="8883"/>
                    <a:pt x="346" y="8787"/>
                    <a:pt x="394" y="8680"/>
                  </a:cubicBezTo>
                  <a:lnTo>
                    <a:pt x="1227" y="9395"/>
                  </a:lnTo>
                  <a:cubicBezTo>
                    <a:pt x="1346" y="9490"/>
                    <a:pt x="1418" y="9645"/>
                    <a:pt x="1418" y="9787"/>
                  </a:cubicBezTo>
                  <a:lnTo>
                    <a:pt x="1418" y="11061"/>
                  </a:lnTo>
                  <a:cubicBezTo>
                    <a:pt x="1418" y="11145"/>
                    <a:pt x="1489" y="11228"/>
                    <a:pt x="1584" y="11228"/>
                  </a:cubicBezTo>
                  <a:cubicBezTo>
                    <a:pt x="1668" y="11228"/>
                    <a:pt x="1739" y="11145"/>
                    <a:pt x="1739" y="11061"/>
                  </a:cubicBezTo>
                  <a:lnTo>
                    <a:pt x="1739" y="9787"/>
                  </a:lnTo>
                  <a:cubicBezTo>
                    <a:pt x="1739" y="9537"/>
                    <a:pt x="1644" y="9299"/>
                    <a:pt x="1442" y="9144"/>
                  </a:cubicBezTo>
                  <a:lnTo>
                    <a:pt x="584" y="8394"/>
                  </a:lnTo>
                  <a:cubicBezTo>
                    <a:pt x="668" y="8287"/>
                    <a:pt x="811" y="8204"/>
                    <a:pt x="941" y="8156"/>
                  </a:cubicBezTo>
                  <a:lnTo>
                    <a:pt x="2096" y="7751"/>
                  </a:lnTo>
                  <a:cubicBezTo>
                    <a:pt x="2132" y="8263"/>
                    <a:pt x="2251" y="8680"/>
                    <a:pt x="2370" y="8942"/>
                  </a:cubicBezTo>
                  <a:cubicBezTo>
                    <a:pt x="2508" y="9277"/>
                    <a:pt x="2825" y="9481"/>
                    <a:pt x="3167" y="9481"/>
                  </a:cubicBezTo>
                  <a:cubicBezTo>
                    <a:pt x="3238" y="9481"/>
                    <a:pt x="3310" y="9473"/>
                    <a:pt x="3382" y="9454"/>
                  </a:cubicBezTo>
                  <a:lnTo>
                    <a:pt x="4061" y="9287"/>
                  </a:lnTo>
                  <a:lnTo>
                    <a:pt x="4061" y="9823"/>
                  </a:lnTo>
                  <a:cubicBezTo>
                    <a:pt x="4061" y="9918"/>
                    <a:pt x="4144" y="9990"/>
                    <a:pt x="4228" y="9990"/>
                  </a:cubicBezTo>
                  <a:cubicBezTo>
                    <a:pt x="4311" y="9990"/>
                    <a:pt x="4394" y="9918"/>
                    <a:pt x="4394" y="9823"/>
                  </a:cubicBezTo>
                  <a:lnTo>
                    <a:pt x="4394" y="9287"/>
                  </a:lnTo>
                  <a:lnTo>
                    <a:pt x="5073" y="9454"/>
                  </a:lnTo>
                  <a:cubicBezTo>
                    <a:pt x="5144" y="9466"/>
                    <a:pt x="5228" y="9478"/>
                    <a:pt x="5287" y="9478"/>
                  </a:cubicBezTo>
                  <a:cubicBezTo>
                    <a:pt x="5621" y="9478"/>
                    <a:pt x="5942" y="9275"/>
                    <a:pt x="6085" y="8942"/>
                  </a:cubicBezTo>
                  <a:cubicBezTo>
                    <a:pt x="6204" y="8680"/>
                    <a:pt x="6323" y="8263"/>
                    <a:pt x="6359" y="7751"/>
                  </a:cubicBezTo>
                  <a:lnTo>
                    <a:pt x="7514" y="8156"/>
                  </a:lnTo>
                  <a:cubicBezTo>
                    <a:pt x="7669" y="8204"/>
                    <a:pt x="7788" y="8287"/>
                    <a:pt x="7871" y="8394"/>
                  </a:cubicBezTo>
                  <a:lnTo>
                    <a:pt x="7014" y="9133"/>
                  </a:lnTo>
                  <a:cubicBezTo>
                    <a:pt x="6823" y="9299"/>
                    <a:pt x="6716" y="9537"/>
                    <a:pt x="6716" y="9787"/>
                  </a:cubicBezTo>
                  <a:lnTo>
                    <a:pt x="6716" y="11061"/>
                  </a:lnTo>
                  <a:cubicBezTo>
                    <a:pt x="6716" y="11145"/>
                    <a:pt x="6787" y="11216"/>
                    <a:pt x="6871" y="11216"/>
                  </a:cubicBezTo>
                  <a:cubicBezTo>
                    <a:pt x="6966" y="11216"/>
                    <a:pt x="7037" y="11145"/>
                    <a:pt x="7037" y="11061"/>
                  </a:cubicBezTo>
                  <a:lnTo>
                    <a:pt x="7037" y="9787"/>
                  </a:lnTo>
                  <a:cubicBezTo>
                    <a:pt x="7037" y="9633"/>
                    <a:pt x="7109" y="9478"/>
                    <a:pt x="7228" y="9395"/>
                  </a:cubicBezTo>
                  <a:lnTo>
                    <a:pt x="8061" y="8680"/>
                  </a:lnTo>
                  <a:cubicBezTo>
                    <a:pt x="8097" y="8775"/>
                    <a:pt x="8121" y="8883"/>
                    <a:pt x="8121" y="8990"/>
                  </a:cubicBezTo>
                  <a:lnTo>
                    <a:pt x="8121" y="11061"/>
                  </a:lnTo>
                  <a:cubicBezTo>
                    <a:pt x="8121" y="11145"/>
                    <a:pt x="8204" y="11216"/>
                    <a:pt x="8288" y="11216"/>
                  </a:cubicBezTo>
                  <a:cubicBezTo>
                    <a:pt x="8383" y="11216"/>
                    <a:pt x="8454" y="11145"/>
                    <a:pt x="8454" y="11061"/>
                  </a:cubicBezTo>
                  <a:lnTo>
                    <a:pt x="8454" y="8990"/>
                  </a:lnTo>
                  <a:cubicBezTo>
                    <a:pt x="8395" y="8466"/>
                    <a:pt x="8061" y="8013"/>
                    <a:pt x="7573" y="7847"/>
                  </a:cubicBezTo>
                  <a:lnTo>
                    <a:pt x="6311" y="7394"/>
                  </a:lnTo>
                  <a:lnTo>
                    <a:pt x="6311" y="7370"/>
                  </a:lnTo>
                  <a:cubicBezTo>
                    <a:pt x="6299" y="7156"/>
                    <a:pt x="6168" y="6978"/>
                    <a:pt x="5966" y="6906"/>
                  </a:cubicBezTo>
                  <a:lnTo>
                    <a:pt x="5418" y="6716"/>
                  </a:lnTo>
                  <a:lnTo>
                    <a:pt x="5418" y="6323"/>
                  </a:lnTo>
                  <a:cubicBezTo>
                    <a:pt x="5502" y="6275"/>
                    <a:pt x="5585" y="6216"/>
                    <a:pt x="5656" y="6180"/>
                  </a:cubicBezTo>
                  <a:cubicBezTo>
                    <a:pt x="5835" y="6263"/>
                    <a:pt x="6025" y="6311"/>
                    <a:pt x="6216" y="6311"/>
                  </a:cubicBezTo>
                  <a:cubicBezTo>
                    <a:pt x="6299" y="6311"/>
                    <a:pt x="6383" y="6311"/>
                    <a:pt x="6454" y="6299"/>
                  </a:cubicBezTo>
                  <a:cubicBezTo>
                    <a:pt x="6918" y="6204"/>
                    <a:pt x="7311" y="5858"/>
                    <a:pt x="7454" y="5418"/>
                  </a:cubicBezTo>
                  <a:cubicBezTo>
                    <a:pt x="7514" y="5239"/>
                    <a:pt x="7526" y="5061"/>
                    <a:pt x="7514" y="4882"/>
                  </a:cubicBezTo>
                  <a:cubicBezTo>
                    <a:pt x="7514" y="4823"/>
                    <a:pt x="7549" y="4751"/>
                    <a:pt x="7585" y="4715"/>
                  </a:cubicBezTo>
                  <a:cubicBezTo>
                    <a:pt x="7954" y="4477"/>
                    <a:pt x="8109" y="4061"/>
                    <a:pt x="8026" y="3644"/>
                  </a:cubicBezTo>
                  <a:cubicBezTo>
                    <a:pt x="7930" y="3227"/>
                    <a:pt x="7609" y="2906"/>
                    <a:pt x="7192" y="2822"/>
                  </a:cubicBezTo>
                  <a:cubicBezTo>
                    <a:pt x="7133" y="2810"/>
                    <a:pt x="7061" y="2810"/>
                    <a:pt x="7002" y="2810"/>
                  </a:cubicBezTo>
                  <a:lnTo>
                    <a:pt x="7002" y="2798"/>
                  </a:lnTo>
                  <a:cubicBezTo>
                    <a:pt x="7002" y="1251"/>
                    <a:pt x="5752" y="0"/>
                    <a:pt x="4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6" name="Google Shape;12146;p61"/>
            <p:cNvSpPr/>
            <p:nvPr/>
          </p:nvSpPr>
          <p:spPr>
            <a:xfrm>
              <a:off x="5031281" y="182800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47" name="Google Shape;12147;p61"/>
          <p:cNvGrpSpPr/>
          <p:nvPr/>
        </p:nvGrpSpPr>
        <p:grpSpPr>
          <a:xfrm>
            <a:off x="7613518" y="1501354"/>
            <a:ext cx="264433" cy="353074"/>
            <a:chOff x="7613518" y="1501354"/>
            <a:chExt cx="264433" cy="353074"/>
          </a:xfrm>
        </p:grpSpPr>
        <p:sp>
          <p:nvSpPr>
            <p:cNvPr id="12148" name="Google Shape;12148;p61"/>
            <p:cNvSpPr/>
            <p:nvPr/>
          </p:nvSpPr>
          <p:spPr>
            <a:xfrm>
              <a:off x="7707069" y="16284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1" y="513"/>
                    <a:pt x="155" y="513"/>
                  </a:cubicBezTo>
                  <a:cubicBezTo>
                    <a:pt x="250" y="513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9" name="Google Shape;12149;p61"/>
            <p:cNvSpPr/>
            <p:nvPr/>
          </p:nvSpPr>
          <p:spPr>
            <a:xfrm>
              <a:off x="7773439" y="16284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3"/>
                    <a:pt x="167" y="513"/>
                  </a:cubicBezTo>
                  <a:cubicBezTo>
                    <a:pt x="251" y="513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0" name="Google Shape;12150;p61"/>
            <p:cNvSpPr/>
            <p:nvPr/>
          </p:nvSpPr>
          <p:spPr>
            <a:xfrm>
              <a:off x="7613518" y="1501354"/>
              <a:ext cx="264433" cy="353074"/>
            </a:xfrm>
            <a:custGeom>
              <a:avLst/>
              <a:gdLst/>
              <a:ahLst/>
              <a:cxnLst/>
              <a:rect l="l" t="t" r="r" b="b"/>
              <a:pathLst>
                <a:path w="8347" h="11145" extrusionOk="0">
                  <a:moveTo>
                    <a:pt x="4156" y="334"/>
                  </a:moveTo>
                  <a:cubicBezTo>
                    <a:pt x="5703" y="334"/>
                    <a:pt x="6954" y="1584"/>
                    <a:pt x="6954" y="3132"/>
                  </a:cubicBezTo>
                  <a:lnTo>
                    <a:pt x="6954" y="4358"/>
                  </a:lnTo>
                  <a:cubicBezTo>
                    <a:pt x="6954" y="5263"/>
                    <a:pt x="7156" y="5941"/>
                    <a:pt x="7335" y="6382"/>
                  </a:cubicBezTo>
                  <a:cubicBezTo>
                    <a:pt x="7346" y="6418"/>
                    <a:pt x="7346" y="6465"/>
                    <a:pt x="7335" y="6513"/>
                  </a:cubicBezTo>
                  <a:cubicBezTo>
                    <a:pt x="7323" y="6561"/>
                    <a:pt x="7275" y="6596"/>
                    <a:pt x="7227" y="6620"/>
                  </a:cubicBezTo>
                  <a:cubicBezTo>
                    <a:pt x="7156" y="6644"/>
                    <a:pt x="7073" y="6680"/>
                    <a:pt x="6989" y="6703"/>
                  </a:cubicBezTo>
                  <a:cubicBezTo>
                    <a:pt x="6787" y="6441"/>
                    <a:pt x="6442" y="6263"/>
                    <a:pt x="6072" y="6263"/>
                  </a:cubicBezTo>
                  <a:lnTo>
                    <a:pt x="5846" y="6263"/>
                  </a:lnTo>
                  <a:cubicBezTo>
                    <a:pt x="6299" y="5810"/>
                    <a:pt x="6584" y="5203"/>
                    <a:pt x="6584" y="4525"/>
                  </a:cubicBezTo>
                  <a:lnTo>
                    <a:pt x="6584" y="3834"/>
                  </a:lnTo>
                  <a:cubicBezTo>
                    <a:pt x="6584" y="3358"/>
                    <a:pt x="6192" y="2977"/>
                    <a:pt x="5715" y="2977"/>
                  </a:cubicBezTo>
                  <a:lnTo>
                    <a:pt x="5430" y="2977"/>
                  </a:lnTo>
                  <a:lnTo>
                    <a:pt x="4620" y="2155"/>
                  </a:lnTo>
                  <a:cubicBezTo>
                    <a:pt x="4588" y="2123"/>
                    <a:pt x="4546" y="2108"/>
                    <a:pt x="4503" y="2108"/>
                  </a:cubicBezTo>
                  <a:cubicBezTo>
                    <a:pt x="4482" y="2108"/>
                    <a:pt x="4461" y="2112"/>
                    <a:pt x="4441" y="2120"/>
                  </a:cubicBezTo>
                  <a:cubicBezTo>
                    <a:pt x="4382" y="2155"/>
                    <a:pt x="4334" y="2215"/>
                    <a:pt x="4334" y="2274"/>
                  </a:cubicBezTo>
                  <a:lnTo>
                    <a:pt x="4334" y="2989"/>
                  </a:lnTo>
                  <a:lnTo>
                    <a:pt x="3453" y="2989"/>
                  </a:lnTo>
                  <a:cubicBezTo>
                    <a:pt x="3370" y="2989"/>
                    <a:pt x="3286" y="3060"/>
                    <a:pt x="3286" y="3155"/>
                  </a:cubicBezTo>
                  <a:cubicBezTo>
                    <a:pt x="3286" y="3239"/>
                    <a:pt x="3370" y="3310"/>
                    <a:pt x="3453" y="3310"/>
                  </a:cubicBezTo>
                  <a:lnTo>
                    <a:pt x="4501" y="3310"/>
                  </a:lnTo>
                  <a:cubicBezTo>
                    <a:pt x="4584" y="3310"/>
                    <a:pt x="4656" y="3239"/>
                    <a:pt x="4656" y="3155"/>
                  </a:cubicBezTo>
                  <a:lnTo>
                    <a:pt x="4656" y="2679"/>
                  </a:lnTo>
                  <a:lnTo>
                    <a:pt x="5251" y="3274"/>
                  </a:lnTo>
                  <a:cubicBezTo>
                    <a:pt x="5287" y="3298"/>
                    <a:pt x="5322" y="3310"/>
                    <a:pt x="5370" y="3310"/>
                  </a:cubicBezTo>
                  <a:lnTo>
                    <a:pt x="5715" y="3310"/>
                  </a:lnTo>
                  <a:cubicBezTo>
                    <a:pt x="6013" y="3310"/>
                    <a:pt x="6251" y="3548"/>
                    <a:pt x="6251" y="3846"/>
                  </a:cubicBezTo>
                  <a:lnTo>
                    <a:pt x="6251" y="4548"/>
                  </a:lnTo>
                  <a:cubicBezTo>
                    <a:pt x="6251" y="5715"/>
                    <a:pt x="5310" y="6644"/>
                    <a:pt x="4156" y="6644"/>
                  </a:cubicBezTo>
                  <a:cubicBezTo>
                    <a:pt x="2989" y="6644"/>
                    <a:pt x="2048" y="5715"/>
                    <a:pt x="2048" y="4548"/>
                  </a:cubicBezTo>
                  <a:lnTo>
                    <a:pt x="2048" y="3834"/>
                  </a:lnTo>
                  <a:cubicBezTo>
                    <a:pt x="2048" y="3536"/>
                    <a:pt x="2286" y="3298"/>
                    <a:pt x="2584" y="3298"/>
                  </a:cubicBezTo>
                  <a:lnTo>
                    <a:pt x="2763" y="3298"/>
                  </a:lnTo>
                  <a:cubicBezTo>
                    <a:pt x="2858" y="3298"/>
                    <a:pt x="2929" y="3227"/>
                    <a:pt x="2929" y="3132"/>
                  </a:cubicBezTo>
                  <a:cubicBezTo>
                    <a:pt x="2929" y="3048"/>
                    <a:pt x="2858" y="2965"/>
                    <a:pt x="2763" y="2965"/>
                  </a:cubicBezTo>
                  <a:lnTo>
                    <a:pt x="2584" y="2965"/>
                  </a:lnTo>
                  <a:cubicBezTo>
                    <a:pt x="2108" y="2965"/>
                    <a:pt x="1727" y="3358"/>
                    <a:pt x="1727" y="3834"/>
                  </a:cubicBezTo>
                  <a:lnTo>
                    <a:pt x="1727" y="4536"/>
                  </a:lnTo>
                  <a:cubicBezTo>
                    <a:pt x="1727" y="5215"/>
                    <a:pt x="2012" y="5822"/>
                    <a:pt x="2453" y="6275"/>
                  </a:cubicBezTo>
                  <a:lnTo>
                    <a:pt x="2227" y="6275"/>
                  </a:lnTo>
                  <a:cubicBezTo>
                    <a:pt x="1858" y="6275"/>
                    <a:pt x="1536" y="6441"/>
                    <a:pt x="1310" y="6703"/>
                  </a:cubicBezTo>
                  <a:cubicBezTo>
                    <a:pt x="1239" y="6680"/>
                    <a:pt x="1143" y="6644"/>
                    <a:pt x="1072" y="6620"/>
                  </a:cubicBezTo>
                  <a:cubicBezTo>
                    <a:pt x="1024" y="6596"/>
                    <a:pt x="989" y="6561"/>
                    <a:pt x="965" y="6513"/>
                  </a:cubicBezTo>
                  <a:cubicBezTo>
                    <a:pt x="953" y="6465"/>
                    <a:pt x="953" y="6418"/>
                    <a:pt x="965" y="6382"/>
                  </a:cubicBezTo>
                  <a:cubicBezTo>
                    <a:pt x="1143" y="5965"/>
                    <a:pt x="1358" y="5263"/>
                    <a:pt x="1358" y="4358"/>
                  </a:cubicBezTo>
                  <a:lnTo>
                    <a:pt x="1358" y="3132"/>
                  </a:lnTo>
                  <a:cubicBezTo>
                    <a:pt x="1358" y="1584"/>
                    <a:pt x="2608" y="334"/>
                    <a:pt x="4156" y="334"/>
                  </a:cubicBezTo>
                  <a:close/>
                  <a:moveTo>
                    <a:pt x="2953" y="7096"/>
                  </a:moveTo>
                  <a:lnTo>
                    <a:pt x="2953" y="7108"/>
                  </a:lnTo>
                  <a:lnTo>
                    <a:pt x="2953" y="7334"/>
                  </a:lnTo>
                  <a:cubicBezTo>
                    <a:pt x="2953" y="7537"/>
                    <a:pt x="2834" y="7739"/>
                    <a:pt x="2632" y="7823"/>
                  </a:cubicBezTo>
                  <a:lnTo>
                    <a:pt x="2155" y="7513"/>
                  </a:lnTo>
                  <a:cubicBezTo>
                    <a:pt x="2060" y="7454"/>
                    <a:pt x="2060" y="7334"/>
                    <a:pt x="2072" y="7263"/>
                  </a:cubicBezTo>
                  <a:cubicBezTo>
                    <a:pt x="2096" y="7180"/>
                    <a:pt x="2155" y="7096"/>
                    <a:pt x="2274" y="7096"/>
                  </a:cubicBezTo>
                  <a:close/>
                  <a:moveTo>
                    <a:pt x="6025" y="7108"/>
                  </a:moveTo>
                  <a:cubicBezTo>
                    <a:pt x="6144" y="7108"/>
                    <a:pt x="6227" y="7180"/>
                    <a:pt x="6239" y="7275"/>
                  </a:cubicBezTo>
                  <a:cubicBezTo>
                    <a:pt x="6263" y="7346"/>
                    <a:pt x="6251" y="7454"/>
                    <a:pt x="6144" y="7525"/>
                  </a:cubicBezTo>
                  <a:lnTo>
                    <a:pt x="5668" y="7835"/>
                  </a:lnTo>
                  <a:cubicBezTo>
                    <a:pt x="5489" y="7751"/>
                    <a:pt x="5370" y="7561"/>
                    <a:pt x="5370" y="7346"/>
                  </a:cubicBezTo>
                  <a:lnTo>
                    <a:pt x="5370" y="7108"/>
                  </a:lnTo>
                  <a:close/>
                  <a:moveTo>
                    <a:pt x="6096" y="6584"/>
                  </a:moveTo>
                  <a:cubicBezTo>
                    <a:pt x="6596" y="6584"/>
                    <a:pt x="6977" y="6989"/>
                    <a:pt x="6977" y="7465"/>
                  </a:cubicBezTo>
                  <a:cubicBezTo>
                    <a:pt x="6965" y="8477"/>
                    <a:pt x="6180" y="9311"/>
                    <a:pt x="5191" y="9406"/>
                  </a:cubicBezTo>
                  <a:lnTo>
                    <a:pt x="5191" y="9228"/>
                  </a:lnTo>
                  <a:cubicBezTo>
                    <a:pt x="5191" y="9132"/>
                    <a:pt x="5120" y="9061"/>
                    <a:pt x="5037" y="9061"/>
                  </a:cubicBezTo>
                  <a:cubicBezTo>
                    <a:pt x="4941" y="9061"/>
                    <a:pt x="4870" y="9132"/>
                    <a:pt x="4870" y="9228"/>
                  </a:cubicBezTo>
                  <a:lnTo>
                    <a:pt x="4870" y="9406"/>
                  </a:lnTo>
                  <a:lnTo>
                    <a:pt x="3453" y="9406"/>
                  </a:lnTo>
                  <a:lnTo>
                    <a:pt x="3453" y="9228"/>
                  </a:lnTo>
                  <a:cubicBezTo>
                    <a:pt x="3453" y="9132"/>
                    <a:pt x="3382" y="9061"/>
                    <a:pt x="3286" y="9061"/>
                  </a:cubicBezTo>
                  <a:cubicBezTo>
                    <a:pt x="3203" y="9061"/>
                    <a:pt x="3132" y="9132"/>
                    <a:pt x="3132" y="9228"/>
                  </a:cubicBezTo>
                  <a:lnTo>
                    <a:pt x="3132" y="9406"/>
                  </a:lnTo>
                  <a:cubicBezTo>
                    <a:pt x="2143" y="9311"/>
                    <a:pt x="1358" y="8489"/>
                    <a:pt x="1358" y="7477"/>
                  </a:cubicBezTo>
                  <a:cubicBezTo>
                    <a:pt x="1358" y="6989"/>
                    <a:pt x="1762" y="6608"/>
                    <a:pt x="2239" y="6608"/>
                  </a:cubicBezTo>
                  <a:lnTo>
                    <a:pt x="2870" y="6608"/>
                  </a:lnTo>
                  <a:cubicBezTo>
                    <a:pt x="2905" y="6620"/>
                    <a:pt x="2917" y="6632"/>
                    <a:pt x="2953" y="6644"/>
                  </a:cubicBezTo>
                  <a:lnTo>
                    <a:pt x="2953" y="6799"/>
                  </a:lnTo>
                  <a:lnTo>
                    <a:pt x="2298" y="6799"/>
                  </a:lnTo>
                  <a:cubicBezTo>
                    <a:pt x="2036" y="6799"/>
                    <a:pt x="1846" y="6942"/>
                    <a:pt x="1774" y="7180"/>
                  </a:cubicBezTo>
                  <a:cubicBezTo>
                    <a:pt x="1703" y="7418"/>
                    <a:pt x="1786" y="7656"/>
                    <a:pt x="2001" y="7799"/>
                  </a:cubicBezTo>
                  <a:lnTo>
                    <a:pt x="3786" y="8989"/>
                  </a:lnTo>
                  <a:cubicBezTo>
                    <a:pt x="3906" y="9061"/>
                    <a:pt x="4037" y="9108"/>
                    <a:pt x="4167" y="9108"/>
                  </a:cubicBezTo>
                  <a:cubicBezTo>
                    <a:pt x="4298" y="9108"/>
                    <a:pt x="4441" y="9061"/>
                    <a:pt x="4560" y="8989"/>
                  </a:cubicBezTo>
                  <a:lnTo>
                    <a:pt x="4953" y="8716"/>
                  </a:lnTo>
                  <a:cubicBezTo>
                    <a:pt x="5037" y="8668"/>
                    <a:pt x="5049" y="8573"/>
                    <a:pt x="5001" y="8489"/>
                  </a:cubicBezTo>
                  <a:cubicBezTo>
                    <a:pt x="4972" y="8446"/>
                    <a:pt x="4927" y="8425"/>
                    <a:pt x="4877" y="8425"/>
                  </a:cubicBezTo>
                  <a:cubicBezTo>
                    <a:pt x="4843" y="8425"/>
                    <a:pt x="4808" y="8435"/>
                    <a:pt x="4775" y="8454"/>
                  </a:cubicBezTo>
                  <a:lnTo>
                    <a:pt x="4382" y="8716"/>
                  </a:lnTo>
                  <a:cubicBezTo>
                    <a:pt x="4322" y="8751"/>
                    <a:pt x="4251" y="8769"/>
                    <a:pt x="4179" y="8769"/>
                  </a:cubicBezTo>
                  <a:cubicBezTo>
                    <a:pt x="4108" y="8769"/>
                    <a:pt x="4037" y="8751"/>
                    <a:pt x="3977" y="8716"/>
                  </a:cubicBezTo>
                  <a:lnTo>
                    <a:pt x="2941" y="8037"/>
                  </a:lnTo>
                  <a:cubicBezTo>
                    <a:pt x="3155" y="7870"/>
                    <a:pt x="3286" y="7620"/>
                    <a:pt x="3286" y="7346"/>
                  </a:cubicBezTo>
                  <a:lnTo>
                    <a:pt x="3286" y="6799"/>
                  </a:lnTo>
                  <a:cubicBezTo>
                    <a:pt x="3560" y="6906"/>
                    <a:pt x="3858" y="6965"/>
                    <a:pt x="4167" y="6965"/>
                  </a:cubicBezTo>
                  <a:cubicBezTo>
                    <a:pt x="4477" y="6965"/>
                    <a:pt x="4775" y="6906"/>
                    <a:pt x="5049" y="6799"/>
                  </a:cubicBezTo>
                  <a:lnTo>
                    <a:pt x="5049" y="7346"/>
                  </a:lnTo>
                  <a:cubicBezTo>
                    <a:pt x="5049" y="7620"/>
                    <a:pt x="5180" y="7870"/>
                    <a:pt x="5394" y="8037"/>
                  </a:cubicBezTo>
                  <a:cubicBezTo>
                    <a:pt x="5310" y="8073"/>
                    <a:pt x="5299" y="8180"/>
                    <a:pt x="5346" y="8251"/>
                  </a:cubicBezTo>
                  <a:cubicBezTo>
                    <a:pt x="5370" y="8299"/>
                    <a:pt x="5430" y="8335"/>
                    <a:pt x="5477" y="8335"/>
                  </a:cubicBezTo>
                  <a:cubicBezTo>
                    <a:pt x="5513" y="8335"/>
                    <a:pt x="5537" y="8311"/>
                    <a:pt x="5572" y="8299"/>
                  </a:cubicBezTo>
                  <a:lnTo>
                    <a:pt x="6346" y="7775"/>
                  </a:lnTo>
                  <a:cubicBezTo>
                    <a:pt x="6549" y="7644"/>
                    <a:pt x="6644" y="7406"/>
                    <a:pt x="6561" y="7168"/>
                  </a:cubicBezTo>
                  <a:cubicBezTo>
                    <a:pt x="6489" y="6930"/>
                    <a:pt x="6287" y="6787"/>
                    <a:pt x="6049" y="6787"/>
                  </a:cubicBezTo>
                  <a:lnTo>
                    <a:pt x="5394" y="6787"/>
                  </a:lnTo>
                  <a:lnTo>
                    <a:pt x="5394" y="6632"/>
                  </a:lnTo>
                  <a:cubicBezTo>
                    <a:pt x="5418" y="6620"/>
                    <a:pt x="5430" y="6608"/>
                    <a:pt x="5465" y="6584"/>
                  </a:cubicBezTo>
                  <a:close/>
                  <a:moveTo>
                    <a:pt x="4167" y="0"/>
                  </a:moveTo>
                  <a:cubicBezTo>
                    <a:pt x="2441" y="0"/>
                    <a:pt x="1048" y="1393"/>
                    <a:pt x="1048" y="3120"/>
                  </a:cubicBezTo>
                  <a:lnTo>
                    <a:pt x="1048" y="4346"/>
                  </a:lnTo>
                  <a:cubicBezTo>
                    <a:pt x="1048" y="5239"/>
                    <a:pt x="822" y="5906"/>
                    <a:pt x="691" y="6227"/>
                  </a:cubicBezTo>
                  <a:cubicBezTo>
                    <a:pt x="631" y="6346"/>
                    <a:pt x="631" y="6501"/>
                    <a:pt x="691" y="6620"/>
                  </a:cubicBezTo>
                  <a:cubicBezTo>
                    <a:pt x="750" y="6751"/>
                    <a:pt x="834" y="6846"/>
                    <a:pt x="965" y="6906"/>
                  </a:cubicBezTo>
                  <a:cubicBezTo>
                    <a:pt x="1024" y="6930"/>
                    <a:pt x="1084" y="6942"/>
                    <a:pt x="1143" y="6977"/>
                  </a:cubicBezTo>
                  <a:cubicBezTo>
                    <a:pt x="1084" y="7120"/>
                    <a:pt x="1048" y="7287"/>
                    <a:pt x="1048" y="7465"/>
                  </a:cubicBezTo>
                  <a:cubicBezTo>
                    <a:pt x="1048" y="7775"/>
                    <a:pt x="1108" y="8061"/>
                    <a:pt x="1227" y="8335"/>
                  </a:cubicBezTo>
                  <a:lnTo>
                    <a:pt x="810" y="8477"/>
                  </a:lnTo>
                  <a:cubicBezTo>
                    <a:pt x="334" y="8644"/>
                    <a:pt x="0" y="9108"/>
                    <a:pt x="0" y="9620"/>
                  </a:cubicBezTo>
                  <a:lnTo>
                    <a:pt x="0" y="10978"/>
                  </a:lnTo>
                  <a:cubicBezTo>
                    <a:pt x="0" y="11073"/>
                    <a:pt x="72" y="11144"/>
                    <a:pt x="167" y="11144"/>
                  </a:cubicBezTo>
                  <a:cubicBezTo>
                    <a:pt x="250" y="11144"/>
                    <a:pt x="334" y="11073"/>
                    <a:pt x="334" y="10978"/>
                  </a:cubicBezTo>
                  <a:lnTo>
                    <a:pt x="334" y="9620"/>
                  </a:lnTo>
                  <a:cubicBezTo>
                    <a:pt x="334" y="9525"/>
                    <a:pt x="346" y="9418"/>
                    <a:pt x="393" y="9311"/>
                  </a:cubicBezTo>
                  <a:lnTo>
                    <a:pt x="1203" y="10013"/>
                  </a:lnTo>
                  <a:cubicBezTo>
                    <a:pt x="1322" y="10109"/>
                    <a:pt x="1405" y="10263"/>
                    <a:pt x="1405" y="10406"/>
                  </a:cubicBezTo>
                  <a:lnTo>
                    <a:pt x="1405" y="10966"/>
                  </a:lnTo>
                  <a:cubicBezTo>
                    <a:pt x="1405" y="11049"/>
                    <a:pt x="1477" y="11121"/>
                    <a:pt x="1560" y="11121"/>
                  </a:cubicBezTo>
                  <a:cubicBezTo>
                    <a:pt x="1655" y="11121"/>
                    <a:pt x="1727" y="11049"/>
                    <a:pt x="1727" y="10966"/>
                  </a:cubicBezTo>
                  <a:lnTo>
                    <a:pt x="1727" y="10406"/>
                  </a:lnTo>
                  <a:cubicBezTo>
                    <a:pt x="1727" y="10156"/>
                    <a:pt x="1620" y="9918"/>
                    <a:pt x="1429" y="9751"/>
                  </a:cubicBezTo>
                  <a:lnTo>
                    <a:pt x="560" y="9013"/>
                  </a:lnTo>
                  <a:cubicBezTo>
                    <a:pt x="655" y="8906"/>
                    <a:pt x="786" y="8823"/>
                    <a:pt x="929" y="8775"/>
                  </a:cubicBezTo>
                  <a:lnTo>
                    <a:pt x="1370" y="8608"/>
                  </a:lnTo>
                  <a:cubicBezTo>
                    <a:pt x="1739" y="9216"/>
                    <a:pt x="2382" y="9656"/>
                    <a:pt x="3144" y="9692"/>
                  </a:cubicBezTo>
                  <a:lnTo>
                    <a:pt x="3144" y="10930"/>
                  </a:lnTo>
                  <a:cubicBezTo>
                    <a:pt x="3144" y="11025"/>
                    <a:pt x="3215" y="11097"/>
                    <a:pt x="3310" y="11097"/>
                  </a:cubicBezTo>
                  <a:cubicBezTo>
                    <a:pt x="3394" y="11097"/>
                    <a:pt x="3465" y="11025"/>
                    <a:pt x="3465" y="10930"/>
                  </a:cubicBezTo>
                  <a:lnTo>
                    <a:pt x="3465" y="9692"/>
                  </a:lnTo>
                  <a:lnTo>
                    <a:pt x="4882" y="9692"/>
                  </a:lnTo>
                  <a:lnTo>
                    <a:pt x="4882" y="10930"/>
                  </a:lnTo>
                  <a:cubicBezTo>
                    <a:pt x="4882" y="11025"/>
                    <a:pt x="4953" y="11097"/>
                    <a:pt x="5049" y="11097"/>
                  </a:cubicBezTo>
                  <a:cubicBezTo>
                    <a:pt x="5132" y="11097"/>
                    <a:pt x="5203" y="11025"/>
                    <a:pt x="5203" y="10930"/>
                  </a:cubicBezTo>
                  <a:lnTo>
                    <a:pt x="5203" y="9692"/>
                  </a:lnTo>
                  <a:cubicBezTo>
                    <a:pt x="5953" y="9632"/>
                    <a:pt x="6608" y="9216"/>
                    <a:pt x="6977" y="8608"/>
                  </a:cubicBezTo>
                  <a:lnTo>
                    <a:pt x="7430" y="8775"/>
                  </a:lnTo>
                  <a:cubicBezTo>
                    <a:pt x="7561" y="8823"/>
                    <a:pt x="7692" y="8906"/>
                    <a:pt x="7787" y="9013"/>
                  </a:cubicBezTo>
                  <a:lnTo>
                    <a:pt x="6918" y="9751"/>
                  </a:lnTo>
                  <a:cubicBezTo>
                    <a:pt x="6727" y="9918"/>
                    <a:pt x="6620" y="10156"/>
                    <a:pt x="6620" y="10406"/>
                  </a:cubicBezTo>
                  <a:lnTo>
                    <a:pt x="6620" y="10966"/>
                  </a:lnTo>
                  <a:cubicBezTo>
                    <a:pt x="6620" y="11049"/>
                    <a:pt x="6692" y="11121"/>
                    <a:pt x="6787" y="11121"/>
                  </a:cubicBezTo>
                  <a:cubicBezTo>
                    <a:pt x="6870" y="11121"/>
                    <a:pt x="6954" y="11049"/>
                    <a:pt x="6954" y="10966"/>
                  </a:cubicBezTo>
                  <a:lnTo>
                    <a:pt x="6954" y="10406"/>
                  </a:lnTo>
                  <a:cubicBezTo>
                    <a:pt x="6954" y="10263"/>
                    <a:pt x="7025" y="10109"/>
                    <a:pt x="7144" y="10013"/>
                  </a:cubicBezTo>
                  <a:lnTo>
                    <a:pt x="7966" y="9311"/>
                  </a:lnTo>
                  <a:cubicBezTo>
                    <a:pt x="7989" y="9418"/>
                    <a:pt x="8025" y="9513"/>
                    <a:pt x="8025" y="9620"/>
                  </a:cubicBezTo>
                  <a:lnTo>
                    <a:pt x="8025" y="10978"/>
                  </a:lnTo>
                  <a:cubicBezTo>
                    <a:pt x="8025" y="11073"/>
                    <a:pt x="8097" y="11144"/>
                    <a:pt x="8180" y="11144"/>
                  </a:cubicBezTo>
                  <a:cubicBezTo>
                    <a:pt x="8275" y="11144"/>
                    <a:pt x="8347" y="11073"/>
                    <a:pt x="8347" y="10978"/>
                  </a:cubicBezTo>
                  <a:lnTo>
                    <a:pt x="8347" y="9620"/>
                  </a:lnTo>
                  <a:cubicBezTo>
                    <a:pt x="8335" y="9120"/>
                    <a:pt x="8013" y="8656"/>
                    <a:pt x="7537" y="8477"/>
                  </a:cubicBezTo>
                  <a:lnTo>
                    <a:pt x="7120" y="8335"/>
                  </a:lnTo>
                  <a:cubicBezTo>
                    <a:pt x="7215" y="8061"/>
                    <a:pt x="7299" y="7775"/>
                    <a:pt x="7299" y="7465"/>
                  </a:cubicBezTo>
                  <a:cubicBezTo>
                    <a:pt x="7299" y="7287"/>
                    <a:pt x="7251" y="7120"/>
                    <a:pt x="7192" y="6977"/>
                  </a:cubicBezTo>
                  <a:cubicBezTo>
                    <a:pt x="7251" y="6942"/>
                    <a:pt x="7311" y="6930"/>
                    <a:pt x="7370" y="6906"/>
                  </a:cubicBezTo>
                  <a:cubicBezTo>
                    <a:pt x="7501" y="6858"/>
                    <a:pt x="7596" y="6751"/>
                    <a:pt x="7656" y="6620"/>
                  </a:cubicBezTo>
                  <a:cubicBezTo>
                    <a:pt x="7716" y="6501"/>
                    <a:pt x="7716" y="6346"/>
                    <a:pt x="7656" y="6227"/>
                  </a:cubicBezTo>
                  <a:cubicBezTo>
                    <a:pt x="7513" y="5906"/>
                    <a:pt x="7299" y="5239"/>
                    <a:pt x="7299" y="4346"/>
                  </a:cubicBezTo>
                  <a:lnTo>
                    <a:pt x="7299" y="3120"/>
                  </a:lnTo>
                  <a:cubicBezTo>
                    <a:pt x="7299" y="1393"/>
                    <a:pt x="5894" y="0"/>
                    <a:pt x="4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1" name="Google Shape;12151;p61"/>
            <p:cNvSpPr/>
            <p:nvPr/>
          </p:nvSpPr>
          <p:spPr>
            <a:xfrm>
              <a:off x="7701778" y="1611474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500" y="334"/>
                  </a:lnTo>
                  <a:cubicBezTo>
                    <a:pt x="596" y="334"/>
                    <a:pt x="667" y="251"/>
                    <a:pt x="667" y="168"/>
                  </a:cubicBezTo>
                  <a:cubicBezTo>
                    <a:pt x="667" y="72"/>
                    <a:pt x="59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2" name="Google Shape;12152;p61"/>
            <p:cNvSpPr/>
            <p:nvPr/>
          </p:nvSpPr>
          <p:spPr>
            <a:xfrm>
              <a:off x="7768148" y="1611474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513" y="334"/>
                  </a:lnTo>
                  <a:cubicBezTo>
                    <a:pt x="596" y="334"/>
                    <a:pt x="668" y="251"/>
                    <a:pt x="668" y="168"/>
                  </a:cubicBezTo>
                  <a:cubicBezTo>
                    <a:pt x="668" y="72"/>
                    <a:pt x="596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3" name="Google Shape;12153;p61"/>
            <p:cNvSpPr/>
            <p:nvPr/>
          </p:nvSpPr>
          <p:spPr>
            <a:xfrm>
              <a:off x="7715337" y="1659025"/>
              <a:ext cx="60382" cy="32820"/>
            </a:xfrm>
            <a:custGeom>
              <a:avLst/>
              <a:gdLst/>
              <a:ahLst/>
              <a:cxnLst/>
              <a:rect l="l" t="t" r="r" b="b"/>
              <a:pathLst>
                <a:path w="1906" h="1036" extrusionOk="0">
                  <a:moveTo>
                    <a:pt x="1537" y="321"/>
                  </a:moveTo>
                  <a:cubicBezTo>
                    <a:pt x="1465" y="536"/>
                    <a:pt x="1227" y="691"/>
                    <a:pt x="953" y="691"/>
                  </a:cubicBezTo>
                  <a:cubicBezTo>
                    <a:pt x="668" y="691"/>
                    <a:pt x="453" y="536"/>
                    <a:pt x="358" y="321"/>
                  </a:cubicBezTo>
                  <a:close/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643"/>
                    <a:pt x="430" y="1036"/>
                    <a:pt x="953" y="1036"/>
                  </a:cubicBezTo>
                  <a:cubicBezTo>
                    <a:pt x="1477" y="1036"/>
                    <a:pt x="1906" y="643"/>
                    <a:pt x="1906" y="167"/>
                  </a:cubicBezTo>
                  <a:cubicBezTo>
                    <a:pt x="1894" y="60"/>
                    <a:pt x="1823" y="0"/>
                    <a:pt x="1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2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58" name="Google Shape;12158;p62"/>
          <p:cNvSpPr txBox="1">
            <a:spLocks noGrp="1"/>
          </p:cNvSpPr>
          <p:nvPr>
            <p:ph type="title" idx="4294967295"/>
          </p:nvPr>
        </p:nvSpPr>
        <p:spPr>
          <a:xfrm>
            <a:off x="849675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Creative Process 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59" name="Google Shape;12159;p62"/>
          <p:cNvSpPr txBox="1">
            <a:spLocks noGrp="1"/>
          </p:cNvSpPr>
          <p:nvPr>
            <p:ph type="title" idx="4294967295"/>
          </p:nvPr>
        </p:nvSpPr>
        <p:spPr>
          <a:xfrm>
            <a:off x="4858400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Performing Arts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160" name="Google Shape;12160;p62"/>
          <p:cNvGrpSpPr/>
          <p:nvPr/>
        </p:nvGrpSpPr>
        <p:grpSpPr>
          <a:xfrm>
            <a:off x="1757085" y="1500675"/>
            <a:ext cx="371069" cy="359396"/>
            <a:chOff x="1757085" y="1500675"/>
            <a:chExt cx="371069" cy="359396"/>
          </a:xfrm>
        </p:grpSpPr>
        <p:sp>
          <p:nvSpPr>
            <p:cNvPr id="12161" name="Google Shape;12161;p62"/>
            <p:cNvSpPr/>
            <p:nvPr/>
          </p:nvSpPr>
          <p:spPr>
            <a:xfrm>
              <a:off x="2032389" y="1667206"/>
              <a:ext cx="66313" cy="60684"/>
            </a:xfrm>
            <a:custGeom>
              <a:avLst/>
              <a:gdLst/>
              <a:ahLst/>
              <a:cxnLst/>
              <a:rect l="l" t="t" r="r" b="b"/>
              <a:pathLst>
                <a:path w="2085" h="1908" extrusionOk="0">
                  <a:moveTo>
                    <a:pt x="978" y="0"/>
                  </a:moveTo>
                  <a:cubicBezTo>
                    <a:pt x="891" y="0"/>
                    <a:pt x="803" y="13"/>
                    <a:pt x="715" y="39"/>
                  </a:cubicBezTo>
                  <a:cubicBezTo>
                    <a:pt x="298" y="158"/>
                    <a:pt x="1" y="539"/>
                    <a:pt x="1" y="979"/>
                  </a:cubicBezTo>
                  <a:cubicBezTo>
                    <a:pt x="1" y="1348"/>
                    <a:pt x="215" y="1670"/>
                    <a:pt x="524" y="1836"/>
                  </a:cubicBezTo>
                  <a:cubicBezTo>
                    <a:pt x="546" y="1851"/>
                    <a:pt x="571" y="1858"/>
                    <a:pt x="597" y="1858"/>
                  </a:cubicBezTo>
                  <a:cubicBezTo>
                    <a:pt x="656" y="1858"/>
                    <a:pt x="718" y="1823"/>
                    <a:pt x="751" y="1765"/>
                  </a:cubicBezTo>
                  <a:cubicBezTo>
                    <a:pt x="798" y="1694"/>
                    <a:pt x="763" y="1586"/>
                    <a:pt x="679" y="1539"/>
                  </a:cubicBezTo>
                  <a:cubicBezTo>
                    <a:pt x="155" y="1277"/>
                    <a:pt x="239" y="503"/>
                    <a:pt x="810" y="348"/>
                  </a:cubicBezTo>
                  <a:cubicBezTo>
                    <a:pt x="866" y="333"/>
                    <a:pt x="922" y="326"/>
                    <a:pt x="977" y="326"/>
                  </a:cubicBezTo>
                  <a:cubicBezTo>
                    <a:pt x="1316" y="326"/>
                    <a:pt x="1608" y="600"/>
                    <a:pt x="1608" y="979"/>
                  </a:cubicBezTo>
                  <a:cubicBezTo>
                    <a:pt x="1608" y="1241"/>
                    <a:pt x="1429" y="1491"/>
                    <a:pt x="1179" y="1586"/>
                  </a:cubicBezTo>
                  <a:cubicBezTo>
                    <a:pt x="1001" y="1646"/>
                    <a:pt x="1048" y="1908"/>
                    <a:pt x="1239" y="1908"/>
                  </a:cubicBezTo>
                  <a:cubicBezTo>
                    <a:pt x="1477" y="1908"/>
                    <a:pt x="2084" y="1420"/>
                    <a:pt x="1906" y="717"/>
                  </a:cubicBezTo>
                  <a:cubicBezTo>
                    <a:pt x="1797" y="301"/>
                    <a:pt x="1407" y="0"/>
                    <a:pt x="9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2" name="Google Shape;12162;p62"/>
            <p:cNvSpPr/>
            <p:nvPr/>
          </p:nvSpPr>
          <p:spPr>
            <a:xfrm>
              <a:off x="1971419" y="1747609"/>
              <a:ext cx="12531" cy="11513"/>
            </a:xfrm>
            <a:custGeom>
              <a:avLst/>
              <a:gdLst/>
              <a:ahLst/>
              <a:cxnLst/>
              <a:rect l="l" t="t" r="r" b="b"/>
              <a:pathLst>
                <a:path w="394" h="362" extrusionOk="0">
                  <a:moveTo>
                    <a:pt x="212" y="0"/>
                  </a:moveTo>
                  <a:cubicBezTo>
                    <a:pt x="194" y="0"/>
                    <a:pt x="175" y="4"/>
                    <a:pt x="155" y="11"/>
                  </a:cubicBezTo>
                  <a:cubicBezTo>
                    <a:pt x="60" y="35"/>
                    <a:pt x="1" y="130"/>
                    <a:pt x="36" y="237"/>
                  </a:cubicBezTo>
                  <a:cubicBezTo>
                    <a:pt x="57" y="308"/>
                    <a:pt x="128" y="361"/>
                    <a:pt x="208" y="361"/>
                  </a:cubicBezTo>
                  <a:cubicBezTo>
                    <a:pt x="222" y="361"/>
                    <a:pt x="236" y="360"/>
                    <a:pt x="251" y="356"/>
                  </a:cubicBezTo>
                  <a:cubicBezTo>
                    <a:pt x="346" y="320"/>
                    <a:pt x="394" y="213"/>
                    <a:pt x="370" y="130"/>
                  </a:cubicBezTo>
                  <a:cubicBezTo>
                    <a:pt x="351" y="54"/>
                    <a:pt x="286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3" name="Google Shape;12163;p62"/>
            <p:cNvSpPr/>
            <p:nvPr/>
          </p:nvSpPr>
          <p:spPr>
            <a:xfrm>
              <a:off x="2032008" y="1776202"/>
              <a:ext cx="62910" cy="61702"/>
            </a:xfrm>
            <a:custGeom>
              <a:avLst/>
              <a:gdLst/>
              <a:ahLst/>
              <a:cxnLst/>
              <a:rect l="l" t="t" r="r" b="b"/>
              <a:pathLst>
                <a:path w="1978" h="1940" extrusionOk="0">
                  <a:moveTo>
                    <a:pt x="988" y="0"/>
                  </a:moveTo>
                  <a:cubicBezTo>
                    <a:pt x="490" y="0"/>
                    <a:pt x="1" y="379"/>
                    <a:pt x="1" y="969"/>
                  </a:cubicBezTo>
                  <a:cubicBezTo>
                    <a:pt x="1" y="1543"/>
                    <a:pt x="471" y="1940"/>
                    <a:pt x="975" y="1940"/>
                  </a:cubicBezTo>
                  <a:cubicBezTo>
                    <a:pt x="1161" y="1940"/>
                    <a:pt x="1351" y="1886"/>
                    <a:pt x="1525" y="1767"/>
                  </a:cubicBezTo>
                  <a:cubicBezTo>
                    <a:pt x="1596" y="1731"/>
                    <a:pt x="1608" y="1624"/>
                    <a:pt x="1560" y="1553"/>
                  </a:cubicBezTo>
                  <a:cubicBezTo>
                    <a:pt x="1538" y="1501"/>
                    <a:pt x="1489" y="1477"/>
                    <a:pt x="1438" y="1477"/>
                  </a:cubicBezTo>
                  <a:cubicBezTo>
                    <a:pt x="1406" y="1477"/>
                    <a:pt x="1374" y="1487"/>
                    <a:pt x="1346" y="1505"/>
                  </a:cubicBezTo>
                  <a:cubicBezTo>
                    <a:pt x="1237" y="1576"/>
                    <a:pt x="1111" y="1612"/>
                    <a:pt x="985" y="1612"/>
                  </a:cubicBezTo>
                  <a:cubicBezTo>
                    <a:pt x="795" y="1612"/>
                    <a:pt x="606" y="1532"/>
                    <a:pt x="477" y="1374"/>
                  </a:cubicBezTo>
                  <a:cubicBezTo>
                    <a:pt x="155" y="957"/>
                    <a:pt x="453" y="326"/>
                    <a:pt x="989" y="326"/>
                  </a:cubicBezTo>
                  <a:cubicBezTo>
                    <a:pt x="1370" y="326"/>
                    <a:pt x="1679" y="672"/>
                    <a:pt x="1620" y="1076"/>
                  </a:cubicBezTo>
                  <a:cubicBezTo>
                    <a:pt x="1608" y="1160"/>
                    <a:pt x="1668" y="1255"/>
                    <a:pt x="1763" y="1267"/>
                  </a:cubicBezTo>
                  <a:cubicBezTo>
                    <a:pt x="1770" y="1268"/>
                    <a:pt x="1777" y="1268"/>
                    <a:pt x="1784" y="1268"/>
                  </a:cubicBezTo>
                  <a:cubicBezTo>
                    <a:pt x="1862" y="1268"/>
                    <a:pt x="1942" y="1212"/>
                    <a:pt x="1953" y="1136"/>
                  </a:cubicBezTo>
                  <a:cubicBezTo>
                    <a:pt x="1977" y="862"/>
                    <a:pt x="1918" y="600"/>
                    <a:pt x="1739" y="374"/>
                  </a:cubicBezTo>
                  <a:cubicBezTo>
                    <a:pt x="1540" y="116"/>
                    <a:pt x="1263" y="0"/>
                    <a:pt x="9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4" name="Google Shape;12164;p62"/>
            <p:cNvSpPr/>
            <p:nvPr/>
          </p:nvSpPr>
          <p:spPr>
            <a:xfrm>
              <a:off x="1976349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5" name="Google Shape;12165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6" name="Google Shape;12166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7" name="Google Shape;12167;p62"/>
            <p:cNvSpPr/>
            <p:nvPr/>
          </p:nvSpPr>
          <p:spPr>
            <a:xfrm>
              <a:off x="1976349" y="173053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8" name="Google Shape;12168;p62"/>
            <p:cNvSpPr/>
            <p:nvPr/>
          </p:nvSpPr>
          <p:spPr>
            <a:xfrm>
              <a:off x="1976349" y="1730530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0" y="0"/>
                  </a:moveTo>
                  <a:lnTo>
                    <a:pt x="0" y="0"/>
                  </a:lnTo>
                  <a:cubicBezTo>
                    <a:pt x="12" y="0"/>
                    <a:pt x="12" y="0"/>
                    <a:pt x="0" y="0"/>
                  </a:cubicBezTo>
                  <a:cubicBezTo>
                    <a:pt x="12" y="0"/>
                    <a:pt x="12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9" name="Google Shape;12169;p62"/>
            <p:cNvSpPr/>
            <p:nvPr/>
          </p:nvSpPr>
          <p:spPr>
            <a:xfrm>
              <a:off x="1976349" y="173053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0" name="Google Shape;12170;p62"/>
            <p:cNvSpPr/>
            <p:nvPr/>
          </p:nvSpPr>
          <p:spPr>
            <a:xfrm>
              <a:off x="1757085" y="1500675"/>
              <a:ext cx="371069" cy="359396"/>
            </a:xfrm>
            <a:custGeom>
              <a:avLst/>
              <a:gdLst/>
              <a:ahLst/>
              <a:cxnLst/>
              <a:rect l="l" t="t" r="r" b="b"/>
              <a:pathLst>
                <a:path w="11667" h="11300" extrusionOk="0">
                  <a:moveTo>
                    <a:pt x="9644" y="4908"/>
                  </a:moveTo>
                  <a:cubicBezTo>
                    <a:pt x="9857" y="4908"/>
                    <a:pt x="10077" y="4962"/>
                    <a:pt x="10288" y="5084"/>
                  </a:cubicBezTo>
                  <a:cubicBezTo>
                    <a:pt x="11264" y="5644"/>
                    <a:pt x="11085" y="7132"/>
                    <a:pt x="10002" y="7442"/>
                  </a:cubicBezTo>
                  <a:lnTo>
                    <a:pt x="9990" y="7442"/>
                  </a:lnTo>
                  <a:lnTo>
                    <a:pt x="8883" y="7739"/>
                  </a:lnTo>
                  <a:lnTo>
                    <a:pt x="7907" y="7477"/>
                  </a:lnTo>
                  <a:lnTo>
                    <a:pt x="7526" y="7370"/>
                  </a:lnTo>
                  <a:cubicBezTo>
                    <a:pt x="7978" y="7263"/>
                    <a:pt x="8145" y="7239"/>
                    <a:pt x="8168" y="7227"/>
                  </a:cubicBezTo>
                  <a:lnTo>
                    <a:pt x="8168" y="7227"/>
                  </a:lnTo>
                  <a:cubicBezTo>
                    <a:pt x="8139" y="7233"/>
                    <a:pt x="8037" y="7257"/>
                    <a:pt x="8029" y="7257"/>
                  </a:cubicBezTo>
                  <a:cubicBezTo>
                    <a:pt x="8020" y="7257"/>
                    <a:pt x="8103" y="7233"/>
                    <a:pt x="8442" y="7144"/>
                  </a:cubicBezTo>
                  <a:cubicBezTo>
                    <a:pt x="8538" y="7120"/>
                    <a:pt x="8597" y="7001"/>
                    <a:pt x="8538" y="6894"/>
                  </a:cubicBezTo>
                  <a:cubicBezTo>
                    <a:pt x="8466" y="6787"/>
                    <a:pt x="8418" y="6668"/>
                    <a:pt x="8395" y="6537"/>
                  </a:cubicBezTo>
                  <a:cubicBezTo>
                    <a:pt x="8160" y="5656"/>
                    <a:pt x="8855" y="4908"/>
                    <a:pt x="9644" y="4908"/>
                  </a:cubicBezTo>
                  <a:close/>
                  <a:moveTo>
                    <a:pt x="3874" y="6792"/>
                  </a:moveTo>
                  <a:cubicBezTo>
                    <a:pt x="3951" y="6792"/>
                    <a:pt x="4030" y="6802"/>
                    <a:pt x="4108" y="6822"/>
                  </a:cubicBezTo>
                  <a:lnTo>
                    <a:pt x="4632" y="6965"/>
                  </a:lnTo>
                  <a:lnTo>
                    <a:pt x="4954" y="7061"/>
                  </a:lnTo>
                  <a:cubicBezTo>
                    <a:pt x="4978" y="7072"/>
                    <a:pt x="5227" y="7132"/>
                    <a:pt x="6415" y="7452"/>
                  </a:cubicBezTo>
                  <a:lnTo>
                    <a:pt x="6415" y="7452"/>
                  </a:lnTo>
                  <a:cubicBezTo>
                    <a:pt x="6414" y="7452"/>
                    <a:pt x="6414" y="7452"/>
                    <a:pt x="6414" y="7452"/>
                  </a:cubicBezTo>
                  <a:cubicBezTo>
                    <a:pt x="6388" y="7452"/>
                    <a:pt x="6335" y="7537"/>
                    <a:pt x="6335" y="7537"/>
                  </a:cubicBezTo>
                  <a:cubicBezTo>
                    <a:pt x="6323" y="7549"/>
                    <a:pt x="6311" y="7561"/>
                    <a:pt x="6311" y="7596"/>
                  </a:cubicBezTo>
                  <a:cubicBezTo>
                    <a:pt x="6216" y="7751"/>
                    <a:pt x="6192" y="7954"/>
                    <a:pt x="6252" y="8108"/>
                  </a:cubicBezTo>
                  <a:cubicBezTo>
                    <a:pt x="4120" y="7537"/>
                    <a:pt x="5478" y="7906"/>
                    <a:pt x="3120" y="7275"/>
                  </a:cubicBezTo>
                  <a:cubicBezTo>
                    <a:pt x="3108" y="7275"/>
                    <a:pt x="3108" y="7263"/>
                    <a:pt x="3108" y="7251"/>
                  </a:cubicBezTo>
                  <a:cubicBezTo>
                    <a:pt x="3262" y="6963"/>
                    <a:pt x="3554" y="6792"/>
                    <a:pt x="3874" y="6792"/>
                  </a:cubicBezTo>
                  <a:close/>
                  <a:moveTo>
                    <a:pt x="4894" y="8096"/>
                  </a:moveTo>
                  <a:cubicBezTo>
                    <a:pt x="5966" y="8382"/>
                    <a:pt x="6204" y="8454"/>
                    <a:pt x="6252" y="8454"/>
                  </a:cubicBezTo>
                  <a:cubicBezTo>
                    <a:pt x="6216" y="8477"/>
                    <a:pt x="5954" y="8537"/>
                    <a:pt x="4097" y="9037"/>
                  </a:cubicBezTo>
                  <a:cubicBezTo>
                    <a:pt x="4020" y="9058"/>
                    <a:pt x="3943" y="9068"/>
                    <a:pt x="3866" y="9068"/>
                  </a:cubicBezTo>
                  <a:cubicBezTo>
                    <a:pt x="3550" y="9068"/>
                    <a:pt x="3250" y="8896"/>
                    <a:pt x="3096" y="8608"/>
                  </a:cubicBezTo>
                  <a:cubicBezTo>
                    <a:pt x="3096" y="8596"/>
                    <a:pt x="3096" y="8573"/>
                    <a:pt x="3108" y="8573"/>
                  </a:cubicBezTo>
                  <a:cubicBezTo>
                    <a:pt x="3096" y="8573"/>
                    <a:pt x="3180" y="8561"/>
                    <a:pt x="4894" y="8096"/>
                  </a:cubicBezTo>
                  <a:close/>
                  <a:moveTo>
                    <a:pt x="6895" y="7575"/>
                  </a:moveTo>
                  <a:cubicBezTo>
                    <a:pt x="6922" y="7575"/>
                    <a:pt x="6950" y="7578"/>
                    <a:pt x="6978" y="7584"/>
                  </a:cubicBezTo>
                  <a:cubicBezTo>
                    <a:pt x="8847" y="8084"/>
                    <a:pt x="9597" y="8275"/>
                    <a:pt x="9847" y="8346"/>
                  </a:cubicBezTo>
                  <a:cubicBezTo>
                    <a:pt x="9847" y="8346"/>
                    <a:pt x="9883" y="8370"/>
                    <a:pt x="9966" y="8394"/>
                  </a:cubicBezTo>
                  <a:cubicBezTo>
                    <a:pt x="10657" y="8596"/>
                    <a:pt x="11062" y="9311"/>
                    <a:pt x="10883" y="9978"/>
                  </a:cubicBezTo>
                  <a:cubicBezTo>
                    <a:pt x="10734" y="10545"/>
                    <a:pt x="10211" y="10929"/>
                    <a:pt x="9633" y="10929"/>
                  </a:cubicBezTo>
                  <a:cubicBezTo>
                    <a:pt x="9519" y="10929"/>
                    <a:pt x="9403" y="10914"/>
                    <a:pt x="9288" y="10882"/>
                  </a:cubicBezTo>
                  <a:cubicBezTo>
                    <a:pt x="8454" y="10656"/>
                    <a:pt x="8061" y="9692"/>
                    <a:pt x="8526" y="8954"/>
                  </a:cubicBezTo>
                  <a:cubicBezTo>
                    <a:pt x="8585" y="8858"/>
                    <a:pt x="8538" y="8727"/>
                    <a:pt x="8418" y="8692"/>
                  </a:cubicBezTo>
                  <a:lnTo>
                    <a:pt x="8157" y="8620"/>
                  </a:lnTo>
                  <a:cubicBezTo>
                    <a:pt x="8121" y="8608"/>
                    <a:pt x="7990" y="8573"/>
                    <a:pt x="7526" y="8454"/>
                  </a:cubicBezTo>
                  <a:cubicBezTo>
                    <a:pt x="7347" y="8418"/>
                    <a:pt x="7252" y="8382"/>
                    <a:pt x="7192" y="8370"/>
                  </a:cubicBezTo>
                  <a:lnTo>
                    <a:pt x="7192" y="8370"/>
                  </a:lnTo>
                  <a:cubicBezTo>
                    <a:pt x="7201" y="8373"/>
                    <a:pt x="7207" y="8375"/>
                    <a:pt x="7205" y="8375"/>
                  </a:cubicBezTo>
                  <a:cubicBezTo>
                    <a:pt x="7199" y="8375"/>
                    <a:pt x="7116" y="8354"/>
                    <a:pt x="6799" y="8263"/>
                  </a:cubicBezTo>
                  <a:cubicBezTo>
                    <a:pt x="6644" y="8215"/>
                    <a:pt x="6525" y="8084"/>
                    <a:pt x="6549" y="7906"/>
                  </a:cubicBezTo>
                  <a:lnTo>
                    <a:pt x="6549" y="7894"/>
                  </a:lnTo>
                  <a:cubicBezTo>
                    <a:pt x="6560" y="7708"/>
                    <a:pt x="6714" y="7575"/>
                    <a:pt x="6895" y="7575"/>
                  </a:cubicBezTo>
                  <a:close/>
                  <a:moveTo>
                    <a:pt x="2906" y="0"/>
                  </a:moveTo>
                  <a:cubicBezTo>
                    <a:pt x="2406" y="24"/>
                    <a:pt x="1930" y="143"/>
                    <a:pt x="1501" y="393"/>
                  </a:cubicBezTo>
                  <a:cubicBezTo>
                    <a:pt x="1084" y="631"/>
                    <a:pt x="739" y="953"/>
                    <a:pt x="489" y="1357"/>
                  </a:cubicBezTo>
                  <a:cubicBezTo>
                    <a:pt x="441" y="1429"/>
                    <a:pt x="465" y="1536"/>
                    <a:pt x="537" y="1584"/>
                  </a:cubicBezTo>
                  <a:cubicBezTo>
                    <a:pt x="562" y="1601"/>
                    <a:pt x="592" y="1608"/>
                    <a:pt x="622" y="1608"/>
                  </a:cubicBezTo>
                  <a:cubicBezTo>
                    <a:pt x="676" y="1608"/>
                    <a:pt x="732" y="1582"/>
                    <a:pt x="763" y="1536"/>
                  </a:cubicBezTo>
                  <a:cubicBezTo>
                    <a:pt x="977" y="1179"/>
                    <a:pt x="1299" y="881"/>
                    <a:pt x="1656" y="679"/>
                  </a:cubicBezTo>
                  <a:cubicBezTo>
                    <a:pt x="2056" y="446"/>
                    <a:pt x="2494" y="336"/>
                    <a:pt x="2927" y="336"/>
                  </a:cubicBezTo>
                  <a:cubicBezTo>
                    <a:pt x="3822" y="336"/>
                    <a:pt x="4695" y="805"/>
                    <a:pt x="5168" y="1631"/>
                  </a:cubicBezTo>
                  <a:cubicBezTo>
                    <a:pt x="5382" y="2012"/>
                    <a:pt x="5501" y="2465"/>
                    <a:pt x="5501" y="2905"/>
                  </a:cubicBezTo>
                  <a:cubicBezTo>
                    <a:pt x="5501" y="4336"/>
                    <a:pt x="4332" y="5485"/>
                    <a:pt x="2912" y="5485"/>
                  </a:cubicBezTo>
                  <a:cubicBezTo>
                    <a:pt x="2843" y="5485"/>
                    <a:pt x="2773" y="5483"/>
                    <a:pt x="2703" y="5477"/>
                  </a:cubicBezTo>
                  <a:cubicBezTo>
                    <a:pt x="1870" y="5406"/>
                    <a:pt x="1120" y="4929"/>
                    <a:pt x="679" y="4203"/>
                  </a:cubicBezTo>
                  <a:cubicBezTo>
                    <a:pt x="489" y="3858"/>
                    <a:pt x="370" y="3489"/>
                    <a:pt x="346" y="3084"/>
                  </a:cubicBezTo>
                  <a:cubicBezTo>
                    <a:pt x="310" y="2739"/>
                    <a:pt x="370" y="2405"/>
                    <a:pt x="465" y="2108"/>
                  </a:cubicBezTo>
                  <a:cubicBezTo>
                    <a:pt x="489" y="2012"/>
                    <a:pt x="441" y="1929"/>
                    <a:pt x="358" y="1893"/>
                  </a:cubicBezTo>
                  <a:cubicBezTo>
                    <a:pt x="339" y="1888"/>
                    <a:pt x="320" y="1886"/>
                    <a:pt x="303" y="1886"/>
                  </a:cubicBezTo>
                  <a:cubicBezTo>
                    <a:pt x="231" y="1886"/>
                    <a:pt x="172" y="1924"/>
                    <a:pt x="144" y="2000"/>
                  </a:cubicBezTo>
                  <a:cubicBezTo>
                    <a:pt x="48" y="2298"/>
                    <a:pt x="1" y="2608"/>
                    <a:pt x="1" y="2917"/>
                  </a:cubicBezTo>
                  <a:lnTo>
                    <a:pt x="1" y="2953"/>
                  </a:lnTo>
                  <a:lnTo>
                    <a:pt x="1" y="5679"/>
                  </a:lnTo>
                  <a:cubicBezTo>
                    <a:pt x="1" y="5763"/>
                    <a:pt x="72" y="5834"/>
                    <a:pt x="167" y="5834"/>
                  </a:cubicBezTo>
                  <a:cubicBezTo>
                    <a:pt x="251" y="5834"/>
                    <a:pt x="322" y="5763"/>
                    <a:pt x="322" y="5679"/>
                  </a:cubicBezTo>
                  <a:lnTo>
                    <a:pt x="322" y="4274"/>
                  </a:lnTo>
                  <a:cubicBezTo>
                    <a:pt x="346" y="4310"/>
                    <a:pt x="358" y="4334"/>
                    <a:pt x="382" y="4382"/>
                  </a:cubicBezTo>
                  <a:cubicBezTo>
                    <a:pt x="895" y="5257"/>
                    <a:pt x="1832" y="5835"/>
                    <a:pt x="2901" y="5835"/>
                  </a:cubicBezTo>
                  <a:cubicBezTo>
                    <a:pt x="2922" y="5835"/>
                    <a:pt x="2944" y="5835"/>
                    <a:pt x="2965" y="5834"/>
                  </a:cubicBezTo>
                  <a:lnTo>
                    <a:pt x="4549" y="5834"/>
                  </a:lnTo>
                  <a:lnTo>
                    <a:pt x="4549" y="6656"/>
                  </a:lnTo>
                  <a:lnTo>
                    <a:pt x="4120" y="6537"/>
                  </a:lnTo>
                  <a:cubicBezTo>
                    <a:pt x="4019" y="6510"/>
                    <a:pt x="3916" y="6497"/>
                    <a:pt x="3814" y="6497"/>
                  </a:cubicBezTo>
                  <a:cubicBezTo>
                    <a:pt x="3376" y="6497"/>
                    <a:pt x="2954" y="6736"/>
                    <a:pt x="2751" y="7132"/>
                  </a:cubicBezTo>
                  <a:cubicBezTo>
                    <a:pt x="2703" y="7227"/>
                    <a:pt x="2692" y="7346"/>
                    <a:pt x="2739" y="7430"/>
                  </a:cubicBezTo>
                  <a:cubicBezTo>
                    <a:pt x="2799" y="7584"/>
                    <a:pt x="2918" y="7620"/>
                    <a:pt x="3061" y="7656"/>
                  </a:cubicBezTo>
                  <a:cubicBezTo>
                    <a:pt x="3215" y="7703"/>
                    <a:pt x="4073" y="7918"/>
                    <a:pt x="4216" y="7965"/>
                  </a:cubicBezTo>
                  <a:cubicBezTo>
                    <a:pt x="3209" y="8241"/>
                    <a:pt x="3066" y="8279"/>
                    <a:pt x="3058" y="8279"/>
                  </a:cubicBezTo>
                  <a:cubicBezTo>
                    <a:pt x="3055" y="8279"/>
                    <a:pt x="3071" y="8274"/>
                    <a:pt x="3067" y="8274"/>
                  </a:cubicBezTo>
                  <a:cubicBezTo>
                    <a:pt x="3066" y="8274"/>
                    <a:pt x="3064" y="8274"/>
                    <a:pt x="3061" y="8275"/>
                  </a:cubicBezTo>
                  <a:cubicBezTo>
                    <a:pt x="3025" y="8299"/>
                    <a:pt x="2823" y="8311"/>
                    <a:pt x="2739" y="8501"/>
                  </a:cubicBezTo>
                  <a:cubicBezTo>
                    <a:pt x="2692" y="8608"/>
                    <a:pt x="2692" y="8716"/>
                    <a:pt x="2751" y="8799"/>
                  </a:cubicBezTo>
                  <a:cubicBezTo>
                    <a:pt x="2953" y="9192"/>
                    <a:pt x="3370" y="9439"/>
                    <a:pt x="3805" y="9439"/>
                  </a:cubicBezTo>
                  <a:cubicBezTo>
                    <a:pt x="3910" y="9439"/>
                    <a:pt x="4016" y="9424"/>
                    <a:pt x="4120" y="9394"/>
                  </a:cubicBezTo>
                  <a:lnTo>
                    <a:pt x="4549" y="9275"/>
                  </a:lnTo>
                  <a:lnTo>
                    <a:pt x="4549" y="10561"/>
                  </a:lnTo>
                  <a:cubicBezTo>
                    <a:pt x="4549" y="10704"/>
                    <a:pt x="4430" y="10823"/>
                    <a:pt x="4287" y="10823"/>
                  </a:cubicBezTo>
                  <a:lnTo>
                    <a:pt x="3632" y="10823"/>
                  </a:lnTo>
                  <a:cubicBezTo>
                    <a:pt x="3537" y="10823"/>
                    <a:pt x="3465" y="10894"/>
                    <a:pt x="3465" y="10990"/>
                  </a:cubicBezTo>
                  <a:cubicBezTo>
                    <a:pt x="3465" y="11073"/>
                    <a:pt x="3537" y="11156"/>
                    <a:pt x="3632" y="11156"/>
                  </a:cubicBezTo>
                  <a:lnTo>
                    <a:pt x="4287" y="11156"/>
                  </a:lnTo>
                  <a:cubicBezTo>
                    <a:pt x="4608" y="11156"/>
                    <a:pt x="4882" y="10882"/>
                    <a:pt x="4882" y="10561"/>
                  </a:cubicBezTo>
                  <a:lnTo>
                    <a:pt x="4882" y="9192"/>
                  </a:lnTo>
                  <a:lnTo>
                    <a:pt x="6835" y="8668"/>
                  </a:lnTo>
                  <a:cubicBezTo>
                    <a:pt x="6871" y="8680"/>
                    <a:pt x="7097" y="8739"/>
                    <a:pt x="8085" y="9013"/>
                  </a:cubicBezTo>
                  <a:cubicBezTo>
                    <a:pt x="7585" y="10085"/>
                    <a:pt x="8383" y="11299"/>
                    <a:pt x="9573" y="11299"/>
                  </a:cubicBezTo>
                  <a:cubicBezTo>
                    <a:pt x="10824" y="11299"/>
                    <a:pt x="11597" y="9942"/>
                    <a:pt x="10978" y="8870"/>
                  </a:cubicBezTo>
                  <a:cubicBezTo>
                    <a:pt x="10585" y="8037"/>
                    <a:pt x="9788" y="8037"/>
                    <a:pt x="9514" y="7918"/>
                  </a:cubicBezTo>
                  <a:cubicBezTo>
                    <a:pt x="9788" y="7799"/>
                    <a:pt x="10585" y="7799"/>
                    <a:pt x="11038" y="7001"/>
                  </a:cubicBezTo>
                  <a:cubicBezTo>
                    <a:pt x="11666" y="5883"/>
                    <a:pt x="10818" y="4574"/>
                    <a:pt x="9627" y="4574"/>
                  </a:cubicBezTo>
                  <a:cubicBezTo>
                    <a:pt x="9486" y="4574"/>
                    <a:pt x="9341" y="4593"/>
                    <a:pt x="9192" y="4632"/>
                  </a:cubicBezTo>
                  <a:cubicBezTo>
                    <a:pt x="8216" y="4906"/>
                    <a:pt x="7728" y="5977"/>
                    <a:pt x="8145" y="6882"/>
                  </a:cubicBezTo>
                  <a:cubicBezTo>
                    <a:pt x="7156" y="7144"/>
                    <a:pt x="6930" y="7203"/>
                    <a:pt x="6894" y="7227"/>
                  </a:cubicBezTo>
                  <a:lnTo>
                    <a:pt x="4942" y="6703"/>
                  </a:lnTo>
                  <a:lnTo>
                    <a:pt x="4942" y="5798"/>
                  </a:lnTo>
                  <a:cubicBezTo>
                    <a:pt x="5478" y="5763"/>
                    <a:pt x="6002" y="5584"/>
                    <a:pt x="6442" y="5287"/>
                  </a:cubicBezTo>
                  <a:cubicBezTo>
                    <a:pt x="6513" y="5227"/>
                    <a:pt x="6537" y="5144"/>
                    <a:pt x="6490" y="5060"/>
                  </a:cubicBezTo>
                  <a:cubicBezTo>
                    <a:pt x="6461" y="5017"/>
                    <a:pt x="6411" y="4996"/>
                    <a:pt x="6360" y="4996"/>
                  </a:cubicBezTo>
                  <a:cubicBezTo>
                    <a:pt x="6326" y="4996"/>
                    <a:pt x="6292" y="5006"/>
                    <a:pt x="6263" y="5025"/>
                  </a:cubicBezTo>
                  <a:cubicBezTo>
                    <a:pt x="5682" y="5429"/>
                    <a:pt x="5116" y="5476"/>
                    <a:pt x="4727" y="5476"/>
                  </a:cubicBezTo>
                  <a:cubicBezTo>
                    <a:pt x="4608" y="5476"/>
                    <a:pt x="4505" y="5472"/>
                    <a:pt x="4423" y="5472"/>
                  </a:cubicBezTo>
                  <a:cubicBezTo>
                    <a:pt x="4379" y="5472"/>
                    <a:pt x="4342" y="5473"/>
                    <a:pt x="4311" y="5477"/>
                  </a:cubicBezTo>
                  <a:cubicBezTo>
                    <a:pt x="4418" y="5417"/>
                    <a:pt x="4513" y="5358"/>
                    <a:pt x="4608" y="5298"/>
                  </a:cubicBezTo>
                  <a:cubicBezTo>
                    <a:pt x="4728" y="5227"/>
                    <a:pt x="4847" y="5120"/>
                    <a:pt x="4942" y="5036"/>
                  </a:cubicBezTo>
                  <a:cubicBezTo>
                    <a:pt x="5525" y="4489"/>
                    <a:pt x="5882" y="3715"/>
                    <a:pt x="5882" y="2905"/>
                  </a:cubicBezTo>
                  <a:cubicBezTo>
                    <a:pt x="5882" y="2405"/>
                    <a:pt x="5740" y="1905"/>
                    <a:pt x="5490" y="1465"/>
                  </a:cubicBezTo>
                  <a:cubicBezTo>
                    <a:pt x="5204" y="976"/>
                    <a:pt x="4787" y="584"/>
                    <a:pt x="4311" y="334"/>
                  </a:cubicBezTo>
                  <a:lnTo>
                    <a:pt x="4847" y="334"/>
                  </a:lnTo>
                  <a:cubicBezTo>
                    <a:pt x="6252" y="357"/>
                    <a:pt x="7383" y="1512"/>
                    <a:pt x="7383" y="2905"/>
                  </a:cubicBezTo>
                  <a:cubicBezTo>
                    <a:pt x="7383" y="3536"/>
                    <a:pt x="7156" y="4144"/>
                    <a:pt x="6728" y="4620"/>
                  </a:cubicBezTo>
                  <a:cubicBezTo>
                    <a:pt x="6633" y="4727"/>
                    <a:pt x="6716" y="4906"/>
                    <a:pt x="6847" y="4906"/>
                  </a:cubicBezTo>
                  <a:cubicBezTo>
                    <a:pt x="6894" y="4906"/>
                    <a:pt x="6930" y="4882"/>
                    <a:pt x="6966" y="4846"/>
                  </a:cubicBezTo>
                  <a:cubicBezTo>
                    <a:pt x="7442" y="4310"/>
                    <a:pt x="7692" y="3620"/>
                    <a:pt x="7692" y="2905"/>
                  </a:cubicBezTo>
                  <a:cubicBezTo>
                    <a:pt x="7692" y="2131"/>
                    <a:pt x="7395" y="1417"/>
                    <a:pt x="6859" y="869"/>
                  </a:cubicBezTo>
                  <a:cubicBezTo>
                    <a:pt x="6299" y="298"/>
                    <a:pt x="5537" y="0"/>
                    <a:pt x="48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1" name="Google Shape;12171;p62"/>
            <p:cNvSpPr/>
            <p:nvPr/>
          </p:nvSpPr>
          <p:spPr>
            <a:xfrm>
              <a:off x="1976349" y="1775216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0" y="0"/>
                  </a:moveTo>
                  <a:cubicBezTo>
                    <a:pt x="0" y="0"/>
                    <a:pt x="12" y="0"/>
                    <a:pt x="0" y="0"/>
                  </a:cubicBezTo>
                  <a:cubicBezTo>
                    <a:pt x="12" y="0"/>
                    <a:pt x="12" y="0"/>
                    <a:pt x="0" y="0"/>
                  </a:cubicBezTo>
                  <a:cubicBezTo>
                    <a:pt x="12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2" name="Google Shape;12172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3" name="Google Shape;12173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4" name="Google Shape;12174;p62"/>
            <p:cNvSpPr/>
            <p:nvPr/>
          </p:nvSpPr>
          <p:spPr>
            <a:xfrm>
              <a:off x="2016868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5" name="Google Shape;12175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6" name="Google Shape;12176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7" name="Google Shape;12177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8" name="Google Shape;12178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9" name="Google Shape;12179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0" name="Google Shape;12180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1" name="Google Shape;12181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2" name="Google Shape;12182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3" name="Google Shape;12183;p62"/>
            <p:cNvSpPr/>
            <p:nvPr/>
          </p:nvSpPr>
          <p:spPr>
            <a:xfrm>
              <a:off x="2016868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4" name="Google Shape;12184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5" name="Google Shape;12185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6" name="Google Shape;12186;p62"/>
            <p:cNvSpPr/>
            <p:nvPr/>
          </p:nvSpPr>
          <p:spPr>
            <a:xfrm>
              <a:off x="1812744" y="1556302"/>
              <a:ext cx="77668" cy="72929"/>
            </a:xfrm>
            <a:custGeom>
              <a:avLst/>
              <a:gdLst/>
              <a:ahLst/>
              <a:cxnLst/>
              <a:rect l="l" t="t" r="r" b="b"/>
              <a:pathLst>
                <a:path w="2442" h="2293" extrusionOk="0">
                  <a:moveTo>
                    <a:pt x="1212" y="326"/>
                  </a:moveTo>
                  <a:cubicBezTo>
                    <a:pt x="1252" y="326"/>
                    <a:pt x="1293" y="329"/>
                    <a:pt x="1334" y="335"/>
                  </a:cubicBezTo>
                  <a:cubicBezTo>
                    <a:pt x="1811" y="394"/>
                    <a:pt x="2120" y="859"/>
                    <a:pt x="2013" y="1311"/>
                  </a:cubicBezTo>
                  <a:cubicBezTo>
                    <a:pt x="1923" y="1684"/>
                    <a:pt x="1585" y="1945"/>
                    <a:pt x="1209" y="1945"/>
                  </a:cubicBezTo>
                  <a:cubicBezTo>
                    <a:pt x="1141" y="1945"/>
                    <a:pt x="1071" y="1937"/>
                    <a:pt x="1001" y="1918"/>
                  </a:cubicBezTo>
                  <a:cubicBezTo>
                    <a:pt x="715" y="1847"/>
                    <a:pt x="501" y="1609"/>
                    <a:pt x="418" y="1311"/>
                  </a:cubicBezTo>
                  <a:cubicBezTo>
                    <a:pt x="307" y="793"/>
                    <a:pt x="708" y="326"/>
                    <a:pt x="1212" y="326"/>
                  </a:cubicBezTo>
                  <a:close/>
                  <a:moveTo>
                    <a:pt x="1259" y="1"/>
                  </a:moveTo>
                  <a:cubicBezTo>
                    <a:pt x="1205" y="1"/>
                    <a:pt x="1151" y="5"/>
                    <a:pt x="1096" y="13"/>
                  </a:cubicBezTo>
                  <a:cubicBezTo>
                    <a:pt x="453" y="85"/>
                    <a:pt x="1" y="680"/>
                    <a:pt x="108" y="1323"/>
                  </a:cubicBezTo>
                  <a:cubicBezTo>
                    <a:pt x="197" y="1881"/>
                    <a:pt x="685" y="2293"/>
                    <a:pt x="1246" y="2293"/>
                  </a:cubicBezTo>
                  <a:cubicBezTo>
                    <a:pt x="1283" y="2293"/>
                    <a:pt x="1320" y="2291"/>
                    <a:pt x="1358" y="2287"/>
                  </a:cubicBezTo>
                  <a:cubicBezTo>
                    <a:pt x="1989" y="2204"/>
                    <a:pt x="2442" y="1621"/>
                    <a:pt x="2358" y="978"/>
                  </a:cubicBezTo>
                  <a:cubicBezTo>
                    <a:pt x="2272" y="425"/>
                    <a:pt x="1800" y="1"/>
                    <a:pt x="12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7" name="Google Shape;12187;p62"/>
            <p:cNvSpPr/>
            <p:nvPr/>
          </p:nvSpPr>
          <p:spPr>
            <a:xfrm>
              <a:off x="1759375" y="1695671"/>
              <a:ext cx="99613" cy="158707"/>
            </a:xfrm>
            <a:custGeom>
              <a:avLst/>
              <a:gdLst/>
              <a:ahLst/>
              <a:cxnLst/>
              <a:rect l="l" t="t" r="r" b="b"/>
              <a:pathLst>
                <a:path w="3132" h="4990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394"/>
                  </a:lnTo>
                  <a:cubicBezTo>
                    <a:pt x="0" y="4728"/>
                    <a:pt x="274" y="4990"/>
                    <a:pt x="596" y="4990"/>
                  </a:cubicBezTo>
                  <a:lnTo>
                    <a:pt x="2965" y="4990"/>
                  </a:lnTo>
                  <a:cubicBezTo>
                    <a:pt x="3048" y="4990"/>
                    <a:pt x="3120" y="4918"/>
                    <a:pt x="3120" y="4823"/>
                  </a:cubicBezTo>
                  <a:cubicBezTo>
                    <a:pt x="3132" y="4740"/>
                    <a:pt x="3048" y="4668"/>
                    <a:pt x="2965" y="4668"/>
                  </a:cubicBezTo>
                  <a:lnTo>
                    <a:pt x="596" y="4668"/>
                  </a:lnTo>
                  <a:cubicBezTo>
                    <a:pt x="453" y="4668"/>
                    <a:pt x="334" y="4549"/>
                    <a:pt x="334" y="4394"/>
                  </a:cubicBezTo>
                  <a:lnTo>
                    <a:pt x="334" y="1965"/>
                  </a:lnTo>
                  <a:lnTo>
                    <a:pt x="762" y="1965"/>
                  </a:lnTo>
                  <a:cubicBezTo>
                    <a:pt x="846" y="1965"/>
                    <a:pt x="929" y="1894"/>
                    <a:pt x="929" y="1799"/>
                  </a:cubicBezTo>
                  <a:cubicBezTo>
                    <a:pt x="929" y="1715"/>
                    <a:pt x="846" y="1644"/>
                    <a:pt x="762" y="1644"/>
                  </a:cubicBezTo>
                  <a:lnTo>
                    <a:pt x="334" y="1644"/>
                  </a:lnTo>
                  <a:lnTo>
                    <a:pt x="334" y="168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8" name="Google Shape;12188;p62"/>
            <p:cNvSpPr/>
            <p:nvPr/>
          </p:nvSpPr>
          <p:spPr>
            <a:xfrm>
              <a:off x="1794965" y="1747195"/>
              <a:ext cx="38261" cy="10623"/>
            </a:xfrm>
            <a:custGeom>
              <a:avLst/>
              <a:gdLst/>
              <a:ahLst/>
              <a:cxnLst/>
              <a:rect l="l" t="t" r="r" b="b"/>
              <a:pathLst>
                <a:path w="1203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024" y="333"/>
                  </a:lnTo>
                  <a:cubicBezTo>
                    <a:pt x="1120" y="333"/>
                    <a:pt x="1191" y="262"/>
                    <a:pt x="1191" y="167"/>
                  </a:cubicBezTo>
                  <a:cubicBezTo>
                    <a:pt x="1203" y="83"/>
                    <a:pt x="1131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9" name="Google Shape;12189;p62"/>
            <p:cNvSpPr/>
            <p:nvPr/>
          </p:nvSpPr>
          <p:spPr>
            <a:xfrm>
              <a:off x="1839269" y="1747195"/>
              <a:ext cx="37912" cy="10623"/>
            </a:xfrm>
            <a:custGeom>
              <a:avLst/>
              <a:gdLst/>
              <a:ahLst/>
              <a:cxnLst/>
              <a:rect l="l" t="t" r="r" b="b"/>
              <a:pathLst>
                <a:path w="1192" h="334" extrusionOk="0">
                  <a:moveTo>
                    <a:pt x="167" y="0"/>
                  </a:moveTo>
                  <a:cubicBezTo>
                    <a:pt x="84" y="0"/>
                    <a:pt x="0" y="83"/>
                    <a:pt x="0" y="167"/>
                  </a:cubicBezTo>
                  <a:cubicBezTo>
                    <a:pt x="0" y="262"/>
                    <a:pt x="84" y="333"/>
                    <a:pt x="167" y="333"/>
                  </a:cubicBezTo>
                  <a:lnTo>
                    <a:pt x="1036" y="333"/>
                  </a:lnTo>
                  <a:cubicBezTo>
                    <a:pt x="1120" y="333"/>
                    <a:pt x="1191" y="262"/>
                    <a:pt x="1191" y="167"/>
                  </a:cubicBezTo>
                  <a:cubicBezTo>
                    <a:pt x="1191" y="83"/>
                    <a:pt x="1120" y="0"/>
                    <a:pt x="10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0" name="Google Shape;12190;p62"/>
          <p:cNvGrpSpPr/>
          <p:nvPr/>
        </p:nvGrpSpPr>
        <p:grpSpPr>
          <a:xfrm>
            <a:off x="2774209" y="1954691"/>
            <a:ext cx="116693" cy="374186"/>
            <a:chOff x="2774209" y="1954691"/>
            <a:chExt cx="116693" cy="374186"/>
          </a:xfrm>
        </p:grpSpPr>
        <p:sp>
          <p:nvSpPr>
            <p:cNvPr id="12191" name="Google Shape;12191;p62"/>
            <p:cNvSpPr/>
            <p:nvPr/>
          </p:nvSpPr>
          <p:spPr>
            <a:xfrm>
              <a:off x="2774209" y="2181525"/>
              <a:ext cx="115166" cy="147353"/>
            </a:xfrm>
            <a:custGeom>
              <a:avLst/>
              <a:gdLst/>
              <a:ahLst/>
              <a:cxnLst/>
              <a:rect l="l" t="t" r="r" b="b"/>
              <a:pathLst>
                <a:path w="3621" h="4633" extrusionOk="0">
                  <a:moveTo>
                    <a:pt x="3263" y="3263"/>
                  </a:moveTo>
                  <a:lnTo>
                    <a:pt x="3263" y="4013"/>
                  </a:lnTo>
                  <a:lnTo>
                    <a:pt x="3275" y="4013"/>
                  </a:lnTo>
                  <a:cubicBezTo>
                    <a:pt x="3275" y="4168"/>
                    <a:pt x="3156" y="4287"/>
                    <a:pt x="3025" y="4287"/>
                  </a:cubicBezTo>
                  <a:lnTo>
                    <a:pt x="3025" y="3751"/>
                  </a:lnTo>
                  <a:cubicBezTo>
                    <a:pt x="3025" y="3656"/>
                    <a:pt x="2954" y="3572"/>
                    <a:pt x="2847" y="3572"/>
                  </a:cubicBezTo>
                  <a:cubicBezTo>
                    <a:pt x="2739" y="3572"/>
                    <a:pt x="2668" y="3644"/>
                    <a:pt x="2668" y="3751"/>
                  </a:cubicBezTo>
                  <a:lnTo>
                    <a:pt x="2668" y="4287"/>
                  </a:lnTo>
                  <a:lnTo>
                    <a:pt x="2335" y="4287"/>
                  </a:lnTo>
                  <a:lnTo>
                    <a:pt x="2335" y="3751"/>
                  </a:lnTo>
                  <a:cubicBezTo>
                    <a:pt x="2335" y="3656"/>
                    <a:pt x="2263" y="3572"/>
                    <a:pt x="2156" y="3572"/>
                  </a:cubicBezTo>
                  <a:cubicBezTo>
                    <a:pt x="2073" y="3572"/>
                    <a:pt x="1977" y="3644"/>
                    <a:pt x="1977" y="3751"/>
                  </a:cubicBezTo>
                  <a:lnTo>
                    <a:pt x="1977" y="4287"/>
                  </a:lnTo>
                  <a:lnTo>
                    <a:pt x="1656" y="4287"/>
                  </a:lnTo>
                  <a:lnTo>
                    <a:pt x="1656" y="3751"/>
                  </a:lnTo>
                  <a:cubicBezTo>
                    <a:pt x="1656" y="3656"/>
                    <a:pt x="1573" y="3572"/>
                    <a:pt x="1477" y="3572"/>
                  </a:cubicBezTo>
                  <a:cubicBezTo>
                    <a:pt x="1370" y="3572"/>
                    <a:pt x="1299" y="3644"/>
                    <a:pt x="1299" y="3751"/>
                  </a:cubicBezTo>
                  <a:lnTo>
                    <a:pt x="1299" y="4287"/>
                  </a:lnTo>
                  <a:lnTo>
                    <a:pt x="965" y="4287"/>
                  </a:lnTo>
                  <a:lnTo>
                    <a:pt x="965" y="3751"/>
                  </a:lnTo>
                  <a:cubicBezTo>
                    <a:pt x="965" y="3656"/>
                    <a:pt x="894" y="3572"/>
                    <a:pt x="787" y="3572"/>
                  </a:cubicBezTo>
                  <a:cubicBezTo>
                    <a:pt x="680" y="3572"/>
                    <a:pt x="608" y="3644"/>
                    <a:pt x="608" y="3751"/>
                  </a:cubicBezTo>
                  <a:lnTo>
                    <a:pt x="608" y="4287"/>
                  </a:lnTo>
                  <a:cubicBezTo>
                    <a:pt x="465" y="4287"/>
                    <a:pt x="358" y="4168"/>
                    <a:pt x="358" y="4013"/>
                  </a:cubicBezTo>
                  <a:lnTo>
                    <a:pt x="358" y="3263"/>
                  </a:lnTo>
                  <a:close/>
                  <a:moveTo>
                    <a:pt x="3442" y="1"/>
                  </a:moveTo>
                  <a:cubicBezTo>
                    <a:pt x="3347" y="1"/>
                    <a:pt x="3263" y="72"/>
                    <a:pt x="3263" y="179"/>
                  </a:cubicBezTo>
                  <a:lnTo>
                    <a:pt x="3263" y="2906"/>
                  </a:lnTo>
                  <a:lnTo>
                    <a:pt x="358" y="2906"/>
                  </a:lnTo>
                  <a:lnTo>
                    <a:pt x="358" y="1429"/>
                  </a:lnTo>
                  <a:cubicBezTo>
                    <a:pt x="358" y="1334"/>
                    <a:pt x="287" y="1251"/>
                    <a:pt x="180" y="1251"/>
                  </a:cubicBezTo>
                  <a:cubicBezTo>
                    <a:pt x="84" y="1251"/>
                    <a:pt x="1" y="1322"/>
                    <a:pt x="1" y="1429"/>
                  </a:cubicBezTo>
                  <a:lnTo>
                    <a:pt x="1" y="4013"/>
                  </a:lnTo>
                  <a:cubicBezTo>
                    <a:pt x="1" y="4358"/>
                    <a:pt x="287" y="4632"/>
                    <a:pt x="608" y="4632"/>
                  </a:cubicBezTo>
                  <a:lnTo>
                    <a:pt x="2978" y="4632"/>
                  </a:lnTo>
                  <a:cubicBezTo>
                    <a:pt x="3323" y="4632"/>
                    <a:pt x="3585" y="4346"/>
                    <a:pt x="3585" y="4013"/>
                  </a:cubicBezTo>
                  <a:lnTo>
                    <a:pt x="3585" y="191"/>
                  </a:lnTo>
                  <a:cubicBezTo>
                    <a:pt x="3620" y="84"/>
                    <a:pt x="3549" y="1"/>
                    <a:pt x="3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2" name="Google Shape;12192;p62"/>
            <p:cNvSpPr/>
            <p:nvPr/>
          </p:nvSpPr>
          <p:spPr>
            <a:xfrm>
              <a:off x="2774591" y="1954691"/>
              <a:ext cx="116311" cy="255649"/>
            </a:xfrm>
            <a:custGeom>
              <a:avLst/>
              <a:gdLst/>
              <a:ahLst/>
              <a:cxnLst/>
              <a:rect l="l" t="t" r="r" b="b"/>
              <a:pathLst>
                <a:path w="3657" h="8038" extrusionOk="0">
                  <a:moveTo>
                    <a:pt x="1156" y="1870"/>
                  </a:moveTo>
                  <a:lnTo>
                    <a:pt x="1156" y="2537"/>
                  </a:lnTo>
                  <a:lnTo>
                    <a:pt x="644" y="2537"/>
                  </a:lnTo>
                  <a:lnTo>
                    <a:pt x="644" y="2144"/>
                  </a:lnTo>
                  <a:cubicBezTo>
                    <a:pt x="644" y="2001"/>
                    <a:pt x="763" y="1870"/>
                    <a:pt x="918" y="1870"/>
                  </a:cubicBezTo>
                  <a:close/>
                  <a:moveTo>
                    <a:pt x="2108" y="1882"/>
                  </a:moveTo>
                  <a:lnTo>
                    <a:pt x="2108" y="2537"/>
                  </a:lnTo>
                  <a:lnTo>
                    <a:pt x="1513" y="2537"/>
                  </a:lnTo>
                  <a:lnTo>
                    <a:pt x="1513" y="1882"/>
                  </a:lnTo>
                  <a:close/>
                  <a:moveTo>
                    <a:pt x="2680" y="1882"/>
                  </a:moveTo>
                  <a:cubicBezTo>
                    <a:pt x="2835" y="1882"/>
                    <a:pt x="2954" y="2001"/>
                    <a:pt x="2954" y="2144"/>
                  </a:cubicBezTo>
                  <a:lnTo>
                    <a:pt x="2954" y="2537"/>
                  </a:lnTo>
                  <a:lnTo>
                    <a:pt x="2442" y="2537"/>
                  </a:lnTo>
                  <a:lnTo>
                    <a:pt x="2442" y="1882"/>
                  </a:lnTo>
                  <a:close/>
                  <a:moveTo>
                    <a:pt x="1180" y="1"/>
                  </a:moveTo>
                  <a:cubicBezTo>
                    <a:pt x="834" y="1"/>
                    <a:pt x="572" y="286"/>
                    <a:pt x="572" y="608"/>
                  </a:cubicBezTo>
                  <a:lnTo>
                    <a:pt x="572" y="1644"/>
                  </a:lnTo>
                  <a:cubicBezTo>
                    <a:pt x="406" y="1739"/>
                    <a:pt x="299" y="1941"/>
                    <a:pt x="299" y="2144"/>
                  </a:cubicBezTo>
                  <a:lnTo>
                    <a:pt x="299" y="2596"/>
                  </a:lnTo>
                  <a:cubicBezTo>
                    <a:pt x="120" y="2680"/>
                    <a:pt x="1" y="2870"/>
                    <a:pt x="1" y="3084"/>
                  </a:cubicBezTo>
                  <a:lnTo>
                    <a:pt x="1" y="7859"/>
                  </a:lnTo>
                  <a:cubicBezTo>
                    <a:pt x="1" y="7954"/>
                    <a:pt x="84" y="8037"/>
                    <a:pt x="179" y="8037"/>
                  </a:cubicBezTo>
                  <a:cubicBezTo>
                    <a:pt x="287" y="8037"/>
                    <a:pt x="358" y="7966"/>
                    <a:pt x="358" y="7859"/>
                  </a:cubicBezTo>
                  <a:lnTo>
                    <a:pt x="358" y="3084"/>
                  </a:lnTo>
                  <a:cubicBezTo>
                    <a:pt x="358" y="2965"/>
                    <a:pt x="453" y="2870"/>
                    <a:pt x="572" y="2870"/>
                  </a:cubicBezTo>
                  <a:lnTo>
                    <a:pt x="1549" y="2870"/>
                  </a:lnTo>
                  <a:lnTo>
                    <a:pt x="1549" y="5168"/>
                  </a:lnTo>
                  <a:cubicBezTo>
                    <a:pt x="1549" y="5466"/>
                    <a:pt x="1787" y="5716"/>
                    <a:pt x="2108" y="5716"/>
                  </a:cubicBezTo>
                  <a:cubicBezTo>
                    <a:pt x="2406" y="5716"/>
                    <a:pt x="2656" y="5478"/>
                    <a:pt x="2656" y="5168"/>
                  </a:cubicBezTo>
                  <a:lnTo>
                    <a:pt x="2656" y="4477"/>
                  </a:lnTo>
                  <a:cubicBezTo>
                    <a:pt x="2656" y="4394"/>
                    <a:pt x="2585" y="4299"/>
                    <a:pt x="2477" y="4299"/>
                  </a:cubicBezTo>
                  <a:cubicBezTo>
                    <a:pt x="2382" y="4299"/>
                    <a:pt x="2299" y="4382"/>
                    <a:pt x="2299" y="4477"/>
                  </a:cubicBezTo>
                  <a:lnTo>
                    <a:pt x="2299" y="5168"/>
                  </a:lnTo>
                  <a:cubicBezTo>
                    <a:pt x="2299" y="5275"/>
                    <a:pt x="2204" y="5359"/>
                    <a:pt x="2108" y="5359"/>
                  </a:cubicBezTo>
                  <a:cubicBezTo>
                    <a:pt x="2001" y="5359"/>
                    <a:pt x="1906" y="5275"/>
                    <a:pt x="1906" y="5168"/>
                  </a:cubicBezTo>
                  <a:lnTo>
                    <a:pt x="1906" y="2870"/>
                  </a:lnTo>
                  <a:lnTo>
                    <a:pt x="2311" y="2870"/>
                  </a:lnTo>
                  <a:lnTo>
                    <a:pt x="2311" y="3799"/>
                  </a:lnTo>
                  <a:cubicBezTo>
                    <a:pt x="2311" y="3882"/>
                    <a:pt x="2382" y="3977"/>
                    <a:pt x="2489" y="3977"/>
                  </a:cubicBezTo>
                  <a:cubicBezTo>
                    <a:pt x="2585" y="3977"/>
                    <a:pt x="2668" y="3906"/>
                    <a:pt x="2668" y="3799"/>
                  </a:cubicBezTo>
                  <a:lnTo>
                    <a:pt x="2668" y="2870"/>
                  </a:lnTo>
                  <a:lnTo>
                    <a:pt x="3085" y="2870"/>
                  </a:lnTo>
                  <a:cubicBezTo>
                    <a:pt x="3204" y="2870"/>
                    <a:pt x="3299" y="2965"/>
                    <a:pt x="3299" y="3084"/>
                  </a:cubicBezTo>
                  <a:lnTo>
                    <a:pt x="3299" y="6609"/>
                  </a:lnTo>
                  <a:cubicBezTo>
                    <a:pt x="3299" y="6704"/>
                    <a:pt x="3370" y="6787"/>
                    <a:pt x="3477" y="6787"/>
                  </a:cubicBezTo>
                  <a:cubicBezTo>
                    <a:pt x="3561" y="6787"/>
                    <a:pt x="3656" y="6716"/>
                    <a:pt x="3656" y="6609"/>
                  </a:cubicBezTo>
                  <a:lnTo>
                    <a:pt x="3656" y="3084"/>
                  </a:lnTo>
                  <a:cubicBezTo>
                    <a:pt x="3608" y="2870"/>
                    <a:pt x="3489" y="2680"/>
                    <a:pt x="3311" y="2596"/>
                  </a:cubicBezTo>
                  <a:lnTo>
                    <a:pt x="3311" y="2144"/>
                  </a:lnTo>
                  <a:cubicBezTo>
                    <a:pt x="3311" y="1941"/>
                    <a:pt x="3204" y="1739"/>
                    <a:pt x="3037" y="1644"/>
                  </a:cubicBezTo>
                  <a:lnTo>
                    <a:pt x="3037" y="1132"/>
                  </a:lnTo>
                  <a:cubicBezTo>
                    <a:pt x="3037" y="1048"/>
                    <a:pt x="2966" y="953"/>
                    <a:pt x="2858" y="953"/>
                  </a:cubicBezTo>
                  <a:cubicBezTo>
                    <a:pt x="2775" y="953"/>
                    <a:pt x="2680" y="1025"/>
                    <a:pt x="2680" y="1132"/>
                  </a:cubicBezTo>
                  <a:lnTo>
                    <a:pt x="2680" y="1537"/>
                  </a:lnTo>
                  <a:lnTo>
                    <a:pt x="918" y="1537"/>
                  </a:lnTo>
                  <a:lnTo>
                    <a:pt x="918" y="608"/>
                  </a:lnTo>
                  <a:cubicBezTo>
                    <a:pt x="918" y="465"/>
                    <a:pt x="1025" y="346"/>
                    <a:pt x="1180" y="346"/>
                  </a:cubicBezTo>
                  <a:lnTo>
                    <a:pt x="2418" y="346"/>
                  </a:lnTo>
                  <a:cubicBezTo>
                    <a:pt x="2513" y="346"/>
                    <a:pt x="2620" y="406"/>
                    <a:pt x="2668" y="513"/>
                  </a:cubicBezTo>
                  <a:cubicBezTo>
                    <a:pt x="2702" y="573"/>
                    <a:pt x="2756" y="615"/>
                    <a:pt x="2819" y="615"/>
                  </a:cubicBezTo>
                  <a:cubicBezTo>
                    <a:pt x="2843" y="615"/>
                    <a:pt x="2868" y="609"/>
                    <a:pt x="2894" y="596"/>
                  </a:cubicBezTo>
                  <a:cubicBezTo>
                    <a:pt x="2977" y="548"/>
                    <a:pt x="3025" y="465"/>
                    <a:pt x="2977" y="370"/>
                  </a:cubicBezTo>
                  <a:cubicBezTo>
                    <a:pt x="2894" y="155"/>
                    <a:pt x="2668" y="1"/>
                    <a:pt x="2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3" name="Google Shape;12193;p62"/>
          <p:cNvGrpSpPr/>
          <p:nvPr/>
        </p:nvGrpSpPr>
        <p:grpSpPr>
          <a:xfrm>
            <a:off x="4017435" y="1499912"/>
            <a:ext cx="315092" cy="359397"/>
            <a:chOff x="4017435" y="1499912"/>
            <a:chExt cx="315092" cy="359397"/>
          </a:xfrm>
        </p:grpSpPr>
        <p:sp>
          <p:nvSpPr>
            <p:cNvPr id="12194" name="Google Shape;12194;p62"/>
            <p:cNvSpPr/>
            <p:nvPr/>
          </p:nvSpPr>
          <p:spPr>
            <a:xfrm>
              <a:off x="4017816" y="1499912"/>
              <a:ext cx="314710" cy="359397"/>
            </a:xfrm>
            <a:custGeom>
              <a:avLst/>
              <a:gdLst/>
              <a:ahLst/>
              <a:cxnLst/>
              <a:rect l="l" t="t" r="r" b="b"/>
              <a:pathLst>
                <a:path w="9895" h="11300" extrusionOk="0">
                  <a:moveTo>
                    <a:pt x="4929" y="0"/>
                  </a:moveTo>
                  <a:cubicBezTo>
                    <a:pt x="4810" y="0"/>
                    <a:pt x="4691" y="24"/>
                    <a:pt x="4584" y="84"/>
                  </a:cubicBezTo>
                  <a:lnTo>
                    <a:pt x="4048" y="405"/>
                  </a:lnTo>
                  <a:cubicBezTo>
                    <a:pt x="3977" y="441"/>
                    <a:pt x="3941" y="548"/>
                    <a:pt x="3989" y="643"/>
                  </a:cubicBezTo>
                  <a:cubicBezTo>
                    <a:pt x="4022" y="693"/>
                    <a:pt x="4077" y="719"/>
                    <a:pt x="4140" y="719"/>
                  </a:cubicBezTo>
                  <a:cubicBezTo>
                    <a:pt x="4168" y="719"/>
                    <a:pt x="4197" y="714"/>
                    <a:pt x="4227" y="703"/>
                  </a:cubicBezTo>
                  <a:lnTo>
                    <a:pt x="4763" y="381"/>
                  </a:lnTo>
                  <a:cubicBezTo>
                    <a:pt x="4816" y="352"/>
                    <a:pt x="4876" y="337"/>
                    <a:pt x="4935" y="337"/>
                  </a:cubicBezTo>
                  <a:cubicBezTo>
                    <a:pt x="4995" y="337"/>
                    <a:pt x="5054" y="352"/>
                    <a:pt x="5108" y="381"/>
                  </a:cubicBezTo>
                  <a:lnTo>
                    <a:pt x="9335" y="2822"/>
                  </a:lnTo>
                  <a:cubicBezTo>
                    <a:pt x="9346" y="2846"/>
                    <a:pt x="9358" y="2846"/>
                    <a:pt x="9370" y="2858"/>
                  </a:cubicBezTo>
                  <a:lnTo>
                    <a:pt x="4941" y="5382"/>
                  </a:lnTo>
                  <a:lnTo>
                    <a:pt x="4298" y="5013"/>
                  </a:lnTo>
                  <a:cubicBezTo>
                    <a:pt x="4276" y="4998"/>
                    <a:pt x="4250" y="4991"/>
                    <a:pt x="4223" y="4991"/>
                  </a:cubicBezTo>
                  <a:cubicBezTo>
                    <a:pt x="4165" y="4991"/>
                    <a:pt x="4105" y="5023"/>
                    <a:pt x="4072" y="5072"/>
                  </a:cubicBezTo>
                  <a:cubicBezTo>
                    <a:pt x="4036" y="5144"/>
                    <a:pt x="4060" y="5251"/>
                    <a:pt x="4132" y="5299"/>
                  </a:cubicBezTo>
                  <a:lnTo>
                    <a:pt x="4774" y="5668"/>
                  </a:lnTo>
                  <a:lnTo>
                    <a:pt x="4774" y="10823"/>
                  </a:lnTo>
                  <a:lnTo>
                    <a:pt x="488" y="8347"/>
                  </a:lnTo>
                  <a:cubicBezTo>
                    <a:pt x="381" y="8287"/>
                    <a:pt x="322" y="8180"/>
                    <a:pt x="322" y="8073"/>
                  </a:cubicBezTo>
                  <a:lnTo>
                    <a:pt x="322" y="7704"/>
                  </a:lnTo>
                  <a:cubicBezTo>
                    <a:pt x="322" y="7620"/>
                    <a:pt x="250" y="7537"/>
                    <a:pt x="167" y="7537"/>
                  </a:cubicBezTo>
                  <a:cubicBezTo>
                    <a:pt x="72" y="7537"/>
                    <a:pt x="0" y="7620"/>
                    <a:pt x="0" y="7704"/>
                  </a:cubicBezTo>
                  <a:lnTo>
                    <a:pt x="0" y="8073"/>
                  </a:lnTo>
                  <a:cubicBezTo>
                    <a:pt x="0" y="8323"/>
                    <a:pt x="119" y="8525"/>
                    <a:pt x="322" y="8644"/>
                  </a:cubicBezTo>
                  <a:lnTo>
                    <a:pt x="4870" y="11264"/>
                  </a:lnTo>
                  <a:cubicBezTo>
                    <a:pt x="4894" y="11276"/>
                    <a:pt x="4929" y="11299"/>
                    <a:pt x="4953" y="11299"/>
                  </a:cubicBezTo>
                  <a:cubicBezTo>
                    <a:pt x="4989" y="11299"/>
                    <a:pt x="5013" y="11276"/>
                    <a:pt x="5048" y="11264"/>
                  </a:cubicBezTo>
                  <a:lnTo>
                    <a:pt x="6715" y="10311"/>
                  </a:lnTo>
                  <a:cubicBezTo>
                    <a:pt x="6787" y="10263"/>
                    <a:pt x="6810" y="10168"/>
                    <a:pt x="6775" y="10073"/>
                  </a:cubicBezTo>
                  <a:cubicBezTo>
                    <a:pt x="6742" y="10024"/>
                    <a:pt x="6681" y="9992"/>
                    <a:pt x="6620" y="9992"/>
                  </a:cubicBezTo>
                  <a:cubicBezTo>
                    <a:pt x="6591" y="9992"/>
                    <a:pt x="6563" y="9999"/>
                    <a:pt x="6537" y="10013"/>
                  </a:cubicBezTo>
                  <a:lnTo>
                    <a:pt x="5120" y="10835"/>
                  </a:lnTo>
                  <a:lnTo>
                    <a:pt x="5120" y="5680"/>
                  </a:lnTo>
                  <a:lnTo>
                    <a:pt x="9549" y="3155"/>
                  </a:lnTo>
                  <a:lnTo>
                    <a:pt x="9549" y="3167"/>
                  </a:lnTo>
                  <a:lnTo>
                    <a:pt x="9549" y="3179"/>
                  </a:lnTo>
                  <a:lnTo>
                    <a:pt x="9549" y="3215"/>
                  </a:lnTo>
                  <a:lnTo>
                    <a:pt x="9549" y="8108"/>
                  </a:lnTo>
                  <a:cubicBezTo>
                    <a:pt x="9549" y="8228"/>
                    <a:pt x="9489" y="8335"/>
                    <a:pt x="9394" y="8382"/>
                  </a:cubicBezTo>
                  <a:lnTo>
                    <a:pt x="7096" y="9704"/>
                  </a:lnTo>
                  <a:cubicBezTo>
                    <a:pt x="7025" y="9752"/>
                    <a:pt x="6989" y="9847"/>
                    <a:pt x="7037" y="9942"/>
                  </a:cubicBezTo>
                  <a:cubicBezTo>
                    <a:pt x="7069" y="9991"/>
                    <a:pt x="7130" y="10023"/>
                    <a:pt x="7192" y="10023"/>
                  </a:cubicBezTo>
                  <a:cubicBezTo>
                    <a:pt x="7220" y="10023"/>
                    <a:pt x="7249" y="10017"/>
                    <a:pt x="7275" y="10002"/>
                  </a:cubicBezTo>
                  <a:lnTo>
                    <a:pt x="9573" y="8680"/>
                  </a:lnTo>
                  <a:cubicBezTo>
                    <a:pt x="9775" y="8561"/>
                    <a:pt x="9894" y="8347"/>
                    <a:pt x="9894" y="8108"/>
                  </a:cubicBezTo>
                  <a:lnTo>
                    <a:pt x="9894" y="3215"/>
                  </a:lnTo>
                  <a:cubicBezTo>
                    <a:pt x="9882" y="3060"/>
                    <a:pt x="9847" y="2929"/>
                    <a:pt x="9775" y="2810"/>
                  </a:cubicBezTo>
                  <a:cubicBezTo>
                    <a:pt x="9704" y="2691"/>
                    <a:pt x="9608" y="2608"/>
                    <a:pt x="9489" y="2524"/>
                  </a:cubicBezTo>
                  <a:lnTo>
                    <a:pt x="5263" y="84"/>
                  </a:lnTo>
                  <a:cubicBezTo>
                    <a:pt x="5167" y="24"/>
                    <a:pt x="5048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5" name="Google Shape;12195;p62"/>
            <p:cNvSpPr/>
            <p:nvPr/>
          </p:nvSpPr>
          <p:spPr>
            <a:xfrm>
              <a:off x="4017435" y="1522302"/>
              <a:ext cx="121591" cy="207114"/>
            </a:xfrm>
            <a:custGeom>
              <a:avLst/>
              <a:gdLst/>
              <a:ahLst/>
              <a:cxnLst/>
              <a:rect l="l" t="t" r="r" b="b"/>
              <a:pathLst>
                <a:path w="3823" h="6512" extrusionOk="0">
                  <a:moveTo>
                    <a:pt x="3552" y="1"/>
                  </a:moveTo>
                  <a:cubicBezTo>
                    <a:pt x="3525" y="1"/>
                    <a:pt x="3499" y="8"/>
                    <a:pt x="3477" y="23"/>
                  </a:cubicBezTo>
                  <a:lnTo>
                    <a:pt x="429" y="1809"/>
                  </a:lnTo>
                  <a:cubicBezTo>
                    <a:pt x="298" y="1880"/>
                    <a:pt x="191" y="1987"/>
                    <a:pt x="119" y="2118"/>
                  </a:cubicBezTo>
                  <a:cubicBezTo>
                    <a:pt x="36" y="2261"/>
                    <a:pt x="0" y="2404"/>
                    <a:pt x="0" y="2559"/>
                  </a:cubicBezTo>
                  <a:lnTo>
                    <a:pt x="0" y="6345"/>
                  </a:lnTo>
                  <a:cubicBezTo>
                    <a:pt x="0" y="6440"/>
                    <a:pt x="72" y="6512"/>
                    <a:pt x="155" y="6512"/>
                  </a:cubicBezTo>
                  <a:cubicBezTo>
                    <a:pt x="250" y="6512"/>
                    <a:pt x="322" y="6440"/>
                    <a:pt x="322" y="6345"/>
                  </a:cubicBezTo>
                  <a:lnTo>
                    <a:pt x="322" y="2559"/>
                  </a:lnTo>
                  <a:lnTo>
                    <a:pt x="322" y="2511"/>
                  </a:lnTo>
                  <a:lnTo>
                    <a:pt x="322" y="2487"/>
                  </a:lnTo>
                  <a:lnTo>
                    <a:pt x="322" y="2451"/>
                  </a:lnTo>
                  <a:lnTo>
                    <a:pt x="3524" y="4273"/>
                  </a:lnTo>
                  <a:cubicBezTo>
                    <a:pt x="3550" y="4290"/>
                    <a:pt x="3580" y="4298"/>
                    <a:pt x="3610" y="4298"/>
                  </a:cubicBezTo>
                  <a:cubicBezTo>
                    <a:pt x="3664" y="4298"/>
                    <a:pt x="3720" y="4272"/>
                    <a:pt x="3751" y="4226"/>
                  </a:cubicBezTo>
                  <a:cubicBezTo>
                    <a:pt x="3822" y="4130"/>
                    <a:pt x="3810" y="4023"/>
                    <a:pt x="3715" y="3987"/>
                  </a:cubicBezTo>
                  <a:lnTo>
                    <a:pt x="512" y="2154"/>
                  </a:lnTo>
                  <a:cubicBezTo>
                    <a:pt x="548" y="2142"/>
                    <a:pt x="560" y="2106"/>
                    <a:pt x="595" y="2094"/>
                  </a:cubicBezTo>
                  <a:lnTo>
                    <a:pt x="3643" y="320"/>
                  </a:lnTo>
                  <a:cubicBezTo>
                    <a:pt x="3715" y="273"/>
                    <a:pt x="3751" y="177"/>
                    <a:pt x="3703" y="82"/>
                  </a:cubicBezTo>
                  <a:cubicBezTo>
                    <a:pt x="3670" y="33"/>
                    <a:pt x="3610" y="1"/>
                    <a:pt x="35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6" name="Google Shape;12196;p62"/>
          <p:cNvGrpSpPr/>
          <p:nvPr/>
        </p:nvGrpSpPr>
        <p:grpSpPr>
          <a:xfrm>
            <a:off x="3963652" y="1999759"/>
            <a:ext cx="374154" cy="284050"/>
            <a:chOff x="3963652" y="1999759"/>
            <a:chExt cx="374154" cy="284050"/>
          </a:xfrm>
        </p:grpSpPr>
        <p:sp>
          <p:nvSpPr>
            <p:cNvPr id="12197" name="Google Shape;12197;p62"/>
            <p:cNvSpPr/>
            <p:nvPr/>
          </p:nvSpPr>
          <p:spPr>
            <a:xfrm>
              <a:off x="4123441" y="2104652"/>
              <a:ext cx="214366" cy="179158"/>
            </a:xfrm>
            <a:custGeom>
              <a:avLst/>
              <a:gdLst/>
              <a:ahLst/>
              <a:cxnLst/>
              <a:rect l="l" t="t" r="r" b="b"/>
              <a:pathLst>
                <a:path w="6740" h="5633" extrusionOk="0">
                  <a:moveTo>
                    <a:pt x="6573" y="1"/>
                  </a:moveTo>
                  <a:cubicBezTo>
                    <a:pt x="6490" y="1"/>
                    <a:pt x="6395" y="84"/>
                    <a:pt x="6395" y="179"/>
                  </a:cubicBezTo>
                  <a:lnTo>
                    <a:pt x="6395" y="5275"/>
                  </a:lnTo>
                  <a:lnTo>
                    <a:pt x="180" y="5275"/>
                  </a:lnTo>
                  <a:cubicBezTo>
                    <a:pt x="84" y="5275"/>
                    <a:pt x="1" y="5346"/>
                    <a:pt x="1" y="5454"/>
                  </a:cubicBezTo>
                  <a:cubicBezTo>
                    <a:pt x="1" y="5549"/>
                    <a:pt x="72" y="5632"/>
                    <a:pt x="180" y="5632"/>
                  </a:cubicBezTo>
                  <a:lnTo>
                    <a:pt x="6561" y="5632"/>
                  </a:lnTo>
                  <a:cubicBezTo>
                    <a:pt x="6645" y="5632"/>
                    <a:pt x="6740" y="5549"/>
                    <a:pt x="6740" y="5454"/>
                  </a:cubicBezTo>
                  <a:lnTo>
                    <a:pt x="6740" y="179"/>
                  </a:lnTo>
                  <a:cubicBezTo>
                    <a:pt x="6740" y="84"/>
                    <a:pt x="6668" y="1"/>
                    <a:pt x="6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8" name="Google Shape;12198;p62"/>
            <p:cNvSpPr/>
            <p:nvPr/>
          </p:nvSpPr>
          <p:spPr>
            <a:xfrm>
              <a:off x="3963652" y="1999759"/>
              <a:ext cx="374154" cy="283669"/>
            </a:xfrm>
            <a:custGeom>
              <a:avLst/>
              <a:gdLst/>
              <a:ahLst/>
              <a:cxnLst/>
              <a:rect l="l" t="t" r="r" b="b"/>
              <a:pathLst>
                <a:path w="11764" h="8919" extrusionOk="0">
                  <a:moveTo>
                    <a:pt x="1036" y="1"/>
                  </a:moveTo>
                  <a:cubicBezTo>
                    <a:pt x="465" y="1"/>
                    <a:pt x="0" y="465"/>
                    <a:pt x="0" y="1024"/>
                  </a:cubicBezTo>
                  <a:lnTo>
                    <a:pt x="0" y="7847"/>
                  </a:lnTo>
                  <a:cubicBezTo>
                    <a:pt x="0" y="8418"/>
                    <a:pt x="477" y="8918"/>
                    <a:pt x="1072" y="8918"/>
                  </a:cubicBezTo>
                  <a:lnTo>
                    <a:pt x="4513" y="8918"/>
                  </a:lnTo>
                  <a:cubicBezTo>
                    <a:pt x="4608" y="8918"/>
                    <a:pt x="4692" y="8835"/>
                    <a:pt x="4692" y="8740"/>
                  </a:cubicBezTo>
                  <a:cubicBezTo>
                    <a:pt x="4692" y="8644"/>
                    <a:pt x="4620" y="8561"/>
                    <a:pt x="4513" y="8561"/>
                  </a:cubicBezTo>
                  <a:lnTo>
                    <a:pt x="1072" y="8561"/>
                  </a:lnTo>
                  <a:cubicBezTo>
                    <a:pt x="679" y="8561"/>
                    <a:pt x="358" y="8228"/>
                    <a:pt x="358" y="7847"/>
                  </a:cubicBezTo>
                  <a:lnTo>
                    <a:pt x="358" y="7799"/>
                  </a:lnTo>
                  <a:lnTo>
                    <a:pt x="358" y="7763"/>
                  </a:lnTo>
                  <a:cubicBezTo>
                    <a:pt x="405" y="7430"/>
                    <a:pt x="691" y="7168"/>
                    <a:pt x="1036" y="7168"/>
                  </a:cubicBezTo>
                  <a:lnTo>
                    <a:pt x="1358" y="7168"/>
                  </a:lnTo>
                  <a:cubicBezTo>
                    <a:pt x="1453" y="7168"/>
                    <a:pt x="1536" y="7097"/>
                    <a:pt x="1536" y="6990"/>
                  </a:cubicBezTo>
                  <a:cubicBezTo>
                    <a:pt x="1536" y="6906"/>
                    <a:pt x="1465" y="6811"/>
                    <a:pt x="1358" y="6811"/>
                  </a:cubicBezTo>
                  <a:cubicBezTo>
                    <a:pt x="1335" y="6814"/>
                    <a:pt x="1309" y="6815"/>
                    <a:pt x="1278" y="6815"/>
                  </a:cubicBezTo>
                  <a:cubicBezTo>
                    <a:pt x="1232" y="6815"/>
                    <a:pt x="1177" y="6813"/>
                    <a:pt x="1116" y="6813"/>
                  </a:cubicBezTo>
                  <a:cubicBezTo>
                    <a:pt x="905" y="6813"/>
                    <a:pt x="620" y="6839"/>
                    <a:pt x="346" y="7073"/>
                  </a:cubicBezTo>
                  <a:lnTo>
                    <a:pt x="346" y="1013"/>
                  </a:lnTo>
                  <a:cubicBezTo>
                    <a:pt x="346" y="643"/>
                    <a:pt x="655" y="322"/>
                    <a:pt x="1036" y="322"/>
                  </a:cubicBezTo>
                  <a:lnTo>
                    <a:pt x="2465" y="322"/>
                  </a:lnTo>
                  <a:lnTo>
                    <a:pt x="2465" y="6811"/>
                  </a:lnTo>
                  <a:lnTo>
                    <a:pt x="2048" y="6811"/>
                  </a:lnTo>
                  <a:cubicBezTo>
                    <a:pt x="1953" y="6811"/>
                    <a:pt x="1870" y="6894"/>
                    <a:pt x="1870" y="6990"/>
                  </a:cubicBezTo>
                  <a:cubicBezTo>
                    <a:pt x="1870" y="7085"/>
                    <a:pt x="1941" y="7168"/>
                    <a:pt x="2048" y="7168"/>
                  </a:cubicBezTo>
                  <a:lnTo>
                    <a:pt x="2620" y="7168"/>
                  </a:lnTo>
                  <a:cubicBezTo>
                    <a:pt x="2715" y="7168"/>
                    <a:pt x="2798" y="7097"/>
                    <a:pt x="2798" y="6990"/>
                  </a:cubicBezTo>
                  <a:lnTo>
                    <a:pt x="2798" y="1191"/>
                  </a:lnTo>
                  <a:lnTo>
                    <a:pt x="11407" y="1191"/>
                  </a:lnTo>
                  <a:lnTo>
                    <a:pt x="11407" y="2763"/>
                  </a:lnTo>
                  <a:cubicBezTo>
                    <a:pt x="11407" y="2858"/>
                    <a:pt x="11478" y="2941"/>
                    <a:pt x="11585" y="2941"/>
                  </a:cubicBezTo>
                  <a:cubicBezTo>
                    <a:pt x="11669" y="2941"/>
                    <a:pt x="11764" y="2870"/>
                    <a:pt x="11764" y="2763"/>
                  </a:cubicBezTo>
                  <a:lnTo>
                    <a:pt x="11764" y="1024"/>
                  </a:lnTo>
                  <a:cubicBezTo>
                    <a:pt x="11764" y="941"/>
                    <a:pt x="11692" y="858"/>
                    <a:pt x="11597" y="858"/>
                  </a:cubicBezTo>
                  <a:lnTo>
                    <a:pt x="2822" y="858"/>
                  </a:lnTo>
                  <a:lnTo>
                    <a:pt x="2822" y="179"/>
                  </a:lnTo>
                  <a:cubicBezTo>
                    <a:pt x="2822" y="84"/>
                    <a:pt x="2739" y="1"/>
                    <a:pt x="2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9" name="Google Shape;12199;p62"/>
            <p:cNvSpPr/>
            <p:nvPr/>
          </p:nvSpPr>
          <p:spPr>
            <a:xfrm>
              <a:off x="4069309" y="2061874"/>
              <a:ext cx="234435" cy="182911"/>
            </a:xfrm>
            <a:custGeom>
              <a:avLst/>
              <a:gdLst/>
              <a:ahLst/>
              <a:cxnLst/>
              <a:rect l="l" t="t" r="r" b="b"/>
              <a:pathLst>
                <a:path w="7371" h="5751" extrusionOk="0">
                  <a:moveTo>
                    <a:pt x="5477" y="357"/>
                  </a:moveTo>
                  <a:lnTo>
                    <a:pt x="5477" y="1631"/>
                  </a:lnTo>
                  <a:lnTo>
                    <a:pt x="3013" y="1631"/>
                  </a:lnTo>
                  <a:lnTo>
                    <a:pt x="3013" y="357"/>
                  </a:lnTo>
                  <a:close/>
                  <a:moveTo>
                    <a:pt x="2667" y="3036"/>
                  </a:moveTo>
                  <a:lnTo>
                    <a:pt x="2667" y="5394"/>
                  </a:lnTo>
                  <a:lnTo>
                    <a:pt x="1643" y="5394"/>
                  </a:lnTo>
                  <a:cubicBezTo>
                    <a:pt x="929" y="5394"/>
                    <a:pt x="358" y="4822"/>
                    <a:pt x="358" y="4120"/>
                  </a:cubicBezTo>
                  <a:lnTo>
                    <a:pt x="358" y="3036"/>
                  </a:lnTo>
                  <a:close/>
                  <a:moveTo>
                    <a:pt x="7013" y="334"/>
                  </a:moveTo>
                  <a:lnTo>
                    <a:pt x="7013" y="5394"/>
                  </a:lnTo>
                  <a:lnTo>
                    <a:pt x="3013" y="5394"/>
                  </a:lnTo>
                  <a:lnTo>
                    <a:pt x="3013" y="1977"/>
                  </a:lnTo>
                  <a:lnTo>
                    <a:pt x="5656" y="1977"/>
                  </a:lnTo>
                  <a:cubicBezTo>
                    <a:pt x="5751" y="1977"/>
                    <a:pt x="5834" y="1905"/>
                    <a:pt x="5834" y="1798"/>
                  </a:cubicBezTo>
                  <a:lnTo>
                    <a:pt x="5834" y="334"/>
                  </a:lnTo>
                  <a:close/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lnTo>
                    <a:pt x="0" y="4120"/>
                  </a:lnTo>
                  <a:cubicBezTo>
                    <a:pt x="0" y="5025"/>
                    <a:pt x="727" y="5751"/>
                    <a:pt x="1643" y="5751"/>
                  </a:cubicBezTo>
                  <a:lnTo>
                    <a:pt x="7192" y="5751"/>
                  </a:lnTo>
                  <a:cubicBezTo>
                    <a:pt x="7275" y="5751"/>
                    <a:pt x="7370" y="5679"/>
                    <a:pt x="7370" y="5572"/>
                  </a:cubicBezTo>
                  <a:lnTo>
                    <a:pt x="7370" y="179"/>
                  </a:lnTo>
                  <a:cubicBezTo>
                    <a:pt x="7358" y="72"/>
                    <a:pt x="7275" y="0"/>
                    <a:pt x="7192" y="0"/>
                  </a:cubicBezTo>
                  <a:lnTo>
                    <a:pt x="2024" y="0"/>
                  </a:lnTo>
                  <a:cubicBezTo>
                    <a:pt x="1941" y="0"/>
                    <a:pt x="1846" y="72"/>
                    <a:pt x="1846" y="179"/>
                  </a:cubicBezTo>
                  <a:cubicBezTo>
                    <a:pt x="1846" y="262"/>
                    <a:pt x="1917" y="357"/>
                    <a:pt x="2024" y="357"/>
                  </a:cubicBezTo>
                  <a:lnTo>
                    <a:pt x="2667" y="357"/>
                  </a:lnTo>
                  <a:lnTo>
                    <a:pt x="2667" y="2691"/>
                  </a:lnTo>
                  <a:lnTo>
                    <a:pt x="358" y="2691"/>
                  </a:lnTo>
                  <a:lnTo>
                    <a:pt x="358" y="357"/>
                  </a:lnTo>
                  <a:lnTo>
                    <a:pt x="1322" y="357"/>
                  </a:lnTo>
                  <a:cubicBezTo>
                    <a:pt x="1417" y="357"/>
                    <a:pt x="1501" y="274"/>
                    <a:pt x="1501" y="179"/>
                  </a:cubicBezTo>
                  <a:cubicBezTo>
                    <a:pt x="1501" y="84"/>
                    <a:pt x="1429" y="0"/>
                    <a:pt x="1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00" name="Google Shape;12200;p62"/>
          <p:cNvGrpSpPr/>
          <p:nvPr/>
        </p:nvGrpSpPr>
        <p:grpSpPr>
          <a:xfrm>
            <a:off x="1777536" y="2014866"/>
            <a:ext cx="376444" cy="253772"/>
            <a:chOff x="1777536" y="2014866"/>
            <a:chExt cx="376444" cy="253772"/>
          </a:xfrm>
        </p:grpSpPr>
        <p:sp>
          <p:nvSpPr>
            <p:cNvPr id="12201" name="Google Shape;12201;p62"/>
            <p:cNvSpPr/>
            <p:nvPr/>
          </p:nvSpPr>
          <p:spPr>
            <a:xfrm>
              <a:off x="1777536" y="2178503"/>
              <a:ext cx="376444" cy="90135"/>
            </a:xfrm>
            <a:custGeom>
              <a:avLst/>
              <a:gdLst/>
              <a:ahLst/>
              <a:cxnLst/>
              <a:rect l="l" t="t" r="r" b="b"/>
              <a:pathLst>
                <a:path w="11836" h="2834" extrusionOk="0">
                  <a:moveTo>
                    <a:pt x="11431" y="357"/>
                  </a:moveTo>
                  <a:lnTo>
                    <a:pt x="11431" y="2489"/>
                  </a:lnTo>
                  <a:lnTo>
                    <a:pt x="10966" y="2489"/>
                  </a:lnTo>
                  <a:lnTo>
                    <a:pt x="10966" y="357"/>
                  </a:lnTo>
                  <a:close/>
                  <a:moveTo>
                    <a:pt x="10966" y="0"/>
                  </a:moveTo>
                  <a:cubicBezTo>
                    <a:pt x="10764" y="0"/>
                    <a:pt x="10621" y="167"/>
                    <a:pt x="10621" y="346"/>
                  </a:cubicBezTo>
                  <a:lnTo>
                    <a:pt x="10621" y="738"/>
                  </a:lnTo>
                  <a:lnTo>
                    <a:pt x="5525" y="738"/>
                  </a:lnTo>
                  <a:lnTo>
                    <a:pt x="5525" y="631"/>
                  </a:lnTo>
                  <a:cubicBezTo>
                    <a:pt x="5525" y="536"/>
                    <a:pt x="5454" y="453"/>
                    <a:pt x="5359" y="453"/>
                  </a:cubicBezTo>
                  <a:cubicBezTo>
                    <a:pt x="5251" y="453"/>
                    <a:pt x="5180" y="524"/>
                    <a:pt x="5180" y="631"/>
                  </a:cubicBezTo>
                  <a:lnTo>
                    <a:pt x="5180" y="738"/>
                  </a:lnTo>
                  <a:lnTo>
                    <a:pt x="5180" y="2227"/>
                  </a:lnTo>
                  <a:cubicBezTo>
                    <a:pt x="5180" y="2370"/>
                    <a:pt x="5061" y="2489"/>
                    <a:pt x="4906" y="2489"/>
                  </a:cubicBezTo>
                  <a:lnTo>
                    <a:pt x="620" y="2489"/>
                  </a:lnTo>
                  <a:cubicBezTo>
                    <a:pt x="465" y="2489"/>
                    <a:pt x="346" y="2370"/>
                    <a:pt x="346" y="2227"/>
                  </a:cubicBezTo>
                  <a:lnTo>
                    <a:pt x="346" y="1370"/>
                  </a:lnTo>
                  <a:cubicBezTo>
                    <a:pt x="346" y="1286"/>
                    <a:pt x="275" y="1191"/>
                    <a:pt x="167" y="1191"/>
                  </a:cubicBezTo>
                  <a:cubicBezTo>
                    <a:pt x="84" y="1191"/>
                    <a:pt x="1" y="1274"/>
                    <a:pt x="1" y="1370"/>
                  </a:cubicBezTo>
                  <a:lnTo>
                    <a:pt x="1" y="2227"/>
                  </a:lnTo>
                  <a:cubicBezTo>
                    <a:pt x="1" y="2560"/>
                    <a:pt x="275" y="2834"/>
                    <a:pt x="608" y="2834"/>
                  </a:cubicBezTo>
                  <a:lnTo>
                    <a:pt x="6144" y="2834"/>
                  </a:lnTo>
                  <a:cubicBezTo>
                    <a:pt x="6228" y="2834"/>
                    <a:pt x="6323" y="2763"/>
                    <a:pt x="6323" y="2655"/>
                  </a:cubicBezTo>
                  <a:cubicBezTo>
                    <a:pt x="6323" y="2548"/>
                    <a:pt x="6251" y="2477"/>
                    <a:pt x="6144" y="2477"/>
                  </a:cubicBezTo>
                  <a:lnTo>
                    <a:pt x="5454" y="2477"/>
                  </a:lnTo>
                  <a:cubicBezTo>
                    <a:pt x="5561" y="2251"/>
                    <a:pt x="5501" y="2143"/>
                    <a:pt x="5513" y="1072"/>
                  </a:cubicBezTo>
                  <a:lnTo>
                    <a:pt x="5728" y="1072"/>
                  </a:lnTo>
                  <a:lnTo>
                    <a:pt x="5728" y="1465"/>
                  </a:lnTo>
                  <a:cubicBezTo>
                    <a:pt x="5728" y="1548"/>
                    <a:pt x="5799" y="1643"/>
                    <a:pt x="5906" y="1643"/>
                  </a:cubicBezTo>
                  <a:cubicBezTo>
                    <a:pt x="6001" y="1643"/>
                    <a:pt x="6085" y="1572"/>
                    <a:pt x="6085" y="1465"/>
                  </a:cubicBezTo>
                  <a:lnTo>
                    <a:pt x="6085" y="1072"/>
                  </a:lnTo>
                  <a:lnTo>
                    <a:pt x="6275" y="1072"/>
                  </a:lnTo>
                  <a:lnTo>
                    <a:pt x="6275" y="1941"/>
                  </a:lnTo>
                  <a:cubicBezTo>
                    <a:pt x="6275" y="2024"/>
                    <a:pt x="6347" y="2120"/>
                    <a:pt x="6454" y="2120"/>
                  </a:cubicBezTo>
                  <a:cubicBezTo>
                    <a:pt x="6561" y="2120"/>
                    <a:pt x="6632" y="2048"/>
                    <a:pt x="6632" y="1941"/>
                  </a:cubicBezTo>
                  <a:lnTo>
                    <a:pt x="6632" y="1072"/>
                  </a:lnTo>
                  <a:lnTo>
                    <a:pt x="6823" y="1072"/>
                  </a:lnTo>
                  <a:lnTo>
                    <a:pt x="6823" y="1465"/>
                  </a:lnTo>
                  <a:cubicBezTo>
                    <a:pt x="6823" y="1548"/>
                    <a:pt x="6894" y="1643"/>
                    <a:pt x="7002" y="1643"/>
                  </a:cubicBezTo>
                  <a:cubicBezTo>
                    <a:pt x="7109" y="1643"/>
                    <a:pt x="7180" y="1572"/>
                    <a:pt x="7180" y="1465"/>
                  </a:cubicBezTo>
                  <a:lnTo>
                    <a:pt x="7180" y="1072"/>
                  </a:lnTo>
                  <a:lnTo>
                    <a:pt x="7371" y="1072"/>
                  </a:lnTo>
                  <a:lnTo>
                    <a:pt x="7371" y="1465"/>
                  </a:lnTo>
                  <a:cubicBezTo>
                    <a:pt x="7371" y="1548"/>
                    <a:pt x="7454" y="1643"/>
                    <a:pt x="7549" y="1643"/>
                  </a:cubicBezTo>
                  <a:cubicBezTo>
                    <a:pt x="7656" y="1643"/>
                    <a:pt x="7728" y="1572"/>
                    <a:pt x="7728" y="1465"/>
                  </a:cubicBezTo>
                  <a:lnTo>
                    <a:pt x="7728" y="1072"/>
                  </a:lnTo>
                  <a:lnTo>
                    <a:pt x="7930" y="1072"/>
                  </a:lnTo>
                  <a:lnTo>
                    <a:pt x="7930" y="1465"/>
                  </a:lnTo>
                  <a:cubicBezTo>
                    <a:pt x="7930" y="1548"/>
                    <a:pt x="8002" y="1643"/>
                    <a:pt x="8109" y="1643"/>
                  </a:cubicBezTo>
                  <a:cubicBezTo>
                    <a:pt x="8192" y="1643"/>
                    <a:pt x="8287" y="1572"/>
                    <a:pt x="8287" y="1465"/>
                  </a:cubicBezTo>
                  <a:lnTo>
                    <a:pt x="8287" y="1072"/>
                  </a:lnTo>
                  <a:lnTo>
                    <a:pt x="8478" y="1072"/>
                  </a:lnTo>
                  <a:lnTo>
                    <a:pt x="8478" y="1941"/>
                  </a:lnTo>
                  <a:cubicBezTo>
                    <a:pt x="8478" y="2024"/>
                    <a:pt x="8549" y="2120"/>
                    <a:pt x="8657" y="2120"/>
                  </a:cubicBezTo>
                  <a:cubicBezTo>
                    <a:pt x="8764" y="2120"/>
                    <a:pt x="8835" y="2048"/>
                    <a:pt x="8835" y="1941"/>
                  </a:cubicBezTo>
                  <a:lnTo>
                    <a:pt x="8835" y="1072"/>
                  </a:lnTo>
                  <a:lnTo>
                    <a:pt x="9026" y="1072"/>
                  </a:lnTo>
                  <a:lnTo>
                    <a:pt x="9026" y="1465"/>
                  </a:lnTo>
                  <a:cubicBezTo>
                    <a:pt x="9026" y="1548"/>
                    <a:pt x="9097" y="1643"/>
                    <a:pt x="9204" y="1643"/>
                  </a:cubicBezTo>
                  <a:cubicBezTo>
                    <a:pt x="9311" y="1643"/>
                    <a:pt x="9383" y="1572"/>
                    <a:pt x="9383" y="1465"/>
                  </a:cubicBezTo>
                  <a:lnTo>
                    <a:pt x="9383" y="1072"/>
                  </a:lnTo>
                  <a:lnTo>
                    <a:pt x="9573" y="1072"/>
                  </a:lnTo>
                  <a:lnTo>
                    <a:pt x="9573" y="1465"/>
                  </a:lnTo>
                  <a:cubicBezTo>
                    <a:pt x="9573" y="1548"/>
                    <a:pt x="9657" y="1643"/>
                    <a:pt x="9752" y="1643"/>
                  </a:cubicBezTo>
                  <a:cubicBezTo>
                    <a:pt x="9859" y="1643"/>
                    <a:pt x="9931" y="1572"/>
                    <a:pt x="9931" y="1465"/>
                  </a:cubicBezTo>
                  <a:lnTo>
                    <a:pt x="9931" y="1072"/>
                  </a:lnTo>
                  <a:lnTo>
                    <a:pt x="10133" y="1072"/>
                  </a:lnTo>
                  <a:lnTo>
                    <a:pt x="10133" y="1465"/>
                  </a:lnTo>
                  <a:cubicBezTo>
                    <a:pt x="10133" y="1548"/>
                    <a:pt x="10204" y="1643"/>
                    <a:pt x="10312" y="1643"/>
                  </a:cubicBezTo>
                  <a:cubicBezTo>
                    <a:pt x="10407" y="1643"/>
                    <a:pt x="10490" y="1572"/>
                    <a:pt x="10490" y="1465"/>
                  </a:cubicBezTo>
                  <a:lnTo>
                    <a:pt x="10490" y="1072"/>
                  </a:lnTo>
                  <a:lnTo>
                    <a:pt x="10693" y="1072"/>
                  </a:lnTo>
                  <a:lnTo>
                    <a:pt x="10693" y="2477"/>
                  </a:lnTo>
                  <a:lnTo>
                    <a:pt x="6930" y="2477"/>
                  </a:lnTo>
                  <a:cubicBezTo>
                    <a:pt x="6835" y="2477"/>
                    <a:pt x="6752" y="2548"/>
                    <a:pt x="6752" y="2655"/>
                  </a:cubicBezTo>
                  <a:cubicBezTo>
                    <a:pt x="6752" y="2763"/>
                    <a:pt x="6823" y="2834"/>
                    <a:pt x="6930" y="2834"/>
                  </a:cubicBezTo>
                  <a:lnTo>
                    <a:pt x="11502" y="2834"/>
                  </a:lnTo>
                  <a:cubicBezTo>
                    <a:pt x="11693" y="2834"/>
                    <a:pt x="11836" y="2667"/>
                    <a:pt x="11836" y="2489"/>
                  </a:cubicBezTo>
                  <a:lnTo>
                    <a:pt x="11836" y="357"/>
                  </a:lnTo>
                  <a:cubicBezTo>
                    <a:pt x="11764" y="155"/>
                    <a:pt x="11621" y="0"/>
                    <a:pt x="114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2" name="Google Shape;12202;p62"/>
            <p:cNvSpPr/>
            <p:nvPr/>
          </p:nvSpPr>
          <p:spPr>
            <a:xfrm>
              <a:off x="1859338" y="2014866"/>
              <a:ext cx="107565" cy="167072"/>
            </a:xfrm>
            <a:custGeom>
              <a:avLst/>
              <a:gdLst/>
              <a:ahLst/>
              <a:cxnLst/>
              <a:rect l="l" t="t" r="r" b="b"/>
              <a:pathLst>
                <a:path w="3382" h="5253" extrusionOk="0">
                  <a:moveTo>
                    <a:pt x="1434" y="0"/>
                  </a:moveTo>
                  <a:cubicBezTo>
                    <a:pt x="1356" y="0"/>
                    <a:pt x="1274" y="67"/>
                    <a:pt x="1263" y="145"/>
                  </a:cubicBezTo>
                  <a:cubicBezTo>
                    <a:pt x="1251" y="240"/>
                    <a:pt x="1322" y="323"/>
                    <a:pt x="1417" y="347"/>
                  </a:cubicBezTo>
                  <a:cubicBezTo>
                    <a:pt x="1453" y="347"/>
                    <a:pt x="1501" y="359"/>
                    <a:pt x="1536" y="371"/>
                  </a:cubicBezTo>
                  <a:cubicBezTo>
                    <a:pt x="2465" y="728"/>
                    <a:pt x="2917" y="1454"/>
                    <a:pt x="2917" y="1776"/>
                  </a:cubicBezTo>
                  <a:cubicBezTo>
                    <a:pt x="2917" y="1931"/>
                    <a:pt x="2822" y="2097"/>
                    <a:pt x="2691" y="2193"/>
                  </a:cubicBezTo>
                  <a:cubicBezTo>
                    <a:pt x="2346" y="1454"/>
                    <a:pt x="1691" y="895"/>
                    <a:pt x="905" y="680"/>
                  </a:cubicBezTo>
                  <a:cubicBezTo>
                    <a:pt x="917" y="645"/>
                    <a:pt x="941" y="597"/>
                    <a:pt x="965" y="561"/>
                  </a:cubicBezTo>
                  <a:cubicBezTo>
                    <a:pt x="1024" y="490"/>
                    <a:pt x="1012" y="371"/>
                    <a:pt x="917" y="323"/>
                  </a:cubicBezTo>
                  <a:cubicBezTo>
                    <a:pt x="888" y="299"/>
                    <a:pt x="852" y="287"/>
                    <a:pt x="815" y="287"/>
                  </a:cubicBezTo>
                  <a:cubicBezTo>
                    <a:pt x="761" y="287"/>
                    <a:pt x="708" y="314"/>
                    <a:pt x="679" y="371"/>
                  </a:cubicBezTo>
                  <a:cubicBezTo>
                    <a:pt x="620" y="442"/>
                    <a:pt x="572" y="538"/>
                    <a:pt x="560" y="621"/>
                  </a:cubicBezTo>
                  <a:cubicBezTo>
                    <a:pt x="370" y="597"/>
                    <a:pt x="179" y="597"/>
                    <a:pt x="179" y="597"/>
                  </a:cubicBezTo>
                  <a:cubicBezTo>
                    <a:pt x="84" y="597"/>
                    <a:pt x="0" y="669"/>
                    <a:pt x="0" y="776"/>
                  </a:cubicBezTo>
                  <a:cubicBezTo>
                    <a:pt x="0" y="859"/>
                    <a:pt x="72" y="954"/>
                    <a:pt x="179" y="954"/>
                  </a:cubicBezTo>
                  <a:cubicBezTo>
                    <a:pt x="179" y="954"/>
                    <a:pt x="322" y="954"/>
                    <a:pt x="536" y="978"/>
                  </a:cubicBezTo>
                  <a:cubicBezTo>
                    <a:pt x="1691" y="1145"/>
                    <a:pt x="2596" y="2157"/>
                    <a:pt x="2596" y="3359"/>
                  </a:cubicBezTo>
                  <a:lnTo>
                    <a:pt x="2596" y="5074"/>
                  </a:lnTo>
                  <a:cubicBezTo>
                    <a:pt x="2596" y="5169"/>
                    <a:pt x="2679" y="5252"/>
                    <a:pt x="2775" y="5252"/>
                  </a:cubicBezTo>
                  <a:cubicBezTo>
                    <a:pt x="2882" y="5252"/>
                    <a:pt x="2953" y="5181"/>
                    <a:pt x="2953" y="5074"/>
                  </a:cubicBezTo>
                  <a:cubicBezTo>
                    <a:pt x="2929" y="3514"/>
                    <a:pt x="3037" y="3145"/>
                    <a:pt x="2822" y="2502"/>
                  </a:cubicBezTo>
                  <a:cubicBezTo>
                    <a:pt x="3203" y="2312"/>
                    <a:pt x="3382" y="1847"/>
                    <a:pt x="3203" y="1442"/>
                  </a:cubicBezTo>
                  <a:cubicBezTo>
                    <a:pt x="2941" y="835"/>
                    <a:pt x="2394" y="323"/>
                    <a:pt x="1667" y="49"/>
                  </a:cubicBezTo>
                  <a:cubicBezTo>
                    <a:pt x="1596" y="14"/>
                    <a:pt x="1513" y="2"/>
                    <a:pt x="1453" y="2"/>
                  </a:cubicBezTo>
                  <a:cubicBezTo>
                    <a:pt x="1447" y="1"/>
                    <a:pt x="1441" y="0"/>
                    <a:pt x="14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3" name="Google Shape;12203;p62"/>
            <p:cNvSpPr/>
            <p:nvPr/>
          </p:nvSpPr>
          <p:spPr>
            <a:xfrm>
              <a:off x="1777536" y="2036335"/>
              <a:ext cx="71243" cy="169457"/>
            </a:xfrm>
            <a:custGeom>
              <a:avLst/>
              <a:gdLst/>
              <a:ahLst/>
              <a:cxnLst/>
              <a:rect l="l" t="t" r="r" b="b"/>
              <a:pathLst>
                <a:path w="2240" h="5328" extrusionOk="0">
                  <a:moveTo>
                    <a:pt x="2048" y="0"/>
                  </a:moveTo>
                  <a:cubicBezTo>
                    <a:pt x="2033" y="0"/>
                    <a:pt x="2017" y="2"/>
                    <a:pt x="2001" y="5"/>
                  </a:cubicBezTo>
                  <a:cubicBezTo>
                    <a:pt x="834" y="351"/>
                    <a:pt x="1" y="1434"/>
                    <a:pt x="1" y="2661"/>
                  </a:cubicBezTo>
                  <a:lnTo>
                    <a:pt x="1" y="5149"/>
                  </a:lnTo>
                  <a:cubicBezTo>
                    <a:pt x="1" y="5232"/>
                    <a:pt x="72" y="5328"/>
                    <a:pt x="179" y="5328"/>
                  </a:cubicBezTo>
                  <a:cubicBezTo>
                    <a:pt x="263" y="5328"/>
                    <a:pt x="358" y="5244"/>
                    <a:pt x="358" y="5149"/>
                  </a:cubicBezTo>
                  <a:lnTo>
                    <a:pt x="358" y="2661"/>
                  </a:lnTo>
                  <a:cubicBezTo>
                    <a:pt x="358" y="1589"/>
                    <a:pt x="1072" y="636"/>
                    <a:pt x="2108" y="339"/>
                  </a:cubicBezTo>
                  <a:cubicBezTo>
                    <a:pt x="2203" y="303"/>
                    <a:pt x="2239" y="220"/>
                    <a:pt x="2227" y="125"/>
                  </a:cubicBezTo>
                  <a:cubicBezTo>
                    <a:pt x="2207" y="54"/>
                    <a:pt x="2135" y="0"/>
                    <a:pt x="2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4" name="Google Shape;12204;p62"/>
            <p:cNvSpPr/>
            <p:nvPr/>
          </p:nvSpPr>
          <p:spPr>
            <a:xfrm>
              <a:off x="1817197" y="2078794"/>
              <a:ext cx="85714" cy="54291"/>
            </a:xfrm>
            <a:custGeom>
              <a:avLst/>
              <a:gdLst/>
              <a:ahLst/>
              <a:cxnLst/>
              <a:rect l="l" t="t" r="r" b="b"/>
              <a:pathLst>
                <a:path w="2695" h="1707" extrusionOk="0">
                  <a:moveTo>
                    <a:pt x="1528" y="0"/>
                  </a:moveTo>
                  <a:cubicBezTo>
                    <a:pt x="754" y="0"/>
                    <a:pt x="1" y="618"/>
                    <a:pt x="63" y="1552"/>
                  </a:cubicBezTo>
                  <a:cubicBezTo>
                    <a:pt x="63" y="1635"/>
                    <a:pt x="147" y="1707"/>
                    <a:pt x="242" y="1707"/>
                  </a:cubicBezTo>
                  <a:cubicBezTo>
                    <a:pt x="325" y="1707"/>
                    <a:pt x="397" y="1623"/>
                    <a:pt x="397" y="1528"/>
                  </a:cubicBezTo>
                  <a:cubicBezTo>
                    <a:pt x="350" y="837"/>
                    <a:pt x="918" y="369"/>
                    <a:pt x="1506" y="369"/>
                  </a:cubicBezTo>
                  <a:cubicBezTo>
                    <a:pt x="1810" y="369"/>
                    <a:pt x="2118" y="494"/>
                    <a:pt x="2349" y="778"/>
                  </a:cubicBezTo>
                  <a:cubicBezTo>
                    <a:pt x="2383" y="818"/>
                    <a:pt x="2432" y="840"/>
                    <a:pt x="2484" y="840"/>
                  </a:cubicBezTo>
                  <a:cubicBezTo>
                    <a:pt x="2523" y="840"/>
                    <a:pt x="2563" y="827"/>
                    <a:pt x="2599" y="802"/>
                  </a:cubicBezTo>
                  <a:cubicBezTo>
                    <a:pt x="2695" y="718"/>
                    <a:pt x="2695" y="599"/>
                    <a:pt x="2635" y="540"/>
                  </a:cubicBezTo>
                  <a:cubicBezTo>
                    <a:pt x="2335" y="166"/>
                    <a:pt x="1929" y="0"/>
                    <a:pt x="15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5" name="Google Shape;12205;p62"/>
            <p:cNvSpPr/>
            <p:nvPr/>
          </p:nvSpPr>
          <p:spPr>
            <a:xfrm>
              <a:off x="1826007" y="2113716"/>
              <a:ext cx="88641" cy="56867"/>
            </a:xfrm>
            <a:custGeom>
              <a:avLst/>
              <a:gdLst/>
              <a:ahLst/>
              <a:cxnLst/>
              <a:rect l="l" t="t" r="r" b="b"/>
              <a:pathLst>
                <a:path w="2787" h="1788" extrusionOk="0">
                  <a:moveTo>
                    <a:pt x="2496" y="0"/>
                  </a:moveTo>
                  <a:cubicBezTo>
                    <a:pt x="2489" y="0"/>
                    <a:pt x="2483" y="0"/>
                    <a:pt x="2477" y="1"/>
                  </a:cubicBezTo>
                  <a:cubicBezTo>
                    <a:pt x="2382" y="13"/>
                    <a:pt x="2311" y="108"/>
                    <a:pt x="2322" y="192"/>
                  </a:cubicBezTo>
                  <a:cubicBezTo>
                    <a:pt x="2418" y="870"/>
                    <a:pt x="1894" y="1442"/>
                    <a:pt x="1239" y="1442"/>
                  </a:cubicBezTo>
                  <a:cubicBezTo>
                    <a:pt x="882" y="1442"/>
                    <a:pt x="560" y="1263"/>
                    <a:pt x="346" y="990"/>
                  </a:cubicBezTo>
                  <a:cubicBezTo>
                    <a:pt x="309" y="938"/>
                    <a:pt x="253" y="909"/>
                    <a:pt x="200" y="909"/>
                  </a:cubicBezTo>
                  <a:cubicBezTo>
                    <a:pt x="167" y="909"/>
                    <a:pt x="135" y="919"/>
                    <a:pt x="108" y="942"/>
                  </a:cubicBezTo>
                  <a:cubicBezTo>
                    <a:pt x="36" y="1001"/>
                    <a:pt x="1" y="1109"/>
                    <a:pt x="60" y="1180"/>
                  </a:cubicBezTo>
                  <a:cubicBezTo>
                    <a:pt x="334" y="1561"/>
                    <a:pt x="775" y="1787"/>
                    <a:pt x="1239" y="1787"/>
                  </a:cubicBezTo>
                  <a:cubicBezTo>
                    <a:pt x="2108" y="1787"/>
                    <a:pt x="2787" y="1025"/>
                    <a:pt x="2668" y="156"/>
                  </a:cubicBezTo>
                  <a:cubicBezTo>
                    <a:pt x="2657" y="68"/>
                    <a:pt x="2574" y="0"/>
                    <a:pt x="24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06" name="Google Shape;12206;p62"/>
          <p:cNvGrpSpPr/>
          <p:nvPr/>
        </p:nvGrpSpPr>
        <p:grpSpPr>
          <a:xfrm>
            <a:off x="1309875" y="2057326"/>
            <a:ext cx="374154" cy="169680"/>
            <a:chOff x="1309875" y="2057326"/>
            <a:chExt cx="374154" cy="169680"/>
          </a:xfrm>
        </p:grpSpPr>
        <p:sp>
          <p:nvSpPr>
            <p:cNvPr id="12207" name="Google Shape;12207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8" name="Google Shape;12208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9" name="Google Shape;12209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0" name="Google Shape;12210;p62"/>
            <p:cNvSpPr/>
            <p:nvPr/>
          </p:nvSpPr>
          <p:spPr>
            <a:xfrm>
              <a:off x="1480286" y="2212566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12" y="1"/>
                  </a:moveTo>
                  <a:cubicBezTo>
                    <a:pt x="0" y="1"/>
                    <a:pt x="0" y="1"/>
                    <a:pt x="12" y="1"/>
                  </a:cubicBezTo>
                  <a:lnTo>
                    <a:pt x="12" y="1"/>
                  </a:lnTo>
                  <a:cubicBezTo>
                    <a:pt x="0" y="1"/>
                    <a:pt x="0" y="1"/>
                    <a:pt x="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1" name="Google Shape;12211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2" name="Google Shape;12212;p62"/>
            <p:cNvSpPr/>
            <p:nvPr/>
          </p:nvSpPr>
          <p:spPr>
            <a:xfrm>
              <a:off x="1460599" y="2082993"/>
              <a:ext cx="223430" cy="142232"/>
            </a:xfrm>
            <a:custGeom>
              <a:avLst/>
              <a:gdLst/>
              <a:ahLst/>
              <a:cxnLst/>
              <a:rect l="l" t="t" r="r" b="b"/>
              <a:pathLst>
                <a:path w="7025" h="4472" extrusionOk="0">
                  <a:moveTo>
                    <a:pt x="6763" y="491"/>
                  </a:moveTo>
                  <a:lnTo>
                    <a:pt x="6763" y="1729"/>
                  </a:lnTo>
                  <a:lnTo>
                    <a:pt x="1762" y="1729"/>
                  </a:lnTo>
                  <a:cubicBezTo>
                    <a:pt x="1762" y="1479"/>
                    <a:pt x="1774" y="1444"/>
                    <a:pt x="1738" y="1372"/>
                  </a:cubicBezTo>
                  <a:lnTo>
                    <a:pt x="1286" y="491"/>
                  </a:lnTo>
                  <a:lnTo>
                    <a:pt x="1786" y="491"/>
                  </a:lnTo>
                  <a:lnTo>
                    <a:pt x="1786" y="884"/>
                  </a:lnTo>
                  <a:cubicBezTo>
                    <a:pt x="1786" y="967"/>
                    <a:pt x="1858" y="1063"/>
                    <a:pt x="1965" y="1063"/>
                  </a:cubicBezTo>
                  <a:cubicBezTo>
                    <a:pt x="2060" y="1063"/>
                    <a:pt x="2143" y="979"/>
                    <a:pt x="2143" y="884"/>
                  </a:cubicBezTo>
                  <a:lnTo>
                    <a:pt x="2143" y="491"/>
                  </a:lnTo>
                  <a:lnTo>
                    <a:pt x="2334" y="491"/>
                  </a:lnTo>
                  <a:lnTo>
                    <a:pt x="2334" y="1360"/>
                  </a:lnTo>
                  <a:cubicBezTo>
                    <a:pt x="2334" y="1444"/>
                    <a:pt x="2417" y="1539"/>
                    <a:pt x="2512" y="1539"/>
                  </a:cubicBezTo>
                  <a:cubicBezTo>
                    <a:pt x="2608" y="1539"/>
                    <a:pt x="2691" y="1455"/>
                    <a:pt x="2691" y="1360"/>
                  </a:cubicBezTo>
                  <a:lnTo>
                    <a:pt x="2691" y="491"/>
                  </a:lnTo>
                  <a:lnTo>
                    <a:pt x="2893" y="491"/>
                  </a:lnTo>
                  <a:lnTo>
                    <a:pt x="2893" y="884"/>
                  </a:lnTo>
                  <a:cubicBezTo>
                    <a:pt x="2893" y="967"/>
                    <a:pt x="2965" y="1063"/>
                    <a:pt x="3072" y="1063"/>
                  </a:cubicBezTo>
                  <a:cubicBezTo>
                    <a:pt x="3155" y="1063"/>
                    <a:pt x="3251" y="979"/>
                    <a:pt x="3251" y="884"/>
                  </a:cubicBezTo>
                  <a:lnTo>
                    <a:pt x="3251" y="491"/>
                  </a:lnTo>
                  <a:lnTo>
                    <a:pt x="3441" y="491"/>
                  </a:lnTo>
                  <a:lnTo>
                    <a:pt x="3441" y="884"/>
                  </a:lnTo>
                  <a:cubicBezTo>
                    <a:pt x="3441" y="967"/>
                    <a:pt x="3513" y="1063"/>
                    <a:pt x="3620" y="1063"/>
                  </a:cubicBezTo>
                  <a:cubicBezTo>
                    <a:pt x="3703" y="1063"/>
                    <a:pt x="3798" y="979"/>
                    <a:pt x="3798" y="884"/>
                  </a:cubicBezTo>
                  <a:lnTo>
                    <a:pt x="3798" y="491"/>
                  </a:lnTo>
                  <a:lnTo>
                    <a:pt x="3989" y="491"/>
                  </a:lnTo>
                  <a:lnTo>
                    <a:pt x="3989" y="884"/>
                  </a:lnTo>
                  <a:cubicBezTo>
                    <a:pt x="3989" y="967"/>
                    <a:pt x="4060" y="1063"/>
                    <a:pt x="4167" y="1063"/>
                  </a:cubicBezTo>
                  <a:cubicBezTo>
                    <a:pt x="4263" y="1063"/>
                    <a:pt x="4346" y="979"/>
                    <a:pt x="4346" y="884"/>
                  </a:cubicBezTo>
                  <a:lnTo>
                    <a:pt x="4346" y="491"/>
                  </a:lnTo>
                  <a:lnTo>
                    <a:pt x="4536" y="491"/>
                  </a:lnTo>
                  <a:lnTo>
                    <a:pt x="4536" y="1360"/>
                  </a:lnTo>
                  <a:cubicBezTo>
                    <a:pt x="4536" y="1444"/>
                    <a:pt x="4620" y="1539"/>
                    <a:pt x="4715" y="1539"/>
                  </a:cubicBezTo>
                  <a:cubicBezTo>
                    <a:pt x="4822" y="1539"/>
                    <a:pt x="4894" y="1455"/>
                    <a:pt x="4894" y="1360"/>
                  </a:cubicBezTo>
                  <a:lnTo>
                    <a:pt x="4894" y="491"/>
                  </a:lnTo>
                  <a:lnTo>
                    <a:pt x="5096" y="491"/>
                  </a:lnTo>
                  <a:lnTo>
                    <a:pt x="5096" y="884"/>
                  </a:lnTo>
                  <a:cubicBezTo>
                    <a:pt x="5096" y="967"/>
                    <a:pt x="5167" y="1063"/>
                    <a:pt x="5275" y="1063"/>
                  </a:cubicBezTo>
                  <a:cubicBezTo>
                    <a:pt x="5358" y="1063"/>
                    <a:pt x="5453" y="979"/>
                    <a:pt x="5453" y="884"/>
                  </a:cubicBezTo>
                  <a:lnTo>
                    <a:pt x="5453" y="491"/>
                  </a:lnTo>
                  <a:lnTo>
                    <a:pt x="5644" y="491"/>
                  </a:lnTo>
                  <a:lnTo>
                    <a:pt x="5644" y="884"/>
                  </a:lnTo>
                  <a:cubicBezTo>
                    <a:pt x="5644" y="967"/>
                    <a:pt x="5715" y="1063"/>
                    <a:pt x="5822" y="1063"/>
                  </a:cubicBezTo>
                  <a:cubicBezTo>
                    <a:pt x="5906" y="1063"/>
                    <a:pt x="6001" y="979"/>
                    <a:pt x="6001" y="884"/>
                  </a:cubicBezTo>
                  <a:lnTo>
                    <a:pt x="6001" y="491"/>
                  </a:lnTo>
                  <a:lnTo>
                    <a:pt x="6191" y="491"/>
                  </a:lnTo>
                  <a:lnTo>
                    <a:pt x="6191" y="884"/>
                  </a:lnTo>
                  <a:cubicBezTo>
                    <a:pt x="6191" y="967"/>
                    <a:pt x="6263" y="1063"/>
                    <a:pt x="6370" y="1063"/>
                  </a:cubicBezTo>
                  <a:cubicBezTo>
                    <a:pt x="6465" y="1063"/>
                    <a:pt x="6549" y="979"/>
                    <a:pt x="6549" y="884"/>
                  </a:cubicBezTo>
                  <a:lnTo>
                    <a:pt x="6549" y="491"/>
                  </a:lnTo>
                  <a:close/>
                  <a:moveTo>
                    <a:pt x="914" y="1"/>
                  </a:moveTo>
                  <a:cubicBezTo>
                    <a:pt x="831" y="1"/>
                    <a:pt x="745" y="55"/>
                    <a:pt x="738" y="146"/>
                  </a:cubicBezTo>
                  <a:cubicBezTo>
                    <a:pt x="738" y="182"/>
                    <a:pt x="738" y="229"/>
                    <a:pt x="750" y="253"/>
                  </a:cubicBezTo>
                  <a:lnTo>
                    <a:pt x="881" y="503"/>
                  </a:lnTo>
                  <a:lnTo>
                    <a:pt x="1405" y="1503"/>
                  </a:lnTo>
                  <a:lnTo>
                    <a:pt x="1405" y="2087"/>
                  </a:lnTo>
                  <a:lnTo>
                    <a:pt x="1405" y="3158"/>
                  </a:lnTo>
                  <a:cubicBezTo>
                    <a:pt x="762" y="3896"/>
                    <a:pt x="631" y="4063"/>
                    <a:pt x="619" y="4075"/>
                  </a:cubicBezTo>
                  <a:cubicBezTo>
                    <a:pt x="584" y="4122"/>
                    <a:pt x="536" y="4122"/>
                    <a:pt x="512" y="4122"/>
                  </a:cubicBezTo>
                  <a:cubicBezTo>
                    <a:pt x="453" y="4122"/>
                    <a:pt x="357" y="4075"/>
                    <a:pt x="357" y="3968"/>
                  </a:cubicBezTo>
                  <a:lnTo>
                    <a:pt x="357" y="2860"/>
                  </a:lnTo>
                  <a:cubicBezTo>
                    <a:pt x="357" y="2765"/>
                    <a:pt x="286" y="2682"/>
                    <a:pt x="179" y="2682"/>
                  </a:cubicBezTo>
                  <a:cubicBezTo>
                    <a:pt x="84" y="2682"/>
                    <a:pt x="0" y="2753"/>
                    <a:pt x="0" y="2860"/>
                  </a:cubicBezTo>
                  <a:lnTo>
                    <a:pt x="0" y="3968"/>
                  </a:lnTo>
                  <a:cubicBezTo>
                    <a:pt x="0" y="4274"/>
                    <a:pt x="254" y="4471"/>
                    <a:pt x="512" y="4471"/>
                  </a:cubicBezTo>
                  <a:cubicBezTo>
                    <a:pt x="645" y="4471"/>
                    <a:pt x="780" y="4419"/>
                    <a:pt x="881" y="4301"/>
                  </a:cubicBezTo>
                  <a:lnTo>
                    <a:pt x="1655" y="3372"/>
                  </a:lnTo>
                  <a:lnTo>
                    <a:pt x="3155" y="3372"/>
                  </a:lnTo>
                  <a:cubicBezTo>
                    <a:pt x="3251" y="3372"/>
                    <a:pt x="3334" y="3301"/>
                    <a:pt x="3334" y="3194"/>
                  </a:cubicBezTo>
                  <a:cubicBezTo>
                    <a:pt x="3334" y="3110"/>
                    <a:pt x="3262" y="3027"/>
                    <a:pt x="3155" y="3027"/>
                  </a:cubicBezTo>
                  <a:lnTo>
                    <a:pt x="1762" y="3027"/>
                  </a:lnTo>
                  <a:lnTo>
                    <a:pt x="1762" y="2051"/>
                  </a:lnTo>
                  <a:lnTo>
                    <a:pt x="6668" y="2051"/>
                  </a:lnTo>
                  <a:lnTo>
                    <a:pt x="6668" y="3027"/>
                  </a:lnTo>
                  <a:lnTo>
                    <a:pt x="3858" y="3027"/>
                  </a:lnTo>
                  <a:cubicBezTo>
                    <a:pt x="3774" y="3027"/>
                    <a:pt x="3679" y="3099"/>
                    <a:pt x="3679" y="3194"/>
                  </a:cubicBezTo>
                  <a:cubicBezTo>
                    <a:pt x="3679" y="3289"/>
                    <a:pt x="3751" y="3372"/>
                    <a:pt x="3858" y="3372"/>
                  </a:cubicBezTo>
                  <a:lnTo>
                    <a:pt x="6846" y="3372"/>
                  </a:lnTo>
                  <a:cubicBezTo>
                    <a:pt x="6942" y="3372"/>
                    <a:pt x="7025" y="3301"/>
                    <a:pt x="7025" y="3194"/>
                  </a:cubicBezTo>
                  <a:lnTo>
                    <a:pt x="7025" y="301"/>
                  </a:lnTo>
                  <a:cubicBezTo>
                    <a:pt x="7025" y="229"/>
                    <a:pt x="6953" y="146"/>
                    <a:pt x="6846" y="146"/>
                  </a:cubicBezTo>
                  <a:lnTo>
                    <a:pt x="1096" y="146"/>
                  </a:lnTo>
                  <a:lnTo>
                    <a:pt x="1060" y="86"/>
                  </a:lnTo>
                  <a:cubicBezTo>
                    <a:pt x="1030" y="27"/>
                    <a:pt x="973" y="1"/>
                    <a:pt x="9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3" name="Google Shape;12213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4" name="Google Shape;12214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5" name="Google Shape;12215;p62"/>
            <p:cNvSpPr/>
            <p:nvPr/>
          </p:nvSpPr>
          <p:spPr>
            <a:xfrm>
              <a:off x="1397339" y="218343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6" name="Google Shape;12216;p62"/>
            <p:cNvSpPr/>
            <p:nvPr/>
          </p:nvSpPr>
          <p:spPr>
            <a:xfrm>
              <a:off x="1309875" y="2057326"/>
              <a:ext cx="132945" cy="169680"/>
            </a:xfrm>
            <a:custGeom>
              <a:avLst/>
              <a:gdLst/>
              <a:ahLst/>
              <a:cxnLst/>
              <a:rect l="l" t="t" r="r" b="b"/>
              <a:pathLst>
                <a:path w="4180" h="5335" extrusionOk="0">
                  <a:moveTo>
                    <a:pt x="2406" y="2894"/>
                  </a:moveTo>
                  <a:lnTo>
                    <a:pt x="2406" y="3858"/>
                  </a:lnTo>
                  <a:lnTo>
                    <a:pt x="358" y="3858"/>
                  </a:lnTo>
                  <a:lnTo>
                    <a:pt x="358" y="2894"/>
                  </a:lnTo>
                  <a:close/>
                  <a:moveTo>
                    <a:pt x="3775" y="0"/>
                  </a:moveTo>
                  <a:cubicBezTo>
                    <a:pt x="3644" y="0"/>
                    <a:pt x="3525" y="84"/>
                    <a:pt x="3453" y="203"/>
                  </a:cubicBezTo>
                  <a:lnTo>
                    <a:pt x="3048" y="953"/>
                  </a:lnTo>
                  <a:lnTo>
                    <a:pt x="179" y="953"/>
                  </a:lnTo>
                  <a:cubicBezTo>
                    <a:pt x="84" y="953"/>
                    <a:pt x="0" y="1036"/>
                    <a:pt x="0" y="1131"/>
                  </a:cubicBezTo>
                  <a:lnTo>
                    <a:pt x="0" y="1512"/>
                  </a:lnTo>
                  <a:cubicBezTo>
                    <a:pt x="0" y="1596"/>
                    <a:pt x="72" y="1691"/>
                    <a:pt x="179" y="1691"/>
                  </a:cubicBezTo>
                  <a:cubicBezTo>
                    <a:pt x="262" y="1691"/>
                    <a:pt x="358" y="1608"/>
                    <a:pt x="358" y="1512"/>
                  </a:cubicBezTo>
                  <a:lnTo>
                    <a:pt x="358" y="1310"/>
                  </a:lnTo>
                  <a:lnTo>
                    <a:pt x="596" y="1310"/>
                  </a:lnTo>
                  <a:lnTo>
                    <a:pt x="596" y="2179"/>
                  </a:lnTo>
                  <a:cubicBezTo>
                    <a:pt x="596" y="2262"/>
                    <a:pt x="667" y="2358"/>
                    <a:pt x="774" y="2358"/>
                  </a:cubicBezTo>
                  <a:cubicBezTo>
                    <a:pt x="858" y="2358"/>
                    <a:pt x="953" y="2286"/>
                    <a:pt x="953" y="2179"/>
                  </a:cubicBezTo>
                  <a:lnTo>
                    <a:pt x="953" y="1310"/>
                  </a:lnTo>
                  <a:lnTo>
                    <a:pt x="1143" y="1310"/>
                  </a:lnTo>
                  <a:lnTo>
                    <a:pt x="1143" y="1703"/>
                  </a:lnTo>
                  <a:cubicBezTo>
                    <a:pt x="1143" y="1786"/>
                    <a:pt x="1215" y="1881"/>
                    <a:pt x="1322" y="1881"/>
                  </a:cubicBezTo>
                  <a:cubicBezTo>
                    <a:pt x="1405" y="1881"/>
                    <a:pt x="1501" y="1810"/>
                    <a:pt x="1501" y="1703"/>
                  </a:cubicBezTo>
                  <a:lnTo>
                    <a:pt x="1501" y="1310"/>
                  </a:lnTo>
                  <a:lnTo>
                    <a:pt x="1691" y="1310"/>
                  </a:lnTo>
                  <a:lnTo>
                    <a:pt x="1691" y="1703"/>
                  </a:lnTo>
                  <a:cubicBezTo>
                    <a:pt x="1691" y="1786"/>
                    <a:pt x="1763" y="1881"/>
                    <a:pt x="1870" y="1881"/>
                  </a:cubicBezTo>
                  <a:cubicBezTo>
                    <a:pt x="1965" y="1881"/>
                    <a:pt x="2048" y="1810"/>
                    <a:pt x="2048" y="1703"/>
                  </a:cubicBezTo>
                  <a:lnTo>
                    <a:pt x="2048" y="1310"/>
                  </a:lnTo>
                  <a:lnTo>
                    <a:pt x="2239" y="1310"/>
                  </a:lnTo>
                  <a:lnTo>
                    <a:pt x="2239" y="1703"/>
                  </a:lnTo>
                  <a:cubicBezTo>
                    <a:pt x="2239" y="1786"/>
                    <a:pt x="2310" y="1881"/>
                    <a:pt x="2417" y="1881"/>
                  </a:cubicBezTo>
                  <a:cubicBezTo>
                    <a:pt x="2513" y="1881"/>
                    <a:pt x="2596" y="1810"/>
                    <a:pt x="2596" y="1703"/>
                  </a:cubicBezTo>
                  <a:lnTo>
                    <a:pt x="2596" y="1310"/>
                  </a:lnTo>
                  <a:lnTo>
                    <a:pt x="2787" y="1310"/>
                  </a:lnTo>
                  <a:lnTo>
                    <a:pt x="2787" y="1572"/>
                  </a:lnTo>
                  <a:cubicBezTo>
                    <a:pt x="2334" y="2465"/>
                    <a:pt x="2465" y="2084"/>
                    <a:pt x="2453" y="2548"/>
                  </a:cubicBezTo>
                  <a:lnTo>
                    <a:pt x="393" y="2548"/>
                  </a:lnTo>
                  <a:lnTo>
                    <a:pt x="393" y="2227"/>
                  </a:lnTo>
                  <a:cubicBezTo>
                    <a:pt x="393" y="2132"/>
                    <a:pt x="322" y="2048"/>
                    <a:pt x="215" y="2048"/>
                  </a:cubicBezTo>
                  <a:cubicBezTo>
                    <a:pt x="131" y="2048"/>
                    <a:pt x="36" y="2120"/>
                    <a:pt x="36" y="2227"/>
                  </a:cubicBezTo>
                  <a:lnTo>
                    <a:pt x="36" y="4048"/>
                  </a:lnTo>
                  <a:cubicBezTo>
                    <a:pt x="36" y="4144"/>
                    <a:pt x="108" y="4227"/>
                    <a:pt x="215" y="4227"/>
                  </a:cubicBezTo>
                  <a:lnTo>
                    <a:pt x="2537" y="4227"/>
                  </a:lnTo>
                  <a:lnTo>
                    <a:pt x="2751" y="4489"/>
                  </a:lnTo>
                  <a:cubicBezTo>
                    <a:pt x="2783" y="4528"/>
                    <a:pt x="2833" y="4549"/>
                    <a:pt x="2883" y="4549"/>
                  </a:cubicBezTo>
                  <a:cubicBezTo>
                    <a:pt x="2925" y="4549"/>
                    <a:pt x="2968" y="4534"/>
                    <a:pt x="3001" y="4501"/>
                  </a:cubicBezTo>
                  <a:cubicBezTo>
                    <a:pt x="3072" y="4441"/>
                    <a:pt x="3084" y="4322"/>
                    <a:pt x="3013" y="4251"/>
                  </a:cubicBezTo>
                  <a:cubicBezTo>
                    <a:pt x="2834" y="4037"/>
                    <a:pt x="2810" y="3989"/>
                    <a:pt x="2787" y="3989"/>
                  </a:cubicBezTo>
                  <a:lnTo>
                    <a:pt x="2787" y="2346"/>
                  </a:lnTo>
                  <a:cubicBezTo>
                    <a:pt x="3762" y="490"/>
                    <a:pt x="3804" y="379"/>
                    <a:pt x="3817" y="379"/>
                  </a:cubicBezTo>
                  <a:cubicBezTo>
                    <a:pt x="3818" y="379"/>
                    <a:pt x="3820" y="381"/>
                    <a:pt x="3822" y="381"/>
                  </a:cubicBezTo>
                  <a:cubicBezTo>
                    <a:pt x="3825" y="381"/>
                    <a:pt x="3828" y="377"/>
                    <a:pt x="3829" y="377"/>
                  </a:cubicBezTo>
                  <a:cubicBezTo>
                    <a:pt x="3844" y="377"/>
                    <a:pt x="3834" y="626"/>
                    <a:pt x="3834" y="4822"/>
                  </a:cubicBezTo>
                  <a:cubicBezTo>
                    <a:pt x="3834" y="4929"/>
                    <a:pt x="3739" y="4977"/>
                    <a:pt x="3680" y="4977"/>
                  </a:cubicBezTo>
                  <a:cubicBezTo>
                    <a:pt x="3584" y="4977"/>
                    <a:pt x="3549" y="4870"/>
                    <a:pt x="3465" y="4787"/>
                  </a:cubicBezTo>
                  <a:cubicBezTo>
                    <a:pt x="3432" y="4740"/>
                    <a:pt x="3380" y="4716"/>
                    <a:pt x="3327" y="4716"/>
                  </a:cubicBezTo>
                  <a:cubicBezTo>
                    <a:pt x="3284" y="4716"/>
                    <a:pt x="3240" y="4731"/>
                    <a:pt x="3203" y="4763"/>
                  </a:cubicBezTo>
                  <a:cubicBezTo>
                    <a:pt x="3132" y="4822"/>
                    <a:pt x="3120" y="4941"/>
                    <a:pt x="3191" y="5025"/>
                  </a:cubicBezTo>
                  <a:lnTo>
                    <a:pt x="3310" y="5156"/>
                  </a:lnTo>
                  <a:cubicBezTo>
                    <a:pt x="3406" y="5275"/>
                    <a:pt x="3537" y="5334"/>
                    <a:pt x="3680" y="5334"/>
                  </a:cubicBezTo>
                  <a:cubicBezTo>
                    <a:pt x="3965" y="5334"/>
                    <a:pt x="4180" y="5108"/>
                    <a:pt x="4180" y="4834"/>
                  </a:cubicBezTo>
                  <a:lnTo>
                    <a:pt x="4180" y="405"/>
                  </a:lnTo>
                  <a:cubicBezTo>
                    <a:pt x="4144" y="167"/>
                    <a:pt x="3989" y="0"/>
                    <a:pt x="3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7" name="Google Shape;12217;p62"/>
            <p:cNvSpPr/>
            <p:nvPr/>
          </p:nvSpPr>
          <p:spPr>
            <a:xfrm>
              <a:off x="1460599" y="2057326"/>
              <a:ext cx="25380" cy="101140"/>
            </a:xfrm>
            <a:custGeom>
              <a:avLst/>
              <a:gdLst/>
              <a:ahLst/>
              <a:cxnLst/>
              <a:rect l="l" t="t" r="r" b="b"/>
              <a:pathLst>
                <a:path w="798" h="3180" extrusionOk="0">
                  <a:moveTo>
                    <a:pt x="381" y="0"/>
                  </a:moveTo>
                  <a:cubicBezTo>
                    <a:pt x="167" y="0"/>
                    <a:pt x="0" y="167"/>
                    <a:pt x="0" y="381"/>
                  </a:cubicBezTo>
                  <a:lnTo>
                    <a:pt x="0" y="3001"/>
                  </a:lnTo>
                  <a:cubicBezTo>
                    <a:pt x="0" y="3084"/>
                    <a:pt x="84" y="3179"/>
                    <a:pt x="179" y="3179"/>
                  </a:cubicBezTo>
                  <a:cubicBezTo>
                    <a:pt x="274" y="3179"/>
                    <a:pt x="357" y="3096"/>
                    <a:pt x="357" y="3001"/>
                  </a:cubicBezTo>
                  <a:lnTo>
                    <a:pt x="357" y="381"/>
                  </a:lnTo>
                  <a:cubicBezTo>
                    <a:pt x="357" y="381"/>
                    <a:pt x="357" y="357"/>
                    <a:pt x="381" y="357"/>
                  </a:cubicBezTo>
                  <a:cubicBezTo>
                    <a:pt x="381" y="357"/>
                    <a:pt x="393" y="357"/>
                    <a:pt x="393" y="381"/>
                  </a:cubicBezTo>
                  <a:lnTo>
                    <a:pt x="441" y="453"/>
                  </a:lnTo>
                  <a:cubicBezTo>
                    <a:pt x="465" y="511"/>
                    <a:pt x="525" y="545"/>
                    <a:pt x="590" y="545"/>
                  </a:cubicBezTo>
                  <a:cubicBezTo>
                    <a:pt x="619" y="545"/>
                    <a:pt x="650" y="539"/>
                    <a:pt x="679" y="524"/>
                  </a:cubicBezTo>
                  <a:cubicBezTo>
                    <a:pt x="762" y="465"/>
                    <a:pt x="798" y="357"/>
                    <a:pt x="750" y="274"/>
                  </a:cubicBezTo>
                  <a:lnTo>
                    <a:pt x="703" y="203"/>
                  </a:lnTo>
                  <a:cubicBezTo>
                    <a:pt x="643" y="84"/>
                    <a:pt x="524" y="0"/>
                    <a:pt x="3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18" name="Google Shape;12218;p62"/>
          <p:cNvSpPr/>
          <p:nvPr/>
        </p:nvSpPr>
        <p:spPr>
          <a:xfrm>
            <a:off x="862283" y="2076250"/>
            <a:ext cx="374536" cy="130305"/>
          </a:xfrm>
          <a:custGeom>
            <a:avLst/>
            <a:gdLst/>
            <a:ahLst/>
            <a:cxnLst/>
            <a:rect l="l" t="t" r="r" b="b"/>
            <a:pathLst>
              <a:path w="11776" h="4097" extrusionOk="0">
                <a:moveTo>
                  <a:pt x="179" y="1"/>
                </a:moveTo>
                <a:cubicBezTo>
                  <a:pt x="96" y="1"/>
                  <a:pt x="0" y="84"/>
                  <a:pt x="0" y="179"/>
                </a:cubicBezTo>
                <a:lnTo>
                  <a:pt x="0" y="3906"/>
                </a:lnTo>
                <a:cubicBezTo>
                  <a:pt x="0" y="3989"/>
                  <a:pt x="84" y="4084"/>
                  <a:pt x="179" y="4084"/>
                </a:cubicBezTo>
                <a:lnTo>
                  <a:pt x="1215" y="4084"/>
                </a:lnTo>
                <a:cubicBezTo>
                  <a:pt x="1298" y="4084"/>
                  <a:pt x="1393" y="4013"/>
                  <a:pt x="1393" y="3906"/>
                </a:cubicBezTo>
                <a:cubicBezTo>
                  <a:pt x="1393" y="3811"/>
                  <a:pt x="1310" y="3727"/>
                  <a:pt x="1215" y="3727"/>
                </a:cubicBezTo>
                <a:lnTo>
                  <a:pt x="357" y="3727"/>
                </a:lnTo>
                <a:lnTo>
                  <a:pt x="357" y="1929"/>
                </a:lnTo>
                <a:lnTo>
                  <a:pt x="11418" y="1929"/>
                </a:lnTo>
                <a:lnTo>
                  <a:pt x="11418" y="3739"/>
                </a:lnTo>
                <a:lnTo>
                  <a:pt x="1893" y="3739"/>
                </a:lnTo>
                <a:cubicBezTo>
                  <a:pt x="1810" y="3739"/>
                  <a:pt x="1715" y="3811"/>
                  <a:pt x="1715" y="3918"/>
                </a:cubicBezTo>
                <a:cubicBezTo>
                  <a:pt x="1715" y="4013"/>
                  <a:pt x="1786" y="4096"/>
                  <a:pt x="1893" y="4096"/>
                </a:cubicBezTo>
                <a:lnTo>
                  <a:pt x="11585" y="4096"/>
                </a:lnTo>
                <a:cubicBezTo>
                  <a:pt x="11668" y="4096"/>
                  <a:pt x="11764" y="4025"/>
                  <a:pt x="11764" y="3918"/>
                </a:cubicBezTo>
                <a:lnTo>
                  <a:pt x="11764" y="1537"/>
                </a:lnTo>
                <a:cubicBezTo>
                  <a:pt x="11764" y="1453"/>
                  <a:pt x="11692" y="1358"/>
                  <a:pt x="11585" y="1358"/>
                </a:cubicBezTo>
                <a:cubicBezTo>
                  <a:pt x="11490" y="1358"/>
                  <a:pt x="11406" y="1429"/>
                  <a:pt x="11406" y="1537"/>
                </a:cubicBezTo>
                <a:lnTo>
                  <a:pt x="11406" y="1596"/>
                </a:lnTo>
                <a:lnTo>
                  <a:pt x="334" y="1596"/>
                </a:lnTo>
                <a:lnTo>
                  <a:pt x="334" y="358"/>
                </a:lnTo>
                <a:lnTo>
                  <a:pt x="1155" y="358"/>
                </a:lnTo>
                <a:lnTo>
                  <a:pt x="1155" y="1132"/>
                </a:lnTo>
                <a:cubicBezTo>
                  <a:pt x="1155" y="1227"/>
                  <a:pt x="1227" y="1310"/>
                  <a:pt x="1334" y="1310"/>
                </a:cubicBezTo>
                <a:cubicBezTo>
                  <a:pt x="1429" y="1310"/>
                  <a:pt x="1500" y="1239"/>
                  <a:pt x="1500" y="1132"/>
                </a:cubicBezTo>
                <a:lnTo>
                  <a:pt x="1500" y="358"/>
                </a:lnTo>
                <a:lnTo>
                  <a:pt x="2072" y="358"/>
                </a:lnTo>
                <a:lnTo>
                  <a:pt x="2072" y="834"/>
                </a:lnTo>
                <a:cubicBezTo>
                  <a:pt x="2072" y="929"/>
                  <a:pt x="2143" y="1013"/>
                  <a:pt x="2251" y="1013"/>
                </a:cubicBezTo>
                <a:cubicBezTo>
                  <a:pt x="2334" y="1013"/>
                  <a:pt x="2429" y="941"/>
                  <a:pt x="2429" y="834"/>
                </a:cubicBezTo>
                <a:lnTo>
                  <a:pt x="2429" y="358"/>
                </a:lnTo>
                <a:lnTo>
                  <a:pt x="2977" y="358"/>
                </a:lnTo>
                <a:lnTo>
                  <a:pt x="2977" y="1132"/>
                </a:lnTo>
                <a:cubicBezTo>
                  <a:pt x="2977" y="1227"/>
                  <a:pt x="3048" y="1310"/>
                  <a:pt x="3155" y="1310"/>
                </a:cubicBezTo>
                <a:cubicBezTo>
                  <a:pt x="3263" y="1310"/>
                  <a:pt x="3334" y="1239"/>
                  <a:pt x="3334" y="1132"/>
                </a:cubicBezTo>
                <a:lnTo>
                  <a:pt x="3334" y="358"/>
                </a:lnTo>
                <a:lnTo>
                  <a:pt x="3906" y="358"/>
                </a:lnTo>
                <a:lnTo>
                  <a:pt x="3906" y="834"/>
                </a:lnTo>
                <a:cubicBezTo>
                  <a:pt x="3906" y="929"/>
                  <a:pt x="3977" y="1013"/>
                  <a:pt x="4084" y="1013"/>
                </a:cubicBezTo>
                <a:cubicBezTo>
                  <a:pt x="4167" y="1013"/>
                  <a:pt x="4263" y="941"/>
                  <a:pt x="4263" y="834"/>
                </a:cubicBezTo>
                <a:lnTo>
                  <a:pt x="4263" y="358"/>
                </a:lnTo>
                <a:lnTo>
                  <a:pt x="4810" y="358"/>
                </a:lnTo>
                <a:lnTo>
                  <a:pt x="4810" y="1132"/>
                </a:lnTo>
                <a:cubicBezTo>
                  <a:pt x="4810" y="1227"/>
                  <a:pt x="4882" y="1310"/>
                  <a:pt x="4989" y="1310"/>
                </a:cubicBezTo>
                <a:cubicBezTo>
                  <a:pt x="5096" y="1310"/>
                  <a:pt x="5168" y="1239"/>
                  <a:pt x="5168" y="1132"/>
                </a:cubicBezTo>
                <a:lnTo>
                  <a:pt x="5168" y="358"/>
                </a:lnTo>
                <a:lnTo>
                  <a:pt x="5727" y="358"/>
                </a:lnTo>
                <a:lnTo>
                  <a:pt x="5727" y="834"/>
                </a:lnTo>
                <a:cubicBezTo>
                  <a:pt x="5727" y="929"/>
                  <a:pt x="5811" y="1013"/>
                  <a:pt x="5906" y="1013"/>
                </a:cubicBezTo>
                <a:cubicBezTo>
                  <a:pt x="6001" y="1013"/>
                  <a:pt x="6084" y="941"/>
                  <a:pt x="6084" y="834"/>
                </a:cubicBezTo>
                <a:lnTo>
                  <a:pt x="6084" y="358"/>
                </a:lnTo>
                <a:lnTo>
                  <a:pt x="6644" y="358"/>
                </a:lnTo>
                <a:lnTo>
                  <a:pt x="6644" y="1132"/>
                </a:lnTo>
                <a:cubicBezTo>
                  <a:pt x="6644" y="1227"/>
                  <a:pt x="6715" y="1310"/>
                  <a:pt x="6823" y="1310"/>
                </a:cubicBezTo>
                <a:cubicBezTo>
                  <a:pt x="6906" y="1310"/>
                  <a:pt x="7001" y="1239"/>
                  <a:pt x="7001" y="1132"/>
                </a:cubicBezTo>
                <a:lnTo>
                  <a:pt x="7001" y="358"/>
                </a:lnTo>
                <a:lnTo>
                  <a:pt x="7561" y="358"/>
                </a:lnTo>
                <a:lnTo>
                  <a:pt x="7561" y="834"/>
                </a:lnTo>
                <a:cubicBezTo>
                  <a:pt x="7561" y="929"/>
                  <a:pt x="7632" y="1013"/>
                  <a:pt x="7739" y="1013"/>
                </a:cubicBezTo>
                <a:cubicBezTo>
                  <a:pt x="7835" y="1013"/>
                  <a:pt x="7918" y="941"/>
                  <a:pt x="7918" y="834"/>
                </a:cubicBezTo>
                <a:lnTo>
                  <a:pt x="7918" y="358"/>
                </a:lnTo>
                <a:lnTo>
                  <a:pt x="8466" y="358"/>
                </a:lnTo>
                <a:lnTo>
                  <a:pt x="8466" y="1132"/>
                </a:lnTo>
                <a:cubicBezTo>
                  <a:pt x="8466" y="1227"/>
                  <a:pt x="8549" y="1310"/>
                  <a:pt x="8644" y="1310"/>
                </a:cubicBezTo>
                <a:cubicBezTo>
                  <a:pt x="8739" y="1310"/>
                  <a:pt x="8823" y="1239"/>
                  <a:pt x="8823" y="1132"/>
                </a:cubicBezTo>
                <a:lnTo>
                  <a:pt x="8823" y="358"/>
                </a:lnTo>
                <a:lnTo>
                  <a:pt x="9394" y="358"/>
                </a:lnTo>
                <a:lnTo>
                  <a:pt x="9394" y="834"/>
                </a:lnTo>
                <a:cubicBezTo>
                  <a:pt x="9394" y="929"/>
                  <a:pt x="9466" y="1013"/>
                  <a:pt x="9573" y="1013"/>
                </a:cubicBezTo>
                <a:cubicBezTo>
                  <a:pt x="9656" y="1013"/>
                  <a:pt x="9752" y="941"/>
                  <a:pt x="9752" y="834"/>
                </a:cubicBezTo>
                <a:lnTo>
                  <a:pt x="9752" y="358"/>
                </a:lnTo>
                <a:lnTo>
                  <a:pt x="10299" y="358"/>
                </a:lnTo>
                <a:lnTo>
                  <a:pt x="10299" y="1132"/>
                </a:lnTo>
                <a:cubicBezTo>
                  <a:pt x="10299" y="1227"/>
                  <a:pt x="10371" y="1310"/>
                  <a:pt x="10478" y="1310"/>
                </a:cubicBezTo>
                <a:cubicBezTo>
                  <a:pt x="10573" y="1310"/>
                  <a:pt x="10656" y="1239"/>
                  <a:pt x="10656" y="1132"/>
                </a:cubicBezTo>
                <a:lnTo>
                  <a:pt x="10656" y="358"/>
                </a:lnTo>
                <a:lnTo>
                  <a:pt x="11478" y="358"/>
                </a:lnTo>
                <a:lnTo>
                  <a:pt x="11478" y="834"/>
                </a:lnTo>
                <a:cubicBezTo>
                  <a:pt x="11418" y="941"/>
                  <a:pt x="11490" y="1013"/>
                  <a:pt x="11597" y="1013"/>
                </a:cubicBezTo>
                <a:cubicBezTo>
                  <a:pt x="11692" y="1013"/>
                  <a:pt x="11776" y="941"/>
                  <a:pt x="11776" y="834"/>
                </a:cubicBezTo>
                <a:lnTo>
                  <a:pt x="11776" y="179"/>
                </a:lnTo>
                <a:cubicBezTo>
                  <a:pt x="11776" y="96"/>
                  <a:pt x="11704" y="1"/>
                  <a:pt x="1159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19" name="Google Shape;12219;p62"/>
          <p:cNvGrpSpPr/>
          <p:nvPr/>
        </p:nvGrpSpPr>
        <p:grpSpPr>
          <a:xfrm>
            <a:off x="2347450" y="1954564"/>
            <a:ext cx="113639" cy="373168"/>
            <a:chOff x="2347450" y="1954564"/>
            <a:chExt cx="113639" cy="373168"/>
          </a:xfrm>
        </p:grpSpPr>
        <p:sp>
          <p:nvSpPr>
            <p:cNvPr id="12220" name="Google Shape;12220;p62"/>
            <p:cNvSpPr/>
            <p:nvPr/>
          </p:nvSpPr>
          <p:spPr>
            <a:xfrm>
              <a:off x="2347450" y="1954564"/>
              <a:ext cx="89022" cy="261819"/>
            </a:xfrm>
            <a:custGeom>
              <a:avLst/>
              <a:gdLst/>
              <a:ahLst/>
              <a:cxnLst/>
              <a:rect l="l" t="t" r="r" b="b"/>
              <a:pathLst>
                <a:path w="2799" h="8232" extrusionOk="0">
                  <a:moveTo>
                    <a:pt x="1799" y="0"/>
                  </a:moveTo>
                  <a:cubicBezTo>
                    <a:pt x="1610" y="0"/>
                    <a:pt x="1422" y="78"/>
                    <a:pt x="1286" y="231"/>
                  </a:cubicBezTo>
                  <a:lnTo>
                    <a:pt x="786" y="814"/>
                  </a:lnTo>
                  <a:cubicBezTo>
                    <a:pt x="274" y="1386"/>
                    <a:pt x="1" y="2124"/>
                    <a:pt x="1" y="2898"/>
                  </a:cubicBezTo>
                  <a:lnTo>
                    <a:pt x="1" y="4874"/>
                  </a:lnTo>
                  <a:cubicBezTo>
                    <a:pt x="1" y="5077"/>
                    <a:pt x="394" y="5124"/>
                    <a:pt x="394" y="5434"/>
                  </a:cubicBezTo>
                  <a:cubicBezTo>
                    <a:pt x="394" y="5636"/>
                    <a:pt x="239" y="5708"/>
                    <a:pt x="60" y="5934"/>
                  </a:cubicBezTo>
                  <a:cubicBezTo>
                    <a:pt x="24" y="5958"/>
                    <a:pt x="13" y="6005"/>
                    <a:pt x="13" y="6053"/>
                  </a:cubicBezTo>
                  <a:lnTo>
                    <a:pt x="13" y="7279"/>
                  </a:lnTo>
                  <a:cubicBezTo>
                    <a:pt x="13" y="7577"/>
                    <a:pt x="72" y="7863"/>
                    <a:pt x="191" y="8137"/>
                  </a:cubicBezTo>
                  <a:cubicBezTo>
                    <a:pt x="215" y="8196"/>
                    <a:pt x="274" y="8232"/>
                    <a:pt x="358" y="8232"/>
                  </a:cubicBezTo>
                  <a:cubicBezTo>
                    <a:pt x="477" y="8232"/>
                    <a:pt x="560" y="8101"/>
                    <a:pt x="513" y="7982"/>
                  </a:cubicBezTo>
                  <a:cubicBezTo>
                    <a:pt x="417" y="7756"/>
                    <a:pt x="394" y="7089"/>
                    <a:pt x="370" y="6113"/>
                  </a:cubicBezTo>
                  <a:cubicBezTo>
                    <a:pt x="489" y="5958"/>
                    <a:pt x="775" y="5815"/>
                    <a:pt x="775" y="5422"/>
                  </a:cubicBezTo>
                  <a:cubicBezTo>
                    <a:pt x="775" y="5005"/>
                    <a:pt x="441" y="4839"/>
                    <a:pt x="370" y="4779"/>
                  </a:cubicBezTo>
                  <a:lnTo>
                    <a:pt x="370" y="2874"/>
                  </a:lnTo>
                  <a:cubicBezTo>
                    <a:pt x="370" y="2195"/>
                    <a:pt x="620" y="1541"/>
                    <a:pt x="1072" y="1029"/>
                  </a:cubicBezTo>
                  <a:lnTo>
                    <a:pt x="1572" y="457"/>
                  </a:lnTo>
                  <a:cubicBezTo>
                    <a:pt x="1636" y="381"/>
                    <a:pt x="1727" y="343"/>
                    <a:pt x="1816" y="343"/>
                  </a:cubicBezTo>
                  <a:cubicBezTo>
                    <a:pt x="1908" y="343"/>
                    <a:pt x="2000" y="384"/>
                    <a:pt x="2060" y="469"/>
                  </a:cubicBezTo>
                  <a:lnTo>
                    <a:pt x="2477" y="969"/>
                  </a:lnTo>
                  <a:cubicBezTo>
                    <a:pt x="2512" y="1018"/>
                    <a:pt x="2567" y="1042"/>
                    <a:pt x="2623" y="1042"/>
                  </a:cubicBezTo>
                  <a:cubicBezTo>
                    <a:pt x="2663" y="1042"/>
                    <a:pt x="2704" y="1030"/>
                    <a:pt x="2739" y="1005"/>
                  </a:cubicBezTo>
                  <a:cubicBezTo>
                    <a:pt x="2799" y="933"/>
                    <a:pt x="2799" y="826"/>
                    <a:pt x="2739" y="755"/>
                  </a:cubicBezTo>
                  <a:lnTo>
                    <a:pt x="2322" y="243"/>
                  </a:lnTo>
                  <a:cubicBezTo>
                    <a:pt x="2184" y="81"/>
                    <a:pt x="1991" y="0"/>
                    <a:pt x="1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1" name="Google Shape;12221;p62"/>
            <p:cNvSpPr/>
            <p:nvPr/>
          </p:nvSpPr>
          <p:spPr>
            <a:xfrm>
              <a:off x="2362970" y="1994352"/>
              <a:ext cx="98118" cy="333380"/>
            </a:xfrm>
            <a:custGeom>
              <a:avLst/>
              <a:gdLst/>
              <a:ahLst/>
              <a:cxnLst/>
              <a:rect l="l" t="t" r="r" b="b"/>
              <a:pathLst>
                <a:path w="3085" h="10482" extrusionOk="0">
                  <a:moveTo>
                    <a:pt x="2488" y="0"/>
                  </a:moveTo>
                  <a:cubicBezTo>
                    <a:pt x="2461" y="0"/>
                    <a:pt x="2434" y="5"/>
                    <a:pt x="2406" y="16"/>
                  </a:cubicBezTo>
                  <a:cubicBezTo>
                    <a:pt x="2322" y="63"/>
                    <a:pt x="2287" y="171"/>
                    <a:pt x="2334" y="254"/>
                  </a:cubicBezTo>
                  <a:cubicBezTo>
                    <a:pt x="2703" y="1004"/>
                    <a:pt x="2620" y="1623"/>
                    <a:pt x="2632" y="1742"/>
                  </a:cubicBezTo>
                  <a:lnTo>
                    <a:pt x="2227" y="2159"/>
                  </a:lnTo>
                  <a:cubicBezTo>
                    <a:pt x="1965" y="2445"/>
                    <a:pt x="1989" y="2909"/>
                    <a:pt x="2287" y="3147"/>
                  </a:cubicBezTo>
                  <a:lnTo>
                    <a:pt x="2632" y="3433"/>
                  </a:lnTo>
                  <a:lnTo>
                    <a:pt x="2632" y="5957"/>
                  </a:lnTo>
                  <a:cubicBezTo>
                    <a:pt x="2632" y="6326"/>
                    <a:pt x="2513" y="6683"/>
                    <a:pt x="2287" y="6981"/>
                  </a:cubicBezTo>
                  <a:lnTo>
                    <a:pt x="1406" y="8172"/>
                  </a:lnTo>
                  <a:lnTo>
                    <a:pt x="1406" y="4171"/>
                  </a:lnTo>
                  <a:lnTo>
                    <a:pt x="2203" y="3588"/>
                  </a:lnTo>
                  <a:cubicBezTo>
                    <a:pt x="2275" y="3528"/>
                    <a:pt x="2287" y="3433"/>
                    <a:pt x="2251" y="3350"/>
                  </a:cubicBezTo>
                  <a:cubicBezTo>
                    <a:pt x="2215" y="3307"/>
                    <a:pt x="2162" y="3285"/>
                    <a:pt x="2108" y="3285"/>
                  </a:cubicBezTo>
                  <a:cubicBezTo>
                    <a:pt x="2071" y="3285"/>
                    <a:pt x="2034" y="3295"/>
                    <a:pt x="2001" y="3314"/>
                  </a:cubicBezTo>
                  <a:lnTo>
                    <a:pt x="1430" y="3742"/>
                  </a:lnTo>
                  <a:lnTo>
                    <a:pt x="1430" y="230"/>
                  </a:lnTo>
                  <a:cubicBezTo>
                    <a:pt x="1430" y="123"/>
                    <a:pt x="1358" y="51"/>
                    <a:pt x="1251" y="51"/>
                  </a:cubicBezTo>
                  <a:cubicBezTo>
                    <a:pt x="1144" y="51"/>
                    <a:pt x="1072" y="123"/>
                    <a:pt x="1072" y="230"/>
                  </a:cubicBezTo>
                  <a:lnTo>
                    <a:pt x="1072" y="1349"/>
                  </a:lnTo>
                  <a:lnTo>
                    <a:pt x="656" y="992"/>
                  </a:lnTo>
                  <a:cubicBezTo>
                    <a:pt x="622" y="964"/>
                    <a:pt x="579" y="949"/>
                    <a:pt x="537" y="949"/>
                  </a:cubicBezTo>
                  <a:cubicBezTo>
                    <a:pt x="490" y="949"/>
                    <a:pt x="443" y="967"/>
                    <a:pt x="406" y="1004"/>
                  </a:cubicBezTo>
                  <a:cubicBezTo>
                    <a:pt x="346" y="1075"/>
                    <a:pt x="346" y="1183"/>
                    <a:pt x="417" y="1254"/>
                  </a:cubicBezTo>
                  <a:cubicBezTo>
                    <a:pt x="906" y="1683"/>
                    <a:pt x="1037" y="1826"/>
                    <a:pt x="1060" y="1826"/>
                  </a:cubicBezTo>
                  <a:lnTo>
                    <a:pt x="1060" y="5135"/>
                  </a:lnTo>
                  <a:lnTo>
                    <a:pt x="703" y="4814"/>
                  </a:lnTo>
                  <a:cubicBezTo>
                    <a:pt x="663" y="4786"/>
                    <a:pt x="621" y="4771"/>
                    <a:pt x="578" y="4771"/>
                  </a:cubicBezTo>
                  <a:cubicBezTo>
                    <a:pt x="532" y="4771"/>
                    <a:pt x="485" y="4789"/>
                    <a:pt x="441" y="4826"/>
                  </a:cubicBezTo>
                  <a:cubicBezTo>
                    <a:pt x="382" y="4897"/>
                    <a:pt x="382" y="5004"/>
                    <a:pt x="465" y="5076"/>
                  </a:cubicBezTo>
                  <a:lnTo>
                    <a:pt x="1060" y="5636"/>
                  </a:lnTo>
                  <a:lnTo>
                    <a:pt x="1060" y="8267"/>
                  </a:lnTo>
                  <a:lnTo>
                    <a:pt x="358" y="7267"/>
                  </a:lnTo>
                  <a:cubicBezTo>
                    <a:pt x="319" y="7220"/>
                    <a:pt x="261" y="7189"/>
                    <a:pt x="205" y="7189"/>
                  </a:cubicBezTo>
                  <a:cubicBezTo>
                    <a:pt x="174" y="7189"/>
                    <a:pt x="145" y="7198"/>
                    <a:pt x="120" y="7219"/>
                  </a:cubicBezTo>
                  <a:cubicBezTo>
                    <a:pt x="48" y="7279"/>
                    <a:pt x="13" y="7386"/>
                    <a:pt x="72" y="7457"/>
                  </a:cubicBezTo>
                  <a:lnTo>
                    <a:pt x="1072" y="8850"/>
                  </a:lnTo>
                  <a:lnTo>
                    <a:pt x="1072" y="9231"/>
                  </a:lnTo>
                  <a:lnTo>
                    <a:pt x="322" y="8517"/>
                  </a:lnTo>
                  <a:cubicBezTo>
                    <a:pt x="288" y="8483"/>
                    <a:pt x="246" y="8468"/>
                    <a:pt x="203" y="8468"/>
                  </a:cubicBezTo>
                  <a:cubicBezTo>
                    <a:pt x="157" y="8468"/>
                    <a:pt x="110" y="8486"/>
                    <a:pt x="72" y="8517"/>
                  </a:cubicBezTo>
                  <a:cubicBezTo>
                    <a:pt x="1" y="8588"/>
                    <a:pt x="13" y="8695"/>
                    <a:pt x="72" y="8767"/>
                  </a:cubicBezTo>
                  <a:lnTo>
                    <a:pt x="1060" y="9719"/>
                  </a:lnTo>
                  <a:lnTo>
                    <a:pt x="1060" y="10303"/>
                  </a:lnTo>
                  <a:cubicBezTo>
                    <a:pt x="1060" y="10410"/>
                    <a:pt x="1132" y="10481"/>
                    <a:pt x="1239" y="10481"/>
                  </a:cubicBezTo>
                  <a:cubicBezTo>
                    <a:pt x="1334" y="10481"/>
                    <a:pt x="1418" y="10410"/>
                    <a:pt x="1418" y="10303"/>
                  </a:cubicBezTo>
                  <a:lnTo>
                    <a:pt x="1418" y="9719"/>
                  </a:lnTo>
                  <a:lnTo>
                    <a:pt x="2430" y="8695"/>
                  </a:lnTo>
                  <a:cubicBezTo>
                    <a:pt x="2501" y="8624"/>
                    <a:pt x="2501" y="8517"/>
                    <a:pt x="2430" y="8445"/>
                  </a:cubicBezTo>
                  <a:cubicBezTo>
                    <a:pt x="2388" y="8410"/>
                    <a:pt x="2343" y="8392"/>
                    <a:pt x="2299" y="8392"/>
                  </a:cubicBezTo>
                  <a:cubicBezTo>
                    <a:pt x="2254" y="8392"/>
                    <a:pt x="2209" y="8410"/>
                    <a:pt x="2168" y="8445"/>
                  </a:cubicBezTo>
                  <a:lnTo>
                    <a:pt x="1394" y="9219"/>
                  </a:lnTo>
                  <a:lnTo>
                    <a:pt x="1394" y="8767"/>
                  </a:lnTo>
                  <a:lnTo>
                    <a:pt x="2561" y="7183"/>
                  </a:lnTo>
                  <a:cubicBezTo>
                    <a:pt x="2823" y="6826"/>
                    <a:pt x="2965" y="6386"/>
                    <a:pt x="2965" y="5945"/>
                  </a:cubicBezTo>
                  <a:lnTo>
                    <a:pt x="2965" y="3338"/>
                  </a:lnTo>
                  <a:cubicBezTo>
                    <a:pt x="3001" y="3326"/>
                    <a:pt x="2977" y="3266"/>
                    <a:pt x="2930" y="3230"/>
                  </a:cubicBezTo>
                  <a:lnTo>
                    <a:pt x="2513" y="2897"/>
                  </a:lnTo>
                  <a:cubicBezTo>
                    <a:pt x="2370" y="2778"/>
                    <a:pt x="2346" y="2552"/>
                    <a:pt x="2489" y="2421"/>
                  </a:cubicBezTo>
                  <a:cubicBezTo>
                    <a:pt x="2918" y="1956"/>
                    <a:pt x="2989" y="1945"/>
                    <a:pt x="2989" y="1826"/>
                  </a:cubicBezTo>
                  <a:cubicBezTo>
                    <a:pt x="2977" y="1671"/>
                    <a:pt x="3084" y="944"/>
                    <a:pt x="2644" y="99"/>
                  </a:cubicBezTo>
                  <a:cubicBezTo>
                    <a:pt x="2610" y="32"/>
                    <a:pt x="2553" y="0"/>
                    <a:pt x="24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22" name="Google Shape;12222;p62"/>
          <p:cNvSpPr/>
          <p:nvPr/>
        </p:nvSpPr>
        <p:spPr>
          <a:xfrm>
            <a:off x="861520" y="1586835"/>
            <a:ext cx="360160" cy="184628"/>
          </a:xfrm>
          <a:custGeom>
            <a:avLst/>
            <a:gdLst/>
            <a:ahLst/>
            <a:cxnLst/>
            <a:rect l="l" t="t" r="r" b="b"/>
            <a:pathLst>
              <a:path w="11324" h="5805" extrusionOk="0">
                <a:moveTo>
                  <a:pt x="5525" y="339"/>
                </a:moveTo>
                <a:lnTo>
                  <a:pt x="5525" y="4066"/>
                </a:lnTo>
                <a:cubicBezTo>
                  <a:pt x="5430" y="4078"/>
                  <a:pt x="5323" y="4090"/>
                  <a:pt x="5239" y="4125"/>
                </a:cubicBezTo>
                <a:lnTo>
                  <a:pt x="3810" y="684"/>
                </a:lnTo>
                <a:cubicBezTo>
                  <a:pt x="4013" y="601"/>
                  <a:pt x="4239" y="542"/>
                  <a:pt x="4477" y="482"/>
                </a:cubicBezTo>
                <a:lnTo>
                  <a:pt x="4692" y="1542"/>
                </a:lnTo>
                <a:cubicBezTo>
                  <a:pt x="4702" y="1618"/>
                  <a:pt x="4773" y="1674"/>
                  <a:pt x="4858" y="1674"/>
                </a:cubicBezTo>
                <a:cubicBezTo>
                  <a:pt x="4866" y="1674"/>
                  <a:pt x="4874" y="1674"/>
                  <a:pt x="4882" y="1673"/>
                </a:cubicBezTo>
                <a:cubicBezTo>
                  <a:pt x="4965" y="1649"/>
                  <a:pt x="5025" y="1565"/>
                  <a:pt x="5013" y="1470"/>
                </a:cubicBezTo>
                <a:lnTo>
                  <a:pt x="4811" y="422"/>
                </a:lnTo>
                <a:cubicBezTo>
                  <a:pt x="5049" y="375"/>
                  <a:pt x="5263" y="363"/>
                  <a:pt x="5525" y="339"/>
                </a:cubicBezTo>
                <a:close/>
                <a:moveTo>
                  <a:pt x="5846" y="351"/>
                </a:moveTo>
                <a:cubicBezTo>
                  <a:pt x="6085" y="351"/>
                  <a:pt x="6323" y="375"/>
                  <a:pt x="6561" y="422"/>
                </a:cubicBezTo>
                <a:lnTo>
                  <a:pt x="6358" y="1458"/>
                </a:lnTo>
                <a:cubicBezTo>
                  <a:pt x="6335" y="1554"/>
                  <a:pt x="6394" y="1637"/>
                  <a:pt x="6489" y="1661"/>
                </a:cubicBezTo>
                <a:cubicBezTo>
                  <a:pt x="6496" y="1662"/>
                  <a:pt x="6504" y="1662"/>
                  <a:pt x="6511" y="1662"/>
                </a:cubicBezTo>
                <a:cubicBezTo>
                  <a:pt x="6588" y="1662"/>
                  <a:pt x="6669" y="1605"/>
                  <a:pt x="6680" y="1518"/>
                </a:cubicBezTo>
                <a:lnTo>
                  <a:pt x="6894" y="482"/>
                </a:lnTo>
                <a:cubicBezTo>
                  <a:pt x="7109" y="542"/>
                  <a:pt x="7347" y="601"/>
                  <a:pt x="7573" y="684"/>
                </a:cubicBezTo>
                <a:lnTo>
                  <a:pt x="6144" y="4125"/>
                </a:lnTo>
                <a:cubicBezTo>
                  <a:pt x="6061" y="4102"/>
                  <a:pt x="5954" y="4078"/>
                  <a:pt x="5846" y="4066"/>
                </a:cubicBezTo>
                <a:lnTo>
                  <a:pt x="5846" y="351"/>
                </a:lnTo>
                <a:close/>
                <a:moveTo>
                  <a:pt x="3477" y="803"/>
                </a:moveTo>
                <a:lnTo>
                  <a:pt x="4906" y="4232"/>
                </a:lnTo>
                <a:cubicBezTo>
                  <a:pt x="4823" y="4280"/>
                  <a:pt x="4727" y="4328"/>
                  <a:pt x="4644" y="4399"/>
                </a:cubicBezTo>
                <a:lnTo>
                  <a:pt x="2036" y="1792"/>
                </a:lnTo>
                <a:cubicBezTo>
                  <a:pt x="2215" y="1625"/>
                  <a:pt x="2394" y="1470"/>
                  <a:pt x="2584" y="1339"/>
                </a:cubicBezTo>
                <a:lnTo>
                  <a:pt x="3179" y="2232"/>
                </a:lnTo>
                <a:cubicBezTo>
                  <a:pt x="3215" y="2280"/>
                  <a:pt x="3275" y="2316"/>
                  <a:pt x="3322" y="2316"/>
                </a:cubicBezTo>
                <a:cubicBezTo>
                  <a:pt x="3346" y="2316"/>
                  <a:pt x="3382" y="2292"/>
                  <a:pt x="3406" y="2280"/>
                </a:cubicBezTo>
                <a:cubicBezTo>
                  <a:pt x="3477" y="2232"/>
                  <a:pt x="3513" y="2137"/>
                  <a:pt x="3453" y="2042"/>
                </a:cubicBezTo>
                <a:lnTo>
                  <a:pt x="2858" y="1149"/>
                </a:lnTo>
                <a:cubicBezTo>
                  <a:pt x="3048" y="1030"/>
                  <a:pt x="3263" y="911"/>
                  <a:pt x="3477" y="803"/>
                </a:cubicBezTo>
                <a:close/>
                <a:moveTo>
                  <a:pt x="7859" y="803"/>
                </a:moveTo>
                <a:cubicBezTo>
                  <a:pt x="8085" y="911"/>
                  <a:pt x="8287" y="1030"/>
                  <a:pt x="8502" y="1149"/>
                </a:cubicBezTo>
                <a:lnTo>
                  <a:pt x="7906" y="2042"/>
                </a:lnTo>
                <a:cubicBezTo>
                  <a:pt x="7823" y="2161"/>
                  <a:pt x="7906" y="2316"/>
                  <a:pt x="8037" y="2316"/>
                </a:cubicBezTo>
                <a:cubicBezTo>
                  <a:pt x="8097" y="2316"/>
                  <a:pt x="8144" y="2280"/>
                  <a:pt x="8168" y="2232"/>
                </a:cubicBezTo>
                <a:lnTo>
                  <a:pt x="8763" y="1339"/>
                </a:lnTo>
                <a:cubicBezTo>
                  <a:pt x="8954" y="1470"/>
                  <a:pt x="9133" y="1625"/>
                  <a:pt x="9311" y="1792"/>
                </a:cubicBezTo>
                <a:cubicBezTo>
                  <a:pt x="6804" y="4299"/>
                  <a:pt x="6713" y="4400"/>
                  <a:pt x="6696" y="4400"/>
                </a:cubicBezTo>
                <a:cubicBezTo>
                  <a:pt x="6695" y="4400"/>
                  <a:pt x="6694" y="4399"/>
                  <a:pt x="6692" y="4399"/>
                </a:cubicBezTo>
                <a:cubicBezTo>
                  <a:pt x="6608" y="4340"/>
                  <a:pt x="6537" y="4280"/>
                  <a:pt x="6442" y="4232"/>
                </a:cubicBezTo>
                <a:lnTo>
                  <a:pt x="7859" y="803"/>
                </a:lnTo>
                <a:close/>
                <a:moveTo>
                  <a:pt x="9549" y="2042"/>
                </a:moveTo>
                <a:cubicBezTo>
                  <a:pt x="9716" y="2220"/>
                  <a:pt x="9859" y="2399"/>
                  <a:pt x="10002" y="2589"/>
                </a:cubicBezTo>
                <a:lnTo>
                  <a:pt x="9109" y="3185"/>
                </a:lnTo>
                <a:cubicBezTo>
                  <a:pt x="9037" y="3232"/>
                  <a:pt x="9002" y="3340"/>
                  <a:pt x="9061" y="3423"/>
                </a:cubicBezTo>
                <a:cubicBezTo>
                  <a:pt x="9091" y="3475"/>
                  <a:pt x="9139" y="3504"/>
                  <a:pt x="9194" y="3504"/>
                </a:cubicBezTo>
                <a:cubicBezTo>
                  <a:pt x="9227" y="3504"/>
                  <a:pt x="9263" y="3493"/>
                  <a:pt x="9299" y="3470"/>
                </a:cubicBezTo>
                <a:lnTo>
                  <a:pt x="10192" y="2875"/>
                </a:lnTo>
                <a:cubicBezTo>
                  <a:pt x="10311" y="3066"/>
                  <a:pt x="10430" y="3292"/>
                  <a:pt x="10514" y="3506"/>
                </a:cubicBezTo>
                <a:lnTo>
                  <a:pt x="7144" y="4887"/>
                </a:lnTo>
                <a:cubicBezTo>
                  <a:pt x="7085" y="4792"/>
                  <a:pt x="7025" y="4709"/>
                  <a:pt x="6954" y="4637"/>
                </a:cubicBezTo>
                <a:lnTo>
                  <a:pt x="9549" y="2042"/>
                </a:lnTo>
                <a:close/>
                <a:moveTo>
                  <a:pt x="703" y="3780"/>
                </a:moveTo>
                <a:lnTo>
                  <a:pt x="4061" y="5185"/>
                </a:lnTo>
                <a:cubicBezTo>
                  <a:pt x="4037" y="5292"/>
                  <a:pt x="4001" y="5375"/>
                  <a:pt x="3989" y="5483"/>
                </a:cubicBezTo>
                <a:lnTo>
                  <a:pt x="370" y="5483"/>
                </a:lnTo>
                <a:cubicBezTo>
                  <a:pt x="370" y="5245"/>
                  <a:pt x="405" y="5018"/>
                  <a:pt x="429" y="4792"/>
                </a:cubicBezTo>
                <a:lnTo>
                  <a:pt x="1489" y="5006"/>
                </a:lnTo>
                <a:lnTo>
                  <a:pt x="1513" y="5006"/>
                </a:lnTo>
                <a:cubicBezTo>
                  <a:pt x="1596" y="5006"/>
                  <a:pt x="1667" y="4947"/>
                  <a:pt x="1679" y="4875"/>
                </a:cubicBezTo>
                <a:cubicBezTo>
                  <a:pt x="1691" y="4780"/>
                  <a:pt x="1632" y="4697"/>
                  <a:pt x="1548" y="4673"/>
                </a:cubicBezTo>
                <a:lnTo>
                  <a:pt x="489" y="4471"/>
                </a:lnTo>
                <a:cubicBezTo>
                  <a:pt x="548" y="4244"/>
                  <a:pt x="608" y="4006"/>
                  <a:pt x="703" y="3780"/>
                </a:cubicBezTo>
                <a:close/>
                <a:moveTo>
                  <a:pt x="5680" y="4399"/>
                </a:moveTo>
                <a:cubicBezTo>
                  <a:pt x="6335" y="4399"/>
                  <a:pt x="6906" y="4852"/>
                  <a:pt x="7037" y="5483"/>
                </a:cubicBezTo>
                <a:lnTo>
                  <a:pt x="4334" y="5483"/>
                </a:lnTo>
                <a:cubicBezTo>
                  <a:pt x="4465" y="4852"/>
                  <a:pt x="5025" y="4399"/>
                  <a:pt x="5680" y="4399"/>
                </a:cubicBezTo>
                <a:close/>
                <a:moveTo>
                  <a:pt x="5632" y="0"/>
                </a:moveTo>
                <a:cubicBezTo>
                  <a:pt x="4161" y="0"/>
                  <a:pt x="2669" y="573"/>
                  <a:pt x="1513" y="1816"/>
                </a:cubicBezTo>
                <a:cubicBezTo>
                  <a:pt x="1453" y="1899"/>
                  <a:pt x="1453" y="1994"/>
                  <a:pt x="1536" y="2054"/>
                </a:cubicBezTo>
                <a:cubicBezTo>
                  <a:pt x="1570" y="2082"/>
                  <a:pt x="1613" y="2097"/>
                  <a:pt x="1654" y="2097"/>
                </a:cubicBezTo>
                <a:cubicBezTo>
                  <a:pt x="1699" y="2097"/>
                  <a:pt x="1743" y="2079"/>
                  <a:pt x="1775" y="2042"/>
                </a:cubicBezTo>
                <a:cubicBezTo>
                  <a:pt x="1775" y="2030"/>
                  <a:pt x="1786" y="2030"/>
                  <a:pt x="1786" y="2018"/>
                </a:cubicBezTo>
                <a:lnTo>
                  <a:pt x="4394" y="4613"/>
                </a:lnTo>
                <a:cubicBezTo>
                  <a:pt x="4311" y="4697"/>
                  <a:pt x="4251" y="4780"/>
                  <a:pt x="4191" y="4875"/>
                </a:cubicBezTo>
                <a:lnTo>
                  <a:pt x="822" y="3470"/>
                </a:lnTo>
                <a:cubicBezTo>
                  <a:pt x="917" y="3268"/>
                  <a:pt x="1024" y="3042"/>
                  <a:pt x="1143" y="2851"/>
                </a:cubicBezTo>
                <a:cubicBezTo>
                  <a:pt x="2084" y="3459"/>
                  <a:pt x="2036" y="3470"/>
                  <a:pt x="2120" y="3470"/>
                </a:cubicBezTo>
                <a:cubicBezTo>
                  <a:pt x="2286" y="3470"/>
                  <a:pt x="2358" y="3268"/>
                  <a:pt x="2215" y="3161"/>
                </a:cubicBezTo>
                <a:lnTo>
                  <a:pt x="1322" y="2566"/>
                </a:lnTo>
                <a:cubicBezTo>
                  <a:pt x="1322" y="2542"/>
                  <a:pt x="1334" y="2542"/>
                  <a:pt x="1334" y="2530"/>
                </a:cubicBezTo>
                <a:cubicBezTo>
                  <a:pt x="1394" y="2458"/>
                  <a:pt x="1370" y="2351"/>
                  <a:pt x="1286" y="2292"/>
                </a:cubicBezTo>
                <a:cubicBezTo>
                  <a:pt x="1261" y="2271"/>
                  <a:pt x="1232" y="2262"/>
                  <a:pt x="1202" y="2262"/>
                </a:cubicBezTo>
                <a:cubicBezTo>
                  <a:pt x="1146" y="2262"/>
                  <a:pt x="1087" y="2293"/>
                  <a:pt x="1048" y="2339"/>
                </a:cubicBezTo>
                <a:cubicBezTo>
                  <a:pt x="381" y="3256"/>
                  <a:pt x="0" y="4411"/>
                  <a:pt x="0" y="5637"/>
                </a:cubicBezTo>
                <a:cubicBezTo>
                  <a:pt x="0" y="5733"/>
                  <a:pt x="72" y="5804"/>
                  <a:pt x="155" y="5804"/>
                </a:cubicBezTo>
                <a:lnTo>
                  <a:pt x="7740" y="5804"/>
                </a:lnTo>
                <a:cubicBezTo>
                  <a:pt x="7823" y="5804"/>
                  <a:pt x="7894" y="5733"/>
                  <a:pt x="7894" y="5637"/>
                </a:cubicBezTo>
                <a:cubicBezTo>
                  <a:pt x="7894" y="5554"/>
                  <a:pt x="7823" y="5483"/>
                  <a:pt x="7740" y="5483"/>
                </a:cubicBezTo>
                <a:lnTo>
                  <a:pt x="7347" y="5483"/>
                </a:lnTo>
                <a:cubicBezTo>
                  <a:pt x="7335" y="5375"/>
                  <a:pt x="7299" y="5268"/>
                  <a:pt x="7263" y="5161"/>
                </a:cubicBezTo>
                <a:lnTo>
                  <a:pt x="10609" y="3780"/>
                </a:lnTo>
                <a:cubicBezTo>
                  <a:pt x="10692" y="4006"/>
                  <a:pt x="10752" y="4232"/>
                  <a:pt x="10823" y="4471"/>
                </a:cubicBezTo>
                <a:lnTo>
                  <a:pt x="9776" y="4673"/>
                </a:lnTo>
                <a:cubicBezTo>
                  <a:pt x="9692" y="4685"/>
                  <a:pt x="9633" y="4780"/>
                  <a:pt x="9645" y="4864"/>
                </a:cubicBezTo>
                <a:cubicBezTo>
                  <a:pt x="9655" y="4951"/>
                  <a:pt x="9726" y="5008"/>
                  <a:pt x="9811" y="5008"/>
                </a:cubicBezTo>
                <a:cubicBezTo>
                  <a:pt x="9819" y="5008"/>
                  <a:pt x="9827" y="5007"/>
                  <a:pt x="9835" y="5006"/>
                </a:cubicBezTo>
                <a:lnTo>
                  <a:pt x="10883" y="4792"/>
                </a:lnTo>
                <a:cubicBezTo>
                  <a:pt x="10907" y="5018"/>
                  <a:pt x="10942" y="5256"/>
                  <a:pt x="10942" y="5483"/>
                </a:cubicBezTo>
                <a:lnTo>
                  <a:pt x="8394" y="5483"/>
                </a:lnTo>
                <a:cubicBezTo>
                  <a:pt x="8299" y="5483"/>
                  <a:pt x="8228" y="5554"/>
                  <a:pt x="8228" y="5637"/>
                </a:cubicBezTo>
                <a:cubicBezTo>
                  <a:pt x="8228" y="5733"/>
                  <a:pt x="8299" y="5804"/>
                  <a:pt x="8394" y="5804"/>
                </a:cubicBezTo>
                <a:lnTo>
                  <a:pt x="11097" y="5804"/>
                </a:lnTo>
                <a:cubicBezTo>
                  <a:pt x="11192" y="5804"/>
                  <a:pt x="11264" y="5733"/>
                  <a:pt x="11264" y="5637"/>
                </a:cubicBezTo>
                <a:cubicBezTo>
                  <a:pt x="11323" y="4911"/>
                  <a:pt x="11180" y="4185"/>
                  <a:pt x="10895" y="3506"/>
                </a:cubicBezTo>
                <a:cubicBezTo>
                  <a:pt x="9975" y="1275"/>
                  <a:pt x="7827" y="0"/>
                  <a:pt x="563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23" name="Google Shape;12223;p62"/>
          <p:cNvGrpSpPr/>
          <p:nvPr/>
        </p:nvGrpSpPr>
        <p:grpSpPr>
          <a:xfrm>
            <a:off x="3110102" y="1499880"/>
            <a:ext cx="330613" cy="358379"/>
            <a:chOff x="3110102" y="1499880"/>
            <a:chExt cx="330613" cy="358379"/>
          </a:xfrm>
        </p:grpSpPr>
        <p:sp>
          <p:nvSpPr>
            <p:cNvPr id="12224" name="Google Shape;12224;p62"/>
            <p:cNvSpPr/>
            <p:nvPr/>
          </p:nvSpPr>
          <p:spPr>
            <a:xfrm>
              <a:off x="3385024" y="1775979"/>
              <a:ext cx="55341" cy="71211"/>
            </a:xfrm>
            <a:custGeom>
              <a:avLst/>
              <a:gdLst/>
              <a:ahLst/>
              <a:cxnLst/>
              <a:rect l="l" t="t" r="r" b="b"/>
              <a:pathLst>
                <a:path w="1740" h="2239" extrusionOk="0">
                  <a:moveTo>
                    <a:pt x="1248" y="0"/>
                  </a:moveTo>
                  <a:cubicBezTo>
                    <a:pt x="1180" y="0"/>
                    <a:pt x="1124" y="45"/>
                    <a:pt x="1096" y="119"/>
                  </a:cubicBezTo>
                  <a:cubicBezTo>
                    <a:pt x="1072" y="202"/>
                    <a:pt x="1108" y="286"/>
                    <a:pt x="1203" y="321"/>
                  </a:cubicBezTo>
                  <a:cubicBezTo>
                    <a:pt x="1275" y="333"/>
                    <a:pt x="1334" y="369"/>
                    <a:pt x="1406" y="369"/>
                  </a:cubicBezTo>
                  <a:lnTo>
                    <a:pt x="1406" y="1095"/>
                  </a:lnTo>
                  <a:cubicBezTo>
                    <a:pt x="1320" y="1097"/>
                    <a:pt x="1242" y="1097"/>
                    <a:pt x="1171" y="1097"/>
                  </a:cubicBezTo>
                  <a:cubicBezTo>
                    <a:pt x="861" y="1097"/>
                    <a:pt x="689" y="1088"/>
                    <a:pt x="585" y="1088"/>
                  </a:cubicBezTo>
                  <a:cubicBezTo>
                    <a:pt x="472" y="1088"/>
                    <a:pt x="438" y="1098"/>
                    <a:pt x="394" y="1143"/>
                  </a:cubicBezTo>
                  <a:cubicBezTo>
                    <a:pt x="370" y="1167"/>
                    <a:pt x="358" y="1214"/>
                    <a:pt x="358" y="1262"/>
                  </a:cubicBezTo>
                  <a:cubicBezTo>
                    <a:pt x="370" y="1524"/>
                    <a:pt x="263" y="1774"/>
                    <a:pt x="96" y="1953"/>
                  </a:cubicBezTo>
                  <a:cubicBezTo>
                    <a:pt x="1" y="2060"/>
                    <a:pt x="72" y="2238"/>
                    <a:pt x="215" y="2238"/>
                  </a:cubicBezTo>
                  <a:cubicBezTo>
                    <a:pt x="263" y="2238"/>
                    <a:pt x="310" y="2226"/>
                    <a:pt x="334" y="2179"/>
                  </a:cubicBezTo>
                  <a:cubicBezTo>
                    <a:pt x="537" y="1976"/>
                    <a:pt x="667" y="1703"/>
                    <a:pt x="679" y="1417"/>
                  </a:cubicBezTo>
                  <a:lnTo>
                    <a:pt x="1572" y="1417"/>
                  </a:lnTo>
                  <a:cubicBezTo>
                    <a:pt x="1668" y="1417"/>
                    <a:pt x="1739" y="1345"/>
                    <a:pt x="1739" y="1262"/>
                  </a:cubicBezTo>
                  <a:lnTo>
                    <a:pt x="1739" y="238"/>
                  </a:lnTo>
                  <a:cubicBezTo>
                    <a:pt x="1739" y="131"/>
                    <a:pt x="1680" y="60"/>
                    <a:pt x="1572" y="60"/>
                  </a:cubicBezTo>
                  <a:cubicBezTo>
                    <a:pt x="1489" y="60"/>
                    <a:pt x="1382" y="36"/>
                    <a:pt x="1310" y="12"/>
                  </a:cubicBezTo>
                  <a:cubicBezTo>
                    <a:pt x="1289" y="4"/>
                    <a:pt x="1268" y="0"/>
                    <a:pt x="12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5" name="Google Shape;12225;p62"/>
            <p:cNvSpPr/>
            <p:nvPr/>
          </p:nvSpPr>
          <p:spPr>
            <a:xfrm>
              <a:off x="3347176" y="1535501"/>
              <a:ext cx="93189" cy="61765"/>
            </a:xfrm>
            <a:custGeom>
              <a:avLst/>
              <a:gdLst/>
              <a:ahLst/>
              <a:cxnLst/>
              <a:rect l="l" t="t" r="r" b="b"/>
              <a:pathLst>
                <a:path w="2930" h="1942" extrusionOk="0">
                  <a:moveTo>
                    <a:pt x="1703" y="1"/>
                  </a:moveTo>
                  <a:cubicBezTo>
                    <a:pt x="1619" y="1"/>
                    <a:pt x="1524" y="72"/>
                    <a:pt x="1536" y="179"/>
                  </a:cubicBezTo>
                  <a:cubicBezTo>
                    <a:pt x="1572" y="655"/>
                    <a:pt x="1155" y="1132"/>
                    <a:pt x="595" y="1132"/>
                  </a:cubicBezTo>
                  <a:cubicBezTo>
                    <a:pt x="476" y="1132"/>
                    <a:pt x="345" y="1108"/>
                    <a:pt x="250" y="1072"/>
                  </a:cubicBezTo>
                  <a:cubicBezTo>
                    <a:pt x="228" y="1064"/>
                    <a:pt x="206" y="1060"/>
                    <a:pt x="186" y="1060"/>
                  </a:cubicBezTo>
                  <a:cubicBezTo>
                    <a:pt x="118" y="1060"/>
                    <a:pt x="60" y="1101"/>
                    <a:pt x="24" y="1155"/>
                  </a:cubicBezTo>
                  <a:cubicBezTo>
                    <a:pt x="0" y="1251"/>
                    <a:pt x="36" y="1334"/>
                    <a:pt x="119" y="1382"/>
                  </a:cubicBezTo>
                  <a:cubicBezTo>
                    <a:pt x="262" y="1441"/>
                    <a:pt x="429" y="1465"/>
                    <a:pt x="595" y="1465"/>
                  </a:cubicBezTo>
                  <a:cubicBezTo>
                    <a:pt x="1250" y="1465"/>
                    <a:pt x="1798" y="977"/>
                    <a:pt x="1869" y="334"/>
                  </a:cubicBezTo>
                  <a:lnTo>
                    <a:pt x="2596" y="334"/>
                  </a:lnTo>
                  <a:lnTo>
                    <a:pt x="2596" y="1786"/>
                  </a:lnTo>
                  <a:cubicBezTo>
                    <a:pt x="2596" y="1870"/>
                    <a:pt x="2679" y="1941"/>
                    <a:pt x="2762" y="1941"/>
                  </a:cubicBezTo>
                  <a:cubicBezTo>
                    <a:pt x="2858" y="1941"/>
                    <a:pt x="2929" y="1870"/>
                    <a:pt x="2929" y="1786"/>
                  </a:cubicBezTo>
                  <a:lnTo>
                    <a:pt x="2929" y="155"/>
                  </a:lnTo>
                  <a:cubicBezTo>
                    <a:pt x="2929" y="72"/>
                    <a:pt x="2858" y="1"/>
                    <a:pt x="2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6" name="Google Shape;12226;p62"/>
            <p:cNvSpPr/>
            <p:nvPr/>
          </p:nvSpPr>
          <p:spPr>
            <a:xfrm>
              <a:off x="3110102" y="1580728"/>
              <a:ext cx="330613" cy="277530"/>
            </a:xfrm>
            <a:custGeom>
              <a:avLst/>
              <a:gdLst/>
              <a:ahLst/>
              <a:cxnLst/>
              <a:rect l="l" t="t" r="r" b="b"/>
              <a:pathLst>
                <a:path w="10395" h="8726" extrusionOk="0">
                  <a:moveTo>
                    <a:pt x="5044" y="1"/>
                  </a:moveTo>
                  <a:cubicBezTo>
                    <a:pt x="4997" y="1"/>
                    <a:pt x="4950" y="22"/>
                    <a:pt x="4918" y="67"/>
                  </a:cubicBezTo>
                  <a:cubicBezTo>
                    <a:pt x="4251" y="817"/>
                    <a:pt x="4692" y="2055"/>
                    <a:pt x="5704" y="2186"/>
                  </a:cubicBezTo>
                  <a:lnTo>
                    <a:pt x="5704" y="2924"/>
                  </a:lnTo>
                  <a:lnTo>
                    <a:pt x="4823" y="2924"/>
                  </a:lnTo>
                  <a:cubicBezTo>
                    <a:pt x="4739" y="2924"/>
                    <a:pt x="4668" y="2996"/>
                    <a:pt x="4668" y="3079"/>
                  </a:cubicBezTo>
                  <a:cubicBezTo>
                    <a:pt x="4668" y="3630"/>
                    <a:pt x="4207" y="4034"/>
                    <a:pt x="3710" y="4034"/>
                  </a:cubicBezTo>
                  <a:cubicBezTo>
                    <a:pt x="3573" y="4034"/>
                    <a:pt x="3433" y="4003"/>
                    <a:pt x="3299" y="3936"/>
                  </a:cubicBezTo>
                  <a:cubicBezTo>
                    <a:pt x="2977" y="3770"/>
                    <a:pt x="2775" y="3460"/>
                    <a:pt x="2775" y="3079"/>
                  </a:cubicBezTo>
                  <a:cubicBezTo>
                    <a:pt x="2775" y="2996"/>
                    <a:pt x="2704" y="2924"/>
                    <a:pt x="2608" y="2924"/>
                  </a:cubicBezTo>
                  <a:lnTo>
                    <a:pt x="1727" y="2924"/>
                  </a:lnTo>
                  <a:lnTo>
                    <a:pt x="1727" y="2043"/>
                  </a:lnTo>
                  <a:cubicBezTo>
                    <a:pt x="1727" y="1948"/>
                    <a:pt x="1656" y="1877"/>
                    <a:pt x="1572" y="1877"/>
                  </a:cubicBezTo>
                  <a:cubicBezTo>
                    <a:pt x="834" y="1865"/>
                    <a:pt x="394" y="1055"/>
                    <a:pt x="763" y="436"/>
                  </a:cubicBezTo>
                  <a:cubicBezTo>
                    <a:pt x="810" y="364"/>
                    <a:pt x="799" y="257"/>
                    <a:pt x="703" y="210"/>
                  </a:cubicBezTo>
                  <a:cubicBezTo>
                    <a:pt x="679" y="193"/>
                    <a:pt x="650" y="185"/>
                    <a:pt x="621" y="185"/>
                  </a:cubicBezTo>
                  <a:cubicBezTo>
                    <a:pt x="565" y="185"/>
                    <a:pt x="508" y="214"/>
                    <a:pt x="477" y="269"/>
                  </a:cubicBezTo>
                  <a:cubicBezTo>
                    <a:pt x="1" y="1055"/>
                    <a:pt x="501" y="2067"/>
                    <a:pt x="1406" y="2210"/>
                  </a:cubicBezTo>
                  <a:lnTo>
                    <a:pt x="1406" y="3651"/>
                  </a:lnTo>
                  <a:cubicBezTo>
                    <a:pt x="1406" y="3734"/>
                    <a:pt x="1477" y="3817"/>
                    <a:pt x="1572" y="3817"/>
                  </a:cubicBezTo>
                  <a:cubicBezTo>
                    <a:pt x="1656" y="3817"/>
                    <a:pt x="1727" y="3734"/>
                    <a:pt x="1727" y="3651"/>
                  </a:cubicBezTo>
                  <a:lnTo>
                    <a:pt x="1727" y="3246"/>
                  </a:lnTo>
                  <a:lnTo>
                    <a:pt x="2465" y="3246"/>
                  </a:lnTo>
                  <a:cubicBezTo>
                    <a:pt x="2537" y="3817"/>
                    <a:pt x="2977" y="4258"/>
                    <a:pt x="3549" y="4341"/>
                  </a:cubicBezTo>
                  <a:cubicBezTo>
                    <a:pt x="3614" y="4351"/>
                    <a:pt x="3678" y="4356"/>
                    <a:pt x="3742" y="4356"/>
                  </a:cubicBezTo>
                  <a:cubicBezTo>
                    <a:pt x="4376" y="4356"/>
                    <a:pt x="4914" y="3884"/>
                    <a:pt x="4990" y="3246"/>
                  </a:cubicBezTo>
                  <a:lnTo>
                    <a:pt x="5716" y="3246"/>
                  </a:lnTo>
                  <a:lnTo>
                    <a:pt x="5716" y="4127"/>
                  </a:lnTo>
                  <a:cubicBezTo>
                    <a:pt x="5716" y="4210"/>
                    <a:pt x="5799" y="4294"/>
                    <a:pt x="5882" y="4294"/>
                  </a:cubicBezTo>
                  <a:cubicBezTo>
                    <a:pt x="6406" y="4294"/>
                    <a:pt x="6835" y="4722"/>
                    <a:pt x="6835" y="5234"/>
                  </a:cubicBezTo>
                  <a:cubicBezTo>
                    <a:pt x="6835" y="5758"/>
                    <a:pt x="6406" y="6187"/>
                    <a:pt x="5882" y="6187"/>
                  </a:cubicBezTo>
                  <a:cubicBezTo>
                    <a:pt x="5799" y="6187"/>
                    <a:pt x="5716" y="6270"/>
                    <a:pt x="5716" y="6353"/>
                  </a:cubicBezTo>
                  <a:lnTo>
                    <a:pt x="5716" y="7234"/>
                  </a:lnTo>
                  <a:lnTo>
                    <a:pt x="4990" y="7234"/>
                  </a:lnTo>
                  <a:cubicBezTo>
                    <a:pt x="4906" y="7234"/>
                    <a:pt x="4823" y="7306"/>
                    <a:pt x="4823" y="7401"/>
                  </a:cubicBezTo>
                  <a:cubicBezTo>
                    <a:pt x="4823" y="7484"/>
                    <a:pt x="4906" y="7568"/>
                    <a:pt x="4990" y="7568"/>
                  </a:cubicBezTo>
                  <a:lnTo>
                    <a:pt x="6775" y="7568"/>
                  </a:lnTo>
                  <a:cubicBezTo>
                    <a:pt x="6839" y="8230"/>
                    <a:pt x="7403" y="8726"/>
                    <a:pt x="8059" y="8726"/>
                  </a:cubicBezTo>
                  <a:cubicBezTo>
                    <a:pt x="8146" y="8726"/>
                    <a:pt x="8234" y="8717"/>
                    <a:pt x="8323" y="8699"/>
                  </a:cubicBezTo>
                  <a:cubicBezTo>
                    <a:pt x="8419" y="8675"/>
                    <a:pt x="8478" y="8592"/>
                    <a:pt x="8454" y="8496"/>
                  </a:cubicBezTo>
                  <a:cubicBezTo>
                    <a:pt x="8443" y="8420"/>
                    <a:pt x="8373" y="8364"/>
                    <a:pt x="8288" y="8364"/>
                  </a:cubicBezTo>
                  <a:cubicBezTo>
                    <a:pt x="8280" y="8364"/>
                    <a:pt x="8272" y="8364"/>
                    <a:pt x="8264" y="8365"/>
                  </a:cubicBezTo>
                  <a:cubicBezTo>
                    <a:pt x="8195" y="8380"/>
                    <a:pt x="8127" y="8387"/>
                    <a:pt x="8061" y="8387"/>
                  </a:cubicBezTo>
                  <a:cubicBezTo>
                    <a:pt x="7535" y="8387"/>
                    <a:pt x="7089" y="7950"/>
                    <a:pt x="7121" y="7401"/>
                  </a:cubicBezTo>
                  <a:cubicBezTo>
                    <a:pt x="7121" y="7353"/>
                    <a:pt x="7109" y="7306"/>
                    <a:pt x="7073" y="7282"/>
                  </a:cubicBezTo>
                  <a:cubicBezTo>
                    <a:pt x="7034" y="7237"/>
                    <a:pt x="7003" y="7227"/>
                    <a:pt x="6891" y="7227"/>
                  </a:cubicBezTo>
                  <a:cubicBezTo>
                    <a:pt x="6787" y="7227"/>
                    <a:pt x="6613" y="7236"/>
                    <a:pt x="6299" y="7236"/>
                  </a:cubicBezTo>
                  <a:cubicBezTo>
                    <a:pt x="6227" y="7236"/>
                    <a:pt x="6148" y="7236"/>
                    <a:pt x="6061" y="7234"/>
                  </a:cubicBezTo>
                  <a:lnTo>
                    <a:pt x="6061" y="6508"/>
                  </a:lnTo>
                  <a:cubicBezTo>
                    <a:pt x="6811" y="6401"/>
                    <a:pt x="7299" y="5698"/>
                    <a:pt x="7145" y="4972"/>
                  </a:cubicBezTo>
                  <a:cubicBezTo>
                    <a:pt x="7049" y="4472"/>
                    <a:pt x="6633" y="4032"/>
                    <a:pt x="6061" y="3960"/>
                  </a:cubicBezTo>
                  <a:lnTo>
                    <a:pt x="6061" y="3234"/>
                  </a:lnTo>
                  <a:lnTo>
                    <a:pt x="6787" y="3234"/>
                  </a:lnTo>
                  <a:cubicBezTo>
                    <a:pt x="6878" y="3888"/>
                    <a:pt x="7448" y="4334"/>
                    <a:pt x="8061" y="4334"/>
                  </a:cubicBezTo>
                  <a:cubicBezTo>
                    <a:pt x="8252" y="4334"/>
                    <a:pt x="8447" y="4291"/>
                    <a:pt x="8633" y="4198"/>
                  </a:cubicBezTo>
                  <a:cubicBezTo>
                    <a:pt x="9026" y="4008"/>
                    <a:pt x="9276" y="3651"/>
                    <a:pt x="9335" y="3234"/>
                  </a:cubicBezTo>
                  <a:lnTo>
                    <a:pt x="10062" y="3234"/>
                  </a:lnTo>
                  <a:lnTo>
                    <a:pt x="10062" y="3960"/>
                  </a:lnTo>
                  <a:cubicBezTo>
                    <a:pt x="9109" y="4091"/>
                    <a:pt x="8633" y="5246"/>
                    <a:pt x="9228" y="6020"/>
                  </a:cubicBezTo>
                  <a:cubicBezTo>
                    <a:pt x="9262" y="6060"/>
                    <a:pt x="9311" y="6082"/>
                    <a:pt x="9360" y="6082"/>
                  </a:cubicBezTo>
                  <a:cubicBezTo>
                    <a:pt x="9398" y="6082"/>
                    <a:pt x="9435" y="6069"/>
                    <a:pt x="9466" y="6044"/>
                  </a:cubicBezTo>
                  <a:cubicBezTo>
                    <a:pt x="9550" y="5984"/>
                    <a:pt x="9562" y="5877"/>
                    <a:pt x="9502" y="5806"/>
                  </a:cubicBezTo>
                  <a:cubicBezTo>
                    <a:pt x="9026" y="5198"/>
                    <a:pt x="9454" y="4294"/>
                    <a:pt x="10228" y="4270"/>
                  </a:cubicBezTo>
                  <a:cubicBezTo>
                    <a:pt x="10324" y="4270"/>
                    <a:pt x="10395" y="4198"/>
                    <a:pt x="10395" y="4103"/>
                  </a:cubicBezTo>
                  <a:lnTo>
                    <a:pt x="10395" y="1007"/>
                  </a:lnTo>
                  <a:cubicBezTo>
                    <a:pt x="10383" y="936"/>
                    <a:pt x="10312" y="865"/>
                    <a:pt x="10216" y="865"/>
                  </a:cubicBezTo>
                  <a:cubicBezTo>
                    <a:pt x="10133" y="865"/>
                    <a:pt x="10050" y="936"/>
                    <a:pt x="10050" y="1031"/>
                  </a:cubicBezTo>
                  <a:lnTo>
                    <a:pt x="10050" y="2900"/>
                  </a:lnTo>
                  <a:lnTo>
                    <a:pt x="9157" y="2900"/>
                  </a:lnTo>
                  <a:cubicBezTo>
                    <a:pt x="9073" y="2900"/>
                    <a:pt x="8990" y="2984"/>
                    <a:pt x="8990" y="3067"/>
                  </a:cubicBezTo>
                  <a:cubicBezTo>
                    <a:pt x="8990" y="3293"/>
                    <a:pt x="8907" y="3520"/>
                    <a:pt x="8740" y="3698"/>
                  </a:cubicBezTo>
                  <a:cubicBezTo>
                    <a:pt x="8542" y="3912"/>
                    <a:pt x="8291" y="4008"/>
                    <a:pt x="8045" y="4008"/>
                  </a:cubicBezTo>
                  <a:cubicBezTo>
                    <a:pt x="7564" y="4008"/>
                    <a:pt x="7101" y="3642"/>
                    <a:pt x="7085" y="3067"/>
                  </a:cubicBezTo>
                  <a:cubicBezTo>
                    <a:pt x="7085" y="2984"/>
                    <a:pt x="7014" y="2900"/>
                    <a:pt x="6930" y="2900"/>
                  </a:cubicBezTo>
                  <a:lnTo>
                    <a:pt x="6049" y="2900"/>
                  </a:lnTo>
                  <a:lnTo>
                    <a:pt x="6049" y="2031"/>
                  </a:lnTo>
                  <a:cubicBezTo>
                    <a:pt x="6049" y="1936"/>
                    <a:pt x="5978" y="1865"/>
                    <a:pt x="5882" y="1865"/>
                  </a:cubicBezTo>
                  <a:cubicBezTo>
                    <a:pt x="5061" y="1865"/>
                    <a:pt x="4632" y="900"/>
                    <a:pt x="5168" y="281"/>
                  </a:cubicBezTo>
                  <a:cubicBezTo>
                    <a:pt x="5228" y="210"/>
                    <a:pt x="5228" y="103"/>
                    <a:pt x="5156" y="43"/>
                  </a:cubicBezTo>
                  <a:cubicBezTo>
                    <a:pt x="5123" y="16"/>
                    <a:pt x="5083" y="1"/>
                    <a:pt x="50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7" name="Google Shape;12227;p62"/>
            <p:cNvSpPr/>
            <p:nvPr/>
          </p:nvSpPr>
          <p:spPr>
            <a:xfrm>
              <a:off x="3139267" y="1504428"/>
              <a:ext cx="77668" cy="78113"/>
            </a:xfrm>
            <a:custGeom>
              <a:avLst/>
              <a:gdLst/>
              <a:ahLst/>
              <a:cxnLst/>
              <a:rect l="l" t="t" r="r" b="b"/>
              <a:pathLst>
                <a:path w="2442" h="2456" extrusionOk="0">
                  <a:moveTo>
                    <a:pt x="2255" y="1"/>
                  </a:moveTo>
                  <a:cubicBezTo>
                    <a:pt x="2226" y="1"/>
                    <a:pt x="2196" y="9"/>
                    <a:pt x="2168" y="25"/>
                  </a:cubicBezTo>
                  <a:cubicBezTo>
                    <a:pt x="1810" y="216"/>
                    <a:pt x="1572" y="573"/>
                    <a:pt x="1513" y="978"/>
                  </a:cubicBezTo>
                  <a:lnTo>
                    <a:pt x="620" y="978"/>
                  </a:lnTo>
                  <a:cubicBezTo>
                    <a:pt x="536" y="978"/>
                    <a:pt x="465" y="1049"/>
                    <a:pt x="465" y="1132"/>
                  </a:cubicBezTo>
                  <a:lnTo>
                    <a:pt x="465" y="2025"/>
                  </a:lnTo>
                  <a:cubicBezTo>
                    <a:pt x="346" y="2049"/>
                    <a:pt x="215" y="2073"/>
                    <a:pt x="120" y="2132"/>
                  </a:cubicBezTo>
                  <a:cubicBezTo>
                    <a:pt x="24" y="2180"/>
                    <a:pt x="1" y="2263"/>
                    <a:pt x="24" y="2359"/>
                  </a:cubicBezTo>
                  <a:cubicBezTo>
                    <a:pt x="60" y="2420"/>
                    <a:pt x="121" y="2456"/>
                    <a:pt x="184" y="2456"/>
                  </a:cubicBezTo>
                  <a:cubicBezTo>
                    <a:pt x="206" y="2456"/>
                    <a:pt x="229" y="2451"/>
                    <a:pt x="251" y="2442"/>
                  </a:cubicBezTo>
                  <a:cubicBezTo>
                    <a:pt x="370" y="2382"/>
                    <a:pt x="501" y="2359"/>
                    <a:pt x="620" y="2359"/>
                  </a:cubicBezTo>
                  <a:cubicBezTo>
                    <a:pt x="715" y="2359"/>
                    <a:pt x="786" y="2275"/>
                    <a:pt x="786" y="2192"/>
                  </a:cubicBezTo>
                  <a:lnTo>
                    <a:pt x="786" y="1299"/>
                  </a:lnTo>
                  <a:lnTo>
                    <a:pt x="1667" y="1299"/>
                  </a:lnTo>
                  <a:cubicBezTo>
                    <a:pt x="1751" y="1299"/>
                    <a:pt x="1834" y="1228"/>
                    <a:pt x="1834" y="1132"/>
                  </a:cubicBezTo>
                  <a:cubicBezTo>
                    <a:pt x="1834" y="1132"/>
                    <a:pt x="1810" y="585"/>
                    <a:pt x="2322" y="299"/>
                  </a:cubicBezTo>
                  <a:cubicBezTo>
                    <a:pt x="2406" y="263"/>
                    <a:pt x="2441" y="168"/>
                    <a:pt x="2394" y="85"/>
                  </a:cubicBezTo>
                  <a:cubicBezTo>
                    <a:pt x="2362" y="30"/>
                    <a:pt x="2311" y="1"/>
                    <a:pt x="22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8" name="Google Shape;12228;p62"/>
            <p:cNvSpPr/>
            <p:nvPr/>
          </p:nvSpPr>
          <p:spPr>
            <a:xfrm>
              <a:off x="3226381" y="1499880"/>
              <a:ext cx="116279" cy="82661"/>
            </a:xfrm>
            <a:custGeom>
              <a:avLst/>
              <a:gdLst/>
              <a:ahLst/>
              <a:cxnLst/>
              <a:rect l="l" t="t" r="r" b="b"/>
              <a:pathLst>
                <a:path w="3656" h="2599" extrusionOk="0">
                  <a:moveTo>
                    <a:pt x="170" y="0"/>
                  </a:moveTo>
                  <a:cubicBezTo>
                    <a:pt x="83" y="0"/>
                    <a:pt x="12" y="67"/>
                    <a:pt x="12" y="144"/>
                  </a:cubicBezTo>
                  <a:cubicBezTo>
                    <a:pt x="0" y="239"/>
                    <a:pt x="71" y="323"/>
                    <a:pt x="155" y="323"/>
                  </a:cubicBezTo>
                  <a:cubicBezTo>
                    <a:pt x="631" y="370"/>
                    <a:pt x="1024" y="775"/>
                    <a:pt x="1024" y="1275"/>
                  </a:cubicBezTo>
                  <a:cubicBezTo>
                    <a:pt x="1024" y="1371"/>
                    <a:pt x="1095" y="1442"/>
                    <a:pt x="1191" y="1442"/>
                  </a:cubicBezTo>
                  <a:lnTo>
                    <a:pt x="2084" y="1442"/>
                  </a:lnTo>
                  <a:lnTo>
                    <a:pt x="2084" y="2168"/>
                  </a:lnTo>
                  <a:cubicBezTo>
                    <a:pt x="1965" y="2192"/>
                    <a:pt x="1822" y="2228"/>
                    <a:pt x="1738" y="2275"/>
                  </a:cubicBezTo>
                  <a:cubicBezTo>
                    <a:pt x="1643" y="2299"/>
                    <a:pt x="1619" y="2406"/>
                    <a:pt x="1643" y="2502"/>
                  </a:cubicBezTo>
                  <a:cubicBezTo>
                    <a:pt x="1669" y="2563"/>
                    <a:pt x="1735" y="2599"/>
                    <a:pt x="1801" y="2599"/>
                  </a:cubicBezTo>
                  <a:cubicBezTo>
                    <a:pt x="1824" y="2599"/>
                    <a:pt x="1848" y="2594"/>
                    <a:pt x="1869" y="2585"/>
                  </a:cubicBezTo>
                  <a:cubicBezTo>
                    <a:pt x="1988" y="2549"/>
                    <a:pt x="2107" y="2514"/>
                    <a:pt x="2238" y="2514"/>
                  </a:cubicBezTo>
                  <a:cubicBezTo>
                    <a:pt x="2334" y="2514"/>
                    <a:pt x="2405" y="2442"/>
                    <a:pt x="2405" y="2347"/>
                  </a:cubicBezTo>
                  <a:lnTo>
                    <a:pt x="2405" y="1454"/>
                  </a:lnTo>
                  <a:lnTo>
                    <a:pt x="3131" y="1454"/>
                  </a:lnTo>
                  <a:cubicBezTo>
                    <a:pt x="3167" y="1668"/>
                    <a:pt x="3227" y="1859"/>
                    <a:pt x="3346" y="2025"/>
                  </a:cubicBezTo>
                  <a:cubicBezTo>
                    <a:pt x="3376" y="2072"/>
                    <a:pt x="3427" y="2098"/>
                    <a:pt x="3485" y="2098"/>
                  </a:cubicBezTo>
                  <a:cubicBezTo>
                    <a:pt x="3516" y="2098"/>
                    <a:pt x="3550" y="2090"/>
                    <a:pt x="3584" y="2073"/>
                  </a:cubicBezTo>
                  <a:cubicBezTo>
                    <a:pt x="3643" y="2013"/>
                    <a:pt x="3655" y="1906"/>
                    <a:pt x="3620" y="1823"/>
                  </a:cubicBezTo>
                  <a:cubicBezTo>
                    <a:pt x="3500" y="1656"/>
                    <a:pt x="3453" y="1442"/>
                    <a:pt x="3453" y="1299"/>
                  </a:cubicBezTo>
                  <a:cubicBezTo>
                    <a:pt x="3453" y="1204"/>
                    <a:pt x="3381" y="1121"/>
                    <a:pt x="3286" y="1121"/>
                  </a:cubicBezTo>
                  <a:lnTo>
                    <a:pt x="1334" y="1121"/>
                  </a:lnTo>
                  <a:cubicBezTo>
                    <a:pt x="1262" y="525"/>
                    <a:pt x="774" y="61"/>
                    <a:pt x="191" y="1"/>
                  </a:cubicBezTo>
                  <a:cubicBezTo>
                    <a:pt x="183" y="0"/>
                    <a:pt x="177" y="0"/>
                    <a:pt x="1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9" name="Google Shape;12229;p62"/>
            <p:cNvSpPr/>
            <p:nvPr/>
          </p:nvSpPr>
          <p:spPr>
            <a:xfrm>
              <a:off x="3179786" y="1775216"/>
              <a:ext cx="86764" cy="46594"/>
            </a:xfrm>
            <a:custGeom>
              <a:avLst/>
              <a:gdLst/>
              <a:ahLst/>
              <a:cxnLst/>
              <a:rect l="l" t="t" r="r" b="b"/>
              <a:pathLst>
                <a:path w="2728" h="1465" extrusionOk="0">
                  <a:moveTo>
                    <a:pt x="1525" y="0"/>
                  </a:moveTo>
                  <a:cubicBezTo>
                    <a:pt x="870" y="0"/>
                    <a:pt x="322" y="500"/>
                    <a:pt x="239" y="1131"/>
                  </a:cubicBezTo>
                  <a:lnTo>
                    <a:pt x="167" y="1131"/>
                  </a:lnTo>
                  <a:cubicBezTo>
                    <a:pt x="84" y="1131"/>
                    <a:pt x="1" y="1215"/>
                    <a:pt x="1" y="1298"/>
                  </a:cubicBezTo>
                  <a:cubicBezTo>
                    <a:pt x="1" y="1393"/>
                    <a:pt x="84" y="1465"/>
                    <a:pt x="167" y="1465"/>
                  </a:cubicBezTo>
                  <a:lnTo>
                    <a:pt x="405" y="1465"/>
                  </a:lnTo>
                  <a:cubicBezTo>
                    <a:pt x="501" y="1465"/>
                    <a:pt x="584" y="1393"/>
                    <a:pt x="572" y="1286"/>
                  </a:cubicBezTo>
                  <a:cubicBezTo>
                    <a:pt x="560" y="798"/>
                    <a:pt x="953" y="322"/>
                    <a:pt x="1525" y="322"/>
                  </a:cubicBezTo>
                  <a:cubicBezTo>
                    <a:pt x="1882" y="322"/>
                    <a:pt x="2227" y="524"/>
                    <a:pt x="2382" y="857"/>
                  </a:cubicBezTo>
                  <a:cubicBezTo>
                    <a:pt x="2415" y="915"/>
                    <a:pt x="2471" y="950"/>
                    <a:pt x="2530" y="950"/>
                  </a:cubicBezTo>
                  <a:cubicBezTo>
                    <a:pt x="2556" y="950"/>
                    <a:pt x="2583" y="943"/>
                    <a:pt x="2608" y="929"/>
                  </a:cubicBezTo>
                  <a:cubicBezTo>
                    <a:pt x="2679" y="905"/>
                    <a:pt x="2727" y="810"/>
                    <a:pt x="2679" y="738"/>
                  </a:cubicBezTo>
                  <a:cubicBezTo>
                    <a:pt x="2477" y="286"/>
                    <a:pt x="2013" y="0"/>
                    <a:pt x="1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0" name="Google Shape;12230;p62"/>
            <p:cNvSpPr/>
            <p:nvPr/>
          </p:nvSpPr>
          <p:spPr>
            <a:xfrm>
              <a:off x="3154024" y="1712337"/>
              <a:ext cx="15203" cy="109473"/>
            </a:xfrm>
            <a:custGeom>
              <a:avLst/>
              <a:gdLst/>
              <a:ahLst/>
              <a:cxnLst/>
              <a:rect l="l" t="t" r="r" b="b"/>
              <a:pathLst>
                <a:path w="478" h="3442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275"/>
                  </a:lnTo>
                  <a:cubicBezTo>
                    <a:pt x="1" y="3370"/>
                    <a:pt x="72" y="3442"/>
                    <a:pt x="156" y="3442"/>
                  </a:cubicBezTo>
                  <a:lnTo>
                    <a:pt x="310" y="3442"/>
                  </a:lnTo>
                  <a:cubicBezTo>
                    <a:pt x="394" y="3442"/>
                    <a:pt x="477" y="3370"/>
                    <a:pt x="477" y="3275"/>
                  </a:cubicBezTo>
                  <a:cubicBezTo>
                    <a:pt x="477" y="3203"/>
                    <a:pt x="418" y="3132"/>
                    <a:pt x="322" y="3108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31" name="Google Shape;12231;p62"/>
          <p:cNvSpPr/>
          <p:nvPr/>
        </p:nvSpPr>
        <p:spPr>
          <a:xfrm>
            <a:off x="3196834" y="1954214"/>
            <a:ext cx="118537" cy="373518"/>
          </a:xfrm>
          <a:custGeom>
            <a:avLst/>
            <a:gdLst/>
            <a:ahLst/>
            <a:cxnLst/>
            <a:rect l="l" t="t" r="r" b="b"/>
            <a:pathLst>
              <a:path w="3727" h="11744" extrusionOk="0">
                <a:moveTo>
                  <a:pt x="3273" y="1"/>
                </a:moveTo>
                <a:cubicBezTo>
                  <a:pt x="2520" y="1"/>
                  <a:pt x="1832" y="264"/>
                  <a:pt x="1239" y="802"/>
                </a:cubicBezTo>
                <a:cubicBezTo>
                  <a:pt x="762" y="1254"/>
                  <a:pt x="453" y="1790"/>
                  <a:pt x="286" y="2147"/>
                </a:cubicBezTo>
                <a:cubicBezTo>
                  <a:pt x="238" y="2230"/>
                  <a:pt x="286" y="2337"/>
                  <a:pt x="381" y="2385"/>
                </a:cubicBezTo>
                <a:cubicBezTo>
                  <a:pt x="404" y="2398"/>
                  <a:pt x="428" y="2404"/>
                  <a:pt x="452" y="2404"/>
                </a:cubicBezTo>
                <a:cubicBezTo>
                  <a:pt x="518" y="2404"/>
                  <a:pt x="585" y="2360"/>
                  <a:pt x="619" y="2290"/>
                </a:cubicBezTo>
                <a:cubicBezTo>
                  <a:pt x="1148" y="1163"/>
                  <a:pt x="2035" y="349"/>
                  <a:pt x="3314" y="349"/>
                </a:cubicBezTo>
                <a:cubicBezTo>
                  <a:pt x="3333" y="349"/>
                  <a:pt x="3351" y="349"/>
                  <a:pt x="3370" y="349"/>
                </a:cubicBezTo>
                <a:cubicBezTo>
                  <a:pt x="3084" y="694"/>
                  <a:pt x="2858" y="1040"/>
                  <a:pt x="2727" y="1421"/>
                </a:cubicBezTo>
                <a:cubicBezTo>
                  <a:pt x="2489" y="2135"/>
                  <a:pt x="2739" y="2564"/>
                  <a:pt x="2846" y="2814"/>
                </a:cubicBezTo>
                <a:cubicBezTo>
                  <a:pt x="3179" y="3611"/>
                  <a:pt x="2644" y="4540"/>
                  <a:pt x="1786" y="4588"/>
                </a:cubicBezTo>
                <a:cubicBezTo>
                  <a:pt x="1761" y="4588"/>
                  <a:pt x="1725" y="4589"/>
                  <a:pt x="1681" y="4589"/>
                </a:cubicBezTo>
                <a:cubicBezTo>
                  <a:pt x="1560" y="4589"/>
                  <a:pt x="1374" y="4577"/>
                  <a:pt x="1155" y="4481"/>
                </a:cubicBezTo>
                <a:cubicBezTo>
                  <a:pt x="584" y="4231"/>
                  <a:pt x="274" y="3576"/>
                  <a:pt x="393" y="2897"/>
                </a:cubicBezTo>
                <a:cubicBezTo>
                  <a:pt x="405" y="2814"/>
                  <a:pt x="346" y="2718"/>
                  <a:pt x="238" y="2695"/>
                </a:cubicBezTo>
                <a:cubicBezTo>
                  <a:pt x="231" y="2694"/>
                  <a:pt x="224" y="2693"/>
                  <a:pt x="217" y="2693"/>
                </a:cubicBezTo>
                <a:cubicBezTo>
                  <a:pt x="139" y="2693"/>
                  <a:pt x="58" y="2750"/>
                  <a:pt x="36" y="2837"/>
                </a:cubicBezTo>
                <a:cubicBezTo>
                  <a:pt x="24" y="2957"/>
                  <a:pt x="0" y="3064"/>
                  <a:pt x="0" y="3183"/>
                </a:cubicBezTo>
                <a:cubicBezTo>
                  <a:pt x="0" y="3826"/>
                  <a:pt x="298" y="4361"/>
                  <a:pt x="750" y="4659"/>
                </a:cubicBezTo>
                <a:cubicBezTo>
                  <a:pt x="393" y="6921"/>
                  <a:pt x="441" y="9553"/>
                  <a:pt x="1465" y="11612"/>
                </a:cubicBezTo>
                <a:cubicBezTo>
                  <a:pt x="1501" y="11684"/>
                  <a:pt x="1584" y="11743"/>
                  <a:pt x="1667" y="11743"/>
                </a:cubicBezTo>
                <a:cubicBezTo>
                  <a:pt x="1762" y="11743"/>
                  <a:pt x="1834" y="11696"/>
                  <a:pt x="1882" y="11612"/>
                </a:cubicBezTo>
                <a:cubicBezTo>
                  <a:pt x="2143" y="11077"/>
                  <a:pt x="2358" y="10457"/>
                  <a:pt x="2501" y="9803"/>
                </a:cubicBezTo>
                <a:cubicBezTo>
                  <a:pt x="2524" y="9719"/>
                  <a:pt x="2477" y="9612"/>
                  <a:pt x="2370" y="9600"/>
                </a:cubicBezTo>
                <a:cubicBezTo>
                  <a:pt x="2360" y="9599"/>
                  <a:pt x="2349" y="9598"/>
                  <a:pt x="2338" y="9598"/>
                </a:cubicBezTo>
                <a:cubicBezTo>
                  <a:pt x="2262" y="9598"/>
                  <a:pt x="2178" y="9637"/>
                  <a:pt x="2167" y="9731"/>
                </a:cubicBezTo>
                <a:cubicBezTo>
                  <a:pt x="2048" y="10267"/>
                  <a:pt x="1870" y="10779"/>
                  <a:pt x="1667" y="11231"/>
                </a:cubicBezTo>
                <a:cubicBezTo>
                  <a:pt x="1060" y="9862"/>
                  <a:pt x="869" y="8302"/>
                  <a:pt x="893" y="6814"/>
                </a:cubicBezTo>
                <a:lnTo>
                  <a:pt x="1155" y="6814"/>
                </a:lnTo>
                <a:cubicBezTo>
                  <a:pt x="1250" y="6814"/>
                  <a:pt x="1334" y="6743"/>
                  <a:pt x="1334" y="6636"/>
                </a:cubicBezTo>
                <a:cubicBezTo>
                  <a:pt x="1334" y="6552"/>
                  <a:pt x="1250" y="6457"/>
                  <a:pt x="1155" y="6457"/>
                </a:cubicBezTo>
                <a:lnTo>
                  <a:pt x="917" y="6457"/>
                </a:lnTo>
                <a:cubicBezTo>
                  <a:pt x="917" y="6397"/>
                  <a:pt x="929" y="6112"/>
                  <a:pt x="953" y="5838"/>
                </a:cubicBezTo>
                <a:lnTo>
                  <a:pt x="1584" y="5838"/>
                </a:lnTo>
                <a:cubicBezTo>
                  <a:pt x="1691" y="5838"/>
                  <a:pt x="1762" y="5755"/>
                  <a:pt x="1762" y="5659"/>
                </a:cubicBezTo>
                <a:cubicBezTo>
                  <a:pt x="1762" y="5552"/>
                  <a:pt x="1691" y="5481"/>
                  <a:pt x="1584" y="5481"/>
                </a:cubicBezTo>
                <a:lnTo>
                  <a:pt x="989" y="5481"/>
                </a:lnTo>
                <a:cubicBezTo>
                  <a:pt x="1012" y="5243"/>
                  <a:pt x="1048" y="5016"/>
                  <a:pt x="1072" y="4814"/>
                </a:cubicBezTo>
                <a:cubicBezTo>
                  <a:pt x="1250" y="4879"/>
                  <a:pt x="1456" y="4912"/>
                  <a:pt x="1661" y="4912"/>
                </a:cubicBezTo>
                <a:cubicBezTo>
                  <a:pt x="1867" y="4912"/>
                  <a:pt x="2072" y="4879"/>
                  <a:pt x="2251" y="4814"/>
                </a:cubicBezTo>
                <a:cubicBezTo>
                  <a:pt x="2286" y="5016"/>
                  <a:pt x="2310" y="5243"/>
                  <a:pt x="2346" y="5481"/>
                </a:cubicBezTo>
                <a:lnTo>
                  <a:pt x="2286" y="5481"/>
                </a:lnTo>
                <a:cubicBezTo>
                  <a:pt x="2191" y="5481"/>
                  <a:pt x="2108" y="5552"/>
                  <a:pt x="2108" y="5659"/>
                </a:cubicBezTo>
                <a:cubicBezTo>
                  <a:pt x="2108" y="5755"/>
                  <a:pt x="2179" y="5838"/>
                  <a:pt x="2286" y="5838"/>
                </a:cubicBezTo>
                <a:lnTo>
                  <a:pt x="2370" y="5838"/>
                </a:lnTo>
                <a:cubicBezTo>
                  <a:pt x="2382" y="6052"/>
                  <a:pt x="2405" y="6231"/>
                  <a:pt x="2417" y="6457"/>
                </a:cubicBezTo>
                <a:lnTo>
                  <a:pt x="1870" y="6457"/>
                </a:lnTo>
                <a:cubicBezTo>
                  <a:pt x="1774" y="6457"/>
                  <a:pt x="1691" y="6528"/>
                  <a:pt x="1691" y="6636"/>
                </a:cubicBezTo>
                <a:cubicBezTo>
                  <a:pt x="1691" y="6743"/>
                  <a:pt x="1762" y="6814"/>
                  <a:pt x="1870" y="6814"/>
                </a:cubicBezTo>
                <a:lnTo>
                  <a:pt x="2441" y="6814"/>
                </a:lnTo>
                <a:cubicBezTo>
                  <a:pt x="2465" y="7540"/>
                  <a:pt x="2429" y="8314"/>
                  <a:pt x="2310" y="9064"/>
                </a:cubicBezTo>
                <a:cubicBezTo>
                  <a:pt x="2298" y="9160"/>
                  <a:pt x="2358" y="9243"/>
                  <a:pt x="2465" y="9255"/>
                </a:cubicBezTo>
                <a:cubicBezTo>
                  <a:pt x="2476" y="9258"/>
                  <a:pt x="2487" y="9260"/>
                  <a:pt x="2498" y="9260"/>
                </a:cubicBezTo>
                <a:cubicBezTo>
                  <a:pt x="2572" y="9260"/>
                  <a:pt x="2645" y="9195"/>
                  <a:pt x="2655" y="9112"/>
                </a:cubicBezTo>
                <a:cubicBezTo>
                  <a:pt x="2882" y="7671"/>
                  <a:pt x="2834" y="6088"/>
                  <a:pt x="2596" y="4647"/>
                </a:cubicBezTo>
                <a:cubicBezTo>
                  <a:pt x="3191" y="4231"/>
                  <a:pt x="3477" y="3409"/>
                  <a:pt x="3179" y="2659"/>
                </a:cubicBezTo>
                <a:cubicBezTo>
                  <a:pt x="3072" y="2397"/>
                  <a:pt x="2691" y="1849"/>
                  <a:pt x="3417" y="849"/>
                </a:cubicBezTo>
                <a:cubicBezTo>
                  <a:pt x="3667" y="492"/>
                  <a:pt x="3727" y="492"/>
                  <a:pt x="3727" y="325"/>
                </a:cubicBezTo>
                <a:cubicBezTo>
                  <a:pt x="3727" y="147"/>
                  <a:pt x="3596" y="16"/>
                  <a:pt x="3417" y="4"/>
                </a:cubicBezTo>
                <a:cubicBezTo>
                  <a:pt x="3369" y="2"/>
                  <a:pt x="3321" y="1"/>
                  <a:pt x="327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32" name="Google Shape;12232;p62"/>
          <p:cNvGrpSpPr/>
          <p:nvPr/>
        </p:nvGrpSpPr>
        <p:grpSpPr>
          <a:xfrm>
            <a:off x="3485575" y="1999759"/>
            <a:ext cx="373772" cy="284050"/>
            <a:chOff x="3531200" y="1999759"/>
            <a:chExt cx="373772" cy="284050"/>
          </a:xfrm>
        </p:grpSpPr>
        <p:sp>
          <p:nvSpPr>
            <p:cNvPr id="12233" name="Google Shape;12233;p62"/>
            <p:cNvSpPr/>
            <p:nvPr/>
          </p:nvSpPr>
          <p:spPr>
            <a:xfrm>
              <a:off x="3531200" y="1999759"/>
              <a:ext cx="373772" cy="283669"/>
            </a:xfrm>
            <a:custGeom>
              <a:avLst/>
              <a:gdLst/>
              <a:ahLst/>
              <a:cxnLst/>
              <a:rect l="l" t="t" r="r" b="b"/>
              <a:pathLst>
                <a:path w="11752" h="8919" extrusionOk="0">
                  <a:moveTo>
                    <a:pt x="1024" y="1"/>
                  </a:moveTo>
                  <a:cubicBezTo>
                    <a:pt x="465" y="1"/>
                    <a:pt x="1" y="465"/>
                    <a:pt x="1" y="1024"/>
                  </a:cubicBezTo>
                  <a:lnTo>
                    <a:pt x="1" y="7847"/>
                  </a:lnTo>
                  <a:cubicBezTo>
                    <a:pt x="1" y="8418"/>
                    <a:pt x="477" y="8918"/>
                    <a:pt x="1072" y="8918"/>
                  </a:cubicBezTo>
                  <a:lnTo>
                    <a:pt x="4513" y="8918"/>
                  </a:lnTo>
                  <a:cubicBezTo>
                    <a:pt x="4596" y="8918"/>
                    <a:pt x="4692" y="8835"/>
                    <a:pt x="4692" y="8740"/>
                  </a:cubicBezTo>
                  <a:cubicBezTo>
                    <a:pt x="4692" y="8633"/>
                    <a:pt x="4608" y="8561"/>
                    <a:pt x="4513" y="8561"/>
                  </a:cubicBezTo>
                  <a:lnTo>
                    <a:pt x="1072" y="8561"/>
                  </a:lnTo>
                  <a:cubicBezTo>
                    <a:pt x="667" y="8561"/>
                    <a:pt x="358" y="8228"/>
                    <a:pt x="358" y="7847"/>
                  </a:cubicBezTo>
                  <a:lnTo>
                    <a:pt x="358" y="7763"/>
                  </a:lnTo>
                  <a:cubicBezTo>
                    <a:pt x="405" y="7430"/>
                    <a:pt x="679" y="7168"/>
                    <a:pt x="1024" y="7168"/>
                  </a:cubicBezTo>
                  <a:lnTo>
                    <a:pt x="1358" y="7168"/>
                  </a:lnTo>
                  <a:cubicBezTo>
                    <a:pt x="1441" y="7168"/>
                    <a:pt x="1536" y="7097"/>
                    <a:pt x="1536" y="6990"/>
                  </a:cubicBezTo>
                  <a:cubicBezTo>
                    <a:pt x="1536" y="6906"/>
                    <a:pt x="1453" y="6811"/>
                    <a:pt x="1358" y="6811"/>
                  </a:cubicBezTo>
                  <a:cubicBezTo>
                    <a:pt x="1335" y="6814"/>
                    <a:pt x="1308" y="6815"/>
                    <a:pt x="1278" y="6815"/>
                  </a:cubicBezTo>
                  <a:cubicBezTo>
                    <a:pt x="1231" y="6815"/>
                    <a:pt x="1176" y="6813"/>
                    <a:pt x="1114" y="6813"/>
                  </a:cubicBezTo>
                  <a:cubicBezTo>
                    <a:pt x="900" y="6813"/>
                    <a:pt x="612" y="6839"/>
                    <a:pt x="346" y="7073"/>
                  </a:cubicBezTo>
                  <a:cubicBezTo>
                    <a:pt x="358" y="679"/>
                    <a:pt x="322" y="1001"/>
                    <a:pt x="358" y="834"/>
                  </a:cubicBezTo>
                  <a:cubicBezTo>
                    <a:pt x="429" y="536"/>
                    <a:pt x="703" y="322"/>
                    <a:pt x="1013" y="322"/>
                  </a:cubicBezTo>
                  <a:lnTo>
                    <a:pt x="2441" y="322"/>
                  </a:lnTo>
                  <a:lnTo>
                    <a:pt x="2441" y="6811"/>
                  </a:lnTo>
                  <a:lnTo>
                    <a:pt x="2025" y="6811"/>
                  </a:lnTo>
                  <a:cubicBezTo>
                    <a:pt x="1929" y="6811"/>
                    <a:pt x="1846" y="6894"/>
                    <a:pt x="1846" y="6990"/>
                  </a:cubicBezTo>
                  <a:cubicBezTo>
                    <a:pt x="1846" y="7085"/>
                    <a:pt x="1917" y="7168"/>
                    <a:pt x="2025" y="7168"/>
                  </a:cubicBezTo>
                  <a:lnTo>
                    <a:pt x="2608" y="7168"/>
                  </a:lnTo>
                  <a:cubicBezTo>
                    <a:pt x="2644" y="7168"/>
                    <a:pt x="2691" y="7156"/>
                    <a:pt x="2727" y="7132"/>
                  </a:cubicBezTo>
                  <a:cubicBezTo>
                    <a:pt x="2751" y="7097"/>
                    <a:pt x="2763" y="7049"/>
                    <a:pt x="2763" y="7013"/>
                  </a:cubicBezTo>
                  <a:lnTo>
                    <a:pt x="2763" y="1203"/>
                  </a:lnTo>
                  <a:lnTo>
                    <a:pt x="11371" y="1203"/>
                  </a:lnTo>
                  <a:lnTo>
                    <a:pt x="11371" y="2787"/>
                  </a:lnTo>
                  <a:cubicBezTo>
                    <a:pt x="11371" y="2870"/>
                    <a:pt x="11442" y="2965"/>
                    <a:pt x="11550" y="2965"/>
                  </a:cubicBezTo>
                  <a:cubicBezTo>
                    <a:pt x="11633" y="2965"/>
                    <a:pt x="11728" y="2882"/>
                    <a:pt x="11728" y="2787"/>
                  </a:cubicBezTo>
                  <a:lnTo>
                    <a:pt x="11728" y="1036"/>
                  </a:lnTo>
                  <a:cubicBezTo>
                    <a:pt x="11752" y="941"/>
                    <a:pt x="11681" y="858"/>
                    <a:pt x="11597" y="858"/>
                  </a:cubicBezTo>
                  <a:lnTo>
                    <a:pt x="2810" y="858"/>
                  </a:lnTo>
                  <a:lnTo>
                    <a:pt x="2810" y="179"/>
                  </a:lnTo>
                  <a:cubicBezTo>
                    <a:pt x="2810" y="84"/>
                    <a:pt x="2739" y="1"/>
                    <a:pt x="2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4" name="Google Shape;12234;p62"/>
            <p:cNvSpPr/>
            <p:nvPr/>
          </p:nvSpPr>
          <p:spPr>
            <a:xfrm>
              <a:off x="3690638" y="2104652"/>
              <a:ext cx="214334" cy="179158"/>
            </a:xfrm>
            <a:custGeom>
              <a:avLst/>
              <a:gdLst/>
              <a:ahLst/>
              <a:cxnLst/>
              <a:rect l="l" t="t" r="r" b="b"/>
              <a:pathLst>
                <a:path w="6739" h="5633" extrusionOk="0">
                  <a:moveTo>
                    <a:pt x="6584" y="1"/>
                  </a:moveTo>
                  <a:cubicBezTo>
                    <a:pt x="6489" y="1"/>
                    <a:pt x="6406" y="84"/>
                    <a:pt x="6406" y="179"/>
                  </a:cubicBezTo>
                  <a:lnTo>
                    <a:pt x="6406" y="5275"/>
                  </a:lnTo>
                  <a:lnTo>
                    <a:pt x="179" y="5275"/>
                  </a:lnTo>
                  <a:cubicBezTo>
                    <a:pt x="95" y="5275"/>
                    <a:pt x="0" y="5346"/>
                    <a:pt x="0" y="5454"/>
                  </a:cubicBezTo>
                  <a:cubicBezTo>
                    <a:pt x="0" y="5549"/>
                    <a:pt x="72" y="5632"/>
                    <a:pt x="179" y="5632"/>
                  </a:cubicBezTo>
                  <a:lnTo>
                    <a:pt x="6560" y="5632"/>
                  </a:lnTo>
                  <a:cubicBezTo>
                    <a:pt x="6656" y="5632"/>
                    <a:pt x="6739" y="5549"/>
                    <a:pt x="6739" y="5454"/>
                  </a:cubicBezTo>
                  <a:lnTo>
                    <a:pt x="6739" y="179"/>
                  </a:lnTo>
                  <a:cubicBezTo>
                    <a:pt x="6739" y="84"/>
                    <a:pt x="6668" y="1"/>
                    <a:pt x="6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5" name="Google Shape;12235;p62"/>
            <p:cNvSpPr/>
            <p:nvPr/>
          </p:nvSpPr>
          <p:spPr>
            <a:xfrm>
              <a:off x="3631163" y="2148193"/>
              <a:ext cx="259433" cy="84856"/>
            </a:xfrm>
            <a:custGeom>
              <a:avLst/>
              <a:gdLst/>
              <a:ahLst/>
              <a:cxnLst/>
              <a:rect l="l" t="t" r="r" b="b"/>
              <a:pathLst>
                <a:path w="8157" h="2668" extrusionOk="0"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lnTo>
                    <a:pt x="1" y="2489"/>
                  </a:lnTo>
                  <a:cubicBezTo>
                    <a:pt x="1" y="2584"/>
                    <a:pt x="72" y="2668"/>
                    <a:pt x="179" y="2668"/>
                  </a:cubicBezTo>
                  <a:lnTo>
                    <a:pt x="4954" y="2668"/>
                  </a:lnTo>
                  <a:cubicBezTo>
                    <a:pt x="5037" y="2668"/>
                    <a:pt x="5132" y="2596"/>
                    <a:pt x="5132" y="2489"/>
                  </a:cubicBezTo>
                  <a:cubicBezTo>
                    <a:pt x="5132" y="2382"/>
                    <a:pt x="5061" y="2311"/>
                    <a:pt x="4954" y="2311"/>
                  </a:cubicBezTo>
                  <a:lnTo>
                    <a:pt x="358" y="2311"/>
                  </a:lnTo>
                  <a:lnTo>
                    <a:pt x="358" y="346"/>
                  </a:lnTo>
                  <a:lnTo>
                    <a:pt x="501" y="346"/>
                  </a:lnTo>
                  <a:lnTo>
                    <a:pt x="501" y="1227"/>
                  </a:lnTo>
                  <a:cubicBezTo>
                    <a:pt x="501" y="1310"/>
                    <a:pt x="572" y="1406"/>
                    <a:pt x="679" y="1406"/>
                  </a:cubicBezTo>
                  <a:cubicBezTo>
                    <a:pt x="787" y="1406"/>
                    <a:pt x="858" y="1334"/>
                    <a:pt x="858" y="1227"/>
                  </a:cubicBezTo>
                  <a:lnTo>
                    <a:pt x="858" y="346"/>
                  </a:lnTo>
                  <a:lnTo>
                    <a:pt x="1072" y="346"/>
                  </a:lnTo>
                  <a:lnTo>
                    <a:pt x="1072" y="739"/>
                  </a:lnTo>
                  <a:cubicBezTo>
                    <a:pt x="1072" y="822"/>
                    <a:pt x="1144" y="918"/>
                    <a:pt x="1251" y="918"/>
                  </a:cubicBezTo>
                  <a:cubicBezTo>
                    <a:pt x="1346" y="918"/>
                    <a:pt x="1430" y="834"/>
                    <a:pt x="1430" y="739"/>
                  </a:cubicBezTo>
                  <a:lnTo>
                    <a:pt x="1430" y="346"/>
                  </a:lnTo>
                  <a:lnTo>
                    <a:pt x="1632" y="346"/>
                  </a:lnTo>
                  <a:lnTo>
                    <a:pt x="1632" y="739"/>
                  </a:lnTo>
                  <a:cubicBezTo>
                    <a:pt x="1632" y="822"/>
                    <a:pt x="1703" y="918"/>
                    <a:pt x="1811" y="918"/>
                  </a:cubicBezTo>
                  <a:cubicBezTo>
                    <a:pt x="1918" y="918"/>
                    <a:pt x="1989" y="834"/>
                    <a:pt x="1989" y="739"/>
                  </a:cubicBezTo>
                  <a:lnTo>
                    <a:pt x="1989" y="346"/>
                  </a:lnTo>
                  <a:lnTo>
                    <a:pt x="2203" y="346"/>
                  </a:lnTo>
                  <a:lnTo>
                    <a:pt x="2203" y="739"/>
                  </a:lnTo>
                  <a:cubicBezTo>
                    <a:pt x="2203" y="822"/>
                    <a:pt x="2275" y="918"/>
                    <a:pt x="2382" y="918"/>
                  </a:cubicBezTo>
                  <a:cubicBezTo>
                    <a:pt x="2477" y="918"/>
                    <a:pt x="2561" y="834"/>
                    <a:pt x="2561" y="739"/>
                  </a:cubicBezTo>
                  <a:lnTo>
                    <a:pt x="2561" y="346"/>
                  </a:lnTo>
                  <a:lnTo>
                    <a:pt x="2763" y="346"/>
                  </a:lnTo>
                  <a:lnTo>
                    <a:pt x="2763" y="1227"/>
                  </a:lnTo>
                  <a:cubicBezTo>
                    <a:pt x="2763" y="1310"/>
                    <a:pt x="2834" y="1406"/>
                    <a:pt x="2942" y="1406"/>
                  </a:cubicBezTo>
                  <a:cubicBezTo>
                    <a:pt x="3049" y="1406"/>
                    <a:pt x="3120" y="1334"/>
                    <a:pt x="3120" y="1227"/>
                  </a:cubicBezTo>
                  <a:lnTo>
                    <a:pt x="3120" y="346"/>
                  </a:lnTo>
                  <a:lnTo>
                    <a:pt x="3335" y="346"/>
                  </a:lnTo>
                  <a:lnTo>
                    <a:pt x="3335" y="739"/>
                  </a:lnTo>
                  <a:cubicBezTo>
                    <a:pt x="3335" y="822"/>
                    <a:pt x="3406" y="918"/>
                    <a:pt x="3513" y="918"/>
                  </a:cubicBezTo>
                  <a:cubicBezTo>
                    <a:pt x="3608" y="918"/>
                    <a:pt x="3692" y="834"/>
                    <a:pt x="3692" y="739"/>
                  </a:cubicBezTo>
                  <a:lnTo>
                    <a:pt x="3692" y="346"/>
                  </a:lnTo>
                  <a:lnTo>
                    <a:pt x="3894" y="346"/>
                  </a:lnTo>
                  <a:lnTo>
                    <a:pt x="3894" y="739"/>
                  </a:lnTo>
                  <a:cubicBezTo>
                    <a:pt x="3894" y="822"/>
                    <a:pt x="3966" y="918"/>
                    <a:pt x="4073" y="918"/>
                  </a:cubicBezTo>
                  <a:cubicBezTo>
                    <a:pt x="4168" y="918"/>
                    <a:pt x="4251" y="834"/>
                    <a:pt x="4251" y="739"/>
                  </a:cubicBezTo>
                  <a:lnTo>
                    <a:pt x="4251" y="346"/>
                  </a:lnTo>
                  <a:lnTo>
                    <a:pt x="4466" y="346"/>
                  </a:lnTo>
                  <a:lnTo>
                    <a:pt x="4466" y="739"/>
                  </a:lnTo>
                  <a:cubicBezTo>
                    <a:pt x="4466" y="822"/>
                    <a:pt x="4537" y="918"/>
                    <a:pt x="4644" y="918"/>
                  </a:cubicBezTo>
                  <a:cubicBezTo>
                    <a:pt x="4739" y="918"/>
                    <a:pt x="4823" y="834"/>
                    <a:pt x="4823" y="739"/>
                  </a:cubicBezTo>
                  <a:lnTo>
                    <a:pt x="4823" y="346"/>
                  </a:lnTo>
                  <a:lnTo>
                    <a:pt x="5025" y="346"/>
                  </a:lnTo>
                  <a:lnTo>
                    <a:pt x="5025" y="1227"/>
                  </a:lnTo>
                  <a:cubicBezTo>
                    <a:pt x="5025" y="1310"/>
                    <a:pt x="5097" y="1406"/>
                    <a:pt x="5204" y="1406"/>
                  </a:cubicBezTo>
                  <a:cubicBezTo>
                    <a:pt x="5311" y="1406"/>
                    <a:pt x="5382" y="1334"/>
                    <a:pt x="5382" y="1227"/>
                  </a:cubicBezTo>
                  <a:lnTo>
                    <a:pt x="5382" y="346"/>
                  </a:lnTo>
                  <a:lnTo>
                    <a:pt x="5597" y="346"/>
                  </a:lnTo>
                  <a:lnTo>
                    <a:pt x="5597" y="739"/>
                  </a:lnTo>
                  <a:cubicBezTo>
                    <a:pt x="5597" y="822"/>
                    <a:pt x="5668" y="918"/>
                    <a:pt x="5775" y="918"/>
                  </a:cubicBezTo>
                  <a:cubicBezTo>
                    <a:pt x="5871" y="918"/>
                    <a:pt x="5954" y="834"/>
                    <a:pt x="5954" y="739"/>
                  </a:cubicBezTo>
                  <a:lnTo>
                    <a:pt x="5954" y="346"/>
                  </a:lnTo>
                  <a:lnTo>
                    <a:pt x="6156" y="346"/>
                  </a:lnTo>
                  <a:lnTo>
                    <a:pt x="6156" y="739"/>
                  </a:lnTo>
                  <a:cubicBezTo>
                    <a:pt x="6156" y="822"/>
                    <a:pt x="6228" y="918"/>
                    <a:pt x="6335" y="918"/>
                  </a:cubicBezTo>
                  <a:cubicBezTo>
                    <a:pt x="6442" y="918"/>
                    <a:pt x="6514" y="834"/>
                    <a:pt x="6514" y="739"/>
                  </a:cubicBezTo>
                  <a:lnTo>
                    <a:pt x="6514" y="346"/>
                  </a:lnTo>
                  <a:lnTo>
                    <a:pt x="6728" y="346"/>
                  </a:lnTo>
                  <a:lnTo>
                    <a:pt x="6728" y="739"/>
                  </a:lnTo>
                  <a:cubicBezTo>
                    <a:pt x="6728" y="822"/>
                    <a:pt x="6799" y="918"/>
                    <a:pt x="6906" y="918"/>
                  </a:cubicBezTo>
                  <a:cubicBezTo>
                    <a:pt x="7002" y="918"/>
                    <a:pt x="7085" y="834"/>
                    <a:pt x="7085" y="739"/>
                  </a:cubicBezTo>
                  <a:lnTo>
                    <a:pt x="7085" y="346"/>
                  </a:lnTo>
                  <a:lnTo>
                    <a:pt x="7287" y="346"/>
                  </a:lnTo>
                  <a:lnTo>
                    <a:pt x="7287" y="1227"/>
                  </a:lnTo>
                  <a:cubicBezTo>
                    <a:pt x="7287" y="1310"/>
                    <a:pt x="7359" y="1406"/>
                    <a:pt x="7466" y="1406"/>
                  </a:cubicBezTo>
                  <a:cubicBezTo>
                    <a:pt x="7573" y="1406"/>
                    <a:pt x="7645" y="1334"/>
                    <a:pt x="7645" y="1227"/>
                  </a:cubicBezTo>
                  <a:lnTo>
                    <a:pt x="7645" y="346"/>
                  </a:lnTo>
                  <a:lnTo>
                    <a:pt x="7799" y="346"/>
                  </a:lnTo>
                  <a:lnTo>
                    <a:pt x="7799" y="2311"/>
                  </a:lnTo>
                  <a:lnTo>
                    <a:pt x="5835" y="2311"/>
                  </a:lnTo>
                  <a:cubicBezTo>
                    <a:pt x="5740" y="2311"/>
                    <a:pt x="5656" y="2382"/>
                    <a:pt x="5656" y="2489"/>
                  </a:cubicBezTo>
                  <a:cubicBezTo>
                    <a:pt x="5656" y="2596"/>
                    <a:pt x="5728" y="2668"/>
                    <a:pt x="5835" y="2668"/>
                  </a:cubicBezTo>
                  <a:lnTo>
                    <a:pt x="7978" y="2668"/>
                  </a:lnTo>
                  <a:cubicBezTo>
                    <a:pt x="8061" y="2668"/>
                    <a:pt x="8157" y="2596"/>
                    <a:pt x="8157" y="2489"/>
                  </a:cubicBezTo>
                  <a:lnTo>
                    <a:pt x="8157" y="179"/>
                  </a:lnTo>
                  <a:cubicBezTo>
                    <a:pt x="7954" y="96"/>
                    <a:pt x="7883" y="1"/>
                    <a:pt x="7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6" name="Google Shape;12236;p62"/>
            <p:cNvSpPr/>
            <p:nvPr/>
          </p:nvSpPr>
          <p:spPr>
            <a:xfrm>
              <a:off x="3639496" y="2058089"/>
              <a:ext cx="206414" cy="73120"/>
            </a:xfrm>
            <a:custGeom>
              <a:avLst/>
              <a:gdLst/>
              <a:ahLst/>
              <a:cxnLst/>
              <a:rect l="l" t="t" r="r" b="b"/>
              <a:pathLst>
                <a:path w="6490" h="2299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74"/>
                    <a:pt x="72" y="357"/>
                    <a:pt x="179" y="357"/>
                  </a:cubicBezTo>
                  <a:lnTo>
                    <a:pt x="3013" y="357"/>
                  </a:lnTo>
                  <a:cubicBezTo>
                    <a:pt x="3168" y="357"/>
                    <a:pt x="3311" y="488"/>
                    <a:pt x="3311" y="655"/>
                  </a:cubicBezTo>
                  <a:lnTo>
                    <a:pt x="3311" y="691"/>
                  </a:lnTo>
                  <a:cubicBezTo>
                    <a:pt x="3311" y="857"/>
                    <a:pt x="3168" y="988"/>
                    <a:pt x="3013" y="988"/>
                  </a:cubicBezTo>
                  <a:lnTo>
                    <a:pt x="2799" y="988"/>
                  </a:lnTo>
                  <a:cubicBezTo>
                    <a:pt x="2442" y="988"/>
                    <a:pt x="2144" y="1286"/>
                    <a:pt x="2144" y="1643"/>
                  </a:cubicBezTo>
                  <a:cubicBezTo>
                    <a:pt x="2144" y="2000"/>
                    <a:pt x="2442" y="2298"/>
                    <a:pt x="2799" y="2298"/>
                  </a:cubicBezTo>
                  <a:lnTo>
                    <a:pt x="6311" y="2298"/>
                  </a:lnTo>
                  <a:cubicBezTo>
                    <a:pt x="6406" y="2298"/>
                    <a:pt x="6490" y="2227"/>
                    <a:pt x="6490" y="2119"/>
                  </a:cubicBezTo>
                  <a:cubicBezTo>
                    <a:pt x="6490" y="2024"/>
                    <a:pt x="6418" y="1941"/>
                    <a:pt x="6311" y="1941"/>
                  </a:cubicBezTo>
                  <a:lnTo>
                    <a:pt x="2799" y="1941"/>
                  </a:lnTo>
                  <a:cubicBezTo>
                    <a:pt x="2632" y="1941"/>
                    <a:pt x="2501" y="1810"/>
                    <a:pt x="2501" y="1643"/>
                  </a:cubicBezTo>
                  <a:cubicBezTo>
                    <a:pt x="2501" y="1488"/>
                    <a:pt x="2632" y="1346"/>
                    <a:pt x="2799" y="1346"/>
                  </a:cubicBezTo>
                  <a:lnTo>
                    <a:pt x="3013" y="1346"/>
                  </a:lnTo>
                  <a:cubicBezTo>
                    <a:pt x="3358" y="1346"/>
                    <a:pt x="3656" y="1048"/>
                    <a:pt x="3656" y="691"/>
                  </a:cubicBezTo>
                  <a:lnTo>
                    <a:pt x="3656" y="655"/>
                  </a:lnTo>
                  <a:cubicBezTo>
                    <a:pt x="3656" y="298"/>
                    <a:pt x="3358" y="0"/>
                    <a:pt x="3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37" name="Google Shape;12237;p62"/>
          <p:cNvGrpSpPr/>
          <p:nvPr/>
        </p:nvGrpSpPr>
        <p:grpSpPr>
          <a:xfrm>
            <a:off x="2667058" y="1500293"/>
            <a:ext cx="330231" cy="359015"/>
            <a:chOff x="2667058" y="1500293"/>
            <a:chExt cx="330231" cy="359015"/>
          </a:xfrm>
        </p:grpSpPr>
        <p:sp>
          <p:nvSpPr>
            <p:cNvPr id="12238" name="Google Shape;12238;p62"/>
            <p:cNvSpPr/>
            <p:nvPr/>
          </p:nvSpPr>
          <p:spPr>
            <a:xfrm>
              <a:off x="2944239" y="1581714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9" name="Google Shape;12239;p62"/>
            <p:cNvSpPr/>
            <p:nvPr/>
          </p:nvSpPr>
          <p:spPr>
            <a:xfrm>
              <a:off x="2667058" y="1500293"/>
              <a:ext cx="330231" cy="359015"/>
            </a:xfrm>
            <a:custGeom>
              <a:avLst/>
              <a:gdLst/>
              <a:ahLst/>
              <a:cxnLst/>
              <a:rect l="l" t="t" r="r" b="b"/>
              <a:pathLst>
                <a:path w="10383" h="11288" extrusionOk="0">
                  <a:moveTo>
                    <a:pt x="1036" y="322"/>
                  </a:moveTo>
                  <a:lnTo>
                    <a:pt x="1036" y="1048"/>
                  </a:lnTo>
                  <a:lnTo>
                    <a:pt x="322" y="1048"/>
                  </a:lnTo>
                  <a:lnTo>
                    <a:pt x="322" y="322"/>
                  </a:lnTo>
                  <a:close/>
                  <a:moveTo>
                    <a:pt x="5561" y="334"/>
                  </a:moveTo>
                  <a:lnTo>
                    <a:pt x="5561" y="1048"/>
                  </a:lnTo>
                  <a:lnTo>
                    <a:pt x="4846" y="1048"/>
                  </a:lnTo>
                  <a:lnTo>
                    <a:pt x="4846" y="334"/>
                  </a:lnTo>
                  <a:close/>
                  <a:moveTo>
                    <a:pt x="10049" y="334"/>
                  </a:moveTo>
                  <a:lnTo>
                    <a:pt x="10049" y="1048"/>
                  </a:lnTo>
                  <a:lnTo>
                    <a:pt x="9335" y="1048"/>
                  </a:lnTo>
                  <a:lnTo>
                    <a:pt x="9335" y="334"/>
                  </a:lnTo>
                  <a:close/>
                  <a:moveTo>
                    <a:pt x="8799" y="1905"/>
                  </a:moveTo>
                  <a:lnTo>
                    <a:pt x="8799" y="1905"/>
                  </a:lnTo>
                  <a:cubicBezTo>
                    <a:pt x="8740" y="2381"/>
                    <a:pt x="8728" y="2536"/>
                    <a:pt x="8728" y="2560"/>
                  </a:cubicBezTo>
                  <a:lnTo>
                    <a:pt x="8549" y="2381"/>
                  </a:lnTo>
                  <a:lnTo>
                    <a:pt x="8311" y="2143"/>
                  </a:lnTo>
                  <a:lnTo>
                    <a:pt x="8132" y="1965"/>
                  </a:lnTo>
                  <a:lnTo>
                    <a:pt x="8132" y="1965"/>
                  </a:lnTo>
                  <a:cubicBezTo>
                    <a:pt x="8140" y="1967"/>
                    <a:pt x="8153" y="1969"/>
                    <a:pt x="8173" y="1969"/>
                  </a:cubicBezTo>
                  <a:cubicBezTo>
                    <a:pt x="8242" y="1969"/>
                    <a:pt x="8402" y="1951"/>
                    <a:pt x="8799" y="1905"/>
                  </a:cubicBezTo>
                  <a:close/>
                  <a:moveTo>
                    <a:pt x="7061" y="3048"/>
                  </a:moveTo>
                  <a:lnTo>
                    <a:pt x="7656" y="3644"/>
                  </a:lnTo>
                  <a:cubicBezTo>
                    <a:pt x="7156" y="3703"/>
                    <a:pt x="7347" y="3679"/>
                    <a:pt x="6989" y="3727"/>
                  </a:cubicBezTo>
                  <a:cubicBezTo>
                    <a:pt x="6989" y="3727"/>
                    <a:pt x="7001" y="3644"/>
                    <a:pt x="7061" y="3048"/>
                  </a:cubicBezTo>
                  <a:close/>
                  <a:moveTo>
                    <a:pt x="1036" y="5299"/>
                  </a:moveTo>
                  <a:lnTo>
                    <a:pt x="1036" y="6013"/>
                  </a:lnTo>
                  <a:lnTo>
                    <a:pt x="322" y="6013"/>
                  </a:lnTo>
                  <a:lnTo>
                    <a:pt x="322" y="5299"/>
                  </a:lnTo>
                  <a:close/>
                  <a:moveTo>
                    <a:pt x="10049" y="5299"/>
                  </a:moveTo>
                  <a:lnTo>
                    <a:pt x="10049" y="6013"/>
                  </a:lnTo>
                  <a:lnTo>
                    <a:pt x="9335" y="6013"/>
                  </a:lnTo>
                  <a:lnTo>
                    <a:pt x="9335" y="5299"/>
                  </a:lnTo>
                  <a:close/>
                  <a:moveTo>
                    <a:pt x="6728" y="3227"/>
                  </a:moveTo>
                  <a:lnTo>
                    <a:pt x="6656" y="3894"/>
                  </a:lnTo>
                  <a:cubicBezTo>
                    <a:pt x="6644" y="4001"/>
                    <a:pt x="6751" y="4096"/>
                    <a:pt x="6847" y="4096"/>
                  </a:cubicBezTo>
                  <a:lnTo>
                    <a:pt x="7418" y="4036"/>
                  </a:lnTo>
                  <a:lnTo>
                    <a:pt x="7418" y="10418"/>
                  </a:lnTo>
                  <a:lnTo>
                    <a:pt x="5906" y="10418"/>
                  </a:lnTo>
                  <a:lnTo>
                    <a:pt x="5906" y="10061"/>
                  </a:lnTo>
                  <a:cubicBezTo>
                    <a:pt x="5906" y="9978"/>
                    <a:pt x="5823" y="9894"/>
                    <a:pt x="5739" y="9894"/>
                  </a:cubicBezTo>
                  <a:lnTo>
                    <a:pt x="4680" y="9894"/>
                  </a:lnTo>
                  <a:cubicBezTo>
                    <a:pt x="4596" y="9894"/>
                    <a:pt x="4513" y="9978"/>
                    <a:pt x="4513" y="10061"/>
                  </a:cubicBezTo>
                  <a:lnTo>
                    <a:pt x="4513" y="10418"/>
                  </a:lnTo>
                  <a:lnTo>
                    <a:pt x="1394" y="10418"/>
                  </a:lnTo>
                  <a:lnTo>
                    <a:pt x="1394" y="10061"/>
                  </a:lnTo>
                  <a:cubicBezTo>
                    <a:pt x="1394" y="9978"/>
                    <a:pt x="1322" y="9894"/>
                    <a:pt x="1227" y="9894"/>
                  </a:cubicBezTo>
                  <a:lnTo>
                    <a:pt x="870" y="9894"/>
                  </a:lnTo>
                  <a:lnTo>
                    <a:pt x="870" y="6346"/>
                  </a:lnTo>
                  <a:lnTo>
                    <a:pt x="1227" y="6346"/>
                  </a:lnTo>
                  <a:cubicBezTo>
                    <a:pt x="1322" y="6346"/>
                    <a:pt x="1394" y="6263"/>
                    <a:pt x="1394" y="6180"/>
                  </a:cubicBezTo>
                  <a:lnTo>
                    <a:pt x="1394" y="5120"/>
                  </a:lnTo>
                  <a:cubicBezTo>
                    <a:pt x="1394" y="5025"/>
                    <a:pt x="1322" y="4953"/>
                    <a:pt x="1227" y="4953"/>
                  </a:cubicBezTo>
                  <a:lnTo>
                    <a:pt x="870" y="4953"/>
                  </a:lnTo>
                  <a:lnTo>
                    <a:pt x="870" y="3227"/>
                  </a:lnTo>
                  <a:close/>
                  <a:moveTo>
                    <a:pt x="9002" y="834"/>
                  </a:moveTo>
                  <a:lnTo>
                    <a:pt x="9002" y="1191"/>
                  </a:lnTo>
                  <a:cubicBezTo>
                    <a:pt x="9002" y="1274"/>
                    <a:pt x="9073" y="1358"/>
                    <a:pt x="9156" y="1358"/>
                  </a:cubicBezTo>
                  <a:lnTo>
                    <a:pt x="9514" y="1358"/>
                  </a:lnTo>
                  <a:lnTo>
                    <a:pt x="9514" y="4929"/>
                  </a:lnTo>
                  <a:lnTo>
                    <a:pt x="9156" y="4929"/>
                  </a:lnTo>
                  <a:cubicBezTo>
                    <a:pt x="9073" y="4929"/>
                    <a:pt x="9002" y="5001"/>
                    <a:pt x="9002" y="5084"/>
                  </a:cubicBezTo>
                  <a:lnTo>
                    <a:pt x="9002" y="6144"/>
                  </a:lnTo>
                  <a:cubicBezTo>
                    <a:pt x="9002" y="6239"/>
                    <a:pt x="9073" y="6311"/>
                    <a:pt x="9156" y="6311"/>
                  </a:cubicBezTo>
                  <a:lnTo>
                    <a:pt x="9514" y="6311"/>
                  </a:lnTo>
                  <a:lnTo>
                    <a:pt x="9514" y="9870"/>
                  </a:lnTo>
                  <a:lnTo>
                    <a:pt x="9156" y="9870"/>
                  </a:lnTo>
                  <a:cubicBezTo>
                    <a:pt x="9073" y="9894"/>
                    <a:pt x="9002" y="9978"/>
                    <a:pt x="9002" y="10061"/>
                  </a:cubicBezTo>
                  <a:lnTo>
                    <a:pt x="9002" y="10418"/>
                  </a:lnTo>
                  <a:lnTo>
                    <a:pt x="7716" y="10418"/>
                  </a:lnTo>
                  <a:lnTo>
                    <a:pt x="7716" y="3977"/>
                  </a:lnTo>
                  <a:lnTo>
                    <a:pt x="8049" y="3929"/>
                  </a:lnTo>
                  <a:cubicBezTo>
                    <a:pt x="8180" y="3917"/>
                    <a:pt x="8240" y="3739"/>
                    <a:pt x="8144" y="3644"/>
                  </a:cubicBezTo>
                  <a:lnTo>
                    <a:pt x="7728" y="3227"/>
                  </a:lnTo>
                  <a:lnTo>
                    <a:pt x="8323" y="2632"/>
                  </a:lnTo>
                  <a:cubicBezTo>
                    <a:pt x="8728" y="3024"/>
                    <a:pt x="8740" y="3096"/>
                    <a:pt x="8859" y="3096"/>
                  </a:cubicBezTo>
                  <a:cubicBezTo>
                    <a:pt x="8954" y="3096"/>
                    <a:pt x="9025" y="3036"/>
                    <a:pt x="9025" y="2953"/>
                  </a:cubicBezTo>
                  <a:lnTo>
                    <a:pt x="9025" y="2929"/>
                  </a:lnTo>
                  <a:cubicBezTo>
                    <a:pt x="9025" y="2882"/>
                    <a:pt x="9061" y="2667"/>
                    <a:pt x="9180" y="1715"/>
                  </a:cubicBezTo>
                  <a:cubicBezTo>
                    <a:pt x="9192" y="1608"/>
                    <a:pt x="9097" y="1512"/>
                    <a:pt x="8978" y="1512"/>
                  </a:cubicBezTo>
                  <a:lnTo>
                    <a:pt x="7763" y="1667"/>
                  </a:lnTo>
                  <a:cubicBezTo>
                    <a:pt x="7632" y="1679"/>
                    <a:pt x="7573" y="1858"/>
                    <a:pt x="7656" y="1953"/>
                  </a:cubicBezTo>
                  <a:lnTo>
                    <a:pt x="8085" y="2381"/>
                  </a:lnTo>
                  <a:lnTo>
                    <a:pt x="7513" y="2965"/>
                  </a:lnTo>
                  <a:lnTo>
                    <a:pt x="7406" y="2858"/>
                  </a:lnTo>
                  <a:lnTo>
                    <a:pt x="7073" y="2524"/>
                  </a:lnTo>
                  <a:cubicBezTo>
                    <a:pt x="7041" y="2493"/>
                    <a:pt x="7001" y="2478"/>
                    <a:pt x="6962" y="2478"/>
                  </a:cubicBezTo>
                  <a:cubicBezTo>
                    <a:pt x="6884" y="2478"/>
                    <a:pt x="6807" y="2536"/>
                    <a:pt x="6799" y="2632"/>
                  </a:cubicBezTo>
                  <a:lnTo>
                    <a:pt x="6763" y="2858"/>
                  </a:lnTo>
                  <a:lnTo>
                    <a:pt x="870" y="2858"/>
                  </a:lnTo>
                  <a:lnTo>
                    <a:pt x="870" y="1358"/>
                  </a:lnTo>
                  <a:lnTo>
                    <a:pt x="1227" y="1358"/>
                  </a:lnTo>
                  <a:cubicBezTo>
                    <a:pt x="1322" y="1358"/>
                    <a:pt x="1394" y="1274"/>
                    <a:pt x="1394" y="1191"/>
                  </a:cubicBezTo>
                  <a:lnTo>
                    <a:pt x="1394" y="834"/>
                  </a:lnTo>
                  <a:lnTo>
                    <a:pt x="4513" y="834"/>
                  </a:lnTo>
                  <a:lnTo>
                    <a:pt x="4513" y="1191"/>
                  </a:lnTo>
                  <a:cubicBezTo>
                    <a:pt x="4513" y="1274"/>
                    <a:pt x="4596" y="1358"/>
                    <a:pt x="4680" y="1358"/>
                  </a:cubicBezTo>
                  <a:lnTo>
                    <a:pt x="5739" y="1358"/>
                  </a:lnTo>
                  <a:cubicBezTo>
                    <a:pt x="5823" y="1358"/>
                    <a:pt x="5906" y="1274"/>
                    <a:pt x="5906" y="1191"/>
                  </a:cubicBezTo>
                  <a:lnTo>
                    <a:pt x="5906" y="834"/>
                  </a:lnTo>
                  <a:close/>
                  <a:moveTo>
                    <a:pt x="1036" y="10228"/>
                  </a:moveTo>
                  <a:lnTo>
                    <a:pt x="1036" y="10942"/>
                  </a:lnTo>
                  <a:lnTo>
                    <a:pt x="322" y="10942"/>
                  </a:lnTo>
                  <a:lnTo>
                    <a:pt x="322" y="10228"/>
                  </a:lnTo>
                  <a:close/>
                  <a:moveTo>
                    <a:pt x="5561" y="10228"/>
                  </a:moveTo>
                  <a:lnTo>
                    <a:pt x="5561" y="10942"/>
                  </a:lnTo>
                  <a:lnTo>
                    <a:pt x="4846" y="10942"/>
                  </a:lnTo>
                  <a:lnTo>
                    <a:pt x="4846" y="10228"/>
                  </a:lnTo>
                  <a:close/>
                  <a:moveTo>
                    <a:pt x="10049" y="10228"/>
                  </a:moveTo>
                  <a:lnTo>
                    <a:pt x="10049" y="10942"/>
                  </a:lnTo>
                  <a:lnTo>
                    <a:pt x="9335" y="10942"/>
                  </a:lnTo>
                  <a:lnTo>
                    <a:pt x="9335" y="10228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1215"/>
                  </a:lnTo>
                  <a:cubicBezTo>
                    <a:pt x="0" y="1310"/>
                    <a:pt x="84" y="1381"/>
                    <a:pt x="167" y="1381"/>
                  </a:cubicBezTo>
                  <a:lnTo>
                    <a:pt x="524" y="1381"/>
                  </a:lnTo>
                  <a:lnTo>
                    <a:pt x="524" y="4953"/>
                  </a:lnTo>
                  <a:lnTo>
                    <a:pt x="167" y="4953"/>
                  </a:lnTo>
                  <a:cubicBezTo>
                    <a:pt x="84" y="4953"/>
                    <a:pt x="0" y="5025"/>
                    <a:pt x="0" y="5120"/>
                  </a:cubicBezTo>
                  <a:lnTo>
                    <a:pt x="0" y="6180"/>
                  </a:lnTo>
                  <a:cubicBezTo>
                    <a:pt x="0" y="6263"/>
                    <a:pt x="84" y="6346"/>
                    <a:pt x="167" y="6346"/>
                  </a:cubicBezTo>
                  <a:lnTo>
                    <a:pt x="524" y="6346"/>
                  </a:lnTo>
                  <a:lnTo>
                    <a:pt x="524" y="9894"/>
                  </a:lnTo>
                  <a:lnTo>
                    <a:pt x="167" y="9894"/>
                  </a:lnTo>
                  <a:cubicBezTo>
                    <a:pt x="84" y="9894"/>
                    <a:pt x="0" y="9978"/>
                    <a:pt x="0" y="10061"/>
                  </a:cubicBezTo>
                  <a:lnTo>
                    <a:pt x="0" y="11121"/>
                  </a:lnTo>
                  <a:cubicBezTo>
                    <a:pt x="0" y="11204"/>
                    <a:pt x="84" y="11287"/>
                    <a:pt x="167" y="11287"/>
                  </a:cubicBezTo>
                  <a:lnTo>
                    <a:pt x="1227" y="11287"/>
                  </a:lnTo>
                  <a:cubicBezTo>
                    <a:pt x="1322" y="11287"/>
                    <a:pt x="1394" y="11204"/>
                    <a:pt x="1394" y="11121"/>
                  </a:cubicBezTo>
                  <a:lnTo>
                    <a:pt x="1394" y="10763"/>
                  </a:lnTo>
                  <a:lnTo>
                    <a:pt x="4513" y="10763"/>
                  </a:lnTo>
                  <a:lnTo>
                    <a:pt x="4513" y="11121"/>
                  </a:lnTo>
                  <a:cubicBezTo>
                    <a:pt x="4513" y="11204"/>
                    <a:pt x="4596" y="11287"/>
                    <a:pt x="4680" y="11287"/>
                  </a:cubicBezTo>
                  <a:lnTo>
                    <a:pt x="5739" y="11287"/>
                  </a:lnTo>
                  <a:cubicBezTo>
                    <a:pt x="5823" y="11287"/>
                    <a:pt x="5906" y="11204"/>
                    <a:pt x="5906" y="11121"/>
                  </a:cubicBezTo>
                  <a:lnTo>
                    <a:pt x="5906" y="10763"/>
                  </a:lnTo>
                  <a:lnTo>
                    <a:pt x="9002" y="10763"/>
                  </a:lnTo>
                  <a:lnTo>
                    <a:pt x="9002" y="11121"/>
                  </a:lnTo>
                  <a:cubicBezTo>
                    <a:pt x="9002" y="11204"/>
                    <a:pt x="9073" y="11287"/>
                    <a:pt x="9156" y="11287"/>
                  </a:cubicBezTo>
                  <a:lnTo>
                    <a:pt x="10216" y="11287"/>
                  </a:lnTo>
                  <a:cubicBezTo>
                    <a:pt x="10311" y="11287"/>
                    <a:pt x="10383" y="11204"/>
                    <a:pt x="10383" y="11121"/>
                  </a:cubicBezTo>
                  <a:lnTo>
                    <a:pt x="10383" y="10061"/>
                  </a:lnTo>
                  <a:cubicBezTo>
                    <a:pt x="10383" y="9978"/>
                    <a:pt x="10311" y="9894"/>
                    <a:pt x="10216" y="9894"/>
                  </a:cubicBezTo>
                  <a:lnTo>
                    <a:pt x="9859" y="9894"/>
                  </a:lnTo>
                  <a:lnTo>
                    <a:pt x="9859" y="6346"/>
                  </a:lnTo>
                  <a:lnTo>
                    <a:pt x="10216" y="6346"/>
                  </a:lnTo>
                  <a:cubicBezTo>
                    <a:pt x="10311" y="6346"/>
                    <a:pt x="10383" y="6263"/>
                    <a:pt x="10383" y="6180"/>
                  </a:cubicBezTo>
                  <a:lnTo>
                    <a:pt x="10383" y="5120"/>
                  </a:lnTo>
                  <a:cubicBezTo>
                    <a:pt x="10383" y="5025"/>
                    <a:pt x="10311" y="4953"/>
                    <a:pt x="10216" y="4953"/>
                  </a:cubicBezTo>
                  <a:lnTo>
                    <a:pt x="9859" y="4953"/>
                  </a:lnTo>
                  <a:lnTo>
                    <a:pt x="9859" y="1381"/>
                  </a:lnTo>
                  <a:lnTo>
                    <a:pt x="10216" y="1381"/>
                  </a:lnTo>
                  <a:cubicBezTo>
                    <a:pt x="10311" y="1381"/>
                    <a:pt x="10383" y="1310"/>
                    <a:pt x="10383" y="1215"/>
                  </a:cubicBezTo>
                  <a:lnTo>
                    <a:pt x="10383" y="167"/>
                  </a:lnTo>
                  <a:cubicBezTo>
                    <a:pt x="10383" y="72"/>
                    <a:pt x="10311" y="0"/>
                    <a:pt x="10216" y="0"/>
                  </a:cubicBezTo>
                  <a:lnTo>
                    <a:pt x="9156" y="0"/>
                  </a:lnTo>
                  <a:cubicBezTo>
                    <a:pt x="9073" y="0"/>
                    <a:pt x="9002" y="72"/>
                    <a:pt x="9002" y="167"/>
                  </a:cubicBezTo>
                  <a:lnTo>
                    <a:pt x="9002" y="524"/>
                  </a:lnTo>
                  <a:lnTo>
                    <a:pt x="5882" y="524"/>
                  </a:lnTo>
                  <a:lnTo>
                    <a:pt x="5882" y="167"/>
                  </a:lnTo>
                  <a:cubicBezTo>
                    <a:pt x="5882" y="72"/>
                    <a:pt x="5811" y="0"/>
                    <a:pt x="5727" y="0"/>
                  </a:cubicBezTo>
                  <a:lnTo>
                    <a:pt x="4680" y="0"/>
                  </a:lnTo>
                  <a:cubicBezTo>
                    <a:pt x="4596" y="0"/>
                    <a:pt x="4513" y="72"/>
                    <a:pt x="4513" y="167"/>
                  </a:cubicBezTo>
                  <a:lnTo>
                    <a:pt x="4513" y="524"/>
                  </a:lnTo>
                  <a:lnTo>
                    <a:pt x="1394" y="524"/>
                  </a:lnTo>
                  <a:lnTo>
                    <a:pt x="1394" y="167"/>
                  </a:lnTo>
                  <a:cubicBezTo>
                    <a:pt x="1394" y="72"/>
                    <a:pt x="1322" y="0"/>
                    <a:pt x="1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0" name="Google Shape;12240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1" name="Google Shape;12241;p62"/>
            <p:cNvSpPr/>
            <p:nvPr/>
          </p:nvSpPr>
          <p:spPr>
            <a:xfrm>
              <a:off x="2953717" y="159456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2" name="Google Shape;12242;p62"/>
            <p:cNvSpPr/>
            <p:nvPr/>
          </p:nvSpPr>
          <p:spPr>
            <a:xfrm>
              <a:off x="2953717" y="1594182"/>
              <a:ext cx="32" cy="413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"/>
                  </a:moveTo>
                  <a:cubicBezTo>
                    <a:pt x="1" y="1"/>
                    <a:pt x="1" y="13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3" name="Google Shape;12243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4" name="Google Shape;12244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5" name="Google Shape;12245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6" name="Google Shape;12246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7" name="Google Shape;12247;p62"/>
            <p:cNvSpPr/>
            <p:nvPr/>
          </p:nvSpPr>
          <p:spPr>
            <a:xfrm>
              <a:off x="2923788" y="157640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8" name="Google Shape;12248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9" name="Google Shape;12249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0" name="Google Shape;12250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1" name="Google Shape;12251;p62"/>
            <p:cNvSpPr/>
            <p:nvPr/>
          </p:nvSpPr>
          <p:spPr>
            <a:xfrm>
              <a:off x="2923438" y="1576784"/>
              <a:ext cx="0" cy="32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2" name="Google Shape;12252;p62"/>
            <p:cNvSpPr/>
            <p:nvPr/>
          </p:nvSpPr>
          <p:spPr>
            <a:xfrm>
              <a:off x="2792783" y="1631298"/>
              <a:ext cx="87877" cy="101140"/>
            </a:xfrm>
            <a:custGeom>
              <a:avLst/>
              <a:gdLst/>
              <a:ahLst/>
              <a:cxnLst/>
              <a:rect l="l" t="t" r="r" b="b"/>
              <a:pathLst>
                <a:path w="2763" h="318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2167" y="334"/>
                  </a:lnTo>
                  <a:cubicBezTo>
                    <a:pt x="2310" y="334"/>
                    <a:pt x="2429" y="453"/>
                    <a:pt x="2429" y="584"/>
                  </a:cubicBezTo>
                  <a:lnTo>
                    <a:pt x="2429" y="3013"/>
                  </a:lnTo>
                  <a:cubicBezTo>
                    <a:pt x="2429" y="3096"/>
                    <a:pt x="2501" y="3180"/>
                    <a:pt x="2584" y="3180"/>
                  </a:cubicBezTo>
                  <a:cubicBezTo>
                    <a:pt x="2679" y="3180"/>
                    <a:pt x="2751" y="3096"/>
                    <a:pt x="2751" y="3013"/>
                  </a:cubicBezTo>
                  <a:lnTo>
                    <a:pt x="2751" y="584"/>
                  </a:lnTo>
                  <a:cubicBezTo>
                    <a:pt x="2763" y="275"/>
                    <a:pt x="250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3" name="Google Shape;12253;p62"/>
            <p:cNvSpPr/>
            <p:nvPr/>
          </p:nvSpPr>
          <p:spPr>
            <a:xfrm>
              <a:off x="2715147" y="1631298"/>
              <a:ext cx="66695" cy="122735"/>
            </a:xfrm>
            <a:custGeom>
              <a:avLst/>
              <a:gdLst/>
              <a:ahLst/>
              <a:cxnLst/>
              <a:rect l="l" t="t" r="r" b="b"/>
              <a:pathLst>
                <a:path w="2097" h="3859" extrusionOk="0">
                  <a:moveTo>
                    <a:pt x="596" y="1"/>
                  </a:moveTo>
                  <a:cubicBezTo>
                    <a:pt x="263" y="1"/>
                    <a:pt x="1" y="275"/>
                    <a:pt x="1" y="596"/>
                  </a:cubicBezTo>
                  <a:lnTo>
                    <a:pt x="1" y="3692"/>
                  </a:lnTo>
                  <a:cubicBezTo>
                    <a:pt x="1" y="3787"/>
                    <a:pt x="72" y="3858"/>
                    <a:pt x="167" y="3858"/>
                  </a:cubicBezTo>
                  <a:cubicBezTo>
                    <a:pt x="251" y="3858"/>
                    <a:pt x="322" y="3787"/>
                    <a:pt x="322" y="3692"/>
                  </a:cubicBezTo>
                  <a:lnTo>
                    <a:pt x="322" y="596"/>
                  </a:lnTo>
                  <a:cubicBezTo>
                    <a:pt x="322" y="453"/>
                    <a:pt x="441" y="346"/>
                    <a:pt x="584" y="346"/>
                  </a:cubicBezTo>
                  <a:lnTo>
                    <a:pt x="1917" y="346"/>
                  </a:lnTo>
                  <a:cubicBezTo>
                    <a:pt x="2013" y="346"/>
                    <a:pt x="2084" y="275"/>
                    <a:pt x="2084" y="179"/>
                  </a:cubicBezTo>
                  <a:cubicBezTo>
                    <a:pt x="2096" y="72"/>
                    <a:pt x="2025" y="1"/>
                    <a:pt x="1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4" name="Google Shape;12254;p62"/>
            <p:cNvSpPr/>
            <p:nvPr/>
          </p:nvSpPr>
          <p:spPr>
            <a:xfrm>
              <a:off x="2715911" y="1707789"/>
              <a:ext cx="166277" cy="93570"/>
            </a:xfrm>
            <a:custGeom>
              <a:avLst/>
              <a:gdLst/>
              <a:ahLst/>
              <a:cxnLst/>
              <a:rect l="l" t="t" r="r" b="b"/>
              <a:pathLst>
                <a:path w="5228" h="2942" extrusionOk="0">
                  <a:moveTo>
                    <a:pt x="2001" y="358"/>
                  </a:moveTo>
                  <a:cubicBezTo>
                    <a:pt x="2132" y="358"/>
                    <a:pt x="2239" y="429"/>
                    <a:pt x="2298" y="537"/>
                  </a:cubicBezTo>
                  <a:lnTo>
                    <a:pt x="2596" y="1132"/>
                  </a:lnTo>
                  <a:cubicBezTo>
                    <a:pt x="2429" y="1287"/>
                    <a:pt x="2215" y="1382"/>
                    <a:pt x="2001" y="1382"/>
                  </a:cubicBezTo>
                  <a:cubicBezTo>
                    <a:pt x="1763" y="1382"/>
                    <a:pt x="1548" y="1287"/>
                    <a:pt x="1382" y="1132"/>
                  </a:cubicBezTo>
                  <a:lnTo>
                    <a:pt x="1703" y="537"/>
                  </a:lnTo>
                  <a:cubicBezTo>
                    <a:pt x="1763" y="418"/>
                    <a:pt x="1870" y="358"/>
                    <a:pt x="2001" y="358"/>
                  </a:cubicBezTo>
                  <a:close/>
                  <a:moveTo>
                    <a:pt x="2739" y="1453"/>
                  </a:moveTo>
                  <a:lnTo>
                    <a:pt x="3334" y="2632"/>
                  </a:lnTo>
                  <a:lnTo>
                    <a:pt x="631" y="2632"/>
                  </a:lnTo>
                  <a:lnTo>
                    <a:pt x="1227" y="1453"/>
                  </a:lnTo>
                  <a:cubicBezTo>
                    <a:pt x="1429" y="1632"/>
                    <a:pt x="1703" y="1739"/>
                    <a:pt x="1989" y="1739"/>
                  </a:cubicBezTo>
                  <a:cubicBezTo>
                    <a:pt x="2263" y="1739"/>
                    <a:pt x="2536" y="1632"/>
                    <a:pt x="2739" y="1453"/>
                  </a:cubicBezTo>
                  <a:close/>
                  <a:moveTo>
                    <a:pt x="2001" y="1"/>
                  </a:moveTo>
                  <a:cubicBezTo>
                    <a:pt x="1739" y="1"/>
                    <a:pt x="1524" y="132"/>
                    <a:pt x="1405" y="370"/>
                  </a:cubicBezTo>
                  <a:lnTo>
                    <a:pt x="1048" y="1072"/>
                  </a:lnTo>
                  <a:lnTo>
                    <a:pt x="346" y="2454"/>
                  </a:lnTo>
                  <a:cubicBezTo>
                    <a:pt x="334" y="2418"/>
                    <a:pt x="334" y="2382"/>
                    <a:pt x="334" y="2346"/>
                  </a:cubicBezTo>
                  <a:lnTo>
                    <a:pt x="334" y="1930"/>
                  </a:lnTo>
                  <a:cubicBezTo>
                    <a:pt x="334" y="1834"/>
                    <a:pt x="250" y="1763"/>
                    <a:pt x="167" y="1763"/>
                  </a:cubicBezTo>
                  <a:cubicBezTo>
                    <a:pt x="72" y="1763"/>
                    <a:pt x="0" y="1834"/>
                    <a:pt x="0" y="1930"/>
                  </a:cubicBezTo>
                  <a:lnTo>
                    <a:pt x="0" y="2346"/>
                  </a:lnTo>
                  <a:cubicBezTo>
                    <a:pt x="0" y="2680"/>
                    <a:pt x="274" y="2942"/>
                    <a:pt x="596" y="2942"/>
                  </a:cubicBezTo>
                  <a:lnTo>
                    <a:pt x="4632" y="2942"/>
                  </a:lnTo>
                  <a:cubicBezTo>
                    <a:pt x="4953" y="2942"/>
                    <a:pt x="5227" y="2680"/>
                    <a:pt x="5227" y="2346"/>
                  </a:cubicBezTo>
                  <a:lnTo>
                    <a:pt x="5227" y="1263"/>
                  </a:lnTo>
                  <a:cubicBezTo>
                    <a:pt x="5180" y="1191"/>
                    <a:pt x="5108" y="1108"/>
                    <a:pt x="5025" y="1108"/>
                  </a:cubicBezTo>
                  <a:cubicBezTo>
                    <a:pt x="4930" y="1108"/>
                    <a:pt x="4858" y="1191"/>
                    <a:pt x="4858" y="1275"/>
                  </a:cubicBezTo>
                  <a:lnTo>
                    <a:pt x="4858" y="2358"/>
                  </a:lnTo>
                  <a:cubicBezTo>
                    <a:pt x="4858" y="2513"/>
                    <a:pt x="4739" y="2620"/>
                    <a:pt x="4596" y="2620"/>
                  </a:cubicBezTo>
                  <a:lnTo>
                    <a:pt x="3739" y="2620"/>
                  </a:lnTo>
                  <a:lnTo>
                    <a:pt x="2608" y="370"/>
                  </a:lnTo>
                  <a:cubicBezTo>
                    <a:pt x="2548" y="251"/>
                    <a:pt x="2465" y="156"/>
                    <a:pt x="2358" y="96"/>
                  </a:cubicBezTo>
                  <a:cubicBezTo>
                    <a:pt x="2251" y="37"/>
                    <a:pt x="2132" y="1"/>
                    <a:pt x="2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5" name="Google Shape;12255;p62"/>
            <p:cNvSpPr/>
            <p:nvPr/>
          </p:nvSpPr>
          <p:spPr>
            <a:xfrm>
              <a:off x="2799589" y="1654706"/>
              <a:ext cx="61384" cy="62974"/>
            </a:xfrm>
            <a:custGeom>
              <a:avLst/>
              <a:gdLst/>
              <a:ahLst/>
              <a:cxnLst/>
              <a:rect l="l" t="t" r="r" b="b"/>
              <a:pathLst>
                <a:path w="1930" h="1980" extrusionOk="0">
                  <a:moveTo>
                    <a:pt x="644" y="432"/>
                  </a:moveTo>
                  <a:cubicBezTo>
                    <a:pt x="608" y="932"/>
                    <a:pt x="965" y="1384"/>
                    <a:pt x="1441" y="1467"/>
                  </a:cubicBezTo>
                  <a:cubicBezTo>
                    <a:pt x="1322" y="1587"/>
                    <a:pt x="1167" y="1646"/>
                    <a:pt x="989" y="1646"/>
                  </a:cubicBezTo>
                  <a:cubicBezTo>
                    <a:pt x="620" y="1646"/>
                    <a:pt x="334" y="1348"/>
                    <a:pt x="334" y="991"/>
                  </a:cubicBezTo>
                  <a:cubicBezTo>
                    <a:pt x="334" y="753"/>
                    <a:pt x="453" y="551"/>
                    <a:pt x="644" y="432"/>
                  </a:cubicBezTo>
                  <a:close/>
                  <a:moveTo>
                    <a:pt x="898" y="0"/>
                  </a:moveTo>
                  <a:cubicBezTo>
                    <a:pt x="889" y="0"/>
                    <a:pt x="880" y="1"/>
                    <a:pt x="870" y="3"/>
                  </a:cubicBezTo>
                  <a:cubicBezTo>
                    <a:pt x="382" y="74"/>
                    <a:pt x="1" y="491"/>
                    <a:pt x="1" y="979"/>
                  </a:cubicBezTo>
                  <a:cubicBezTo>
                    <a:pt x="1" y="1527"/>
                    <a:pt x="453" y="1979"/>
                    <a:pt x="1001" y="1979"/>
                  </a:cubicBezTo>
                  <a:cubicBezTo>
                    <a:pt x="1406" y="1979"/>
                    <a:pt x="1763" y="1741"/>
                    <a:pt x="1918" y="1384"/>
                  </a:cubicBezTo>
                  <a:cubicBezTo>
                    <a:pt x="1929" y="1336"/>
                    <a:pt x="1929" y="1265"/>
                    <a:pt x="1894" y="1217"/>
                  </a:cubicBezTo>
                  <a:cubicBezTo>
                    <a:pt x="1874" y="1178"/>
                    <a:pt x="1830" y="1155"/>
                    <a:pt x="1768" y="1155"/>
                  </a:cubicBezTo>
                  <a:cubicBezTo>
                    <a:pt x="1755" y="1155"/>
                    <a:pt x="1741" y="1156"/>
                    <a:pt x="1727" y="1158"/>
                  </a:cubicBezTo>
                  <a:lnTo>
                    <a:pt x="1644" y="1158"/>
                  </a:lnTo>
                  <a:cubicBezTo>
                    <a:pt x="1275" y="1158"/>
                    <a:pt x="989" y="860"/>
                    <a:pt x="989" y="503"/>
                  </a:cubicBezTo>
                  <a:cubicBezTo>
                    <a:pt x="989" y="420"/>
                    <a:pt x="1001" y="324"/>
                    <a:pt x="1048" y="241"/>
                  </a:cubicBezTo>
                  <a:cubicBezTo>
                    <a:pt x="1092" y="131"/>
                    <a:pt x="1014" y="0"/>
                    <a:pt x="8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56" name="Google Shape;12256;p62"/>
          <p:cNvGrpSpPr/>
          <p:nvPr/>
        </p:nvGrpSpPr>
        <p:grpSpPr>
          <a:xfrm>
            <a:off x="3567553" y="1499912"/>
            <a:ext cx="320022" cy="359778"/>
            <a:chOff x="3567553" y="1499912"/>
            <a:chExt cx="320022" cy="359778"/>
          </a:xfrm>
        </p:grpSpPr>
        <p:sp>
          <p:nvSpPr>
            <p:cNvPr id="12257" name="Google Shape;12257;p62"/>
            <p:cNvSpPr/>
            <p:nvPr/>
          </p:nvSpPr>
          <p:spPr>
            <a:xfrm>
              <a:off x="3567553" y="1502933"/>
              <a:ext cx="263218" cy="356757"/>
            </a:xfrm>
            <a:custGeom>
              <a:avLst/>
              <a:gdLst/>
              <a:ahLst/>
              <a:cxnLst/>
              <a:rect l="l" t="t" r="r" b="b"/>
              <a:pathLst>
                <a:path w="8276" h="11217" extrusionOk="0">
                  <a:moveTo>
                    <a:pt x="1738" y="0"/>
                  </a:moveTo>
                  <a:cubicBezTo>
                    <a:pt x="1718" y="0"/>
                    <a:pt x="1698" y="4"/>
                    <a:pt x="1679" y="12"/>
                  </a:cubicBezTo>
                  <a:cubicBezTo>
                    <a:pt x="1227" y="179"/>
                    <a:pt x="905" y="632"/>
                    <a:pt x="905" y="1120"/>
                  </a:cubicBezTo>
                  <a:lnTo>
                    <a:pt x="905" y="8275"/>
                  </a:lnTo>
                  <a:lnTo>
                    <a:pt x="167" y="8275"/>
                  </a:lnTo>
                  <a:cubicBezTo>
                    <a:pt x="72" y="8275"/>
                    <a:pt x="1" y="8359"/>
                    <a:pt x="1" y="8442"/>
                  </a:cubicBezTo>
                  <a:lnTo>
                    <a:pt x="1" y="10145"/>
                  </a:lnTo>
                  <a:cubicBezTo>
                    <a:pt x="1" y="10716"/>
                    <a:pt x="477" y="11216"/>
                    <a:pt x="1072" y="11216"/>
                  </a:cubicBezTo>
                  <a:lnTo>
                    <a:pt x="7156" y="11216"/>
                  </a:lnTo>
                  <a:cubicBezTo>
                    <a:pt x="7775" y="11216"/>
                    <a:pt x="8275" y="10716"/>
                    <a:pt x="8275" y="10097"/>
                  </a:cubicBezTo>
                  <a:lnTo>
                    <a:pt x="8275" y="4930"/>
                  </a:lnTo>
                  <a:cubicBezTo>
                    <a:pt x="8252" y="4835"/>
                    <a:pt x="8168" y="4751"/>
                    <a:pt x="8073" y="4751"/>
                  </a:cubicBezTo>
                  <a:cubicBezTo>
                    <a:pt x="7978" y="4751"/>
                    <a:pt x="7906" y="4835"/>
                    <a:pt x="7906" y="4918"/>
                  </a:cubicBezTo>
                  <a:lnTo>
                    <a:pt x="7906" y="10085"/>
                  </a:lnTo>
                  <a:cubicBezTo>
                    <a:pt x="7906" y="10514"/>
                    <a:pt x="7561" y="10859"/>
                    <a:pt x="7132" y="10859"/>
                  </a:cubicBezTo>
                  <a:lnTo>
                    <a:pt x="7061" y="10859"/>
                  </a:lnTo>
                  <a:cubicBezTo>
                    <a:pt x="6680" y="10811"/>
                    <a:pt x="6406" y="10502"/>
                    <a:pt x="6406" y="10133"/>
                  </a:cubicBezTo>
                  <a:lnTo>
                    <a:pt x="6406" y="9609"/>
                  </a:lnTo>
                  <a:cubicBezTo>
                    <a:pt x="6406" y="9514"/>
                    <a:pt x="6323" y="9442"/>
                    <a:pt x="6239" y="9442"/>
                  </a:cubicBezTo>
                  <a:cubicBezTo>
                    <a:pt x="6144" y="9442"/>
                    <a:pt x="6073" y="9514"/>
                    <a:pt x="6073" y="9609"/>
                  </a:cubicBezTo>
                  <a:lnTo>
                    <a:pt x="6073" y="10133"/>
                  </a:lnTo>
                  <a:cubicBezTo>
                    <a:pt x="6073" y="10407"/>
                    <a:pt x="6180" y="10680"/>
                    <a:pt x="6370" y="10871"/>
                  </a:cubicBezTo>
                  <a:cubicBezTo>
                    <a:pt x="3459" y="10871"/>
                    <a:pt x="2120" y="10874"/>
                    <a:pt x="1492" y="10874"/>
                  </a:cubicBezTo>
                  <a:cubicBezTo>
                    <a:pt x="864" y="10874"/>
                    <a:pt x="947" y="10871"/>
                    <a:pt x="882" y="10859"/>
                  </a:cubicBezTo>
                  <a:cubicBezTo>
                    <a:pt x="548" y="10788"/>
                    <a:pt x="298" y="10490"/>
                    <a:pt x="298" y="10145"/>
                  </a:cubicBezTo>
                  <a:lnTo>
                    <a:pt x="298" y="8609"/>
                  </a:lnTo>
                  <a:lnTo>
                    <a:pt x="6073" y="8609"/>
                  </a:lnTo>
                  <a:lnTo>
                    <a:pt x="6073" y="8954"/>
                  </a:lnTo>
                  <a:cubicBezTo>
                    <a:pt x="6073" y="9037"/>
                    <a:pt x="6144" y="9121"/>
                    <a:pt x="6239" y="9121"/>
                  </a:cubicBezTo>
                  <a:cubicBezTo>
                    <a:pt x="6323" y="9121"/>
                    <a:pt x="6406" y="9037"/>
                    <a:pt x="6406" y="8954"/>
                  </a:cubicBezTo>
                  <a:lnTo>
                    <a:pt x="6406" y="8442"/>
                  </a:lnTo>
                  <a:cubicBezTo>
                    <a:pt x="6406" y="8359"/>
                    <a:pt x="6323" y="8275"/>
                    <a:pt x="6239" y="8275"/>
                  </a:cubicBezTo>
                  <a:lnTo>
                    <a:pt x="1227" y="8275"/>
                  </a:lnTo>
                  <a:lnTo>
                    <a:pt x="1227" y="1120"/>
                  </a:lnTo>
                  <a:cubicBezTo>
                    <a:pt x="1227" y="763"/>
                    <a:pt x="1441" y="441"/>
                    <a:pt x="1786" y="322"/>
                  </a:cubicBezTo>
                  <a:cubicBezTo>
                    <a:pt x="1882" y="286"/>
                    <a:pt x="1917" y="179"/>
                    <a:pt x="1894" y="108"/>
                  </a:cubicBezTo>
                  <a:cubicBezTo>
                    <a:pt x="1866" y="44"/>
                    <a:pt x="1803" y="0"/>
                    <a:pt x="17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8" name="Google Shape;12258;p62"/>
            <p:cNvSpPr/>
            <p:nvPr/>
          </p:nvSpPr>
          <p:spPr>
            <a:xfrm>
              <a:off x="3638001" y="1499912"/>
              <a:ext cx="249574" cy="142773"/>
            </a:xfrm>
            <a:custGeom>
              <a:avLst/>
              <a:gdLst/>
              <a:ahLst/>
              <a:cxnLst/>
              <a:rect l="l" t="t" r="r" b="b"/>
              <a:pathLst>
                <a:path w="7847" h="4489" extrusionOk="0">
                  <a:moveTo>
                    <a:pt x="6787" y="322"/>
                  </a:moveTo>
                  <a:cubicBezTo>
                    <a:pt x="7191" y="322"/>
                    <a:pt x="7537" y="655"/>
                    <a:pt x="7537" y="1072"/>
                  </a:cubicBezTo>
                  <a:lnTo>
                    <a:pt x="7525" y="2608"/>
                  </a:lnTo>
                  <a:lnTo>
                    <a:pt x="6037" y="2608"/>
                  </a:lnTo>
                  <a:lnTo>
                    <a:pt x="6037" y="1417"/>
                  </a:lnTo>
                  <a:lnTo>
                    <a:pt x="6037" y="1072"/>
                  </a:lnTo>
                  <a:cubicBezTo>
                    <a:pt x="6037" y="643"/>
                    <a:pt x="6370" y="322"/>
                    <a:pt x="6775" y="322"/>
                  </a:cubicBezTo>
                  <a:close/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cubicBezTo>
                    <a:pt x="0" y="250"/>
                    <a:pt x="83" y="322"/>
                    <a:pt x="167" y="322"/>
                  </a:cubicBezTo>
                  <a:lnTo>
                    <a:pt x="5989" y="322"/>
                  </a:lnTo>
                  <a:cubicBezTo>
                    <a:pt x="5894" y="417"/>
                    <a:pt x="5810" y="548"/>
                    <a:pt x="5763" y="667"/>
                  </a:cubicBezTo>
                  <a:cubicBezTo>
                    <a:pt x="5715" y="798"/>
                    <a:pt x="5691" y="917"/>
                    <a:pt x="5691" y="1060"/>
                  </a:cubicBezTo>
                  <a:lnTo>
                    <a:pt x="5691" y="1393"/>
                  </a:lnTo>
                  <a:lnTo>
                    <a:pt x="5691" y="4334"/>
                  </a:lnTo>
                  <a:cubicBezTo>
                    <a:pt x="5691" y="4418"/>
                    <a:pt x="5763" y="4489"/>
                    <a:pt x="5858" y="4489"/>
                  </a:cubicBezTo>
                  <a:cubicBezTo>
                    <a:pt x="5941" y="4489"/>
                    <a:pt x="6013" y="4418"/>
                    <a:pt x="6013" y="4334"/>
                  </a:cubicBezTo>
                  <a:lnTo>
                    <a:pt x="6013" y="2929"/>
                  </a:lnTo>
                  <a:lnTo>
                    <a:pt x="7668" y="2929"/>
                  </a:lnTo>
                  <a:cubicBezTo>
                    <a:pt x="7763" y="2929"/>
                    <a:pt x="7834" y="2858"/>
                    <a:pt x="7834" y="2763"/>
                  </a:cubicBezTo>
                  <a:lnTo>
                    <a:pt x="7834" y="1072"/>
                  </a:lnTo>
                  <a:cubicBezTo>
                    <a:pt x="7846" y="488"/>
                    <a:pt x="7370" y="0"/>
                    <a:pt x="6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9" name="Google Shape;12259;p62"/>
            <p:cNvSpPr/>
            <p:nvPr/>
          </p:nvSpPr>
          <p:spPr>
            <a:xfrm>
              <a:off x="3641786" y="1594563"/>
              <a:ext cx="141659" cy="10273"/>
            </a:xfrm>
            <a:custGeom>
              <a:avLst/>
              <a:gdLst/>
              <a:ahLst/>
              <a:cxnLst/>
              <a:rect l="l" t="t" r="r" b="b"/>
              <a:pathLst>
                <a:path w="4454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4286" y="322"/>
                  </a:lnTo>
                  <a:cubicBezTo>
                    <a:pt x="4382" y="322"/>
                    <a:pt x="4453" y="251"/>
                    <a:pt x="4453" y="168"/>
                  </a:cubicBezTo>
                  <a:cubicBezTo>
                    <a:pt x="4453" y="72"/>
                    <a:pt x="4382" y="1"/>
                    <a:pt x="4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0" name="Google Shape;12260;p62"/>
            <p:cNvSpPr/>
            <p:nvPr/>
          </p:nvSpPr>
          <p:spPr>
            <a:xfrm>
              <a:off x="3641786" y="1638136"/>
              <a:ext cx="141659" cy="10241"/>
            </a:xfrm>
            <a:custGeom>
              <a:avLst/>
              <a:gdLst/>
              <a:ahLst/>
              <a:cxnLst/>
              <a:rect l="l" t="t" r="r" b="b"/>
              <a:pathLst>
                <a:path w="4454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4286" y="322"/>
                  </a:lnTo>
                  <a:cubicBezTo>
                    <a:pt x="4382" y="322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1" name="Google Shape;12261;p62"/>
            <p:cNvSpPr/>
            <p:nvPr/>
          </p:nvSpPr>
          <p:spPr>
            <a:xfrm>
              <a:off x="3641786" y="1682059"/>
              <a:ext cx="141659" cy="10623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4286" y="334"/>
                  </a:lnTo>
                  <a:cubicBezTo>
                    <a:pt x="4382" y="334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2" name="Google Shape;12262;p62"/>
            <p:cNvSpPr/>
            <p:nvPr/>
          </p:nvSpPr>
          <p:spPr>
            <a:xfrm>
              <a:off x="3641786" y="1725600"/>
              <a:ext cx="141659" cy="10623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4286" y="334"/>
                  </a:lnTo>
                  <a:cubicBezTo>
                    <a:pt x="4382" y="334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63" name="Google Shape;12263;p62"/>
          <p:cNvGrpSpPr/>
          <p:nvPr/>
        </p:nvGrpSpPr>
        <p:grpSpPr>
          <a:xfrm>
            <a:off x="1309875" y="1499912"/>
            <a:ext cx="359015" cy="358633"/>
            <a:chOff x="1309875" y="1499912"/>
            <a:chExt cx="359015" cy="358633"/>
          </a:xfrm>
        </p:grpSpPr>
        <p:sp>
          <p:nvSpPr>
            <p:cNvPr id="12264" name="Google Shape;12264;p62"/>
            <p:cNvSpPr/>
            <p:nvPr/>
          </p:nvSpPr>
          <p:spPr>
            <a:xfrm>
              <a:off x="1309875" y="1499912"/>
              <a:ext cx="133708" cy="204665"/>
            </a:xfrm>
            <a:custGeom>
              <a:avLst/>
              <a:gdLst/>
              <a:ahLst/>
              <a:cxnLst/>
              <a:rect l="l" t="t" r="r" b="b"/>
              <a:pathLst>
                <a:path w="4204" h="6435" extrusionOk="0">
                  <a:moveTo>
                    <a:pt x="1310" y="0"/>
                  </a:moveTo>
                  <a:cubicBezTo>
                    <a:pt x="608" y="0"/>
                    <a:pt x="24" y="560"/>
                    <a:pt x="24" y="1274"/>
                  </a:cubicBezTo>
                  <a:cubicBezTo>
                    <a:pt x="36" y="6323"/>
                    <a:pt x="0" y="6037"/>
                    <a:pt x="72" y="6311"/>
                  </a:cubicBezTo>
                  <a:cubicBezTo>
                    <a:pt x="82" y="6381"/>
                    <a:pt x="152" y="6435"/>
                    <a:pt x="231" y="6435"/>
                  </a:cubicBezTo>
                  <a:cubicBezTo>
                    <a:pt x="246" y="6435"/>
                    <a:pt x="260" y="6433"/>
                    <a:pt x="274" y="6430"/>
                  </a:cubicBezTo>
                  <a:cubicBezTo>
                    <a:pt x="370" y="6394"/>
                    <a:pt x="429" y="6311"/>
                    <a:pt x="393" y="6215"/>
                  </a:cubicBezTo>
                  <a:cubicBezTo>
                    <a:pt x="358" y="6013"/>
                    <a:pt x="381" y="6180"/>
                    <a:pt x="370" y="1262"/>
                  </a:cubicBezTo>
                  <a:cubicBezTo>
                    <a:pt x="370" y="739"/>
                    <a:pt x="786" y="322"/>
                    <a:pt x="1310" y="322"/>
                  </a:cubicBezTo>
                  <a:lnTo>
                    <a:pt x="4049" y="322"/>
                  </a:lnTo>
                  <a:cubicBezTo>
                    <a:pt x="4132" y="322"/>
                    <a:pt x="4203" y="250"/>
                    <a:pt x="4203" y="167"/>
                  </a:cubicBezTo>
                  <a:cubicBezTo>
                    <a:pt x="4203" y="72"/>
                    <a:pt x="4132" y="0"/>
                    <a:pt x="4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5" name="Google Shape;12265;p62"/>
            <p:cNvSpPr/>
            <p:nvPr/>
          </p:nvSpPr>
          <p:spPr>
            <a:xfrm>
              <a:off x="1454524" y="1499912"/>
              <a:ext cx="213602" cy="123467"/>
            </a:xfrm>
            <a:custGeom>
              <a:avLst/>
              <a:gdLst/>
              <a:ahLst/>
              <a:cxnLst/>
              <a:rect l="l" t="t" r="r" b="b"/>
              <a:pathLst>
                <a:path w="6716" h="388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5430" y="322"/>
                  </a:lnTo>
                  <a:cubicBezTo>
                    <a:pt x="5954" y="322"/>
                    <a:pt x="6371" y="739"/>
                    <a:pt x="6371" y="1262"/>
                  </a:cubicBezTo>
                  <a:lnTo>
                    <a:pt x="6371" y="3715"/>
                  </a:lnTo>
                  <a:cubicBezTo>
                    <a:pt x="6371" y="3810"/>
                    <a:pt x="6442" y="3882"/>
                    <a:pt x="6537" y="3882"/>
                  </a:cubicBezTo>
                  <a:cubicBezTo>
                    <a:pt x="6621" y="3882"/>
                    <a:pt x="6704" y="3810"/>
                    <a:pt x="6704" y="3715"/>
                  </a:cubicBezTo>
                  <a:lnTo>
                    <a:pt x="6704" y="1262"/>
                  </a:lnTo>
                  <a:cubicBezTo>
                    <a:pt x="6716" y="584"/>
                    <a:pt x="6144" y="0"/>
                    <a:pt x="5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6" name="Google Shape;12266;p62"/>
            <p:cNvSpPr/>
            <p:nvPr/>
          </p:nvSpPr>
          <p:spPr>
            <a:xfrm>
              <a:off x="1322756" y="1634701"/>
              <a:ext cx="346134" cy="223844"/>
            </a:xfrm>
            <a:custGeom>
              <a:avLst/>
              <a:gdLst/>
              <a:ahLst/>
              <a:cxnLst/>
              <a:rect l="l" t="t" r="r" b="b"/>
              <a:pathLst>
                <a:path w="10883" h="7038" extrusionOk="0">
                  <a:moveTo>
                    <a:pt x="5930" y="3037"/>
                  </a:moveTo>
                  <a:lnTo>
                    <a:pt x="5930" y="5656"/>
                  </a:lnTo>
                  <a:lnTo>
                    <a:pt x="4560" y="5656"/>
                  </a:lnTo>
                  <a:lnTo>
                    <a:pt x="4560" y="3037"/>
                  </a:lnTo>
                  <a:close/>
                  <a:moveTo>
                    <a:pt x="7370" y="5990"/>
                  </a:moveTo>
                  <a:cubicBezTo>
                    <a:pt x="7549" y="5990"/>
                    <a:pt x="7716" y="6133"/>
                    <a:pt x="7716" y="6323"/>
                  </a:cubicBezTo>
                  <a:lnTo>
                    <a:pt x="7716" y="6383"/>
                  </a:lnTo>
                  <a:cubicBezTo>
                    <a:pt x="7716" y="6561"/>
                    <a:pt x="7573" y="6728"/>
                    <a:pt x="7370" y="6728"/>
                  </a:cubicBezTo>
                  <a:lnTo>
                    <a:pt x="3120" y="6728"/>
                  </a:lnTo>
                  <a:cubicBezTo>
                    <a:pt x="2941" y="6728"/>
                    <a:pt x="2774" y="6585"/>
                    <a:pt x="2774" y="6383"/>
                  </a:cubicBezTo>
                  <a:lnTo>
                    <a:pt x="2774" y="6323"/>
                  </a:lnTo>
                  <a:cubicBezTo>
                    <a:pt x="2774" y="6145"/>
                    <a:pt x="2929" y="5990"/>
                    <a:pt x="3120" y="5990"/>
                  </a:cubicBezTo>
                  <a:close/>
                  <a:moveTo>
                    <a:pt x="10692" y="1"/>
                  </a:moveTo>
                  <a:cubicBezTo>
                    <a:pt x="10597" y="1"/>
                    <a:pt x="10525" y="72"/>
                    <a:pt x="10525" y="168"/>
                  </a:cubicBezTo>
                  <a:lnTo>
                    <a:pt x="10525" y="1763"/>
                  </a:lnTo>
                  <a:cubicBezTo>
                    <a:pt x="10525" y="2275"/>
                    <a:pt x="10109" y="2692"/>
                    <a:pt x="9585" y="2692"/>
                  </a:cubicBezTo>
                  <a:lnTo>
                    <a:pt x="917" y="2692"/>
                  </a:lnTo>
                  <a:cubicBezTo>
                    <a:pt x="691" y="2692"/>
                    <a:pt x="465" y="2608"/>
                    <a:pt x="298" y="2454"/>
                  </a:cubicBezTo>
                  <a:cubicBezTo>
                    <a:pt x="265" y="2426"/>
                    <a:pt x="225" y="2412"/>
                    <a:pt x="185" y="2412"/>
                  </a:cubicBezTo>
                  <a:cubicBezTo>
                    <a:pt x="138" y="2412"/>
                    <a:pt x="92" y="2432"/>
                    <a:pt x="60" y="2477"/>
                  </a:cubicBezTo>
                  <a:cubicBezTo>
                    <a:pt x="0" y="2549"/>
                    <a:pt x="0" y="2656"/>
                    <a:pt x="84" y="2716"/>
                  </a:cubicBezTo>
                  <a:cubicBezTo>
                    <a:pt x="322" y="2918"/>
                    <a:pt x="619" y="3025"/>
                    <a:pt x="917" y="3025"/>
                  </a:cubicBezTo>
                  <a:lnTo>
                    <a:pt x="4227" y="3025"/>
                  </a:lnTo>
                  <a:lnTo>
                    <a:pt x="4227" y="5644"/>
                  </a:lnTo>
                  <a:lnTo>
                    <a:pt x="3132" y="5644"/>
                  </a:lnTo>
                  <a:cubicBezTo>
                    <a:pt x="2763" y="5644"/>
                    <a:pt x="2465" y="5942"/>
                    <a:pt x="2465" y="6311"/>
                  </a:cubicBezTo>
                  <a:lnTo>
                    <a:pt x="2465" y="6371"/>
                  </a:lnTo>
                  <a:cubicBezTo>
                    <a:pt x="2465" y="6740"/>
                    <a:pt x="2763" y="7038"/>
                    <a:pt x="3132" y="7038"/>
                  </a:cubicBezTo>
                  <a:lnTo>
                    <a:pt x="7394" y="7038"/>
                  </a:lnTo>
                  <a:cubicBezTo>
                    <a:pt x="7763" y="7038"/>
                    <a:pt x="8061" y="6740"/>
                    <a:pt x="8061" y="6371"/>
                  </a:cubicBezTo>
                  <a:lnTo>
                    <a:pt x="8061" y="6311"/>
                  </a:lnTo>
                  <a:cubicBezTo>
                    <a:pt x="8061" y="5942"/>
                    <a:pt x="7763" y="5644"/>
                    <a:pt x="7394" y="5644"/>
                  </a:cubicBezTo>
                  <a:lnTo>
                    <a:pt x="6287" y="5644"/>
                  </a:lnTo>
                  <a:lnTo>
                    <a:pt x="6287" y="3037"/>
                  </a:lnTo>
                  <a:lnTo>
                    <a:pt x="9609" y="3037"/>
                  </a:lnTo>
                  <a:cubicBezTo>
                    <a:pt x="10311" y="3037"/>
                    <a:pt x="10883" y="2477"/>
                    <a:pt x="10883" y="1751"/>
                  </a:cubicBezTo>
                  <a:lnTo>
                    <a:pt x="10883" y="168"/>
                  </a:lnTo>
                  <a:cubicBezTo>
                    <a:pt x="10859" y="72"/>
                    <a:pt x="10787" y="1"/>
                    <a:pt x="10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7" name="Google Shape;12267;p62"/>
            <p:cNvSpPr/>
            <p:nvPr/>
          </p:nvSpPr>
          <p:spPr>
            <a:xfrm>
              <a:off x="1331852" y="1519217"/>
              <a:ext cx="191243" cy="140514"/>
            </a:xfrm>
            <a:custGeom>
              <a:avLst/>
              <a:gdLst/>
              <a:ahLst/>
              <a:cxnLst/>
              <a:rect l="l" t="t" r="r" b="b"/>
              <a:pathLst>
                <a:path w="6013" h="4418" extrusionOk="0">
                  <a:moveTo>
                    <a:pt x="869" y="1"/>
                  </a:moveTo>
                  <a:cubicBezTo>
                    <a:pt x="393" y="1"/>
                    <a:pt x="0" y="393"/>
                    <a:pt x="0" y="870"/>
                  </a:cubicBezTo>
                  <a:lnTo>
                    <a:pt x="0" y="4263"/>
                  </a:lnTo>
                  <a:cubicBezTo>
                    <a:pt x="0" y="4346"/>
                    <a:pt x="83" y="4418"/>
                    <a:pt x="167" y="4418"/>
                  </a:cubicBezTo>
                  <a:cubicBezTo>
                    <a:pt x="262" y="4418"/>
                    <a:pt x="333" y="4346"/>
                    <a:pt x="333" y="4263"/>
                  </a:cubicBezTo>
                  <a:lnTo>
                    <a:pt x="333" y="870"/>
                  </a:lnTo>
                  <a:cubicBezTo>
                    <a:pt x="333" y="572"/>
                    <a:pt x="572" y="334"/>
                    <a:pt x="869" y="334"/>
                  </a:cubicBezTo>
                  <a:lnTo>
                    <a:pt x="5834" y="334"/>
                  </a:lnTo>
                  <a:cubicBezTo>
                    <a:pt x="5929" y="334"/>
                    <a:pt x="6001" y="251"/>
                    <a:pt x="6001" y="167"/>
                  </a:cubicBezTo>
                  <a:cubicBezTo>
                    <a:pt x="6013" y="72"/>
                    <a:pt x="5929" y="1"/>
                    <a:pt x="5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8" name="Google Shape;12268;p62"/>
            <p:cNvSpPr/>
            <p:nvPr/>
          </p:nvSpPr>
          <p:spPr>
            <a:xfrm>
              <a:off x="1331852" y="1519217"/>
              <a:ext cx="315442" cy="190512"/>
            </a:xfrm>
            <a:custGeom>
              <a:avLst/>
              <a:gdLst/>
              <a:ahLst/>
              <a:cxnLst/>
              <a:rect l="l" t="t" r="r" b="b"/>
              <a:pathLst>
                <a:path w="9918" h="5990" extrusionOk="0">
                  <a:moveTo>
                    <a:pt x="6513" y="1"/>
                  </a:moveTo>
                  <a:cubicBezTo>
                    <a:pt x="6418" y="1"/>
                    <a:pt x="6346" y="72"/>
                    <a:pt x="6346" y="167"/>
                  </a:cubicBezTo>
                  <a:cubicBezTo>
                    <a:pt x="6346" y="251"/>
                    <a:pt x="6418" y="322"/>
                    <a:pt x="6513" y="322"/>
                  </a:cubicBezTo>
                  <a:lnTo>
                    <a:pt x="9049" y="322"/>
                  </a:lnTo>
                  <a:cubicBezTo>
                    <a:pt x="9346" y="322"/>
                    <a:pt x="9585" y="560"/>
                    <a:pt x="9585" y="870"/>
                  </a:cubicBezTo>
                  <a:lnTo>
                    <a:pt x="9585" y="5120"/>
                  </a:lnTo>
                  <a:cubicBezTo>
                    <a:pt x="9585" y="5418"/>
                    <a:pt x="9346" y="5656"/>
                    <a:pt x="9049" y="5656"/>
                  </a:cubicBezTo>
                  <a:lnTo>
                    <a:pt x="869" y="5656"/>
                  </a:lnTo>
                  <a:cubicBezTo>
                    <a:pt x="572" y="5656"/>
                    <a:pt x="333" y="5418"/>
                    <a:pt x="333" y="5120"/>
                  </a:cubicBezTo>
                  <a:lnTo>
                    <a:pt x="333" y="4930"/>
                  </a:lnTo>
                  <a:cubicBezTo>
                    <a:pt x="333" y="4834"/>
                    <a:pt x="262" y="4763"/>
                    <a:pt x="167" y="4763"/>
                  </a:cubicBezTo>
                  <a:cubicBezTo>
                    <a:pt x="71" y="4763"/>
                    <a:pt x="0" y="4834"/>
                    <a:pt x="0" y="4930"/>
                  </a:cubicBezTo>
                  <a:lnTo>
                    <a:pt x="0" y="5120"/>
                  </a:lnTo>
                  <a:cubicBezTo>
                    <a:pt x="0" y="5596"/>
                    <a:pt x="393" y="5989"/>
                    <a:pt x="869" y="5989"/>
                  </a:cubicBezTo>
                  <a:lnTo>
                    <a:pt x="9049" y="5989"/>
                  </a:lnTo>
                  <a:cubicBezTo>
                    <a:pt x="9525" y="5989"/>
                    <a:pt x="9918" y="5596"/>
                    <a:pt x="9918" y="5120"/>
                  </a:cubicBezTo>
                  <a:lnTo>
                    <a:pt x="9918" y="870"/>
                  </a:lnTo>
                  <a:cubicBezTo>
                    <a:pt x="9918" y="393"/>
                    <a:pt x="9525" y="1"/>
                    <a:pt x="9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9" name="Google Shape;12269;p62"/>
            <p:cNvSpPr/>
            <p:nvPr/>
          </p:nvSpPr>
          <p:spPr>
            <a:xfrm>
              <a:off x="1587056" y="166917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0" name="Google Shape;12270;p62"/>
            <p:cNvSpPr/>
            <p:nvPr/>
          </p:nvSpPr>
          <p:spPr>
            <a:xfrm>
              <a:off x="1471190" y="1538523"/>
              <a:ext cx="160965" cy="141278"/>
            </a:xfrm>
            <a:custGeom>
              <a:avLst/>
              <a:gdLst/>
              <a:ahLst/>
              <a:cxnLst/>
              <a:rect l="l" t="t" r="r" b="b"/>
              <a:pathLst>
                <a:path w="5061" h="4442" extrusionOk="0">
                  <a:moveTo>
                    <a:pt x="2489" y="346"/>
                  </a:moveTo>
                  <a:lnTo>
                    <a:pt x="1536" y="1096"/>
                  </a:lnTo>
                  <a:lnTo>
                    <a:pt x="548" y="346"/>
                  </a:lnTo>
                  <a:close/>
                  <a:moveTo>
                    <a:pt x="322" y="596"/>
                  </a:moveTo>
                  <a:lnTo>
                    <a:pt x="1251" y="1299"/>
                  </a:lnTo>
                  <a:lnTo>
                    <a:pt x="322" y="2013"/>
                  </a:lnTo>
                  <a:lnTo>
                    <a:pt x="322" y="596"/>
                  </a:lnTo>
                  <a:close/>
                  <a:moveTo>
                    <a:pt x="2739" y="584"/>
                  </a:moveTo>
                  <a:lnTo>
                    <a:pt x="2739" y="2013"/>
                  </a:lnTo>
                  <a:lnTo>
                    <a:pt x="1810" y="1299"/>
                  </a:lnTo>
                  <a:lnTo>
                    <a:pt x="2739" y="584"/>
                  </a:lnTo>
                  <a:close/>
                  <a:moveTo>
                    <a:pt x="1536" y="1501"/>
                  </a:moveTo>
                  <a:lnTo>
                    <a:pt x="2525" y="2263"/>
                  </a:lnTo>
                  <a:lnTo>
                    <a:pt x="548" y="2263"/>
                  </a:lnTo>
                  <a:lnTo>
                    <a:pt x="1536" y="1501"/>
                  </a:lnTo>
                  <a:close/>
                  <a:moveTo>
                    <a:pt x="3239" y="2680"/>
                  </a:moveTo>
                  <a:lnTo>
                    <a:pt x="3239" y="2680"/>
                  </a:lnTo>
                  <a:cubicBezTo>
                    <a:pt x="3261" y="2702"/>
                    <a:pt x="4644" y="3120"/>
                    <a:pt x="4644" y="3120"/>
                  </a:cubicBezTo>
                  <a:cubicBezTo>
                    <a:pt x="4639" y="3122"/>
                    <a:pt x="4637" y="3122"/>
                    <a:pt x="4636" y="3122"/>
                  </a:cubicBezTo>
                  <a:cubicBezTo>
                    <a:pt x="4636" y="3122"/>
                    <a:pt x="4642" y="3120"/>
                    <a:pt x="4640" y="3120"/>
                  </a:cubicBezTo>
                  <a:cubicBezTo>
                    <a:pt x="4636" y="3120"/>
                    <a:pt x="4565" y="3136"/>
                    <a:pt x="4049" y="3263"/>
                  </a:cubicBezTo>
                  <a:cubicBezTo>
                    <a:pt x="3930" y="3287"/>
                    <a:pt x="3834" y="3382"/>
                    <a:pt x="3811" y="3501"/>
                  </a:cubicBezTo>
                  <a:cubicBezTo>
                    <a:pt x="3686" y="3957"/>
                    <a:pt x="3662" y="4068"/>
                    <a:pt x="3659" y="4091"/>
                  </a:cubicBezTo>
                  <a:lnTo>
                    <a:pt x="3659" y="4091"/>
                  </a:lnTo>
                  <a:cubicBezTo>
                    <a:pt x="3658" y="4092"/>
                    <a:pt x="3657" y="4094"/>
                    <a:pt x="3656" y="4097"/>
                  </a:cubicBezTo>
                  <a:cubicBezTo>
                    <a:pt x="3656" y="4085"/>
                    <a:pt x="3620" y="3954"/>
                    <a:pt x="3239" y="2680"/>
                  </a:cubicBezTo>
                  <a:close/>
                  <a:moveTo>
                    <a:pt x="322" y="1"/>
                  </a:moveTo>
                  <a:cubicBezTo>
                    <a:pt x="143" y="1"/>
                    <a:pt x="1" y="156"/>
                    <a:pt x="1" y="334"/>
                  </a:cubicBezTo>
                  <a:lnTo>
                    <a:pt x="1" y="2263"/>
                  </a:lnTo>
                  <a:cubicBezTo>
                    <a:pt x="1" y="2442"/>
                    <a:pt x="143" y="2596"/>
                    <a:pt x="322" y="2596"/>
                  </a:cubicBezTo>
                  <a:lnTo>
                    <a:pt x="2739" y="2596"/>
                  </a:lnTo>
                  <a:cubicBezTo>
                    <a:pt x="2810" y="2596"/>
                    <a:pt x="2882" y="2561"/>
                    <a:pt x="2941" y="2513"/>
                  </a:cubicBezTo>
                  <a:lnTo>
                    <a:pt x="2941" y="2513"/>
                  </a:lnTo>
                  <a:cubicBezTo>
                    <a:pt x="2894" y="2596"/>
                    <a:pt x="2882" y="2692"/>
                    <a:pt x="2918" y="2787"/>
                  </a:cubicBezTo>
                  <a:lnTo>
                    <a:pt x="3334" y="4204"/>
                  </a:lnTo>
                  <a:cubicBezTo>
                    <a:pt x="3375" y="4362"/>
                    <a:pt x="3511" y="4442"/>
                    <a:pt x="3650" y="4442"/>
                  </a:cubicBezTo>
                  <a:cubicBezTo>
                    <a:pt x="3793" y="4442"/>
                    <a:pt x="3941" y="4356"/>
                    <a:pt x="3989" y="4180"/>
                  </a:cubicBezTo>
                  <a:lnTo>
                    <a:pt x="4132" y="3585"/>
                  </a:lnTo>
                  <a:lnTo>
                    <a:pt x="4727" y="3442"/>
                  </a:lnTo>
                  <a:cubicBezTo>
                    <a:pt x="5061" y="3358"/>
                    <a:pt x="5061" y="2894"/>
                    <a:pt x="4727" y="2787"/>
                  </a:cubicBezTo>
                  <a:lnTo>
                    <a:pt x="3322" y="2370"/>
                  </a:lnTo>
                  <a:cubicBezTo>
                    <a:pt x="3290" y="2363"/>
                    <a:pt x="3256" y="2359"/>
                    <a:pt x="3223" y="2359"/>
                  </a:cubicBezTo>
                  <a:cubicBezTo>
                    <a:pt x="3147" y="2359"/>
                    <a:pt x="3075" y="2380"/>
                    <a:pt x="3025" y="2430"/>
                  </a:cubicBezTo>
                  <a:cubicBezTo>
                    <a:pt x="3096" y="2299"/>
                    <a:pt x="3049" y="2334"/>
                    <a:pt x="3060" y="334"/>
                  </a:cubicBezTo>
                  <a:cubicBezTo>
                    <a:pt x="3060" y="287"/>
                    <a:pt x="3060" y="251"/>
                    <a:pt x="3049" y="215"/>
                  </a:cubicBezTo>
                  <a:cubicBezTo>
                    <a:pt x="3049" y="179"/>
                    <a:pt x="3037" y="156"/>
                    <a:pt x="3025" y="132"/>
                  </a:cubicBezTo>
                  <a:cubicBezTo>
                    <a:pt x="3001" y="120"/>
                    <a:pt x="2989" y="108"/>
                    <a:pt x="2977" y="108"/>
                  </a:cubicBezTo>
                  <a:cubicBezTo>
                    <a:pt x="2918" y="48"/>
                    <a:pt x="2822" y="1"/>
                    <a:pt x="2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1" name="Google Shape;12271;p62"/>
            <p:cNvSpPr/>
            <p:nvPr/>
          </p:nvSpPr>
          <p:spPr>
            <a:xfrm>
              <a:off x="1354943" y="1540049"/>
              <a:ext cx="124230" cy="148847"/>
            </a:xfrm>
            <a:custGeom>
              <a:avLst/>
              <a:gdLst/>
              <a:ahLst/>
              <a:cxnLst/>
              <a:rect l="l" t="t" r="r" b="b"/>
              <a:pathLst>
                <a:path w="3906" h="4680" extrusionOk="0">
                  <a:moveTo>
                    <a:pt x="1834" y="0"/>
                  </a:moveTo>
                  <a:cubicBezTo>
                    <a:pt x="1489" y="0"/>
                    <a:pt x="1179" y="227"/>
                    <a:pt x="1072" y="548"/>
                  </a:cubicBezTo>
                  <a:cubicBezTo>
                    <a:pt x="0" y="3929"/>
                    <a:pt x="24" y="3751"/>
                    <a:pt x="24" y="3941"/>
                  </a:cubicBezTo>
                  <a:cubicBezTo>
                    <a:pt x="24" y="4346"/>
                    <a:pt x="346" y="4680"/>
                    <a:pt x="750" y="4680"/>
                  </a:cubicBezTo>
                  <a:cubicBezTo>
                    <a:pt x="1060" y="4680"/>
                    <a:pt x="1346" y="4477"/>
                    <a:pt x="1429" y="4168"/>
                  </a:cubicBezTo>
                  <a:lnTo>
                    <a:pt x="1524" y="3882"/>
                  </a:lnTo>
                  <a:cubicBezTo>
                    <a:pt x="1572" y="3739"/>
                    <a:pt x="1703" y="3644"/>
                    <a:pt x="1846" y="3644"/>
                  </a:cubicBezTo>
                  <a:lnTo>
                    <a:pt x="2024" y="3644"/>
                  </a:lnTo>
                  <a:cubicBezTo>
                    <a:pt x="2179" y="3644"/>
                    <a:pt x="2310" y="3739"/>
                    <a:pt x="2358" y="3882"/>
                  </a:cubicBezTo>
                  <a:lnTo>
                    <a:pt x="2441" y="4168"/>
                  </a:lnTo>
                  <a:cubicBezTo>
                    <a:pt x="2548" y="4465"/>
                    <a:pt x="2822" y="4680"/>
                    <a:pt x="3132" y="4680"/>
                  </a:cubicBezTo>
                  <a:cubicBezTo>
                    <a:pt x="3536" y="4680"/>
                    <a:pt x="3858" y="4346"/>
                    <a:pt x="3858" y="3941"/>
                  </a:cubicBezTo>
                  <a:cubicBezTo>
                    <a:pt x="3906" y="3751"/>
                    <a:pt x="3858" y="3739"/>
                    <a:pt x="3489" y="2501"/>
                  </a:cubicBezTo>
                  <a:cubicBezTo>
                    <a:pt x="3470" y="2424"/>
                    <a:pt x="3405" y="2386"/>
                    <a:pt x="3337" y="2386"/>
                  </a:cubicBezTo>
                  <a:cubicBezTo>
                    <a:pt x="3320" y="2386"/>
                    <a:pt x="3303" y="2389"/>
                    <a:pt x="3286" y="2394"/>
                  </a:cubicBezTo>
                  <a:cubicBezTo>
                    <a:pt x="3191" y="2429"/>
                    <a:pt x="3144" y="2513"/>
                    <a:pt x="3179" y="2608"/>
                  </a:cubicBezTo>
                  <a:cubicBezTo>
                    <a:pt x="3584" y="3882"/>
                    <a:pt x="3596" y="3834"/>
                    <a:pt x="3596" y="3941"/>
                  </a:cubicBezTo>
                  <a:cubicBezTo>
                    <a:pt x="3596" y="4168"/>
                    <a:pt x="3417" y="4334"/>
                    <a:pt x="3203" y="4334"/>
                  </a:cubicBezTo>
                  <a:cubicBezTo>
                    <a:pt x="3048" y="4334"/>
                    <a:pt x="2894" y="4227"/>
                    <a:pt x="2834" y="4060"/>
                  </a:cubicBezTo>
                  <a:lnTo>
                    <a:pt x="2751" y="3787"/>
                  </a:lnTo>
                  <a:cubicBezTo>
                    <a:pt x="2655" y="3501"/>
                    <a:pt x="2393" y="3310"/>
                    <a:pt x="2096" y="3310"/>
                  </a:cubicBezTo>
                  <a:lnTo>
                    <a:pt x="1882" y="3310"/>
                  </a:lnTo>
                  <a:cubicBezTo>
                    <a:pt x="1584" y="3310"/>
                    <a:pt x="1334" y="3501"/>
                    <a:pt x="1227" y="3787"/>
                  </a:cubicBezTo>
                  <a:lnTo>
                    <a:pt x="1143" y="4084"/>
                  </a:lnTo>
                  <a:cubicBezTo>
                    <a:pt x="1084" y="4239"/>
                    <a:pt x="929" y="4346"/>
                    <a:pt x="762" y="4346"/>
                  </a:cubicBezTo>
                  <a:cubicBezTo>
                    <a:pt x="500" y="4346"/>
                    <a:pt x="298" y="4096"/>
                    <a:pt x="393" y="3822"/>
                  </a:cubicBezTo>
                  <a:lnTo>
                    <a:pt x="1417" y="655"/>
                  </a:lnTo>
                  <a:cubicBezTo>
                    <a:pt x="1477" y="465"/>
                    <a:pt x="1655" y="346"/>
                    <a:pt x="1846" y="346"/>
                  </a:cubicBezTo>
                  <a:lnTo>
                    <a:pt x="2084" y="346"/>
                  </a:lnTo>
                  <a:cubicBezTo>
                    <a:pt x="2286" y="346"/>
                    <a:pt x="2465" y="477"/>
                    <a:pt x="2524" y="655"/>
                  </a:cubicBezTo>
                  <a:lnTo>
                    <a:pt x="2941" y="1965"/>
                  </a:lnTo>
                  <a:cubicBezTo>
                    <a:pt x="2960" y="2041"/>
                    <a:pt x="3025" y="2079"/>
                    <a:pt x="3093" y="2079"/>
                  </a:cubicBezTo>
                  <a:cubicBezTo>
                    <a:pt x="3110" y="2079"/>
                    <a:pt x="3127" y="2077"/>
                    <a:pt x="3144" y="2072"/>
                  </a:cubicBezTo>
                  <a:cubicBezTo>
                    <a:pt x="3239" y="2036"/>
                    <a:pt x="3275" y="1953"/>
                    <a:pt x="3251" y="1858"/>
                  </a:cubicBezTo>
                  <a:lnTo>
                    <a:pt x="2834" y="548"/>
                  </a:lnTo>
                  <a:cubicBezTo>
                    <a:pt x="2727" y="227"/>
                    <a:pt x="2417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2" name="Google Shape;12272;p62"/>
            <p:cNvSpPr/>
            <p:nvPr/>
          </p:nvSpPr>
          <p:spPr>
            <a:xfrm>
              <a:off x="1399629" y="1581714"/>
              <a:ext cx="37148" cy="52669"/>
            </a:xfrm>
            <a:custGeom>
              <a:avLst/>
              <a:gdLst/>
              <a:ahLst/>
              <a:cxnLst/>
              <a:rect l="l" t="t" r="r" b="b"/>
              <a:pathLst>
                <a:path w="1168" h="1656" extrusionOk="0">
                  <a:moveTo>
                    <a:pt x="596" y="738"/>
                  </a:moveTo>
                  <a:lnTo>
                    <a:pt x="774" y="1310"/>
                  </a:lnTo>
                  <a:lnTo>
                    <a:pt x="417" y="1310"/>
                  </a:lnTo>
                  <a:lnTo>
                    <a:pt x="596" y="738"/>
                  </a:lnTo>
                  <a:close/>
                  <a:moveTo>
                    <a:pt x="584" y="0"/>
                  </a:moveTo>
                  <a:cubicBezTo>
                    <a:pt x="512" y="0"/>
                    <a:pt x="453" y="48"/>
                    <a:pt x="417" y="119"/>
                  </a:cubicBezTo>
                  <a:lnTo>
                    <a:pt x="36" y="1429"/>
                  </a:lnTo>
                  <a:cubicBezTo>
                    <a:pt x="0" y="1536"/>
                    <a:pt x="72" y="1655"/>
                    <a:pt x="191" y="1655"/>
                  </a:cubicBezTo>
                  <a:lnTo>
                    <a:pt x="1000" y="1655"/>
                  </a:lnTo>
                  <a:cubicBezTo>
                    <a:pt x="1060" y="1655"/>
                    <a:pt x="1108" y="1619"/>
                    <a:pt x="1131" y="1584"/>
                  </a:cubicBezTo>
                  <a:cubicBezTo>
                    <a:pt x="1167" y="1536"/>
                    <a:pt x="1167" y="1488"/>
                    <a:pt x="1143" y="1429"/>
                  </a:cubicBezTo>
                  <a:lnTo>
                    <a:pt x="750" y="119"/>
                  </a:lnTo>
                  <a:cubicBezTo>
                    <a:pt x="727" y="48"/>
                    <a:pt x="65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73" name="Google Shape;12273;p62"/>
          <p:cNvGrpSpPr/>
          <p:nvPr/>
        </p:nvGrpSpPr>
        <p:grpSpPr>
          <a:xfrm>
            <a:off x="2219466" y="1500293"/>
            <a:ext cx="330613" cy="359015"/>
            <a:chOff x="2219466" y="1500293"/>
            <a:chExt cx="330613" cy="359015"/>
          </a:xfrm>
        </p:grpSpPr>
        <p:sp>
          <p:nvSpPr>
            <p:cNvPr id="12274" name="Google Shape;12274;p62"/>
            <p:cNvSpPr/>
            <p:nvPr/>
          </p:nvSpPr>
          <p:spPr>
            <a:xfrm>
              <a:off x="2353906" y="1635560"/>
              <a:ext cx="65518" cy="82121"/>
            </a:xfrm>
            <a:custGeom>
              <a:avLst/>
              <a:gdLst/>
              <a:ahLst/>
              <a:cxnLst/>
              <a:rect l="l" t="t" r="r" b="b"/>
              <a:pathLst>
                <a:path w="2060" h="2582" extrusionOk="0">
                  <a:moveTo>
                    <a:pt x="994" y="319"/>
                  </a:moveTo>
                  <a:cubicBezTo>
                    <a:pt x="1051" y="319"/>
                    <a:pt x="1107" y="355"/>
                    <a:pt x="1131" y="426"/>
                  </a:cubicBezTo>
                  <a:lnTo>
                    <a:pt x="1631" y="2093"/>
                  </a:lnTo>
                  <a:cubicBezTo>
                    <a:pt x="1667" y="2165"/>
                    <a:pt x="1607" y="2236"/>
                    <a:pt x="1536" y="2236"/>
                  </a:cubicBezTo>
                  <a:lnTo>
                    <a:pt x="476" y="2236"/>
                  </a:lnTo>
                  <a:cubicBezTo>
                    <a:pt x="405" y="2236"/>
                    <a:pt x="345" y="2165"/>
                    <a:pt x="357" y="2093"/>
                  </a:cubicBezTo>
                  <a:lnTo>
                    <a:pt x="857" y="426"/>
                  </a:lnTo>
                  <a:cubicBezTo>
                    <a:pt x="881" y="355"/>
                    <a:pt x="938" y="319"/>
                    <a:pt x="994" y="319"/>
                  </a:cubicBezTo>
                  <a:close/>
                  <a:moveTo>
                    <a:pt x="1006" y="1"/>
                  </a:moveTo>
                  <a:cubicBezTo>
                    <a:pt x="813" y="1"/>
                    <a:pt x="619" y="111"/>
                    <a:pt x="548" y="331"/>
                  </a:cubicBezTo>
                  <a:lnTo>
                    <a:pt x="48" y="1998"/>
                  </a:lnTo>
                  <a:cubicBezTo>
                    <a:pt x="0" y="2129"/>
                    <a:pt x="36" y="2284"/>
                    <a:pt x="119" y="2403"/>
                  </a:cubicBezTo>
                  <a:cubicBezTo>
                    <a:pt x="214" y="2522"/>
                    <a:pt x="345" y="2581"/>
                    <a:pt x="476" y="2581"/>
                  </a:cubicBezTo>
                  <a:lnTo>
                    <a:pt x="1536" y="2581"/>
                  </a:lnTo>
                  <a:cubicBezTo>
                    <a:pt x="1845" y="2581"/>
                    <a:pt x="2060" y="2284"/>
                    <a:pt x="1965" y="1998"/>
                  </a:cubicBezTo>
                  <a:lnTo>
                    <a:pt x="1464" y="331"/>
                  </a:lnTo>
                  <a:cubicBezTo>
                    <a:pt x="1393" y="111"/>
                    <a:pt x="1200" y="1"/>
                    <a:pt x="10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5" name="Google Shape;12275;p62"/>
            <p:cNvSpPr/>
            <p:nvPr/>
          </p:nvSpPr>
          <p:spPr>
            <a:xfrm>
              <a:off x="2219466" y="1500293"/>
              <a:ext cx="330613" cy="359015"/>
            </a:xfrm>
            <a:custGeom>
              <a:avLst/>
              <a:gdLst/>
              <a:ahLst/>
              <a:cxnLst/>
              <a:rect l="l" t="t" r="r" b="b"/>
              <a:pathLst>
                <a:path w="10395" h="11288" extrusionOk="0">
                  <a:moveTo>
                    <a:pt x="1048" y="322"/>
                  </a:moveTo>
                  <a:lnTo>
                    <a:pt x="1048" y="1048"/>
                  </a:lnTo>
                  <a:lnTo>
                    <a:pt x="334" y="1048"/>
                  </a:lnTo>
                  <a:lnTo>
                    <a:pt x="334" y="322"/>
                  </a:lnTo>
                  <a:close/>
                  <a:moveTo>
                    <a:pt x="5549" y="334"/>
                  </a:moveTo>
                  <a:lnTo>
                    <a:pt x="5549" y="1048"/>
                  </a:lnTo>
                  <a:lnTo>
                    <a:pt x="4834" y="1048"/>
                  </a:lnTo>
                  <a:lnTo>
                    <a:pt x="4834" y="334"/>
                  </a:lnTo>
                  <a:close/>
                  <a:moveTo>
                    <a:pt x="10049" y="322"/>
                  </a:moveTo>
                  <a:lnTo>
                    <a:pt x="10049" y="1048"/>
                  </a:lnTo>
                  <a:lnTo>
                    <a:pt x="9335" y="1048"/>
                  </a:lnTo>
                  <a:lnTo>
                    <a:pt x="9335" y="322"/>
                  </a:lnTo>
                  <a:close/>
                  <a:moveTo>
                    <a:pt x="10061" y="5287"/>
                  </a:moveTo>
                  <a:lnTo>
                    <a:pt x="10061" y="6001"/>
                  </a:lnTo>
                  <a:lnTo>
                    <a:pt x="9347" y="6001"/>
                  </a:lnTo>
                  <a:lnTo>
                    <a:pt x="9347" y="5287"/>
                  </a:lnTo>
                  <a:close/>
                  <a:moveTo>
                    <a:pt x="1048" y="5299"/>
                  </a:moveTo>
                  <a:lnTo>
                    <a:pt x="1048" y="6013"/>
                  </a:lnTo>
                  <a:lnTo>
                    <a:pt x="334" y="6013"/>
                  </a:lnTo>
                  <a:lnTo>
                    <a:pt x="334" y="5299"/>
                  </a:lnTo>
                  <a:close/>
                  <a:moveTo>
                    <a:pt x="1381" y="10287"/>
                  </a:moveTo>
                  <a:lnTo>
                    <a:pt x="1524" y="10418"/>
                  </a:lnTo>
                  <a:lnTo>
                    <a:pt x="1381" y="10418"/>
                  </a:lnTo>
                  <a:lnTo>
                    <a:pt x="1381" y="10287"/>
                  </a:lnTo>
                  <a:close/>
                  <a:moveTo>
                    <a:pt x="9001" y="10287"/>
                  </a:moveTo>
                  <a:lnTo>
                    <a:pt x="9001" y="10418"/>
                  </a:lnTo>
                  <a:lnTo>
                    <a:pt x="8870" y="10418"/>
                  </a:lnTo>
                  <a:lnTo>
                    <a:pt x="9001" y="10287"/>
                  </a:lnTo>
                  <a:close/>
                  <a:moveTo>
                    <a:pt x="9025" y="857"/>
                  </a:moveTo>
                  <a:lnTo>
                    <a:pt x="9025" y="1215"/>
                  </a:lnTo>
                  <a:cubicBezTo>
                    <a:pt x="9025" y="1310"/>
                    <a:pt x="9097" y="1381"/>
                    <a:pt x="9180" y="1381"/>
                  </a:cubicBezTo>
                  <a:lnTo>
                    <a:pt x="9537" y="1381"/>
                  </a:lnTo>
                  <a:lnTo>
                    <a:pt x="9537" y="4953"/>
                  </a:lnTo>
                  <a:lnTo>
                    <a:pt x="9180" y="4953"/>
                  </a:lnTo>
                  <a:cubicBezTo>
                    <a:pt x="9097" y="4953"/>
                    <a:pt x="9025" y="5025"/>
                    <a:pt x="9025" y="5120"/>
                  </a:cubicBezTo>
                  <a:lnTo>
                    <a:pt x="9025" y="6180"/>
                  </a:lnTo>
                  <a:cubicBezTo>
                    <a:pt x="9025" y="6263"/>
                    <a:pt x="9097" y="6346"/>
                    <a:pt x="9180" y="6346"/>
                  </a:cubicBezTo>
                  <a:lnTo>
                    <a:pt x="9537" y="6346"/>
                  </a:lnTo>
                  <a:lnTo>
                    <a:pt x="9537" y="9894"/>
                  </a:lnTo>
                  <a:lnTo>
                    <a:pt x="9275" y="9894"/>
                  </a:lnTo>
                  <a:cubicBezTo>
                    <a:pt x="9406" y="9573"/>
                    <a:pt x="9442" y="9216"/>
                    <a:pt x="9323" y="8870"/>
                  </a:cubicBezTo>
                  <a:lnTo>
                    <a:pt x="7311" y="2632"/>
                  </a:lnTo>
                  <a:cubicBezTo>
                    <a:pt x="7283" y="2567"/>
                    <a:pt x="7227" y="2524"/>
                    <a:pt x="7160" y="2524"/>
                  </a:cubicBezTo>
                  <a:cubicBezTo>
                    <a:pt x="7139" y="2524"/>
                    <a:pt x="7118" y="2528"/>
                    <a:pt x="7096" y="2536"/>
                  </a:cubicBezTo>
                  <a:cubicBezTo>
                    <a:pt x="7013" y="2560"/>
                    <a:pt x="6965" y="2655"/>
                    <a:pt x="7001" y="2739"/>
                  </a:cubicBezTo>
                  <a:lnTo>
                    <a:pt x="9001" y="8978"/>
                  </a:lnTo>
                  <a:cubicBezTo>
                    <a:pt x="9263" y="9780"/>
                    <a:pt x="8624" y="10429"/>
                    <a:pt x="7936" y="10429"/>
                  </a:cubicBezTo>
                  <a:cubicBezTo>
                    <a:pt x="7685" y="10429"/>
                    <a:pt x="7427" y="10342"/>
                    <a:pt x="7204" y="10144"/>
                  </a:cubicBezTo>
                  <a:cubicBezTo>
                    <a:pt x="7171" y="10123"/>
                    <a:pt x="7132" y="10111"/>
                    <a:pt x="7093" y="10111"/>
                  </a:cubicBezTo>
                  <a:cubicBezTo>
                    <a:pt x="7045" y="10111"/>
                    <a:pt x="6998" y="10129"/>
                    <a:pt x="6965" y="10168"/>
                  </a:cubicBezTo>
                  <a:cubicBezTo>
                    <a:pt x="6906" y="10240"/>
                    <a:pt x="6906" y="10347"/>
                    <a:pt x="6977" y="10406"/>
                  </a:cubicBezTo>
                  <a:cubicBezTo>
                    <a:pt x="7001" y="10418"/>
                    <a:pt x="7013" y="10430"/>
                    <a:pt x="7025" y="10430"/>
                  </a:cubicBezTo>
                  <a:lnTo>
                    <a:pt x="5906" y="10430"/>
                  </a:lnTo>
                  <a:lnTo>
                    <a:pt x="5906" y="10073"/>
                  </a:lnTo>
                  <a:cubicBezTo>
                    <a:pt x="5906" y="9990"/>
                    <a:pt x="5834" y="9918"/>
                    <a:pt x="5751" y="9918"/>
                  </a:cubicBezTo>
                  <a:lnTo>
                    <a:pt x="4691" y="9918"/>
                  </a:lnTo>
                  <a:cubicBezTo>
                    <a:pt x="4596" y="9918"/>
                    <a:pt x="4525" y="9990"/>
                    <a:pt x="4525" y="10073"/>
                  </a:cubicBezTo>
                  <a:lnTo>
                    <a:pt x="4525" y="10430"/>
                  </a:lnTo>
                  <a:lnTo>
                    <a:pt x="3382" y="10430"/>
                  </a:lnTo>
                  <a:cubicBezTo>
                    <a:pt x="3834" y="10049"/>
                    <a:pt x="3858" y="9585"/>
                    <a:pt x="4037" y="9144"/>
                  </a:cubicBezTo>
                  <a:cubicBezTo>
                    <a:pt x="4167" y="8728"/>
                    <a:pt x="4548" y="8442"/>
                    <a:pt x="5001" y="8442"/>
                  </a:cubicBezTo>
                  <a:lnTo>
                    <a:pt x="5418" y="8442"/>
                  </a:lnTo>
                  <a:cubicBezTo>
                    <a:pt x="5846" y="8442"/>
                    <a:pt x="6239" y="8728"/>
                    <a:pt x="6382" y="9144"/>
                  </a:cubicBezTo>
                  <a:lnTo>
                    <a:pt x="6596" y="9775"/>
                  </a:lnTo>
                  <a:cubicBezTo>
                    <a:pt x="6615" y="9849"/>
                    <a:pt x="6676" y="9894"/>
                    <a:pt x="6742" y="9894"/>
                  </a:cubicBezTo>
                  <a:cubicBezTo>
                    <a:pt x="6761" y="9894"/>
                    <a:pt x="6780" y="9890"/>
                    <a:pt x="6799" y="9882"/>
                  </a:cubicBezTo>
                  <a:cubicBezTo>
                    <a:pt x="6894" y="9859"/>
                    <a:pt x="6930" y="9763"/>
                    <a:pt x="6906" y="9680"/>
                  </a:cubicBezTo>
                  <a:lnTo>
                    <a:pt x="6692" y="9037"/>
                  </a:lnTo>
                  <a:cubicBezTo>
                    <a:pt x="6513" y="8489"/>
                    <a:pt x="6001" y="8108"/>
                    <a:pt x="5418" y="8108"/>
                  </a:cubicBezTo>
                  <a:lnTo>
                    <a:pt x="5001" y="8108"/>
                  </a:lnTo>
                  <a:cubicBezTo>
                    <a:pt x="4418" y="8108"/>
                    <a:pt x="3894" y="8489"/>
                    <a:pt x="3715" y="9037"/>
                  </a:cubicBezTo>
                  <a:lnTo>
                    <a:pt x="3513" y="9680"/>
                  </a:lnTo>
                  <a:cubicBezTo>
                    <a:pt x="3358" y="10132"/>
                    <a:pt x="2929" y="10430"/>
                    <a:pt x="2453" y="10430"/>
                  </a:cubicBezTo>
                  <a:cubicBezTo>
                    <a:pt x="1846" y="10430"/>
                    <a:pt x="1334" y="9942"/>
                    <a:pt x="1334" y="9323"/>
                  </a:cubicBezTo>
                  <a:cubicBezTo>
                    <a:pt x="1334" y="9025"/>
                    <a:pt x="1429" y="8906"/>
                    <a:pt x="1751" y="7846"/>
                  </a:cubicBezTo>
                  <a:cubicBezTo>
                    <a:pt x="1786" y="7751"/>
                    <a:pt x="1739" y="7668"/>
                    <a:pt x="1655" y="7632"/>
                  </a:cubicBezTo>
                  <a:cubicBezTo>
                    <a:pt x="1639" y="7628"/>
                    <a:pt x="1622" y="7626"/>
                    <a:pt x="1607" y="7626"/>
                  </a:cubicBezTo>
                  <a:cubicBezTo>
                    <a:pt x="1532" y="7626"/>
                    <a:pt x="1470" y="7670"/>
                    <a:pt x="1441" y="7739"/>
                  </a:cubicBezTo>
                  <a:lnTo>
                    <a:pt x="1084" y="8870"/>
                  </a:lnTo>
                  <a:cubicBezTo>
                    <a:pt x="977" y="9216"/>
                    <a:pt x="1000" y="9573"/>
                    <a:pt x="1143" y="9894"/>
                  </a:cubicBezTo>
                  <a:lnTo>
                    <a:pt x="881" y="9894"/>
                  </a:lnTo>
                  <a:lnTo>
                    <a:pt x="881" y="6346"/>
                  </a:lnTo>
                  <a:lnTo>
                    <a:pt x="1239" y="6346"/>
                  </a:lnTo>
                  <a:cubicBezTo>
                    <a:pt x="1322" y="6346"/>
                    <a:pt x="1393" y="6263"/>
                    <a:pt x="1393" y="6180"/>
                  </a:cubicBezTo>
                  <a:lnTo>
                    <a:pt x="1393" y="5120"/>
                  </a:lnTo>
                  <a:cubicBezTo>
                    <a:pt x="1393" y="5037"/>
                    <a:pt x="1322" y="4953"/>
                    <a:pt x="1239" y="4953"/>
                  </a:cubicBezTo>
                  <a:lnTo>
                    <a:pt x="881" y="4953"/>
                  </a:lnTo>
                  <a:lnTo>
                    <a:pt x="881" y="1381"/>
                  </a:lnTo>
                  <a:lnTo>
                    <a:pt x="1239" y="1381"/>
                  </a:lnTo>
                  <a:cubicBezTo>
                    <a:pt x="1322" y="1381"/>
                    <a:pt x="1393" y="1310"/>
                    <a:pt x="1393" y="1227"/>
                  </a:cubicBezTo>
                  <a:lnTo>
                    <a:pt x="1393" y="869"/>
                  </a:lnTo>
                  <a:lnTo>
                    <a:pt x="3953" y="869"/>
                  </a:lnTo>
                  <a:cubicBezTo>
                    <a:pt x="3703" y="1060"/>
                    <a:pt x="3513" y="1322"/>
                    <a:pt x="3417" y="1643"/>
                  </a:cubicBezTo>
                  <a:lnTo>
                    <a:pt x="1643" y="7096"/>
                  </a:lnTo>
                  <a:cubicBezTo>
                    <a:pt x="1608" y="7204"/>
                    <a:pt x="1679" y="7323"/>
                    <a:pt x="1798" y="7323"/>
                  </a:cubicBezTo>
                  <a:cubicBezTo>
                    <a:pt x="1881" y="7323"/>
                    <a:pt x="1941" y="7275"/>
                    <a:pt x="1965" y="7204"/>
                  </a:cubicBezTo>
                  <a:lnTo>
                    <a:pt x="3739" y="1727"/>
                  </a:lnTo>
                  <a:cubicBezTo>
                    <a:pt x="3858" y="1334"/>
                    <a:pt x="4156" y="1036"/>
                    <a:pt x="4525" y="917"/>
                  </a:cubicBezTo>
                  <a:lnTo>
                    <a:pt x="4525" y="1215"/>
                  </a:lnTo>
                  <a:cubicBezTo>
                    <a:pt x="4525" y="1310"/>
                    <a:pt x="4596" y="1381"/>
                    <a:pt x="4691" y="1381"/>
                  </a:cubicBezTo>
                  <a:lnTo>
                    <a:pt x="5751" y="1381"/>
                  </a:lnTo>
                  <a:cubicBezTo>
                    <a:pt x="5834" y="1381"/>
                    <a:pt x="5906" y="1310"/>
                    <a:pt x="5906" y="1215"/>
                  </a:cubicBezTo>
                  <a:lnTo>
                    <a:pt x="5906" y="941"/>
                  </a:lnTo>
                  <a:cubicBezTo>
                    <a:pt x="6263" y="1072"/>
                    <a:pt x="6549" y="1358"/>
                    <a:pt x="6680" y="1739"/>
                  </a:cubicBezTo>
                  <a:lnTo>
                    <a:pt x="6799" y="2096"/>
                  </a:lnTo>
                  <a:cubicBezTo>
                    <a:pt x="6827" y="2172"/>
                    <a:pt x="6886" y="2210"/>
                    <a:pt x="6958" y="2210"/>
                  </a:cubicBezTo>
                  <a:cubicBezTo>
                    <a:pt x="6975" y="2210"/>
                    <a:pt x="6994" y="2208"/>
                    <a:pt x="7013" y="2203"/>
                  </a:cubicBezTo>
                  <a:cubicBezTo>
                    <a:pt x="7096" y="2167"/>
                    <a:pt x="7144" y="2084"/>
                    <a:pt x="7120" y="1989"/>
                  </a:cubicBezTo>
                  <a:cubicBezTo>
                    <a:pt x="7025" y="1786"/>
                    <a:pt x="6977" y="1262"/>
                    <a:pt x="6465" y="857"/>
                  </a:cubicBezTo>
                  <a:close/>
                  <a:moveTo>
                    <a:pt x="1048" y="10228"/>
                  </a:moveTo>
                  <a:lnTo>
                    <a:pt x="1048" y="10942"/>
                  </a:lnTo>
                  <a:lnTo>
                    <a:pt x="334" y="10942"/>
                  </a:lnTo>
                  <a:lnTo>
                    <a:pt x="334" y="10228"/>
                  </a:lnTo>
                  <a:close/>
                  <a:moveTo>
                    <a:pt x="5572" y="10228"/>
                  </a:moveTo>
                  <a:lnTo>
                    <a:pt x="5572" y="10942"/>
                  </a:lnTo>
                  <a:lnTo>
                    <a:pt x="4858" y="10942"/>
                  </a:lnTo>
                  <a:lnTo>
                    <a:pt x="4858" y="10228"/>
                  </a:lnTo>
                  <a:close/>
                  <a:moveTo>
                    <a:pt x="10061" y="10228"/>
                  </a:moveTo>
                  <a:lnTo>
                    <a:pt x="10061" y="10942"/>
                  </a:lnTo>
                  <a:lnTo>
                    <a:pt x="9347" y="10942"/>
                  </a:lnTo>
                  <a:lnTo>
                    <a:pt x="9347" y="10228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227"/>
                  </a:lnTo>
                  <a:cubicBezTo>
                    <a:pt x="0" y="1310"/>
                    <a:pt x="72" y="1381"/>
                    <a:pt x="167" y="1381"/>
                  </a:cubicBezTo>
                  <a:lnTo>
                    <a:pt x="524" y="1381"/>
                  </a:lnTo>
                  <a:lnTo>
                    <a:pt x="524" y="4953"/>
                  </a:lnTo>
                  <a:lnTo>
                    <a:pt x="167" y="4953"/>
                  </a:lnTo>
                  <a:cubicBezTo>
                    <a:pt x="72" y="4953"/>
                    <a:pt x="0" y="5037"/>
                    <a:pt x="0" y="5120"/>
                  </a:cubicBezTo>
                  <a:lnTo>
                    <a:pt x="0" y="6180"/>
                  </a:lnTo>
                  <a:cubicBezTo>
                    <a:pt x="0" y="6263"/>
                    <a:pt x="72" y="6346"/>
                    <a:pt x="167" y="6346"/>
                  </a:cubicBezTo>
                  <a:lnTo>
                    <a:pt x="524" y="6346"/>
                  </a:lnTo>
                  <a:lnTo>
                    <a:pt x="524" y="9894"/>
                  </a:lnTo>
                  <a:lnTo>
                    <a:pt x="167" y="9894"/>
                  </a:lnTo>
                  <a:cubicBezTo>
                    <a:pt x="72" y="9894"/>
                    <a:pt x="0" y="9978"/>
                    <a:pt x="0" y="10061"/>
                  </a:cubicBezTo>
                  <a:lnTo>
                    <a:pt x="0" y="11121"/>
                  </a:lnTo>
                  <a:cubicBezTo>
                    <a:pt x="0" y="11204"/>
                    <a:pt x="72" y="11287"/>
                    <a:pt x="167" y="11287"/>
                  </a:cubicBezTo>
                  <a:lnTo>
                    <a:pt x="1215" y="11287"/>
                  </a:lnTo>
                  <a:cubicBezTo>
                    <a:pt x="1310" y="11287"/>
                    <a:pt x="1381" y="11204"/>
                    <a:pt x="1381" y="11121"/>
                  </a:cubicBezTo>
                  <a:lnTo>
                    <a:pt x="1381" y="10763"/>
                  </a:lnTo>
                  <a:lnTo>
                    <a:pt x="4513" y="10763"/>
                  </a:lnTo>
                  <a:lnTo>
                    <a:pt x="4513" y="11121"/>
                  </a:lnTo>
                  <a:cubicBezTo>
                    <a:pt x="4513" y="11204"/>
                    <a:pt x="4584" y="11287"/>
                    <a:pt x="4679" y="11287"/>
                  </a:cubicBezTo>
                  <a:lnTo>
                    <a:pt x="5727" y="11287"/>
                  </a:lnTo>
                  <a:cubicBezTo>
                    <a:pt x="5822" y="11287"/>
                    <a:pt x="5894" y="11204"/>
                    <a:pt x="5894" y="11121"/>
                  </a:cubicBezTo>
                  <a:lnTo>
                    <a:pt x="5894" y="10763"/>
                  </a:lnTo>
                  <a:lnTo>
                    <a:pt x="9001" y="10763"/>
                  </a:lnTo>
                  <a:lnTo>
                    <a:pt x="9001" y="11121"/>
                  </a:lnTo>
                  <a:cubicBezTo>
                    <a:pt x="9001" y="11204"/>
                    <a:pt x="9085" y="11287"/>
                    <a:pt x="9168" y="11287"/>
                  </a:cubicBezTo>
                  <a:lnTo>
                    <a:pt x="10228" y="11287"/>
                  </a:lnTo>
                  <a:cubicBezTo>
                    <a:pt x="10311" y="11287"/>
                    <a:pt x="10394" y="11204"/>
                    <a:pt x="10394" y="11121"/>
                  </a:cubicBezTo>
                  <a:lnTo>
                    <a:pt x="10394" y="10061"/>
                  </a:lnTo>
                  <a:cubicBezTo>
                    <a:pt x="10394" y="9978"/>
                    <a:pt x="10311" y="9894"/>
                    <a:pt x="10228" y="9894"/>
                  </a:cubicBezTo>
                  <a:lnTo>
                    <a:pt x="9871" y="9894"/>
                  </a:lnTo>
                  <a:lnTo>
                    <a:pt x="9871" y="6346"/>
                  </a:lnTo>
                  <a:lnTo>
                    <a:pt x="10228" y="6346"/>
                  </a:lnTo>
                  <a:cubicBezTo>
                    <a:pt x="10311" y="6346"/>
                    <a:pt x="10394" y="6263"/>
                    <a:pt x="10394" y="6180"/>
                  </a:cubicBezTo>
                  <a:lnTo>
                    <a:pt x="10394" y="5120"/>
                  </a:lnTo>
                  <a:cubicBezTo>
                    <a:pt x="10394" y="5037"/>
                    <a:pt x="10311" y="4953"/>
                    <a:pt x="10228" y="4953"/>
                  </a:cubicBezTo>
                  <a:lnTo>
                    <a:pt x="9871" y="4953"/>
                  </a:lnTo>
                  <a:lnTo>
                    <a:pt x="9871" y="1381"/>
                  </a:lnTo>
                  <a:lnTo>
                    <a:pt x="10228" y="1381"/>
                  </a:lnTo>
                  <a:cubicBezTo>
                    <a:pt x="10311" y="1381"/>
                    <a:pt x="10394" y="1310"/>
                    <a:pt x="10394" y="1227"/>
                  </a:cubicBezTo>
                  <a:lnTo>
                    <a:pt x="10394" y="167"/>
                  </a:lnTo>
                  <a:cubicBezTo>
                    <a:pt x="10394" y="72"/>
                    <a:pt x="10311" y="0"/>
                    <a:pt x="10228" y="0"/>
                  </a:cubicBezTo>
                  <a:lnTo>
                    <a:pt x="9168" y="0"/>
                  </a:lnTo>
                  <a:cubicBezTo>
                    <a:pt x="9085" y="0"/>
                    <a:pt x="9001" y="72"/>
                    <a:pt x="9001" y="167"/>
                  </a:cubicBezTo>
                  <a:lnTo>
                    <a:pt x="9001" y="524"/>
                  </a:lnTo>
                  <a:lnTo>
                    <a:pt x="5894" y="524"/>
                  </a:lnTo>
                  <a:lnTo>
                    <a:pt x="5894" y="167"/>
                  </a:lnTo>
                  <a:cubicBezTo>
                    <a:pt x="5894" y="72"/>
                    <a:pt x="5822" y="0"/>
                    <a:pt x="5727" y="0"/>
                  </a:cubicBezTo>
                  <a:lnTo>
                    <a:pt x="4679" y="0"/>
                  </a:lnTo>
                  <a:cubicBezTo>
                    <a:pt x="4584" y="0"/>
                    <a:pt x="4513" y="72"/>
                    <a:pt x="4513" y="167"/>
                  </a:cubicBezTo>
                  <a:lnTo>
                    <a:pt x="4513" y="524"/>
                  </a:lnTo>
                  <a:lnTo>
                    <a:pt x="1381" y="524"/>
                  </a:lnTo>
                  <a:lnTo>
                    <a:pt x="1381" y="167"/>
                  </a:lnTo>
                  <a:cubicBezTo>
                    <a:pt x="1381" y="72"/>
                    <a:pt x="1310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76" name="Google Shape;12276;p62"/>
          <p:cNvGrpSpPr/>
          <p:nvPr/>
        </p:nvGrpSpPr>
        <p:grpSpPr>
          <a:xfrm>
            <a:off x="5343544" y="1509358"/>
            <a:ext cx="244676" cy="351095"/>
            <a:chOff x="5343544" y="1509358"/>
            <a:chExt cx="244676" cy="351095"/>
          </a:xfrm>
        </p:grpSpPr>
        <p:sp>
          <p:nvSpPr>
            <p:cNvPr id="12277" name="Google Shape;12277;p62"/>
            <p:cNvSpPr/>
            <p:nvPr/>
          </p:nvSpPr>
          <p:spPr>
            <a:xfrm>
              <a:off x="5430658" y="1574494"/>
              <a:ext cx="25031" cy="10655"/>
            </a:xfrm>
            <a:custGeom>
              <a:avLst/>
              <a:gdLst/>
              <a:ahLst/>
              <a:cxnLst/>
              <a:rect l="l" t="t" r="r" b="b"/>
              <a:pathLst>
                <a:path w="78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619" y="334"/>
                  </a:lnTo>
                  <a:cubicBezTo>
                    <a:pt x="715" y="334"/>
                    <a:pt x="786" y="263"/>
                    <a:pt x="786" y="168"/>
                  </a:cubicBezTo>
                  <a:cubicBezTo>
                    <a:pt x="786" y="72"/>
                    <a:pt x="715" y="1"/>
                    <a:pt x="6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8" name="Google Shape;12278;p62"/>
            <p:cNvSpPr/>
            <p:nvPr/>
          </p:nvSpPr>
          <p:spPr>
            <a:xfrm>
              <a:off x="5447706" y="1613137"/>
              <a:ext cx="39025" cy="38643"/>
            </a:xfrm>
            <a:custGeom>
              <a:avLst/>
              <a:gdLst/>
              <a:ahLst/>
              <a:cxnLst/>
              <a:rect l="l" t="t" r="r" b="b"/>
              <a:pathLst>
                <a:path w="1227" h="1215" extrusionOk="0">
                  <a:moveTo>
                    <a:pt x="607" y="322"/>
                  </a:moveTo>
                  <a:cubicBezTo>
                    <a:pt x="774" y="322"/>
                    <a:pt x="893" y="453"/>
                    <a:pt x="893" y="608"/>
                  </a:cubicBezTo>
                  <a:cubicBezTo>
                    <a:pt x="893" y="750"/>
                    <a:pt x="774" y="893"/>
                    <a:pt x="607" y="893"/>
                  </a:cubicBezTo>
                  <a:cubicBezTo>
                    <a:pt x="453" y="893"/>
                    <a:pt x="322" y="750"/>
                    <a:pt x="322" y="608"/>
                  </a:cubicBezTo>
                  <a:cubicBezTo>
                    <a:pt x="322" y="453"/>
                    <a:pt x="464" y="322"/>
                    <a:pt x="607" y="322"/>
                  </a:cubicBezTo>
                  <a:close/>
                  <a:moveTo>
                    <a:pt x="607" y="0"/>
                  </a:moveTo>
                  <a:cubicBezTo>
                    <a:pt x="274" y="0"/>
                    <a:pt x="0" y="262"/>
                    <a:pt x="0" y="608"/>
                  </a:cubicBezTo>
                  <a:cubicBezTo>
                    <a:pt x="0" y="953"/>
                    <a:pt x="274" y="1215"/>
                    <a:pt x="607" y="1215"/>
                  </a:cubicBezTo>
                  <a:cubicBezTo>
                    <a:pt x="953" y="1215"/>
                    <a:pt x="1215" y="953"/>
                    <a:pt x="1215" y="608"/>
                  </a:cubicBezTo>
                  <a:cubicBezTo>
                    <a:pt x="1226" y="262"/>
                    <a:pt x="953" y="0"/>
                    <a:pt x="6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9" name="Google Shape;12279;p62"/>
            <p:cNvSpPr/>
            <p:nvPr/>
          </p:nvSpPr>
          <p:spPr>
            <a:xfrm>
              <a:off x="5343544" y="1509358"/>
              <a:ext cx="244676" cy="351095"/>
            </a:xfrm>
            <a:custGeom>
              <a:avLst/>
              <a:gdLst/>
              <a:ahLst/>
              <a:cxnLst/>
              <a:rect l="l" t="t" r="r" b="b"/>
              <a:pathLst>
                <a:path w="7693" h="11039" extrusionOk="0">
                  <a:moveTo>
                    <a:pt x="4728" y="311"/>
                  </a:moveTo>
                  <a:lnTo>
                    <a:pt x="4728" y="1192"/>
                  </a:lnTo>
                  <a:cubicBezTo>
                    <a:pt x="4728" y="1275"/>
                    <a:pt x="4811" y="1346"/>
                    <a:pt x="4894" y="1346"/>
                  </a:cubicBezTo>
                  <a:cubicBezTo>
                    <a:pt x="4990" y="1346"/>
                    <a:pt x="5061" y="1275"/>
                    <a:pt x="5061" y="1192"/>
                  </a:cubicBezTo>
                  <a:lnTo>
                    <a:pt x="5061" y="322"/>
                  </a:lnTo>
                  <a:cubicBezTo>
                    <a:pt x="5716" y="418"/>
                    <a:pt x="6216" y="965"/>
                    <a:pt x="6216" y="1644"/>
                  </a:cubicBezTo>
                  <a:lnTo>
                    <a:pt x="6216" y="2037"/>
                  </a:lnTo>
                  <a:lnTo>
                    <a:pt x="4418" y="2037"/>
                  </a:lnTo>
                  <a:cubicBezTo>
                    <a:pt x="4335" y="2037"/>
                    <a:pt x="4251" y="2108"/>
                    <a:pt x="4251" y="2204"/>
                  </a:cubicBezTo>
                  <a:cubicBezTo>
                    <a:pt x="4251" y="2287"/>
                    <a:pt x="4335" y="2358"/>
                    <a:pt x="4418" y="2358"/>
                  </a:cubicBezTo>
                  <a:lnTo>
                    <a:pt x="6216" y="2358"/>
                  </a:lnTo>
                  <a:lnTo>
                    <a:pt x="6216" y="2704"/>
                  </a:lnTo>
                  <a:lnTo>
                    <a:pt x="4418" y="2704"/>
                  </a:lnTo>
                  <a:cubicBezTo>
                    <a:pt x="4335" y="2704"/>
                    <a:pt x="4251" y="2775"/>
                    <a:pt x="4251" y="2870"/>
                  </a:cubicBezTo>
                  <a:cubicBezTo>
                    <a:pt x="4251" y="2966"/>
                    <a:pt x="4335" y="3037"/>
                    <a:pt x="4418" y="3037"/>
                  </a:cubicBezTo>
                  <a:lnTo>
                    <a:pt x="6216" y="3037"/>
                  </a:lnTo>
                  <a:lnTo>
                    <a:pt x="6216" y="3382"/>
                  </a:lnTo>
                  <a:lnTo>
                    <a:pt x="4894" y="3382"/>
                  </a:lnTo>
                  <a:cubicBezTo>
                    <a:pt x="4811" y="3382"/>
                    <a:pt x="4728" y="3454"/>
                    <a:pt x="4728" y="3537"/>
                  </a:cubicBezTo>
                  <a:cubicBezTo>
                    <a:pt x="4728" y="3632"/>
                    <a:pt x="4811" y="3704"/>
                    <a:pt x="4894" y="3704"/>
                  </a:cubicBezTo>
                  <a:lnTo>
                    <a:pt x="6216" y="3704"/>
                  </a:lnTo>
                  <a:lnTo>
                    <a:pt x="6216" y="4049"/>
                  </a:lnTo>
                  <a:lnTo>
                    <a:pt x="4894" y="4049"/>
                  </a:lnTo>
                  <a:cubicBezTo>
                    <a:pt x="4811" y="4049"/>
                    <a:pt x="4728" y="4121"/>
                    <a:pt x="4728" y="4216"/>
                  </a:cubicBezTo>
                  <a:cubicBezTo>
                    <a:pt x="4728" y="4299"/>
                    <a:pt x="4811" y="4371"/>
                    <a:pt x="4894" y="4371"/>
                  </a:cubicBezTo>
                  <a:lnTo>
                    <a:pt x="6216" y="4371"/>
                  </a:lnTo>
                  <a:lnTo>
                    <a:pt x="6216" y="4716"/>
                  </a:lnTo>
                  <a:lnTo>
                    <a:pt x="4418" y="4716"/>
                  </a:lnTo>
                  <a:cubicBezTo>
                    <a:pt x="4335" y="4716"/>
                    <a:pt x="4251" y="4787"/>
                    <a:pt x="4251" y="4883"/>
                  </a:cubicBezTo>
                  <a:cubicBezTo>
                    <a:pt x="4251" y="4966"/>
                    <a:pt x="4335" y="5049"/>
                    <a:pt x="4418" y="5049"/>
                  </a:cubicBezTo>
                  <a:lnTo>
                    <a:pt x="6216" y="5049"/>
                  </a:lnTo>
                  <a:lnTo>
                    <a:pt x="6216" y="5383"/>
                  </a:lnTo>
                  <a:lnTo>
                    <a:pt x="4418" y="5383"/>
                  </a:lnTo>
                  <a:cubicBezTo>
                    <a:pt x="4335" y="5383"/>
                    <a:pt x="4251" y="5466"/>
                    <a:pt x="4251" y="5549"/>
                  </a:cubicBezTo>
                  <a:cubicBezTo>
                    <a:pt x="4251" y="5645"/>
                    <a:pt x="4335" y="5716"/>
                    <a:pt x="4418" y="5716"/>
                  </a:cubicBezTo>
                  <a:lnTo>
                    <a:pt x="6216" y="5716"/>
                  </a:lnTo>
                  <a:lnTo>
                    <a:pt x="6216" y="6097"/>
                  </a:lnTo>
                  <a:cubicBezTo>
                    <a:pt x="6216" y="6788"/>
                    <a:pt x="5716" y="7335"/>
                    <a:pt x="5061" y="7430"/>
                  </a:cubicBezTo>
                  <a:lnTo>
                    <a:pt x="5061" y="6538"/>
                  </a:lnTo>
                  <a:cubicBezTo>
                    <a:pt x="5061" y="6442"/>
                    <a:pt x="4990" y="6371"/>
                    <a:pt x="4894" y="6371"/>
                  </a:cubicBezTo>
                  <a:cubicBezTo>
                    <a:pt x="4811" y="6371"/>
                    <a:pt x="4728" y="6442"/>
                    <a:pt x="4728" y="6538"/>
                  </a:cubicBezTo>
                  <a:lnTo>
                    <a:pt x="4728" y="7407"/>
                  </a:lnTo>
                  <a:lnTo>
                    <a:pt x="4394" y="7407"/>
                  </a:lnTo>
                  <a:lnTo>
                    <a:pt x="4394" y="6538"/>
                  </a:lnTo>
                  <a:cubicBezTo>
                    <a:pt x="4394" y="6442"/>
                    <a:pt x="4311" y="6371"/>
                    <a:pt x="4228" y="6371"/>
                  </a:cubicBezTo>
                  <a:cubicBezTo>
                    <a:pt x="4132" y="6371"/>
                    <a:pt x="4061" y="6442"/>
                    <a:pt x="4061" y="6538"/>
                  </a:cubicBezTo>
                  <a:lnTo>
                    <a:pt x="4061" y="7407"/>
                  </a:lnTo>
                  <a:lnTo>
                    <a:pt x="3716" y="7407"/>
                  </a:lnTo>
                  <a:lnTo>
                    <a:pt x="3716" y="6538"/>
                  </a:lnTo>
                  <a:cubicBezTo>
                    <a:pt x="3716" y="6442"/>
                    <a:pt x="3644" y="6371"/>
                    <a:pt x="3561" y="6371"/>
                  </a:cubicBezTo>
                  <a:cubicBezTo>
                    <a:pt x="3466" y="6371"/>
                    <a:pt x="3394" y="6442"/>
                    <a:pt x="3394" y="6538"/>
                  </a:cubicBezTo>
                  <a:lnTo>
                    <a:pt x="3394" y="7407"/>
                  </a:lnTo>
                  <a:lnTo>
                    <a:pt x="3049" y="7407"/>
                  </a:lnTo>
                  <a:lnTo>
                    <a:pt x="3049" y="6538"/>
                  </a:lnTo>
                  <a:cubicBezTo>
                    <a:pt x="3049" y="6442"/>
                    <a:pt x="2977" y="6371"/>
                    <a:pt x="2882" y="6371"/>
                  </a:cubicBezTo>
                  <a:cubicBezTo>
                    <a:pt x="2799" y="6371"/>
                    <a:pt x="2727" y="6442"/>
                    <a:pt x="2727" y="6538"/>
                  </a:cubicBezTo>
                  <a:lnTo>
                    <a:pt x="2727" y="7395"/>
                  </a:lnTo>
                  <a:cubicBezTo>
                    <a:pt x="2073" y="7311"/>
                    <a:pt x="1561" y="6752"/>
                    <a:pt x="1561" y="6073"/>
                  </a:cubicBezTo>
                  <a:lnTo>
                    <a:pt x="1561" y="5680"/>
                  </a:lnTo>
                  <a:lnTo>
                    <a:pt x="3358" y="5680"/>
                  </a:lnTo>
                  <a:cubicBezTo>
                    <a:pt x="3454" y="5680"/>
                    <a:pt x="3525" y="5609"/>
                    <a:pt x="3525" y="5525"/>
                  </a:cubicBezTo>
                  <a:cubicBezTo>
                    <a:pt x="3525" y="5430"/>
                    <a:pt x="3454" y="5359"/>
                    <a:pt x="3358" y="5359"/>
                  </a:cubicBezTo>
                  <a:lnTo>
                    <a:pt x="1561" y="5359"/>
                  </a:lnTo>
                  <a:lnTo>
                    <a:pt x="1561" y="5014"/>
                  </a:lnTo>
                  <a:lnTo>
                    <a:pt x="3358" y="5014"/>
                  </a:lnTo>
                  <a:cubicBezTo>
                    <a:pt x="3454" y="5014"/>
                    <a:pt x="3525" y="4942"/>
                    <a:pt x="3525" y="4847"/>
                  </a:cubicBezTo>
                  <a:cubicBezTo>
                    <a:pt x="3525" y="4763"/>
                    <a:pt x="3454" y="4680"/>
                    <a:pt x="3358" y="4680"/>
                  </a:cubicBezTo>
                  <a:lnTo>
                    <a:pt x="1561" y="4680"/>
                  </a:lnTo>
                  <a:lnTo>
                    <a:pt x="1561" y="4347"/>
                  </a:lnTo>
                  <a:lnTo>
                    <a:pt x="2894" y="4347"/>
                  </a:lnTo>
                  <a:cubicBezTo>
                    <a:pt x="2977" y="4347"/>
                    <a:pt x="3049" y="4263"/>
                    <a:pt x="3049" y="4180"/>
                  </a:cubicBezTo>
                  <a:cubicBezTo>
                    <a:pt x="3049" y="4085"/>
                    <a:pt x="2977" y="4013"/>
                    <a:pt x="2894" y="4013"/>
                  </a:cubicBezTo>
                  <a:lnTo>
                    <a:pt x="1561" y="4013"/>
                  </a:lnTo>
                  <a:lnTo>
                    <a:pt x="1561" y="3668"/>
                  </a:lnTo>
                  <a:lnTo>
                    <a:pt x="2894" y="3668"/>
                  </a:lnTo>
                  <a:cubicBezTo>
                    <a:pt x="2977" y="3668"/>
                    <a:pt x="3049" y="3597"/>
                    <a:pt x="3049" y="3513"/>
                  </a:cubicBezTo>
                  <a:cubicBezTo>
                    <a:pt x="3049" y="3418"/>
                    <a:pt x="2977" y="3347"/>
                    <a:pt x="2894" y="3347"/>
                  </a:cubicBezTo>
                  <a:lnTo>
                    <a:pt x="1561" y="3347"/>
                  </a:lnTo>
                  <a:lnTo>
                    <a:pt x="1561" y="3001"/>
                  </a:lnTo>
                  <a:lnTo>
                    <a:pt x="3358" y="3001"/>
                  </a:lnTo>
                  <a:cubicBezTo>
                    <a:pt x="3454" y="3001"/>
                    <a:pt x="3525" y="2930"/>
                    <a:pt x="3525" y="2835"/>
                  </a:cubicBezTo>
                  <a:cubicBezTo>
                    <a:pt x="3525" y="2751"/>
                    <a:pt x="3454" y="2680"/>
                    <a:pt x="3358" y="2680"/>
                  </a:cubicBezTo>
                  <a:lnTo>
                    <a:pt x="1561" y="2680"/>
                  </a:lnTo>
                  <a:lnTo>
                    <a:pt x="1561" y="2370"/>
                  </a:lnTo>
                  <a:lnTo>
                    <a:pt x="2156" y="2370"/>
                  </a:lnTo>
                  <a:cubicBezTo>
                    <a:pt x="2251" y="2370"/>
                    <a:pt x="2323" y="2287"/>
                    <a:pt x="2323" y="2204"/>
                  </a:cubicBezTo>
                  <a:cubicBezTo>
                    <a:pt x="2323" y="2108"/>
                    <a:pt x="2251" y="2037"/>
                    <a:pt x="2156" y="2037"/>
                  </a:cubicBezTo>
                  <a:lnTo>
                    <a:pt x="1561" y="2037"/>
                  </a:lnTo>
                  <a:lnTo>
                    <a:pt x="1561" y="1644"/>
                  </a:lnTo>
                  <a:cubicBezTo>
                    <a:pt x="1561" y="965"/>
                    <a:pt x="2073" y="418"/>
                    <a:pt x="2727" y="322"/>
                  </a:cubicBezTo>
                  <a:lnTo>
                    <a:pt x="2727" y="1192"/>
                  </a:lnTo>
                  <a:cubicBezTo>
                    <a:pt x="2727" y="1275"/>
                    <a:pt x="2799" y="1346"/>
                    <a:pt x="2882" y="1346"/>
                  </a:cubicBezTo>
                  <a:cubicBezTo>
                    <a:pt x="2977" y="1346"/>
                    <a:pt x="3049" y="1275"/>
                    <a:pt x="3049" y="1192"/>
                  </a:cubicBezTo>
                  <a:lnTo>
                    <a:pt x="3049" y="311"/>
                  </a:lnTo>
                  <a:lnTo>
                    <a:pt x="3394" y="311"/>
                  </a:lnTo>
                  <a:lnTo>
                    <a:pt x="3394" y="1192"/>
                  </a:lnTo>
                  <a:cubicBezTo>
                    <a:pt x="3394" y="1275"/>
                    <a:pt x="3466" y="1346"/>
                    <a:pt x="3561" y="1346"/>
                  </a:cubicBezTo>
                  <a:cubicBezTo>
                    <a:pt x="3644" y="1346"/>
                    <a:pt x="3716" y="1275"/>
                    <a:pt x="3716" y="1192"/>
                  </a:cubicBezTo>
                  <a:lnTo>
                    <a:pt x="3716" y="311"/>
                  </a:lnTo>
                  <a:lnTo>
                    <a:pt x="4061" y="311"/>
                  </a:lnTo>
                  <a:lnTo>
                    <a:pt x="4061" y="1192"/>
                  </a:lnTo>
                  <a:cubicBezTo>
                    <a:pt x="4061" y="1275"/>
                    <a:pt x="4132" y="1346"/>
                    <a:pt x="4228" y="1346"/>
                  </a:cubicBezTo>
                  <a:cubicBezTo>
                    <a:pt x="4311" y="1346"/>
                    <a:pt x="4394" y="1275"/>
                    <a:pt x="4394" y="1192"/>
                  </a:cubicBezTo>
                  <a:lnTo>
                    <a:pt x="4394" y="311"/>
                  </a:lnTo>
                  <a:close/>
                  <a:moveTo>
                    <a:pt x="6776" y="5025"/>
                  </a:moveTo>
                  <a:lnTo>
                    <a:pt x="6776" y="6192"/>
                  </a:lnTo>
                  <a:cubicBezTo>
                    <a:pt x="6776" y="7216"/>
                    <a:pt x="5942" y="8050"/>
                    <a:pt x="4906" y="8050"/>
                  </a:cubicBezTo>
                  <a:lnTo>
                    <a:pt x="2882" y="8050"/>
                  </a:lnTo>
                  <a:cubicBezTo>
                    <a:pt x="1858" y="8050"/>
                    <a:pt x="1025" y="7216"/>
                    <a:pt x="1025" y="6192"/>
                  </a:cubicBezTo>
                  <a:lnTo>
                    <a:pt x="1013" y="5025"/>
                  </a:lnTo>
                  <a:lnTo>
                    <a:pt x="1251" y="5025"/>
                  </a:lnTo>
                  <a:lnTo>
                    <a:pt x="1251" y="6085"/>
                  </a:lnTo>
                  <a:cubicBezTo>
                    <a:pt x="1251" y="6990"/>
                    <a:pt x="1977" y="7728"/>
                    <a:pt x="2882" y="7740"/>
                  </a:cubicBezTo>
                  <a:lnTo>
                    <a:pt x="4894" y="7740"/>
                  </a:lnTo>
                  <a:cubicBezTo>
                    <a:pt x="5799" y="7728"/>
                    <a:pt x="6537" y="6978"/>
                    <a:pt x="6537" y="6085"/>
                  </a:cubicBezTo>
                  <a:lnTo>
                    <a:pt x="6537" y="5025"/>
                  </a:lnTo>
                  <a:close/>
                  <a:moveTo>
                    <a:pt x="4144" y="8966"/>
                  </a:moveTo>
                  <a:lnTo>
                    <a:pt x="4144" y="9966"/>
                  </a:lnTo>
                  <a:lnTo>
                    <a:pt x="3620" y="9966"/>
                  </a:lnTo>
                  <a:lnTo>
                    <a:pt x="3620" y="8966"/>
                  </a:lnTo>
                  <a:close/>
                  <a:moveTo>
                    <a:pt x="6299" y="10300"/>
                  </a:moveTo>
                  <a:cubicBezTo>
                    <a:pt x="6561" y="10300"/>
                    <a:pt x="6787" y="10478"/>
                    <a:pt x="6859" y="10717"/>
                  </a:cubicBezTo>
                  <a:lnTo>
                    <a:pt x="918" y="10717"/>
                  </a:lnTo>
                  <a:cubicBezTo>
                    <a:pt x="1001" y="10478"/>
                    <a:pt x="1215" y="10300"/>
                    <a:pt x="1489" y="10300"/>
                  </a:cubicBezTo>
                  <a:close/>
                  <a:moveTo>
                    <a:pt x="2835" y="1"/>
                  </a:moveTo>
                  <a:cubicBezTo>
                    <a:pt x="1918" y="13"/>
                    <a:pt x="1191" y="763"/>
                    <a:pt x="1191" y="1656"/>
                  </a:cubicBezTo>
                  <a:lnTo>
                    <a:pt x="1191" y="4704"/>
                  </a:lnTo>
                  <a:lnTo>
                    <a:pt x="953" y="4704"/>
                  </a:lnTo>
                  <a:lnTo>
                    <a:pt x="953" y="4502"/>
                  </a:lnTo>
                  <a:cubicBezTo>
                    <a:pt x="953" y="4252"/>
                    <a:pt x="751" y="4037"/>
                    <a:pt x="477" y="4037"/>
                  </a:cubicBezTo>
                  <a:cubicBezTo>
                    <a:pt x="227" y="4037"/>
                    <a:pt x="1" y="4240"/>
                    <a:pt x="1" y="4502"/>
                  </a:cubicBezTo>
                  <a:lnTo>
                    <a:pt x="1" y="6168"/>
                  </a:lnTo>
                  <a:cubicBezTo>
                    <a:pt x="1" y="7716"/>
                    <a:pt x="1251" y="8966"/>
                    <a:pt x="2799" y="8966"/>
                  </a:cubicBezTo>
                  <a:lnTo>
                    <a:pt x="3227" y="8966"/>
                  </a:lnTo>
                  <a:lnTo>
                    <a:pt x="3227" y="9966"/>
                  </a:lnTo>
                  <a:lnTo>
                    <a:pt x="1406" y="9966"/>
                  </a:lnTo>
                  <a:cubicBezTo>
                    <a:pt x="906" y="9966"/>
                    <a:pt x="489" y="10371"/>
                    <a:pt x="489" y="10883"/>
                  </a:cubicBezTo>
                  <a:cubicBezTo>
                    <a:pt x="489" y="10967"/>
                    <a:pt x="572" y="11038"/>
                    <a:pt x="656" y="11038"/>
                  </a:cubicBezTo>
                  <a:lnTo>
                    <a:pt x="6966" y="11038"/>
                  </a:lnTo>
                  <a:cubicBezTo>
                    <a:pt x="7061" y="11038"/>
                    <a:pt x="7133" y="10967"/>
                    <a:pt x="7133" y="10883"/>
                  </a:cubicBezTo>
                  <a:cubicBezTo>
                    <a:pt x="7133" y="10383"/>
                    <a:pt x="6728" y="9966"/>
                    <a:pt x="6228" y="9966"/>
                  </a:cubicBezTo>
                  <a:lnTo>
                    <a:pt x="4466" y="9966"/>
                  </a:lnTo>
                  <a:lnTo>
                    <a:pt x="4466" y="8966"/>
                  </a:lnTo>
                  <a:lnTo>
                    <a:pt x="4894" y="8966"/>
                  </a:lnTo>
                  <a:cubicBezTo>
                    <a:pt x="6442" y="8966"/>
                    <a:pt x="7692" y="7728"/>
                    <a:pt x="7692" y="6168"/>
                  </a:cubicBezTo>
                  <a:lnTo>
                    <a:pt x="7692" y="5978"/>
                  </a:lnTo>
                  <a:cubicBezTo>
                    <a:pt x="7692" y="5895"/>
                    <a:pt x="7621" y="5811"/>
                    <a:pt x="7538" y="5811"/>
                  </a:cubicBezTo>
                  <a:cubicBezTo>
                    <a:pt x="7442" y="5811"/>
                    <a:pt x="7371" y="5895"/>
                    <a:pt x="7371" y="5978"/>
                  </a:cubicBezTo>
                  <a:lnTo>
                    <a:pt x="7371" y="6168"/>
                  </a:lnTo>
                  <a:cubicBezTo>
                    <a:pt x="7371" y="7538"/>
                    <a:pt x="6252" y="8657"/>
                    <a:pt x="4882" y="8657"/>
                  </a:cubicBezTo>
                  <a:lnTo>
                    <a:pt x="2858" y="8657"/>
                  </a:lnTo>
                  <a:cubicBezTo>
                    <a:pt x="1489" y="8657"/>
                    <a:pt x="370" y="7538"/>
                    <a:pt x="370" y="6168"/>
                  </a:cubicBezTo>
                  <a:lnTo>
                    <a:pt x="370" y="4502"/>
                  </a:lnTo>
                  <a:cubicBezTo>
                    <a:pt x="370" y="4418"/>
                    <a:pt x="453" y="4359"/>
                    <a:pt x="525" y="4359"/>
                  </a:cubicBezTo>
                  <a:cubicBezTo>
                    <a:pt x="596" y="4359"/>
                    <a:pt x="668" y="4430"/>
                    <a:pt x="668" y="4502"/>
                  </a:cubicBezTo>
                  <a:lnTo>
                    <a:pt x="668" y="6168"/>
                  </a:lnTo>
                  <a:cubicBezTo>
                    <a:pt x="668" y="7383"/>
                    <a:pt x="1656" y="8347"/>
                    <a:pt x="2846" y="8347"/>
                  </a:cubicBezTo>
                  <a:lnTo>
                    <a:pt x="4871" y="8347"/>
                  </a:lnTo>
                  <a:cubicBezTo>
                    <a:pt x="6073" y="8347"/>
                    <a:pt x="7037" y="7359"/>
                    <a:pt x="7037" y="6168"/>
                  </a:cubicBezTo>
                  <a:lnTo>
                    <a:pt x="7037" y="4502"/>
                  </a:lnTo>
                  <a:cubicBezTo>
                    <a:pt x="7037" y="4418"/>
                    <a:pt x="7121" y="4359"/>
                    <a:pt x="7192" y="4359"/>
                  </a:cubicBezTo>
                  <a:cubicBezTo>
                    <a:pt x="7276" y="4359"/>
                    <a:pt x="7335" y="4430"/>
                    <a:pt x="7335" y="4502"/>
                  </a:cubicBezTo>
                  <a:lnTo>
                    <a:pt x="7335" y="5252"/>
                  </a:lnTo>
                  <a:cubicBezTo>
                    <a:pt x="7335" y="5347"/>
                    <a:pt x="7418" y="5418"/>
                    <a:pt x="7502" y="5418"/>
                  </a:cubicBezTo>
                  <a:cubicBezTo>
                    <a:pt x="7585" y="5418"/>
                    <a:pt x="7668" y="5347"/>
                    <a:pt x="7668" y="5252"/>
                  </a:cubicBezTo>
                  <a:lnTo>
                    <a:pt x="7668" y="4502"/>
                  </a:lnTo>
                  <a:cubicBezTo>
                    <a:pt x="7668" y="4252"/>
                    <a:pt x="7454" y="4037"/>
                    <a:pt x="7192" y="4037"/>
                  </a:cubicBezTo>
                  <a:cubicBezTo>
                    <a:pt x="6930" y="4037"/>
                    <a:pt x="6716" y="4240"/>
                    <a:pt x="6716" y="4502"/>
                  </a:cubicBezTo>
                  <a:lnTo>
                    <a:pt x="6716" y="4704"/>
                  </a:lnTo>
                  <a:lnTo>
                    <a:pt x="6478" y="4704"/>
                  </a:lnTo>
                  <a:lnTo>
                    <a:pt x="6478" y="1656"/>
                  </a:lnTo>
                  <a:cubicBezTo>
                    <a:pt x="6478" y="739"/>
                    <a:pt x="5740" y="13"/>
                    <a:pt x="48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80" name="Google Shape;12280;p62"/>
          <p:cNvGrpSpPr/>
          <p:nvPr/>
        </p:nvGrpSpPr>
        <p:grpSpPr>
          <a:xfrm>
            <a:off x="4882340" y="1509358"/>
            <a:ext cx="246171" cy="351095"/>
            <a:chOff x="4882340" y="1509358"/>
            <a:chExt cx="246171" cy="351095"/>
          </a:xfrm>
        </p:grpSpPr>
        <p:sp>
          <p:nvSpPr>
            <p:cNvPr id="12281" name="Google Shape;12281;p62"/>
            <p:cNvSpPr/>
            <p:nvPr/>
          </p:nvSpPr>
          <p:spPr>
            <a:xfrm>
              <a:off x="4935709" y="1576784"/>
              <a:ext cx="30724" cy="30692"/>
            </a:xfrm>
            <a:custGeom>
              <a:avLst/>
              <a:gdLst/>
              <a:ahLst/>
              <a:cxnLst/>
              <a:rect l="l" t="t" r="r" b="b"/>
              <a:pathLst>
                <a:path w="966" h="965" extrusionOk="0">
                  <a:moveTo>
                    <a:pt x="787" y="0"/>
                  </a:moveTo>
                  <a:cubicBezTo>
                    <a:pt x="346" y="0"/>
                    <a:pt x="1" y="357"/>
                    <a:pt x="1" y="798"/>
                  </a:cubicBezTo>
                  <a:cubicBezTo>
                    <a:pt x="1" y="881"/>
                    <a:pt x="72" y="965"/>
                    <a:pt x="156" y="965"/>
                  </a:cubicBezTo>
                  <a:cubicBezTo>
                    <a:pt x="251" y="965"/>
                    <a:pt x="322" y="881"/>
                    <a:pt x="322" y="798"/>
                  </a:cubicBezTo>
                  <a:cubicBezTo>
                    <a:pt x="322" y="548"/>
                    <a:pt x="525" y="322"/>
                    <a:pt x="799" y="322"/>
                  </a:cubicBezTo>
                  <a:cubicBezTo>
                    <a:pt x="882" y="322"/>
                    <a:pt x="965" y="250"/>
                    <a:pt x="965" y="155"/>
                  </a:cubicBezTo>
                  <a:cubicBezTo>
                    <a:pt x="953" y="84"/>
                    <a:pt x="870" y="0"/>
                    <a:pt x="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2" name="Google Shape;12282;p62"/>
            <p:cNvSpPr/>
            <p:nvPr/>
          </p:nvSpPr>
          <p:spPr>
            <a:xfrm>
              <a:off x="5043655" y="1597235"/>
              <a:ext cx="30692" cy="31073"/>
            </a:xfrm>
            <a:custGeom>
              <a:avLst/>
              <a:gdLst/>
              <a:ahLst/>
              <a:cxnLst/>
              <a:rect l="l" t="t" r="r" b="b"/>
              <a:pathLst>
                <a:path w="965" h="97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cubicBezTo>
                    <a:pt x="417" y="334"/>
                    <a:pt x="631" y="536"/>
                    <a:pt x="631" y="810"/>
                  </a:cubicBezTo>
                  <a:cubicBezTo>
                    <a:pt x="631" y="893"/>
                    <a:pt x="714" y="977"/>
                    <a:pt x="798" y="977"/>
                  </a:cubicBezTo>
                  <a:cubicBezTo>
                    <a:pt x="881" y="977"/>
                    <a:pt x="965" y="893"/>
                    <a:pt x="965" y="810"/>
                  </a:cubicBezTo>
                  <a:cubicBezTo>
                    <a:pt x="953" y="357"/>
                    <a:pt x="584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3" name="Google Shape;12283;p62"/>
            <p:cNvSpPr/>
            <p:nvPr/>
          </p:nvSpPr>
          <p:spPr>
            <a:xfrm>
              <a:off x="4993657" y="1538046"/>
              <a:ext cx="36003" cy="26271"/>
            </a:xfrm>
            <a:custGeom>
              <a:avLst/>
              <a:gdLst/>
              <a:ahLst/>
              <a:cxnLst/>
              <a:rect l="l" t="t" r="r" b="b"/>
              <a:pathLst>
                <a:path w="1132" h="826" extrusionOk="0">
                  <a:moveTo>
                    <a:pt x="315" y="0"/>
                  </a:moveTo>
                  <a:cubicBezTo>
                    <a:pt x="262" y="0"/>
                    <a:pt x="209" y="5"/>
                    <a:pt x="155" y="16"/>
                  </a:cubicBezTo>
                  <a:cubicBezTo>
                    <a:pt x="60" y="28"/>
                    <a:pt x="0" y="123"/>
                    <a:pt x="36" y="206"/>
                  </a:cubicBezTo>
                  <a:cubicBezTo>
                    <a:pt x="46" y="282"/>
                    <a:pt x="109" y="336"/>
                    <a:pt x="176" y="336"/>
                  </a:cubicBezTo>
                  <a:cubicBezTo>
                    <a:pt x="193" y="336"/>
                    <a:pt x="210" y="332"/>
                    <a:pt x="227" y="325"/>
                  </a:cubicBezTo>
                  <a:cubicBezTo>
                    <a:pt x="257" y="320"/>
                    <a:pt x="288" y="317"/>
                    <a:pt x="318" y="317"/>
                  </a:cubicBezTo>
                  <a:cubicBezTo>
                    <a:pt x="537" y="317"/>
                    <a:pt x="744" y="463"/>
                    <a:pt x="786" y="683"/>
                  </a:cubicBezTo>
                  <a:cubicBezTo>
                    <a:pt x="810" y="766"/>
                    <a:pt x="882" y="825"/>
                    <a:pt x="953" y="825"/>
                  </a:cubicBezTo>
                  <a:lnTo>
                    <a:pt x="989" y="825"/>
                  </a:lnTo>
                  <a:cubicBezTo>
                    <a:pt x="1072" y="790"/>
                    <a:pt x="1132" y="718"/>
                    <a:pt x="1108" y="623"/>
                  </a:cubicBezTo>
                  <a:cubicBezTo>
                    <a:pt x="1024" y="248"/>
                    <a:pt x="686" y="0"/>
                    <a:pt x="3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4" name="Google Shape;12284;p62"/>
            <p:cNvSpPr/>
            <p:nvPr/>
          </p:nvSpPr>
          <p:spPr>
            <a:xfrm>
              <a:off x="4931924" y="1693795"/>
              <a:ext cx="146589" cy="104161"/>
            </a:xfrm>
            <a:custGeom>
              <a:avLst/>
              <a:gdLst/>
              <a:ahLst/>
              <a:cxnLst/>
              <a:rect l="l" t="t" r="r" b="b"/>
              <a:pathLst>
                <a:path w="4609" h="3275" extrusionOk="0">
                  <a:moveTo>
                    <a:pt x="2299" y="334"/>
                  </a:moveTo>
                  <a:cubicBezTo>
                    <a:pt x="2834" y="334"/>
                    <a:pt x="3346" y="477"/>
                    <a:pt x="3716" y="727"/>
                  </a:cubicBezTo>
                  <a:cubicBezTo>
                    <a:pt x="4073" y="989"/>
                    <a:pt x="4263" y="1298"/>
                    <a:pt x="4263" y="1643"/>
                  </a:cubicBezTo>
                  <a:cubicBezTo>
                    <a:pt x="4287" y="1977"/>
                    <a:pt x="4073" y="2298"/>
                    <a:pt x="3716" y="2548"/>
                  </a:cubicBezTo>
                  <a:cubicBezTo>
                    <a:pt x="3346" y="2798"/>
                    <a:pt x="2834" y="2953"/>
                    <a:pt x="2299" y="2953"/>
                  </a:cubicBezTo>
                  <a:cubicBezTo>
                    <a:pt x="1763" y="2953"/>
                    <a:pt x="1263" y="2798"/>
                    <a:pt x="894" y="2548"/>
                  </a:cubicBezTo>
                  <a:cubicBezTo>
                    <a:pt x="525" y="2298"/>
                    <a:pt x="334" y="1977"/>
                    <a:pt x="334" y="1643"/>
                  </a:cubicBezTo>
                  <a:cubicBezTo>
                    <a:pt x="334" y="1298"/>
                    <a:pt x="525" y="989"/>
                    <a:pt x="894" y="727"/>
                  </a:cubicBezTo>
                  <a:cubicBezTo>
                    <a:pt x="1263" y="477"/>
                    <a:pt x="1763" y="334"/>
                    <a:pt x="2299" y="334"/>
                  </a:cubicBezTo>
                  <a:close/>
                  <a:moveTo>
                    <a:pt x="2299" y="0"/>
                  </a:moveTo>
                  <a:cubicBezTo>
                    <a:pt x="1703" y="0"/>
                    <a:pt x="1120" y="167"/>
                    <a:pt x="691" y="465"/>
                  </a:cubicBezTo>
                  <a:cubicBezTo>
                    <a:pt x="251" y="774"/>
                    <a:pt x="1" y="1191"/>
                    <a:pt x="1" y="1643"/>
                  </a:cubicBezTo>
                  <a:cubicBezTo>
                    <a:pt x="1" y="2084"/>
                    <a:pt x="251" y="2501"/>
                    <a:pt x="691" y="2810"/>
                  </a:cubicBezTo>
                  <a:cubicBezTo>
                    <a:pt x="1132" y="3108"/>
                    <a:pt x="1691" y="3275"/>
                    <a:pt x="2299" y="3275"/>
                  </a:cubicBezTo>
                  <a:cubicBezTo>
                    <a:pt x="2894" y="3275"/>
                    <a:pt x="3477" y="3108"/>
                    <a:pt x="3906" y="2810"/>
                  </a:cubicBezTo>
                  <a:cubicBezTo>
                    <a:pt x="4358" y="2501"/>
                    <a:pt x="4608" y="2084"/>
                    <a:pt x="4608" y="1643"/>
                  </a:cubicBezTo>
                  <a:cubicBezTo>
                    <a:pt x="4597" y="1191"/>
                    <a:pt x="4358" y="774"/>
                    <a:pt x="3906" y="465"/>
                  </a:cubicBezTo>
                  <a:cubicBezTo>
                    <a:pt x="3477" y="167"/>
                    <a:pt x="2906" y="0"/>
                    <a:pt x="2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5" name="Google Shape;12285;p62"/>
            <p:cNvSpPr/>
            <p:nvPr/>
          </p:nvSpPr>
          <p:spPr>
            <a:xfrm>
              <a:off x="4882340" y="1509358"/>
              <a:ext cx="246171" cy="351095"/>
            </a:xfrm>
            <a:custGeom>
              <a:avLst/>
              <a:gdLst/>
              <a:ahLst/>
              <a:cxnLst/>
              <a:rect l="l" t="t" r="r" b="b"/>
              <a:pathLst>
                <a:path w="7740" h="11039" extrusionOk="0">
                  <a:moveTo>
                    <a:pt x="3953" y="311"/>
                  </a:moveTo>
                  <a:cubicBezTo>
                    <a:pt x="4096" y="322"/>
                    <a:pt x="4251" y="406"/>
                    <a:pt x="4334" y="525"/>
                  </a:cubicBezTo>
                  <a:cubicBezTo>
                    <a:pt x="4371" y="571"/>
                    <a:pt x="4415" y="589"/>
                    <a:pt x="4466" y="589"/>
                  </a:cubicBezTo>
                  <a:cubicBezTo>
                    <a:pt x="4481" y="589"/>
                    <a:pt x="4496" y="587"/>
                    <a:pt x="4513" y="584"/>
                  </a:cubicBezTo>
                  <a:cubicBezTo>
                    <a:pt x="4572" y="561"/>
                    <a:pt x="4632" y="549"/>
                    <a:pt x="4691" y="549"/>
                  </a:cubicBezTo>
                  <a:cubicBezTo>
                    <a:pt x="5036" y="549"/>
                    <a:pt x="5322" y="799"/>
                    <a:pt x="5322" y="1096"/>
                  </a:cubicBezTo>
                  <a:cubicBezTo>
                    <a:pt x="5322" y="1144"/>
                    <a:pt x="5334" y="1192"/>
                    <a:pt x="5382" y="1215"/>
                  </a:cubicBezTo>
                  <a:cubicBezTo>
                    <a:pt x="5405" y="1251"/>
                    <a:pt x="5453" y="1263"/>
                    <a:pt x="5513" y="1263"/>
                  </a:cubicBezTo>
                  <a:lnTo>
                    <a:pt x="5608" y="1263"/>
                  </a:lnTo>
                  <a:cubicBezTo>
                    <a:pt x="5977" y="1263"/>
                    <a:pt x="6275" y="1537"/>
                    <a:pt x="6275" y="1870"/>
                  </a:cubicBezTo>
                  <a:cubicBezTo>
                    <a:pt x="6275" y="1966"/>
                    <a:pt x="6263" y="2037"/>
                    <a:pt x="6215" y="2108"/>
                  </a:cubicBezTo>
                  <a:cubicBezTo>
                    <a:pt x="6179" y="2168"/>
                    <a:pt x="6203" y="2227"/>
                    <a:pt x="6227" y="2275"/>
                  </a:cubicBezTo>
                  <a:cubicBezTo>
                    <a:pt x="6263" y="2323"/>
                    <a:pt x="6322" y="2347"/>
                    <a:pt x="6382" y="2347"/>
                  </a:cubicBezTo>
                  <a:lnTo>
                    <a:pt x="6441" y="2347"/>
                  </a:lnTo>
                  <a:cubicBezTo>
                    <a:pt x="6810" y="2347"/>
                    <a:pt x="7108" y="2620"/>
                    <a:pt x="7108" y="2966"/>
                  </a:cubicBezTo>
                  <a:cubicBezTo>
                    <a:pt x="7108" y="3049"/>
                    <a:pt x="7096" y="3120"/>
                    <a:pt x="7049" y="3204"/>
                  </a:cubicBezTo>
                  <a:cubicBezTo>
                    <a:pt x="7037" y="3216"/>
                    <a:pt x="7037" y="3239"/>
                    <a:pt x="7037" y="3275"/>
                  </a:cubicBezTo>
                  <a:cubicBezTo>
                    <a:pt x="7037" y="3359"/>
                    <a:pt x="7108" y="3442"/>
                    <a:pt x="7191" y="3442"/>
                  </a:cubicBezTo>
                  <a:lnTo>
                    <a:pt x="7299" y="3442"/>
                  </a:lnTo>
                  <a:cubicBezTo>
                    <a:pt x="7465" y="3442"/>
                    <a:pt x="7489" y="3561"/>
                    <a:pt x="7489" y="3597"/>
                  </a:cubicBezTo>
                  <a:cubicBezTo>
                    <a:pt x="7418" y="3680"/>
                    <a:pt x="7370" y="3763"/>
                    <a:pt x="7275" y="3811"/>
                  </a:cubicBezTo>
                  <a:cubicBezTo>
                    <a:pt x="7239" y="3811"/>
                    <a:pt x="7227" y="3823"/>
                    <a:pt x="7215" y="3835"/>
                  </a:cubicBezTo>
                  <a:lnTo>
                    <a:pt x="7191" y="3823"/>
                  </a:lnTo>
                  <a:lnTo>
                    <a:pt x="7180" y="3811"/>
                  </a:lnTo>
                  <a:cubicBezTo>
                    <a:pt x="7168" y="3811"/>
                    <a:pt x="7168" y="3787"/>
                    <a:pt x="7156" y="3787"/>
                  </a:cubicBezTo>
                  <a:cubicBezTo>
                    <a:pt x="7108" y="3763"/>
                    <a:pt x="7072" y="3728"/>
                    <a:pt x="7037" y="3716"/>
                  </a:cubicBezTo>
                  <a:cubicBezTo>
                    <a:pt x="7013" y="3716"/>
                    <a:pt x="7013" y="3704"/>
                    <a:pt x="7001" y="3704"/>
                  </a:cubicBezTo>
                  <a:cubicBezTo>
                    <a:pt x="6989" y="3704"/>
                    <a:pt x="6989" y="3692"/>
                    <a:pt x="6977" y="3692"/>
                  </a:cubicBezTo>
                  <a:cubicBezTo>
                    <a:pt x="6941" y="3668"/>
                    <a:pt x="6918" y="3668"/>
                    <a:pt x="6882" y="3656"/>
                  </a:cubicBezTo>
                  <a:lnTo>
                    <a:pt x="6477" y="3656"/>
                  </a:lnTo>
                  <a:cubicBezTo>
                    <a:pt x="6418" y="3668"/>
                    <a:pt x="6358" y="3704"/>
                    <a:pt x="6298" y="3728"/>
                  </a:cubicBezTo>
                  <a:cubicBezTo>
                    <a:pt x="6287" y="3728"/>
                    <a:pt x="6287" y="3751"/>
                    <a:pt x="6275" y="3751"/>
                  </a:cubicBezTo>
                  <a:cubicBezTo>
                    <a:pt x="6275" y="3751"/>
                    <a:pt x="6263" y="3751"/>
                    <a:pt x="6263" y="3763"/>
                  </a:cubicBezTo>
                  <a:cubicBezTo>
                    <a:pt x="6239" y="3763"/>
                    <a:pt x="6239" y="3775"/>
                    <a:pt x="6227" y="3775"/>
                  </a:cubicBezTo>
                  <a:cubicBezTo>
                    <a:pt x="6227" y="3775"/>
                    <a:pt x="6215" y="3775"/>
                    <a:pt x="6215" y="3787"/>
                  </a:cubicBezTo>
                  <a:cubicBezTo>
                    <a:pt x="6203" y="3787"/>
                    <a:pt x="6203" y="3811"/>
                    <a:pt x="6179" y="3811"/>
                  </a:cubicBezTo>
                  <a:lnTo>
                    <a:pt x="6167" y="3823"/>
                  </a:lnTo>
                  <a:lnTo>
                    <a:pt x="6156" y="3835"/>
                  </a:lnTo>
                  <a:cubicBezTo>
                    <a:pt x="6144" y="3835"/>
                    <a:pt x="6144" y="3859"/>
                    <a:pt x="6120" y="3859"/>
                  </a:cubicBezTo>
                  <a:lnTo>
                    <a:pt x="6108" y="3871"/>
                  </a:lnTo>
                  <a:lnTo>
                    <a:pt x="6084" y="3894"/>
                  </a:lnTo>
                  <a:cubicBezTo>
                    <a:pt x="6060" y="3918"/>
                    <a:pt x="6037" y="3942"/>
                    <a:pt x="6025" y="3978"/>
                  </a:cubicBezTo>
                  <a:cubicBezTo>
                    <a:pt x="6001" y="3990"/>
                    <a:pt x="6001" y="4001"/>
                    <a:pt x="5989" y="4013"/>
                  </a:cubicBezTo>
                  <a:cubicBezTo>
                    <a:pt x="5989" y="4001"/>
                    <a:pt x="5977" y="4001"/>
                    <a:pt x="5977" y="3990"/>
                  </a:cubicBezTo>
                  <a:lnTo>
                    <a:pt x="5965" y="3978"/>
                  </a:lnTo>
                  <a:cubicBezTo>
                    <a:pt x="5941" y="3954"/>
                    <a:pt x="5941" y="3942"/>
                    <a:pt x="5929" y="3942"/>
                  </a:cubicBezTo>
                  <a:lnTo>
                    <a:pt x="5906" y="3918"/>
                  </a:lnTo>
                  <a:lnTo>
                    <a:pt x="5882" y="3918"/>
                  </a:lnTo>
                  <a:lnTo>
                    <a:pt x="5858" y="3882"/>
                  </a:lnTo>
                  <a:lnTo>
                    <a:pt x="5846" y="3882"/>
                  </a:lnTo>
                  <a:cubicBezTo>
                    <a:pt x="5822" y="3871"/>
                    <a:pt x="5822" y="3871"/>
                    <a:pt x="5810" y="3871"/>
                  </a:cubicBezTo>
                  <a:cubicBezTo>
                    <a:pt x="5798" y="3871"/>
                    <a:pt x="5798" y="3859"/>
                    <a:pt x="5786" y="3859"/>
                  </a:cubicBezTo>
                  <a:cubicBezTo>
                    <a:pt x="5763" y="3859"/>
                    <a:pt x="5763" y="3835"/>
                    <a:pt x="5751" y="3835"/>
                  </a:cubicBezTo>
                  <a:cubicBezTo>
                    <a:pt x="5739" y="3835"/>
                    <a:pt x="5739" y="3823"/>
                    <a:pt x="5727" y="3823"/>
                  </a:cubicBezTo>
                  <a:cubicBezTo>
                    <a:pt x="5703" y="3823"/>
                    <a:pt x="5691" y="3811"/>
                    <a:pt x="5691" y="3811"/>
                  </a:cubicBezTo>
                  <a:cubicBezTo>
                    <a:pt x="5679" y="3811"/>
                    <a:pt x="5667" y="3787"/>
                    <a:pt x="5644" y="3787"/>
                  </a:cubicBezTo>
                  <a:cubicBezTo>
                    <a:pt x="5632" y="3787"/>
                    <a:pt x="5620" y="3775"/>
                    <a:pt x="5608" y="3775"/>
                  </a:cubicBezTo>
                  <a:cubicBezTo>
                    <a:pt x="5584" y="3775"/>
                    <a:pt x="5572" y="3763"/>
                    <a:pt x="5560" y="3763"/>
                  </a:cubicBezTo>
                  <a:cubicBezTo>
                    <a:pt x="5548" y="3763"/>
                    <a:pt x="5525" y="3751"/>
                    <a:pt x="5513" y="3751"/>
                  </a:cubicBezTo>
                  <a:cubicBezTo>
                    <a:pt x="5501" y="3751"/>
                    <a:pt x="5489" y="3751"/>
                    <a:pt x="5465" y="3728"/>
                  </a:cubicBezTo>
                  <a:lnTo>
                    <a:pt x="5132" y="3728"/>
                  </a:lnTo>
                  <a:cubicBezTo>
                    <a:pt x="5108" y="3728"/>
                    <a:pt x="5096" y="3728"/>
                    <a:pt x="5084" y="3751"/>
                  </a:cubicBezTo>
                  <a:lnTo>
                    <a:pt x="5072" y="3751"/>
                  </a:lnTo>
                  <a:cubicBezTo>
                    <a:pt x="5048" y="3751"/>
                    <a:pt x="5036" y="3763"/>
                    <a:pt x="5024" y="3763"/>
                  </a:cubicBezTo>
                  <a:lnTo>
                    <a:pt x="5013" y="3763"/>
                  </a:lnTo>
                  <a:cubicBezTo>
                    <a:pt x="4989" y="3763"/>
                    <a:pt x="4989" y="3763"/>
                    <a:pt x="4977" y="3775"/>
                  </a:cubicBezTo>
                  <a:lnTo>
                    <a:pt x="4965" y="3775"/>
                  </a:lnTo>
                  <a:cubicBezTo>
                    <a:pt x="4953" y="3775"/>
                    <a:pt x="4953" y="3787"/>
                    <a:pt x="4929" y="3787"/>
                  </a:cubicBezTo>
                  <a:lnTo>
                    <a:pt x="4917" y="3787"/>
                  </a:lnTo>
                  <a:cubicBezTo>
                    <a:pt x="4905" y="3787"/>
                    <a:pt x="4905" y="3811"/>
                    <a:pt x="4894" y="3811"/>
                  </a:cubicBezTo>
                  <a:lnTo>
                    <a:pt x="4870" y="3811"/>
                  </a:lnTo>
                  <a:cubicBezTo>
                    <a:pt x="4858" y="3811"/>
                    <a:pt x="4846" y="3823"/>
                    <a:pt x="4834" y="3823"/>
                  </a:cubicBezTo>
                  <a:lnTo>
                    <a:pt x="4810" y="3823"/>
                  </a:lnTo>
                  <a:cubicBezTo>
                    <a:pt x="4798" y="3823"/>
                    <a:pt x="4798" y="3835"/>
                    <a:pt x="4786" y="3835"/>
                  </a:cubicBezTo>
                  <a:cubicBezTo>
                    <a:pt x="4786" y="3835"/>
                    <a:pt x="4774" y="3835"/>
                    <a:pt x="4774" y="3859"/>
                  </a:cubicBezTo>
                  <a:cubicBezTo>
                    <a:pt x="4751" y="3859"/>
                    <a:pt x="4751" y="3871"/>
                    <a:pt x="4739" y="3871"/>
                  </a:cubicBezTo>
                  <a:cubicBezTo>
                    <a:pt x="4739" y="3871"/>
                    <a:pt x="4727" y="3871"/>
                    <a:pt x="4727" y="3882"/>
                  </a:cubicBezTo>
                  <a:cubicBezTo>
                    <a:pt x="4715" y="3882"/>
                    <a:pt x="4715" y="3894"/>
                    <a:pt x="4691" y="3894"/>
                  </a:cubicBezTo>
                  <a:lnTo>
                    <a:pt x="4679" y="3918"/>
                  </a:lnTo>
                  <a:lnTo>
                    <a:pt x="4655" y="3942"/>
                  </a:lnTo>
                  <a:lnTo>
                    <a:pt x="4620" y="3978"/>
                  </a:lnTo>
                  <a:cubicBezTo>
                    <a:pt x="4620" y="3978"/>
                    <a:pt x="4620" y="3990"/>
                    <a:pt x="4608" y="3990"/>
                  </a:cubicBezTo>
                  <a:cubicBezTo>
                    <a:pt x="4608" y="4001"/>
                    <a:pt x="4596" y="4001"/>
                    <a:pt x="4596" y="4013"/>
                  </a:cubicBezTo>
                  <a:cubicBezTo>
                    <a:pt x="4596" y="4013"/>
                    <a:pt x="4596" y="4037"/>
                    <a:pt x="4572" y="4037"/>
                  </a:cubicBezTo>
                  <a:cubicBezTo>
                    <a:pt x="4572" y="4049"/>
                    <a:pt x="4560" y="4049"/>
                    <a:pt x="4560" y="4061"/>
                  </a:cubicBezTo>
                  <a:lnTo>
                    <a:pt x="4560" y="4073"/>
                  </a:lnTo>
                  <a:cubicBezTo>
                    <a:pt x="4536" y="4049"/>
                    <a:pt x="4513" y="4013"/>
                    <a:pt x="4489" y="3990"/>
                  </a:cubicBezTo>
                  <a:cubicBezTo>
                    <a:pt x="4322" y="3823"/>
                    <a:pt x="4120" y="3740"/>
                    <a:pt x="3881" y="3740"/>
                  </a:cubicBezTo>
                  <a:lnTo>
                    <a:pt x="3858" y="3740"/>
                  </a:lnTo>
                  <a:cubicBezTo>
                    <a:pt x="3620" y="3740"/>
                    <a:pt x="3417" y="3823"/>
                    <a:pt x="3250" y="3990"/>
                  </a:cubicBezTo>
                  <a:cubicBezTo>
                    <a:pt x="3227" y="4013"/>
                    <a:pt x="3191" y="4049"/>
                    <a:pt x="3179" y="4073"/>
                  </a:cubicBezTo>
                  <a:lnTo>
                    <a:pt x="3179" y="4061"/>
                  </a:lnTo>
                  <a:cubicBezTo>
                    <a:pt x="3179" y="4049"/>
                    <a:pt x="3167" y="4049"/>
                    <a:pt x="3167" y="4037"/>
                  </a:cubicBezTo>
                  <a:cubicBezTo>
                    <a:pt x="3167" y="4037"/>
                    <a:pt x="3167" y="4013"/>
                    <a:pt x="3143" y="4013"/>
                  </a:cubicBezTo>
                  <a:cubicBezTo>
                    <a:pt x="3143" y="4001"/>
                    <a:pt x="3131" y="4001"/>
                    <a:pt x="3131" y="3990"/>
                  </a:cubicBezTo>
                  <a:lnTo>
                    <a:pt x="3119" y="3978"/>
                  </a:lnTo>
                  <a:lnTo>
                    <a:pt x="3084" y="3942"/>
                  </a:lnTo>
                  <a:lnTo>
                    <a:pt x="3060" y="3918"/>
                  </a:lnTo>
                  <a:lnTo>
                    <a:pt x="3048" y="3894"/>
                  </a:lnTo>
                  <a:cubicBezTo>
                    <a:pt x="3024" y="3894"/>
                    <a:pt x="3024" y="3882"/>
                    <a:pt x="3012" y="3882"/>
                  </a:cubicBezTo>
                  <a:cubicBezTo>
                    <a:pt x="3012" y="3882"/>
                    <a:pt x="3000" y="3882"/>
                    <a:pt x="3000" y="3871"/>
                  </a:cubicBezTo>
                  <a:cubicBezTo>
                    <a:pt x="2989" y="3871"/>
                    <a:pt x="2989" y="3859"/>
                    <a:pt x="2965" y="3859"/>
                  </a:cubicBezTo>
                  <a:cubicBezTo>
                    <a:pt x="2965" y="3859"/>
                    <a:pt x="2953" y="3859"/>
                    <a:pt x="2953" y="3835"/>
                  </a:cubicBezTo>
                  <a:cubicBezTo>
                    <a:pt x="2941" y="3835"/>
                    <a:pt x="2941" y="3823"/>
                    <a:pt x="2929" y="3823"/>
                  </a:cubicBezTo>
                  <a:lnTo>
                    <a:pt x="2905" y="3823"/>
                  </a:lnTo>
                  <a:cubicBezTo>
                    <a:pt x="2893" y="3811"/>
                    <a:pt x="2881" y="3811"/>
                    <a:pt x="2869" y="3811"/>
                  </a:cubicBezTo>
                  <a:lnTo>
                    <a:pt x="2846" y="3811"/>
                  </a:lnTo>
                  <a:cubicBezTo>
                    <a:pt x="2834" y="3811"/>
                    <a:pt x="2834" y="3787"/>
                    <a:pt x="2822" y="3787"/>
                  </a:cubicBezTo>
                  <a:lnTo>
                    <a:pt x="2810" y="3787"/>
                  </a:lnTo>
                  <a:cubicBezTo>
                    <a:pt x="2786" y="3787"/>
                    <a:pt x="2786" y="3775"/>
                    <a:pt x="2774" y="3775"/>
                  </a:cubicBezTo>
                  <a:lnTo>
                    <a:pt x="2762" y="3775"/>
                  </a:lnTo>
                  <a:cubicBezTo>
                    <a:pt x="2750" y="3775"/>
                    <a:pt x="2750" y="3775"/>
                    <a:pt x="2727" y="3763"/>
                  </a:cubicBezTo>
                  <a:lnTo>
                    <a:pt x="2715" y="3763"/>
                  </a:lnTo>
                  <a:cubicBezTo>
                    <a:pt x="2703" y="3763"/>
                    <a:pt x="2691" y="3751"/>
                    <a:pt x="2667" y="3751"/>
                  </a:cubicBezTo>
                  <a:lnTo>
                    <a:pt x="2655" y="3751"/>
                  </a:lnTo>
                  <a:cubicBezTo>
                    <a:pt x="2643" y="3751"/>
                    <a:pt x="2631" y="3751"/>
                    <a:pt x="2608" y="3728"/>
                  </a:cubicBezTo>
                  <a:lnTo>
                    <a:pt x="2310" y="3728"/>
                  </a:lnTo>
                  <a:cubicBezTo>
                    <a:pt x="2298" y="3728"/>
                    <a:pt x="2286" y="3728"/>
                    <a:pt x="2274" y="3751"/>
                  </a:cubicBezTo>
                  <a:cubicBezTo>
                    <a:pt x="2250" y="3751"/>
                    <a:pt x="2238" y="3751"/>
                    <a:pt x="2227" y="3763"/>
                  </a:cubicBezTo>
                  <a:cubicBezTo>
                    <a:pt x="2179" y="3775"/>
                    <a:pt x="2131" y="3787"/>
                    <a:pt x="2107" y="3811"/>
                  </a:cubicBezTo>
                  <a:cubicBezTo>
                    <a:pt x="2096" y="3811"/>
                    <a:pt x="2072" y="3823"/>
                    <a:pt x="2060" y="3823"/>
                  </a:cubicBezTo>
                  <a:cubicBezTo>
                    <a:pt x="2048" y="3823"/>
                    <a:pt x="2036" y="3835"/>
                    <a:pt x="2036" y="3835"/>
                  </a:cubicBezTo>
                  <a:cubicBezTo>
                    <a:pt x="2012" y="3835"/>
                    <a:pt x="2000" y="3859"/>
                    <a:pt x="2000" y="3859"/>
                  </a:cubicBezTo>
                  <a:cubicBezTo>
                    <a:pt x="1988" y="3859"/>
                    <a:pt x="1988" y="3871"/>
                    <a:pt x="1976" y="3871"/>
                  </a:cubicBezTo>
                  <a:cubicBezTo>
                    <a:pt x="1953" y="3871"/>
                    <a:pt x="1953" y="3882"/>
                    <a:pt x="1941" y="3882"/>
                  </a:cubicBezTo>
                  <a:cubicBezTo>
                    <a:pt x="1929" y="3882"/>
                    <a:pt x="1929" y="3894"/>
                    <a:pt x="1917" y="3918"/>
                  </a:cubicBezTo>
                  <a:cubicBezTo>
                    <a:pt x="1893" y="3918"/>
                    <a:pt x="1893" y="3930"/>
                    <a:pt x="1881" y="3930"/>
                  </a:cubicBezTo>
                  <a:lnTo>
                    <a:pt x="1857" y="3954"/>
                  </a:lnTo>
                  <a:cubicBezTo>
                    <a:pt x="1834" y="3978"/>
                    <a:pt x="1834" y="3990"/>
                    <a:pt x="1822" y="3990"/>
                  </a:cubicBezTo>
                  <a:cubicBezTo>
                    <a:pt x="1822" y="3990"/>
                    <a:pt x="1822" y="4001"/>
                    <a:pt x="1810" y="4001"/>
                  </a:cubicBezTo>
                  <a:cubicBezTo>
                    <a:pt x="1810" y="4013"/>
                    <a:pt x="1798" y="4013"/>
                    <a:pt x="1798" y="4037"/>
                  </a:cubicBezTo>
                  <a:cubicBezTo>
                    <a:pt x="1774" y="4013"/>
                    <a:pt x="1774" y="4001"/>
                    <a:pt x="1762" y="3990"/>
                  </a:cubicBezTo>
                  <a:cubicBezTo>
                    <a:pt x="1762" y="3978"/>
                    <a:pt x="1750" y="3978"/>
                    <a:pt x="1738" y="3954"/>
                  </a:cubicBezTo>
                  <a:cubicBezTo>
                    <a:pt x="1738" y="3954"/>
                    <a:pt x="1738" y="3942"/>
                    <a:pt x="1715" y="3942"/>
                  </a:cubicBezTo>
                  <a:cubicBezTo>
                    <a:pt x="1572" y="3763"/>
                    <a:pt x="1334" y="3656"/>
                    <a:pt x="1095" y="3656"/>
                  </a:cubicBezTo>
                  <a:lnTo>
                    <a:pt x="905" y="3656"/>
                  </a:lnTo>
                  <a:cubicBezTo>
                    <a:pt x="869" y="3680"/>
                    <a:pt x="845" y="3680"/>
                    <a:pt x="810" y="3692"/>
                  </a:cubicBezTo>
                  <a:cubicBezTo>
                    <a:pt x="798" y="3692"/>
                    <a:pt x="798" y="3704"/>
                    <a:pt x="786" y="3704"/>
                  </a:cubicBezTo>
                  <a:cubicBezTo>
                    <a:pt x="762" y="3704"/>
                    <a:pt x="762" y="3716"/>
                    <a:pt x="750" y="3716"/>
                  </a:cubicBezTo>
                  <a:cubicBezTo>
                    <a:pt x="703" y="3740"/>
                    <a:pt x="667" y="3763"/>
                    <a:pt x="631" y="3799"/>
                  </a:cubicBezTo>
                  <a:cubicBezTo>
                    <a:pt x="619" y="3799"/>
                    <a:pt x="619" y="3811"/>
                    <a:pt x="607" y="3811"/>
                  </a:cubicBezTo>
                  <a:lnTo>
                    <a:pt x="583" y="3823"/>
                  </a:lnTo>
                  <a:lnTo>
                    <a:pt x="572" y="3835"/>
                  </a:lnTo>
                  <a:cubicBezTo>
                    <a:pt x="560" y="3823"/>
                    <a:pt x="524" y="3811"/>
                    <a:pt x="512" y="3811"/>
                  </a:cubicBezTo>
                  <a:cubicBezTo>
                    <a:pt x="405" y="3775"/>
                    <a:pt x="369" y="3692"/>
                    <a:pt x="381" y="3597"/>
                  </a:cubicBezTo>
                  <a:cubicBezTo>
                    <a:pt x="381" y="3561"/>
                    <a:pt x="405" y="3454"/>
                    <a:pt x="572" y="3442"/>
                  </a:cubicBezTo>
                  <a:lnTo>
                    <a:pt x="667" y="3442"/>
                  </a:lnTo>
                  <a:cubicBezTo>
                    <a:pt x="726" y="3442"/>
                    <a:pt x="786" y="3418"/>
                    <a:pt x="810" y="3359"/>
                  </a:cubicBezTo>
                  <a:cubicBezTo>
                    <a:pt x="845" y="3323"/>
                    <a:pt x="857" y="3263"/>
                    <a:pt x="822" y="3204"/>
                  </a:cubicBezTo>
                  <a:cubicBezTo>
                    <a:pt x="798" y="3120"/>
                    <a:pt x="762" y="3037"/>
                    <a:pt x="762" y="2966"/>
                  </a:cubicBezTo>
                  <a:cubicBezTo>
                    <a:pt x="762" y="2620"/>
                    <a:pt x="1084" y="2347"/>
                    <a:pt x="1441" y="2347"/>
                  </a:cubicBezTo>
                  <a:lnTo>
                    <a:pt x="1500" y="2347"/>
                  </a:lnTo>
                  <a:cubicBezTo>
                    <a:pt x="1560" y="2347"/>
                    <a:pt x="1619" y="2335"/>
                    <a:pt x="1643" y="2275"/>
                  </a:cubicBezTo>
                  <a:cubicBezTo>
                    <a:pt x="1679" y="2227"/>
                    <a:pt x="1691" y="2168"/>
                    <a:pt x="1655" y="2108"/>
                  </a:cubicBezTo>
                  <a:cubicBezTo>
                    <a:pt x="1631" y="2037"/>
                    <a:pt x="1595" y="1954"/>
                    <a:pt x="1595" y="1870"/>
                  </a:cubicBezTo>
                  <a:cubicBezTo>
                    <a:pt x="1595" y="1537"/>
                    <a:pt x="1893" y="1263"/>
                    <a:pt x="2274" y="1263"/>
                  </a:cubicBezTo>
                  <a:lnTo>
                    <a:pt x="2357" y="1263"/>
                  </a:lnTo>
                  <a:cubicBezTo>
                    <a:pt x="2405" y="1263"/>
                    <a:pt x="2453" y="1251"/>
                    <a:pt x="2488" y="1215"/>
                  </a:cubicBezTo>
                  <a:cubicBezTo>
                    <a:pt x="2524" y="1192"/>
                    <a:pt x="2548" y="1144"/>
                    <a:pt x="2548" y="1096"/>
                  </a:cubicBezTo>
                  <a:cubicBezTo>
                    <a:pt x="2548" y="787"/>
                    <a:pt x="2834" y="549"/>
                    <a:pt x="3179" y="549"/>
                  </a:cubicBezTo>
                  <a:cubicBezTo>
                    <a:pt x="3239" y="549"/>
                    <a:pt x="3298" y="561"/>
                    <a:pt x="3358" y="584"/>
                  </a:cubicBezTo>
                  <a:cubicBezTo>
                    <a:pt x="3371" y="587"/>
                    <a:pt x="3385" y="589"/>
                    <a:pt x="3399" y="589"/>
                  </a:cubicBezTo>
                  <a:cubicBezTo>
                    <a:pt x="3448" y="589"/>
                    <a:pt x="3499" y="571"/>
                    <a:pt x="3536" y="525"/>
                  </a:cubicBezTo>
                  <a:cubicBezTo>
                    <a:pt x="3620" y="406"/>
                    <a:pt x="3762" y="322"/>
                    <a:pt x="3917" y="311"/>
                  </a:cubicBezTo>
                  <a:close/>
                  <a:moveTo>
                    <a:pt x="1072" y="3930"/>
                  </a:moveTo>
                  <a:cubicBezTo>
                    <a:pt x="1179" y="3930"/>
                    <a:pt x="1274" y="3954"/>
                    <a:pt x="1345" y="4001"/>
                  </a:cubicBezTo>
                  <a:cubicBezTo>
                    <a:pt x="1476" y="4085"/>
                    <a:pt x="1572" y="4228"/>
                    <a:pt x="1595" y="4382"/>
                  </a:cubicBezTo>
                  <a:lnTo>
                    <a:pt x="1595" y="4430"/>
                  </a:lnTo>
                  <a:lnTo>
                    <a:pt x="1607" y="4537"/>
                  </a:lnTo>
                  <a:lnTo>
                    <a:pt x="1607" y="4549"/>
                  </a:lnTo>
                  <a:lnTo>
                    <a:pt x="1762" y="5895"/>
                  </a:lnTo>
                  <a:cubicBezTo>
                    <a:pt x="1774" y="5978"/>
                    <a:pt x="1834" y="6037"/>
                    <a:pt x="1929" y="6037"/>
                  </a:cubicBezTo>
                  <a:lnTo>
                    <a:pt x="1941" y="6037"/>
                  </a:lnTo>
                  <a:cubicBezTo>
                    <a:pt x="2024" y="6026"/>
                    <a:pt x="2084" y="5954"/>
                    <a:pt x="2084" y="5859"/>
                  </a:cubicBezTo>
                  <a:lnTo>
                    <a:pt x="1941" y="4525"/>
                  </a:lnTo>
                  <a:lnTo>
                    <a:pt x="1941" y="4466"/>
                  </a:lnTo>
                  <a:lnTo>
                    <a:pt x="1941" y="4454"/>
                  </a:lnTo>
                  <a:lnTo>
                    <a:pt x="1941" y="4430"/>
                  </a:lnTo>
                  <a:lnTo>
                    <a:pt x="1941" y="4418"/>
                  </a:lnTo>
                  <a:lnTo>
                    <a:pt x="1941" y="4382"/>
                  </a:lnTo>
                  <a:lnTo>
                    <a:pt x="1941" y="4359"/>
                  </a:lnTo>
                  <a:lnTo>
                    <a:pt x="1941" y="4347"/>
                  </a:lnTo>
                  <a:lnTo>
                    <a:pt x="1941" y="4323"/>
                  </a:lnTo>
                  <a:lnTo>
                    <a:pt x="1941" y="4311"/>
                  </a:lnTo>
                  <a:cubicBezTo>
                    <a:pt x="1941" y="4311"/>
                    <a:pt x="1941" y="4299"/>
                    <a:pt x="1953" y="4299"/>
                  </a:cubicBezTo>
                  <a:cubicBezTo>
                    <a:pt x="1953" y="4299"/>
                    <a:pt x="1953" y="4287"/>
                    <a:pt x="1965" y="4287"/>
                  </a:cubicBezTo>
                  <a:lnTo>
                    <a:pt x="1965" y="4263"/>
                  </a:lnTo>
                  <a:cubicBezTo>
                    <a:pt x="1965" y="4263"/>
                    <a:pt x="1965" y="4252"/>
                    <a:pt x="1988" y="4252"/>
                  </a:cubicBezTo>
                  <a:cubicBezTo>
                    <a:pt x="1988" y="4252"/>
                    <a:pt x="1988" y="4240"/>
                    <a:pt x="2000" y="4240"/>
                  </a:cubicBezTo>
                  <a:lnTo>
                    <a:pt x="2000" y="4228"/>
                  </a:lnTo>
                  <a:cubicBezTo>
                    <a:pt x="2000" y="4228"/>
                    <a:pt x="2000" y="4204"/>
                    <a:pt x="2012" y="4204"/>
                  </a:cubicBezTo>
                  <a:lnTo>
                    <a:pt x="2024" y="4192"/>
                  </a:lnTo>
                  <a:cubicBezTo>
                    <a:pt x="2024" y="4192"/>
                    <a:pt x="2024" y="4180"/>
                    <a:pt x="2048" y="4180"/>
                  </a:cubicBezTo>
                  <a:lnTo>
                    <a:pt x="2060" y="4168"/>
                  </a:lnTo>
                  <a:lnTo>
                    <a:pt x="2072" y="4144"/>
                  </a:lnTo>
                  <a:lnTo>
                    <a:pt x="2084" y="4132"/>
                  </a:lnTo>
                  <a:cubicBezTo>
                    <a:pt x="2179" y="4049"/>
                    <a:pt x="2310" y="4001"/>
                    <a:pt x="2441" y="4001"/>
                  </a:cubicBezTo>
                  <a:lnTo>
                    <a:pt x="2465" y="4001"/>
                  </a:lnTo>
                  <a:cubicBezTo>
                    <a:pt x="2536" y="4001"/>
                    <a:pt x="2596" y="4013"/>
                    <a:pt x="2655" y="4049"/>
                  </a:cubicBezTo>
                  <a:cubicBezTo>
                    <a:pt x="2834" y="4121"/>
                    <a:pt x="2965" y="4299"/>
                    <a:pt x="2977" y="4502"/>
                  </a:cubicBezTo>
                  <a:lnTo>
                    <a:pt x="3012" y="5335"/>
                  </a:lnTo>
                  <a:cubicBezTo>
                    <a:pt x="3012" y="5423"/>
                    <a:pt x="3074" y="5491"/>
                    <a:pt x="3158" y="5491"/>
                  </a:cubicBezTo>
                  <a:cubicBezTo>
                    <a:pt x="3165" y="5491"/>
                    <a:pt x="3172" y="5491"/>
                    <a:pt x="3179" y="5490"/>
                  </a:cubicBezTo>
                  <a:cubicBezTo>
                    <a:pt x="3262" y="5490"/>
                    <a:pt x="3334" y="5418"/>
                    <a:pt x="3322" y="5323"/>
                  </a:cubicBezTo>
                  <a:lnTo>
                    <a:pt x="3298" y="4537"/>
                  </a:lnTo>
                  <a:lnTo>
                    <a:pt x="3298" y="4525"/>
                  </a:lnTo>
                  <a:lnTo>
                    <a:pt x="3298" y="4502"/>
                  </a:lnTo>
                  <a:lnTo>
                    <a:pt x="3298" y="4490"/>
                  </a:lnTo>
                  <a:lnTo>
                    <a:pt x="3298" y="4478"/>
                  </a:lnTo>
                  <a:lnTo>
                    <a:pt x="3298" y="4466"/>
                  </a:lnTo>
                  <a:lnTo>
                    <a:pt x="3298" y="4442"/>
                  </a:lnTo>
                  <a:lnTo>
                    <a:pt x="3298" y="4430"/>
                  </a:lnTo>
                  <a:lnTo>
                    <a:pt x="3298" y="4418"/>
                  </a:lnTo>
                  <a:lnTo>
                    <a:pt x="3298" y="4406"/>
                  </a:lnTo>
                  <a:lnTo>
                    <a:pt x="3298" y="4382"/>
                  </a:lnTo>
                  <a:lnTo>
                    <a:pt x="3298" y="4371"/>
                  </a:lnTo>
                  <a:lnTo>
                    <a:pt x="3298" y="4359"/>
                  </a:lnTo>
                  <a:lnTo>
                    <a:pt x="3298" y="4347"/>
                  </a:lnTo>
                  <a:lnTo>
                    <a:pt x="3298" y="4323"/>
                  </a:lnTo>
                  <a:lnTo>
                    <a:pt x="3298" y="4311"/>
                  </a:lnTo>
                  <a:lnTo>
                    <a:pt x="3298" y="4299"/>
                  </a:lnTo>
                  <a:lnTo>
                    <a:pt x="3298" y="4287"/>
                  </a:lnTo>
                  <a:lnTo>
                    <a:pt x="3298" y="4263"/>
                  </a:lnTo>
                  <a:lnTo>
                    <a:pt x="3298" y="4252"/>
                  </a:lnTo>
                  <a:lnTo>
                    <a:pt x="3298" y="4240"/>
                  </a:lnTo>
                  <a:lnTo>
                    <a:pt x="3298" y="4228"/>
                  </a:lnTo>
                  <a:lnTo>
                    <a:pt x="3298" y="4204"/>
                  </a:lnTo>
                  <a:lnTo>
                    <a:pt x="3298" y="4192"/>
                  </a:lnTo>
                  <a:lnTo>
                    <a:pt x="3298" y="4180"/>
                  </a:lnTo>
                  <a:cubicBezTo>
                    <a:pt x="3298" y="4180"/>
                    <a:pt x="3298" y="4168"/>
                    <a:pt x="3310" y="4168"/>
                  </a:cubicBezTo>
                  <a:lnTo>
                    <a:pt x="3310" y="4144"/>
                  </a:lnTo>
                  <a:cubicBezTo>
                    <a:pt x="3310" y="4144"/>
                    <a:pt x="3310" y="4132"/>
                    <a:pt x="3322" y="4132"/>
                  </a:cubicBezTo>
                  <a:lnTo>
                    <a:pt x="3322" y="4121"/>
                  </a:lnTo>
                  <a:lnTo>
                    <a:pt x="3334" y="4109"/>
                  </a:lnTo>
                  <a:lnTo>
                    <a:pt x="3358" y="4085"/>
                  </a:lnTo>
                  <a:cubicBezTo>
                    <a:pt x="3429" y="4001"/>
                    <a:pt x="3536" y="3954"/>
                    <a:pt x="3655" y="3942"/>
                  </a:cubicBezTo>
                  <a:lnTo>
                    <a:pt x="3739" y="3942"/>
                  </a:lnTo>
                  <a:cubicBezTo>
                    <a:pt x="3893" y="3942"/>
                    <a:pt x="4024" y="4001"/>
                    <a:pt x="4108" y="4109"/>
                  </a:cubicBezTo>
                  <a:cubicBezTo>
                    <a:pt x="4191" y="4180"/>
                    <a:pt x="4227" y="4287"/>
                    <a:pt x="4251" y="4382"/>
                  </a:cubicBezTo>
                  <a:lnTo>
                    <a:pt x="4251" y="4418"/>
                  </a:lnTo>
                  <a:lnTo>
                    <a:pt x="4251" y="4442"/>
                  </a:lnTo>
                  <a:lnTo>
                    <a:pt x="4251" y="4478"/>
                  </a:lnTo>
                  <a:lnTo>
                    <a:pt x="4251" y="4490"/>
                  </a:lnTo>
                  <a:lnTo>
                    <a:pt x="4215" y="5264"/>
                  </a:lnTo>
                  <a:cubicBezTo>
                    <a:pt x="4215" y="5359"/>
                    <a:pt x="4274" y="5430"/>
                    <a:pt x="4370" y="5430"/>
                  </a:cubicBezTo>
                  <a:cubicBezTo>
                    <a:pt x="4453" y="5430"/>
                    <a:pt x="4524" y="5371"/>
                    <a:pt x="4524" y="5275"/>
                  </a:cubicBezTo>
                  <a:lnTo>
                    <a:pt x="4560" y="4442"/>
                  </a:lnTo>
                  <a:cubicBezTo>
                    <a:pt x="4572" y="4168"/>
                    <a:pt x="4798" y="3942"/>
                    <a:pt x="5084" y="3942"/>
                  </a:cubicBezTo>
                  <a:lnTo>
                    <a:pt x="5096" y="3942"/>
                  </a:lnTo>
                  <a:cubicBezTo>
                    <a:pt x="5227" y="3942"/>
                    <a:pt x="5346" y="3990"/>
                    <a:pt x="5453" y="4073"/>
                  </a:cubicBezTo>
                  <a:lnTo>
                    <a:pt x="5465" y="4085"/>
                  </a:lnTo>
                  <a:lnTo>
                    <a:pt x="5477" y="4109"/>
                  </a:lnTo>
                  <a:lnTo>
                    <a:pt x="5501" y="4121"/>
                  </a:lnTo>
                  <a:cubicBezTo>
                    <a:pt x="5501" y="4121"/>
                    <a:pt x="5501" y="4132"/>
                    <a:pt x="5513" y="4132"/>
                  </a:cubicBezTo>
                  <a:lnTo>
                    <a:pt x="5525" y="4144"/>
                  </a:lnTo>
                  <a:cubicBezTo>
                    <a:pt x="5536" y="4168"/>
                    <a:pt x="5536" y="4180"/>
                    <a:pt x="5560" y="4192"/>
                  </a:cubicBezTo>
                  <a:cubicBezTo>
                    <a:pt x="5560" y="4204"/>
                    <a:pt x="5572" y="4204"/>
                    <a:pt x="5572" y="4228"/>
                  </a:cubicBezTo>
                  <a:cubicBezTo>
                    <a:pt x="5572" y="4228"/>
                    <a:pt x="5572" y="4240"/>
                    <a:pt x="5584" y="4240"/>
                  </a:cubicBezTo>
                  <a:lnTo>
                    <a:pt x="5584" y="4252"/>
                  </a:lnTo>
                  <a:lnTo>
                    <a:pt x="5584" y="4263"/>
                  </a:lnTo>
                  <a:lnTo>
                    <a:pt x="5584" y="4287"/>
                  </a:lnTo>
                  <a:lnTo>
                    <a:pt x="5584" y="4299"/>
                  </a:lnTo>
                  <a:lnTo>
                    <a:pt x="5584" y="4311"/>
                  </a:lnTo>
                  <a:lnTo>
                    <a:pt x="5584" y="4323"/>
                  </a:lnTo>
                  <a:lnTo>
                    <a:pt x="5584" y="4347"/>
                  </a:lnTo>
                  <a:lnTo>
                    <a:pt x="5584" y="4359"/>
                  </a:lnTo>
                  <a:lnTo>
                    <a:pt x="5584" y="4371"/>
                  </a:lnTo>
                  <a:lnTo>
                    <a:pt x="5584" y="4382"/>
                  </a:lnTo>
                  <a:lnTo>
                    <a:pt x="5584" y="4406"/>
                  </a:lnTo>
                  <a:lnTo>
                    <a:pt x="5584" y="4418"/>
                  </a:lnTo>
                  <a:lnTo>
                    <a:pt x="5584" y="4430"/>
                  </a:lnTo>
                  <a:lnTo>
                    <a:pt x="5584" y="4442"/>
                  </a:lnTo>
                  <a:lnTo>
                    <a:pt x="5584" y="4466"/>
                  </a:lnTo>
                  <a:lnTo>
                    <a:pt x="5584" y="4490"/>
                  </a:lnTo>
                  <a:lnTo>
                    <a:pt x="5584" y="4525"/>
                  </a:lnTo>
                  <a:lnTo>
                    <a:pt x="5441" y="5847"/>
                  </a:lnTo>
                  <a:cubicBezTo>
                    <a:pt x="5417" y="5930"/>
                    <a:pt x="5501" y="6014"/>
                    <a:pt x="5584" y="6026"/>
                  </a:cubicBezTo>
                  <a:lnTo>
                    <a:pt x="5596" y="6026"/>
                  </a:lnTo>
                  <a:cubicBezTo>
                    <a:pt x="5679" y="6026"/>
                    <a:pt x="5751" y="5966"/>
                    <a:pt x="5763" y="5871"/>
                  </a:cubicBezTo>
                  <a:lnTo>
                    <a:pt x="5917" y="4549"/>
                  </a:lnTo>
                  <a:lnTo>
                    <a:pt x="5929" y="4406"/>
                  </a:lnTo>
                  <a:cubicBezTo>
                    <a:pt x="5953" y="4132"/>
                    <a:pt x="6179" y="3942"/>
                    <a:pt x="6453" y="3942"/>
                  </a:cubicBezTo>
                  <a:lnTo>
                    <a:pt x="6513" y="3942"/>
                  </a:lnTo>
                  <a:cubicBezTo>
                    <a:pt x="6537" y="3942"/>
                    <a:pt x="6572" y="3942"/>
                    <a:pt x="6584" y="3954"/>
                  </a:cubicBezTo>
                  <a:cubicBezTo>
                    <a:pt x="6608" y="3954"/>
                    <a:pt x="6644" y="3966"/>
                    <a:pt x="6656" y="3990"/>
                  </a:cubicBezTo>
                  <a:cubicBezTo>
                    <a:pt x="6691" y="4001"/>
                    <a:pt x="6703" y="4013"/>
                    <a:pt x="6727" y="4025"/>
                  </a:cubicBezTo>
                  <a:cubicBezTo>
                    <a:pt x="6763" y="4049"/>
                    <a:pt x="6775" y="4061"/>
                    <a:pt x="6787" y="4073"/>
                  </a:cubicBezTo>
                  <a:lnTo>
                    <a:pt x="6822" y="4109"/>
                  </a:lnTo>
                  <a:lnTo>
                    <a:pt x="6846" y="4132"/>
                  </a:lnTo>
                  <a:lnTo>
                    <a:pt x="6870" y="4144"/>
                  </a:lnTo>
                  <a:cubicBezTo>
                    <a:pt x="6870" y="4168"/>
                    <a:pt x="6882" y="4168"/>
                    <a:pt x="6882" y="4180"/>
                  </a:cubicBezTo>
                  <a:lnTo>
                    <a:pt x="6882" y="4192"/>
                  </a:lnTo>
                  <a:cubicBezTo>
                    <a:pt x="6882" y="4204"/>
                    <a:pt x="6894" y="4204"/>
                    <a:pt x="6894" y="4228"/>
                  </a:cubicBezTo>
                  <a:lnTo>
                    <a:pt x="6894" y="4240"/>
                  </a:lnTo>
                  <a:cubicBezTo>
                    <a:pt x="6894" y="4252"/>
                    <a:pt x="6906" y="4252"/>
                    <a:pt x="6906" y="4263"/>
                  </a:cubicBezTo>
                  <a:cubicBezTo>
                    <a:pt x="6906" y="4287"/>
                    <a:pt x="6929" y="4299"/>
                    <a:pt x="6929" y="4299"/>
                  </a:cubicBezTo>
                  <a:lnTo>
                    <a:pt x="6929" y="4311"/>
                  </a:lnTo>
                  <a:cubicBezTo>
                    <a:pt x="6929" y="4323"/>
                    <a:pt x="6929" y="4347"/>
                    <a:pt x="6941" y="4347"/>
                  </a:cubicBezTo>
                  <a:cubicBezTo>
                    <a:pt x="7168" y="4406"/>
                    <a:pt x="7168" y="4490"/>
                    <a:pt x="7144" y="4573"/>
                  </a:cubicBezTo>
                  <a:lnTo>
                    <a:pt x="6048" y="10478"/>
                  </a:lnTo>
                  <a:cubicBezTo>
                    <a:pt x="6013" y="10609"/>
                    <a:pt x="5894" y="10717"/>
                    <a:pt x="5751" y="10717"/>
                  </a:cubicBezTo>
                  <a:lnTo>
                    <a:pt x="5394" y="10717"/>
                  </a:lnTo>
                  <a:lnTo>
                    <a:pt x="5572" y="9157"/>
                  </a:lnTo>
                  <a:cubicBezTo>
                    <a:pt x="5584" y="9062"/>
                    <a:pt x="5513" y="8990"/>
                    <a:pt x="5417" y="8978"/>
                  </a:cubicBezTo>
                  <a:cubicBezTo>
                    <a:pt x="5408" y="8975"/>
                    <a:pt x="5398" y="8974"/>
                    <a:pt x="5388" y="8974"/>
                  </a:cubicBezTo>
                  <a:cubicBezTo>
                    <a:pt x="5318" y="8974"/>
                    <a:pt x="5260" y="9048"/>
                    <a:pt x="5239" y="9121"/>
                  </a:cubicBezTo>
                  <a:lnTo>
                    <a:pt x="5060" y="10717"/>
                  </a:lnTo>
                  <a:lnTo>
                    <a:pt x="4465" y="10717"/>
                  </a:lnTo>
                  <a:lnTo>
                    <a:pt x="4513" y="9609"/>
                  </a:lnTo>
                  <a:cubicBezTo>
                    <a:pt x="4513" y="9526"/>
                    <a:pt x="4453" y="9455"/>
                    <a:pt x="4370" y="9455"/>
                  </a:cubicBezTo>
                  <a:cubicBezTo>
                    <a:pt x="4274" y="9455"/>
                    <a:pt x="4203" y="9514"/>
                    <a:pt x="4203" y="9597"/>
                  </a:cubicBezTo>
                  <a:lnTo>
                    <a:pt x="4155" y="10705"/>
                  </a:lnTo>
                  <a:lnTo>
                    <a:pt x="3560" y="10705"/>
                  </a:lnTo>
                  <a:lnTo>
                    <a:pt x="3512" y="9585"/>
                  </a:lnTo>
                  <a:cubicBezTo>
                    <a:pt x="3512" y="9497"/>
                    <a:pt x="3451" y="9429"/>
                    <a:pt x="3376" y="9429"/>
                  </a:cubicBezTo>
                  <a:cubicBezTo>
                    <a:pt x="3370" y="9429"/>
                    <a:pt x="3364" y="9430"/>
                    <a:pt x="3358" y="9431"/>
                  </a:cubicBezTo>
                  <a:cubicBezTo>
                    <a:pt x="3262" y="9431"/>
                    <a:pt x="3191" y="9514"/>
                    <a:pt x="3203" y="9597"/>
                  </a:cubicBezTo>
                  <a:lnTo>
                    <a:pt x="3250" y="10705"/>
                  </a:lnTo>
                  <a:lnTo>
                    <a:pt x="2655" y="10705"/>
                  </a:lnTo>
                  <a:lnTo>
                    <a:pt x="2477" y="9109"/>
                  </a:lnTo>
                  <a:cubicBezTo>
                    <a:pt x="2465" y="9014"/>
                    <a:pt x="2381" y="8954"/>
                    <a:pt x="2298" y="8954"/>
                  </a:cubicBezTo>
                  <a:cubicBezTo>
                    <a:pt x="2203" y="8978"/>
                    <a:pt x="2143" y="9050"/>
                    <a:pt x="2143" y="9133"/>
                  </a:cubicBezTo>
                  <a:lnTo>
                    <a:pt x="2322" y="10705"/>
                  </a:lnTo>
                  <a:lnTo>
                    <a:pt x="1965" y="10705"/>
                  </a:lnTo>
                  <a:cubicBezTo>
                    <a:pt x="1822" y="10705"/>
                    <a:pt x="1703" y="10598"/>
                    <a:pt x="1667" y="10455"/>
                  </a:cubicBezTo>
                  <a:lnTo>
                    <a:pt x="572" y="4549"/>
                  </a:lnTo>
                  <a:cubicBezTo>
                    <a:pt x="560" y="4478"/>
                    <a:pt x="560" y="4406"/>
                    <a:pt x="583" y="4335"/>
                  </a:cubicBezTo>
                  <a:cubicBezTo>
                    <a:pt x="583" y="4311"/>
                    <a:pt x="583" y="4299"/>
                    <a:pt x="595" y="4299"/>
                  </a:cubicBezTo>
                  <a:lnTo>
                    <a:pt x="595" y="4287"/>
                  </a:lnTo>
                  <a:cubicBezTo>
                    <a:pt x="595" y="4263"/>
                    <a:pt x="619" y="4252"/>
                    <a:pt x="619" y="4252"/>
                  </a:cubicBezTo>
                  <a:cubicBezTo>
                    <a:pt x="619" y="4240"/>
                    <a:pt x="631" y="4240"/>
                    <a:pt x="631" y="4228"/>
                  </a:cubicBezTo>
                  <a:lnTo>
                    <a:pt x="631" y="4204"/>
                  </a:lnTo>
                  <a:cubicBezTo>
                    <a:pt x="631" y="4192"/>
                    <a:pt x="643" y="4192"/>
                    <a:pt x="643" y="4180"/>
                  </a:cubicBezTo>
                  <a:lnTo>
                    <a:pt x="643" y="4168"/>
                  </a:lnTo>
                  <a:cubicBezTo>
                    <a:pt x="643" y="4144"/>
                    <a:pt x="655" y="4144"/>
                    <a:pt x="655" y="4132"/>
                  </a:cubicBezTo>
                  <a:lnTo>
                    <a:pt x="679" y="4121"/>
                  </a:lnTo>
                  <a:lnTo>
                    <a:pt x="703" y="4085"/>
                  </a:lnTo>
                  <a:lnTo>
                    <a:pt x="738" y="4061"/>
                  </a:lnTo>
                  <a:cubicBezTo>
                    <a:pt x="750" y="4049"/>
                    <a:pt x="774" y="4037"/>
                    <a:pt x="798" y="4013"/>
                  </a:cubicBezTo>
                  <a:cubicBezTo>
                    <a:pt x="822" y="4001"/>
                    <a:pt x="833" y="3990"/>
                    <a:pt x="869" y="3966"/>
                  </a:cubicBezTo>
                  <a:cubicBezTo>
                    <a:pt x="893" y="3954"/>
                    <a:pt x="917" y="3954"/>
                    <a:pt x="941" y="3942"/>
                  </a:cubicBezTo>
                  <a:cubicBezTo>
                    <a:pt x="976" y="3942"/>
                    <a:pt x="988" y="3930"/>
                    <a:pt x="1012" y="3930"/>
                  </a:cubicBezTo>
                  <a:close/>
                  <a:moveTo>
                    <a:pt x="3822" y="1"/>
                  </a:moveTo>
                  <a:cubicBezTo>
                    <a:pt x="3620" y="25"/>
                    <a:pt x="3429" y="120"/>
                    <a:pt x="3298" y="251"/>
                  </a:cubicBezTo>
                  <a:cubicBezTo>
                    <a:pt x="3250" y="239"/>
                    <a:pt x="3191" y="239"/>
                    <a:pt x="3143" y="239"/>
                  </a:cubicBezTo>
                  <a:cubicBezTo>
                    <a:pt x="2691" y="239"/>
                    <a:pt x="2298" y="549"/>
                    <a:pt x="2227" y="953"/>
                  </a:cubicBezTo>
                  <a:cubicBezTo>
                    <a:pt x="1691" y="965"/>
                    <a:pt x="1262" y="1382"/>
                    <a:pt x="1262" y="1870"/>
                  </a:cubicBezTo>
                  <a:cubicBezTo>
                    <a:pt x="1262" y="1930"/>
                    <a:pt x="1262" y="1977"/>
                    <a:pt x="1274" y="2037"/>
                  </a:cubicBezTo>
                  <a:cubicBezTo>
                    <a:pt x="798" y="2096"/>
                    <a:pt x="417" y="2489"/>
                    <a:pt x="417" y="2966"/>
                  </a:cubicBezTo>
                  <a:cubicBezTo>
                    <a:pt x="417" y="3013"/>
                    <a:pt x="417" y="3061"/>
                    <a:pt x="441" y="3120"/>
                  </a:cubicBezTo>
                  <a:cubicBezTo>
                    <a:pt x="250" y="3168"/>
                    <a:pt x="60" y="3299"/>
                    <a:pt x="36" y="3561"/>
                  </a:cubicBezTo>
                  <a:cubicBezTo>
                    <a:pt x="0" y="3751"/>
                    <a:pt x="95" y="3942"/>
                    <a:pt x="262" y="4049"/>
                  </a:cubicBezTo>
                  <a:lnTo>
                    <a:pt x="262" y="4121"/>
                  </a:lnTo>
                  <a:cubicBezTo>
                    <a:pt x="262" y="4192"/>
                    <a:pt x="274" y="4252"/>
                    <a:pt x="298" y="4311"/>
                  </a:cubicBezTo>
                  <a:cubicBezTo>
                    <a:pt x="286" y="4418"/>
                    <a:pt x="286" y="4525"/>
                    <a:pt x="298" y="4633"/>
                  </a:cubicBezTo>
                  <a:lnTo>
                    <a:pt x="1405" y="10538"/>
                  </a:lnTo>
                  <a:cubicBezTo>
                    <a:pt x="1465" y="10836"/>
                    <a:pt x="1715" y="11038"/>
                    <a:pt x="2012" y="11038"/>
                  </a:cubicBezTo>
                  <a:lnTo>
                    <a:pt x="5822" y="11038"/>
                  </a:lnTo>
                  <a:cubicBezTo>
                    <a:pt x="6120" y="11038"/>
                    <a:pt x="6370" y="10836"/>
                    <a:pt x="6429" y="10538"/>
                  </a:cubicBezTo>
                  <a:lnTo>
                    <a:pt x="7537" y="4633"/>
                  </a:lnTo>
                  <a:cubicBezTo>
                    <a:pt x="7549" y="4525"/>
                    <a:pt x="7549" y="4418"/>
                    <a:pt x="7537" y="4311"/>
                  </a:cubicBezTo>
                  <a:cubicBezTo>
                    <a:pt x="7561" y="4252"/>
                    <a:pt x="7584" y="4180"/>
                    <a:pt x="7584" y="4121"/>
                  </a:cubicBezTo>
                  <a:lnTo>
                    <a:pt x="7584" y="4049"/>
                  </a:lnTo>
                  <a:cubicBezTo>
                    <a:pt x="7656" y="3942"/>
                    <a:pt x="7739" y="3751"/>
                    <a:pt x="7727" y="3561"/>
                  </a:cubicBezTo>
                  <a:cubicBezTo>
                    <a:pt x="7703" y="3299"/>
                    <a:pt x="7525" y="3168"/>
                    <a:pt x="7334" y="3120"/>
                  </a:cubicBezTo>
                  <a:cubicBezTo>
                    <a:pt x="7346" y="3061"/>
                    <a:pt x="7346" y="3025"/>
                    <a:pt x="7346" y="2966"/>
                  </a:cubicBezTo>
                  <a:cubicBezTo>
                    <a:pt x="7346" y="2501"/>
                    <a:pt x="6965" y="2108"/>
                    <a:pt x="6489" y="2037"/>
                  </a:cubicBezTo>
                  <a:cubicBezTo>
                    <a:pt x="6513" y="1989"/>
                    <a:pt x="6513" y="1930"/>
                    <a:pt x="6513" y="1870"/>
                  </a:cubicBezTo>
                  <a:cubicBezTo>
                    <a:pt x="6513" y="1370"/>
                    <a:pt x="6072" y="965"/>
                    <a:pt x="5536" y="953"/>
                  </a:cubicBezTo>
                  <a:cubicBezTo>
                    <a:pt x="5455" y="545"/>
                    <a:pt x="5075" y="239"/>
                    <a:pt x="4633" y="239"/>
                  </a:cubicBezTo>
                  <a:cubicBezTo>
                    <a:pt x="4625" y="239"/>
                    <a:pt x="4616" y="239"/>
                    <a:pt x="4608" y="239"/>
                  </a:cubicBezTo>
                  <a:cubicBezTo>
                    <a:pt x="4560" y="239"/>
                    <a:pt x="4501" y="239"/>
                    <a:pt x="4453" y="251"/>
                  </a:cubicBezTo>
                  <a:cubicBezTo>
                    <a:pt x="4322" y="120"/>
                    <a:pt x="4143" y="25"/>
                    <a:pt x="3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86" name="Google Shape;12286;p62"/>
          <p:cNvGrpSpPr/>
          <p:nvPr/>
        </p:nvGrpSpPr>
        <p:grpSpPr>
          <a:xfrm>
            <a:off x="6273204" y="1509008"/>
            <a:ext cx="236343" cy="351445"/>
            <a:chOff x="6273204" y="1509008"/>
            <a:chExt cx="236343" cy="351445"/>
          </a:xfrm>
        </p:grpSpPr>
        <p:sp>
          <p:nvSpPr>
            <p:cNvPr id="12287" name="Google Shape;12287;p62"/>
            <p:cNvSpPr/>
            <p:nvPr/>
          </p:nvSpPr>
          <p:spPr>
            <a:xfrm>
              <a:off x="6273204" y="1509008"/>
              <a:ext cx="236343" cy="351445"/>
            </a:xfrm>
            <a:custGeom>
              <a:avLst/>
              <a:gdLst/>
              <a:ahLst/>
              <a:cxnLst/>
              <a:rect l="l" t="t" r="r" b="b"/>
              <a:pathLst>
                <a:path w="7431" h="11050" extrusionOk="0">
                  <a:moveTo>
                    <a:pt x="5751" y="2417"/>
                  </a:moveTo>
                  <a:cubicBezTo>
                    <a:pt x="5787" y="2417"/>
                    <a:pt x="5835" y="2453"/>
                    <a:pt x="5847" y="2500"/>
                  </a:cubicBezTo>
                  <a:lnTo>
                    <a:pt x="5990" y="3000"/>
                  </a:lnTo>
                  <a:lnTo>
                    <a:pt x="1429" y="3000"/>
                  </a:lnTo>
                  <a:lnTo>
                    <a:pt x="1560" y="2500"/>
                  </a:lnTo>
                  <a:cubicBezTo>
                    <a:pt x="1584" y="2453"/>
                    <a:pt x="1620" y="2417"/>
                    <a:pt x="1668" y="2417"/>
                  </a:cubicBezTo>
                  <a:close/>
                  <a:moveTo>
                    <a:pt x="7085" y="3310"/>
                  </a:moveTo>
                  <a:lnTo>
                    <a:pt x="7085" y="3882"/>
                  </a:lnTo>
                  <a:lnTo>
                    <a:pt x="334" y="3882"/>
                  </a:lnTo>
                  <a:lnTo>
                    <a:pt x="334" y="3310"/>
                  </a:lnTo>
                  <a:close/>
                  <a:moveTo>
                    <a:pt x="5228" y="4191"/>
                  </a:moveTo>
                  <a:lnTo>
                    <a:pt x="5085" y="6001"/>
                  </a:lnTo>
                  <a:cubicBezTo>
                    <a:pt x="5085" y="6096"/>
                    <a:pt x="5144" y="6168"/>
                    <a:pt x="5239" y="6179"/>
                  </a:cubicBezTo>
                  <a:lnTo>
                    <a:pt x="5251" y="6179"/>
                  </a:lnTo>
                  <a:cubicBezTo>
                    <a:pt x="5347" y="6179"/>
                    <a:pt x="5406" y="6120"/>
                    <a:pt x="5418" y="6037"/>
                  </a:cubicBezTo>
                  <a:lnTo>
                    <a:pt x="5549" y="4203"/>
                  </a:lnTo>
                  <a:lnTo>
                    <a:pt x="6335" y="4203"/>
                  </a:lnTo>
                  <a:lnTo>
                    <a:pt x="5585" y="10382"/>
                  </a:lnTo>
                  <a:cubicBezTo>
                    <a:pt x="5549" y="10573"/>
                    <a:pt x="5394" y="10739"/>
                    <a:pt x="5192" y="10739"/>
                  </a:cubicBezTo>
                  <a:lnTo>
                    <a:pt x="5073" y="10739"/>
                  </a:lnTo>
                  <a:lnTo>
                    <a:pt x="5192" y="8954"/>
                  </a:lnTo>
                  <a:cubicBezTo>
                    <a:pt x="5192" y="8858"/>
                    <a:pt x="5132" y="8787"/>
                    <a:pt x="5049" y="8775"/>
                  </a:cubicBezTo>
                  <a:cubicBezTo>
                    <a:pt x="4954" y="8775"/>
                    <a:pt x="4882" y="8834"/>
                    <a:pt x="4870" y="8930"/>
                  </a:cubicBezTo>
                  <a:lnTo>
                    <a:pt x="4739" y="10739"/>
                  </a:lnTo>
                  <a:lnTo>
                    <a:pt x="4263" y="10739"/>
                  </a:lnTo>
                  <a:lnTo>
                    <a:pt x="4287" y="9358"/>
                  </a:lnTo>
                  <a:cubicBezTo>
                    <a:pt x="4287" y="9263"/>
                    <a:pt x="4216" y="9192"/>
                    <a:pt x="4120" y="9192"/>
                  </a:cubicBezTo>
                  <a:cubicBezTo>
                    <a:pt x="4037" y="9192"/>
                    <a:pt x="3965" y="9263"/>
                    <a:pt x="3965" y="9358"/>
                  </a:cubicBezTo>
                  <a:lnTo>
                    <a:pt x="3930" y="10739"/>
                  </a:lnTo>
                  <a:lnTo>
                    <a:pt x="3454" y="10739"/>
                  </a:lnTo>
                  <a:lnTo>
                    <a:pt x="3430" y="9358"/>
                  </a:lnTo>
                  <a:cubicBezTo>
                    <a:pt x="3430" y="9263"/>
                    <a:pt x="3346" y="9192"/>
                    <a:pt x="3263" y="9192"/>
                  </a:cubicBezTo>
                  <a:cubicBezTo>
                    <a:pt x="3168" y="9192"/>
                    <a:pt x="3096" y="9263"/>
                    <a:pt x="3096" y="9358"/>
                  </a:cubicBezTo>
                  <a:lnTo>
                    <a:pt x="3132" y="10739"/>
                  </a:lnTo>
                  <a:lnTo>
                    <a:pt x="2656" y="10739"/>
                  </a:lnTo>
                  <a:lnTo>
                    <a:pt x="2513" y="8930"/>
                  </a:lnTo>
                  <a:cubicBezTo>
                    <a:pt x="2513" y="8834"/>
                    <a:pt x="2430" y="8775"/>
                    <a:pt x="2334" y="8775"/>
                  </a:cubicBezTo>
                  <a:cubicBezTo>
                    <a:pt x="2251" y="8775"/>
                    <a:pt x="2180" y="8870"/>
                    <a:pt x="2191" y="8954"/>
                  </a:cubicBezTo>
                  <a:lnTo>
                    <a:pt x="2311" y="10739"/>
                  </a:lnTo>
                  <a:lnTo>
                    <a:pt x="2191" y="10739"/>
                  </a:lnTo>
                  <a:cubicBezTo>
                    <a:pt x="2001" y="10739"/>
                    <a:pt x="1822" y="10597"/>
                    <a:pt x="1799" y="10382"/>
                  </a:cubicBezTo>
                  <a:lnTo>
                    <a:pt x="1084" y="4203"/>
                  </a:lnTo>
                  <a:lnTo>
                    <a:pt x="1882" y="4203"/>
                  </a:lnTo>
                  <a:lnTo>
                    <a:pt x="2013" y="6048"/>
                  </a:lnTo>
                  <a:cubicBezTo>
                    <a:pt x="2013" y="6144"/>
                    <a:pt x="2084" y="6203"/>
                    <a:pt x="2180" y="6203"/>
                  </a:cubicBezTo>
                  <a:lnTo>
                    <a:pt x="2191" y="6203"/>
                  </a:lnTo>
                  <a:cubicBezTo>
                    <a:pt x="2275" y="6203"/>
                    <a:pt x="2358" y="6108"/>
                    <a:pt x="2334" y="6025"/>
                  </a:cubicBezTo>
                  <a:lnTo>
                    <a:pt x="2203" y="4191"/>
                  </a:lnTo>
                  <a:lnTo>
                    <a:pt x="2989" y="4191"/>
                  </a:lnTo>
                  <a:lnTo>
                    <a:pt x="3025" y="5560"/>
                  </a:lnTo>
                  <a:cubicBezTo>
                    <a:pt x="3025" y="5656"/>
                    <a:pt x="3096" y="5727"/>
                    <a:pt x="3192" y="5727"/>
                  </a:cubicBezTo>
                  <a:cubicBezTo>
                    <a:pt x="3275" y="5727"/>
                    <a:pt x="3346" y="5656"/>
                    <a:pt x="3346" y="5560"/>
                  </a:cubicBezTo>
                  <a:lnTo>
                    <a:pt x="3323" y="4203"/>
                  </a:lnTo>
                  <a:lnTo>
                    <a:pt x="4108" y="4203"/>
                  </a:lnTo>
                  <a:lnTo>
                    <a:pt x="4073" y="5548"/>
                  </a:lnTo>
                  <a:cubicBezTo>
                    <a:pt x="4073" y="5632"/>
                    <a:pt x="4156" y="5703"/>
                    <a:pt x="4239" y="5703"/>
                  </a:cubicBezTo>
                  <a:cubicBezTo>
                    <a:pt x="4335" y="5703"/>
                    <a:pt x="4406" y="5632"/>
                    <a:pt x="4406" y="5548"/>
                  </a:cubicBezTo>
                  <a:lnTo>
                    <a:pt x="4430" y="4191"/>
                  </a:lnTo>
                  <a:close/>
                  <a:moveTo>
                    <a:pt x="4108" y="0"/>
                  </a:moveTo>
                  <a:cubicBezTo>
                    <a:pt x="4037" y="0"/>
                    <a:pt x="3977" y="36"/>
                    <a:pt x="3942" y="119"/>
                  </a:cubicBezTo>
                  <a:lnTo>
                    <a:pt x="3442" y="2084"/>
                  </a:lnTo>
                  <a:lnTo>
                    <a:pt x="1656" y="2084"/>
                  </a:lnTo>
                  <a:cubicBezTo>
                    <a:pt x="1465" y="2084"/>
                    <a:pt x="1287" y="2215"/>
                    <a:pt x="1239" y="2405"/>
                  </a:cubicBezTo>
                  <a:lnTo>
                    <a:pt x="1084" y="3000"/>
                  </a:lnTo>
                  <a:lnTo>
                    <a:pt x="310" y="3000"/>
                  </a:lnTo>
                  <a:cubicBezTo>
                    <a:pt x="132" y="3000"/>
                    <a:pt x="1" y="3155"/>
                    <a:pt x="1" y="3310"/>
                  </a:cubicBezTo>
                  <a:lnTo>
                    <a:pt x="1" y="3893"/>
                  </a:lnTo>
                  <a:cubicBezTo>
                    <a:pt x="1" y="4072"/>
                    <a:pt x="155" y="4203"/>
                    <a:pt x="310" y="4203"/>
                  </a:cubicBezTo>
                  <a:lnTo>
                    <a:pt x="775" y="4203"/>
                  </a:lnTo>
                  <a:lnTo>
                    <a:pt x="1501" y="10418"/>
                  </a:lnTo>
                  <a:cubicBezTo>
                    <a:pt x="1549" y="10763"/>
                    <a:pt x="1846" y="11049"/>
                    <a:pt x="2215" y="11049"/>
                  </a:cubicBezTo>
                  <a:lnTo>
                    <a:pt x="5216" y="11049"/>
                  </a:lnTo>
                  <a:cubicBezTo>
                    <a:pt x="5585" y="11049"/>
                    <a:pt x="5882" y="10787"/>
                    <a:pt x="5918" y="10418"/>
                  </a:cubicBezTo>
                  <a:lnTo>
                    <a:pt x="6656" y="4203"/>
                  </a:lnTo>
                  <a:lnTo>
                    <a:pt x="7109" y="4203"/>
                  </a:lnTo>
                  <a:cubicBezTo>
                    <a:pt x="7299" y="4203"/>
                    <a:pt x="7430" y="4060"/>
                    <a:pt x="7430" y="3893"/>
                  </a:cubicBezTo>
                  <a:lnTo>
                    <a:pt x="7430" y="3310"/>
                  </a:lnTo>
                  <a:cubicBezTo>
                    <a:pt x="7418" y="3131"/>
                    <a:pt x="7264" y="3000"/>
                    <a:pt x="7085" y="3000"/>
                  </a:cubicBezTo>
                  <a:lnTo>
                    <a:pt x="6311" y="3000"/>
                  </a:lnTo>
                  <a:lnTo>
                    <a:pt x="6168" y="2405"/>
                  </a:lnTo>
                  <a:cubicBezTo>
                    <a:pt x="6121" y="2215"/>
                    <a:pt x="5942" y="2084"/>
                    <a:pt x="5751" y="2084"/>
                  </a:cubicBezTo>
                  <a:lnTo>
                    <a:pt x="3799" y="2084"/>
                  </a:lnTo>
                  <a:lnTo>
                    <a:pt x="4263" y="322"/>
                  </a:lnTo>
                  <a:lnTo>
                    <a:pt x="6001" y="322"/>
                  </a:lnTo>
                  <a:cubicBezTo>
                    <a:pt x="6085" y="322"/>
                    <a:pt x="6168" y="250"/>
                    <a:pt x="6168" y="155"/>
                  </a:cubicBezTo>
                  <a:cubicBezTo>
                    <a:pt x="6168" y="72"/>
                    <a:pt x="6085" y="0"/>
                    <a:pt x="6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8" name="Google Shape;12288;p62"/>
            <p:cNvSpPr/>
            <p:nvPr/>
          </p:nvSpPr>
          <p:spPr>
            <a:xfrm>
              <a:off x="6330390" y="1703241"/>
              <a:ext cx="120064" cy="85237"/>
            </a:xfrm>
            <a:custGeom>
              <a:avLst/>
              <a:gdLst/>
              <a:ahLst/>
              <a:cxnLst/>
              <a:rect l="l" t="t" r="r" b="b"/>
              <a:pathLst>
                <a:path w="3775" h="2680" extrusionOk="0">
                  <a:moveTo>
                    <a:pt x="1894" y="334"/>
                  </a:moveTo>
                  <a:cubicBezTo>
                    <a:pt x="2310" y="334"/>
                    <a:pt x="2715" y="453"/>
                    <a:pt x="3013" y="644"/>
                  </a:cubicBezTo>
                  <a:cubicBezTo>
                    <a:pt x="3299" y="834"/>
                    <a:pt x="3441" y="1096"/>
                    <a:pt x="3441" y="1346"/>
                  </a:cubicBezTo>
                  <a:cubicBezTo>
                    <a:pt x="3441" y="1608"/>
                    <a:pt x="3299" y="1846"/>
                    <a:pt x="3013" y="2049"/>
                  </a:cubicBezTo>
                  <a:cubicBezTo>
                    <a:pt x="2715" y="2251"/>
                    <a:pt x="2310" y="2358"/>
                    <a:pt x="1894" y="2358"/>
                  </a:cubicBezTo>
                  <a:cubicBezTo>
                    <a:pt x="1477" y="2358"/>
                    <a:pt x="1072" y="2239"/>
                    <a:pt x="774" y="2049"/>
                  </a:cubicBezTo>
                  <a:cubicBezTo>
                    <a:pt x="501" y="1846"/>
                    <a:pt x="346" y="1596"/>
                    <a:pt x="346" y="1346"/>
                  </a:cubicBezTo>
                  <a:cubicBezTo>
                    <a:pt x="346" y="1073"/>
                    <a:pt x="501" y="834"/>
                    <a:pt x="774" y="644"/>
                  </a:cubicBezTo>
                  <a:cubicBezTo>
                    <a:pt x="1072" y="442"/>
                    <a:pt x="1477" y="334"/>
                    <a:pt x="1894" y="334"/>
                  </a:cubicBezTo>
                  <a:close/>
                  <a:moveTo>
                    <a:pt x="1882" y="1"/>
                  </a:moveTo>
                  <a:cubicBezTo>
                    <a:pt x="1394" y="1"/>
                    <a:pt x="929" y="144"/>
                    <a:pt x="572" y="382"/>
                  </a:cubicBezTo>
                  <a:cubicBezTo>
                    <a:pt x="203" y="632"/>
                    <a:pt x="1" y="977"/>
                    <a:pt x="1" y="1346"/>
                  </a:cubicBezTo>
                  <a:cubicBezTo>
                    <a:pt x="1" y="1715"/>
                    <a:pt x="215" y="2061"/>
                    <a:pt x="572" y="2311"/>
                  </a:cubicBezTo>
                  <a:cubicBezTo>
                    <a:pt x="929" y="2549"/>
                    <a:pt x="1394" y="2680"/>
                    <a:pt x="1882" y="2680"/>
                  </a:cubicBezTo>
                  <a:cubicBezTo>
                    <a:pt x="2370" y="2680"/>
                    <a:pt x="2834" y="2549"/>
                    <a:pt x="3191" y="2311"/>
                  </a:cubicBezTo>
                  <a:cubicBezTo>
                    <a:pt x="3561" y="2061"/>
                    <a:pt x="3751" y="1715"/>
                    <a:pt x="3751" y="1346"/>
                  </a:cubicBezTo>
                  <a:cubicBezTo>
                    <a:pt x="3775" y="977"/>
                    <a:pt x="3561" y="632"/>
                    <a:pt x="3191" y="382"/>
                  </a:cubicBezTo>
                  <a:cubicBezTo>
                    <a:pt x="2834" y="144"/>
                    <a:pt x="2370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89" name="Google Shape;12289;p62"/>
          <p:cNvSpPr/>
          <p:nvPr/>
        </p:nvSpPr>
        <p:spPr>
          <a:xfrm>
            <a:off x="5809710" y="1509739"/>
            <a:ext cx="243913" cy="351445"/>
          </a:xfrm>
          <a:custGeom>
            <a:avLst/>
            <a:gdLst/>
            <a:ahLst/>
            <a:cxnLst/>
            <a:rect l="l" t="t" r="r" b="b"/>
            <a:pathLst>
              <a:path w="7669" h="11050" extrusionOk="0">
                <a:moveTo>
                  <a:pt x="1644" y="299"/>
                </a:moveTo>
                <a:lnTo>
                  <a:pt x="1501" y="1180"/>
                </a:lnTo>
                <a:lnTo>
                  <a:pt x="1012" y="1180"/>
                </a:lnTo>
                <a:lnTo>
                  <a:pt x="882" y="299"/>
                </a:lnTo>
                <a:close/>
                <a:moveTo>
                  <a:pt x="1691" y="1501"/>
                </a:moveTo>
                <a:lnTo>
                  <a:pt x="1691" y="1703"/>
                </a:lnTo>
                <a:lnTo>
                  <a:pt x="834" y="1703"/>
                </a:lnTo>
                <a:lnTo>
                  <a:pt x="834" y="1501"/>
                </a:lnTo>
                <a:close/>
                <a:moveTo>
                  <a:pt x="6579" y="3583"/>
                </a:moveTo>
                <a:cubicBezTo>
                  <a:pt x="6612" y="3583"/>
                  <a:pt x="6633" y="3589"/>
                  <a:pt x="6644" y="3597"/>
                </a:cubicBezTo>
                <a:cubicBezTo>
                  <a:pt x="6716" y="3680"/>
                  <a:pt x="6608" y="3870"/>
                  <a:pt x="6394" y="4144"/>
                </a:cubicBezTo>
                <a:cubicBezTo>
                  <a:pt x="6394" y="4144"/>
                  <a:pt x="6275" y="4287"/>
                  <a:pt x="6073" y="4525"/>
                </a:cubicBezTo>
                <a:lnTo>
                  <a:pt x="6073" y="3751"/>
                </a:lnTo>
                <a:lnTo>
                  <a:pt x="6061" y="3751"/>
                </a:lnTo>
                <a:cubicBezTo>
                  <a:pt x="6073" y="3739"/>
                  <a:pt x="6108" y="3739"/>
                  <a:pt x="6120" y="3728"/>
                </a:cubicBezTo>
                <a:cubicBezTo>
                  <a:pt x="6366" y="3613"/>
                  <a:pt x="6504" y="3583"/>
                  <a:pt x="6579" y="3583"/>
                </a:cubicBezTo>
                <a:close/>
                <a:moveTo>
                  <a:pt x="5751" y="3882"/>
                </a:moveTo>
                <a:lnTo>
                  <a:pt x="5751" y="4930"/>
                </a:lnTo>
                <a:cubicBezTo>
                  <a:pt x="5584" y="5132"/>
                  <a:pt x="5406" y="5359"/>
                  <a:pt x="5203" y="5609"/>
                </a:cubicBezTo>
                <a:lnTo>
                  <a:pt x="5203" y="3989"/>
                </a:lnTo>
                <a:cubicBezTo>
                  <a:pt x="5358" y="3989"/>
                  <a:pt x="5537" y="3966"/>
                  <a:pt x="5751" y="3882"/>
                </a:cubicBezTo>
                <a:close/>
                <a:moveTo>
                  <a:pt x="4322" y="3585"/>
                </a:moveTo>
                <a:cubicBezTo>
                  <a:pt x="4441" y="3739"/>
                  <a:pt x="4584" y="3859"/>
                  <a:pt x="4799" y="3930"/>
                </a:cubicBezTo>
                <a:cubicBezTo>
                  <a:pt x="4822" y="3942"/>
                  <a:pt x="4846" y="3942"/>
                  <a:pt x="4870" y="3966"/>
                </a:cubicBezTo>
                <a:lnTo>
                  <a:pt x="4870" y="6061"/>
                </a:lnTo>
                <a:cubicBezTo>
                  <a:pt x="4692" y="6299"/>
                  <a:pt x="4513" y="6537"/>
                  <a:pt x="4322" y="6787"/>
                </a:cubicBezTo>
                <a:lnTo>
                  <a:pt x="4322" y="3585"/>
                </a:lnTo>
                <a:close/>
                <a:moveTo>
                  <a:pt x="3453" y="2501"/>
                </a:moveTo>
                <a:cubicBezTo>
                  <a:pt x="3679" y="2608"/>
                  <a:pt x="3870" y="2775"/>
                  <a:pt x="4013" y="3025"/>
                </a:cubicBezTo>
                <a:lnTo>
                  <a:pt x="4013" y="7216"/>
                </a:lnTo>
                <a:cubicBezTo>
                  <a:pt x="3810" y="7466"/>
                  <a:pt x="3632" y="7740"/>
                  <a:pt x="3453" y="7990"/>
                </a:cubicBezTo>
                <a:lnTo>
                  <a:pt x="3453" y="2501"/>
                </a:lnTo>
                <a:close/>
                <a:moveTo>
                  <a:pt x="1691" y="8621"/>
                </a:moveTo>
                <a:lnTo>
                  <a:pt x="1691" y="8811"/>
                </a:lnTo>
                <a:lnTo>
                  <a:pt x="834" y="8811"/>
                </a:lnTo>
                <a:lnTo>
                  <a:pt x="834" y="8621"/>
                </a:lnTo>
                <a:close/>
                <a:moveTo>
                  <a:pt x="2584" y="2299"/>
                </a:moveTo>
                <a:cubicBezTo>
                  <a:pt x="2775" y="2311"/>
                  <a:pt x="2953" y="2323"/>
                  <a:pt x="3132" y="2370"/>
                </a:cubicBezTo>
                <a:lnTo>
                  <a:pt x="3132" y="8454"/>
                </a:lnTo>
                <a:lnTo>
                  <a:pt x="3132" y="8466"/>
                </a:lnTo>
                <a:cubicBezTo>
                  <a:pt x="2917" y="8788"/>
                  <a:pt x="2739" y="9097"/>
                  <a:pt x="2584" y="9383"/>
                </a:cubicBezTo>
                <a:lnTo>
                  <a:pt x="2584" y="2299"/>
                </a:lnTo>
                <a:close/>
                <a:moveTo>
                  <a:pt x="1513" y="9133"/>
                </a:moveTo>
                <a:lnTo>
                  <a:pt x="1644" y="9978"/>
                </a:lnTo>
                <a:lnTo>
                  <a:pt x="882" y="9978"/>
                </a:lnTo>
                <a:lnTo>
                  <a:pt x="1012" y="9133"/>
                </a:lnTo>
                <a:close/>
                <a:moveTo>
                  <a:pt x="2251" y="2299"/>
                </a:moveTo>
                <a:lnTo>
                  <a:pt x="2251" y="9978"/>
                </a:lnTo>
                <a:lnTo>
                  <a:pt x="1953" y="9978"/>
                </a:lnTo>
                <a:lnTo>
                  <a:pt x="1822" y="9121"/>
                </a:lnTo>
                <a:cubicBezTo>
                  <a:pt x="1917" y="9097"/>
                  <a:pt x="2001" y="9002"/>
                  <a:pt x="2001" y="8907"/>
                </a:cubicBezTo>
                <a:lnTo>
                  <a:pt x="2001" y="8526"/>
                </a:lnTo>
                <a:cubicBezTo>
                  <a:pt x="2001" y="8395"/>
                  <a:pt x="1894" y="8311"/>
                  <a:pt x="1774" y="8288"/>
                </a:cubicBezTo>
                <a:lnTo>
                  <a:pt x="1774" y="2299"/>
                </a:lnTo>
                <a:close/>
                <a:moveTo>
                  <a:pt x="4156" y="10300"/>
                </a:moveTo>
                <a:cubicBezTo>
                  <a:pt x="4168" y="10300"/>
                  <a:pt x="4191" y="10312"/>
                  <a:pt x="4191" y="10324"/>
                </a:cubicBezTo>
                <a:lnTo>
                  <a:pt x="4191" y="10669"/>
                </a:lnTo>
                <a:cubicBezTo>
                  <a:pt x="4191" y="10693"/>
                  <a:pt x="4168" y="10705"/>
                  <a:pt x="4156" y="10705"/>
                </a:cubicBezTo>
                <a:lnTo>
                  <a:pt x="346" y="10705"/>
                </a:lnTo>
                <a:cubicBezTo>
                  <a:pt x="334" y="10705"/>
                  <a:pt x="322" y="10681"/>
                  <a:pt x="322" y="10669"/>
                </a:cubicBezTo>
                <a:lnTo>
                  <a:pt x="322" y="10324"/>
                </a:lnTo>
                <a:cubicBezTo>
                  <a:pt x="322" y="10312"/>
                  <a:pt x="334" y="10300"/>
                  <a:pt x="346" y="10300"/>
                </a:cubicBezTo>
                <a:close/>
                <a:moveTo>
                  <a:pt x="703" y="1"/>
                </a:moveTo>
                <a:cubicBezTo>
                  <a:pt x="643" y="1"/>
                  <a:pt x="596" y="25"/>
                  <a:pt x="572" y="60"/>
                </a:cubicBezTo>
                <a:cubicBezTo>
                  <a:pt x="536" y="108"/>
                  <a:pt x="524" y="168"/>
                  <a:pt x="524" y="215"/>
                </a:cubicBezTo>
                <a:lnTo>
                  <a:pt x="691" y="1203"/>
                </a:lnTo>
                <a:cubicBezTo>
                  <a:pt x="584" y="1239"/>
                  <a:pt x="512" y="1322"/>
                  <a:pt x="512" y="1430"/>
                </a:cubicBezTo>
                <a:lnTo>
                  <a:pt x="512" y="1799"/>
                </a:lnTo>
                <a:cubicBezTo>
                  <a:pt x="512" y="1942"/>
                  <a:pt x="608" y="2025"/>
                  <a:pt x="727" y="2037"/>
                </a:cubicBezTo>
                <a:lnTo>
                  <a:pt x="727" y="2846"/>
                </a:lnTo>
                <a:cubicBezTo>
                  <a:pt x="727" y="2930"/>
                  <a:pt x="810" y="3013"/>
                  <a:pt x="893" y="3013"/>
                </a:cubicBezTo>
                <a:cubicBezTo>
                  <a:pt x="989" y="3013"/>
                  <a:pt x="1060" y="2930"/>
                  <a:pt x="1060" y="2846"/>
                </a:cubicBezTo>
                <a:lnTo>
                  <a:pt x="1060" y="2037"/>
                </a:lnTo>
                <a:lnTo>
                  <a:pt x="1441" y="2037"/>
                </a:lnTo>
                <a:lnTo>
                  <a:pt x="1441" y="8311"/>
                </a:lnTo>
                <a:lnTo>
                  <a:pt x="1060" y="8311"/>
                </a:lnTo>
                <a:lnTo>
                  <a:pt x="1060" y="3608"/>
                </a:lnTo>
                <a:cubicBezTo>
                  <a:pt x="1060" y="3513"/>
                  <a:pt x="989" y="3442"/>
                  <a:pt x="893" y="3442"/>
                </a:cubicBezTo>
                <a:cubicBezTo>
                  <a:pt x="810" y="3442"/>
                  <a:pt x="727" y="3513"/>
                  <a:pt x="727" y="3608"/>
                </a:cubicBezTo>
                <a:lnTo>
                  <a:pt x="727" y="8311"/>
                </a:lnTo>
                <a:cubicBezTo>
                  <a:pt x="608" y="8311"/>
                  <a:pt x="512" y="8407"/>
                  <a:pt x="512" y="8550"/>
                </a:cubicBezTo>
                <a:lnTo>
                  <a:pt x="512" y="8919"/>
                </a:lnTo>
                <a:cubicBezTo>
                  <a:pt x="512" y="9026"/>
                  <a:pt x="584" y="9109"/>
                  <a:pt x="691" y="9145"/>
                </a:cubicBezTo>
                <a:lnTo>
                  <a:pt x="548" y="9990"/>
                </a:lnTo>
                <a:lnTo>
                  <a:pt x="358" y="9990"/>
                </a:lnTo>
                <a:cubicBezTo>
                  <a:pt x="167" y="9990"/>
                  <a:pt x="0" y="10157"/>
                  <a:pt x="0" y="10347"/>
                </a:cubicBezTo>
                <a:lnTo>
                  <a:pt x="0" y="10693"/>
                </a:lnTo>
                <a:cubicBezTo>
                  <a:pt x="0" y="10883"/>
                  <a:pt x="167" y="11050"/>
                  <a:pt x="358" y="11050"/>
                </a:cubicBezTo>
                <a:lnTo>
                  <a:pt x="4168" y="11050"/>
                </a:lnTo>
                <a:cubicBezTo>
                  <a:pt x="4358" y="11050"/>
                  <a:pt x="4525" y="10883"/>
                  <a:pt x="4525" y="10693"/>
                </a:cubicBezTo>
                <a:lnTo>
                  <a:pt x="4525" y="10347"/>
                </a:lnTo>
                <a:cubicBezTo>
                  <a:pt x="4525" y="10157"/>
                  <a:pt x="4370" y="9990"/>
                  <a:pt x="4168" y="9990"/>
                </a:cubicBezTo>
                <a:lnTo>
                  <a:pt x="4108" y="9990"/>
                </a:lnTo>
                <a:cubicBezTo>
                  <a:pt x="4203" y="9585"/>
                  <a:pt x="4334" y="9216"/>
                  <a:pt x="4501" y="8823"/>
                </a:cubicBezTo>
                <a:cubicBezTo>
                  <a:pt x="4525" y="8740"/>
                  <a:pt x="4501" y="8645"/>
                  <a:pt x="4406" y="8621"/>
                </a:cubicBezTo>
                <a:cubicBezTo>
                  <a:pt x="4384" y="8612"/>
                  <a:pt x="4361" y="8607"/>
                  <a:pt x="4339" y="8607"/>
                </a:cubicBezTo>
                <a:cubicBezTo>
                  <a:pt x="4278" y="8607"/>
                  <a:pt x="4221" y="8643"/>
                  <a:pt x="4203" y="8704"/>
                </a:cubicBezTo>
                <a:cubicBezTo>
                  <a:pt x="4001" y="9157"/>
                  <a:pt x="3870" y="9562"/>
                  <a:pt x="3763" y="10002"/>
                </a:cubicBezTo>
                <a:lnTo>
                  <a:pt x="2632" y="10002"/>
                </a:lnTo>
                <a:cubicBezTo>
                  <a:pt x="2977" y="9288"/>
                  <a:pt x="3620" y="8323"/>
                  <a:pt x="4275" y="7395"/>
                </a:cubicBezTo>
                <a:cubicBezTo>
                  <a:pt x="4287" y="7383"/>
                  <a:pt x="4287" y="7383"/>
                  <a:pt x="4287" y="7371"/>
                </a:cubicBezTo>
                <a:cubicBezTo>
                  <a:pt x="5406" y="5835"/>
                  <a:pt x="6597" y="4406"/>
                  <a:pt x="6608" y="4394"/>
                </a:cubicBezTo>
                <a:cubicBezTo>
                  <a:pt x="6739" y="4228"/>
                  <a:pt x="7180" y="3739"/>
                  <a:pt x="6847" y="3406"/>
                </a:cubicBezTo>
                <a:cubicBezTo>
                  <a:pt x="6772" y="3336"/>
                  <a:pt x="6670" y="3301"/>
                  <a:pt x="6542" y="3301"/>
                </a:cubicBezTo>
                <a:cubicBezTo>
                  <a:pt x="6386" y="3301"/>
                  <a:pt x="6189" y="3354"/>
                  <a:pt x="5954" y="3466"/>
                </a:cubicBezTo>
                <a:cubicBezTo>
                  <a:pt x="5655" y="3619"/>
                  <a:pt x="5383" y="3696"/>
                  <a:pt x="5158" y="3696"/>
                </a:cubicBezTo>
                <a:cubicBezTo>
                  <a:pt x="5051" y="3696"/>
                  <a:pt x="4954" y="3679"/>
                  <a:pt x="4870" y="3644"/>
                </a:cubicBezTo>
                <a:cubicBezTo>
                  <a:pt x="4572" y="3549"/>
                  <a:pt x="4418" y="3251"/>
                  <a:pt x="4322" y="3013"/>
                </a:cubicBezTo>
                <a:cubicBezTo>
                  <a:pt x="4299" y="2989"/>
                  <a:pt x="4299" y="2977"/>
                  <a:pt x="4287" y="2966"/>
                </a:cubicBezTo>
                <a:cubicBezTo>
                  <a:pt x="3918" y="2192"/>
                  <a:pt x="3132" y="2025"/>
                  <a:pt x="2394" y="2001"/>
                </a:cubicBezTo>
                <a:lnTo>
                  <a:pt x="1894" y="2001"/>
                </a:lnTo>
                <a:lnTo>
                  <a:pt x="1905" y="1977"/>
                </a:lnTo>
                <a:lnTo>
                  <a:pt x="1917" y="1965"/>
                </a:lnTo>
                <a:cubicBezTo>
                  <a:pt x="1917" y="1965"/>
                  <a:pt x="1917" y="1954"/>
                  <a:pt x="1941" y="1954"/>
                </a:cubicBezTo>
                <a:lnTo>
                  <a:pt x="1941" y="1930"/>
                </a:lnTo>
                <a:lnTo>
                  <a:pt x="1941" y="1918"/>
                </a:lnTo>
                <a:lnTo>
                  <a:pt x="1941" y="1906"/>
                </a:lnTo>
                <a:lnTo>
                  <a:pt x="1941" y="1894"/>
                </a:lnTo>
                <a:lnTo>
                  <a:pt x="1941" y="1870"/>
                </a:lnTo>
                <a:lnTo>
                  <a:pt x="1941" y="1858"/>
                </a:lnTo>
                <a:lnTo>
                  <a:pt x="1941" y="1846"/>
                </a:lnTo>
                <a:lnTo>
                  <a:pt x="1941" y="1834"/>
                </a:lnTo>
                <a:lnTo>
                  <a:pt x="1941" y="1811"/>
                </a:lnTo>
                <a:lnTo>
                  <a:pt x="1941" y="1787"/>
                </a:lnTo>
                <a:lnTo>
                  <a:pt x="1941" y="1418"/>
                </a:lnTo>
                <a:lnTo>
                  <a:pt x="1941" y="1394"/>
                </a:lnTo>
                <a:lnTo>
                  <a:pt x="1941" y="1382"/>
                </a:lnTo>
                <a:lnTo>
                  <a:pt x="1941" y="1370"/>
                </a:lnTo>
                <a:lnTo>
                  <a:pt x="1941" y="1358"/>
                </a:lnTo>
                <a:lnTo>
                  <a:pt x="1941" y="1334"/>
                </a:lnTo>
                <a:lnTo>
                  <a:pt x="1941" y="1322"/>
                </a:lnTo>
                <a:cubicBezTo>
                  <a:pt x="1941" y="1322"/>
                  <a:pt x="1941" y="1311"/>
                  <a:pt x="1917" y="1311"/>
                </a:cubicBezTo>
                <a:cubicBezTo>
                  <a:pt x="1917" y="1311"/>
                  <a:pt x="1917" y="1299"/>
                  <a:pt x="1905" y="1299"/>
                </a:cubicBezTo>
                <a:cubicBezTo>
                  <a:pt x="1905" y="1299"/>
                  <a:pt x="1905" y="1275"/>
                  <a:pt x="1894" y="1275"/>
                </a:cubicBezTo>
                <a:lnTo>
                  <a:pt x="1882" y="1263"/>
                </a:lnTo>
                <a:lnTo>
                  <a:pt x="1858" y="1251"/>
                </a:lnTo>
                <a:cubicBezTo>
                  <a:pt x="1858" y="1251"/>
                  <a:pt x="1846" y="1251"/>
                  <a:pt x="1846" y="1239"/>
                </a:cubicBezTo>
                <a:lnTo>
                  <a:pt x="1834" y="1215"/>
                </a:lnTo>
                <a:lnTo>
                  <a:pt x="1786" y="1215"/>
                </a:lnTo>
                <a:lnTo>
                  <a:pt x="1822" y="1072"/>
                </a:lnTo>
                <a:lnTo>
                  <a:pt x="1834" y="965"/>
                </a:lnTo>
                <a:cubicBezTo>
                  <a:pt x="1994" y="962"/>
                  <a:pt x="2158" y="960"/>
                  <a:pt x="2316" y="960"/>
                </a:cubicBezTo>
                <a:cubicBezTo>
                  <a:pt x="2736" y="960"/>
                  <a:pt x="3120" y="976"/>
                  <a:pt x="3310" y="1037"/>
                </a:cubicBezTo>
                <a:cubicBezTo>
                  <a:pt x="3608" y="1144"/>
                  <a:pt x="4037" y="1394"/>
                  <a:pt x="4334" y="2049"/>
                </a:cubicBezTo>
                <a:cubicBezTo>
                  <a:pt x="4418" y="2263"/>
                  <a:pt x="4501" y="2454"/>
                  <a:pt x="4572" y="2620"/>
                </a:cubicBezTo>
                <a:cubicBezTo>
                  <a:pt x="4715" y="2989"/>
                  <a:pt x="4822" y="3227"/>
                  <a:pt x="4977" y="3323"/>
                </a:cubicBezTo>
                <a:cubicBezTo>
                  <a:pt x="5026" y="3349"/>
                  <a:pt x="5085" y="3362"/>
                  <a:pt x="5158" y="3362"/>
                </a:cubicBezTo>
                <a:cubicBezTo>
                  <a:pt x="5317" y="3362"/>
                  <a:pt x="5543" y="3299"/>
                  <a:pt x="5870" y="3168"/>
                </a:cubicBezTo>
                <a:cubicBezTo>
                  <a:pt x="6100" y="3082"/>
                  <a:pt x="6291" y="3042"/>
                  <a:pt x="6469" y="3042"/>
                </a:cubicBezTo>
                <a:cubicBezTo>
                  <a:pt x="6512" y="3042"/>
                  <a:pt x="6554" y="3044"/>
                  <a:pt x="6597" y="3049"/>
                </a:cubicBezTo>
                <a:cubicBezTo>
                  <a:pt x="6787" y="3085"/>
                  <a:pt x="6942" y="3168"/>
                  <a:pt x="7049" y="3323"/>
                </a:cubicBezTo>
                <a:cubicBezTo>
                  <a:pt x="7228" y="3620"/>
                  <a:pt x="7228" y="3870"/>
                  <a:pt x="6704" y="4585"/>
                </a:cubicBezTo>
                <a:cubicBezTo>
                  <a:pt x="5656" y="6037"/>
                  <a:pt x="4965" y="7145"/>
                  <a:pt x="4501" y="8002"/>
                </a:cubicBezTo>
                <a:cubicBezTo>
                  <a:pt x="4453" y="8085"/>
                  <a:pt x="4489" y="8180"/>
                  <a:pt x="4572" y="8228"/>
                </a:cubicBezTo>
                <a:cubicBezTo>
                  <a:pt x="4594" y="8243"/>
                  <a:pt x="4619" y="8249"/>
                  <a:pt x="4645" y="8249"/>
                </a:cubicBezTo>
                <a:cubicBezTo>
                  <a:pt x="4704" y="8249"/>
                  <a:pt x="4766" y="8215"/>
                  <a:pt x="4799" y="8157"/>
                </a:cubicBezTo>
                <a:cubicBezTo>
                  <a:pt x="5263" y="7288"/>
                  <a:pt x="5942" y="6216"/>
                  <a:pt x="6989" y="4763"/>
                </a:cubicBezTo>
                <a:cubicBezTo>
                  <a:pt x="7489" y="4061"/>
                  <a:pt x="7668" y="3632"/>
                  <a:pt x="7347" y="3108"/>
                </a:cubicBezTo>
                <a:cubicBezTo>
                  <a:pt x="7192" y="2894"/>
                  <a:pt x="6966" y="2739"/>
                  <a:pt x="6668" y="2692"/>
                </a:cubicBezTo>
                <a:cubicBezTo>
                  <a:pt x="6620" y="2685"/>
                  <a:pt x="6570" y="2681"/>
                  <a:pt x="6518" y="2681"/>
                </a:cubicBezTo>
                <a:cubicBezTo>
                  <a:pt x="6298" y="2681"/>
                  <a:pt x="6044" y="2741"/>
                  <a:pt x="5775" y="2846"/>
                </a:cubicBezTo>
                <a:cubicBezTo>
                  <a:pt x="5394" y="2999"/>
                  <a:pt x="5242" y="3014"/>
                  <a:pt x="5190" y="3014"/>
                </a:cubicBezTo>
                <a:cubicBezTo>
                  <a:pt x="5177" y="3014"/>
                  <a:pt x="5170" y="3013"/>
                  <a:pt x="5168" y="3013"/>
                </a:cubicBezTo>
                <a:cubicBezTo>
                  <a:pt x="5108" y="2966"/>
                  <a:pt x="4989" y="2680"/>
                  <a:pt x="4906" y="2477"/>
                </a:cubicBezTo>
                <a:cubicBezTo>
                  <a:pt x="4822" y="2311"/>
                  <a:pt x="4751" y="2120"/>
                  <a:pt x="4668" y="1906"/>
                </a:cubicBezTo>
                <a:cubicBezTo>
                  <a:pt x="4322" y="1144"/>
                  <a:pt x="3799" y="834"/>
                  <a:pt x="3441" y="715"/>
                </a:cubicBezTo>
                <a:cubicBezTo>
                  <a:pt x="3239" y="642"/>
                  <a:pt x="2905" y="619"/>
                  <a:pt x="2513" y="619"/>
                </a:cubicBezTo>
                <a:cubicBezTo>
                  <a:pt x="2329" y="619"/>
                  <a:pt x="2131" y="624"/>
                  <a:pt x="1929" y="632"/>
                </a:cubicBezTo>
                <a:lnTo>
                  <a:pt x="1989" y="215"/>
                </a:lnTo>
                <a:cubicBezTo>
                  <a:pt x="2001" y="156"/>
                  <a:pt x="1989" y="108"/>
                  <a:pt x="1941" y="60"/>
                </a:cubicBezTo>
                <a:cubicBezTo>
                  <a:pt x="1905" y="13"/>
                  <a:pt x="1846" y="1"/>
                  <a:pt x="181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90" name="Google Shape;12290;p62"/>
          <p:cNvGrpSpPr/>
          <p:nvPr/>
        </p:nvGrpSpPr>
        <p:grpSpPr>
          <a:xfrm>
            <a:off x="7219530" y="1508244"/>
            <a:ext cx="191625" cy="352209"/>
            <a:chOff x="7219530" y="1508244"/>
            <a:chExt cx="191625" cy="352209"/>
          </a:xfrm>
        </p:grpSpPr>
        <p:sp>
          <p:nvSpPr>
            <p:cNvPr id="12291" name="Google Shape;12291;p62"/>
            <p:cNvSpPr/>
            <p:nvPr/>
          </p:nvSpPr>
          <p:spPr>
            <a:xfrm>
              <a:off x="7219530" y="1508244"/>
              <a:ext cx="191625" cy="352209"/>
            </a:xfrm>
            <a:custGeom>
              <a:avLst/>
              <a:gdLst/>
              <a:ahLst/>
              <a:cxnLst/>
              <a:rect l="l" t="t" r="r" b="b"/>
              <a:pathLst>
                <a:path w="6025" h="11074" extrusionOk="0">
                  <a:moveTo>
                    <a:pt x="4453" y="357"/>
                  </a:moveTo>
                  <a:cubicBezTo>
                    <a:pt x="4572" y="357"/>
                    <a:pt x="4656" y="453"/>
                    <a:pt x="4656" y="572"/>
                  </a:cubicBezTo>
                  <a:cubicBezTo>
                    <a:pt x="4656" y="691"/>
                    <a:pt x="4572" y="774"/>
                    <a:pt x="4453" y="774"/>
                  </a:cubicBezTo>
                  <a:lnTo>
                    <a:pt x="524" y="774"/>
                  </a:lnTo>
                  <a:cubicBezTo>
                    <a:pt x="405" y="774"/>
                    <a:pt x="310" y="691"/>
                    <a:pt x="310" y="572"/>
                  </a:cubicBezTo>
                  <a:cubicBezTo>
                    <a:pt x="310" y="453"/>
                    <a:pt x="393" y="357"/>
                    <a:pt x="524" y="357"/>
                  </a:cubicBezTo>
                  <a:close/>
                  <a:moveTo>
                    <a:pt x="3858" y="1108"/>
                  </a:moveTo>
                  <a:cubicBezTo>
                    <a:pt x="3382" y="1691"/>
                    <a:pt x="2763" y="2584"/>
                    <a:pt x="2739" y="3477"/>
                  </a:cubicBezTo>
                  <a:lnTo>
                    <a:pt x="2739" y="3501"/>
                  </a:lnTo>
                  <a:lnTo>
                    <a:pt x="2739" y="4263"/>
                  </a:lnTo>
                  <a:lnTo>
                    <a:pt x="2215" y="4263"/>
                  </a:lnTo>
                  <a:lnTo>
                    <a:pt x="2215" y="3501"/>
                  </a:lnTo>
                  <a:cubicBezTo>
                    <a:pt x="2203" y="2596"/>
                    <a:pt x="1608" y="1691"/>
                    <a:pt x="1120" y="1108"/>
                  </a:cubicBezTo>
                  <a:close/>
                  <a:moveTo>
                    <a:pt x="5489" y="4584"/>
                  </a:moveTo>
                  <a:cubicBezTo>
                    <a:pt x="5596" y="4584"/>
                    <a:pt x="5680" y="4679"/>
                    <a:pt x="5680" y="4787"/>
                  </a:cubicBezTo>
                  <a:cubicBezTo>
                    <a:pt x="5680" y="4882"/>
                    <a:pt x="5596" y="4977"/>
                    <a:pt x="5489" y="4977"/>
                  </a:cubicBezTo>
                  <a:lnTo>
                    <a:pt x="1679" y="4977"/>
                  </a:lnTo>
                  <a:lnTo>
                    <a:pt x="1679" y="4584"/>
                  </a:lnTo>
                  <a:close/>
                  <a:moveTo>
                    <a:pt x="2739" y="5287"/>
                  </a:moveTo>
                  <a:lnTo>
                    <a:pt x="2739" y="5787"/>
                  </a:lnTo>
                  <a:lnTo>
                    <a:pt x="2215" y="5787"/>
                  </a:lnTo>
                  <a:lnTo>
                    <a:pt x="2215" y="5287"/>
                  </a:lnTo>
                  <a:close/>
                  <a:moveTo>
                    <a:pt x="4287" y="5287"/>
                  </a:moveTo>
                  <a:lnTo>
                    <a:pt x="4287" y="5787"/>
                  </a:lnTo>
                  <a:lnTo>
                    <a:pt x="3060" y="5787"/>
                  </a:lnTo>
                  <a:lnTo>
                    <a:pt x="3060" y="5287"/>
                  </a:lnTo>
                  <a:close/>
                  <a:moveTo>
                    <a:pt x="5108" y="5287"/>
                  </a:moveTo>
                  <a:lnTo>
                    <a:pt x="5108" y="5787"/>
                  </a:lnTo>
                  <a:lnTo>
                    <a:pt x="4608" y="5787"/>
                  </a:lnTo>
                  <a:lnTo>
                    <a:pt x="4608" y="5287"/>
                  </a:lnTo>
                  <a:close/>
                  <a:moveTo>
                    <a:pt x="5489" y="6120"/>
                  </a:moveTo>
                  <a:cubicBezTo>
                    <a:pt x="5596" y="6120"/>
                    <a:pt x="5680" y="6215"/>
                    <a:pt x="5680" y="6311"/>
                  </a:cubicBezTo>
                  <a:cubicBezTo>
                    <a:pt x="5680" y="6418"/>
                    <a:pt x="5596" y="6513"/>
                    <a:pt x="5489" y="6513"/>
                  </a:cubicBezTo>
                  <a:lnTo>
                    <a:pt x="1679" y="6513"/>
                  </a:lnTo>
                  <a:lnTo>
                    <a:pt x="1679" y="6120"/>
                  </a:lnTo>
                  <a:close/>
                  <a:moveTo>
                    <a:pt x="2739" y="6834"/>
                  </a:moveTo>
                  <a:lnTo>
                    <a:pt x="2739" y="7346"/>
                  </a:lnTo>
                  <a:lnTo>
                    <a:pt x="2215" y="7346"/>
                  </a:lnTo>
                  <a:lnTo>
                    <a:pt x="2215" y="6834"/>
                  </a:lnTo>
                  <a:close/>
                  <a:moveTo>
                    <a:pt x="4287" y="6834"/>
                  </a:moveTo>
                  <a:lnTo>
                    <a:pt x="4287" y="7346"/>
                  </a:lnTo>
                  <a:lnTo>
                    <a:pt x="3060" y="7346"/>
                  </a:lnTo>
                  <a:lnTo>
                    <a:pt x="3060" y="6834"/>
                  </a:lnTo>
                  <a:close/>
                  <a:moveTo>
                    <a:pt x="5108" y="6834"/>
                  </a:moveTo>
                  <a:lnTo>
                    <a:pt x="5108" y="7346"/>
                  </a:lnTo>
                  <a:lnTo>
                    <a:pt x="4608" y="7346"/>
                  </a:lnTo>
                  <a:lnTo>
                    <a:pt x="4608" y="6834"/>
                  </a:lnTo>
                  <a:close/>
                  <a:moveTo>
                    <a:pt x="5489" y="7656"/>
                  </a:moveTo>
                  <a:cubicBezTo>
                    <a:pt x="5596" y="7656"/>
                    <a:pt x="5680" y="7739"/>
                    <a:pt x="5680" y="7846"/>
                  </a:cubicBezTo>
                  <a:cubicBezTo>
                    <a:pt x="5680" y="7954"/>
                    <a:pt x="5596" y="8037"/>
                    <a:pt x="5489" y="8037"/>
                  </a:cubicBezTo>
                  <a:lnTo>
                    <a:pt x="1679" y="8037"/>
                  </a:lnTo>
                  <a:lnTo>
                    <a:pt x="1679" y="7656"/>
                  </a:lnTo>
                  <a:close/>
                  <a:moveTo>
                    <a:pt x="2751" y="8370"/>
                  </a:moveTo>
                  <a:lnTo>
                    <a:pt x="2751" y="10001"/>
                  </a:lnTo>
                  <a:lnTo>
                    <a:pt x="2227" y="10001"/>
                  </a:lnTo>
                  <a:lnTo>
                    <a:pt x="2227" y="8370"/>
                  </a:lnTo>
                  <a:close/>
                  <a:moveTo>
                    <a:pt x="2917" y="10335"/>
                  </a:moveTo>
                  <a:lnTo>
                    <a:pt x="3060" y="10752"/>
                  </a:lnTo>
                  <a:lnTo>
                    <a:pt x="1894" y="10752"/>
                  </a:lnTo>
                  <a:lnTo>
                    <a:pt x="2024" y="10335"/>
                  </a:lnTo>
                  <a:close/>
                  <a:moveTo>
                    <a:pt x="536" y="0"/>
                  </a:moveTo>
                  <a:cubicBezTo>
                    <a:pt x="239" y="0"/>
                    <a:pt x="0" y="238"/>
                    <a:pt x="0" y="536"/>
                  </a:cubicBezTo>
                  <a:cubicBezTo>
                    <a:pt x="0" y="834"/>
                    <a:pt x="239" y="1072"/>
                    <a:pt x="536" y="1072"/>
                  </a:cubicBezTo>
                  <a:lnTo>
                    <a:pt x="715" y="1072"/>
                  </a:lnTo>
                  <a:cubicBezTo>
                    <a:pt x="1739" y="2239"/>
                    <a:pt x="1917" y="3072"/>
                    <a:pt x="1917" y="3477"/>
                  </a:cubicBezTo>
                  <a:lnTo>
                    <a:pt x="1917" y="4227"/>
                  </a:lnTo>
                  <a:lnTo>
                    <a:pt x="1620" y="4227"/>
                  </a:lnTo>
                  <a:cubicBezTo>
                    <a:pt x="1489" y="4227"/>
                    <a:pt x="1370" y="4346"/>
                    <a:pt x="1370" y="4489"/>
                  </a:cubicBezTo>
                  <a:lnTo>
                    <a:pt x="1370" y="4584"/>
                  </a:lnTo>
                  <a:lnTo>
                    <a:pt x="1155" y="4584"/>
                  </a:lnTo>
                  <a:lnTo>
                    <a:pt x="1155" y="4370"/>
                  </a:lnTo>
                  <a:cubicBezTo>
                    <a:pt x="1155" y="4275"/>
                    <a:pt x="1084" y="4203"/>
                    <a:pt x="989" y="4203"/>
                  </a:cubicBezTo>
                  <a:cubicBezTo>
                    <a:pt x="905" y="4203"/>
                    <a:pt x="834" y="4275"/>
                    <a:pt x="834" y="4370"/>
                  </a:cubicBezTo>
                  <a:lnTo>
                    <a:pt x="834" y="5144"/>
                  </a:lnTo>
                  <a:cubicBezTo>
                    <a:pt x="834" y="5227"/>
                    <a:pt x="905" y="5299"/>
                    <a:pt x="989" y="5299"/>
                  </a:cubicBezTo>
                  <a:cubicBezTo>
                    <a:pt x="1084" y="5299"/>
                    <a:pt x="1155" y="5227"/>
                    <a:pt x="1155" y="5144"/>
                  </a:cubicBezTo>
                  <a:lnTo>
                    <a:pt x="1155" y="4918"/>
                  </a:lnTo>
                  <a:lnTo>
                    <a:pt x="1370" y="4918"/>
                  </a:lnTo>
                  <a:lnTo>
                    <a:pt x="1370" y="5025"/>
                  </a:lnTo>
                  <a:cubicBezTo>
                    <a:pt x="1370" y="5156"/>
                    <a:pt x="1489" y="5275"/>
                    <a:pt x="1620" y="5275"/>
                  </a:cubicBezTo>
                  <a:lnTo>
                    <a:pt x="1917" y="5275"/>
                  </a:lnTo>
                  <a:lnTo>
                    <a:pt x="1917" y="5775"/>
                  </a:lnTo>
                  <a:lnTo>
                    <a:pt x="1620" y="5775"/>
                  </a:lnTo>
                  <a:cubicBezTo>
                    <a:pt x="1489" y="5775"/>
                    <a:pt x="1370" y="5894"/>
                    <a:pt x="1370" y="6037"/>
                  </a:cubicBezTo>
                  <a:lnTo>
                    <a:pt x="1370" y="6156"/>
                  </a:lnTo>
                  <a:lnTo>
                    <a:pt x="1155" y="6156"/>
                  </a:lnTo>
                  <a:lnTo>
                    <a:pt x="1155" y="5930"/>
                  </a:lnTo>
                  <a:cubicBezTo>
                    <a:pt x="1155" y="5834"/>
                    <a:pt x="1084" y="5763"/>
                    <a:pt x="989" y="5763"/>
                  </a:cubicBezTo>
                  <a:cubicBezTo>
                    <a:pt x="905" y="5763"/>
                    <a:pt x="834" y="5834"/>
                    <a:pt x="834" y="5930"/>
                  </a:cubicBezTo>
                  <a:lnTo>
                    <a:pt x="834" y="6703"/>
                  </a:lnTo>
                  <a:cubicBezTo>
                    <a:pt x="834" y="6787"/>
                    <a:pt x="905" y="6870"/>
                    <a:pt x="989" y="6870"/>
                  </a:cubicBezTo>
                  <a:cubicBezTo>
                    <a:pt x="1084" y="6870"/>
                    <a:pt x="1155" y="6787"/>
                    <a:pt x="1155" y="6703"/>
                  </a:cubicBezTo>
                  <a:lnTo>
                    <a:pt x="1155" y="6477"/>
                  </a:lnTo>
                  <a:lnTo>
                    <a:pt x="1370" y="6477"/>
                  </a:lnTo>
                  <a:lnTo>
                    <a:pt x="1370" y="6573"/>
                  </a:lnTo>
                  <a:cubicBezTo>
                    <a:pt x="1370" y="6703"/>
                    <a:pt x="1489" y="6823"/>
                    <a:pt x="1620" y="6823"/>
                  </a:cubicBezTo>
                  <a:lnTo>
                    <a:pt x="1917" y="6823"/>
                  </a:lnTo>
                  <a:lnTo>
                    <a:pt x="1917" y="7323"/>
                  </a:lnTo>
                  <a:lnTo>
                    <a:pt x="1620" y="7323"/>
                  </a:lnTo>
                  <a:cubicBezTo>
                    <a:pt x="1489" y="7323"/>
                    <a:pt x="1370" y="7442"/>
                    <a:pt x="1370" y="7585"/>
                  </a:cubicBezTo>
                  <a:lnTo>
                    <a:pt x="1370" y="7680"/>
                  </a:lnTo>
                  <a:lnTo>
                    <a:pt x="1155" y="7680"/>
                  </a:lnTo>
                  <a:lnTo>
                    <a:pt x="1155" y="7465"/>
                  </a:lnTo>
                  <a:cubicBezTo>
                    <a:pt x="1155" y="7370"/>
                    <a:pt x="1084" y="7299"/>
                    <a:pt x="989" y="7299"/>
                  </a:cubicBezTo>
                  <a:cubicBezTo>
                    <a:pt x="905" y="7299"/>
                    <a:pt x="834" y="7370"/>
                    <a:pt x="834" y="7465"/>
                  </a:cubicBezTo>
                  <a:lnTo>
                    <a:pt x="834" y="8239"/>
                  </a:lnTo>
                  <a:cubicBezTo>
                    <a:pt x="834" y="8323"/>
                    <a:pt x="905" y="8394"/>
                    <a:pt x="989" y="8394"/>
                  </a:cubicBezTo>
                  <a:cubicBezTo>
                    <a:pt x="1084" y="8394"/>
                    <a:pt x="1155" y="8323"/>
                    <a:pt x="1155" y="8239"/>
                  </a:cubicBezTo>
                  <a:lnTo>
                    <a:pt x="1155" y="8013"/>
                  </a:lnTo>
                  <a:lnTo>
                    <a:pt x="1370" y="8013"/>
                  </a:lnTo>
                  <a:lnTo>
                    <a:pt x="1370" y="8108"/>
                  </a:lnTo>
                  <a:cubicBezTo>
                    <a:pt x="1370" y="8251"/>
                    <a:pt x="1489" y="8370"/>
                    <a:pt x="1620" y="8370"/>
                  </a:cubicBezTo>
                  <a:lnTo>
                    <a:pt x="1917" y="8370"/>
                  </a:lnTo>
                  <a:lnTo>
                    <a:pt x="1917" y="10025"/>
                  </a:lnTo>
                  <a:cubicBezTo>
                    <a:pt x="1846" y="10049"/>
                    <a:pt x="1786" y="10109"/>
                    <a:pt x="1763" y="10180"/>
                  </a:cubicBezTo>
                  <a:lnTo>
                    <a:pt x="1572" y="10752"/>
                  </a:lnTo>
                  <a:cubicBezTo>
                    <a:pt x="1548" y="10823"/>
                    <a:pt x="1560" y="10918"/>
                    <a:pt x="1608" y="10978"/>
                  </a:cubicBezTo>
                  <a:cubicBezTo>
                    <a:pt x="1655" y="11037"/>
                    <a:pt x="1727" y="11073"/>
                    <a:pt x="1810" y="11073"/>
                  </a:cubicBezTo>
                  <a:lnTo>
                    <a:pt x="3179" y="11073"/>
                  </a:lnTo>
                  <a:cubicBezTo>
                    <a:pt x="3263" y="11073"/>
                    <a:pt x="3346" y="11037"/>
                    <a:pt x="3394" y="10978"/>
                  </a:cubicBezTo>
                  <a:cubicBezTo>
                    <a:pt x="3441" y="10918"/>
                    <a:pt x="3453" y="10823"/>
                    <a:pt x="3418" y="10752"/>
                  </a:cubicBezTo>
                  <a:lnTo>
                    <a:pt x="3227" y="10180"/>
                  </a:lnTo>
                  <a:cubicBezTo>
                    <a:pt x="3203" y="10109"/>
                    <a:pt x="3144" y="10049"/>
                    <a:pt x="3084" y="10025"/>
                  </a:cubicBezTo>
                  <a:lnTo>
                    <a:pt x="3084" y="8370"/>
                  </a:lnTo>
                  <a:lnTo>
                    <a:pt x="4239" y="8370"/>
                  </a:lnTo>
                  <a:cubicBezTo>
                    <a:pt x="4156" y="8585"/>
                    <a:pt x="3929" y="8739"/>
                    <a:pt x="3679" y="8739"/>
                  </a:cubicBezTo>
                  <a:cubicBezTo>
                    <a:pt x="3584" y="8739"/>
                    <a:pt x="3513" y="8811"/>
                    <a:pt x="3513" y="8906"/>
                  </a:cubicBezTo>
                  <a:cubicBezTo>
                    <a:pt x="3513" y="8989"/>
                    <a:pt x="3584" y="9073"/>
                    <a:pt x="3679" y="9073"/>
                  </a:cubicBezTo>
                  <a:cubicBezTo>
                    <a:pt x="4108" y="9073"/>
                    <a:pt x="4477" y="8775"/>
                    <a:pt x="4584" y="8370"/>
                  </a:cubicBezTo>
                  <a:lnTo>
                    <a:pt x="5084" y="8370"/>
                  </a:lnTo>
                  <a:cubicBezTo>
                    <a:pt x="4965" y="9037"/>
                    <a:pt x="4394" y="9561"/>
                    <a:pt x="3679" y="9561"/>
                  </a:cubicBezTo>
                  <a:cubicBezTo>
                    <a:pt x="3584" y="9561"/>
                    <a:pt x="3513" y="9632"/>
                    <a:pt x="3513" y="9728"/>
                  </a:cubicBezTo>
                  <a:cubicBezTo>
                    <a:pt x="3513" y="9811"/>
                    <a:pt x="3584" y="9882"/>
                    <a:pt x="3679" y="9882"/>
                  </a:cubicBezTo>
                  <a:cubicBezTo>
                    <a:pt x="4549" y="9882"/>
                    <a:pt x="5299" y="9228"/>
                    <a:pt x="5418" y="8382"/>
                  </a:cubicBezTo>
                  <a:lnTo>
                    <a:pt x="5501" y="8382"/>
                  </a:lnTo>
                  <a:cubicBezTo>
                    <a:pt x="5787" y="8382"/>
                    <a:pt x="6025" y="8144"/>
                    <a:pt x="6025" y="7858"/>
                  </a:cubicBezTo>
                  <a:cubicBezTo>
                    <a:pt x="6013" y="7561"/>
                    <a:pt x="5775" y="7323"/>
                    <a:pt x="5489" y="7323"/>
                  </a:cubicBezTo>
                  <a:lnTo>
                    <a:pt x="5418" y="7323"/>
                  </a:lnTo>
                  <a:lnTo>
                    <a:pt x="5418" y="6823"/>
                  </a:lnTo>
                  <a:lnTo>
                    <a:pt x="5489" y="6823"/>
                  </a:lnTo>
                  <a:cubicBezTo>
                    <a:pt x="5775" y="6823"/>
                    <a:pt x="6013" y="6584"/>
                    <a:pt x="6013" y="6299"/>
                  </a:cubicBezTo>
                  <a:cubicBezTo>
                    <a:pt x="6013" y="6013"/>
                    <a:pt x="5775" y="5775"/>
                    <a:pt x="5489" y="5775"/>
                  </a:cubicBezTo>
                  <a:lnTo>
                    <a:pt x="5418" y="5775"/>
                  </a:lnTo>
                  <a:lnTo>
                    <a:pt x="5418" y="5275"/>
                  </a:lnTo>
                  <a:lnTo>
                    <a:pt x="5489" y="5275"/>
                  </a:lnTo>
                  <a:cubicBezTo>
                    <a:pt x="5775" y="5275"/>
                    <a:pt x="6013" y="5037"/>
                    <a:pt x="6013" y="4751"/>
                  </a:cubicBezTo>
                  <a:cubicBezTo>
                    <a:pt x="6013" y="4465"/>
                    <a:pt x="5775" y="4227"/>
                    <a:pt x="5489" y="4227"/>
                  </a:cubicBezTo>
                  <a:lnTo>
                    <a:pt x="5406" y="4227"/>
                  </a:lnTo>
                  <a:cubicBezTo>
                    <a:pt x="5263" y="3441"/>
                    <a:pt x="4608" y="2822"/>
                    <a:pt x="3810" y="2763"/>
                  </a:cubicBezTo>
                  <a:cubicBezTo>
                    <a:pt x="3715" y="2763"/>
                    <a:pt x="3644" y="2822"/>
                    <a:pt x="3632" y="2905"/>
                  </a:cubicBezTo>
                  <a:cubicBezTo>
                    <a:pt x="3632" y="3001"/>
                    <a:pt x="3691" y="3072"/>
                    <a:pt x="3775" y="3084"/>
                  </a:cubicBezTo>
                  <a:cubicBezTo>
                    <a:pt x="4418" y="3132"/>
                    <a:pt x="4953" y="3608"/>
                    <a:pt x="5072" y="4227"/>
                  </a:cubicBezTo>
                  <a:lnTo>
                    <a:pt x="4572" y="4227"/>
                  </a:lnTo>
                  <a:cubicBezTo>
                    <a:pt x="4453" y="3846"/>
                    <a:pt x="4072" y="3572"/>
                    <a:pt x="3679" y="3572"/>
                  </a:cubicBezTo>
                  <a:cubicBezTo>
                    <a:pt x="3584" y="3572"/>
                    <a:pt x="3513" y="3655"/>
                    <a:pt x="3513" y="3739"/>
                  </a:cubicBezTo>
                  <a:cubicBezTo>
                    <a:pt x="3513" y="3834"/>
                    <a:pt x="3584" y="3906"/>
                    <a:pt x="3679" y="3906"/>
                  </a:cubicBezTo>
                  <a:cubicBezTo>
                    <a:pt x="3918" y="3906"/>
                    <a:pt x="4120" y="4036"/>
                    <a:pt x="4227" y="4227"/>
                  </a:cubicBezTo>
                  <a:lnTo>
                    <a:pt x="3084" y="4227"/>
                  </a:lnTo>
                  <a:lnTo>
                    <a:pt x="3084" y="3489"/>
                  </a:lnTo>
                  <a:lnTo>
                    <a:pt x="3084" y="3477"/>
                  </a:lnTo>
                  <a:cubicBezTo>
                    <a:pt x="3096" y="3072"/>
                    <a:pt x="3263" y="2227"/>
                    <a:pt x="4287" y="1072"/>
                  </a:cubicBezTo>
                  <a:lnTo>
                    <a:pt x="4465" y="1072"/>
                  </a:lnTo>
                  <a:cubicBezTo>
                    <a:pt x="4763" y="1072"/>
                    <a:pt x="5001" y="834"/>
                    <a:pt x="5001" y="536"/>
                  </a:cubicBezTo>
                  <a:cubicBezTo>
                    <a:pt x="5001" y="238"/>
                    <a:pt x="4763" y="0"/>
                    <a:pt x="4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2" name="Google Shape;12292;p62"/>
            <p:cNvSpPr/>
            <p:nvPr/>
          </p:nvSpPr>
          <p:spPr>
            <a:xfrm>
              <a:off x="7376679" y="1654039"/>
              <a:ext cx="795" cy="32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4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93" name="Google Shape;12293;p62"/>
          <p:cNvGrpSpPr/>
          <p:nvPr/>
        </p:nvGrpSpPr>
        <p:grpSpPr>
          <a:xfrm>
            <a:off x="7699309" y="1508626"/>
            <a:ext cx="154922" cy="351827"/>
            <a:chOff x="7699309" y="1508626"/>
            <a:chExt cx="154922" cy="351827"/>
          </a:xfrm>
        </p:grpSpPr>
        <p:sp>
          <p:nvSpPr>
            <p:cNvPr id="12294" name="Google Shape;12294;p62"/>
            <p:cNvSpPr/>
            <p:nvPr/>
          </p:nvSpPr>
          <p:spPr>
            <a:xfrm>
              <a:off x="7733022" y="1737336"/>
              <a:ext cx="24267" cy="57599"/>
            </a:xfrm>
            <a:custGeom>
              <a:avLst/>
              <a:gdLst/>
              <a:ahLst/>
              <a:cxnLst/>
              <a:rect l="l" t="t" r="r" b="b"/>
              <a:pathLst>
                <a:path w="763" h="1811" extrusionOk="0">
                  <a:moveTo>
                    <a:pt x="584" y="1"/>
                  </a:moveTo>
                  <a:cubicBezTo>
                    <a:pt x="488" y="1"/>
                    <a:pt x="417" y="84"/>
                    <a:pt x="417" y="167"/>
                  </a:cubicBezTo>
                  <a:lnTo>
                    <a:pt x="417" y="501"/>
                  </a:lnTo>
                  <a:cubicBezTo>
                    <a:pt x="417" y="596"/>
                    <a:pt x="369" y="715"/>
                    <a:pt x="298" y="798"/>
                  </a:cubicBezTo>
                  <a:cubicBezTo>
                    <a:pt x="72" y="1013"/>
                    <a:pt x="0" y="1358"/>
                    <a:pt x="155" y="1644"/>
                  </a:cubicBezTo>
                  <a:lnTo>
                    <a:pt x="179" y="1715"/>
                  </a:lnTo>
                  <a:cubicBezTo>
                    <a:pt x="215" y="1775"/>
                    <a:pt x="274" y="1810"/>
                    <a:pt x="334" y="1810"/>
                  </a:cubicBezTo>
                  <a:cubicBezTo>
                    <a:pt x="357" y="1810"/>
                    <a:pt x="369" y="1810"/>
                    <a:pt x="405" y="1786"/>
                  </a:cubicBezTo>
                  <a:cubicBezTo>
                    <a:pt x="477" y="1751"/>
                    <a:pt x="524" y="1655"/>
                    <a:pt x="477" y="1572"/>
                  </a:cubicBezTo>
                  <a:lnTo>
                    <a:pt x="453" y="1489"/>
                  </a:lnTo>
                  <a:cubicBezTo>
                    <a:pt x="369" y="1334"/>
                    <a:pt x="405" y="1155"/>
                    <a:pt x="536" y="1013"/>
                  </a:cubicBezTo>
                  <a:cubicBezTo>
                    <a:pt x="691" y="882"/>
                    <a:pt x="762" y="691"/>
                    <a:pt x="762" y="501"/>
                  </a:cubicBezTo>
                  <a:lnTo>
                    <a:pt x="762" y="167"/>
                  </a:lnTo>
                  <a:cubicBezTo>
                    <a:pt x="750" y="84"/>
                    <a:pt x="667" y="1"/>
                    <a:pt x="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5" name="Google Shape;12295;p62"/>
            <p:cNvSpPr/>
            <p:nvPr/>
          </p:nvSpPr>
          <p:spPr>
            <a:xfrm>
              <a:off x="7796632" y="1737336"/>
              <a:ext cx="23504" cy="57599"/>
            </a:xfrm>
            <a:custGeom>
              <a:avLst/>
              <a:gdLst/>
              <a:ahLst/>
              <a:cxnLst/>
              <a:rect l="l" t="t" r="r" b="b"/>
              <a:pathLst>
                <a:path w="739" h="1811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501"/>
                  </a:lnTo>
                  <a:cubicBezTo>
                    <a:pt x="1" y="691"/>
                    <a:pt x="84" y="882"/>
                    <a:pt x="215" y="1013"/>
                  </a:cubicBezTo>
                  <a:cubicBezTo>
                    <a:pt x="358" y="1132"/>
                    <a:pt x="382" y="1334"/>
                    <a:pt x="310" y="1489"/>
                  </a:cubicBezTo>
                  <a:lnTo>
                    <a:pt x="274" y="1572"/>
                  </a:lnTo>
                  <a:cubicBezTo>
                    <a:pt x="239" y="1644"/>
                    <a:pt x="274" y="1751"/>
                    <a:pt x="358" y="1786"/>
                  </a:cubicBezTo>
                  <a:cubicBezTo>
                    <a:pt x="382" y="1810"/>
                    <a:pt x="393" y="1810"/>
                    <a:pt x="429" y="1810"/>
                  </a:cubicBezTo>
                  <a:cubicBezTo>
                    <a:pt x="489" y="1810"/>
                    <a:pt x="548" y="1775"/>
                    <a:pt x="572" y="1715"/>
                  </a:cubicBezTo>
                  <a:lnTo>
                    <a:pt x="608" y="1644"/>
                  </a:lnTo>
                  <a:cubicBezTo>
                    <a:pt x="739" y="1346"/>
                    <a:pt x="679" y="1013"/>
                    <a:pt x="441" y="798"/>
                  </a:cubicBezTo>
                  <a:cubicBezTo>
                    <a:pt x="370" y="715"/>
                    <a:pt x="322" y="620"/>
                    <a:pt x="322" y="501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6" name="Google Shape;12296;p62"/>
            <p:cNvSpPr/>
            <p:nvPr/>
          </p:nvSpPr>
          <p:spPr>
            <a:xfrm>
              <a:off x="7757639" y="1792231"/>
              <a:ext cx="32" cy="795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1"/>
                  </a:moveTo>
                  <a:cubicBezTo>
                    <a:pt x="0" y="1"/>
                    <a:pt x="0" y="25"/>
                    <a:pt x="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7" name="Google Shape;12297;p62"/>
            <p:cNvSpPr/>
            <p:nvPr/>
          </p:nvSpPr>
          <p:spPr>
            <a:xfrm>
              <a:off x="7757639" y="1784280"/>
              <a:ext cx="39406" cy="76173"/>
            </a:xfrm>
            <a:custGeom>
              <a:avLst/>
              <a:gdLst/>
              <a:ahLst/>
              <a:cxnLst/>
              <a:rect l="l" t="t" r="r" b="b"/>
              <a:pathLst>
                <a:path w="1239" h="2395" extrusionOk="0">
                  <a:moveTo>
                    <a:pt x="857" y="322"/>
                  </a:moveTo>
                  <a:lnTo>
                    <a:pt x="834" y="894"/>
                  </a:lnTo>
                  <a:lnTo>
                    <a:pt x="357" y="894"/>
                  </a:lnTo>
                  <a:lnTo>
                    <a:pt x="322" y="322"/>
                  </a:lnTo>
                  <a:close/>
                  <a:moveTo>
                    <a:pt x="822" y="1227"/>
                  </a:moveTo>
                  <a:lnTo>
                    <a:pt x="762" y="2073"/>
                  </a:lnTo>
                  <a:lnTo>
                    <a:pt x="429" y="2073"/>
                  </a:lnTo>
                  <a:lnTo>
                    <a:pt x="393" y="1227"/>
                  </a:lnTo>
                  <a:close/>
                  <a:moveTo>
                    <a:pt x="250" y="1"/>
                  </a:moveTo>
                  <a:cubicBezTo>
                    <a:pt x="179" y="1"/>
                    <a:pt x="119" y="25"/>
                    <a:pt x="72" y="72"/>
                  </a:cubicBezTo>
                  <a:cubicBezTo>
                    <a:pt x="24" y="120"/>
                    <a:pt x="0" y="191"/>
                    <a:pt x="12" y="251"/>
                  </a:cubicBezTo>
                  <a:cubicBezTo>
                    <a:pt x="12" y="275"/>
                    <a:pt x="119" y="2144"/>
                    <a:pt x="131" y="2156"/>
                  </a:cubicBezTo>
                  <a:cubicBezTo>
                    <a:pt x="143" y="2287"/>
                    <a:pt x="250" y="2394"/>
                    <a:pt x="381" y="2394"/>
                  </a:cubicBezTo>
                  <a:lnTo>
                    <a:pt x="857" y="2394"/>
                  </a:lnTo>
                  <a:cubicBezTo>
                    <a:pt x="1000" y="2394"/>
                    <a:pt x="1096" y="2299"/>
                    <a:pt x="1119" y="2156"/>
                  </a:cubicBezTo>
                  <a:lnTo>
                    <a:pt x="1238" y="251"/>
                  </a:lnTo>
                  <a:cubicBezTo>
                    <a:pt x="1191" y="191"/>
                    <a:pt x="1179" y="120"/>
                    <a:pt x="1131" y="72"/>
                  </a:cubicBezTo>
                  <a:cubicBezTo>
                    <a:pt x="1084" y="25"/>
                    <a:pt x="1024" y="1"/>
                    <a:pt x="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8" name="Google Shape;12298;p62"/>
            <p:cNvSpPr/>
            <p:nvPr/>
          </p:nvSpPr>
          <p:spPr>
            <a:xfrm>
              <a:off x="7805347" y="1642016"/>
              <a:ext cx="48884" cy="201771"/>
            </a:xfrm>
            <a:custGeom>
              <a:avLst/>
              <a:gdLst/>
              <a:ahLst/>
              <a:cxnLst/>
              <a:rect l="l" t="t" r="r" b="b"/>
              <a:pathLst>
                <a:path w="1537" h="6344" extrusionOk="0">
                  <a:moveTo>
                    <a:pt x="180" y="0"/>
                  </a:moveTo>
                  <a:cubicBezTo>
                    <a:pt x="119" y="0"/>
                    <a:pt x="54" y="27"/>
                    <a:pt x="36" y="81"/>
                  </a:cubicBezTo>
                  <a:cubicBezTo>
                    <a:pt x="0" y="164"/>
                    <a:pt x="36" y="259"/>
                    <a:pt x="108" y="295"/>
                  </a:cubicBezTo>
                  <a:cubicBezTo>
                    <a:pt x="584" y="497"/>
                    <a:pt x="893" y="985"/>
                    <a:pt x="893" y="1509"/>
                  </a:cubicBezTo>
                  <a:lnTo>
                    <a:pt x="893" y="2497"/>
                  </a:lnTo>
                  <a:cubicBezTo>
                    <a:pt x="893" y="2521"/>
                    <a:pt x="870" y="2569"/>
                    <a:pt x="834" y="2569"/>
                  </a:cubicBezTo>
                  <a:cubicBezTo>
                    <a:pt x="572" y="2628"/>
                    <a:pt x="381" y="2867"/>
                    <a:pt x="381" y="3140"/>
                  </a:cubicBezTo>
                  <a:lnTo>
                    <a:pt x="381" y="3307"/>
                  </a:lnTo>
                  <a:cubicBezTo>
                    <a:pt x="381" y="3605"/>
                    <a:pt x="596" y="3867"/>
                    <a:pt x="893" y="3891"/>
                  </a:cubicBezTo>
                  <a:cubicBezTo>
                    <a:pt x="1072" y="3902"/>
                    <a:pt x="1203" y="4057"/>
                    <a:pt x="1203" y="4236"/>
                  </a:cubicBezTo>
                  <a:lnTo>
                    <a:pt x="1203" y="4545"/>
                  </a:lnTo>
                  <a:cubicBezTo>
                    <a:pt x="1203" y="5224"/>
                    <a:pt x="774" y="5819"/>
                    <a:pt x="155" y="6034"/>
                  </a:cubicBezTo>
                  <a:cubicBezTo>
                    <a:pt x="60" y="6069"/>
                    <a:pt x="12" y="6153"/>
                    <a:pt x="48" y="6248"/>
                  </a:cubicBezTo>
                  <a:cubicBezTo>
                    <a:pt x="84" y="6319"/>
                    <a:pt x="131" y="6343"/>
                    <a:pt x="203" y="6343"/>
                  </a:cubicBezTo>
                  <a:cubicBezTo>
                    <a:pt x="215" y="6343"/>
                    <a:pt x="227" y="6343"/>
                    <a:pt x="262" y="6331"/>
                  </a:cubicBezTo>
                  <a:cubicBezTo>
                    <a:pt x="1012" y="6069"/>
                    <a:pt x="1536" y="5355"/>
                    <a:pt x="1536" y="4545"/>
                  </a:cubicBezTo>
                  <a:lnTo>
                    <a:pt x="1536" y="4236"/>
                  </a:lnTo>
                  <a:cubicBezTo>
                    <a:pt x="1536" y="3891"/>
                    <a:pt x="1274" y="3605"/>
                    <a:pt x="929" y="3581"/>
                  </a:cubicBezTo>
                  <a:cubicBezTo>
                    <a:pt x="798" y="3569"/>
                    <a:pt x="703" y="3462"/>
                    <a:pt x="703" y="3331"/>
                  </a:cubicBezTo>
                  <a:lnTo>
                    <a:pt x="703" y="3152"/>
                  </a:lnTo>
                  <a:cubicBezTo>
                    <a:pt x="703" y="3033"/>
                    <a:pt x="798" y="2926"/>
                    <a:pt x="917" y="2902"/>
                  </a:cubicBezTo>
                  <a:cubicBezTo>
                    <a:pt x="1096" y="2855"/>
                    <a:pt x="1227" y="2688"/>
                    <a:pt x="1227" y="2509"/>
                  </a:cubicBezTo>
                  <a:lnTo>
                    <a:pt x="1227" y="1521"/>
                  </a:lnTo>
                  <a:cubicBezTo>
                    <a:pt x="1227" y="878"/>
                    <a:pt x="834" y="283"/>
                    <a:pt x="239" y="9"/>
                  </a:cubicBezTo>
                  <a:cubicBezTo>
                    <a:pt x="221" y="3"/>
                    <a:pt x="201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9" name="Google Shape;12299;p62"/>
            <p:cNvSpPr/>
            <p:nvPr/>
          </p:nvSpPr>
          <p:spPr>
            <a:xfrm>
              <a:off x="7699309" y="1642239"/>
              <a:ext cx="48884" cy="202661"/>
            </a:xfrm>
            <a:custGeom>
              <a:avLst/>
              <a:gdLst/>
              <a:ahLst/>
              <a:cxnLst/>
              <a:rect l="l" t="t" r="r" b="b"/>
              <a:pathLst>
                <a:path w="1537" h="6372" extrusionOk="0">
                  <a:moveTo>
                    <a:pt x="1348" y="0"/>
                  </a:moveTo>
                  <a:cubicBezTo>
                    <a:pt x="1326" y="0"/>
                    <a:pt x="1305" y="5"/>
                    <a:pt x="1287" y="14"/>
                  </a:cubicBezTo>
                  <a:cubicBezTo>
                    <a:pt x="691" y="288"/>
                    <a:pt x="310" y="883"/>
                    <a:pt x="310" y="1526"/>
                  </a:cubicBezTo>
                  <a:lnTo>
                    <a:pt x="310" y="2502"/>
                  </a:lnTo>
                  <a:cubicBezTo>
                    <a:pt x="310" y="2693"/>
                    <a:pt x="453" y="2860"/>
                    <a:pt x="632" y="2895"/>
                  </a:cubicBezTo>
                  <a:cubicBezTo>
                    <a:pt x="751" y="2919"/>
                    <a:pt x="834" y="3026"/>
                    <a:pt x="834" y="3145"/>
                  </a:cubicBezTo>
                  <a:lnTo>
                    <a:pt x="834" y="3324"/>
                  </a:lnTo>
                  <a:cubicBezTo>
                    <a:pt x="834" y="3455"/>
                    <a:pt x="727" y="3562"/>
                    <a:pt x="608" y="3574"/>
                  </a:cubicBezTo>
                  <a:cubicBezTo>
                    <a:pt x="274" y="3610"/>
                    <a:pt x="1" y="3907"/>
                    <a:pt x="1" y="4241"/>
                  </a:cubicBezTo>
                  <a:lnTo>
                    <a:pt x="1" y="4562"/>
                  </a:lnTo>
                  <a:cubicBezTo>
                    <a:pt x="1" y="5372"/>
                    <a:pt x="525" y="6086"/>
                    <a:pt x="1298" y="6360"/>
                  </a:cubicBezTo>
                  <a:cubicBezTo>
                    <a:pt x="1310" y="6360"/>
                    <a:pt x="1334" y="6372"/>
                    <a:pt x="1346" y="6372"/>
                  </a:cubicBezTo>
                  <a:cubicBezTo>
                    <a:pt x="1417" y="6372"/>
                    <a:pt x="1477" y="6324"/>
                    <a:pt x="1489" y="6265"/>
                  </a:cubicBezTo>
                  <a:cubicBezTo>
                    <a:pt x="1525" y="6169"/>
                    <a:pt x="1477" y="6074"/>
                    <a:pt x="1394" y="6050"/>
                  </a:cubicBezTo>
                  <a:cubicBezTo>
                    <a:pt x="751" y="5836"/>
                    <a:pt x="322" y="5229"/>
                    <a:pt x="322" y="4562"/>
                  </a:cubicBezTo>
                  <a:lnTo>
                    <a:pt x="322" y="4241"/>
                  </a:lnTo>
                  <a:cubicBezTo>
                    <a:pt x="322" y="4062"/>
                    <a:pt x="453" y="3919"/>
                    <a:pt x="632" y="3895"/>
                  </a:cubicBezTo>
                  <a:cubicBezTo>
                    <a:pt x="929" y="3872"/>
                    <a:pt x="1156" y="3622"/>
                    <a:pt x="1156" y="3324"/>
                  </a:cubicBezTo>
                  <a:lnTo>
                    <a:pt x="1156" y="3145"/>
                  </a:lnTo>
                  <a:cubicBezTo>
                    <a:pt x="1156" y="2871"/>
                    <a:pt x="953" y="2633"/>
                    <a:pt x="691" y="2574"/>
                  </a:cubicBezTo>
                  <a:cubicBezTo>
                    <a:pt x="655" y="2574"/>
                    <a:pt x="632" y="2538"/>
                    <a:pt x="632" y="2502"/>
                  </a:cubicBezTo>
                  <a:lnTo>
                    <a:pt x="632" y="1514"/>
                  </a:lnTo>
                  <a:cubicBezTo>
                    <a:pt x="632" y="1002"/>
                    <a:pt x="941" y="526"/>
                    <a:pt x="1417" y="300"/>
                  </a:cubicBezTo>
                  <a:cubicBezTo>
                    <a:pt x="1489" y="276"/>
                    <a:pt x="1537" y="169"/>
                    <a:pt x="1489" y="97"/>
                  </a:cubicBezTo>
                  <a:cubicBezTo>
                    <a:pt x="1471" y="36"/>
                    <a:pt x="1408" y="0"/>
                    <a:pt x="1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0" name="Google Shape;12300;p62"/>
            <p:cNvSpPr/>
            <p:nvPr/>
          </p:nvSpPr>
          <p:spPr>
            <a:xfrm>
              <a:off x="7743613" y="1508626"/>
              <a:ext cx="66313" cy="208673"/>
            </a:xfrm>
            <a:custGeom>
              <a:avLst/>
              <a:gdLst/>
              <a:ahLst/>
              <a:cxnLst/>
              <a:rect l="l" t="t" r="r" b="b"/>
              <a:pathLst>
                <a:path w="2085" h="6561" extrusionOk="0">
                  <a:moveTo>
                    <a:pt x="1191" y="345"/>
                  </a:moveTo>
                  <a:lnTo>
                    <a:pt x="1310" y="1250"/>
                  </a:lnTo>
                  <a:lnTo>
                    <a:pt x="775" y="1250"/>
                  </a:lnTo>
                  <a:lnTo>
                    <a:pt x="894" y="345"/>
                  </a:lnTo>
                  <a:close/>
                  <a:moveTo>
                    <a:pt x="1108" y="1572"/>
                  </a:moveTo>
                  <a:lnTo>
                    <a:pt x="1263" y="6215"/>
                  </a:lnTo>
                  <a:lnTo>
                    <a:pt x="810" y="6215"/>
                  </a:lnTo>
                  <a:lnTo>
                    <a:pt x="810" y="6191"/>
                  </a:lnTo>
                  <a:lnTo>
                    <a:pt x="977" y="1572"/>
                  </a:lnTo>
                  <a:close/>
                  <a:moveTo>
                    <a:pt x="1263" y="6215"/>
                  </a:moveTo>
                  <a:lnTo>
                    <a:pt x="1263" y="6215"/>
                  </a:lnTo>
                  <a:cubicBezTo>
                    <a:pt x="1263" y="6221"/>
                    <a:pt x="1260" y="6224"/>
                    <a:pt x="1258" y="6224"/>
                  </a:cubicBezTo>
                  <a:cubicBezTo>
                    <a:pt x="1257" y="6224"/>
                    <a:pt x="1257" y="6221"/>
                    <a:pt x="1263" y="6215"/>
                  </a:cubicBezTo>
                  <a:close/>
                  <a:moveTo>
                    <a:pt x="798" y="0"/>
                  </a:moveTo>
                  <a:cubicBezTo>
                    <a:pt x="679" y="0"/>
                    <a:pt x="596" y="95"/>
                    <a:pt x="572" y="203"/>
                  </a:cubicBezTo>
                  <a:lnTo>
                    <a:pt x="572" y="250"/>
                  </a:lnTo>
                  <a:lnTo>
                    <a:pt x="263" y="250"/>
                  </a:lnTo>
                  <a:cubicBezTo>
                    <a:pt x="179" y="250"/>
                    <a:pt x="96" y="322"/>
                    <a:pt x="96" y="405"/>
                  </a:cubicBezTo>
                  <a:cubicBezTo>
                    <a:pt x="96" y="500"/>
                    <a:pt x="179" y="572"/>
                    <a:pt x="263" y="572"/>
                  </a:cubicBezTo>
                  <a:lnTo>
                    <a:pt x="536" y="572"/>
                  </a:lnTo>
                  <a:lnTo>
                    <a:pt x="477" y="988"/>
                  </a:lnTo>
                  <a:lnTo>
                    <a:pt x="155" y="988"/>
                  </a:lnTo>
                  <a:cubicBezTo>
                    <a:pt x="72" y="988"/>
                    <a:pt x="1" y="1060"/>
                    <a:pt x="1" y="1155"/>
                  </a:cubicBezTo>
                  <a:cubicBezTo>
                    <a:pt x="1" y="1238"/>
                    <a:pt x="72" y="1322"/>
                    <a:pt x="155" y="1322"/>
                  </a:cubicBezTo>
                  <a:lnTo>
                    <a:pt x="441" y="1322"/>
                  </a:lnTo>
                  <a:cubicBezTo>
                    <a:pt x="441" y="1381"/>
                    <a:pt x="453" y="1453"/>
                    <a:pt x="501" y="1500"/>
                  </a:cubicBezTo>
                  <a:cubicBezTo>
                    <a:pt x="548" y="1536"/>
                    <a:pt x="608" y="1572"/>
                    <a:pt x="667" y="1572"/>
                  </a:cubicBezTo>
                  <a:lnTo>
                    <a:pt x="501" y="6203"/>
                  </a:lnTo>
                  <a:cubicBezTo>
                    <a:pt x="501" y="6287"/>
                    <a:pt x="536" y="6382"/>
                    <a:pt x="596" y="6453"/>
                  </a:cubicBezTo>
                  <a:cubicBezTo>
                    <a:pt x="656" y="6513"/>
                    <a:pt x="739" y="6561"/>
                    <a:pt x="834" y="6561"/>
                  </a:cubicBezTo>
                  <a:lnTo>
                    <a:pt x="1251" y="6561"/>
                  </a:lnTo>
                  <a:cubicBezTo>
                    <a:pt x="1334" y="6561"/>
                    <a:pt x="1429" y="6525"/>
                    <a:pt x="1489" y="6453"/>
                  </a:cubicBezTo>
                  <a:cubicBezTo>
                    <a:pt x="1548" y="6394"/>
                    <a:pt x="1584" y="6299"/>
                    <a:pt x="1572" y="6203"/>
                  </a:cubicBezTo>
                  <a:lnTo>
                    <a:pt x="1406" y="1572"/>
                  </a:lnTo>
                  <a:cubicBezTo>
                    <a:pt x="1465" y="1572"/>
                    <a:pt x="1525" y="1536"/>
                    <a:pt x="1572" y="1500"/>
                  </a:cubicBezTo>
                  <a:cubicBezTo>
                    <a:pt x="1620" y="1453"/>
                    <a:pt x="1632" y="1393"/>
                    <a:pt x="1632" y="1334"/>
                  </a:cubicBezTo>
                  <a:lnTo>
                    <a:pt x="1918" y="1334"/>
                  </a:lnTo>
                  <a:cubicBezTo>
                    <a:pt x="2001" y="1334"/>
                    <a:pt x="2084" y="1250"/>
                    <a:pt x="2084" y="1167"/>
                  </a:cubicBezTo>
                  <a:cubicBezTo>
                    <a:pt x="2084" y="1072"/>
                    <a:pt x="2001" y="1000"/>
                    <a:pt x="1918" y="1000"/>
                  </a:cubicBezTo>
                  <a:lnTo>
                    <a:pt x="1608" y="1000"/>
                  </a:lnTo>
                  <a:lnTo>
                    <a:pt x="1548" y="584"/>
                  </a:lnTo>
                  <a:lnTo>
                    <a:pt x="1810" y="584"/>
                  </a:lnTo>
                  <a:cubicBezTo>
                    <a:pt x="1906" y="584"/>
                    <a:pt x="1977" y="512"/>
                    <a:pt x="1977" y="429"/>
                  </a:cubicBezTo>
                  <a:cubicBezTo>
                    <a:pt x="1977" y="334"/>
                    <a:pt x="1906" y="262"/>
                    <a:pt x="1810" y="262"/>
                  </a:cubicBezTo>
                  <a:lnTo>
                    <a:pt x="1501" y="262"/>
                  </a:lnTo>
                  <a:lnTo>
                    <a:pt x="1489" y="203"/>
                  </a:lnTo>
                  <a:cubicBezTo>
                    <a:pt x="1465" y="84"/>
                    <a:pt x="1382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01" name="Google Shape;12301;p62"/>
          <p:cNvGrpSpPr/>
          <p:nvPr/>
        </p:nvGrpSpPr>
        <p:grpSpPr>
          <a:xfrm>
            <a:off x="8161690" y="1509008"/>
            <a:ext cx="153396" cy="351064"/>
            <a:chOff x="8161690" y="1509008"/>
            <a:chExt cx="153396" cy="351064"/>
          </a:xfrm>
        </p:grpSpPr>
        <p:sp>
          <p:nvSpPr>
            <p:cNvPr id="12302" name="Google Shape;12302;p62"/>
            <p:cNvSpPr/>
            <p:nvPr/>
          </p:nvSpPr>
          <p:spPr>
            <a:xfrm>
              <a:off x="8207871" y="1699838"/>
              <a:ext cx="61384" cy="61765"/>
            </a:xfrm>
            <a:custGeom>
              <a:avLst/>
              <a:gdLst/>
              <a:ahLst/>
              <a:cxnLst/>
              <a:rect l="l" t="t" r="r" b="b"/>
              <a:pathLst>
                <a:path w="1930" h="1942" extrusionOk="0">
                  <a:moveTo>
                    <a:pt x="965" y="334"/>
                  </a:moveTo>
                  <a:cubicBezTo>
                    <a:pt x="1322" y="334"/>
                    <a:pt x="1608" y="620"/>
                    <a:pt x="1608" y="977"/>
                  </a:cubicBezTo>
                  <a:cubicBezTo>
                    <a:pt x="1608" y="1334"/>
                    <a:pt x="1322" y="1620"/>
                    <a:pt x="965" y="1620"/>
                  </a:cubicBezTo>
                  <a:cubicBezTo>
                    <a:pt x="608" y="1620"/>
                    <a:pt x="322" y="1334"/>
                    <a:pt x="322" y="977"/>
                  </a:cubicBezTo>
                  <a:cubicBezTo>
                    <a:pt x="322" y="620"/>
                    <a:pt x="608" y="334"/>
                    <a:pt x="965" y="334"/>
                  </a:cubicBezTo>
                  <a:close/>
                  <a:moveTo>
                    <a:pt x="965" y="1"/>
                  </a:moveTo>
                  <a:cubicBezTo>
                    <a:pt x="429" y="1"/>
                    <a:pt x="1" y="441"/>
                    <a:pt x="1" y="977"/>
                  </a:cubicBezTo>
                  <a:cubicBezTo>
                    <a:pt x="1" y="1513"/>
                    <a:pt x="429" y="1942"/>
                    <a:pt x="965" y="1942"/>
                  </a:cubicBezTo>
                  <a:cubicBezTo>
                    <a:pt x="1501" y="1942"/>
                    <a:pt x="1930" y="1513"/>
                    <a:pt x="1930" y="977"/>
                  </a:cubicBezTo>
                  <a:cubicBezTo>
                    <a:pt x="1930" y="441"/>
                    <a:pt x="1501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3" name="Google Shape;12303;p62"/>
            <p:cNvSpPr/>
            <p:nvPr/>
          </p:nvSpPr>
          <p:spPr>
            <a:xfrm>
              <a:off x="8199919" y="1800564"/>
              <a:ext cx="77668" cy="29579"/>
            </a:xfrm>
            <a:custGeom>
              <a:avLst/>
              <a:gdLst/>
              <a:ahLst/>
              <a:cxnLst/>
              <a:rect l="l" t="t" r="r" b="b"/>
              <a:pathLst>
                <a:path w="2442" h="930" extrusionOk="0">
                  <a:moveTo>
                    <a:pt x="2120" y="322"/>
                  </a:moveTo>
                  <a:lnTo>
                    <a:pt x="2120" y="620"/>
                  </a:lnTo>
                  <a:lnTo>
                    <a:pt x="322" y="620"/>
                  </a:lnTo>
                  <a:lnTo>
                    <a:pt x="322" y="322"/>
                  </a:lnTo>
                  <a:close/>
                  <a:moveTo>
                    <a:pt x="239" y="1"/>
                  </a:moveTo>
                  <a:cubicBezTo>
                    <a:pt x="96" y="1"/>
                    <a:pt x="1" y="96"/>
                    <a:pt x="1" y="239"/>
                  </a:cubicBezTo>
                  <a:lnTo>
                    <a:pt x="1" y="691"/>
                  </a:lnTo>
                  <a:cubicBezTo>
                    <a:pt x="1" y="834"/>
                    <a:pt x="96" y="930"/>
                    <a:pt x="239" y="930"/>
                  </a:cubicBezTo>
                  <a:lnTo>
                    <a:pt x="2203" y="930"/>
                  </a:lnTo>
                  <a:cubicBezTo>
                    <a:pt x="2334" y="930"/>
                    <a:pt x="2441" y="834"/>
                    <a:pt x="2441" y="691"/>
                  </a:cubicBezTo>
                  <a:lnTo>
                    <a:pt x="2441" y="239"/>
                  </a:lnTo>
                  <a:cubicBezTo>
                    <a:pt x="2441" y="108"/>
                    <a:pt x="2334" y="1"/>
                    <a:pt x="2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4" name="Google Shape;12304;p62"/>
            <p:cNvSpPr/>
            <p:nvPr/>
          </p:nvSpPr>
          <p:spPr>
            <a:xfrm>
              <a:off x="8161690" y="1664598"/>
              <a:ext cx="153396" cy="195474"/>
            </a:xfrm>
            <a:custGeom>
              <a:avLst/>
              <a:gdLst/>
              <a:ahLst/>
              <a:cxnLst/>
              <a:rect l="l" t="t" r="r" b="b"/>
              <a:pathLst>
                <a:path w="4823" h="6146" extrusionOk="0">
                  <a:moveTo>
                    <a:pt x="1264" y="1"/>
                  </a:moveTo>
                  <a:cubicBezTo>
                    <a:pt x="1234" y="1"/>
                    <a:pt x="1204" y="8"/>
                    <a:pt x="1179" y="25"/>
                  </a:cubicBezTo>
                  <a:cubicBezTo>
                    <a:pt x="1167" y="49"/>
                    <a:pt x="1155" y="61"/>
                    <a:pt x="1119" y="61"/>
                  </a:cubicBezTo>
                  <a:cubicBezTo>
                    <a:pt x="762" y="311"/>
                    <a:pt x="572" y="716"/>
                    <a:pt x="572" y="1192"/>
                  </a:cubicBezTo>
                  <a:cubicBezTo>
                    <a:pt x="572" y="1430"/>
                    <a:pt x="619" y="1668"/>
                    <a:pt x="703" y="1871"/>
                  </a:cubicBezTo>
                  <a:cubicBezTo>
                    <a:pt x="822" y="2157"/>
                    <a:pt x="774" y="2490"/>
                    <a:pt x="572" y="2728"/>
                  </a:cubicBezTo>
                  <a:cubicBezTo>
                    <a:pt x="214" y="3145"/>
                    <a:pt x="0" y="3692"/>
                    <a:pt x="0" y="4240"/>
                  </a:cubicBezTo>
                  <a:cubicBezTo>
                    <a:pt x="0" y="4824"/>
                    <a:pt x="226" y="5312"/>
                    <a:pt x="643" y="5633"/>
                  </a:cubicBezTo>
                  <a:cubicBezTo>
                    <a:pt x="1012" y="5931"/>
                    <a:pt x="1536" y="6109"/>
                    <a:pt x="2143" y="6145"/>
                  </a:cubicBezTo>
                  <a:lnTo>
                    <a:pt x="2679" y="6145"/>
                  </a:lnTo>
                  <a:cubicBezTo>
                    <a:pt x="3298" y="6109"/>
                    <a:pt x="3810" y="5931"/>
                    <a:pt x="4191" y="5633"/>
                  </a:cubicBezTo>
                  <a:cubicBezTo>
                    <a:pt x="4608" y="5300"/>
                    <a:pt x="4822" y="4824"/>
                    <a:pt x="4822" y="4240"/>
                  </a:cubicBezTo>
                  <a:cubicBezTo>
                    <a:pt x="4810" y="3681"/>
                    <a:pt x="4620" y="3145"/>
                    <a:pt x="4251" y="2728"/>
                  </a:cubicBezTo>
                  <a:cubicBezTo>
                    <a:pt x="4036" y="2478"/>
                    <a:pt x="4001" y="2157"/>
                    <a:pt x="4120" y="1871"/>
                  </a:cubicBezTo>
                  <a:cubicBezTo>
                    <a:pt x="4203" y="1657"/>
                    <a:pt x="4251" y="1430"/>
                    <a:pt x="4251" y="1192"/>
                  </a:cubicBezTo>
                  <a:cubicBezTo>
                    <a:pt x="4251" y="716"/>
                    <a:pt x="4060" y="323"/>
                    <a:pt x="3703" y="61"/>
                  </a:cubicBezTo>
                  <a:cubicBezTo>
                    <a:pt x="3679" y="37"/>
                    <a:pt x="3667" y="25"/>
                    <a:pt x="3655" y="25"/>
                  </a:cubicBezTo>
                  <a:cubicBezTo>
                    <a:pt x="3630" y="8"/>
                    <a:pt x="3600" y="1"/>
                    <a:pt x="3570" y="1"/>
                  </a:cubicBezTo>
                  <a:cubicBezTo>
                    <a:pt x="3516" y="1"/>
                    <a:pt x="3460" y="27"/>
                    <a:pt x="3429" y="73"/>
                  </a:cubicBezTo>
                  <a:cubicBezTo>
                    <a:pt x="3382" y="144"/>
                    <a:pt x="3405" y="252"/>
                    <a:pt x="3477" y="299"/>
                  </a:cubicBezTo>
                  <a:cubicBezTo>
                    <a:pt x="3489" y="311"/>
                    <a:pt x="3501" y="311"/>
                    <a:pt x="3524" y="323"/>
                  </a:cubicBezTo>
                  <a:cubicBezTo>
                    <a:pt x="3798" y="514"/>
                    <a:pt x="3941" y="811"/>
                    <a:pt x="3941" y="1192"/>
                  </a:cubicBezTo>
                  <a:cubicBezTo>
                    <a:pt x="3941" y="1383"/>
                    <a:pt x="3894" y="1573"/>
                    <a:pt x="3822" y="1752"/>
                  </a:cubicBezTo>
                  <a:cubicBezTo>
                    <a:pt x="3655" y="2157"/>
                    <a:pt x="3727" y="2597"/>
                    <a:pt x="4013" y="2930"/>
                  </a:cubicBezTo>
                  <a:cubicBezTo>
                    <a:pt x="4322" y="3288"/>
                    <a:pt x="4489" y="3764"/>
                    <a:pt x="4489" y="4240"/>
                  </a:cubicBezTo>
                  <a:cubicBezTo>
                    <a:pt x="4489" y="4728"/>
                    <a:pt x="4310" y="5121"/>
                    <a:pt x="3977" y="5407"/>
                  </a:cubicBezTo>
                  <a:cubicBezTo>
                    <a:pt x="3667" y="5657"/>
                    <a:pt x="3203" y="5824"/>
                    <a:pt x="2667" y="5836"/>
                  </a:cubicBezTo>
                  <a:lnTo>
                    <a:pt x="2167" y="5836"/>
                  </a:lnTo>
                  <a:cubicBezTo>
                    <a:pt x="1631" y="5800"/>
                    <a:pt x="1167" y="5657"/>
                    <a:pt x="857" y="5407"/>
                  </a:cubicBezTo>
                  <a:cubicBezTo>
                    <a:pt x="512" y="5121"/>
                    <a:pt x="345" y="4728"/>
                    <a:pt x="345" y="4240"/>
                  </a:cubicBezTo>
                  <a:cubicBezTo>
                    <a:pt x="345" y="3764"/>
                    <a:pt x="524" y="3300"/>
                    <a:pt x="822" y="2930"/>
                  </a:cubicBezTo>
                  <a:cubicBezTo>
                    <a:pt x="1107" y="2597"/>
                    <a:pt x="1179" y="2157"/>
                    <a:pt x="1012" y="1752"/>
                  </a:cubicBezTo>
                  <a:cubicBezTo>
                    <a:pt x="941" y="1573"/>
                    <a:pt x="905" y="1383"/>
                    <a:pt x="905" y="1192"/>
                  </a:cubicBezTo>
                  <a:cubicBezTo>
                    <a:pt x="905" y="811"/>
                    <a:pt x="1036" y="514"/>
                    <a:pt x="1310" y="323"/>
                  </a:cubicBezTo>
                  <a:cubicBezTo>
                    <a:pt x="1334" y="311"/>
                    <a:pt x="1346" y="311"/>
                    <a:pt x="1357" y="299"/>
                  </a:cubicBezTo>
                  <a:cubicBezTo>
                    <a:pt x="1429" y="252"/>
                    <a:pt x="1453" y="144"/>
                    <a:pt x="1405" y="73"/>
                  </a:cubicBezTo>
                  <a:cubicBezTo>
                    <a:pt x="1374" y="27"/>
                    <a:pt x="1319" y="1"/>
                    <a:pt x="12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5" name="Google Shape;12305;p62"/>
            <p:cNvSpPr/>
            <p:nvPr/>
          </p:nvSpPr>
          <p:spPr>
            <a:xfrm>
              <a:off x="8201828" y="1509008"/>
              <a:ext cx="73851" cy="181034"/>
            </a:xfrm>
            <a:custGeom>
              <a:avLst/>
              <a:gdLst/>
              <a:ahLst/>
              <a:cxnLst/>
              <a:rect l="l" t="t" r="r" b="b"/>
              <a:pathLst>
                <a:path w="2322" h="5692" extrusionOk="0">
                  <a:moveTo>
                    <a:pt x="1608" y="322"/>
                  </a:moveTo>
                  <a:lnTo>
                    <a:pt x="1500" y="1488"/>
                  </a:lnTo>
                  <a:lnTo>
                    <a:pt x="798" y="1488"/>
                  </a:lnTo>
                  <a:lnTo>
                    <a:pt x="691" y="322"/>
                  </a:lnTo>
                  <a:close/>
                  <a:moveTo>
                    <a:pt x="1286" y="1810"/>
                  </a:moveTo>
                  <a:lnTo>
                    <a:pt x="1429" y="5394"/>
                  </a:lnTo>
                  <a:lnTo>
                    <a:pt x="857" y="5394"/>
                  </a:lnTo>
                  <a:lnTo>
                    <a:pt x="988" y="1810"/>
                  </a:lnTo>
                  <a:close/>
                  <a:moveTo>
                    <a:pt x="679" y="0"/>
                  </a:moveTo>
                  <a:cubicBezTo>
                    <a:pt x="596" y="0"/>
                    <a:pt x="512" y="24"/>
                    <a:pt x="453" y="95"/>
                  </a:cubicBezTo>
                  <a:cubicBezTo>
                    <a:pt x="393" y="155"/>
                    <a:pt x="369" y="250"/>
                    <a:pt x="381" y="333"/>
                  </a:cubicBezTo>
                  <a:lnTo>
                    <a:pt x="381" y="369"/>
                  </a:lnTo>
                  <a:lnTo>
                    <a:pt x="155" y="369"/>
                  </a:lnTo>
                  <a:cubicBezTo>
                    <a:pt x="72" y="369"/>
                    <a:pt x="0" y="441"/>
                    <a:pt x="0" y="536"/>
                  </a:cubicBezTo>
                  <a:cubicBezTo>
                    <a:pt x="0" y="619"/>
                    <a:pt x="72" y="691"/>
                    <a:pt x="155" y="691"/>
                  </a:cubicBezTo>
                  <a:lnTo>
                    <a:pt x="393" y="691"/>
                  </a:lnTo>
                  <a:lnTo>
                    <a:pt x="441" y="1155"/>
                  </a:lnTo>
                  <a:lnTo>
                    <a:pt x="203" y="1155"/>
                  </a:lnTo>
                  <a:cubicBezTo>
                    <a:pt x="119" y="1155"/>
                    <a:pt x="36" y="1226"/>
                    <a:pt x="36" y="1322"/>
                  </a:cubicBezTo>
                  <a:cubicBezTo>
                    <a:pt x="36" y="1405"/>
                    <a:pt x="119" y="1488"/>
                    <a:pt x="203" y="1488"/>
                  </a:cubicBezTo>
                  <a:lnTo>
                    <a:pt x="465" y="1488"/>
                  </a:lnTo>
                  <a:lnTo>
                    <a:pt x="465" y="1524"/>
                  </a:lnTo>
                  <a:cubicBezTo>
                    <a:pt x="488" y="1643"/>
                    <a:pt x="560" y="1750"/>
                    <a:pt x="667" y="1786"/>
                  </a:cubicBezTo>
                  <a:lnTo>
                    <a:pt x="524" y="5441"/>
                  </a:lnTo>
                  <a:cubicBezTo>
                    <a:pt x="524" y="5513"/>
                    <a:pt x="560" y="5572"/>
                    <a:pt x="607" y="5620"/>
                  </a:cubicBezTo>
                  <a:cubicBezTo>
                    <a:pt x="643" y="5667"/>
                    <a:pt x="703" y="5691"/>
                    <a:pt x="786" y="5691"/>
                  </a:cubicBezTo>
                  <a:lnTo>
                    <a:pt x="1512" y="5691"/>
                  </a:lnTo>
                  <a:cubicBezTo>
                    <a:pt x="1584" y="5691"/>
                    <a:pt x="1643" y="5667"/>
                    <a:pt x="1691" y="5620"/>
                  </a:cubicBezTo>
                  <a:cubicBezTo>
                    <a:pt x="1739" y="5572"/>
                    <a:pt x="1762" y="5501"/>
                    <a:pt x="1762" y="5441"/>
                  </a:cubicBezTo>
                  <a:lnTo>
                    <a:pt x="1631" y="1786"/>
                  </a:lnTo>
                  <a:cubicBezTo>
                    <a:pt x="1739" y="1738"/>
                    <a:pt x="1810" y="1643"/>
                    <a:pt x="1822" y="1524"/>
                  </a:cubicBezTo>
                  <a:lnTo>
                    <a:pt x="1822" y="1488"/>
                  </a:lnTo>
                  <a:lnTo>
                    <a:pt x="2096" y="1488"/>
                  </a:lnTo>
                  <a:cubicBezTo>
                    <a:pt x="2179" y="1488"/>
                    <a:pt x="2251" y="1405"/>
                    <a:pt x="2251" y="1322"/>
                  </a:cubicBezTo>
                  <a:cubicBezTo>
                    <a:pt x="2251" y="1226"/>
                    <a:pt x="2203" y="1155"/>
                    <a:pt x="2108" y="1155"/>
                  </a:cubicBezTo>
                  <a:lnTo>
                    <a:pt x="1870" y="1155"/>
                  </a:lnTo>
                  <a:lnTo>
                    <a:pt x="1917" y="691"/>
                  </a:lnTo>
                  <a:lnTo>
                    <a:pt x="2155" y="691"/>
                  </a:lnTo>
                  <a:cubicBezTo>
                    <a:pt x="2239" y="691"/>
                    <a:pt x="2322" y="619"/>
                    <a:pt x="2322" y="536"/>
                  </a:cubicBezTo>
                  <a:cubicBezTo>
                    <a:pt x="2322" y="441"/>
                    <a:pt x="2239" y="369"/>
                    <a:pt x="2155" y="369"/>
                  </a:cubicBezTo>
                  <a:lnTo>
                    <a:pt x="1929" y="369"/>
                  </a:lnTo>
                  <a:lnTo>
                    <a:pt x="1929" y="333"/>
                  </a:lnTo>
                  <a:cubicBezTo>
                    <a:pt x="1941" y="250"/>
                    <a:pt x="1917" y="179"/>
                    <a:pt x="1858" y="95"/>
                  </a:cubicBezTo>
                  <a:cubicBezTo>
                    <a:pt x="1798" y="36"/>
                    <a:pt x="1727" y="0"/>
                    <a:pt x="1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06" name="Google Shape;12306;p62"/>
          <p:cNvGrpSpPr/>
          <p:nvPr/>
        </p:nvGrpSpPr>
        <p:grpSpPr>
          <a:xfrm>
            <a:off x="6746940" y="1508881"/>
            <a:ext cx="213221" cy="352304"/>
            <a:chOff x="6746940" y="1508881"/>
            <a:chExt cx="213221" cy="352304"/>
          </a:xfrm>
        </p:grpSpPr>
        <p:sp>
          <p:nvSpPr>
            <p:cNvPr id="12307" name="Google Shape;12307;p62"/>
            <p:cNvSpPr/>
            <p:nvPr/>
          </p:nvSpPr>
          <p:spPr>
            <a:xfrm>
              <a:off x="6805238" y="1661227"/>
              <a:ext cx="10655" cy="10241"/>
            </a:xfrm>
            <a:custGeom>
              <a:avLst/>
              <a:gdLst/>
              <a:ahLst/>
              <a:cxnLst/>
              <a:rect l="l" t="t" r="r" b="b"/>
              <a:pathLst>
                <a:path w="33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cubicBezTo>
                    <a:pt x="251" y="322"/>
                    <a:pt x="334" y="250"/>
                    <a:pt x="334" y="167"/>
                  </a:cubicBez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8" name="Google Shape;12308;p62"/>
            <p:cNvSpPr/>
            <p:nvPr/>
          </p:nvSpPr>
          <p:spPr>
            <a:xfrm>
              <a:off x="6804125" y="1706294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262" y="322"/>
                    <a:pt x="334" y="250"/>
                    <a:pt x="334" y="155"/>
                  </a:cubicBez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9" name="Google Shape;12309;p62"/>
            <p:cNvSpPr/>
            <p:nvPr/>
          </p:nvSpPr>
          <p:spPr>
            <a:xfrm>
              <a:off x="6803362" y="1754002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cubicBezTo>
                    <a:pt x="250" y="322"/>
                    <a:pt x="334" y="250"/>
                    <a:pt x="334" y="167"/>
                  </a:cubicBez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0" name="Google Shape;12310;p62"/>
            <p:cNvSpPr/>
            <p:nvPr/>
          </p:nvSpPr>
          <p:spPr>
            <a:xfrm>
              <a:off x="6746940" y="1508881"/>
              <a:ext cx="213221" cy="352304"/>
            </a:xfrm>
            <a:custGeom>
              <a:avLst/>
              <a:gdLst/>
              <a:ahLst/>
              <a:cxnLst/>
              <a:rect l="l" t="t" r="r" b="b"/>
              <a:pathLst>
                <a:path w="6704" h="11077" extrusionOk="0">
                  <a:moveTo>
                    <a:pt x="4072" y="3897"/>
                  </a:moveTo>
                  <a:lnTo>
                    <a:pt x="4822" y="4886"/>
                  </a:lnTo>
                  <a:lnTo>
                    <a:pt x="5453" y="5683"/>
                  </a:lnTo>
                  <a:cubicBezTo>
                    <a:pt x="4703" y="6302"/>
                    <a:pt x="4263" y="7243"/>
                    <a:pt x="4263" y="8231"/>
                  </a:cubicBezTo>
                  <a:lnTo>
                    <a:pt x="4263" y="8612"/>
                  </a:lnTo>
                  <a:lnTo>
                    <a:pt x="3298" y="8612"/>
                  </a:lnTo>
                  <a:lnTo>
                    <a:pt x="3298" y="6029"/>
                  </a:lnTo>
                  <a:cubicBezTo>
                    <a:pt x="3298" y="5493"/>
                    <a:pt x="3441" y="4969"/>
                    <a:pt x="3715" y="4505"/>
                  </a:cubicBezTo>
                  <a:lnTo>
                    <a:pt x="4072" y="3897"/>
                  </a:lnTo>
                  <a:close/>
                  <a:moveTo>
                    <a:pt x="4263" y="8934"/>
                  </a:moveTo>
                  <a:lnTo>
                    <a:pt x="4263" y="9374"/>
                  </a:lnTo>
                  <a:cubicBezTo>
                    <a:pt x="4263" y="10124"/>
                    <a:pt x="3656" y="10732"/>
                    <a:pt x="2906" y="10732"/>
                  </a:cubicBezTo>
                  <a:cubicBezTo>
                    <a:pt x="2536" y="10732"/>
                    <a:pt x="2191" y="10577"/>
                    <a:pt x="1941" y="10315"/>
                  </a:cubicBezTo>
                  <a:cubicBezTo>
                    <a:pt x="1691" y="10041"/>
                    <a:pt x="1548" y="9684"/>
                    <a:pt x="1572" y="9315"/>
                  </a:cubicBezTo>
                  <a:lnTo>
                    <a:pt x="1584" y="8934"/>
                  </a:lnTo>
                  <a:lnTo>
                    <a:pt x="2239" y="8934"/>
                  </a:lnTo>
                  <a:lnTo>
                    <a:pt x="2239" y="9005"/>
                  </a:lnTo>
                  <a:cubicBezTo>
                    <a:pt x="2239" y="9279"/>
                    <a:pt x="2477" y="9529"/>
                    <a:pt x="2763" y="9541"/>
                  </a:cubicBezTo>
                  <a:cubicBezTo>
                    <a:pt x="2894" y="9541"/>
                    <a:pt x="3025" y="9493"/>
                    <a:pt x="3132" y="9386"/>
                  </a:cubicBezTo>
                  <a:cubicBezTo>
                    <a:pt x="3239" y="9291"/>
                    <a:pt x="3298" y="9148"/>
                    <a:pt x="3298" y="9005"/>
                  </a:cubicBezTo>
                  <a:lnTo>
                    <a:pt x="3298" y="8934"/>
                  </a:lnTo>
                  <a:close/>
                  <a:moveTo>
                    <a:pt x="1602" y="0"/>
                  </a:moveTo>
                  <a:cubicBezTo>
                    <a:pt x="1462" y="0"/>
                    <a:pt x="1323" y="33"/>
                    <a:pt x="1191" y="99"/>
                  </a:cubicBezTo>
                  <a:lnTo>
                    <a:pt x="548" y="421"/>
                  </a:lnTo>
                  <a:lnTo>
                    <a:pt x="167" y="421"/>
                  </a:lnTo>
                  <a:cubicBezTo>
                    <a:pt x="84" y="421"/>
                    <a:pt x="0" y="492"/>
                    <a:pt x="0" y="576"/>
                  </a:cubicBezTo>
                  <a:cubicBezTo>
                    <a:pt x="0" y="671"/>
                    <a:pt x="84" y="742"/>
                    <a:pt x="167" y="742"/>
                  </a:cubicBezTo>
                  <a:lnTo>
                    <a:pt x="1048" y="742"/>
                  </a:lnTo>
                  <a:lnTo>
                    <a:pt x="1393" y="754"/>
                  </a:lnTo>
                  <a:cubicBezTo>
                    <a:pt x="1524" y="790"/>
                    <a:pt x="1632" y="909"/>
                    <a:pt x="1632" y="1052"/>
                  </a:cubicBezTo>
                  <a:lnTo>
                    <a:pt x="1596" y="1647"/>
                  </a:lnTo>
                  <a:cubicBezTo>
                    <a:pt x="1596" y="1742"/>
                    <a:pt x="1655" y="1814"/>
                    <a:pt x="1739" y="1814"/>
                  </a:cubicBezTo>
                  <a:cubicBezTo>
                    <a:pt x="1834" y="1814"/>
                    <a:pt x="1905" y="1754"/>
                    <a:pt x="1905" y="1671"/>
                  </a:cubicBezTo>
                  <a:lnTo>
                    <a:pt x="1941" y="1076"/>
                  </a:lnTo>
                  <a:cubicBezTo>
                    <a:pt x="1953" y="754"/>
                    <a:pt x="1727" y="492"/>
                    <a:pt x="1417" y="445"/>
                  </a:cubicBezTo>
                  <a:lnTo>
                    <a:pt x="1286" y="445"/>
                  </a:lnTo>
                  <a:lnTo>
                    <a:pt x="1358" y="421"/>
                  </a:lnTo>
                  <a:cubicBezTo>
                    <a:pt x="1448" y="376"/>
                    <a:pt x="1546" y="352"/>
                    <a:pt x="1643" y="352"/>
                  </a:cubicBezTo>
                  <a:cubicBezTo>
                    <a:pt x="1751" y="352"/>
                    <a:pt x="1859" y="382"/>
                    <a:pt x="1953" y="445"/>
                  </a:cubicBezTo>
                  <a:cubicBezTo>
                    <a:pt x="2132" y="552"/>
                    <a:pt x="2239" y="730"/>
                    <a:pt x="2251" y="933"/>
                  </a:cubicBezTo>
                  <a:lnTo>
                    <a:pt x="2251" y="968"/>
                  </a:lnTo>
                  <a:lnTo>
                    <a:pt x="2251" y="3219"/>
                  </a:lnTo>
                  <a:lnTo>
                    <a:pt x="2251" y="8648"/>
                  </a:lnTo>
                  <a:lnTo>
                    <a:pt x="1608" y="8648"/>
                  </a:lnTo>
                  <a:lnTo>
                    <a:pt x="1894" y="2445"/>
                  </a:lnTo>
                  <a:cubicBezTo>
                    <a:pt x="1894" y="2350"/>
                    <a:pt x="1834" y="2278"/>
                    <a:pt x="1751" y="2278"/>
                  </a:cubicBezTo>
                  <a:cubicBezTo>
                    <a:pt x="1655" y="2278"/>
                    <a:pt x="1584" y="2338"/>
                    <a:pt x="1584" y="2421"/>
                  </a:cubicBezTo>
                  <a:lnTo>
                    <a:pt x="1393" y="6648"/>
                  </a:lnTo>
                  <a:lnTo>
                    <a:pt x="1155" y="6648"/>
                  </a:lnTo>
                  <a:lnTo>
                    <a:pt x="1155" y="6469"/>
                  </a:lnTo>
                  <a:cubicBezTo>
                    <a:pt x="1155" y="6386"/>
                    <a:pt x="1072" y="6314"/>
                    <a:pt x="989" y="6314"/>
                  </a:cubicBezTo>
                  <a:cubicBezTo>
                    <a:pt x="893" y="6314"/>
                    <a:pt x="822" y="6386"/>
                    <a:pt x="822" y="6469"/>
                  </a:cubicBezTo>
                  <a:lnTo>
                    <a:pt x="822" y="7160"/>
                  </a:lnTo>
                  <a:cubicBezTo>
                    <a:pt x="822" y="7243"/>
                    <a:pt x="893" y="7326"/>
                    <a:pt x="989" y="7326"/>
                  </a:cubicBezTo>
                  <a:cubicBezTo>
                    <a:pt x="1072" y="7326"/>
                    <a:pt x="1155" y="7243"/>
                    <a:pt x="1155" y="7160"/>
                  </a:cubicBezTo>
                  <a:lnTo>
                    <a:pt x="1155" y="6981"/>
                  </a:lnTo>
                  <a:lnTo>
                    <a:pt x="1370" y="6981"/>
                  </a:lnTo>
                  <a:lnTo>
                    <a:pt x="1334" y="7946"/>
                  </a:lnTo>
                  <a:lnTo>
                    <a:pt x="1155" y="7946"/>
                  </a:lnTo>
                  <a:lnTo>
                    <a:pt x="1155" y="7743"/>
                  </a:lnTo>
                  <a:cubicBezTo>
                    <a:pt x="1155" y="7648"/>
                    <a:pt x="1072" y="7576"/>
                    <a:pt x="989" y="7576"/>
                  </a:cubicBezTo>
                  <a:cubicBezTo>
                    <a:pt x="893" y="7576"/>
                    <a:pt x="822" y="7648"/>
                    <a:pt x="822" y="7743"/>
                  </a:cubicBezTo>
                  <a:lnTo>
                    <a:pt x="822" y="8422"/>
                  </a:lnTo>
                  <a:cubicBezTo>
                    <a:pt x="822" y="8517"/>
                    <a:pt x="893" y="8588"/>
                    <a:pt x="989" y="8588"/>
                  </a:cubicBezTo>
                  <a:cubicBezTo>
                    <a:pt x="1072" y="8588"/>
                    <a:pt x="1155" y="8517"/>
                    <a:pt x="1155" y="8422"/>
                  </a:cubicBezTo>
                  <a:lnTo>
                    <a:pt x="1155" y="8243"/>
                  </a:lnTo>
                  <a:lnTo>
                    <a:pt x="1310" y="8243"/>
                  </a:lnTo>
                  <a:lnTo>
                    <a:pt x="1274" y="9315"/>
                  </a:lnTo>
                  <a:cubicBezTo>
                    <a:pt x="1251" y="9779"/>
                    <a:pt x="1417" y="10208"/>
                    <a:pt x="1727" y="10553"/>
                  </a:cubicBezTo>
                  <a:cubicBezTo>
                    <a:pt x="2048" y="10874"/>
                    <a:pt x="2477" y="11077"/>
                    <a:pt x="2941" y="11077"/>
                  </a:cubicBezTo>
                  <a:cubicBezTo>
                    <a:pt x="3858" y="11077"/>
                    <a:pt x="4608" y="10327"/>
                    <a:pt x="4608" y="9410"/>
                  </a:cubicBezTo>
                  <a:lnTo>
                    <a:pt x="4608" y="8243"/>
                  </a:lnTo>
                  <a:cubicBezTo>
                    <a:pt x="4608" y="7362"/>
                    <a:pt x="5001" y="6529"/>
                    <a:pt x="5680" y="5969"/>
                  </a:cubicBezTo>
                  <a:lnTo>
                    <a:pt x="5680" y="5981"/>
                  </a:lnTo>
                  <a:cubicBezTo>
                    <a:pt x="5763" y="6100"/>
                    <a:pt x="5894" y="6172"/>
                    <a:pt x="6049" y="6195"/>
                  </a:cubicBezTo>
                  <a:lnTo>
                    <a:pt x="6120" y="6195"/>
                  </a:lnTo>
                  <a:cubicBezTo>
                    <a:pt x="6239" y="6195"/>
                    <a:pt x="6358" y="6148"/>
                    <a:pt x="6466" y="6076"/>
                  </a:cubicBezTo>
                  <a:cubicBezTo>
                    <a:pt x="6668" y="5862"/>
                    <a:pt x="6704" y="5517"/>
                    <a:pt x="6525" y="5279"/>
                  </a:cubicBezTo>
                  <a:lnTo>
                    <a:pt x="6108" y="4743"/>
                  </a:lnTo>
                  <a:cubicBezTo>
                    <a:pt x="6075" y="4702"/>
                    <a:pt x="6029" y="4681"/>
                    <a:pt x="5983" y="4681"/>
                  </a:cubicBezTo>
                  <a:cubicBezTo>
                    <a:pt x="5948" y="4681"/>
                    <a:pt x="5913" y="4693"/>
                    <a:pt x="5882" y="4719"/>
                  </a:cubicBezTo>
                  <a:cubicBezTo>
                    <a:pt x="5811" y="4778"/>
                    <a:pt x="5799" y="4862"/>
                    <a:pt x="5858" y="4945"/>
                  </a:cubicBezTo>
                  <a:lnTo>
                    <a:pt x="6275" y="5481"/>
                  </a:lnTo>
                  <a:cubicBezTo>
                    <a:pt x="6346" y="5576"/>
                    <a:pt x="6335" y="5719"/>
                    <a:pt x="6227" y="5791"/>
                  </a:cubicBezTo>
                  <a:cubicBezTo>
                    <a:pt x="6186" y="5811"/>
                    <a:pt x="6136" y="5840"/>
                    <a:pt x="6085" y="5840"/>
                  </a:cubicBezTo>
                  <a:cubicBezTo>
                    <a:pt x="6077" y="5840"/>
                    <a:pt x="6069" y="5840"/>
                    <a:pt x="6061" y="5838"/>
                  </a:cubicBezTo>
                  <a:cubicBezTo>
                    <a:pt x="6001" y="5814"/>
                    <a:pt x="5942" y="5791"/>
                    <a:pt x="5918" y="5743"/>
                  </a:cubicBezTo>
                  <a:lnTo>
                    <a:pt x="4561" y="3969"/>
                  </a:lnTo>
                  <a:lnTo>
                    <a:pt x="4191" y="3493"/>
                  </a:lnTo>
                  <a:lnTo>
                    <a:pt x="4025" y="3290"/>
                  </a:lnTo>
                  <a:cubicBezTo>
                    <a:pt x="3953" y="3183"/>
                    <a:pt x="3965" y="3052"/>
                    <a:pt x="4072" y="2981"/>
                  </a:cubicBezTo>
                  <a:cubicBezTo>
                    <a:pt x="4102" y="2951"/>
                    <a:pt x="4147" y="2930"/>
                    <a:pt x="4196" y="2930"/>
                  </a:cubicBezTo>
                  <a:cubicBezTo>
                    <a:pt x="4206" y="2930"/>
                    <a:pt x="4217" y="2931"/>
                    <a:pt x="4227" y="2933"/>
                  </a:cubicBezTo>
                  <a:cubicBezTo>
                    <a:pt x="4287" y="2945"/>
                    <a:pt x="4346" y="2981"/>
                    <a:pt x="4382" y="3016"/>
                  </a:cubicBezTo>
                  <a:lnTo>
                    <a:pt x="5394" y="4350"/>
                  </a:lnTo>
                  <a:cubicBezTo>
                    <a:pt x="5428" y="4390"/>
                    <a:pt x="5469" y="4412"/>
                    <a:pt x="5514" y="4412"/>
                  </a:cubicBezTo>
                  <a:cubicBezTo>
                    <a:pt x="5548" y="4412"/>
                    <a:pt x="5584" y="4399"/>
                    <a:pt x="5620" y="4374"/>
                  </a:cubicBezTo>
                  <a:cubicBezTo>
                    <a:pt x="5692" y="4314"/>
                    <a:pt x="5704" y="4231"/>
                    <a:pt x="5644" y="4147"/>
                  </a:cubicBezTo>
                  <a:lnTo>
                    <a:pt x="4632" y="2826"/>
                  </a:lnTo>
                  <a:cubicBezTo>
                    <a:pt x="4549" y="2707"/>
                    <a:pt x="4406" y="2635"/>
                    <a:pt x="4263" y="2623"/>
                  </a:cubicBezTo>
                  <a:cubicBezTo>
                    <a:pt x="4231" y="2619"/>
                    <a:pt x="4201" y="2616"/>
                    <a:pt x="4171" y="2616"/>
                  </a:cubicBezTo>
                  <a:cubicBezTo>
                    <a:pt x="4055" y="2616"/>
                    <a:pt x="3953" y="2652"/>
                    <a:pt x="3858" y="2719"/>
                  </a:cubicBezTo>
                  <a:cubicBezTo>
                    <a:pt x="3620" y="2897"/>
                    <a:pt x="3572" y="3254"/>
                    <a:pt x="3751" y="3493"/>
                  </a:cubicBezTo>
                  <a:lnTo>
                    <a:pt x="3846" y="3612"/>
                  </a:lnTo>
                  <a:lnTo>
                    <a:pt x="3418" y="4326"/>
                  </a:lnTo>
                  <a:cubicBezTo>
                    <a:pt x="3120" y="4838"/>
                    <a:pt x="2953" y="5421"/>
                    <a:pt x="2953" y="6017"/>
                  </a:cubicBezTo>
                  <a:lnTo>
                    <a:pt x="2953" y="9005"/>
                  </a:lnTo>
                  <a:cubicBezTo>
                    <a:pt x="2953" y="9065"/>
                    <a:pt x="2917" y="9124"/>
                    <a:pt x="2894" y="9172"/>
                  </a:cubicBezTo>
                  <a:cubicBezTo>
                    <a:pt x="2846" y="9208"/>
                    <a:pt x="2798" y="9231"/>
                    <a:pt x="2739" y="9231"/>
                  </a:cubicBezTo>
                  <a:cubicBezTo>
                    <a:pt x="2620" y="9231"/>
                    <a:pt x="2536" y="9136"/>
                    <a:pt x="2536" y="9017"/>
                  </a:cubicBezTo>
                  <a:lnTo>
                    <a:pt x="2536" y="4493"/>
                  </a:lnTo>
                  <a:lnTo>
                    <a:pt x="2715" y="4493"/>
                  </a:lnTo>
                  <a:lnTo>
                    <a:pt x="2715" y="4671"/>
                  </a:lnTo>
                  <a:cubicBezTo>
                    <a:pt x="2715" y="4767"/>
                    <a:pt x="2786" y="4838"/>
                    <a:pt x="2870" y="4838"/>
                  </a:cubicBezTo>
                  <a:cubicBezTo>
                    <a:pt x="2965" y="4838"/>
                    <a:pt x="3037" y="4767"/>
                    <a:pt x="3037" y="4671"/>
                  </a:cubicBezTo>
                  <a:lnTo>
                    <a:pt x="3037" y="3993"/>
                  </a:lnTo>
                  <a:cubicBezTo>
                    <a:pt x="3037" y="3897"/>
                    <a:pt x="2965" y="3826"/>
                    <a:pt x="2870" y="3826"/>
                  </a:cubicBezTo>
                  <a:cubicBezTo>
                    <a:pt x="2786" y="3826"/>
                    <a:pt x="2715" y="3897"/>
                    <a:pt x="2715" y="3993"/>
                  </a:cubicBezTo>
                  <a:lnTo>
                    <a:pt x="2715" y="4171"/>
                  </a:lnTo>
                  <a:lnTo>
                    <a:pt x="2536" y="4171"/>
                  </a:lnTo>
                  <a:lnTo>
                    <a:pt x="2536" y="3350"/>
                  </a:lnTo>
                  <a:lnTo>
                    <a:pt x="2715" y="3350"/>
                  </a:lnTo>
                  <a:lnTo>
                    <a:pt x="2715" y="3528"/>
                  </a:lnTo>
                  <a:cubicBezTo>
                    <a:pt x="2715" y="3612"/>
                    <a:pt x="2786" y="3695"/>
                    <a:pt x="2870" y="3695"/>
                  </a:cubicBezTo>
                  <a:cubicBezTo>
                    <a:pt x="2965" y="3695"/>
                    <a:pt x="3037" y="3612"/>
                    <a:pt x="3037" y="3528"/>
                  </a:cubicBezTo>
                  <a:lnTo>
                    <a:pt x="3037" y="2838"/>
                  </a:lnTo>
                  <a:cubicBezTo>
                    <a:pt x="3037" y="2754"/>
                    <a:pt x="2965" y="2683"/>
                    <a:pt x="2870" y="2683"/>
                  </a:cubicBezTo>
                  <a:cubicBezTo>
                    <a:pt x="2786" y="2683"/>
                    <a:pt x="2715" y="2754"/>
                    <a:pt x="2715" y="2838"/>
                  </a:cubicBezTo>
                  <a:lnTo>
                    <a:pt x="2715" y="3016"/>
                  </a:lnTo>
                  <a:lnTo>
                    <a:pt x="2536" y="3016"/>
                  </a:lnTo>
                  <a:lnTo>
                    <a:pt x="2536" y="921"/>
                  </a:lnTo>
                  <a:lnTo>
                    <a:pt x="2536" y="873"/>
                  </a:lnTo>
                  <a:cubicBezTo>
                    <a:pt x="2525" y="564"/>
                    <a:pt x="2358" y="278"/>
                    <a:pt x="2084" y="135"/>
                  </a:cubicBezTo>
                  <a:cubicBezTo>
                    <a:pt x="1930" y="45"/>
                    <a:pt x="1766" y="0"/>
                    <a:pt x="16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11" name="Google Shape;12311;p62"/>
          <p:cNvGrpSpPr/>
          <p:nvPr/>
        </p:nvGrpSpPr>
        <p:grpSpPr>
          <a:xfrm>
            <a:off x="5770336" y="2007615"/>
            <a:ext cx="350682" cy="292097"/>
            <a:chOff x="5770336" y="2007615"/>
            <a:chExt cx="350682" cy="292097"/>
          </a:xfrm>
        </p:grpSpPr>
        <p:sp>
          <p:nvSpPr>
            <p:cNvPr id="12312" name="Google Shape;12312;p62"/>
            <p:cNvSpPr/>
            <p:nvPr/>
          </p:nvSpPr>
          <p:spPr>
            <a:xfrm>
              <a:off x="5780545" y="2007615"/>
              <a:ext cx="329500" cy="75855"/>
            </a:xfrm>
            <a:custGeom>
              <a:avLst/>
              <a:gdLst/>
              <a:ahLst/>
              <a:cxnLst/>
              <a:rect l="l" t="t" r="r" b="b"/>
              <a:pathLst>
                <a:path w="10360" h="2385" extrusionOk="0">
                  <a:moveTo>
                    <a:pt x="245" y="1"/>
                  </a:moveTo>
                  <a:cubicBezTo>
                    <a:pt x="179" y="1"/>
                    <a:pt x="123" y="24"/>
                    <a:pt x="84" y="63"/>
                  </a:cubicBezTo>
                  <a:cubicBezTo>
                    <a:pt x="24" y="111"/>
                    <a:pt x="1" y="182"/>
                    <a:pt x="1" y="254"/>
                  </a:cubicBezTo>
                  <a:lnTo>
                    <a:pt x="1" y="2218"/>
                  </a:lnTo>
                  <a:cubicBezTo>
                    <a:pt x="1" y="2313"/>
                    <a:pt x="72" y="2385"/>
                    <a:pt x="167" y="2385"/>
                  </a:cubicBezTo>
                  <a:cubicBezTo>
                    <a:pt x="251" y="2385"/>
                    <a:pt x="322" y="2313"/>
                    <a:pt x="322" y="2218"/>
                  </a:cubicBezTo>
                  <a:lnTo>
                    <a:pt x="322" y="349"/>
                  </a:lnTo>
                  <a:cubicBezTo>
                    <a:pt x="977" y="456"/>
                    <a:pt x="2882" y="718"/>
                    <a:pt x="5180" y="718"/>
                  </a:cubicBezTo>
                  <a:cubicBezTo>
                    <a:pt x="7466" y="718"/>
                    <a:pt x="9371" y="456"/>
                    <a:pt x="10026" y="349"/>
                  </a:cubicBezTo>
                  <a:lnTo>
                    <a:pt x="10026" y="2218"/>
                  </a:lnTo>
                  <a:cubicBezTo>
                    <a:pt x="10026" y="2313"/>
                    <a:pt x="10097" y="2385"/>
                    <a:pt x="10192" y="2385"/>
                  </a:cubicBezTo>
                  <a:cubicBezTo>
                    <a:pt x="10276" y="2385"/>
                    <a:pt x="10359" y="2313"/>
                    <a:pt x="10359" y="2218"/>
                  </a:cubicBezTo>
                  <a:lnTo>
                    <a:pt x="10359" y="254"/>
                  </a:lnTo>
                  <a:cubicBezTo>
                    <a:pt x="10323" y="182"/>
                    <a:pt x="10300" y="111"/>
                    <a:pt x="10240" y="63"/>
                  </a:cubicBezTo>
                  <a:cubicBezTo>
                    <a:pt x="10191" y="24"/>
                    <a:pt x="10125" y="1"/>
                    <a:pt x="10077" y="1"/>
                  </a:cubicBezTo>
                  <a:cubicBezTo>
                    <a:pt x="10067" y="1"/>
                    <a:pt x="10058" y="2"/>
                    <a:pt x="10050" y="4"/>
                  </a:cubicBezTo>
                  <a:cubicBezTo>
                    <a:pt x="9657" y="63"/>
                    <a:pt x="7597" y="396"/>
                    <a:pt x="5168" y="396"/>
                  </a:cubicBezTo>
                  <a:cubicBezTo>
                    <a:pt x="2727" y="396"/>
                    <a:pt x="667" y="75"/>
                    <a:pt x="286" y="4"/>
                  </a:cubicBezTo>
                  <a:cubicBezTo>
                    <a:pt x="272" y="2"/>
                    <a:pt x="258" y="1"/>
                    <a:pt x="2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3" name="Google Shape;12313;p62"/>
            <p:cNvSpPr/>
            <p:nvPr/>
          </p:nvSpPr>
          <p:spPr>
            <a:xfrm>
              <a:off x="5779400" y="2097082"/>
              <a:ext cx="329500" cy="76014"/>
            </a:xfrm>
            <a:custGeom>
              <a:avLst/>
              <a:gdLst/>
              <a:ahLst/>
              <a:cxnLst/>
              <a:rect l="l" t="t" r="r" b="b"/>
              <a:pathLst>
                <a:path w="10360" h="2390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2132"/>
                  </a:lnTo>
                  <a:cubicBezTo>
                    <a:pt x="1" y="2203"/>
                    <a:pt x="37" y="2286"/>
                    <a:pt x="96" y="2322"/>
                  </a:cubicBezTo>
                  <a:cubicBezTo>
                    <a:pt x="144" y="2370"/>
                    <a:pt x="203" y="2382"/>
                    <a:pt x="263" y="2382"/>
                  </a:cubicBezTo>
                  <a:lnTo>
                    <a:pt x="299" y="2382"/>
                  </a:lnTo>
                  <a:cubicBezTo>
                    <a:pt x="692" y="2322"/>
                    <a:pt x="2739" y="2001"/>
                    <a:pt x="5180" y="2001"/>
                  </a:cubicBezTo>
                  <a:cubicBezTo>
                    <a:pt x="7621" y="2001"/>
                    <a:pt x="9681" y="2310"/>
                    <a:pt x="10062" y="2382"/>
                  </a:cubicBezTo>
                  <a:cubicBezTo>
                    <a:pt x="10080" y="2387"/>
                    <a:pt x="10098" y="2389"/>
                    <a:pt x="10115" y="2389"/>
                  </a:cubicBezTo>
                  <a:cubicBezTo>
                    <a:pt x="10175" y="2389"/>
                    <a:pt x="10227" y="2359"/>
                    <a:pt x="10264" y="2322"/>
                  </a:cubicBezTo>
                  <a:cubicBezTo>
                    <a:pt x="10324" y="2286"/>
                    <a:pt x="10347" y="2203"/>
                    <a:pt x="10347" y="2132"/>
                  </a:cubicBezTo>
                  <a:lnTo>
                    <a:pt x="10347" y="167"/>
                  </a:lnTo>
                  <a:cubicBezTo>
                    <a:pt x="10359" y="84"/>
                    <a:pt x="10288" y="0"/>
                    <a:pt x="10193" y="0"/>
                  </a:cubicBezTo>
                  <a:cubicBezTo>
                    <a:pt x="10109" y="0"/>
                    <a:pt x="10038" y="84"/>
                    <a:pt x="10038" y="167"/>
                  </a:cubicBezTo>
                  <a:lnTo>
                    <a:pt x="10038" y="2048"/>
                  </a:lnTo>
                  <a:cubicBezTo>
                    <a:pt x="9383" y="1941"/>
                    <a:pt x="7478" y="1667"/>
                    <a:pt x="5180" y="1667"/>
                  </a:cubicBezTo>
                  <a:cubicBezTo>
                    <a:pt x="2894" y="1667"/>
                    <a:pt x="989" y="1941"/>
                    <a:pt x="334" y="2048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4" name="Google Shape;12314;p62"/>
            <p:cNvSpPr/>
            <p:nvPr/>
          </p:nvSpPr>
          <p:spPr>
            <a:xfrm>
              <a:off x="5800996" y="2031850"/>
              <a:ext cx="288217" cy="117201"/>
            </a:xfrm>
            <a:custGeom>
              <a:avLst/>
              <a:gdLst/>
              <a:ahLst/>
              <a:cxnLst/>
              <a:rect l="l" t="t" r="r" b="b"/>
              <a:pathLst>
                <a:path w="9062" h="3685" extrusionOk="0">
                  <a:moveTo>
                    <a:pt x="8728" y="325"/>
                  </a:moveTo>
                  <a:lnTo>
                    <a:pt x="8728" y="3349"/>
                  </a:lnTo>
                  <a:cubicBezTo>
                    <a:pt x="7752" y="3218"/>
                    <a:pt x="6228" y="3087"/>
                    <a:pt x="4525" y="3087"/>
                  </a:cubicBezTo>
                  <a:cubicBezTo>
                    <a:pt x="2799" y="3087"/>
                    <a:pt x="1286" y="3230"/>
                    <a:pt x="310" y="3349"/>
                  </a:cubicBezTo>
                  <a:lnTo>
                    <a:pt x="310" y="325"/>
                  </a:lnTo>
                  <a:cubicBezTo>
                    <a:pt x="1275" y="444"/>
                    <a:pt x="2799" y="599"/>
                    <a:pt x="4525" y="599"/>
                  </a:cubicBezTo>
                  <a:cubicBezTo>
                    <a:pt x="6239" y="599"/>
                    <a:pt x="7752" y="444"/>
                    <a:pt x="8728" y="325"/>
                  </a:cubicBezTo>
                  <a:close/>
                  <a:moveTo>
                    <a:pt x="292" y="1"/>
                  </a:moveTo>
                  <a:cubicBezTo>
                    <a:pt x="220" y="1"/>
                    <a:pt x="145" y="25"/>
                    <a:pt x="96" y="75"/>
                  </a:cubicBezTo>
                  <a:cubicBezTo>
                    <a:pt x="36" y="135"/>
                    <a:pt x="1" y="230"/>
                    <a:pt x="1" y="313"/>
                  </a:cubicBezTo>
                  <a:lnTo>
                    <a:pt x="1" y="3361"/>
                  </a:lnTo>
                  <a:cubicBezTo>
                    <a:pt x="1" y="3456"/>
                    <a:pt x="36" y="3540"/>
                    <a:pt x="96" y="3599"/>
                  </a:cubicBezTo>
                  <a:cubicBezTo>
                    <a:pt x="155" y="3647"/>
                    <a:pt x="239" y="3683"/>
                    <a:pt x="310" y="3683"/>
                  </a:cubicBezTo>
                  <a:lnTo>
                    <a:pt x="358" y="3683"/>
                  </a:lnTo>
                  <a:cubicBezTo>
                    <a:pt x="1322" y="3564"/>
                    <a:pt x="2822" y="3409"/>
                    <a:pt x="4537" y="3409"/>
                  </a:cubicBezTo>
                  <a:cubicBezTo>
                    <a:pt x="6251" y="3409"/>
                    <a:pt x="7752" y="3564"/>
                    <a:pt x="8716" y="3683"/>
                  </a:cubicBezTo>
                  <a:cubicBezTo>
                    <a:pt x="8728" y="3684"/>
                    <a:pt x="8740" y="3685"/>
                    <a:pt x="8752" y="3685"/>
                  </a:cubicBezTo>
                  <a:cubicBezTo>
                    <a:pt x="8832" y="3685"/>
                    <a:pt x="8902" y="3651"/>
                    <a:pt x="8954" y="3599"/>
                  </a:cubicBezTo>
                  <a:cubicBezTo>
                    <a:pt x="9026" y="3540"/>
                    <a:pt x="9061" y="3456"/>
                    <a:pt x="9061" y="3361"/>
                  </a:cubicBezTo>
                  <a:lnTo>
                    <a:pt x="9061" y="313"/>
                  </a:lnTo>
                  <a:cubicBezTo>
                    <a:pt x="9049" y="230"/>
                    <a:pt x="9002" y="135"/>
                    <a:pt x="8942" y="75"/>
                  </a:cubicBezTo>
                  <a:cubicBezTo>
                    <a:pt x="8893" y="25"/>
                    <a:pt x="8818" y="1"/>
                    <a:pt x="8747" y="1"/>
                  </a:cubicBezTo>
                  <a:cubicBezTo>
                    <a:pt x="8732" y="1"/>
                    <a:pt x="8718" y="2"/>
                    <a:pt x="8704" y="4"/>
                  </a:cubicBezTo>
                  <a:cubicBezTo>
                    <a:pt x="7740" y="123"/>
                    <a:pt x="6228" y="266"/>
                    <a:pt x="4525" y="266"/>
                  </a:cubicBezTo>
                  <a:cubicBezTo>
                    <a:pt x="2810" y="266"/>
                    <a:pt x="1310" y="123"/>
                    <a:pt x="334" y="4"/>
                  </a:cubicBezTo>
                  <a:cubicBezTo>
                    <a:pt x="320" y="2"/>
                    <a:pt x="306" y="1"/>
                    <a:pt x="2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5" name="Google Shape;12315;p62"/>
            <p:cNvSpPr/>
            <p:nvPr/>
          </p:nvSpPr>
          <p:spPr>
            <a:xfrm>
              <a:off x="5770336" y="2186073"/>
              <a:ext cx="350682" cy="113639"/>
            </a:xfrm>
            <a:custGeom>
              <a:avLst/>
              <a:gdLst/>
              <a:ahLst/>
              <a:cxnLst/>
              <a:rect l="l" t="t" r="r" b="b"/>
              <a:pathLst>
                <a:path w="11026" h="3573" extrusionOk="0">
                  <a:moveTo>
                    <a:pt x="2965" y="334"/>
                  </a:moveTo>
                  <a:cubicBezTo>
                    <a:pt x="3179" y="334"/>
                    <a:pt x="3346" y="500"/>
                    <a:pt x="3346" y="703"/>
                  </a:cubicBezTo>
                  <a:lnTo>
                    <a:pt x="3346" y="1155"/>
                  </a:lnTo>
                  <a:lnTo>
                    <a:pt x="2953" y="1155"/>
                  </a:lnTo>
                  <a:cubicBezTo>
                    <a:pt x="2786" y="1179"/>
                    <a:pt x="2631" y="1274"/>
                    <a:pt x="2524" y="1393"/>
                  </a:cubicBezTo>
                  <a:cubicBezTo>
                    <a:pt x="2393" y="1239"/>
                    <a:pt x="2191" y="1132"/>
                    <a:pt x="1989" y="1132"/>
                  </a:cubicBezTo>
                  <a:lnTo>
                    <a:pt x="1703" y="1132"/>
                  </a:lnTo>
                  <a:lnTo>
                    <a:pt x="1703" y="703"/>
                  </a:lnTo>
                  <a:lnTo>
                    <a:pt x="1715" y="703"/>
                  </a:lnTo>
                  <a:cubicBezTo>
                    <a:pt x="1715" y="500"/>
                    <a:pt x="1881" y="334"/>
                    <a:pt x="2096" y="334"/>
                  </a:cubicBezTo>
                  <a:close/>
                  <a:moveTo>
                    <a:pt x="4929" y="334"/>
                  </a:moveTo>
                  <a:cubicBezTo>
                    <a:pt x="5144" y="334"/>
                    <a:pt x="5310" y="500"/>
                    <a:pt x="5310" y="703"/>
                  </a:cubicBezTo>
                  <a:lnTo>
                    <a:pt x="5310" y="1155"/>
                  </a:lnTo>
                  <a:lnTo>
                    <a:pt x="4917" y="1155"/>
                  </a:lnTo>
                  <a:cubicBezTo>
                    <a:pt x="4751" y="1179"/>
                    <a:pt x="4596" y="1274"/>
                    <a:pt x="4489" y="1393"/>
                  </a:cubicBezTo>
                  <a:cubicBezTo>
                    <a:pt x="4358" y="1239"/>
                    <a:pt x="4155" y="1132"/>
                    <a:pt x="3953" y="1132"/>
                  </a:cubicBezTo>
                  <a:lnTo>
                    <a:pt x="3667" y="1132"/>
                  </a:lnTo>
                  <a:lnTo>
                    <a:pt x="3667" y="703"/>
                  </a:lnTo>
                  <a:lnTo>
                    <a:pt x="3679" y="703"/>
                  </a:lnTo>
                  <a:cubicBezTo>
                    <a:pt x="3679" y="500"/>
                    <a:pt x="3846" y="334"/>
                    <a:pt x="4060" y="334"/>
                  </a:cubicBezTo>
                  <a:close/>
                  <a:moveTo>
                    <a:pt x="6894" y="334"/>
                  </a:moveTo>
                  <a:cubicBezTo>
                    <a:pt x="7108" y="334"/>
                    <a:pt x="7275" y="500"/>
                    <a:pt x="7275" y="703"/>
                  </a:cubicBezTo>
                  <a:lnTo>
                    <a:pt x="7275" y="1155"/>
                  </a:lnTo>
                  <a:lnTo>
                    <a:pt x="6811" y="1155"/>
                  </a:lnTo>
                  <a:cubicBezTo>
                    <a:pt x="6799" y="1155"/>
                    <a:pt x="6775" y="1155"/>
                    <a:pt x="6775" y="1167"/>
                  </a:cubicBezTo>
                  <a:cubicBezTo>
                    <a:pt x="6644" y="1215"/>
                    <a:pt x="6525" y="1286"/>
                    <a:pt x="6441" y="1393"/>
                  </a:cubicBezTo>
                  <a:cubicBezTo>
                    <a:pt x="6346" y="1286"/>
                    <a:pt x="6227" y="1215"/>
                    <a:pt x="6096" y="1167"/>
                  </a:cubicBezTo>
                  <a:cubicBezTo>
                    <a:pt x="6084" y="1167"/>
                    <a:pt x="6084" y="1167"/>
                    <a:pt x="6060" y="1155"/>
                  </a:cubicBezTo>
                  <a:lnTo>
                    <a:pt x="5608" y="1155"/>
                  </a:lnTo>
                  <a:lnTo>
                    <a:pt x="5608" y="703"/>
                  </a:lnTo>
                  <a:cubicBezTo>
                    <a:pt x="5644" y="500"/>
                    <a:pt x="5810" y="334"/>
                    <a:pt x="6013" y="334"/>
                  </a:cubicBezTo>
                  <a:close/>
                  <a:moveTo>
                    <a:pt x="8847" y="334"/>
                  </a:moveTo>
                  <a:cubicBezTo>
                    <a:pt x="9061" y="334"/>
                    <a:pt x="9216" y="500"/>
                    <a:pt x="9216" y="703"/>
                  </a:cubicBezTo>
                  <a:lnTo>
                    <a:pt x="9216" y="1155"/>
                  </a:lnTo>
                  <a:lnTo>
                    <a:pt x="8763" y="1155"/>
                  </a:lnTo>
                  <a:cubicBezTo>
                    <a:pt x="8739" y="1155"/>
                    <a:pt x="8739" y="1155"/>
                    <a:pt x="8727" y="1167"/>
                  </a:cubicBezTo>
                  <a:cubicBezTo>
                    <a:pt x="8597" y="1215"/>
                    <a:pt x="8477" y="1286"/>
                    <a:pt x="8382" y="1393"/>
                  </a:cubicBezTo>
                  <a:cubicBezTo>
                    <a:pt x="8299" y="1286"/>
                    <a:pt x="8180" y="1215"/>
                    <a:pt x="8049" y="1167"/>
                  </a:cubicBezTo>
                  <a:cubicBezTo>
                    <a:pt x="8025" y="1167"/>
                    <a:pt x="8025" y="1167"/>
                    <a:pt x="8013" y="1155"/>
                  </a:cubicBezTo>
                  <a:lnTo>
                    <a:pt x="7549" y="1155"/>
                  </a:lnTo>
                  <a:lnTo>
                    <a:pt x="7549" y="703"/>
                  </a:lnTo>
                  <a:lnTo>
                    <a:pt x="7596" y="703"/>
                  </a:lnTo>
                  <a:cubicBezTo>
                    <a:pt x="7596" y="500"/>
                    <a:pt x="7763" y="334"/>
                    <a:pt x="7965" y="334"/>
                  </a:cubicBezTo>
                  <a:close/>
                  <a:moveTo>
                    <a:pt x="5489" y="1453"/>
                  </a:moveTo>
                  <a:lnTo>
                    <a:pt x="5489" y="1477"/>
                  </a:lnTo>
                  <a:lnTo>
                    <a:pt x="6013" y="1477"/>
                  </a:lnTo>
                  <a:cubicBezTo>
                    <a:pt x="6037" y="1477"/>
                    <a:pt x="6037" y="1477"/>
                    <a:pt x="6049" y="1489"/>
                  </a:cubicBezTo>
                  <a:lnTo>
                    <a:pt x="6060" y="1489"/>
                  </a:lnTo>
                  <a:cubicBezTo>
                    <a:pt x="6072" y="1489"/>
                    <a:pt x="6072" y="1489"/>
                    <a:pt x="6096" y="1513"/>
                  </a:cubicBezTo>
                  <a:lnTo>
                    <a:pt x="6108" y="1513"/>
                  </a:lnTo>
                  <a:cubicBezTo>
                    <a:pt x="6120" y="1513"/>
                    <a:pt x="6120" y="1524"/>
                    <a:pt x="6132" y="1524"/>
                  </a:cubicBezTo>
                  <a:cubicBezTo>
                    <a:pt x="6156" y="1524"/>
                    <a:pt x="6156" y="1536"/>
                    <a:pt x="6156" y="1536"/>
                  </a:cubicBezTo>
                  <a:lnTo>
                    <a:pt x="6168" y="1548"/>
                  </a:lnTo>
                  <a:lnTo>
                    <a:pt x="6180" y="1572"/>
                  </a:lnTo>
                  <a:lnTo>
                    <a:pt x="6180" y="1584"/>
                  </a:lnTo>
                  <a:lnTo>
                    <a:pt x="6191" y="1596"/>
                  </a:lnTo>
                  <a:lnTo>
                    <a:pt x="6191" y="1608"/>
                  </a:lnTo>
                  <a:lnTo>
                    <a:pt x="6215" y="1632"/>
                  </a:lnTo>
                  <a:lnTo>
                    <a:pt x="6215" y="1643"/>
                  </a:lnTo>
                  <a:cubicBezTo>
                    <a:pt x="6215" y="1643"/>
                    <a:pt x="6215" y="1655"/>
                    <a:pt x="6227" y="1655"/>
                  </a:cubicBezTo>
                  <a:lnTo>
                    <a:pt x="6227" y="1667"/>
                  </a:lnTo>
                  <a:cubicBezTo>
                    <a:pt x="6227" y="1667"/>
                    <a:pt x="6227" y="1691"/>
                    <a:pt x="6239" y="1691"/>
                  </a:cubicBezTo>
                  <a:lnTo>
                    <a:pt x="6239" y="1703"/>
                  </a:lnTo>
                  <a:lnTo>
                    <a:pt x="6239" y="1715"/>
                  </a:lnTo>
                  <a:lnTo>
                    <a:pt x="6239" y="1727"/>
                  </a:lnTo>
                  <a:lnTo>
                    <a:pt x="6239" y="1751"/>
                  </a:lnTo>
                  <a:lnTo>
                    <a:pt x="6239" y="1763"/>
                  </a:lnTo>
                  <a:lnTo>
                    <a:pt x="6239" y="1786"/>
                  </a:lnTo>
                  <a:lnTo>
                    <a:pt x="6239" y="1822"/>
                  </a:lnTo>
                  <a:lnTo>
                    <a:pt x="6239" y="2655"/>
                  </a:lnTo>
                  <a:lnTo>
                    <a:pt x="4608" y="2655"/>
                  </a:lnTo>
                  <a:lnTo>
                    <a:pt x="4608" y="1822"/>
                  </a:lnTo>
                  <a:lnTo>
                    <a:pt x="4608" y="1786"/>
                  </a:lnTo>
                  <a:cubicBezTo>
                    <a:pt x="4620" y="1632"/>
                    <a:pt x="4751" y="1489"/>
                    <a:pt x="4906" y="1453"/>
                  </a:cubicBezTo>
                  <a:close/>
                  <a:moveTo>
                    <a:pt x="7977" y="1477"/>
                  </a:moveTo>
                  <a:cubicBezTo>
                    <a:pt x="8001" y="1477"/>
                    <a:pt x="8001" y="1477"/>
                    <a:pt x="8013" y="1489"/>
                  </a:cubicBezTo>
                  <a:lnTo>
                    <a:pt x="8025" y="1489"/>
                  </a:lnTo>
                  <a:cubicBezTo>
                    <a:pt x="8037" y="1489"/>
                    <a:pt x="8037" y="1489"/>
                    <a:pt x="8061" y="1513"/>
                  </a:cubicBezTo>
                  <a:lnTo>
                    <a:pt x="8073" y="1513"/>
                  </a:lnTo>
                  <a:cubicBezTo>
                    <a:pt x="8085" y="1513"/>
                    <a:pt x="8085" y="1524"/>
                    <a:pt x="8096" y="1524"/>
                  </a:cubicBezTo>
                  <a:lnTo>
                    <a:pt x="8120" y="1536"/>
                  </a:lnTo>
                  <a:lnTo>
                    <a:pt x="8132" y="1548"/>
                  </a:lnTo>
                  <a:lnTo>
                    <a:pt x="8144" y="1572"/>
                  </a:lnTo>
                  <a:lnTo>
                    <a:pt x="8144" y="1584"/>
                  </a:lnTo>
                  <a:lnTo>
                    <a:pt x="8156" y="1596"/>
                  </a:lnTo>
                  <a:lnTo>
                    <a:pt x="8156" y="1608"/>
                  </a:lnTo>
                  <a:lnTo>
                    <a:pt x="8180" y="1632"/>
                  </a:lnTo>
                  <a:lnTo>
                    <a:pt x="8180" y="1643"/>
                  </a:lnTo>
                  <a:cubicBezTo>
                    <a:pt x="8180" y="1643"/>
                    <a:pt x="8180" y="1655"/>
                    <a:pt x="8192" y="1655"/>
                  </a:cubicBezTo>
                  <a:lnTo>
                    <a:pt x="8192" y="1667"/>
                  </a:lnTo>
                  <a:cubicBezTo>
                    <a:pt x="8192" y="1667"/>
                    <a:pt x="8192" y="1691"/>
                    <a:pt x="8204" y="1691"/>
                  </a:cubicBezTo>
                  <a:lnTo>
                    <a:pt x="8204" y="1703"/>
                  </a:lnTo>
                  <a:lnTo>
                    <a:pt x="8204" y="1715"/>
                  </a:lnTo>
                  <a:lnTo>
                    <a:pt x="8204" y="1727"/>
                  </a:lnTo>
                  <a:lnTo>
                    <a:pt x="8204" y="1751"/>
                  </a:lnTo>
                  <a:lnTo>
                    <a:pt x="8204" y="1763"/>
                  </a:lnTo>
                  <a:lnTo>
                    <a:pt x="8204" y="1786"/>
                  </a:lnTo>
                  <a:lnTo>
                    <a:pt x="8204" y="1822"/>
                  </a:lnTo>
                  <a:lnTo>
                    <a:pt x="8204" y="2655"/>
                  </a:lnTo>
                  <a:lnTo>
                    <a:pt x="6572" y="2655"/>
                  </a:lnTo>
                  <a:lnTo>
                    <a:pt x="6572" y="1822"/>
                  </a:lnTo>
                  <a:lnTo>
                    <a:pt x="6572" y="1786"/>
                  </a:lnTo>
                  <a:lnTo>
                    <a:pt x="6572" y="1763"/>
                  </a:lnTo>
                  <a:lnTo>
                    <a:pt x="6572" y="1751"/>
                  </a:lnTo>
                  <a:lnTo>
                    <a:pt x="6572" y="1727"/>
                  </a:lnTo>
                  <a:lnTo>
                    <a:pt x="6572" y="1715"/>
                  </a:lnTo>
                  <a:lnTo>
                    <a:pt x="6572" y="1703"/>
                  </a:lnTo>
                  <a:lnTo>
                    <a:pt x="6572" y="1691"/>
                  </a:lnTo>
                  <a:cubicBezTo>
                    <a:pt x="6572" y="1691"/>
                    <a:pt x="6572" y="1667"/>
                    <a:pt x="6584" y="1667"/>
                  </a:cubicBezTo>
                  <a:lnTo>
                    <a:pt x="6584" y="1655"/>
                  </a:lnTo>
                  <a:cubicBezTo>
                    <a:pt x="6584" y="1655"/>
                    <a:pt x="6584" y="1643"/>
                    <a:pt x="6596" y="1643"/>
                  </a:cubicBezTo>
                  <a:lnTo>
                    <a:pt x="6596" y="1632"/>
                  </a:lnTo>
                  <a:lnTo>
                    <a:pt x="6608" y="1608"/>
                  </a:lnTo>
                  <a:lnTo>
                    <a:pt x="6608" y="1596"/>
                  </a:lnTo>
                  <a:lnTo>
                    <a:pt x="6632" y="1584"/>
                  </a:lnTo>
                  <a:lnTo>
                    <a:pt x="6632" y="1572"/>
                  </a:lnTo>
                  <a:lnTo>
                    <a:pt x="6644" y="1548"/>
                  </a:lnTo>
                  <a:lnTo>
                    <a:pt x="6656" y="1536"/>
                  </a:lnTo>
                  <a:lnTo>
                    <a:pt x="6668" y="1524"/>
                  </a:lnTo>
                  <a:cubicBezTo>
                    <a:pt x="6692" y="1524"/>
                    <a:pt x="6692" y="1513"/>
                    <a:pt x="6703" y="1513"/>
                  </a:cubicBezTo>
                  <a:lnTo>
                    <a:pt x="6715" y="1513"/>
                  </a:lnTo>
                  <a:cubicBezTo>
                    <a:pt x="6727" y="1513"/>
                    <a:pt x="6727" y="1489"/>
                    <a:pt x="6751" y="1489"/>
                  </a:cubicBezTo>
                  <a:lnTo>
                    <a:pt x="6763" y="1489"/>
                  </a:lnTo>
                  <a:cubicBezTo>
                    <a:pt x="6775" y="1489"/>
                    <a:pt x="6775" y="1489"/>
                    <a:pt x="6787" y="1477"/>
                  </a:cubicBezTo>
                  <a:close/>
                  <a:moveTo>
                    <a:pt x="1989" y="1477"/>
                  </a:moveTo>
                  <a:cubicBezTo>
                    <a:pt x="2191" y="1477"/>
                    <a:pt x="2358" y="1643"/>
                    <a:pt x="2358" y="1846"/>
                  </a:cubicBezTo>
                  <a:lnTo>
                    <a:pt x="2358" y="2679"/>
                  </a:lnTo>
                  <a:lnTo>
                    <a:pt x="726" y="2679"/>
                  </a:lnTo>
                  <a:lnTo>
                    <a:pt x="726" y="1846"/>
                  </a:lnTo>
                  <a:lnTo>
                    <a:pt x="738" y="1846"/>
                  </a:lnTo>
                  <a:cubicBezTo>
                    <a:pt x="738" y="1643"/>
                    <a:pt x="893" y="1477"/>
                    <a:pt x="1107" y="1477"/>
                  </a:cubicBezTo>
                  <a:close/>
                  <a:moveTo>
                    <a:pt x="3953" y="1477"/>
                  </a:moveTo>
                  <a:cubicBezTo>
                    <a:pt x="4155" y="1477"/>
                    <a:pt x="4322" y="1643"/>
                    <a:pt x="4322" y="1846"/>
                  </a:cubicBezTo>
                  <a:lnTo>
                    <a:pt x="4322" y="2679"/>
                  </a:lnTo>
                  <a:lnTo>
                    <a:pt x="2691" y="2679"/>
                  </a:lnTo>
                  <a:lnTo>
                    <a:pt x="2691" y="1846"/>
                  </a:lnTo>
                  <a:lnTo>
                    <a:pt x="2691" y="1822"/>
                  </a:lnTo>
                  <a:cubicBezTo>
                    <a:pt x="2703" y="1655"/>
                    <a:pt x="2834" y="1524"/>
                    <a:pt x="2989" y="1477"/>
                  </a:cubicBezTo>
                  <a:close/>
                  <a:moveTo>
                    <a:pt x="9835" y="1477"/>
                  </a:moveTo>
                  <a:cubicBezTo>
                    <a:pt x="10037" y="1477"/>
                    <a:pt x="10204" y="1643"/>
                    <a:pt x="10204" y="1846"/>
                  </a:cubicBezTo>
                  <a:lnTo>
                    <a:pt x="10204" y="2679"/>
                  </a:lnTo>
                  <a:lnTo>
                    <a:pt x="8561" y="2679"/>
                  </a:lnTo>
                  <a:lnTo>
                    <a:pt x="8561" y="1846"/>
                  </a:lnTo>
                  <a:lnTo>
                    <a:pt x="8561" y="1822"/>
                  </a:lnTo>
                  <a:lnTo>
                    <a:pt x="8561" y="1786"/>
                  </a:lnTo>
                  <a:lnTo>
                    <a:pt x="8561" y="1774"/>
                  </a:lnTo>
                  <a:lnTo>
                    <a:pt x="8561" y="1763"/>
                  </a:lnTo>
                  <a:lnTo>
                    <a:pt x="8561" y="1739"/>
                  </a:lnTo>
                  <a:lnTo>
                    <a:pt x="8561" y="1727"/>
                  </a:lnTo>
                  <a:lnTo>
                    <a:pt x="8561" y="1715"/>
                  </a:lnTo>
                  <a:cubicBezTo>
                    <a:pt x="8561" y="1715"/>
                    <a:pt x="8561" y="1703"/>
                    <a:pt x="8585" y="1703"/>
                  </a:cubicBezTo>
                  <a:lnTo>
                    <a:pt x="8585" y="1679"/>
                  </a:lnTo>
                  <a:cubicBezTo>
                    <a:pt x="8585" y="1679"/>
                    <a:pt x="8585" y="1667"/>
                    <a:pt x="8597" y="1667"/>
                  </a:cubicBezTo>
                  <a:lnTo>
                    <a:pt x="8597" y="1655"/>
                  </a:lnTo>
                  <a:lnTo>
                    <a:pt x="8608" y="1643"/>
                  </a:lnTo>
                  <a:lnTo>
                    <a:pt x="8608" y="1620"/>
                  </a:lnTo>
                  <a:lnTo>
                    <a:pt x="8620" y="1608"/>
                  </a:lnTo>
                  <a:lnTo>
                    <a:pt x="8620" y="1596"/>
                  </a:lnTo>
                  <a:lnTo>
                    <a:pt x="8632" y="1584"/>
                  </a:lnTo>
                  <a:lnTo>
                    <a:pt x="8656" y="1560"/>
                  </a:lnTo>
                  <a:lnTo>
                    <a:pt x="8668" y="1548"/>
                  </a:lnTo>
                  <a:cubicBezTo>
                    <a:pt x="8680" y="1548"/>
                    <a:pt x="8680" y="1536"/>
                    <a:pt x="8692" y="1536"/>
                  </a:cubicBezTo>
                  <a:lnTo>
                    <a:pt x="8716" y="1536"/>
                  </a:lnTo>
                  <a:cubicBezTo>
                    <a:pt x="8727" y="1536"/>
                    <a:pt x="8727" y="1524"/>
                    <a:pt x="8739" y="1524"/>
                  </a:cubicBezTo>
                  <a:lnTo>
                    <a:pt x="8751" y="1524"/>
                  </a:lnTo>
                  <a:cubicBezTo>
                    <a:pt x="8775" y="1524"/>
                    <a:pt x="8775" y="1524"/>
                    <a:pt x="8787" y="1501"/>
                  </a:cubicBezTo>
                  <a:lnTo>
                    <a:pt x="9394" y="1501"/>
                  </a:lnTo>
                  <a:lnTo>
                    <a:pt x="9394" y="1477"/>
                  </a:lnTo>
                  <a:close/>
                  <a:moveTo>
                    <a:pt x="10668" y="3013"/>
                  </a:moveTo>
                  <a:lnTo>
                    <a:pt x="10668" y="3251"/>
                  </a:lnTo>
                  <a:lnTo>
                    <a:pt x="310" y="3251"/>
                  </a:lnTo>
                  <a:lnTo>
                    <a:pt x="310" y="3013"/>
                  </a:lnTo>
                  <a:close/>
                  <a:moveTo>
                    <a:pt x="2131" y="0"/>
                  </a:moveTo>
                  <a:cubicBezTo>
                    <a:pt x="1750" y="0"/>
                    <a:pt x="1441" y="322"/>
                    <a:pt x="1441" y="703"/>
                  </a:cubicBezTo>
                  <a:lnTo>
                    <a:pt x="1441" y="1155"/>
                  </a:lnTo>
                  <a:lnTo>
                    <a:pt x="1155" y="1155"/>
                  </a:lnTo>
                  <a:cubicBezTo>
                    <a:pt x="762" y="1155"/>
                    <a:pt x="453" y="1465"/>
                    <a:pt x="453" y="1846"/>
                  </a:cubicBezTo>
                  <a:lnTo>
                    <a:pt x="453" y="2679"/>
                  </a:lnTo>
                  <a:lnTo>
                    <a:pt x="215" y="2679"/>
                  </a:lnTo>
                  <a:cubicBezTo>
                    <a:pt x="107" y="2679"/>
                    <a:pt x="0" y="2775"/>
                    <a:pt x="0" y="2894"/>
                  </a:cubicBezTo>
                  <a:lnTo>
                    <a:pt x="0" y="3370"/>
                  </a:lnTo>
                  <a:cubicBezTo>
                    <a:pt x="0" y="3477"/>
                    <a:pt x="95" y="3572"/>
                    <a:pt x="215" y="3572"/>
                  </a:cubicBezTo>
                  <a:lnTo>
                    <a:pt x="10811" y="3572"/>
                  </a:lnTo>
                  <a:cubicBezTo>
                    <a:pt x="10918" y="3572"/>
                    <a:pt x="11025" y="3489"/>
                    <a:pt x="11025" y="3370"/>
                  </a:cubicBezTo>
                  <a:lnTo>
                    <a:pt x="11025" y="2894"/>
                  </a:lnTo>
                  <a:cubicBezTo>
                    <a:pt x="10978" y="2775"/>
                    <a:pt x="10883" y="2679"/>
                    <a:pt x="10775" y="2679"/>
                  </a:cubicBezTo>
                  <a:lnTo>
                    <a:pt x="10549" y="2679"/>
                  </a:lnTo>
                  <a:lnTo>
                    <a:pt x="10549" y="1846"/>
                  </a:lnTo>
                  <a:cubicBezTo>
                    <a:pt x="10549" y="1465"/>
                    <a:pt x="10228" y="1155"/>
                    <a:pt x="9847" y="1155"/>
                  </a:cubicBezTo>
                  <a:lnTo>
                    <a:pt x="9561" y="1155"/>
                  </a:lnTo>
                  <a:lnTo>
                    <a:pt x="9561" y="703"/>
                  </a:lnTo>
                  <a:cubicBezTo>
                    <a:pt x="9561" y="322"/>
                    <a:pt x="9251" y="0"/>
                    <a:pt x="8858" y="0"/>
                  </a:cubicBezTo>
                  <a:lnTo>
                    <a:pt x="7977" y="0"/>
                  </a:lnTo>
                  <a:cubicBezTo>
                    <a:pt x="7763" y="0"/>
                    <a:pt x="7561" y="108"/>
                    <a:pt x="7442" y="262"/>
                  </a:cubicBezTo>
                  <a:cubicBezTo>
                    <a:pt x="7311" y="108"/>
                    <a:pt x="7120" y="0"/>
                    <a:pt x="6906" y="0"/>
                  </a:cubicBezTo>
                  <a:lnTo>
                    <a:pt x="6037" y="0"/>
                  </a:lnTo>
                  <a:cubicBezTo>
                    <a:pt x="5810" y="0"/>
                    <a:pt x="5620" y="108"/>
                    <a:pt x="5501" y="262"/>
                  </a:cubicBezTo>
                  <a:cubicBezTo>
                    <a:pt x="5358" y="108"/>
                    <a:pt x="5168" y="0"/>
                    <a:pt x="4965" y="0"/>
                  </a:cubicBezTo>
                  <a:lnTo>
                    <a:pt x="4084" y="0"/>
                  </a:lnTo>
                  <a:cubicBezTo>
                    <a:pt x="3858" y="0"/>
                    <a:pt x="3667" y="108"/>
                    <a:pt x="3548" y="262"/>
                  </a:cubicBezTo>
                  <a:cubicBezTo>
                    <a:pt x="3417" y="108"/>
                    <a:pt x="3227" y="0"/>
                    <a:pt x="30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16" name="Google Shape;12316;p62"/>
          <p:cNvGrpSpPr/>
          <p:nvPr/>
        </p:nvGrpSpPr>
        <p:grpSpPr>
          <a:xfrm>
            <a:off x="5326878" y="1980358"/>
            <a:ext cx="350332" cy="346229"/>
            <a:chOff x="5326878" y="1980358"/>
            <a:chExt cx="350332" cy="346229"/>
          </a:xfrm>
        </p:grpSpPr>
        <p:sp>
          <p:nvSpPr>
            <p:cNvPr id="12317" name="Google Shape;12317;p62"/>
            <p:cNvSpPr/>
            <p:nvPr/>
          </p:nvSpPr>
          <p:spPr>
            <a:xfrm>
              <a:off x="5352259" y="2005834"/>
              <a:ext cx="94715" cy="94683"/>
            </a:xfrm>
            <a:custGeom>
              <a:avLst/>
              <a:gdLst/>
              <a:ahLst/>
              <a:cxnLst/>
              <a:rect l="l" t="t" r="r" b="b"/>
              <a:pathLst>
                <a:path w="2978" h="2977" extrusionOk="0">
                  <a:moveTo>
                    <a:pt x="1501" y="298"/>
                  </a:moveTo>
                  <a:cubicBezTo>
                    <a:pt x="1799" y="298"/>
                    <a:pt x="2096" y="417"/>
                    <a:pt x="2334" y="643"/>
                  </a:cubicBezTo>
                  <a:cubicBezTo>
                    <a:pt x="2763" y="1107"/>
                    <a:pt x="2763" y="1846"/>
                    <a:pt x="2322" y="2310"/>
                  </a:cubicBezTo>
                  <a:cubicBezTo>
                    <a:pt x="2090" y="2542"/>
                    <a:pt x="1787" y="2658"/>
                    <a:pt x="1486" y="2658"/>
                  </a:cubicBezTo>
                  <a:cubicBezTo>
                    <a:pt x="1185" y="2658"/>
                    <a:pt x="888" y="2542"/>
                    <a:pt x="667" y="2310"/>
                  </a:cubicBezTo>
                  <a:cubicBezTo>
                    <a:pt x="441" y="2084"/>
                    <a:pt x="322" y="1786"/>
                    <a:pt x="322" y="1476"/>
                  </a:cubicBezTo>
                  <a:cubicBezTo>
                    <a:pt x="322" y="1155"/>
                    <a:pt x="441" y="857"/>
                    <a:pt x="667" y="643"/>
                  </a:cubicBezTo>
                  <a:cubicBezTo>
                    <a:pt x="894" y="417"/>
                    <a:pt x="1203" y="298"/>
                    <a:pt x="1501" y="298"/>
                  </a:cubicBezTo>
                  <a:close/>
                  <a:moveTo>
                    <a:pt x="1489" y="0"/>
                  </a:moveTo>
                  <a:cubicBezTo>
                    <a:pt x="1084" y="0"/>
                    <a:pt x="715" y="155"/>
                    <a:pt x="429" y="429"/>
                  </a:cubicBezTo>
                  <a:cubicBezTo>
                    <a:pt x="144" y="714"/>
                    <a:pt x="1" y="1084"/>
                    <a:pt x="1" y="1488"/>
                  </a:cubicBezTo>
                  <a:cubicBezTo>
                    <a:pt x="1" y="1893"/>
                    <a:pt x="144" y="2262"/>
                    <a:pt x="429" y="2548"/>
                  </a:cubicBezTo>
                  <a:cubicBezTo>
                    <a:pt x="715" y="2834"/>
                    <a:pt x="1084" y="2977"/>
                    <a:pt x="1489" y="2977"/>
                  </a:cubicBezTo>
                  <a:cubicBezTo>
                    <a:pt x="1882" y="2977"/>
                    <a:pt x="2263" y="2834"/>
                    <a:pt x="2537" y="2548"/>
                  </a:cubicBezTo>
                  <a:cubicBezTo>
                    <a:pt x="2822" y="2262"/>
                    <a:pt x="2977" y="1893"/>
                    <a:pt x="2977" y="1488"/>
                  </a:cubicBezTo>
                  <a:cubicBezTo>
                    <a:pt x="2977" y="1084"/>
                    <a:pt x="2822" y="703"/>
                    <a:pt x="2537" y="429"/>
                  </a:cubicBezTo>
                  <a:cubicBezTo>
                    <a:pt x="2263" y="155"/>
                    <a:pt x="1882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8" name="Google Shape;12318;p62"/>
            <p:cNvSpPr/>
            <p:nvPr/>
          </p:nvSpPr>
          <p:spPr>
            <a:xfrm>
              <a:off x="5534024" y="2005834"/>
              <a:ext cx="94715" cy="94683"/>
            </a:xfrm>
            <a:custGeom>
              <a:avLst/>
              <a:gdLst/>
              <a:ahLst/>
              <a:cxnLst/>
              <a:rect l="l" t="t" r="r" b="b"/>
              <a:pathLst>
                <a:path w="2978" h="2977" extrusionOk="0">
                  <a:moveTo>
                    <a:pt x="1489" y="310"/>
                  </a:moveTo>
                  <a:cubicBezTo>
                    <a:pt x="1787" y="310"/>
                    <a:pt x="2084" y="429"/>
                    <a:pt x="2322" y="655"/>
                  </a:cubicBezTo>
                  <a:cubicBezTo>
                    <a:pt x="2763" y="1107"/>
                    <a:pt x="2763" y="1846"/>
                    <a:pt x="2299" y="2310"/>
                  </a:cubicBezTo>
                  <a:cubicBezTo>
                    <a:pt x="2072" y="2542"/>
                    <a:pt x="1772" y="2658"/>
                    <a:pt x="1473" y="2658"/>
                  </a:cubicBezTo>
                  <a:cubicBezTo>
                    <a:pt x="1173" y="2658"/>
                    <a:pt x="876" y="2542"/>
                    <a:pt x="656" y="2310"/>
                  </a:cubicBezTo>
                  <a:cubicBezTo>
                    <a:pt x="191" y="1846"/>
                    <a:pt x="191" y="1107"/>
                    <a:pt x="656" y="655"/>
                  </a:cubicBezTo>
                  <a:cubicBezTo>
                    <a:pt x="870" y="429"/>
                    <a:pt x="1191" y="310"/>
                    <a:pt x="1489" y="310"/>
                  </a:cubicBezTo>
                  <a:close/>
                  <a:moveTo>
                    <a:pt x="1489" y="0"/>
                  </a:moveTo>
                  <a:cubicBezTo>
                    <a:pt x="1084" y="0"/>
                    <a:pt x="715" y="155"/>
                    <a:pt x="429" y="429"/>
                  </a:cubicBezTo>
                  <a:cubicBezTo>
                    <a:pt x="144" y="714"/>
                    <a:pt x="1" y="1084"/>
                    <a:pt x="1" y="1488"/>
                  </a:cubicBezTo>
                  <a:cubicBezTo>
                    <a:pt x="1" y="1893"/>
                    <a:pt x="144" y="2262"/>
                    <a:pt x="429" y="2548"/>
                  </a:cubicBezTo>
                  <a:cubicBezTo>
                    <a:pt x="715" y="2834"/>
                    <a:pt x="1084" y="2977"/>
                    <a:pt x="1489" y="2977"/>
                  </a:cubicBezTo>
                  <a:cubicBezTo>
                    <a:pt x="1882" y="2977"/>
                    <a:pt x="2263" y="2834"/>
                    <a:pt x="2537" y="2548"/>
                  </a:cubicBezTo>
                  <a:cubicBezTo>
                    <a:pt x="2822" y="2262"/>
                    <a:pt x="2977" y="1893"/>
                    <a:pt x="2977" y="1488"/>
                  </a:cubicBezTo>
                  <a:cubicBezTo>
                    <a:pt x="2977" y="1084"/>
                    <a:pt x="2822" y="703"/>
                    <a:pt x="2537" y="429"/>
                  </a:cubicBezTo>
                  <a:cubicBezTo>
                    <a:pt x="2251" y="155"/>
                    <a:pt x="1882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9" name="Google Shape;12319;p62"/>
            <p:cNvSpPr/>
            <p:nvPr/>
          </p:nvSpPr>
          <p:spPr>
            <a:xfrm>
              <a:off x="5326878" y="1980358"/>
              <a:ext cx="350332" cy="144776"/>
            </a:xfrm>
            <a:custGeom>
              <a:avLst/>
              <a:gdLst/>
              <a:ahLst/>
              <a:cxnLst/>
              <a:rect l="l" t="t" r="r" b="b"/>
              <a:pathLst>
                <a:path w="11015" h="4552" extrusionOk="0">
                  <a:moveTo>
                    <a:pt x="5144" y="420"/>
                  </a:moveTo>
                  <a:cubicBezTo>
                    <a:pt x="5454" y="420"/>
                    <a:pt x="5692" y="670"/>
                    <a:pt x="5692" y="968"/>
                  </a:cubicBezTo>
                  <a:lnTo>
                    <a:pt x="5692" y="980"/>
                  </a:lnTo>
                  <a:lnTo>
                    <a:pt x="5645" y="956"/>
                  </a:lnTo>
                  <a:cubicBezTo>
                    <a:pt x="5585" y="920"/>
                    <a:pt x="5537" y="908"/>
                    <a:pt x="5478" y="896"/>
                  </a:cubicBezTo>
                  <a:lnTo>
                    <a:pt x="5466" y="896"/>
                  </a:lnTo>
                  <a:cubicBezTo>
                    <a:pt x="5364" y="864"/>
                    <a:pt x="5257" y="848"/>
                    <a:pt x="5148" y="848"/>
                  </a:cubicBezTo>
                  <a:cubicBezTo>
                    <a:pt x="4976" y="848"/>
                    <a:pt x="4800" y="888"/>
                    <a:pt x="4633" y="968"/>
                  </a:cubicBezTo>
                  <a:lnTo>
                    <a:pt x="4585" y="992"/>
                  </a:lnTo>
                  <a:lnTo>
                    <a:pt x="4585" y="980"/>
                  </a:lnTo>
                  <a:cubicBezTo>
                    <a:pt x="4585" y="670"/>
                    <a:pt x="4823" y="420"/>
                    <a:pt x="5144" y="420"/>
                  </a:cubicBezTo>
                  <a:close/>
                  <a:moveTo>
                    <a:pt x="5129" y="1184"/>
                  </a:moveTo>
                  <a:cubicBezTo>
                    <a:pt x="5263" y="1184"/>
                    <a:pt x="5391" y="1216"/>
                    <a:pt x="5514" y="1265"/>
                  </a:cubicBezTo>
                  <a:lnTo>
                    <a:pt x="5883" y="1444"/>
                  </a:lnTo>
                  <a:cubicBezTo>
                    <a:pt x="5764" y="1706"/>
                    <a:pt x="5704" y="2004"/>
                    <a:pt x="5716" y="2301"/>
                  </a:cubicBezTo>
                  <a:lnTo>
                    <a:pt x="5645" y="2277"/>
                  </a:lnTo>
                  <a:cubicBezTo>
                    <a:pt x="5484" y="2200"/>
                    <a:pt x="5308" y="2161"/>
                    <a:pt x="5134" y="2161"/>
                  </a:cubicBezTo>
                  <a:cubicBezTo>
                    <a:pt x="4960" y="2161"/>
                    <a:pt x="4787" y="2200"/>
                    <a:pt x="4633" y="2277"/>
                  </a:cubicBezTo>
                  <a:lnTo>
                    <a:pt x="4561" y="2301"/>
                  </a:lnTo>
                  <a:cubicBezTo>
                    <a:pt x="4561" y="2004"/>
                    <a:pt x="4502" y="1706"/>
                    <a:pt x="4394" y="1432"/>
                  </a:cubicBezTo>
                  <a:lnTo>
                    <a:pt x="4525" y="1373"/>
                  </a:lnTo>
                  <a:lnTo>
                    <a:pt x="4763" y="1265"/>
                  </a:lnTo>
                  <a:cubicBezTo>
                    <a:pt x="4823" y="1230"/>
                    <a:pt x="4883" y="1218"/>
                    <a:pt x="4942" y="1206"/>
                  </a:cubicBezTo>
                  <a:cubicBezTo>
                    <a:pt x="5006" y="1191"/>
                    <a:pt x="5068" y="1184"/>
                    <a:pt x="5129" y="1184"/>
                  </a:cubicBezTo>
                  <a:close/>
                  <a:moveTo>
                    <a:pt x="10348" y="1885"/>
                  </a:moveTo>
                  <a:cubicBezTo>
                    <a:pt x="10538" y="1885"/>
                    <a:pt x="10693" y="2039"/>
                    <a:pt x="10693" y="2230"/>
                  </a:cubicBezTo>
                  <a:lnTo>
                    <a:pt x="10693" y="2301"/>
                  </a:lnTo>
                  <a:cubicBezTo>
                    <a:pt x="10693" y="2504"/>
                    <a:pt x="10538" y="2647"/>
                    <a:pt x="10348" y="2647"/>
                  </a:cubicBezTo>
                  <a:lnTo>
                    <a:pt x="10240" y="2647"/>
                  </a:lnTo>
                  <a:lnTo>
                    <a:pt x="10240" y="2599"/>
                  </a:lnTo>
                  <a:lnTo>
                    <a:pt x="10240" y="2587"/>
                  </a:lnTo>
                  <a:cubicBezTo>
                    <a:pt x="10240" y="2563"/>
                    <a:pt x="10252" y="2516"/>
                    <a:pt x="10252" y="2480"/>
                  </a:cubicBezTo>
                  <a:cubicBezTo>
                    <a:pt x="10252" y="2420"/>
                    <a:pt x="10276" y="2385"/>
                    <a:pt x="10276" y="2325"/>
                  </a:cubicBezTo>
                  <a:lnTo>
                    <a:pt x="10276" y="2218"/>
                  </a:lnTo>
                  <a:cubicBezTo>
                    <a:pt x="10276" y="2158"/>
                    <a:pt x="10276" y="2111"/>
                    <a:pt x="10252" y="2051"/>
                  </a:cubicBezTo>
                  <a:cubicBezTo>
                    <a:pt x="10252" y="2027"/>
                    <a:pt x="10252" y="1980"/>
                    <a:pt x="10240" y="1944"/>
                  </a:cubicBezTo>
                  <a:lnTo>
                    <a:pt x="10240" y="1932"/>
                  </a:lnTo>
                  <a:lnTo>
                    <a:pt x="10240" y="1885"/>
                  </a:lnTo>
                  <a:close/>
                  <a:moveTo>
                    <a:pt x="2287" y="325"/>
                  </a:moveTo>
                  <a:cubicBezTo>
                    <a:pt x="2787" y="325"/>
                    <a:pt x="3275" y="515"/>
                    <a:pt x="3668" y="896"/>
                  </a:cubicBezTo>
                  <a:cubicBezTo>
                    <a:pt x="3823" y="1051"/>
                    <a:pt x="3954" y="1230"/>
                    <a:pt x="4049" y="1432"/>
                  </a:cubicBezTo>
                  <a:cubicBezTo>
                    <a:pt x="4049" y="1444"/>
                    <a:pt x="4061" y="1456"/>
                    <a:pt x="4061" y="1456"/>
                  </a:cubicBezTo>
                  <a:cubicBezTo>
                    <a:pt x="4085" y="1468"/>
                    <a:pt x="4085" y="1504"/>
                    <a:pt x="4097" y="1515"/>
                  </a:cubicBezTo>
                  <a:lnTo>
                    <a:pt x="4097" y="1527"/>
                  </a:lnTo>
                  <a:cubicBezTo>
                    <a:pt x="4109" y="1563"/>
                    <a:pt x="4109" y="1587"/>
                    <a:pt x="4121" y="1623"/>
                  </a:cubicBezTo>
                  <a:lnTo>
                    <a:pt x="4121" y="1634"/>
                  </a:lnTo>
                  <a:cubicBezTo>
                    <a:pt x="4371" y="2325"/>
                    <a:pt x="4216" y="3123"/>
                    <a:pt x="3668" y="3659"/>
                  </a:cubicBezTo>
                  <a:cubicBezTo>
                    <a:pt x="3287" y="4040"/>
                    <a:pt x="2784" y="4230"/>
                    <a:pt x="2281" y="4230"/>
                  </a:cubicBezTo>
                  <a:cubicBezTo>
                    <a:pt x="1778" y="4230"/>
                    <a:pt x="1275" y="4040"/>
                    <a:pt x="894" y="3659"/>
                  </a:cubicBezTo>
                  <a:cubicBezTo>
                    <a:pt x="525" y="3289"/>
                    <a:pt x="311" y="2801"/>
                    <a:pt x="311" y="2277"/>
                  </a:cubicBezTo>
                  <a:cubicBezTo>
                    <a:pt x="311" y="1754"/>
                    <a:pt x="525" y="1265"/>
                    <a:pt x="894" y="896"/>
                  </a:cubicBezTo>
                  <a:cubicBezTo>
                    <a:pt x="1287" y="503"/>
                    <a:pt x="1775" y="325"/>
                    <a:pt x="2287" y="325"/>
                  </a:cubicBezTo>
                  <a:close/>
                  <a:moveTo>
                    <a:pt x="7978" y="337"/>
                  </a:moveTo>
                  <a:cubicBezTo>
                    <a:pt x="8490" y="337"/>
                    <a:pt x="8978" y="527"/>
                    <a:pt x="9371" y="908"/>
                  </a:cubicBezTo>
                  <a:cubicBezTo>
                    <a:pt x="9633" y="1170"/>
                    <a:pt x="9800" y="1480"/>
                    <a:pt x="9883" y="1825"/>
                  </a:cubicBezTo>
                  <a:cubicBezTo>
                    <a:pt x="9967" y="2123"/>
                    <a:pt x="9967" y="2444"/>
                    <a:pt x="9883" y="2754"/>
                  </a:cubicBezTo>
                  <a:cubicBezTo>
                    <a:pt x="9800" y="3099"/>
                    <a:pt x="9633" y="3409"/>
                    <a:pt x="9371" y="3670"/>
                  </a:cubicBezTo>
                  <a:cubicBezTo>
                    <a:pt x="8990" y="4051"/>
                    <a:pt x="8487" y="4242"/>
                    <a:pt x="7984" y="4242"/>
                  </a:cubicBezTo>
                  <a:cubicBezTo>
                    <a:pt x="7481" y="4242"/>
                    <a:pt x="6978" y="4051"/>
                    <a:pt x="6597" y="3670"/>
                  </a:cubicBezTo>
                  <a:cubicBezTo>
                    <a:pt x="6049" y="3123"/>
                    <a:pt x="5895" y="2337"/>
                    <a:pt x="6133" y="1646"/>
                  </a:cubicBezTo>
                  <a:lnTo>
                    <a:pt x="6133" y="1634"/>
                  </a:lnTo>
                  <a:cubicBezTo>
                    <a:pt x="6157" y="1611"/>
                    <a:pt x="6157" y="1575"/>
                    <a:pt x="6168" y="1539"/>
                  </a:cubicBezTo>
                  <a:lnTo>
                    <a:pt x="6168" y="1527"/>
                  </a:lnTo>
                  <a:cubicBezTo>
                    <a:pt x="6180" y="1515"/>
                    <a:pt x="6180" y="1480"/>
                    <a:pt x="6192" y="1468"/>
                  </a:cubicBezTo>
                  <a:cubicBezTo>
                    <a:pt x="6192" y="1456"/>
                    <a:pt x="6216" y="1444"/>
                    <a:pt x="6216" y="1444"/>
                  </a:cubicBezTo>
                  <a:cubicBezTo>
                    <a:pt x="6299" y="1242"/>
                    <a:pt x="6430" y="1063"/>
                    <a:pt x="6597" y="908"/>
                  </a:cubicBezTo>
                  <a:cubicBezTo>
                    <a:pt x="6990" y="515"/>
                    <a:pt x="7478" y="337"/>
                    <a:pt x="7978" y="337"/>
                  </a:cubicBezTo>
                  <a:close/>
                  <a:moveTo>
                    <a:pt x="2287" y="0"/>
                  </a:moveTo>
                  <a:cubicBezTo>
                    <a:pt x="1701" y="0"/>
                    <a:pt x="1114" y="224"/>
                    <a:pt x="668" y="670"/>
                  </a:cubicBezTo>
                  <a:cubicBezTo>
                    <a:pt x="239" y="1099"/>
                    <a:pt x="1" y="1670"/>
                    <a:pt x="1" y="2277"/>
                  </a:cubicBezTo>
                  <a:cubicBezTo>
                    <a:pt x="1" y="2885"/>
                    <a:pt x="239" y="3456"/>
                    <a:pt x="668" y="3885"/>
                  </a:cubicBezTo>
                  <a:cubicBezTo>
                    <a:pt x="1120" y="4325"/>
                    <a:pt x="1704" y="4552"/>
                    <a:pt x="2275" y="4552"/>
                  </a:cubicBezTo>
                  <a:cubicBezTo>
                    <a:pt x="2858" y="4552"/>
                    <a:pt x="3442" y="4325"/>
                    <a:pt x="3882" y="3885"/>
                  </a:cubicBezTo>
                  <a:cubicBezTo>
                    <a:pt x="4228" y="3539"/>
                    <a:pt x="4442" y="3111"/>
                    <a:pt x="4525" y="2658"/>
                  </a:cubicBezTo>
                  <a:lnTo>
                    <a:pt x="4763" y="2563"/>
                  </a:lnTo>
                  <a:cubicBezTo>
                    <a:pt x="4883" y="2510"/>
                    <a:pt x="5011" y="2483"/>
                    <a:pt x="5139" y="2483"/>
                  </a:cubicBezTo>
                  <a:cubicBezTo>
                    <a:pt x="5267" y="2483"/>
                    <a:pt x="5395" y="2510"/>
                    <a:pt x="5514" y="2563"/>
                  </a:cubicBezTo>
                  <a:lnTo>
                    <a:pt x="5752" y="2658"/>
                  </a:lnTo>
                  <a:cubicBezTo>
                    <a:pt x="5823" y="3111"/>
                    <a:pt x="6026" y="3539"/>
                    <a:pt x="6383" y="3885"/>
                  </a:cubicBezTo>
                  <a:cubicBezTo>
                    <a:pt x="6835" y="4325"/>
                    <a:pt x="7419" y="4552"/>
                    <a:pt x="7990" y="4552"/>
                  </a:cubicBezTo>
                  <a:cubicBezTo>
                    <a:pt x="8573" y="4552"/>
                    <a:pt x="9157" y="4325"/>
                    <a:pt x="9597" y="3885"/>
                  </a:cubicBezTo>
                  <a:cubicBezTo>
                    <a:pt x="9871" y="3611"/>
                    <a:pt x="10050" y="3301"/>
                    <a:pt x="10169" y="2956"/>
                  </a:cubicBezTo>
                  <a:lnTo>
                    <a:pt x="10348" y="2956"/>
                  </a:lnTo>
                  <a:cubicBezTo>
                    <a:pt x="10717" y="2956"/>
                    <a:pt x="11014" y="2658"/>
                    <a:pt x="11014" y="2289"/>
                  </a:cubicBezTo>
                  <a:lnTo>
                    <a:pt x="11014" y="2230"/>
                  </a:lnTo>
                  <a:cubicBezTo>
                    <a:pt x="11002" y="1885"/>
                    <a:pt x="10705" y="1587"/>
                    <a:pt x="10348" y="1587"/>
                  </a:cubicBezTo>
                  <a:lnTo>
                    <a:pt x="10169" y="1587"/>
                  </a:lnTo>
                  <a:cubicBezTo>
                    <a:pt x="10062" y="1253"/>
                    <a:pt x="9871" y="932"/>
                    <a:pt x="9609" y="670"/>
                  </a:cubicBezTo>
                  <a:cubicBezTo>
                    <a:pt x="9163" y="224"/>
                    <a:pt x="8576" y="0"/>
                    <a:pt x="7990" y="0"/>
                  </a:cubicBezTo>
                  <a:cubicBezTo>
                    <a:pt x="7404" y="0"/>
                    <a:pt x="6817" y="224"/>
                    <a:pt x="6371" y="670"/>
                  </a:cubicBezTo>
                  <a:cubicBezTo>
                    <a:pt x="6228" y="813"/>
                    <a:pt x="6109" y="968"/>
                    <a:pt x="6014" y="1134"/>
                  </a:cubicBezTo>
                  <a:lnTo>
                    <a:pt x="6002" y="1111"/>
                  </a:lnTo>
                  <a:cubicBezTo>
                    <a:pt x="6014" y="1075"/>
                    <a:pt x="6014" y="1015"/>
                    <a:pt x="6014" y="968"/>
                  </a:cubicBezTo>
                  <a:cubicBezTo>
                    <a:pt x="6014" y="491"/>
                    <a:pt x="5633" y="87"/>
                    <a:pt x="5133" y="87"/>
                  </a:cubicBezTo>
                  <a:cubicBezTo>
                    <a:pt x="4644" y="87"/>
                    <a:pt x="4263" y="480"/>
                    <a:pt x="4263" y="968"/>
                  </a:cubicBezTo>
                  <a:cubicBezTo>
                    <a:pt x="4263" y="1015"/>
                    <a:pt x="4263" y="1075"/>
                    <a:pt x="4275" y="1111"/>
                  </a:cubicBezTo>
                  <a:lnTo>
                    <a:pt x="4263" y="1134"/>
                  </a:lnTo>
                  <a:cubicBezTo>
                    <a:pt x="4156" y="968"/>
                    <a:pt x="4037" y="801"/>
                    <a:pt x="3906" y="670"/>
                  </a:cubicBezTo>
                  <a:cubicBezTo>
                    <a:pt x="3460" y="224"/>
                    <a:pt x="2873" y="0"/>
                    <a:pt x="2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0" name="Google Shape;12320;p62"/>
            <p:cNvSpPr/>
            <p:nvPr/>
          </p:nvSpPr>
          <p:spPr>
            <a:xfrm>
              <a:off x="5627181" y="2089131"/>
              <a:ext cx="42460" cy="237456"/>
            </a:xfrm>
            <a:custGeom>
              <a:avLst/>
              <a:gdLst/>
              <a:ahLst/>
              <a:cxnLst/>
              <a:rect l="l" t="t" r="r" b="b"/>
              <a:pathLst>
                <a:path w="1335" h="7466" extrusionOk="0">
                  <a:moveTo>
                    <a:pt x="834" y="3799"/>
                  </a:moveTo>
                  <a:lnTo>
                    <a:pt x="1013" y="7025"/>
                  </a:lnTo>
                  <a:cubicBezTo>
                    <a:pt x="1025" y="7073"/>
                    <a:pt x="1013" y="7097"/>
                    <a:pt x="977" y="7120"/>
                  </a:cubicBezTo>
                  <a:cubicBezTo>
                    <a:pt x="953" y="7144"/>
                    <a:pt x="917" y="7156"/>
                    <a:pt x="894" y="7156"/>
                  </a:cubicBezTo>
                  <a:lnTo>
                    <a:pt x="429" y="7156"/>
                  </a:lnTo>
                  <a:cubicBezTo>
                    <a:pt x="405" y="7156"/>
                    <a:pt x="370" y="7144"/>
                    <a:pt x="346" y="7120"/>
                  </a:cubicBezTo>
                  <a:cubicBezTo>
                    <a:pt x="310" y="7085"/>
                    <a:pt x="310" y="7061"/>
                    <a:pt x="310" y="7025"/>
                  </a:cubicBezTo>
                  <a:lnTo>
                    <a:pt x="489" y="3799"/>
                  </a:lnTo>
                  <a:close/>
                  <a:moveTo>
                    <a:pt x="1001" y="0"/>
                  </a:moveTo>
                  <a:cubicBezTo>
                    <a:pt x="906" y="0"/>
                    <a:pt x="834" y="72"/>
                    <a:pt x="834" y="167"/>
                  </a:cubicBezTo>
                  <a:lnTo>
                    <a:pt x="834" y="3489"/>
                  </a:lnTo>
                  <a:lnTo>
                    <a:pt x="501" y="3489"/>
                  </a:lnTo>
                  <a:lnTo>
                    <a:pt x="501" y="881"/>
                  </a:lnTo>
                  <a:cubicBezTo>
                    <a:pt x="501" y="786"/>
                    <a:pt x="429" y="715"/>
                    <a:pt x="346" y="715"/>
                  </a:cubicBezTo>
                  <a:cubicBezTo>
                    <a:pt x="251" y="715"/>
                    <a:pt x="179" y="786"/>
                    <a:pt x="179" y="881"/>
                  </a:cubicBezTo>
                  <a:lnTo>
                    <a:pt x="179" y="3668"/>
                  </a:lnTo>
                  <a:lnTo>
                    <a:pt x="1" y="7013"/>
                  </a:lnTo>
                  <a:cubicBezTo>
                    <a:pt x="1" y="7132"/>
                    <a:pt x="48" y="7251"/>
                    <a:pt x="120" y="7335"/>
                  </a:cubicBezTo>
                  <a:cubicBezTo>
                    <a:pt x="203" y="7430"/>
                    <a:pt x="310" y="7466"/>
                    <a:pt x="429" y="7466"/>
                  </a:cubicBezTo>
                  <a:lnTo>
                    <a:pt x="894" y="7466"/>
                  </a:lnTo>
                  <a:cubicBezTo>
                    <a:pt x="1013" y="7466"/>
                    <a:pt x="1132" y="7430"/>
                    <a:pt x="1203" y="7335"/>
                  </a:cubicBezTo>
                  <a:cubicBezTo>
                    <a:pt x="1287" y="7251"/>
                    <a:pt x="1334" y="7132"/>
                    <a:pt x="1334" y="7013"/>
                  </a:cubicBezTo>
                  <a:lnTo>
                    <a:pt x="1156" y="3632"/>
                  </a:lnTo>
                  <a:lnTo>
                    <a:pt x="1156" y="167"/>
                  </a:lnTo>
                  <a:cubicBezTo>
                    <a:pt x="1156" y="72"/>
                    <a:pt x="1084" y="0"/>
                    <a:pt x="1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21" name="Google Shape;12321;p62"/>
          <p:cNvSpPr/>
          <p:nvPr/>
        </p:nvSpPr>
        <p:spPr>
          <a:xfrm>
            <a:off x="7992774" y="1977782"/>
            <a:ext cx="330645" cy="349950"/>
          </a:xfrm>
          <a:custGeom>
            <a:avLst/>
            <a:gdLst/>
            <a:ahLst/>
            <a:cxnLst/>
            <a:rect l="l" t="t" r="r" b="b"/>
            <a:pathLst>
              <a:path w="10396" h="11003" extrusionOk="0">
                <a:moveTo>
                  <a:pt x="9740" y="2406"/>
                </a:moveTo>
                <a:cubicBezTo>
                  <a:pt x="9764" y="2418"/>
                  <a:pt x="9788" y="2442"/>
                  <a:pt x="9800" y="2466"/>
                </a:cubicBezTo>
                <a:cubicBezTo>
                  <a:pt x="9919" y="2620"/>
                  <a:pt x="9883" y="2847"/>
                  <a:pt x="9728" y="2966"/>
                </a:cubicBezTo>
                <a:lnTo>
                  <a:pt x="9740" y="2406"/>
                </a:lnTo>
                <a:close/>
                <a:moveTo>
                  <a:pt x="9728" y="3656"/>
                </a:moveTo>
                <a:cubicBezTo>
                  <a:pt x="9764" y="3680"/>
                  <a:pt x="9812" y="3716"/>
                  <a:pt x="9847" y="3751"/>
                </a:cubicBezTo>
                <a:cubicBezTo>
                  <a:pt x="9967" y="3918"/>
                  <a:pt x="9931" y="4144"/>
                  <a:pt x="9764" y="4275"/>
                </a:cubicBezTo>
                <a:lnTo>
                  <a:pt x="9705" y="4323"/>
                </a:lnTo>
                <a:lnTo>
                  <a:pt x="9728" y="3656"/>
                </a:lnTo>
                <a:close/>
                <a:moveTo>
                  <a:pt x="9705" y="4883"/>
                </a:moveTo>
                <a:cubicBezTo>
                  <a:pt x="9788" y="4906"/>
                  <a:pt x="9847" y="4942"/>
                  <a:pt x="9895" y="5025"/>
                </a:cubicBezTo>
                <a:cubicBezTo>
                  <a:pt x="9967" y="5109"/>
                  <a:pt x="9990" y="5216"/>
                  <a:pt x="9978" y="5299"/>
                </a:cubicBezTo>
                <a:cubicBezTo>
                  <a:pt x="9967" y="5406"/>
                  <a:pt x="9919" y="5478"/>
                  <a:pt x="9847" y="5537"/>
                </a:cubicBezTo>
                <a:lnTo>
                  <a:pt x="9705" y="5633"/>
                </a:lnTo>
                <a:lnTo>
                  <a:pt x="9705" y="4883"/>
                </a:lnTo>
                <a:close/>
                <a:moveTo>
                  <a:pt x="8835" y="8490"/>
                </a:moveTo>
                <a:lnTo>
                  <a:pt x="8835" y="8847"/>
                </a:lnTo>
                <a:lnTo>
                  <a:pt x="5264" y="8847"/>
                </a:lnTo>
                <a:lnTo>
                  <a:pt x="5264" y="8490"/>
                </a:lnTo>
                <a:close/>
                <a:moveTo>
                  <a:pt x="2299" y="6061"/>
                </a:moveTo>
                <a:lnTo>
                  <a:pt x="2323" y="6109"/>
                </a:lnTo>
                <a:lnTo>
                  <a:pt x="3894" y="8145"/>
                </a:lnTo>
                <a:lnTo>
                  <a:pt x="4466" y="8907"/>
                </a:lnTo>
                <a:lnTo>
                  <a:pt x="4192" y="9109"/>
                </a:lnTo>
                <a:lnTo>
                  <a:pt x="2013" y="6287"/>
                </a:lnTo>
                <a:lnTo>
                  <a:pt x="2299" y="6061"/>
                </a:lnTo>
                <a:close/>
                <a:moveTo>
                  <a:pt x="1656" y="6335"/>
                </a:moveTo>
                <a:lnTo>
                  <a:pt x="4037" y="9443"/>
                </a:lnTo>
                <a:lnTo>
                  <a:pt x="2858" y="10443"/>
                </a:lnTo>
                <a:lnTo>
                  <a:pt x="382" y="7192"/>
                </a:lnTo>
                <a:lnTo>
                  <a:pt x="1656" y="6335"/>
                </a:lnTo>
                <a:close/>
                <a:moveTo>
                  <a:pt x="8978" y="9169"/>
                </a:moveTo>
                <a:lnTo>
                  <a:pt x="9085" y="10705"/>
                </a:lnTo>
                <a:lnTo>
                  <a:pt x="5002" y="10705"/>
                </a:lnTo>
                <a:lnTo>
                  <a:pt x="5097" y="9169"/>
                </a:lnTo>
                <a:close/>
                <a:moveTo>
                  <a:pt x="6895" y="1"/>
                </a:moveTo>
                <a:cubicBezTo>
                  <a:pt x="6716" y="1"/>
                  <a:pt x="6538" y="84"/>
                  <a:pt x="6407" y="215"/>
                </a:cubicBezTo>
                <a:cubicBezTo>
                  <a:pt x="6276" y="346"/>
                  <a:pt x="6192" y="513"/>
                  <a:pt x="6192" y="703"/>
                </a:cubicBezTo>
                <a:lnTo>
                  <a:pt x="6192" y="727"/>
                </a:lnTo>
                <a:cubicBezTo>
                  <a:pt x="6073" y="656"/>
                  <a:pt x="5942" y="632"/>
                  <a:pt x="5811" y="632"/>
                </a:cubicBezTo>
                <a:cubicBezTo>
                  <a:pt x="5442" y="644"/>
                  <a:pt x="5144" y="953"/>
                  <a:pt x="5144" y="1323"/>
                </a:cubicBezTo>
                <a:lnTo>
                  <a:pt x="5144" y="3751"/>
                </a:lnTo>
                <a:lnTo>
                  <a:pt x="4680" y="4109"/>
                </a:lnTo>
                <a:lnTo>
                  <a:pt x="4811" y="3192"/>
                </a:lnTo>
                <a:cubicBezTo>
                  <a:pt x="4859" y="2811"/>
                  <a:pt x="4609" y="2466"/>
                  <a:pt x="4216" y="2418"/>
                </a:cubicBezTo>
                <a:cubicBezTo>
                  <a:pt x="4174" y="2411"/>
                  <a:pt x="4135" y="2408"/>
                  <a:pt x="4097" y="2408"/>
                </a:cubicBezTo>
                <a:cubicBezTo>
                  <a:pt x="3664" y="2408"/>
                  <a:pt x="3509" y="2823"/>
                  <a:pt x="3454" y="2966"/>
                </a:cubicBezTo>
                <a:lnTo>
                  <a:pt x="3180" y="3728"/>
                </a:lnTo>
                <a:cubicBezTo>
                  <a:pt x="3144" y="3811"/>
                  <a:pt x="3192" y="3906"/>
                  <a:pt x="3263" y="3930"/>
                </a:cubicBezTo>
                <a:cubicBezTo>
                  <a:pt x="3286" y="3938"/>
                  <a:pt x="3307" y="3942"/>
                  <a:pt x="3328" y="3942"/>
                </a:cubicBezTo>
                <a:cubicBezTo>
                  <a:pt x="3395" y="3942"/>
                  <a:pt x="3450" y="3901"/>
                  <a:pt x="3478" y="3847"/>
                </a:cubicBezTo>
                <a:lnTo>
                  <a:pt x="3751" y="3085"/>
                </a:lnTo>
                <a:cubicBezTo>
                  <a:pt x="3875" y="2775"/>
                  <a:pt x="3999" y="2725"/>
                  <a:pt x="4116" y="2725"/>
                </a:cubicBezTo>
                <a:cubicBezTo>
                  <a:pt x="4133" y="2725"/>
                  <a:pt x="4151" y="2726"/>
                  <a:pt x="4168" y="2728"/>
                </a:cubicBezTo>
                <a:cubicBezTo>
                  <a:pt x="4371" y="2751"/>
                  <a:pt x="4513" y="2930"/>
                  <a:pt x="4490" y="3144"/>
                </a:cubicBezTo>
                <a:lnTo>
                  <a:pt x="4335" y="4204"/>
                </a:lnTo>
                <a:cubicBezTo>
                  <a:pt x="4323" y="4299"/>
                  <a:pt x="4371" y="4406"/>
                  <a:pt x="4466" y="4466"/>
                </a:cubicBezTo>
                <a:cubicBezTo>
                  <a:pt x="4514" y="4493"/>
                  <a:pt x="4562" y="4505"/>
                  <a:pt x="4608" y="4505"/>
                </a:cubicBezTo>
                <a:cubicBezTo>
                  <a:pt x="4665" y="4505"/>
                  <a:pt x="4718" y="4487"/>
                  <a:pt x="4763" y="4454"/>
                </a:cubicBezTo>
                <a:lnTo>
                  <a:pt x="5144" y="4168"/>
                </a:lnTo>
                <a:lnTo>
                  <a:pt x="5144" y="5383"/>
                </a:lnTo>
                <a:lnTo>
                  <a:pt x="4490" y="4704"/>
                </a:lnTo>
                <a:cubicBezTo>
                  <a:pt x="4353" y="4573"/>
                  <a:pt x="4177" y="4507"/>
                  <a:pt x="4001" y="4507"/>
                </a:cubicBezTo>
                <a:cubicBezTo>
                  <a:pt x="3826" y="4507"/>
                  <a:pt x="3650" y="4573"/>
                  <a:pt x="3513" y="4704"/>
                </a:cubicBezTo>
                <a:lnTo>
                  <a:pt x="3490" y="4740"/>
                </a:lnTo>
                <a:cubicBezTo>
                  <a:pt x="3370" y="4871"/>
                  <a:pt x="3311" y="5014"/>
                  <a:pt x="3311" y="5204"/>
                </a:cubicBezTo>
                <a:cubicBezTo>
                  <a:pt x="3311" y="5347"/>
                  <a:pt x="3359" y="5502"/>
                  <a:pt x="3454" y="5621"/>
                </a:cubicBezTo>
                <a:cubicBezTo>
                  <a:pt x="3454" y="5633"/>
                  <a:pt x="3478" y="5633"/>
                  <a:pt x="3478" y="5645"/>
                </a:cubicBezTo>
                <a:cubicBezTo>
                  <a:pt x="3478" y="5656"/>
                  <a:pt x="3490" y="5656"/>
                  <a:pt x="3501" y="5680"/>
                </a:cubicBezTo>
                <a:lnTo>
                  <a:pt x="5025" y="8073"/>
                </a:lnTo>
                <a:lnTo>
                  <a:pt x="5037" y="8085"/>
                </a:lnTo>
                <a:cubicBezTo>
                  <a:pt x="5037" y="8097"/>
                  <a:pt x="5049" y="8121"/>
                  <a:pt x="5049" y="8133"/>
                </a:cubicBezTo>
                <a:lnTo>
                  <a:pt x="5049" y="8145"/>
                </a:lnTo>
                <a:lnTo>
                  <a:pt x="5049" y="8157"/>
                </a:lnTo>
                <a:cubicBezTo>
                  <a:pt x="5025" y="8181"/>
                  <a:pt x="4990" y="8192"/>
                  <a:pt x="4966" y="8216"/>
                </a:cubicBezTo>
                <a:cubicBezTo>
                  <a:pt x="4942" y="8240"/>
                  <a:pt x="4918" y="8264"/>
                  <a:pt x="4906" y="8300"/>
                </a:cubicBezTo>
                <a:cubicBezTo>
                  <a:pt x="4799" y="8335"/>
                  <a:pt x="4692" y="8383"/>
                  <a:pt x="4621" y="8443"/>
                </a:cubicBezTo>
                <a:lnTo>
                  <a:pt x="4537" y="8502"/>
                </a:lnTo>
                <a:lnTo>
                  <a:pt x="2870" y="6311"/>
                </a:lnTo>
                <a:lnTo>
                  <a:pt x="2608" y="5978"/>
                </a:lnTo>
                <a:cubicBezTo>
                  <a:pt x="2668" y="5895"/>
                  <a:pt x="2728" y="5811"/>
                  <a:pt x="2751" y="5740"/>
                </a:cubicBezTo>
                <a:lnTo>
                  <a:pt x="3204" y="4525"/>
                </a:lnTo>
                <a:cubicBezTo>
                  <a:pt x="3239" y="4442"/>
                  <a:pt x="3192" y="4347"/>
                  <a:pt x="3120" y="4323"/>
                </a:cubicBezTo>
                <a:cubicBezTo>
                  <a:pt x="3098" y="4315"/>
                  <a:pt x="3077" y="4311"/>
                  <a:pt x="3056" y="4311"/>
                </a:cubicBezTo>
                <a:cubicBezTo>
                  <a:pt x="2989" y="4311"/>
                  <a:pt x="2933" y="4352"/>
                  <a:pt x="2906" y="4406"/>
                </a:cubicBezTo>
                <a:lnTo>
                  <a:pt x="2454" y="5621"/>
                </a:lnTo>
                <a:lnTo>
                  <a:pt x="2454" y="5633"/>
                </a:lnTo>
                <a:cubicBezTo>
                  <a:pt x="2454" y="5645"/>
                  <a:pt x="2442" y="5680"/>
                  <a:pt x="2394" y="5716"/>
                </a:cubicBezTo>
                <a:cubicBezTo>
                  <a:pt x="2357" y="5693"/>
                  <a:pt x="2313" y="5682"/>
                  <a:pt x="2267" y="5682"/>
                </a:cubicBezTo>
                <a:cubicBezTo>
                  <a:pt x="2197" y="5682"/>
                  <a:pt x="2124" y="5708"/>
                  <a:pt x="2073" y="5752"/>
                </a:cubicBezTo>
                <a:lnTo>
                  <a:pt x="1739" y="6002"/>
                </a:lnTo>
                <a:cubicBezTo>
                  <a:pt x="1698" y="5981"/>
                  <a:pt x="1653" y="5970"/>
                  <a:pt x="1607" y="5970"/>
                </a:cubicBezTo>
                <a:cubicBezTo>
                  <a:pt x="1546" y="5970"/>
                  <a:pt x="1484" y="5990"/>
                  <a:pt x="1430" y="6037"/>
                </a:cubicBezTo>
                <a:lnTo>
                  <a:pt x="156" y="6907"/>
                </a:lnTo>
                <a:cubicBezTo>
                  <a:pt x="72" y="6954"/>
                  <a:pt x="37" y="7026"/>
                  <a:pt x="13" y="7121"/>
                </a:cubicBezTo>
                <a:cubicBezTo>
                  <a:pt x="1" y="7204"/>
                  <a:pt x="37" y="7300"/>
                  <a:pt x="72" y="7359"/>
                </a:cubicBezTo>
                <a:lnTo>
                  <a:pt x="2561" y="10621"/>
                </a:lnTo>
                <a:cubicBezTo>
                  <a:pt x="2620" y="10693"/>
                  <a:pt x="2704" y="10740"/>
                  <a:pt x="2787" y="10740"/>
                </a:cubicBezTo>
                <a:lnTo>
                  <a:pt x="2823" y="10740"/>
                </a:lnTo>
                <a:cubicBezTo>
                  <a:pt x="2894" y="10740"/>
                  <a:pt x="2966" y="10705"/>
                  <a:pt x="3025" y="10657"/>
                </a:cubicBezTo>
                <a:lnTo>
                  <a:pt x="4204" y="9645"/>
                </a:lnTo>
                <a:cubicBezTo>
                  <a:pt x="4287" y="9574"/>
                  <a:pt x="4323" y="9455"/>
                  <a:pt x="4311" y="9347"/>
                </a:cubicBezTo>
                <a:lnTo>
                  <a:pt x="4633" y="9097"/>
                </a:lnTo>
                <a:cubicBezTo>
                  <a:pt x="4692" y="9050"/>
                  <a:pt x="4740" y="8978"/>
                  <a:pt x="4752" y="8895"/>
                </a:cubicBezTo>
                <a:cubicBezTo>
                  <a:pt x="4752" y="8847"/>
                  <a:pt x="4752" y="8800"/>
                  <a:pt x="4740" y="8752"/>
                </a:cubicBezTo>
                <a:lnTo>
                  <a:pt x="4823" y="8681"/>
                </a:lnTo>
                <a:cubicBezTo>
                  <a:pt x="4847" y="8669"/>
                  <a:pt x="4859" y="8657"/>
                  <a:pt x="4883" y="8657"/>
                </a:cubicBezTo>
                <a:lnTo>
                  <a:pt x="4883" y="8847"/>
                </a:lnTo>
                <a:cubicBezTo>
                  <a:pt x="4799" y="8895"/>
                  <a:pt x="4728" y="8990"/>
                  <a:pt x="4728" y="9109"/>
                </a:cubicBezTo>
                <a:lnTo>
                  <a:pt x="4633" y="10657"/>
                </a:lnTo>
                <a:cubicBezTo>
                  <a:pt x="4633" y="10752"/>
                  <a:pt x="4668" y="10836"/>
                  <a:pt x="4728" y="10895"/>
                </a:cubicBezTo>
                <a:cubicBezTo>
                  <a:pt x="4787" y="10955"/>
                  <a:pt x="4871" y="11002"/>
                  <a:pt x="4942" y="11002"/>
                </a:cubicBezTo>
                <a:lnTo>
                  <a:pt x="9038" y="11002"/>
                </a:lnTo>
                <a:cubicBezTo>
                  <a:pt x="9133" y="11002"/>
                  <a:pt x="9205" y="10979"/>
                  <a:pt x="9264" y="10895"/>
                </a:cubicBezTo>
                <a:cubicBezTo>
                  <a:pt x="9324" y="10836"/>
                  <a:pt x="9347" y="10752"/>
                  <a:pt x="9347" y="10657"/>
                </a:cubicBezTo>
                <a:lnTo>
                  <a:pt x="9264" y="9109"/>
                </a:lnTo>
                <a:cubicBezTo>
                  <a:pt x="9264" y="8990"/>
                  <a:pt x="9193" y="8907"/>
                  <a:pt x="9097" y="8847"/>
                </a:cubicBezTo>
                <a:lnTo>
                  <a:pt x="9097" y="8431"/>
                </a:lnTo>
                <a:cubicBezTo>
                  <a:pt x="9097" y="8359"/>
                  <a:pt x="9074" y="8264"/>
                  <a:pt x="9014" y="8216"/>
                </a:cubicBezTo>
                <a:cubicBezTo>
                  <a:pt x="8978" y="8192"/>
                  <a:pt x="8931" y="8157"/>
                  <a:pt x="8907" y="8145"/>
                </a:cubicBezTo>
                <a:lnTo>
                  <a:pt x="8907" y="8026"/>
                </a:lnTo>
                <a:cubicBezTo>
                  <a:pt x="8907" y="7919"/>
                  <a:pt x="8966" y="7728"/>
                  <a:pt x="9038" y="7490"/>
                </a:cubicBezTo>
                <a:cubicBezTo>
                  <a:pt x="9074" y="7407"/>
                  <a:pt x="9026" y="7311"/>
                  <a:pt x="8954" y="7288"/>
                </a:cubicBezTo>
                <a:cubicBezTo>
                  <a:pt x="8932" y="7279"/>
                  <a:pt x="8911" y="7275"/>
                  <a:pt x="8890" y="7275"/>
                </a:cubicBezTo>
                <a:cubicBezTo>
                  <a:pt x="8823" y="7275"/>
                  <a:pt x="8768" y="7316"/>
                  <a:pt x="8740" y="7371"/>
                </a:cubicBezTo>
                <a:cubicBezTo>
                  <a:pt x="8669" y="7561"/>
                  <a:pt x="8573" y="7835"/>
                  <a:pt x="8573" y="8014"/>
                </a:cubicBezTo>
                <a:lnTo>
                  <a:pt x="8573" y="8121"/>
                </a:lnTo>
                <a:lnTo>
                  <a:pt x="5406" y="8121"/>
                </a:lnTo>
                <a:cubicBezTo>
                  <a:pt x="5395" y="8014"/>
                  <a:pt x="5347" y="7919"/>
                  <a:pt x="5323" y="7859"/>
                </a:cubicBezTo>
                <a:lnTo>
                  <a:pt x="3787" y="5454"/>
                </a:lnTo>
                <a:cubicBezTo>
                  <a:pt x="3787" y="5442"/>
                  <a:pt x="3775" y="5442"/>
                  <a:pt x="3751" y="5418"/>
                </a:cubicBezTo>
                <a:cubicBezTo>
                  <a:pt x="3609" y="5275"/>
                  <a:pt x="3609" y="5049"/>
                  <a:pt x="3751" y="4906"/>
                </a:cubicBezTo>
                <a:cubicBezTo>
                  <a:pt x="3829" y="4829"/>
                  <a:pt x="3924" y="4790"/>
                  <a:pt x="4018" y="4790"/>
                </a:cubicBezTo>
                <a:cubicBezTo>
                  <a:pt x="4112" y="4790"/>
                  <a:pt x="4204" y="4829"/>
                  <a:pt x="4275" y="4906"/>
                </a:cubicBezTo>
                <a:lnTo>
                  <a:pt x="5025" y="5656"/>
                </a:lnTo>
                <a:cubicBezTo>
                  <a:pt x="5072" y="5711"/>
                  <a:pt x="5140" y="5740"/>
                  <a:pt x="5211" y="5740"/>
                </a:cubicBezTo>
                <a:cubicBezTo>
                  <a:pt x="5248" y="5740"/>
                  <a:pt x="5286" y="5732"/>
                  <a:pt x="5323" y="5716"/>
                </a:cubicBezTo>
                <a:cubicBezTo>
                  <a:pt x="5418" y="5680"/>
                  <a:pt x="5478" y="5585"/>
                  <a:pt x="5478" y="5466"/>
                </a:cubicBezTo>
                <a:lnTo>
                  <a:pt x="5478" y="3799"/>
                </a:lnTo>
                <a:lnTo>
                  <a:pt x="5478" y="1287"/>
                </a:lnTo>
                <a:cubicBezTo>
                  <a:pt x="5478" y="1073"/>
                  <a:pt x="5645" y="918"/>
                  <a:pt x="5835" y="918"/>
                </a:cubicBezTo>
                <a:cubicBezTo>
                  <a:pt x="5942" y="918"/>
                  <a:pt x="6037" y="942"/>
                  <a:pt x="6109" y="1013"/>
                </a:cubicBezTo>
                <a:cubicBezTo>
                  <a:pt x="6180" y="1096"/>
                  <a:pt x="6216" y="1180"/>
                  <a:pt x="6216" y="1287"/>
                </a:cubicBezTo>
                <a:lnTo>
                  <a:pt x="6216" y="4454"/>
                </a:lnTo>
                <a:cubicBezTo>
                  <a:pt x="6216" y="4549"/>
                  <a:pt x="6287" y="4621"/>
                  <a:pt x="6371" y="4621"/>
                </a:cubicBezTo>
                <a:cubicBezTo>
                  <a:pt x="6466" y="4621"/>
                  <a:pt x="6538" y="4549"/>
                  <a:pt x="6538" y="4454"/>
                </a:cubicBezTo>
                <a:lnTo>
                  <a:pt x="6538" y="1287"/>
                </a:lnTo>
                <a:lnTo>
                  <a:pt x="6538" y="680"/>
                </a:lnTo>
                <a:cubicBezTo>
                  <a:pt x="6538" y="572"/>
                  <a:pt x="6585" y="477"/>
                  <a:pt x="6645" y="418"/>
                </a:cubicBezTo>
                <a:cubicBezTo>
                  <a:pt x="6716" y="346"/>
                  <a:pt x="6811" y="322"/>
                  <a:pt x="6895" y="322"/>
                </a:cubicBezTo>
                <a:cubicBezTo>
                  <a:pt x="7002" y="322"/>
                  <a:pt x="7085" y="358"/>
                  <a:pt x="7145" y="418"/>
                </a:cubicBezTo>
                <a:cubicBezTo>
                  <a:pt x="7228" y="501"/>
                  <a:pt x="7252" y="584"/>
                  <a:pt x="7252" y="680"/>
                </a:cubicBezTo>
                <a:lnTo>
                  <a:pt x="7252" y="4454"/>
                </a:lnTo>
                <a:cubicBezTo>
                  <a:pt x="7252" y="4549"/>
                  <a:pt x="7323" y="4621"/>
                  <a:pt x="7419" y="4621"/>
                </a:cubicBezTo>
                <a:cubicBezTo>
                  <a:pt x="7502" y="4621"/>
                  <a:pt x="7585" y="4549"/>
                  <a:pt x="7585" y="4454"/>
                </a:cubicBezTo>
                <a:lnTo>
                  <a:pt x="7585" y="1430"/>
                </a:lnTo>
                <a:cubicBezTo>
                  <a:pt x="7585" y="1334"/>
                  <a:pt x="7621" y="1239"/>
                  <a:pt x="7681" y="1180"/>
                </a:cubicBezTo>
                <a:cubicBezTo>
                  <a:pt x="7740" y="1120"/>
                  <a:pt x="7847" y="1073"/>
                  <a:pt x="7942" y="1073"/>
                </a:cubicBezTo>
                <a:cubicBezTo>
                  <a:pt x="8038" y="1073"/>
                  <a:pt x="8133" y="1120"/>
                  <a:pt x="8192" y="1180"/>
                </a:cubicBezTo>
                <a:cubicBezTo>
                  <a:pt x="8264" y="1251"/>
                  <a:pt x="8300" y="1346"/>
                  <a:pt x="8300" y="1430"/>
                </a:cubicBezTo>
                <a:lnTo>
                  <a:pt x="8300" y="4454"/>
                </a:lnTo>
                <a:cubicBezTo>
                  <a:pt x="8300" y="4549"/>
                  <a:pt x="8371" y="4621"/>
                  <a:pt x="8454" y="4621"/>
                </a:cubicBezTo>
                <a:cubicBezTo>
                  <a:pt x="8550" y="4621"/>
                  <a:pt x="8621" y="4549"/>
                  <a:pt x="8621" y="4454"/>
                </a:cubicBezTo>
                <a:lnTo>
                  <a:pt x="8621" y="2168"/>
                </a:lnTo>
                <a:cubicBezTo>
                  <a:pt x="8621" y="1954"/>
                  <a:pt x="8788" y="1787"/>
                  <a:pt x="8990" y="1787"/>
                </a:cubicBezTo>
                <a:cubicBezTo>
                  <a:pt x="9097" y="1787"/>
                  <a:pt x="9193" y="1835"/>
                  <a:pt x="9252" y="1894"/>
                </a:cubicBezTo>
                <a:cubicBezTo>
                  <a:pt x="9324" y="1966"/>
                  <a:pt x="9347" y="2061"/>
                  <a:pt x="9347" y="2144"/>
                </a:cubicBezTo>
                <a:lnTo>
                  <a:pt x="9324" y="5883"/>
                </a:lnTo>
                <a:lnTo>
                  <a:pt x="9324" y="5918"/>
                </a:lnTo>
                <a:cubicBezTo>
                  <a:pt x="9312" y="6180"/>
                  <a:pt x="9228" y="6430"/>
                  <a:pt x="9085" y="6657"/>
                </a:cubicBezTo>
                <a:cubicBezTo>
                  <a:pt x="9038" y="6728"/>
                  <a:pt x="9050" y="6835"/>
                  <a:pt x="9133" y="6883"/>
                </a:cubicBezTo>
                <a:cubicBezTo>
                  <a:pt x="9158" y="6900"/>
                  <a:pt x="9188" y="6908"/>
                  <a:pt x="9218" y="6908"/>
                </a:cubicBezTo>
                <a:cubicBezTo>
                  <a:pt x="9271" y="6908"/>
                  <a:pt x="9324" y="6881"/>
                  <a:pt x="9347" y="6835"/>
                </a:cubicBezTo>
                <a:cubicBezTo>
                  <a:pt x="9526" y="6585"/>
                  <a:pt x="9621" y="6299"/>
                  <a:pt x="9645" y="6002"/>
                </a:cubicBezTo>
                <a:lnTo>
                  <a:pt x="9978" y="5752"/>
                </a:lnTo>
                <a:cubicBezTo>
                  <a:pt x="10336" y="5573"/>
                  <a:pt x="10395" y="5144"/>
                  <a:pt x="10157" y="4847"/>
                </a:cubicBezTo>
                <a:cubicBezTo>
                  <a:pt x="10086" y="4740"/>
                  <a:pt x="9967" y="4668"/>
                  <a:pt x="9847" y="4621"/>
                </a:cubicBezTo>
                <a:lnTo>
                  <a:pt x="9967" y="4525"/>
                </a:lnTo>
                <a:cubicBezTo>
                  <a:pt x="10109" y="4406"/>
                  <a:pt x="10205" y="4263"/>
                  <a:pt x="10228" y="4073"/>
                </a:cubicBezTo>
                <a:cubicBezTo>
                  <a:pt x="10264" y="3894"/>
                  <a:pt x="10205" y="3716"/>
                  <a:pt x="10097" y="3561"/>
                </a:cubicBezTo>
                <a:cubicBezTo>
                  <a:pt x="10026" y="3454"/>
                  <a:pt x="9907" y="3382"/>
                  <a:pt x="9788" y="3335"/>
                </a:cubicBezTo>
                <a:lnTo>
                  <a:pt x="9919" y="3239"/>
                </a:lnTo>
                <a:cubicBezTo>
                  <a:pt x="10062" y="3120"/>
                  <a:pt x="10157" y="2966"/>
                  <a:pt x="10181" y="2775"/>
                </a:cubicBezTo>
                <a:cubicBezTo>
                  <a:pt x="10217" y="2597"/>
                  <a:pt x="10157" y="2418"/>
                  <a:pt x="10050" y="2263"/>
                </a:cubicBezTo>
                <a:cubicBezTo>
                  <a:pt x="9967" y="2144"/>
                  <a:pt x="9847" y="2073"/>
                  <a:pt x="9705" y="2025"/>
                </a:cubicBezTo>
                <a:cubicBezTo>
                  <a:pt x="9681" y="1906"/>
                  <a:pt x="9621" y="1811"/>
                  <a:pt x="9526" y="1715"/>
                </a:cubicBezTo>
                <a:cubicBezTo>
                  <a:pt x="9395" y="1585"/>
                  <a:pt x="9228" y="1513"/>
                  <a:pt x="9038" y="1513"/>
                </a:cubicBezTo>
                <a:cubicBezTo>
                  <a:pt x="8907" y="1513"/>
                  <a:pt x="8788" y="1549"/>
                  <a:pt x="8669" y="1608"/>
                </a:cubicBezTo>
                <a:lnTo>
                  <a:pt x="8669" y="1465"/>
                </a:lnTo>
                <a:cubicBezTo>
                  <a:pt x="8669" y="1287"/>
                  <a:pt x="8597" y="1108"/>
                  <a:pt x="8454" y="977"/>
                </a:cubicBezTo>
                <a:cubicBezTo>
                  <a:pt x="8323" y="834"/>
                  <a:pt x="8157" y="763"/>
                  <a:pt x="7966" y="763"/>
                </a:cubicBezTo>
                <a:cubicBezTo>
                  <a:pt x="7835" y="763"/>
                  <a:pt x="7716" y="799"/>
                  <a:pt x="7597" y="870"/>
                </a:cubicBezTo>
                <a:lnTo>
                  <a:pt x="7597" y="703"/>
                </a:lnTo>
                <a:cubicBezTo>
                  <a:pt x="7597" y="525"/>
                  <a:pt x="7526" y="346"/>
                  <a:pt x="7383" y="215"/>
                </a:cubicBezTo>
                <a:cubicBezTo>
                  <a:pt x="7252" y="84"/>
                  <a:pt x="7085" y="1"/>
                  <a:pt x="68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22" name="Google Shape;12322;p62"/>
          <p:cNvGrpSpPr/>
          <p:nvPr/>
        </p:nvGrpSpPr>
        <p:grpSpPr>
          <a:xfrm>
            <a:off x="4883835" y="1992571"/>
            <a:ext cx="350300" cy="323043"/>
            <a:chOff x="4883835" y="1992571"/>
            <a:chExt cx="350300" cy="323043"/>
          </a:xfrm>
        </p:grpSpPr>
        <p:sp>
          <p:nvSpPr>
            <p:cNvPr id="12323" name="Google Shape;12323;p62"/>
            <p:cNvSpPr/>
            <p:nvPr/>
          </p:nvSpPr>
          <p:spPr>
            <a:xfrm>
              <a:off x="4883835" y="1992571"/>
              <a:ext cx="350300" cy="123085"/>
            </a:xfrm>
            <a:custGeom>
              <a:avLst/>
              <a:gdLst/>
              <a:ahLst/>
              <a:cxnLst/>
              <a:rect l="l" t="t" r="r" b="b"/>
              <a:pathLst>
                <a:path w="11014" h="3870" extrusionOk="0">
                  <a:moveTo>
                    <a:pt x="8323" y="298"/>
                  </a:moveTo>
                  <a:cubicBezTo>
                    <a:pt x="9430" y="298"/>
                    <a:pt x="10335" y="393"/>
                    <a:pt x="10704" y="429"/>
                  </a:cubicBezTo>
                  <a:lnTo>
                    <a:pt x="10704" y="762"/>
                  </a:lnTo>
                  <a:cubicBezTo>
                    <a:pt x="10645" y="846"/>
                    <a:pt x="10562" y="1060"/>
                    <a:pt x="10562" y="1417"/>
                  </a:cubicBezTo>
                  <a:cubicBezTo>
                    <a:pt x="10562" y="2179"/>
                    <a:pt x="10419" y="2691"/>
                    <a:pt x="10145" y="3025"/>
                  </a:cubicBezTo>
                  <a:cubicBezTo>
                    <a:pt x="9930" y="3263"/>
                    <a:pt x="9621" y="3382"/>
                    <a:pt x="9395" y="3441"/>
                  </a:cubicBezTo>
                  <a:cubicBezTo>
                    <a:pt x="9097" y="3513"/>
                    <a:pt x="8787" y="3513"/>
                    <a:pt x="8490" y="3525"/>
                  </a:cubicBezTo>
                  <a:cubicBezTo>
                    <a:pt x="8097" y="3525"/>
                    <a:pt x="7728" y="3525"/>
                    <a:pt x="7406" y="3370"/>
                  </a:cubicBezTo>
                  <a:cubicBezTo>
                    <a:pt x="6990" y="3155"/>
                    <a:pt x="6728" y="2739"/>
                    <a:pt x="6537" y="2393"/>
                  </a:cubicBezTo>
                  <a:cubicBezTo>
                    <a:pt x="6430" y="2191"/>
                    <a:pt x="6347" y="1965"/>
                    <a:pt x="6275" y="1739"/>
                  </a:cubicBezTo>
                  <a:cubicBezTo>
                    <a:pt x="6180" y="1429"/>
                    <a:pt x="5894" y="1203"/>
                    <a:pt x="5573" y="1203"/>
                  </a:cubicBezTo>
                  <a:lnTo>
                    <a:pt x="5454" y="1203"/>
                  </a:lnTo>
                  <a:cubicBezTo>
                    <a:pt x="5120" y="1203"/>
                    <a:pt x="4847" y="1429"/>
                    <a:pt x="4751" y="1739"/>
                  </a:cubicBezTo>
                  <a:cubicBezTo>
                    <a:pt x="4692" y="1965"/>
                    <a:pt x="4608" y="2191"/>
                    <a:pt x="4489" y="2393"/>
                  </a:cubicBezTo>
                  <a:cubicBezTo>
                    <a:pt x="4311" y="2739"/>
                    <a:pt x="4037" y="3155"/>
                    <a:pt x="3620" y="3370"/>
                  </a:cubicBezTo>
                  <a:cubicBezTo>
                    <a:pt x="3311" y="3513"/>
                    <a:pt x="2918" y="3525"/>
                    <a:pt x="2537" y="3525"/>
                  </a:cubicBezTo>
                  <a:cubicBezTo>
                    <a:pt x="2239" y="3525"/>
                    <a:pt x="1906" y="3513"/>
                    <a:pt x="1632" y="3441"/>
                  </a:cubicBezTo>
                  <a:cubicBezTo>
                    <a:pt x="1406" y="3382"/>
                    <a:pt x="1108" y="3275"/>
                    <a:pt x="882" y="3025"/>
                  </a:cubicBezTo>
                  <a:cubicBezTo>
                    <a:pt x="596" y="2715"/>
                    <a:pt x="465" y="2179"/>
                    <a:pt x="465" y="1417"/>
                  </a:cubicBezTo>
                  <a:cubicBezTo>
                    <a:pt x="465" y="1048"/>
                    <a:pt x="382" y="846"/>
                    <a:pt x="322" y="762"/>
                  </a:cubicBezTo>
                  <a:lnTo>
                    <a:pt x="322" y="429"/>
                  </a:lnTo>
                  <a:cubicBezTo>
                    <a:pt x="691" y="393"/>
                    <a:pt x="1584" y="298"/>
                    <a:pt x="2703" y="298"/>
                  </a:cubicBezTo>
                  <a:cubicBezTo>
                    <a:pt x="3656" y="298"/>
                    <a:pt x="4323" y="572"/>
                    <a:pt x="4632" y="727"/>
                  </a:cubicBezTo>
                  <a:cubicBezTo>
                    <a:pt x="4787" y="810"/>
                    <a:pt x="4942" y="869"/>
                    <a:pt x="5108" y="893"/>
                  </a:cubicBezTo>
                  <a:cubicBezTo>
                    <a:pt x="5245" y="923"/>
                    <a:pt x="5379" y="938"/>
                    <a:pt x="5513" y="938"/>
                  </a:cubicBezTo>
                  <a:cubicBezTo>
                    <a:pt x="5647" y="938"/>
                    <a:pt x="5781" y="923"/>
                    <a:pt x="5918" y="893"/>
                  </a:cubicBezTo>
                  <a:cubicBezTo>
                    <a:pt x="6073" y="869"/>
                    <a:pt x="6240" y="810"/>
                    <a:pt x="6394" y="727"/>
                  </a:cubicBezTo>
                  <a:cubicBezTo>
                    <a:pt x="6704" y="572"/>
                    <a:pt x="7371" y="298"/>
                    <a:pt x="8323" y="298"/>
                  </a:cubicBezTo>
                  <a:close/>
                  <a:moveTo>
                    <a:pt x="2715" y="0"/>
                  </a:moveTo>
                  <a:cubicBezTo>
                    <a:pt x="1548" y="0"/>
                    <a:pt x="620" y="96"/>
                    <a:pt x="263" y="131"/>
                  </a:cubicBezTo>
                  <a:cubicBezTo>
                    <a:pt x="108" y="155"/>
                    <a:pt x="1" y="274"/>
                    <a:pt x="1" y="417"/>
                  </a:cubicBezTo>
                  <a:lnTo>
                    <a:pt x="1" y="786"/>
                  </a:lnTo>
                  <a:cubicBezTo>
                    <a:pt x="1" y="846"/>
                    <a:pt x="24" y="893"/>
                    <a:pt x="48" y="953"/>
                  </a:cubicBezTo>
                  <a:cubicBezTo>
                    <a:pt x="84" y="989"/>
                    <a:pt x="155" y="1131"/>
                    <a:pt x="155" y="1441"/>
                  </a:cubicBezTo>
                  <a:cubicBezTo>
                    <a:pt x="155" y="2298"/>
                    <a:pt x="322" y="2870"/>
                    <a:pt x="644" y="3263"/>
                  </a:cubicBezTo>
                  <a:cubicBezTo>
                    <a:pt x="858" y="3501"/>
                    <a:pt x="1167" y="3679"/>
                    <a:pt x="1548" y="3787"/>
                  </a:cubicBezTo>
                  <a:cubicBezTo>
                    <a:pt x="1882" y="3858"/>
                    <a:pt x="2227" y="3870"/>
                    <a:pt x="2537" y="3870"/>
                  </a:cubicBezTo>
                  <a:cubicBezTo>
                    <a:pt x="2953" y="3870"/>
                    <a:pt x="3382" y="3858"/>
                    <a:pt x="3763" y="3679"/>
                  </a:cubicBezTo>
                  <a:cubicBezTo>
                    <a:pt x="4263" y="3441"/>
                    <a:pt x="4573" y="2965"/>
                    <a:pt x="4763" y="2572"/>
                  </a:cubicBezTo>
                  <a:cubicBezTo>
                    <a:pt x="4882" y="2358"/>
                    <a:pt x="4989" y="2120"/>
                    <a:pt x="5049" y="1858"/>
                  </a:cubicBezTo>
                  <a:cubicBezTo>
                    <a:pt x="5097" y="1679"/>
                    <a:pt x="5263" y="1560"/>
                    <a:pt x="5430" y="1560"/>
                  </a:cubicBezTo>
                  <a:lnTo>
                    <a:pt x="5549" y="1560"/>
                  </a:lnTo>
                  <a:cubicBezTo>
                    <a:pt x="5728" y="1560"/>
                    <a:pt x="5894" y="1679"/>
                    <a:pt x="5942" y="1858"/>
                  </a:cubicBezTo>
                  <a:cubicBezTo>
                    <a:pt x="6013" y="2096"/>
                    <a:pt x="6109" y="2334"/>
                    <a:pt x="6228" y="2572"/>
                  </a:cubicBezTo>
                  <a:cubicBezTo>
                    <a:pt x="6430" y="2965"/>
                    <a:pt x="6728" y="3441"/>
                    <a:pt x="7216" y="3679"/>
                  </a:cubicBezTo>
                  <a:cubicBezTo>
                    <a:pt x="7585" y="3858"/>
                    <a:pt x="7966" y="3870"/>
                    <a:pt x="8347" y="3870"/>
                  </a:cubicBezTo>
                  <a:lnTo>
                    <a:pt x="8454" y="3870"/>
                  </a:lnTo>
                  <a:cubicBezTo>
                    <a:pt x="8764" y="3870"/>
                    <a:pt x="9109" y="3858"/>
                    <a:pt x="9442" y="3787"/>
                  </a:cubicBezTo>
                  <a:cubicBezTo>
                    <a:pt x="9811" y="3691"/>
                    <a:pt x="10121" y="3513"/>
                    <a:pt x="10347" y="3263"/>
                  </a:cubicBezTo>
                  <a:cubicBezTo>
                    <a:pt x="10669" y="2870"/>
                    <a:pt x="10835" y="2298"/>
                    <a:pt x="10835" y="1441"/>
                  </a:cubicBezTo>
                  <a:cubicBezTo>
                    <a:pt x="10835" y="1131"/>
                    <a:pt x="10907" y="1000"/>
                    <a:pt x="10943" y="953"/>
                  </a:cubicBezTo>
                  <a:cubicBezTo>
                    <a:pt x="10966" y="905"/>
                    <a:pt x="10990" y="846"/>
                    <a:pt x="10990" y="786"/>
                  </a:cubicBezTo>
                  <a:lnTo>
                    <a:pt x="10990" y="417"/>
                  </a:lnTo>
                  <a:cubicBezTo>
                    <a:pt x="11014" y="274"/>
                    <a:pt x="10919" y="155"/>
                    <a:pt x="10776" y="131"/>
                  </a:cubicBezTo>
                  <a:cubicBezTo>
                    <a:pt x="10442" y="96"/>
                    <a:pt x="9502" y="0"/>
                    <a:pt x="8323" y="0"/>
                  </a:cubicBezTo>
                  <a:cubicBezTo>
                    <a:pt x="7299" y="0"/>
                    <a:pt x="6585" y="298"/>
                    <a:pt x="6240" y="477"/>
                  </a:cubicBezTo>
                  <a:cubicBezTo>
                    <a:pt x="6120" y="536"/>
                    <a:pt x="5990" y="596"/>
                    <a:pt x="5859" y="608"/>
                  </a:cubicBezTo>
                  <a:cubicBezTo>
                    <a:pt x="5745" y="631"/>
                    <a:pt x="5632" y="643"/>
                    <a:pt x="5519" y="643"/>
                  </a:cubicBezTo>
                  <a:cubicBezTo>
                    <a:pt x="5406" y="643"/>
                    <a:pt x="5293" y="631"/>
                    <a:pt x="5180" y="608"/>
                  </a:cubicBezTo>
                  <a:cubicBezTo>
                    <a:pt x="5049" y="584"/>
                    <a:pt x="4918" y="536"/>
                    <a:pt x="4799" y="477"/>
                  </a:cubicBezTo>
                  <a:cubicBezTo>
                    <a:pt x="4454" y="298"/>
                    <a:pt x="3739" y="0"/>
                    <a:pt x="2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4" name="Google Shape;12324;p62"/>
            <p:cNvSpPr/>
            <p:nvPr/>
          </p:nvSpPr>
          <p:spPr>
            <a:xfrm>
              <a:off x="5084174" y="2009237"/>
              <a:ext cx="130655" cy="88641"/>
            </a:xfrm>
            <a:custGeom>
              <a:avLst/>
              <a:gdLst/>
              <a:ahLst/>
              <a:cxnLst/>
              <a:rect l="l" t="t" r="r" b="b"/>
              <a:pathLst>
                <a:path w="4108" h="2787" extrusionOk="0">
                  <a:moveTo>
                    <a:pt x="2036" y="345"/>
                  </a:moveTo>
                  <a:cubicBezTo>
                    <a:pt x="2750" y="345"/>
                    <a:pt x="3381" y="381"/>
                    <a:pt x="3786" y="417"/>
                  </a:cubicBezTo>
                  <a:cubicBezTo>
                    <a:pt x="3739" y="548"/>
                    <a:pt x="3727" y="715"/>
                    <a:pt x="3727" y="905"/>
                  </a:cubicBezTo>
                  <a:cubicBezTo>
                    <a:pt x="3727" y="1679"/>
                    <a:pt x="3572" y="2012"/>
                    <a:pt x="3441" y="2155"/>
                  </a:cubicBezTo>
                  <a:cubicBezTo>
                    <a:pt x="3322" y="2286"/>
                    <a:pt x="3131" y="2370"/>
                    <a:pt x="2977" y="2393"/>
                  </a:cubicBezTo>
                  <a:cubicBezTo>
                    <a:pt x="2739" y="2453"/>
                    <a:pt x="2477" y="2453"/>
                    <a:pt x="2191" y="2465"/>
                  </a:cubicBezTo>
                  <a:lnTo>
                    <a:pt x="2096" y="2465"/>
                  </a:lnTo>
                  <a:cubicBezTo>
                    <a:pt x="1786" y="2465"/>
                    <a:pt x="1536" y="2453"/>
                    <a:pt x="1357" y="2370"/>
                  </a:cubicBezTo>
                  <a:cubicBezTo>
                    <a:pt x="1143" y="2262"/>
                    <a:pt x="953" y="2036"/>
                    <a:pt x="750" y="1631"/>
                  </a:cubicBezTo>
                  <a:cubicBezTo>
                    <a:pt x="655" y="1453"/>
                    <a:pt x="583" y="1274"/>
                    <a:pt x="524" y="1084"/>
                  </a:cubicBezTo>
                  <a:cubicBezTo>
                    <a:pt x="488" y="953"/>
                    <a:pt x="429" y="834"/>
                    <a:pt x="357" y="715"/>
                  </a:cubicBezTo>
                  <a:cubicBezTo>
                    <a:pt x="631" y="584"/>
                    <a:pt x="1203" y="345"/>
                    <a:pt x="2036" y="345"/>
                  </a:cubicBezTo>
                  <a:close/>
                  <a:moveTo>
                    <a:pt x="2024" y="0"/>
                  </a:moveTo>
                  <a:cubicBezTo>
                    <a:pt x="1119" y="0"/>
                    <a:pt x="476" y="250"/>
                    <a:pt x="191" y="417"/>
                  </a:cubicBezTo>
                  <a:cubicBezTo>
                    <a:pt x="107" y="465"/>
                    <a:pt x="48" y="536"/>
                    <a:pt x="36" y="619"/>
                  </a:cubicBezTo>
                  <a:cubicBezTo>
                    <a:pt x="0" y="715"/>
                    <a:pt x="36" y="798"/>
                    <a:pt x="72" y="893"/>
                  </a:cubicBezTo>
                  <a:cubicBezTo>
                    <a:pt x="131" y="977"/>
                    <a:pt x="179" y="1072"/>
                    <a:pt x="214" y="1155"/>
                  </a:cubicBezTo>
                  <a:cubicBezTo>
                    <a:pt x="274" y="1369"/>
                    <a:pt x="357" y="1572"/>
                    <a:pt x="453" y="1774"/>
                  </a:cubicBezTo>
                  <a:cubicBezTo>
                    <a:pt x="703" y="2250"/>
                    <a:pt x="929" y="2512"/>
                    <a:pt x="1203" y="2643"/>
                  </a:cubicBezTo>
                  <a:cubicBezTo>
                    <a:pt x="1441" y="2762"/>
                    <a:pt x="1738" y="2786"/>
                    <a:pt x="2096" y="2786"/>
                  </a:cubicBezTo>
                  <a:lnTo>
                    <a:pt x="2203" y="2786"/>
                  </a:lnTo>
                  <a:cubicBezTo>
                    <a:pt x="2500" y="2786"/>
                    <a:pt x="2798" y="2762"/>
                    <a:pt x="3072" y="2703"/>
                  </a:cubicBezTo>
                  <a:cubicBezTo>
                    <a:pt x="3262" y="2667"/>
                    <a:pt x="3512" y="2560"/>
                    <a:pt x="3691" y="2370"/>
                  </a:cubicBezTo>
                  <a:cubicBezTo>
                    <a:pt x="3929" y="2084"/>
                    <a:pt x="4048" y="1608"/>
                    <a:pt x="4048" y="905"/>
                  </a:cubicBezTo>
                  <a:cubicBezTo>
                    <a:pt x="4048" y="762"/>
                    <a:pt x="4060" y="607"/>
                    <a:pt x="4096" y="476"/>
                  </a:cubicBezTo>
                  <a:cubicBezTo>
                    <a:pt x="4108" y="381"/>
                    <a:pt x="4096" y="286"/>
                    <a:pt x="4036" y="203"/>
                  </a:cubicBezTo>
                  <a:cubicBezTo>
                    <a:pt x="3977" y="131"/>
                    <a:pt x="3893" y="84"/>
                    <a:pt x="3798" y="72"/>
                  </a:cubicBezTo>
                  <a:cubicBezTo>
                    <a:pt x="3393" y="48"/>
                    <a:pt x="2750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5" name="Google Shape;12325;p62"/>
            <p:cNvSpPr/>
            <p:nvPr/>
          </p:nvSpPr>
          <p:spPr>
            <a:xfrm>
              <a:off x="4904285" y="2009237"/>
              <a:ext cx="130687" cy="88641"/>
            </a:xfrm>
            <a:custGeom>
              <a:avLst/>
              <a:gdLst/>
              <a:ahLst/>
              <a:cxnLst/>
              <a:rect l="l" t="t" r="r" b="b"/>
              <a:pathLst>
                <a:path w="4109" h="2787" extrusionOk="0">
                  <a:moveTo>
                    <a:pt x="2084" y="310"/>
                  </a:moveTo>
                  <a:cubicBezTo>
                    <a:pt x="2918" y="322"/>
                    <a:pt x="3501" y="560"/>
                    <a:pt x="3763" y="715"/>
                  </a:cubicBezTo>
                  <a:cubicBezTo>
                    <a:pt x="3692" y="834"/>
                    <a:pt x="3632" y="953"/>
                    <a:pt x="3608" y="1072"/>
                  </a:cubicBezTo>
                  <a:cubicBezTo>
                    <a:pt x="3549" y="1262"/>
                    <a:pt x="3465" y="1441"/>
                    <a:pt x="3382" y="1619"/>
                  </a:cubicBezTo>
                  <a:cubicBezTo>
                    <a:pt x="3168" y="2024"/>
                    <a:pt x="2977" y="2239"/>
                    <a:pt x="2775" y="2346"/>
                  </a:cubicBezTo>
                  <a:cubicBezTo>
                    <a:pt x="2596" y="2441"/>
                    <a:pt x="2334" y="2453"/>
                    <a:pt x="2025" y="2453"/>
                  </a:cubicBezTo>
                  <a:lnTo>
                    <a:pt x="1941" y="2453"/>
                  </a:lnTo>
                  <a:cubicBezTo>
                    <a:pt x="1656" y="2453"/>
                    <a:pt x="1382" y="2441"/>
                    <a:pt x="1144" y="2381"/>
                  </a:cubicBezTo>
                  <a:cubicBezTo>
                    <a:pt x="1001" y="2346"/>
                    <a:pt x="810" y="2274"/>
                    <a:pt x="691" y="2143"/>
                  </a:cubicBezTo>
                  <a:cubicBezTo>
                    <a:pt x="548" y="1989"/>
                    <a:pt x="405" y="1667"/>
                    <a:pt x="405" y="893"/>
                  </a:cubicBezTo>
                  <a:cubicBezTo>
                    <a:pt x="405" y="715"/>
                    <a:pt x="394" y="548"/>
                    <a:pt x="346" y="381"/>
                  </a:cubicBezTo>
                  <a:cubicBezTo>
                    <a:pt x="751" y="357"/>
                    <a:pt x="1370" y="310"/>
                    <a:pt x="2084" y="310"/>
                  </a:cubicBezTo>
                  <a:close/>
                  <a:moveTo>
                    <a:pt x="2084" y="0"/>
                  </a:moveTo>
                  <a:cubicBezTo>
                    <a:pt x="1358" y="0"/>
                    <a:pt x="727" y="48"/>
                    <a:pt x="310" y="72"/>
                  </a:cubicBezTo>
                  <a:cubicBezTo>
                    <a:pt x="227" y="84"/>
                    <a:pt x="132" y="131"/>
                    <a:pt x="72" y="203"/>
                  </a:cubicBezTo>
                  <a:cubicBezTo>
                    <a:pt x="13" y="286"/>
                    <a:pt x="1" y="369"/>
                    <a:pt x="13" y="476"/>
                  </a:cubicBezTo>
                  <a:cubicBezTo>
                    <a:pt x="48" y="607"/>
                    <a:pt x="60" y="738"/>
                    <a:pt x="60" y="905"/>
                  </a:cubicBezTo>
                  <a:cubicBezTo>
                    <a:pt x="60" y="1608"/>
                    <a:pt x="179" y="2096"/>
                    <a:pt x="417" y="2370"/>
                  </a:cubicBezTo>
                  <a:cubicBezTo>
                    <a:pt x="596" y="2572"/>
                    <a:pt x="846" y="2667"/>
                    <a:pt x="1048" y="2703"/>
                  </a:cubicBezTo>
                  <a:cubicBezTo>
                    <a:pt x="1310" y="2762"/>
                    <a:pt x="1608" y="2786"/>
                    <a:pt x="1906" y="2786"/>
                  </a:cubicBezTo>
                  <a:lnTo>
                    <a:pt x="2013" y="2786"/>
                  </a:lnTo>
                  <a:cubicBezTo>
                    <a:pt x="2370" y="2786"/>
                    <a:pt x="2668" y="2751"/>
                    <a:pt x="2906" y="2643"/>
                  </a:cubicBezTo>
                  <a:cubicBezTo>
                    <a:pt x="3191" y="2512"/>
                    <a:pt x="3430" y="2250"/>
                    <a:pt x="3668" y="1774"/>
                  </a:cubicBezTo>
                  <a:cubicBezTo>
                    <a:pt x="3763" y="1572"/>
                    <a:pt x="3846" y="1369"/>
                    <a:pt x="3894" y="1155"/>
                  </a:cubicBezTo>
                  <a:cubicBezTo>
                    <a:pt x="3930" y="1072"/>
                    <a:pt x="3977" y="965"/>
                    <a:pt x="4013" y="893"/>
                  </a:cubicBezTo>
                  <a:cubicBezTo>
                    <a:pt x="4096" y="822"/>
                    <a:pt x="4108" y="715"/>
                    <a:pt x="4073" y="619"/>
                  </a:cubicBezTo>
                  <a:cubicBezTo>
                    <a:pt x="4049" y="536"/>
                    <a:pt x="4001" y="453"/>
                    <a:pt x="3918" y="417"/>
                  </a:cubicBezTo>
                  <a:cubicBezTo>
                    <a:pt x="3620" y="262"/>
                    <a:pt x="2989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6" name="Google Shape;12326;p62"/>
            <p:cNvSpPr/>
            <p:nvPr/>
          </p:nvSpPr>
          <p:spPr>
            <a:xfrm>
              <a:off x="4943660" y="2123576"/>
              <a:ext cx="231413" cy="66631"/>
            </a:xfrm>
            <a:custGeom>
              <a:avLst/>
              <a:gdLst/>
              <a:ahLst/>
              <a:cxnLst/>
              <a:rect l="l" t="t" r="r" b="b"/>
              <a:pathLst>
                <a:path w="7276" h="2095" extrusionOk="0">
                  <a:moveTo>
                    <a:pt x="4549" y="346"/>
                  </a:moveTo>
                  <a:cubicBezTo>
                    <a:pt x="4942" y="346"/>
                    <a:pt x="5263" y="632"/>
                    <a:pt x="5561" y="894"/>
                  </a:cubicBezTo>
                  <a:cubicBezTo>
                    <a:pt x="5859" y="1168"/>
                    <a:pt x="6144" y="1406"/>
                    <a:pt x="6502" y="1406"/>
                  </a:cubicBezTo>
                  <a:cubicBezTo>
                    <a:pt x="6609" y="1406"/>
                    <a:pt x="6692" y="1394"/>
                    <a:pt x="6764" y="1358"/>
                  </a:cubicBezTo>
                  <a:lnTo>
                    <a:pt x="6764" y="1358"/>
                  </a:lnTo>
                  <a:cubicBezTo>
                    <a:pt x="6692" y="1489"/>
                    <a:pt x="6537" y="1596"/>
                    <a:pt x="6335" y="1668"/>
                  </a:cubicBezTo>
                  <a:cubicBezTo>
                    <a:pt x="6227" y="1713"/>
                    <a:pt x="6071" y="1756"/>
                    <a:pt x="5873" y="1756"/>
                  </a:cubicBezTo>
                  <a:cubicBezTo>
                    <a:pt x="5656" y="1756"/>
                    <a:pt x="5390" y="1704"/>
                    <a:pt x="5085" y="1549"/>
                  </a:cubicBezTo>
                  <a:cubicBezTo>
                    <a:pt x="4833" y="1423"/>
                    <a:pt x="4182" y="1131"/>
                    <a:pt x="3720" y="1131"/>
                  </a:cubicBezTo>
                  <a:cubicBezTo>
                    <a:pt x="3702" y="1131"/>
                    <a:pt x="3685" y="1131"/>
                    <a:pt x="3668" y="1132"/>
                  </a:cubicBezTo>
                  <a:lnTo>
                    <a:pt x="3597" y="1132"/>
                  </a:lnTo>
                  <a:cubicBezTo>
                    <a:pt x="3572" y="1130"/>
                    <a:pt x="3548" y="1129"/>
                    <a:pt x="3522" y="1129"/>
                  </a:cubicBezTo>
                  <a:cubicBezTo>
                    <a:pt x="3063" y="1129"/>
                    <a:pt x="2439" y="1425"/>
                    <a:pt x="2180" y="1549"/>
                  </a:cubicBezTo>
                  <a:cubicBezTo>
                    <a:pt x="1885" y="1702"/>
                    <a:pt x="1622" y="1751"/>
                    <a:pt x="1405" y="1751"/>
                  </a:cubicBezTo>
                  <a:cubicBezTo>
                    <a:pt x="1202" y="1751"/>
                    <a:pt x="1039" y="1708"/>
                    <a:pt x="930" y="1668"/>
                  </a:cubicBezTo>
                  <a:cubicBezTo>
                    <a:pt x="739" y="1596"/>
                    <a:pt x="572" y="1489"/>
                    <a:pt x="489" y="1358"/>
                  </a:cubicBezTo>
                  <a:lnTo>
                    <a:pt x="489" y="1358"/>
                  </a:lnTo>
                  <a:cubicBezTo>
                    <a:pt x="560" y="1394"/>
                    <a:pt x="656" y="1406"/>
                    <a:pt x="751" y="1406"/>
                  </a:cubicBezTo>
                  <a:cubicBezTo>
                    <a:pt x="1108" y="1406"/>
                    <a:pt x="1394" y="1156"/>
                    <a:pt x="1692" y="894"/>
                  </a:cubicBezTo>
                  <a:cubicBezTo>
                    <a:pt x="2001" y="632"/>
                    <a:pt x="2323" y="346"/>
                    <a:pt x="2704" y="346"/>
                  </a:cubicBezTo>
                  <a:cubicBezTo>
                    <a:pt x="2894" y="346"/>
                    <a:pt x="3347" y="394"/>
                    <a:pt x="3466" y="799"/>
                  </a:cubicBezTo>
                  <a:cubicBezTo>
                    <a:pt x="3477" y="870"/>
                    <a:pt x="3549" y="930"/>
                    <a:pt x="3632" y="930"/>
                  </a:cubicBezTo>
                  <a:cubicBezTo>
                    <a:pt x="3704" y="930"/>
                    <a:pt x="3775" y="882"/>
                    <a:pt x="3787" y="799"/>
                  </a:cubicBezTo>
                  <a:cubicBezTo>
                    <a:pt x="3906" y="394"/>
                    <a:pt x="4359" y="346"/>
                    <a:pt x="4549" y="346"/>
                  </a:cubicBezTo>
                  <a:close/>
                  <a:moveTo>
                    <a:pt x="4561" y="1"/>
                  </a:moveTo>
                  <a:cubicBezTo>
                    <a:pt x="4061" y="1"/>
                    <a:pt x="3787" y="215"/>
                    <a:pt x="3644" y="406"/>
                  </a:cubicBezTo>
                  <a:cubicBezTo>
                    <a:pt x="3608" y="358"/>
                    <a:pt x="3573" y="310"/>
                    <a:pt x="3513" y="275"/>
                  </a:cubicBezTo>
                  <a:cubicBezTo>
                    <a:pt x="3311" y="96"/>
                    <a:pt x="3049" y="25"/>
                    <a:pt x="2704" y="25"/>
                  </a:cubicBezTo>
                  <a:cubicBezTo>
                    <a:pt x="2180" y="25"/>
                    <a:pt x="1811" y="346"/>
                    <a:pt x="1465" y="644"/>
                  </a:cubicBezTo>
                  <a:cubicBezTo>
                    <a:pt x="1215" y="870"/>
                    <a:pt x="977" y="1072"/>
                    <a:pt x="739" y="1072"/>
                  </a:cubicBezTo>
                  <a:cubicBezTo>
                    <a:pt x="620" y="1072"/>
                    <a:pt x="549" y="1049"/>
                    <a:pt x="513" y="1013"/>
                  </a:cubicBezTo>
                  <a:cubicBezTo>
                    <a:pt x="489" y="977"/>
                    <a:pt x="489" y="882"/>
                    <a:pt x="537" y="775"/>
                  </a:cubicBezTo>
                  <a:cubicBezTo>
                    <a:pt x="560" y="703"/>
                    <a:pt x="537" y="608"/>
                    <a:pt x="453" y="572"/>
                  </a:cubicBezTo>
                  <a:cubicBezTo>
                    <a:pt x="426" y="554"/>
                    <a:pt x="396" y="545"/>
                    <a:pt x="367" y="545"/>
                  </a:cubicBezTo>
                  <a:cubicBezTo>
                    <a:pt x="321" y="545"/>
                    <a:pt x="276" y="569"/>
                    <a:pt x="239" y="620"/>
                  </a:cubicBezTo>
                  <a:cubicBezTo>
                    <a:pt x="60" y="834"/>
                    <a:pt x="1" y="1120"/>
                    <a:pt x="96" y="1358"/>
                  </a:cubicBezTo>
                  <a:cubicBezTo>
                    <a:pt x="203" y="1632"/>
                    <a:pt x="477" y="1870"/>
                    <a:pt x="810" y="1989"/>
                  </a:cubicBezTo>
                  <a:cubicBezTo>
                    <a:pt x="994" y="2060"/>
                    <a:pt x="1188" y="2095"/>
                    <a:pt x="1388" y="2095"/>
                  </a:cubicBezTo>
                  <a:cubicBezTo>
                    <a:pt x="1694" y="2095"/>
                    <a:pt x="2013" y="2012"/>
                    <a:pt x="2323" y="1846"/>
                  </a:cubicBezTo>
                  <a:cubicBezTo>
                    <a:pt x="3073" y="1465"/>
                    <a:pt x="3466" y="1465"/>
                    <a:pt x="3573" y="1465"/>
                  </a:cubicBezTo>
                  <a:lnTo>
                    <a:pt x="3692" y="1465"/>
                  </a:lnTo>
                  <a:cubicBezTo>
                    <a:pt x="3704" y="1464"/>
                    <a:pt x="3721" y="1463"/>
                    <a:pt x="3744" y="1463"/>
                  </a:cubicBezTo>
                  <a:cubicBezTo>
                    <a:pt x="3895" y="1463"/>
                    <a:pt x="4278" y="1515"/>
                    <a:pt x="4942" y="1846"/>
                  </a:cubicBezTo>
                  <a:cubicBezTo>
                    <a:pt x="5240" y="2001"/>
                    <a:pt x="5561" y="2084"/>
                    <a:pt x="5859" y="2084"/>
                  </a:cubicBezTo>
                  <a:cubicBezTo>
                    <a:pt x="6073" y="2084"/>
                    <a:pt x="6264" y="2061"/>
                    <a:pt x="6442" y="1989"/>
                  </a:cubicBezTo>
                  <a:cubicBezTo>
                    <a:pt x="6787" y="1846"/>
                    <a:pt x="7049" y="1632"/>
                    <a:pt x="7157" y="1358"/>
                  </a:cubicBezTo>
                  <a:cubicBezTo>
                    <a:pt x="7276" y="1108"/>
                    <a:pt x="7216" y="834"/>
                    <a:pt x="7037" y="596"/>
                  </a:cubicBezTo>
                  <a:cubicBezTo>
                    <a:pt x="7002" y="553"/>
                    <a:pt x="6957" y="532"/>
                    <a:pt x="6910" y="532"/>
                  </a:cubicBezTo>
                  <a:cubicBezTo>
                    <a:pt x="6878" y="532"/>
                    <a:pt x="6845" y="541"/>
                    <a:pt x="6811" y="560"/>
                  </a:cubicBezTo>
                  <a:cubicBezTo>
                    <a:pt x="6740" y="596"/>
                    <a:pt x="6704" y="691"/>
                    <a:pt x="6740" y="763"/>
                  </a:cubicBezTo>
                  <a:cubicBezTo>
                    <a:pt x="6776" y="870"/>
                    <a:pt x="6787" y="953"/>
                    <a:pt x="6752" y="1001"/>
                  </a:cubicBezTo>
                  <a:cubicBezTo>
                    <a:pt x="6728" y="1049"/>
                    <a:pt x="6645" y="1061"/>
                    <a:pt x="6525" y="1061"/>
                  </a:cubicBezTo>
                  <a:cubicBezTo>
                    <a:pt x="6299" y="1061"/>
                    <a:pt x="6049" y="858"/>
                    <a:pt x="5799" y="632"/>
                  </a:cubicBezTo>
                  <a:cubicBezTo>
                    <a:pt x="5454" y="334"/>
                    <a:pt x="5085" y="1"/>
                    <a:pt x="4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7" name="Google Shape;12327;p62"/>
            <p:cNvSpPr/>
            <p:nvPr/>
          </p:nvSpPr>
          <p:spPr>
            <a:xfrm>
              <a:off x="5142473" y="2191384"/>
              <a:ext cx="26907" cy="123467"/>
            </a:xfrm>
            <a:custGeom>
              <a:avLst/>
              <a:gdLst/>
              <a:ahLst/>
              <a:cxnLst/>
              <a:rect l="l" t="t" r="r" b="b"/>
              <a:pathLst>
                <a:path w="846" h="3882" extrusionOk="0">
                  <a:moveTo>
                    <a:pt x="501" y="2215"/>
                  </a:moveTo>
                  <a:lnTo>
                    <a:pt x="501" y="3465"/>
                  </a:lnTo>
                  <a:lnTo>
                    <a:pt x="525" y="3465"/>
                  </a:lnTo>
                  <a:cubicBezTo>
                    <a:pt x="525" y="3524"/>
                    <a:pt x="477" y="3572"/>
                    <a:pt x="417" y="3572"/>
                  </a:cubicBezTo>
                  <a:cubicBezTo>
                    <a:pt x="358" y="3572"/>
                    <a:pt x="310" y="3524"/>
                    <a:pt x="310" y="3465"/>
                  </a:cubicBezTo>
                  <a:lnTo>
                    <a:pt x="310" y="2215"/>
                  </a:lnTo>
                  <a:close/>
                  <a:moveTo>
                    <a:pt x="679" y="0"/>
                  </a:moveTo>
                  <a:cubicBezTo>
                    <a:pt x="596" y="0"/>
                    <a:pt x="525" y="72"/>
                    <a:pt x="525" y="167"/>
                  </a:cubicBezTo>
                  <a:lnTo>
                    <a:pt x="525" y="1905"/>
                  </a:lnTo>
                  <a:lnTo>
                    <a:pt x="322" y="1905"/>
                  </a:lnTo>
                  <a:lnTo>
                    <a:pt x="322" y="429"/>
                  </a:lnTo>
                  <a:cubicBezTo>
                    <a:pt x="322" y="345"/>
                    <a:pt x="251" y="274"/>
                    <a:pt x="167" y="274"/>
                  </a:cubicBezTo>
                  <a:cubicBezTo>
                    <a:pt x="72" y="274"/>
                    <a:pt x="1" y="345"/>
                    <a:pt x="1" y="429"/>
                  </a:cubicBezTo>
                  <a:lnTo>
                    <a:pt x="1" y="3465"/>
                  </a:lnTo>
                  <a:cubicBezTo>
                    <a:pt x="1" y="3703"/>
                    <a:pt x="191" y="3882"/>
                    <a:pt x="417" y="3882"/>
                  </a:cubicBezTo>
                  <a:cubicBezTo>
                    <a:pt x="655" y="3882"/>
                    <a:pt x="834" y="3691"/>
                    <a:pt x="834" y="3465"/>
                  </a:cubicBezTo>
                  <a:lnTo>
                    <a:pt x="834" y="167"/>
                  </a:lnTo>
                  <a:cubicBezTo>
                    <a:pt x="846" y="72"/>
                    <a:pt x="775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8" name="Google Shape;12328;p62"/>
            <p:cNvSpPr/>
            <p:nvPr/>
          </p:nvSpPr>
          <p:spPr>
            <a:xfrm>
              <a:off x="5203825" y="2089513"/>
              <a:ext cx="27289" cy="226102"/>
            </a:xfrm>
            <a:custGeom>
              <a:avLst/>
              <a:gdLst/>
              <a:ahLst/>
              <a:cxnLst/>
              <a:rect l="l" t="t" r="r" b="b"/>
              <a:pathLst>
                <a:path w="858" h="7109" extrusionOk="0">
                  <a:moveTo>
                    <a:pt x="512" y="5418"/>
                  </a:moveTo>
                  <a:lnTo>
                    <a:pt x="512" y="6668"/>
                  </a:lnTo>
                  <a:lnTo>
                    <a:pt x="524" y="6668"/>
                  </a:lnTo>
                  <a:cubicBezTo>
                    <a:pt x="524" y="6727"/>
                    <a:pt x="477" y="6775"/>
                    <a:pt x="417" y="6775"/>
                  </a:cubicBezTo>
                  <a:cubicBezTo>
                    <a:pt x="358" y="6775"/>
                    <a:pt x="310" y="6727"/>
                    <a:pt x="310" y="6668"/>
                  </a:cubicBezTo>
                  <a:lnTo>
                    <a:pt x="310" y="5418"/>
                  </a:lnTo>
                  <a:close/>
                  <a:moveTo>
                    <a:pt x="691" y="0"/>
                  </a:moveTo>
                  <a:cubicBezTo>
                    <a:pt x="596" y="0"/>
                    <a:pt x="524" y="84"/>
                    <a:pt x="524" y="167"/>
                  </a:cubicBezTo>
                  <a:lnTo>
                    <a:pt x="524" y="5108"/>
                  </a:lnTo>
                  <a:lnTo>
                    <a:pt x="334" y="5108"/>
                  </a:lnTo>
                  <a:lnTo>
                    <a:pt x="334" y="703"/>
                  </a:lnTo>
                  <a:cubicBezTo>
                    <a:pt x="334" y="608"/>
                    <a:pt x="262" y="536"/>
                    <a:pt x="167" y="536"/>
                  </a:cubicBezTo>
                  <a:cubicBezTo>
                    <a:pt x="84" y="536"/>
                    <a:pt x="0" y="608"/>
                    <a:pt x="0" y="703"/>
                  </a:cubicBezTo>
                  <a:lnTo>
                    <a:pt x="0" y="6692"/>
                  </a:lnTo>
                  <a:cubicBezTo>
                    <a:pt x="0" y="6930"/>
                    <a:pt x="203" y="7108"/>
                    <a:pt x="417" y="7108"/>
                  </a:cubicBezTo>
                  <a:cubicBezTo>
                    <a:pt x="655" y="7108"/>
                    <a:pt x="834" y="6906"/>
                    <a:pt x="834" y="6692"/>
                  </a:cubicBezTo>
                  <a:lnTo>
                    <a:pt x="834" y="179"/>
                  </a:lnTo>
                  <a:cubicBezTo>
                    <a:pt x="858" y="84"/>
                    <a:pt x="77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29" name="Google Shape;12329;p62"/>
          <p:cNvGrpSpPr/>
          <p:nvPr/>
        </p:nvGrpSpPr>
        <p:grpSpPr>
          <a:xfrm>
            <a:off x="7548967" y="1978927"/>
            <a:ext cx="333285" cy="349950"/>
            <a:chOff x="7548967" y="1978927"/>
            <a:chExt cx="333285" cy="349950"/>
          </a:xfrm>
        </p:grpSpPr>
        <p:sp>
          <p:nvSpPr>
            <p:cNvPr id="12330" name="Google Shape;12330;p62"/>
            <p:cNvSpPr/>
            <p:nvPr/>
          </p:nvSpPr>
          <p:spPr>
            <a:xfrm>
              <a:off x="7548967" y="1978927"/>
              <a:ext cx="333285" cy="234816"/>
            </a:xfrm>
            <a:custGeom>
              <a:avLst/>
              <a:gdLst/>
              <a:ahLst/>
              <a:cxnLst/>
              <a:rect l="l" t="t" r="r" b="b"/>
              <a:pathLst>
                <a:path w="10479" h="7383" extrusionOk="0">
                  <a:moveTo>
                    <a:pt x="8978" y="286"/>
                  </a:moveTo>
                  <a:cubicBezTo>
                    <a:pt x="9633" y="298"/>
                    <a:pt x="10145" y="834"/>
                    <a:pt x="10145" y="1489"/>
                  </a:cubicBezTo>
                  <a:cubicBezTo>
                    <a:pt x="10121" y="2168"/>
                    <a:pt x="9585" y="2727"/>
                    <a:pt x="8931" y="2727"/>
                  </a:cubicBezTo>
                  <a:cubicBezTo>
                    <a:pt x="8300" y="2727"/>
                    <a:pt x="7799" y="2251"/>
                    <a:pt x="7740" y="1656"/>
                  </a:cubicBezTo>
                  <a:lnTo>
                    <a:pt x="7740" y="1596"/>
                  </a:lnTo>
                  <a:lnTo>
                    <a:pt x="7740" y="1572"/>
                  </a:lnTo>
                  <a:lnTo>
                    <a:pt x="7740" y="1513"/>
                  </a:lnTo>
                  <a:cubicBezTo>
                    <a:pt x="7740" y="1429"/>
                    <a:pt x="7668" y="1358"/>
                    <a:pt x="7573" y="1358"/>
                  </a:cubicBezTo>
                  <a:lnTo>
                    <a:pt x="2882" y="1358"/>
                  </a:lnTo>
                  <a:cubicBezTo>
                    <a:pt x="2799" y="1358"/>
                    <a:pt x="2727" y="1429"/>
                    <a:pt x="2727" y="1513"/>
                  </a:cubicBezTo>
                  <a:lnTo>
                    <a:pt x="2727" y="1596"/>
                  </a:lnTo>
                  <a:lnTo>
                    <a:pt x="2727" y="1608"/>
                  </a:lnTo>
                  <a:lnTo>
                    <a:pt x="2727" y="1656"/>
                  </a:lnTo>
                  <a:lnTo>
                    <a:pt x="2727" y="1679"/>
                  </a:lnTo>
                  <a:lnTo>
                    <a:pt x="2727" y="1727"/>
                  </a:lnTo>
                  <a:lnTo>
                    <a:pt x="2727" y="1739"/>
                  </a:lnTo>
                  <a:cubicBezTo>
                    <a:pt x="2727" y="1751"/>
                    <a:pt x="2727" y="1775"/>
                    <a:pt x="2704" y="1799"/>
                  </a:cubicBezTo>
                  <a:lnTo>
                    <a:pt x="2704" y="1810"/>
                  </a:lnTo>
                  <a:cubicBezTo>
                    <a:pt x="2704" y="1834"/>
                    <a:pt x="2692" y="1858"/>
                    <a:pt x="2692" y="1870"/>
                  </a:cubicBezTo>
                  <a:cubicBezTo>
                    <a:pt x="2692" y="1894"/>
                    <a:pt x="2692" y="1894"/>
                    <a:pt x="2680" y="1906"/>
                  </a:cubicBezTo>
                  <a:cubicBezTo>
                    <a:pt x="2680" y="1918"/>
                    <a:pt x="2668" y="1930"/>
                    <a:pt x="2668" y="1930"/>
                  </a:cubicBezTo>
                  <a:cubicBezTo>
                    <a:pt x="2668" y="1953"/>
                    <a:pt x="2644" y="1953"/>
                    <a:pt x="2644" y="1965"/>
                  </a:cubicBezTo>
                  <a:cubicBezTo>
                    <a:pt x="2644" y="1977"/>
                    <a:pt x="2632" y="1977"/>
                    <a:pt x="2632" y="1989"/>
                  </a:cubicBezTo>
                  <a:cubicBezTo>
                    <a:pt x="2632" y="2013"/>
                    <a:pt x="2620" y="2025"/>
                    <a:pt x="2620" y="2025"/>
                  </a:cubicBezTo>
                  <a:cubicBezTo>
                    <a:pt x="2620" y="2025"/>
                    <a:pt x="2620" y="2037"/>
                    <a:pt x="2608" y="2037"/>
                  </a:cubicBezTo>
                  <a:cubicBezTo>
                    <a:pt x="2573" y="2084"/>
                    <a:pt x="2561" y="2132"/>
                    <a:pt x="2525" y="2168"/>
                  </a:cubicBezTo>
                  <a:cubicBezTo>
                    <a:pt x="2513" y="2191"/>
                    <a:pt x="2513" y="2203"/>
                    <a:pt x="2501" y="2215"/>
                  </a:cubicBezTo>
                  <a:cubicBezTo>
                    <a:pt x="2454" y="2275"/>
                    <a:pt x="2406" y="2334"/>
                    <a:pt x="2346" y="2382"/>
                  </a:cubicBezTo>
                  <a:cubicBezTo>
                    <a:pt x="2334" y="2394"/>
                    <a:pt x="2323" y="2394"/>
                    <a:pt x="2311" y="2406"/>
                  </a:cubicBezTo>
                  <a:lnTo>
                    <a:pt x="2287" y="2430"/>
                  </a:lnTo>
                  <a:cubicBezTo>
                    <a:pt x="2084" y="2584"/>
                    <a:pt x="1811" y="2692"/>
                    <a:pt x="1537" y="2692"/>
                  </a:cubicBezTo>
                  <a:cubicBezTo>
                    <a:pt x="882" y="2692"/>
                    <a:pt x="322" y="2156"/>
                    <a:pt x="322" y="1489"/>
                  </a:cubicBezTo>
                  <a:cubicBezTo>
                    <a:pt x="322" y="822"/>
                    <a:pt x="858" y="286"/>
                    <a:pt x="1537" y="286"/>
                  </a:cubicBezTo>
                  <a:close/>
                  <a:moveTo>
                    <a:pt x="7395" y="1668"/>
                  </a:moveTo>
                  <a:cubicBezTo>
                    <a:pt x="7442" y="2049"/>
                    <a:pt x="7633" y="2406"/>
                    <a:pt x="7930" y="2668"/>
                  </a:cubicBezTo>
                  <a:cubicBezTo>
                    <a:pt x="7823" y="2763"/>
                    <a:pt x="7692" y="2799"/>
                    <a:pt x="7549" y="2799"/>
                  </a:cubicBezTo>
                  <a:lnTo>
                    <a:pt x="2858" y="2799"/>
                  </a:lnTo>
                  <a:cubicBezTo>
                    <a:pt x="2727" y="2787"/>
                    <a:pt x="2608" y="2739"/>
                    <a:pt x="2501" y="2668"/>
                  </a:cubicBezTo>
                  <a:cubicBezTo>
                    <a:pt x="2739" y="2453"/>
                    <a:pt x="2906" y="2191"/>
                    <a:pt x="2977" y="1894"/>
                  </a:cubicBezTo>
                  <a:lnTo>
                    <a:pt x="2977" y="1870"/>
                  </a:lnTo>
                  <a:cubicBezTo>
                    <a:pt x="2977" y="1858"/>
                    <a:pt x="2989" y="1846"/>
                    <a:pt x="2989" y="1810"/>
                  </a:cubicBezTo>
                  <a:cubicBezTo>
                    <a:pt x="3001" y="1775"/>
                    <a:pt x="3001" y="1727"/>
                    <a:pt x="3001" y="1668"/>
                  </a:cubicBezTo>
                  <a:close/>
                  <a:moveTo>
                    <a:pt x="1513" y="1"/>
                  </a:moveTo>
                  <a:cubicBezTo>
                    <a:pt x="680" y="1"/>
                    <a:pt x="1" y="679"/>
                    <a:pt x="1" y="1513"/>
                  </a:cubicBezTo>
                  <a:cubicBezTo>
                    <a:pt x="1" y="2346"/>
                    <a:pt x="680" y="3037"/>
                    <a:pt x="1513" y="3037"/>
                  </a:cubicBezTo>
                  <a:cubicBezTo>
                    <a:pt x="1787" y="3037"/>
                    <a:pt x="2025" y="2977"/>
                    <a:pt x="2251" y="2858"/>
                  </a:cubicBezTo>
                  <a:cubicBezTo>
                    <a:pt x="2370" y="2977"/>
                    <a:pt x="2525" y="3049"/>
                    <a:pt x="2692" y="3096"/>
                  </a:cubicBezTo>
                  <a:lnTo>
                    <a:pt x="2692" y="7216"/>
                  </a:lnTo>
                  <a:cubicBezTo>
                    <a:pt x="2692" y="7311"/>
                    <a:pt x="2763" y="7383"/>
                    <a:pt x="2858" y="7383"/>
                  </a:cubicBezTo>
                  <a:cubicBezTo>
                    <a:pt x="2942" y="7383"/>
                    <a:pt x="3025" y="7311"/>
                    <a:pt x="3025" y="7216"/>
                  </a:cubicBezTo>
                  <a:lnTo>
                    <a:pt x="3025" y="3120"/>
                  </a:lnTo>
                  <a:lnTo>
                    <a:pt x="7454" y="3120"/>
                  </a:lnTo>
                  <a:lnTo>
                    <a:pt x="7454" y="3882"/>
                  </a:lnTo>
                  <a:cubicBezTo>
                    <a:pt x="7454" y="3977"/>
                    <a:pt x="7526" y="4049"/>
                    <a:pt x="7621" y="4049"/>
                  </a:cubicBezTo>
                  <a:cubicBezTo>
                    <a:pt x="7704" y="4049"/>
                    <a:pt x="7776" y="3977"/>
                    <a:pt x="7776" y="3882"/>
                  </a:cubicBezTo>
                  <a:lnTo>
                    <a:pt x="7776" y="3108"/>
                  </a:lnTo>
                  <a:cubicBezTo>
                    <a:pt x="7966" y="3084"/>
                    <a:pt x="8121" y="2989"/>
                    <a:pt x="8264" y="2870"/>
                  </a:cubicBezTo>
                  <a:cubicBezTo>
                    <a:pt x="8466" y="2977"/>
                    <a:pt x="8704" y="3037"/>
                    <a:pt x="8954" y="3037"/>
                  </a:cubicBezTo>
                  <a:cubicBezTo>
                    <a:pt x="9788" y="3037"/>
                    <a:pt x="10478" y="2346"/>
                    <a:pt x="10478" y="1513"/>
                  </a:cubicBezTo>
                  <a:cubicBezTo>
                    <a:pt x="10443" y="1120"/>
                    <a:pt x="10300" y="727"/>
                    <a:pt x="10014" y="441"/>
                  </a:cubicBezTo>
                  <a:cubicBezTo>
                    <a:pt x="9728" y="167"/>
                    <a:pt x="9359" y="1"/>
                    <a:pt x="89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1" name="Google Shape;12331;p62"/>
            <p:cNvSpPr/>
            <p:nvPr/>
          </p:nvSpPr>
          <p:spPr>
            <a:xfrm>
              <a:off x="7570562" y="2001667"/>
              <a:ext cx="51142" cy="51142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322"/>
                  </a:moveTo>
                  <a:cubicBezTo>
                    <a:pt x="1072" y="322"/>
                    <a:pt x="1286" y="536"/>
                    <a:pt x="1286" y="798"/>
                  </a:cubicBezTo>
                  <a:cubicBezTo>
                    <a:pt x="1286" y="1060"/>
                    <a:pt x="1072" y="1274"/>
                    <a:pt x="810" y="1274"/>
                  </a:cubicBezTo>
                  <a:cubicBezTo>
                    <a:pt x="536" y="1274"/>
                    <a:pt x="334" y="1072"/>
                    <a:pt x="334" y="798"/>
                  </a:cubicBezTo>
                  <a:cubicBezTo>
                    <a:pt x="334" y="536"/>
                    <a:pt x="536" y="322"/>
                    <a:pt x="810" y="322"/>
                  </a:cubicBezTo>
                  <a:close/>
                  <a:moveTo>
                    <a:pt x="810" y="0"/>
                  </a:moveTo>
                  <a:cubicBezTo>
                    <a:pt x="358" y="0"/>
                    <a:pt x="1" y="357"/>
                    <a:pt x="1" y="798"/>
                  </a:cubicBezTo>
                  <a:cubicBezTo>
                    <a:pt x="1" y="1250"/>
                    <a:pt x="358" y="1607"/>
                    <a:pt x="810" y="1607"/>
                  </a:cubicBezTo>
                  <a:cubicBezTo>
                    <a:pt x="1251" y="1607"/>
                    <a:pt x="1608" y="1250"/>
                    <a:pt x="1608" y="798"/>
                  </a:cubicBezTo>
                  <a:cubicBezTo>
                    <a:pt x="1608" y="357"/>
                    <a:pt x="1251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2" name="Google Shape;12332;p62"/>
            <p:cNvSpPr/>
            <p:nvPr/>
          </p:nvSpPr>
          <p:spPr>
            <a:xfrm>
              <a:off x="7807986" y="2001667"/>
              <a:ext cx="51174" cy="51142"/>
            </a:xfrm>
            <a:custGeom>
              <a:avLst/>
              <a:gdLst/>
              <a:ahLst/>
              <a:cxnLst/>
              <a:rect l="l" t="t" r="r" b="b"/>
              <a:pathLst>
                <a:path w="1609" h="1608" extrusionOk="0">
                  <a:moveTo>
                    <a:pt x="798" y="322"/>
                  </a:moveTo>
                  <a:cubicBezTo>
                    <a:pt x="1072" y="322"/>
                    <a:pt x="1275" y="536"/>
                    <a:pt x="1275" y="798"/>
                  </a:cubicBezTo>
                  <a:cubicBezTo>
                    <a:pt x="1275" y="1060"/>
                    <a:pt x="1072" y="1274"/>
                    <a:pt x="798" y="1274"/>
                  </a:cubicBezTo>
                  <a:cubicBezTo>
                    <a:pt x="537" y="1274"/>
                    <a:pt x="322" y="1072"/>
                    <a:pt x="322" y="798"/>
                  </a:cubicBezTo>
                  <a:cubicBezTo>
                    <a:pt x="322" y="536"/>
                    <a:pt x="537" y="322"/>
                    <a:pt x="798" y="322"/>
                  </a:cubicBezTo>
                  <a:close/>
                  <a:moveTo>
                    <a:pt x="798" y="0"/>
                  </a:moveTo>
                  <a:cubicBezTo>
                    <a:pt x="358" y="0"/>
                    <a:pt x="1" y="357"/>
                    <a:pt x="1" y="798"/>
                  </a:cubicBezTo>
                  <a:cubicBezTo>
                    <a:pt x="1" y="1250"/>
                    <a:pt x="358" y="1607"/>
                    <a:pt x="798" y="1607"/>
                  </a:cubicBezTo>
                  <a:cubicBezTo>
                    <a:pt x="1251" y="1607"/>
                    <a:pt x="1608" y="1250"/>
                    <a:pt x="1608" y="798"/>
                  </a:cubicBezTo>
                  <a:cubicBezTo>
                    <a:pt x="1608" y="357"/>
                    <a:pt x="1251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3" name="Google Shape;12333;p62"/>
            <p:cNvSpPr/>
            <p:nvPr/>
          </p:nvSpPr>
          <p:spPr>
            <a:xfrm>
              <a:off x="7570180" y="2121699"/>
              <a:ext cx="288980" cy="207178"/>
            </a:xfrm>
            <a:custGeom>
              <a:avLst/>
              <a:gdLst/>
              <a:ahLst/>
              <a:cxnLst/>
              <a:rect l="l" t="t" r="r" b="b"/>
              <a:pathLst>
                <a:path w="9086" h="6514" extrusionOk="0">
                  <a:moveTo>
                    <a:pt x="7513" y="4549"/>
                  </a:moveTo>
                  <a:cubicBezTo>
                    <a:pt x="7633" y="4549"/>
                    <a:pt x="7740" y="4644"/>
                    <a:pt x="7740" y="4763"/>
                  </a:cubicBezTo>
                  <a:lnTo>
                    <a:pt x="7740" y="5203"/>
                  </a:lnTo>
                  <a:lnTo>
                    <a:pt x="1358" y="5203"/>
                  </a:lnTo>
                  <a:lnTo>
                    <a:pt x="1358" y="4763"/>
                  </a:lnTo>
                  <a:cubicBezTo>
                    <a:pt x="1358" y="4644"/>
                    <a:pt x="1465" y="4549"/>
                    <a:pt x="1584" y="4549"/>
                  </a:cubicBezTo>
                  <a:close/>
                  <a:moveTo>
                    <a:pt x="8323" y="5513"/>
                  </a:moveTo>
                  <a:cubicBezTo>
                    <a:pt x="8561" y="5513"/>
                    <a:pt x="8764" y="5703"/>
                    <a:pt x="8764" y="5953"/>
                  </a:cubicBezTo>
                  <a:lnTo>
                    <a:pt x="8764" y="6180"/>
                  </a:lnTo>
                  <a:lnTo>
                    <a:pt x="346" y="6180"/>
                  </a:lnTo>
                  <a:lnTo>
                    <a:pt x="346" y="5953"/>
                  </a:lnTo>
                  <a:cubicBezTo>
                    <a:pt x="346" y="5715"/>
                    <a:pt x="536" y="5513"/>
                    <a:pt x="786" y="5513"/>
                  </a:cubicBezTo>
                  <a:close/>
                  <a:moveTo>
                    <a:pt x="6918" y="0"/>
                  </a:moveTo>
                  <a:cubicBezTo>
                    <a:pt x="6835" y="0"/>
                    <a:pt x="6763" y="84"/>
                    <a:pt x="6763" y="167"/>
                  </a:cubicBezTo>
                  <a:lnTo>
                    <a:pt x="6763" y="4215"/>
                  </a:lnTo>
                  <a:lnTo>
                    <a:pt x="2322" y="4215"/>
                  </a:lnTo>
                  <a:lnTo>
                    <a:pt x="2322" y="3501"/>
                  </a:lnTo>
                  <a:cubicBezTo>
                    <a:pt x="2322" y="3417"/>
                    <a:pt x="2251" y="3334"/>
                    <a:pt x="2156" y="3334"/>
                  </a:cubicBezTo>
                  <a:cubicBezTo>
                    <a:pt x="2072" y="3334"/>
                    <a:pt x="2001" y="3417"/>
                    <a:pt x="2001" y="3501"/>
                  </a:cubicBezTo>
                  <a:lnTo>
                    <a:pt x="2001" y="4215"/>
                  </a:lnTo>
                  <a:lnTo>
                    <a:pt x="1560" y="4215"/>
                  </a:lnTo>
                  <a:cubicBezTo>
                    <a:pt x="1263" y="4215"/>
                    <a:pt x="1013" y="4465"/>
                    <a:pt x="1013" y="4763"/>
                  </a:cubicBezTo>
                  <a:lnTo>
                    <a:pt x="1013" y="5203"/>
                  </a:lnTo>
                  <a:lnTo>
                    <a:pt x="763" y="5203"/>
                  </a:lnTo>
                  <a:cubicBezTo>
                    <a:pt x="346" y="5203"/>
                    <a:pt x="1" y="5537"/>
                    <a:pt x="1" y="5953"/>
                  </a:cubicBezTo>
                  <a:lnTo>
                    <a:pt x="1" y="6346"/>
                  </a:lnTo>
                  <a:cubicBezTo>
                    <a:pt x="1" y="6430"/>
                    <a:pt x="72" y="6513"/>
                    <a:pt x="167" y="6513"/>
                  </a:cubicBezTo>
                  <a:lnTo>
                    <a:pt x="8906" y="6513"/>
                  </a:lnTo>
                  <a:cubicBezTo>
                    <a:pt x="8990" y="6513"/>
                    <a:pt x="9061" y="6430"/>
                    <a:pt x="9061" y="6346"/>
                  </a:cubicBezTo>
                  <a:lnTo>
                    <a:pt x="9061" y="5953"/>
                  </a:lnTo>
                  <a:cubicBezTo>
                    <a:pt x="9085" y="5537"/>
                    <a:pt x="8740" y="5203"/>
                    <a:pt x="8323" y="5203"/>
                  </a:cubicBezTo>
                  <a:lnTo>
                    <a:pt x="8073" y="5203"/>
                  </a:lnTo>
                  <a:lnTo>
                    <a:pt x="8073" y="4763"/>
                  </a:lnTo>
                  <a:cubicBezTo>
                    <a:pt x="8073" y="4465"/>
                    <a:pt x="7811" y="4215"/>
                    <a:pt x="7513" y="4215"/>
                  </a:cubicBezTo>
                  <a:lnTo>
                    <a:pt x="7085" y="4215"/>
                  </a:lnTo>
                  <a:lnTo>
                    <a:pt x="7085" y="167"/>
                  </a:lnTo>
                  <a:cubicBezTo>
                    <a:pt x="7085" y="84"/>
                    <a:pt x="7013" y="0"/>
                    <a:pt x="6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4" name="Google Shape;12334;p62"/>
            <p:cNvSpPr/>
            <p:nvPr/>
          </p:nvSpPr>
          <p:spPr>
            <a:xfrm>
              <a:off x="7658408" y="2088368"/>
              <a:ext cx="30342" cy="154922"/>
            </a:xfrm>
            <a:custGeom>
              <a:avLst/>
              <a:gdLst/>
              <a:ahLst/>
              <a:cxnLst/>
              <a:rect l="l" t="t" r="r" b="b"/>
              <a:pathLst>
                <a:path w="954" h="4871" extrusionOk="0">
                  <a:moveTo>
                    <a:pt x="453" y="310"/>
                  </a:moveTo>
                  <a:cubicBezTo>
                    <a:pt x="537" y="310"/>
                    <a:pt x="608" y="370"/>
                    <a:pt x="608" y="453"/>
                  </a:cubicBezTo>
                  <a:lnTo>
                    <a:pt x="608" y="4382"/>
                  </a:lnTo>
                  <a:cubicBezTo>
                    <a:pt x="608" y="4465"/>
                    <a:pt x="548" y="4537"/>
                    <a:pt x="453" y="4537"/>
                  </a:cubicBezTo>
                  <a:cubicBezTo>
                    <a:pt x="382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70" y="310"/>
                    <a:pt x="453" y="310"/>
                  </a:cubicBezTo>
                  <a:close/>
                  <a:moveTo>
                    <a:pt x="477" y="1"/>
                  </a:moveTo>
                  <a:cubicBezTo>
                    <a:pt x="215" y="1"/>
                    <a:pt x="1" y="203"/>
                    <a:pt x="1" y="477"/>
                  </a:cubicBezTo>
                  <a:lnTo>
                    <a:pt x="1" y="4394"/>
                  </a:lnTo>
                  <a:cubicBezTo>
                    <a:pt x="1" y="4656"/>
                    <a:pt x="203" y="4870"/>
                    <a:pt x="477" y="4870"/>
                  </a:cubicBezTo>
                  <a:cubicBezTo>
                    <a:pt x="727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7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5" name="Google Shape;12335;p62"/>
            <p:cNvSpPr/>
            <p:nvPr/>
          </p:nvSpPr>
          <p:spPr>
            <a:xfrm>
              <a:off x="7700072" y="2088368"/>
              <a:ext cx="30310" cy="154922"/>
            </a:xfrm>
            <a:custGeom>
              <a:avLst/>
              <a:gdLst/>
              <a:ahLst/>
              <a:cxnLst/>
              <a:rect l="l" t="t" r="r" b="b"/>
              <a:pathLst>
                <a:path w="953" h="4871" extrusionOk="0">
                  <a:moveTo>
                    <a:pt x="453" y="310"/>
                  </a:moveTo>
                  <a:cubicBezTo>
                    <a:pt x="548" y="310"/>
                    <a:pt x="608" y="370"/>
                    <a:pt x="608" y="453"/>
                  </a:cubicBezTo>
                  <a:lnTo>
                    <a:pt x="608" y="4382"/>
                  </a:lnTo>
                  <a:cubicBezTo>
                    <a:pt x="608" y="4465"/>
                    <a:pt x="548" y="4537"/>
                    <a:pt x="453" y="4537"/>
                  </a:cubicBezTo>
                  <a:cubicBezTo>
                    <a:pt x="381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70" y="310"/>
                    <a:pt x="453" y="310"/>
                  </a:cubicBezTo>
                  <a:close/>
                  <a:moveTo>
                    <a:pt x="477" y="1"/>
                  </a:moveTo>
                  <a:cubicBezTo>
                    <a:pt x="215" y="1"/>
                    <a:pt x="0" y="203"/>
                    <a:pt x="0" y="477"/>
                  </a:cubicBezTo>
                  <a:lnTo>
                    <a:pt x="0" y="4394"/>
                  </a:lnTo>
                  <a:cubicBezTo>
                    <a:pt x="0" y="4656"/>
                    <a:pt x="203" y="4870"/>
                    <a:pt x="477" y="4870"/>
                  </a:cubicBezTo>
                  <a:cubicBezTo>
                    <a:pt x="727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7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6" name="Google Shape;12336;p62"/>
            <p:cNvSpPr/>
            <p:nvPr/>
          </p:nvSpPr>
          <p:spPr>
            <a:xfrm>
              <a:off x="7741737" y="2088368"/>
              <a:ext cx="30310" cy="154922"/>
            </a:xfrm>
            <a:custGeom>
              <a:avLst/>
              <a:gdLst/>
              <a:ahLst/>
              <a:cxnLst/>
              <a:rect l="l" t="t" r="r" b="b"/>
              <a:pathLst>
                <a:path w="953" h="4871" extrusionOk="0">
                  <a:moveTo>
                    <a:pt x="453" y="310"/>
                  </a:moveTo>
                  <a:cubicBezTo>
                    <a:pt x="536" y="310"/>
                    <a:pt x="607" y="370"/>
                    <a:pt x="607" y="453"/>
                  </a:cubicBezTo>
                  <a:lnTo>
                    <a:pt x="607" y="4382"/>
                  </a:lnTo>
                  <a:cubicBezTo>
                    <a:pt x="607" y="4465"/>
                    <a:pt x="548" y="4537"/>
                    <a:pt x="453" y="4537"/>
                  </a:cubicBezTo>
                  <a:cubicBezTo>
                    <a:pt x="381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69" y="310"/>
                    <a:pt x="453" y="310"/>
                  </a:cubicBezTo>
                  <a:close/>
                  <a:moveTo>
                    <a:pt x="476" y="1"/>
                  </a:moveTo>
                  <a:cubicBezTo>
                    <a:pt x="214" y="1"/>
                    <a:pt x="0" y="203"/>
                    <a:pt x="0" y="477"/>
                  </a:cubicBezTo>
                  <a:lnTo>
                    <a:pt x="0" y="4394"/>
                  </a:lnTo>
                  <a:cubicBezTo>
                    <a:pt x="0" y="4656"/>
                    <a:pt x="203" y="4870"/>
                    <a:pt x="476" y="4870"/>
                  </a:cubicBezTo>
                  <a:cubicBezTo>
                    <a:pt x="726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6" y="1"/>
                    <a:pt x="4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37" name="Google Shape;12337;p62"/>
          <p:cNvGrpSpPr/>
          <p:nvPr/>
        </p:nvGrpSpPr>
        <p:grpSpPr>
          <a:xfrm>
            <a:off x="6214142" y="1978927"/>
            <a:ext cx="346515" cy="350300"/>
            <a:chOff x="6214142" y="1978927"/>
            <a:chExt cx="346515" cy="350300"/>
          </a:xfrm>
        </p:grpSpPr>
        <p:sp>
          <p:nvSpPr>
            <p:cNvPr id="12338" name="Google Shape;12338;p62"/>
            <p:cNvSpPr/>
            <p:nvPr/>
          </p:nvSpPr>
          <p:spPr>
            <a:xfrm>
              <a:off x="6289870" y="1978927"/>
              <a:ext cx="196937" cy="262073"/>
            </a:xfrm>
            <a:custGeom>
              <a:avLst/>
              <a:gdLst/>
              <a:ahLst/>
              <a:cxnLst/>
              <a:rect l="l" t="t" r="r" b="b"/>
              <a:pathLst>
                <a:path w="6192" h="8240" extrusionOk="0">
                  <a:moveTo>
                    <a:pt x="5251" y="1453"/>
                  </a:moveTo>
                  <a:lnTo>
                    <a:pt x="5811" y="2275"/>
                  </a:lnTo>
                  <a:cubicBezTo>
                    <a:pt x="5787" y="2346"/>
                    <a:pt x="5775" y="2430"/>
                    <a:pt x="5763" y="2489"/>
                  </a:cubicBezTo>
                  <a:lnTo>
                    <a:pt x="5763" y="2513"/>
                  </a:lnTo>
                  <a:cubicBezTo>
                    <a:pt x="5739" y="2572"/>
                    <a:pt x="5727" y="2644"/>
                    <a:pt x="5716" y="2703"/>
                  </a:cubicBezTo>
                  <a:lnTo>
                    <a:pt x="5311" y="2108"/>
                  </a:lnTo>
                  <a:cubicBezTo>
                    <a:pt x="5287" y="2072"/>
                    <a:pt x="5251" y="2049"/>
                    <a:pt x="5204" y="2037"/>
                  </a:cubicBezTo>
                  <a:cubicBezTo>
                    <a:pt x="5168" y="2037"/>
                    <a:pt x="5120" y="2037"/>
                    <a:pt x="5085" y="2072"/>
                  </a:cubicBezTo>
                  <a:cubicBezTo>
                    <a:pt x="4727" y="2346"/>
                    <a:pt x="4096" y="2680"/>
                    <a:pt x="3084" y="2680"/>
                  </a:cubicBezTo>
                  <a:cubicBezTo>
                    <a:pt x="2084" y="2680"/>
                    <a:pt x="1441" y="2334"/>
                    <a:pt x="1072" y="2072"/>
                  </a:cubicBezTo>
                  <a:cubicBezTo>
                    <a:pt x="1036" y="2037"/>
                    <a:pt x="1013" y="2037"/>
                    <a:pt x="965" y="2037"/>
                  </a:cubicBezTo>
                  <a:lnTo>
                    <a:pt x="929" y="2037"/>
                  </a:lnTo>
                  <a:cubicBezTo>
                    <a:pt x="894" y="2037"/>
                    <a:pt x="846" y="2072"/>
                    <a:pt x="834" y="2108"/>
                  </a:cubicBezTo>
                  <a:lnTo>
                    <a:pt x="429" y="2703"/>
                  </a:lnTo>
                  <a:cubicBezTo>
                    <a:pt x="417" y="2644"/>
                    <a:pt x="393" y="2572"/>
                    <a:pt x="382" y="2513"/>
                  </a:cubicBezTo>
                  <a:lnTo>
                    <a:pt x="382" y="2489"/>
                  </a:lnTo>
                  <a:cubicBezTo>
                    <a:pt x="370" y="2430"/>
                    <a:pt x="358" y="2346"/>
                    <a:pt x="334" y="2287"/>
                  </a:cubicBezTo>
                  <a:lnTo>
                    <a:pt x="560" y="1953"/>
                  </a:lnTo>
                  <a:lnTo>
                    <a:pt x="905" y="1453"/>
                  </a:lnTo>
                  <a:cubicBezTo>
                    <a:pt x="1025" y="1620"/>
                    <a:pt x="1227" y="1810"/>
                    <a:pt x="1525" y="1989"/>
                  </a:cubicBezTo>
                  <a:cubicBezTo>
                    <a:pt x="1667" y="2072"/>
                    <a:pt x="1810" y="2144"/>
                    <a:pt x="1965" y="2191"/>
                  </a:cubicBezTo>
                  <a:cubicBezTo>
                    <a:pt x="2287" y="2311"/>
                    <a:pt x="2679" y="2370"/>
                    <a:pt x="3084" y="2370"/>
                  </a:cubicBezTo>
                  <a:cubicBezTo>
                    <a:pt x="4239" y="2370"/>
                    <a:pt x="4870" y="1894"/>
                    <a:pt x="5168" y="1560"/>
                  </a:cubicBezTo>
                  <a:cubicBezTo>
                    <a:pt x="5192" y="1513"/>
                    <a:pt x="5227" y="1489"/>
                    <a:pt x="5251" y="1453"/>
                  </a:cubicBezTo>
                  <a:close/>
                  <a:moveTo>
                    <a:pt x="5061" y="2430"/>
                  </a:moveTo>
                  <a:lnTo>
                    <a:pt x="5549" y="3156"/>
                  </a:lnTo>
                  <a:cubicBezTo>
                    <a:pt x="5382" y="4239"/>
                    <a:pt x="5251" y="5180"/>
                    <a:pt x="5204" y="5954"/>
                  </a:cubicBezTo>
                  <a:cubicBezTo>
                    <a:pt x="5168" y="6775"/>
                    <a:pt x="5251" y="7192"/>
                    <a:pt x="5287" y="7371"/>
                  </a:cubicBezTo>
                  <a:lnTo>
                    <a:pt x="5287" y="7383"/>
                  </a:lnTo>
                  <a:lnTo>
                    <a:pt x="5287" y="7394"/>
                  </a:lnTo>
                  <a:lnTo>
                    <a:pt x="5287" y="7406"/>
                  </a:lnTo>
                  <a:cubicBezTo>
                    <a:pt x="5287" y="7454"/>
                    <a:pt x="5132" y="7609"/>
                    <a:pt x="4704" y="7728"/>
                  </a:cubicBezTo>
                  <a:cubicBezTo>
                    <a:pt x="4370" y="7811"/>
                    <a:pt x="3953" y="7871"/>
                    <a:pt x="3501" y="7906"/>
                  </a:cubicBezTo>
                  <a:cubicBezTo>
                    <a:pt x="3346" y="7918"/>
                    <a:pt x="3180" y="7918"/>
                    <a:pt x="3037" y="7918"/>
                  </a:cubicBezTo>
                  <a:lnTo>
                    <a:pt x="2799" y="7918"/>
                  </a:lnTo>
                  <a:cubicBezTo>
                    <a:pt x="2263" y="7906"/>
                    <a:pt x="1751" y="7847"/>
                    <a:pt x="1370" y="7740"/>
                  </a:cubicBezTo>
                  <a:cubicBezTo>
                    <a:pt x="917" y="7621"/>
                    <a:pt x="786" y="7466"/>
                    <a:pt x="786" y="7430"/>
                  </a:cubicBezTo>
                  <a:lnTo>
                    <a:pt x="786" y="7406"/>
                  </a:lnTo>
                  <a:lnTo>
                    <a:pt x="786" y="7394"/>
                  </a:lnTo>
                  <a:lnTo>
                    <a:pt x="786" y="7383"/>
                  </a:lnTo>
                  <a:cubicBezTo>
                    <a:pt x="822" y="7204"/>
                    <a:pt x="905" y="6787"/>
                    <a:pt x="858" y="5966"/>
                  </a:cubicBezTo>
                  <a:cubicBezTo>
                    <a:pt x="834" y="5192"/>
                    <a:pt x="703" y="4251"/>
                    <a:pt x="465" y="3156"/>
                  </a:cubicBezTo>
                  <a:lnTo>
                    <a:pt x="953" y="2430"/>
                  </a:lnTo>
                  <a:cubicBezTo>
                    <a:pt x="1370" y="2703"/>
                    <a:pt x="2037" y="3001"/>
                    <a:pt x="3001" y="3001"/>
                  </a:cubicBezTo>
                  <a:cubicBezTo>
                    <a:pt x="3977" y="3001"/>
                    <a:pt x="4644" y="2703"/>
                    <a:pt x="5061" y="2430"/>
                  </a:cubicBezTo>
                  <a:close/>
                  <a:moveTo>
                    <a:pt x="905" y="1"/>
                  </a:moveTo>
                  <a:cubicBezTo>
                    <a:pt x="822" y="1"/>
                    <a:pt x="739" y="72"/>
                    <a:pt x="739" y="167"/>
                  </a:cubicBezTo>
                  <a:lnTo>
                    <a:pt x="739" y="1156"/>
                  </a:lnTo>
                  <a:cubicBezTo>
                    <a:pt x="715" y="1179"/>
                    <a:pt x="703" y="1203"/>
                    <a:pt x="679" y="1215"/>
                  </a:cubicBezTo>
                  <a:lnTo>
                    <a:pt x="24" y="2168"/>
                  </a:lnTo>
                  <a:cubicBezTo>
                    <a:pt x="12" y="2203"/>
                    <a:pt x="1" y="2227"/>
                    <a:pt x="1" y="2263"/>
                  </a:cubicBezTo>
                  <a:lnTo>
                    <a:pt x="1" y="2287"/>
                  </a:lnTo>
                  <a:cubicBezTo>
                    <a:pt x="72" y="2572"/>
                    <a:pt x="132" y="2858"/>
                    <a:pt x="191" y="3132"/>
                  </a:cubicBezTo>
                  <a:cubicBezTo>
                    <a:pt x="572" y="5001"/>
                    <a:pt x="703" y="6394"/>
                    <a:pt x="524" y="7275"/>
                  </a:cubicBezTo>
                  <a:lnTo>
                    <a:pt x="524" y="7287"/>
                  </a:lnTo>
                  <a:lnTo>
                    <a:pt x="524" y="7311"/>
                  </a:lnTo>
                  <a:lnTo>
                    <a:pt x="524" y="7323"/>
                  </a:lnTo>
                  <a:lnTo>
                    <a:pt x="524" y="7335"/>
                  </a:lnTo>
                  <a:lnTo>
                    <a:pt x="524" y="7371"/>
                  </a:lnTo>
                  <a:lnTo>
                    <a:pt x="524" y="7383"/>
                  </a:lnTo>
                  <a:lnTo>
                    <a:pt x="524" y="7406"/>
                  </a:lnTo>
                  <a:cubicBezTo>
                    <a:pt x="524" y="7978"/>
                    <a:pt x="1858" y="8240"/>
                    <a:pt x="3096" y="8240"/>
                  </a:cubicBezTo>
                  <a:cubicBezTo>
                    <a:pt x="4323" y="8240"/>
                    <a:pt x="5668" y="7990"/>
                    <a:pt x="5668" y="7406"/>
                  </a:cubicBezTo>
                  <a:lnTo>
                    <a:pt x="5668" y="7383"/>
                  </a:lnTo>
                  <a:lnTo>
                    <a:pt x="5668" y="7371"/>
                  </a:lnTo>
                  <a:lnTo>
                    <a:pt x="5668" y="7335"/>
                  </a:lnTo>
                  <a:lnTo>
                    <a:pt x="5668" y="7323"/>
                  </a:lnTo>
                  <a:lnTo>
                    <a:pt x="5668" y="7311"/>
                  </a:lnTo>
                  <a:lnTo>
                    <a:pt x="5668" y="7287"/>
                  </a:lnTo>
                  <a:lnTo>
                    <a:pt x="5668" y="7275"/>
                  </a:lnTo>
                  <a:cubicBezTo>
                    <a:pt x="5489" y="6382"/>
                    <a:pt x="5608" y="5001"/>
                    <a:pt x="5989" y="3132"/>
                  </a:cubicBezTo>
                  <a:cubicBezTo>
                    <a:pt x="6061" y="2870"/>
                    <a:pt x="6108" y="2572"/>
                    <a:pt x="6192" y="2287"/>
                  </a:cubicBezTo>
                  <a:lnTo>
                    <a:pt x="6192" y="2263"/>
                  </a:lnTo>
                  <a:cubicBezTo>
                    <a:pt x="6144" y="2251"/>
                    <a:pt x="6132" y="2227"/>
                    <a:pt x="6132" y="2215"/>
                  </a:cubicBezTo>
                  <a:cubicBezTo>
                    <a:pt x="6132" y="2203"/>
                    <a:pt x="6120" y="2191"/>
                    <a:pt x="6120" y="2168"/>
                  </a:cubicBezTo>
                  <a:lnTo>
                    <a:pt x="5466" y="1215"/>
                  </a:lnTo>
                  <a:cubicBezTo>
                    <a:pt x="5442" y="1191"/>
                    <a:pt x="5418" y="1179"/>
                    <a:pt x="5394" y="1156"/>
                  </a:cubicBezTo>
                  <a:lnTo>
                    <a:pt x="5394" y="167"/>
                  </a:lnTo>
                  <a:cubicBezTo>
                    <a:pt x="5394" y="72"/>
                    <a:pt x="5323" y="1"/>
                    <a:pt x="5239" y="1"/>
                  </a:cubicBezTo>
                  <a:cubicBezTo>
                    <a:pt x="5144" y="1"/>
                    <a:pt x="5073" y="72"/>
                    <a:pt x="5073" y="167"/>
                  </a:cubicBezTo>
                  <a:lnTo>
                    <a:pt x="5073" y="1156"/>
                  </a:lnTo>
                  <a:lnTo>
                    <a:pt x="5085" y="1144"/>
                  </a:lnTo>
                  <a:lnTo>
                    <a:pt x="5049" y="1191"/>
                  </a:lnTo>
                  <a:lnTo>
                    <a:pt x="5025" y="1203"/>
                  </a:lnTo>
                  <a:cubicBezTo>
                    <a:pt x="5001" y="1251"/>
                    <a:pt x="4965" y="1298"/>
                    <a:pt x="4930" y="1334"/>
                  </a:cubicBezTo>
                  <a:cubicBezTo>
                    <a:pt x="4668" y="1620"/>
                    <a:pt x="4120" y="2037"/>
                    <a:pt x="3084" y="2037"/>
                  </a:cubicBezTo>
                  <a:cubicBezTo>
                    <a:pt x="1917" y="2037"/>
                    <a:pt x="1370" y="1513"/>
                    <a:pt x="1155" y="1251"/>
                  </a:cubicBezTo>
                  <a:lnTo>
                    <a:pt x="1120" y="1203"/>
                  </a:lnTo>
                  <a:lnTo>
                    <a:pt x="1072" y="1156"/>
                  </a:lnTo>
                  <a:lnTo>
                    <a:pt x="1072" y="167"/>
                  </a:lnTo>
                  <a:cubicBezTo>
                    <a:pt x="1072" y="72"/>
                    <a:pt x="1001" y="1"/>
                    <a:pt x="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9" name="Google Shape;12339;p62"/>
            <p:cNvSpPr/>
            <p:nvPr/>
          </p:nvSpPr>
          <p:spPr>
            <a:xfrm>
              <a:off x="6214142" y="2182256"/>
              <a:ext cx="346515" cy="146971"/>
            </a:xfrm>
            <a:custGeom>
              <a:avLst/>
              <a:gdLst/>
              <a:ahLst/>
              <a:cxnLst/>
              <a:rect l="l" t="t" r="r" b="b"/>
              <a:pathLst>
                <a:path w="10895" h="4621" extrusionOk="0">
                  <a:moveTo>
                    <a:pt x="9966" y="478"/>
                  </a:moveTo>
                  <a:lnTo>
                    <a:pt x="10525" y="525"/>
                  </a:lnTo>
                  <a:cubicBezTo>
                    <a:pt x="10525" y="561"/>
                    <a:pt x="10502" y="585"/>
                    <a:pt x="10490" y="620"/>
                  </a:cubicBezTo>
                  <a:cubicBezTo>
                    <a:pt x="10323" y="835"/>
                    <a:pt x="10192" y="1216"/>
                    <a:pt x="10192" y="1466"/>
                  </a:cubicBezTo>
                  <a:lnTo>
                    <a:pt x="10192" y="1513"/>
                  </a:lnTo>
                  <a:cubicBezTo>
                    <a:pt x="10192" y="1775"/>
                    <a:pt x="10013" y="2025"/>
                    <a:pt x="9716" y="2192"/>
                  </a:cubicBezTo>
                  <a:cubicBezTo>
                    <a:pt x="9454" y="2347"/>
                    <a:pt x="9287" y="2585"/>
                    <a:pt x="9275" y="2835"/>
                  </a:cubicBezTo>
                  <a:cubicBezTo>
                    <a:pt x="9251" y="3085"/>
                    <a:pt x="8978" y="3276"/>
                    <a:pt x="8632" y="3276"/>
                  </a:cubicBezTo>
                  <a:lnTo>
                    <a:pt x="8620" y="3276"/>
                  </a:lnTo>
                  <a:cubicBezTo>
                    <a:pt x="8263" y="3311"/>
                    <a:pt x="7942" y="3478"/>
                    <a:pt x="7787" y="3716"/>
                  </a:cubicBezTo>
                  <a:cubicBezTo>
                    <a:pt x="7659" y="3898"/>
                    <a:pt x="7413" y="4011"/>
                    <a:pt x="7150" y="4011"/>
                  </a:cubicBezTo>
                  <a:cubicBezTo>
                    <a:pt x="7069" y="4011"/>
                    <a:pt x="6987" y="4000"/>
                    <a:pt x="6906" y="3978"/>
                  </a:cubicBezTo>
                  <a:cubicBezTo>
                    <a:pt x="6804" y="3957"/>
                    <a:pt x="6701" y="3946"/>
                    <a:pt x="6599" y="3946"/>
                  </a:cubicBezTo>
                  <a:cubicBezTo>
                    <a:pt x="6358" y="3946"/>
                    <a:pt x="6126" y="4007"/>
                    <a:pt x="5942" y="4133"/>
                  </a:cubicBezTo>
                  <a:cubicBezTo>
                    <a:pt x="5799" y="4216"/>
                    <a:pt x="5620" y="4264"/>
                    <a:pt x="5441" y="4264"/>
                  </a:cubicBezTo>
                  <a:cubicBezTo>
                    <a:pt x="5263" y="4264"/>
                    <a:pt x="5084" y="4216"/>
                    <a:pt x="4953" y="4133"/>
                  </a:cubicBezTo>
                  <a:cubicBezTo>
                    <a:pt x="4770" y="4008"/>
                    <a:pt x="4528" y="3941"/>
                    <a:pt x="4289" y="3941"/>
                  </a:cubicBezTo>
                  <a:cubicBezTo>
                    <a:pt x="4187" y="3941"/>
                    <a:pt x="4085" y="3953"/>
                    <a:pt x="3989" y="3978"/>
                  </a:cubicBezTo>
                  <a:cubicBezTo>
                    <a:pt x="3908" y="4000"/>
                    <a:pt x="3825" y="4011"/>
                    <a:pt x="3744" y="4011"/>
                  </a:cubicBezTo>
                  <a:cubicBezTo>
                    <a:pt x="3477" y="4011"/>
                    <a:pt x="3226" y="3898"/>
                    <a:pt x="3108" y="3716"/>
                  </a:cubicBezTo>
                  <a:cubicBezTo>
                    <a:pt x="2941" y="3454"/>
                    <a:pt x="2632" y="3299"/>
                    <a:pt x="2274" y="3276"/>
                  </a:cubicBezTo>
                  <a:lnTo>
                    <a:pt x="2263" y="3276"/>
                  </a:lnTo>
                  <a:cubicBezTo>
                    <a:pt x="1917" y="3276"/>
                    <a:pt x="1631" y="3085"/>
                    <a:pt x="1620" y="2835"/>
                  </a:cubicBezTo>
                  <a:cubicBezTo>
                    <a:pt x="1608" y="2561"/>
                    <a:pt x="1441" y="2347"/>
                    <a:pt x="1179" y="2192"/>
                  </a:cubicBezTo>
                  <a:cubicBezTo>
                    <a:pt x="881" y="2014"/>
                    <a:pt x="703" y="1775"/>
                    <a:pt x="703" y="1513"/>
                  </a:cubicBezTo>
                  <a:lnTo>
                    <a:pt x="703" y="1466"/>
                  </a:lnTo>
                  <a:cubicBezTo>
                    <a:pt x="703" y="1216"/>
                    <a:pt x="560" y="835"/>
                    <a:pt x="405" y="620"/>
                  </a:cubicBezTo>
                  <a:cubicBezTo>
                    <a:pt x="381" y="585"/>
                    <a:pt x="358" y="561"/>
                    <a:pt x="346" y="525"/>
                  </a:cubicBezTo>
                  <a:lnTo>
                    <a:pt x="893" y="478"/>
                  </a:lnTo>
                  <a:cubicBezTo>
                    <a:pt x="1012" y="1347"/>
                    <a:pt x="1501" y="2144"/>
                    <a:pt x="2310" y="2740"/>
                  </a:cubicBezTo>
                  <a:cubicBezTo>
                    <a:pt x="3155" y="3371"/>
                    <a:pt x="4275" y="3728"/>
                    <a:pt x="5430" y="3728"/>
                  </a:cubicBezTo>
                  <a:cubicBezTo>
                    <a:pt x="6596" y="3728"/>
                    <a:pt x="7704" y="3383"/>
                    <a:pt x="8561" y="2740"/>
                  </a:cubicBezTo>
                  <a:cubicBezTo>
                    <a:pt x="9359" y="2144"/>
                    <a:pt x="9871" y="1347"/>
                    <a:pt x="9966" y="478"/>
                  </a:cubicBezTo>
                  <a:close/>
                  <a:moveTo>
                    <a:pt x="2378" y="0"/>
                  </a:moveTo>
                  <a:cubicBezTo>
                    <a:pt x="2372" y="0"/>
                    <a:pt x="2365" y="0"/>
                    <a:pt x="2358" y="1"/>
                  </a:cubicBezTo>
                  <a:cubicBezTo>
                    <a:pt x="2286" y="1"/>
                    <a:pt x="2215" y="25"/>
                    <a:pt x="2143" y="25"/>
                  </a:cubicBezTo>
                  <a:lnTo>
                    <a:pt x="143" y="216"/>
                  </a:lnTo>
                  <a:cubicBezTo>
                    <a:pt x="60" y="228"/>
                    <a:pt x="0" y="287"/>
                    <a:pt x="0" y="382"/>
                  </a:cubicBezTo>
                  <a:cubicBezTo>
                    <a:pt x="0" y="525"/>
                    <a:pt x="36" y="680"/>
                    <a:pt x="143" y="811"/>
                  </a:cubicBezTo>
                  <a:cubicBezTo>
                    <a:pt x="262" y="978"/>
                    <a:pt x="369" y="1287"/>
                    <a:pt x="369" y="1466"/>
                  </a:cubicBezTo>
                  <a:lnTo>
                    <a:pt x="369" y="1513"/>
                  </a:lnTo>
                  <a:cubicBezTo>
                    <a:pt x="369" y="1894"/>
                    <a:pt x="608" y="2252"/>
                    <a:pt x="1012" y="2478"/>
                  </a:cubicBezTo>
                  <a:cubicBezTo>
                    <a:pt x="1167" y="2561"/>
                    <a:pt x="1274" y="2716"/>
                    <a:pt x="1286" y="2859"/>
                  </a:cubicBezTo>
                  <a:cubicBezTo>
                    <a:pt x="1322" y="3276"/>
                    <a:pt x="1739" y="3621"/>
                    <a:pt x="2263" y="3621"/>
                  </a:cubicBezTo>
                  <a:cubicBezTo>
                    <a:pt x="2513" y="3633"/>
                    <a:pt x="2739" y="3752"/>
                    <a:pt x="2834" y="3918"/>
                  </a:cubicBezTo>
                  <a:cubicBezTo>
                    <a:pt x="3021" y="4198"/>
                    <a:pt x="3383" y="4361"/>
                    <a:pt x="3760" y="4361"/>
                  </a:cubicBezTo>
                  <a:cubicBezTo>
                    <a:pt x="3864" y="4361"/>
                    <a:pt x="3969" y="4349"/>
                    <a:pt x="4072" y="4323"/>
                  </a:cubicBezTo>
                  <a:cubicBezTo>
                    <a:pt x="4145" y="4306"/>
                    <a:pt x="4220" y="4298"/>
                    <a:pt x="4295" y="4298"/>
                  </a:cubicBezTo>
                  <a:cubicBezTo>
                    <a:pt x="4475" y="4298"/>
                    <a:pt x="4652" y="4346"/>
                    <a:pt x="4787" y="4430"/>
                  </a:cubicBezTo>
                  <a:cubicBezTo>
                    <a:pt x="4977" y="4550"/>
                    <a:pt x="5203" y="4621"/>
                    <a:pt x="5441" y="4621"/>
                  </a:cubicBezTo>
                  <a:cubicBezTo>
                    <a:pt x="5680" y="4621"/>
                    <a:pt x="5918" y="4561"/>
                    <a:pt x="6096" y="4430"/>
                  </a:cubicBezTo>
                  <a:cubicBezTo>
                    <a:pt x="6231" y="4346"/>
                    <a:pt x="6408" y="4298"/>
                    <a:pt x="6588" y="4298"/>
                  </a:cubicBezTo>
                  <a:cubicBezTo>
                    <a:pt x="6663" y="4298"/>
                    <a:pt x="6738" y="4306"/>
                    <a:pt x="6811" y="4323"/>
                  </a:cubicBezTo>
                  <a:cubicBezTo>
                    <a:pt x="6911" y="4348"/>
                    <a:pt x="7013" y="4360"/>
                    <a:pt x="7113" y="4360"/>
                  </a:cubicBezTo>
                  <a:cubicBezTo>
                    <a:pt x="7494" y="4360"/>
                    <a:pt x="7861" y="4191"/>
                    <a:pt x="8049" y="3918"/>
                  </a:cubicBezTo>
                  <a:cubicBezTo>
                    <a:pt x="8156" y="3752"/>
                    <a:pt x="8370" y="3633"/>
                    <a:pt x="8632" y="3621"/>
                  </a:cubicBezTo>
                  <a:cubicBezTo>
                    <a:pt x="9132" y="3621"/>
                    <a:pt x="9561" y="3299"/>
                    <a:pt x="9597" y="2859"/>
                  </a:cubicBezTo>
                  <a:cubicBezTo>
                    <a:pt x="9609" y="2716"/>
                    <a:pt x="9704" y="2585"/>
                    <a:pt x="9883" y="2478"/>
                  </a:cubicBezTo>
                  <a:cubicBezTo>
                    <a:pt x="10287" y="2252"/>
                    <a:pt x="10525" y="1883"/>
                    <a:pt x="10525" y="1513"/>
                  </a:cubicBezTo>
                  <a:lnTo>
                    <a:pt x="10525" y="1466"/>
                  </a:lnTo>
                  <a:cubicBezTo>
                    <a:pt x="10525" y="1287"/>
                    <a:pt x="10621" y="966"/>
                    <a:pt x="10740" y="811"/>
                  </a:cubicBezTo>
                  <a:cubicBezTo>
                    <a:pt x="10835" y="680"/>
                    <a:pt x="10895" y="525"/>
                    <a:pt x="10895" y="382"/>
                  </a:cubicBezTo>
                  <a:cubicBezTo>
                    <a:pt x="10895" y="287"/>
                    <a:pt x="10835" y="216"/>
                    <a:pt x="10740" y="216"/>
                  </a:cubicBezTo>
                  <a:lnTo>
                    <a:pt x="8751" y="25"/>
                  </a:lnTo>
                  <a:cubicBezTo>
                    <a:pt x="8668" y="25"/>
                    <a:pt x="8585" y="1"/>
                    <a:pt x="8513" y="1"/>
                  </a:cubicBezTo>
                  <a:cubicBezTo>
                    <a:pt x="8506" y="0"/>
                    <a:pt x="8499" y="0"/>
                    <a:pt x="8493" y="0"/>
                  </a:cubicBezTo>
                  <a:cubicBezTo>
                    <a:pt x="8408" y="0"/>
                    <a:pt x="8346" y="68"/>
                    <a:pt x="8335" y="156"/>
                  </a:cubicBezTo>
                  <a:cubicBezTo>
                    <a:pt x="8323" y="239"/>
                    <a:pt x="8394" y="323"/>
                    <a:pt x="8478" y="335"/>
                  </a:cubicBezTo>
                  <a:cubicBezTo>
                    <a:pt x="8561" y="335"/>
                    <a:pt x="8644" y="347"/>
                    <a:pt x="8716" y="347"/>
                  </a:cubicBezTo>
                  <a:lnTo>
                    <a:pt x="9656" y="442"/>
                  </a:lnTo>
                  <a:cubicBezTo>
                    <a:pt x="9418" y="2109"/>
                    <a:pt x="7620" y="3383"/>
                    <a:pt x="5441" y="3383"/>
                  </a:cubicBezTo>
                  <a:cubicBezTo>
                    <a:pt x="3275" y="3383"/>
                    <a:pt x="1453" y="2109"/>
                    <a:pt x="1227" y="442"/>
                  </a:cubicBezTo>
                  <a:lnTo>
                    <a:pt x="2167" y="347"/>
                  </a:lnTo>
                  <a:cubicBezTo>
                    <a:pt x="2239" y="347"/>
                    <a:pt x="2322" y="335"/>
                    <a:pt x="2393" y="335"/>
                  </a:cubicBezTo>
                  <a:cubicBezTo>
                    <a:pt x="2477" y="311"/>
                    <a:pt x="2560" y="239"/>
                    <a:pt x="2536" y="156"/>
                  </a:cubicBezTo>
                  <a:cubicBezTo>
                    <a:pt x="2525" y="68"/>
                    <a:pt x="2463" y="0"/>
                    <a:pt x="23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40" name="Google Shape;12340;p62"/>
          <p:cNvGrpSpPr/>
          <p:nvPr/>
        </p:nvGrpSpPr>
        <p:grpSpPr>
          <a:xfrm>
            <a:off x="7105923" y="1978545"/>
            <a:ext cx="333285" cy="350682"/>
            <a:chOff x="7105923" y="1978545"/>
            <a:chExt cx="333285" cy="350682"/>
          </a:xfrm>
        </p:grpSpPr>
        <p:sp>
          <p:nvSpPr>
            <p:cNvPr id="12341" name="Google Shape;12341;p62"/>
            <p:cNvSpPr/>
            <p:nvPr/>
          </p:nvSpPr>
          <p:spPr>
            <a:xfrm>
              <a:off x="7128632" y="2237978"/>
              <a:ext cx="220059" cy="91249"/>
            </a:xfrm>
            <a:custGeom>
              <a:avLst/>
              <a:gdLst/>
              <a:ahLst/>
              <a:cxnLst/>
              <a:rect l="l" t="t" r="r" b="b"/>
              <a:pathLst>
                <a:path w="6919" h="2869" extrusionOk="0">
                  <a:moveTo>
                    <a:pt x="6271" y="1"/>
                  </a:moveTo>
                  <a:cubicBezTo>
                    <a:pt x="6254" y="1"/>
                    <a:pt x="6235" y="4"/>
                    <a:pt x="6216" y="11"/>
                  </a:cubicBezTo>
                  <a:cubicBezTo>
                    <a:pt x="6133" y="23"/>
                    <a:pt x="6073" y="107"/>
                    <a:pt x="6097" y="202"/>
                  </a:cubicBezTo>
                  <a:cubicBezTo>
                    <a:pt x="6323" y="1214"/>
                    <a:pt x="6549" y="1893"/>
                    <a:pt x="6597" y="2059"/>
                  </a:cubicBezTo>
                  <a:lnTo>
                    <a:pt x="6597" y="2083"/>
                  </a:lnTo>
                  <a:cubicBezTo>
                    <a:pt x="6549" y="2143"/>
                    <a:pt x="6335" y="2274"/>
                    <a:pt x="5668" y="2393"/>
                  </a:cubicBezTo>
                  <a:cubicBezTo>
                    <a:pt x="5073" y="2500"/>
                    <a:pt x="4287" y="2559"/>
                    <a:pt x="3466" y="2559"/>
                  </a:cubicBezTo>
                  <a:cubicBezTo>
                    <a:pt x="2644" y="2559"/>
                    <a:pt x="1870" y="2500"/>
                    <a:pt x="1263" y="2393"/>
                  </a:cubicBezTo>
                  <a:cubicBezTo>
                    <a:pt x="596" y="2274"/>
                    <a:pt x="370" y="2143"/>
                    <a:pt x="346" y="2083"/>
                  </a:cubicBezTo>
                  <a:lnTo>
                    <a:pt x="346" y="2059"/>
                  </a:lnTo>
                  <a:cubicBezTo>
                    <a:pt x="406" y="1893"/>
                    <a:pt x="620" y="1214"/>
                    <a:pt x="834" y="202"/>
                  </a:cubicBezTo>
                  <a:cubicBezTo>
                    <a:pt x="846" y="107"/>
                    <a:pt x="799" y="23"/>
                    <a:pt x="715" y="11"/>
                  </a:cubicBezTo>
                  <a:cubicBezTo>
                    <a:pt x="699" y="7"/>
                    <a:pt x="683" y="5"/>
                    <a:pt x="668" y="5"/>
                  </a:cubicBezTo>
                  <a:cubicBezTo>
                    <a:pt x="594" y="5"/>
                    <a:pt x="535" y="52"/>
                    <a:pt x="525" y="131"/>
                  </a:cubicBezTo>
                  <a:cubicBezTo>
                    <a:pt x="263" y="1250"/>
                    <a:pt x="25" y="1988"/>
                    <a:pt x="13" y="2000"/>
                  </a:cubicBezTo>
                  <a:cubicBezTo>
                    <a:pt x="1" y="2024"/>
                    <a:pt x="1" y="2047"/>
                    <a:pt x="1" y="2059"/>
                  </a:cubicBezTo>
                  <a:lnTo>
                    <a:pt x="1" y="2083"/>
                  </a:lnTo>
                  <a:cubicBezTo>
                    <a:pt x="1" y="2345"/>
                    <a:pt x="346" y="2536"/>
                    <a:pt x="1096" y="2678"/>
                  </a:cubicBezTo>
                  <a:cubicBezTo>
                    <a:pt x="1727" y="2798"/>
                    <a:pt x="2573" y="2869"/>
                    <a:pt x="3454" y="2869"/>
                  </a:cubicBezTo>
                  <a:cubicBezTo>
                    <a:pt x="4347" y="2869"/>
                    <a:pt x="5180" y="2809"/>
                    <a:pt x="5799" y="2678"/>
                  </a:cubicBezTo>
                  <a:cubicBezTo>
                    <a:pt x="6549" y="2524"/>
                    <a:pt x="6907" y="2345"/>
                    <a:pt x="6907" y="2083"/>
                  </a:cubicBezTo>
                  <a:lnTo>
                    <a:pt x="6907" y="2059"/>
                  </a:lnTo>
                  <a:cubicBezTo>
                    <a:pt x="6918" y="2036"/>
                    <a:pt x="6918" y="2000"/>
                    <a:pt x="6918" y="1988"/>
                  </a:cubicBezTo>
                  <a:cubicBezTo>
                    <a:pt x="6918" y="1988"/>
                    <a:pt x="6668" y="1250"/>
                    <a:pt x="6406" y="131"/>
                  </a:cubicBezTo>
                  <a:cubicBezTo>
                    <a:pt x="6397" y="54"/>
                    <a:pt x="6342" y="1"/>
                    <a:pt x="62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2" name="Google Shape;12342;p62"/>
            <p:cNvSpPr/>
            <p:nvPr/>
          </p:nvSpPr>
          <p:spPr>
            <a:xfrm>
              <a:off x="7105923" y="2079271"/>
              <a:ext cx="266621" cy="145063"/>
            </a:xfrm>
            <a:custGeom>
              <a:avLst/>
              <a:gdLst/>
              <a:ahLst/>
              <a:cxnLst/>
              <a:rect l="l" t="t" r="r" b="b"/>
              <a:pathLst>
                <a:path w="8383" h="4561" extrusionOk="0">
                  <a:moveTo>
                    <a:pt x="4227" y="310"/>
                  </a:moveTo>
                  <a:cubicBezTo>
                    <a:pt x="5287" y="310"/>
                    <a:pt x="6275" y="418"/>
                    <a:pt x="7037" y="596"/>
                  </a:cubicBezTo>
                  <a:cubicBezTo>
                    <a:pt x="7763" y="775"/>
                    <a:pt x="8097" y="989"/>
                    <a:pt x="8097" y="1132"/>
                  </a:cubicBezTo>
                  <a:cubicBezTo>
                    <a:pt x="8049" y="1191"/>
                    <a:pt x="7966" y="1275"/>
                    <a:pt x="7811" y="1370"/>
                  </a:cubicBezTo>
                  <a:cubicBezTo>
                    <a:pt x="7621" y="1477"/>
                    <a:pt x="7335" y="1572"/>
                    <a:pt x="6990" y="1668"/>
                  </a:cubicBezTo>
                  <a:cubicBezTo>
                    <a:pt x="6835" y="1715"/>
                    <a:pt x="6668" y="1739"/>
                    <a:pt x="6489" y="1775"/>
                  </a:cubicBezTo>
                  <a:cubicBezTo>
                    <a:pt x="6454" y="1775"/>
                    <a:pt x="6418" y="1787"/>
                    <a:pt x="6382" y="1787"/>
                  </a:cubicBezTo>
                  <a:lnTo>
                    <a:pt x="6347" y="1787"/>
                  </a:lnTo>
                  <a:cubicBezTo>
                    <a:pt x="6323" y="1787"/>
                    <a:pt x="6287" y="1799"/>
                    <a:pt x="6263" y="1799"/>
                  </a:cubicBezTo>
                  <a:lnTo>
                    <a:pt x="6228" y="1799"/>
                  </a:lnTo>
                  <a:cubicBezTo>
                    <a:pt x="6192" y="1799"/>
                    <a:pt x="6156" y="1811"/>
                    <a:pt x="6120" y="1811"/>
                  </a:cubicBezTo>
                  <a:lnTo>
                    <a:pt x="6097" y="1811"/>
                  </a:lnTo>
                  <a:cubicBezTo>
                    <a:pt x="6061" y="1811"/>
                    <a:pt x="6025" y="1834"/>
                    <a:pt x="5977" y="1834"/>
                  </a:cubicBezTo>
                  <a:lnTo>
                    <a:pt x="5942" y="1834"/>
                  </a:lnTo>
                  <a:cubicBezTo>
                    <a:pt x="5906" y="1834"/>
                    <a:pt x="5882" y="1834"/>
                    <a:pt x="5847" y="1846"/>
                  </a:cubicBezTo>
                  <a:lnTo>
                    <a:pt x="5799" y="1846"/>
                  </a:lnTo>
                  <a:cubicBezTo>
                    <a:pt x="5763" y="1846"/>
                    <a:pt x="5716" y="1858"/>
                    <a:pt x="5680" y="1858"/>
                  </a:cubicBezTo>
                  <a:lnTo>
                    <a:pt x="5668" y="1858"/>
                  </a:lnTo>
                  <a:cubicBezTo>
                    <a:pt x="5644" y="1858"/>
                    <a:pt x="5596" y="1858"/>
                    <a:pt x="5561" y="1870"/>
                  </a:cubicBezTo>
                  <a:lnTo>
                    <a:pt x="5382" y="1870"/>
                  </a:lnTo>
                  <a:cubicBezTo>
                    <a:pt x="5346" y="1870"/>
                    <a:pt x="5299" y="1870"/>
                    <a:pt x="5263" y="1894"/>
                  </a:cubicBezTo>
                  <a:lnTo>
                    <a:pt x="3156" y="1894"/>
                  </a:lnTo>
                  <a:cubicBezTo>
                    <a:pt x="3108" y="1894"/>
                    <a:pt x="3060" y="1894"/>
                    <a:pt x="3037" y="1870"/>
                  </a:cubicBezTo>
                  <a:lnTo>
                    <a:pt x="2858" y="1870"/>
                  </a:lnTo>
                  <a:cubicBezTo>
                    <a:pt x="2810" y="1870"/>
                    <a:pt x="2787" y="1870"/>
                    <a:pt x="2751" y="1858"/>
                  </a:cubicBezTo>
                  <a:lnTo>
                    <a:pt x="2739" y="1858"/>
                  </a:lnTo>
                  <a:cubicBezTo>
                    <a:pt x="2691" y="1858"/>
                    <a:pt x="2644" y="1846"/>
                    <a:pt x="2620" y="1846"/>
                  </a:cubicBezTo>
                  <a:lnTo>
                    <a:pt x="2572" y="1846"/>
                  </a:lnTo>
                  <a:cubicBezTo>
                    <a:pt x="2548" y="1846"/>
                    <a:pt x="2513" y="1846"/>
                    <a:pt x="2489" y="1834"/>
                  </a:cubicBezTo>
                  <a:lnTo>
                    <a:pt x="2441" y="1834"/>
                  </a:lnTo>
                  <a:cubicBezTo>
                    <a:pt x="2394" y="1834"/>
                    <a:pt x="2370" y="1811"/>
                    <a:pt x="2322" y="1811"/>
                  </a:cubicBezTo>
                  <a:lnTo>
                    <a:pt x="2310" y="1811"/>
                  </a:lnTo>
                  <a:cubicBezTo>
                    <a:pt x="2263" y="1811"/>
                    <a:pt x="2227" y="1799"/>
                    <a:pt x="2191" y="1799"/>
                  </a:cubicBezTo>
                  <a:lnTo>
                    <a:pt x="2156" y="1799"/>
                  </a:lnTo>
                  <a:cubicBezTo>
                    <a:pt x="2132" y="1799"/>
                    <a:pt x="2096" y="1787"/>
                    <a:pt x="2072" y="1787"/>
                  </a:cubicBezTo>
                  <a:lnTo>
                    <a:pt x="2037" y="1787"/>
                  </a:lnTo>
                  <a:cubicBezTo>
                    <a:pt x="1989" y="1787"/>
                    <a:pt x="1965" y="1775"/>
                    <a:pt x="1917" y="1775"/>
                  </a:cubicBezTo>
                  <a:cubicBezTo>
                    <a:pt x="1739" y="1739"/>
                    <a:pt x="1572" y="1715"/>
                    <a:pt x="1417" y="1668"/>
                  </a:cubicBezTo>
                  <a:cubicBezTo>
                    <a:pt x="679" y="1489"/>
                    <a:pt x="358" y="1263"/>
                    <a:pt x="358" y="1132"/>
                  </a:cubicBezTo>
                  <a:cubicBezTo>
                    <a:pt x="358" y="1072"/>
                    <a:pt x="441" y="977"/>
                    <a:pt x="596" y="894"/>
                  </a:cubicBezTo>
                  <a:cubicBezTo>
                    <a:pt x="786" y="787"/>
                    <a:pt x="1072" y="680"/>
                    <a:pt x="1417" y="596"/>
                  </a:cubicBezTo>
                  <a:cubicBezTo>
                    <a:pt x="2156" y="418"/>
                    <a:pt x="3156" y="310"/>
                    <a:pt x="4227" y="310"/>
                  </a:cubicBezTo>
                  <a:close/>
                  <a:moveTo>
                    <a:pt x="6347" y="2108"/>
                  </a:moveTo>
                  <a:lnTo>
                    <a:pt x="6347" y="2180"/>
                  </a:lnTo>
                  <a:cubicBezTo>
                    <a:pt x="6347" y="2239"/>
                    <a:pt x="6370" y="2287"/>
                    <a:pt x="6370" y="2346"/>
                  </a:cubicBezTo>
                  <a:lnTo>
                    <a:pt x="6370" y="2442"/>
                  </a:lnTo>
                  <a:cubicBezTo>
                    <a:pt x="6370" y="2513"/>
                    <a:pt x="6382" y="2608"/>
                    <a:pt x="6382" y="2680"/>
                  </a:cubicBezTo>
                  <a:lnTo>
                    <a:pt x="6382" y="2692"/>
                  </a:lnTo>
                  <a:cubicBezTo>
                    <a:pt x="6382" y="2739"/>
                    <a:pt x="6394" y="2799"/>
                    <a:pt x="6394" y="2846"/>
                  </a:cubicBezTo>
                  <a:cubicBezTo>
                    <a:pt x="5739" y="2930"/>
                    <a:pt x="4965" y="2977"/>
                    <a:pt x="4180" y="2977"/>
                  </a:cubicBezTo>
                  <a:cubicBezTo>
                    <a:pt x="3394" y="2977"/>
                    <a:pt x="2620" y="2930"/>
                    <a:pt x="1929" y="2823"/>
                  </a:cubicBezTo>
                  <a:cubicBezTo>
                    <a:pt x="1929" y="2787"/>
                    <a:pt x="1953" y="2727"/>
                    <a:pt x="1953" y="2680"/>
                  </a:cubicBezTo>
                  <a:lnTo>
                    <a:pt x="1953" y="2668"/>
                  </a:lnTo>
                  <a:cubicBezTo>
                    <a:pt x="1965" y="2585"/>
                    <a:pt x="1965" y="2501"/>
                    <a:pt x="1965" y="2418"/>
                  </a:cubicBezTo>
                  <a:cubicBezTo>
                    <a:pt x="1965" y="2394"/>
                    <a:pt x="1965" y="2370"/>
                    <a:pt x="1977" y="2334"/>
                  </a:cubicBezTo>
                  <a:cubicBezTo>
                    <a:pt x="1977" y="2287"/>
                    <a:pt x="1989" y="2227"/>
                    <a:pt x="1989" y="2180"/>
                  </a:cubicBezTo>
                  <a:lnTo>
                    <a:pt x="1989" y="2108"/>
                  </a:lnTo>
                  <a:cubicBezTo>
                    <a:pt x="2322" y="2156"/>
                    <a:pt x="2656" y="2204"/>
                    <a:pt x="3037" y="2227"/>
                  </a:cubicBezTo>
                  <a:lnTo>
                    <a:pt x="3120" y="2227"/>
                  </a:lnTo>
                  <a:cubicBezTo>
                    <a:pt x="3180" y="2227"/>
                    <a:pt x="3239" y="2227"/>
                    <a:pt x="3299" y="2251"/>
                  </a:cubicBezTo>
                  <a:lnTo>
                    <a:pt x="5037" y="2251"/>
                  </a:lnTo>
                  <a:cubicBezTo>
                    <a:pt x="5096" y="2251"/>
                    <a:pt x="5156" y="2251"/>
                    <a:pt x="5239" y="2227"/>
                  </a:cubicBezTo>
                  <a:lnTo>
                    <a:pt x="5311" y="2227"/>
                  </a:lnTo>
                  <a:cubicBezTo>
                    <a:pt x="5680" y="2204"/>
                    <a:pt x="6025" y="2168"/>
                    <a:pt x="6347" y="2108"/>
                  </a:cubicBezTo>
                  <a:close/>
                  <a:moveTo>
                    <a:pt x="4180" y="1"/>
                  </a:moveTo>
                  <a:cubicBezTo>
                    <a:pt x="3096" y="1"/>
                    <a:pt x="2060" y="108"/>
                    <a:pt x="1286" y="287"/>
                  </a:cubicBezTo>
                  <a:cubicBezTo>
                    <a:pt x="429" y="489"/>
                    <a:pt x="1" y="775"/>
                    <a:pt x="1" y="1132"/>
                  </a:cubicBezTo>
                  <a:cubicBezTo>
                    <a:pt x="1" y="1489"/>
                    <a:pt x="429" y="1775"/>
                    <a:pt x="1286" y="1977"/>
                  </a:cubicBezTo>
                  <a:cubicBezTo>
                    <a:pt x="1405" y="2001"/>
                    <a:pt x="1548" y="2037"/>
                    <a:pt x="1679" y="2073"/>
                  </a:cubicBezTo>
                  <a:cubicBezTo>
                    <a:pt x="1667" y="2287"/>
                    <a:pt x="1644" y="2501"/>
                    <a:pt x="1620" y="2715"/>
                  </a:cubicBezTo>
                  <a:lnTo>
                    <a:pt x="1620" y="2763"/>
                  </a:lnTo>
                  <a:cubicBezTo>
                    <a:pt x="1620" y="2811"/>
                    <a:pt x="1608" y="2858"/>
                    <a:pt x="1608" y="2894"/>
                  </a:cubicBezTo>
                  <a:cubicBezTo>
                    <a:pt x="1548" y="3370"/>
                    <a:pt x="1465" y="3870"/>
                    <a:pt x="1382" y="4370"/>
                  </a:cubicBezTo>
                  <a:cubicBezTo>
                    <a:pt x="1370" y="4466"/>
                    <a:pt x="1429" y="4549"/>
                    <a:pt x="1513" y="4561"/>
                  </a:cubicBezTo>
                  <a:lnTo>
                    <a:pt x="1548" y="4561"/>
                  </a:lnTo>
                  <a:cubicBezTo>
                    <a:pt x="1620" y="4561"/>
                    <a:pt x="1691" y="4501"/>
                    <a:pt x="1703" y="4430"/>
                  </a:cubicBezTo>
                  <a:cubicBezTo>
                    <a:pt x="1786" y="4001"/>
                    <a:pt x="1858" y="3585"/>
                    <a:pt x="1906" y="3156"/>
                  </a:cubicBezTo>
                  <a:cubicBezTo>
                    <a:pt x="2596" y="3239"/>
                    <a:pt x="3370" y="3299"/>
                    <a:pt x="4180" y="3299"/>
                  </a:cubicBezTo>
                  <a:cubicBezTo>
                    <a:pt x="4977" y="3299"/>
                    <a:pt x="5775" y="3251"/>
                    <a:pt x="6454" y="3156"/>
                  </a:cubicBezTo>
                  <a:cubicBezTo>
                    <a:pt x="6501" y="3573"/>
                    <a:pt x="6573" y="4001"/>
                    <a:pt x="6644" y="4418"/>
                  </a:cubicBezTo>
                  <a:cubicBezTo>
                    <a:pt x="6666" y="4494"/>
                    <a:pt x="6738" y="4551"/>
                    <a:pt x="6822" y="4551"/>
                  </a:cubicBezTo>
                  <a:cubicBezTo>
                    <a:pt x="6830" y="4551"/>
                    <a:pt x="6838" y="4550"/>
                    <a:pt x="6847" y="4549"/>
                  </a:cubicBezTo>
                  <a:cubicBezTo>
                    <a:pt x="6930" y="4537"/>
                    <a:pt x="6990" y="4442"/>
                    <a:pt x="6978" y="4359"/>
                  </a:cubicBezTo>
                  <a:cubicBezTo>
                    <a:pt x="6882" y="3870"/>
                    <a:pt x="6811" y="3370"/>
                    <a:pt x="6751" y="2882"/>
                  </a:cubicBezTo>
                  <a:cubicBezTo>
                    <a:pt x="6751" y="2835"/>
                    <a:pt x="6739" y="2799"/>
                    <a:pt x="6739" y="2751"/>
                  </a:cubicBezTo>
                  <a:lnTo>
                    <a:pt x="6739" y="2704"/>
                  </a:lnTo>
                  <a:cubicBezTo>
                    <a:pt x="6728" y="2477"/>
                    <a:pt x="6692" y="2275"/>
                    <a:pt x="6680" y="2049"/>
                  </a:cubicBezTo>
                  <a:cubicBezTo>
                    <a:pt x="6811" y="2025"/>
                    <a:pt x="6942" y="1989"/>
                    <a:pt x="7061" y="1965"/>
                  </a:cubicBezTo>
                  <a:cubicBezTo>
                    <a:pt x="7930" y="1751"/>
                    <a:pt x="8359" y="1465"/>
                    <a:pt x="8359" y="1108"/>
                  </a:cubicBezTo>
                  <a:cubicBezTo>
                    <a:pt x="8383" y="775"/>
                    <a:pt x="7930" y="489"/>
                    <a:pt x="7073" y="287"/>
                  </a:cubicBezTo>
                  <a:cubicBezTo>
                    <a:pt x="6299" y="84"/>
                    <a:pt x="5263" y="1"/>
                    <a:pt x="4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3" name="Google Shape;12343;p62"/>
            <p:cNvSpPr/>
            <p:nvPr/>
          </p:nvSpPr>
          <p:spPr>
            <a:xfrm>
              <a:off x="7144184" y="2098609"/>
              <a:ext cx="190480" cy="33332"/>
            </a:xfrm>
            <a:custGeom>
              <a:avLst/>
              <a:gdLst/>
              <a:ahLst/>
              <a:cxnLst/>
              <a:rect l="l" t="t" r="r" b="b"/>
              <a:pathLst>
                <a:path w="5989" h="1048" extrusionOk="0">
                  <a:moveTo>
                    <a:pt x="2977" y="322"/>
                  </a:moveTo>
                  <a:cubicBezTo>
                    <a:pt x="3822" y="322"/>
                    <a:pt x="4655" y="405"/>
                    <a:pt x="5310" y="524"/>
                  </a:cubicBezTo>
                  <a:cubicBezTo>
                    <a:pt x="4655" y="643"/>
                    <a:pt x="3846" y="714"/>
                    <a:pt x="2977" y="714"/>
                  </a:cubicBezTo>
                  <a:cubicBezTo>
                    <a:pt x="2131" y="714"/>
                    <a:pt x="1298" y="643"/>
                    <a:pt x="643" y="524"/>
                  </a:cubicBezTo>
                  <a:cubicBezTo>
                    <a:pt x="1298" y="405"/>
                    <a:pt x="2131" y="322"/>
                    <a:pt x="2977" y="322"/>
                  </a:cubicBezTo>
                  <a:close/>
                  <a:moveTo>
                    <a:pt x="2989" y="0"/>
                  </a:moveTo>
                  <a:cubicBezTo>
                    <a:pt x="2119" y="0"/>
                    <a:pt x="1250" y="72"/>
                    <a:pt x="583" y="214"/>
                  </a:cubicBezTo>
                  <a:cubicBezTo>
                    <a:pt x="429" y="238"/>
                    <a:pt x="298" y="274"/>
                    <a:pt x="179" y="298"/>
                  </a:cubicBezTo>
                  <a:cubicBezTo>
                    <a:pt x="72" y="333"/>
                    <a:pt x="0" y="417"/>
                    <a:pt x="0" y="524"/>
                  </a:cubicBezTo>
                  <a:cubicBezTo>
                    <a:pt x="0" y="631"/>
                    <a:pt x="72" y="714"/>
                    <a:pt x="179" y="750"/>
                  </a:cubicBezTo>
                  <a:cubicBezTo>
                    <a:pt x="298" y="774"/>
                    <a:pt x="453" y="810"/>
                    <a:pt x="583" y="834"/>
                  </a:cubicBezTo>
                  <a:cubicBezTo>
                    <a:pt x="1262" y="964"/>
                    <a:pt x="2119" y="1048"/>
                    <a:pt x="2989" y="1048"/>
                  </a:cubicBezTo>
                  <a:cubicBezTo>
                    <a:pt x="3870" y="1048"/>
                    <a:pt x="4739" y="964"/>
                    <a:pt x="5406" y="834"/>
                  </a:cubicBezTo>
                  <a:cubicBezTo>
                    <a:pt x="5548" y="810"/>
                    <a:pt x="5691" y="774"/>
                    <a:pt x="5810" y="750"/>
                  </a:cubicBezTo>
                  <a:cubicBezTo>
                    <a:pt x="5906" y="714"/>
                    <a:pt x="5989" y="631"/>
                    <a:pt x="5989" y="524"/>
                  </a:cubicBezTo>
                  <a:cubicBezTo>
                    <a:pt x="5989" y="417"/>
                    <a:pt x="5906" y="333"/>
                    <a:pt x="5810" y="298"/>
                  </a:cubicBezTo>
                  <a:cubicBezTo>
                    <a:pt x="5691" y="274"/>
                    <a:pt x="5536" y="238"/>
                    <a:pt x="5406" y="214"/>
                  </a:cubicBezTo>
                  <a:cubicBezTo>
                    <a:pt x="4715" y="72"/>
                    <a:pt x="3870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4" name="Google Shape;12344;p62"/>
            <p:cNvSpPr/>
            <p:nvPr/>
          </p:nvSpPr>
          <p:spPr>
            <a:xfrm>
              <a:off x="7196440" y="1978927"/>
              <a:ext cx="242768" cy="96210"/>
            </a:xfrm>
            <a:custGeom>
              <a:avLst/>
              <a:gdLst/>
              <a:ahLst/>
              <a:cxnLst/>
              <a:rect l="l" t="t" r="r" b="b"/>
              <a:pathLst>
                <a:path w="7633" h="3025" extrusionOk="0">
                  <a:moveTo>
                    <a:pt x="7144" y="346"/>
                  </a:moveTo>
                  <a:cubicBezTo>
                    <a:pt x="7156" y="358"/>
                    <a:pt x="7168" y="370"/>
                    <a:pt x="7180" y="394"/>
                  </a:cubicBezTo>
                  <a:lnTo>
                    <a:pt x="7287" y="775"/>
                  </a:lnTo>
                  <a:cubicBezTo>
                    <a:pt x="7299" y="798"/>
                    <a:pt x="7299" y="834"/>
                    <a:pt x="7287" y="846"/>
                  </a:cubicBezTo>
                  <a:lnTo>
                    <a:pt x="1822" y="2322"/>
                  </a:lnTo>
                  <a:lnTo>
                    <a:pt x="1750" y="2084"/>
                  </a:lnTo>
                  <a:lnTo>
                    <a:pt x="7120" y="346"/>
                  </a:lnTo>
                  <a:close/>
                  <a:moveTo>
                    <a:pt x="1441" y="2168"/>
                  </a:moveTo>
                  <a:lnTo>
                    <a:pt x="1512" y="2394"/>
                  </a:lnTo>
                  <a:lnTo>
                    <a:pt x="429" y="2692"/>
                  </a:lnTo>
                  <a:cubicBezTo>
                    <a:pt x="417" y="2692"/>
                    <a:pt x="381" y="2680"/>
                    <a:pt x="369" y="2620"/>
                  </a:cubicBezTo>
                  <a:lnTo>
                    <a:pt x="369" y="2596"/>
                  </a:lnTo>
                  <a:cubicBezTo>
                    <a:pt x="357" y="2561"/>
                    <a:pt x="369" y="2513"/>
                    <a:pt x="381" y="2513"/>
                  </a:cubicBezTo>
                  <a:lnTo>
                    <a:pt x="1441" y="2168"/>
                  </a:lnTo>
                  <a:close/>
                  <a:moveTo>
                    <a:pt x="7111" y="1"/>
                  </a:moveTo>
                  <a:cubicBezTo>
                    <a:pt x="7082" y="1"/>
                    <a:pt x="7053" y="5"/>
                    <a:pt x="7025" y="13"/>
                  </a:cubicBezTo>
                  <a:lnTo>
                    <a:pt x="1500" y="1810"/>
                  </a:lnTo>
                  <a:lnTo>
                    <a:pt x="274" y="2215"/>
                  </a:lnTo>
                  <a:cubicBezTo>
                    <a:pt x="83" y="2275"/>
                    <a:pt x="0" y="2489"/>
                    <a:pt x="60" y="2703"/>
                  </a:cubicBezTo>
                  <a:lnTo>
                    <a:pt x="60" y="2727"/>
                  </a:lnTo>
                  <a:cubicBezTo>
                    <a:pt x="119" y="2906"/>
                    <a:pt x="262" y="3025"/>
                    <a:pt x="429" y="3025"/>
                  </a:cubicBezTo>
                  <a:cubicBezTo>
                    <a:pt x="453" y="3025"/>
                    <a:pt x="488" y="3025"/>
                    <a:pt x="512" y="3001"/>
                  </a:cubicBezTo>
                  <a:lnTo>
                    <a:pt x="7358" y="1156"/>
                  </a:lnTo>
                  <a:cubicBezTo>
                    <a:pt x="7453" y="1132"/>
                    <a:pt x="7525" y="1072"/>
                    <a:pt x="7573" y="1001"/>
                  </a:cubicBezTo>
                  <a:cubicBezTo>
                    <a:pt x="7620" y="906"/>
                    <a:pt x="7632" y="787"/>
                    <a:pt x="7596" y="667"/>
                  </a:cubicBezTo>
                  <a:lnTo>
                    <a:pt x="7501" y="298"/>
                  </a:lnTo>
                  <a:cubicBezTo>
                    <a:pt x="7465" y="179"/>
                    <a:pt x="7394" y="84"/>
                    <a:pt x="7287" y="48"/>
                  </a:cubicBezTo>
                  <a:cubicBezTo>
                    <a:pt x="7231" y="17"/>
                    <a:pt x="7170" y="1"/>
                    <a:pt x="71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5" name="Google Shape;12345;p62"/>
            <p:cNvSpPr/>
            <p:nvPr/>
          </p:nvSpPr>
          <p:spPr>
            <a:xfrm>
              <a:off x="7145297" y="2025139"/>
              <a:ext cx="32982" cy="33363"/>
            </a:xfrm>
            <a:custGeom>
              <a:avLst/>
              <a:gdLst/>
              <a:ahLst/>
              <a:cxnLst/>
              <a:rect l="l" t="t" r="r" b="b"/>
              <a:pathLst>
                <a:path w="1037" h="1049" extrusionOk="0">
                  <a:moveTo>
                    <a:pt x="513" y="0"/>
                  </a:moveTo>
                  <a:cubicBezTo>
                    <a:pt x="429" y="0"/>
                    <a:pt x="358" y="84"/>
                    <a:pt x="358" y="167"/>
                  </a:cubicBezTo>
                  <a:lnTo>
                    <a:pt x="358" y="357"/>
                  </a:lnTo>
                  <a:lnTo>
                    <a:pt x="156" y="357"/>
                  </a:lnTo>
                  <a:cubicBezTo>
                    <a:pt x="72" y="357"/>
                    <a:pt x="1" y="441"/>
                    <a:pt x="1" y="524"/>
                  </a:cubicBezTo>
                  <a:cubicBezTo>
                    <a:pt x="1" y="619"/>
                    <a:pt x="72" y="691"/>
                    <a:pt x="156" y="691"/>
                  </a:cubicBezTo>
                  <a:lnTo>
                    <a:pt x="358" y="691"/>
                  </a:lnTo>
                  <a:lnTo>
                    <a:pt x="358" y="881"/>
                  </a:lnTo>
                  <a:cubicBezTo>
                    <a:pt x="358" y="977"/>
                    <a:pt x="429" y="1048"/>
                    <a:pt x="513" y="1048"/>
                  </a:cubicBezTo>
                  <a:cubicBezTo>
                    <a:pt x="608" y="1048"/>
                    <a:pt x="679" y="977"/>
                    <a:pt x="679" y="881"/>
                  </a:cubicBezTo>
                  <a:lnTo>
                    <a:pt x="679" y="691"/>
                  </a:lnTo>
                  <a:lnTo>
                    <a:pt x="870" y="691"/>
                  </a:lnTo>
                  <a:cubicBezTo>
                    <a:pt x="965" y="691"/>
                    <a:pt x="1037" y="619"/>
                    <a:pt x="1037" y="524"/>
                  </a:cubicBezTo>
                  <a:cubicBezTo>
                    <a:pt x="1037" y="441"/>
                    <a:pt x="965" y="357"/>
                    <a:pt x="870" y="357"/>
                  </a:cubicBezTo>
                  <a:lnTo>
                    <a:pt x="679" y="357"/>
                  </a:lnTo>
                  <a:lnTo>
                    <a:pt x="679" y="167"/>
                  </a:lnTo>
                  <a:cubicBezTo>
                    <a:pt x="679" y="84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6" name="Google Shape;12346;p62"/>
            <p:cNvSpPr/>
            <p:nvPr/>
          </p:nvSpPr>
          <p:spPr>
            <a:xfrm>
              <a:off x="7338417" y="2045590"/>
              <a:ext cx="32982" cy="33332"/>
            </a:xfrm>
            <a:custGeom>
              <a:avLst/>
              <a:gdLst/>
              <a:ahLst/>
              <a:cxnLst/>
              <a:rect l="l" t="t" r="r" b="b"/>
              <a:pathLst>
                <a:path w="1037" h="1048" extrusionOk="0">
                  <a:moveTo>
                    <a:pt x="513" y="0"/>
                  </a:moveTo>
                  <a:cubicBezTo>
                    <a:pt x="430" y="0"/>
                    <a:pt x="358" y="72"/>
                    <a:pt x="358" y="167"/>
                  </a:cubicBezTo>
                  <a:lnTo>
                    <a:pt x="358" y="357"/>
                  </a:lnTo>
                  <a:lnTo>
                    <a:pt x="156" y="357"/>
                  </a:lnTo>
                  <a:cubicBezTo>
                    <a:pt x="72" y="357"/>
                    <a:pt x="1" y="429"/>
                    <a:pt x="1" y="524"/>
                  </a:cubicBezTo>
                  <a:cubicBezTo>
                    <a:pt x="1" y="607"/>
                    <a:pt x="72" y="691"/>
                    <a:pt x="156" y="691"/>
                  </a:cubicBezTo>
                  <a:lnTo>
                    <a:pt x="358" y="691"/>
                  </a:lnTo>
                  <a:lnTo>
                    <a:pt x="358" y="881"/>
                  </a:lnTo>
                  <a:cubicBezTo>
                    <a:pt x="358" y="965"/>
                    <a:pt x="430" y="1048"/>
                    <a:pt x="513" y="1048"/>
                  </a:cubicBezTo>
                  <a:cubicBezTo>
                    <a:pt x="608" y="1048"/>
                    <a:pt x="680" y="965"/>
                    <a:pt x="680" y="881"/>
                  </a:cubicBezTo>
                  <a:lnTo>
                    <a:pt x="680" y="691"/>
                  </a:lnTo>
                  <a:lnTo>
                    <a:pt x="870" y="691"/>
                  </a:lnTo>
                  <a:cubicBezTo>
                    <a:pt x="965" y="691"/>
                    <a:pt x="1037" y="607"/>
                    <a:pt x="1037" y="524"/>
                  </a:cubicBezTo>
                  <a:cubicBezTo>
                    <a:pt x="1037" y="429"/>
                    <a:pt x="965" y="357"/>
                    <a:pt x="870" y="357"/>
                  </a:cubicBezTo>
                  <a:lnTo>
                    <a:pt x="680" y="357"/>
                  </a:lnTo>
                  <a:lnTo>
                    <a:pt x="680" y="167"/>
                  </a:lnTo>
                  <a:cubicBezTo>
                    <a:pt x="680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7" name="Google Shape;12347;p62"/>
            <p:cNvSpPr/>
            <p:nvPr/>
          </p:nvSpPr>
          <p:spPr>
            <a:xfrm>
              <a:off x="7263453" y="1978545"/>
              <a:ext cx="33363" cy="3298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1"/>
                  </a:moveTo>
                  <a:cubicBezTo>
                    <a:pt x="429" y="1"/>
                    <a:pt x="358" y="72"/>
                    <a:pt x="358" y="156"/>
                  </a:cubicBezTo>
                  <a:lnTo>
                    <a:pt x="358" y="358"/>
                  </a:lnTo>
                  <a:lnTo>
                    <a:pt x="167" y="358"/>
                  </a:lnTo>
                  <a:cubicBezTo>
                    <a:pt x="72" y="358"/>
                    <a:pt x="1" y="429"/>
                    <a:pt x="1" y="513"/>
                  </a:cubicBezTo>
                  <a:cubicBezTo>
                    <a:pt x="1" y="608"/>
                    <a:pt x="72" y="679"/>
                    <a:pt x="167" y="679"/>
                  </a:cubicBezTo>
                  <a:lnTo>
                    <a:pt x="358" y="679"/>
                  </a:lnTo>
                  <a:lnTo>
                    <a:pt x="358" y="870"/>
                  </a:lnTo>
                  <a:cubicBezTo>
                    <a:pt x="358" y="965"/>
                    <a:pt x="429" y="1037"/>
                    <a:pt x="524" y="1037"/>
                  </a:cubicBezTo>
                  <a:cubicBezTo>
                    <a:pt x="608" y="1037"/>
                    <a:pt x="691" y="965"/>
                    <a:pt x="691" y="870"/>
                  </a:cubicBezTo>
                  <a:lnTo>
                    <a:pt x="691" y="679"/>
                  </a:lnTo>
                  <a:lnTo>
                    <a:pt x="882" y="679"/>
                  </a:lnTo>
                  <a:cubicBezTo>
                    <a:pt x="965" y="679"/>
                    <a:pt x="1048" y="608"/>
                    <a:pt x="1048" y="513"/>
                  </a:cubicBezTo>
                  <a:cubicBezTo>
                    <a:pt x="1048" y="429"/>
                    <a:pt x="965" y="358"/>
                    <a:pt x="882" y="358"/>
                  </a:cubicBezTo>
                  <a:lnTo>
                    <a:pt x="691" y="358"/>
                  </a:lnTo>
                  <a:lnTo>
                    <a:pt x="691" y="156"/>
                  </a:ln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48" name="Google Shape;12348;p62"/>
          <p:cNvSpPr/>
          <p:nvPr/>
        </p:nvSpPr>
        <p:spPr>
          <a:xfrm>
            <a:off x="6658713" y="1978545"/>
            <a:ext cx="342349" cy="350332"/>
          </a:xfrm>
          <a:custGeom>
            <a:avLst/>
            <a:gdLst/>
            <a:ahLst/>
            <a:cxnLst/>
            <a:rect l="l" t="t" r="r" b="b"/>
            <a:pathLst>
              <a:path w="10764" h="11015" extrusionOk="0">
                <a:moveTo>
                  <a:pt x="2179" y="8764"/>
                </a:moveTo>
                <a:lnTo>
                  <a:pt x="2179" y="9300"/>
                </a:lnTo>
                <a:lnTo>
                  <a:pt x="2167" y="9300"/>
                </a:lnTo>
                <a:cubicBezTo>
                  <a:pt x="2167" y="9347"/>
                  <a:pt x="2120" y="9383"/>
                  <a:pt x="2084" y="9383"/>
                </a:cubicBezTo>
                <a:lnTo>
                  <a:pt x="1989" y="9383"/>
                </a:lnTo>
                <a:cubicBezTo>
                  <a:pt x="1941" y="9383"/>
                  <a:pt x="1905" y="9347"/>
                  <a:pt x="1905" y="9300"/>
                </a:cubicBezTo>
                <a:lnTo>
                  <a:pt x="1905" y="8764"/>
                </a:lnTo>
                <a:close/>
                <a:moveTo>
                  <a:pt x="3870" y="8764"/>
                </a:moveTo>
                <a:lnTo>
                  <a:pt x="3870" y="9300"/>
                </a:lnTo>
                <a:lnTo>
                  <a:pt x="3846" y="9300"/>
                </a:lnTo>
                <a:cubicBezTo>
                  <a:pt x="3846" y="9347"/>
                  <a:pt x="3810" y="9383"/>
                  <a:pt x="3763" y="9383"/>
                </a:cubicBezTo>
                <a:lnTo>
                  <a:pt x="3667" y="9383"/>
                </a:lnTo>
                <a:cubicBezTo>
                  <a:pt x="3632" y="9383"/>
                  <a:pt x="3584" y="9347"/>
                  <a:pt x="3584" y="9300"/>
                </a:cubicBezTo>
                <a:lnTo>
                  <a:pt x="3584" y="8764"/>
                </a:lnTo>
                <a:close/>
                <a:moveTo>
                  <a:pt x="5537" y="8764"/>
                </a:moveTo>
                <a:lnTo>
                  <a:pt x="5537" y="9300"/>
                </a:lnTo>
                <a:lnTo>
                  <a:pt x="5513" y="9300"/>
                </a:lnTo>
                <a:cubicBezTo>
                  <a:pt x="5513" y="9347"/>
                  <a:pt x="5477" y="9383"/>
                  <a:pt x="5430" y="9383"/>
                </a:cubicBezTo>
                <a:lnTo>
                  <a:pt x="5334" y="9383"/>
                </a:lnTo>
                <a:cubicBezTo>
                  <a:pt x="5299" y="9383"/>
                  <a:pt x="5251" y="9347"/>
                  <a:pt x="5251" y="9300"/>
                </a:cubicBezTo>
                <a:lnTo>
                  <a:pt x="5251" y="8764"/>
                </a:lnTo>
                <a:close/>
                <a:moveTo>
                  <a:pt x="7215" y="8764"/>
                </a:moveTo>
                <a:lnTo>
                  <a:pt x="7215" y="9300"/>
                </a:lnTo>
                <a:lnTo>
                  <a:pt x="7204" y="9300"/>
                </a:lnTo>
                <a:cubicBezTo>
                  <a:pt x="7204" y="9347"/>
                  <a:pt x="7156" y="9383"/>
                  <a:pt x="7108" y="9383"/>
                </a:cubicBezTo>
                <a:lnTo>
                  <a:pt x="7025" y="9383"/>
                </a:lnTo>
                <a:cubicBezTo>
                  <a:pt x="6977" y="9383"/>
                  <a:pt x="6930" y="9347"/>
                  <a:pt x="6930" y="9300"/>
                </a:cubicBezTo>
                <a:lnTo>
                  <a:pt x="6930" y="8764"/>
                </a:lnTo>
                <a:close/>
                <a:moveTo>
                  <a:pt x="8894" y="8764"/>
                </a:moveTo>
                <a:lnTo>
                  <a:pt x="8894" y="9300"/>
                </a:lnTo>
                <a:lnTo>
                  <a:pt x="8882" y="9300"/>
                </a:lnTo>
                <a:cubicBezTo>
                  <a:pt x="8882" y="9347"/>
                  <a:pt x="8835" y="9383"/>
                  <a:pt x="8787" y="9383"/>
                </a:cubicBezTo>
                <a:lnTo>
                  <a:pt x="8704" y="9383"/>
                </a:lnTo>
                <a:cubicBezTo>
                  <a:pt x="8656" y="9383"/>
                  <a:pt x="8608" y="9347"/>
                  <a:pt x="8608" y="9300"/>
                </a:cubicBezTo>
                <a:lnTo>
                  <a:pt x="8608" y="8764"/>
                </a:lnTo>
                <a:close/>
                <a:moveTo>
                  <a:pt x="2703" y="8752"/>
                </a:moveTo>
                <a:lnTo>
                  <a:pt x="2703" y="10419"/>
                </a:lnTo>
                <a:lnTo>
                  <a:pt x="2179" y="10419"/>
                </a:lnTo>
                <a:lnTo>
                  <a:pt x="2179" y="9681"/>
                </a:lnTo>
                <a:cubicBezTo>
                  <a:pt x="2358" y="9645"/>
                  <a:pt x="2501" y="9478"/>
                  <a:pt x="2501" y="9288"/>
                </a:cubicBezTo>
                <a:lnTo>
                  <a:pt x="2501" y="8752"/>
                </a:lnTo>
                <a:close/>
                <a:moveTo>
                  <a:pt x="3227" y="8764"/>
                </a:moveTo>
                <a:lnTo>
                  <a:pt x="3227" y="9300"/>
                </a:lnTo>
                <a:cubicBezTo>
                  <a:pt x="3227" y="9490"/>
                  <a:pt x="3358" y="9657"/>
                  <a:pt x="3536" y="9704"/>
                </a:cubicBezTo>
                <a:lnTo>
                  <a:pt x="3536" y="10419"/>
                </a:lnTo>
                <a:lnTo>
                  <a:pt x="3013" y="10419"/>
                </a:lnTo>
                <a:lnTo>
                  <a:pt x="3013" y="8764"/>
                </a:lnTo>
                <a:close/>
                <a:moveTo>
                  <a:pt x="4370" y="8752"/>
                </a:moveTo>
                <a:lnTo>
                  <a:pt x="4370" y="10419"/>
                </a:lnTo>
                <a:lnTo>
                  <a:pt x="3846" y="10419"/>
                </a:lnTo>
                <a:lnTo>
                  <a:pt x="3846" y="9681"/>
                </a:lnTo>
                <a:cubicBezTo>
                  <a:pt x="4025" y="9645"/>
                  <a:pt x="4167" y="9478"/>
                  <a:pt x="4167" y="9288"/>
                </a:cubicBezTo>
                <a:lnTo>
                  <a:pt x="4167" y="8752"/>
                </a:lnTo>
                <a:close/>
                <a:moveTo>
                  <a:pt x="4906" y="8764"/>
                </a:moveTo>
                <a:lnTo>
                  <a:pt x="4906" y="9300"/>
                </a:lnTo>
                <a:cubicBezTo>
                  <a:pt x="4906" y="9490"/>
                  <a:pt x="5037" y="9657"/>
                  <a:pt x="5215" y="9704"/>
                </a:cubicBezTo>
                <a:lnTo>
                  <a:pt x="5215" y="10419"/>
                </a:lnTo>
                <a:lnTo>
                  <a:pt x="4703" y="10419"/>
                </a:lnTo>
                <a:lnTo>
                  <a:pt x="4703" y="8764"/>
                </a:lnTo>
                <a:close/>
                <a:moveTo>
                  <a:pt x="6049" y="8752"/>
                </a:moveTo>
                <a:lnTo>
                  <a:pt x="6049" y="10419"/>
                </a:lnTo>
                <a:lnTo>
                  <a:pt x="5537" y="10419"/>
                </a:lnTo>
                <a:lnTo>
                  <a:pt x="5537" y="9681"/>
                </a:lnTo>
                <a:cubicBezTo>
                  <a:pt x="5715" y="9645"/>
                  <a:pt x="5846" y="9478"/>
                  <a:pt x="5846" y="9288"/>
                </a:cubicBezTo>
                <a:lnTo>
                  <a:pt x="5846" y="8752"/>
                </a:lnTo>
                <a:close/>
                <a:moveTo>
                  <a:pt x="6573" y="8764"/>
                </a:moveTo>
                <a:lnTo>
                  <a:pt x="6573" y="9300"/>
                </a:lnTo>
                <a:cubicBezTo>
                  <a:pt x="6573" y="9490"/>
                  <a:pt x="6703" y="9657"/>
                  <a:pt x="6882" y="9704"/>
                </a:cubicBezTo>
                <a:lnTo>
                  <a:pt x="6882" y="10419"/>
                </a:lnTo>
                <a:lnTo>
                  <a:pt x="6370" y="10419"/>
                </a:lnTo>
                <a:lnTo>
                  <a:pt x="6370" y="8764"/>
                </a:lnTo>
                <a:close/>
                <a:moveTo>
                  <a:pt x="7739" y="8752"/>
                </a:moveTo>
                <a:lnTo>
                  <a:pt x="7739" y="10419"/>
                </a:lnTo>
                <a:lnTo>
                  <a:pt x="7215" y="10419"/>
                </a:lnTo>
                <a:lnTo>
                  <a:pt x="7215" y="9681"/>
                </a:lnTo>
                <a:cubicBezTo>
                  <a:pt x="7394" y="9645"/>
                  <a:pt x="7525" y="9478"/>
                  <a:pt x="7525" y="9288"/>
                </a:cubicBezTo>
                <a:lnTo>
                  <a:pt x="7525" y="8752"/>
                </a:lnTo>
                <a:close/>
                <a:moveTo>
                  <a:pt x="8251" y="8764"/>
                </a:moveTo>
                <a:lnTo>
                  <a:pt x="8251" y="9300"/>
                </a:lnTo>
                <a:cubicBezTo>
                  <a:pt x="8251" y="9490"/>
                  <a:pt x="8394" y="9657"/>
                  <a:pt x="8573" y="9704"/>
                </a:cubicBezTo>
                <a:lnTo>
                  <a:pt x="8573" y="10419"/>
                </a:lnTo>
                <a:lnTo>
                  <a:pt x="8049" y="10419"/>
                </a:lnTo>
                <a:lnTo>
                  <a:pt x="8049" y="8764"/>
                </a:lnTo>
                <a:close/>
                <a:moveTo>
                  <a:pt x="9406" y="8752"/>
                </a:moveTo>
                <a:lnTo>
                  <a:pt x="9406" y="10419"/>
                </a:lnTo>
                <a:lnTo>
                  <a:pt x="8882" y="10419"/>
                </a:lnTo>
                <a:lnTo>
                  <a:pt x="8882" y="9681"/>
                </a:lnTo>
                <a:cubicBezTo>
                  <a:pt x="9061" y="9645"/>
                  <a:pt x="9192" y="9478"/>
                  <a:pt x="9192" y="9288"/>
                </a:cubicBezTo>
                <a:lnTo>
                  <a:pt x="9192" y="8752"/>
                </a:lnTo>
                <a:close/>
                <a:moveTo>
                  <a:pt x="1560" y="8764"/>
                </a:moveTo>
                <a:lnTo>
                  <a:pt x="1560" y="9300"/>
                </a:lnTo>
                <a:cubicBezTo>
                  <a:pt x="1560" y="9490"/>
                  <a:pt x="1691" y="9657"/>
                  <a:pt x="1870" y="9704"/>
                </a:cubicBezTo>
                <a:lnTo>
                  <a:pt x="1870" y="10431"/>
                </a:lnTo>
                <a:lnTo>
                  <a:pt x="1346" y="10431"/>
                </a:lnTo>
                <a:lnTo>
                  <a:pt x="1346" y="10419"/>
                </a:lnTo>
                <a:lnTo>
                  <a:pt x="1346" y="8764"/>
                </a:lnTo>
                <a:close/>
                <a:moveTo>
                  <a:pt x="1024" y="8764"/>
                </a:moveTo>
                <a:lnTo>
                  <a:pt x="1024" y="10574"/>
                </a:lnTo>
                <a:lnTo>
                  <a:pt x="1024" y="10681"/>
                </a:lnTo>
                <a:lnTo>
                  <a:pt x="334" y="10681"/>
                </a:lnTo>
                <a:cubicBezTo>
                  <a:pt x="322" y="10681"/>
                  <a:pt x="322" y="10669"/>
                  <a:pt x="322" y="10669"/>
                </a:cubicBezTo>
                <a:lnTo>
                  <a:pt x="322" y="8764"/>
                </a:lnTo>
                <a:close/>
                <a:moveTo>
                  <a:pt x="10430" y="8764"/>
                </a:moveTo>
                <a:lnTo>
                  <a:pt x="10430" y="10669"/>
                </a:lnTo>
                <a:cubicBezTo>
                  <a:pt x="10430" y="10681"/>
                  <a:pt x="10418" y="10681"/>
                  <a:pt x="10418" y="10681"/>
                </a:cubicBezTo>
                <a:lnTo>
                  <a:pt x="9728" y="10681"/>
                </a:lnTo>
                <a:lnTo>
                  <a:pt x="9728" y="10574"/>
                </a:lnTo>
                <a:lnTo>
                  <a:pt x="9728" y="8764"/>
                </a:lnTo>
                <a:close/>
                <a:moveTo>
                  <a:pt x="4203" y="1"/>
                </a:moveTo>
                <a:cubicBezTo>
                  <a:pt x="1881" y="1"/>
                  <a:pt x="0" y="1882"/>
                  <a:pt x="0" y="4204"/>
                </a:cubicBezTo>
                <a:lnTo>
                  <a:pt x="0" y="10669"/>
                </a:lnTo>
                <a:cubicBezTo>
                  <a:pt x="0" y="10859"/>
                  <a:pt x="143" y="11014"/>
                  <a:pt x="334" y="11014"/>
                </a:cubicBezTo>
                <a:lnTo>
                  <a:pt x="1191" y="11014"/>
                </a:lnTo>
                <a:cubicBezTo>
                  <a:pt x="1274" y="11014"/>
                  <a:pt x="1346" y="10931"/>
                  <a:pt x="1346" y="10847"/>
                </a:cubicBezTo>
                <a:lnTo>
                  <a:pt x="1346" y="10740"/>
                </a:lnTo>
                <a:lnTo>
                  <a:pt x="9418" y="10740"/>
                </a:lnTo>
                <a:lnTo>
                  <a:pt x="9418" y="10847"/>
                </a:lnTo>
                <a:cubicBezTo>
                  <a:pt x="9418" y="10931"/>
                  <a:pt x="9490" y="11014"/>
                  <a:pt x="9573" y="11014"/>
                </a:cubicBezTo>
                <a:lnTo>
                  <a:pt x="10430" y="11014"/>
                </a:lnTo>
                <a:cubicBezTo>
                  <a:pt x="10621" y="11014"/>
                  <a:pt x="10764" y="10859"/>
                  <a:pt x="10764" y="10669"/>
                </a:cubicBezTo>
                <a:lnTo>
                  <a:pt x="10764" y="7264"/>
                </a:lnTo>
                <a:cubicBezTo>
                  <a:pt x="10752" y="6573"/>
                  <a:pt x="10204" y="6025"/>
                  <a:pt x="9525" y="6025"/>
                </a:cubicBezTo>
                <a:lnTo>
                  <a:pt x="9323" y="6025"/>
                </a:lnTo>
                <a:cubicBezTo>
                  <a:pt x="8823" y="6025"/>
                  <a:pt x="8418" y="5609"/>
                  <a:pt x="8418" y="5120"/>
                </a:cubicBezTo>
                <a:lnTo>
                  <a:pt x="8418" y="4228"/>
                </a:lnTo>
                <a:cubicBezTo>
                  <a:pt x="8418" y="3977"/>
                  <a:pt x="8406" y="3751"/>
                  <a:pt x="8358" y="3525"/>
                </a:cubicBezTo>
                <a:cubicBezTo>
                  <a:pt x="8348" y="3444"/>
                  <a:pt x="8278" y="3389"/>
                  <a:pt x="8213" y="3389"/>
                </a:cubicBezTo>
                <a:cubicBezTo>
                  <a:pt x="8202" y="3389"/>
                  <a:pt x="8191" y="3391"/>
                  <a:pt x="8180" y="3394"/>
                </a:cubicBezTo>
                <a:cubicBezTo>
                  <a:pt x="8097" y="3406"/>
                  <a:pt x="8037" y="3489"/>
                  <a:pt x="8049" y="3573"/>
                </a:cubicBezTo>
                <a:cubicBezTo>
                  <a:pt x="8073" y="3775"/>
                  <a:pt x="8108" y="4001"/>
                  <a:pt x="8108" y="4228"/>
                </a:cubicBezTo>
                <a:lnTo>
                  <a:pt x="8108" y="5120"/>
                </a:lnTo>
                <a:cubicBezTo>
                  <a:pt x="8108" y="5799"/>
                  <a:pt x="8656" y="6347"/>
                  <a:pt x="9347" y="6347"/>
                </a:cubicBezTo>
                <a:lnTo>
                  <a:pt x="9537" y="6347"/>
                </a:lnTo>
                <a:cubicBezTo>
                  <a:pt x="10037" y="6347"/>
                  <a:pt x="10442" y="6764"/>
                  <a:pt x="10442" y="7264"/>
                </a:cubicBezTo>
                <a:lnTo>
                  <a:pt x="10442" y="7657"/>
                </a:lnTo>
                <a:lnTo>
                  <a:pt x="1893" y="7657"/>
                </a:lnTo>
                <a:cubicBezTo>
                  <a:pt x="1810" y="7657"/>
                  <a:pt x="1739" y="7740"/>
                  <a:pt x="1739" y="7823"/>
                </a:cubicBezTo>
                <a:cubicBezTo>
                  <a:pt x="1739" y="7918"/>
                  <a:pt x="1810" y="7990"/>
                  <a:pt x="1893" y="7990"/>
                </a:cubicBezTo>
                <a:lnTo>
                  <a:pt x="10442" y="7990"/>
                </a:lnTo>
                <a:lnTo>
                  <a:pt x="10442" y="8454"/>
                </a:lnTo>
                <a:lnTo>
                  <a:pt x="334" y="8454"/>
                </a:lnTo>
                <a:lnTo>
                  <a:pt x="334" y="7990"/>
                </a:lnTo>
                <a:lnTo>
                  <a:pt x="1143" y="7990"/>
                </a:lnTo>
                <a:cubicBezTo>
                  <a:pt x="1227" y="7990"/>
                  <a:pt x="1310" y="7918"/>
                  <a:pt x="1310" y="7823"/>
                </a:cubicBezTo>
                <a:cubicBezTo>
                  <a:pt x="1310" y="7740"/>
                  <a:pt x="1227" y="7657"/>
                  <a:pt x="1143" y="7657"/>
                </a:cubicBezTo>
                <a:lnTo>
                  <a:pt x="334" y="7657"/>
                </a:lnTo>
                <a:lnTo>
                  <a:pt x="334" y="4204"/>
                </a:lnTo>
                <a:cubicBezTo>
                  <a:pt x="334" y="2061"/>
                  <a:pt x="2084" y="322"/>
                  <a:pt x="4215" y="322"/>
                </a:cubicBezTo>
                <a:cubicBezTo>
                  <a:pt x="5025" y="322"/>
                  <a:pt x="5799" y="560"/>
                  <a:pt x="6453" y="1037"/>
                </a:cubicBezTo>
                <a:cubicBezTo>
                  <a:pt x="7096" y="1489"/>
                  <a:pt x="7585" y="2120"/>
                  <a:pt x="7858" y="2858"/>
                </a:cubicBezTo>
                <a:cubicBezTo>
                  <a:pt x="7876" y="2920"/>
                  <a:pt x="7933" y="2955"/>
                  <a:pt x="7994" y="2955"/>
                </a:cubicBezTo>
                <a:cubicBezTo>
                  <a:pt x="8016" y="2955"/>
                  <a:pt x="8039" y="2951"/>
                  <a:pt x="8061" y="2942"/>
                </a:cubicBezTo>
                <a:cubicBezTo>
                  <a:pt x="8156" y="2918"/>
                  <a:pt x="8180" y="2823"/>
                  <a:pt x="8156" y="2739"/>
                </a:cubicBezTo>
                <a:cubicBezTo>
                  <a:pt x="7858" y="1942"/>
                  <a:pt x="7335" y="1263"/>
                  <a:pt x="6632" y="775"/>
                </a:cubicBezTo>
                <a:cubicBezTo>
                  <a:pt x="5918" y="263"/>
                  <a:pt x="5084" y="1"/>
                  <a:pt x="42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49" name="Google Shape;12349;p62"/>
          <p:cNvSpPr/>
          <p:nvPr/>
        </p:nvSpPr>
        <p:spPr>
          <a:xfrm>
            <a:off x="4104898" y="2422257"/>
            <a:ext cx="91662" cy="351541"/>
          </a:xfrm>
          <a:custGeom>
            <a:avLst/>
            <a:gdLst/>
            <a:ahLst/>
            <a:cxnLst/>
            <a:rect l="l" t="t" r="r" b="b"/>
            <a:pathLst>
              <a:path w="2882" h="11053" extrusionOk="0">
                <a:moveTo>
                  <a:pt x="2560" y="2778"/>
                </a:moveTo>
                <a:lnTo>
                  <a:pt x="2560" y="3707"/>
                </a:lnTo>
                <a:lnTo>
                  <a:pt x="1810" y="3707"/>
                </a:lnTo>
                <a:cubicBezTo>
                  <a:pt x="1727" y="3707"/>
                  <a:pt x="1655" y="3790"/>
                  <a:pt x="1655" y="3873"/>
                </a:cubicBezTo>
                <a:cubicBezTo>
                  <a:pt x="1655" y="3969"/>
                  <a:pt x="1727" y="4040"/>
                  <a:pt x="1810" y="4040"/>
                </a:cubicBezTo>
                <a:lnTo>
                  <a:pt x="2572" y="4040"/>
                </a:lnTo>
                <a:lnTo>
                  <a:pt x="2572" y="9422"/>
                </a:lnTo>
                <a:lnTo>
                  <a:pt x="346" y="9422"/>
                </a:lnTo>
                <a:lnTo>
                  <a:pt x="346" y="4040"/>
                </a:lnTo>
                <a:lnTo>
                  <a:pt x="1144" y="4040"/>
                </a:lnTo>
                <a:cubicBezTo>
                  <a:pt x="1239" y="4040"/>
                  <a:pt x="1310" y="3969"/>
                  <a:pt x="1310" y="3873"/>
                </a:cubicBezTo>
                <a:cubicBezTo>
                  <a:pt x="1310" y="3790"/>
                  <a:pt x="1239" y="3707"/>
                  <a:pt x="1144" y="3707"/>
                </a:cubicBezTo>
                <a:lnTo>
                  <a:pt x="346" y="3707"/>
                </a:lnTo>
                <a:lnTo>
                  <a:pt x="346" y="2778"/>
                </a:lnTo>
                <a:close/>
                <a:moveTo>
                  <a:pt x="1434" y="1"/>
                </a:moveTo>
                <a:cubicBezTo>
                  <a:pt x="1203" y="1"/>
                  <a:pt x="971" y="117"/>
                  <a:pt x="846" y="349"/>
                </a:cubicBezTo>
                <a:lnTo>
                  <a:pt x="548" y="1075"/>
                </a:lnTo>
                <a:cubicBezTo>
                  <a:pt x="524" y="1171"/>
                  <a:pt x="560" y="1254"/>
                  <a:pt x="655" y="1290"/>
                </a:cubicBezTo>
                <a:cubicBezTo>
                  <a:pt x="670" y="1294"/>
                  <a:pt x="685" y="1296"/>
                  <a:pt x="700" y="1296"/>
                </a:cubicBezTo>
                <a:cubicBezTo>
                  <a:pt x="770" y="1296"/>
                  <a:pt x="838" y="1251"/>
                  <a:pt x="858" y="1183"/>
                </a:cubicBezTo>
                <a:lnTo>
                  <a:pt x="1144" y="492"/>
                </a:lnTo>
                <a:cubicBezTo>
                  <a:pt x="1204" y="377"/>
                  <a:pt x="1319" y="318"/>
                  <a:pt x="1435" y="318"/>
                </a:cubicBezTo>
                <a:cubicBezTo>
                  <a:pt x="1548" y="318"/>
                  <a:pt x="1662" y="375"/>
                  <a:pt x="1727" y="492"/>
                </a:cubicBezTo>
                <a:lnTo>
                  <a:pt x="2453" y="2433"/>
                </a:lnTo>
                <a:lnTo>
                  <a:pt x="429" y="2433"/>
                </a:lnTo>
                <a:cubicBezTo>
                  <a:pt x="465" y="2349"/>
                  <a:pt x="429" y="2433"/>
                  <a:pt x="655" y="1790"/>
                </a:cubicBezTo>
                <a:cubicBezTo>
                  <a:pt x="679" y="1695"/>
                  <a:pt x="643" y="1611"/>
                  <a:pt x="548" y="1587"/>
                </a:cubicBezTo>
                <a:cubicBezTo>
                  <a:pt x="529" y="1579"/>
                  <a:pt x="509" y="1575"/>
                  <a:pt x="490" y="1575"/>
                </a:cubicBezTo>
                <a:cubicBezTo>
                  <a:pt x="425" y="1575"/>
                  <a:pt x="364" y="1618"/>
                  <a:pt x="346" y="1683"/>
                </a:cubicBezTo>
                <a:lnTo>
                  <a:pt x="120" y="2326"/>
                </a:lnTo>
                <a:cubicBezTo>
                  <a:pt x="48" y="2492"/>
                  <a:pt x="1" y="2671"/>
                  <a:pt x="1" y="2849"/>
                </a:cubicBezTo>
                <a:lnTo>
                  <a:pt x="1" y="3873"/>
                </a:lnTo>
                <a:lnTo>
                  <a:pt x="1" y="9588"/>
                </a:lnTo>
                <a:lnTo>
                  <a:pt x="1" y="10124"/>
                </a:lnTo>
                <a:cubicBezTo>
                  <a:pt x="1" y="10446"/>
                  <a:pt x="179" y="10767"/>
                  <a:pt x="465" y="10934"/>
                </a:cubicBezTo>
                <a:cubicBezTo>
                  <a:pt x="487" y="10945"/>
                  <a:pt x="513" y="10950"/>
                  <a:pt x="538" y="10950"/>
                </a:cubicBezTo>
                <a:cubicBezTo>
                  <a:pt x="596" y="10950"/>
                  <a:pt x="655" y="10924"/>
                  <a:pt x="679" y="10874"/>
                </a:cubicBezTo>
                <a:cubicBezTo>
                  <a:pt x="727" y="10791"/>
                  <a:pt x="703" y="10684"/>
                  <a:pt x="620" y="10648"/>
                </a:cubicBezTo>
                <a:cubicBezTo>
                  <a:pt x="441" y="10541"/>
                  <a:pt x="322" y="10350"/>
                  <a:pt x="322" y="10124"/>
                </a:cubicBezTo>
                <a:lnTo>
                  <a:pt x="322" y="9755"/>
                </a:lnTo>
                <a:lnTo>
                  <a:pt x="2548" y="9755"/>
                </a:lnTo>
                <a:lnTo>
                  <a:pt x="2548" y="10124"/>
                </a:lnTo>
                <a:cubicBezTo>
                  <a:pt x="2548" y="10458"/>
                  <a:pt x="2275" y="10719"/>
                  <a:pt x="1953" y="10719"/>
                </a:cubicBezTo>
                <a:lnTo>
                  <a:pt x="1191" y="10719"/>
                </a:lnTo>
                <a:cubicBezTo>
                  <a:pt x="1096" y="10719"/>
                  <a:pt x="1024" y="10791"/>
                  <a:pt x="1024" y="10886"/>
                </a:cubicBezTo>
                <a:cubicBezTo>
                  <a:pt x="1024" y="10970"/>
                  <a:pt x="1096" y="11053"/>
                  <a:pt x="1191" y="11053"/>
                </a:cubicBezTo>
                <a:lnTo>
                  <a:pt x="1953" y="11053"/>
                </a:lnTo>
                <a:cubicBezTo>
                  <a:pt x="2453" y="11053"/>
                  <a:pt x="2870" y="10636"/>
                  <a:pt x="2870" y="10124"/>
                </a:cubicBezTo>
                <a:lnTo>
                  <a:pt x="2870" y="2849"/>
                </a:lnTo>
                <a:cubicBezTo>
                  <a:pt x="2882" y="2719"/>
                  <a:pt x="2739" y="2278"/>
                  <a:pt x="2739" y="2278"/>
                </a:cubicBezTo>
                <a:lnTo>
                  <a:pt x="2013" y="349"/>
                </a:lnTo>
                <a:cubicBezTo>
                  <a:pt x="1894" y="117"/>
                  <a:pt x="1664" y="1"/>
                  <a:pt x="1434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50" name="Google Shape;12350;p62"/>
          <p:cNvGrpSpPr/>
          <p:nvPr/>
        </p:nvGrpSpPr>
        <p:grpSpPr>
          <a:xfrm>
            <a:off x="3616406" y="2422352"/>
            <a:ext cx="203393" cy="351827"/>
            <a:chOff x="3616406" y="2422352"/>
            <a:chExt cx="203393" cy="351827"/>
          </a:xfrm>
        </p:grpSpPr>
        <p:sp>
          <p:nvSpPr>
            <p:cNvPr id="12351" name="Google Shape;12351;p62"/>
            <p:cNvSpPr/>
            <p:nvPr/>
          </p:nvSpPr>
          <p:spPr>
            <a:xfrm>
              <a:off x="3640641" y="2422352"/>
              <a:ext cx="154159" cy="92075"/>
            </a:xfrm>
            <a:custGeom>
              <a:avLst/>
              <a:gdLst/>
              <a:ahLst/>
              <a:cxnLst/>
              <a:rect l="l" t="t" r="r" b="b"/>
              <a:pathLst>
                <a:path w="4847" h="2895" extrusionOk="0">
                  <a:moveTo>
                    <a:pt x="1632" y="1"/>
                  </a:moveTo>
                  <a:cubicBezTo>
                    <a:pt x="727" y="1"/>
                    <a:pt x="0" y="727"/>
                    <a:pt x="0" y="1644"/>
                  </a:cubicBezTo>
                  <a:lnTo>
                    <a:pt x="0" y="2727"/>
                  </a:lnTo>
                  <a:cubicBezTo>
                    <a:pt x="0" y="2811"/>
                    <a:pt x="72" y="2894"/>
                    <a:pt x="155" y="2894"/>
                  </a:cubicBezTo>
                  <a:cubicBezTo>
                    <a:pt x="250" y="2894"/>
                    <a:pt x="322" y="2811"/>
                    <a:pt x="322" y="2727"/>
                  </a:cubicBezTo>
                  <a:lnTo>
                    <a:pt x="322" y="1644"/>
                  </a:lnTo>
                  <a:cubicBezTo>
                    <a:pt x="322" y="906"/>
                    <a:pt x="905" y="334"/>
                    <a:pt x="1632" y="334"/>
                  </a:cubicBezTo>
                  <a:lnTo>
                    <a:pt x="3239" y="334"/>
                  </a:lnTo>
                  <a:cubicBezTo>
                    <a:pt x="3846" y="334"/>
                    <a:pt x="4370" y="751"/>
                    <a:pt x="4525" y="1346"/>
                  </a:cubicBezTo>
                  <a:cubicBezTo>
                    <a:pt x="4535" y="1417"/>
                    <a:pt x="4597" y="1471"/>
                    <a:pt x="4673" y="1471"/>
                  </a:cubicBezTo>
                  <a:cubicBezTo>
                    <a:pt x="4687" y="1471"/>
                    <a:pt x="4701" y="1469"/>
                    <a:pt x="4715" y="1465"/>
                  </a:cubicBezTo>
                  <a:cubicBezTo>
                    <a:pt x="4799" y="1442"/>
                    <a:pt x="4846" y="1358"/>
                    <a:pt x="4834" y="1263"/>
                  </a:cubicBezTo>
                  <a:cubicBezTo>
                    <a:pt x="4739" y="906"/>
                    <a:pt x="4549" y="596"/>
                    <a:pt x="4263" y="358"/>
                  </a:cubicBezTo>
                  <a:cubicBezTo>
                    <a:pt x="3989" y="120"/>
                    <a:pt x="3608" y="1"/>
                    <a:pt x="3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2" name="Google Shape;12352;p62"/>
            <p:cNvSpPr/>
            <p:nvPr/>
          </p:nvSpPr>
          <p:spPr>
            <a:xfrm>
              <a:off x="3616406" y="2479156"/>
              <a:ext cx="203393" cy="295023"/>
            </a:xfrm>
            <a:custGeom>
              <a:avLst/>
              <a:gdLst/>
              <a:ahLst/>
              <a:cxnLst/>
              <a:rect l="l" t="t" r="r" b="b"/>
              <a:pathLst>
                <a:path w="6395" h="9276" extrusionOk="0">
                  <a:moveTo>
                    <a:pt x="5918" y="2346"/>
                  </a:moveTo>
                  <a:cubicBezTo>
                    <a:pt x="6001" y="2346"/>
                    <a:pt x="6073" y="2406"/>
                    <a:pt x="6073" y="2501"/>
                  </a:cubicBezTo>
                  <a:lnTo>
                    <a:pt x="6073" y="3989"/>
                  </a:lnTo>
                  <a:lnTo>
                    <a:pt x="4811" y="3989"/>
                  </a:lnTo>
                  <a:cubicBezTo>
                    <a:pt x="4715" y="3989"/>
                    <a:pt x="4644" y="4061"/>
                    <a:pt x="4644" y="4156"/>
                  </a:cubicBezTo>
                  <a:cubicBezTo>
                    <a:pt x="4644" y="4239"/>
                    <a:pt x="4715" y="4323"/>
                    <a:pt x="4811" y="4323"/>
                  </a:cubicBezTo>
                  <a:lnTo>
                    <a:pt x="6073" y="4323"/>
                  </a:lnTo>
                  <a:lnTo>
                    <a:pt x="6073" y="6966"/>
                  </a:lnTo>
                  <a:lnTo>
                    <a:pt x="2394" y="6966"/>
                  </a:lnTo>
                  <a:cubicBezTo>
                    <a:pt x="2298" y="6966"/>
                    <a:pt x="2227" y="7037"/>
                    <a:pt x="2227" y="7133"/>
                  </a:cubicBezTo>
                  <a:cubicBezTo>
                    <a:pt x="2227" y="7216"/>
                    <a:pt x="2298" y="7299"/>
                    <a:pt x="2394" y="7299"/>
                  </a:cubicBezTo>
                  <a:lnTo>
                    <a:pt x="6073" y="7299"/>
                  </a:lnTo>
                  <a:lnTo>
                    <a:pt x="6073" y="8788"/>
                  </a:lnTo>
                  <a:cubicBezTo>
                    <a:pt x="6073" y="8859"/>
                    <a:pt x="6013" y="8930"/>
                    <a:pt x="5918" y="8930"/>
                  </a:cubicBezTo>
                  <a:lnTo>
                    <a:pt x="477" y="8930"/>
                  </a:lnTo>
                  <a:cubicBezTo>
                    <a:pt x="405" y="8930"/>
                    <a:pt x="322" y="8871"/>
                    <a:pt x="322" y="8788"/>
                  </a:cubicBezTo>
                  <a:lnTo>
                    <a:pt x="322" y="7299"/>
                  </a:lnTo>
                  <a:lnTo>
                    <a:pt x="1739" y="7299"/>
                  </a:lnTo>
                  <a:cubicBezTo>
                    <a:pt x="1834" y="7299"/>
                    <a:pt x="1905" y="7216"/>
                    <a:pt x="1905" y="7133"/>
                  </a:cubicBezTo>
                  <a:cubicBezTo>
                    <a:pt x="1905" y="7037"/>
                    <a:pt x="1834" y="6966"/>
                    <a:pt x="1739" y="6966"/>
                  </a:cubicBezTo>
                  <a:lnTo>
                    <a:pt x="322" y="6966"/>
                  </a:lnTo>
                  <a:lnTo>
                    <a:pt x="322" y="4323"/>
                  </a:lnTo>
                  <a:lnTo>
                    <a:pt x="4156" y="4323"/>
                  </a:lnTo>
                  <a:cubicBezTo>
                    <a:pt x="4239" y="4323"/>
                    <a:pt x="4311" y="4239"/>
                    <a:pt x="4311" y="4156"/>
                  </a:cubicBezTo>
                  <a:cubicBezTo>
                    <a:pt x="4311" y="4061"/>
                    <a:pt x="4239" y="3989"/>
                    <a:pt x="4156" y="3989"/>
                  </a:cubicBezTo>
                  <a:lnTo>
                    <a:pt x="322" y="3989"/>
                  </a:lnTo>
                  <a:lnTo>
                    <a:pt x="322" y="2501"/>
                  </a:lnTo>
                  <a:cubicBezTo>
                    <a:pt x="322" y="2430"/>
                    <a:pt x="381" y="2346"/>
                    <a:pt x="477" y="2346"/>
                  </a:cubicBezTo>
                  <a:close/>
                  <a:moveTo>
                    <a:pt x="5477" y="1"/>
                  </a:moveTo>
                  <a:cubicBezTo>
                    <a:pt x="5382" y="1"/>
                    <a:pt x="5311" y="72"/>
                    <a:pt x="5311" y="168"/>
                  </a:cubicBezTo>
                  <a:lnTo>
                    <a:pt x="5311" y="2025"/>
                  </a:lnTo>
                  <a:lnTo>
                    <a:pt x="1084" y="2025"/>
                  </a:lnTo>
                  <a:lnTo>
                    <a:pt x="1084" y="1596"/>
                  </a:lnTo>
                  <a:cubicBezTo>
                    <a:pt x="1084" y="1501"/>
                    <a:pt x="1012" y="1430"/>
                    <a:pt x="917" y="1430"/>
                  </a:cubicBezTo>
                  <a:cubicBezTo>
                    <a:pt x="834" y="1430"/>
                    <a:pt x="762" y="1501"/>
                    <a:pt x="762" y="1596"/>
                  </a:cubicBezTo>
                  <a:lnTo>
                    <a:pt x="762" y="2025"/>
                  </a:lnTo>
                  <a:lnTo>
                    <a:pt x="477" y="2025"/>
                  </a:lnTo>
                  <a:cubicBezTo>
                    <a:pt x="215" y="2025"/>
                    <a:pt x="0" y="2239"/>
                    <a:pt x="0" y="2501"/>
                  </a:cubicBezTo>
                  <a:lnTo>
                    <a:pt x="0" y="8800"/>
                  </a:lnTo>
                  <a:cubicBezTo>
                    <a:pt x="0" y="9050"/>
                    <a:pt x="203" y="9276"/>
                    <a:pt x="477" y="9276"/>
                  </a:cubicBezTo>
                  <a:lnTo>
                    <a:pt x="5918" y="9276"/>
                  </a:lnTo>
                  <a:cubicBezTo>
                    <a:pt x="6180" y="9276"/>
                    <a:pt x="6394" y="9061"/>
                    <a:pt x="6394" y="8800"/>
                  </a:cubicBezTo>
                  <a:lnTo>
                    <a:pt x="6394" y="2501"/>
                  </a:lnTo>
                  <a:cubicBezTo>
                    <a:pt x="6394" y="2239"/>
                    <a:pt x="6192" y="2025"/>
                    <a:pt x="5918" y="2025"/>
                  </a:cubicBezTo>
                  <a:lnTo>
                    <a:pt x="5644" y="2025"/>
                  </a:lnTo>
                  <a:lnTo>
                    <a:pt x="5644" y="168"/>
                  </a:lnTo>
                  <a:cubicBezTo>
                    <a:pt x="5644" y="72"/>
                    <a:pt x="5561" y="1"/>
                    <a:pt x="5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53" name="Google Shape;12353;p62"/>
          <p:cNvGrpSpPr/>
          <p:nvPr/>
        </p:nvGrpSpPr>
        <p:grpSpPr>
          <a:xfrm>
            <a:off x="878187" y="2421970"/>
            <a:ext cx="272696" cy="351827"/>
            <a:chOff x="913012" y="2421970"/>
            <a:chExt cx="272696" cy="351827"/>
          </a:xfrm>
        </p:grpSpPr>
        <p:sp>
          <p:nvSpPr>
            <p:cNvPr id="12354" name="Google Shape;12354;p62"/>
            <p:cNvSpPr/>
            <p:nvPr/>
          </p:nvSpPr>
          <p:spPr>
            <a:xfrm>
              <a:off x="913012" y="2421970"/>
              <a:ext cx="272696" cy="351827"/>
            </a:xfrm>
            <a:custGeom>
              <a:avLst/>
              <a:gdLst/>
              <a:ahLst/>
              <a:cxnLst/>
              <a:rect l="l" t="t" r="r" b="b"/>
              <a:pathLst>
                <a:path w="8574" h="11062" extrusionOk="0">
                  <a:moveTo>
                    <a:pt x="3394" y="3656"/>
                  </a:moveTo>
                  <a:cubicBezTo>
                    <a:pt x="3454" y="3716"/>
                    <a:pt x="3525" y="3775"/>
                    <a:pt x="3608" y="3823"/>
                  </a:cubicBezTo>
                  <a:lnTo>
                    <a:pt x="1882" y="7966"/>
                  </a:lnTo>
                  <a:cubicBezTo>
                    <a:pt x="1799" y="7919"/>
                    <a:pt x="1715" y="7883"/>
                    <a:pt x="1644" y="7871"/>
                  </a:cubicBezTo>
                  <a:lnTo>
                    <a:pt x="3394" y="3656"/>
                  </a:lnTo>
                  <a:close/>
                  <a:moveTo>
                    <a:pt x="5192" y="3644"/>
                  </a:moveTo>
                  <a:lnTo>
                    <a:pt x="6954" y="7859"/>
                  </a:lnTo>
                  <a:cubicBezTo>
                    <a:pt x="6883" y="7883"/>
                    <a:pt x="6787" y="7919"/>
                    <a:pt x="6716" y="7966"/>
                  </a:cubicBezTo>
                  <a:lnTo>
                    <a:pt x="4989" y="3811"/>
                  </a:lnTo>
                  <a:cubicBezTo>
                    <a:pt x="5061" y="3763"/>
                    <a:pt x="5132" y="3704"/>
                    <a:pt x="5192" y="3644"/>
                  </a:cubicBezTo>
                  <a:close/>
                  <a:moveTo>
                    <a:pt x="1072" y="9216"/>
                  </a:moveTo>
                  <a:cubicBezTo>
                    <a:pt x="1144" y="9252"/>
                    <a:pt x="1227" y="9300"/>
                    <a:pt x="1310" y="9312"/>
                  </a:cubicBezTo>
                  <a:cubicBezTo>
                    <a:pt x="1299" y="9347"/>
                    <a:pt x="1203" y="9657"/>
                    <a:pt x="870" y="9847"/>
                  </a:cubicBezTo>
                  <a:lnTo>
                    <a:pt x="787" y="9895"/>
                  </a:lnTo>
                  <a:lnTo>
                    <a:pt x="1072" y="9216"/>
                  </a:lnTo>
                  <a:close/>
                  <a:moveTo>
                    <a:pt x="7502" y="9216"/>
                  </a:moveTo>
                  <a:lnTo>
                    <a:pt x="7787" y="9895"/>
                  </a:lnTo>
                  <a:lnTo>
                    <a:pt x="7716" y="9847"/>
                  </a:lnTo>
                  <a:cubicBezTo>
                    <a:pt x="7371" y="9657"/>
                    <a:pt x="7275" y="9335"/>
                    <a:pt x="7264" y="9312"/>
                  </a:cubicBezTo>
                  <a:cubicBezTo>
                    <a:pt x="7359" y="9300"/>
                    <a:pt x="7430" y="9252"/>
                    <a:pt x="7502" y="9216"/>
                  </a:cubicBezTo>
                  <a:close/>
                  <a:moveTo>
                    <a:pt x="4287" y="1"/>
                  </a:moveTo>
                  <a:cubicBezTo>
                    <a:pt x="3882" y="1"/>
                    <a:pt x="3549" y="322"/>
                    <a:pt x="3549" y="739"/>
                  </a:cubicBezTo>
                  <a:lnTo>
                    <a:pt x="3549" y="1620"/>
                  </a:lnTo>
                  <a:cubicBezTo>
                    <a:pt x="3442" y="1692"/>
                    <a:pt x="3346" y="1763"/>
                    <a:pt x="3275" y="1858"/>
                  </a:cubicBezTo>
                  <a:cubicBezTo>
                    <a:pt x="3215" y="1930"/>
                    <a:pt x="3227" y="2037"/>
                    <a:pt x="3287" y="2096"/>
                  </a:cubicBezTo>
                  <a:cubicBezTo>
                    <a:pt x="3324" y="2123"/>
                    <a:pt x="3364" y="2136"/>
                    <a:pt x="3402" y="2136"/>
                  </a:cubicBezTo>
                  <a:cubicBezTo>
                    <a:pt x="3449" y="2136"/>
                    <a:pt x="3492" y="2117"/>
                    <a:pt x="3525" y="2085"/>
                  </a:cubicBezTo>
                  <a:cubicBezTo>
                    <a:pt x="3730" y="1838"/>
                    <a:pt x="3998" y="1731"/>
                    <a:pt x="4262" y="1731"/>
                  </a:cubicBezTo>
                  <a:cubicBezTo>
                    <a:pt x="4842" y="1731"/>
                    <a:pt x="5403" y="2247"/>
                    <a:pt x="5239" y="2942"/>
                  </a:cubicBezTo>
                  <a:cubicBezTo>
                    <a:pt x="5130" y="3422"/>
                    <a:pt x="4708" y="3692"/>
                    <a:pt x="4281" y="3692"/>
                  </a:cubicBezTo>
                  <a:cubicBezTo>
                    <a:pt x="3967" y="3692"/>
                    <a:pt x="3650" y="3546"/>
                    <a:pt x="3454" y="3228"/>
                  </a:cubicBezTo>
                  <a:cubicBezTo>
                    <a:pt x="3334" y="3037"/>
                    <a:pt x="3287" y="2811"/>
                    <a:pt x="3323" y="2585"/>
                  </a:cubicBezTo>
                  <a:cubicBezTo>
                    <a:pt x="3334" y="2501"/>
                    <a:pt x="3263" y="2406"/>
                    <a:pt x="3168" y="2406"/>
                  </a:cubicBezTo>
                  <a:cubicBezTo>
                    <a:pt x="3162" y="2405"/>
                    <a:pt x="3155" y="2405"/>
                    <a:pt x="3149" y="2405"/>
                  </a:cubicBezTo>
                  <a:cubicBezTo>
                    <a:pt x="3071" y="2405"/>
                    <a:pt x="2989" y="2473"/>
                    <a:pt x="2989" y="2561"/>
                  </a:cubicBezTo>
                  <a:cubicBezTo>
                    <a:pt x="2965" y="2858"/>
                    <a:pt x="3025" y="3132"/>
                    <a:pt x="3156" y="3382"/>
                  </a:cubicBezTo>
                  <a:lnTo>
                    <a:pt x="1239" y="7966"/>
                  </a:lnTo>
                  <a:cubicBezTo>
                    <a:pt x="1227" y="7990"/>
                    <a:pt x="1203" y="8038"/>
                    <a:pt x="1227" y="8085"/>
                  </a:cubicBezTo>
                  <a:cubicBezTo>
                    <a:pt x="1238" y="8162"/>
                    <a:pt x="1309" y="8218"/>
                    <a:pt x="1393" y="8218"/>
                  </a:cubicBezTo>
                  <a:cubicBezTo>
                    <a:pt x="1401" y="8218"/>
                    <a:pt x="1409" y="8217"/>
                    <a:pt x="1418" y="8216"/>
                  </a:cubicBezTo>
                  <a:cubicBezTo>
                    <a:pt x="1447" y="8206"/>
                    <a:pt x="1481" y="8201"/>
                    <a:pt x="1515" y="8201"/>
                  </a:cubicBezTo>
                  <a:cubicBezTo>
                    <a:pt x="1564" y="8201"/>
                    <a:pt x="1614" y="8212"/>
                    <a:pt x="1656" y="8240"/>
                  </a:cubicBezTo>
                  <a:cubicBezTo>
                    <a:pt x="2072" y="8419"/>
                    <a:pt x="1941" y="9038"/>
                    <a:pt x="1489" y="9038"/>
                  </a:cubicBezTo>
                  <a:cubicBezTo>
                    <a:pt x="1227" y="9038"/>
                    <a:pt x="1025" y="8776"/>
                    <a:pt x="1084" y="8526"/>
                  </a:cubicBezTo>
                  <a:cubicBezTo>
                    <a:pt x="1108" y="8443"/>
                    <a:pt x="1060" y="8347"/>
                    <a:pt x="965" y="8335"/>
                  </a:cubicBezTo>
                  <a:cubicBezTo>
                    <a:pt x="951" y="8331"/>
                    <a:pt x="936" y="8329"/>
                    <a:pt x="922" y="8329"/>
                  </a:cubicBezTo>
                  <a:cubicBezTo>
                    <a:pt x="852" y="8329"/>
                    <a:pt x="784" y="8376"/>
                    <a:pt x="775" y="8454"/>
                  </a:cubicBezTo>
                  <a:cubicBezTo>
                    <a:pt x="751" y="8621"/>
                    <a:pt x="763" y="8776"/>
                    <a:pt x="834" y="8943"/>
                  </a:cubicBezTo>
                  <a:lnTo>
                    <a:pt x="298" y="10228"/>
                  </a:lnTo>
                  <a:lnTo>
                    <a:pt x="36" y="10836"/>
                  </a:lnTo>
                  <a:cubicBezTo>
                    <a:pt x="1" y="10919"/>
                    <a:pt x="36" y="11014"/>
                    <a:pt x="120" y="11038"/>
                  </a:cubicBezTo>
                  <a:cubicBezTo>
                    <a:pt x="132" y="11062"/>
                    <a:pt x="167" y="11062"/>
                    <a:pt x="179" y="11062"/>
                  </a:cubicBezTo>
                  <a:cubicBezTo>
                    <a:pt x="239" y="11062"/>
                    <a:pt x="298" y="11014"/>
                    <a:pt x="334" y="10955"/>
                  </a:cubicBezTo>
                  <a:lnTo>
                    <a:pt x="572" y="10383"/>
                  </a:lnTo>
                  <a:lnTo>
                    <a:pt x="1013" y="10133"/>
                  </a:lnTo>
                  <a:cubicBezTo>
                    <a:pt x="1501" y="9847"/>
                    <a:pt x="1608" y="9407"/>
                    <a:pt x="1656" y="9312"/>
                  </a:cubicBezTo>
                  <a:cubicBezTo>
                    <a:pt x="2144" y="9193"/>
                    <a:pt x="2382" y="8633"/>
                    <a:pt x="2120" y="8204"/>
                  </a:cubicBezTo>
                  <a:lnTo>
                    <a:pt x="3882" y="3942"/>
                  </a:lnTo>
                  <a:cubicBezTo>
                    <a:pt x="4013" y="3978"/>
                    <a:pt x="4144" y="3996"/>
                    <a:pt x="4277" y="3996"/>
                  </a:cubicBezTo>
                  <a:cubicBezTo>
                    <a:pt x="4409" y="3996"/>
                    <a:pt x="4543" y="3978"/>
                    <a:pt x="4680" y="3942"/>
                  </a:cubicBezTo>
                  <a:lnTo>
                    <a:pt x="6442" y="8204"/>
                  </a:lnTo>
                  <a:cubicBezTo>
                    <a:pt x="6382" y="8300"/>
                    <a:pt x="6347" y="8419"/>
                    <a:pt x="6347" y="8538"/>
                  </a:cubicBezTo>
                  <a:cubicBezTo>
                    <a:pt x="6347" y="8597"/>
                    <a:pt x="6371" y="8681"/>
                    <a:pt x="6430" y="8693"/>
                  </a:cubicBezTo>
                  <a:cubicBezTo>
                    <a:pt x="6457" y="8707"/>
                    <a:pt x="6484" y="8714"/>
                    <a:pt x="6511" y="8714"/>
                  </a:cubicBezTo>
                  <a:cubicBezTo>
                    <a:pt x="6594" y="8714"/>
                    <a:pt x="6668" y="8651"/>
                    <a:pt x="6668" y="8562"/>
                  </a:cubicBezTo>
                  <a:cubicBezTo>
                    <a:pt x="6680" y="8443"/>
                    <a:pt x="6740" y="8323"/>
                    <a:pt x="6835" y="8264"/>
                  </a:cubicBezTo>
                  <a:cubicBezTo>
                    <a:pt x="6915" y="8202"/>
                    <a:pt x="7000" y="8176"/>
                    <a:pt x="7081" y="8176"/>
                  </a:cubicBezTo>
                  <a:cubicBezTo>
                    <a:pt x="7359" y="8176"/>
                    <a:pt x="7590" y="8490"/>
                    <a:pt x="7442" y="8776"/>
                  </a:cubicBezTo>
                  <a:cubicBezTo>
                    <a:pt x="7365" y="8905"/>
                    <a:pt x="7232" y="9002"/>
                    <a:pt x="7079" y="9002"/>
                  </a:cubicBezTo>
                  <a:cubicBezTo>
                    <a:pt x="7020" y="9002"/>
                    <a:pt x="6958" y="8988"/>
                    <a:pt x="6894" y="8954"/>
                  </a:cubicBezTo>
                  <a:cubicBezTo>
                    <a:pt x="6894" y="8954"/>
                    <a:pt x="6856" y="8939"/>
                    <a:pt x="6811" y="8939"/>
                  </a:cubicBezTo>
                  <a:cubicBezTo>
                    <a:pt x="6799" y="8939"/>
                    <a:pt x="6787" y="8940"/>
                    <a:pt x="6775" y="8943"/>
                  </a:cubicBezTo>
                  <a:cubicBezTo>
                    <a:pt x="6644" y="8990"/>
                    <a:pt x="6597" y="9181"/>
                    <a:pt x="6763" y="9252"/>
                  </a:cubicBezTo>
                  <a:cubicBezTo>
                    <a:pt x="6823" y="9288"/>
                    <a:pt x="6883" y="9300"/>
                    <a:pt x="6942" y="9312"/>
                  </a:cubicBezTo>
                  <a:cubicBezTo>
                    <a:pt x="6978" y="9395"/>
                    <a:pt x="7085" y="9847"/>
                    <a:pt x="7573" y="10133"/>
                  </a:cubicBezTo>
                  <a:lnTo>
                    <a:pt x="8026" y="10383"/>
                  </a:lnTo>
                  <a:lnTo>
                    <a:pt x="8264" y="10955"/>
                  </a:lnTo>
                  <a:cubicBezTo>
                    <a:pt x="8281" y="11016"/>
                    <a:pt x="8344" y="11052"/>
                    <a:pt x="8405" y="11052"/>
                  </a:cubicBezTo>
                  <a:cubicBezTo>
                    <a:pt x="8426" y="11052"/>
                    <a:pt x="8447" y="11047"/>
                    <a:pt x="8466" y="11038"/>
                  </a:cubicBezTo>
                  <a:cubicBezTo>
                    <a:pt x="8549" y="11014"/>
                    <a:pt x="8573" y="10907"/>
                    <a:pt x="8549" y="10836"/>
                  </a:cubicBezTo>
                  <a:lnTo>
                    <a:pt x="8276" y="10228"/>
                  </a:lnTo>
                  <a:lnTo>
                    <a:pt x="7740" y="8943"/>
                  </a:lnTo>
                  <a:cubicBezTo>
                    <a:pt x="7930" y="8538"/>
                    <a:pt x="7740" y="8050"/>
                    <a:pt x="7311" y="7919"/>
                  </a:cubicBezTo>
                  <a:lnTo>
                    <a:pt x="5418" y="3382"/>
                  </a:lnTo>
                  <a:cubicBezTo>
                    <a:pt x="5763" y="2799"/>
                    <a:pt x="5597" y="2025"/>
                    <a:pt x="5037" y="1632"/>
                  </a:cubicBezTo>
                  <a:lnTo>
                    <a:pt x="5037" y="1323"/>
                  </a:lnTo>
                  <a:cubicBezTo>
                    <a:pt x="5037" y="1239"/>
                    <a:pt x="4954" y="1156"/>
                    <a:pt x="4870" y="1156"/>
                  </a:cubicBezTo>
                  <a:cubicBezTo>
                    <a:pt x="4775" y="1156"/>
                    <a:pt x="4704" y="1239"/>
                    <a:pt x="4704" y="1323"/>
                  </a:cubicBezTo>
                  <a:lnTo>
                    <a:pt x="4704" y="1477"/>
                  </a:lnTo>
                  <a:cubicBezTo>
                    <a:pt x="4579" y="1430"/>
                    <a:pt x="4442" y="1406"/>
                    <a:pt x="4300" y="1406"/>
                  </a:cubicBezTo>
                  <a:cubicBezTo>
                    <a:pt x="4159" y="1406"/>
                    <a:pt x="4013" y="1430"/>
                    <a:pt x="3870" y="1477"/>
                  </a:cubicBezTo>
                  <a:lnTo>
                    <a:pt x="3870" y="763"/>
                  </a:lnTo>
                  <a:cubicBezTo>
                    <a:pt x="3870" y="537"/>
                    <a:pt x="4049" y="346"/>
                    <a:pt x="4287" y="346"/>
                  </a:cubicBezTo>
                  <a:cubicBezTo>
                    <a:pt x="4477" y="346"/>
                    <a:pt x="4656" y="489"/>
                    <a:pt x="4692" y="680"/>
                  </a:cubicBezTo>
                  <a:cubicBezTo>
                    <a:pt x="4703" y="767"/>
                    <a:pt x="4783" y="824"/>
                    <a:pt x="4861" y="824"/>
                  </a:cubicBezTo>
                  <a:cubicBezTo>
                    <a:pt x="4868" y="824"/>
                    <a:pt x="4875" y="824"/>
                    <a:pt x="4882" y="823"/>
                  </a:cubicBezTo>
                  <a:cubicBezTo>
                    <a:pt x="4978" y="799"/>
                    <a:pt x="5037" y="715"/>
                    <a:pt x="5013" y="620"/>
                  </a:cubicBezTo>
                  <a:cubicBezTo>
                    <a:pt x="4954" y="263"/>
                    <a:pt x="4644" y="1"/>
                    <a:pt x="4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5" name="Google Shape;12355;p62"/>
            <p:cNvSpPr/>
            <p:nvPr/>
          </p:nvSpPr>
          <p:spPr>
            <a:xfrm>
              <a:off x="1028146" y="2491719"/>
              <a:ext cx="37880" cy="32918"/>
            </a:xfrm>
            <a:custGeom>
              <a:avLst/>
              <a:gdLst/>
              <a:ahLst/>
              <a:cxnLst/>
              <a:rect l="l" t="t" r="r" b="b"/>
              <a:pathLst>
                <a:path w="1191" h="1035" extrusionOk="0">
                  <a:moveTo>
                    <a:pt x="731" y="0"/>
                  </a:moveTo>
                  <a:cubicBezTo>
                    <a:pt x="646" y="0"/>
                    <a:pt x="578" y="41"/>
                    <a:pt x="560" y="130"/>
                  </a:cubicBezTo>
                  <a:cubicBezTo>
                    <a:pt x="548" y="213"/>
                    <a:pt x="607" y="308"/>
                    <a:pt x="703" y="320"/>
                  </a:cubicBezTo>
                  <a:cubicBezTo>
                    <a:pt x="786" y="332"/>
                    <a:pt x="857" y="415"/>
                    <a:pt x="857" y="511"/>
                  </a:cubicBezTo>
                  <a:cubicBezTo>
                    <a:pt x="857" y="618"/>
                    <a:pt x="774" y="713"/>
                    <a:pt x="667" y="713"/>
                  </a:cubicBezTo>
                  <a:cubicBezTo>
                    <a:pt x="560" y="713"/>
                    <a:pt x="488" y="630"/>
                    <a:pt x="476" y="535"/>
                  </a:cubicBezTo>
                  <a:cubicBezTo>
                    <a:pt x="454" y="446"/>
                    <a:pt x="391" y="378"/>
                    <a:pt x="316" y="378"/>
                  </a:cubicBezTo>
                  <a:cubicBezTo>
                    <a:pt x="310" y="378"/>
                    <a:pt x="304" y="379"/>
                    <a:pt x="298" y="380"/>
                  </a:cubicBezTo>
                  <a:cubicBezTo>
                    <a:pt x="0" y="415"/>
                    <a:pt x="179" y="1035"/>
                    <a:pt x="667" y="1035"/>
                  </a:cubicBezTo>
                  <a:cubicBezTo>
                    <a:pt x="953" y="1035"/>
                    <a:pt x="1191" y="796"/>
                    <a:pt x="1191" y="511"/>
                  </a:cubicBezTo>
                  <a:cubicBezTo>
                    <a:pt x="1191" y="199"/>
                    <a:pt x="920" y="0"/>
                    <a:pt x="7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6" name="Google Shape;12356;p62"/>
            <p:cNvSpPr/>
            <p:nvPr/>
          </p:nvSpPr>
          <p:spPr>
            <a:xfrm>
              <a:off x="952769" y="2687447"/>
              <a:ext cx="16316" cy="16316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51" y="0"/>
                  </a:moveTo>
                  <a:cubicBezTo>
                    <a:pt x="120" y="0"/>
                    <a:pt x="1" y="119"/>
                    <a:pt x="1" y="250"/>
                  </a:cubicBezTo>
                  <a:cubicBezTo>
                    <a:pt x="1" y="393"/>
                    <a:pt x="120" y="512"/>
                    <a:pt x="251" y="512"/>
                  </a:cubicBezTo>
                  <a:cubicBezTo>
                    <a:pt x="394" y="512"/>
                    <a:pt x="513" y="393"/>
                    <a:pt x="513" y="250"/>
                  </a:cubicBezTo>
                  <a:cubicBezTo>
                    <a:pt x="513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7" name="Google Shape;12357;p62"/>
            <p:cNvSpPr/>
            <p:nvPr/>
          </p:nvSpPr>
          <p:spPr>
            <a:xfrm>
              <a:off x="1130368" y="2687447"/>
              <a:ext cx="15934" cy="16316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1" y="0"/>
                  </a:moveTo>
                  <a:cubicBezTo>
                    <a:pt x="108" y="0"/>
                    <a:pt x="1" y="119"/>
                    <a:pt x="1" y="250"/>
                  </a:cubicBezTo>
                  <a:cubicBezTo>
                    <a:pt x="1" y="393"/>
                    <a:pt x="108" y="512"/>
                    <a:pt x="251" y="512"/>
                  </a:cubicBezTo>
                  <a:cubicBezTo>
                    <a:pt x="394" y="512"/>
                    <a:pt x="501" y="393"/>
                    <a:pt x="501" y="250"/>
                  </a:cubicBezTo>
                  <a:cubicBezTo>
                    <a:pt x="501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58" name="Google Shape;12358;p62"/>
          <p:cNvGrpSpPr/>
          <p:nvPr/>
        </p:nvGrpSpPr>
        <p:grpSpPr>
          <a:xfrm>
            <a:off x="2274743" y="2422352"/>
            <a:ext cx="255649" cy="351445"/>
            <a:chOff x="2274743" y="2422352"/>
            <a:chExt cx="255649" cy="351445"/>
          </a:xfrm>
        </p:grpSpPr>
        <p:sp>
          <p:nvSpPr>
            <p:cNvPr id="12359" name="Google Shape;12359;p62"/>
            <p:cNvSpPr/>
            <p:nvPr/>
          </p:nvSpPr>
          <p:spPr>
            <a:xfrm>
              <a:off x="2274743" y="2422352"/>
              <a:ext cx="255649" cy="351445"/>
            </a:xfrm>
            <a:custGeom>
              <a:avLst/>
              <a:gdLst/>
              <a:ahLst/>
              <a:cxnLst/>
              <a:rect l="l" t="t" r="r" b="b"/>
              <a:pathLst>
                <a:path w="8038" h="11050" extrusionOk="0">
                  <a:moveTo>
                    <a:pt x="5608" y="941"/>
                  </a:moveTo>
                  <a:cubicBezTo>
                    <a:pt x="6799" y="1049"/>
                    <a:pt x="7728" y="1954"/>
                    <a:pt x="7728" y="3049"/>
                  </a:cubicBezTo>
                  <a:lnTo>
                    <a:pt x="7728" y="4263"/>
                  </a:lnTo>
                  <a:cubicBezTo>
                    <a:pt x="7716" y="4454"/>
                    <a:pt x="7537" y="4621"/>
                    <a:pt x="7299" y="4621"/>
                  </a:cubicBezTo>
                  <a:lnTo>
                    <a:pt x="7073" y="4621"/>
                  </a:lnTo>
                  <a:cubicBezTo>
                    <a:pt x="7073" y="3347"/>
                    <a:pt x="7121" y="3204"/>
                    <a:pt x="6894" y="2954"/>
                  </a:cubicBezTo>
                  <a:cubicBezTo>
                    <a:pt x="6811" y="2846"/>
                    <a:pt x="6656" y="2775"/>
                    <a:pt x="6490" y="2751"/>
                  </a:cubicBezTo>
                  <a:lnTo>
                    <a:pt x="1632" y="2751"/>
                  </a:lnTo>
                  <a:cubicBezTo>
                    <a:pt x="1275" y="2751"/>
                    <a:pt x="989" y="3037"/>
                    <a:pt x="989" y="3394"/>
                  </a:cubicBezTo>
                  <a:lnTo>
                    <a:pt x="989" y="4621"/>
                  </a:lnTo>
                  <a:lnTo>
                    <a:pt x="763" y="4621"/>
                  </a:lnTo>
                  <a:cubicBezTo>
                    <a:pt x="536" y="4621"/>
                    <a:pt x="346" y="4454"/>
                    <a:pt x="346" y="4263"/>
                  </a:cubicBezTo>
                  <a:lnTo>
                    <a:pt x="346" y="3049"/>
                  </a:lnTo>
                  <a:cubicBezTo>
                    <a:pt x="346" y="1954"/>
                    <a:pt x="1263" y="1049"/>
                    <a:pt x="2453" y="941"/>
                  </a:cubicBezTo>
                  <a:lnTo>
                    <a:pt x="2453" y="1084"/>
                  </a:lnTo>
                  <a:cubicBezTo>
                    <a:pt x="2453" y="1322"/>
                    <a:pt x="2656" y="1525"/>
                    <a:pt x="2894" y="1525"/>
                  </a:cubicBezTo>
                  <a:lnTo>
                    <a:pt x="5180" y="1525"/>
                  </a:lnTo>
                  <a:cubicBezTo>
                    <a:pt x="5418" y="1525"/>
                    <a:pt x="5608" y="1322"/>
                    <a:pt x="5608" y="1084"/>
                  </a:cubicBezTo>
                  <a:lnTo>
                    <a:pt x="5608" y="941"/>
                  </a:lnTo>
                  <a:close/>
                  <a:moveTo>
                    <a:pt x="6442" y="3085"/>
                  </a:moveTo>
                  <a:cubicBezTo>
                    <a:pt x="6525" y="3085"/>
                    <a:pt x="6597" y="3108"/>
                    <a:pt x="6656" y="3180"/>
                  </a:cubicBezTo>
                  <a:cubicBezTo>
                    <a:pt x="6787" y="3335"/>
                    <a:pt x="6728" y="3454"/>
                    <a:pt x="6751" y="3942"/>
                  </a:cubicBezTo>
                  <a:cubicBezTo>
                    <a:pt x="6490" y="4025"/>
                    <a:pt x="6299" y="4263"/>
                    <a:pt x="6299" y="4525"/>
                  </a:cubicBezTo>
                  <a:lnTo>
                    <a:pt x="6299" y="5764"/>
                  </a:lnTo>
                  <a:cubicBezTo>
                    <a:pt x="6299" y="5959"/>
                    <a:pt x="6132" y="6121"/>
                    <a:pt x="5938" y="6121"/>
                  </a:cubicBezTo>
                  <a:cubicBezTo>
                    <a:pt x="5932" y="6121"/>
                    <a:pt x="5925" y="6121"/>
                    <a:pt x="5918" y="6121"/>
                  </a:cubicBezTo>
                  <a:cubicBezTo>
                    <a:pt x="5739" y="6097"/>
                    <a:pt x="5585" y="5942"/>
                    <a:pt x="5585" y="5752"/>
                  </a:cubicBezTo>
                  <a:lnTo>
                    <a:pt x="5585" y="5728"/>
                  </a:lnTo>
                  <a:cubicBezTo>
                    <a:pt x="5585" y="5644"/>
                    <a:pt x="5513" y="5561"/>
                    <a:pt x="5418" y="5561"/>
                  </a:cubicBezTo>
                  <a:cubicBezTo>
                    <a:pt x="5335" y="5561"/>
                    <a:pt x="5251" y="5644"/>
                    <a:pt x="5251" y="5728"/>
                  </a:cubicBezTo>
                  <a:lnTo>
                    <a:pt x="5251" y="5752"/>
                  </a:lnTo>
                  <a:cubicBezTo>
                    <a:pt x="5251" y="6097"/>
                    <a:pt x="5537" y="6418"/>
                    <a:pt x="5894" y="6442"/>
                  </a:cubicBezTo>
                  <a:cubicBezTo>
                    <a:pt x="5916" y="6444"/>
                    <a:pt x="5937" y="6445"/>
                    <a:pt x="5957" y="6445"/>
                  </a:cubicBezTo>
                  <a:cubicBezTo>
                    <a:pt x="6332" y="6445"/>
                    <a:pt x="6620" y="6147"/>
                    <a:pt x="6620" y="5764"/>
                  </a:cubicBezTo>
                  <a:lnTo>
                    <a:pt x="6620" y="4525"/>
                  </a:lnTo>
                  <a:cubicBezTo>
                    <a:pt x="6620" y="4430"/>
                    <a:pt x="6668" y="4347"/>
                    <a:pt x="6740" y="4299"/>
                  </a:cubicBezTo>
                  <a:lnTo>
                    <a:pt x="6740" y="9871"/>
                  </a:lnTo>
                  <a:cubicBezTo>
                    <a:pt x="6740" y="10324"/>
                    <a:pt x="6359" y="10716"/>
                    <a:pt x="5894" y="10716"/>
                  </a:cubicBezTo>
                  <a:lnTo>
                    <a:pt x="2179" y="10716"/>
                  </a:lnTo>
                  <a:cubicBezTo>
                    <a:pt x="1715" y="10716"/>
                    <a:pt x="1322" y="10324"/>
                    <a:pt x="1322" y="9871"/>
                  </a:cubicBezTo>
                  <a:lnTo>
                    <a:pt x="1322" y="4240"/>
                  </a:lnTo>
                  <a:lnTo>
                    <a:pt x="1858" y="4240"/>
                  </a:lnTo>
                  <a:cubicBezTo>
                    <a:pt x="2013" y="4240"/>
                    <a:pt x="2144" y="4359"/>
                    <a:pt x="2144" y="4525"/>
                  </a:cubicBezTo>
                  <a:lnTo>
                    <a:pt x="2144" y="5549"/>
                  </a:lnTo>
                  <a:cubicBezTo>
                    <a:pt x="2144" y="5644"/>
                    <a:pt x="2215" y="5716"/>
                    <a:pt x="2310" y="5716"/>
                  </a:cubicBezTo>
                  <a:cubicBezTo>
                    <a:pt x="2394" y="5716"/>
                    <a:pt x="2477" y="5644"/>
                    <a:pt x="2477" y="5549"/>
                  </a:cubicBezTo>
                  <a:lnTo>
                    <a:pt x="2477" y="4525"/>
                  </a:lnTo>
                  <a:cubicBezTo>
                    <a:pt x="2477" y="4180"/>
                    <a:pt x="2203" y="3918"/>
                    <a:pt x="1858" y="3918"/>
                  </a:cubicBezTo>
                  <a:lnTo>
                    <a:pt x="1322" y="3918"/>
                  </a:lnTo>
                  <a:lnTo>
                    <a:pt x="1322" y="3394"/>
                  </a:lnTo>
                  <a:cubicBezTo>
                    <a:pt x="1322" y="3216"/>
                    <a:pt x="1465" y="3085"/>
                    <a:pt x="1644" y="3085"/>
                  </a:cubicBezTo>
                  <a:close/>
                  <a:moveTo>
                    <a:pt x="2882" y="1"/>
                  </a:moveTo>
                  <a:cubicBezTo>
                    <a:pt x="2644" y="1"/>
                    <a:pt x="2441" y="191"/>
                    <a:pt x="2441" y="430"/>
                  </a:cubicBezTo>
                  <a:lnTo>
                    <a:pt x="2441" y="608"/>
                  </a:lnTo>
                  <a:cubicBezTo>
                    <a:pt x="1072" y="715"/>
                    <a:pt x="1" y="1775"/>
                    <a:pt x="1" y="3049"/>
                  </a:cubicBezTo>
                  <a:lnTo>
                    <a:pt x="1" y="4263"/>
                  </a:lnTo>
                  <a:cubicBezTo>
                    <a:pt x="1" y="4644"/>
                    <a:pt x="334" y="4942"/>
                    <a:pt x="751" y="4942"/>
                  </a:cubicBezTo>
                  <a:lnTo>
                    <a:pt x="977" y="4942"/>
                  </a:lnTo>
                  <a:lnTo>
                    <a:pt x="977" y="9871"/>
                  </a:lnTo>
                  <a:cubicBezTo>
                    <a:pt x="977" y="10526"/>
                    <a:pt x="1513" y="11050"/>
                    <a:pt x="2144" y="11050"/>
                  </a:cubicBezTo>
                  <a:lnTo>
                    <a:pt x="5870" y="11050"/>
                  </a:lnTo>
                  <a:cubicBezTo>
                    <a:pt x="6525" y="11050"/>
                    <a:pt x="7049" y="10526"/>
                    <a:pt x="7049" y="9871"/>
                  </a:cubicBezTo>
                  <a:lnTo>
                    <a:pt x="7049" y="4942"/>
                  </a:lnTo>
                  <a:lnTo>
                    <a:pt x="7263" y="4942"/>
                  </a:lnTo>
                  <a:cubicBezTo>
                    <a:pt x="7680" y="4942"/>
                    <a:pt x="8014" y="4632"/>
                    <a:pt x="8014" y="4263"/>
                  </a:cubicBezTo>
                  <a:lnTo>
                    <a:pt x="8014" y="3049"/>
                  </a:lnTo>
                  <a:cubicBezTo>
                    <a:pt x="8037" y="1775"/>
                    <a:pt x="6966" y="715"/>
                    <a:pt x="5597" y="608"/>
                  </a:cubicBezTo>
                  <a:lnTo>
                    <a:pt x="5597" y="430"/>
                  </a:lnTo>
                  <a:cubicBezTo>
                    <a:pt x="5597" y="191"/>
                    <a:pt x="5406" y="1"/>
                    <a:pt x="5168" y="1"/>
                  </a:cubicBezTo>
                  <a:lnTo>
                    <a:pt x="4037" y="1"/>
                  </a:lnTo>
                  <a:cubicBezTo>
                    <a:pt x="3953" y="1"/>
                    <a:pt x="3870" y="72"/>
                    <a:pt x="3870" y="168"/>
                  </a:cubicBezTo>
                  <a:cubicBezTo>
                    <a:pt x="3870" y="251"/>
                    <a:pt x="3953" y="334"/>
                    <a:pt x="4037" y="334"/>
                  </a:cubicBezTo>
                  <a:lnTo>
                    <a:pt x="5168" y="334"/>
                  </a:lnTo>
                  <a:cubicBezTo>
                    <a:pt x="5227" y="334"/>
                    <a:pt x="5275" y="370"/>
                    <a:pt x="5275" y="430"/>
                  </a:cubicBezTo>
                  <a:lnTo>
                    <a:pt x="5275" y="1084"/>
                  </a:lnTo>
                  <a:cubicBezTo>
                    <a:pt x="5275" y="1144"/>
                    <a:pt x="5227" y="1192"/>
                    <a:pt x="5168" y="1192"/>
                  </a:cubicBezTo>
                  <a:lnTo>
                    <a:pt x="2882" y="1192"/>
                  </a:lnTo>
                  <a:cubicBezTo>
                    <a:pt x="2822" y="1192"/>
                    <a:pt x="2775" y="1144"/>
                    <a:pt x="2775" y="1084"/>
                  </a:cubicBezTo>
                  <a:lnTo>
                    <a:pt x="2775" y="430"/>
                  </a:lnTo>
                  <a:cubicBezTo>
                    <a:pt x="2775" y="370"/>
                    <a:pt x="2822" y="334"/>
                    <a:pt x="2882" y="334"/>
                  </a:cubicBezTo>
                  <a:lnTo>
                    <a:pt x="3382" y="334"/>
                  </a:lnTo>
                  <a:cubicBezTo>
                    <a:pt x="3477" y="334"/>
                    <a:pt x="3549" y="251"/>
                    <a:pt x="3549" y="168"/>
                  </a:cubicBezTo>
                  <a:cubicBezTo>
                    <a:pt x="3549" y="72"/>
                    <a:pt x="3477" y="1"/>
                    <a:pt x="3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0" name="Google Shape;12360;p62"/>
            <p:cNvSpPr/>
            <p:nvPr/>
          </p:nvSpPr>
          <p:spPr>
            <a:xfrm>
              <a:off x="2347831" y="2600714"/>
              <a:ext cx="71975" cy="75378"/>
            </a:xfrm>
            <a:custGeom>
              <a:avLst/>
              <a:gdLst/>
              <a:ahLst/>
              <a:cxnLst/>
              <a:rect l="l" t="t" r="r" b="b"/>
              <a:pathLst>
                <a:path w="2263" h="2370" extrusionOk="0">
                  <a:moveTo>
                    <a:pt x="1036" y="1"/>
                  </a:moveTo>
                  <a:cubicBezTo>
                    <a:pt x="953" y="1"/>
                    <a:pt x="882" y="84"/>
                    <a:pt x="882" y="167"/>
                  </a:cubicBezTo>
                  <a:cubicBezTo>
                    <a:pt x="882" y="378"/>
                    <a:pt x="704" y="522"/>
                    <a:pt x="519" y="522"/>
                  </a:cubicBezTo>
                  <a:cubicBezTo>
                    <a:pt x="443" y="522"/>
                    <a:pt x="365" y="497"/>
                    <a:pt x="298" y="441"/>
                  </a:cubicBezTo>
                  <a:cubicBezTo>
                    <a:pt x="266" y="414"/>
                    <a:pt x="227" y="402"/>
                    <a:pt x="187" y="402"/>
                  </a:cubicBezTo>
                  <a:cubicBezTo>
                    <a:pt x="140" y="402"/>
                    <a:pt x="93" y="420"/>
                    <a:pt x="60" y="453"/>
                  </a:cubicBezTo>
                  <a:cubicBezTo>
                    <a:pt x="1" y="525"/>
                    <a:pt x="12" y="632"/>
                    <a:pt x="72" y="691"/>
                  </a:cubicBezTo>
                  <a:cubicBezTo>
                    <a:pt x="204" y="797"/>
                    <a:pt x="358" y="848"/>
                    <a:pt x="513" y="848"/>
                  </a:cubicBezTo>
                  <a:cubicBezTo>
                    <a:pt x="638" y="848"/>
                    <a:pt x="765" y="815"/>
                    <a:pt x="882" y="751"/>
                  </a:cubicBezTo>
                  <a:lnTo>
                    <a:pt x="882" y="1691"/>
                  </a:lnTo>
                  <a:cubicBezTo>
                    <a:pt x="882" y="2101"/>
                    <a:pt x="1212" y="2370"/>
                    <a:pt x="1559" y="2370"/>
                  </a:cubicBezTo>
                  <a:cubicBezTo>
                    <a:pt x="1726" y="2370"/>
                    <a:pt x="1897" y="2307"/>
                    <a:pt x="2036" y="2168"/>
                  </a:cubicBezTo>
                  <a:cubicBezTo>
                    <a:pt x="2144" y="2061"/>
                    <a:pt x="2215" y="1906"/>
                    <a:pt x="2227" y="1763"/>
                  </a:cubicBezTo>
                  <a:cubicBezTo>
                    <a:pt x="2263" y="1668"/>
                    <a:pt x="2191" y="1584"/>
                    <a:pt x="2096" y="1584"/>
                  </a:cubicBezTo>
                  <a:cubicBezTo>
                    <a:pt x="2089" y="1583"/>
                    <a:pt x="2082" y="1583"/>
                    <a:pt x="2075" y="1583"/>
                  </a:cubicBezTo>
                  <a:cubicBezTo>
                    <a:pt x="1997" y="1583"/>
                    <a:pt x="1917" y="1640"/>
                    <a:pt x="1917" y="1727"/>
                  </a:cubicBezTo>
                  <a:cubicBezTo>
                    <a:pt x="1906" y="1906"/>
                    <a:pt x="1739" y="2049"/>
                    <a:pt x="1560" y="2049"/>
                  </a:cubicBezTo>
                  <a:cubicBezTo>
                    <a:pt x="1370" y="2049"/>
                    <a:pt x="1203" y="1882"/>
                    <a:pt x="1203" y="1691"/>
                  </a:cubicBezTo>
                  <a:lnTo>
                    <a:pt x="1203" y="167"/>
                  </a:lnTo>
                  <a:cubicBezTo>
                    <a:pt x="1203" y="84"/>
                    <a:pt x="1132" y="1"/>
                    <a:pt x="1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1" name="Google Shape;12361;p62"/>
            <p:cNvSpPr/>
            <p:nvPr/>
          </p:nvSpPr>
          <p:spPr>
            <a:xfrm>
              <a:off x="2408801" y="2546964"/>
              <a:ext cx="43573" cy="93539"/>
            </a:xfrm>
            <a:custGeom>
              <a:avLst/>
              <a:gdLst/>
              <a:ahLst/>
              <a:cxnLst/>
              <a:rect l="l" t="t" r="r" b="b"/>
              <a:pathLst>
                <a:path w="1370" h="2941" extrusionOk="0">
                  <a:moveTo>
                    <a:pt x="608" y="0"/>
                  </a:moveTo>
                  <a:cubicBezTo>
                    <a:pt x="274" y="0"/>
                    <a:pt x="0" y="262"/>
                    <a:pt x="0" y="607"/>
                  </a:cubicBezTo>
                  <a:lnTo>
                    <a:pt x="0" y="2786"/>
                  </a:lnTo>
                  <a:cubicBezTo>
                    <a:pt x="0" y="2869"/>
                    <a:pt x="72" y="2941"/>
                    <a:pt x="167" y="2941"/>
                  </a:cubicBezTo>
                  <a:cubicBezTo>
                    <a:pt x="250" y="2941"/>
                    <a:pt x="334" y="2869"/>
                    <a:pt x="334" y="2786"/>
                  </a:cubicBezTo>
                  <a:lnTo>
                    <a:pt x="334" y="619"/>
                  </a:lnTo>
                  <a:cubicBezTo>
                    <a:pt x="334" y="476"/>
                    <a:pt x="453" y="345"/>
                    <a:pt x="608" y="345"/>
                  </a:cubicBezTo>
                  <a:lnTo>
                    <a:pt x="762" y="345"/>
                  </a:lnTo>
                  <a:cubicBezTo>
                    <a:pt x="905" y="345"/>
                    <a:pt x="1048" y="464"/>
                    <a:pt x="1048" y="619"/>
                  </a:cubicBezTo>
                  <a:lnTo>
                    <a:pt x="1048" y="1179"/>
                  </a:lnTo>
                  <a:cubicBezTo>
                    <a:pt x="1048" y="1262"/>
                    <a:pt x="1120" y="1334"/>
                    <a:pt x="1203" y="1334"/>
                  </a:cubicBezTo>
                  <a:cubicBezTo>
                    <a:pt x="1298" y="1334"/>
                    <a:pt x="1370" y="1262"/>
                    <a:pt x="1370" y="1179"/>
                  </a:cubicBezTo>
                  <a:lnTo>
                    <a:pt x="1370" y="619"/>
                  </a:lnTo>
                  <a:cubicBezTo>
                    <a:pt x="1370" y="286"/>
                    <a:pt x="1108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62" name="Google Shape;12362;p62"/>
          <p:cNvGrpSpPr/>
          <p:nvPr/>
        </p:nvGrpSpPr>
        <p:grpSpPr>
          <a:xfrm>
            <a:off x="2708723" y="2421239"/>
            <a:ext cx="246552" cy="352558"/>
            <a:chOff x="2708723" y="2421239"/>
            <a:chExt cx="246552" cy="352558"/>
          </a:xfrm>
        </p:grpSpPr>
        <p:sp>
          <p:nvSpPr>
            <p:cNvPr id="12363" name="Google Shape;12363;p62"/>
            <p:cNvSpPr/>
            <p:nvPr/>
          </p:nvSpPr>
          <p:spPr>
            <a:xfrm>
              <a:off x="2708723" y="2421239"/>
              <a:ext cx="246552" cy="282905"/>
            </a:xfrm>
            <a:custGeom>
              <a:avLst/>
              <a:gdLst/>
              <a:ahLst/>
              <a:cxnLst/>
              <a:rect l="l" t="t" r="r" b="b"/>
              <a:pathLst>
                <a:path w="7752" h="8895" extrusionOk="0">
                  <a:moveTo>
                    <a:pt x="6973" y="1134"/>
                  </a:moveTo>
                  <a:cubicBezTo>
                    <a:pt x="7031" y="1134"/>
                    <a:pt x="7090" y="1161"/>
                    <a:pt x="7132" y="1215"/>
                  </a:cubicBezTo>
                  <a:lnTo>
                    <a:pt x="7406" y="1560"/>
                  </a:lnTo>
                  <a:cubicBezTo>
                    <a:pt x="7370" y="1643"/>
                    <a:pt x="7370" y="1655"/>
                    <a:pt x="7370" y="1691"/>
                  </a:cubicBezTo>
                  <a:cubicBezTo>
                    <a:pt x="7358" y="2179"/>
                    <a:pt x="6953" y="2572"/>
                    <a:pt x="6453" y="2572"/>
                  </a:cubicBezTo>
                  <a:lnTo>
                    <a:pt x="1953" y="2572"/>
                  </a:lnTo>
                  <a:cubicBezTo>
                    <a:pt x="1488" y="2572"/>
                    <a:pt x="1119" y="2239"/>
                    <a:pt x="1048" y="1798"/>
                  </a:cubicBezTo>
                  <a:lnTo>
                    <a:pt x="1512" y="1215"/>
                  </a:lnTo>
                  <a:cubicBezTo>
                    <a:pt x="1548" y="1161"/>
                    <a:pt x="1602" y="1134"/>
                    <a:pt x="1658" y="1134"/>
                  </a:cubicBezTo>
                  <a:cubicBezTo>
                    <a:pt x="1715" y="1134"/>
                    <a:pt x="1774" y="1161"/>
                    <a:pt x="1822" y="1215"/>
                  </a:cubicBezTo>
                  <a:lnTo>
                    <a:pt x="2191" y="1679"/>
                  </a:lnTo>
                  <a:cubicBezTo>
                    <a:pt x="2280" y="1786"/>
                    <a:pt x="2414" y="1840"/>
                    <a:pt x="2548" y="1840"/>
                  </a:cubicBezTo>
                  <a:cubicBezTo>
                    <a:pt x="2682" y="1840"/>
                    <a:pt x="2816" y="1786"/>
                    <a:pt x="2905" y="1679"/>
                  </a:cubicBezTo>
                  <a:lnTo>
                    <a:pt x="3274" y="1215"/>
                  </a:lnTo>
                  <a:cubicBezTo>
                    <a:pt x="3316" y="1161"/>
                    <a:pt x="3373" y="1134"/>
                    <a:pt x="3431" y="1134"/>
                  </a:cubicBezTo>
                  <a:cubicBezTo>
                    <a:pt x="3489" y="1134"/>
                    <a:pt x="3548" y="1161"/>
                    <a:pt x="3596" y="1215"/>
                  </a:cubicBezTo>
                  <a:lnTo>
                    <a:pt x="3965" y="1679"/>
                  </a:lnTo>
                  <a:cubicBezTo>
                    <a:pt x="4054" y="1786"/>
                    <a:pt x="4188" y="1840"/>
                    <a:pt x="4322" y="1840"/>
                  </a:cubicBezTo>
                  <a:cubicBezTo>
                    <a:pt x="4456" y="1840"/>
                    <a:pt x="4590" y="1786"/>
                    <a:pt x="4679" y="1679"/>
                  </a:cubicBezTo>
                  <a:lnTo>
                    <a:pt x="5048" y="1215"/>
                  </a:lnTo>
                  <a:cubicBezTo>
                    <a:pt x="5084" y="1161"/>
                    <a:pt x="5141" y="1134"/>
                    <a:pt x="5199" y="1134"/>
                  </a:cubicBezTo>
                  <a:cubicBezTo>
                    <a:pt x="5257" y="1134"/>
                    <a:pt x="5316" y="1161"/>
                    <a:pt x="5358" y="1215"/>
                  </a:cubicBezTo>
                  <a:lnTo>
                    <a:pt x="5739" y="1679"/>
                  </a:lnTo>
                  <a:cubicBezTo>
                    <a:pt x="5828" y="1786"/>
                    <a:pt x="5956" y="1840"/>
                    <a:pt x="6087" y="1840"/>
                  </a:cubicBezTo>
                  <a:cubicBezTo>
                    <a:pt x="6218" y="1840"/>
                    <a:pt x="6352" y="1786"/>
                    <a:pt x="6453" y="1679"/>
                  </a:cubicBezTo>
                  <a:lnTo>
                    <a:pt x="6822" y="1215"/>
                  </a:lnTo>
                  <a:cubicBezTo>
                    <a:pt x="6858" y="1161"/>
                    <a:pt x="6915" y="1134"/>
                    <a:pt x="6973" y="1134"/>
                  </a:cubicBezTo>
                  <a:close/>
                  <a:moveTo>
                    <a:pt x="1905" y="0"/>
                  </a:moveTo>
                  <a:cubicBezTo>
                    <a:pt x="1227" y="0"/>
                    <a:pt x="655" y="572"/>
                    <a:pt x="655" y="1250"/>
                  </a:cubicBezTo>
                  <a:lnTo>
                    <a:pt x="655" y="1334"/>
                  </a:lnTo>
                  <a:cubicBezTo>
                    <a:pt x="286" y="1369"/>
                    <a:pt x="0" y="1691"/>
                    <a:pt x="0" y="2060"/>
                  </a:cubicBezTo>
                  <a:lnTo>
                    <a:pt x="0" y="3262"/>
                  </a:lnTo>
                  <a:cubicBezTo>
                    <a:pt x="0" y="3560"/>
                    <a:pt x="179" y="3846"/>
                    <a:pt x="465" y="3953"/>
                  </a:cubicBezTo>
                  <a:lnTo>
                    <a:pt x="476" y="3953"/>
                  </a:lnTo>
                  <a:lnTo>
                    <a:pt x="3608" y="4858"/>
                  </a:lnTo>
                  <a:cubicBezTo>
                    <a:pt x="3834" y="4953"/>
                    <a:pt x="3965" y="5156"/>
                    <a:pt x="3965" y="5394"/>
                  </a:cubicBezTo>
                  <a:lnTo>
                    <a:pt x="3965" y="6001"/>
                  </a:lnTo>
                  <a:lnTo>
                    <a:pt x="3774" y="6001"/>
                  </a:lnTo>
                  <a:cubicBezTo>
                    <a:pt x="3477" y="6001"/>
                    <a:pt x="3215" y="6239"/>
                    <a:pt x="3215" y="6561"/>
                  </a:cubicBezTo>
                  <a:lnTo>
                    <a:pt x="3215" y="6811"/>
                  </a:lnTo>
                  <a:cubicBezTo>
                    <a:pt x="3215" y="6894"/>
                    <a:pt x="3298" y="6977"/>
                    <a:pt x="3382" y="6977"/>
                  </a:cubicBezTo>
                  <a:cubicBezTo>
                    <a:pt x="3477" y="6977"/>
                    <a:pt x="3548" y="6894"/>
                    <a:pt x="3548" y="6811"/>
                  </a:cubicBezTo>
                  <a:lnTo>
                    <a:pt x="3548" y="6561"/>
                  </a:lnTo>
                  <a:cubicBezTo>
                    <a:pt x="3548" y="6441"/>
                    <a:pt x="3655" y="6334"/>
                    <a:pt x="3774" y="6334"/>
                  </a:cubicBezTo>
                  <a:lnTo>
                    <a:pt x="4513" y="6334"/>
                  </a:lnTo>
                  <a:cubicBezTo>
                    <a:pt x="4632" y="6334"/>
                    <a:pt x="4739" y="6441"/>
                    <a:pt x="4739" y="6561"/>
                  </a:cubicBezTo>
                  <a:lnTo>
                    <a:pt x="4739" y="8727"/>
                  </a:lnTo>
                  <a:cubicBezTo>
                    <a:pt x="4739" y="8823"/>
                    <a:pt x="4810" y="8894"/>
                    <a:pt x="4906" y="8894"/>
                  </a:cubicBezTo>
                  <a:cubicBezTo>
                    <a:pt x="4989" y="8894"/>
                    <a:pt x="5072" y="8823"/>
                    <a:pt x="5072" y="8727"/>
                  </a:cubicBezTo>
                  <a:lnTo>
                    <a:pt x="5072" y="6561"/>
                  </a:lnTo>
                  <a:cubicBezTo>
                    <a:pt x="5072" y="6263"/>
                    <a:pt x="4822" y="6001"/>
                    <a:pt x="4513" y="6001"/>
                  </a:cubicBezTo>
                  <a:lnTo>
                    <a:pt x="4286" y="6001"/>
                  </a:lnTo>
                  <a:lnTo>
                    <a:pt x="4286" y="5394"/>
                  </a:lnTo>
                  <a:cubicBezTo>
                    <a:pt x="4286" y="4977"/>
                    <a:pt x="3989" y="4632"/>
                    <a:pt x="3691" y="4548"/>
                  </a:cubicBezTo>
                  <a:lnTo>
                    <a:pt x="572" y="3643"/>
                  </a:lnTo>
                  <a:cubicBezTo>
                    <a:pt x="417" y="3584"/>
                    <a:pt x="322" y="3429"/>
                    <a:pt x="322" y="3262"/>
                  </a:cubicBezTo>
                  <a:lnTo>
                    <a:pt x="322" y="2060"/>
                  </a:lnTo>
                  <a:cubicBezTo>
                    <a:pt x="322" y="1869"/>
                    <a:pt x="465" y="1691"/>
                    <a:pt x="643" y="1655"/>
                  </a:cubicBezTo>
                  <a:cubicBezTo>
                    <a:pt x="643" y="1774"/>
                    <a:pt x="679" y="1881"/>
                    <a:pt x="703" y="1989"/>
                  </a:cubicBezTo>
                  <a:cubicBezTo>
                    <a:pt x="869" y="2489"/>
                    <a:pt x="1334" y="2858"/>
                    <a:pt x="1893" y="2858"/>
                  </a:cubicBezTo>
                  <a:lnTo>
                    <a:pt x="6394" y="2858"/>
                  </a:lnTo>
                  <a:cubicBezTo>
                    <a:pt x="7061" y="2858"/>
                    <a:pt x="7608" y="2322"/>
                    <a:pt x="7644" y="1655"/>
                  </a:cubicBezTo>
                  <a:cubicBezTo>
                    <a:pt x="7704" y="1274"/>
                    <a:pt x="7751" y="941"/>
                    <a:pt x="7465" y="560"/>
                  </a:cubicBezTo>
                  <a:cubicBezTo>
                    <a:pt x="7427" y="514"/>
                    <a:pt x="7374" y="487"/>
                    <a:pt x="7321" y="487"/>
                  </a:cubicBezTo>
                  <a:cubicBezTo>
                    <a:pt x="7293" y="487"/>
                    <a:pt x="7264" y="495"/>
                    <a:pt x="7239" y="512"/>
                  </a:cubicBezTo>
                  <a:cubicBezTo>
                    <a:pt x="7168" y="572"/>
                    <a:pt x="7156" y="667"/>
                    <a:pt x="7192" y="738"/>
                  </a:cubicBezTo>
                  <a:cubicBezTo>
                    <a:pt x="7239" y="798"/>
                    <a:pt x="7287" y="869"/>
                    <a:pt x="7311" y="941"/>
                  </a:cubicBezTo>
                  <a:cubicBezTo>
                    <a:pt x="7212" y="842"/>
                    <a:pt x="7083" y="794"/>
                    <a:pt x="6953" y="794"/>
                  </a:cubicBezTo>
                  <a:cubicBezTo>
                    <a:pt x="6800" y="794"/>
                    <a:pt x="6646" y="860"/>
                    <a:pt x="6537" y="988"/>
                  </a:cubicBezTo>
                  <a:cubicBezTo>
                    <a:pt x="6156" y="1453"/>
                    <a:pt x="6168" y="1488"/>
                    <a:pt x="6060" y="1488"/>
                  </a:cubicBezTo>
                  <a:cubicBezTo>
                    <a:pt x="6037" y="1488"/>
                    <a:pt x="6001" y="1488"/>
                    <a:pt x="5953" y="1453"/>
                  </a:cubicBezTo>
                  <a:lnTo>
                    <a:pt x="5584" y="988"/>
                  </a:lnTo>
                  <a:cubicBezTo>
                    <a:pt x="5483" y="851"/>
                    <a:pt x="5331" y="783"/>
                    <a:pt x="5178" y="783"/>
                  </a:cubicBezTo>
                  <a:cubicBezTo>
                    <a:pt x="5025" y="783"/>
                    <a:pt x="4870" y="851"/>
                    <a:pt x="4763" y="988"/>
                  </a:cubicBezTo>
                  <a:lnTo>
                    <a:pt x="4394" y="1453"/>
                  </a:lnTo>
                  <a:cubicBezTo>
                    <a:pt x="4364" y="1483"/>
                    <a:pt x="4328" y="1497"/>
                    <a:pt x="4292" y="1497"/>
                  </a:cubicBezTo>
                  <a:cubicBezTo>
                    <a:pt x="4257" y="1497"/>
                    <a:pt x="4221" y="1483"/>
                    <a:pt x="4191" y="1453"/>
                  </a:cubicBezTo>
                  <a:lnTo>
                    <a:pt x="3810" y="988"/>
                  </a:lnTo>
                  <a:cubicBezTo>
                    <a:pt x="3709" y="851"/>
                    <a:pt x="3557" y="783"/>
                    <a:pt x="3405" y="783"/>
                  </a:cubicBezTo>
                  <a:cubicBezTo>
                    <a:pt x="3254" y="783"/>
                    <a:pt x="3102" y="851"/>
                    <a:pt x="3001" y="988"/>
                  </a:cubicBezTo>
                  <a:lnTo>
                    <a:pt x="2620" y="1453"/>
                  </a:lnTo>
                  <a:cubicBezTo>
                    <a:pt x="2590" y="1483"/>
                    <a:pt x="2554" y="1497"/>
                    <a:pt x="2518" y="1497"/>
                  </a:cubicBezTo>
                  <a:cubicBezTo>
                    <a:pt x="2483" y="1497"/>
                    <a:pt x="2447" y="1483"/>
                    <a:pt x="2417" y="1453"/>
                  </a:cubicBezTo>
                  <a:lnTo>
                    <a:pt x="2048" y="988"/>
                  </a:lnTo>
                  <a:cubicBezTo>
                    <a:pt x="1941" y="851"/>
                    <a:pt x="1786" y="783"/>
                    <a:pt x="1633" y="783"/>
                  </a:cubicBezTo>
                  <a:cubicBezTo>
                    <a:pt x="1480" y="783"/>
                    <a:pt x="1328" y="851"/>
                    <a:pt x="1227" y="988"/>
                  </a:cubicBezTo>
                  <a:lnTo>
                    <a:pt x="1000" y="1250"/>
                  </a:lnTo>
                  <a:cubicBezTo>
                    <a:pt x="1000" y="750"/>
                    <a:pt x="1417" y="334"/>
                    <a:pt x="1929" y="334"/>
                  </a:cubicBezTo>
                  <a:cubicBezTo>
                    <a:pt x="2408" y="335"/>
                    <a:pt x="2836" y="335"/>
                    <a:pt x="3219" y="335"/>
                  </a:cubicBezTo>
                  <a:cubicBezTo>
                    <a:pt x="4753" y="335"/>
                    <a:pt x="5570" y="328"/>
                    <a:pt x="6025" y="328"/>
                  </a:cubicBezTo>
                  <a:cubicBezTo>
                    <a:pt x="6593" y="328"/>
                    <a:pt x="6596" y="340"/>
                    <a:pt x="6727" y="393"/>
                  </a:cubicBezTo>
                  <a:cubicBezTo>
                    <a:pt x="6746" y="398"/>
                    <a:pt x="6765" y="400"/>
                    <a:pt x="6783" y="400"/>
                  </a:cubicBezTo>
                  <a:cubicBezTo>
                    <a:pt x="6854" y="400"/>
                    <a:pt x="6913" y="362"/>
                    <a:pt x="6942" y="286"/>
                  </a:cubicBezTo>
                  <a:cubicBezTo>
                    <a:pt x="6965" y="203"/>
                    <a:pt x="6930" y="107"/>
                    <a:pt x="6834" y="84"/>
                  </a:cubicBezTo>
                  <a:cubicBezTo>
                    <a:pt x="6656" y="18"/>
                    <a:pt x="6605" y="6"/>
                    <a:pt x="6008" y="6"/>
                  </a:cubicBezTo>
                  <a:cubicBezTo>
                    <a:pt x="5667" y="6"/>
                    <a:pt x="5148" y="10"/>
                    <a:pt x="4324" y="10"/>
                  </a:cubicBezTo>
                  <a:cubicBezTo>
                    <a:pt x="3707" y="10"/>
                    <a:pt x="2918" y="8"/>
                    <a:pt x="1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4" name="Google Shape;12364;p62"/>
            <p:cNvSpPr/>
            <p:nvPr/>
          </p:nvSpPr>
          <p:spPr>
            <a:xfrm>
              <a:off x="2813234" y="2654497"/>
              <a:ext cx="58712" cy="119301"/>
            </a:xfrm>
            <a:custGeom>
              <a:avLst/>
              <a:gdLst/>
              <a:ahLst/>
              <a:cxnLst/>
              <a:rect l="l" t="t" r="r" b="b"/>
              <a:pathLst>
                <a:path w="1846" h="375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191"/>
                  </a:lnTo>
                  <a:cubicBezTo>
                    <a:pt x="0" y="3489"/>
                    <a:pt x="238" y="3751"/>
                    <a:pt x="548" y="3751"/>
                  </a:cubicBezTo>
                  <a:lnTo>
                    <a:pt x="1286" y="3751"/>
                  </a:lnTo>
                  <a:cubicBezTo>
                    <a:pt x="1584" y="3751"/>
                    <a:pt x="1846" y="3513"/>
                    <a:pt x="1846" y="3191"/>
                  </a:cubicBezTo>
                  <a:lnTo>
                    <a:pt x="1846" y="2096"/>
                  </a:lnTo>
                  <a:cubicBezTo>
                    <a:pt x="1834" y="2001"/>
                    <a:pt x="1762" y="1929"/>
                    <a:pt x="1679" y="1929"/>
                  </a:cubicBezTo>
                  <a:cubicBezTo>
                    <a:pt x="1584" y="1929"/>
                    <a:pt x="1512" y="2001"/>
                    <a:pt x="1512" y="2096"/>
                  </a:cubicBezTo>
                  <a:lnTo>
                    <a:pt x="1512" y="3191"/>
                  </a:lnTo>
                  <a:cubicBezTo>
                    <a:pt x="1512" y="3310"/>
                    <a:pt x="1405" y="3417"/>
                    <a:pt x="1286" y="3417"/>
                  </a:cubicBezTo>
                  <a:lnTo>
                    <a:pt x="548" y="3417"/>
                  </a:lnTo>
                  <a:cubicBezTo>
                    <a:pt x="429" y="3417"/>
                    <a:pt x="322" y="3310"/>
                    <a:pt x="322" y="3191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65" name="Google Shape;12365;p62"/>
          <p:cNvGrpSpPr/>
          <p:nvPr/>
        </p:nvGrpSpPr>
        <p:grpSpPr>
          <a:xfrm>
            <a:off x="1835485" y="2422352"/>
            <a:ext cx="259433" cy="350714"/>
            <a:chOff x="1835485" y="2422352"/>
            <a:chExt cx="259433" cy="350714"/>
          </a:xfrm>
        </p:grpSpPr>
        <p:sp>
          <p:nvSpPr>
            <p:cNvPr id="12366" name="Google Shape;12366;p62"/>
            <p:cNvSpPr/>
            <p:nvPr/>
          </p:nvSpPr>
          <p:spPr>
            <a:xfrm>
              <a:off x="2027460" y="2437141"/>
              <a:ext cx="36767" cy="33713"/>
            </a:xfrm>
            <a:custGeom>
              <a:avLst/>
              <a:gdLst/>
              <a:ahLst/>
              <a:cxnLst/>
              <a:rect l="l" t="t" r="r" b="b"/>
              <a:pathLst>
                <a:path w="1156" h="1060" extrusionOk="0">
                  <a:moveTo>
                    <a:pt x="834" y="322"/>
                  </a:moveTo>
                  <a:lnTo>
                    <a:pt x="834" y="715"/>
                  </a:lnTo>
                  <a:lnTo>
                    <a:pt x="334" y="715"/>
                  </a:lnTo>
                  <a:lnTo>
                    <a:pt x="334" y="322"/>
                  </a:lnTo>
                  <a:close/>
                  <a:moveTo>
                    <a:pt x="263" y="0"/>
                  </a:moveTo>
                  <a:cubicBezTo>
                    <a:pt x="120" y="0"/>
                    <a:pt x="1" y="119"/>
                    <a:pt x="1" y="262"/>
                  </a:cubicBezTo>
                  <a:lnTo>
                    <a:pt x="1" y="786"/>
                  </a:lnTo>
                  <a:cubicBezTo>
                    <a:pt x="1" y="941"/>
                    <a:pt x="120" y="1060"/>
                    <a:pt x="263" y="1060"/>
                  </a:cubicBezTo>
                  <a:lnTo>
                    <a:pt x="894" y="1060"/>
                  </a:lnTo>
                  <a:cubicBezTo>
                    <a:pt x="1037" y="1060"/>
                    <a:pt x="1156" y="941"/>
                    <a:pt x="1156" y="786"/>
                  </a:cubicBezTo>
                  <a:lnTo>
                    <a:pt x="1156" y="262"/>
                  </a:lnTo>
                  <a:cubicBezTo>
                    <a:pt x="1156" y="119"/>
                    <a:pt x="1037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7" name="Google Shape;12367;p62"/>
            <p:cNvSpPr/>
            <p:nvPr/>
          </p:nvSpPr>
          <p:spPr>
            <a:xfrm>
              <a:off x="1870693" y="2531125"/>
              <a:ext cx="33968" cy="32059"/>
            </a:xfrm>
            <a:custGeom>
              <a:avLst/>
              <a:gdLst/>
              <a:ahLst/>
              <a:cxnLst/>
              <a:rect l="l" t="t" r="r" b="b"/>
              <a:pathLst>
                <a:path w="1068" h="1008" extrusionOk="0">
                  <a:moveTo>
                    <a:pt x="453" y="1"/>
                  </a:moveTo>
                  <a:cubicBezTo>
                    <a:pt x="269" y="1"/>
                    <a:pt x="120" y="99"/>
                    <a:pt x="179" y="248"/>
                  </a:cubicBezTo>
                  <a:cubicBezTo>
                    <a:pt x="197" y="310"/>
                    <a:pt x="260" y="345"/>
                    <a:pt x="320" y="345"/>
                  </a:cubicBezTo>
                  <a:cubicBezTo>
                    <a:pt x="342" y="345"/>
                    <a:pt x="363" y="341"/>
                    <a:pt x="382" y="331"/>
                  </a:cubicBezTo>
                  <a:cubicBezTo>
                    <a:pt x="403" y="323"/>
                    <a:pt x="425" y="319"/>
                    <a:pt x="445" y="319"/>
                  </a:cubicBezTo>
                  <a:cubicBezTo>
                    <a:pt x="540" y="319"/>
                    <a:pt x="620" y="400"/>
                    <a:pt x="620" y="498"/>
                  </a:cubicBezTo>
                  <a:cubicBezTo>
                    <a:pt x="620" y="608"/>
                    <a:pt x="532" y="676"/>
                    <a:pt x="442" y="676"/>
                  </a:cubicBezTo>
                  <a:cubicBezTo>
                    <a:pt x="395" y="676"/>
                    <a:pt x="347" y="658"/>
                    <a:pt x="310" y="617"/>
                  </a:cubicBezTo>
                  <a:cubicBezTo>
                    <a:pt x="279" y="580"/>
                    <a:pt x="235" y="562"/>
                    <a:pt x="190" y="562"/>
                  </a:cubicBezTo>
                  <a:cubicBezTo>
                    <a:pt x="148" y="562"/>
                    <a:pt x="106" y="577"/>
                    <a:pt x="72" y="605"/>
                  </a:cubicBezTo>
                  <a:cubicBezTo>
                    <a:pt x="1" y="665"/>
                    <a:pt x="1" y="760"/>
                    <a:pt x="60" y="843"/>
                  </a:cubicBezTo>
                  <a:cubicBezTo>
                    <a:pt x="171" y="958"/>
                    <a:pt x="308" y="1008"/>
                    <a:pt x="441" y="1008"/>
                  </a:cubicBezTo>
                  <a:cubicBezTo>
                    <a:pt x="764" y="1008"/>
                    <a:pt x="1068" y="714"/>
                    <a:pt x="941" y="343"/>
                  </a:cubicBezTo>
                  <a:cubicBezTo>
                    <a:pt x="858" y="99"/>
                    <a:pt x="638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8" name="Google Shape;12368;p62"/>
            <p:cNvSpPr/>
            <p:nvPr/>
          </p:nvSpPr>
          <p:spPr>
            <a:xfrm>
              <a:off x="2028223" y="2531030"/>
              <a:ext cx="32218" cy="31042"/>
            </a:xfrm>
            <a:custGeom>
              <a:avLst/>
              <a:gdLst/>
              <a:ahLst/>
              <a:cxnLst/>
              <a:rect l="l" t="t" r="r" b="b"/>
              <a:pathLst>
                <a:path w="1013" h="976" extrusionOk="0">
                  <a:moveTo>
                    <a:pt x="511" y="1"/>
                  </a:moveTo>
                  <a:cubicBezTo>
                    <a:pt x="245" y="1"/>
                    <a:pt x="1" y="210"/>
                    <a:pt x="1" y="501"/>
                  </a:cubicBezTo>
                  <a:cubicBezTo>
                    <a:pt x="1" y="770"/>
                    <a:pt x="222" y="975"/>
                    <a:pt x="383" y="975"/>
                  </a:cubicBezTo>
                  <a:cubicBezTo>
                    <a:pt x="443" y="975"/>
                    <a:pt x="495" y="947"/>
                    <a:pt x="525" y="882"/>
                  </a:cubicBezTo>
                  <a:cubicBezTo>
                    <a:pt x="548" y="799"/>
                    <a:pt x="525" y="703"/>
                    <a:pt x="429" y="668"/>
                  </a:cubicBezTo>
                  <a:cubicBezTo>
                    <a:pt x="334" y="620"/>
                    <a:pt x="298" y="513"/>
                    <a:pt x="346" y="430"/>
                  </a:cubicBezTo>
                  <a:cubicBezTo>
                    <a:pt x="379" y="358"/>
                    <a:pt x="441" y="327"/>
                    <a:pt x="503" y="327"/>
                  </a:cubicBezTo>
                  <a:cubicBezTo>
                    <a:pt x="597" y="327"/>
                    <a:pt x="691" y="398"/>
                    <a:pt x="691" y="513"/>
                  </a:cubicBezTo>
                  <a:cubicBezTo>
                    <a:pt x="679" y="627"/>
                    <a:pt x="762" y="690"/>
                    <a:pt x="846" y="690"/>
                  </a:cubicBezTo>
                  <a:cubicBezTo>
                    <a:pt x="928" y="690"/>
                    <a:pt x="1013" y="630"/>
                    <a:pt x="1013" y="501"/>
                  </a:cubicBezTo>
                  <a:cubicBezTo>
                    <a:pt x="1013" y="311"/>
                    <a:pt x="894" y="144"/>
                    <a:pt x="727" y="49"/>
                  </a:cubicBezTo>
                  <a:cubicBezTo>
                    <a:pt x="656" y="16"/>
                    <a:pt x="583" y="1"/>
                    <a:pt x="5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9" name="Google Shape;12369;p62"/>
            <p:cNvSpPr/>
            <p:nvPr/>
          </p:nvSpPr>
          <p:spPr>
            <a:xfrm>
              <a:off x="1952495" y="2480714"/>
              <a:ext cx="35208" cy="29165"/>
            </a:xfrm>
            <a:custGeom>
              <a:avLst/>
              <a:gdLst/>
              <a:ahLst/>
              <a:cxnLst/>
              <a:rect l="l" t="t" r="r" b="b"/>
              <a:pathLst>
                <a:path w="1107" h="917" extrusionOk="0">
                  <a:moveTo>
                    <a:pt x="561" y="0"/>
                  </a:moveTo>
                  <a:cubicBezTo>
                    <a:pt x="450" y="0"/>
                    <a:pt x="336" y="40"/>
                    <a:pt x="239" y="130"/>
                  </a:cubicBezTo>
                  <a:cubicBezTo>
                    <a:pt x="0" y="357"/>
                    <a:pt x="48" y="738"/>
                    <a:pt x="334" y="904"/>
                  </a:cubicBezTo>
                  <a:cubicBezTo>
                    <a:pt x="358" y="916"/>
                    <a:pt x="393" y="916"/>
                    <a:pt x="405" y="916"/>
                  </a:cubicBezTo>
                  <a:cubicBezTo>
                    <a:pt x="572" y="916"/>
                    <a:pt x="631" y="702"/>
                    <a:pt x="477" y="607"/>
                  </a:cubicBezTo>
                  <a:cubicBezTo>
                    <a:pt x="346" y="535"/>
                    <a:pt x="405" y="309"/>
                    <a:pt x="548" y="309"/>
                  </a:cubicBezTo>
                  <a:cubicBezTo>
                    <a:pt x="655" y="309"/>
                    <a:pt x="727" y="404"/>
                    <a:pt x="703" y="500"/>
                  </a:cubicBezTo>
                  <a:cubicBezTo>
                    <a:pt x="691" y="595"/>
                    <a:pt x="727" y="678"/>
                    <a:pt x="822" y="702"/>
                  </a:cubicBezTo>
                  <a:cubicBezTo>
                    <a:pt x="830" y="703"/>
                    <a:pt x="839" y="704"/>
                    <a:pt x="848" y="704"/>
                  </a:cubicBezTo>
                  <a:cubicBezTo>
                    <a:pt x="924" y="704"/>
                    <a:pt x="1002" y="658"/>
                    <a:pt x="1012" y="583"/>
                  </a:cubicBezTo>
                  <a:cubicBezTo>
                    <a:pt x="1107" y="258"/>
                    <a:pt x="844" y="0"/>
                    <a:pt x="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0" name="Google Shape;12370;p62"/>
            <p:cNvSpPr/>
            <p:nvPr/>
          </p:nvSpPr>
          <p:spPr>
            <a:xfrm>
              <a:off x="1835485" y="2422352"/>
              <a:ext cx="259433" cy="350714"/>
            </a:xfrm>
            <a:custGeom>
              <a:avLst/>
              <a:gdLst/>
              <a:ahLst/>
              <a:cxnLst/>
              <a:rect l="l" t="t" r="r" b="b"/>
              <a:pathLst>
                <a:path w="8157" h="11027" extrusionOk="0">
                  <a:moveTo>
                    <a:pt x="7180" y="334"/>
                  </a:moveTo>
                  <a:cubicBezTo>
                    <a:pt x="7358" y="334"/>
                    <a:pt x="7501" y="477"/>
                    <a:pt x="7501" y="656"/>
                  </a:cubicBezTo>
                  <a:lnTo>
                    <a:pt x="7501" y="1620"/>
                  </a:lnTo>
                  <a:lnTo>
                    <a:pt x="5692" y="1620"/>
                  </a:lnTo>
                  <a:cubicBezTo>
                    <a:pt x="5382" y="1013"/>
                    <a:pt x="4751" y="632"/>
                    <a:pt x="4048" y="632"/>
                  </a:cubicBezTo>
                  <a:cubicBezTo>
                    <a:pt x="3334" y="632"/>
                    <a:pt x="2727" y="1025"/>
                    <a:pt x="2417" y="1620"/>
                  </a:cubicBezTo>
                  <a:lnTo>
                    <a:pt x="703" y="1620"/>
                  </a:lnTo>
                  <a:lnTo>
                    <a:pt x="703" y="656"/>
                  </a:lnTo>
                  <a:cubicBezTo>
                    <a:pt x="703" y="477"/>
                    <a:pt x="858" y="334"/>
                    <a:pt x="1036" y="334"/>
                  </a:cubicBezTo>
                  <a:close/>
                  <a:moveTo>
                    <a:pt x="2286" y="1965"/>
                  </a:moveTo>
                  <a:cubicBezTo>
                    <a:pt x="2191" y="2275"/>
                    <a:pt x="2179" y="2620"/>
                    <a:pt x="2263" y="2930"/>
                  </a:cubicBezTo>
                  <a:lnTo>
                    <a:pt x="703" y="2930"/>
                  </a:lnTo>
                  <a:lnTo>
                    <a:pt x="703" y="1965"/>
                  </a:lnTo>
                  <a:close/>
                  <a:moveTo>
                    <a:pt x="4072" y="965"/>
                  </a:moveTo>
                  <a:cubicBezTo>
                    <a:pt x="4584" y="965"/>
                    <a:pt x="5049" y="1227"/>
                    <a:pt x="5334" y="1644"/>
                  </a:cubicBezTo>
                  <a:cubicBezTo>
                    <a:pt x="5406" y="1739"/>
                    <a:pt x="5453" y="1858"/>
                    <a:pt x="5453" y="1858"/>
                  </a:cubicBezTo>
                  <a:cubicBezTo>
                    <a:pt x="5465" y="1894"/>
                    <a:pt x="5477" y="1942"/>
                    <a:pt x="5501" y="1954"/>
                  </a:cubicBezTo>
                  <a:cubicBezTo>
                    <a:pt x="5537" y="1995"/>
                    <a:pt x="5584" y="2013"/>
                    <a:pt x="5631" y="2013"/>
                  </a:cubicBezTo>
                  <a:cubicBezTo>
                    <a:pt x="5677" y="2013"/>
                    <a:pt x="5721" y="1995"/>
                    <a:pt x="5751" y="1965"/>
                  </a:cubicBezTo>
                  <a:lnTo>
                    <a:pt x="7525" y="1965"/>
                  </a:lnTo>
                  <a:lnTo>
                    <a:pt x="7525" y="2930"/>
                  </a:lnTo>
                  <a:lnTo>
                    <a:pt x="5870" y="2930"/>
                  </a:lnTo>
                  <a:cubicBezTo>
                    <a:pt x="5894" y="2787"/>
                    <a:pt x="5930" y="2632"/>
                    <a:pt x="5930" y="2489"/>
                  </a:cubicBezTo>
                  <a:cubicBezTo>
                    <a:pt x="5918" y="2394"/>
                    <a:pt x="5834" y="2323"/>
                    <a:pt x="5751" y="2323"/>
                  </a:cubicBezTo>
                  <a:cubicBezTo>
                    <a:pt x="5656" y="2323"/>
                    <a:pt x="5584" y="2394"/>
                    <a:pt x="5584" y="2489"/>
                  </a:cubicBezTo>
                  <a:cubicBezTo>
                    <a:pt x="5584" y="3323"/>
                    <a:pt x="4894" y="4001"/>
                    <a:pt x="4072" y="4001"/>
                  </a:cubicBezTo>
                  <a:cubicBezTo>
                    <a:pt x="2858" y="4001"/>
                    <a:pt x="2132" y="2656"/>
                    <a:pt x="2822" y="1644"/>
                  </a:cubicBezTo>
                  <a:cubicBezTo>
                    <a:pt x="3084" y="1239"/>
                    <a:pt x="3548" y="965"/>
                    <a:pt x="4072" y="965"/>
                  </a:cubicBezTo>
                  <a:close/>
                  <a:moveTo>
                    <a:pt x="7525" y="3263"/>
                  </a:moveTo>
                  <a:lnTo>
                    <a:pt x="7525" y="4680"/>
                  </a:lnTo>
                  <a:lnTo>
                    <a:pt x="715" y="4680"/>
                  </a:lnTo>
                  <a:lnTo>
                    <a:pt x="715" y="3263"/>
                  </a:lnTo>
                  <a:lnTo>
                    <a:pt x="2382" y="3263"/>
                  </a:lnTo>
                  <a:cubicBezTo>
                    <a:pt x="2679" y="3882"/>
                    <a:pt x="3322" y="4335"/>
                    <a:pt x="4072" y="4335"/>
                  </a:cubicBezTo>
                  <a:cubicBezTo>
                    <a:pt x="4810" y="4335"/>
                    <a:pt x="5453" y="3882"/>
                    <a:pt x="5751" y="3263"/>
                  </a:cubicBezTo>
                  <a:close/>
                  <a:moveTo>
                    <a:pt x="7549" y="4990"/>
                  </a:moveTo>
                  <a:lnTo>
                    <a:pt x="7775" y="6025"/>
                  </a:lnTo>
                  <a:lnTo>
                    <a:pt x="381" y="6025"/>
                  </a:lnTo>
                  <a:lnTo>
                    <a:pt x="679" y="4990"/>
                  </a:lnTo>
                  <a:close/>
                  <a:moveTo>
                    <a:pt x="7823" y="6359"/>
                  </a:moveTo>
                  <a:lnTo>
                    <a:pt x="7823" y="7776"/>
                  </a:lnTo>
                  <a:lnTo>
                    <a:pt x="6489" y="7776"/>
                  </a:lnTo>
                  <a:lnTo>
                    <a:pt x="6489" y="7216"/>
                  </a:lnTo>
                  <a:lnTo>
                    <a:pt x="7168" y="7216"/>
                  </a:lnTo>
                  <a:cubicBezTo>
                    <a:pt x="7251" y="7216"/>
                    <a:pt x="7323" y="7145"/>
                    <a:pt x="7323" y="7061"/>
                  </a:cubicBezTo>
                  <a:cubicBezTo>
                    <a:pt x="7323" y="6966"/>
                    <a:pt x="7251" y="6895"/>
                    <a:pt x="7168" y="6895"/>
                  </a:cubicBezTo>
                  <a:lnTo>
                    <a:pt x="953" y="6895"/>
                  </a:lnTo>
                  <a:cubicBezTo>
                    <a:pt x="870" y="6895"/>
                    <a:pt x="798" y="6966"/>
                    <a:pt x="798" y="7061"/>
                  </a:cubicBezTo>
                  <a:cubicBezTo>
                    <a:pt x="798" y="7145"/>
                    <a:pt x="870" y="7216"/>
                    <a:pt x="953" y="7216"/>
                  </a:cubicBezTo>
                  <a:lnTo>
                    <a:pt x="1632" y="7216"/>
                  </a:lnTo>
                  <a:lnTo>
                    <a:pt x="1632" y="7776"/>
                  </a:lnTo>
                  <a:lnTo>
                    <a:pt x="322" y="7776"/>
                  </a:lnTo>
                  <a:lnTo>
                    <a:pt x="322" y="6359"/>
                  </a:lnTo>
                  <a:close/>
                  <a:moveTo>
                    <a:pt x="6168" y="7216"/>
                  </a:moveTo>
                  <a:lnTo>
                    <a:pt x="6168" y="10716"/>
                  </a:lnTo>
                  <a:lnTo>
                    <a:pt x="1965" y="10716"/>
                  </a:lnTo>
                  <a:lnTo>
                    <a:pt x="1965" y="7216"/>
                  </a:lnTo>
                  <a:close/>
                  <a:moveTo>
                    <a:pt x="1048" y="1"/>
                  </a:moveTo>
                  <a:cubicBezTo>
                    <a:pt x="691" y="1"/>
                    <a:pt x="393" y="299"/>
                    <a:pt x="393" y="656"/>
                  </a:cubicBezTo>
                  <a:lnTo>
                    <a:pt x="393" y="4799"/>
                  </a:lnTo>
                  <a:lnTo>
                    <a:pt x="0" y="6133"/>
                  </a:lnTo>
                  <a:lnTo>
                    <a:pt x="0" y="6145"/>
                  </a:lnTo>
                  <a:lnTo>
                    <a:pt x="0" y="6168"/>
                  </a:lnTo>
                  <a:lnTo>
                    <a:pt x="0" y="6180"/>
                  </a:lnTo>
                  <a:lnTo>
                    <a:pt x="0" y="7919"/>
                  </a:lnTo>
                  <a:cubicBezTo>
                    <a:pt x="0" y="8014"/>
                    <a:pt x="84" y="8085"/>
                    <a:pt x="167" y="8085"/>
                  </a:cubicBezTo>
                  <a:lnTo>
                    <a:pt x="1655" y="8085"/>
                  </a:lnTo>
                  <a:lnTo>
                    <a:pt x="1655" y="10871"/>
                  </a:lnTo>
                  <a:cubicBezTo>
                    <a:pt x="1655" y="10955"/>
                    <a:pt x="1727" y="11026"/>
                    <a:pt x="1822" y="11026"/>
                  </a:cubicBezTo>
                  <a:lnTo>
                    <a:pt x="6346" y="11026"/>
                  </a:lnTo>
                  <a:cubicBezTo>
                    <a:pt x="6430" y="11026"/>
                    <a:pt x="6513" y="10955"/>
                    <a:pt x="6513" y="10871"/>
                  </a:cubicBezTo>
                  <a:lnTo>
                    <a:pt x="6513" y="8085"/>
                  </a:lnTo>
                  <a:lnTo>
                    <a:pt x="8001" y="8085"/>
                  </a:lnTo>
                  <a:cubicBezTo>
                    <a:pt x="8085" y="8085"/>
                    <a:pt x="8156" y="8014"/>
                    <a:pt x="8156" y="7919"/>
                  </a:cubicBezTo>
                  <a:lnTo>
                    <a:pt x="8156" y="6180"/>
                  </a:lnTo>
                  <a:cubicBezTo>
                    <a:pt x="8144" y="6180"/>
                    <a:pt x="8144" y="6180"/>
                    <a:pt x="8132" y="6168"/>
                  </a:cubicBezTo>
                  <a:lnTo>
                    <a:pt x="8132" y="6133"/>
                  </a:lnTo>
                  <a:lnTo>
                    <a:pt x="7847" y="4823"/>
                  </a:lnTo>
                  <a:lnTo>
                    <a:pt x="7847" y="656"/>
                  </a:lnTo>
                  <a:cubicBezTo>
                    <a:pt x="7847" y="299"/>
                    <a:pt x="7549" y="1"/>
                    <a:pt x="71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1" name="Google Shape;12371;p62"/>
            <p:cNvSpPr/>
            <p:nvPr/>
          </p:nvSpPr>
          <p:spPr>
            <a:xfrm>
              <a:off x="1916142" y="2464366"/>
              <a:ext cx="86001" cy="74646"/>
            </a:xfrm>
            <a:custGeom>
              <a:avLst/>
              <a:gdLst/>
              <a:ahLst/>
              <a:cxnLst/>
              <a:rect l="l" t="t" r="r" b="b"/>
              <a:pathLst>
                <a:path w="2704" h="2347" extrusionOk="0">
                  <a:moveTo>
                    <a:pt x="1345" y="0"/>
                  </a:moveTo>
                  <a:cubicBezTo>
                    <a:pt x="1338" y="0"/>
                    <a:pt x="1330" y="1"/>
                    <a:pt x="1322" y="1"/>
                  </a:cubicBezTo>
                  <a:cubicBezTo>
                    <a:pt x="358" y="180"/>
                    <a:pt x="0" y="1418"/>
                    <a:pt x="774" y="2061"/>
                  </a:cubicBezTo>
                  <a:cubicBezTo>
                    <a:pt x="1003" y="2258"/>
                    <a:pt x="1269" y="2346"/>
                    <a:pt x="1528" y="2346"/>
                  </a:cubicBezTo>
                  <a:cubicBezTo>
                    <a:pt x="2132" y="2346"/>
                    <a:pt x="2703" y="1868"/>
                    <a:pt x="2703" y="1168"/>
                  </a:cubicBezTo>
                  <a:cubicBezTo>
                    <a:pt x="2703" y="716"/>
                    <a:pt x="2453" y="323"/>
                    <a:pt x="2072" y="109"/>
                  </a:cubicBezTo>
                  <a:cubicBezTo>
                    <a:pt x="2045" y="95"/>
                    <a:pt x="2017" y="89"/>
                    <a:pt x="1991" y="89"/>
                  </a:cubicBezTo>
                  <a:cubicBezTo>
                    <a:pt x="1882" y="89"/>
                    <a:pt x="1798" y="198"/>
                    <a:pt x="1846" y="323"/>
                  </a:cubicBezTo>
                  <a:cubicBezTo>
                    <a:pt x="1846" y="323"/>
                    <a:pt x="1846" y="335"/>
                    <a:pt x="1858" y="347"/>
                  </a:cubicBezTo>
                  <a:cubicBezTo>
                    <a:pt x="1870" y="382"/>
                    <a:pt x="1905" y="394"/>
                    <a:pt x="1917" y="406"/>
                  </a:cubicBezTo>
                  <a:cubicBezTo>
                    <a:pt x="2405" y="656"/>
                    <a:pt x="2525" y="1299"/>
                    <a:pt x="2191" y="1716"/>
                  </a:cubicBezTo>
                  <a:cubicBezTo>
                    <a:pt x="2017" y="1922"/>
                    <a:pt x="1779" y="2022"/>
                    <a:pt x="1543" y="2022"/>
                  </a:cubicBezTo>
                  <a:cubicBezTo>
                    <a:pt x="1262" y="2022"/>
                    <a:pt x="984" y="1881"/>
                    <a:pt x="822" y="1609"/>
                  </a:cubicBezTo>
                  <a:cubicBezTo>
                    <a:pt x="500" y="1109"/>
                    <a:pt x="798" y="442"/>
                    <a:pt x="1382" y="335"/>
                  </a:cubicBezTo>
                  <a:cubicBezTo>
                    <a:pt x="1599" y="289"/>
                    <a:pt x="1541" y="0"/>
                    <a:pt x="13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2" name="Google Shape;12372;p62"/>
            <p:cNvSpPr/>
            <p:nvPr/>
          </p:nvSpPr>
          <p:spPr>
            <a:xfrm>
              <a:off x="1910449" y="2663211"/>
              <a:ext cx="108328" cy="89022"/>
            </a:xfrm>
            <a:custGeom>
              <a:avLst/>
              <a:gdLst/>
              <a:ahLst/>
              <a:cxnLst/>
              <a:rect l="l" t="t" r="r" b="b"/>
              <a:pathLst>
                <a:path w="3406" h="2799" extrusionOk="0">
                  <a:moveTo>
                    <a:pt x="3085" y="322"/>
                  </a:moveTo>
                  <a:lnTo>
                    <a:pt x="3085" y="2465"/>
                  </a:lnTo>
                  <a:lnTo>
                    <a:pt x="322" y="2465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2643"/>
                  </a:lnTo>
                  <a:cubicBezTo>
                    <a:pt x="1" y="2727"/>
                    <a:pt x="72" y="2798"/>
                    <a:pt x="167" y="2798"/>
                  </a:cubicBezTo>
                  <a:lnTo>
                    <a:pt x="3239" y="2798"/>
                  </a:lnTo>
                  <a:cubicBezTo>
                    <a:pt x="3335" y="2798"/>
                    <a:pt x="3406" y="2727"/>
                    <a:pt x="3406" y="2643"/>
                  </a:cubicBezTo>
                  <a:lnTo>
                    <a:pt x="3406" y="167"/>
                  </a:lnTo>
                  <a:cubicBezTo>
                    <a:pt x="3406" y="60"/>
                    <a:pt x="3335" y="0"/>
                    <a:pt x="3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73" name="Google Shape;12373;p62"/>
          <p:cNvGrpSpPr/>
          <p:nvPr/>
        </p:nvGrpSpPr>
        <p:grpSpPr>
          <a:xfrm>
            <a:off x="3150240" y="2422352"/>
            <a:ext cx="212489" cy="351445"/>
            <a:chOff x="3150240" y="2422352"/>
            <a:chExt cx="212489" cy="351445"/>
          </a:xfrm>
        </p:grpSpPr>
        <p:sp>
          <p:nvSpPr>
            <p:cNvPr id="12374" name="Google Shape;12374;p62"/>
            <p:cNvSpPr/>
            <p:nvPr/>
          </p:nvSpPr>
          <p:spPr>
            <a:xfrm>
              <a:off x="3150240" y="2422352"/>
              <a:ext cx="212489" cy="351445"/>
            </a:xfrm>
            <a:custGeom>
              <a:avLst/>
              <a:gdLst/>
              <a:ahLst/>
              <a:cxnLst/>
              <a:rect l="l" t="t" r="r" b="b"/>
              <a:pathLst>
                <a:path w="6681" h="11050" extrusionOk="0">
                  <a:moveTo>
                    <a:pt x="4918" y="334"/>
                  </a:moveTo>
                  <a:lnTo>
                    <a:pt x="4918" y="1465"/>
                  </a:lnTo>
                  <a:lnTo>
                    <a:pt x="4954" y="1465"/>
                  </a:lnTo>
                  <a:cubicBezTo>
                    <a:pt x="4954" y="1596"/>
                    <a:pt x="4847" y="1703"/>
                    <a:pt x="4716" y="1703"/>
                  </a:cubicBezTo>
                  <a:cubicBezTo>
                    <a:pt x="4597" y="1703"/>
                    <a:pt x="4490" y="1608"/>
                    <a:pt x="4478" y="1489"/>
                  </a:cubicBezTo>
                  <a:lnTo>
                    <a:pt x="4478" y="822"/>
                  </a:lnTo>
                  <a:cubicBezTo>
                    <a:pt x="4478" y="727"/>
                    <a:pt x="4406" y="656"/>
                    <a:pt x="4311" y="656"/>
                  </a:cubicBezTo>
                  <a:cubicBezTo>
                    <a:pt x="4216" y="656"/>
                    <a:pt x="4144" y="727"/>
                    <a:pt x="4144" y="822"/>
                  </a:cubicBezTo>
                  <a:lnTo>
                    <a:pt x="4144" y="1620"/>
                  </a:lnTo>
                  <a:lnTo>
                    <a:pt x="4144" y="2263"/>
                  </a:lnTo>
                  <a:cubicBezTo>
                    <a:pt x="4144" y="2394"/>
                    <a:pt x="4037" y="2501"/>
                    <a:pt x="3906" y="2501"/>
                  </a:cubicBezTo>
                  <a:cubicBezTo>
                    <a:pt x="3775" y="2501"/>
                    <a:pt x="3668" y="2394"/>
                    <a:pt x="3668" y="2263"/>
                  </a:cubicBezTo>
                  <a:lnTo>
                    <a:pt x="3668" y="632"/>
                  </a:lnTo>
                  <a:cubicBezTo>
                    <a:pt x="3668" y="537"/>
                    <a:pt x="3597" y="465"/>
                    <a:pt x="3501" y="465"/>
                  </a:cubicBezTo>
                  <a:lnTo>
                    <a:pt x="3489" y="465"/>
                  </a:lnTo>
                  <a:cubicBezTo>
                    <a:pt x="3406" y="465"/>
                    <a:pt x="3347" y="525"/>
                    <a:pt x="3323" y="608"/>
                  </a:cubicBezTo>
                  <a:cubicBezTo>
                    <a:pt x="3311" y="727"/>
                    <a:pt x="3204" y="822"/>
                    <a:pt x="3085" y="822"/>
                  </a:cubicBezTo>
                  <a:cubicBezTo>
                    <a:pt x="2966" y="822"/>
                    <a:pt x="2870" y="727"/>
                    <a:pt x="2846" y="608"/>
                  </a:cubicBezTo>
                  <a:cubicBezTo>
                    <a:pt x="2835" y="525"/>
                    <a:pt x="2763" y="465"/>
                    <a:pt x="2668" y="465"/>
                  </a:cubicBezTo>
                  <a:cubicBezTo>
                    <a:pt x="2585" y="465"/>
                    <a:pt x="2513" y="537"/>
                    <a:pt x="2513" y="632"/>
                  </a:cubicBezTo>
                  <a:lnTo>
                    <a:pt x="2513" y="1382"/>
                  </a:lnTo>
                  <a:cubicBezTo>
                    <a:pt x="2513" y="1525"/>
                    <a:pt x="2406" y="1620"/>
                    <a:pt x="2275" y="1620"/>
                  </a:cubicBezTo>
                  <a:cubicBezTo>
                    <a:pt x="2132" y="1620"/>
                    <a:pt x="2037" y="1525"/>
                    <a:pt x="2037" y="1382"/>
                  </a:cubicBezTo>
                  <a:lnTo>
                    <a:pt x="2037" y="334"/>
                  </a:lnTo>
                  <a:close/>
                  <a:moveTo>
                    <a:pt x="5263" y="4537"/>
                  </a:moveTo>
                  <a:lnTo>
                    <a:pt x="5263" y="5406"/>
                  </a:lnTo>
                  <a:cubicBezTo>
                    <a:pt x="5263" y="5823"/>
                    <a:pt x="4918" y="6168"/>
                    <a:pt x="4501" y="6168"/>
                  </a:cubicBezTo>
                  <a:lnTo>
                    <a:pt x="2168" y="6168"/>
                  </a:lnTo>
                  <a:cubicBezTo>
                    <a:pt x="1751" y="6168"/>
                    <a:pt x="1406" y="5823"/>
                    <a:pt x="1406" y="5406"/>
                  </a:cubicBezTo>
                  <a:lnTo>
                    <a:pt x="1406" y="4537"/>
                  </a:lnTo>
                  <a:close/>
                  <a:moveTo>
                    <a:pt x="1215" y="1"/>
                  </a:moveTo>
                  <a:cubicBezTo>
                    <a:pt x="906" y="1"/>
                    <a:pt x="656" y="251"/>
                    <a:pt x="656" y="572"/>
                  </a:cubicBezTo>
                  <a:lnTo>
                    <a:pt x="656" y="1168"/>
                  </a:lnTo>
                  <a:cubicBezTo>
                    <a:pt x="656" y="1251"/>
                    <a:pt x="727" y="1322"/>
                    <a:pt x="810" y="1322"/>
                  </a:cubicBezTo>
                  <a:cubicBezTo>
                    <a:pt x="906" y="1322"/>
                    <a:pt x="977" y="1251"/>
                    <a:pt x="977" y="1168"/>
                  </a:cubicBezTo>
                  <a:lnTo>
                    <a:pt x="977" y="572"/>
                  </a:lnTo>
                  <a:cubicBezTo>
                    <a:pt x="977" y="430"/>
                    <a:pt x="1084" y="334"/>
                    <a:pt x="1215" y="334"/>
                  </a:cubicBezTo>
                  <a:lnTo>
                    <a:pt x="1739" y="334"/>
                  </a:lnTo>
                  <a:lnTo>
                    <a:pt x="1739" y="1382"/>
                  </a:lnTo>
                  <a:cubicBezTo>
                    <a:pt x="1739" y="1703"/>
                    <a:pt x="1989" y="1954"/>
                    <a:pt x="2299" y="1954"/>
                  </a:cubicBezTo>
                  <a:cubicBezTo>
                    <a:pt x="2620" y="1954"/>
                    <a:pt x="2870" y="1703"/>
                    <a:pt x="2870" y="1382"/>
                  </a:cubicBezTo>
                  <a:lnTo>
                    <a:pt x="2870" y="1108"/>
                  </a:lnTo>
                  <a:cubicBezTo>
                    <a:pt x="2942" y="1132"/>
                    <a:pt x="3013" y="1144"/>
                    <a:pt x="3108" y="1144"/>
                  </a:cubicBezTo>
                  <a:cubicBezTo>
                    <a:pt x="3192" y="1144"/>
                    <a:pt x="3275" y="1132"/>
                    <a:pt x="3347" y="1108"/>
                  </a:cubicBezTo>
                  <a:lnTo>
                    <a:pt x="3347" y="2263"/>
                  </a:lnTo>
                  <a:cubicBezTo>
                    <a:pt x="3347" y="2573"/>
                    <a:pt x="3597" y="2835"/>
                    <a:pt x="3906" y="2835"/>
                  </a:cubicBezTo>
                  <a:cubicBezTo>
                    <a:pt x="4228" y="2835"/>
                    <a:pt x="4478" y="2573"/>
                    <a:pt x="4478" y="2263"/>
                  </a:cubicBezTo>
                  <a:lnTo>
                    <a:pt x="4478" y="1977"/>
                  </a:lnTo>
                  <a:cubicBezTo>
                    <a:pt x="4549" y="2013"/>
                    <a:pt x="4620" y="2025"/>
                    <a:pt x="4716" y="2025"/>
                  </a:cubicBezTo>
                  <a:cubicBezTo>
                    <a:pt x="5025" y="2025"/>
                    <a:pt x="5275" y="1775"/>
                    <a:pt x="5275" y="1465"/>
                  </a:cubicBezTo>
                  <a:lnTo>
                    <a:pt x="5275" y="334"/>
                  </a:lnTo>
                  <a:lnTo>
                    <a:pt x="5442" y="334"/>
                  </a:lnTo>
                  <a:cubicBezTo>
                    <a:pt x="5573" y="334"/>
                    <a:pt x="5680" y="430"/>
                    <a:pt x="5680" y="572"/>
                  </a:cubicBezTo>
                  <a:lnTo>
                    <a:pt x="5680" y="2989"/>
                  </a:lnTo>
                  <a:lnTo>
                    <a:pt x="4311" y="2989"/>
                  </a:lnTo>
                  <a:cubicBezTo>
                    <a:pt x="4228" y="2989"/>
                    <a:pt x="4144" y="3073"/>
                    <a:pt x="4144" y="3156"/>
                  </a:cubicBezTo>
                  <a:cubicBezTo>
                    <a:pt x="4144" y="3251"/>
                    <a:pt x="4228" y="3323"/>
                    <a:pt x="4311" y="3323"/>
                  </a:cubicBezTo>
                  <a:lnTo>
                    <a:pt x="5906" y="3323"/>
                  </a:lnTo>
                  <a:cubicBezTo>
                    <a:pt x="5954" y="3323"/>
                    <a:pt x="5978" y="3323"/>
                    <a:pt x="6025" y="3335"/>
                  </a:cubicBezTo>
                  <a:cubicBezTo>
                    <a:pt x="6216" y="3382"/>
                    <a:pt x="6347" y="3561"/>
                    <a:pt x="6347" y="3763"/>
                  </a:cubicBezTo>
                  <a:cubicBezTo>
                    <a:pt x="6347" y="4001"/>
                    <a:pt x="6156" y="4216"/>
                    <a:pt x="5906" y="4216"/>
                  </a:cubicBezTo>
                  <a:lnTo>
                    <a:pt x="751" y="4216"/>
                  </a:lnTo>
                  <a:cubicBezTo>
                    <a:pt x="513" y="4216"/>
                    <a:pt x="310" y="4025"/>
                    <a:pt x="310" y="3763"/>
                  </a:cubicBezTo>
                  <a:cubicBezTo>
                    <a:pt x="310" y="3561"/>
                    <a:pt x="441" y="3394"/>
                    <a:pt x="632" y="3335"/>
                  </a:cubicBezTo>
                  <a:cubicBezTo>
                    <a:pt x="668" y="3323"/>
                    <a:pt x="715" y="3323"/>
                    <a:pt x="751" y="3323"/>
                  </a:cubicBezTo>
                  <a:lnTo>
                    <a:pt x="3656" y="3323"/>
                  </a:lnTo>
                  <a:cubicBezTo>
                    <a:pt x="3751" y="3323"/>
                    <a:pt x="3823" y="3251"/>
                    <a:pt x="3823" y="3156"/>
                  </a:cubicBezTo>
                  <a:cubicBezTo>
                    <a:pt x="3823" y="3073"/>
                    <a:pt x="3751" y="2989"/>
                    <a:pt x="3656" y="2989"/>
                  </a:cubicBezTo>
                  <a:lnTo>
                    <a:pt x="977" y="2989"/>
                  </a:lnTo>
                  <a:lnTo>
                    <a:pt x="977" y="1834"/>
                  </a:lnTo>
                  <a:cubicBezTo>
                    <a:pt x="977" y="1739"/>
                    <a:pt x="906" y="1668"/>
                    <a:pt x="810" y="1668"/>
                  </a:cubicBezTo>
                  <a:cubicBezTo>
                    <a:pt x="727" y="1668"/>
                    <a:pt x="656" y="1739"/>
                    <a:pt x="656" y="1834"/>
                  </a:cubicBezTo>
                  <a:lnTo>
                    <a:pt x="656" y="3013"/>
                  </a:lnTo>
                  <a:cubicBezTo>
                    <a:pt x="275" y="3073"/>
                    <a:pt x="1" y="3382"/>
                    <a:pt x="1" y="3763"/>
                  </a:cubicBezTo>
                  <a:cubicBezTo>
                    <a:pt x="1" y="4204"/>
                    <a:pt x="334" y="4537"/>
                    <a:pt x="775" y="4537"/>
                  </a:cubicBezTo>
                  <a:lnTo>
                    <a:pt x="1084" y="4537"/>
                  </a:lnTo>
                  <a:lnTo>
                    <a:pt x="1084" y="5406"/>
                  </a:lnTo>
                  <a:cubicBezTo>
                    <a:pt x="1084" y="6002"/>
                    <a:pt x="1572" y="6490"/>
                    <a:pt x="2168" y="6490"/>
                  </a:cubicBezTo>
                  <a:lnTo>
                    <a:pt x="2323" y="6490"/>
                  </a:lnTo>
                  <a:lnTo>
                    <a:pt x="2323" y="10014"/>
                  </a:lnTo>
                  <a:cubicBezTo>
                    <a:pt x="2323" y="10586"/>
                    <a:pt x="2775" y="11050"/>
                    <a:pt x="3347" y="11050"/>
                  </a:cubicBezTo>
                  <a:cubicBezTo>
                    <a:pt x="3906" y="11050"/>
                    <a:pt x="4370" y="10586"/>
                    <a:pt x="4370" y="10014"/>
                  </a:cubicBezTo>
                  <a:lnTo>
                    <a:pt x="4370" y="8633"/>
                  </a:lnTo>
                  <a:cubicBezTo>
                    <a:pt x="4370" y="8550"/>
                    <a:pt x="4299" y="8466"/>
                    <a:pt x="4204" y="8466"/>
                  </a:cubicBezTo>
                  <a:cubicBezTo>
                    <a:pt x="4120" y="8466"/>
                    <a:pt x="4049" y="8550"/>
                    <a:pt x="4049" y="8633"/>
                  </a:cubicBezTo>
                  <a:lnTo>
                    <a:pt x="4049" y="10014"/>
                  </a:lnTo>
                  <a:cubicBezTo>
                    <a:pt x="4049" y="10407"/>
                    <a:pt x="3728" y="10716"/>
                    <a:pt x="3347" y="10716"/>
                  </a:cubicBezTo>
                  <a:cubicBezTo>
                    <a:pt x="2954" y="10716"/>
                    <a:pt x="2644" y="10407"/>
                    <a:pt x="2644" y="10014"/>
                  </a:cubicBezTo>
                  <a:lnTo>
                    <a:pt x="2644" y="6490"/>
                  </a:lnTo>
                  <a:lnTo>
                    <a:pt x="4025" y="6490"/>
                  </a:lnTo>
                  <a:lnTo>
                    <a:pt x="4025" y="7978"/>
                  </a:lnTo>
                  <a:cubicBezTo>
                    <a:pt x="4025" y="8073"/>
                    <a:pt x="4097" y="8145"/>
                    <a:pt x="4192" y="8145"/>
                  </a:cubicBezTo>
                  <a:cubicBezTo>
                    <a:pt x="4275" y="8145"/>
                    <a:pt x="4359" y="8073"/>
                    <a:pt x="4359" y="7978"/>
                  </a:cubicBezTo>
                  <a:lnTo>
                    <a:pt x="4359" y="6490"/>
                  </a:lnTo>
                  <a:lnTo>
                    <a:pt x="4501" y="6490"/>
                  </a:lnTo>
                  <a:cubicBezTo>
                    <a:pt x="5097" y="6490"/>
                    <a:pt x="5585" y="6002"/>
                    <a:pt x="5585" y="5406"/>
                  </a:cubicBezTo>
                  <a:lnTo>
                    <a:pt x="5585" y="4537"/>
                  </a:lnTo>
                  <a:lnTo>
                    <a:pt x="5906" y="4537"/>
                  </a:lnTo>
                  <a:cubicBezTo>
                    <a:pt x="6335" y="4537"/>
                    <a:pt x="6680" y="4204"/>
                    <a:pt x="6680" y="3763"/>
                  </a:cubicBezTo>
                  <a:cubicBezTo>
                    <a:pt x="6680" y="3394"/>
                    <a:pt x="6395" y="3073"/>
                    <a:pt x="6014" y="3013"/>
                  </a:cubicBezTo>
                  <a:lnTo>
                    <a:pt x="6014" y="572"/>
                  </a:lnTo>
                  <a:cubicBezTo>
                    <a:pt x="6014" y="251"/>
                    <a:pt x="5752" y="1"/>
                    <a:pt x="5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5" name="Google Shape;12375;p62"/>
            <p:cNvSpPr/>
            <p:nvPr/>
          </p:nvSpPr>
          <p:spPr>
            <a:xfrm>
              <a:off x="3239230" y="2721860"/>
              <a:ext cx="32982" cy="32250"/>
            </a:xfrm>
            <a:custGeom>
              <a:avLst/>
              <a:gdLst/>
              <a:ahLst/>
              <a:cxnLst/>
              <a:rect l="l" t="t" r="r" b="b"/>
              <a:pathLst>
                <a:path w="1037" h="1014" extrusionOk="0">
                  <a:moveTo>
                    <a:pt x="598" y="0"/>
                  </a:moveTo>
                  <a:cubicBezTo>
                    <a:pt x="521" y="0"/>
                    <a:pt x="440" y="57"/>
                    <a:pt x="429" y="145"/>
                  </a:cubicBezTo>
                  <a:cubicBezTo>
                    <a:pt x="418" y="228"/>
                    <a:pt x="477" y="323"/>
                    <a:pt x="560" y="335"/>
                  </a:cubicBezTo>
                  <a:cubicBezTo>
                    <a:pt x="656" y="347"/>
                    <a:pt x="691" y="418"/>
                    <a:pt x="691" y="514"/>
                  </a:cubicBezTo>
                  <a:cubicBezTo>
                    <a:pt x="691" y="597"/>
                    <a:pt x="620" y="692"/>
                    <a:pt x="513" y="692"/>
                  </a:cubicBezTo>
                  <a:cubicBezTo>
                    <a:pt x="429" y="692"/>
                    <a:pt x="358" y="633"/>
                    <a:pt x="334" y="537"/>
                  </a:cubicBezTo>
                  <a:cubicBezTo>
                    <a:pt x="323" y="461"/>
                    <a:pt x="243" y="405"/>
                    <a:pt x="165" y="405"/>
                  </a:cubicBezTo>
                  <a:cubicBezTo>
                    <a:pt x="158" y="405"/>
                    <a:pt x="151" y="406"/>
                    <a:pt x="144" y="407"/>
                  </a:cubicBezTo>
                  <a:cubicBezTo>
                    <a:pt x="60" y="418"/>
                    <a:pt x="1" y="514"/>
                    <a:pt x="13" y="597"/>
                  </a:cubicBezTo>
                  <a:cubicBezTo>
                    <a:pt x="60" y="835"/>
                    <a:pt x="263" y="1014"/>
                    <a:pt x="501" y="1014"/>
                  </a:cubicBezTo>
                  <a:cubicBezTo>
                    <a:pt x="787" y="1014"/>
                    <a:pt x="1013" y="799"/>
                    <a:pt x="1013" y="514"/>
                  </a:cubicBezTo>
                  <a:cubicBezTo>
                    <a:pt x="1037" y="264"/>
                    <a:pt x="858" y="49"/>
                    <a:pt x="620" y="2"/>
                  </a:cubicBezTo>
                  <a:cubicBezTo>
                    <a:pt x="613" y="1"/>
                    <a:pt x="606" y="0"/>
                    <a:pt x="5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76" name="Google Shape;12376;p62"/>
          <p:cNvGrpSpPr/>
          <p:nvPr/>
        </p:nvGrpSpPr>
        <p:grpSpPr>
          <a:xfrm>
            <a:off x="1367060" y="2422129"/>
            <a:ext cx="269261" cy="352050"/>
            <a:chOff x="1367060" y="2422129"/>
            <a:chExt cx="269261" cy="352050"/>
          </a:xfrm>
        </p:grpSpPr>
        <p:sp>
          <p:nvSpPr>
            <p:cNvPr id="12377" name="Google Shape;12377;p62"/>
            <p:cNvSpPr/>
            <p:nvPr/>
          </p:nvSpPr>
          <p:spPr>
            <a:xfrm>
              <a:off x="1392059" y="2651857"/>
              <a:ext cx="129160" cy="122322"/>
            </a:xfrm>
            <a:custGeom>
              <a:avLst/>
              <a:gdLst/>
              <a:ahLst/>
              <a:cxnLst/>
              <a:rect l="l" t="t" r="r" b="b"/>
              <a:pathLst>
                <a:path w="4061" h="3846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357" y="333"/>
                  </a:lnTo>
                  <a:lnTo>
                    <a:pt x="357" y="1691"/>
                  </a:lnTo>
                  <a:cubicBezTo>
                    <a:pt x="357" y="2179"/>
                    <a:pt x="762" y="2584"/>
                    <a:pt x="1250" y="2584"/>
                  </a:cubicBezTo>
                  <a:cubicBezTo>
                    <a:pt x="1286" y="2584"/>
                    <a:pt x="1226" y="2584"/>
                    <a:pt x="2310" y="2405"/>
                  </a:cubicBezTo>
                  <a:lnTo>
                    <a:pt x="2310" y="3453"/>
                  </a:lnTo>
                  <a:cubicBezTo>
                    <a:pt x="2310" y="3667"/>
                    <a:pt x="2489" y="3846"/>
                    <a:pt x="2691" y="3846"/>
                  </a:cubicBezTo>
                  <a:lnTo>
                    <a:pt x="3905" y="3846"/>
                  </a:lnTo>
                  <a:cubicBezTo>
                    <a:pt x="3989" y="3846"/>
                    <a:pt x="4060" y="3774"/>
                    <a:pt x="4060" y="3679"/>
                  </a:cubicBezTo>
                  <a:cubicBezTo>
                    <a:pt x="4060" y="3596"/>
                    <a:pt x="3989" y="3500"/>
                    <a:pt x="3893" y="3500"/>
                  </a:cubicBezTo>
                  <a:lnTo>
                    <a:pt x="2691" y="3500"/>
                  </a:lnTo>
                  <a:cubicBezTo>
                    <a:pt x="2667" y="3500"/>
                    <a:pt x="2631" y="3465"/>
                    <a:pt x="2631" y="3441"/>
                  </a:cubicBezTo>
                  <a:lnTo>
                    <a:pt x="2631" y="2191"/>
                  </a:lnTo>
                  <a:cubicBezTo>
                    <a:pt x="2631" y="2143"/>
                    <a:pt x="2620" y="2107"/>
                    <a:pt x="2572" y="2072"/>
                  </a:cubicBezTo>
                  <a:cubicBezTo>
                    <a:pt x="2555" y="2055"/>
                    <a:pt x="2520" y="2038"/>
                    <a:pt x="2485" y="2038"/>
                  </a:cubicBezTo>
                  <a:cubicBezTo>
                    <a:pt x="2470" y="2038"/>
                    <a:pt x="2455" y="2041"/>
                    <a:pt x="2441" y="2048"/>
                  </a:cubicBezTo>
                  <a:lnTo>
                    <a:pt x="1238" y="2250"/>
                  </a:lnTo>
                  <a:cubicBezTo>
                    <a:pt x="917" y="2250"/>
                    <a:pt x="691" y="2000"/>
                    <a:pt x="691" y="1691"/>
                  </a:cubicBezTo>
                  <a:lnTo>
                    <a:pt x="691" y="167"/>
                  </a:lnTo>
                  <a:cubicBezTo>
                    <a:pt x="691" y="83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8" name="Google Shape;12378;p62"/>
            <p:cNvSpPr/>
            <p:nvPr/>
          </p:nvSpPr>
          <p:spPr>
            <a:xfrm>
              <a:off x="1367060" y="2441912"/>
              <a:ext cx="82184" cy="212139"/>
            </a:xfrm>
            <a:custGeom>
              <a:avLst/>
              <a:gdLst/>
              <a:ahLst/>
              <a:cxnLst/>
              <a:rect l="l" t="t" r="r" b="b"/>
              <a:pathLst>
                <a:path w="2584" h="6670" extrusionOk="0">
                  <a:moveTo>
                    <a:pt x="2415" y="1"/>
                  </a:moveTo>
                  <a:cubicBezTo>
                    <a:pt x="2382" y="1"/>
                    <a:pt x="2350" y="10"/>
                    <a:pt x="2322" y="29"/>
                  </a:cubicBezTo>
                  <a:cubicBezTo>
                    <a:pt x="1274" y="731"/>
                    <a:pt x="655" y="1898"/>
                    <a:pt x="655" y="3148"/>
                  </a:cubicBezTo>
                  <a:cubicBezTo>
                    <a:pt x="655" y="3351"/>
                    <a:pt x="667" y="3541"/>
                    <a:pt x="703" y="3732"/>
                  </a:cubicBezTo>
                  <a:cubicBezTo>
                    <a:pt x="48" y="5708"/>
                    <a:pt x="0" y="5696"/>
                    <a:pt x="0" y="5970"/>
                  </a:cubicBezTo>
                  <a:cubicBezTo>
                    <a:pt x="0" y="6208"/>
                    <a:pt x="84" y="6446"/>
                    <a:pt x="262" y="6625"/>
                  </a:cubicBezTo>
                  <a:cubicBezTo>
                    <a:pt x="295" y="6651"/>
                    <a:pt x="342" y="6670"/>
                    <a:pt x="389" y="6670"/>
                  </a:cubicBezTo>
                  <a:cubicBezTo>
                    <a:pt x="429" y="6670"/>
                    <a:pt x="468" y="6657"/>
                    <a:pt x="500" y="6625"/>
                  </a:cubicBezTo>
                  <a:cubicBezTo>
                    <a:pt x="560" y="6565"/>
                    <a:pt x="584" y="6458"/>
                    <a:pt x="500" y="6375"/>
                  </a:cubicBezTo>
                  <a:cubicBezTo>
                    <a:pt x="358" y="6220"/>
                    <a:pt x="298" y="5982"/>
                    <a:pt x="369" y="5756"/>
                  </a:cubicBezTo>
                  <a:lnTo>
                    <a:pt x="1036" y="3791"/>
                  </a:lnTo>
                  <a:cubicBezTo>
                    <a:pt x="1060" y="3767"/>
                    <a:pt x="1060" y="3732"/>
                    <a:pt x="1036" y="3720"/>
                  </a:cubicBezTo>
                  <a:cubicBezTo>
                    <a:pt x="1012" y="3517"/>
                    <a:pt x="1000" y="3327"/>
                    <a:pt x="1000" y="3148"/>
                  </a:cubicBezTo>
                  <a:cubicBezTo>
                    <a:pt x="1000" y="2005"/>
                    <a:pt x="1560" y="934"/>
                    <a:pt x="2513" y="291"/>
                  </a:cubicBezTo>
                  <a:cubicBezTo>
                    <a:pt x="2572" y="255"/>
                    <a:pt x="2584" y="148"/>
                    <a:pt x="2548" y="76"/>
                  </a:cubicBezTo>
                  <a:cubicBezTo>
                    <a:pt x="2519" y="25"/>
                    <a:pt x="2467" y="1"/>
                    <a:pt x="24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9" name="Google Shape;12379;p62"/>
            <p:cNvSpPr/>
            <p:nvPr/>
          </p:nvSpPr>
          <p:spPr>
            <a:xfrm>
              <a:off x="1456051" y="2422129"/>
              <a:ext cx="180271" cy="162937"/>
            </a:xfrm>
            <a:custGeom>
              <a:avLst/>
              <a:gdLst/>
              <a:ahLst/>
              <a:cxnLst/>
              <a:rect l="l" t="t" r="r" b="b"/>
              <a:pathLst>
                <a:path w="5668" h="5123" extrusionOk="0">
                  <a:moveTo>
                    <a:pt x="1621" y="1"/>
                  </a:moveTo>
                  <a:cubicBezTo>
                    <a:pt x="1104" y="1"/>
                    <a:pt x="591" y="107"/>
                    <a:pt x="119" y="317"/>
                  </a:cubicBezTo>
                  <a:cubicBezTo>
                    <a:pt x="24" y="353"/>
                    <a:pt x="0" y="448"/>
                    <a:pt x="24" y="544"/>
                  </a:cubicBezTo>
                  <a:cubicBezTo>
                    <a:pt x="51" y="616"/>
                    <a:pt x="113" y="648"/>
                    <a:pt x="184" y="648"/>
                  </a:cubicBezTo>
                  <a:cubicBezTo>
                    <a:pt x="205" y="648"/>
                    <a:pt x="228" y="645"/>
                    <a:pt x="250" y="639"/>
                  </a:cubicBezTo>
                  <a:cubicBezTo>
                    <a:pt x="965" y="317"/>
                    <a:pt x="1536" y="365"/>
                    <a:pt x="1643" y="353"/>
                  </a:cubicBezTo>
                  <a:cubicBezTo>
                    <a:pt x="3941" y="365"/>
                    <a:pt x="5644" y="2556"/>
                    <a:pt x="4894" y="4901"/>
                  </a:cubicBezTo>
                  <a:cubicBezTo>
                    <a:pt x="4870" y="4997"/>
                    <a:pt x="4906" y="5080"/>
                    <a:pt x="5001" y="5116"/>
                  </a:cubicBezTo>
                  <a:cubicBezTo>
                    <a:pt x="5018" y="5120"/>
                    <a:pt x="5035" y="5123"/>
                    <a:pt x="5052" y="5123"/>
                  </a:cubicBezTo>
                  <a:cubicBezTo>
                    <a:pt x="5119" y="5123"/>
                    <a:pt x="5184" y="5085"/>
                    <a:pt x="5203" y="5009"/>
                  </a:cubicBezTo>
                  <a:cubicBezTo>
                    <a:pt x="5668" y="3508"/>
                    <a:pt x="5239" y="2044"/>
                    <a:pt x="4263" y="1079"/>
                  </a:cubicBezTo>
                  <a:cubicBezTo>
                    <a:pt x="3524" y="356"/>
                    <a:pt x="2566" y="1"/>
                    <a:pt x="1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0" name="Google Shape;12380;p62"/>
            <p:cNvSpPr/>
            <p:nvPr/>
          </p:nvSpPr>
          <p:spPr>
            <a:xfrm>
              <a:off x="1532160" y="2593590"/>
              <a:ext cx="81834" cy="180207"/>
            </a:xfrm>
            <a:custGeom>
              <a:avLst/>
              <a:gdLst/>
              <a:ahLst/>
              <a:cxnLst/>
              <a:rect l="l" t="t" r="r" b="b"/>
              <a:pathLst>
                <a:path w="2573" h="5666" extrusionOk="0">
                  <a:moveTo>
                    <a:pt x="2399" y="1"/>
                  </a:moveTo>
                  <a:cubicBezTo>
                    <a:pt x="2340" y="1"/>
                    <a:pt x="2284" y="36"/>
                    <a:pt x="2251" y="94"/>
                  </a:cubicBezTo>
                  <a:cubicBezTo>
                    <a:pt x="2096" y="380"/>
                    <a:pt x="1715" y="856"/>
                    <a:pt x="1715" y="1737"/>
                  </a:cubicBezTo>
                  <a:lnTo>
                    <a:pt x="1715" y="5273"/>
                  </a:lnTo>
                  <a:cubicBezTo>
                    <a:pt x="1715" y="5309"/>
                    <a:pt x="1679" y="5332"/>
                    <a:pt x="1655" y="5332"/>
                  </a:cubicBezTo>
                  <a:lnTo>
                    <a:pt x="167" y="5332"/>
                  </a:lnTo>
                  <a:cubicBezTo>
                    <a:pt x="72" y="5332"/>
                    <a:pt x="0" y="5404"/>
                    <a:pt x="0" y="5499"/>
                  </a:cubicBezTo>
                  <a:cubicBezTo>
                    <a:pt x="0" y="5583"/>
                    <a:pt x="72" y="5666"/>
                    <a:pt x="167" y="5666"/>
                  </a:cubicBezTo>
                  <a:lnTo>
                    <a:pt x="1655" y="5666"/>
                  </a:lnTo>
                  <a:cubicBezTo>
                    <a:pt x="1858" y="5666"/>
                    <a:pt x="2036" y="5487"/>
                    <a:pt x="2036" y="5273"/>
                  </a:cubicBezTo>
                  <a:lnTo>
                    <a:pt x="2036" y="1737"/>
                  </a:lnTo>
                  <a:cubicBezTo>
                    <a:pt x="2036" y="963"/>
                    <a:pt x="2382" y="558"/>
                    <a:pt x="2548" y="249"/>
                  </a:cubicBezTo>
                  <a:cubicBezTo>
                    <a:pt x="2572" y="153"/>
                    <a:pt x="2548" y="70"/>
                    <a:pt x="2477" y="22"/>
                  </a:cubicBezTo>
                  <a:cubicBezTo>
                    <a:pt x="2451" y="8"/>
                    <a:pt x="2425" y="1"/>
                    <a:pt x="23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1" name="Google Shape;12381;p62"/>
            <p:cNvSpPr/>
            <p:nvPr/>
          </p:nvSpPr>
          <p:spPr>
            <a:xfrm>
              <a:off x="1425359" y="2572313"/>
              <a:ext cx="24267" cy="17843"/>
            </a:xfrm>
            <a:custGeom>
              <a:avLst/>
              <a:gdLst/>
              <a:ahLst/>
              <a:cxnLst/>
              <a:rect l="l" t="t" r="r" b="b"/>
              <a:pathLst>
                <a:path w="763" h="561" extrusionOk="0">
                  <a:moveTo>
                    <a:pt x="583" y="0"/>
                  </a:moveTo>
                  <a:cubicBezTo>
                    <a:pt x="554" y="0"/>
                    <a:pt x="525" y="8"/>
                    <a:pt x="501" y="25"/>
                  </a:cubicBezTo>
                  <a:lnTo>
                    <a:pt x="96" y="239"/>
                  </a:lnTo>
                  <a:cubicBezTo>
                    <a:pt x="25" y="287"/>
                    <a:pt x="1" y="394"/>
                    <a:pt x="37" y="465"/>
                  </a:cubicBezTo>
                  <a:cubicBezTo>
                    <a:pt x="72" y="525"/>
                    <a:pt x="132" y="560"/>
                    <a:pt x="191" y="560"/>
                  </a:cubicBezTo>
                  <a:cubicBezTo>
                    <a:pt x="215" y="560"/>
                    <a:pt x="251" y="560"/>
                    <a:pt x="275" y="537"/>
                  </a:cubicBezTo>
                  <a:lnTo>
                    <a:pt x="680" y="322"/>
                  </a:lnTo>
                  <a:cubicBezTo>
                    <a:pt x="739" y="263"/>
                    <a:pt x="763" y="156"/>
                    <a:pt x="727" y="84"/>
                  </a:cubicBezTo>
                  <a:cubicBezTo>
                    <a:pt x="696" y="29"/>
                    <a:pt x="639" y="0"/>
                    <a:pt x="5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2" name="Google Shape;12382;p62"/>
            <p:cNvSpPr/>
            <p:nvPr/>
          </p:nvSpPr>
          <p:spPr>
            <a:xfrm>
              <a:off x="1562820" y="2573680"/>
              <a:ext cx="26176" cy="17620"/>
            </a:xfrm>
            <a:custGeom>
              <a:avLst/>
              <a:gdLst/>
              <a:ahLst/>
              <a:cxnLst/>
              <a:rect l="l" t="t" r="r" b="b"/>
              <a:pathLst>
                <a:path w="823" h="554" extrusionOk="0">
                  <a:moveTo>
                    <a:pt x="201" y="1"/>
                  </a:moveTo>
                  <a:cubicBezTo>
                    <a:pt x="143" y="1"/>
                    <a:pt x="81" y="28"/>
                    <a:pt x="48" y="77"/>
                  </a:cubicBezTo>
                  <a:cubicBezTo>
                    <a:pt x="1" y="160"/>
                    <a:pt x="37" y="255"/>
                    <a:pt x="108" y="303"/>
                  </a:cubicBezTo>
                  <a:cubicBezTo>
                    <a:pt x="513" y="529"/>
                    <a:pt x="513" y="553"/>
                    <a:pt x="584" y="553"/>
                  </a:cubicBezTo>
                  <a:cubicBezTo>
                    <a:pt x="763" y="541"/>
                    <a:pt x="822" y="315"/>
                    <a:pt x="680" y="244"/>
                  </a:cubicBezTo>
                  <a:lnTo>
                    <a:pt x="275" y="17"/>
                  </a:lnTo>
                  <a:cubicBezTo>
                    <a:pt x="253" y="6"/>
                    <a:pt x="227" y="1"/>
                    <a:pt x="2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3" name="Google Shape;12383;p62"/>
            <p:cNvSpPr/>
            <p:nvPr/>
          </p:nvSpPr>
          <p:spPr>
            <a:xfrm>
              <a:off x="1448100" y="2481414"/>
              <a:ext cx="125375" cy="191275"/>
            </a:xfrm>
            <a:custGeom>
              <a:avLst/>
              <a:gdLst/>
              <a:ahLst/>
              <a:cxnLst/>
              <a:rect l="l" t="t" r="r" b="b"/>
              <a:pathLst>
                <a:path w="3942" h="6014" extrusionOk="0">
                  <a:moveTo>
                    <a:pt x="1280" y="1498"/>
                  </a:moveTo>
                  <a:cubicBezTo>
                    <a:pt x="1355" y="1498"/>
                    <a:pt x="1429" y="1543"/>
                    <a:pt x="1429" y="1632"/>
                  </a:cubicBezTo>
                  <a:lnTo>
                    <a:pt x="1429" y="1763"/>
                  </a:lnTo>
                  <a:lnTo>
                    <a:pt x="1262" y="1763"/>
                  </a:lnTo>
                  <a:cubicBezTo>
                    <a:pt x="1191" y="1763"/>
                    <a:pt x="1131" y="1704"/>
                    <a:pt x="1131" y="1632"/>
                  </a:cubicBezTo>
                  <a:cubicBezTo>
                    <a:pt x="1131" y="1543"/>
                    <a:pt x="1206" y="1498"/>
                    <a:pt x="1280" y="1498"/>
                  </a:cubicBezTo>
                  <a:close/>
                  <a:moveTo>
                    <a:pt x="2483" y="1498"/>
                  </a:moveTo>
                  <a:cubicBezTo>
                    <a:pt x="2557" y="1498"/>
                    <a:pt x="2632" y="1543"/>
                    <a:pt x="2632" y="1632"/>
                  </a:cubicBezTo>
                  <a:cubicBezTo>
                    <a:pt x="2632" y="1704"/>
                    <a:pt x="2572" y="1763"/>
                    <a:pt x="2501" y="1763"/>
                  </a:cubicBezTo>
                  <a:lnTo>
                    <a:pt x="2334" y="1763"/>
                  </a:lnTo>
                  <a:lnTo>
                    <a:pt x="2334" y="1632"/>
                  </a:lnTo>
                  <a:cubicBezTo>
                    <a:pt x="2334" y="1543"/>
                    <a:pt x="2408" y="1498"/>
                    <a:pt x="2483" y="1498"/>
                  </a:cubicBezTo>
                  <a:close/>
                  <a:moveTo>
                    <a:pt x="1989" y="2085"/>
                  </a:moveTo>
                  <a:lnTo>
                    <a:pt x="1989" y="3776"/>
                  </a:lnTo>
                  <a:lnTo>
                    <a:pt x="1739" y="3776"/>
                  </a:lnTo>
                  <a:lnTo>
                    <a:pt x="1739" y="2085"/>
                  </a:lnTo>
                  <a:close/>
                  <a:moveTo>
                    <a:pt x="2524" y="4097"/>
                  </a:moveTo>
                  <a:lnTo>
                    <a:pt x="2524" y="4430"/>
                  </a:lnTo>
                  <a:lnTo>
                    <a:pt x="1215" y="4430"/>
                  </a:lnTo>
                  <a:lnTo>
                    <a:pt x="1215" y="4097"/>
                  </a:lnTo>
                  <a:close/>
                  <a:moveTo>
                    <a:pt x="2512" y="4752"/>
                  </a:moveTo>
                  <a:lnTo>
                    <a:pt x="2512" y="4942"/>
                  </a:lnTo>
                  <a:lnTo>
                    <a:pt x="2524" y="4942"/>
                  </a:lnTo>
                  <a:cubicBezTo>
                    <a:pt x="2524" y="5026"/>
                    <a:pt x="2465" y="5085"/>
                    <a:pt x="2393" y="5085"/>
                  </a:cubicBezTo>
                  <a:lnTo>
                    <a:pt x="1334" y="5085"/>
                  </a:lnTo>
                  <a:cubicBezTo>
                    <a:pt x="1262" y="5085"/>
                    <a:pt x="1203" y="5026"/>
                    <a:pt x="1203" y="4942"/>
                  </a:cubicBezTo>
                  <a:lnTo>
                    <a:pt x="1203" y="4752"/>
                  </a:lnTo>
                  <a:close/>
                  <a:moveTo>
                    <a:pt x="2227" y="5395"/>
                  </a:moveTo>
                  <a:cubicBezTo>
                    <a:pt x="2203" y="5561"/>
                    <a:pt x="2048" y="5681"/>
                    <a:pt x="1870" y="5681"/>
                  </a:cubicBezTo>
                  <a:cubicBezTo>
                    <a:pt x="1691" y="5681"/>
                    <a:pt x="1548" y="5561"/>
                    <a:pt x="1500" y="5395"/>
                  </a:cubicBezTo>
                  <a:close/>
                  <a:moveTo>
                    <a:pt x="1874" y="1"/>
                  </a:moveTo>
                  <a:cubicBezTo>
                    <a:pt x="834" y="1"/>
                    <a:pt x="0" y="837"/>
                    <a:pt x="0" y="1882"/>
                  </a:cubicBezTo>
                  <a:cubicBezTo>
                    <a:pt x="0" y="2406"/>
                    <a:pt x="215" y="2906"/>
                    <a:pt x="607" y="3264"/>
                  </a:cubicBezTo>
                  <a:cubicBezTo>
                    <a:pt x="786" y="3418"/>
                    <a:pt x="869" y="3656"/>
                    <a:pt x="869" y="3895"/>
                  </a:cubicBezTo>
                  <a:lnTo>
                    <a:pt x="869" y="4942"/>
                  </a:lnTo>
                  <a:cubicBezTo>
                    <a:pt x="869" y="5145"/>
                    <a:pt x="988" y="5300"/>
                    <a:pt x="1155" y="5359"/>
                  </a:cubicBezTo>
                  <a:cubicBezTo>
                    <a:pt x="1191" y="5716"/>
                    <a:pt x="1489" y="6014"/>
                    <a:pt x="1858" y="6014"/>
                  </a:cubicBezTo>
                  <a:cubicBezTo>
                    <a:pt x="2227" y="6014"/>
                    <a:pt x="2524" y="5740"/>
                    <a:pt x="2560" y="5359"/>
                  </a:cubicBezTo>
                  <a:cubicBezTo>
                    <a:pt x="2715" y="5288"/>
                    <a:pt x="2834" y="5121"/>
                    <a:pt x="2834" y="4942"/>
                  </a:cubicBezTo>
                  <a:lnTo>
                    <a:pt x="2834" y="3871"/>
                  </a:lnTo>
                  <a:cubicBezTo>
                    <a:pt x="2834" y="3811"/>
                    <a:pt x="2834" y="3752"/>
                    <a:pt x="2858" y="3692"/>
                  </a:cubicBezTo>
                  <a:cubicBezTo>
                    <a:pt x="2870" y="3609"/>
                    <a:pt x="2822" y="3514"/>
                    <a:pt x="2727" y="3502"/>
                  </a:cubicBezTo>
                  <a:cubicBezTo>
                    <a:pt x="2718" y="3500"/>
                    <a:pt x="2710" y="3500"/>
                    <a:pt x="2701" y="3500"/>
                  </a:cubicBezTo>
                  <a:cubicBezTo>
                    <a:pt x="2627" y="3500"/>
                    <a:pt x="2558" y="3546"/>
                    <a:pt x="2536" y="3621"/>
                  </a:cubicBezTo>
                  <a:cubicBezTo>
                    <a:pt x="2524" y="3668"/>
                    <a:pt x="2524" y="3728"/>
                    <a:pt x="2512" y="3776"/>
                  </a:cubicBezTo>
                  <a:lnTo>
                    <a:pt x="2298" y="3776"/>
                  </a:lnTo>
                  <a:lnTo>
                    <a:pt x="2298" y="2085"/>
                  </a:lnTo>
                  <a:lnTo>
                    <a:pt x="2465" y="2085"/>
                  </a:lnTo>
                  <a:cubicBezTo>
                    <a:pt x="2715" y="2085"/>
                    <a:pt x="2929" y="1882"/>
                    <a:pt x="2929" y="1632"/>
                  </a:cubicBezTo>
                  <a:cubicBezTo>
                    <a:pt x="2929" y="1370"/>
                    <a:pt x="2715" y="1168"/>
                    <a:pt x="2465" y="1168"/>
                  </a:cubicBezTo>
                  <a:lnTo>
                    <a:pt x="2441" y="1168"/>
                  </a:lnTo>
                  <a:cubicBezTo>
                    <a:pt x="2179" y="1168"/>
                    <a:pt x="1977" y="1370"/>
                    <a:pt x="1977" y="1632"/>
                  </a:cubicBezTo>
                  <a:lnTo>
                    <a:pt x="1977" y="1763"/>
                  </a:lnTo>
                  <a:lnTo>
                    <a:pt x="1727" y="1763"/>
                  </a:lnTo>
                  <a:lnTo>
                    <a:pt x="1727" y="1632"/>
                  </a:lnTo>
                  <a:cubicBezTo>
                    <a:pt x="1727" y="1370"/>
                    <a:pt x="1512" y="1168"/>
                    <a:pt x="1262" y="1168"/>
                  </a:cubicBezTo>
                  <a:lnTo>
                    <a:pt x="1227" y="1168"/>
                  </a:lnTo>
                  <a:cubicBezTo>
                    <a:pt x="977" y="1168"/>
                    <a:pt x="774" y="1370"/>
                    <a:pt x="774" y="1632"/>
                  </a:cubicBezTo>
                  <a:cubicBezTo>
                    <a:pt x="774" y="1882"/>
                    <a:pt x="977" y="2085"/>
                    <a:pt x="1227" y="2085"/>
                  </a:cubicBezTo>
                  <a:lnTo>
                    <a:pt x="1393" y="2085"/>
                  </a:lnTo>
                  <a:lnTo>
                    <a:pt x="1393" y="3776"/>
                  </a:lnTo>
                  <a:lnTo>
                    <a:pt x="1191" y="3776"/>
                  </a:lnTo>
                  <a:cubicBezTo>
                    <a:pt x="1155" y="3478"/>
                    <a:pt x="1024" y="3204"/>
                    <a:pt x="810" y="3014"/>
                  </a:cubicBezTo>
                  <a:cubicBezTo>
                    <a:pt x="488" y="2716"/>
                    <a:pt x="310" y="2299"/>
                    <a:pt x="310" y="1871"/>
                  </a:cubicBezTo>
                  <a:cubicBezTo>
                    <a:pt x="310" y="1013"/>
                    <a:pt x="988" y="323"/>
                    <a:pt x="1858" y="323"/>
                  </a:cubicBezTo>
                  <a:lnTo>
                    <a:pt x="1905" y="323"/>
                  </a:lnTo>
                  <a:cubicBezTo>
                    <a:pt x="2715" y="335"/>
                    <a:pt x="3394" y="1013"/>
                    <a:pt x="3405" y="1835"/>
                  </a:cubicBezTo>
                  <a:lnTo>
                    <a:pt x="3405" y="1847"/>
                  </a:lnTo>
                  <a:cubicBezTo>
                    <a:pt x="3405" y="2287"/>
                    <a:pt x="3239" y="2668"/>
                    <a:pt x="2929" y="2966"/>
                  </a:cubicBezTo>
                  <a:cubicBezTo>
                    <a:pt x="2870" y="3025"/>
                    <a:pt x="2858" y="3133"/>
                    <a:pt x="2929" y="3204"/>
                  </a:cubicBezTo>
                  <a:cubicBezTo>
                    <a:pt x="2965" y="3240"/>
                    <a:pt x="3007" y="3258"/>
                    <a:pt x="3048" y="3258"/>
                  </a:cubicBezTo>
                  <a:cubicBezTo>
                    <a:pt x="3090" y="3258"/>
                    <a:pt x="3132" y="3240"/>
                    <a:pt x="3167" y="3204"/>
                  </a:cubicBezTo>
                  <a:cubicBezTo>
                    <a:pt x="3906" y="2502"/>
                    <a:pt x="3941" y="1299"/>
                    <a:pt x="3191" y="561"/>
                  </a:cubicBezTo>
                  <a:cubicBezTo>
                    <a:pt x="2858" y="216"/>
                    <a:pt x="2393" y="1"/>
                    <a:pt x="1917" y="1"/>
                  </a:cubicBezTo>
                  <a:cubicBezTo>
                    <a:pt x="1903" y="1"/>
                    <a:pt x="1888" y="1"/>
                    <a:pt x="18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4" name="Google Shape;12384;p62"/>
            <p:cNvSpPr/>
            <p:nvPr/>
          </p:nvSpPr>
          <p:spPr>
            <a:xfrm>
              <a:off x="1502232" y="2449259"/>
              <a:ext cx="10655" cy="25380"/>
            </a:xfrm>
            <a:custGeom>
              <a:avLst/>
              <a:gdLst/>
              <a:ahLst/>
              <a:cxnLst/>
              <a:rect l="l" t="t" r="r" b="b"/>
              <a:pathLst>
                <a:path w="335" h="798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631"/>
                  </a:lnTo>
                  <a:cubicBezTo>
                    <a:pt x="1" y="715"/>
                    <a:pt x="84" y="798"/>
                    <a:pt x="168" y="798"/>
                  </a:cubicBezTo>
                  <a:cubicBezTo>
                    <a:pt x="263" y="798"/>
                    <a:pt x="334" y="715"/>
                    <a:pt x="334" y="631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5" name="Google Shape;12385;p62"/>
            <p:cNvSpPr/>
            <p:nvPr/>
          </p:nvSpPr>
          <p:spPr>
            <a:xfrm>
              <a:off x="1458309" y="2460582"/>
              <a:ext cx="18988" cy="23090"/>
            </a:xfrm>
            <a:custGeom>
              <a:avLst/>
              <a:gdLst/>
              <a:ahLst/>
              <a:cxnLst/>
              <a:rect l="l" t="t" r="r" b="b"/>
              <a:pathLst>
                <a:path w="597" h="726" extrusionOk="0">
                  <a:moveTo>
                    <a:pt x="190" y="1"/>
                  </a:moveTo>
                  <a:cubicBezTo>
                    <a:pt x="161" y="1"/>
                    <a:pt x="132" y="9"/>
                    <a:pt x="108" y="25"/>
                  </a:cubicBezTo>
                  <a:cubicBezTo>
                    <a:pt x="25" y="61"/>
                    <a:pt x="1" y="168"/>
                    <a:pt x="48" y="240"/>
                  </a:cubicBezTo>
                  <a:lnTo>
                    <a:pt x="275" y="644"/>
                  </a:lnTo>
                  <a:cubicBezTo>
                    <a:pt x="299" y="693"/>
                    <a:pt x="357" y="726"/>
                    <a:pt x="414" y="726"/>
                  </a:cubicBezTo>
                  <a:cubicBezTo>
                    <a:pt x="441" y="726"/>
                    <a:pt x="466" y="719"/>
                    <a:pt x="489" y="704"/>
                  </a:cubicBezTo>
                  <a:cubicBezTo>
                    <a:pt x="572" y="656"/>
                    <a:pt x="596" y="573"/>
                    <a:pt x="548" y="478"/>
                  </a:cubicBezTo>
                  <a:lnTo>
                    <a:pt x="322" y="85"/>
                  </a:lnTo>
                  <a:cubicBezTo>
                    <a:pt x="299" y="30"/>
                    <a:pt x="244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6" name="Google Shape;12386;p62"/>
            <p:cNvSpPr/>
            <p:nvPr/>
          </p:nvSpPr>
          <p:spPr>
            <a:xfrm>
              <a:off x="1425741" y="2492768"/>
              <a:ext cx="25031" cy="17874"/>
            </a:xfrm>
            <a:custGeom>
              <a:avLst/>
              <a:gdLst/>
              <a:ahLst/>
              <a:cxnLst/>
              <a:rect l="l" t="t" r="r" b="b"/>
              <a:pathLst>
                <a:path w="787" h="562" extrusionOk="0">
                  <a:moveTo>
                    <a:pt x="181" y="1"/>
                  </a:moveTo>
                  <a:cubicBezTo>
                    <a:pt x="126" y="1"/>
                    <a:pt x="72" y="30"/>
                    <a:pt x="48" y="85"/>
                  </a:cubicBezTo>
                  <a:cubicBezTo>
                    <a:pt x="1" y="156"/>
                    <a:pt x="25" y="263"/>
                    <a:pt x="108" y="299"/>
                  </a:cubicBezTo>
                  <a:cubicBezTo>
                    <a:pt x="501" y="525"/>
                    <a:pt x="501" y="561"/>
                    <a:pt x="584" y="561"/>
                  </a:cubicBezTo>
                  <a:cubicBezTo>
                    <a:pt x="632" y="561"/>
                    <a:pt x="703" y="525"/>
                    <a:pt x="727" y="466"/>
                  </a:cubicBezTo>
                  <a:cubicBezTo>
                    <a:pt x="787" y="394"/>
                    <a:pt x="751" y="287"/>
                    <a:pt x="668" y="240"/>
                  </a:cubicBezTo>
                  <a:lnTo>
                    <a:pt x="263" y="25"/>
                  </a:lnTo>
                  <a:cubicBezTo>
                    <a:pt x="238" y="9"/>
                    <a:pt x="209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7" name="Google Shape;12387;p62"/>
            <p:cNvSpPr/>
            <p:nvPr/>
          </p:nvSpPr>
          <p:spPr>
            <a:xfrm>
              <a:off x="1414768" y="2535959"/>
              <a:ext cx="25031" cy="10655"/>
            </a:xfrm>
            <a:custGeom>
              <a:avLst/>
              <a:gdLst/>
              <a:ahLst/>
              <a:cxnLst/>
              <a:rect l="l" t="t" r="r" b="b"/>
              <a:pathLst>
                <a:path w="787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632" y="334"/>
                  </a:lnTo>
                  <a:cubicBezTo>
                    <a:pt x="715" y="334"/>
                    <a:pt x="786" y="251"/>
                    <a:pt x="786" y="167"/>
                  </a:cubicBezTo>
                  <a:cubicBezTo>
                    <a:pt x="786" y="72"/>
                    <a:pt x="715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8" name="Google Shape;12388;p62"/>
            <p:cNvSpPr/>
            <p:nvPr/>
          </p:nvSpPr>
          <p:spPr>
            <a:xfrm>
              <a:off x="1573825" y="2537104"/>
              <a:ext cx="24999" cy="10241"/>
            </a:xfrm>
            <a:custGeom>
              <a:avLst/>
              <a:gdLst/>
              <a:ahLst/>
              <a:cxnLst/>
              <a:rect l="l" t="t" r="r" b="b"/>
              <a:pathLst>
                <a:path w="78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31" y="322"/>
                  </a:lnTo>
                  <a:cubicBezTo>
                    <a:pt x="715" y="322"/>
                    <a:pt x="786" y="251"/>
                    <a:pt x="786" y="155"/>
                  </a:cubicBezTo>
                  <a:cubicBezTo>
                    <a:pt x="786" y="72"/>
                    <a:pt x="715" y="0"/>
                    <a:pt x="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9" name="Google Shape;12389;p62"/>
            <p:cNvSpPr/>
            <p:nvPr/>
          </p:nvSpPr>
          <p:spPr>
            <a:xfrm>
              <a:off x="1563965" y="2493627"/>
              <a:ext cx="24649" cy="17525"/>
            </a:xfrm>
            <a:custGeom>
              <a:avLst/>
              <a:gdLst/>
              <a:ahLst/>
              <a:cxnLst/>
              <a:rect l="l" t="t" r="r" b="b"/>
              <a:pathLst>
                <a:path w="775" h="551" extrusionOk="0">
                  <a:moveTo>
                    <a:pt x="576" y="0"/>
                  </a:moveTo>
                  <a:cubicBezTo>
                    <a:pt x="549" y="0"/>
                    <a:pt x="523" y="7"/>
                    <a:pt x="501" y="22"/>
                  </a:cubicBezTo>
                  <a:lnTo>
                    <a:pt x="108" y="248"/>
                  </a:lnTo>
                  <a:cubicBezTo>
                    <a:pt x="24" y="296"/>
                    <a:pt x="1" y="391"/>
                    <a:pt x="48" y="475"/>
                  </a:cubicBezTo>
                  <a:cubicBezTo>
                    <a:pt x="73" y="524"/>
                    <a:pt x="132" y="550"/>
                    <a:pt x="189" y="550"/>
                  </a:cubicBezTo>
                  <a:cubicBezTo>
                    <a:pt x="215" y="550"/>
                    <a:pt x="240" y="545"/>
                    <a:pt x="263" y="534"/>
                  </a:cubicBezTo>
                  <a:lnTo>
                    <a:pt x="667" y="308"/>
                  </a:lnTo>
                  <a:cubicBezTo>
                    <a:pt x="739" y="260"/>
                    <a:pt x="774" y="153"/>
                    <a:pt x="727" y="82"/>
                  </a:cubicBezTo>
                  <a:cubicBezTo>
                    <a:pt x="694" y="33"/>
                    <a:pt x="633" y="0"/>
                    <a:pt x="5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0" name="Google Shape;12390;p62"/>
            <p:cNvSpPr/>
            <p:nvPr/>
          </p:nvSpPr>
          <p:spPr>
            <a:xfrm>
              <a:off x="1537853" y="2461440"/>
              <a:ext cx="18956" cy="23090"/>
            </a:xfrm>
            <a:custGeom>
              <a:avLst/>
              <a:gdLst/>
              <a:ahLst/>
              <a:cxnLst/>
              <a:rect l="l" t="t" r="r" b="b"/>
              <a:pathLst>
                <a:path w="596" h="726" extrusionOk="0">
                  <a:moveTo>
                    <a:pt x="414" y="0"/>
                  </a:moveTo>
                  <a:cubicBezTo>
                    <a:pt x="357" y="0"/>
                    <a:pt x="298" y="33"/>
                    <a:pt x="274" y="82"/>
                  </a:cubicBezTo>
                  <a:lnTo>
                    <a:pt x="48" y="486"/>
                  </a:lnTo>
                  <a:cubicBezTo>
                    <a:pt x="0" y="558"/>
                    <a:pt x="36" y="665"/>
                    <a:pt x="107" y="701"/>
                  </a:cubicBezTo>
                  <a:cubicBezTo>
                    <a:pt x="132" y="718"/>
                    <a:pt x="162" y="725"/>
                    <a:pt x="192" y="725"/>
                  </a:cubicBezTo>
                  <a:cubicBezTo>
                    <a:pt x="247" y="725"/>
                    <a:pt x="303" y="699"/>
                    <a:pt x="333" y="653"/>
                  </a:cubicBezTo>
                  <a:lnTo>
                    <a:pt x="548" y="248"/>
                  </a:lnTo>
                  <a:cubicBezTo>
                    <a:pt x="595" y="177"/>
                    <a:pt x="572" y="70"/>
                    <a:pt x="488" y="22"/>
                  </a:cubicBezTo>
                  <a:cubicBezTo>
                    <a:pt x="466" y="7"/>
                    <a:pt x="440" y="0"/>
                    <a:pt x="4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91" name="Google Shape;12391;p62"/>
          <p:cNvSpPr/>
          <p:nvPr/>
        </p:nvSpPr>
        <p:spPr>
          <a:xfrm>
            <a:off x="7075994" y="2425914"/>
            <a:ext cx="353354" cy="351318"/>
          </a:xfrm>
          <a:custGeom>
            <a:avLst/>
            <a:gdLst/>
            <a:ahLst/>
            <a:cxnLst/>
            <a:rect l="l" t="t" r="r" b="b"/>
            <a:pathLst>
              <a:path w="11110" h="11046" extrusionOk="0">
                <a:moveTo>
                  <a:pt x="3750" y="304"/>
                </a:moveTo>
                <a:cubicBezTo>
                  <a:pt x="3766" y="304"/>
                  <a:pt x="3783" y="304"/>
                  <a:pt x="3799" y="306"/>
                </a:cubicBezTo>
                <a:cubicBezTo>
                  <a:pt x="4037" y="341"/>
                  <a:pt x="4275" y="365"/>
                  <a:pt x="4490" y="413"/>
                </a:cubicBezTo>
                <a:cubicBezTo>
                  <a:pt x="4716" y="460"/>
                  <a:pt x="4954" y="520"/>
                  <a:pt x="5180" y="579"/>
                </a:cubicBezTo>
                <a:cubicBezTo>
                  <a:pt x="5347" y="615"/>
                  <a:pt x="5478" y="734"/>
                  <a:pt x="5549" y="889"/>
                </a:cubicBezTo>
                <a:cubicBezTo>
                  <a:pt x="5561" y="913"/>
                  <a:pt x="5585" y="949"/>
                  <a:pt x="5585" y="972"/>
                </a:cubicBezTo>
                <a:cubicBezTo>
                  <a:pt x="5621" y="1115"/>
                  <a:pt x="5609" y="1246"/>
                  <a:pt x="5573" y="1377"/>
                </a:cubicBezTo>
                <a:lnTo>
                  <a:pt x="4156" y="4770"/>
                </a:lnTo>
                <a:cubicBezTo>
                  <a:pt x="3990" y="4711"/>
                  <a:pt x="3823" y="4663"/>
                  <a:pt x="3644" y="4639"/>
                </a:cubicBezTo>
                <a:cubicBezTo>
                  <a:pt x="3489" y="4604"/>
                  <a:pt x="3323" y="4592"/>
                  <a:pt x="3168" y="4580"/>
                </a:cubicBezTo>
                <a:cubicBezTo>
                  <a:pt x="3162" y="4586"/>
                  <a:pt x="3156" y="4589"/>
                  <a:pt x="3152" y="4589"/>
                </a:cubicBezTo>
                <a:cubicBezTo>
                  <a:pt x="3147" y="4589"/>
                  <a:pt x="3144" y="4586"/>
                  <a:pt x="3144" y="4580"/>
                </a:cubicBezTo>
                <a:lnTo>
                  <a:pt x="3144" y="901"/>
                </a:lnTo>
                <a:cubicBezTo>
                  <a:pt x="3144" y="722"/>
                  <a:pt x="3216" y="579"/>
                  <a:pt x="3335" y="460"/>
                </a:cubicBezTo>
                <a:cubicBezTo>
                  <a:pt x="3453" y="353"/>
                  <a:pt x="3600" y="304"/>
                  <a:pt x="3750" y="304"/>
                </a:cubicBezTo>
                <a:close/>
                <a:moveTo>
                  <a:pt x="6451" y="1138"/>
                </a:moveTo>
                <a:cubicBezTo>
                  <a:pt x="6549" y="1138"/>
                  <a:pt x="6645" y="1162"/>
                  <a:pt x="6728" y="1210"/>
                </a:cubicBezTo>
                <a:cubicBezTo>
                  <a:pt x="6918" y="1318"/>
                  <a:pt x="7121" y="1437"/>
                  <a:pt x="7311" y="1556"/>
                </a:cubicBezTo>
                <a:cubicBezTo>
                  <a:pt x="7514" y="1687"/>
                  <a:pt x="7716" y="1842"/>
                  <a:pt x="7907" y="1984"/>
                </a:cubicBezTo>
                <a:cubicBezTo>
                  <a:pt x="7954" y="2020"/>
                  <a:pt x="7978" y="2068"/>
                  <a:pt x="8014" y="2103"/>
                </a:cubicBezTo>
                <a:cubicBezTo>
                  <a:pt x="8085" y="2199"/>
                  <a:pt x="8109" y="2318"/>
                  <a:pt x="8133" y="2437"/>
                </a:cubicBezTo>
                <a:lnTo>
                  <a:pt x="8133" y="2461"/>
                </a:lnTo>
                <a:cubicBezTo>
                  <a:pt x="8133" y="2568"/>
                  <a:pt x="8097" y="2663"/>
                  <a:pt x="8050" y="2746"/>
                </a:cubicBezTo>
                <a:cubicBezTo>
                  <a:pt x="8026" y="2806"/>
                  <a:pt x="7990" y="2854"/>
                  <a:pt x="7954" y="2889"/>
                </a:cubicBezTo>
                <a:lnTo>
                  <a:pt x="5347" y="5497"/>
                </a:lnTo>
                <a:lnTo>
                  <a:pt x="5311" y="5497"/>
                </a:lnTo>
                <a:cubicBezTo>
                  <a:pt x="5192" y="5378"/>
                  <a:pt x="5049" y="5271"/>
                  <a:pt x="4918" y="5187"/>
                </a:cubicBezTo>
                <a:cubicBezTo>
                  <a:pt x="4775" y="5092"/>
                  <a:pt x="4632" y="5009"/>
                  <a:pt x="4478" y="4949"/>
                </a:cubicBezTo>
                <a:cubicBezTo>
                  <a:pt x="4466" y="4949"/>
                  <a:pt x="4466" y="4937"/>
                  <a:pt x="4466" y="4913"/>
                </a:cubicBezTo>
                <a:lnTo>
                  <a:pt x="5883" y="1508"/>
                </a:lnTo>
                <a:cubicBezTo>
                  <a:pt x="5942" y="1341"/>
                  <a:pt x="6073" y="1234"/>
                  <a:pt x="6240" y="1175"/>
                </a:cubicBezTo>
                <a:cubicBezTo>
                  <a:pt x="6309" y="1150"/>
                  <a:pt x="6381" y="1138"/>
                  <a:pt x="6451" y="1138"/>
                </a:cubicBezTo>
                <a:close/>
                <a:moveTo>
                  <a:pt x="8633" y="2937"/>
                </a:moveTo>
                <a:cubicBezTo>
                  <a:pt x="8800" y="2961"/>
                  <a:pt x="8966" y="3032"/>
                  <a:pt x="9062" y="3163"/>
                </a:cubicBezTo>
                <a:cubicBezTo>
                  <a:pt x="9228" y="3354"/>
                  <a:pt x="9383" y="3568"/>
                  <a:pt x="9514" y="3770"/>
                </a:cubicBezTo>
                <a:cubicBezTo>
                  <a:pt x="9633" y="3949"/>
                  <a:pt x="9752" y="4151"/>
                  <a:pt x="9859" y="4342"/>
                </a:cubicBezTo>
                <a:cubicBezTo>
                  <a:pt x="9883" y="4389"/>
                  <a:pt x="9895" y="4425"/>
                  <a:pt x="9919" y="4485"/>
                </a:cubicBezTo>
                <a:cubicBezTo>
                  <a:pt x="9931" y="4532"/>
                  <a:pt x="9931" y="4592"/>
                  <a:pt x="9931" y="4639"/>
                </a:cubicBezTo>
                <a:cubicBezTo>
                  <a:pt x="9931" y="4699"/>
                  <a:pt x="9919" y="4759"/>
                  <a:pt x="9895" y="4818"/>
                </a:cubicBezTo>
                <a:cubicBezTo>
                  <a:pt x="9895" y="4830"/>
                  <a:pt x="9883" y="4866"/>
                  <a:pt x="9871" y="4878"/>
                </a:cubicBezTo>
                <a:lnTo>
                  <a:pt x="9871" y="4890"/>
                </a:lnTo>
                <a:cubicBezTo>
                  <a:pt x="9859" y="4937"/>
                  <a:pt x="9824" y="4961"/>
                  <a:pt x="9800" y="4997"/>
                </a:cubicBezTo>
                <a:cubicBezTo>
                  <a:pt x="9740" y="5068"/>
                  <a:pt x="9645" y="5128"/>
                  <a:pt x="9562" y="5175"/>
                </a:cubicBezTo>
                <a:lnTo>
                  <a:pt x="6145" y="6592"/>
                </a:lnTo>
                <a:lnTo>
                  <a:pt x="6133" y="6592"/>
                </a:lnTo>
                <a:cubicBezTo>
                  <a:pt x="6133" y="6592"/>
                  <a:pt x="6121" y="6592"/>
                  <a:pt x="6121" y="6568"/>
                </a:cubicBezTo>
                <a:cubicBezTo>
                  <a:pt x="6049" y="6402"/>
                  <a:pt x="5954" y="6259"/>
                  <a:pt x="5847" y="6104"/>
                </a:cubicBezTo>
                <a:cubicBezTo>
                  <a:pt x="5764" y="5973"/>
                  <a:pt x="5668" y="5854"/>
                  <a:pt x="5573" y="5759"/>
                </a:cubicBezTo>
                <a:lnTo>
                  <a:pt x="5573" y="5723"/>
                </a:lnTo>
                <a:lnTo>
                  <a:pt x="8169" y="3115"/>
                </a:lnTo>
                <a:cubicBezTo>
                  <a:pt x="8288" y="2996"/>
                  <a:pt x="8454" y="2937"/>
                  <a:pt x="8633" y="2937"/>
                </a:cubicBezTo>
                <a:close/>
                <a:moveTo>
                  <a:pt x="2966" y="4878"/>
                </a:moveTo>
                <a:cubicBezTo>
                  <a:pt x="3013" y="4901"/>
                  <a:pt x="3073" y="4913"/>
                  <a:pt x="3132" y="4913"/>
                </a:cubicBezTo>
                <a:cubicBezTo>
                  <a:pt x="3216" y="4913"/>
                  <a:pt x="3311" y="4937"/>
                  <a:pt x="3394" y="4949"/>
                </a:cubicBezTo>
                <a:lnTo>
                  <a:pt x="2966" y="7140"/>
                </a:lnTo>
                <a:lnTo>
                  <a:pt x="2918" y="7140"/>
                </a:lnTo>
                <a:lnTo>
                  <a:pt x="2537" y="4949"/>
                </a:lnTo>
                <a:cubicBezTo>
                  <a:pt x="2620" y="4937"/>
                  <a:pt x="2727" y="4925"/>
                  <a:pt x="2811" y="4925"/>
                </a:cubicBezTo>
                <a:lnTo>
                  <a:pt x="2870" y="4925"/>
                </a:lnTo>
                <a:cubicBezTo>
                  <a:pt x="2894" y="4925"/>
                  <a:pt x="2894" y="4925"/>
                  <a:pt x="2906" y="4901"/>
                </a:cubicBezTo>
                <a:cubicBezTo>
                  <a:pt x="2918" y="4901"/>
                  <a:pt x="2918" y="4901"/>
                  <a:pt x="2930" y="4890"/>
                </a:cubicBezTo>
                <a:cubicBezTo>
                  <a:pt x="2954" y="4890"/>
                  <a:pt x="2954" y="4878"/>
                  <a:pt x="2966" y="4878"/>
                </a:cubicBezTo>
                <a:close/>
                <a:moveTo>
                  <a:pt x="3728" y="4997"/>
                </a:moveTo>
                <a:lnTo>
                  <a:pt x="4037" y="5080"/>
                </a:lnTo>
                <a:cubicBezTo>
                  <a:pt x="4049" y="5080"/>
                  <a:pt x="4049" y="5080"/>
                  <a:pt x="4061" y="5104"/>
                </a:cubicBezTo>
                <a:lnTo>
                  <a:pt x="4228" y="5104"/>
                </a:lnTo>
                <a:cubicBezTo>
                  <a:pt x="4251" y="5140"/>
                  <a:pt x="4299" y="5187"/>
                  <a:pt x="4359" y="5199"/>
                </a:cubicBezTo>
                <a:cubicBezTo>
                  <a:pt x="4418" y="5259"/>
                  <a:pt x="4502" y="5306"/>
                  <a:pt x="4585" y="5354"/>
                </a:cubicBezTo>
                <a:lnTo>
                  <a:pt x="3335" y="7199"/>
                </a:lnTo>
                <a:cubicBezTo>
                  <a:pt x="3323" y="7199"/>
                  <a:pt x="3299" y="7176"/>
                  <a:pt x="3287" y="7176"/>
                </a:cubicBezTo>
                <a:lnTo>
                  <a:pt x="3728" y="4997"/>
                </a:lnTo>
                <a:close/>
                <a:moveTo>
                  <a:pt x="4859" y="5532"/>
                </a:moveTo>
                <a:cubicBezTo>
                  <a:pt x="4942" y="5592"/>
                  <a:pt x="5013" y="5663"/>
                  <a:pt x="5097" y="5723"/>
                </a:cubicBezTo>
                <a:cubicBezTo>
                  <a:pt x="5097" y="5723"/>
                  <a:pt x="5109" y="5735"/>
                  <a:pt x="5121" y="5735"/>
                </a:cubicBezTo>
                <a:lnTo>
                  <a:pt x="5133" y="5759"/>
                </a:lnTo>
                <a:cubicBezTo>
                  <a:pt x="5156" y="5759"/>
                  <a:pt x="5156" y="5771"/>
                  <a:pt x="5168" y="5771"/>
                </a:cubicBezTo>
                <a:cubicBezTo>
                  <a:pt x="5168" y="5771"/>
                  <a:pt x="5180" y="5771"/>
                  <a:pt x="5180" y="5782"/>
                </a:cubicBezTo>
                <a:cubicBezTo>
                  <a:pt x="5192" y="5782"/>
                  <a:pt x="5192" y="5782"/>
                  <a:pt x="5216" y="5794"/>
                </a:cubicBezTo>
                <a:lnTo>
                  <a:pt x="5228" y="5794"/>
                </a:lnTo>
                <a:cubicBezTo>
                  <a:pt x="5240" y="5854"/>
                  <a:pt x="5275" y="5902"/>
                  <a:pt x="5299" y="5949"/>
                </a:cubicBezTo>
                <a:cubicBezTo>
                  <a:pt x="5359" y="6009"/>
                  <a:pt x="5418" y="6080"/>
                  <a:pt x="5466" y="6152"/>
                </a:cubicBezTo>
                <a:lnTo>
                  <a:pt x="3629" y="7396"/>
                </a:lnTo>
                <a:lnTo>
                  <a:pt x="3629" y="7396"/>
                </a:lnTo>
                <a:cubicBezTo>
                  <a:pt x="3623" y="7389"/>
                  <a:pt x="3617" y="7382"/>
                  <a:pt x="3609" y="7378"/>
                </a:cubicBezTo>
                <a:lnTo>
                  <a:pt x="4859" y="5532"/>
                </a:lnTo>
                <a:close/>
                <a:moveTo>
                  <a:pt x="5692" y="6425"/>
                </a:moveTo>
                <a:cubicBezTo>
                  <a:pt x="5752" y="6509"/>
                  <a:pt x="5787" y="6616"/>
                  <a:pt x="5835" y="6711"/>
                </a:cubicBezTo>
                <a:cubicBezTo>
                  <a:pt x="5835" y="6723"/>
                  <a:pt x="5847" y="6735"/>
                  <a:pt x="5847" y="6735"/>
                </a:cubicBezTo>
                <a:cubicBezTo>
                  <a:pt x="5847" y="6747"/>
                  <a:pt x="5871" y="6747"/>
                  <a:pt x="5883" y="6771"/>
                </a:cubicBezTo>
                <a:lnTo>
                  <a:pt x="5906" y="6795"/>
                </a:lnTo>
                <a:lnTo>
                  <a:pt x="5942" y="6830"/>
                </a:lnTo>
                <a:cubicBezTo>
                  <a:pt x="5930" y="6878"/>
                  <a:pt x="5942" y="6949"/>
                  <a:pt x="5954" y="6985"/>
                </a:cubicBezTo>
                <a:cubicBezTo>
                  <a:pt x="5990" y="7080"/>
                  <a:pt x="6014" y="7164"/>
                  <a:pt x="6026" y="7259"/>
                </a:cubicBezTo>
                <a:lnTo>
                  <a:pt x="3859" y="7723"/>
                </a:lnTo>
                <a:cubicBezTo>
                  <a:pt x="3859" y="7699"/>
                  <a:pt x="3847" y="7687"/>
                  <a:pt x="3847" y="7676"/>
                </a:cubicBezTo>
                <a:lnTo>
                  <a:pt x="5692" y="6425"/>
                </a:lnTo>
                <a:close/>
                <a:moveTo>
                  <a:pt x="9900" y="5418"/>
                </a:moveTo>
                <a:cubicBezTo>
                  <a:pt x="9989" y="5418"/>
                  <a:pt x="10076" y="5436"/>
                  <a:pt x="10157" y="5473"/>
                </a:cubicBezTo>
                <a:cubicBezTo>
                  <a:pt x="10300" y="5544"/>
                  <a:pt x="10419" y="5675"/>
                  <a:pt x="10467" y="5842"/>
                </a:cubicBezTo>
                <a:cubicBezTo>
                  <a:pt x="10598" y="6294"/>
                  <a:pt x="10693" y="6771"/>
                  <a:pt x="10728" y="7223"/>
                </a:cubicBezTo>
                <a:lnTo>
                  <a:pt x="10728" y="7283"/>
                </a:lnTo>
                <a:cubicBezTo>
                  <a:pt x="10752" y="7437"/>
                  <a:pt x="10705" y="7568"/>
                  <a:pt x="10609" y="7676"/>
                </a:cubicBezTo>
                <a:cubicBezTo>
                  <a:pt x="10598" y="7687"/>
                  <a:pt x="10598" y="7687"/>
                  <a:pt x="10598" y="7699"/>
                </a:cubicBezTo>
                <a:cubicBezTo>
                  <a:pt x="10598" y="7723"/>
                  <a:pt x="10586" y="7723"/>
                  <a:pt x="10586" y="7735"/>
                </a:cubicBezTo>
                <a:lnTo>
                  <a:pt x="10574" y="7747"/>
                </a:lnTo>
                <a:lnTo>
                  <a:pt x="10550" y="7759"/>
                </a:lnTo>
                <a:lnTo>
                  <a:pt x="10538" y="7783"/>
                </a:lnTo>
                <a:lnTo>
                  <a:pt x="10526" y="7795"/>
                </a:lnTo>
                <a:cubicBezTo>
                  <a:pt x="10526" y="7795"/>
                  <a:pt x="10514" y="7795"/>
                  <a:pt x="10514" y="7807"/>
                </a:cubicBezTo>
                <a:cubicBezTo>
                  <a:pt x="10514" y="7807"/>
                  <a:pt x="10490" y="7807"/>
                  <a:pt x="10490" y="7818"/>
                </a:cubicBezTo>
                <a:cubicBezTo>
                  <a:pt x="10490" y="7818"/>
                  <a:pt x="10478" y="7818"/>
                  <a:pt x="10478" y="7842"/>
                </a:cubicBezTo>
                <a:cubicBezTo>
                  <a:pt x="10478" y="7842"/>
                  <a:pt x="10467" y="7842"/>
                  <a:pt x="10467" y="7854"/>
                </a:cubicBezTo>
                <a:lnTo>
                  <a:pt x="10455" y="7854"/>
                </a:lnTo>
                <a:cubicBezTo>
                  <a:pt x="10455" y="7854"/>
                  <a:pt x="10431" y="7854"/>
                  <a:pt x="10431" y="7866"/>
                </a:cubicBezTo>
                <a:lnTo>
                  <a:pt x="10419" y="7866"/>
                </a:lnTo>
                <a:cubicBezTo>
                  <a:pt x="10419" y="7866"/>
                  <a:pt x="10407" y="7866"/>
                  <a:pt x="10407" y="7878"/>
                </a:cubicBezTo>
                <a:lnTo>
                  <a:pt x="10395" y="7878"/>
                </a:lnTo>
                <a:cubicBezTo>
                  <a:pt x="10395" y="7878"/>
                  <a:pt x="10371" y="7878"/>
                  <a:pt x="10371" y="7902"/>
                </a:cubicBezTo>
                <a:lnTo>
                  <a:pt x="6466" y="7902"/>
                </a:lnTo>
                <a:cubicBezTo>
                  <a:pt x="6442" y="7902"/>
                  <a:pt x="6442" y="7878"/>
                  <a:pt x="6442" y="7878"/>
                </a:cubicBezTo>
                <a:cubicBezTo>
                  <a:pt x="6430" y="7545"/>
                  <a:pt x="6359" y="7211"/>
                  <a:pt x="6252" y="6902"/>
                </a:cubicBezTo>
                <a:cubicBezTo>
                  <a:pt x="6252" y="6890"/>
                  <a:pt x="6252" y="6890"/>
                  <a:pt x="6264" y="6866"/>
                </a:cubicBezTo>
                <a:lnTo>
                  <a:pt x="9657" y="5461"/>
                </a:lnTo>
                <a:cubicBezTo>
                  <a:pt x="9736" y="5433"/>
                  <a:pt x="9819" y="5418"/>
                  <a:pt x="9900" y="5418"/>
                </a:cubicBezTo>
                <a:close/>
                <a:moveTo>
                  <a:pt x="6109" y="7604"/>
                </a:moveTo>
                <a:cubicBezTo>
                  <a:pt x="6121" y="7699"/>
                  <a:pt x="6133" y="7807"/>
                  <a:pt x="6133" y="7914"/>
                </a:cubicBezTo>
                <a:lnTo>
                  <a:pt x="6133" y="7938"/>
                </a:lnTo>
                <a:lnTo>
                  <a:pt x="6133" y="7973"/>
                </a:lnTo>
                <a:cubicBezTo>
                  <a:pt x="6133" y="7985"/>
                  <a:pt x="6133" y="7985"/>
                  <a:pt x="6145" y="7997"/>
                </a:cubicBezTo>
                <a:cubicBezTo>
                  <a:pt x="6145" y="8021"/>
                  <a:pt x="6145" y="8021"/>
                  <a:pt x="6168" y="8033"/>
                </a:cubicBezTo>
                <a:cubicBezTo>
                  <a:pt x="6168" y="8045"/>
                  <a:pt x="6180" y="8045"/>
                  <a:pt x="6180" y="8057"/>
                </a:cubicBezTo>
                <a:cubicBezTo>
                  <a:pt x="6145" y="8104"/>
                  <a:pt x="6133" y="8164"/>
                  <a:pt x="6133" y="8223"/>
                </a:cubicBezTo>
                <a:cubicBezTo>
                  <a:pt x="6133" y="8319"/>
                  <a:pt x="6121" y="8390"/>
                  <a:pt x="6109" y="8473"/>
                </a:cubicBezTo>
                <a:lnTo>
                  <a:pt x="3930" y="8092"/>
                </a:lnTo>
                <a:lnTo>
                  <a:pt x="3930" y="8033"/>
                </a:lnTo>
                <a:lnTo>
                  <a:pt x="6109" y="7604"/>
                </a:lnTo>
                <a:close/>
                <a:moveTo>
                  <a:pt x="2978" y="7437"/>
                </a:moveTo>
                <a:cubicBezTo>
                  <a:pt x="3335" y="7437"/>
                  <a:pt x="3620" y="7723"/>
                  <a:pt x="3620" y="8080"/>
                </a:cubicBezTo>
                <a:cubicBezTo>
                  <a:pt x="3609" y="8438"/>
                  <a:pt x="3323" y="8711"/>
                  <a:pt x="2978" y="8711"/>
                </a:cubicBezTo>
                <a:cubicBezTo>
                  <a:pt x="2620" y="8711"/>
                  <a:pt x="2335" y="8438"/>
                  <a:pt x="2335" y="8080"/>
                </a:cubicBezTo>
                <a:cubicBezTo>
                  <a:pt x="2335" y="7723"/>
                  <a:pt x="2620" y="7437"/>
                  <a:pt x="2978" y="7437"/>
                </a:cubicBezTo>
                <a:close/>
                <a:moveTo>
                  <a:pt x="3749" y="1"/>
                </a:moveTo>
                <a:cubicBezTo>
                  <a:pt x="3525" y="1"/>
                  <a:pt x="3308" y="92"/>
                  <a:pt x="3144" y="246"/>
                </a:cubicBezTo>
                <a:cubicBezTo>
                  <a:pt x="3085" y="294"/>
                  <a:pt x="3037" y="353"/>
                  <a:pt x="2989" y="413"/>
                </a:cubicBezTo>
                <a:cubicBezTo>
                  <a:pt x="2942" y="353"/>
                  <a:pt x="2906" y="294"/>
                  <a:pt x="2847" y="246"/>
                </a:cubicBezTo>
                <a:cubicBezTo>
                  <a:pt x="2658" y="80"/>
                  <a:pt x="2419" y="7"/>
                  <a:pt x="2185" y="7"/>
                </a:cubicBezTo>
                <a:cubicBezTo>
                  <a:pt x="2168" y="7"/>
                  <a:pt x="2150" y="7"/>
                  <a:pt x="2132" y="8"/>
                </a:cubicBezTo>
                <a:cubicBezTo>
                  <a:pt x="1632" y="56"/>
                  <a:pt x="1156" y="151"/>
                  <a:pt x="680" y="294"/>
                </a:cubicBezTo>
                <a:cubicBezTo>
                  <a:pt x="430" y="365"/>
                  <a:pt x="227" y="544"/>
                  <a:pt x="120" y="782"/>
                </a:cubicBezTo>
                <a:cubicBezTo>
                  <a:pt x="1" y="1020"/>
                  <a:pt x="1" y="1282"/>
                  <a:pt x="108" y="1520"/>
                </a:cubicBezTo>
                <a:lnTo>
                  <a:pt x="370" y="2175"/>
                </a:lnTo>
                <a:cubicBezTo>
                  <a:pt x="397" y="2248"/>
                  <a:pt x="466" y="2279"/>
                  <a:pt x="529" y="2279"/>
                </a:cubicBezTo>
                <a:cubicBezTo>
                  <a:pt x="549" y="2279"/>
                  <a:pt x="567" y="2276"/>
                  <a:pt x="584" y="2270"/>
                </a:cubicBezTo>
                <a:cubicBezTo>
                  <a:pt x="668" y="2234"/>
                  <a:pt x="703" y="2139"/>
                  <a:pt x="668" y="2056"/>
                </a:cubicBezTo>
                <a:lnTo>
                  <a:pt x="406" y="1401"/>
                </a:lnTo>
                <a:cubicBezTo>
                  <a:pt x="346" y="1246"/>
                  <a:pt x="346" y="1068"/>
                  <a:pt x="418" y="913"/>
                </a:cubicBezTo>
                <a:cubicBezTo>
                  <a:pt x="489" y="770"/>
                  <a:pt x="620" y="651"/>
                  <a:pt x="787" y="603"/>
                </a:cubicBezTo>
                <a:cubicBezTo>
                  <a:pt x="1239" y="472"/>
                  <a:pt x="1715" y="377"/>
                  <a:pt x="2168" y="329"/>
                </a:cubicBezTo>
                <a:cubicBezTo>
                  <a:pt x="2182" y="328"/>
                  <a:pt x="2196" y="328"/>
                  <a:pt x="2210" y="328"/>
                </a:cubicBezTo>
                <a:cubicBezTo>
                  <a:pt x="2364" y="328"/>
                  <a:pt x="2523" y="386"/>
                  <a:pt x="2632" y="484"/>
                </a:cubicBezTo>
                <a:cubicBezTo>
                  <a:pt x="2763" y="603"/>
                  <a:pt x="2823" y="746"/>
                  <a:pt x="2823" y="925"/>
                </a:cubicBezTo>
                <a:lnTo>
                  <a:pt x="2823" y="4604"/>
                </a:lnTo>
                <a:lnTo>
                  <a:pt x="2823" y="4616"/>
                </a:lnTo>
                <a:lnTo>
                  <a:pt x="2811" y="4639"/>
                </a:lnTo>
                <a:cubicBezTo>
                  <a:pt x="2466" y="4651"/>
                  <a:pt x="2144" y="4723"/>
                  <a:pt x="1835" y="4830"/>
                </a:cubicBezTo>
                <a:cubicBezTo>
                  <a:pt x="1811" y="4830"/>
                  <a:pt x="1811" y="4830"/>
                  <a:pt x="1799" y="4818"/>
                </a:cubicBezTo>
                <a:lnTo>
                  <a:pt x="953" y="2758"/>
                </a:lnTo>
                <a:cubicBezTo>
                  <a:pt x="927" y="2697"/>
                  <a:pt x="868" y="2661"/>
                  <a:pt x="806" y="2661"/>
                </a:cubicBezTo>
                <a:cubicBezTo>
                  <a:pt x="784" y="2661"/>
                  <a:pt x="761" y="2666"/>
                  <a:pt x="739" y="2675"/>
                </a:cubicBezTo>
                <a:cubicBezTo>
                  <a:pt x="656" y="2699"/>
                  <a:pt x="620" y="2806"/>
                  <a:pt x="656" y="2877"/>
                </a:cubicBezTo>
                <a:lnTo>
                  <a:pt x="1501" y="4937"/>
                </a:lnTo>
                <a:cubicBezTo>
                  <a:pt x="1558" y="5060"/>
                  <a:pt x="1682" y="5146"/>
                  <a:pt x="1821" y="5146"/>
                </a:cubicBezTo>
                <a:cubicBezTo>
                  <a:pt x="1856" y="5146"/>
                  <a:pt x="1893" y="5140"/>
                  <a:pt x="1930" y="5128"/>
                </a:cubicBezTo>
                <a:cubicBezTo>
                  <a:pt x="2025" y="5092"/>
                  <a:pt x="2132" y="5068"/>
                  <a:pt x="2216" y="5032"/>
                </a:cubicBezTo>
                <a:lnTo>
                  <a:pt x="2608" y="7223"/>
                </a:lnTo>
                <a:cubicBezTo>
                  <a:pt x="2251" y="7354"/>
                  <a:pt x="2013" y="7711"/>
                  <a:pt x="2013" y="8116"/>
                </a:cubicBezTo>
                <a:cubicBezTo>
                  <a:pt x="2013" y="8640"/>
                  <a:pt x="2442" y="9069"/>
                  <a:pt x="2966" y="9069"/>
                </a:cubicBezTo>
                <a:cubicBezTo>
                  <a:pt x="3382" y="9069"/>
                  <a:pt x="3740" y="8807"/>
                  <a:pt x="3870" y="8426"/>
                </a:cubicBezTo>
                <a:lnTo>
                  <a:pt x="6037" y="8819"/>
                </a:lnTo>
                <a:cubicBezTo>
                  <a:pt x="6014" y="8926"/>
                  <a:pt x="5978" y="9045"/>
                  <a:pt x="5954" y="9140"/>
                </a:cubicBezTo>
                <a:cubicBezTo>
                  <a:pt x="5895" y="9307"/>
                  <a:pt x="5978" y="9497"/>
                  <a:pt x="6145" y="9581"/>
                </a:cubicBezTo>
                <a:lnTo>
                  <a:pt x="8109" y="10390"/>
                </a:lnTo>
                <a:cubicBezTo>
                  <a:pt x="8121" y="10414"/>
                  <a:pt x="8157" y="10414"/>
                  <a:pt x="8169" y="10414"/>
                </a:cubicBezTo>
                <a:cubicBezTo>
                  <a:pt x="8228" y="10414"/>
                  <a:pt x="8288" y="10366"/>
                  <a:pt x="8323" y="10307"/>
                </a:cubicBezTo>
                <a:cubicBezTo>
                  <a:pt x="8347" y="10212"/>
                  <a:pt x="8323" y="10128"/>
                  <a:pt x="8228" y="10093"/>
                </a:cubicBezTo>
                <a:lnTo>
                  <a:pt x="6264" y="9283"/>
                </a:lnTo>
                <a:cubicBezTo>
                  <a:pt x="6252" y="9283"/>
                  <a:pt x="6252" y="9259"/>
                  <a:pt x="6252" y="9247"/>
                </a:cubicBezTo>
                <a:cubicBezTo>
                  <a:pt x="6371" y="8938"/>
                  <a:pt x="6430" y="8604"/>
                  <a:pt x="6442" y="8271"/>
                </a:cubicBezTo>
                <a:cubicBezTo>
                  <a:pt x="6442" y="8247"/>
                  <a:pt x="6466" y="8247"/>
                  <a:pt x="6466" y="8247"/>
                </a:cubicBezTo>
                <a:lnTo>
                  <a:pt x="10133" y="8247"/>
                </a:lnTo>
                <a:cubicBezTo>
                  <a:pt x="10312" y="8247"/>
                  <a:pt x="10467" y="8330"/>
                  <a:pt x="10586" y="8449"/>
                </a:cubicBezTo>
                <a:cubicBezTo>
                  <a:pt x="10705" y="8580"/>
                  <a:pt x="10740" y="8747"/>
                  <a:pt x="10728" y="8902"/>
                </a:cubicBezTo>
                <a:cubicBezTo>
                  <a:pt x="10693" y="9366"/>
                  <a:pt x="10586" y="9842"/>
                  <a:pt x="10467" y="10295"/>
                </a:cubicBezTo>
                <a:cubicBezTo>
                  <a:pt x="10419" y="10450"/>
                  <a:pt x="10300" y="10593"/>
                  <a:pt x="10157" y="10664"/>
                </a:cubicBezTo>
                <a:cubicBezTo>
                  <a:pt x="10076" y="10701"/>
                  <a:pt x="9989" y="10719"/>
                  <a:pt x="9900" y="10719"/>
                </a:cubicBezTo>
                <a:cubicBezTo>
                  <a:pt x="9819" y="10719"/>
                  <a:pt x="9736" y="10704"/>
                  <a:pt x="9657" y="10676"/>
                </a:cubicBezTo>
                <a:lnTo>
                  <a:pt x="8919" y="10366"/>
                </a:lnTo>
                <a:cubicBezTo>
                  <a:pt x="8900" y="10357"/>
                  <a:pt x="8879" y="10353"/>
                  <a:pt x="8857" y="10353"/>
                </a:cubicBezTo>
                <a:cubicBezTo>
                  <a:pt x="8796" y="10353"/>
                  <a:pt x="8731" y="10388"/>
                  <a:pt x="8704" y="10450"/>
                </a:cubicBezTo>
                <a:cubicBezTo>
                  <a:pt x="8681" y="10545"/>
                  <a:pt x="8704" y="10628"/>
                  <a:pt x="8800" y="10664"/>
                </a:cubicBezTo>
                <a:lnTo>
                  <a:pt x="9538" y="10974"/>
                </a:lnTo>
                <a:cubicBezTo>
                  <a:pt x="9657" y="11021"/>
                  <a:pt x="9776" y="11045"/>
                  <a:pt x="9895" y="11045"/>
                </a:cubicBezTo>
                <a:cubicBezTo>
                  <a:pt x="10038" y="11045"/>
                  <a:pt x="10169" y="11021"/>
                  <a:pt x="10300" y="10962"/>
                </a:cubicBezTo>
                <a:cubicBezTo>
                  <a:pt x="10538" y="10843"/>
                  <a:pt x="10717" y="10652"/>
                  <a:pt x="10788" y="10390"/>
                </a:cubicBezTo>
                <a:cubicBezTo>
                  <a:pt x="10931" y="9938"/>
                  <a:pt x="11026" y="9438"/>
                  <a:pt x="11074" y="8950"/>
                </a:cubicBezTo>
                <a:cubicBezTo>
                  <a:pt x="11109" y="8700"/>
                  <a:pt x="11014" y="8426"/>
                  <a:pt x="10836" y="8235"/>
                </a:cubicBezTo>
                <a:cubicBezTo>
                  <a:pt x="10776" y="8152"/>
                  <a:pt x="10728" y="8104"/>
                  <a:pt x="10669" y="8057"/>
                </a:cubicBezTo>
                <a:cubicBezTo>
                  <a:pt x="10693" y="8045"/>
                  <a:pt x="10705" y="8045"/>
                  <a:pt x="10705" y="8033"/>
                </a:cubicBezTo>
                <a:lnTo>
                  <a:pt x="10717" y="8021"/>
                </a:lnTo>
                <a:cubicBezTo>
                  <a:pt x="10728" y="8021"/>
                  <a:pt x="10728" y="7997"/>
                  <a:pt x="10752" y="7997"/>
                </a:cubicBezTo>
                <a:lnTo>
                  <a:pt x="10764" y="7985"/>
                </a:lnTo>
                <a:lnTo>
                  <a:pt x="10788" y="7949"/>
                </a:lnTo>
                <a:lnTo>
                  <a:pt x="10812" y="7938"/>
                </a:lnTo>
                <a:cubicBezTo>
                  <a:pt x="10824" y="7926"/>
                  <a:pt x="10836" y="7914"/>
                  <a:pt x="10836" y="7890"/>
                </a:cubicBezTo>
                <a:cubicBezTo>
                  <a:pt x="11014" y="7699"/>
                  <a:pt x="11086" y="7437"/>
                  <a:pt x="11074" y="7176"/>
                </a:cubicBezTo>
                <a:cubicBezTo>
                  <a:pt x="11026" y="6687"/>
                  <a:pt x="10931" y="6211"/>
                  <a:pt x="10788" y="5735"/>
                </a:cubicBezTo>
                <a:cubicBezTo>
                  <a:pt x="10717" y="5485"/>
                  <a:pt x="10538" y="5271"/>
                  <a:pt x="10300" y="5175"/>
                </a:cubicBezTo>
                <a:cubicBezTo>
                  <a:pt x="10228" y="5140"/>
                  <a:pt x="10169" y="5116"/>
                  <a:pt x="10086" y="5092"/>
                </a:cubicBezTo>
                <a:lnTo>
                  <a:pt x="10086" y="5080"/>
                </a:lnTo>
                <a:cubicBezTo>
                  <a:pt x="10086" y="5068"/>
                  <a:pt x="10109" y="5068"/>
                  <a:pt x="10109" y="5056"/>
                </a:cubicBezTo>
                <a:cubicBezTo>
                  <a:pt x="10109" y="5056"/>
                  <a:pt x="10109" y="5032"/>
                  <a:pt x="10121" y="5032"/>
                </a:cubicBezTo>
                <a:cubicBezTo>
                  <a:pt x="10121" y="5020"/>
                  <a:pt x="10133" y="5020"/>
                  <a:pt x="10133" y="5009"/>
                </a:cubicBezTo>
                <a:cubicBezTo>
                  <a:pt x="10133" y="5009"/>
                  <a:pt x="10133" y="4997"/>
                  <a:pt x="10145" y="4997"/>
                </a:cubicBezTo>
                <a:cubicBezTo>
                  <a:pt x="10145" y="4973"/>
                  <a:pt x="10169" y="4973"/>
                  <a:pt x="10169" y="4961"/>
                </a:cubicBezTo>
                <a:lnTo>
                  <a:pt x="10169" y="4949"/>
                </a:lnTo>
                <a:cubicBezTo>
                  <a:pt x="10169" y="4937"/>
                  <a:pt x="10181" y="4913"/>
                  <a:pt x="10181" y="4901"/>
                </a:cubicBezTo>
                <a:cubicBezTo>
                  <a:pt x="10205" y="4818"/>
                  <a:pt x="10228" y="4711"/>
                  <a:pt x="10240" y="4616"/>
                </a:cubicBezTo>
                <a:cubicBezTo>
                  <a:pt x="10240" y="4473"/>
                  <a:pt x="10205" y="4342"/>
                  <a:pt x="10145" y="4199"/>
                </a:cubicBezTo>
                <a:cubicBezTo>
                  <a:pt x="10145" y="4187"/>
                  <a:pt x="10133" y="4175"/>
                  <a:pt x="10133" y="4163"/>
                </a:cubicBezTo>
                <a:cubicBezTo>
                  <a:pt x="10026" y="3961"/>
                  <a:pt x="9907" y="3770"/>
                  <a:pt x="9776" y="3580"/>
                </a:cubicBezTo>
                <a:cubicBezTo>
                  <a:pt x="9633" y="3354"/>
                  <a:pt x="9478" y="3151"/>
                  <a:pt x="9312" y="2937"/>
                </a:cubicBezTo>
                <a:cubicBezTo>
                  <a:pt x="9157" y="2734"/>
                  <a:pt x="8919" y="2615"/>
                  <a:pt x="8645" y="2592"/>
                </a:cubicBezTo>
                <a:cubicBezTo>
                  <a:pt x="8573" y="2592"/>
                  <a:pt x="8502" y="2592"/>
                  <a:pt x="8419" y="2615"/>
                </a:cubicBezTo>
                <a:lnTo>
                  <a:pt x="8419" y="2592"/>
                </a:lnTo>
                <a:lnTo>
                  <a:pt x="8419" y="2568"/>
                </a:lnTo>
                <a:lnTo>
                  <a:pt x="8419" y="2556"/>
                </a:lnTo>
                <a:lnTo>
                  <a:pt x="8419" y="2520"/>
                </a:lnTo>
                <a:lnTo>
                  <a:pt x="8419" y="2508"/>
                </a:lnTo>
                <a:lnTo>
                  <a:pt x="8419" y="2473"/>
                </a:lnTo>
                <a:lnTo>
                  <a:pt x="8419" y="2461"/>
                </a:lnTo>
                <a:lnTo>
                  <a:pt x="8419" y="2401"/>
                </a:lnTo>
                <a:cubicBezTo>
                  <a:pt x="8419" y="2318"/>
                  <a:pt x="8395" y="2223"/>
                  <a:pt x="8359" y="2139"/>
                </a:cubicBezTo>
                <a:cubicBezTo>
                  <a:pt x="8300" y="1972"/>
                  <a:pt x="8216" y="1842"/>
                  <a:pt x="8085" y="1734"/>
                </a:cubicBezTo>
                <a:cubicBezTo>
                  <a:pt x="7883" y="1568"/>
                  <a:pt x="7680" y="1425"/>
                  <a:pt x="7454" y="1270"/>
                </a:cubicBezTo>
                <a:cubicBezTo>
                  <a:pt x="7264" y="1139"/>
                  <a:pt x="7049" y="1020"/>
                  <a:pt x="6859" y="913"/>
                </a:cubicBezTo>
                <a:cubicBezTo>
                  <a:pt x="6723" y="841"/>
                  <a:pt x="6569" y="804"/>
                  <a:pt x="6417" y="804"/>
                </a:cubicBezTo>
                <a:cubicBezTo>
                  <a:pt x="6316" y="804"/>
                  <a:pt x="6215" y="820"/>
                  <a:pt x="6121" y="853"/>
                </a:cubicBezTo>
                <a:cubicBezTo>
                  <a:pt x="6037" y="889"/>
                  <a:pt x="5978" y="913"/>
                  <a:pt x="5918" y="960"/>
                </a:cubicBezTo>
                <a:lnTo>
                  <a:pt x="5918" y="949"/>
                </a:lnTo>
                <a:cubicBezTo>
                  <a:pt x="5918" y="925"/>
                  <a:pt x="5918" y="925"/>
                  <a:pt x="5906" y="913"/>
                </a:cubicBezTo>
                <a:lnTo>
                  <a:pt x="5906" y="901"/>
                </a:lnTo>
                <a:cubicBezTo>
                  <a:pt x="5906" y="889"/>
                  <a:pt x="5906" y="889"/>
                  <a:pt x="5895" y="865"/>
                </a:cubicBezTo>
                <a:lnTo>
                  <a:pt x="5895" y="853"/>
                </a:lnTo>
                <a:cubicBezTo>
                  <a:pt x="5895" y="841"/>
                  <a:pt x="5883" y="829"/>
                  <a:pt x="5883" y="829"/>
                </a:cubicBezTo>
                <a:lnTo>
                  <a:pt x="5883" y="806"/>
                </a:lnTo>
                <a:cubicBezTo>
                  <a:pt x="5883" y="794"/>
                  <a:pt x="5859" y="782"/>
                  <a:pt x="5859" y="770"/>
                </a:cubicBezTo>
                <a:cubicBezTo>
                  <a:pt x="5799" y="627"/>
                  <a:pt x="5704" y="508"/>
                  <a:pt x="5597" y="437"/>
                </a:cubicBezTo>
                <a:cubicBezTo>
                  <a:pt x="5502" y="377"/>
                  <a:pt x="5418" y="318"/>
                  <a:pt x="5299" y="294"/>
                </a:cubicBezTo>
                <a:cubicBezTo>
                  <a:pt x="5061" y="210"/>
                  <a:pt x="4823" y="151"/>
                  <a:pt x="4585" y="115"/>
                </a:cubicBezTo>
                <a:cubicBezTo>
                  <a:pt x="4347" y="67"/>
                  <a:pt x="4097" y="20"/>
                  <a:pt x="3859" y="8"/>
                </a:cubicBezTo>
                <a:cubicBezTo>
                  <a:pt x="3822" y="3"/>
                  <a:pt x="3785" y="1"/>
                  <a:pt x="374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92" name="Google Shape;12392;p62"/>
          <p:cNvGrpSpPr/>
          <p:nvPr/>
        </p:nvGrpSpPr>
        <p:grpSpPr>
          <a:xfrm>
            <a:off x="4882690" y="2425405"/>
            <a:ext cx="274573" cy="350682"/>
            <a:chOff x="4882690" y="2425405"/>
            <a:chExt cx="274573" cy="350682"/>
          </a:xfrm>
        </p:grpSpPr>
        <p:sp>
          <p:nvSpPr>
            <p:cNvPr id="12393" name="Google Shape;12393;p62"/>
            <p:cNvSpPr/>
            <p:nvPr/>
          </p:nvSpPr>
          <p:spPr>
            <a:xfrm>
              <a:off x="4882690" y="2425405"/>
              <a:ext cx="92075" cy="350682"/>
            </a:xfrm>
            <a:custGeom>
              <a:avLst/>
              <a:gdLst/>
              <a:ahLst/>
              <a:cxnLst/>
              <a:rect l="l" t="t" r="r" b="b"/>
              <a:pathLst>
                <a:path w="2895" h="11026" extrusionOk="0">
                  <a:moveTo>
                    <a:pt x="2573" y="322"/>
                  </a:moveTo>
                  <a:cubicBezTo>
                    <a:pt x="2370" y="1441"/>
                    <a:pt x="2061" y="3167"/>
                    <a:pt x="1965" y="3751"/>
                  </a:cubicBezTo>
                  <a:cubicBezTo>
                    <a:pt x="1942" y="3846"/>
                    <a:pt x="1930" y="3905"/>
                    <a:pt x="1930" y="3929"/>
                  </a:cubicBezTo>
                  <a:cubicBezTo>
                    <a:pt x="1882" y="4179"/>
                    <a:pt x="1894" y="4525"/>
                    <a:pt x="1930" y="4906"/>
                  </a:cubicBezTo>
                  <a:cubicBezTo>
                    <a:pt x="1709" y="4950"/>
                    <a:pt x="1486" y="4966"/>
                    <a:pt x="1277" y="4966"/>
                  </a:cubicBezTo>
                  <a:cubicBezTo>
                    <a:pt x="980" y="4966"/>
                    <a:pt x="714" y="4933"/>
                    <a:pt x="525" y="4906"/>
                  </a:cubicBezTo>
                  <a:cubicBezTo>
                    <a:pt x="846" y="3036"/>
                    <a:pt x="692" y="1750"/>
                    <a:pt x="572" y="798"/>
                  </a:cubicBezTo>
                  <a:cubicBezTo>
                    <a:pt x="561" y="631"/>
                    <a:pt x="525" y="476"/>
                    <a:pt x="513" y="322"/>
                  </a:cubicBezTo>
                  <a:close/>
                  <a:moveTo>
                    <a:pt x="477" y="5215"/>
                  </a:moveTo>
                  <a:cubicBezTo>
                    <a:pt x="680" y="5251"/>
                    <a:pt x="965" y="5298"/>
                    <a:pt x="1287" y="5298"/>
                  </a:cubicBezTo>
                  <a:cubicBezTo>
                    <a:pt x="1501" y="5298"/>
                    <a:pt x="1739" y="5275"/>
                    <a:pt x="1965" y="5239"/>
                  </a:cubicBezTo>
                  <a:cubicBezTo>
                    <a:pt x="1965" y="5275"/>
                    <a:pt x="1977" y="5322"/>
                    <a:pt x="1977" y="5370"/>
                  </a:cubicBezTo>
                  <a:lnTo>
                    <a:pt x="1977" y="5429"/>
                  </a:lnTo>
                  <a:cubicBezTo>
                    <a:pt x="1823" y="5656"/>
                    <a:pt x="1573" y="6001"/>
                    <a:pt x="1215" y="6334"/>
                  </a:cubicBezTo>
                  <a:cubicBezTo>
                    <a:pt x="1084" y="6215"/>
                    <a:pt x="965" y="6084"/>
                    <a:pt x="858" y="5965"/>
                  </a:cubicBezTo>
                  <a:cubicBezTo>
                    <a:pt x="680" y="5739"/>
                    <a:pt x="549" y="5537"/>
                    <a:pt x="453" y="5370"/>
                  </a:cubicBezTo>
                  <a:cubicBezTo>
                    <a:pt x="453" y="5322"/>
                    <a:pt x="453" y="5263"/>
                    <a:pt x="477" y="5215"/>
                  </a:cubicBezTo>
                  <a:close/>
                  <a:moveTo>
                    <a:pt x="2001" y="5929"/>
                  </a:moveTo>
                  <a:cubicBezTo>
                    <a:pt x="2037" y="6263"/>
                    <a:pt x="2061" y="6572"/>
                    <a:pt x="2061" y="6858"/>
                  </a:cubicBezTo>
                  <a:lnTo>
                    <a:pt x="2061" y="6870"/>
                  </a:lnTo>
                  <a:cubicBezTo>
                    <a:pt x="1846" y="6787"/>
                    <a:pt x="1644" y="6680"/>
                    <a:pt x="1465" y="6549"/>
                  </a:cubicBezTo>
                  <a:cubicBezTo>
                    <a:pt x="1573" y="6441"/>
                    <a:pt x="1680" y="6334"/>
                    <a:pt x="1763" y="6227"/>
                  </a:cubicBezTo>
                  <a:cubicBezTo>
                    <a:pt x="1858" y="6132"/>
                    <a:pt x="1942" y="6025"/>
                    <a:pt x="2001" y="5929"/>
                  </a:cubicBezTo>
                  <a:close/>
                  <a:moveTo>
                    <a:pt x="430" y="5965"/>
                  </a:moveTo>
                  <a:cubicBezTo>
                    <a:pt x="561" y="6156"/>
                    <a:pt x="739" y="6370"/>
                    <a:pt x="965" y="6572"/>
                  </a:cubicBezTo>
                  <a:cubicBezTo>
                    <a:pt x="799" y="6703"/>
                    <a:pt x="620" y="6811"/>
                    <a:pt x="430" y="6918"/>
                  </a:cubicBezTo>
                  <a:lnTo>
                    <a:pt x="430" y="6870"/>
                  </a:lnTo>
                  <a:lnTo>
                    <a:pt x="430" y="6668"/>
                  </a:lnTo>
                  <a:lnTo>
                    <a:pt x="430" y="6334"/>
                  </a:lnTo>
                  <a:lnTo>
                    <a:pt x="430" y="5965"/>
                  </a:lnTo>
                  <a:close/>
                  <a:moveTo>
                    <a:pt x="1215" y="6763"/>
                  </a:moveTo>
                  <a:cubicBezTo>
                    <a:pt x="1454" y="6965"/>
                    <a:pt x="1739" y="7108"/>
                    <a:pt x="2061" y="7215"/>
                  </a:cubicBezTo>
                  <a:cubicBezTo>
                    <a:pt x="2061" y="7656"/>
                    <a:pt x="2037" y="8061"/>
                    <a:pt x="1942" y="8346"/>
                  </a:cubicBezTo>
                  <a:cubicBezTo>
                    <a:pt x="1823" y="8716"/>
                    <a:pt x="1620" y="8870"/>
                    <a:pt x="1251" y="8870"/>
                  </a:cubicBezTo>
                  <a:cubicBezTo>
                    <a:pt x="870" y="8870"/>
                    <a:pt x="656" y="8704"/>
                    <a:pt x="549" y="8346"/>
                  </a:cubicBezTo>
                  <a:cubicBezTo>
                    <a:pt x="453" y="8061"/>
                    <a:pt x="441" y="7680"/>
                    <a:pt x="430" y="7239"/>
                  </a:cubicBezTo>
                  <a:cubicBezTo>
                    <a:pt x="692" y="7120"/>
                    <a:pt x="965" y="6977"/>
                    <a:pt x="1215" y="6763"/>
                  </a:cubicBezTo>
                  <a:close/>
                  <a:moveTo>
                    <a:pt x="2346" y="7525"/>
                  </a:moveTo>
                  <a:cubicBezTo>
                    <a:pt x="2346" y="7727"/>
                    <a:pt x="2358" y="7954"/>
                    <a:pt x="2358" y="8192"/>
                  </a:cubicBezTo>
                  <a:cubicBezTo>
                    <a:pt x="2358" y="8954"/>
                    <a:pt x="2251" y="10704"/>
                    <a:pt x="1323" y="10704"/>
                  </a:cubicBezTo>
                  <a:cubicBezTo>
                    <a:pt x="668" y="10704"/>
                    <a:pt x="370" y="9739"/>
                    <a:pt x="287" y="8680"/>
                  </a:cubicBezTo>
                  <a:lnTo>
                    <a:pt x="287" y="8680"/>
                  </a:lnTo>
                  <a:cubicBezTo>
                    <a:pt x="311" y="8704"/>
                    <a:pt x="311" y="8716"/>
                    <a:pt x="322" y="8739"/>
                  </a:cubicBezTo>
                  <a:lnTo>
                    <a:pt x="322" y="8763"/>
                  </a:lnTo>
                  <a:cubicBezTo>
                    <a:pt x="334" y="8775"/>
                    <a:pt x="334" y="8787"/>
                    <a:pt x="346" y="8799"/>
                  </a:cubicBezTo>
                  <a:cubicBezTo>
                    <a:pt x="370" y="8823"/>
                    <a:pt x="382" y="8835"/>
                    <a:pt x="382" y="8846"/>
                  </a:cubicBezTo>
                  <a:lnTo>
                    <a:pt x="394" y="8858"/>
                  </a:lnTo>
                  <a:lnTo>
                    <a:pt x="441" y="8906"/>
                  </a:lnTo>
                  <a:lnTo>
                    <a:pt x="489" y="8954"/>
                  </a:lnTo>
                  <a:cubicBezTo>
                    <a:pt x="501" y="8966"/>
                    <a:pt x="513" y="8977"/>
                    <a:pt x="525" y="8977"/>
                  </a:cubicBezTo>
                  <a:lnTo>
                    <a:pt x="549" y="8977"/>
                  </a:lnTo>
                  <a:cubicBezTo>
                    <a:pt x="561" y="9001"/>
                    <a:pt x="572" y="9013"/>
                    <a:pt x="584" y="9013"/>
                  </a:cubicBezTo>
                  <a:cubicBezTo>
                    <a:pt x="608" y="9025"/>
                    <a:pt x="620" y="9025"/>
                    <a:pt x="632" y="9037"/>
                  </a:cubicBezTo>
                  <a:cubicBezTo>
                    <a:pt x="644" y="9061"/>
                    <a:pt x="668" y="9061"/>
                    <a:pt x="680" y="9073"/>
                  </a:cubicBezTo>
                  <a:lnTo>
                    <a:pt x="692" y="9073"/>
                  </a:lnTo>
                  <a:cubicBezTo>
                    <a:pt x="703" y="9085"/>
                    <a:pt x="727" y="9085"/>
                    <a:pt x="751" y="9096"/>
                  </a:cubicBezTo>
                  <a:cubicBezTo>
                    <a:pt x="763" y="9096"/>
                    <a:pt x="787" y="9120"/>
                    <a:pt x="811" y="9120"/>
                  </a:cubicBezTo>
                  <a:lnTo>
                    <a:pt x="822" y="9120"/>
                  </a:lnTo>
                  <a:cubicBezTo>
                    <a:pt x="846" y="9120"/>
                    <a:pt x="870" y="9132"/>
                    <a:pt x="882" y="9132"/>
                  </a:cubicBezTo>
                  <a:lnTo>
                    <a:pt x="906" y="9132"/>
                  </a:lnTo>
                  <a:cubicBezTo>
                    <a:pt x="918" y="9132"/>
                    <a:pt x="942" y="9144"/>
                    <a:pt x="965" y="9144"/>
                  </a:cubicBezTo>
                  <a:cubicBezTo>
                    <a:pt x="977" y="9144"/>
                    <a:pt x="1001" y="9144"/>
                    <a:pt x="1025" y="9156"/>
                  </a:cubicBezTo>
                  <a:lnTo>
                    <a:pt x="1334" y="9156"/>
                  </a:lnTo>
                  <a:cubicBezTo>
                    <a:pt x="1345" y="9156"/>
                    <a:pt x="1356" y="9156"/>
                    <a:pt x="1366" y="9156"/>
                  </a:cubicBezTo>
                  <a:cubicBezTo>
                    <a:pt x="1836" y="9156"/>
                    <a:pt x="2123" y="8896"/>
                    <a:pt x="2263" y="8454"/>
                  </a:cubicBezTo>
                  <a:cubicBezTo>
                    <a:pt x="2275" y="8418"/>
                    <a:pt x="2275" y="8406"/>
                    <a:pt x="2275" y="8370"/>
                  </a:cubicBezTo>
                  <a:lnTo>
                    <a:pt x="2275" y="8358"/>
                  </a:lnTo>
                  <a:cubicBezTo>
                    <a:pt x="2275" y="8335"/>
                    <a:pt x="2287" y="8311"/>
                    <a:pt x="2287" y="8287"/>
                  </a:cubicBezTo>
                  <a:lnTo>
                    <a:pt x="2287" y="8263"/>
                  </a:lnTo>
                  <a:cubicBezTo>
                    <a:pt x="2287" y="8239"/>
                    <a:pt x="2299" y="8227"/>
                    <a:pt x="2299" y="8192"/>
                  </a:cubicBezTo>
                  <a:lnTo>
                    <a:pt x="2299" y="8180"/>
                  </a:lnTo>
                  <a:cubicBezTo>
                    <a:pt x="2299" y="8144"/>
                    <a:pt x="2311" y="8132"/>
                    <a:pt x="2311" y="8108"/>
                  </a:cubicBezTo>
                  <a:lnTo>
                    <a:pt x="2311" y="8084"/>
                  </a:lnTo>
                  <a:cubicBezTo>
                    <a:pt x="2311" y="8061"/>
                    <a:pt x="2311" y="8049"/>
                    <a:pt x="2335" y="8013"/>
                  </a:cubicBezTo>
                  <a:lnTo>
                    <a:pt x="2335" y="8001"/>
                  </a:lnTo>
                  <a:cubicBezTo>
                    <a:pt x="2335" y="7965"/>
                    <a:pt x="2335" y="7954"/>
                    <a:pt x="2346" y="7930"/>
                  </a:cubicBezTo>
                  <a:lnTo>
                    <a:pt x="2346" y="7906"/>
                  </a:lnTo>
                  <a:lnTo>
                    <a:pt x="2346" y="7834"/>
                  </a:lnTo>
                  <a:lnTo>
                    <a:pt x="2346" y="7811"/>
                  </a:lnTo>
                  <a:lnTo>
                    <a:pt x="2346" y="7715"/>
                  </a:lnTo>
                  <a:lnTo>
                    <a:pt x="2346" y="7703"/>
                  </a:lnTo>
                  <a:lnTo>
                    <a:pt x="2346" y="7632"/>
                  </a:lnTo>
                  <a:lnTo>
                    <a:pt x="2346" y="7596"/>
                  </a:lnTo>
                  <a:lnTo>
                    <a:pt x="2346" y="7525"/>
                  </a:lnTo>
                  <a:close/>
                  <a:moveTo>
                    <a:pt x="334" y="0"/>
                  </a:moveTo>
                  <a:cubicBezTo>
                    <a:pt x="299" y="0"/>
                    <a:pt x="251" y="12"/>
                    <a:pt x="215" y="36"/>
                  </a:cubicBezTo>
                  <a:cubicBezTo>
                    <a:pt x="191" y="72"/>
                    <a:pt x="180" y="119"/>
                    <a:pt x="180" y="155"/>
                  </a:cubicBezTo>
                  <a:cubicBezTo>
                    <a:pt x="191" y="369"/>
                    <a:pt x="215" y="595"/>
                    <a:pt x="251" y="834"/>
                  </a:cubicBezTo>
                  <a:cubicBezTo>
                    <a:pt x="370" y="1798"/>
                    <a:pt x="513" y="3120"/>
                    <a:pt x="156" y="5084"/>
                  </a:cubicBezTo>
                  <a:cubicBezTo>
                    <a:pt x="120" y="5358"/>
                    <a:pt x="96" y="5834"/>
                    <a:pt x="96" y="6310"/>
                  </a:cubicBezTo>
                  <a:cubicBezTo>
                    <a:pt x="25" y="6787"/>
                    <a:pt x="1" y="7394"/>
                    <a:pt x="1" y="8180"/>
                  </a:cubicBezTo>
                  <a:cubicBezTo>
                    <a:pt x="1" y="8966"/>
                    <a:pt x="96" y="9656"/>
                    <a:pt x="299" y="10132"/>
                  </a:cubicBezTo>
                  <a:cubicBezTo>
                    <a:pt x="596" y="10859"/>
                    <a:pt x="1037" y="11025"/>
                    <a:pt x="1346" y="11025"/>
                  </a:cubicBezTo>
                  <a:cubicBezTo>
                    <a:pt x="2227" y="11025"/>
                    <a:pt x="2716" y="10013"/>
                    <a:pt x="2716" y="8180"/>
                  </a:cubicBezTo>
                  <a:cubicBezTo>
                    <a:pt x="2716" y="6632"/>
                    <a:pt x="2585" y="5727"/>
                    <a:pt x="2275" y="5275"/>
                  </a:cubicBezTo>
                  <a:cubicBezTo>
                    <a:pt x="2227" y="4775"/>
                    <a:pt x="2180" y="4263"/>
                    <a:pt x="2239" y="3965"/>
                  </a:cubicBezTo>
                  <a:cubicBezTo>
                    <a:pt x="2239" y="3965"/>
                    <a:pt x="2263" y="3905"/>
                    <a:pt x="2275" y="3810"/>
                  </a:cubicBezTo>
                  <a:cubicBezTo>
                    <a:pt x="2394" y="3179"/>
                    <a:pt x="2739" y="1286"/>
                    <a:pt x="2894" y="191"/>
                  </a:cubicBezTo>
                  <a:cubicBezTo>
                    <a:pt x="2894" y="143"/>
                    <a:pt x="2894" y="95"/>
                    <a:pt x="2870" y="60"/>
                  </a:cubicBezTo>
                  <a:cubicBezTo>
                    <a:pt x="2835" y="24"/>
                    <a:pt x="2799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4" name="Google Shape;12394;p62"/>
            <p:cNvSpPr/>
            <p:nvPr/>
          </p:nvSpPr>
          <p:spPr>
            <a:xfrm>
              <a:off x="4966782" y="2429254"/>
              <a:ext cx="190480" cy="250655"/>
            </a:xfrm>
            <a:custGeom>
              <a:avLst/>
              <a:gdLst/>
              <a:ahLst/>
              <a:cxnLst/>
              <a:rect l="l" t="t" r="r" b="b"/>
              <a:pathLst>
                <a:path w="5989" h="7881" extrusionOk="0">
                  <a:moveTo>
                    <a:pt x="2000" y="2880"/>
                  </a:moveTo>
                  <a:cubicBezTo>
                    <a:pt x="2143" y="3022"/>
                    <a:pt x="2298" y="3106"/>
                    <a:pt x="2429" y="3153"/>
                  </a:cubicBezTo>
                  <a:lnTo>
                    <a:pt x="2429" y="3165"/>
                  </a:lnTo>
                  <a:lnTo>
                    <a:pt x="2429" y="3249"/>
                  </a:lnTo>
                  <a:lnTo>
                    <a:pt x="2429" y="3344"/>
                  </a:lnTo>
                  <a:lnTo>
                    <a:pt x="2429" y="3356"/>
                  </a:lnTo>
                  <a:lnTo>
                    <a:pt x="2429" y="3534"/>
                  </a:lnTo>
                  <a:lnTo>
                    <a:pt x="2429" y="3546"/>
                  </a:lnTo>
                  <a:lnTo>
                    <a:pt x="2429" y="3725"/>
                  </a:lnTo>
                  <a:lnTo>
                    <a:pt x="2429" y="3749"/>
                  </a:lnTo>
                  <a:cubicBezTo>
                    <a:pt x="2429" y="3808"/>
                    <a:pt x="2429" y="3868"/>
                    <a:pt x="2441" y="3927"/>
                  </a:cubicBezTo>
                  <a:lnTo>
                    <a:pt x="2441" y="3939"/>
                  </a:lnTo>
                  <a:cubicBezTo>
                    <a:pt x="2441" y="3999"/>
                    <a:pt x="2453" y="4058"/>
                    <a:pt x="2453" y="4118"/>
                  </a:cubicBezTo>
                  <a:lnTo>
                    <a:pt x="2453" y="4130"/>
                  </a:lnTo>
                  <a:cubicBezTo>
                    <a:pt x="2453" y="4177"/>
                    <a:pt x="2453" y="4201"/>
                    <a:pt x="2465" y="4237"/>
                  </a:cubicBezTo>
                  <a:cubicBezTo>
                    <a:pt x="2310" y="4463"/>
                    <a:pt x="2036" y="4761"/>
                    <a:pt x="1631" y="4915"/>
                  </a:cubicBezTo>
                  <a:cubicBezTo>
                    <a:pt x="1584" y="4856"/>
                    <a:pt x="1441" y="4677"/>
                    <a:pt x="1215" y="4380"/>
                  </a:cubicBezTo>
                  <a:cubicBezTo>
                    <a:pt x="1548" y="3963"/>
                    <a:pt x="1834" y="3296"/>
                    <a:pt x="2000" y="2880"/>
                  </a:cubicBezTo>
                  <a:close/>
                  <a:moveTo>
                    <a:pt x="2524" y="4713"/>
                  </a:moveTo>
                  <a:cubicBezTo>
                    <a:pt x="2524" y="4761"/>
                    <a:pt x="2548" y="4796"/>
                    <a:pt x="2548" y="4832"/>
                  </a:cubicBezTo>
                  <a:cubicBezTo>
                    <a:pt x="2560" y="4892"/>
                    <a:pt x="2560" y="4939"/>
                    <a:pt x="2572" y="4975"/>
                  </a:cubicBezTo>
                  <a:cubicBezTo>
                    <a:pt x="2584" y="5023"/>
                    <a:pt x="2584" y="5082"/>
                    <a:pt x="2608" y="5130"/>
                  </a:cubicBezTo>
                  <a:cubicBezTo>
                    <a:pt x="2608" y="5154"/>
                    <a:pt x="2620" y="5177"/>
                    <a:pt x="2620" y="5201"/>
                  </a:cubicBezTo>
                  <a:cubicBezTo>
                    <a:pt x="2620" y="5237"/>
                    <a:pt x="2631" y="5249"/>
                    <a:pt x="2631" y="5273"/>
                  </a:cubicBezTo>
                  <a:cubicBezTo>
                    <a:pt x="2631" y="5308"/>
                    <a:pt x="2643" y="5320"/>
                    <a:pt x="2643" y="5356"/>
                  </a:cubicBezTo>
                  <a:cubicBezTo>
                    <a:pt x="2643" y="5368"/>
                    <a:pt x="2667" y="5392"/>
                    <a:pt x="2667" y="5416"/>
                  </a:cubicBezTo>
                  <a:cubicBezTo>
                    <a:pt x="2667" y="5427"/>
                    <a:pt x="2679" y="5451"/>
                    <a:pt x="2679" y="5475"/>
                  </a:cubicBezTo>
                  <a:cubicBezTo>
                    <a:pt x="2679" y="5487"/>
                    <a:pt x="2691" y="5511"/>
                    <a:pt x="2691" y="5535"/>
                  </a:cubicBezTo>
                  <a:cubicBezTo>
                    <a:pt x="2691" y="5547"/>
                    <a:pt x="2703" y="5570"/>
                    <a:pt x="2703" y="5582"/>
                  </a:cubicBezTo>
                  <a:cubicBezTo>
                    <a:pt x="2703" y="5606"/>
                    <a:pt x="2727" y="5618"/>
                    <a:pt x="2727" y="5630"/>
                  </a:cubicBezTo>
                  <a:cubicBezTo>
                    <a:pt x="2727" y="5654"/>
                    <a:pt x="2739" y="5666"/>
                    <a:pt x="2739" y="5677"/>
                  </a:cubicBezTo>
                  <a:lnTo>
                    <a:pt x="2739" y="5689"/>
                  </a:lnTo>
                  <a:cubicBezTo>
                    <a:pt x="2739" y="5713"/>
                    <a:pt x="2739" y="5725"/>
                    <a:pt x="2750" y="5737"/>
                  </a:cubicBezTo>
                  <a:cubicBezTo>
                    <a:pt x="2381" y="5558"/>
                    <a:pt x="2096" y="5356"/>
                    <a:pt x="1893" y="5189"/>
                  </a:cubicBezTo>
                  <a:cubicBezTo>
                    <a:pt x="2155" y="5070"/>
                    <a:pt x="2369" y="4892"/>
                    <a:pt x="2524" y="4713"/>
                  </a:cubicBezTo>
                  <a:close/>
                  <a:moveTo>
                    <a:pt x="3763" y="2927"/>
                  </a:moveTo>
                  <a:cubicBezTo>
                    <a:pt x="3798" y="2927"/>
                    <a:pt x="3822" y="2939"/>
                    <a:pt x="3846" y="2951"/>
                  </a:cubicBezTo>
                  <a:cubicBezTo>
                    <a:pt x="3858" y="2963"/>
                    <a:pt x="3870" y="2987"/>
                    <a:pt x="3870" y="3022"/>
                  </a:cubicBezTo>
                  <a:cubicBezTo>
                    <a:pt x="3810" y="3582"/>
                    <a:pt x="3905" y="4392"/>
                    <a:pt x="4334" y="5035"/>
                  </a:cubicBezTo>
                  <a:cubicBezTo>
                    <a:pt x="4655" y="5547"/>
                    <a:pt x="5060" y="5999"/>
                    <a:pt x="5370" y="6380"/>
                  </a:cubicBezTo>
                  <a:cubicBezTo>
                    <a:pt x="5513" y="6523"/>
                    <a:pt x="5632" y="6654"/>
                    <a:pt x="5715" y="6773"/>
                  </a:cubicBezTo>
                  <a:cubicBezTo>
                    <a:pt x="5632" y="7035"/>
                    <a:pt x="5644" y="7142"/>
                    <a:pt x="5632" y="7237"/>
                  </a:cubicBezTo>
                  <a:cubicBezTo>
                    <a:pt x="5608" y="7344"/>
                    <a:pt x="5548" y="7440"/>
                    <a:pt x="5465" y="7499"/>
                  </a:cubicBezTo>
                  <a:cubicBezTo>
                    <a:pt x="5410" y="7532"/>
                    <a:pt x="5342" y="7550"/>
                    <a:pt x="5273" y="7550"/>
                  </a:cubicBezTo>
                  <a:cubicBezTo>
                    <a:pt x="5193" y="7550"/>
                    <a:pt x="5112" y="7526"/>
                    <a:pt x="5048" y="7475"/>
                  </a:cubicBezTo>
                  <a:lnTo>
                    <a:pt x="3191" y="6130"/>
                  </a:lnTo>
                  <a:lnTo>
                    <a:pt x="3143" y="6082"/>
                  </a:lnTo>
                  <a:lnTo>
                    <a:pt x="3143" y="6058"/>
                  </a:lnTo>
                  <a:lnTo>
                    <a:pt x="3143" y="6047"/>
                  </a:lnTo>
                  <a:cubicBezTo>
                    <a:pt x="3108" y="5928"/>
                    <a:pt x="3048" y="5737"/>
                    <a:pt x="2989" y="5451"/>
                  </a:cubicBezTo>
                  <a:cubicBezTo>
                    <a:pt x="2989" y="5439"/>
                    <a:pt x="2989" y="5427"/>
                    <a:pt x="2977" y="5404"/>
                  </a:cubicBezTo>
                  <a:cubicBezTo>
                    <a:pt x="2977" y="5392"/>
                    <a:pt x="2977" y="5380"/>
                    <a:pt x="2965" y="5368"/>
                  </a:cubicBezTo>
                  <a:cubicBezTo>
                    <a:pt x="2965" y="5344"/>
                    <a:pt x="2965" y="5332"/>
                    <a:pt x="2953" y="5320"/>
                  </a:cubicBezTo>
                  <a:cubicBezTo>
                    <a:pt x="2953" y="5308"/>
                    <a:pt x="2953" y="5285"/>
                    <a:pt x="2929" y="5273"/>
                  </a:cubicBezTo>
                  <a:cubicBezTo>
                    <a:pt x="2929" y="5261"/>
                    <a:pt x="2929" y="5249"/>
                    <a:pt x="2917" y="5225"/>
                  </a:cubicBezTo>
                  <a:cubicBezTo>
                    <a:pt x="2917" y="5213"/>
                    <a:pt x="2917" y="5201"/>
                    <a:pt x="2905" y="5189"/>
                  </a:cubicBezTo>
                  <a:lnTo>
                    <a:pt x="2905" y="5142"/>
                  </a:lnTo>
                  <a:lnTo>
                    <a:pt x="2905" y="5130"/>
                  </a:lnTo>
                  <a:lnTo>
                    <a:pt x="2905" y="5082"/>
                  </a:lnTo>
                  <a:lnTo>
                    <a:pt x="2905" y="5035"/>
                  </a:lnTo>
                  <a:lnTo>
                    <a:pt x="2905" y="4987"/>
                  </a:lnTo>
                  <a:lnTo>
                    <a:pt x="2905" y="4975"/>
                  </a:lnTo>
                  <a:lnTo>
                    <a:pt x="2905" y="4927"/>
                  </a:lnTo>
                  <a:lnTo>
                    <a:pt x="2905" y="4915"/>
                  </a:lnTo>
                  <a:lnTo>
                    <a:pt x="2905" y="4868"/>
                  </a:lnTo>
                  <a:lnTo>
                    <a:pt x="2905" y="4856"/>
                  </a:lnTo>
                  <a:lnTo>
                    <a:pt x="2905" y="4808"/>
                  </a:lnTo>
                  <a:lnTo>
                    <a:pt x="2905" y="4796"/>
                  </a:lnTo>
                  <a:lnTo>
                    <a:pt x="2905" y="4749"/>
                  </a:lnTo>
                  <a:lnTo>
                    <a:pt x="2905" y="4737"/>
                  </a:lnTo>
                  <a:lnTo>
                    <a:pt x="2905" y="4689"/>
                  </a:lnTo>
                  <a:lnTo>
                    <a:pt x="2905" y="4677"/>
                  </a:lnTo>
                  <a:lnTo>
                    <a:pt x="2905" y="4630"/>
                  </a:lnTo>
                  <a:lnTo>
                    <a:pt x="2905" y="4618"/>
                  </a:lnTo>
                  <a:lnTo>
                    <a:pt x="2905" y="4570"/>
                  </a:lnTo>
                  <a:lnTo>
                    <a:pt x="2905" y="4558"/>
                  </a:lnTo>
                  <a:lnTo>
                    <a:pt x="2905" y="4511"/>
                  </a:lnTo>
                  <a:lnTo>
                    <a:pt x="2905" y="4499"/>
                  </a:lnTo>
                  <a:lnTo>
                    <a:pt x="2905" y="4451"/>
                  </a:lnTo>
                  <a:lnTo>
                    <a:pt x="2905" y="4439"/>
                  </a:lnTo>
                  <a:lnTo>
                    <a:pt x="2905" y="4392"/>
                  </a:lnTo>
                  <a:lnTo>
                    <a:pt x="2905" y="4380"/>
                  </a:lnTo>
                  <a:lnTo>
                    <a:pt x="2905" y="4332"/>
                  </a:lnTo>
                  <a:lnTo>
                    <a:pt x="2905" y="4320"/>
                  </a:lnTo>
                  <a:lnTo>
                    <a:pt x="2905" y="4273"/>
                  </a:lnTo>
                  <a:lnTo>
                    <a:pt x="2905" y="4261"/>
                  </a:lnTo>
                  <a:lnTo>
                    <a:pt x="2905" y="4213"/>
                  </a:lnTo>
                  <a:lnTo>
                    <a:pt x="2905" y="4201"/>
                  </a:lnTo>
                  <a:lnTo>
                    <a:pt x="2905" y="4153"/>
                  </a:lnTo>
                  <a:lnTo>
                    <a:pt x="2905" y="4142"/>
                  </a:lnTo>
                  <a:lnTo>
                    <a:pt x="2905" y="4094"/>
                  </a:lnTo>
                  <a:lnTo>
                    <a:pt x="2905" y="4082"/>
                  </a:lnTo>
                  <a:lnTo>
                    <a:pt x="2905" y="4034"/>
                  </a:lnTo>
                  <a:lnTo>
                    <a:pt x="2905" y="4023"/>
                  </a:lnTo>
                  <a:lnTo>
                    <a:pt x="2905" y="3975"/>
                  </a:lnTo>
                  <a:lnTo>
                    <a:pt x="2905" y="3963"/>
                  </a:lnTo>
                  <a:lnTo>
                    <a:pt x="2905" y="3915"/>
                  </a:lnTo>
                  <a:lnTo>
                    <a:pt x="2905" y="3903"/>
                  </a:lnTo>
                  <a:lnTo>
                    <a:pt x="2905" y="3856"/>
                  </a:lnTo>
                  <a:lnTo>
                    <a:pt x="2905" y="3844"/>
                  </a:lnTo>
                  <a:lnTo>
                    <a:pt x="2905" y="3796"/>
                  </a:lnTo>
                  <a:lnTo>
                    <a:pt x="2905" y="3784"/>
                  </a:lnTo>
                  <a:lnTo>
                    <a:pt x="2905" y="3737"/>
                  </a:lnTo>
                  <a:lnTo>
                    <a:pt x="2905" y="3725"/>
                  </a:lnTo>
                  <a:lnTo>
                    <a:pt x="2905" y="3677"/>
                  </a:lnTo>
                  <a:lnTo>
                    <a:pt x="2905" y="3665"/>
                  </a:lnTo>
                  <a:lnTo>
                    <a:pt x="2905" y="3618"/>
                  </a:lnTo>
                  <a:lnTo>
                    <a:pt x="2905" y="3606"/>
                  </a:lnTo>
                  <a:lnTo>
                    <a:pt x="2905" y="3558"/>
                  </a:lnTo>
                  <a:lnTo>
                    <a:pt x="2905" y="3546"/>
                  </a:lnTo>
                  <a:lnTo>
                    <a:pt x="2905" y="3499"/>
                  </a:lnTo>
                  <a:lnTo>
                    <a:pt x="2905" y="3475"/>
                  </a:lnTo>
                  <a:lnTo>
                    <a:pt x="2905" y="3427"/>
                  </a:lnTo>
                  <a:lnTo>
                    <a:pt x="2905" y="3403"/>
                  </a:lnTo>
                  <a:lnTo>
                    <a:pt x="2905" y="3356"/>
                  </a:lnTo>
                  <a:lnTo>
                    <a:pt x="2905" y="3320"/>
                  </a:lnTo>
                  <a:lnTo>
                    <a:pt x="2905" y="3284"/>
                  </a:lnTo>
                  <a:lnTo>
                    <a:pt x="2905" y="3249"/>
                  </a:lnTo>
                  <a:lnTo>
                    <a:pt x="2905" y="3201"/>
                  </a:lnTo>
                  <a:lnTo>
                    <a:pt x="2905" y="3177"/>
                  </a:lnTo>
                  <a:lnTo>
                    <a:pt x="2905" y="3130"/>
                  </a:lnTo>
                  <a:lnTo>
                    <a:pt x="2905" y="3106"/>
                  </a:lnTo>
                  <a:lnTo>
                    <a:pt x="2905" y="3070"/>
                  </a:lnTo>
                  <a:lnTo>
                    <a:pt x="2905" y="3046"/>
                  </a:lnTo>
                  <a:lnTo>
                    <a:pt x="2905" y="3010"/>
                  </a:lnTo>
                  <a:lnTo>
                    <a:pt x="2905" y="2987"/>
                  </a:lnTo>
                  <a:lnTo>
                    <a:pt x="2905" y="2951"/>
                  </a:lnTo>
                  <a:lnTo>
                    <a:pt x="2905" y="2939"/>
                  </a:lnTo>
                  <a:lnTo>
                    <a:pt x="3763" y="2927"/>
                  </a:lnTo>
                  <a:close/>
                  <a:moveTo>
                    <a:pt x="740" y="0"/>
                  </a:moveTo>
                  <a:cubicBezTo>
                    <a:pt x="714" y="0"/>
                    <a:pt x="685" y="7"/>
                    <a:pt x="655" y="22"/>
                  </a:cubicBezTo>
                  <a:cubicBezTo>
                    <a:pt x="584" y="70"/>
                    <a:pt x="548" y="153"/>
                    <a:pt x="595" y="248"/>
                  </a:cubicBezTo>
                  <a:lnTo>
                    <a:pt x="643" y="320"/>
                  </a:lnTo>
                  <a:cubicBezTo>
                    <a:pt x="1167" y="1284"/>
                    <a:pt x="1488" y="1963"/>
                    <a:pt x="1596" y="2225"/>
                  </a:cubicBezTo>
                  <a:cubicBezTo>
                    <a:pt x="1655" y="2356"/>
                    <a:pt x="1703" y="2475"/>
                    <a:pt x="1774" y="2582"/>
                  </a:cubicBezTo>
                  <a:cubicBezTo>
                    <a:pt x="1715" y="2737"/>
                    <a:pt x="1619" y="2951"/>
                    <a:pt x="1524" y="3213"/>
                  </a:cubicBezTo>
                  <a:cubicBezTo>
                    <a:pt x="1357" y="3594"/>
                    <a:pt x="1179" y="3903"/>
                    <a:pt x="1024" y="4118"/>
                  </a:cubicBezTo>
                  <a:cubicBezTo>
                    <a:pt x="834" y="3868"/>
                    <a:pt x="595" y="3546"/>
                    <a:pt x="310" y="3165"/>
                  </a:cubicBezTo>
                  <a:cubicBezTo>
                    <a:pt x="273" y="3122"/>
                    <a:pt x="228" y="3096"/>
                    <a:pt x="182" y="3096"/>
                  </a:cubicBezTo>
                  <a:cubicBezTo>
                    <a:pt x="153" y="3096"/>
                    <a:pt x="123" y="3106"/>
                    <a:pt x="95" y="3130"/>
                  </a:cubicBezTo>
                  <a:cubicBezTo>
                    <a:pt x="12" y="3189"/>
                    <a:pt x="0" y="3284"/>
                    <a:pt x="60" y="3356"/>
                  </a:cubicBezTo>
                  <a:cubicBezTo>
                    <a:pt x="869" y="4427"/>
                    <a:pt x="1286" y="4975"/>
                    <a:pt x="1405" y="5142"/>
                  </a:cubicBezTo>
                  <a:cubicBezTo>
                    <a:pt x="1584" y="5392"/>
                    <a:pt x="2084" y="5773"/>
                    <a:pt x="2917" y="6273"/>
                  </a:cubicBezTo>
                  <a:cubicBezTo>
                    <a:pt x="2953" y="6320"/>
                    <a:pt x="2989" y="6368"/>
                    <a:pt x="3036" y="6392"/>
                  </a:cubicBezTo>
                  <a:lnTo>
                    <a:pt x="4894" y="7749"/>
                  </a:lnTo>
                  <a:cubicBezTo>
                    <a:pt x="5013" y="7833"/>
                    <a:pt x="5167" y="7880"/>
                    <a:pt x="5298" y="7880"/>
                  </a:cubicBezTo>
                  <a:cubicBezTo>
                    <a:pt x="5429" y="7880"/>
                    <a:pt x="5548" y="7856"/>
                    <a:pt x="5668" y="7773"/>
                  </a:cubicBezTo>
                  <a:cubicBezTo>
                    <a:pt x="5834" y="7678"/>
                    <a:pt x="5941" y="7499"/>
                    <a:pt x="5989" y="7321"/>
                  </a:cubicBezTo>
                  <a:cubicBezTo>
                    <a:pt x="5977" y="7106"/>
                    <a:pt x="5929" y="6904"/>
                    <a:pt x="5810" y="6749"/>
                  </a:cubicBezTo>
                  <a:cubicBezTo>
                    <a:pt x="5703" y="6630"/>
                    <a:pt x="5584" y="6487"/>
                    <a:pt x="5453" y="6332"/>
                  </a:cubicBezTo>
                  <a:cubicBezTo>
                    <a:pt x="5132" y="5975"/>
                    <a:pt x="4751" y="5511"/>
                    <a:pt x="4441" y="5035"/>
                  </a:cubicBezTo>
                  <a:cubicBezTo>
                    <a:pt x="4048" y="4463"/>
                    <a:pt x="3977" y="3701"/>
                    <a:pt x="4036" y="3237"/>
                  </a:cubicBezTo>
                  <a:cubicBezTo>
                    <a:pt x="4048" y="3118"/>
                    <a:pt x="4001" y="2999"/>
                    <a:pt x="3929" y="2915"/>
                  </a:cubicBezTo>
                  <a:cubicBezTo>
                    <a:pt x="3858" y="2820"/>
                    <a:pt x="3739" y="2772"/>
                    <a:pt x="3620" y="2772"/>
                  </a:cubicBezTo>
                  <a:lnTo>
                    <a:pt x="2715" y="2796"/>
                  </a:lnTo>
                  <a:cubicBezTo>
                    <a:pt x="2655" y="2796"/>
                    <a:pt x="2572" y="2820"/>
                    <a:pt x="2536" y="2856"/>
                  </a:cubicBezTo>
                  <a:cubicBezTo>
                    <a:pt x="2358" y="2796"/>
                    <a:pt x="2084" y="2629"/>
                    <a:pt x="1893" y="2106"/>
                  </a:cubicBezTo>
                  <a:cubicBezTo>
                    <a:pt x="1786" y="1820"/>
                    <a:pt x="1441" y="1165"/>
                    <a:pt x="929" y="153"/>
                  </a:cubicBezTo>
                  <a:lnTo>
                    <a:pt x="881" y="82"/>
                  </a:lnTo>
                  <a:cubicBezTo>
                    <a:pt x="849" y="33"/>
                    <a:pt x="799" y="0"/>
                    <a:pt x="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95" name="Google Shape;12395;p62"/>
          <p:cNvGrpSpPr/>
          <p:nvPr/>
        </p:nvGrpSpPr>
        <p:grpSpPr>
          <a:xfrm>
            <a:off x="6627639" y="2443884"/>
            <a:ext cx="355993" cy="313247"/>
            <a:chOff x="6627639" y="2443884"/>
            <a:chExt cx="355993" cy="313247"/>
          </a:xfrm>
        </p:grpSpPr>
        <p:sp>
          <p:nvSpPr>
            <p:cNvPr id="12396" name="Google Shape;12396;p62"/>
            <p:cNvSpPr/>
            <p:nvPr/>
          </p:nvSpPr>
          <p:spPr>
            <a:xfrm>
              <a:off x="6627639" y="2444266"/>
              <a:ext cx="92807" cy="87941"/>
            </a:xfrm>
            <a:custGeom>
              <a:avLst/>
              <a:gdLst/>
              <a:ahLst/>
              <a:cxnLst/>
              <a:rect l="l" t="t" r="r" b="b"/>
              <a:pathLst>
                <a:path w="2918" h="2765" extrusionOk="0">
                  <a:moveTo>
                    <a:pt x="977" y="324"/>
                  </a:moveTo>
                  <a:cubicBezTo>
                    <a:pt x="1037" y="336"/>
                    <a:pt x="1073" y="372"/>
                    <a:pt x="1108" y="419"/>
                  </a:cubicBezTo>
                  <a:lnTo>
                    <a:pt x="1608" y="1193"/>
                  </a:lnTo>
                  <a:lnTo>
                    <a:pt x="953" y="1622"/>
                  </a:lnTo>
                  <a:lnTo>
                    <a:pt x="441" y="848"/>
                  </a:lnTo>
                  <a:cubicBezTo>
                    <a:pt x="382" y="753"/>
                    <a:pt x="406" y="622"/>
                    <a:pt x="501" y="562"/>
                  </a:cubicBezTo>
                  <a:lnTo>
                    <a:pt x="811" y="360"/>
                  </a:lnTo>
                  <a:cubicBezTo>
                    <a:pt x="834" y="324"/>
                    <a:pt x="882" y="324"/>
                    <a:pt x="930" y="324"/>
                  </a:cubicBezTo>
                  <a:close/>
                  <a:moveTo>
                    <a:pt x="1965" y="1336"/>
                  </a:moveTo>
                  <a:lnTo>
                    <a:pt x="2227" y="1526"/>
                  </a:lnTo>
                  <a:lnTo>
                    <a:pt x="1013" y="2336"/>
                  </a:lnTo>
                  <a:lnTo>
                    <a:pt x="942" y="2027"/>
                  </a:lnTo>
                  <a:lnTo>
                    <a:pt x="1965" y="1336"/>
                  </a:lnTo>
                  <a:close/>
                  <a:moveTo>
                    <a:pt x="922" y="0"/>
                  </a:moveTo>
                  <a:cubicBezTo>
                    <a:pt x="819" y="0"/>
                    <a:pt x="719" y="34"/>
                    <a:pt x="632" y="86"/>
                  </a:cubicBezTo>
                  <a:lnTo>
                    <a:pt x="322" y="300"/>
                  </a:lnTo>
                  <a:cubicBezTo>
                    <a:pt x="84" y="455"/>
                    <a:pt x="1" y="788"/>
                    <a:pt x="168" y="1026"/>
                  </a:cubicBezTo>
                  <a:lnTo>
                    <a:pt x="692" y="1812"/>
                  </a:lnTo>
                  <a:lnTo>
                    <a:pt x="680" y="1812"/>
                  </a:lnTo>
                  <a:lnTo>
                    <a:pt x="632" y="1860"/>
                  </a:lnTo>
                  <a:lnTo>
                    <a:pt x="215" y="2515"/>
                  </a:lnTo>
                  <a:cubicBezTo>
                    <a:pt x="168" y="2586"/>
                    <a:pt x="180" y="2693"/>
                    <a:pt x="263" y="2741"/>
                  </a:cubicBezTo>
                  <a:cubicBezTo>
                    <a:pt x="287" y="2753"/>
                    <a:pt x="322" y="2765"/>
                    <a:pt x="346" y="2765"/>
                  </a:cubicBezTo>
                  <a:cubicBezTo>
                    <a:pt x="406" y="2765"/>
                    <a:pt x="453" y="2741"/>
                    <a:pt x="477" y="2693"/>
                  </a:cubicBezTo>
                  <a:lnTo>
                    <a:pt x="692" y="2360"/>
                  </a:lnTo>
                  <a:lnTo>
                    <a:pt x="739" y="2538"/>
                  </a:lnTo>
                  <a:cubicBezTo>
                    <a:pt x="751" y="2622"/>
                    <a:pt x="811" y="2681"/>
                    <a:pt x="870" y="2705"/>
                  </a:cubicBezTo>
                  <a:cubicBezTo>
                    <a:pt x="894" y="2717"/>
                    <a:pt x="930" y="2717"/>
                    <a:pt x="953" y="2717"/>
                  </a:cubicBezTo>
                  <a:cubicBezTo>
                    <a:pt x="1001" y="2717"/>
                    <a:pt x="1049" y="2705"/>
                    <a:pt x="1073" y="2693"/>
                  </a:cubicBezTo>
                  <a:lnTo>
                    <a:pt x="2525" y="1741"/>
                  </a:lnTo>
                  <a:cubicBezTo>
                    <a:pt x="2585" y="1693"/>
                    <a:pt x="2620" y="1634"/>
                    <a:pt x="2620" y="1562"/>
                  </a:cubicBezTo>
                  <a:cubicBezTo>
                    <a:pt x="2620" y="1491"/>
                    <a:pt x="2597" y="1407"/>
                    <a:pt x="2537" y="1372"/>
                  </a:cubicBezTo>
                  <a:lnTo>
                    <a:pt x="2382" y="1253"/>
                  </a:lnTo>
                  <a:lnTo>
                    <a:pt x="2775" y="1193"/>
                  </a:lnTo>
                  <a:cubicBezTo>
                    <a:pt x="2847" y="1169"/>
                    <a:pt x="2918" y="1086"/>
                    <a:pt x="2906" y="991"/>
                  </a:cubicBezTo>
                  <a:cubicBezTo>
                    <a:pt x="2895" y="914"/>
                    <a:pt x="2835" y="858"/>
                    <a:pt x="2751" y="858"/>
                  </a:cubicBezTo>
                  <a:cubicBezTo>
                    <a:pt x="2744" y="858"/>
                    <a:pt x="2736" y="859"/>
                    <a:pt x="2727" y="860"/>
                  </a:cubicBezTo>
                  <a:lnTo>
                    <a:pt x="1965" y="979"/>
                  </a:lnTo>
                  <a:cubicBezTo>
                    <a:pt x="1942" y="979"/>
                    <a:pt x="1930" y="991"/>
                    <a:pt x="1906" y="1014"/>
                  </a:cubicBezTo>
                  <a:lnTo>
                    <a:pt x="1894" y="1026"/>
                  </a:lnTo>
                  <a:lnTo>
                    <a:pt x="1370" y="241"/>
                  </a:lnTo>
                  <a:cubicBezTo>
                    <a:pt x="1299" y="122"/>
                    <a:pt x="1180" y="38"/>
                    <a:pt x="1037" y="14"/>
                  </a:cubicBezTo>
                  <a:cubicBezTo>
                    <a:pt x="999" y="5"/>
                    <a:pt x="960" y="0"/>
                    <a:pt x="9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7" name="Google Shape;12397;p62"/>
            <p:cNvSpPr/>
            <p:nvPr/>
          </p:nvSpPr>
          <p:spPr>
            <a:xfrm>
              <a:off x="6891589" y="2443884"/>
              <a:ext cx="92044" cy="86446"/>
            </a:xfrm>
            <a:custGeom>
              <a:avLst/>
              <a:gdLst/>
              <a:ahLst/>
              <a:cxnLst/>
              <a:rect l="l" t="t" r="r" b="b"/>
              <a:pathLst>
                <a:path w="2894" h="2718" extrusionOk="0">
                  <a:moveTo>
                    <a:pt x="1984" y="331"/>
                  </a:moveTo>
                  <a:cubicBezTo>
                    <a:pt x="2025" y="331"/>
                    <a:pt x="2060" y="345"/>
                    <a:pt x="2096" y="372"/>
                  </a:cubicBezTo>
                  <a:lnTo>
                    <a:pt x="2406" y="574"/>
                  </a:lnTo>
                  <a:cubicBezTo>
                    <a:pt x="2513" y="634"/>
                    <a:pt x="2525" y="753"/>
                    <a:pt x="2465" y="860"/>
                  </a:cubicBezTo>
                  <a:lnTo>
                    <a:pt x="1953" y="1634"/>
                  </a:lnTo>
                  <a:lnTo>
                    <a:pt x="1298" y="1205"/>
                  </a:lnTo>
                  <a:lnTo>
                    <a:pt x="1810" y="431"/>
                  </a:lnTo>
                  <a:cubicBezTo>
                    <a:pt x="1846" y="384"/>
                    <a:pt x="1882" y="348"/>
                    <a:pt x="1941" y="336"/>
                  </a:cubicBezTo>
                  <a:cubicBezTo>
                    <a:pt x="1956" y="333"/>
                    <a:pt x="1970" y="331"/>
                    <a:pt x="1984" y="331"/>
                  </a:cubicBezTo>
                  <a:close/>
                  <a:moveTo>
                    <a:pt x="917" y="1348"/>
                  </a:moveTo>
                  <a:lnTo>
                    <a:pt x="977" y="1384"/>
                  </a:lnTo>
                  <a:lnTo>
                    <a:pt x="1941" y="2015"/>
                  </a:lnTo>
                  <a:lnTo>
                    <a:pt x="1882" y="2348"/>
                  </a:lnTo>
                  <a:lnTo>
                    <a:pt x="667" y="1538"/>
                  </a:lnTo>
                  <a:lnTo>
                    <a:pt x="917" y="1348"/>
                  </a:lnTo>
                  <a:close/>
                  <a:moveTo>
                    <a:pt x="1989" y="0"/>
                  </a:moveTo>
                  <a:cubicBezTo>
                    <a:pt x="1951" y="0"/>
                    <a:pt x="1911" y="5"/>
                    <a:pt x="1870" y="14"/>
                  </a:cubicBezTo>
                  <a:cubicBezTo>
                    <a:pt x="1739" y="38"/>
                    <a:pt x="1620" y="110"/>
                    <a:pt x="1525" y="229"/>
                  </a:cubicBezTo>
                  <a:lnTo>
                    <a:pt x="1025" y="1003"/>
                  </a:lnTo>
                  <a:lnTo>
                    <a:pt x="1013" y="991"/>
                  </a:lnTo>
                  <a:cubicBezTo>
                    <a:pt x="989" y="979"/>
                    <a:pt x="965" y="979"/>
                    <a:pt x="953" y="967"/>
                  </a:cubicBezTo>
                  <a:lnTo>
                    <a:pt x="191" y="848"/>
                  </a:lnTo>
                  <a:cubicBezTo>
                    <a:pt x="177" y="844"/>
                    <a:pt x="163" y="843"/>
                    <a:pt x="150" y="843"/>
                  </a:cubicBezTo>
                  <a:cubicBezTo>
                    <a:pt x="76" y="843"/>
                    <a:pt x="23" y="898"/>
                    <a:pt x="13" y="979"/>
                  </a:cubicBezTo>
                  <a:cubicBezTo>
                    <a:pt x="1" y="1062"/>
                    <a:pt x="60" y="1146"/>
                    <a:pt x="143" y="1157"/>
                  </a:cubicBezTo>
                  <a:lnTo>
                    <a:pt x="536" y="1217"/>
                  </a:lnTo>
                  <a:lnTo>
                    <a:pt x="382" y="1336"/>
                  </a:lnTo>
                  <a:cubicBezTo>
                    <a:pt x="322" y="1372"/>
                    <a:pt x="298" y="1455"/>
                    <a:pt x="298" y="1527"/>
                  </a:cubicBezTo>
                  <a:cubicBezTo>
                    <a:pt x="298" y="1598"/>
                    <a:pt x="334" y="1658"/>
                    <a:pt x="394" y="1705"/>
                  </a:cubicBezTo>
                  <a:lnTo>
                    <a:pt x="1846" y="2658"/>
                  </a:lnTo>
                  <a:cubicBezTo>
                    <a:pt x="1870" y="2681"/>
                    <a:pt x="1918" y="2681"/>
                    <a:pt x="1965" y="2681"/>
                  </a:cubicBezTo>
                  <a:cubicBezTo>
                    <a:pt x="1989" y="2681"/>
                    <a:pt x="2025" y="2681"/>
                    <a:pt x="2048" y="2670"/>
                  </a:cubicBezTo>
                  <a:cubicBezTo>
                    <a:pt x="2120" y="2646"/>
                    <a:pt x="2168" y="2586"/>
                    <a:pt x="2179" y="2503"/>
                  </a:cubicBezTo>
                  <a:lnTo>
                    <a:pt x="2227" y="2312"/>
                  </a:lnTo>
                  <a:lnTo>
                    <a:pt x="2441" y="2646"/>
                  </a:lnTo>
                  <a:cubicBezTo>
                    <a:pt x="2465" y="2681"/>
                    <a:pt x="2525" y="2717"/>
                    <a:pt x="2572" y="2717"/>
                  </a:cubicBezTo>
                  <a:cubicBezTo>
                    <a:pt x="2596" y="2717"/>
                    <a:pt x="2632" y="2705"/>
                    <a:pt x="2656" y="2681"/>
                  </a:cubicBezTo>
                  <a:cubicBezTo>
                    <a:pt x="2739" y="2646"/>
                    <a:pt x="2763" y="2539"/>
                    <a:pt x="2703" y="2467"/>
                  </a:cubicBezTo>
                  <a:lnTo>
                    <a:pt x="2287" y="1812"/>
                  </a:lnTo>
                  <a:lnTo>
                    <a:pt x="2239" y="1765"/>
                  </a:lnTo>
                  <a:lnTo>
                    <a:pt x="2227" y="1753"/>
                  </a:lnTo>
                  <a:lnTo>
                    <a:pt x="2739" y="979"/>
                  </a:lnTo>
                  <a:cubicBezTo>
                    <a:pt x="2894" y="788"/>
                    <a:pt x="2834" y="455"/>
                    <a:pt x="2584" y="288"/>
                  </a:cubicBezTo>
                  <a:lnTo>
                    <a:pt x="2275" y="86"/>
                  </a:lnTo>
                  <a:cubicBezTo>
                    <a:pt x="2188" y="34"/>
                    <a:pt x="2094" y="0"/>
                    <a:pt x="1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8" name="Google Shape;12398;p62"/>
            <p:cNvSpPr/>
            <p:nvPr/>
          </p:nvSpPr>
          <p:spPr>
            <a:xfrm>
              <a:off x="6662498" y="2512201"/>
              <a:ext cx="288185" cy="244930"/>
            </a:xfrm>
            <a:custGeom>
              <a:avLst/>
              <a:gdLst/>
              <a:ahLst/>
              <a:cxnLst/>
              <a:rect l="l" t="t" r="r" b="b"/>
              <a:pathLst>
                <a:path w="9061" h="7701" extrusionOk="0">
                  <a:moveTo>
                    <a:pt x="4501" y="3379"/>
                  </a:moveTo>
                  <a:lnTo>
                    <a:pt x="7025" y="5975"/>
                  </a:lnTo>
                  <a:lnTo>
                    <a:pt x="6989" y="5975"/>
                  </a:lnTo>
                  <a:cubicBezTo>
                    <a:pt x="6977" y="5975"/>
                    <a:pt x="6965" y="5951"/>
                    <a:pt x="6942" y="5951"/>
                  </a:cubicBezTo>
                  <a:lnTo>
                    <a:pt x="6930" y="5951"/>
                  </a:lnTo>
                  <a:cubicBezTo>
                    <a:pt x="6918" y="5951"/>
                    <a:pt x="6906" y="5939"/>
                    <a:pt x="6870" y="5939"/>
                  </a:cubicBezTo>
                  <a:lnTo>
                    <a:pt x="6858" y="5939"/>
                  </a:lnTo>
                  <a:cubicBezTo>
                    <a:pt x="6846" y="5939"/>
                    <a:pt x="6823" y="5927"/>
                    <a:pt x="6799" y="5927"/>
                  </a:cubicBezTo>
                  <a:lnTo>
                    <a:pt x="6787" y="5927"/>
                  </a:lnTo>
                  <a:cubicBezTo>
                    <a:pt x="6763" y="5927"/>
                    <a:pt x="6751" y="5927"/>
                    <a:pt x="6739" y="5915"/>
                  </a:cubicBezTo>
                  <a:lnTo>
                    <a:pt x="6727" y="5915"/>
                  </a:lnTo>
                  <a:cubicBezTo>
                    <a:pt x="6704" y="5915"/>
                    <a:pt x="6692" y="5915"/>
                    <a:pt x="6680" y="5891"/>
                  </a:cubicBezTo>
                  <a:lnTo>
                    <a:pt x="6549" y="5891"/>
                  </a:lnTo>
                  <a:cubicBezTo>
                    <a:pt x="6525" y="5891"/>
                    <a:pt x="6513" y="5891"/>
                    <a:pt x="6501" y="5879"/>
                  </a:cubicBezTo>
                  <a:lnTo>
                    <a:pt x="6489" y="5879"/>
                  </a:lnTo>
                  <a:cubicBezTo>
                    <a:pt x="6465" y="5879"/>
                    <a:pt x="6442" y="5879"/>
                    <a:pt x="6430" y="5867"/>
                  </a:cubicBezTo>
                  <a:lnTo>
                    <a:pt x="6406" y="5867"/>
                  </a:lnTo>
                  <a:cubicBezTo>
                    <a:pt x="6025" y="5808"/>
                    <a:pt x="5572" y="5760"/>
                    <a:pt x="5120" y="5748"/>
                  </a:cubicBezTo>
                  <a:cubicBezTo>
                    <a:pt x="5037" y="5748"/>
                    <a:pt x="4953" y="5748"/>
                    <a:pt x="4882" y="5736"/>
                  </a:cubicBezTo>
                  <a:lnTo>
                    <a:pt x="4168" y="5736"/>
                  </a:lnTo>
                  <a:cubicBezTo>
                    <a:pt x="4025" y="5736"/>
                    <a:pt x="3882" y="5748"/>
                    <a:pt x="3751" y="5748"/>
                  </a:cubicBezTo>
                  <a:cubicBezTo>
                    <a:pt x="3346" y="5760"/>
                    <a:pt x="2953" y="5808"/>
                    <a:pt x="2620" y="5867"/>
                  </a:cubicBezTo>
                  <a:lnTo>
                    <a:pt x="2596" y="5867"/>
                  </a:lnTo>
                  <a:cubicBezTo>
                    <a:pt x="2584" y="5867"/>
                    <a:pt x="2560" y="5867"/>
                    <a:pt x="2536" y="5879"/>
                  </a:cubicBezTo>
                  <a:lnTo>
                    <a:pt x="2524" y="5879"/>
                  </a:lnTo>
                  <a:cubicBezTo>
                    <a:pt x="2513" y="5879"/>
                    <a:pt x="2501" y="5879"/>
                    <a:pt x="2477" y="5891"/>
                  </a:cubicBezTo>
                  <a:lnTo>
                    <a:pt x="2346" y="5891"/>
                  </a:lnTo>
                  <a:cubicBezTo>
                    <a:pt x="2334" y="5891"/>
                    <a:pt x="2322" y="5891"/>
                    <a:pt x="2298" y="5915"/>
                  </a:cubicBezTo>
                  <a:lnTo>
                    <a:pt x="2286" y="5915"/>
                  </a:lnTo>
                  <a:cubicBezTo>
                    <a:pt x="2274" y="5915"/>
                    <a:pt x="2263" y="5915"/>
                    <a:pt x="2239" y="5927"/>
                  </a:cubicBezTo>
                  <a:lnTo>
                    <a:pt x="2227" y="5927"/>
                  </a:lnTo>
                  <a:cubicBezTo>
                    <a:pt x="2215" y="5927"/>
                    <a:pt x="2203" y="5939"/>
                    <a:pt x="2167" y="5939"/>
                  </a:cubicBezTo>
                  <a:lnTo>
                    <a:pt x="2155" y="5939"/>
                  </a:lnTo>
                  <a:cubicBezTo>
                    <a:pt x="2143" y="5939"/>
                    <a:pt x="2120" y="5951"/>
                    <a:pt x="2096" y="5951"/>
                  </a:cubicBezTo>
                  <a:lnTo>
                    <a:pt x="2084" y="5951"/>
                  </a:lnTo>
                  <a:cubicBezTo>
                    <a:pt x="2060" y="5951"/>
                    <a:pt x="2048" y="5975"/>
                    <a:pt x="2036" y="5975"/>
                  </a:cubicBezTo>
                  <a:lnTo>
                    <a:pt x="2001" y="5975"/>
                  </a:lnTo>
                  <a:lnTo>
                    <a:pt x="4501" y="3379"/>
                  </a:lnTo>
                  <a:close/>
                  <a:moveTo>
                    <a:pt x="4620" y="6046"/>
                  </a:moveTo>
                  <a:cubicBezTo>
                    <a:pt x="5525" y="6058"/>
                    <a:pt x="6382" y="6153"/>
                    <a:pt x="6989" y="6320"/>
                  </a:cubicBezTo>
                  <a:lnTo>
                    <a:pt x="7001" y="6320"/>
                  </a:lnTo>
                  <a:cubicBezTo>
                    <a:pt x="7013" y="6320"/>
                    <a:pt x="7049" y="6332"/>
                    <a:pt x="7061" y="6332"/>
                  </a:cubicBezTo>
                  <a:lnTo>
                    <a:pt x="7073" y="6332"/>
                  </a:lnTo>
                  <a:lnTo>
                    <a:pt x="7216" y="6379"/>
                  </a:lnTo>
                  <a:cubicBezTo>
                    <a:pt x="7335" y="6415"/>
                    <a:pt x="7442" y="6451"/>
                    <a:pt x="7525" y="6498"/>
                  </a:cubicBezTo>
                  <a:cubicBezTo>
                    <a:pt x="7739" y="6594"/>
                    <a:pt x="7787" y="6689"/>
                    <a:pt x="7787" y="6713"/>
                  </a:cubicBezTo>
                  <a:cubicBezTo>
                    <a:pt x="7799" y="6772"/>
                    <a:pt x="7632" y="6975"/>
                    <a:pt x="6918" y="7153"/>
                  </a:cubicBezTo>
                  <a:cubicBezTo>
                    <a:pt x="6275" y="7296"/>
                    <a:pt x="5430" y="7391"/>
                    <a:pt x="4525" y="7391"/>
                  </a:cubicBezTo>
                  <a:cubicBezTo>
                    <a:pt x="3608" y="7391"/>
                    <a:pt x="2763" y="7296"/>
                    <a:pt x="2120" y="7153"/>
                  </a:cubicBezTo>
                  <a:cubicBezTo>
                    <a:pt x="1393" y="6975"/>
                    <a:pt x="1227" y="6772"/>
                    <a:pt x="1227" y="6713"/>
                  </a:cubicBezTo>
                  <a:cubicBezTo>
                    <a:pt x="1227" y="6689"/>
                    <a:pt x="1286" y="6594"/>
                    <a:pt x="1501" y="6498"/>
                  </a:cubicBezTo>
                  <a:cubicBezTo>
                    <a:pt x="1584" y="6451"/>
                    <a:pt x="1691" y="6403"/>
                    <a:pt x="1810" y="6379"/>
                  </a:cubicBezTo>
                  <a:lnTo>
                    <a:pt x="1941" y="6332"/>
                  </a:lnTo>
                  <a:lnTo>
                    <a:pt x="1965" y="6332"/>
                  </a:lnTo>
                  <a:cubicBezTo>
                    <a:pt x="1977" y="6332"/>
                    <a:pt x="2001" y="6320"/>
                    <a:pt x="2024" y="6320"/>
                  </a:cubicBezTo>
                  <a:lnTo>
                    <a:pt x="2036" y="6320"/>
                  </a:lnTo>
                  <a:cubicBezTo>
                    <a:pt x="2632" y="6165"/>
                    <a:pt x="3489" y="6058"/>
                    <a:pt x="4382" y="6046"/>
                  </a:cubicBezTo>
                  <a:close/>
                  <a:moveTo>
                    <a:pt x="1637" y="1"/>
                  </a:moveTo>
                  <a:cubicBezTo>
                    <a:pt x="1596" y="1"/>
                    <a:pt x="1554" y="16"/>
                    <a:pt x="1524" y="45"/>
                  </a:cubicBezTo>
                  <a:cubicBezTo>
                    <a:pt x="1465" y="105"/>
                    <a:pt x="1465" y="212"/>
                    <a:pt x="1524" y="272"/>
                  </a:cubicBezTo>
                  <a:lnTo>
                    <a:pt x="4298" y="3129"/>
                  </a:lnTo>
                  <a:lnTo>
                    <a:pt x="1334" y="6189"/>
                  </a:lnTo>
                  <a:lnTo>
                    <a:pt x="1322" y="6189"/>
                  </a:lnTo>
                  <a:cubicBezTo>
                    <a:pt x="1310" y="6189"/>
                    <a:pt x="1310" y="6213"/>
                    <a:pt x="1286" y="6213"/>
                  </a:cubicBezTo>
                  <a:cubicBezTo>
                    <a:pt x="1286" y="6213"/>
                    <a:pt x="1274" y="6213"/>
                    <a:pt x="1274" y="6225"/>
                  </a:cubicBezTo>
                  <a:cubicBezTo>
                    <a:pt x="1262" y="6225"/>
                    <a:pt x="1262" y="6237"/>
                    <a:pt x="1250" y="6237"/>
                  </a:cubicBezTo>
                  <a:cubicBezTo>
                    <a:pt x="1250" y="6237"/>
                    <a:pt x="1227" y="6237"/>
                    <a:pt x="1227" y="6248"/>
                  </a:cubicBezTo>
                  <a:lnTo>
                    <a:pt x="1215" y="6272"/>
                  </a:lnTo>
                  <a:cubicBezTo>
                    <a:pt x="1215" y="6272"/>
                    <a:pt x="1203" y="6272"/>
                    <a:pt x="1203" y="6284"/>
                  </a:cubicBezTo>
                  <a:lnTo>
                    <a:pt x="1191" y="6296"/>
                  </a:lnTo>
                  <a:lnTo>
                    <a:pt x="1167" y="6296"/>
                  </a:lnTo>
                  <a:lnTo>
                    <a:pt x="322" y="1105"/>
                  </a:lnTo>
                  <a:cubicBezTo>
                    <a:pt x="311" y="1019"/>
                    <a:pt x="233" y="972"/>
                    <a:pt x="165" y="972"/>
                  </a:cubicBezTo>
                  <a:cubicBezTo>
                    <a:pt x="158" y="972"/>
                    <a:pt x="150" y="973"/>
                    <a:pt x="143" y="974"/>
                  </a:cubicBezTo>
                  <a:cubicBezTo>
                    <a:pt x="60" y="986"/>
                    <a:pt x="0" y="1081"/>
                    <a:pt x="12" y="1153"/>
                  </a:cubicBezTo>
                  <a:lnTo>
                    <a:pt x="917" y="6713"/>
                  </a:lnTo>
                  <a:cubicBezTo>
                    <a:pt x="929" y="7034"/>
                    <a:pt x="1322" y="7260"/>
                    <a:pt x="2048" y="7439"/>
                  </a:cubicBezTo>
                  <a:cubicBezTo>
                    <a:pt x="2715" y="7606"/>
                    <a:pt x="3596" y="7701"/>
                    <a:pt x="4537" y="7701"/>
                  </a:cubicBezTo>
                  <a:cubicBezTo>
                    <a:pt x="5477" y="7701"/>
                    <a:pt x="6346" y="7606"/>
                    <a:pt x="7025" y="7439"/>
                  </a:cubicBezTo>
                  <a:cubicBezTo>
                    <a:pt x="7763" y="7260"/>
                    <a:pt x="8132" y="7022"/>
                    <a:pt x="8156" y="6713"/>
                  </a:cubicBezTo>
                  <a:lnTo>
                    <a:pt x="9061" y="1153"/>
                  </a:lnTo>
                  <a:cubicBezTo>
                    <a:pt x="9049" y="1081"/>
                    <a:pt x="8990" y="998"/>
                    <a:pt x="8894" y="986"/>
                  </a:cubicBezTo>
                  <a:cubicBezTo>
                    <a:pt x="8887" y="985"/>
                    <a:pt x="8880" y="984"/>
                    <a:pt x="8873" y="984"/>
                  </a:cubicBezTo>
                  <a:cubicBezTo>
                    <a:pt x="8795" y="984"/>
                    <a:pt x="8716" y="1041"/>
                    <a:pt x="8716" y="1117"/>
                  </a:cubicBezTo>
                  <a:lnTo>
                    <a:pt x="7870" y="6320"/>
                  </a:lnTo>
                  <a:lnTo>
                    <a:pt x="7858" y="6320"/>
                  </a:lnTo>
                  <a:lnTo>
                    <a:pt x="7835" y="6296"/>
                  </a:lnTo>
                  <a:cubicBezTo>
                    <a:pt x="7835" y="6296"/>
                    <a:pt x="7823" y="6296"/>
                    <a:pt x="7823" y="6284"/>
                  </a:cubicBezTo>
                  <a:lnTo>
                    <a:pt x="7811" y="6272"/>
                  </a:lnTo>
                  <a:cubicBezTo>
                    <a:pt x="7811" y="6272"/>
                    <a:pt x="7799" y="6272"/>
                    <a:pt x="7799" y="6248"/>
                  </a:cubicBezTo>
                  <a:cubicBezTo>
                    <a:pt x="7799" y="6248"/>
                    <a:pt x="7775" y="6237"/>
                    <a:pt x="7763" y="6237"/>
                  </a:cubicBezTo>
                  <a:cubicBezTo>
                    <a:pt x="7763" y="6237"/>
                    <a:pt x="7751" y="6237"/>
                    <a:pt x="7751" y="6225"/>
                  </a:cubicBezTo>
                  <a:cubicBezTo>
                    <a:pt x="7739" y="6225"/>
                    <a:pt x="7739" y="6213"/>
                    <a:pt x="7716" y="6213"/>
                  </a:cubicBezTo>
                  <a:lnTo>
                    <a:pt x="7704" y="6213"/>
                  </a:lnTo>
                  <a:lnTo>
                    <a:pt x="4739" y="3141"/>
                  </a:lnTo>
                  <a:lnTo>
                    <a:pt x="7513" y="272"/>
                  </a:lnTo>
                  <a:cubicBezTo>
                    <a:pt x="7573" y="212"/>
                    <a:pt x="7573" y="105"/>
                    <a:pt x="7513" y="45"/>
                  </a:cubicBezTo>
                  <a:cubicBezTo>
                    <a:pt x="7483" y="16"/>
                    <a:pt x="7442" y="1"/>
                    <a:pt x="7400" y="1"/>
                  </a:cubicBezTo>
                  <a:cubicBezTo>
                    <a:pt x="7358" y="1"/>
                    <a:pt x="7317" y="16"/>
                    <a:pt x="7287" y="45"/>
                  </a:cubicBezTo>
                  <a:lnTo>
                    <a:pt x="4525" y="2903"/>
                  </a:lnTo>
                  <a:lnTo>
                    <a:pt x="1751" y="45"/>
                  </a:lnTo>
                  <a:cubicBezTo>
                    <a:pt x="1721" y="16"/>
                    <a:pt x="1679" y="1"/>
                    <a:pt x="16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99" name="Google Shape;12399;p62"/>
          <p:cNvGrpSpPr/>
          <p:nvPr/>
        </p:nvGrpSpPr>
        <p:grpSpPr>
          <a:xfrm>
            <a:off x="6183451" y="2462140"/>
            <a:ext cx="351445" cy="277976"/>
            <a:chOff x="6183451" y="2462140"/>
            <a:chExt cx="351445" cy="277976"/>
          </a:xfrm>
        </p:grpSpPr>
        <p:sp>
          <p:nvSpPr>
            <p:cNvPr id="12400" name="Google Shape;12400;p62"/>
            <p:cNvSpPr/>
            <p:nvPr/>
          </p:nvSpPr>
          <p:spPr>
            <a:xfrm>
              <a:off x="6315251" y="2514777"/>
              <a:ext cx="120446" cy="10241"/>
            </a:xfrm>
            <a:custGeom>
              <a:avLst/>
              <a:gdLst/>
              <a:ahLst/>
              <a:cxnLst/>
              <a:rect l="l" t="t" r="r" b="b"/>
              <a:pathLst>
                <a:path w="3787" h="322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21"/>
                    <a:pt x="167" y="321"/>
                  </a:cubicBezTo>
                  <a:lnTo>
                    <a:pt x="3620" y="321"/>
                  </a:lnTo>
                  <a:cubicBezTo>
                    <a:pt x="3703" y="321"/>
                    <a:pt x="3786" y="250"/>
                    <a:pt x="3786" y="167"/>
                  </a:cubicBezTo>
                  <a:cubicBezTo>
                    <a:pt x="3786" y="71"/>
                    <a:pt x="3715" y="0"/>
                    <a:pt x="3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1" name="Google Shape;12401;p62"/>
            <p:cNvSpPr/>
            <p:nvPr/>
          </p:nvSpPr>
          <p:spPr>
            <a:xfrm>
              <a:off x="6274349" y="2514777"/>
              <a:ext cx="27670" cy="10241"/>
            </a:xfrm>
            <a:custGeom>
              <a:avLst/>
              <a:gdLst/>
              <a:ahLst/>
              <a:cxnLst/>
              <a:rect l="l" t="t" r="r" b="b"/>
              <a:pathLst>
                <a:path w="870" h="322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21"/>
                    <a:pt x="155" y="321"/>
                  </a:cubicBezTo>
                  <a:lnTo>
                    <a:pt x="715" y="321"/>
                  </a:lnTo>
                  <a:cubicBezTo>
                    <a:pt x="798" y="321"/>
                    <a:pt x="870" y="250"/>
                    <a:pt x="870" y="167"/>
                  </a:cubicBezTo>
                  <a:cubicBezTo>
                    <a:pt x="870" y="71"/>
                    <a:pt x="798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2" name="Google Shape;12402;p62"/>
            <p:cNvSpPr/>
            <p:nvPr/>
          </p:nvSpPr>
          <p:spPr>
            <a:xfrm>
              <a:off x="6274349" y="2672307"/>
              <a:ext cx="64405" cy="10623"/>
            </a:xfrm>
            <a:custGeom>
              <a:avLst/>
              <a:gdLst/>
              <a:ahLst/>
              <a:cxnLst/>
              <a:rect l="l" t="t" r="r" b="b"/>
              <a:pathLst>
                <a:path w="2025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1858" y="333"/>
                  </a:lnTo>
                  <a:cubicBezTo>
                    <a:pt x="1941" y="333"/>
                    <a:pt x="2013" y="250"/>
                    <a:pt x="2013" y="167"/>
                  </a:cubicBezTo>
                  <a:cubicBezTo>
                    <a:pt x="2024" y="71"/>
                    <a:pt x="1941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3" name="Google Shape;12403;p62"/>
            <p:cNvSpPr/>
            <p:nvPr/>
          </p:nvSpPr>
          <p:spPr>
            <a:xfrm>
              <a:off x="6274731" y="2619670"/>
              <a:ext cx="85619" cy="10623"/>
            </a:xfrm>
            <a:custGeom>
              <a:avLst/>
              <a:gdLst/>
              <a:ahLst/>
              <a:cxnLst/>
              <a:rect l="l" t="t" r="r" b="b"/>
              <a:pathLst>
                <a:path w="2692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2524" y="333"/>
                  </a:lnTo>
                  <a:cubicBezTo>
                    <a:pt x="2620" y="333"/>
                    <a:pt x="2691" y="262"/>
                    <a:pt x="2691" y="167"/>
                  </a:cubicBezTo>
                  <a:cubicBezTo>
                    <a:pt x="2691" y="83"/>
                    <a:pt x="2620" y="0"/>
                    <a:pt x="2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4" name="Google Shape;12404;p62"/>
            <p:cNvSpPr/>
            <p:nvPr/>
          </p:nvSpPr>
          <p:spPr>
            <a:xfrm>
              <a:off x="6274731" y="2567383"/>
              <a:ext cx="122704" cy="10273"/>
            </a:xfrm>
            <a:custGeom>
              <a:avLst/>
              <a:gdLst/>
              <a:ahLst/>
              <a:cxnLst/>
              <a:rect l="l" t="t" r="r" b="b"/>
              <a:pathLst>
                <a:path w="3858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3691" y="322"/>
                  </a:lnTo>
                  <a:cubicBezTo>
                    <a:pt x="3775" y="322"/>
                    <a:pt x="3858" y="251"/>
                    <a:pt x="3858" y="156"/>
                  </a:cubicBezTo>
                  <a:cubicBezTo>
                    <a:pt x="3858" y="72"/>
                    <a:pt x="3775" y="1"/>
                    <a:pt x="3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5" name="Google Shape;12405;p62"/>
            <p:cNvSpPr/>
            <p:nvPr/>
          </p:nvSpPr>
          <p:spPr>
            <a:xfrm>
              <a:off x="6183451" y="2462140"/>
              <a:ext cx="339709" cy="277976"/>
            </a:xfrm>
            <a:custGeom>
              <a:avLst/>
              <a:gdLst/>
              <a:ahLst/>
              <a:cxnLst/>
              <a:rect l="l" t="t" r="r" b="b"/>
              <a:pathLst>
                <a:path w="10681" h="8740" extrusionOk="0">
                  <a:moveTo>
                    <a:pt x="9514" y="405"/>
                  </a:moveTo>
                  <a:cubicBezTo>
                    <a:pt x="9895" y="405"/>
                    <a:pt x="10193" y="667"/>
                    <a:pt x="10252" y="1036"/>
                  </a:cubicBezTo>
                  <a:lnTo>
                    <a:pt x="8883" y="1036"/>
                  </a:lnTo>
                  <a:lnTo>
                    <a:pt x="8883" y="964"/>
                  </a:lnTo>
                  <a:lnTo>
                    <a:pt x="8883" y="953"/>
                  </a:lnTo>
                  <a:lnTo>
                    <a:pt x="8883" y="941"/>
                  </a:lnTo>
                  <a:lnTo>
                    <a:pt x="8883" y="917"/>
                  </a:lnTo>
                  <a:lnTo>
                    <a:pt x="8883" y="905"/>
                  </a:lnTo>
                  <a:lnTo>
                    <a:pt x="8883" y="893"/>
                  </a:lnTo>
                  <a:lnTo>
                    <a:pt x="8883" y="881"/>
                  </a:lnTo>
                  <a:lnTo>
                    <a:pt x="8883" y="857"/>
                  </a:lnTo>
                  <a:lnTo>
                    <a:pt x="8883" y="845"/>
                  </a:lnTo>
                  <a:lnTo>
                    <a:pt x="8883" y="833"/>
                  </a:lnTo>
                  <a:lnTo>
                    <a:pt x="8883" y="822"/>
                  </a:lnTo>
                  <a:lnTo>
                    <a:pt x="8883" y="798"/>
                  </a:lnTo>
                  <a:lnTo>
                    <a:pt x="8883" y="786"/>
                  </a:lnTo>
                  <a:cubicBezTo>
                    <a:pt x="8883" y="786"/>
                    <a:pt x="8883" y="774"/>
                    <a:pt x="8895" y="774"/>
                  </a:cubicBezTo>
                  <a:lnTo>
                    <a:pt x="8895" y="762"/>
                  </a:lnTo>
                  <a:cubicBezTo>
                    <a:pt x="8895" y="762"/>
                    <a:pt x="8895" y="738"/>
                    <a:pt x="8907" y="738"/>
                  </a:cubicBezTo>
                  <a:cubicBezTo>
                    <a:pt x="8919" y="714"/>
                    <a:pt x="8943" y="703"/>
                    <a:pt x="8954" y="667"/>
                  </a:cubicBezTo>
                  <a:cubicBezTo>
                    <a:pt x="8954" y="655"/>
                    <a:pt x="8966" y="655"/>
                    <a:pt x="8966" y="643"/>
                  </a:cubicBezTo>
                  <a:lnTo>
                    <a:pt x="8978" y="619"/>
                  </a:lnTo>
                  <a:lnTo>
                    <a:pt x="9002" y="607"/>
                  </a:lnTo>
                  <a:lnTo>
                    <a:pt x="9014" y="595"/>
                  </a:lnTo>
                  <a:cubicBezTo>
                    <a:pt x="9026" y="595"/>
                    <a:pt x="9026" y="583"/>
                    <a:pt x="9038" y="583"/>
                  </a:cubicBezTo>
                  <a:cubicBezTo>
                    <a:pt x="9145" y="488"/>
                    <a:pt x="9264" y="429"/>
                    <a:pt x="9395" y="405"/>
                  </a:cubicBezTo>
                  <a:close/>
                  <a:moveTo>
                    <a:pt x="6704" y="7775"/>
                  </a:moveTo>
                  <a:cubicBezTo>
                    <a:pt x="6704" y="7787"/>
                    <a:pt x="6704" y="7799"/>
                    <a:pt x="6728" y="7811"/>
                  </a:cubicBezTo>
                  <a:lnTo>
                    <a:pt x="6728" y="7834"/>
                  </a:lnTo>
                  <a:lnTo>
                    <a:pt x="6728" y="7858"/>
                  </a:lnTo>
                  <a:lnTo>
                    <a:pt x="6728" y="7870"/>
                  </a:lnTo>
                  <a:lnTo>
                    <a:pt x="6728" y="7906"/>
                  </a:lnTo>
                  <a:lnTo>
                    <a:pt x="6728" y="7918"/>
                  </a:lnTo>
                  <a:cubicBezTo>
                    <a:pt x="6728" y="7930"/>
                    <a:pt x="6728" y="7930"/>
                    <a:pt x="6740" y="7953"/>
                  </a:cubicBezTo>
                  <a:lnTo>
                    <a:pt x="6740" y="7965"/>
                  </a:lnTo>
                  <a:cubicBezTo>
                    <a:pt x="6740" y="7977"/>
                    <a:pt x="6740" y="7977"/>
                    <a:pt x="6752" y="7989"/>
                  </a:cubicBezTo>
                  <a:lnTo>
                    <a:pt x="6752" y="8013"/>
                  </a:lnTo>
                  <a:cubicBezTo>
                    <a:pt x="6752" y="8025"/>
                    <a:pt x="6752" y="8025"/>
                    <a:pt x="6764" y="8037"/>
                  </a:cubicBezTo>
                  <a:cubicBezTo>
                    <a:pt x="6764" y="8037"/>
                    <a:pt x="6764" y="8049"/>
                    <a:pt x="6776" y="8049"/>
                  </a:cubicBezTo>
                  <a:cubicBezTo>
                    <a:pt x="6776" y="8072"/>
                    <a:pt x="6776" y="8072"/>
                    <a:pt x="6799" y="8084"/>
                  </a:cubicBezTo>
                  <a:cubicBezTo>
                    <a:pt x="6799" y="8084"/>
                    <a:pt x="6799" y="8096"/>
                    <a:pt x="6811" y="8096"/>
                  </a:cubicBezTo>
                  <a:cubicBezTo>
                    <a:pt x="6811" y="8108"/>
                    <a:pt x="6823" y="8108"/>
                    <a:pt x="6823" y="8132"/>
                  </a:cubicBezTo>
                  <a:cubicBezTo>
                    <a:pt x="6823" y="8132"/>
                    <a:pt x="6823" y="8144"/>
                    <a:pt x="6835" y="8144"/>
                  </a:cubicBezTo>
                  <a:cubicBezTo>
                    <a:pt x="6835" y="8156"/>
                    <a:pt x="6859" y="8156"/>
                    <a:pt x="6859" y="8168"/>
                  </a:cubicBezTo>
                  <a:lnTo>
                    <a:pt x="6859" y="8192"/>
                  </a:lnTo>
                  <a:cubicBezTo>
                    <a:pt x="6871" y="8203"/>
                    <a:pt x="6871" y="8215"/>
                    <a:pt x="6883" y="8227"/>
                  </a:cubicBezTo>
                  <a:lnTo>
                    <a:pt x="6883" y="8251"/>
                  </a:lnTo>
                  <a:cubicBezTo>
                    <a:pt x="6883" y="8263"/>
                    <a:pt x="6895" y="8263"/>
                    <a:pt x="6895" y="8275"/>
                  </a:cubicBezTo>
                  <a:cubicBezTo>
                    <a:pt x="6895" y="8275"/>
                    <a:pt x="6895" y="8287"/>
                    <a:pt x="6918" y="8287"/>
                  </a:cubicBezTo>
                  <a:cubicBezTo>
                    <a:pt x="6918" y="8311"/>
                    <a:pt x="6930" y="8311"/>
                    <a:pt x="6930" y="8322"/>
                  </a:cubicBezTo>
                  <a:cubicBezTo>
                    <a:pt x="6930" y="8322"/>
                    <a:pt x="6930" y="8334"/>
                    <a:pt x="6942" y="8334"/>
                  </a:cubicBezTo>
                  <a:lnTo>
                    <a:pt x="6954" y="8346"/>
                  </a:lnTo>
                  <a:lnTo>
                    <a:pt x="6978" y="8370"/>
                  </a:lnTo>
                  <a:lnTo>
                    <a:pt x="6990" y="8382"/>
                  </a:lnTo>
                  <a:lnTo>
                    <a:pt x="7002" y="8394"/>
                  </a:lnTo>
                  <a:lnTo>
                    <a:pt x="7014" y="8406"/>
                  </a:lnTo>
                  <a:lnTo>
                    <a:pt x="1096" y="8406"/>
                  </a:lnTo>
                  <a:cubicBezTo>
                    <a:pt x="727" y="8406"/>
                    <a:pt x="430" y="8144"/>
                    <a:pt x="370" y="7775"/>
                  </a:cubicBezTo>
                  <a:close/>
                  <a:moveTo>
                    <a:pt x="2918" y="0"/>
                  </a:moveTo>
                  <a:cubicBezTo>
                    <a:pt x="2323" y="0"/>
                    <a:pt x="1846" y="476"/>
                    <a:pt x="1846" y="1072"/>
                  </a:cubicBezTo>
                  <a:lnTo>
                    <a:pt x="1846" y="7441"/>
                  </a:lnTo>
                  <a:lnTo>
                    <a:pt x="156" y="7441"/>
                  </a:lnTo>
                  <a:cubicBezTo>
                    <a:pt x="120" y="7441"/>
                    <a:pt x="72" y="7453"/>
                    <a:pt x="37" y="7489"/>
                  </a:cubicBezTo>
                  <a:cubicBezTo>
                    <a:pt x="13" y="7513"/>
                    <a:pt x="1" y="7561"/>
                    <a:pt x="1" y="7608"/>
                  </a:cubicBezTo>
                  <a:cubicBezTo>
                    <a:pt x="1" y="8251"/>
                    <a:pt x="453" y="8739"/>
                    <a:pt x="1072" y="8739"/>
                  </a:cubicBezTo>
                  <a:lnTo>
                    <a:pt x="7776" y="8739"/>
                  </a:lnTo>
                  <a:cubicBezTo>
                    <a:pt x="8371" y="8739"/>
                    <a:pt x="8847" y="8263"/>
                    <a:pt x="8847" y="7668"/>
                  </a:cubicBezTo>
                  <a:lnTo>
                    <a:pt x="8847" y="5703"/>
                  </a:lnTo>
                  <a:cubicBezTo>
                    <a:pt x="8847" y="5608"/>
                    <a:pt x="8776" y="5536"/>
                    <a:pt x="8692" y="5536"/>
                  </a:cubicBezTo>
                  <a:cubicBezTo>
                    <a:pt x="8597" y="5536"/>
                    <a:pt x="8526" y="5608"/>
                    <a:pt x="8526" y="5703"/>
                  </a:cubicBezTo>
                  <a:lnTo>
                    <a:pt x="8526" y="7668"/>
                  </a:lnTo>
                  <a:cubicBezTo>
                    <a:pt x="8526" y="8084"/>
                    <a:pt x="8181" y="8406"/>
                    <a:pt x="7776" y="8406"/>
                  </a:cubicBezTo>
                  <a:lnTo>
                    <a:pt x="7764" y="8406"/>
                  </a:lnTo>
                  <a:cubicBezTo>
                    <a:pt x="7347" y="8406"/>
                    <a:pt x="7026" y="8072"/>
                    <a:pt x="7026" y="7608"/>
                  </a:cubicBezTo>
                  <a:cubicBezTo>
                    <a:pt x="7026" y="7513"/>
                    <a:pt x="6942" y="7441"/>
                    <a:pt x="6859" y="7441"/>
                  </a:cubicBezTo>
                  <a:lnTo>
                    <a:pt x="2168" y="7441"/>
                  </a:lnTo>
                  <a:lnTo>
                    <a:pt x="2168" y="1072"/>
                  </a:lnTo>
                  <a:cubicBezTo>
                    <a:pt x="2168" y="655"/>
                    <a:pt x="2513" y="333"/>
                    <a:pt x="2918" y="333"/>
                  </a:cubicBezTo>
                  <a:lnTo>
                    <a:pt x="8835" y="333"/>
                  </a:lnTo>
                  <a:lnTo>
                    <a:pt x="8823" y="345"/>
                  </a:lnTo>
                  <a:lnTo>
                    <a:pt x="8812" y="357"/>
                  </a:lnTo>
                  <a:lnTo>
                    <a:pt x="8788" y="369"/>
                  </a:lnTo>
                  <a:lnTo>
                    <a:pt x="8776" y="393"/>
                  </a:lnTo>
                  <a:lnTo>
                    <a:pt x="8764" y="405"/>
                  </a:lnTo>
                  <a:lnTo>
                    <a:pt x="8752" y="417"/>
                  </a:lnTo>
                  <a:lnTo>
                    <a:pt x="8728" y="429"/>
                  </a:lnTo>
                  <a:lnTo>
                    <a:pt x="8716" y="452"/>
                  </a:lnTo>
                  <a:lnTo>
                    <a:pt x="8704" y="464"/>
                  </a:lnTo>
                  <a:lnTo>
                    <a:pt x="8692" y="476"/>
                  </a:lnTo>
                  <a:cubicBezTo>
                    <a:pt x="8692" y="476"/>
                    <a:pt x="8669" y="488"/>
                    <a:pt x="8669" y="512"/>
                  </a:cubicBezTo>
                  <a:cubicBezTo>
                    <a:pt x="8669" y="524"/>
                    <a:pt x="8657" y="524"/>
                    <a:pt x="8657" y="536"/>
                  </a:cubicBezTo>
                  <a:cubicBezTo>
                    <a:pt x="8657" y="548"/>
                    <a:pt x="8645" y="548"/>
                    <a:pt x="8645" y="572"/>
                  </a:cubicBezTo>
                  <a:cubicBezTo>
                    <a:pt x="8645" y="583"/>
                    <a:pt x="8633" y="583"/>
                    <a:pt x="8633" y="595"/>
                  </a:cubicBezTo>
                  <a:cubicBezTo>
                    <a:pt x="8633" y="607"/>
                    <a:pt x="8633" y="607"/>
                    <a:pt x="8609" y="631"/>
                  </a:cubicBezTo>
                  <a:cubicBezTo>
                    <a:pt x="8609" y="643"/>
                    <a:pt x="8609" y="643"/>
                    <a:pt x="8597" y="655"/>
                  </a:cubicBezTo>
                  <a:cubicBezTo>
                    <a:pt x="8597" y="667"/>
                    <a:pt x="8597" y="667"/>
                    <a:pt x="8585" y="691"/>
                  </a:cubicBezTo>
                  <a:cubicBezTo>
                    <a:pt x="8585" y="703"/>
                    <a:pt x="8585" y="703"/>
                    <a:pt x="8573" y="714"/>
                  </a:cubicBezTo>
                  <a:cubicBezTo>
                    <a:pt x="8573" y="726"/>
                    <a:pt x="8573" y="726"/>
                    <a:pt x="8550" y="750"/>
                  </a:cubicBezTo>
                  <a:cubicBezTo>
                    <a:pt x="8550" y="762"/>
                    <a:pt x="8550" y="762"/>
                    <a:pt x="8538" y="774"/>
                  </a:cubicBezTo>
                  <a:cubicBezTo>
                    <a:pt x="8538" y="786"/>
                    <a:pt x="8538" y="786"/>
                    <a:pt x="8526" y="810"/>
                  </a:cubicBezTo>
                  <a:lnTo>
                    <a:pt x="8526" y="833"/>
                  </a:lnTo>
                  <a:lnTo>
                    <a:pt x="8526" y="869"/>
                  </a:lnTo>
                  <a:lnTo>
                    <a:pt x="8526" y="893"/>
                  </a:lnTo>
                  <a:lnTo>
                    <a:pt x="8526" y="929"/>
                  </a:lnTo>
                  <a:lnTo>
                    <a:pt x="8526" y="953"/>
                  </a:lnTo>
                  <a:lnTo>
                    <a:pt x="8526" y="988"/>
                  </a:lnTo>
                  <a:lnTo>
                    <a:pt x="8526" y="1012"/>
                  </a:lnTo>
                  <a:lnTo>
                    <a:pt x="8526" y="1048"/>
                  </a:lnTo>
                  <a:lnTo>
                    <a:pt x="8526" y="1060"/>
                  </a:lnTo>
                  <a:lnTo>
                    <a:pt x="8526" y="1119"/>
                  </a:lnTo>
                  <a:lnTo>
                    <a:pt x="8526" y="1179"/>
                  </a:lnTo>
                  <a:lnTo>
                    <a:pt x="8526" y="2560"/>
                  </a:lnTo>
                  <a:cubicBezTo>
                    <a:pt x="8526" y="2655"/>
                    <a:pt x="8597" y="2727"/>
                    <a:pt x="8692" y="2727"/>
                  </a:cubicBezTo>
                  <a:cubicBezTo>
                    <a:pt x="8776" y="2727"/>
                    <a:pt x="8847" y="2655"/>
                    <a:pt x="8847" y="2560"/>
                  </a:cubicBezTo>
                  <a:lnTo>
                    <a:pt x="8847" y="1286"/>
                  </a:lnTo>
                  <a:lnTo>
                    <a:pt x="10514" y="1286"/>
                  </a:lnTo>
                  <a:cubicBezTo>
                    <a:pt x="10562" y="1286"/>
                    <a:pt x="10609" y="1262"/>
                    <a:pt x="10633" y="1238"/>
                  </a:cubicBezTo>
                  <a:cubicBezTo>
                    <a:pt x="10669" y="1203"/>
                    <a:pt x="10681" y="1167"/>
                    <a:pt x="10681" y="1119"/>
                  </a:cubicBezTo>
                  <a:cubicBezTo>
                    <a:pt x="10681" y="476"/>
                    <a:pt x="10216" y="0"/>
                    <a:pt x="96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6" name="Google Shape;12406;p62"/>
            <p:cNvSpPr/>
            <p:nvPr/>
          </p:nvSpPr>
          <p:spPr>
            <a:xfrm>
              <a:off x="6367888" y="2552562"/>
              <a:ext cx="167008" cy="132627"/>
            </a:xfrm>
            <a:custGeom>
              <a:avLst/>
              <a:gdLst/>
              <a:ahLst/>
              <a:cxnLst/>
              <a:rect l="l" t="t" r="r" b="b"/>
              <a:pathLst>
                <a:path w="5251" h="4170" extrusionOk="0">
                  <a:moveTo>
                    <a:pt x="3679" y="407"/>
                  </a:moveTo>
                  <a:cubicBezTo>
                    <a:pt x="3108" y="669"/>
                    <a:pt x="2560" y="1027"/>
                    <a:pt x="2262" y="1217"/>
                  </a:cubicBezTo>
                  <a:cubicBezTo>
                    <a:pt x="1774" y="1550"/>
                    <a:pt x="1250" y="1955"/>
                    <a:pt x="858" y="2289"/>
                  </a:cubicBezTo>
                  <a:cubicBezTo>
                    <a:pt x="988" y="1991"/>
                    <a:pt x="1119" y="1729"/>
                    <a:pt x="1322" y="1503"/>
                  </a:cubicBezTo>
                  <a:cubicBezTo>
                    <a:pt x="1703" y="1074"/>
                    <a:pt x="2274" y="741"/>
                    <a:pt x="3036" y="538"/>
                  </a:cubicBezTo>
                  <a:cubicBezTo>
                    <a:pt x="3251" y="479"/>
                    <a:pt x="3453" y="431"/>
                    <a:pt x="3679" y="407"/>
                  </a:cubicBezTo>
                  <a:close/>
                  <a:moveTo>
                    <a:pt x="4548" y="372"/>
                  </a:moveTo>
                  <a:lnTo>
                    <a:pt x="4548" y="372"/>
                  </a:lnTo>
                  <a:cubicBezTo>
                    <a:pt x="4322" y="610"/>
                    <a:pt x="4084" y="836"/>
                    <a:pt x="3822" y="1122"/>
                  </a:cubicBezTo>
                  <a:cubicBezTo>
                    <a:pt x="3382" y="1598"/>
                    <a:pt x="2417" y="2217"/>
                    <a:pt x="2001" y="2348"/>
                  </a:cubicBezTo>
                  <a:cubicBezTo>
                    <a:pt x="1762" y="2432"/>
                    <a:pt x="1560" y="2467"/>
                    <a:pt x="1381" y="2527"/>
                  </a:cubicBezTo>
                  <a:cubicBezTo>
                    <a:pt x="1239" y="2574"/>
                    <a:pt x="1084" y="2610"/>
                    <a:pt x="953" y="2646"/>
                  </a:cubicBezTo>
                  <a:cubicBezTo>
                    <a:pt x="1012" y="2586"/>
                    <a:pt x="1084" y="2515"/>
                    <a:pt x="1179" y="2443"/>
                  </a:cubicBezTo>
                  <a:cubicBezTo>
                    <a:pt x="1524" y="2146"/>
                    <a:pt x="1977" y="1800"/>
                    <a:pt x="2453" y="1479"/>
                  </a:cubicBezTo>
                  <a:cubicBezTo>
                    <a:pt x="3274" y="919"/>
                    <a:pt x="4025" y="550"/>
                    <a:pt x="4548" y="372"/>
                  </a:cubicBezTo>
                  <a:close/>
                  <a:moveTo>
                    <a:pt x="4912" y="0"/>
                  </a:moveTo>
                  <a:cubicBezTo>
                    <a:pt x="3584" y="0"/>
                    <a:pt x="1934" y="348"/>
                    <a:pt x="1084" y="1312"/>
                  </a:cubicBezTo>
                  <a:cubicBezTo>
                    <a:pt x="703" y="1753"/>
                    <a:pt x="524" y="2324"/>
                    <a:pt x="346" y="2872"/>
                  </a:cubicBezTo>
                  <a:lnTo>
                    <a:pt x="298" y="3003"/>
                  </a:lnTo>
                  <a:lnTo>
                    <a:pt x="36" y="3967"/>
                  </a:lnTo>
                  <a:cubicBezTo>
                    <a:pt x="0" y="4063"/>
                    <a:pt x="60" y="4146"/>
                    <a:pt x="155" y="4170"/>
                  </a:cubicBezTo>
                  <a:lnTo>
                    <a:pt x="191" y="4170"/>
                  </a:lnTo>
                  <a:cubicBezTo>
                    <a:pt x="274" y="4170"/>
                    <a:pt x="334" y="4122"/>
                    <a:pt x="346" y="4051"/>
                  </a:cubicBezTo>
                  <a:lnTo>
                    <a:pt x="596" y="3134"/>
                  </a:lnTo>
                  <a:cubicBezTo>
                    <a:pt x="905" y="2991"/>
                    <a:pt x="1167" y="2932"/>
                    <a:pt x="1489" y="2824"/>
                  </a:cubicBezTo>
                  <a:cubicBezTo>
                    <a:pt x="1667" y="2777"/>
                    <a:pt x="1858" y="2717"/>
                    <a:pt x="2096" y="2646"/>
                  </a:cubicBezTo>
                  <a:cubicBezTo>
                    <a:pt x="2620" y="2479"/>
                    <a:pt x="3620" y="1812"/>
                    <a:pt x="4084" y="1324"/>
                  </a:cubicBezTo>
                  <a:cubicBezTo>
                    <a:pt x="4477" y="896"/>
                    <a:pt x="4822" y="562"/>
                    <a:pt x="5215" y="253"/>
                  </a:cubicBezTo>
                  <a:lnTo>
                    <a:pt x="5227" y="241"/>
                  </a:lnTo>
                  <a:lnTo>
                    <a:pt x="5239" y="217"/>
                  </a:lnTo>
                  <a:cubicBezTo>
                    <a:pt x="5251" y="205"/>
                    <a:pt x="5251" y="193"/>
                    <a:pt x="5251" y="181"/>
                  </a:cubicBezTo>
                  <a:lnTo>
                    <a:pt x="5251" y="157"/>
                  </a:lnTo>
                  <a:lnTo>
                    <a:pt x="5251" y="134"/>
                  </a:lnTo>
                  <a:cubicBezTo>
                    <a:pt x="5251" y="122"/>
                    <a:pt x="5251" y="110"/>
                    <a:pt x="5239" y="86"/>
                  </a:cubicBezTo>
                  <a:cubicBezTo>
                    <a:pt x="5239" y="86"/>
                    <a:pt x="5239" y="74"/>
                    <a:pt x="5227" y="74"/>
                  </a:cubicBezTo>
                  <a:cubicBezTo>
                    <a:pt x="5227" y="74"/>
                    <a:pt x="5227" y="62"/>
                    <a:pt x="5215" y="62"/>
                  </a:cubicBezTo>
                  <a:lnTo>
                    <a:pt x="5191" y="38"/>
                  </a:lnTo>
                  <a:lnTo>
                    <a:pt x="5179" y="26"/>
                  </a:lnTo>
                  <a:lnTo>
                    <a:pt x="5168" y="15"/>
                  </a:lnTo>
                  <a:cubicBezTo>
                    <a:pt x="5168" y="15"/>
                    <a:pt x="5156" y="15"/>
                    <a:pt x="5156" y="3"/>
                  </a:cubicBezTo>
                  <a:lnTo>
                    <a:pt x="5108" y="3"/>
                  </a:lnTo>
                  <a:cubicBezTo>
                    <a:pt x="5044" y="1"/>
                    <a:pt x="4978" y="0"/>
                    <a:pt x="49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07" name="Google Shape;12407;p62"/>
          <p:cNvGrpSpPr/>
          <p:nvPr/>
        </p:nvGrpSpPr>
        <p:grpSpPr>
          <a:xfrm>
            <a:off x="5735477" y="2429858"/>
            <a:ext cx="353354" cy="341299"/>
            <a:chOff x="5735477" y="2429858"/>
            <a:chExt cx="353354" cy="341299"/>
          </a:xfrm>
        </p:grpSpPr>
        <p:sp>
          <p:nvSpPr>
            <p:cNvPr id="12408" name="Google Shape;12408;p62"/>
            <p:cNvSpPr/>
            <p:nvPr/>
          </p:nvSpPr>
          <p:spPr>
            <a:xfrm>
              <a:off x="5824468" y="2594703"/>
              <a:ext cx="176359" cy="76968"/>
            </a:xfrm>
            <a:custGeom>
              <a:avLst/>
              <a:gdLst/>
              <a:ahLst/>
              <a:cxnLst/>
              <a:rect l="l" t="t" r="r" b="b"/>
              <a:pathLst>
                <a:path w="5545" h="2420" extrusionOk="0">
                  <a:moveTo>
                    <a:pt x="3427" y="340"/>
                  </a:moveTo>
                  <a:cubicBezTo>
                    <a:pt x="3652" y="340"/>
                    <a:pt x="3900" y="416"/>
                    <a:pt x="4108" y="630"/>
                  </a:cubicBezTo>
                  <a:cubicBezTo>
                    <a:pt x="4335" y="845"/>
                    <a:pt x="4537" y="999"/>
                    <a:pt x="4739" y="1107"/>
                  </a:cubicBezTo>
                  <a:cubicBezTo>
                    <a:pt x="4510" y="1133"/>
                    <a:pt x="4229" y="1154"/>
                    <a:pt x="3943" y="1154"/>
                  </a:cubicBezTo>
                  <a:cubicBezTo>
                    <a:pt x="3575" y="1154"/>
                    <a:pt x="3199" y="1118"/>
                    <a:pt x="2918" y="1011"/>
                  </a:cubicBezTo>
                  <a:lnTo>
                    <a:pt x="2834" y="987"/>
                  </a:lnTo>
                  <a:cubicBezTo>
                    <a:pt x="2811" y="976"/>
                    <a:pt x="2787" y="970"/>
                    <a:pt x="2766" y="970"/>
                  </a:cubicBezTo>
                  <a:cubicBezTo>
                    <a:pt x="2745" y="970"/>
                    <a:pt x="2727" y="976"/>
                    <a:pt x="2715" y="987"/>
                  </a:cubicBezTo>
                  <a:lnTo>
                    <a:pt x="2620" y="1011"/>
                  </a:lnTo>
                  <a:cubicBezTo>
                    <a:pt x="2325" y="1118"/>
                    <a:pt x="1951" y="1154"/>
                    <a:pt x="1583" y="1154"/>
                  </a:cubicBezTo>
                  <a:cubicBezTo>
                    <a:pt x="1297" y="1154"/>
                    <a:pt x="1014" y="1133"/>
                    <a:pt x="775" y="1107"/>
                  </a:cubicBezTo>
                  <a:cubicBezTo>
                    <a:pt x="965" y="999"/>
                    <a:pt x="1180" y="845"/>
                    <a:pt x="1406" y="630"/>
                  </a:cubicBezTo>
                  <a:cubicBezTo>
                    <a:pt x="1614" y="416"/>
                    <a:pt x="1862" y="340"/>
                    <a:pt x="2087" y="340"/>
                  </a:cubicBezTo>
                  <a:cubicBezTo>
                    <a:pt x="2326" y="340"/>
                    <a:pt x="2540" y="425"/>
                    <a:pt x="2656" y="523"/>
                  </a:cubicBezTo>
                  <a:cubicBezTo>
                    <a:pt x="2686" y="553"/>
                    <a:pt x="2721" y="568"/>
                    <a:pt x="2757" y="568"/>
                  </a:cubicBezTo>
                  <a:cubicBezTo>
                    <a:pt x="2793" y="568"/>
                    <a:pt x="2829" y="553"/>
                    <a:pt x="2858" y="523"/>
                  </a:cubicBezTo>
                  <a:cubicBezTo>
                    <a:pt x="2975" y="425"/>
                    <a:pt x="3188" y="340"/>
                    <a:pt x="3427" y="340"/>
                  </a:cubicBezTo>
                  <a:close/>
                  <a:moveTo>
                    <a:pt x="2727" y="1309"/>
                  </a:moveTo>
                  <a:lnTo>
                    <a:pt x="2751" y="1321"/>
                  </a:lnTo>
                  <a:cubicBezTo>
                    <a:pt x="3111" y="1433"/>
                    <a:pt x="3533" y="1470"/>
                    <a:pt x="3932" y="1470"/>
                  </a:cubicBezTo>
                  <a:cubicBezTo>
                    <a:pt x="4167" y="1470"/>
                    <a:pt x="4394" y="1458"/>
                    <a:pt x="4597" y="1440"/>
                  </a:cubicBezTo>
                  <a:lnTo>
                    <a:pt x="4597" y="1440"/>
                  </a:lnTo>
                  <a:cubicBezTo>
                    <a:pt x="4585" y="1464"/>
                    <a:pt x="4561" y="1476"/>
                    <a:pt x="4537" y="1488"/>
                  </a:cubicBezTo>
                  <a:cubicBezTo>
                    <a:pt x="4525" y="1499"/>
                    <a:pt x="4501" y="1523"/>
                    <a:pt x="4478" y="1535"/>
                  </a:cubicBezTo>
                  <a:lnTo>
                    <a:pt x="4466" y="1547"/>
                  </a:lnTo>
                  <a:cubicBezTo>
                    <a:pt x="4454" y="1559"/>
                    <a:pt x="4430" y="1583"/>
                    <a:pt x="4418" y="1583"/>
                  </a:cubicBezTo>
                  <a:cubicBezTo>
                    <a:pt x="4406" y="1583"/>
                    <a:pt x="4406" y="1595"/>
                    <a:pt x="4394" y="1595"/>
                  </a:cubicBezTo>
                  <a:cubicBezTo>
                    <a:pt x="4382" y="1607"/>
                    <a:pt x="4358" y="1607"/>
                    <a:pt x="4347" y="1618"/>
                  </a:cubicBezTo>
                  <a:cubicBezTo>
                    <a:pt x="4335" y="1618"/>
                    <a:pt x="4335" y="1642"/>
                    <a:pt x="4311" y="1642"/>
                  </a:cubicBezTo>
                  <a:cubicBezTo>
                    <a:pt x="4299" y="1654"/>
                    <a:pt x="4287" y="1654"/>
                    <a:pt x="4275" y="1666"/>
                  </a:cubicBezTo>
                  <a:cubicBezTo>
                    <a:pt x="4263" y="1666"/>
                    <a:pt x="4263" y="1678"/>
                    <a:pt x="4239" y="1678"/>
                  </a:cubicBezTo>
                  <a:cubicBezTo>
                    <a:pt x="4228" y="1702"/>
                    <a:pt x="4216" y="1714"/>
                    <a:pt x="4204" y="1714"/>
                  </a:cubicBezTo>
                  <a:cubicBezTo>
                    <a:pt x="4180" y="1714"/>
                    <a:pt x="4180" y="1726"/>
                    <a:pt x="4168" y="1726"/>
                  </a:cubicBezTo>
                  <a:lnTo>
                    <a:pt x="4120" y="1773"/>
                  </a:lnTo>
                  <a:lnTo>
                    <a:pt x="4108" y="1785"/>
                  </a:lnTo>
                  <a:lnTo>
                    <a:pt x="4049" y="1845"/>
                  </a:lnTo>
                  <a:cubicBezTo>
                    <a:pt x="3930" y="1964"/>
                    <a:pt x="3668" y="2059"/>
                    <a:pt x="3311" y="2095"/>
                  </a:cubicBezTo>
                  <a:cubicBezTo>
                    <a:pt x="3013" y="2130"/>
                    <a:pt x="2751" y="2130"/>
                    <a:pt x="2751" y="2130"/>
                  </a:cubicBezTo>
                  <a:lnTo>
                    <a:pt x="2727" y="2130"/>
                  </a:lnTo>
                  <a:cubicBezTo>
                    <a:pt x="2644" y="2130"/>
                    <a:pt x="2430" y="2130"/>
                    <a:pt x="2203" y="2095"/>
                  </a:cubicBezTo>
                  <a:cubicBezTo>
                    <a:pt x="1846" y="2059"/>
                    <a:pt x="1572" y="1964"/>
                    <a:pt x="1453" y="1845"/>
                  </a:cubicBezTo>
                  <a:lnTo>
                    <a:pt x="1394" y="1785"/>
                  </a:lnTo>
                  <a:lnTo>
                    <a:pt x="1382" y="1773"/>
                  </a:lnTo>
                  <a:lnTo>
                    <a:pt x="1334" y="1726"/>
                  </a:lnTo>
                  <a:cubicBezTo>
                    <a:pt x="1322" y="1726"/>
                    <a:pt x="1322" y="1714"/>
                    <a:pt x="1310" y="1714"/>
                  </a:cubicBezTo>
                  <a:cubicBezTo>
                    <a:pt x="1299" y="1702"/>
                    <a:pt x="1275" y="1678"/>
                    <a:pt x="1263" y="1678"/>
                  </a:cubicBezTo>
                  <a:cubicBezTo>
                    <a:pt x="1251" y="1678"/>
                    <a:pt x="1251" y="1666"/>
                    <a:pt x="1239" y="1666"/>
                  </a:cubicBezTo>
                  <a:cubicBezTo>
                    <a:pt x="1227" y="1654"/>
                    <a:pt x="1203" y="1654"/>
                    <a:pt x="1191" y="1642"/>
                  </a:cubicBezTo>
                  <a:cubicBezTo>
                    <a:pt x="1180" y="1642"/>
                    <a:pt x="1180" y="1618"/>
                    <a:pt x="1156" y="1618"/>
                  </a:cubicBezTo>
                  <a:cubicBezTo>
                    <a:pt x="1144" y="1607"/>
                    <a:pt x="1132" y="1607"/>
                    <a:pt x="1120" y="1595"/>
                  </a:cubicBezTo>
                  <a:cubicBezTo>
                    <a:pt x="1108" y="1595"/>
                    <a:pt x="1108" y="1583"/>
                    <a:pt x="1084" y="1583"/>
                  </a:cubicBezTo>
                  <a:cubicBezTo>
                    <a:pt x="1072" y="1559"/>
                    <a:pt x="1060" y="1559"/>
                    <a:pt x="1037" y="1547"/>
                  </a:cubicBezTo>
                  <a:lnTo>
                    <a:pt x="1025" y="1535"/>
                  </a:lnTo>
                  <a:cubicBezTo>
                    <a:pt x="1013" y="1523"/>
                    <a:pt x="989" y="1499"/>
                    <a:pt x="965" y="1488"/>
                  </a:cubicBezTo>
                  <a:lnTo>
                    <a:pt x="953" y="1488"/>
                  </a:lnTo>
                  <a:cubicBezTo>
                    <a:pt x="941" y="1476"/>
                    <a:pt x="929" y="1464"/>
                    <a:pt x="894" y="1440"/>
                  </a:cubicBezTo>
                  <a:lnTo>
                    <a:pt x="894" y="1440"/>
                  </a:lnTo>
                  <a:cubicBezTo>
                    <a:pt x="1114" y="1464"/>
                    <a:pt x="1367" y="1482"/>
                    <a:pt x="1623" y="1482"/>
                  </a:cubicBezTo>
                  <a:cubicBezTo>
                    <a:pt x="2004" y="1482"/>
                    <a:pt x="2393" y="1442"/>
                    <a:pt x="2692" y="1321"/>
                  </a:cubicBezTo>
                  <a:lnTo>
                    <a:pt x="2727" y="1309"/>
                  </a:lnTo>
                  <a:close/>
                  <a:moveTo>
                    <a:pt x="2093" y="1"/>
                  </a:moveTo>
                  <a:cubicBezTo>
                    <a:pt x="1780" y="1"/>
                    <a:pt x="1439" y="109"/>
                    <a:pt x="1156" y="392"/>
                  </a:cubicBezTo>
                  <a:cubicBezTo>
                    <a:pt x="632" y="928"/>
                    <a:pt x="132" y="999"/>
                    <a:pt x="120" y="999"/>
                  </a:cubicBezTo>
                  <a:lnTo>
                    <a:pt x="84" y="999"/>
                  </a:lnTo>
                  <a:cubicBezTo>
                    <a:pt x="84" y="999"/>
                    <a:pt x="72" y="999"/>
                    <a:pt x="72" y="1011"/>
                  </a:cubicBezTo>
                  <a:cubicBezTo>
                    <a:pt x="72" y="1011"/>
                    <a:pt x="60" y="1011"/>
                    <a:pt x="60" y="1023"/>
                  </a:cubicBezTo>
                  <a:lnTo>
                    <a:pt x="48" y="1047"/>
                  </a:lnTo>
                  <a:lnTo>
                    <a:pt x="37" y="1059"/>
                  </a:lnTo>
                  <a:lnTo>
                    <a:pt x="13" y="1071"/>
                  </a:lnTo>
                  <a:cubicBezTo>
                    <a:pt x="13" y="1071"/>
                    <a:pt x="13" y="1083"/>
                    <a:pt x="1" y="1083"/>
                  </a:cubicBezTo>
                  <a:lnTo>
                    <a:pt x="1" y="1107"/>
                  </a:lnTo>
                  <a:lnTo>
                    <a:pt x="1" y="1130"/>
                  </a:lnTo>
                  <a:lnTo>
                    <a:pt x="1" y="1142"/>
                  </a:lnTo>
                  <a:lnTo>
                    <a:pt x="1" y="1166"/>
                  </a:lnTo>
                  <a:cubicBezTo>
                    <a:pt x="1" y="1166"/>
                    <a:pt x="1" y="1178"/>
                    <a:pt x="13" y="1178"/>
                  </a:cubicBezTo>
                  <a:lnTo>
                    <a:pt x="37" y="1190"/>
                  </a:lnTo>
                  <a:lnTo>
                    <a:pt x="48" y="1202"/>
                  </a:lnTo>
                  <a:lnTo>
                    <a:pt x="60" y="1226"/>
                  </a:lnTo>
                  <a:lnTo>
                    <a:pt x="72" y="1237"/>
                  </a:lnTo>
                  <a:cubicBezTo>
                    <a:pt x="72" y="1237"/>
                    <a:pt x="727" y="1559"/>
                    <a:pt x="1203" y="2035"/>
                  </a:cubicBezTo>
                  <a:cubicBezTo>
                    <a:pt x="1538" y="2370"/>
                    <a:pt x="2322" y="2419"/>
                    <a:pt x="2628" y="2419"/>
                  </a:cubicBezTo>
                  <a:cubicBezTo>
                    <a:pt x="2681" y="2419"/>
                    <a:pt x="2720" y="2418"/>
                    <a:pt x="2739" y="2416"/>
                  </a:cubicBezTo>
                  <a:lnTo>
                    <a:pt x="2799" y="2416"/>
                  </a:lnTo>
                  <a:cubicBezTo>
                    <a:pt x="3061" y="2416"/>
                    <a:pt x="3918" y="2380"/>
                    <a:pt x="4275" y="2035"/>
                  </a:cubicBezTo>
                  <a:cubicBezTo>
                    <a:pt x="4751" y="1559"/>
                    <a:pt x="5406" y="1237"/>
                    <a:pt x="5406" y="1237"/>
                  </a:cubicBezTo>
                  <a:lnTo>
                    <a:pt x="5418" y="1226"/>
                  </a:lnTo>
                  <a:lnTo>
                    <a:pt x="5430" y="1202"/>
                  </a:lnTo>
                  <a:cubicBezTo>
                    <a:pt x="5450" y="1208"/>
                    <a:pt x="5467" y="1211"/>
                    <a:pt x="5480" y="1211"/>
                  </a:cubicBezTo>
                  <a:cubicBezTo>
                    <a:pt x="5540" y="1211"/>
                    <a:pt x="5545" y="1155"/>
                    <a:pt x="5525" y="1107"/>
                  </a:cubicBezTo>
                  <a:cubicBezTo>
                    <a:pt x="5513" y="1059"/>
                    <a:pt x="5466" y="1011"/>
                    <a:pt x="5418" y="999"/>
                  </a:cubicBezTo>
                  <a:lnTo>
                    <a:pt x="5394" y="999"/>
                  </a:lnTo>
                  <a:cubicBezTo>
                    <a:pt x="5394" y="999"/>
                    <a:pt x="4882" y="904"/>
                    <a:pt x="4347" y="392"/>
                  </a:cubicBezTo>
                  <a:cubicBezTo>
                    <a:pt x="4063" y="109"/>
                    <a:pt x="3726" y="1"/>
                    <a:pt x="3414" y="1"/>
                  </a:cubicBezTo>
                  <a:cubicBezTo>
                    <a:pt x="3162" y="1"/>
                    <a:pt x="2927" y="71"/>
                    <a:pt x="2751" y="178"/>
                  </a:cubicBezTo>
                  <a:cubicBezTo>
                    <a:pt x="2581" y="71"/>
                    <a:pt x="2346" y="1"/>
                    <a:pt x="20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9" name="Google Shape;12409;p62"/>
            <p:cNvSpPr/>
            <p:nvPr/>
          </p:nvSpPr>
          <p:spPr>
            <a:xfrm>
              <a:off x="5735477" y="2429858"/>
              <a:ext cx="353354" cy="126202"/>
            </a:xfrm>
            <a:custGeom>
              <a:avLst/>
              <a:gdLst/>
              <a:ahLst/>
              <a:cxnLst/>
              <a:rect l="l" t="t" r="r" b="b"/>
              <a:pathLst>
                <a:path w="11110" h="3968" extrusionOk="0">
                  <a:moveTo>
                    <a:pt x="10764" y="324"/>
                  </a:moveTo>
                  <a:cubicBezTo>
                    <a:pt x="10776" y="324"/>
                    <a:pt x="10776" y="324"/>
                    <a:pt x="10776" y="348"/>
                  </a:cubicBezTo>
                  <a:cubicBezTo>
                    <a:pt x="10764" y="348"/>
                    <a:pt x="10764" y="360"/>
                    <a:pt x="10764" y="360"/>
                  </a:cubicBezTo>
                  <a:cubicBezTo>
                    <a:pt x="10669" y="1015"/>
                    <a:pt x="10312" y="2599"/>
                    <a:pt x="9014" y="3325"/>
                  </a:cubicBezTo>
                  <a:cubicBezTo>
                    <a:pt x="8645" y="3527"/>
                    <a:pt x="8240" y="3634"/>
                    <a:pt x="7847" y="3634"/>
                  </a:cubicBezTo>
                  <a:lnTo>
                    <a:pt x="7680" y="3634"/>
                  </a:lnTo>
                  <a:cubicBezTo>
                    <a:pt x="6835" y="3575"/>
                    <a:pt x="6121" y="3087"/>
                    <a:pt x="5763" y="2801"/>
                  </a:cubicBezTo>
                  <a:cubicBezTo>
                    <a:pt x="5704" y="2753"/>
                    <a:pt x="5644" y="2730"/>
                    <a:pt x="5561" y="2730"/>
                  </a:cubicBezTo>
                  <a:cubicBezTo>
                    <a:pt x="5490" y="2730"/>
                    <a:pt x="5418" y="2753"/>
                    <a:pt x="5371" y="2801"/>
                  </a:cubicBezTo>
                  <a:cubicBezTo>
                    <a:pt x="5025" y="3087"/>
                    <a:pt x="4323" y="3575"/>
                    <a:pt x="3454" y="3634"/>
                  </a:cubicBezTo>
                  <a:lnTo>
                    <a:pt x="3287" y="3634"/>
                  </a:lnTo>
                  <a:cubicBezTo>
                    <a:pt x="2870" y="3634"/>
                    <a:pt x="2489" y="3527"/>
                    <a:pt x="2108" y="3325"/>
                  </a:cubicBezTo>
                  <a:cubicBezTo>
                    <a:pt x="822" y="2599"/>
                    <a:pt x="465" y="1015"/>
                    <a:pt x="370" y="360"/>
                  </a:cubicBezTo>
                  <a:lnTo>
                    <a:pt x="370" y="348"/>
                  </a:lnTo>
                  <a:cubicBezTo>
                    <a:pt x="370" y="348"/>
                    <a:pt x="382" y="324"/>
                    <a:pt x="406" y="324"/>
                  </a:cubicBezTo>
                  <a:cubicBezTo>
                    <a:pt x="418" y="324"/>
                    <a:pt x="418" y="324"/>
                    <a:pt x="418" y="348"/>
                  </a:cubicBezTo>
                  <a:cubicBezTo>
                    <a:pt x="1025" y="920"/>
                    <a:pt x="2084" y="1063"/>
                    <a:pt x="2668" y="1086"/>
                  </a:cubicBezTo>
                  <a:cubicBezTo>
                    <a:pt x="3644" y="1134"/>
                    <a:pt x="4406" y="1563"/>
                    <a:pt x="4870" y="1908"/>
                  </a:cubicBezTo>
                  <a:cubicBezTo>
                    <a:pt x="4894" y="1944"/>
                    <a:pt x="4930" y="1956"/>
                    <a:pt x="4954" y="1979"/>
                  </a:cubicBezTo>
                  <a:cubicBezTo>
                    <a:pt x="5132" y="2110"/>
                    <a:pt x="5359" y="2194"/>
                    <a:pt x="5585" y="2194"/>
                  </a:cubicBezTo>
                  <a:cubicBezTo>
                    <a:pt x="5799" y="2194"/>
                    <a:pt x="6025" y="2110"/>
                    <a:pt x="6204" y="1979"/>
                  </a:cubicBezTo>
                  <a:cubicBezTo>
                    <a:pt x="6240" y="1956"/>
                    <a:pt x="6264" y="1944"/>
                    <a:pt x="6299" y="1908"/>
                  </a:cubicBezTo>
                  <a:cubicBezTo>
                    <a:pt x="6752" y="1563"/>
                    <a:pt x="7514" y="1134"/>
                    <a:pt x="8502" y="1086"/>
                  </a:cubicBezTo>
                  <a:cubicBezTo>
                    <a:pt x="9061" y="1063"/>
                    <a:pt x="10121" y="920"/>
                    <a:pt x="10740" y="348"/>
                  </a:cubicBezTo>
                  <a:lnTo>
                    <a:pt x="10764" y="324"/>
                  </a:lnTo>
                  <a:close/>
                  <a:moveTo>
                    <a:pt x="395" y="0"/>
                  </a:moveTo>
                  <a:cubicBezTo>
                    <a:pt x="379" y="0"/>
                    <a:pt x="363" y="1"/>
                    <a:pt x="346" y="3"/>
                  </a:cubicBezTo>
                  <a:cubicBezTo>
                    <a:pt x="239" y="3"/>
                    <a:pt x="156" y="63"/>
                    <a:pt x="84" y="134"/>
                  </a:cubicBezTo>
                  <a:cubicBezTo>
                    <a:pt x="25" y="217"/>
                    <a:pt x="1" y="313"/>
                    <a:pt x="13" y="408"/>
                  </a:cubicBezTo>
                  <a:cubicBezTo>
                    <a:pt x="120" y="1110"/>
                    <a:pt x="489" y="2801"/>
                    <a:pt x="1918" y="3611"/>
                  </a:cubicBezTo>
                  <a:cubicBezTo>
                    <a:pt x="2334" y="3849"/>
                    <a:pt x="2799" y="3968"/>
                    <a:pt x="3263" y="3968"/>
                  </a:cubicBezTo>
                  <a:lnTo>
                    <a:pt x="3454" y="3968"/>
                  </a:lnTo>
                  <a:cubicBezTo>
                    <a:pt x="4394" y="3908"/>
                    <a:pt x="5168" y="3372"/>
                    <a:pt x="5537" y="3075"/>
                  </a:cubicBezTo>
                  <a:cubicBezTo>
                    <a:pt x="5918" y="3384"/>
                    <a:pt x="6692" y="3908"/>
                    <a:pt x="7633" y="3968"/>
                  </a:cubicBezTo>
                  <a:lnTo>
                    <a:pt x="7823" y="3968"/>
                  </a:lnTo>
                  <a:cubicBezTo>
                    <a:pt x="8288" y="3968"/>
                    <a:pt x="8752" y="3849"/>
                    <a:pt x="9169" y="3611"/>
                  </a:cubicBezTo>
                  <a:cubicBezTo>
                    <a:pt x="10585" y="2801"/>
                    <a:pt x="10966" y="1110"/>
                    <a:pt x="11074" y="408"/>
                  </a:cubicBezTo>
                  <a:cubicBezTo>
                    <a:pt x="11109" y="313"/>
                    <a:pt x="11074" y="217"/>
                    <a:pt x="11014" y="134"/>
                  </a:cubicBezTo>
                  <a:cubicBezTo>
                    <a:pt x="10955" y="63"/>
                    <a:pt x="10871" y="15"/>
                    <a:pt x="10764" y="3"/>
                  </a:cubicBezTo>
                  <a:cubicBezTo>
                    <a:pt x="10657" y="3"/>
                    <a:pt x="10574" y="39"/>
                    <a:pt x="10490" y="98"/>
                  </a:cubicBezTo>
                  <a:cubicBezTo>
                    <a:pt x="10252" y="313"/>
                    <a:pt x="9693" y="694"/>
                    <a:pt x="8454" y="753"/>
                  </a:cubicBezTo>
                  <a:cubicBezTo>
                    <a:pt x="7395" y="813"/>
                    <a:pt x="6585" y="1253"/>
                    <a:pt x="6073" y="1622"/>
                  </a:cubicBezTo>
                  <a:cubicBezTo>
                    <a:pt x="6037" y="1658"/>
                    <a:pt x="6002" y="1670"/>
                    <a:pt x="5966" y="1706"/>
                  </a:cubicBezTo>
                  <a:cubicBezTo>
                    <a:pt x="5847" y="1789"/>
                    <a:pt x="5704" y="1848"/>
                    <a:pt x="5549" y="1848"/>
                  </a:cubicBezTo>
                  <a:cubicBezTo>
                    <a:pt x="5406" y="1848"/>
                    <a:pt x="5251" y="1801"/>
                    <a:pt x="5132" y="1706"/>
                  </a:cubicBezTo>
                  <a:cubicBezTo>
                    <a:pt x="5109" y="1670"/>
                    <a:pt x="5073" y="1658"/>
                    <a:pt x="5025" y="1622"/>
                  </a:cubicBezTo>
                  <a:cubicBezTo>
                    <a:pt x="4537" y="1253"/>
                    <a:pt x="3727" y="789"/>
                    <a:pt x="2644" y="753"/>
                  </a:cubicBezTo>
                  <a:cubicBezTo>
                    <a:pt x="1418" y="694"/>
                    <a:pt x="846" y="313"/>
                    <a:pt x="608" y="98"/>
                  </a:cubicBezTo>
                  <a:cubicBezTo>
                    <a:pt x="548" y="28"/>
                    <a:pt x="479" y="0"/>
                    <a:pt x="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0" name="Google Shape;12410;p62"/>
            <p:cNvSpPr/>
            <p:nvPr/>
          </p:nvSpPr>
          <p:spPr>
            <a:xfrm>
              <a:off x="5762384" y="2464271"/>
              <a:ext cx="134440" cy="72102"/>
            </a:xfrm>
            <a:custGeom>
              <a:avLst/>
              <a:gdLst/>
              <a:ahLst/>
              <a:cxnLst/>
              <a:rect l="l" t="t" r="r" b="b"/>
              <a:pathLst>
                <a:path w="4227" h="2267" extrusionOk="0">
                  <a:moveTo>
                    <a:pt x="476" y="397"/>
                  </a:moveTo>
                  <a:lnTo>
                    <a:pt x="560" y="409"/>
                  </a:lnTo>
                  <a:cubicBezTo>
                    <a:pt x="929" y="505"/>
                    <a:pt x="1334" y="564"/>
                    <a:pt x="1774" y="588"/>
                  </a:cubicBezTo>
                  <a:cubicBezTo>
                    <a:pt x="2667" y="636"/>
                    <a:pt x="3358" y="1052"/>
                    <a:pt x="3774" y="1386"/>
                  </a:cubicBezTo>
                  <a:lnTo>
                    <a:pt x="3810" y="1421"/>
                  </a:lnTo>
                  <a:lnTo>
                    <a:pt x="3751" y="1469"/>
                  </a:lnTo>
                  <a:cubicBezTo>
                    <a:pt x="3477" y="1648"/>
                    <a:pt x="3024" y="1874"/>
                    <a:pt x="2548" y="1909"/>
                  </a:cubicBezTo>
                  <a:cubicBezTo>
                    <a:pt x="2490" y="1915"/>
                    <a:pt x="2432" y="1918"/>
                    <a:pt x="2376" y="1918"/>
                  </a:cubicBezTo>
                  <a:cubicBezTo>
                    <a:pt x="2089" y="1918"/>
                    <a:pt x="1827" y="1841"/>
                    <a:pt x="1548" y="1671"/>
                  </a:cubicBezTo>
                  <a:cubicBezTo>
                    <a:pt x="1119" y="1421"/>
                    <a:pt x="762" y="1017"/>
                    <a:pt x="512" y="469"/>
                  </a:cubicBezTo>
                  <a:lnTo>
                    <a:pt x="476" y="397"/>
                  </a:lnTo>
                  <a:close/>
                  <a:moveTo>
                    <a:pt x="174" y="0"/>
                  </a:moveTo>
                  <a:cubicBezTo>
                    <a:pt x="129" y="0"/>
                    <a:pt x="85" y="18"/>
                    <a:pt x="48" y="64"/>
                  </a:cubicBezTo>
                  <a:cubicBezTo>
                    <a:pt x="0" y="112"/>
                    <a:pt x="0" y="183"/>
                    <a:pt x="36" y="243"/>
                  </a:cubicBezTo>
                  <a:lnTo>
                    <a:pt x="214" y="636"/>
                  </a:lnTo>
                  <a:cubicBezTo>
                    <a:pt x="500" y="1243"/>
                    <a:pt x="893" y="1707"/>
                    <a:pt x="1393" y="1993"/>
                  </a:cubicBezTo>
                  <a:cubicBezTo>
                    <a:pt x="1715" y="2183"/>
                    <a:pt x="2060" y="2267"/>
                    <a:pt x="2417" y="2267"/>
                  </a:cubicBezTo>
                  <a:lnTo>
                    <a:pt x="2560" y="2267"/>
                  </a:lnTo>
                  <a:cubicBezTo>
                    <a:pt x="3120" y="2231"/>
                    <a:pt x="3608" y="1993"/>
                    <a:pt x="3917" y="1779"/>
                  </a:cubicBezTo>
                  <a:lnTo>
                    <a:pt x="4155" y="1636"/>
                  </a:lnTo>
                  <a:cubicBezTo>
                    <a:pt x="4203" y="1600"/>
                    <a:pt x="4227" y="1552"/>
                    <a:pt x="4227" y="1493"/>
                  </a:cubicBezTo>
                  <a:cubicBezTo>
                    <a:pt x="4227" y="1421"/>
                    <a:pt x="4215" y="1362"/>
                    <a:pt x="4167" y="1338"/>
                  </a:cubicBezTo>
                  <a:lnTo>
                    <a:pt x="3965" y="1159"/>
                  </a:lnTo>
                  <a:cubicBezTo>
                    <a:pt x="3501" y="778"/>
                    <a:pt x="2762" y="326"/>
                    <a:pt x="1774" y="278"/>
                  </a:cubicBezTo>
                  <a:cubicBezTo>
                    <a:pt x="1357" y="266"/>
                    <a:pt x="965" y="207"/>
                    <a:pt x="631" y="112"/>
                  </a:cubicBezTo>
                  <a:lnTo>
                    <a:pt x="214" y="4"/>
                  </a:lnTo>
                  <a:cubicBezTo>
                    <a:pt x="201" y="2"/>
                    <a:pt x="188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1" name="Google Shape;12411;p62"/>
            <p:cNvSpPr/>
            <p:nvPr/>
          </p:nvSpPr>
          <p:spPr>
            <a:xfrm>
              <a:off x="5928247" y="2463921"/>
              <a:ext cx="134821" cy="70957"/>
            </a:xfrm>
            <a:custGeom>
              <a:avLst/>
              <a:gdLst/>
              <a:ahLst/>
              <a:cxnLst/>
              <a:rect l="l" t="t" r="r" b="b"/>
              <a:pathLst>
                <a:path w="4239" h="2231" extrusionOk="0">
                  <a:moveTo>
                    <a:pt x="3774" y="420"/>
                  </a:moveTo>
                  <a:lnTo>
                    <a:pt x="3727" y="480"/>
                  </a:lnTo>
                  <a:cubicBezTo>
                    <a:pt x="3477" y="1028"/>
                    <a:pt x="3120" y="1432"/>
                    <a:pt x="2691" y="1682"/>
                  </a:cubicBezTo>
                  <a:cubicBezTo>
                    <a:pt x="2416" y="1841"/>
                    <a:pt x="2122" y="1924"/>
                    <a:pt x="1810" y="1924"/>
                  </a:cubicBezTo>
                  <a:cubicBezTo>
                    <a:pt x="1770" y="1924"/>
                    <a:pt x="1731" y="1923"/>
                    <a:pt x="1691" y="1920"/>
                  </a:cubicBezTo>
                  <a:cubicBezTo>
                    <a:pt x="1215" y="1897"/>
                    <a:pt x="774" y="1670"/>
                    <a:pt x="488" y="1480"/>
                  </a:cubicBezTo>
                  <a:lnTo>
                    <a:pt x="441" y="1444"/>
                  </a:lnTo>
                  <a:lnTo>
                    <a:pt x="488" y="1420"/>
                  </a:lnTo>
                  <a:cubicBezTo>
                    <a:pt x="905" y="1075"/>
                    <a:pt x="1596" y="658"/>
                    <a:pt x="2489" y="611"/>
                  </a:cubicBezTo>
                  <a:cubicBezTo>
                    <a:pt x="2929" y="587"/>
                    <a:pt x="3334" y="527"/>
                    <a:pt x="3703" y="432"/>
                  </a:cubicBezTo>
                  <a:lnTo>
                    <a:pt x="3774" y="420"/>
                  </a:lnTo>
                  <a:close/>
                  <a:moveTo>
                    <a:pt x="4043" y="1"/>
                  </a:moveTo>
                  <a:cubicBezTo>
                    <a:pt x="4033" y="1"/>
                    <a:pt x="4023" y="2"/>
                    <a:pt x="4013" y="4"/>
                  </a:cubicBezTo>
                  <a:lnTo>
                    <a:pt x="3596" y="111"/>
                  </a:lnTo>
                  <a:cubicBezTo>
                    <a:pt x="3262" y="194"/>
                    <a:pt x="2870" y="254"/>
                    <a:pt x="2453" y="277"/>
                  </a:cubicBezTo>
                  <a:cubicBezTo>
                    <a:pt x="1476" y="313"/>
                    <a:pt x="726" y="777"/>
                    <a:pt x="262" y="1147"/>
                  </a:cubicBezTo>
                  <a:lnTo>
                    <a:pt x="60" y="1325"/>
                  </a:lnTo>
                  <a:cubicBezTo>
                    <a:pt x="12" y="1361"/>
                    <a:pt x="0" y="1420"/>
                    <a:pt x="0" y="1468"/>
                  </a:cubicBezTo>
                  <a:cubicBezTo>
                    <a:pt x="0" y="1504"/>
                    <a:pt x="24" y="1563"/>
                    <a:pt x="72" y="1599"/>
                  </a:cubicBezTo>
                  <a:lnTo>
                    <a:pt x="310" y="1742"/>
                  </a:lnTo>
                  <a:cubicBezTo>
                    <a:pt x="619" y="1956"/>
                    <a:pt x="1107" y="2194"/>
                    <a:pt x="1667" y="2230"/>
                  </a:cubicBezTo>
                  <a:lnTo>
                    <a:pt x="1810" y="2230"/>
                  </a:lnTo>
                  <a:cubicBezTo>
                    <a:pt x="2167" y="2230"/>
                    <a:pt x="2512" y="2147"/>
                    <a:pt x="2834" y="1956"/>
                  </a:cubicBezTo>
                  <a:cubicBezTo>
                    <a:pt x="3334" y="1670"/>
                    <a:pt x="3727" y="1230"/>
                    <a:pt x="4013" y="599"/>
                  </a:cubicBezTo>
                  <a:lnTo>
                    <a:pt x="4191" y="206"/>
                  </a:lnTo>
                  <a:cubicBezTo>
                    <a:pt x="4239" y="182"/>
                    <a:pt x="4227" y="111"/>
                    <a:pt x="4179" y="63"/>
                  </a:cubicBezTo>
                  <a:cubicBezTo>
                    <a:pt x="4140" y="24"/>
                    <a:pt x="4092" y="1"/>
                    <a:pt x="40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2" name="Google Shape;12412;p62"/>
            <p:cNvSpPr/>
            <p:nvPr/>
          </p:nvSpPr>
          <p:spPr>
            <a:xfrm>
              <a:off x="5966859" y="2655642"/>
              <a:ext cx="28434" cy="113258"/>
            </a:xfrm>
            <a:custGeom>
              <a:avLst/>
              <a:gdLst/>
              <a:ahLst/>
              <a:cxnLst/>
              <a:rect l="l" t="t" r="r" b="b"/>
              <a:pathLst>
                <a:path w="894" h="3561" extrusionOk="0">
                  <a:moveTo>
                    <a:pt x="560" y="1893"/>
                  </a:moveTo>
                  <a:lnTo>
                    <a:pt x="560" y="3120"/>
                  </a:lnTo>
                  <a:lnTo>
                    <a:pt x="572" y="3120"/>
                  </a:lnTo>
                  <a:cubicBezTo>
                    <a:pt x="572" y="3179"/>
                    <a:pt x="524" y="3239"/>
                    <a:pt x="453" y="3239"/>
                  </a:cubicBezTo>
                  <a:cubicBezTo>
                    <a:pt x="382" y="3239"/>
                    <a:pt x="334" y="3191"/>
                    <a:pt x="334" y="3120"/>
                  </a:cubicBezTo>
                  <a:lnTo>
                    <a:pt x="334" y="1893"/>
                  </a:lnTo>
                  <a:close/>
                  <a:moveTo>
                    <a:pt x="715" y="0"/>
                  </a:moveTo>
                  <a:cubicBezTo>
                    <a:pt x="632" y="0"/>
                    <a:pt x="560" y="83"/>
                    <a:pt x="560" y="167"/>
                  </a:cubicBezTo>
                  <a:lnTo>
                    <a:pt x="560" y="1572"/>
                  </a:lnTo>
                  <a:lnTo>
                    <a:pt x="334" y="1572"/>
                  </a:lnTo>
                  <a:lnTo>
                    <a:pt x="334" y="381"/>
                  </a:lnTo>
                  <a:cubicBezTo>
                    <a:pt x="334" y="286"/>
                    <a:pt x="262" y="214"/>
                    <a:pt x="167" y="214"/>
                  </a:cubicBezTo>
                  <a:cubicBezTo>
                    <a:pt x="84" y="214"/>
                    <a:pt x="1" y="286"/>
                    <a:pt x="1" y="381"/>
                  </a:cubicBezTo>
                  <a:lnTo>
                    <a:pt x="1" y="3120"/>
                  </a:lnTo>
                  <a:cubicBezTo>
                    <a:pt x="1" y="3358"/>
                    <a:pt x="203" y="3560"/>
                    <a:pt x="453" y="3560"/>
                  </a:cubicBezTo>
                  <a:cubicBezTo>
                    <a:pt x="703" y="3560"/>
                    <a:pt x="894" y="3370"/>
                    <a:pt x="894" y="3120"/>
                  </a:cubicBezTo>
                  <a:lnTo>
                    <a:pt x="894" y="167"/>
                  </a:lnTo>
                  <a:cubicBezTo>
                    <a:pt x="882" y="83"/>
                    <a:pt x="810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3" name="Google Shape;12413;p62"/>
            <p:cNvSpPr/>
            <p:nvPr/>
          </p:nvSpPr>
          <p:spPr>
            <a:xfrm>
              <a:off x="6054704" y="2499988"/>
              <a:ext cx="27670" cy="271169"/>
            </a:xfrm>
            <a:custGeom>
              <a:avLst/>
              <a:gdLst/>
              <a:ahLst/>
              <a:cxnLst/>
              <a:rect l="l" t="t" r="r" b="b"/>
              <a:pathLst>
                <a:path w="870" h="8526" extrusionOk="0">
                  <a:moveTo>
                    <a:pt x="548" y="6775"/>
                  </a:moveTo>
                  <a:lnTo>
                    <a:pt x="548" y="8097"/>
                  </a:lnTo>
                  <a:lnTo>
                    <a:pt x="560" y="8097"/>
                  </a:lnTo>
                  <a:cubicBezTo>
                    <a:pt x="560" y="8156"/>
                    <a:pt x="513" y="8216"/>
                    <a:pt x="441" y="8216"/>
                  </a:cubicBezTo>
                  <a:cubicBezTo>
                    <a:pt x="370" y="8216"/>
                    <a:pt x="322" y="8168"/>
                    <a:pt x="322" y="8097"/>
                  </a:cubicBezTo>
                  <a:lnTo>
                    <a:pt x="322" y="6775"/>
                  </a:lnTo>
                  <a:close/>
                  <a:moveTo>
                    <a:pt x="715" y="1"/>
                  </a:moveTo>
                  <a:cubicBezTo>
                    <a:pt x="620" y="1"/>
                    <a:pt x="548" y="72"/>
                    <a:pt x="548" y="167"/>
                  </a:cubicBezTo>
                  <a:lnTo>
                    <a:pt x="548" y="6442"/>
                  </a:lnTo>
                  <a:lnTo>
                    <a:pt x="322" y="6442"/>
                  </a:lnTo>
                  <a:lnTo>
                    <a:pt x="322" y="1167"/>
                  </a:lnTo>
                  <a:cubicBezTo>
                    <a:pt x="322" y="1072"/>
                    <a:pt x="251" y="1001"/>
                    <a:pt x="156" y="1001"/>
                  </a:cubicBezTo>
                  <a:cubicBezTo>
                    <a:pt x="72" y="1001"/>
                    <a:pt x="1" y="1072"/>
                    <a:pt x="1" y="1167"/>
                  </a:cubicBezTo>
                  <a:lnTo>
                    <a:pt x="1" y="8097"/>
                  </a:lnTo>
                  <a:cubicBezTo>
                    <a:pt x="1" y="8335"/>
                    <a:pt x="191" y="8526"/>
                    <a:pt x="441" y="8526"/>
                  </a:cubicBezTo>
                  <a:cubicBezTo>
                    <a:pt x="679" y="8526"/>
                    <a:pt x="870" y="8335"/>
                    <a:pt x="870" y="8097"/>
                  </a:cubicBezTo>
                  <a:lnTo>
                    <a:pt x="870" y="167"/>
                  </a:lnTo>
                  <a:cubicBezTo>
                    <a:pt x="870" y="72"/>
                    <a:pt x="810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14" name="Google Shape;12414;p62"/>
          <p:cNvGrpSpPr/>
          <p:nvPr/>
        </p:nvGrpSpPr>
        <p:grpSpPr>
          <a:xfrm>
            <a:off x="5243735" y="2446973"/>
            <a:ext cx="405255" cy="275499"/>
            <a:chOff x="5283337" y="2478774"/>
            <a:chExt cx="358633" cy="243913"/>
          </a:xfrm>
        </p:grpSpPr>
        <p:sp>
          <p:nvSpPr>
            <p:cNvPr id="12415" name="Google Shape;12415;p62"/>
            <p:cNvSpPr/>
            <p:nvPr/>
          </p:nvSpPr>
          <p:spPr>
            <a:xfrm>
              <a:off x="5386735" y="2511056"/>
              <a:ext cx="21596" cy="20387"/>
            </a:xfrm>
            <a:custGeom>
              <a:avLst/>
              <a:gdLst/>
              <a:ahLst/>
              <a:cxnLst/>
              <a:rect l="l" t="t" r="r" b="b"/>
              <a:pathLst>
                <a:path w="679" h="641" extrusionOk="0">
                  <a:moveTo>
                    <a:pt x="494" y="1"/>
                  </a:moveTo>
                  <a:cubicBezTo>
                    <a:pt x="453" y="1"/>
                    <a:pt x="411" y="16"/>
                    <a:pt x="381" y="46"/>
                  </a:cubicBezTo>
                  <a:lnTo>
                    <a:pt x="60" y="367"/>
                  </a:lnTo>
                  <a:cubicBezTo>
                    <a:pt x="0" y="427"/>
                    <a:pt x="0" y="534"/>
                    <a:pt x="60" y="593"/>
                  </a:cubicBezTo>
                  <a:cubicBezTo>
                    <a:pt x="84" y="617"/>
                    <a:pt x="131" y="641"/>
                    <a:pt x="179" y="641"/>
                  </a:cubicBezTo>
                  <a:cubicBezTo>
                    <a:pt x="214" y="641"/>
                    <a:pt x="262" y="617"/>
                    <a:pt x="298" y="593"/>
                  </a:cubicBezTo>
                  <a:lnTo>
                    <a:pt x="619" y="260"/>
                  </a:lnTo>
                  <a:cubicBezTo>
                    <a:pt x="679" y="200"/>
                    <a:pt x="679" y="105"/>
                    <a:pt x="607" y="46"/>
                  </a:cubicBezTo>
                  <a:cubicBezTo>
                    <a:pt x="578" y="16"/>
                    <a:pt x="536" y="1"/>
                    <a:pt x="4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6" name="Google Shape;12416;p62"/>
            <p:cNvSpPr/>
            <p:nvPr/>
          </p:nvSpPr>
          <p:spPr>
            <a:xfrm>
              <a:off x="5321599" y="2575811"/>
              <a:ext cx="21977" cy="20387"/>
            </a:xfrm>
            <a:custGeom>
              <a:avLst/>
              <a:gdLst/>
              <a:ahLst/>
              <a:cxnLst/>
              <a:rect l="l" t="t" r="r" b="b"/>
              <a:pathLst>
                <a:path w="691" h="641" extrusionOk="0">
                  <a:moveTo>
                    <a:pt x="506" y="1"/>
                  </a:moveTo>
                  <a:cubicBezTo>
                    <a:pt x="465" y="1"/>
                    <a:pt x="423" y="16"/>
                    <a:pt x="393" y="46"/>
                  </a:cubicBezTo>
                  <a:lnTo>
                    <a:pt x="72" y="367"/>
                  </a:lnTo>
                  <a:cubicBezTo>
                    <a:pt x="0" y="427"/>
                    <a:pt x="0" y="534"/>
                    <a:pt x="72" y="593"/>
                  </a:cubicBezTo>
                  <a:cubicBezTo>
                    <a:pt x="96" y="629"/>
                    <a:pt x="143" y="641"/>
                    <a:pt x="179" y="641"/>
                  </a:cubicBezTo>
                  <a:cubicBezTo>
                    <a:pt x="227" y="641"/>
                    <a:pt x="274" y="629"/>
                    <a:pt x="298" y="593"/>
                  </a:cubicBezTo>
                  <a:lnTo>
                    <a:pt x="631" y="272"/>
                  </a:lnTo>
                  <a:cubicBezTo>
                    <a:pt x="691" y="212"/>
                    <a:pt x="691" y="105"/>
                    <a:pt x="619" y="46"/>
                  </a:cubicBezTo>
                  <a:cubicBezTo>
                    <a:pt x="590" y="16"/>
                    <a:pt x="548" y="1"/>
                    <a:pt x="5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7" name="Google Shape;12417;p62"/>
            <p:cNvSpPr/>
            <p:nvPr/>
          </p:nvSpPr>
          <p:spPr>
            <a:xfrm>
              <a:off x="5386735" y="2575811"/>
              <a:ext cx="21596" cy="20387"/>
            </a:xfrm>
            <a:custGeom>
              <a:avLst/>
              <a:gdLst/>
              <a:ahLst/>
              <a:cxnLst/>
              <a:rect l="l" t="t" r="r" b="b"/>
              <a:pathLst>
                <a:path w="679" h="641" extrusionOk="0">
                  <a:moveTo>
                    <a:pt x="168" y="1"/>
                  </a:moveTo>
                  <a:cubicBezTo>
                    <a:pt x="128" y="1"/>
                    <a:pt x="89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381" y="593"/>
                  </a:lnTo>
                  <a:cubicBezTo>
                    <a:pt x="417" y="629"/>
                    <a:pt x="465" y="641"/>
                    <a:pt x="500" y="641"/>
                  </a:cubicBezTo>
                  <a:cubicBezTo>
                    <a:pt x="548" y="641"/>
                    <a:pt x="595" y="629"/>
                    <a:pt x="619" y="593"/>
                  </a:cubicBezTo>
                  <a:cubicBezTo>
                    <a:pt x="679" y="534"/>
                    <a:pt x="679" y="427"/>
                    <a:pt x="607" y="367"/>
                  </a:cubicBezTo>
                  <a:lnTo>
                    <a:pt x="286" y="46"/>
                  </a:lnTo>
                  <a:cubicBezTo>
                    <a:pt x="250" y="16"/>
                    <a:pt x="209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8" name="Google Shape;12418;p62"/>
            <p:cNvSpPr/>
            <p:nvPr/>
          </p:nvSpPr>
          <p:spPr>
            <a:xfrm>
              <a:off x="5321599" y="2511056"/>
              <a:ext cx="21977" cy="20387"/>
            </a:xfrm>
            <a:custGeom>
              <a:avLst/>
              <a:gdLst/>
              <a:ahLst/>
              <a:cxnLst/>
              <a:rect l="l" t="t" r="r" b="b"/>
              <a:pathLst>
                <a:path w="691" h="641" extrusionOk="0">
                  <a:moveTo>
                    <a:pt x="179" y="1"/>
                  </a:moveTo>
                  <a:cubicBezTo>
                    <a:pt x="140" y="1"/>
                    <a:pt x="101" y="16"/>
                    <a:pt x="72" y="46"/>
                  </a:cubicBezTo>
                  <a:cubicBezTo>
                    <a:pt x="0" y="105"/>
                    <a:pt x="0" y="200"/>
                    <a:pt x="72" y="260"/>
                  </a:cubicBezTo>
                  <a:lnTo>
                    <a:pt x="393" y="593"/>
                  </a:lnTo>
                  <a:cubicBezTo>
                    <a:pt x="429" y="617"/>
                    <a:pt x="465" y="641"/>
                    <a:pt x="512" y="641"/>
                  </a:cubicBezTo>
                  <a:cubicBezTo>
                    <a:pt x="560" y="641"/>
                    <a:pt x="596" y="617"/>
                    <a:pt x="631" y="593"/>
                  </a:cubicBezTo>
                  <a:cubicBezTo>
                    <a:pt x="691" y="534"/>
                    <a:pt x="691" y="427"/>
                    <a:pt x="619" y="367"/>
                  </a:cubicBezTo>
                  <a:lnTo>
                    <a:pt x="286" y="46"/>
                  </a:lnTo>
                  <a:cubicBezTo>
                    <a:pt x="256" y="16"/>
                    <a:pt x="218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9" name="Google Shape;12419;p62"/>
            <p:cNvSpPr/>
            <p:nvPr/>
          </p:nvSpPr>
          <p:spPr>
            <a:xfrm>
              <a:off x="5522670" y="2520916"/>
              <a:ext cx="17079" cy="15457"/>
            </a:xfrm>
            <a:custGeom>
              <a:avLst/>
              <a:gdLst/>
              <a:ahLst/>
              <a:cxnLst/>
              <a:rect l="l" t="t" r="r" b="b"/>
              <a:pathLst>
                <a:path w="537" h="486" extrusionOk="0">
                  <a:moveTo>
                    <a:pt x="346" y="0"/>
                  </a:moveTo>
                  <a:cubicBezTo>
                    <a:pt x="307" y="0"/>
                    <a:pt x="268" y="15"/>
                    <a:pt x="239" y="45"/>
                  </a:cubicBezTo>
                  <a:lnTo>
                    <a:pt x="60" y="224"/>
                  </a:lnTo>
                  <a:cubicBezTo>
                    <a:pt x="1" y="283"/>
                    <a:pt x="1" y="390"/>
                    <a:pt x="60" y="450"/>
                  </a:cubicBezTo>
                  <a:cubicBezTo>
                    <a:pt x="84" y="474"/>
                    <a:pt x="131" y="486"/>
                    <a:pt x="179" y="486"/>
                  </a:cubicBezTo>
                  <a:cubicBezTo>
                    <a:pt x="215" y="486"/>
                    <a:pt x="262" y="474"/>
                    <a:pt x="298" y="450"/>
                  </a:cubicBezTo>
                  <a:lnTo>
                    <a:pt x="477" y="271"/>
                  </a:lnTo>
                  <a:cubicBezTo>
                    <a:pt x="536" y="212"/>
                    <a:pt x="536" y="105"/>
                    <a:pt x="453" y="45"/>
                  </a:cubicBezTo>
                  <a:cubicBezTo>
                    <a:pt x="423" y="15"/>
                    <a:pt x="384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0" name="Google Shape;12420;p62"/>
            <p:cNvSpPr/>
            <p:nvPr/>
          </p:nvSpPr>
          <p:spPr>
            <a:xfrm>
              <a:off x="5473054" y="2570531"/>
              <a:ext cx="16698" cy="15839"/>
            </a:xfrm>
            <a:custGeom>
              <a:avLst/>
              <a:gdLst/>
              <a:ahLst/>
              <a:cxnLst/>
              <a:rect l="l" t="t" r="r" b="b"/>
              <a:pathLst>
                <a:path w="525" h="498" extrusionOk="0">
                  <a:moveTo>
                    <a:pt x="358" y="0"/>
                  </a:moveTo>
                  <a:cubicBezTo>
                    <a:pt x="319" y="0"/>
                    <a:pt x="281" y="15"/>
                    <a:pt x="251" y="45"/>
                  </a:cubicBezTo>
                  <a:lnTo>
                    <a:pt x="72" y="223"/>
                  </a:lnTo>
                  <a:cubicBezTo>
                    <a:pt x="1" y="283"/>
                    <a:pt x="1" y="390"/>
                    <a:pt x="72" y="450"/>
                  </a:cubicBezTo>
                  <a:cubicBezTo>
                    <a:pt x="96" y="473"/>
                    <a:pt x="144" y="497"/>
                    <a:pt x="179" y="497"/>
                  </a:cubicBezTo>
                  <a:cubicBezTo>
                    <a:pt x="227" y="497"/>
                    <a:pt x="275" y="473"/>
                    <a:pt x="298" y="450"/>
                  </a:cubicBezTo>
                  <a:lnTo>
                    <a:pt x="477" y="271"/>
                  </a:lnTo>
                  <a:cubicBezTo>
                    <a:pt x="525" y="212"/>
                    <a:pt x="525" y="104"/>
                    <a:pt x="465" y="45"/>
                  </a:cubicBezTo>
                  <a:cubicBezTo>
                    <a:pt x="435" y="15"/>
                    <a:pt x="397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1" name="Google Shape;12421;p62"/>
            <p:cNvSpPr/>
            <p:nvPr/>
          </p:nvSpPr>
          <p:spPr>
            <a:xfrm>
              <a:off x="5522670" y="2570531"/>
              <a:ext cx="17079" cy="15839"/>
            </a:xfrm>
            <a:custGeom>
              <a:avLst/>
              <a:gdLst/>
              <a:ahLst/>
              <a:cxnLst/>
              <a:rect l="l" t="t" r="r" b="b"/>
              <a:pathLst>
                <a:path w="537" h="498" extrusionOk="0">
                  <a:moveTo>
                    <a:pt x="167" y="0"/>
                  </a:moveTo>
                  <a:cubicBezTo>
                    <a:pt x="129" y="0"/>
                    <a:pt x="90" y="15"/>
                    <a:pt x="60" y="45"/>
                  </a:cubicBezTo>
                  <a:cubicBezTo>
                    <a:pt x="1" y="104"/>
                    <a:pt x="1" y="212"/>
                    <a:pt x="60" y="271"/>
                  </a:cubicBezTo>
                  <a:lnTo>
                    <a:pt x="239" y="450"/>
                  </a:lnTo>
                  <a:cubicBezTo>
                    <a:pt x="262" y="473"/>
                    <a:pt x="310" y="497"/>
                    <a:pt x="358" y="497"/>
                  </a:cubicBezTo>
                  <a:cubicBezTo>
                    <a:pt x="393" y="497"/>
                    <a:pt x="441" y="473"/>
                    <a:pt x="477" y="450"/>
                  </a:cubicBezTo>
                  <a:cubicBezTo>
                    <a:pt x="536" y="390"/>
                    <a:pt x="536" y="283"/>
                    <a:pt x="453" y="223"/>
                  </a:cubicBezTo>
                  <a:lnTo>
                    <a:pt x="274" y="45"/>
                  </a:lnTo>
                  <a:cubicBezTo>
                    <a:pt x="245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2" name="Google Shape;12422;p62"/>
            <p:cNvSpPr/>
            <p:nvPr/>
          </p:nvSpPr>
          <p:spPr>
            <a:xfrm>
              <a:off x="5473054" y="2520916"/>
              <a:ext cx="16698" cy="15457"/>
            </a:xfrm>
            <a:custGeom>
              <a:avLst/>
              <a:gdLst/>
              <a:ahLst/>
              <a:cxnLst/>
              <a:rect l="l" t="t" r="r" b="b"/>
              <a:pathLst>
                <a:path w="525" h="486" extrusionOk="0">
                  <a:moveTo>
                    <a:pt x="179" y="0"/>
                  </a:moveTo>
                  <a:cubicBezTo>
                    <a:pt x="141" y="0"/>
                    <a:pt x="102" y="15"/>
                    <a:pt x="72" y="45"/>
                  </a:cubicBezTo>
                  <a:cubicBezTo>
                    <a:pt x="1" y="105"/>
                    <a:pt x="1" y="212"/>
                    <a:pt x="72" y="271"/>
                  </a:cubicBezTo>
                  <a:lnTo>
                    <a:pt x="251" y="450"/>
                  </a:lnTo>
                  <a:cubicBezTo>
                    <a:pt x="275" y="474"/>
                    <a:pt x="322" y="486"/>
                    <a:pt x="370" y="486"/>
                  </a:cubicBezTo>
                  <a:cubicBezTo>
                    <a:pt x="406" y="486"/>
                    <a:pt x="453" y="474"/>
                    <a:pt x="477" y="450"/>
                  </a:cubicBezTo>
                  <a:cubicBezTo>
                    <a:pt x="525" y="390"/>
                    <a:pt x="525" y="283"/>
                    <a:pt x="465" y="224"/>
                  </a:cubicBezTo>
                  <a:lnTo>
                    <a:pt x="287" y="45"/>
                  </a:lnTo>
                  <a:cubicBezTo>
                    <a:pt x="257" y="15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3" name="Google Shape;12423;p62"/>
            <p:cNvSpPr/>
            <p:nvPr/>
          </p:nvSpPr>
          <p:spPr>
            <a:xfrm>
              <a:off x="5343926" y="2638594"/>
              <a:ext cx="95860" cy="10623"/>
            </a:xfrm>
            <a:custGeom>
              <a:avLst/>
              <a:gdLst/>
              <a:ahLst/>
              <a:cxnLst/>
              <a:rect l="l" t="t" r="r" b="b"/>
              <a:pathLst>
                <a:path w="3014" h="334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2846" y="334"/>
                  </a:lnTo>
                  <a:cubicBezTo>
                    <a:pt x="2942" y="334"/>
                    <a:pt x="3013" y="262"/>
                    <a:pt x="3013" y="167"/>
                  </a:cubicBezTo>
                  <a:cubicBezTo>
                    <a:pt x="3013" y="84"/>
                    <a:pt x="2942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4" name="Google Shape;12424;p62"/>
            <p:cNvSpPr/>
            <p:nvPr/>
          </p:nvSpPr>
          <p:spPr>
            <a:xfrm>
              <a:off x="5343926" y="2689323"/>
              <a:ext cx="20482" cy="10655"/>
            </a:xfrm>
            <a:custGeom>
              <a:avLst/>
              <a:gdLst/>
              <a:ahLst/>
              <a:cxnLst/>
              <a:rect l="l" t="t" r="r" b="b"/>
              <a:pathLst>
                <a:path w="644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477" y="334"/>
                  </a:lnTo>
                  <a:cubicBezTo>
                    <a:pt x="572" y="334"/>
                    <a:pt x="644" y="251"/>
                    <a:pt x="644" y="167"/>
                  </a:cubicBezTo>
                  <a:cubicBezTo>
                    <a:pt x="644" y="72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5" name="Google Shape;12425;p62"/>
            <p:cNvSpPr/>
            <p:nvPr/>
          </p:nvSpPr>
          <p:spPr>
            <a:xfrm>
              <a:off x="5378021" y="2689323"/>
              <a:ext cx="61765" cy="10655"/>
            </a:xfrm>
            <a:custGeom>
              <a:avLst/>
              <a:gdLst/>
              <a:ahLst/>
              <a:cxnLst/>
              <a:rect l="l" t="t" r="r" b="b"/>
              <a:pathLst>
                <a:path w="1942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774" y="334"/>
                  </a:lnTo>
                  <a:cubicBezTo>
                    <a:pt x="1870" y="334"/>
                    <a:pt x="1941" y="251"/>
                    <a:pt x="1941" y="167"/>
                  </a:cubicBezTo>
                  <a:cubicBezTo>
                    <a:pt x="1941" y="72"/>
                    <a:pt x="1870" y="1"/>
                    <a:pt x="1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6" name="Google Shape;12426;p62"/>
            <p:cNvSpPr/>
            <p:nvPr/>
          </p:nvSpPr>
          <p:spPr>
            <a:xfrm>
              <a:off x="5343926" y="2663975"/>
              <a:ext cx="95860" cy="10241"/>
            </a:xfrm>
            <a:custGeom>
              <a:avLst/>
              <a:gdLst/>
              <a:ahLst/>
              <a:cxnLst/>
              <a:rect l="l" t="t" r="r" b="b"/>
              <a:pathLst>
                <a:path w="3014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2846" y="322"/>
                  </a:lnTo>
                  <a:cubicBezTo>
                    <a:pt x="2942" y="322"/>
                    <a:pt x="3013" y="250"/>
                    <a:pt x="3013" y="155"/>
                  </a:cubicBezTo>
                  <a:cubicBezTo>
                    <a:pt x="3013" y="72"/>
                    <a:pt x="2942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7" name="Google Shape;12427;p62"/>
            <p:cNvSpPr/>
            <p:nvPr/>
          </p:nvSpPr>
          <p:spPr>
            <a:xfrm>
              <a:off x="5283337" y="2478774"/>
              <a:ext cx="287072" cy="149229"/>
            </a:xfrm>
            <a:custGeom>
              <a:avLst/>
              <a:gdLst/>
              <a:ahLst/>
              <a:cxnLst/>
              <a:rect l="l" t="t" r="r" b="b"/>
              <a:pathLst>
                <a:path w="9026" h="4692" extrusionOk="0">
                  <a:moveTo>
                    <a:pt x="7002" y="834"/>
                  </a:moveTo>
                  <a:cubicBezTo>
                    <a:pt x="7383" y="834"/>
                    <a:pt x="7776" y="977"/>
                    <a:pt x="8073" y="1275"/>
                  </a:cubicBezTo>
                  <a:cubicBezTo>
                    <a:pt x="8669" y="1870"/>
                    <a:pt x="8669" y="2823"/>
                    <a:pt x="8073" y="3418"/>
                  </a:cubicBezTo>
                  <a:cubicBezTo>
                    <a:pt x="7776" y="3716"/>
                    <a:pt x="7389" y="3864"/>
                    <a:pt x="7002" y="3864"/>
                  </a:cubicBezTo>
                  <a:cubicBezTo>
                    <a:pt x="6615" y="3864"/>
                    <a:pt x="6228" y="3716"/>
                    <a:pt x="5930" y="3418"/>
                  </a:cubicBezTo>
                  <a:cubicBezTo>
                    <a:pt x="5335" y="2823"/>
                    <a:pt x="5335" y="1870"/>
                    <a:pt x="5930" y="1275"/>
                  </a:cubicBezTo>
                  <a:cubicBezTo>
                    <a:pt x="6228" y="977"/>
                    <a:pt x="6609" y="834"/>
                    <a:pt x="7002" y="834"/>
                  </a:cubicBezTo>
                  <a:close/>
                  <a:moveTo>
                    <a:pt x="2561" y="322"/>
                  </a:moveTo>
                  <a:cubicBezTo>
                    <a:pt x="3084" y="322"/>
                    <a:pt x="3608" y="525"/>
                    <a:pt x="3989" y="918"/>
                  </a:cubicBezTo>
                  <a:cubicBezTo>
                    <a:pt x="4787" y="1715"/>
                    <a:pt x="4787" y="2989"/>
                    <a:pt x="3989" y="3775"/>
                  </a:cubicBezTo>
                  <a:cubicBezTo>
                    <a:pt x="3596" y="4174"/>
                    <a:pt x="3079" y="4373"/>
                    <a:pt x="2561" y="4373"/>
                  </a:cubicBezTo>
                  <a:cubicBezTo>
                    <a:pt x="2043" y="4373"/>
                    <a:pt x="1525" y="4174"/>
                    <a:pt x="1132" y="3775"/>
                  </a:cubicBezTo>
                  <a:cubicBezTo>
                    <a:pt x="346" y="2989"/>
                    <a:pt x="346" y="1715"/>
                    <a:pt x="1132" y="918"/>
                  </a:cubicBezTo>
                  <a:cubicBezTo>
                    <a:pt x="1525" y="537"/>
                    <a:pt x="2037" y="322"/>
                    <a:pt x="2561" y="322"/>
                  </a:cubicBezTo>
                  <a:close/>
                  <a:moveTo>
                    <a:pt x="2575" y="1"/>
                  </a:moveTo>
                  <a:cubicBezTo>
                    <a:pt x="1974" y="1"/>
                    <a:pt x="1370" y="227"/>
                    <a:pt x="906" y="680"/>
                  </a:cubicBezTo>
                  <a:cubicBezTo>
                    <a:pt x="1" y="1596"/>
                    <a:pt x="1" y="3085"/>
                    <a:pt x="906" y="4001"/>
                  </a:cubicBezTo>
                  <a:cubicBezTo>
                    <a:pt x="1370" y="4466"/>
                    <a:pt x="1965" y="4692"/>
                    <a:pt x="2561" y="4692"/>
                  </a:cubicBezTo>
                  <a:cubicBezTo>
                    <a:pt x="3156" y="4692"/>
                    <a:pt x="3763" y="4466"/>
                    <a:pt x="4216" y="4001"/>
                  </a:cubicBezTo>
                  <a:cubicBezTo>
                    <a:pt x="4525" y="3692"/>
                    <a:pt x="4739" y="3299"/>
                    <a:pt x="4835" y="2882"/>
                  </a:cubicBezTo>
                  <a:lnTo>
                    <a:pt x="5240" y="2882"/>
                  </a:lnTo>
                  <a:cubicBezTo>
                    <a:pt x="5335" y="3156"/>
                    <a:pt x="5478" y="3418"/>
                    <a:pt x="5704" y="3632"/>
                  </a:cubicBezTo>
                  <a:cubicBezTo>
                    <a:pt x="6061" y="3990"/>
                    <a:pt x="6537" y="4168"/>
                    <a:pt x="7002" y="4168"/>
                  </a:cubicBezTo>
                  <a:cubicBezTo>
                    <a:pt x="7454" y="4168"/>
                    <a:pt x="7930" y="3990"/>
                    <a:pt x="8288" y="3632"/>
                  </a:cubicBezTo>
                  <a:cubicBezTo>
                    <a:pt x="9026" y="2930"/>
                    <a:pt x="9026" y="1775"/>
                    <a:pt x="8311" y="1061"/>
                  </a:cubicBezTo>
                  <a:cubicBezTo>
                    <a:pt x="7954" y="703"/>
                    <a:pt x="7481" y="525"/>
                    <a:pt x="7008" y="525"/>
                  </a:cubicBezTo>
                  <a:cubicBezTo>
                    <a:pt x="6534" y="525"/>
                    <a:pt x="6061" y="703"/>
                    <a:pt x="5704" y="1061"/>
                  </a:cubicBezTo>
                  <a:cubicBezTo>
                    <a:pt x="5287" y="1477"/>
                    <a:pt x="5109" y="2037"/>
                    <a:pt x="5180" y="2573"/>
                  </a:cubicBezTo>
                  <a:lnTo>
                    <a:pt x="4894" y="2573"/>
                  </a:lnTo>
                  <a:cubicBezTo>
                    <a:pt x="4954" y="1906"/>
                    <a:pt x="4739" y="1203"/>
                    <a:pt x="4227" y="680"/>
                  </a:cubicBezTo>
                  <a:cubicBezTo>
                    <a:pt x="3775" y="227"/>
                    <a:pt x="3177" y="1"/>
                    <a:pt x="25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8" name="Google Shape;12428;p62"/>
            <p:cNvSpPr/>
            <p:nvPr/>
          </p:nvSpPr>
          <p:spPr>
            <a:xfrm>
              <a:off x="5336356" y="2524987"/>
              <a:ext cx="56836" cy="56836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34"/>
                  </a:moveTo>
                  <a:cubicBezTo>
                    <a:pt x="1203" y="334"/>
                    <a:pt x="1465" y="584"/>
                    <a:pt x="1465" y="893"/>
                  </a:cubicBezTo>
                  <a:cubicBezTo>
                    <a:pt x="1465" y="1215"/>
                    <a:pt x="1203" y="1465"/>
                    <a:pt x="894" y="1465"/>
                  </a:cubicBezTo>
                  <a:cubicBezTo>
                    <a:pt x="584" y="1465"/>
                    <a:pt x="334" y="1215"/>
                    <a:pt x="334" y="893"/>
                  </a:cubicBezTo>
                  <a:cubicBezTo>
                    <a:pt x="334" y="584"/>
                    <a:pt x="584" y="334"/>
                    <a:pt x="894" y="334"/>
                  </a:cubicBezTo>
                  <a:close/>
                  <a:moveTo>
                    <a:pt x="894" y="0"/>
                  </a:moveTo>
                  <a:cubicBezTo>
                    <a:pt x="405" y="0"/>
                    <a:pt x="1" y="405"/>
                    <a:pt x="1" y="893"/>
                  </a:cubicBezTo>
                  <a:cubicBezTo>
                    <a:pt x="1" y="1394"/>
                    <a:pt x="405" y="1786"/>
                    <a:pt x="894" y="1786"/>
                  </a:cubicBezTo>
                  <a:cubicBezTo>
                    <a:pt x="1394" y="1786"/>
                    <a:pt x="1787" y="1394"/>
                    <a:pt x="1787" y="893"/>
                  </a:cubicBezTo>
                  <a:cubicBezTo>
                    <a:pt x="1787" y="405"/>
                    <a:pt x="1394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9" name="Google Shape;12429;p62"/>
            <p:cNvSpPr/>
            <p:nvPr/>
          </p:nvSpPr>
          <p:spPr>
            <a:xfrm>
              <a:off x="5486699" y="2534083"/>
              <a:ext cx="38643" cy="39025"/>
            </a:xfrm>
            <a:custGeom>
              <a:avLst/>
              <a:gdLst/>
              <a:ahLst/>
              <a:cxnLst/>
              <a:rect l="l" t="t" r="r" b="b"/>
              <a:pathLst>
                <a:path w="1215" h="1227" extrusionOk="0">
                  <a:moveTo>
                    <a:pt x="608" y="334"/>
                  </a:moveTo>
                  <a:cubicBezTo>
                    <a:pt x="762" y="334"/>
                    <a:pt x="893" y="465"/>
                    <a:pt x="893" y="607"/>
                  </a:cubicBezTo>
                  <a:cubicBezTo>
                    <a:pt x="905" y="774"/>
                    <a:pt x="774" y="893"/>
                    <a:pt x="608" y="893"/>
                  </a:cubicBezTo>
                  <a:cubicBezTo>
                    <a:pt x="441" y="893"/>
                    <a:pt x="322" y="762"/>
                    <a:pt x="322" y="607"/>
                  </a:cubicBezTo>
                  <a:cubicBezTo>
                    <a:pt x="322" y="465"/>
                    <a:pt x="453" y="334"/>
                    <a:pt x="608" y="334"/>
                  </a:cubicBezTo>
                  <a:close/>
                  <a:moveTo>
                    <a:pt x="608" y="0"/>
                  </a:moveTo>
                  <a:cubicBezTo>
                    <a:pt x="262" y="0"/>
                    <a:pt x="0" y="274"/>
                    <a:pt x="0" y="607"/>
                  </a:cubicBezTo>
                  <a:cubicBezTo>
                    <a:pt x="0" y="953"/>
                    <a:pt x="262" y="1227"/>
                    <a:pt x="608" y="1227"/>
                  </a:cubicBezTo>
                  <a:cubicBezTo>
                    <a:pt x="941" y="1227"/>
                    <a:pt x="1215" y="953"/>
                    <a:pt x="1215" y="607"/>
                  </a:cubicBezTo>
                  <a:cubicBezTo>
                    <a:pt x="1215" y="274"/>
                    <a:pt x="941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0" name="Google Shape;12430;p62"/>
            <p:cNvSpPr/>
            <p:nvPr/>
          </p:nvSpPr>
          <p:spPr>
            <a:xfrm>
              <a:off x="5466248" y="2638594"/>
              <a:ext cx="61384" cy="61765"/>
            </a:xfrm>
            <a:custGeom>
              <a:avLst/>
              <a:gdLst/>
              <a:ahLst/>
              <a:cxnLst/>
              <a:rect l="l" t="t" r="r" b="b"/>
              <a:pathLst>
                <a:path w="1930" h="1942" extrusionOk="0">
                  <a:moveTo>
                    <a:pt x="1608" y="310"/>
                  </a:moveTo>
                  <a:lnTo>
                    <a:pt x="1608" y="1596"/>
                  </a:lnTo>
                  <a:lnTo>
                    <a:pt x="322" y="1596"/>
                  </a:lnTo>
                  <a:lnTo>
                    <a:pt x="322" y="310"/>
                  </a:lnTo>
                  <a:close/>
                  <a:moveTo>
                    <a:pt x="239" y="0"/>
                  </a:moveTo>
                  <a:cubicBezTo>
                    <a:pt x="96" y="0"/>
                    <a:pt x="0" y="108"/>
                    <a:pt x="0" y="238"/>
                  </a:cubicBezTo>
                  <a:lnTo>
                    <a:pt x="0" y="1703"/>
                  </a:lnTo>
                  <a:cubicBezTo>
                    <a:pt x="0" y="1834"/>
                    <a:pt x="108" y="1941"/>
                    <a:pt x="239" y="1941"/>
                  </a:cubicBezTo>
                  <a:lnTo>
                    <a:pt x="1691" y="1941"/>
                  </a:lnTo>
                  <a:cubicBezTo>
                    <a:pt x="1834" y="1941"/>
                    <a:pt x="1929" y="1834"/>
                    <a:pt x="1929" y="1703"/>
                  </a:cubicBezTo>
                  <a:lnTo>
                    <a:pt x="1929" y="238"/>
                  </a:lnTo>
                  <a:cubicBezTo>
                    <a:pt x="1929" y="108"/>
                    <a:pt x="1834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1" name="Google Shape;12431;p62"/>
            <p:cNvSpPr/>
            <p:nvPr/>
          </p:nvSpPr>
          <p:spPr>
            <a:xfrm>
              <a:off x="5316287" y="2582458"/>
              <a:ext cx="325683" cy="140228"/>
            </a:xfrm>
            <a:custGeom>
              <a:avLst/>
              <a:gdLst/>
              <a:ahLst/>
              <a:cxnLst/>
              <a:rect l="l" t="t" r="r" b="b"/>
              <a:pathLst>
                <a:path w="10240" h="4409" extrusionOk="0">
                  <a:moveTo>
                    <a:pt x="8311" y="1289"/>
                  </a:moveTo>
                  <a:lnTo>
                    <a:pt x="8311" y="2420"/>
                  </a:lnTo>
                  <a:lnTo>
                    <a:pt x="7633" y="2420"/>
                  </a:lnTo>
                  <a:lnTo>
                    <a:pt x="7633" y="1289"/>
                  </a:lnTo>
                  <a:close/>
                  <a:moveTo>
                    <a:pt x="9907" y="325"/>
                  </a:moveTo>
                  <a:lnTo>
                    <a:pt x="9907" y="337"/>
                  </a:lnTo>
                  <a:lnTo>
                    <a:pt x="9907" y="3397"/>
                  </a:lnTo>
                  <a:lnTo>
                    <a:pt x="9895" y="3408"/>
                  </a:lnTo>
                  <a:lnTo>
                    <a:pt x="8656" y="3063"/>
                  </a:lnTo>
                  <a:cubicBezTo>
                    <a:pt x="8656" y="3063"/>
                    <a:pt x="8645" y="3063"/>
                    <a:pt x="8645" y="3051"/>
                  </a:cubicBezTo>
                  <a:lnTo>
                    <a:pt x="8645" y="2587"/>
                  </a:lnTo>
                  <a:lnTo>
                    <a:pt x="8645" y="1146"/>
                  </a:lnTo>
                  <a:lnTo>
                    <a:pt x="8645" y="682"/>
                  </a:lnTo>
                  <a:cubicBezTo>
                    <a:pt x="8645" y="682"/>
                    <a:pt x="8645" y="670"/>
                    <a:pt x="8656" y="670"/>
                  </a:cubicBezTo>
                  <a:lnTo>
                    <a:pt x="9895" y="325"/>
                  </a:lnTo>
                  <a:close/>
                  <a:moveTo>
                    <a:pt x="9887" y="1"/>
                  </a:moveTo>
                  <a:cubicBezTo>
                    <a:pt x="9858" y="1"/>
                    <a:pt x="9829" y="5"/>
                    <a:pt x="9799" y="15"/>
                  </a:cubicBezTo>
                  <a:lnTo>
                    <a:pt x="8573" y="360"/>
                  </a:lnTo>
                  <a:cubicBezTo>
                    <a:pt x="8418" y="396"/>
                    <a:pt x="8311" y="539"/>
                    <a:pt x="8311" y="682"/>
                  </a:cubicBezTo>
                  <a:lnTo>
                    <a:pt x="8311" y="980"/>
                  </a:lnTo>
                  <a:lnTo>
                    <a:pt x="7633" y="980"/>
                  </a:lnTo>
                  <a:lnTo>
                    <a:pt x="7633" y="741"/>
                  </a:lnTo>
                  <a:cubicBezTo>
                    <a:pt x="7633" y="658"/>
                    <a:pt x="7561" y="575"/>
                    <a:pt x="7466" y="575"/>
                  </a:cubicBezTo>
                  <a:cubicBezTo>
                    <a:pt x="7382" y="575"/>
                    <a:pt x="7299" y="658"/>
                    <a:pt x="7299" y="741"/>
                  </a:cubicBezTo>
                  <a:lnTo>
                    <a:pt x="7299" y="1146"/>
                  </a:lnTo>
                  <a:lnTo>
                    <a:pt x="7299" y="2587"/>
                  </a:lnTo>
                  <a:lnTo>
                    <a:pt x="7299" y="4004"/>
                  </a:lnTo>
                  <a:cubicBezTo>
                    <a:pt x="7299" y="4051"/>
                    <a:pt x="7263" y="4087"/>
                    <a:pt x="7216" y="4087"/>
                  </a:cubicBezTo>
                  <a:lnTo>
                    <a:pt x="417" y="4087"/>
                  </a:lnTo>
                  <a:cubicBezTo>
                    <a:pt x="370" y="4087"/>
                    <a:pt x="322" y="4051"/>
                    <a:pt x="322" y="4004"/>
                  </a:cubicBezTo>
                  <a:lnTo>
                    <a:pt x="322" y="1503"/>
                  </a:lnTo>
                  <a:cubicBezTo>
                    <a:pt x="322" y="1408"/>
                    <a:pt x="251" y="1337"/>
                    <a:pt x="155" y="1337"/>
                  </a:cubicBezTo>
                  <a:cubicBezTo>
                    <a:pt x="72" y="1337"/>
                    <a:pt x="1" y="1408"/>
                    <a:pt x="1" y="1503"/>
                  </a:cubicBezTo>
                  <a:lnTo>
                    <a:pt x="1" y="4004"/>
                  </a:lnTo>
                  <a:cubicBezTo>
                    <a:pt x="1" y="4230"/>
                    <a:pt x="179" y="4409"/>
                    <a:pt x="394" y="4409"/>
                  </a:cubicBezTo>
                  <a:lnTo>
                    <a:pt x="7216" y="4409"/>
                  </a:lnTo>
                  <a:cubicBezTo>
                    <a:pt x="7442" y="4409"/>
                    <a:pt x="7621" y="4230"/>
                    <a:pt x="7621" y="4004"/>
                  </a:cubicBezTo>
                  <a:lnTo>
                    <a:pt x="7621" y="2754"/>
                  </a:lnTo>
                  <a:lnTo>
                    <a:pt x="8299" y="2754"/>
                  </a:lnTo>
                  <a:lnTo>
                    <a:pt x="8299" y="3051"/>
                  </a:lnTo>
                  <a:cubicBezTo>
                    <a:pt x="8299" y="3194"/>
                    <a:pt x="8406" y="3337"/>
                    <a:pt x="8549" y="3373"/>
                  </a:cubicBezTo>
                  <a:lnTo>
                    <a:pt x="9788" y="3718"/>
                  </a:lnTo>
                  <a:cubicBezTo>
                    <a:pt x="9823" y="3730"/>
                    <a:pt x="9847" y="3730"/>
                    <a:pt x="9883" y="3730"/>
                  </a:cubicBezTo>
                  <a:cubicBezTo>
                    <a:pt x="9954" y="3730"/>
                    <a:pt x="10026" y="3706"/>
                    <a:pt x="10085" y="3658"/>
                  </a:cubicBezTo>
                  <a:cubicBezTo>
                    <a:pt x="10180" y="3599"/>
                    <a:pt x="10216" y="3492"/>
                    <a:pt x="10216" y="3397"/>
                  </a:cubicBezTo>
                  <a:lnTo>
                    <a:pt x="10216" y="337"/>
                  </a:lnTo>
                  <a:cubicBezTo>
                    <a:pt x="10240" y="241"/>
                    <a:pt x="10169" y="134"/>
                    <a:pt x="10097" y="75"/>
                  </a:cubicBezTo>
                  <a:cubicBezTo>
                    <a:pt x="10037" y="32"/>
                    <a:pt x="9964" y="1"/>
                    <a:pt x="98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32" name="Google Shape;12432;p62"/>
          <p:cNvGrpSpPr/>
          <p:nvPr/>
        </p:nvGrpSpPr>
        <p:grpSpPr>
          <a:xfrm>
            <a:off x="7964753" y="2470823"/>
            <a:ext cx="362068" cy="258670"/>
            <a:chOff x="7964753" y="2470823"/>
            <a:chExt cx="362068" cy="258670"/>
          </a:xfrm>
        </p:grpSpPr>
        <p:sp>
          <p:nvSpPr>
            <p:cNvPr id="12433" name="Google Shape;12433;p62"/>
            <p:cNvSpPr/>
            <p:nvPr/>
          </p:nvSpPr>
          <p:spPr>
            <a:xfrm>
              <a:off x="8196898" y="2562358"/>
              <a:ext cx="33363" cy="49012"/>
            </a:xfrm>
            <a:custGeom>
              <a:avLst/>
              <a:gdLst/>
              <a:ahLst/>
              <a:cxnLst/>
              <a:rect l="l" t="t" r="r" b="b"/>
              <a:pathLst>
                <a:path w="1049" h="1541" extrusionOk="0">
                  <a:moveTo>
                    <a:pt x="864" y="1"/>
                  </a:moveTo>
                  <a:cubicBezTo>
                    <a:pt x="823" y="1"/>
                    <a:pt x="783" y="19"/>
                    <a:pt x="751" y="52"/>
                  </a:cubicBezTo>
                  <a:lnTo>
                    <a:pt x="108" y="814"/>
                  </a:lnTo>
                  <a:cubicBezTo>
                    <a:pt x="36" y="897"/>
                    <a:pt x="0" y="1016"/>
                    <a:pt x="36" y="1135"/>
                  </a:cubicBezTo>
                  <a:cubicBezTo>
                    <a:pt x="60" y="1254"/>
                    <a:pt x="155" y="1350"/>
                    <a:pt x="274" y="1373"/>
                  </a:cubicBezTo>
                  <a:lnTo>
                    <a:pt x="691" y="1528"/>
                  </a:lnTo>
                  <a:cubicBezTo>
                    <a:pt x="703" y="1528"/>
                    <a:pt x="715" y="1540"/>
                    <a:pt x="751" y="1540"/>
                  </a:cubicBezTo>
                  <a:cubicBezTo>
                    <a:pt x="822" y="1540"/>
                    <a:pt x="882" y="1492"/>
                    <a:pt x="893" y="1433"/>
                  </a:cubicBezTo>
                  <a:cubicBezTo>
                    <a:pt x="929" y="1350"/>
                    <a:pt x="882" y="1254"/>
                    <a:pt x="786" y="1231"/>
                  </a:cubicBezTo>
                  <a:lnTo>
                    <a:pt x="370" y="1076"/>
                  </a:lnTo>
                  <a:cubicBezTo>
                    <a:pt x="358" y="1076"/>
                    <a:pt x="358" y="1064"/>
                    <a:pt x="346" y="1052"/>
                  </a:cubicBezTo>
                  <a:lnTo>
                    <a:pt x="346" y="1016"/>
                  </a:lnTo>
                  <a:lnTo>
                    <a:pt x="989" y="254"/>
                  </a:lnTo>
                  <a:cubicBezTo>
                    <a:pt x="1048" y="183"/>
                    <a:pt x="1024" y="99"/>
                    <a:pt x="965" y="40"/>
                  </a:cubicBezTo>
                  <a:cubicBezTo>
                    <a:pt x="933" y="13"/>
                    <a:pt x="898" y="1"/>
                    <a:pt x="8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4" name="Google Shape;12434;p62"/>
            <p:cNvSpPr/>
            <p:nvPr/>
          </p:nvSpPr>
          <p:spPr>
            <a:xfrm>
              <a:off x="8162421" y="2529471"/>
              <a:ext cx="51174" cy="21309"/>
            </a:xfrm>
            <a:custGeom>
              <a:avLst/>
              <a:gdLst/>
              <a:ahLst/>
              <a:cxnLst/>
              <a:rect l="l" t="t" r="r" b="b"/>
              <a:pathLst>
                <a:path w="1609" h="670" extrusionOk="0">
                  <a:moveTo>
                    <a:pt x="786" y="1"/>
                  </a:moveTo>
                  <a:cubicBezTo>
                    <a:pt x="759" y="1"/>
                    <a:pt x="732" y="1"/>
                    <a:pt x="703" y="2"/>
                  </a:cubicBezTo>
                  <a:cubicBezTo>
                    <a:pt x="406" y="14"/>
                    <a:pt x="144" y="86"/>
                    <a:pt x="132" y="86"/>
                  </a:cubicBezTo>
                  <a:cubicBezTo>
                    <a:pt x="49" y="121"/>
                    <a:pt x="1" y="205"/>
                    <a:pt x="25" y="300"/>
                  </a:cubicBezTo>
                  <a:cubicBezTo>
                    <a:pt x="52" y="364"/>
                    <a:pt x="108" y="407"/>
                    <a:pt x="176" y="407"/>
                  </a:cubicBezTo>
                  <a:cubicBezTo>
                    <a:pt x="196" y="407"/>
                    <a:pt x="217" y="403"/>
                    <a:pt x="239" y="395"/>
                  </a:cubicBezTo>
                  <a:cubicBezTo>
                    <a:pt x="239" y="395"/>
                    <a:pt x="477" y="324"/>
                    <a:pt x="727" y="324"/>
                  </a:cubicBezTo>
                  <a:cubicBezTo>
                    <a:pt x="754" y="322"/>
                    <a:pt x="782" y="321"/>
                    <a:pt x="811" y="321"/>
                  </a:cubicBezTo>
                  <a:cubicBezTo>
                    <a:pt x="980" y="321"/>
                    <a:pt x="1159" y="356"/>
                    <a:pt x="1251" y="479"/>
                  </a:cubicBezTo>
                  <a:cubicBezTo>
                    <a:pt x="1251" y="502"/>
                    <a:pt x="1251" y="550"/>
                    <a:pt x="1263" y="574"/>
                  </a:cubicBezTo>
                  <a:cubicBezTo>
                    <a:pt x="1299" y="633"/>
                    <a:pt x="1358" y="669"/>
                    <a:pt x="1418" y="669"/>
                  </a:cubicBezTo>
                  <a:cubicBezTo>
                    <a:pt x="1442" y="669"/>
                    <a:pt x="1454" y="669"/>
                    <a:pt x="1489" y="657"/>
                  </a:cubicBezTo>
                  <a:cubicBezTo>
                    <a:pt x="1573" y="574"/>
                    <a:pt x="1608" y="455"/>
                    <a:pt x="1561" y="371"/>
                  </a:cubicBezTo>
                  <a:cubicBezTo>
                    <a:pt x="1482" y="202"/>
                    <a:pt x="1274" y="1"/>
                    <a:pt x="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5" name="Google Shape;12435;p62"/>
            <p:cNvSpPr/>
            <p:nvPr/>
          </p:nvSpPr>
          <p:spPr>
            <a:xfrm>
              <a:off x="8241966" y="2551258"/>
              <a:ext cx="47739" cy="30565"/>
            </a:xfrm>
            <a:custGeom>
              <a:avLst/>
              <a:gdLst/>
              <a:ahLst/>
              <a:cxnLst/>
              <a:rect l="l" t="t" r="r" b="b"/>
              <a:pathLst>
                <a:path w="1501" h="961" extrusionOk="0">
                  <a:moveTo>
                    <a:pt x="410" y="0"/>
                  </a:moveTo>
                  <a:cubicBezTo>
                    <a:pt x="307" y="0"/>
                    <a:pt x="219" y="25"/>
                    <a:pt x="143" y="56"/>
                  </a:cubicBezTo>
                  <a:cubicBezTo>
                    <a:pt x="48" y="103"/>
                    <a:pt x="0" y="222"/>
                    <a:pt x="48" y="329"/>
                  </a:cubicBezTo>
                  <a:cubicBezTo>
                    <a:pt x="74" y="381"/>
                    <a:pt x="130" y="420"/>
                    <a:pt x="187" y="420"/>
                  </a:cubicBezTo>
                  <a:cubicBezTo>
                    <a:pt x="209" y="420"/>
                    <a:pt x="230" y="414"/>
                    <a:pt x="250" y="401"/>
                  </a:cubicBezTo>
                  <a:cubicBezTo>
                    <a:pt x="286" y="377"/>
                    <a:pt x="310" y="353"/>
                    <a:pt x="322" y="329"/>
                  </a:cubicBezTo>
                  <a:cubicBezTo>
                    <a:pt x="346" y="323"/>
                    <a:pt x="371" y="319"/>
                    <a:pt x="396" y="319"/>
                  </a:cubicBezTo>
                  <a:cubicBezTo>
                    <a:pt x="685" y="319"/>
                    <a:pt x="1046" y="725"/>
                    <a:pt x="1155" y="889"/>
                  </a:cubicBezTo>
                  <a:cubicBezTo>
                    <a:pt x="1191" y="937"/>
                    <a:pt x="1239" y="960"/>
                    <a:pt x="1298" y="960"/>
                  </a:cubicBezTo>
                  <a:cubicBezTo>
                    <a:pt x="1322" y="960"/>
                    <a:pt x="1358" y="949"/>
                    <a:pt x="1381" y="937"/>
                  </a:cubicBezTo>
                  <a:cubicBezTo>
                    <a:pt x="1489" y="877"/>
                    <a:pt x="1500" y="770"/>
                    <a:pt x="1441" y="710"/>
                  </a:cubicBezTo>
                  <a:cubicBezTo>
                    <a:pt x="1441" y="698"/>
                    <a:pt x="1274" y="484"/>
                    <a:pt x="1060" y="294"/>
                  </a:cubicBezTo>
                  <a:cubicBezTo>
                    <a:pt x="798" y="69"/>
                    <a:pt x="584" y="0"/>
                    <a:pt x="4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6" name="Google Shape;12436;p62"/>
            <p:cNvSpPr/>
            <p:nvPr/>
          </p:nvSpPr>
          <p:spPr>
            <a:xfrm>
              <a:off x="8060582" y="2586720"/>
              <a:ext cx="33713" cy="48884"/>
            </a:xfrm>
            <a:custGeom>
              <a:avLst/>
              <a:gdLst/>
              <a:ahLst/>
              <a:cxnLst/>
              <a:rect l="l" t="t" r="r" b="b"/>
              <a:pathLst>
                <a:path w="1060" h="1537" extrusionOk="0">
                  <a:moveTo>
                    <a:pt x="274" y="0"/>
                  </a:moveTo>
                  <a:cubicBezTo>
                    <a:pt x="179" y="0"/>
                    <a:pt x="107" y="60"/>
                    <a:pt x="95" y="143"/>
                  </a:cubicBezTo>
                  <a:lnTo>
                    <a:pt x="12" y="1143"/>
                  </a:lnTo>
                  <a:cubicBezTo>
                    <a:pt x="0" y="1262"/>
                    <a:pt x="60" y="1381"/>
                    <a:pt x="155" y="1453"/>
                  </a:cubicBezTo>
                  <a:cubicBezTo>
                    <a:pt x="215" y="1500"/>
                    <a:pt x="298" y="1536"/>
                    <a:pt x="369" y="1536"/>
                  </a:cubicBezTo>
                  <a:cubicBezTo>
                    <a:pt x="405" y="1536"/>
                    <a:pt x="453" y="1536"/>
                    <a:pt x="476" y="1512"/>
                  </a:cubicBezTo>
                  <a:lnTo>
                    <a:pt x="905" y="1381"/>
                  </a:lnTo>
                  <a:cubicBezTo>
                    <a:pt x="1012" y="1358"/>
                    <a:pt x="1060" y="1262"/>
                    <a:pt x="1024" y="1179"/>
                  </a:cubicBezTo>
                  <a:cubicBezTo>
                    <a:pt x="1006" y="1105"/>
                    <a:pt x="944" y="1060"/>
                    <a:pt x="879" y="1060"/>
                  </a:cubicBezTo>
                  <a:cubicBezTo>
                    <a:pt x="860" y="1060"/>
                    <a:pt x="840" y="1064"/>
                    <a:pt x="822" y="1072"/>
                  </a:cubicBezTo>
                  <a:lnTo>
                    <a:pt x="393" y="1203"/>
                  </a:lnTo>
                  <a:lnTo>
                    <a:pt x="357" y="1203"/>
                  </a:lnTo>
                  <a:cubicBezTo>
                    <a:pt x="357" y="1203"/>
                    <a:pt x="345" y="1191"/>
                    <a:pt x="345" y="1179"/>
                  </a:cubicBezTo>
                  <a:lnTo>
                    <a:pt x="417" y="179"/>
                  </a:lnTo>
                  <a:cubicBezTo>
                    <a:pt x="417" y="84"/>
                    <a:pt x="357" y="12"/>
                    <a:pt x="2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7" name="Google Shape;12437;p62"/>
            <p:cNvSpPr/>
            <p:nvPr/>
          </p:nvSpPr>
          <p:spPr>
            <a:xfrm>
              <a:off x="7999612" y="2581568"/>
              <a:ext cx="49266" cy="22582"/>
            </a:xfrm>
            <a:custGeom>
              <a:avLst/>
              <a:gdLst/>
              <a:ahLst/>
              <a:cxnLst/>
              <a:rect l="l" t="t" r="r" b="b"/>
              <a:pathLst>
                <a:path w="1549" h="710" extrusionOk="0">
                  <a:moveTo>
                    <a:pt x="1126" y="1"/>
                  </a:moveTo>
                  <a:cubicBezTo>
                    <a:pt x="602" y="1"/>
                    <a:pt x="114" y="370"/>
                    <a:pt x="84" y="400"/>
                  </a:cubicBezTo>
                  <a:cubicBezTo>
                    <a:pt x="12" y="460"/>
                    <a:pt x="0" y="567"/>
                    <a:pt x="60" y="615"/>
                  </a:cubicBezTo>
                  <a:cubicBezTo>
                    <a:pt x="95" y="663"/>
                    <a:pt x="145" y="688"/>
                    <a:pt x="194" y="688"/>
                  </a:cubicBezTo>
                  <a:cubicBezTo>
                    <a:pt x="228" y="688"/>
                    <a:pt x="261" y="675"/>
                    <a:pt x="286" y="650"/>
                  </a:cubicBezTo>
                  <a:cubicBezTo>
                    <a:pt x="286" y="650"/>
                    <a:pt x="429" y="531"/>
                    <a:pt x="643" y="448"/>
                  </a:cubicBezTo>
                  <a:cubicBezTo>
                    <a:pt x="766" y="392"/>
                    <a:pt x="940" y="316"/>
                    <a:pt x="1118" y="316"/>
                  </a:cubicBezTo>
                  <a:cubicBezTo>
                    <a:pt x="1130" y="316"/>
                    <a:pt x="1143" y="316"/>
                    <a:pt x="1155" y="317"/>
                  </a:cubicBezTo>
                  <a:lnTo>
                    <a:pt x="1084" y="472"/>
                  </a:lnTo>
                  <a:cubicBezTo>
                    <a:pt x="1036" y="543"/>
                    <a:pt x="1072" y="650"/>
                    <a:pt x="1155" y="698"/>
                  </a:cubicBezTo>
                  <a:cubicBezTo>
                    <a:pt x="1191" y="710"/>
                    <a:pt x="1203" y="710"/>
                    <a:pt x="1239" y="710"/>
                  </a:cubicBezTo>
                  <a:cubicBezTo>
                    <a:pt x="1298" y="710"/>
                    <a:pt x="1358" y="686"/>
                    <a:pt x="1381" y="615"/>
                  </a:cubicBezTo>
                  <a:lnTo>
                    <a:pt x="1536" y="317"/>
                  </a:lnTo>
                  <a:cubicBezTo>
                    <a:pt x="1548" y="281"/>
                    <a:pt x="1548" y="222"/>
                    <a:pt x="1536" y="162"/>
                  </a:cubicBezTo>
                  <a:cubicBezTo>
                    <a:pt x="1500" y="103"/>
                    <a:pt x="1453" y="67"/>
                    <a:pt x="1417" y="43"/>
                  </a:cubicBezTo>
                  <a:cubicBezTo>
                    <a:pt x="1321" y="13"/>
                    <a:pt x="1222" y="1"/>
                    <a:pt x="11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8" name="Google Shape;12438;p62"/>
            <p:cNvSpPr/>
            <p:nvPr/>
          </p:nvSpPr>
          <p:spPr>
            <a:xfrm>
              <a:off x="8080651" y="2557873"/>
              <a:ext cx="48121" cy="28879"/>
            </a:xfrm>
            <a:custGeom>
              <a:avLst/>
              <a:gdLst/>
              <a:ahLst/>
              <a:cxnLst/>
              <a:rect l="l" t="t" r="r" b="b"/>
              <a:pathLst>
                <a:path w="1513" h="908" extrusionOk="0">
                  <a:moveTo>
                    <a:pt x="1263" y="0"/>
                  </a:moveTo>
                  <a:cubicBezTo>
                    <a:pt x="1014" y="0"/>
                    <a:pt x="395" y="39"/>
                    <a:pt x="60" y="431"/>
                  </a:cubicBezTo>
                  <a:cubicBezTo>
                    <a:pt x="24" y="479"/>
                    <a:pt x="0" y="538"/>
                    <a:pt x="12" y="598"/>
                  </a:cubicBezTo>
                  <a:cubicBezTo>
                    <a:pt x="24" y="657"/>
                    <a:pt x="60" y="693"/>
                    <a:pt x="119" y="729"/>
                  </a:cubicBezTo>
                  <a:lnTo>
                    <a:pt x="417" y="895"/>
                  </a:lnTo>
                  <a:cubicBezTo>
                    <a:pt x="441" y="907"/>
                    <a:pt x="476" y="907"/>
                    <a:pt x="488" y="907"/>
                  </a:cubicBezTo>
                  <a:cubicBezTo>
                    <a:pt x="548" y="907"/>
                    <a:pt x="596" y="871"/>
                    <a:pt x="619" y="812"/>
                  </a:cubicBezTo>
                  <a:cubicBezTo>
                    <a:pt x="667" y="741"/>
                    <a:pt x="631" y="633"/>
                    <a:pt x="560" y="598"/>
                  </a:cubicBezTo>
                  <a:lnTo>
                    <a:pt x="417" y="514"/>
                  </a:lnTo>
                  <a:cubicBezTo>
                    <a:pt x="658" y="333"/>
                    <a:pt x="1025" y="308"/>
                    <a:pt x="1213" y="308"/>
                  </a:cubicBezTo>
                  <a:cubicBezTo>
                    <a:pt x="1285" y="308"/>
                    <a:pt x="1330" y="312"/>
                    <a:pt x="1334" y="312"/>
                  </a:cubicBezTo>
                  <a:cubicBezTo>
                    <a:pt x="1429" y="312"/>
                    <a:pt x="1500" y="252"/>
                    <a:pt x="1512" y="157"/>
                  </a:cubicBezTo>
                  <a:cubicBezTo>
                    <a:pt x="1512" y="86"/>
                    <a:pt x="1453" y="2"/>
                    <a:pt x="1369" y="2"/>
                  </a:cubicBezTo>
                  <a:cubicBezTo>
                    <a:pt x="1362" y="2"/>
                    <a:pt x="1324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9" name="Google Shape;12439;p62"/>
            <p:cNvSpPr/>
            <p:nvPr/>
          </p:nvSpPr>
          <p:spPr>
            <a:xfrm>
              <a:off x="7964753" y="2497698"/>
              <a:ext cx="269675" cy="231795"/>
            </a:xfrm>
            <a:custGeom>
              <a:avLst/>
              <a:gdLst/>
              <a:ahLst/>
              <a:cxnLst/>
              <a:rect l="l" t="t" r="r" b="b"/>
              <a:pathLst>
                <a:path w="8479" h="7288" extrusionOk="0">
                  <a:moveTo>
                    <a:pt x="7176" y="3986"/>
                  </a:moveTo>
                  <a:cubicBezTo>
                    <a:pt x="7277" y="3986"/>
                    <a:pt x="7379" y="4003"/>
                    <a:pt x="7478" y="4037"/>
                  </a:cubicBezTo>
                  <a:cubicBezTo>
                    <a:pt x="7716" y="4109"/>
                    <a:pt x="7907" y="4287"/>
                    <a:pt x="8014" y="4514"/>
                  </a:cubicBezTo>
                  <a:cubicBezTo>
                    <a:pt x="8073" y="4645"/>
                    <a:pt x="8121" y="4788"/>
                    <a:pt x="8097" y="4930"/>
                  </a:cubicBezTo>
                  <a:cubicBezTo>
                    <a:pt x="7704" y="4538"/>
                    <a:pt x="7168" y="4335"/>
                    <a:pt x="6621" y="4335"/>
                  </a:cubicBezTo>
                  <a:cubicBezTo>
                    <a:pt x="6561" y="4335"/>
                    <a:pt x="6502" y="4335"/>
                    <a:pt x="6442" y="4347"/>
                  </a:cubicBezTo>
                  <a:cubicBezTo>
                    <a:pt x="6526" y="4228"/>
                    <a:pt x="6633" y="4133"/>
                    <a:pt x="6764" y="4073"/>
                  </a:cubicBezTo>
                  <a:cubicBezTo>
                    <a:pt x="6895" y="4018"/>
                    <a:pt x="7035" y="3986"/>
                    <a:pt x="7176" y="3986"/>
                  </a:cubicBezTo>
                  <a:close/>
                  <a:moveTo>
                    <a:pt x="4156" y="311"/>
                  </a:moveTo>
                  <a:cubicBezTo>
                    <a:pt x="4728" y="311"/>
                    <a:pt x="5204" y="716"/>
                    <a:pt x="5311" y="1275"/>
                  </a:cubicBezTo>
                  <a:lnTo>
                    <a:pt x="5383" y="1716"/>
                  </a:lnTo>
                  <a:cubicBezTo>
                    <a:pt x="5418" y="1990"/>
                    <a:pt x="5525" y="2252"/>
                    <a:pt x="5692" y="2490"/>
                  </a:cubicBezTo>
                  <a:cubicBezTo>
                    <a:pt x="5978" y="2918"/>
                    <a:pt x="6049" y="3454"/>
                    <a:pt x="5930" y="3942"/>
                  </a:cubicBezTo>
                  <a:lnTo>
                    <a:pt x="5525" y="5823"/>
                  </a:lnTo>
                  <a:cubicBezTo>
                    <a:pt x="5442" y="6252"/>
                    <a:pt x="5109" y="6609"/>
                    <a:pt x="4680" y="6740"/>
                  </a:cubicBezTo>
                  <a:lnTo>
                    <a:pt x="4120" y="6907"/>
                  </a:lnTo>
                  <a:cubicBezTo>
                    <a:pt x="4001" y="6942"/>
                    <a:pt x="3881" y="6959"/>
                    <a:pt x="3763" y="6959"/>
                  </a:cubicBezTo>
                  <a:cubicBezTo>
                    <a:pt x="3444" y="6959"/>
                    <a:pt x="3137" y="6835"/>
                    <a:pt x="2894" y="6609"/>
                  </a:cubicBezTo>
                  <a:lnTo>
                    <a:pt x="1525" y="5264"/>
                  </a:lnTo>
                  <a:cubicBezTo>
                    <a:pt x="1156" y="4930"/>
                    <a:pt x="930" y="4430"/>
                    <a:pt x="930" y="3930"/>
                  </a:cubicBezTo>
                  <a:cubicBezTo>
                    <a:pt x="930" y="3645"/>
                    <a:pt x="870" y="3359"/>
                    <a:pt x="751" y="3109"/>
                  </a:cubicBezTo>
                  <a:lnTo>
                    <a:pt x="572" y="2692"/>
                  </a:lnTo>
                  <a:cubicBezTo>
                    <a:pt x="346" y="2168"/>
                    <a:pt x="525" y="1573"/>
                    <a:pt x="1001" y="1263"/>
                  </a:cubicBezTo>
                  <a:cubicBezTo>
                    <a:pt x="1930" y="644"/>
                    <a:pt x="3001" y="311"/>
                    <a:pt x="4120" y="311"/>
                  </a:cubicBezTo>
                  <a:close/>
                  <a:moveTo>
                    <a:pt x="4099" y="1"/>
                  </a:moveTo>
                  <a:cubicBezTo>
                    <a:pt x="2929" y="1"/>
                    <a:pt x="1806" y="357"/>
                    <a:pt x="822" y="1001"/>
                  </a:cubicBezTo>
                  <a:cubicBezTo>
                    <a:pt x="227" y="1394"/>
                    <a:pt x="1" y="2168"/>
                    <a:pt x="275" y="2823"/>
                  </a:cubicBezTo>
                  <a:lnTo>
                    <a:pt x="453" y="3240"/>
                  </a:lnTo>
                  <a:cubicBezTo>
                    <a:pt x="537" y="3466"/>
                    <a:pt x="596" y="3704"/>
                    <a:pt x="596" y="3942"/>
                  </a:cubicBezTo>
                  <a:cubicBezTo>
                    <a:pt x="596" y="4538"/>
                    <a:pt x="870" y="5109"/>
                    <a:pt x="1299" y="5502"/>
                  </a:cubicBezTo>
                  <a:lnTo>
                    <a:pt x="2668" y="6847"/>
                  </a:lnTo>
                  <a:cubicBezTo>
                    <a:pt x="2966" y="7133"/>
                    <a:pt x="3358" y="7288"/>
                    <a:pt x="3751" y="7288"/>
                  </a:cubicBezTo>
                  <a:cubicBezTo>
                    <a:pt x="3906" y="7288"/>
                    <a:pt x="4049" y="7276"/>
                    <a:pt x="4204" y="7228"/>
                  </a:cubicBezTo>
                  <a:lnTo>
                    <a:pt x="4763" y="7074"/>
                  </a:lnTo>
                  <a:cubicBezTo>
                    <a:pt x="5299" y="6907"/>
                    <a:pt x="5716" y="6454"/>
                    <a:pt x="5835" y="5907"/>
                  </a:cubicBezTo>
                  <a:lnTo>
                    <a:pt x="6097" y="4752"/>
                  </a:lnTo>
                  <a:lnTo>
                    <a:pt x="6168" y="4752"/>
                  </a:lnTo>
                  <a:cubicBezTo>
                    <a:pt x="6317" y="4715"/>
                    <a:pt x="6466" y="4698"/>
                    <a:pt x="6614" y="4698"/>
                  </a:cubicBezTo>
                  <a:cubicBezTo>
                    <a:pt x="7143" y="4698"/>
                    <a:pt x="7651" y="4923"/>
                    <a:pt x="8014" y="5323"/>
                  </a:cubicBezTo>
                  <a:lnTo>
                    <a:pt x="8073" y="5407"/>
                  </a:lnTo>
                  <a:cubicBezTo>
                    <a:pt x="8109" y="5430"/>
                    <a:pt x="8145" y="5466"/>
                    <a:pt x="8192" y="5466"/>
                  </a:cubicBezTo>
                  <a:lnTo>
                    <a:pt x="8228" y="5466"/>
                  </a:lnTo>
                  <a:cubicBezTo>
                    <a:pt x="8288" y="5442"/>
                    <a:pt x="8323" y="5419"/>
                    <a:pt x="8347" y="5359"/>
                  </a:cubicBezTo>
                  <a:cubicBezTo>
                    <a:pt x="8478" y="5002"/>
                    <a:pt x="8442" y="4657"/>
                    <a:pt x="8311" y="4359"/>
                  </a:cubicBezTo>
                  <a:cubicBezTo>
                    <a:pt x="8169" y="4061"/>
                    <a:pt x="7907" y="3835"/>
                    <a:pt x="7585" y="3716"/>
                  </a:cubicBezTo>
                  <a:cubicBezTo>
                    <a:pt x="7454" y="3676"/>
                    <a:pt x="7316" y="3654"/>
                    <a:pt x="7176" y="3654"/>
                  </a:cubicBezTo>
                  <a:cubicBezTo>
                    <a:pt x="6987" y="3654"/>
                    <a:pt x="6794" y="3693"/>
                    <a:pt x="6609" y="3776"/>
                  </a:cubicBezTo>
                  <a:cubicBezTo>
                    <a:pt x="6466" y="3847"/>
                    <a:pt x="6335" y="3954"/>
                    <a:pt x="6228" y="4073"/>
                  </a:cubicBezTo>
                  <a:lnTo>
                    <a:pt x="6240" y="4014"/>
                  </a:lnTo>
                  <a:cubicBezTo>
                    <a:pt x="6395" y="3442"/>
                    <a:pt x="6287" y="2823"/>
                    <a:pt x="5954" y="2323"/>
                  </a:cubicBezTo>
                  <a:cubicBezTo>
                    <a:pt x="5823" y="2109"/>
                    <a:pt x="5740" y="1894"/>
                    <a:pt x="5692" y="1656"/>
                  </a:cubicBezTo>
                  <a:lnTo>
                    <a:pt x="5621" y="1216"/>
                  </a:lnTo>
                  <a:cubicBezTo>
                    <a:pt x="5478" y="525"/>
                    <a:pt x="4871" y="1"/>
                    <a:pt x="4156" y="1"/>
                  </a:cubicBezTo>
                  <a:cubicBezTo>
                    <a:pt x="4137" y="1"/>
                    <a:pt x="4118" y="1"/>
                    <a:pt x="40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0" name="Google Shape;12440;p62"/>
            <p:cNvSpPr/>
            <p:nvPr/>
          </p:nvSpPr>
          <p:spPr>
            <a:xfrm>
              <a:off x="8045792" y="2634650"/>
              <a:ext cx="84124" cy="55850"/>
            </a:xfrm>
            <a:custGeom>
              <a:avLst/>
              <a:gdLst/>
              <a:ahLst/>
              <a:cxnLst/>
              <a:rect l="l" t="t" r="r" b="b"/>
              <a:pathLst>
                <a:path w="2645" h="1756" extrusionOk="0">
                  <a:moveTo>
                    <a:pt x="2168" y="517"/>
                  </a:moveTo>
                  <a:cubicBezTo>
                    <a:pt x="2168" y="898"/>
                    <a:pt x="1906" y="1255"/>
                    <a:pt x="1513" y="1375"/>
                  </a:cubicBezTo>
                  <a:cubicBezTo>
                    <a:pt x="1425" y="1405"/>
                    <a:pt x="1333" y="1420"/>
                    <a:pt x="1242" y="1420"/>
                  </a:cubicBezTo>
                  <a:cubicBezTo>
                    <a:pt x="1087" y="1420"/>
                    <a:pt x="933" y="1378"/>
                    <a:pt x="799" y="1303"/>
                  </a:cubicBezTo>
                  <a:cubicBezTo>
                    <a:pt x="656" y="1232"/>
                    <a:pt x="560" y="1136"/>
                    <a:pt x="465" y="1017"/>
                  </a:cubicBezTo>
                  <a:lnTo>
                    <a:pt x="465" y="1017"/>
                  </a:lnTo>
                  <a:cubicBezTo>
                    <a:pt x="563" y="1031"/>
                    <a:pt x="661" y="1037"/>
                    <a:pt x="759" y="1037"/>
                  </a:cubicBezTo>
                  <a:cubicBezTo>
                    <a:pt x="1271" y="1037"/>
                    <a:pt x="1778" y="857"/>
                    <a:pt x="2168" y="517"/>
                  </a:cubicBezTo>
                  <a:close/>
                  <a:moveTo>
                    <a:pt x="2281" y="1"/>
                  </a:moveTo>
                  <a:cubicBezTo>
                    <a:pt x="2237" y="1"/>
                    <a:pt x="2198" y="17"/>
                    <a:pt x="2180" y="53"/>
                  </a:cubicBezTo>
                  <a:lnTo>
                    <a:pt x="2108" y="124"/>
                  </a:lnTo>
                  <a:cubicBezTo>
                    <a:pt x="1749" y="510"/>
                    <a:pt x="1241" y="714"/>
                    <a:pt x="727" y="714"/>
                  </a:cubicBezTo>
                  <a:cubicBezTo>
                    <a:pt x="559" y="714"/>
                    <a:pt x="391" y="692"/>
                    <a:pt x="227" y="648"/>
                  </a:cubicBezTo>
                  <a:cubicBezTo>
                    <a:pt x="213" y="645"/>
                    <a:pt x="199" y="644"/>
                    <a:pt x="185" y="644"/>
                  </a:cubicBezTo>
                  <a:cubicBezTo>
                    <a:pt x="140" y="644"/>
                    <a:pt x="97" y="659"/>
                    <a:pt x="60" y="696"/>
                  </a:cubicBezTo>
                  <a:cubicBezTo>
                    <a:pt x="25" y="743"/>
                    <a:pt x="1" y="803"/>
                    <a:pt x="25" y="863"/>
                  </a:cubicBezTo>
                  <a:cubicBezTo>
                    <a:pt x="179" y="1410"/>
                    <a:pt x="691" y="1756"/>
                    <a:pt x="1227" y="1756"/>
                  </a:cubicBezTo>
                  <a:cubicBezTo>
                    <a:pt x="1346" y="1756"/>
                    <a:pt x="1465" y="1732"/>
                    <a:pt x="1584" y="1696"/>
                  </a:cubicBezTo>
                  <a:cubicBezTo>
                    <a:pt x="2263" y="1482"/>
                    <a:pt x="2644" y="779"/>
                    <a:pt x="2442" y="112"/>
                  </a:cubicBezTo>
                  <a:cubicBezTo>
                    <a:pt x="2430" y="53"/>
                    <a:pt x="2382" y="5"/>
                    <a:pt x="2323" y="5"/>
                  </a:cubicBezTo>
                  <a:cubicBezTo>
                    <a:pt x="2309" y="2"/>
                    <a:pt x="2294" y="1"/>
                    <a:pt x="2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1" name="Google Shape;12441;p62"/>
            <p:cNvSpPr/>
            <p:nvPr/>
          </p:nvSpPr>
          <p:spPr>
            <a:xfrm>
              <a:off x="8145787" y="2470823"/>
              <a:ext cx="181034" cy="231795"/>
            </a:xfrm>
            <a:custGeom>
              <a:avLst/>
              <a:gdLst/>
              <a:ahLst/>
              <a:cxnLst/>
              <a:rect l="l" t="t" r="r" b="b"/>
              <a:pathLst>
                <a:path w="5692" h="7288" extrusionOk="0">
                  <a:moveTo>
                    <a:pt x="1559" y="0"/>
                  </a:moveTo>
                  <a:cubicBezTo>
                    <a:pt x="864" y="0"/>
                    <a:pt x="247" y="493"/>
                    <a:pt x="107" y="1168"/>
                  </a:cubicBezTo>
                  <a:lnTo>
                    <a:pt x="12" y="1573"/>
                  </a:lnTo>
                  <a:cubicBezTo>
                    <a:pt x="0" y="1668"/>
                    <a:pt x="48" y="1751"/>
                    <a:pt x="131" y="1763"/>
                  </a:cubicBezTo>
                  <a:cubicBezTo>
                    <a:pt x="147" y="1767"/>
                    <a:pt x="163" y="1769"/>
                    <a:pt x="179" y="1769"/>
                  </a:cubicBezTo>
                  <a:cubicBezTo>
                    <a:pt x="253" y="1769"/>
                    <a:pt x="314" y="1723"/>
                    <a:pt x="333" y="1644"/>
                  </a:cubicBezTo>
                  <a:lnTo>
                    <a:pt x="417" y="1251"/>
                  </a:lnTo>
                  <a:cubicBezTo>
                    <a:pt x="534" y="700"/>
                    <a:pt x="1032" y="322"/>
                    <a:pt x="1571" y="322"/>
                  </a:cubicBezTo>
                  <a:cubicBezTo>
                    <a:pt x="1579" y="322"/>
                    <a:pt x="1587" y="322"/>
                    <a:pt x="1596" y="322"/>
                  </a:cubicBezTo>
                  <a:cubicBezTo>
                    <a:pt x="2727" y="358"/>
                    <a:pt x="3798" y="727"/>
                    <a:pt x="4703" y="1382"/>
                  </a:cubicBezTo>
                  <a:cubicBezTo>
                    <a:pt x="5167" y="1703"/>
                    <a:pt x="5310" y="2323"/>
                    <a:pt x="5072" y="2823"/>
                  </a:cubicBezTo>
                  <a:lnTo>
                    <a:pt x="4882" y="3227"/>
                  </a:lnTo>
                  <a:cubicBezTo>
                    <a:pt x="4763" y="3478"/>
                    <a:pt x="4691" y="3763"/>
                    <a:pt x="4679" y="4049"/>
                  </a:cubicBezTo>
                  <a:cubicBezTo>
                    <a:pt x="4644" y="4549"/>
                    <a:pt x="4417" y="5025"/>
                    <a:pt x="4036" y="5359"/>
                  </a:cubicBezTo>
                  <a:lnTo>
                    <a:pt x="2619" y="6633"/>
                  </a:lnTo>
                  <a:cubicBezTo>
                    <a:pt x="2397" y="6839"/>
                    <a:pt x="2101" y="6953"/>
                    <a:pt x="1801" y="6953"/>
                  </a:cubicBezTo>
                  <a:cubicBezTo>
                    <a:pt x="1668" y="6953"/>
                    <a:pt x="1534" y="6930"/>
                    <a:pt x="1405" y="6883"/>
                  </a:cubicBezTo>
                  <a:lnTo>
                    <a:pt x="845" y="6692"/>
                  </a:lnTo>
                  <a:cubicBezTo>
                    <a:pt x="834" y="6692"/>
                    <a:pt x="822" y="6680"/>
                    <a:pt x="786" y="6680"/>
                  </a:cubicBezTo>
                  <a:cubicBezTo>
                    <a:pt x="766" y="6672"/>
                    <a:pt x="746" y="6668"/>
                    <a:pt x="727" y="6668"/>
                  </a:cubicBezTo>
                  <a:cubicBezTo>
                    <a:pt x="662" y="6668"/>
                    <a:pt x="602" y="6709"/>
                    <a:pt x="584" y="6764"/>
                  </a:cubicBezTo>
                  <a:cubicBezTo>
                    <a:pt x="548" y="6859"/>
                    <a:pt x="595" y="6942"/>
                    <a:pt x="667" y="6978"/>
                  </a:cubicBezTo>
                  <a:cubicBezTo>
                    <a:pt x="691" y="6990"/>
                    <a:pt x="714" y="6990"/>
                    <a:pt x="726" y="7002"/>
                  </a:cubicBezTo>
                  <a:lnTo>
                    <a:pt x="1286" y="7204"/>
                  </a:lnTo>
                  <a:cubicBezTo>
                    <a:pt x="1441" y="7252"/>
                    <a:pt x="1607" y="7288"/>
                    <a:pt x="1786" y="7288"/>
                  </a:cubicBezTo>
                  <a:cubicBezTo>
                    <a:pt x="2179" y="7288"/>
                    <a:pt x="2548" y="7157"/>
                    <a:pt x="2834" y="6883"/>
                  </a:cubicBezTo>
                  <a:lnTo>
                    <a:pt x="4239" y="5609"/>
                  </a:lnTo>
                  <a:cubicBezTo>
                    <a:pt x="4691" y="5216"/>
                    <a:pt x="4977" y="4656"/>
                    <a:pt x="5001" y="4061"/>
                  </a:cubicBezTo>
                  <a:cubicBezTo>
                    <a:pt x="5013" y="3823"/>
                    <a:pt x="5072" y="3585"/>
                    <a:pt x="5179" y="3358"/>
                  </a:cubicBezTo>
                  <a:lnTo>
                    <a:pt x="5370" y="2954"/>
                  </a:lnTo>
                  <a:cubicBezTo>
                    <a:pt x="5691" y="2335"/>
                    <a:pt x="5477" y="1549"/>
                    <a:pt x="4894" y="1132"/>
                  </a:cubicBezTo>
                  <a:cubicBezTo>
                    <a:pt x="3929" y="430"/>
                    <a:pt x="2798" y="37"/>
                    <a:pt x="1607" y="1"/>
                  </a:cubicBezTo>
                  <a:cubicBezTo>
                    <a:pt x="1591" y="0"/>
                    <a:pt x="1575" y="0"/>
                    <a:pt x="155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42" name="Google Shape;12442;p62"/>
          <p:cNvGrpSpPr/>
          <p:nvPr/>
        </p:nvGrpSpPr>
        <p:grpSpPr>
          <a:xfrm>
            <a:off x="7524349" y="2456447"/>
            <a:ext cx="350332" cy="288948"/>
            <a:chOff x="7524349" y="2456447"/>
            <a:chExt cx="350332" cy="288948"/>
          </a:xfrm>
        </p:grpSpPr>
        <p:sp>
          <p:nvSpPr>
            <p:cNvPr id="12443" name="Google Shape;12443;p62"/>
            <p:cNvSpPr/>
            <p:nvPr/>
          </p:nvSpPr>
          <p:spPr>
            <a:xfrm>
              <a:off x="7693647" y="2566651"/>
              <a:ext cx="10623" cy="67045"/>
            </a:xfrm>
            <a:custGeom>
              <a:avLst/>
              <a:gdLst/>
              <a:ahLst/>
              <a:cxnLst/>
              <a:rect l="l" t="t" r="r" b="b"/>
              <a:pathLst>
                <a:path w="334" h="2108" extrusionOk="0">
                  <a:moveTo>
                    <a:pt x="167" y="0"/>
                  </a:moveTo>
                  <a:cubicBezTo>
                    <a:pt x="83" y="0"/>
                    <a:pt x="0" y="84"/>
                    <a:pt x="0" y="167"/>
                  </a:cubicBezTo>
                  <a:lnTo>
                    <a:pt x="0" y="1941"/>
                  </a:lnTo>
                  <a:cubicBezTo>
                    <a:pt x="0" y="2024"/>
                    <a:pt x="83" y="2108"/>
                    <a:pt x="167" y="2108"/>
                  </a:cubicBezTo>
                  <a:cubicBezTo>
                    <a:pt x="250" y="2108"/>
                    <a:pt x="333" y="2024"/>
                    <a:pt x="333" y="1941"/>
                  </a:cubicBezTo>
                  <a:lnTo>
                    <a:pt x="333" y="167"/>
                  </a:lnTo>
                  <a:cubicBezTo>
                    <a:pt x="333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4" name="Google Shape;12444;p62"/>
            <p:cNvSpPr/>
            <p:nvPr/>
          </p:nvSpPr>
          <p:spPr>
            <a:xfrm>
              <a:off x="7524349" y="2545151"/>
              <a:ext cx="350332" cy="200244"/>
            </a:xfrm>
            <a:custGeom>
              <a:avLst/>
              <a:gdLst/>
              <a:ahLst/>
              <a:cxnLst/>
              <a:rect l="l" t="t" r="r" b="b"/>
              <a:pathLst>
                <a:path w="11015" h="6296" extrusionOk="0">
                  <a:moveTo>
                    <a:pt x="322" y="1736"/>
                  </a:moveTo>
                  <a:lnTo>
                    <a:pt x="620" y="2033"/>
                  </a:lnTo>
                  <a:cubicBezTo>
                    <a:pt x="930" y="2343"/>
                    <a:pt x="1299" y="2534"/>
                    <a:pt x="1680" y="2605"/>
                  </a:cubicBezTo>
                  <a:lnTo>
                    <a:pt x="2858" y="2784"/>
                  </a:lnTo>
                  <a:cubicBezTo>
                    <a:pt x="3835" y="2986"/>
                    <a:pt x="4490" y="3760"/>
                    <a:pt x="4871" y="4415"/>
                  </a:cubicBezTo>
                  <a:lnTo>
                    <a:pt x="4847" y="4415"/>
                  </a:lnTo>
                  <a:lnTo>
                    <a:pt x="4835" y="4427"/>
                  </a:lnTo>
                  <a:lnTo>
                    <a:pt x="4823" y="4450"/>
                  </a:lnTo>
                  <a:lnTo>
                    <a:pt x="4811" y="4462"/>
                  </a:lnTo>
                  <a:lnTo>
                    <a:pt x="4787" y="4474"/>
                  </a:lnTo>
                  <a:lnTo>
                    <a:pt x="4775" y="4486"/>
                  </a:lnTo>
                  <a:cubicBezTo>
                    <a:pt x="4775" y="4486"/>
                    <a:pt x="4775" y="4510"/>
                    <a:pt x="4763" y="4510"/>
                  </a:cubicBezTo>
                  <a:lnTo>
                    <a:pt x="4752" y="4522"/>
                  </a:lnTo>
                  <a:cubicBezTo>
                    <a:pt x="4752" y="4522"/>
                    <a:pt x="4752" y="4534"/>
                    <a:pt x="4728" y="4534"/>
                  </a:cubicBezTo>
                  <a:cubicBezTo>
                    <a:pt x="4728" y="4534"/>
                    <a:pt x="4728" y="4546"/>
                    <a:pt x="4716" y="4546"/>
                  </a:cubicBezTo>
                  <a:lnTo>
                    <a:pt x="4716" y="4570"/>
                  </a:lnTo>
                  <a:cubicBezTo>
                    <a:pt x="4716" y="4570"/>
                    <a:pt x="4716" y="4581"/>
                    <a:pt x="4704" y="4581"/>
                  </a:cubicBezTo>
                  <a:lnTo>
                    <a:pt x="4704" y="4593"/>
                  </a:lnTo>
                  <a:lnTo>
                    <a:pt x="4704" y="4605"/>
                  </a:lnTo>
                  <a:lnTo>
                    <a:pt x="4704" y="4629"/>
                  </a:lnTo>
                  <a:lnTo>
                    <a:pt x="4704" y="4641"/>
                  </a:lnTo>
                  <a:lnTo>
                    <a:pt x="4704" y="4653"/>
                  </a:lnTo>
                  <a:lnTo>
                    <a:pt x="4704" y="4665"/>
                  </a:lnTo>
                  <a:lnTo>
                    <a:pt x="4704" y="4689"/>
                  </a:lnTo>
                  <a:lnTo>
                    <a:pt x="4704" y="4700"/>
                  </a:lnTo>
                  <a:lnTo>
                    <a:pt x="4704" y="4712"/>
                  </a:lnTo>
                  <a:lnTo>
                    <a:pt x="4704" y="4724"/>
                  </a:lnTo>
                  <a:lnTo>
                    <a:pt x="4704" y="4748"/>
                  </a:lnTo>
                  <a:lnTo>
                    <a:pt x="4704" y="4760"/>
                  </a:lnTo>
                  <a:lnTo>
                    <a:pt x="4704" y="4772"/>
                  </a:lnTo>
                  <a:lnTo>
                    <a:pt x="4704" y="4784"/>
                  </a:lnTo>
                  <a:lnTo>
                    <a:pt x="4704" y="4808"/>
                  </a:lnTo>
                  <a:lnTo>
                    <a:pt x="4704" y="4820"/>
                  </a:lnTo>
                  <a:lnTo>
                    <a:pt x="4704" y="4831"/>
                  </a:lnTo>
                  <a:cubicBezTo>
                    <a:pt x="4704" y="4843"/>
                    <a:pt x="4704" y="4843"/>
                    <a:pt x="4716" y="4867"/>
                  </a:cubicBezTo>
                  <a:lnTo>
                    <a:pt x="4871" y="5224"/>
                  </a:lnTo>
                  <a:cubicBezTo>
                    <a:pt x="4394" y="5224"/>
                    <a:pt x="4061" y="5236"/>
                    <a:pt x="3894" y="5296"/>
                  </a:cubicBezTo>
                  <a:cubicBezTo>
                    <a:pt x="3435" y="5449"/>
                    <a:pt x="3020" y="5525"/>
                    <a:pt x="2647" y="5525"/>
                  </a:cubicBezTo>
                  <a:cubicBezTo>
                    <a:pt x="2150" y="5525"/>
                    <a:pt x="1729" y="5389"/>
                    <a:pt x="1382" y="5117"/>
                  </a:cubicBezTo>
                  <a:cubicBezTo>
                    <a:pt x="1180" y="4951"/>
                    <a:pt x="1001" y="4748"/>
                    <a:pt x="846" y="4474"/>
                  </a:cubicBezTo>
                  <a:cubicBezTo>
                    <a:pt x="894" y="4450"/>
                    <a:pt x="1001" y="4403"/>
                    <a:pt x="1084" y="4391"/>
                  </a:cubicBezTo>
                  <a:cubicBezTo>
                    <a:pt x="1132" y="4367"/>
                    <a:pt x="1180" y="4343"/>
                    <a:pt x="1192" y="4308"/>
                  </a:cubicBezTo>
                  <a:cubicBezTo>
                    <a:pt x="1215" y="4272"/>
                    <a:pt x="1215" y="4224"/>
                    <a:pt x="1203" y="4177"/>
                  </a:cubicBezTo>
                  <a:cubicBezTo>
                    <a:pt x="1156" y="4046"/>
                    <a:pt x="1013" y="3891"/>
                    <a:pt x="775" y="3653"/>
                  </a:cubicBezTo>
                  <a:cubicBezTo>
                    <a:pt x="656" y="3534"/>
                    <a:pt x="441" y="3331"/>
                    <a:pt x="406" y="3236"/>
                  </a:cubicBezTo>
                  <a:cubicBezTo>
                    <a:pt x="441" y="3212"/>
                    <a:pt x="584" y="3200"/>
                    <a:pt x="668" y="3200"/>
                  </a:cubicBezTo>
                  <a:cubicBezTo>
                    <a:pt x="727" y="3200"/>
                    <a:pt x="787" y="3165"/>
                    <a:pt x="811" y="3105"/>
                  </a:cubicBezTo>
                  <a:cubicBezTo>
                    <a:pt x="846" y="3046"/>
                    <a:pt x="834" y="2974"/>
                    <a:pt x="787" y="2926"/>
                  </a:cubicBezTo>
                  <a:cubicBezTo>
                    <a:pt x="537" y="2641"/>
                    <a:pt x="406" y="2129"/>
                    <a:pt x="322" y="1736"/>
                  </a:cubicBezTo>
                  <a:close/>
                  <a:moveTo>
                    <a:pt x="10621" y="1736"/>
                  </a:moveTo>
                  <a:lnTo>
                    <a:pt x="10621" y="1736"/>
                  </a:lnTo>
                  <a:cubicBezTo>
                    <a:pt x="10550" y="2117"/>
                    <a:pt x="10419" y="2641"/>
                    <a:pt x="10169" y="2926"/>
                  </a:cubicBezTo>
                  <a:cubicBezTo>
                    <a:pt x="10121" y="2974"/>
                    <a:pt x="10109" y="3046"/>
                    <a:pt x="10133" y="3105"/>
                  </a:cubicBezTo>
                  <a:cubicBezTo>
                    <a:pt x="10169" y="3165"/>
                    <a:pt x="10228" y="3188"/>
                    <a:pt x="10288" y="3188"/>
                  </a:cubicBezTo>
                  <a:cubicBezTo>
                    <a:pt x="10383" y="3188"/>
                    <a:pt x="10502" y="3212"/>
                    <a:pt x="10550" y="3236"/>
                  </a:cubicBezTo>
                  <a:cubicBezTo>
                    <a:pt x="10526" y="3331"/>
                    <a:pt x="10324" y="3522"/>
                    <a:pt x="10205" y="3653"/>
                  </a:cubicBezTo>
                  <a:cubicBezTo>
                    <a:pt x="9966" y="3891"/>
                    <a:pt x="9824" y="4058"/>
                    <a:pt x="9776" y="4177"/>
                  </a:cubicBezTo>
                  <a:cubicBezTo>
                    <a:pt x="9764" y="4224"/>
                    <a:pt x="9764" y="4272"/>
                    <a:pt x="9788" y="4308"/>
                  </a:cubicBezTo>
                  <a:cubicBezTo>
                    <a:pt x="9824" y="4355"/>
                    <a:pt x="9847" y="4391"/>
                    <a:pt x="9895" y="4391"/>
                  </a:cubicBezTo>
                  <a:cubicBezTo>
                    <a:pt x="9978" y="4403"/>
                    <a:pt x="10086" y="4439"/>
                    <a:pt x="10133" y="4474"/>
                  </a:cubicBezTo>
                  <a:cubicBezTo>
                    <a:pt x="9978" y="4724"/>
                    <a:pt x="9800" y="4951"/>
                    <a:pt x="9597" y="5117"/>
                  </a:cubicBezTo>
                  <a:cubicBezTo>
                    <a:pt x="9257" y="5389"/>
                    <a:pt x="8835" y="5525"/>
                    <a:pt x="8336" y="5525"/>
                  </a:cubicBezTo>
                  <a:cubicBezTo>
                    <a:pt x="7962" y="5525"/>
                    <a:pt x="7544" y="5449"/>
                    <a:pt x="7085" y="5296"/>
                  </a:cubicBezTo>
                  <a:cubicBezTo>
                    <a:pt x="6930" y="5248"/>
                    <a:pt x="6633" y="5224"/>
                    <a:pt x="6204" y="5224"/>
                  </a:cubicBezTo>
                  <a:lnTo>
                    <a:pt x="6085" y="5224"/>
                  </a:lnTo>
                  <a:lnTo>
                    <a:pt x="6228" y="4867"/>
                  </a:lnTo>
                  <a:cubicBezTo>
                    <a:pt x="6228" y="4843"/>
                    <a:pt x="6228" y="4843"/>
                    <a:pt x="6252" y="4831"/>
                  </a:cubicBezTo>
                  <a:lnTo>
                    <a:pt x="6252" y="4820"/>
                  </a:lnTo>
                  <a:lnTo>
                    <a:pt x="6252" y="4808"/>
                  </a:lnTo>
                  <a:lnTo>
                    <a:pt x="6252" y="4784"/>
                  </a:lnTo>
                  <a:lnTo>
                    <a:pt x="6252" y="4772"/>
                  </a:lnTo>
                  <a:lnTo>
                    <a:pt x="6252" y="4760"/>
                  </a:lnTo>
                  <a:lnTo>
                    <a:pt x="6252" y="4736"/>
                  </a:lnTo>
                  <a:lnTo>
                    <a:pt x="6252" y="4724"/>
                  </a:lnTo>
                  <a:lnTo>
                    <a:pt x="6252" y="4712"/>
                  </a:lnTo>
                  <a:lnTo>
                    <a:pt x="6252" y="4700"/>
                  </a:lnTo>
                  <a:lnTo>
                    <a:pt x="6252" y="4677"/>
                  </a:lnTo>
                  <a:lnTo>
                    <a:pt x="6252" y="4665"/>
                  </a:lnTo>
                  <a:lnTo>
                    <a:pt x="6252" y="4653"/>
                  </a:lnTo>
                  <a:lnTo>
                    <a:pt x="6252" y="4641"/>
                  </a:lnTo>
                  <a:lnTo>
                    <a:pt x="6252" y="4617"/>
                  </a:lnTo>
                  <a:lnTo>
                    <a:pt x="6252" y="4605"/>
                  </a:lnTo>
                  <a:lnTo>
                    <a:pt x="6252" y="4593"/>
                  </a:lnTo>
                  <a:lnTo>
                    <a:pt x="6252" y="4581"/>
                  </a:lnTo>
                  <a:cubicBezTo>
                    <a:pt x="6252" y="4581"/>
                    <a:pt x="6252" y="4558"/>
                    <a:pt x="6228" y="4558"/>
                  </a:cubicBezTo>
                  <a:lnTo>
                    <a:pt x="6228" y="4546"/>
                  </a:lnTo>
                  <a:cubicBezTo>
                    <a:pt x="6228" y="4546"/>
                    <a:pt x="6228" y="4534"/>
                    <a:pt x="6216" y="4534"/>
                  </a:cubicBezTo>
                  <a:cubicBezTo>
                    <a:pt x="6216" y="4534"/>
                    <a:pt x="6216" y="4522"/>
                    <a:pt x="6204" y="4522"/>
                  </a:cubicBezTo>
                  <a:lnTo>
                    <a:pt x="6192" y="4498"/>
                  </a:lnTo>
                  <a:lnTo>
                    <a:pt x="6180" y="4486"/>
                  </a:lnTo>
                  <a:lnTo>
                    <a:pt x="6156" y="4474"/>
                  </a:lnTo>
                  <a:lnTo>
                    <a:pt x="6145" y="4462"/>
                  </a:lnTo>
                  <a:lnTo>
                    <a:pt x="6133" y="4439"/>
                  </a:lnTo>
                  <a:lnTo>
                    <a:pt x="6121" y="4427"/>
                  </a:lnTo>
                  <a:lnTo>
                    <a:pt x="6097" y="4415"/>
                  </a:lnTo>
                  <a:lnTo>
                    <a:pt x="6085" y="4415"/>
                  </a:lnTo>
                  <a:cubicBezTo>
                    <a:pt x="6478" y="3760"/>
                    <a:pt x="7109" y="2986"/>
                    <a:pt x="8097" y="2772"/>
                  </a:cubicBezTo>
                  <a:lnTo>
                    <a:pt x="9276" y="2593"/>
                  </a:lnTo>
                  <a:cubicBezTo>
                    <a:pt x="9657" y="2534"/>
                    <a:pt x="10014" y="2343"/>
                    <a:pt x="10324" y="2033"/>
                  </a:cubicBezTo>
                  <a:lnTo>
                    <a:pt x="10621" y="1736"/>
                  </a:lnTo>
                  <a:close/>
                  <a:moveTo>
                    <a:pt x="5525" y="4474"/>
                  </a:moveTo>
                  <a:lnTo>
                    <a:pt x="5918" y="4689"/>
                  </a:lnTo>
                  <a:cubicBezTo>
                    <a:pt x="5954" y="4712"/>
                    <a:pt x="5954" y="4724"/>
                    <a:pt x="5942" y="4748"/>
                  </a:cubicBezTo>
                  <a:lnTo>
                    <a:pt x="5490" y="5832"/>
                  </a:lnTo>
                  <a:lnTo>
                    <a:pt x="5049" y="4748"/>
                  </a:lnTo>
                  <a:lnTo>
                    <a:pt x="5049" y="4700"/>
                  </a:lnTo>
                  <a:lnTo>
                    <a:pt x="5061" y="4689"/>
                  </a:lnTo>
                  <a:lnTo>
                    <a:pt x="5466" y="4474"/>
                  </a:lnTo>
                  <a:close/>
                  <a:moveTo>
                    <a:pt x="1758" y="1"/>
                  </a:moveTo>
                  <a:cubicBezTo>
                    <a:pt x="1565" y="1"/>
                    <a:pt x="1375" y="19"/>
                    <a:pt x="1192" y="57"/>
                  </a:cubicBezTo>
                  <a:cubicBezTo>
                    <a:pt x="1132" y="69"/>
                    <a:pt x="1084" y="117"/>
                    <a:pt x="1073" y="176"/>
                  </a:cubicBezTo>
                  <a:cubicBezTo>
                    <a:pt x="1061" y="236"/>
                    <a:pt x="1073" y="295"/>
                    <a:pt x="1120" y="331"/>
                  </a:cubicBezTo>
                  <a:cubicBezTo>
                    <a:pt x="1382" y="605"/>
                    <a:pt x="1537" y="890"/>
                    <a:pt x="1680" y="1164"/>
                  </a:cubicBezTo>
                  <a:cubicBezTo>
                    <a:pt x="1894" y="1569"/>
                    <a:pt x="2108" y="1974"/>
                    <a:pt x="2608" y="2260"/>
                  </a:cubicBezTo>
                  <a:cubicBezTo>
                    <a:pt x="2631" y="2271"/>
                    <a:pt x="2656" y="2276"/>
                    <a:pt x="2682" y="2276"/>
                  </a:cubicBezTo>
                  <a:cubicBezTo>
                    <a:pt x="2739" y="2276"/>
                    <a:pt x="2798" y="2249"/>
                    <a:pt x="2823" y="2200"/>
                  </a:cubicBezTo>
                  <a:cubicBezTo>
                    <a:pt x="2870" y="2117"/>
                    <a:pt x="2847" y="2022"/>
                    <a:pt x="2763" y="1974"/>
                  </a:cubicBezTo>
                  <a:cubicBezTo>
                    <a:pt x="2346" y="1736"/>
                    <a:pt x="2168" y="1391"/>
                    <a:pt x="1965" y="1010"/>
                  </a:cubicBezTo>
                  <a:cubicBezTo>
                    <a:pt x="1846" y="783"/>
                    <a:pt x="1727" y="545"/>
                    <a:pt x="1549" y="319"/>
                  </a:cubicBezTo>
                  <a:cubicBezTo>
                    <a:pt x="1611" y="315"/>
                    <a:pt x="1675" y="312"/>
                    <a:pt x="1738" y="312"/>
                  </a:cubicBezTo>
                  <a:cubicBezTo>
                    <a:pt x="2531" y="312"/>
                    <a:pt x="3376" y="653"/>
                    <a:pt x="4037" y="1260"/>
                  </a:cubicBezTo>
                  <a:cubicBezTo>
                    <a:pt x="4573" y="1748"/>
                    <a:pt x="5002" y="2629"/>
                    <a:pt x="5228" y="3629"/>
                  </a:cubicBezTo>
                  <a:cubicBezTo>
                    <a:pt x="5002" y="3165"/>
                    <a:pt x="4704" y="2700"/>
                    <a:pt x="4359" y="2260"/>
                  </a:cubicBezTo>
                  <a:cubicBezTo>
                    <a:pt x="4324" y="2211"/>
                    <a:pt x="4281" y="2187"/>
                    <a:pt x="4235" y="2187"/>
                  </a:cubicBezTo>
                  <a:cubicBezTo>
                    <a:pt x="4202" y="2187"/>
                    <a:pt x="4167" y="2199"/>
                    <a:pt x="4132" y="2224"/>
                  </a:cubicBezTo>
                  <a:cubicBezTo>
                    <a:pt x="4061" y="2284"/>
                    <a:pt x="4049" y="2379"/>
                    <a:pt x="4109" y="2450"/>
                  </a:cubicBezTo>
                  <a:cubicBezTo>
                    <a:pt x="4490" y="2950"/>
                    <a:pt x="4835" y="3522"/>
                    <a:pt x="5061" y="4022"/>
                  </a:cubicBezTo>
                  <a:cubicBezTo>
                    <a:pt x="4632" y="3355"/>
                    <a:pt x="3954" y="2653"/>
                    <a:pt x="2966" y="2450"/>
                  </a:cubicBezTo>
                  <a:lnTo>
                    <a:pt x="2942" y="2450"/>
                  </a:lnTo>
                  <a:lnTo>
                    <a:pt x="1775" y="2272"/>
                  </a:lnTo>
                  <a:cubicBezTo>
                    <a:pt x="1454" y="2224"/>
                    <a:pt x="1156" y="2057"/>
                    <a:pt x="906" y="1795"/>
                  </a:cubicBezTo>
                  <a:lnTo>
                    <a:pt x="287" y="1141"/>
                  </a:lnTo>
                  <a:cubicBezTo>
                    <a:pt x="255" y="1109"/>
                    <a:pt x="213" y="1093"/>
                    <a:pt x="170" y="1093"/>
                  </a:cubicBezTo>
                  <a:cubicBezTo>
                    <a:pt x="149" y="1093"/>
                    <a:pt x="128" y="1097"/>
                    <a:pt x="108" y="1105"/>
                  </a:cubicBezTo>
                  <a:cubicBezTo>
                    <a:pt x="49" y="1141"/>
                    <a:pt x="1" y="1200"/>
                    <a:pt x="13" y="1271"/>
                  </a:cubicBezTo>
                  <a:cubicBezTo>
                    <a:pt x="13" y="1319"/>
                    <a:pt x="84" y="2272"/>
                    <a:pt x="441" y="2891"/>
                  </a:cubicBezTo>
                  <a:cubicBezTo>
                    <a:pt x="358" y="2926"/>
                    <a:pt x="251" y="2950"/>
                    <a:pt x="191" y="3034"/>
                  </a:cubicBezTo>
                  <a:cubicBezTo>
                    <a:pt x="132" y="3093"/>
                    <a:pt x="120" y="3176"/>
                    <a:pt x="132" y="3272"/>
                  </a:cubicBezTo>
                  <a:cubicBezTo>
                    <a:pt x="168" y="3415"/>
                    <a:pt x="322" y="3593"/>
                    <a:pt x="596" y="3879"/>
                  </a:cubicBezTo>
                  <a:cubicBezTo>
                    <a:pt x="668" y="3950"/>
                    <a:pt x="775" y="4058"/>
                    <a:pt x="846" y="4141"/>
                  </a:cubicBezTo>
                  <a:cubicBezTo>
                    <a:pt x="739" y="4189"/>
                    <a:pt x="620" y="4272"/>
                    <a:pt x="584" y="4367"/>
                  </a:cubicBezTo>
                  <a:cubicBezTo>
                    <a:pt x="537" y="4462"/>
                    <a:pt x="549" y="4546"/>
                    <a:pt x="596" y="4617"/>
                  </a:cubicBezTo>
                  <a:cubicBezTo>
                    <a:pt x="775" y="4939"/>
                    <a:pt x="977" y="5189"/>
                    <a:pt x="1215" y="5379"/>
                  </a:cubicBezTo>
                  <a:cubicBezTo>
                    <a:pt x="1620" y="5712"/>
                    <a:pt x="2108" y="5855"/>
                    <a:pt x="2680" y="5855"/>
                  </a:cubicBezTo>
                  <a:cubicBezTo>
                    <a:pt x="3097" y="5855"/>
                    <a:pt x="3537" y="5772"/>
                    <a:pt x="4037" y="5605"/>
                  </a:cubicBezTo>
                  <a:cubicBezTo>
                    <a:pt x="4146" y="5566"/>
                    <a:pt x="4418" y="5543"/>
                    <a:pt x="4806" y="5543"/>
                  </a:cubicBezTo>
                  <a:cubicBezTo>
                    <a:pt x="4886" y="5543"/>
                    <a:pt x="4971" y="5544"/>
                    <a:pt x="5061" y="5546"/>
                  </a:cubicBezTo>
                  <a:lnTo>
                    <a:pt x="5311" y="6141"/>
                  </a:lnTo>
                  <a:cubicBezTo>
                    <a:pt x="5347" y="6236"/>
                    <a:pt x="5430" y="6296"/>
                    <a:pt x="5537" y="6296"/>
                  </a:cubicBezTo>
                  <a:cubicBezTo>
                    <a:pt x="5621" y="6296"/>
                    <a:pt x="5716" y="6236"/>
                    <a:pt x="5764" y="6141"/>
                  </a:cubicBezTo>
                  <a:lnTo>
                    <a:pt x="6014" y="5546"/>
                  </a:lnTo>
                  <a:cubicBezTo>
                    <a:pt x="6103" y="5544"/>
                    <a:pt x="6189" y="5543"/>
                    <a:pt x="6269" y="5543"/>
                  </a:cubicBezTo>
                  <a:cubicBezTo>
                    <a:pt x="6657" y="5543"/>
                    <a:pt x="6929" y="5566"/>
                    <a:pt x="7038" y="5605"/>
                  </a:cubicBezTo>
                  <a:cubicBezTo>
                    <a:pt x="7526" y="5772"/>
                    <a:pt x="7990" y="5855"/>
                    <a:pt x="8395" y="5855"/>
                  </a:cubicBezTo>
                  <a:cubicBezTo>
                    <a:pt x="8954" y="5855"/>
                    <a:pt x="9455" y="5689"/>
                    <a:pt x="9847" y="5379"/>
                  </a:cubicBezTo>
                  <a:cubicBezTo>
                    <a:pt x="10086" y="5189"/>
                    <a:pt x="10300" y="4939"/>
                    <a:pt x="10478" y="4617"/>
                  </a:cubicBezTo>
                  <a:cubicBezTo>
                    <a:pt x="10526" y="4534"/>
                    <a:pt x="10538" y="4439"/>
                    <a:pt x="10490" y="4367"/>
                  </a:cubicBezTo>
                  <a:cubicBezTo>
                    <a:pt x="10443" y="4272"/>
                    <a:pt x="10324" y="4189"/>
                    <a:pt x="10228" y="4141"/>
                  </a:cubicBezTo>
                  <a:cubicBezTo>
                    <a:pt x="10300" y="4058"/>
                    <a:pt x="10407" y="3974"/>
                    <a:pt x="10478" y="3879"/>
                  </a:cubicBezTo>
                  <a:cubicBezTo>
                    <a:pt x="10740" y="3593"/>
                    <a:pt x="10907" y="3415"/>
                    <a:pt x="10943" y="3272"/>
                  </a:cubicBezTo>
                  <a:cubicBezTo>
                    <a:pt x="10955" y="3176"/>
                    <a:pt x="10943" y="3093"/>
                    <a:pt x="10883" y="3034"/>
                  </a:cubicBezTo>
                  <a:cubicBezTo>
                    <a:pt x="10776" y="2962"/>
                    <a:pt x="10681" y="2926"/>
                    <a:pt x="10586" y="2903"/>
                  </a:cubicBezTo>
                  <a:cubicBezTo>
                    <a:pt x="10943" y="2272"/>
                    <a:pt x="11014" y="1319"/>
                    <a:pt x="11014" y="1271"/>
                  </a:cubicBezTo>
                  <a:cubicBezTo>
                    <a:pt x="11014" y="1200"/>
                    <a:pt x="10979" y="1141"/>
                    <a:pt x="10919" y="1117"/>
                  </a:cubicBezTo>
                  <a:cubicBezTo>
                    <a:pt x="10895" y="1103"/>
                    <a:pt x="10870" y="1096"/>
                    <a:pt x="10845" y="1096"/>
                  </a:cubicBezTo>
                  <a:cubicBezTo>
                    <a:pt x="10807" y="1096"/>
                    <a:pt x="10769" y="1112"/>
                    <a:pt x="10740" y="1141"/>
                  </a:cubicBezTo>
                  <a:lnTo>
                    <a:pt x="10121" y="1795"/>
                  </a:lnTo>
                  <a:cubicBezTo>
                    <a:pt x="9871" y="2057"/>
                    <a:pt x="9574" y="2224"/>
                    <a:pt x="9252" y="2272"/>
                  </a:cubicBezTo>
                  <a:lnTo>
                    <a:pt x="8085" y="2450"/>
                  </a:lnTo>
                  <a:lnTo>
                    <a:pt x="8061" y="2450"/>
                  </a:lnTo>
                  <a:cubicBezTo>
                    <a:pt x="7038" y="2653"/>
                    <a:pt x="6359" y="3403"/>
                    <a:pt x="5918" y="4081"/>
                  </a:cubicBezTo>
                  <a:cubicBezTo>
                    <a:pt x="6145" y="3546"/>
                    <a:pt x="6502" y="2986"/>
                    <a:pt x="6918" y="2450"/>
                  </a:cubicBezTo>
                  <a:cubicBezTo>
                    <a:pt x="6978" y="2379"/>
                    <a:pt x="6966" y="2272"/>
                    <a:pt x="6895" y="2224"/>
                  </a:cubicBezTo>
                  <a:cubicBezTo>
                    <a:pt x="6859" y="2203"/>
                    <a:pt x="6821" y="2192"/>
                    <a:pt x="6785" y="2192"/>
                  </a:cubicBezTo>
                  <a:cubicBezTo>
                    <a:pt x="6738" y="2192"/>
                    <a:pt x="6696" y="2212"/>
                    <a:pt x="6668" y="2260"/>
                  </a:cubicBezTo>
                  <a:cubicBezTo>
                    <a:pt x="6323" y="2688"/>
                    <a:pt x="6026" y="3129"/>
                    <a:pt x="5799" y="3581"/>
                  </a:cubicBezTo>
                  <a:cubicBezTo>
                    <a:pt x="6026" y="2593"/>
                    <a:pt x="6454" y="1736"/>
                    <a:pt x="6978" y="1260"/>
                  </a:cubicBezTo>
                  <a:cubicBezTo>
                    <a:pt x="7639" y="653"/>
                    <a:pt x="8495" y="312"/>
                    <a:pt x="9279" y="312"/>
                  </a:cubicBezTo>
                  <a:cubicBezTo>
                    <a:pt x="9342" y="312"/>
                    <a:pt x="9405" y="315"/>
                    <a:pt x="9466" y="319"/>
                  </a:cubicBezTo>
                  <a:cubicBezTo>
                    <a:pt x="9288" y="545"/>
                    <a:pt x="9169" y="783"/>
                    <a:pt x="9050" y="1010"/>
                  </a:cubicBezTo>
                  <a:cubicBezTo>
                    <a:pt x="8835" y="1391"/>
                    <a:pt x="8657" y="1736"/>
                    <a:pt x="8240" y="1974"/>
                  </a:cubicBezTo>
                  <a:cubicBezTo>
                    <a:pt x="8169" y="2022"/>
                    <a:pt x="8145" y="2117"/>
                    <a:pt x="8181" y="2200"/>
                  </a:cubicBezTo>
                  <a:cubicBezTo>
                    <a:pt x="8213" y="2249"/>
                    <a:pt x="8275" y="2276"/>
                    <a:pt x="8333" y="2276"/>
                  </a:cubicBezTo>
                  <a:cubicBezTo>
                    <a:pt x="8359" y="2276"/>
                    <a:pt x="8385" y="2271"/>
                    <a:pt x="8407" y="2260"/>
                  </a:cubicBezTo>
                  <a:cubicBezTo>
                    <a:pt x="8895" y="1974"/>
                    <a:pt x="9121" y="1557"/>
                    <a:pt x="9335" y="1164"/>
                  </a:cubicBezTo>
                  <a:cubicBezTo>
                    <a:pt x="9478" y="890"/>
                    <a:pt x="9645" y="593"/>
                    <a:pt x="9895" y="331"/>
                  </a:cubicBezTo>
                  <a:cubicBezTo>
                    <a:pt x="9943" y="295"/>
                    <a:pt x="9955" y="236"/>
                    <a:pt x="9943" y="176"/>
                  </a:cubicBezTo>
                  <a:cubicBezTo>
                    <a:pt x="9931" y="117"/>
                    <a:pt x="9883" y="69"/>
                    <a:pt x="9824" y="57"/>
                  </a:cubicBezTo>
                  <a:cubicBezTo>
                    <a:pt x="9647" y="21"/>
                    <a:pt x="9463" y="4"/>
                    <a:pt x="9276" y="4"/>
                  </a:cubicBezTo>
                  <a:cubicBezTo>
                    <a:pt x="8910" y="4"/>
                    <a:pt x="8531" y="70"/>
                    <a:pt x="8169" y="188"/>
                  </a:cubicBezTo>
                  <a:cubicBezTo>
                    <a:pt x="7669" y="367"/>
                    <a:pt x="7169" y="652"/>
                    <a:pt x="6776" y="1021"/>
                  </a:cubicBezTo>
                  <a:cubicBezTo>
                    <a:pt x="6395" y="1367"/>
                    <a:pt x="6073" y="1867"/>
                    <a:pt x="5823" y="2474"/>
                  </a:cubicBezTo>
                  <a:cubicBezTo>
                    <a:pt x="5680" y="2795"/>
                    <a:pt x="5585" y="3117"/>
                    <a:pt x="5502" y="3462"/>
                  </a:cubicBezTo>
                  <a:cubicBezTo>
                    <a:pt x="5430" y="3117"/>
                    <a:pt x="5323" y="2795"/>
                    <a:pt x="5192" y="2474"/>
                  </a:cubicBezTo>
                  <a:cubicBezTo>
                    <a:pt x="4942" y="1867"/>
                    <a:pt x="4609" y="1367"/>
                    <a:pt x="4240" y="1021"/>
                  </a:cubicBezTo>
                  <a:cubicBezTo>
                    <a:pt x="3835" y="652"/>
                    <a:pt x="3347" y="367"/>
                    <a:pt x="2847" y="188"/>
                  </a:cubicBezTo>
                  <a:cubicBezTo>
                    <a:pt x="2483" y="64"/>
                    <a:pt x="2115" y="1"/>
                    <a:pt x="17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5" name="Google Shape;12445;p62"/>
            <p:cNvSpPr/>
            <p:nvPr/>
          </p:nvSpPr>
          <p:spPr>
            <a:xfrm>
              <a:off x="7582298" y="2650998"/>
              <a:ext cx="86764" cy="50093"/>
            </a:xfrm>
            <a:custGeom>
              <a:avLst/>
              <a:gdLst/>
              <a:ahLst/>
              <a:cxnLst/>
              <a:rect l="l" t="t" r="r" b="b"/>
              <a:pathLst>
                <a:path w="2728" h="1575" extrusionOk="0">
                  <a:moveTo>
                    <a:pt x="1043" y="321"/>
                  </a:moveTo>
                  <a:cubicBezTo>
                    <a:pt x="1160" y="321"/>
                    <a:pt x="1280" y="339"/>
                    <a:pt x="1394" y="384"/>
                  </a:cubicBezTo>
                  <a:cubicBezTo>
                    <a:pt x="1763" y="539"/>
                    <a:pt x="2025" y="896"/>
                    <a:pt x="2168" y="1087"/>
                  </a:cubicBezTo>
                  <a:cubicBezTo>
                    <a:pt x="2017" y="1150"/>
                    <a:pt x="1771" y="1224"/>
                    <a:pt x="1518" y="1224"/>
                  </a:cubicBezTo>
                  <a:cubicBezTo>
                    <a:pt x="1391" y="1224"/>
                    <a:pt x="1263" y="1206"/>
                    <a:pt x="1144" y="1158"/>
                  </a:cubicBezTo>
                  <a:cubicBezTo>
                    <a:pt x="763" y="1015"/>
                    <a:pt x="524" y="658"/>
                    <a:pt x="405" y="468"/>
                  </a:cubicBezTo>
                  <a:cubicBezTo>
                    <a:pt x="552" y="403"/>
                    <a:pt x="792" y="321"/>
                    <a:pt x="1043" y="321"/>
                  </a:cubicBezTo>
                  <a:close/>
                  <a:moveTo>
                    <a:pt x="1055" y="0"/>
                  </a:moveTo>
                  <a:cubicBezTo>
                    <a:pt x="563" y="0"/>
                    <a:pt x="135" y="244"/>
                    <a:pt x="108" y="253"/>
                  </a:cubicBezTo>
                  <a:cubicBezTo>
                    <a:pt x="36" y="301"/>
                    <a:pt x="1" y="384"/>
                    <a:pt x="36" y="468"/>
                  </a:cubicBezTo>
                  <a:cubicBezTo>
                    <a:pt x="48" y="491"/>
                    <a:pt x="382" y="1206"/>
                    <a:pt x="1013" y="1480"/>
                  </a:cubicBezTo>
                  <a:cubicBezTo>
                    <a:pt x="1179" y="1539"/>
                    <a:pt x="1346" y="1563"/>
                    <a:pt x="1513" y="1563"/>
                  </a:cubicBezTo>
                  <a:cubicBezTo>
                    <a:pt x="1846" y="1563"/>
                    <a:pt x="2168" y="1456"/>
                    <a:pt x="2322" y="1384"/>
                  </a:cubicBezTo>
                  <a:lnTo>
                    <a:pt x="2406" y="1503"/>
                  </a:lnTo>
                  <a:cubicBezTo>
                    <a:pt x="2429" y="1551"/>
                    <a:pt x="2489" y="1575"/>
                    <a:pt x="2537" y="1575"/>
                  </a:cubicBezTo>
                  <a:cubicBezTo>
                    <a:pt x="2560" y="1575"/>
                    <a:pt x="2596" y="1575"/>
                    <a:pt x="2620" y="1551"/>
                  </a:cubicBezTo>
                  <a:cubicBezTo>
                    <a:pt x="2703" y="1492"/>
                    <a:pt x="2727" y="1396"/>
                    <a:pt x="2691" y="1325"/>
                  </a:cubicBezTo>
                  <a:lnTo>
                    <a:pt x="2549" y="1087"/>
                  </a:lnTo>
                  <a:cubicBezTo>
                    <a:pt x="2525" y="1015"/>
                    <a:pt x="2156" y="349"/>
                    <a:pt x="1525" y="87"/>
                  </a:cubicBezTo>
                  <a:cubicBezTo>
                    <a:pt x="1369" y="24"/>
                    <a:pt x="1208" y="0"/>
                    <a:pt x="10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6" name="Google Shape;12446;p62"/>
            <p:cNvSpPr/>
            <p:nvPr/>
          </p:nvSpPr>
          <p:spPr>
            <a:xfrm>
              <a:off x="7729237" y="2650553"/>
              <a:ext cx="86732" cy="50156"/>
            </a:xfrm>
            <a:custGeom>
              <a:avLst/>
              <a:gdLst/>
              <a:ahLst/>
              <a:cxnLst/>
              <a:rect l="l" t="t" r="r" b="b"/>
              <a:pathLst>
                <a:path w="2727" h="1577" extrusionOk="0">
                  <a:moveTo>
                    <a:pt x="1672" y="335"/>
                  </a:moveTo>
                  <a:cubicBezTo>
                    <a:pt x="1924" y="335"/>
                    <a:pt x="2164" y="417"/>
                    <a:pt x="2310" y="482"/>
                  </a:cubicBezTo>
                  <a:cubicBezTo>
                    <a:pt x="2203" y="672"/>
                    <a:pt x="1953" y="1029"/>
                    <a:pt x="1584" y="1172"/>
                  </a:cubicBezTo>
                  <a:cubicBezTo>
                    <a:pt x="1461" y="1224"/>
                    <a:pt x="1330" y="1244"/>
                    <a:pt x="1201" y="1244"/>
                  </a:cubicBezTo>
                  <a:cubicBezTo>
                    <a:pt x="945" y="1244"/>
                    <a:pt x="699" y="1164"/>
                    <a:pt x="548" y="1101"/>
                  </a:cubicBezTo>
                  <a:cubicBezTo>
                    <a:pt x="691" y="898"/>
                    <a:pt x="953" y="553"/>
                    <a:pt x="1322" y="398"/>
                  </a:cubicBezTo>
                  <a:cubicBezTo>
                    <a:pt x="1435" y="353"/>
                    <a:pt x="1555" y="335"/>
                    <a:pt x="1672" y="335"/>
                  </a:cubicBezTo>
                  <a:close/>
                  <a:moveTo>
                    <a:pt x="1683" y="1"/>
                  </a:moveTo>
                  <a:cubicBezTo>
                    <a:pt x="1526" y="1"/>
                    <a:pt x="1362" y="25"/>
                    <a:pt x="1203" y="89"/>
                  </a:cubicBezTo>
                  <a:cubicBezTo>
                    <a:pt x="584" y="339"/>
                    <a:pt x="215" y="1029"/>
                    <a:pt x="179" y="1089"/>
                  </a:cubicBezTo>
                  <a:lnTo>
                    <a:pt x="48" y="1327"/>
                  </a:lnTo>
                  <a:cubicBezTo>
                    <a:pt x="0" y="1398"/>
                    <a:pt x="24" y="1506"/>
                    <a:pt x="107" y="1553"/>
                  </a:cubicBezTo>
                  <a:cubicBezTo>
                    <a:pt x="131" y="1565"/>
                    <a:pt x="167" y="1577"/>
                    <a:pt x="191" y="1577"/>
                  </a:cubicBezTo>
                  <a:cubicBezTo>
                    <a:pt x="250" y="1577"/>
                    <a:pt x="298" y="1553"/>
                    <a:pt x="322" y="1506"/>
                  </a:cubicBezTo>
                  <a:lnTo>
                    <a:pt x="405" y="1386"/>
                  </a:lnTo>
                  <a:cubicBezTo>
                    <a:pt x="584" y="1458"/>
                    <a:pt x="893" y="1565"/>
                    <a:pt x="1215" y="1565"/>
                  </a:cubicBezTo>
                  <a:cubicBezTo>
                    <a:pt x="1381" y="1565"/>
                    <a:pt x="1548" y="1529"/>
                    <a:pt x="1715" y="1470"/>
                  </a:cubicBezTo>
                  <a:cubicBezTo>
                    <a:pt x="2346" y="1220"/>
                    <a:pt x="2679" y="494"/>
                    <a:pt x="2691" y="458"/>
                  </a:cubicBezTo>
                  <a:cubicBezTo>
                    <a:pt x="2727" y="386"/>
                    <a:pt x="2691" y="303"/>
                    <a:pt x="2620" y="255"/>
                  </a:cubicBezTo>
                  <a:cubicBezTo>
                    <a:pt x="2602" y="237"/>
                    <a:pt x="2174" y="1"/>
                    <a:pt x="16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7" name="Google Shape;12447;p62"/>
            <p:cNvSpPr/>
            <p:nvPr/>
          </p:nvSpPr>
          <p:spPr>
            <a:xfrm>
              <a:off x="7667885" y="2456447"/>
              <a:ext cx="62147" cy="121209"/>
            </a:xfrm>
            <a:custGeom>
              <a:avLst/>
              <a:gdLst/>
              <a:ahLst/>
              <a:cxnLst/>
              <a:rect l="l" t="t" r="r" b="b"/>
              <a:pathLst>
                <a:path w="1954" h="3811" extrusionOk="0">
                  <a:moveTo>
                    <a:pt x="977" y="0"/>
                  </a:moveTo>
                  <a:cubicBezTo>
                    <a:pt x="917" y="0"/>
                    <a:pt x="858" y="48"/>
                    <a:pt x="834" y="108"/>
                  </a:cubicBezTo>
                  <a:cubicBezTo>
                    <a:pt x="798" y="179"/>
                    <a:pt x="36" y="1941"/>
                    <a:pt x="0" y="3632"/>
                  </a:cubicBezTo>
                  <a:cubicBezTo>
                    <a:pt x="0" y="3727"/>
                    <a:pt x="72" y="3799"/>
                    <a:pt x="155" y="3799"/>
                  </a:cubicBezTo>
                  <a:cubicBezTo>
                    <a:pt x="250" y="3799"/>
                    <a:pt x="322" y="3727"/>
                    <a:pt x="322" y="3632"/>
                  </a:cubicBezTo>
                  <a:cubicBezTo>
                    <a:pt x="358" y="2453"/>
                    <a:pt x="751" y="1203"/>
                    <a:pt x="977" y="596"/>
                  </a:cubicBezTo>
                  <a:cubicBezTo>
                    <a:pt x="1203" y="1203"/>
                    <a:pt x="1620" y="2453"/>
                    <a:pt x="1632" y="3644"/>
                  </a:cubicBezTo>
                  <a:cubicBezTo>
                    <a:pt x="1632" y="3739"/>
                    <a:pt x="1703" y="3810"/>
                    <a:pt x="1798" y="3810"/>
                  </a:cubicBezTo>
                  <a:cubicBezTo>
                    <a:pt x="1882" y="3810"/>
                    <a:pt x="1953" y="3739"/>
                    <a:pt x="1953" y="3644"/>
                  </a:cubicBezTo>
                  <a:cubicBezTo>
                    <a:pt x="1929" y="1953"/>
                    <a:pt x="1155" y="179"/>
                    <a:pt x="1132" y="108"/>
                  </a:cubicBezTo>
                  <a:cubicBezTo>
                    <a:pt x="1096" y="48"/>
                    <a:pt x="1036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48" name="Google Shape;12448;p62"/>
          <p:cNvGrpSpPr/>
          <p:nvPr/>
        </p:nvGrpSpPr>
        <p:grpSpPr>
          <a:xfrm>
            <a:off x="3972749" y="2894211"/>
            <a:ext cx="355230" cy="356725"/>
            <a:chOff x="3972749" y="2894211"/>
            <a:chExt cx="355230" cy="356725"/>
          </a:xfrm>
        </p:grpSpPr>
        <p:sp>
          <p:nvSpPr>
            <p:cNvPr id="12449" name="Google Shape;12449;p62"/>
            <p:cNvSpPr/>
            <p:nvPr/>
          </p:nvSpPr>
          <p:spPr>
            <a:xfrm>
              <a:off x="3973512" y="3208508"/>
              <a:ext cx="351795" cy="10623"/>
            </a:xfrm>
            <a:custGeom>
              <a:avLst/>
              <a:gdLst/>
              <a:ahLst/>
              <a:cxnLst/>
              <a:rect l="l" t="t" r="r" b="b"/>
              <a:pathLst>
                <a:path w="11061" h="334" extrusionOk="0">
                  <a:moveTo>
                    <a:pt x="167" y="0"/>
                  </a:moveTo>
                  <a:cubicBezTo>
                    <a:pt x="83" y="0"/>
                    <a:pt x="0" y="84"/>
                    <a:pt x="0" y="167"/>
                  </a:cubicBezTo>
                  <a:cubicBezTo>
                    <a:pt x="0" y="262"/>
                    <a:pt x="83" y="334"/>
                    <a:pt x="167" y="334"/>
                  </a:cubicBezTo>
                  <a:lnTo>
                    <a:pt x="10906" y="334"/>
                  </a:lnTo>
                  <a:cubicBezTo>
                    <a:pt x="10990" y="334"/>
                    <a:pt x="11061" y="262"/>
                    <a:pt x="11061" y="167"/>
                  </a:cubicBezTo>
                  <a:cubicBezTo>
                    <a:pt x="11061" y="84"/>
                    <a:pt x="10990" y="0"/>
                    <a:pt x="10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0" name="Google Shape;12450;p62"/>
            <p:cNvSpPr/>
            <p:nvPr/>
          </p:nvSpPr>
          <p:spPr>
            <a:xfrm>
              <a:off x="4116253" y="3052091"/>
              <a:ext cx="142804" cy="140546"/>
            </a:xfrm>
            <a:custGeom>
              <a:avLst/>
              <a:gdLst/>
              <a:ahLst/>
              <a:cxnLst/>
              <a:rect l="l" t="t" r="r" b="b"/>
              <a:pathLst>
                <a:path w="4490" h="4419" extrusionOk="0">
                  <a:moveTo>
                    <a:pt x="3799" y="322"/>
                  </a:moveTo>
                  <a:cubicBezTo>
                    <a:pt x="3882" y="322"/>
                    <a:pt x="3977" y="358"/>
                    <a:pt x="4049" y="430"/>
                  </a:cubicBezTo>
                  <a:cubicBezTo>
                    <a:pt x="4120" y="501"/>
                    <a:pt x="4156" y="596"/>
                    <a:pt x="4156" y="692"/>
                  </a:cubicBezTo>
                  <a:cubicBezTo>
                    <a:pt x="4156" y="727"/>
                    <a:pt x="4156" y="751"/>
                    <a:pt x="4132" y="799"/>
                  </a:cubicBezTo>
                  <a:lnTo>
                    <a:pt x="3680" y="334"/>
                  </a:lnTo>
                  <a:cubicBezTo>
                    <a:pt x="3704" y="322"/>
                    <a:pt x="3751" y="322"/>
                    <a:pt x="3799" y="322"/>
                  </a:cubicBezTo>
                  <a:close/>
                  <a:moveTo>
                    <a:pt x="3406" y="549"/>
                  </a:moveTo>
                  <a:lnTo>
                    <a:pt x="3930" y="1061"/>
                  </a:lnTo>
                  <a:lnTo>
                    <a:pt x="3823" y="1168"/>
                  </a:lnTo>
                  <a:lnTo>
                    <a:pt x="3299" y="656"/>
                  </a:lnTo>
                  <a:lnTo>
                    <a:pt x="3406" y="549"/>
                  </a:lnTo>
                  <a:close/>
                  <a:moveTo>
                    <a:pt x="584" y="3489"/>
                  </a:moveTo>
                  <a:lnTo>
                    <a:pt x="953" y="3870"/>
                  </a:lnTo>
                  <a:lnTo>
                    <a:pt x="417" y="4025"/>
                  </a:lnTo>
                  <a:lnTo>
                    <a:pt x="417" y="4025"/>
                  </a:lnTo>
                  <a:lnTo>
                    <a:pt x="584" y="3489"/>
                  </a:lnTo>
                  <a:close/>
                  <a:moveTo>
                    <a:pt x="3799" y="1"/>
                  </a:moveTo>
                  <a:cubicBezTo>
                    <a:pt x="3608" y="1"/>
                    <a:pt x="3442" y="72"/>
                    <a:pt x="3299" y="191"/>
                  </a:cubicBezTo>
                  <a:lnTo>
                    <a:pt x="477" y="2989"/>
                  </a:lnTo>
                  <a:cubicBezTo>
                    <a:pt x="441" y="3013"/>
                    <a:pt x="417" y="3049"/>
                    <a:pt x="406" y="3073"/>
                  </a:cubicBezTo>
                  <a:cubicBezTo>
                    <a:pt x="382" y="3085"/>
                    <a:pt x="382" y="3108"/>
                    <a:pt x="370" y="3108"/>
                  </a:cubicBezTo>
                  <a:cubicBezTo>
                    <a:pt x="334" y="3144"/>
                    <a:pt x="322" y="3192"/>
                    <a:pt x="310" y="3228"/>
                  </a:cubicBezTo>
                  <a:lnTo>
                    <a:pt x="13" y="4204"/>
                  </a:lnTo>
                  <a:cubicBezTo>
                    <a:pt x="1" y="4263"/>
                    <a:pt x="13" y="4323"/>
                    <a:pt x="60" y="4371"/>
                  </a:cubicBezTo>
                  <a:cubicBezTo>
                    <a:pt x="84" y="4406"/>
                    <a:pt x="132" y="4418"/>
                    <a:pt x="179" y="4418"/>
                  </a:cubicBezTo>
                  <a:lnTo>
                    <a:pt x="215" y="4418"/>
                  </a:lnTo>
                  <a:lnTo>
                    <a:pt x="1203" y="4120"/>
                  </a:lnTo>
                  <a:cubicBezTo>
                    <a:pt x="1287" y="4085"/>
                    <a:pt x="1382" y="4025"/>
                    <a:pt x="1453" y="3966"/>
                  </a:cubicBezTo>
                  <a:lnTo>
                    <a:pt x="2953" y="2477"/>
                  </a:lnTo>
                  <a:cubicBezTo>
                    <a:pt x="3013" y="2418"/>
                    <a:pt x="3013" y="2311"/>
                    <a:pt x="2953" y="2239"/>
                  </a:cubicBezTo>
                  <a:cubicBezTo>
                    <a:pt x="2930" y="2210"/>
                    <a:pt x="2891" y="2195"/>
                    <a:pt x="2848" y="2195"/>
                  </a:cubicBezTo>
                  <a:cubicBezTo>
                    <a:pt x="2805" y="2195"/>
                    <a:pt x="2757" y="2210"/>
                    <a:pt x="2715" y="2239"/>
                  </a:cubicBezTo>
                  <a:lnTo>
                    <a:pt x="1263" y="3680"/>
                  </a:lnTo>
                  <a:lnTo>
                    <a:pt x="739" y="3168"/>
                  </a:lnTo>
                  <a:lnTo>
                    <a:pt x="3061" y="870"/>
                  </a:lnTo>
                  <a:lnTo>
                    <a:pt x="3584" y="1394"/>
                  </a:lnTo>
                  <a:lnTo>
                    <a:pt x="3180" y="1787"/>
                  </a:lnTo>
                  <a:cubicBezTo>
                    <a:pt x="3120" y="1846"/>
                    <a:pt x="3120" y="1942"/>
                    <a:pt x="3180" y="2025"/>
                  </a:cubicBezTo>
                  <a:cubicBezTo>
                    <a:pt x="3209" y="2055"/>
                    <a:pt x="3251" y="2070"/>
                    <a:pt x="3294" y="2070"/>
                  </a:cubicBezTo>
                  <a:cubicBezTo>
                    <a:pt x="3337" y="2070"/>
                    <a:pt x="3382" y="2055"/>
                    <a:pt x="3418" y="2025"/>
                  </a:cubicBezTo>
                  <a:lnTo>
                    <a:pt x="3906" y="1525"/>
                  </a:lnTo>
                  <a:cubicBezTo>
                    <a:pt x="3930" y="1525"/>
                    <a:pt x="3930" y="1513"/>
                    <a:pt x="3942" y="1513"/>
                  </a:cubicBezTo>
                  <a:cubicBezTo>
                    <a:pt x="3954" y="1501"/>
                    <a:pt x="3954" y="1501"/>
                    <a:pt x="3954" y="1489"/>
                  </a:cubicBezTo>
                  <a:lnTo>
                    <a:pt x="4287" y="1168"/>
                  </a:lnTo>
                  <a:cubicBezTo>
                    <a:pt x="4418" y="1037"/>
                    <a:pt x="4489" y="858"/>
                    <a:pt x="4489" y="680"/>
                  </a:cubicBezTo>
                  <a:cubicBezTo>
                    <a:pt x="4477" y="489"/>
                    <a:pt x="4406" y="322"/>
                    <a:pt x="4275" y="191"/>
                  </a:cubicBezTo>
                  <a:cubicBezTo>
                    <a:pt x="4132" y="72"/>
                    <a:pt x="3977" y="1"/>
                    <a:pt x="3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1" name="Google Shape;12451;p62"/>
            <p:cNvSpPr/>
            <p:nvPr/>
          </p:nvSpPr>
          <p:spPr>
            <a:xfrm>
              <a:off x="3995839" y="2992647"/>
              <a:ext cx="54927" cy="37148"/>
            </a:xfrm>
            <a:custGeom>
              <a:avLst/>
              <a:gdLst/>
              <a:ahLst/>
              <a:cxnLst/>
              <a:rect l="l" t="t" r="r" b="b"/>
              <a:pathLst>
                <a:path w="1727" h="1168" extrusionOk="0">
                  <a:moveTo>
                    <a:pt x="1394" y="346"/>
                  </a:moveTo>
                  <a:lnTo>
                    <a:pt x="1394" y="834"/>
                  </a:lnTo>
                  <a:lnTo>
                    <a:pt x="334" y="834"/>
                  </a:lnTo>
                  <a:lnTo>
                    <a:pt x="334" y="346"/>
                  </a:lnTo>
                  <a:close/>
                  <a:moveTo>
                    <a:pt x="286" y="1"/>
                  </a:moveTo>
                  <a:cubicBezTo>
                    <a:pt x="143" y="1"/>
                    <a:pt x="1" y="144"/>
                    <a:pt x="1" y="286"/>
                  </a:cubicBezTo>
                  <a:lnTo>
                    <a:pt x="1" y="882"/>
                  </a:lnTo>
                  <a:cubicBezTo>
                    <a:pt x="1" y="1037"/>
                    <a:pt x="143" y="1167"/>
                    <a:pt x="286" y="1167"/>
                  </a:cubicBezTo>
                  <a:lnTo>
                    <a:pt x="1453" y="1167"/>
                  </a:lnTo>
                  <a:cubicBezTo>
                    <a:pt x="1596" y="1167"/>
                    <a:pt x="1727" y="1037"/>
                    <a:pt x="1727" y="882"/>
                  </a:cubicBezTo>
                  <a:lnTo>
                    <a:pt x="1727" y="286"/>
                  </a:lnTo>
                  <a:cubicBezTo>
                    <a:pt x="1727" y="144"/>
                    <a:pt x="1596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2" name="Google Shape;12452;p62"/>
            <p:cNvSpPr/>
            <p:nvPr/>
          </p:nvSpPr>
          <p:spPr>
            <a:xfrm>
              <a:off x="4249548" y="2992647"/>
              <a:ext cx="54959" cy="37148"/>
            </a:xfrm>
            <a:custGeom>
              <a:avLst/>
              <a:gdLst/>
              <a:ahLst/>
              <a:cxnLst/>
              <a:rect l="l" t="t" r="r" b="b"/>
              <a:pathLst>
                <a:path w="1728" h="1168" extrusionOk="0">
                  <a:moveTo>
                    <a:pt x="1394" y="346"/>
                  </a:moveTo>
                  <a:lnTo>
                    <a:pt x="1394" y="834"/>
                  </a:lnTo>
                  <a:lnTo>
                    <a:pt x="334" y="834"/>
                  </a:lnTo>
                  <a:lnTo>
                    <a:pt x="334" y="346"/>
                  </a:lnTo>
                  <a:close/>
                  <a:moveTo>
                    <a:pt x="286" y="1"/>
                  </a:moveTo>
                  <a:cubicBezTo>
                    <a:pt x="144" y="1"/>
                    <a:pt x="1" y="144"/>
                    <a:pt x="1" y="286"/>
                  </a:cubicBezTo>
                  <a:lnTo>
                    <a:pt x="1" y="882"/>
                  </a:lnTo>
                  <a:cubicBezTo>
                    <a:pt x="1" y="1037"/>
                    <a:pt x="144" y="1167"/>
                    <a:pt x="286" y="1167"/>
                  </a:cubicBezTo>
                  <a:lnTo>
                    <a:pt x="1453" y="1167"/>
                  </a:lnTo>
                  <a:cubicBezTo>
                    <a:pt x="1596" y="1167"/>
                    <a:pt x="1727" y="1037"/>
                    <a:pt x="1727" y="882"/>
                  </a:cubicBezTo>
                  <a:lnTo>
                    <a:pt x="1727" y="286"/>
                  </a:lnTo>
                  <a:cubicBezTo>
                    <a:pt x="1727" y="144"/>
                    <a:pt x="1596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3" name="Google Shape;12453;p62"/>
            <p:cNvSpPr/>
            <p:nvPr/>
          </p:nvSpPr>
          <p:spPr>
            <a:xfrm>
              <a:off x="3972749" y="2894211"/>
              <a:ext cx="355230" cy="356725"/>
            </a:xfrm>
            <a:custGeom>
              <a:avLst/>
              <a:gdLst/>
              <a:ahLst/>
              <a:cxnLst/>
              <a:rect l="l" t="t" r="r" b="b"/>
              <a:pathLst>
                <a:path w="11169" h="11216" extrusionOk="0">
                  <a:moveTo>
                    <a:pt x="9775" y="0"/>
                  </a:moveTo>
                  <a:cubicBezTo>
                    <a:pt x="9692" y="0"/>
                    <a:pt x="9620" y="83"/>
                    <a:pt x="9620" y="167"/>
                  </a:cubicBezTo>
                  <a:lnTo>
                    <a:pt x="9620" y="560"/>
                  </a:lnTo>
                  <a:cubicBezTo>
                    <a:pt x="9620" y="881"/>
                    <a:pt x="9347" y="1155"/>
                    <a:pt x="9025" y="1155"/>
                  </a:cubicBezTo>
                  <a:lnTo>
                    <a:pt x="6382" y="1155"/>
                  </a:lnTo>
                  <a:cubicBezTo>
                    <a:pt x="5882" y="1155"/>
                    <a:pt x="5453" y="1572"/>
                    <a:pt x="5453" y="2084"/>
                  </a:cubicBezTo>
                  <a:lnTo>
                    <a:pt x="5453" y="2369"/>
                  </a:lnTo>
                  <a:lnTo>
                    <a:pt x="750" y="2369"/>
                  </a:lnTo>
                  <a:cubicBezTo>
                    <a:pt x="346" y="2369"/>
                    <a:pt x="12" y="2703"/>
                    <a:pt x="12" y="3096"/>
                  </a:cubicBezTo>
                  <a:lnTo>
                    <a:pt x="12" y="7596"/>
                  </a:lnTo>
                  <a:cubicBezTo>
                    <a:pt x="12" y="7680"/>
                    <a:pt x="95" y="7763"/>
                    <a:pt x="179" y="7763"/>
                  </a:cubicBezTo>
                  <a:cubicBezTo>
                    <a:pt x="274" y="7763"/>
                    <a:pt x="346" y="7680"/>
                    <a:pt x="346" y="7596"/>
                  </a:cubicBezTo>
                  <a:lnTo>
                    <a:pt x="346" y="4822"/>
                  </a:lnTo>
                  <a:lnTo>
                    <a:pt x="10835" y="4822"/>
                  </a:lnTo>
                  <a:lnTo>
                    <a:pt x="10835" y="10478"/>
                  </a:lnTo>
                  <a:cubicBezTo>
                    <a:pt x="10835" y="10704"/>
                    <a:pt x="10656" y="10882"/>
                    <a:pt x="10430" y="10882"/>
                  </a:cubicBezTo>
                  <a:lnTo>
                    <a:pt x="727" y="10882"/>
                  </a:lnTo>
                  <a:cubicBezTo>
                    <a:pt x="512" y="10882"/>
                    <a:pt x="322" y="10704"/>
                    <a:pt x="322" y="10478"/>
                  </a:cubicBezTo>
                  <a:lnTo>
                    <a:pt x="322" y="8263"/>
                  </a:lnTo>
                  <a:cubicBezTo>
                    <a:pt x="322" y="8180"/>
                    <a:pt x="250" y="8096"/>
                    <a:pt x="167" y="8096"/>
                  </a:cubicBezTo>
                  <a:cubicBezTo>
                    <a:pt x="72" y="8096"/>
                    <a:pt x="0" y="8180"/>
                    <a:pt x="0" y="8263"/>
                  </a:cubicBezTo>
                  <a:lnTo>
                    <a:pt x="0" y="10478"/>
                  </a:lnTo>
                  <a:cubicBezTo>
                    <a:pt x="0" y="10882"/>
                    <a:pt x="322" y="11216"/>
                    <a:pt x="727" y="11216"/>
                  </a:cubicBezTo>
                  <a:lnTo>
                    <a:pt x="10418" y="11216"/>
                  </a:lnTo>
                  <a:cubicBezTo>
                    <a:pt x="10823" y="11216"/>
                    <a:pt x="11144" y="10882"/>
                    <a:pt x="11144" y="10478"/>
                  </a:cubicBezTo>
                  <a:lnTo>
                    <a:pt x="11144" y="3096"/>
                  </a:lnTo>
                  <a:cubicBezTo>
                    <a:pt x="11168" y="2691"/>
                    <a:pt x="10835" y="2369"/>
                    <a:pt x="10430" y="2369"/>
                  </a:cubicBezTo>
                  <a:lnTo>
                    <a:pt x="8823" y="2369"/>
                  </a:lnTo>
                  <a:cubicBezTo>
                    <a:pt x="8739" y="2369"/>
                    <a:pt x="8668" y="2441"/>
                    <a:pt x="8668" y="2536"/>
                  </a:cubicBezTo>
                  <a:cubicBezTo>
                    <a:pt x="8668" y="2619"/>
                    <a:pt x="8739" y="2703"/>
                    <a:pt x="8823" y="2703"/>
                  </a:cubicBezTo>
                  <a:lnTo>
                    <a:pt x="10430" y="2703"/>
                  </a:lnTo>
                  <a:cubicBezTo>
                    <a:pt x="10656" y="2703"/>
                    <a:pt x="10835" y="2881"/>
                    <a:pt x="10835" y="3096"/>
                  </a:cubicBezTo>
                  <a:lnTo>
                    <a:pt x="10835" y="4501"/>
                  </a:lnTo>
                  <a:lnTo>
                    <a:pt x="346" y="4501"/>
                  </a:lnTo>
                  <a:lnTo>
                    <a:pt x="346" y="3096"/>
                  </a:lnTo>
                  <a:cubicBezTo>
                    <a:pt x="346" y="2881"/>
                    <a:pt x="524" y="2703"/>
                    <a:pt x="750" y="2703"/>
                  </a:cubicBezTo>
                  <a:lnTo>
                    <a:pt x="8168" y="2703"/>
                  </a:lnTo>
                  <a:cubicBezTo>
                    <a:pt x="8263" y="2703"/>
                    <a:pt x="8335" y="2619"/>
                    <a:pt x="8335" y="2536"/>
                  </a:cubicBezTo>
                  <a:cubicBezTo>
                    <a:pt x="8335" y="2441"/>
                    <a:pt x="8263" y="2369"/>
                    <a:pt x="8168" y="2369"/>
                  </a:cubicBezTo>
                  <a:lnTo>
                    <a:pt x="5775" y="2369"/>
                  </a:lnTo>
                  <a:lnTo>
                    <a:pt x="5775" y="2084"/>
                  </a:lnTo>
                  <a:cubicBezTo>
                    <a:pt x="5775" y="1762"/>
                    <a:pt x="6049" y="1488"/>
                    <a:pt x="6370" y="1488"/>
                  </a:cubicBezTo>
                  <a:lnTo>
                    <a:pt x="9001" y="1488"/>
                  </a:lnTo>
                  <a:cubicBezTo>
                    <a:pt x="9513" y="1488"/>
                    <a:pt x="9942" y="1072"/>
                    <a:pt x="9942" y="560"/>
                  </a:cubicBezTo>
                  <a:lnTo>
                    <a:pt x="9942" y="167"/>
                  </a:lnTo>
                  <a:cubicBezTo>
                    <a:pt x="9942" y="83"/>
                    <a:pt x="9871" y="0"/>
                    <a:pt x="9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54" name="Google Shape;12454;p62"/>
          <p:cNvGrpSpPr/>
          <p:nvPr/>
        </p:nvGrpSpPr>
        <p:grpSpPr>
          <a:xfrm>
            <a:off x="3527797" y="2918796"/>
            <a:ext cx="355993" cy="307904"/>
            <a:chOff x="3527797" y="2918796"/>
            <a:chExt cx="355993" cy="307904"/>
          </a:xfrm>
        </p:grpSpPr>
        <p:sp>
          <p:nvSpPr>
            <p:cNvPr id="12455" name="Google Shape;12455;p62"/>
            <p:cNvSpPr/>
            <p:nvPr/>
          </p:nvSpPr>
          <p:spPr>
            <a:xfrm>
              <a:off x="3527797" y="2918796"/>
              <a:ext cx="355993" cy="307904"/>
            </a:xfrm>
            <a:custGeom>
              <a:avLst/>
              <a:gdLst/>
              <a:ahLst/>
              <a:cxnLst/>
              <a:rect l="l" t="t" r="r" b="b"/>
              <a:pathLst>
                <a:path w="11193" h="9681" extrusionOk="0">
                  <a:moveTo>
                    <a:pt x="6966" y="3597"/>
                  </a:moveTo>
                  <a:lnTo>
                    <a:pt x="7692" y="4216"/>
                  </a:lnTo>
                  <a:cubicBezTo>
                    <a:pt x="7620" y="4311"/>
                    <a:pt x="7525" y="4382"/>
                    <a:pt x="7454" y="4466"/>
                  </a:cubicBezTo>
                  <a:cubicBezTo>
                    <a:pt x="7335" y="4371"/>
                    <a:pt x="6799" y="3906"/>
                    <a:pt x="6763" y="3870"/>
                  </a:cubicBezTo>
                  <a:cubicBezTo>
                    <a:pt x="6858" y="3740"/>
                    <a:pt x="6966" y="3609"/>
                    <a:pt x="6966" y="3597"/>
                  </a:cubicBezTo>
                  <a:close/>
                  <a:moveTo>
                    <a:pt x="10549" y="322"/>
                  </a:moveTo>
                  <a:cubicBezTo>
                    <a:pt x="10716" y="322"/>
                    <a:pt x="10871" y="453"/>
                    <a:pt x="10871" y="632"/>
                  </a:cubicBezTo>
                  <a:lnTo>
                    <a:pt x="10871" y="4347"/>
                  </a:lnTo>
                  <a:cubicBezTo>
                    <a:pt x="10871" y="4513"/>
                    <a:pt x="10728" y="4668"/>
                    <a:pt x="10549" y="4668"/>
                  </a:cubicBezTo>
                  <a:lnTo>
                    <a:pt x="7716" y="4668"/>
                  </a:lnTo>
                  <a:cubicBezTo>
                    <a:pt x="7716" y="4668"/>
                    <a:pt x="7811" y="4561"/>
                    <a:pt x="7870" y="4490"/>
                  </a:cubicBezTo>
                  <a:cubicBezTo>
                    <a:pt x="7894" y="4454"/>
                    <a:pt x="9383" y="3073"/>
                    <a:pt x="9835" y="1227"/>
                  </a:cubicBezTo>
                  <a:cubicBezTo>
                    <a:pt x="9874" y="1091"/>
                    <a:pt x="9769" y="970"/>
                    <a:pt x="9645" y="970"/>
                  </a:cubicBezTo>
                  <a:cubicBezTo>
                    <a:pt x="9618" y="970"/>
                    <a:pt x="9589" y="976"/>
                    <a:pt x="9561" y="989"/>
                  </a:cubicBezTo>
                  <a:cubicBezTo>
                    <a:pt x="8930" y="1251"/>
                    <a:pt x="8311" y="1668"/>
                    <a:pt x="7716" y="2239"/>
                  </a:cubicBezTo>
                  <a:cubicBezTo>
                    <a:pt x="7656" y="2299"/>
                    <a:pt x="7632" y="2406"/>
                    <a:pt x="7716" y="2477"/>
                  </a:cubicBezTo>
                  <a:cubicBezTo>
                    <a:pt x="7747" y="2509"/>
                    <a:pt x="7788" y="2527"/>
                    <a:pt x="7831" y="2527"/>
                  </a:cubicBezTo>
                  <a:cubicBezTo>
                    <a:pt x="7871" y="2527"/>
                    <a:pt x="7914" y="2512"/>
                    <a:pt x="7954" y="2477"/>
                  </a:cubicBezTo>
                  <a:cubicBezTo>
                    <a:pt x="8442" y="2013"/>
                    <a:pt x="8930" y="1656"/>
                    <a:pt x="9454" y="1406"/>
                  </a:cubicBezTo>
                  <a:lnTo>
                    <a:pt x="9454" y="1406"/>
                  </a:lnTo>
                  <a:cubicBezTo>
                    <a:pt x="9180" y="2251"/>
                    <a:pt x="8668" y="3097"/>
                    <a:pt x="7918" y="3954"/>
                  </a:cubicBezTo>
                  <a:lnTo>
                    <a:pt x="7180" y="3311"/>
                  </a:lnTo>
                  <a:cubicBezTo>
                    <a:pt x="7275" y="3180"/>
                    <a:pt x="7382" y="3061"/>
                    <a:pt x="7501" y="2942"/>
                  </a:cubicBezTo>
                  <a:cubicBezTo>
                    <a:pt x="7561" y="2858"/>
                    <a:pt x="7561" y="2763"/>
                    <a:pt x="7489" y="2704"/>
                  </a:cubicBezTo>
                  <a:cubicBezTo>
                    <a:pt x="7455" y="2675"/>
                    <a:pt x="7413" y="2660"/>
                    <a:pt x="7372" y="2660"/>
                  </a:cubicBezTo>
                  <a:cubicBezTo>
                    <a:pt x="7327" y="2660"/>
                    <a:pt x="7282" y="2678"/>
                    <a:pt x="7251" y="2716"/>
                  </a:cubicBezTo>
                  <a:cubicBezTo>
                    <a:pt x="7013" y="2966"/>
                    <a:pt x="6775" y="3263"/>
                    <a:pt x="6549" y="3561"/>
                  </a:cubicBezTo>
                  <a:cubicBezTo>
                    <a:pt x="6549" y="3573"/>
                    <a:pt x="6346" y="3835"/>
                    <a:pt x="6025" y="4335"/>
                  </a:cubicBezTo>
                  <a:cubicBezTo>
                    <a:pt x="5998" y="4333"/>
                    <a:pt x="5970" y="4332"/>
                    <a:pt x="5943" y="4332"/>
                  </a:cubicBezTo>
                  <a:cubicBezTo>
                    <a:pt x="5648" y="4332"/>
                    <a:pt x="5352" y="4447"/>
                    <a:pt x="5156" y="4632"/>
                  </a:cubicBezTo>
                  <a:lnTo>
                    <a:pt x="643" y="4632"/>
                  </a:lnTo>
                  <a:cubicBezTo>
                    <a:pt x="477" y="4632"/>
                    <a:pt x="334" y="4502"/>
                    <a:pt x="334" y="4323"/>
                  </a:cubicBezTo>
                  <a:lnTo>
                    <a:pt x="334" y="632"/>
                  </a:lnTo>
                  <a:cubicBezTo>
                    <a:pt x="334" y="465"/>
                    <a:pt x="465" y="322"/>
                    <a:pt x="643" y="322"/>
                  </a:cubicBezTo>
                  <a:close/>
                  <a:moveTo>
                    <a:pt x="6585" y="4132"/>
                  </a:moveTo>
                  <a:lnTo>
                    <a:pt x="7216" y="4692"/>
                  </a:lnTo>
                  <a:cubicBezTo>
                    <a:pt x="7192" y="4728"/>
                    <a:pt x="7085" y="4811"/>
                    <a:pt x="6954" y="4930"/>
                  </a:cubicBezTo>
                  <a:cubicBezTo>
                    <a:pt x="6894" y="4823"/>
                    <a:pt x="6823" y="4740"/>
                    <a:pt x="6727" y="4668"/>
                  </a:cubicBezTo>
                  <a:cubicBezTo>
                    <a:pt x="6620" y="4573"/>
                    <a:pt x="6537" y="4502"/>
                    <a:pt x="6382" y="4442"/>
                  </a:cubicBezTo>
                  <a:cubicBezTo>
                    <a:pt x="6489" y="4275"/>
                    <a:pt x="6561" y="4156"/>
                    <a:pt x="6585" y="4132"/>
                  </a:cubicBezTo>
                  <a:close/>
                  <a:moveTo>
                    <a:pt x="3598" y="5673"/>
                  </a:moveTo>
                  <a:cubicBezTo>
                    <a:pt x="3791" y="5673"/>
                    <a:pt x="3971" y="5794"/>
                    <a:pt x="4049" y="5978"/>
                  </a:cubicBezTo>
                  <a:cubicBezTo>
                    <a:pt x="3941" y="6002"/>
                    <a:pt x="3703" y="6061"/>
                    <a:pt x="3584" y="6085"/>
                  </a:cubicBezTo>
                  <a:cubicBezTo>
                    <a:pt x="3382" y="6121"/>
                    <a:pt x="3310" y="6407"/>
                    <a:pt x="3453" y="6549"/>
                  </a:cubicBezTo>
                  <a:cubicBezTo>
                    <a:pt x="3501" y="6597"/>
                    <a:pt x="3548" y="6633"/>
                    <a:pt x="3584" y="6657"/>
                  </a:cubicBezTo>
                  <a:cubicBezTo>
                    <a:pt x="3382" y="6657"/>
                    <a:pt x="3191" y="6514"/>
                    <a:pt x="3132" y="6299"/>
                  </a:cubicBezTo>
                  <a:cubicBezTo>
                    <a:pt x="3048" y="6037"/>
                    <a:pt x="3203" y="5764"/>
                    <a:pt x="3465" y="5692"/>
                  </a:cubicBezTo>
                  <a:cubicBezTo>
                    <a:pt x="3509" y="5679"/>
                    <a:pt x="3554" y="5673"/>
                    <a:pt x="3598" y="5673"/>
                  </a:cubicBezTo>
                  <a:close/>
                  <a:moveTo>
                    <a:pt x="5952" y="4675"/>
                  </a:moveTo>
                  <a:cubicBezTo>
                    <a:pt x="6182" y="4675"/>
                    <a:pt x="6411" y="4777"/>
                    <a:pt x="6596" y="4990"/>
                  </a:cubicBezTo>
                  <a:cubicBezTo>
                    <a:pt x="6954" y="5406"/>
                    <a:pt x="6799" y="6061"/>
                    <a:pt x="6275" y="6383"/>
                  </a:cubicBezTo>
                  <a:cubicBezTo>
                    <a:pt x="6275" y="6383"/>
                    <a:pt x="5930" y="6609"/>
                    <a:pt x="5430" y="6716"/>
                  </a:cubicBezTo>
                  <a:cubicBezTo>
                    <a:pt x="5346" y="6728"/>
                    <a:pt x="5287" y="6823"/>
                    <a:pt x="5299" y="6907"/>
                  </a:cubicBezTo>
                  <a:cubicBezTo>
                    <a:pt x="5309" y="6988"/>
                    <a:pt x="5379" y="7043"/>
                    <a:pt x="5451" y="7043"/>
                  </a:cubicBezTo>
                  <a:cubicBezTo>
                    <a:pt x="5464" y="7043"/>
                    <a:pt x="5477" y="7041"/>
                    <a:pt x="5489" y="7038"/>
                  </a:cubicBezTo>
                  <a:cubicBezTo>
                    <a:pt x="6037" y="6918"/>
                    <a:pt x="6430" y="6668"/>
                    <a:pt x="6442" y="6668"/>
                  </a:cubicBezTo>
                  <a:cubicBezTo>
                    <a:pt x="6573" y="6585"/>
                    <a:pt x="6692" y="6478"/>
                    <a:pt x="6799" y="6359"/>
                  </a:cubicBezTo>
                  <a:cubicBezTo>
                    <a:pt x="6894" y="6716"/>
                    <a:pt x="7216" y="6966"/>
                    <a:pt x="7585" y="6966"/>
                  </a:cubicBezTo>
                  <a:cubicBezTo>
                    <a:pt x="7644" y="6966"/>
                    <a:pt x="7728" y="6954"/>
                    <a:pt x="7787" y="6942"/>
                  </a:cubicBezTo>
                  <a:cubicBezTo>
                    <a:pt x="7870" y="6918"/>
                    <a:pt x="7930" y="6835"/>
                    <a:pt x="7906" y="6740"/>
                  </a:cubicBezTo>
                  <a:cubicBezTo>
                    <a:pt x="7886" y="6669"/>
                    <a:pt x="7823" y="6616"/>
                    <a:pt x="7746" y="6616"/>
                  </a:cubicBezTo>
                  <a:cubicBezTo>
                    <a:pt x="7732" y="6616"/>
                    <a:pt x="7718" y="6617"/>
                    <a:pt x="7704" y="6621"/>
                  </a:cubicBezTo>
                  <a:cubicBezTo>
                    <a:pt x="7661" y="6632"/>
                    <a:pt x="7619" y="6638"/>
                    <a:pt x="7578" y="6638"/>
                  </a:cubicBezTo>
                  <a:cubicBezTo>
                    <a:pt x="7318" y="6638"/>
                    <a:pt x="7097" y="6422"/>
                    <a:pt x="7097" y="6145"/>
                  </a:cubicBezTo>
                  <a:cubicBezTo>
                    <a:pt x="7097" y="5883"/>
                    <a:pt x="7323" y="5656"/>
                    <a:pt x="7585" y="5656"/>
                  </a:cubicBezTo>
                  <a:cubicBezTo>
                    <a:pt x="7930" y="5656"/>
                    <a:pt x="8168" y="5990"/>
                    <a:pt x="8049" y="6311"/>
                  </a:cubicBezTo>
                  <a:cubicBezTo>
                    <a:pt x="8025" y="6407"/>
                    <a:pt x="8061" y="6490"/>
                    <a:pt x="8156" y="6526"/>
                  </a:cubicBezTo>
                  <a:cubicBezTo>
                    <a:pt x="8171" y="6530"/>
                    <a:pt x="8186" y="6532"/>
                    <a:pt x="8200" y="6532"/>
                  </a:cubicBezTo>
                  <a:cubicBezTo>
                    <a:pt x="8271" y="6532"/>
                    <a:pt x="8339" y="6487"/>
                    <a:pt x="8359" y="6418"/>
                  </a:cubicBezTo>
                  <a:cubicBezTo>
                    <a:pt x="8569" y="5825"/>
                    <a:pt x="8085" y="5329"/>
                    <a:pt x="7564" y="5329"/>
                  </a:cubicBezTo>
                  <a:cubicBezTo>
                    <a:pt x="7406" y="5329"/>
                    <a:pt x="7244" y="5375"/>
                    <a:pt x="7097" y="5478"/>
                  </a:cubicBezTo>
                  <a:cubicBezTo>
                    <a:pt x="7097" y="5406"/>
                    <a:pt x="7085" y="5311"/>
                    <a:pt x="7073" y="5240"/>
                  </a:cubicBezTo>
                  <a:cubicBezTo>
                    <a:pt x="7156" y="5168"/>
                    <a:pt x="7263" y="5073"/>
                    <a:pt x="7347" y="4990"/>
                  </a:cubicBezTo>
                  <a:lnTo>
                    <a:pt x="10537" y="4990"/>
                  </a:lnTo>
                  <a:cubicBezTo>
                    <a:pt x="10704" y="4990"/>
                    <a:pt x="10847" y="5121"/>
                    <a:pt x="10847" y="5299"/>
                  </a:cubicBezTo>
                  <a:lnTo>
                    <a:pt x="10847" y="9038"/>
                  </a:lnTo>
                  <a:lnTo>
                    <a:pt x="10871" y="9038"/>
                  </a:lnTo>
                  <a:cubicBezTo>
                    <a:pt x="10871" y="9204"/>
                    <a:pt x="10728" y="9347"/>
                    <a:pt x="10549" y="9347"/>
                  </a:cubicBezTo>
                  <a:lnTo>
                    <a:pt x="643" y="9347"/>
                  </a:lnTo>
                  <a:cubicBezTo>
                    <a:pt x="477" y="9347"/>
                    <a:pt x="322" y="9216"/>
                    <a:pt x="322" y="9038"/>
                  </a:cubicBezTo>
                  <a:lnTo>
                    <a:pt x="322" y="5323"/>
                  </a:lnTo>
                  <a:cubicBezTo>
                    <a:pt x="322" y="5156"/>
                    <a:pt x="465" y="5002"/>
                    <a:pt x="643" y="5002"/>
                  </a:cubicBezTo>
                  <a:lnTo>
                    <a:pt x="4882" y="5002"/>
                  </a:lnTo>
                  <a:cubicBezTo>
                    <a:pt x="4703" y="5335"/>
                    <a:pt x="4822" y="5525"/>
                    <a:pt x="4358" y="5835"/>
                  </a:cubicBezTo>
                  <a:cubicBezTo>
                    <a:pt x="4224" y="5538"/>
                    <a:pt x="3935" y="5348"/>
                    <a:pt x="3616" y="5348"/>
                  </a:cubicBezTo>
                  <a:cubicBezTo>
                    <a:pt x="3539" y="5348"/>
                    <a:pt x="3460" y="5359"/>
                    <a:pt x="3382" y="5383"/>
                  </a:cubicBezTo>
                  <a:cubicBezTo>
                    <a:pt x="2953" y="5490"/>
                    <a:pt x="2691" y="5954"/>
                    <a:pt x="2810" y="6383"/>
                  </a:cubicBezTo>
                  <a:cubicBezTo>
                    <a:pt x="2916" y="6753"/>
                    <a:pt x="3250" y="6986"/>
                    <a:pt x="3604" y="6986"/>
                  </a:cubicBezTo>
                  <a:cubicBezTo>
                    <a:pt x="3729" y="6986"/>
                    <a:pt x="3856" y="6957"/>
                    <a:pt x="3977" y="6895"/>
                  </a:cubicBezTo>
                  <a:cubicBezTo>
                    <a:pt x="4227" y="7014"/>
                    <a:pt x="4489" y="7085"/>
                    <a:pt x="4775" y="7097"/>
                  </a:cubicBezTo>
                  <a:lnTo>
                    <a:pt x="4787" y="7097"/>
                  </a:lnTo>
                  <a:cubicBezTo>
                    <a:pt x="4882" y="7097"/>
                    <a:pt x="4953" y="7026"/>
                    <a:pt x="4953" y="6954"/>
                  </a:cubicBezTo>
                  <a:cubicBezTo>
                    <a:pt x="4953" y="6859"/>
                    <a:pt x="4894" y="6788"/>
                    <a:pt x="4811" y="6776"/>
                  </a:cubicBezTo>
                  <a:cubicBezTo>
                    <a:pt x="4441" y="6740"/>
                    <a:pt x="4096" y="6609"/>
                    <a:pt x="3798" y="6371"/>
                  </a:cubicBezTo>
                  <a:cubicBezTo>
                    <a:pt x="4287" y="6252"/>
                    <a:pt x="4715" y="6121"/>
                    <a:pt x="4989" y="5668"/>
                  </a:cubicBezTo>
                  <a:cubicBezTo>
                    <a:pt x="5049" y="5573"/>
                    <a:pt x="5072" y="5466"/>
                    <a:pt x="5108" y="5359"/>
                  </a:cubicBezTo>
                  <a:cubicBezTo>
                    <a:pt x="5168" y="5156"/>
                    <a:pt x="5192" y="5121"/>
                    <a:pt x="5299" y="4990"/>
                  </a:cubicBezTo>
                  <a:cubicBezTo>
                    <a:pt x="5346" y="4930"/>
                    <a:pt x="5406" y="4883"/>
                    <a:pt x="5465" y="4835"/>
                  </a:cubicBezTo>
                  <a:cubicBezTo>
                    <a:pt x="5616" y="4729"/>
                    <a:pt x="5784" y="4675"/>
                    <a:pt x="5952" y="4675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lnTo>
                    <a:pt x="0" y="4359"/>
                  </a:lnTo>
                  <a:cubicBezTo>
                    <a:pt x="0" y="4561"/>
                    <a:pt x="72" y="4716"/>
                    <a:pt x="215" y="4847"/>
                  </a:cubicBezTo>
                  <a:cubicBezTo>
                    <a:pt x="72" y="4954"/>
                    <a:pt x="0" y="5121"/>
                    <a:pt x="0" y="5323"/>
                  </a:cubicBezTo>
                  <a:lnTo>
                    <a:pt x="0" y="9038"/>
                  </a:lnTo>
                  <a:cubicBezTo>
                    <a:pt x="0" y="9395"/>
                    <a:pt x="286" y="9681"/>
                    <a:pt x="643" y="9681"/>
                  </a:cubicBezTo>
                  <a:lnTo>
                    <a:pt x="10549" y="9681"/>
                  </a:lnTo>
                  <a:cubicBezTo>
                    <a:pt x="10907" y="9681"/>
                    <a:pt x="11192" y="9395"/>
                    <a:pt x="11192" y="9038"/>
                  </a:cubicBezTo>
                  <a:lnTo>
                    <a:pt x="11192" y="5323"/>
                  </a:lnTo>
                  <a:cubicBezTo>
                    <a:pt x="11192" y="5121"/>
                    <a:pt x="11121" y="4966"/>
                    <a:pt x="10990" y="4847"/>
                  </a:cubicBezTo>
                  <a:cubicBezTo>
                    <a:pt x="11121" y="4728"/>
                    <a:pt x="11192" y="4561"/>
                    <a:pt x="11192" y="4359"/>
                  </a:cubicBezTo>
                  <a:lnTo>
                    <a:pt x="11192" y="644"/>
                  </a:lnTo>
                  <a:cubicBezTo>
                    <a:pt x="11192" y="287"/>
                    <a:pt x="10907" y="1"/>
                    <a:pt x="10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6" name="Google Shape;12456;p62"/>
            <p:cNvSpPr/>
            <p:nvPr/>
          </p:nvSpPr>
          <p:spPr>
            <a:xfrm>
              <a:off x="3552414" y="3088826"/>
              <a:ext cx="52669" cy="52224"/>
            </a:xfrm>
            <a:custGeom>
              <a:avLst/>
              <a:gdLst/>
              <a:ahLst/>
              <a:cxnLst/>
              <a:rect l="l" t="t" r="r" b="b"/>
              <a:pathLst>
                <a:path w="1656" h="1642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7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19" y="1608"/>
                    <a:pt x="1179" y="1513"/>
                    <a:pt x="1143" y="1430"/>
                  </a:cubicBezTo>
                  <a:cubicBezTo>
                    <a:pt x="1133" y="1351"/>
                    <a:pt x="1066" y="1304"/>
                    <a:pt x="996" y="1304"/>
                  </a:cubicBezTo>
                  <a:cubicBezTo>
                    <a:pt x="982" y="1304"/>
                    <a:pt x="967" y="1306"/>
                    <a:pt x="953" y="1311"/>
                  </a:cubicBezTo>
                  <a:cubicBezTo>
                    <a:pt x="915" y="1319"/>
                    <a:pt x="878" y="1323"/>
                    <a:pt x="841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2" y="1084"/>
                    <a:pt x="1310" y="1180"/>
                    <a:pt x="1405" y="1203"/>
                  </a:cubicBezTo>
                  <a:cubicBezTo>
                    <a:pt x="1424" y="1211"/>
                    <a:pt x="1443" y="1215"/>
                    <a:pt x="1462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643" y="1013"/>
                    <a:pt x="1655" y="918"/>
                    <a:pt x="1655" y="834"/>
                  </a:cubicBezTo>
                  <a:cubicBezTo>
                    <a:pt x="1655" y="358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7" name="Google Shape;12457;p62"/>
            <p:cNvSpPr/>
            <p:nvPr/>
          </p:nvSpPr>
          <p:spPr>
            <a:xfrm>
              <a:off x="3552414" y="3153199"/>
              <a:ext cx="52669" cy="52256"/>
            </a:xfrm>
            <a:custGeom>
              <a:avLst/>
              <a:gdLst/>
              <a:ahLst/>
              <a:cxnLst/>
              <a:rect l="l" t="t" r="r" b="b"/>
              <a:pathLst>
                <a:path w="1656" h="1643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7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19" y="1608"/>
                    <a:pt x="1179" y="1513"/>
                    <a:pt x="1143" y="1430"/>
                  </a:cubicBezTo>
                  <a:cubicBezTo>
                    <a:pt x="1133" y="1359"/>
                    <a:pt x="1063" y="1305"/>
                    <a:pt x="991" y="1305"/>
                  </a:cubicBezTo>
                  <a:cubicBezTo>
                    <a:pt x="978" y="1305"/>
                    <a:pt x="965" y="1307"/>
                    <a:pt x="953" y="1311"/>
                  </a:cubicBezTo>
                  <a:cubicBezTo>
                    <a:pt x="915" y="1319"/>
                    <a:pt x="878" y="1323"/>
                    <a:pt x="841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2" y="1084"/>
                    <a:pt x="1310" y="1180"/>
                    <a:pt x="1405" y="1203"/>
                  </a:cubicBezTo>
                  <a:cubicBezTo>
                    <a:pt x="1424" y="1211"/>
                    <a:pt x="1443" y="1215"/>
                    <a:pt x="1462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643" y="1013"/>
                    <a:pt x="1655" y="918"/>
                    <a:pt x="1655" y="834"/>
                  </a:cubicBezTo>
                  <a:cubicBezTo>
                    <a:pt x="1655" y="358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8" name="Google Shape;12458;p62"/>
            <p:cNvSpPr/>
            <p:nvPr/>
          </p:nvSpPr>
          <p:spPr>
            <a:xfrm>
              <a:off x="3616024" y="3153199"/>
              <a:ext cx="52287" cy="52256"/>
            </a:xfrm>
            <a:custGeom>
              <a:avLst/>
              <a:gdLst/>
              <a:ahLst/>
              <a:cxnLst/>
              <a:rect l="l" t="t" r="r" b="b"/>
              <a:pathLst>
                <a:path w="1644" h="1643" extrusionOk="0">
                  <a:moveTo>
                    <a:pt x="834" y="1"/>
                  </a:moveTo>
                  <a:cubicBezTo>
                    <a:pt x="370" y="1"/>
                    <a:pt x="1" y="370"/>
                    <a:pt x="1" y="822"/>
                  </a:cubicBezTo>
                  <a:cubicBezTo>
                    <a:pt x="1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08" y="1608"/>
                    <a:pt x="1167" y="1513"/>
                    <a:pt x="1144" y="1430"/>
                  </a:cubicBezTo>
                  <a:cubicBezTo>
                    <a:pt x="1123" y="1359"/>
                    <a:pt x="1060" y="1305"/>
                    <a:pt x="991" y="1305"/>
                  </a:cubicBezTo>
                  <a:cubicBezTo>
                    <a:pt x="978" y="1305"/>
                    <a:pt x="966" y="1307"/>
                    <a:pt x="953" y="1311"/>
                  </a:cubicBezTo>
                  <a:cubicBezTo>
                    <a:pt x="914" y="1319"/>
                    <a:pt x="876" y="1323"/>
                    <a:pt x="838" y="1323"/>
                  </a:cubicBezTo>
                  <a:cubicBezTo>
                    <a:pt x="564" y="1323"/>
                    <a:pt x="334" y="1106"/>
                    <a:pt x="334" y="834"/>
                  </a:cubicBezTo>
                  <a:cubicBezTo>
                    <a:pt x="334" y="572"/>
                    <a:pt x="560" y="346"/>
                    <a:pt x="822" y="346"/>
                  </a:cubicBezTo>
                  <a:cubicBezTo>
                    <a:pt x="1167" y="346"/>
                    <a:pt x="1405" y="668"/>
                    <a:pt x="1286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6" y="1215"/>
                  </a:cubicBezTo>
                  <a:cubicBezTo>
                    <a:pt x="1524" y="1215"/>
                    <a:pt x="1580" y="1170"/>
                    <a:pt x="1608" y="1096"/>
                  </a:cubicBezTo>
                  <a:cubicBezTo>
                    <a:pt x="1632" y="1013"/>
                    <a:pt x="1644" y="918"/>
                    <a:pt x="1644" y="834"/>
                  </a:cubicBezTo>
                  <a:cubicBezTo>
                    <a:pt x="1644" y="358"/>
                    <a:pt x="127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9" name="Google Shape;12459;p62"/>
            <p:cNvSpPr/>
            <p:nvPr/>
          </p:nvSpPr>
          <p:spPr>
            <a:xfrm>
              <a:off x="3679252" y="3153199"/>
              <a:ext cx="57217" cy="52256"/>
            </a:xfrm>
            <a:custGeom>
              <a:avLst/>
              <a:gdLst/>
              <a:ahLst/>
              <a:cxnLst/>
              <a:rect l="l" t="t" r="r" b="b"/>
              <a:pathLst>
                <a:path w="1799" h="1643" extrusionOk="0">
                  <a:moveTo>
                    <a:pt x="834" y="1"/>
                  </a:moveTo>
                  <a:cubicBezTo>
                    <a:pt x="370" y="1"/>
                    <a:pt x="1" y="370"/>
                    <a:pt x="1" y="822"/>
                  </a:cubicBezTo>
                  <a:cubicBezTo>
                    <a:pt x="1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5" y="1620"/>
                  </a:cubicBezTo>
                  <a:cubicBezTo>
                    <a:pt x="1120" y="1608"/>
                    <a:pt x="1180" y="1513"/>
                    <a:pt x="1144" y="1430"/>
                  </a:cubicBezTo>
                  <a:cubicBezTo>
                    <a:pt x="1134" y="1359"/>
                    <a:pt x="1064" y="1305"/>
                    <a:pt x="992" y="1305"/>
                  </a:cubicBezTo>
                  <a:cubicBezTo>
                    <a:pt x="979" y="1305"/>
                    <a:pt x="966" y="1307"/>
                    <a:pt x="953" y="1311"/>
                  </a:cubicBezTo>
                  <a:cubicBezTo>
                    <a:pt x="916" y="1319"/>
                    <a:pt x="879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80" y="346"/>
                    <a:pt x="1418" y="668"/>
                    <a:pt x="1299" y="1001"/>
                  </a:cubicBezTo>
                  <a:cubicBezTo>
                    <a:pt x="1263" y="1084"/>
                    <a:pt x="1311" y="1180"/>
                    <a:pt x="1406" y="1203"/>
                  </a:cubicBezTo>
                  <a:cubicBezTo>
                    <a:pt x="1425" y="1211"/>
                    <a:pt x="1444" y="1215"/>
                    <a:pt x="1463" y="1215"/>
                  </a:cubicBezTo>
                  <a:cubicBezTo>
                    <a:pt x="1528" y="1215"/>
                    <a:pt x="1590" y="1170"/>
                    <a:pt x="1608" y="1096"/>
                  </a:cubicBezTo>
                  <a:cubicBezTo>
                    <a:pt x="1799" y="549"/>
                    <a:pt x="140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0" name="Google Shape;12460;p62"/>
            <p:cNvSpPr/>
            <p:nvPr/>
          </p:nvSpPr>
          <p:spPr>
            <a:xfrm>
              <a:off x="3742894" y="3153199"/>
              <a:ext cx="57185" cy="52256"/>
            </a:xfrm>
            <a:custGeom>
              <a:avLst/>
              <a:gdLst/>
              <a:ahLst/>
              <a:cxnLst/>
              <a:rect l="l" t="t" r="r" b="b"/>
              <a:pathLst>
                <a:path w="1798" h="1643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4" y="1642"/>
                    <a:pt x="827" y="1642"/>
                  </a:cubicBezTo>
                  <a:cubicBezTo>
                    <a:pt x="892" y="1642"/>
                    <a:pt x="957" y="1635"/>
                    <a:pt x="1024" y="1620"/>
                  </a:cubicBezTo>
                  <a:cubicBezTo>
                    <a:pt x="1107" y="1608"/>
                    <a:pt x="1167" y="1513"/>
                    <a:pt x="1143" y="1430"/>
                  </a:cubicBezTo>
                  <a:cubicBezTo>
                    <a:pt x="1123" y="1359"/>
                    <a:pt x="1060" y="1305"/>
                    <a:pt x="990" y="1305"/>
                  </a:cubicBezTo>
                  <a:cubicBezTo>
                    <a:pt x="978" y="1305"/>
                    <a:pt x="965" y="1307"/>
                    <a:pt x="953" y="1311"/>
                  </a:cubicBezTo>
                  <a:cubicBezTo>
                    <a:pt x="914" y="1319"/>
                    <a:pt x="875" y="1323"/>
                    <a:pt x="837" y="1323"/>
                  </a:cubicBezTo>
                  <a:cubicBezTo>
                    <a:pt x="563" y="1323"/>
                    <a:pt x="334" y="1106"/>
                    <a:pt x="334" y="834"/>
                  </a:cubicBezTo>
                  <a:cubicBezTo>
                    <a:pt x="334" y="572"/>
                    <a:pt x="560" y="346"/>
                    <a:pt x="822" y="346"/>
                  </a:cubicBezTo>
                  <a:cubicBezTo>
                    <a:pt x="1167" y="346"/>
                    <a:pt x="1405" y="668"/>
                    <a:pt x="1286" y="1001"/>
                  </a:cubicBezTo>
                  <a:cubicBezTo>
                    <a:pt x="1262" y="1084"/>
                    <a:pt x="1298" y="1180"/>
                    <a:pt x="1393" y="1203"/>
                  </a:cubicBezTo>
                  <a:cubicBezTo>
                    <a:pt x="1415" y="1211"/>
                    <a:pt x="1435" y="1215"/>
                    <a:pt x="1455" y="1215"/>
                  </a:cubicBezTo>
                  <a:cubicBezTo>
                    <a:pt x="1523" y="1215"/>
                    <a:pt x="1577" y="1170"/>
                    <a:pt x="1596" y="1096"/>
                  </a:cubicBezTo>
                  <a:cubicBezTo>
                    <a:pt x="1798" y="549"/>
                    <a:pt x="1393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1" name="Google Shape;12461;p62"/>
            <p:cNvSpPr/>
            <p:nvPr/>
          </p:nvSpPr>
          <p:spPr>
            <a:xfrm>
              <a:off x="3806122" y="3088826"/>
              <a:ext cx="57217" cy="52224"/>
            </a:xfrm>
            <a:custGeom>
              <a:avLst/>
              <a:gdLst/>
              <a:ahLst/>
              <a:cxnLst/>
              <a:rect l="l" t="t" r="r" b="b"/>
              <a:pathLst>
                <a:path w="1799" h="1642" extrusionOk="0">
                  <a:moveTo>
                    <a:pt x="834" y="1"/>
                  </a:moveTo>
                  <a:cubicBezTo>
                    <a:pt x="370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20" y="1608"/>
                    <a:pt x="1179" y="1513"/>
                    <a:pt x="1143" y="1430"/>
                  </a:cubicBezTo>
                  <a:cubicBezTo>
                    <a:pt x="1134" y="1351"/>
                    <a:pt x="1067" y="1304"/>
                    <a:pt x="996" y="1304"/>
                  </a:cubicBezTo>
                  <a:cubicBezTo>
                    <a:pt x="982" y="1304"/>
                    <a:pt x="967" y="1306"/>
                    <a:pt x="953" y="1311"/>
                  </a:cubicBezTo>
                  <a:cubicBezTo>
                    <a:pt x="916" y="1319"/>
                    <a:pt x="878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60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7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798" y="549"/>
                    <a:pt x="140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2" name="Google Shape;12462;p62"/>
            <p:cNvSpPr/>
            <p:nvPr/>
          </p:nvSpPr>
          <p:spPr>
            <a:xfrm>
              <a:off x="3806122" y="3153199"/>
              <a:ext cx="57217" cy="52256"/>
            </a:xfrm>
            <a:custGeom>
              <a:avLst/>
              <a:gdLst/>
              <a:ahLst/>
              <a:cxnLst/>
              <a:rect l="l" t="t" r="r" b="b"/>
              <a:pathLst>
                <a:path w="1799" h="1643" extrusionOk="0">
                  <a:moveTo>
                    <a:pt x="834" y="1"/>
                  </a:moveTo>
                  <a:cubicBezTo>
                    <a:pt x="370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20" y="1608"/>
                    <a:pt x="1179" y="1513"/>
                    <a:pt x="1143" y="1430"/>
                  </a:cubicBezTo>
                  <a:cubicBezTo>
                    <a:pt x="1133" y="1359"/>
                    <a:pt x="1063" y="1305"/>
                    <a:pt x="991" y="1305"/>
                  </a:cubicBezTo>
                  <a:cubicBezTo>
                    <a:pt x="978" y="1305"/>
                    <a:pt x="966" y="1307"/>
                    <a:pt x="953" y="1311"/>
                  </a:cubicBezTo>
                  <a:cubicBezTo>
                    <a:pt x="916" y="1319"/>
                    <a:pt x="878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60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7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798" y="549"/>
                    <a:pt x="140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3" name="Google Shape;12463;p62"/>
            <p:cNvSpPr/>
            <p:nvPr/>
          </p:nvSpPr>
          <p:spPr>
            <a:xfrm>
              <a:off x="3549742" y="2940392"/>
              <a:ext cx="107215" cy="72420"/>
            </a:xfrm>
            <a:custGeom>
              <a:avLst/>
              <a:gdLst/>
              <a:ahLst/>
              <a:cxnLst/>
              <a:rect l="l" t="t" r="r" b="b"/>
              <a:pathLst>
                <a:path w="3371" h="2277" extrusionOk="0">
                  <a:moveTo>
                    <a:pt x="1573" y="1"/>
                  </a:moveTo>
                  <a:cubicBezTo>
                    <a:pt x="1311" y="1"/>
                    <a:pt x="1084" y="215"/>
                    <a:pt x="1084" y="489"/>
                  </a:cubicBezTo>
                  <a:lnTo>
                    <a:pt x="1084" y="548"/>
                  </a:lnTo>
                  <a:cubicBezTo>
                    <a:pt x="1084" y="608"/>
                    <a:pt x="1037" y="644"/>
                    <a:pt x="977" y="644"/>
                  </a:cubicBezTo>
                  <a:cubicBezTo>
                    <a:pt x="715" y="644"/>
                    <a:pt x="489" y="870"/>
                    <a:pt x="489" y="1144"/>
                  </a:cubicBezTo>
                  <a:cubicBezTo>
                    <a:pt x="489" y="1167"/>
                    <a:pt x="489" y="1203"/>
                    <a:pt x="501" y="1227"/>
                  </a:cubicBezTo>
                  <a:cubicBezTo>
                    <a:pt x="501" y="1227"/>
                    <a:pt x="501" y="1239"/>
                    <a:pt x="489" y="1239"/>
                  </a:cubicBezTo>
                  <a:cubicBezTo>
                    <a:pt x="215" y="1239"/>
                    <a:pt x="1" y="1465"/>
                    <a:pt x="1" y="1739"/>
                  </a:cubicBezTo>
                  <a:lnTo>
                    <a:pt x="1" y="1775"/>
                  </a:lnTo>
                  <a:cubicBezTo>
                    <a:pt x="1" y="2013"/>
                    <a:pt x="180" y="2227"/>
                    <a:pt x="418" y="2275"/>
                  </a:cubicBezTo>
                  <a:cubicBezTo>
                    <a:pt x="425" y="2276"/>
                    <a:pt x="432" y="2276"/>
                    <a:pt x="439" y="2276"/>
                  </a:cubicBezTo>
                  <a:cubicBezTo>
                    <a:pt x="517" y="2276"/>
                    <a:pt x="597" y="2219"/>
                    <a:pt x="608" y="2132"/>
                  </a:cubicBezTo>
                  <a:cubicBezTo>
                    <a:pt x="620" y="2048"/>
                    <a:pt x="561" y="1953"/>
                    <a:pt x="477" y="1941"/>
                  </a:cubicBezTo>
                  <a:cubicBezTo>
                    <a:pt x="394" y="1929"/>
                    <a:pt x="334" y="1870"/>
                    <a:pt x="334" y="1775"/>
                  </a:cubicBezTo>
                  <a:lnTo>
                    <a:pt x="334" y="1727"/>
                  </a:lnTo>
                  <a:cubicBezTo>
                    <a:pt x="334" y="1632"/>
                    <a:pt x="418" y="1560"/>
                    <a:pt x="501" y="1560"/>
                  </a:cubicBezTo>
                  <a:cubicBezTo>
                    <a:pt x="715" y="1560"/>
                    <a:pt x="894" y="1370"/>
                    <a:pt x="846" y="1144"/>
                  </a:cubicBezTo>
                  <a:cubicBezTo>
                    <a:pt x="822" y="1036"/>
                    <a:pt x="906" y="953"/>
                    <a:pt x="1013" y="953"/>
                  </a:cubicBezTo>
                  <a:cubicBezTo>
                    <a:pt x="1263" y="953"/>
                    <a:pt x="1465" y="739"/>
                    <a:pt x="1454" y="489"/>
                  </a:cubicBezTo>
                  <a:cubicBezTo>
                    <a:pt x="1442" y="370"/>
                    <a:pt x="1525" y="298"/>
                    <a:pt x="1620" y="298"/>
                  </a:cubicBezTo>
                  <a:lnTo>
                    <a:pt x="2382" y="298"/>
                  </a:lnTo>
                  <a:cubicBezTo>
                    <a:pt x="2466" y="298"/>
                    <a:pt x="2537" y="370"/>
                    <a:pt x="2537" y="453"/>
                  </a:cubicBezTo>
                  <a:lnTo>
                    <a:pt x="2537" y="489"/>
                  </a:lnTo>
                  <a:cubicBezTo>
                    <a:pt x="2537" y="513"/>
                    <a:pt x="2525" y="548"/>
                    <a:pt x="2525" y="608"/>
                  </a:cubicBezTo>
                  <a:cubicBezTo>
                    <a:pt x="2525" y="798"/>
                    <a:pt x="2692" y="965"/>
                    <a:pt x="2882" y="965"/>
                  </a:cubicBezTo>
                  <a:cubicBezTo>
                    <a:pt x="2978" y="965"/>
                    <a:pt x="3049" y="1036"/>
                    <a:pt x="3049" y="1132"/>
                  </a:cubicBezTo>
                  <a:cubicBezTo>
                    <a:pt x="3049" y="1215"/>
                    <a:pt x="2978" y="1286"/>
                    <a:pt x="2882" y="1286"/>
                  </a:cubicBezTo>
                  <a:lnTo>
                    <a:pt x="2275" y="1286"/>
                  </a:lnTo>
                  <a:cubicBezTo>
                    <a:pt x="2037" y="1286"/>
                    <a:pt x="1846" y="1489"/>
                    <a:pt x="1846" y="1727"/>
                  </a:cubicBezTo>
                  <a:lnTo>
                    <a:pt x="1846" y="1787"/>
                  </a:lnTo>
                  <a:cubicBezTo>
                    <a:pt x="1846" y="1870"/>
                    <a:pt x="1763" y="1941"/>
                    <a:pt x="1680" y="1941"/>
                  </a:cubicBezTo>
                  <a:lnTo>
                    <a:pt x="1120" y="1941"/>
                  </a:lnTo>
                  <a:cubicBezTo>
                    <a:pt x="1037" y="1941"/>
                    <a:pt x="965" y="2025"/>
                    <a:pt x="965" y="2108"/>
                  </a:cubicBezTo>
                  <a:cubicBezTo>
                    <a:pt x="965" y="2203"/>
                    <a:pt x="1037" y="2275"/>
                    <a:pt x="1120" y="2275"/>
                  </a:cubicBezTo>
                  <a:lnTo>
                    <a:pt x="1680" y="2275"/>
                  </a:lnTo>
                  <a:cubicBezTo>
                    <a:pt x="1942" y="2275"/>
                    <a:pt x="2168" y="2048"/>
                    <a:pt x="2168" y="1787"/>
                  </a:cubicBezTo>
                  <a:lnTo>
                    <a:pt x="2168" y="1727"/>
                  </a:lnTo>
                  <a:cubicBezTo>
                    <a:pt x="2168" y="1667"/>
                    <a:pt x="2216" y="1620"/>
                    <a:pt x="2275" y="1620"/>
                  </a:cubicBezTo>
                  <a:lnTo>
                    <a:pt x="2882" y="1620"/>
                  </a:lnTo>
                  <a:cubicBezTo>
                    <a:pt x="3156" y="1620"/>
                    <a:pt x="3370" y="1394"/>
                    <a:pt x="3370" y="1132"/>
                  </a:cubicBezTo>
                  <a:cubicBezTo>
                    <a:pt x="3311" y="858"/>
                    <a:pt x="3097" y="632"/>
                    <a:pt x="2823" y="632"/>
                  </a:cubicBezTo>
                  <a:cubicBezTo>
                    <a:pt x="2811" y="632"/>
                    <a:pt x="2799" y="620"/>
                    <a:pt x="2811" y="620"/>
                  </a:cubicBezTo>
                  <a:cubicBezTo>
                    <a:pt x="2882" y="298"/>
                    <a:pt x="2644" y="1"/>
                    <a:pt x="2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4" name="Google Shape;12464;p62"/>
            <p:cNvSpPr/>
            <p:nvPr/>
          </p:nvSpPr>
          <p:spPr>
            <a:xfrm>
              <a:off x="3630050" y="2983551"/>
              <a:ext cx="93539" cy="73120"/>
            </a:xfrm>
            <a:custGeom>
              <a:avLst/>
              <a:gdLst/>
              <a:ahLst/>
              <a:cxnLst/>
              <a:rect l="l" t="t" r="r" b="b"/>
              <a:pathLst>
                <a:path w="2941" h="2299" extrusionOk="0">
                  <a:moveTo>
                    <a:pt x="1703" y="1"/>
                  </a:moveTo>
                  <a:cubicBezTo>
                    <a:pt x="1429" y="1"/>
                    <a:pt x="1203" y="227"/>
                    <a:pt x="1203" y="501"/>
                  </a:cubicBezTo>
                  <a:lnTo>
                    <a:pt x="1203" y="561"/>
                  </a:lnTo>
                  <a:cubicBezTo>
                    <a:pt x="1203" y="620"/>
                    <a:pt x="1167" y="656"/>
                    <a:pt x="1107" y="656"/>
                  </a:cubicBezTo>
                  <a:lnTo>
                    <a:pt x="488" y="656"/>
                  </a:lnTo>
                  <a:cubicBezTo>
                    <a:pt x="226" y="656"/>
                    <a:pt x="0" y="882"/>
                    <a:pt x="0" y="1156"/>
                  </a:cubicBezTo>
                  <a:cubicBezTo>
                    <a:pt x="0" y="1418"/>
                    <a:pt x="226" y="1644"/>
                    <a:pt x="488" y="1644"/>
                  </a:cubicBezTo>
                  <a:cubicBezTo>
                    <a:pt x="512" y="1644"/>
                    <a:pt x="512" y="1656"/>
                    <a:pt x="512" y="1656"/>
                  </a:cubicBezTo>
                  <a:cubicBezTo>
                    <a:pt x="512" y="1656"/>
                    <a:pt x="488" y="1704"/>
                    <a:pt x="488" y="1775"/>
                  </a:cubicBezTo>
                  <a:lnTo>
                    <a:pt x="488" y="1811"/>
                  </a:lnTo>
                  <a:cubicBezTo>
                    <a:pt x="488" y="2073"/>
                    <a:pt x="714" y="2299"/>
                    <a:pt x="988" y="2299"/>
                  </a:cubicBezTo>
                  <a:lnTo>
                    <a:pt x="1322" y="2299"/>
                  </a:lnTo>
                  <a:cubicBezTo>
                    <a:pt x="1596" y="2299"/>
                    <a:pt x="1834" y="2085"/>
                    <a:pt x="1822" y="1751"/>
                  </a:cubicBezTo>
                  <a:cubicBezTo>
                    <a:pt x="1822" y="1692"/>
                    <a:pt x="1857" y="1644"/>
                    <a:pt x="1917" y="1644"/>
                  </a:cubicBezTo>
                  <a:cubicBezTo>
                    <a:pt x="2238" y="1644"/>
                    <a:pt x="2453" y="1358"/>
                    <a:pt x="2417" y="1061"/>
                  </a:cubicBezTo>
                  <a:cubicBezTo>
                    <a:pt x="2417" y="1049"/>
                    <a:pt x="2417" y="1037"/>
                    <a:pt x="2429" y="1037"/>
                  </a:cubicBezTo>
                  <a:cubicBezTo>
                    <a:pt x="2691" y="1037"/>
                    <a:pt x="2917" y="811"/>
                    <a:pt x="2917" y="537"/>
                  </a:cubicBezTo>
                  <a:lnTo>
                    <a:pt x="2917" y="501"/>
                  </a:lnTo>
                  <a:cubicBezTo>
                    <a:pt x="2941" y="201"/>
                    <a:pt x="2687" y="16"/>
                    <a:pt x="2503" y="16"/>
                  </a:cubicBezTo>
                  <a:cubicBezTo>
                    <a:pt x="2409" y="16"/>
                    <a:pt x="2334" y="63"/>
                    <a:pt x="2322" y="168"/>
                  </a:cubicBezTo>
                  <a:cubicBezTo>
                    <a:pt x="2310" y="263"/>
                    <a:pt x="2381" y="346"/>
                    <a:pt x="2477" y="346"/>
                  </a:cubicBezTo>
                  <a:cubicBezTo>
                    <a:pt x="2548" y="346"/>
                    <a:pt x="2619" y="430"/>
                    <a:pt x="2619" y="513"/>
                  </a:cubicBezTo>
                  <a:lnTo>
                    <a:pt x="2619" y="561"/>
                  </a:lnTo>
                  <a:cubicBezTo>
                    <a:pt x="2619" y="644"/>
                    <a:pt x="2548" y="727"/>
                    <a:pt x="2453" y="727"/>
                  </a:cubicBezTo>
                  <a:cubicBezTo>
                    <a:pt x="2250" y="727"/>
                    <a:pt x="2072" y="918"/>
                    <a:pt x="2119" y="1144"/>
                  </a:cubicBezTo>
                  <a:cubicBezTo>
                    <a:pt x="2131" y="1239"/>
                    <a:pt x="2060" y="1334"/>
                    <a:pt x="1953" y="1334"/>
                  </a:cubicBezTo>
                  <a:cubicBezTo>
                    <a:pt x="1703" y="1334"/>
                    <a:pt x="1488" y="1537"/>
                    <a:pt x="1500" y="1799"/>
                  </a:cubicBezTo>
                  <a:cubicBezTo>
                    <a:pt x="1524" y="1918"/>
                    <a:pt x="1429" y="1989"/>
                    <a:pt x="1345" y="1989"/>
                  </a:cubicBezTo>
                  <a:lnTo>
                    <a:pt x="1000" y="1989"/>
                  </a:lnTo>
                  <a:cubicBezTo>
                    <a:pt x="905" y="1989"/>
                    <a:pt x="834" y="1918"/>
                    <a:pt x="834" y="1823"/>
                  </a:cubicBezTo>
                  <a:lnTo>
                    <a:pt x="834" y="1787"/>
                  </a:lnTo>
                  <a:cubicBezTo>
                    <a:pt x="834" y="1751"/>
                    <a:pt x="845" y="1727"/>
                    <a:pt x="845" y="1668"/>
                  </a:cubicBezTo>
                  <a:cubicBezTo>
                    <a:pt x="845" y="1477"/>
                    <a:pt x="691" y="1323"/>
                    <a:pt x="488" y="1323"/>
                  </a:cubicBezTo>
                  <a:cubicBezTo>
                    <a:pt x="405" y="1323"/>
                    <a:pt x="333" y="1239"/>
                    <a:pt x="333" y="1156"/>
                  </a:cubicBezTo>
                  <a:cubicBezTo>
                    <a:pt x="333" y="1061"/>
                    <a:pt x="405" y="989"/>
                    <a:pt x="488" y="989"/>
                  </a:cubicBezTo>
                  <a:lnTo>
                    <a:pt x="1107" y="989"/>
                  </a:lnTo>
                  <a:cubicBezTo>
                    <a:pt x="1345" y="989"/>
                    <a:pt x="1536" y="799"/>
                    <a:pt x="1536" y="561"/>
                  </a:cubicBezTo>
                  <a:lnTo>
                    <a:pt x="1536" y="501"/>
                  </a:lnTo>
                  <a:cubicBezTo>
                    <a:pt x="1536" y="406"/>
                    <a:pt x="1607" y="334"/>
                    <a:pt x="1703" y="334"/>
                  </a:cubicBezTo>
                  <a:lnTo>
                    <a:pt x="1798" y="334"/>
                  </a:lnTo>
                  <a:cubicBezTo>
                    <a:pt x="1893" y="334"/>
                    <a:pt x="1965" y="263"/>
                    <a:pt x="1965" y="168"/>
                  </a:cubicBezTo>
                  <a:cubicBezTo>
                    <a:pt x="1965" y="84"/>
                    <a:pt x="1893" y="1"/>
                    <a:pt x="1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65" name="Google Shape;12465;p62"/>
          <p:cNvGrpSpPr/>
          <p:nvPr/>
        </p:nvGrpSpPr>
        <p:grpSpPr>
          <a:xfrm>
            <a:off x="3082845" y="2920959"/>
            <a:ext cx="356375" cy="302338"/>
            <a:chOff x="3082845" y="2920959"/>
            <a:chExt cx="356375" cy="302338"/>
          </a:xfrm>
        </p:grpSpPr>
        <p:sp>
          <p:nvSpPr>
            <p:cNvPr id="12466" name="Google Shape;12466;p62"/>
            <p:cNvSpPr/>
            <p:nvPr/>
          </p:nvSpPr>
          <p:spPr>
            <a:xfrm>
              <a:off x="3082845" y="2920959"/>
              <a:ext cx="217769" cy="130432"/>
            </a:xfrm>
            <a:custGeom>
              <a:avLst/>
              <a:gdLst/>
              <a:ahLst/>
              <a:cxnLst/>
              <a:rect l="l" t="t" r="r" b="b"/>
              <a:pathLst>
                <a:path w="6847" h="4101" extrusionOk="0">
                  <a:moveTo>
                    <a:pt x="2394" y="2767"/>
                  </a:moveTo>
                  <a:lnTo>
                    <a:pt x="2394" y="3779"/>
                  </a:lnTo>
                  <a:cubicBezTo>
                    <a:pt x="2156" y="3743"/>
                    <a:pt x="2060" y="3683"/>
                    <a:pt x="1477" y="3469"/>
                  </a:cubicBezTo>
                  <a:cubicBezTo>
                    <a:pt x="1358" y="3374"/>
                    <a:pt x="1370" y="3231"/>
                    <a:pt x="1453" y="3136"/>
                  </a:cubicBezTo>
                  <a:cubicBezTo>
                    <a:pt x="2025" y="2874"/>
                    <a:pt x="2132" y="2790"/>
                    <a:pt x="2394" y="2767"/>
                  </a:cubicBezTo>
                  <a:close/>
                  <a:moveTo>
                    <a:pt x="3696" y="1"/>
                  </a:moveTo>
                  <a:cubicBezTo>
                    <a:pt x="3572" y="1"/>
                    <a:pt x="3447" y="74"/>
                    <a:pt x="3394" y="207"/>
                  </a:cubicBezTo>
                  <a:lnTo>
                    <a:pt x="2799" y="1600"/>
                  </a:lnTo>
                  <a:cubicBezTo>
                    <a:pt x="2727" y="1767"/>
                    <a:pt x="2691" y="1933"/>
                    <a:pt x="2691" y="2100"/>
                  </a:cubicBezTo>
                  <a:cubicBezTo>
                    <a:pt x="2691" y="2195"/>
                    <a:pt x="2715" y="2290"/>
                    <a:pt x="2727" y="2398"/>
                  </a:cubicBezTo>
                  <a:lnTo>
                    <a:pt x="2572" y="2398"/>
                  </a:lnTo>
                  <a:cubicBezTo>
                    <a:pt x="2060" y="2398"/>
                    <a:pt x="1798" y="2588"/>
                    <a:pt x="1286" y="2826"/>
                  </a:cubicBezTo>
                  <a:cubicBezTo>
                    <a:pt x="1227" y="2850"/>
                    <a:pt x="1120" y="2957"/>
                    <a:pt x="1072" y="3088"/>
                  </a:cubicBezTo>
                  <a:lnTo>
                    <a:pt x="167" y="3088"/>
                  </a:lnTo>
                  <a:cubicBezTo>
                    <a:pt x="72" y="3088"/>
                    <a:pt x="1" y="3160"/>
                    <a:pt x="1" y="3255"/>
                  </a:cubicBezTo>
                  <a:cubicBezTo>
                    <a:pt x="1" y="3338"/>
                    <a:pt x="72" y="3421"/>
                    <a:pt x="167" y="3421"/>
                  </a:cubicBezTo>
                  <a:lnTo>
                    <a:pt x="1060" y="3421"/>
                  </a:lnTo>
                  <a:cubicBezTo>
                    <a:pt x="1096" y="3588"/>
                    <a:pt x="1227" y="3719"/>
                    <a:pt x="1310" y="3743"/>
                  </a:cubicBezTo>
                  <a:cubicBezTo>
                    <a:pt x="1906" y="3981"/>
                    <a:pt x="2120" y="4100"/>
                    <a:pt x="2537" y="4100"/>
                  </a:cubicBezTo>
                  <a:lnTo>
                    <a:pt x="5061" y="4100"/>
                  </a:lnTo>
                  <a:cubicBezTo>
                    <a:pt x="5156" y="4100"/>
                    <a:pt x="5227" y="4029"/>
                    <a:pt x="5227" y="3933"/>
                  </a:cubicBezTo>
                  <a:cubicBezTo>
                    <a:pt x="5227" y="3850"/>
                    <a:pt x="5156" y="3779"/>
                    <a:pt x="5061" y="3779"/>
                  </a:cubicBezTo>
                  <a:lnTo>
                    <a:pt x="2715" y="3779"/>
                  </a:lnTo>
                  <a:lnTo>
                    <a:pt x="2715" y="2731"/>
                  </a:lnTo>
                  <a:lnTo>
                    <a:pt x="6668" y="2731"/>
                  </a:lnTo>
                  <a:cubicBezTo>
                    <a:pt x="6763" y="2731"/>
                    <a:pt x="6835" y="2659"/>
                    <a:pt x="6835" y="2564"/>
                  </a:cubicBezTo>
                  <a:cubicBezTo>
                    <a:pt x="6847" y="2481"/>
                    <a:pt x="6775" y="2409"/>
                    <a:pt x="6680" y="2409"/>
                  </a:cubicBezTo>
                  <a:lnTo>
                    <a:pt x="5239" y="2409"/>
                  </a:lnTo>
                  <a:cubicBezTo>
                    <a:pt x="5763" y="1159"/>
                    <a:pt x="5775" y="1207"/>
                    <a:pt x="5775" y="1088"/>
                  </a:cubicBezTo>
                  <a:cubicBezTo>
                    <a:pt x="5775" y="945"/>
                    <a:pt x="5704" y="826"/>
                    <a:pt x="5573" y="766"/>
                  </a:cubicBezTo>
                  <a:lnTo>
                    <a:pt x="5358" y="683"/>
                  </a:lnTo>
                  <a:cubicBezTo>
                    <a:pt x="5337" y="674"/>
                    <a:pt x="5314" y="669"/>
                    <a:pt x="5292" y="669"/>
                  </a:cubicBezTo>
                  <a:cubicBezTo>
                    <a:pt x="5228" y="669"/>
                    <a:pt x="5167" y="705"/>
                    <a:pt x="5132" y="766"/>
                  </a:cubicBezTo>
                  <a:cubicBezTo>
                    <a:pt x="5108" y="862"/>
                    <a:pt x="5132" y="945"/>
                    <a:pt x="5227" y="993"/>
                  </a:cubicBezTo>
                  <a:lnTo>
                    <a:pt x="5430" y="1088"/>
                  </a:lnTo>
                  <a:lnTo>
                    <a:pt x="4870" y="2409"/>
                  </a:lnTo>
                  <a:lnTo>
                    <a:pt x="3072" y="2409"/>
                  </a:lnTo>
                  <a:cubicBezTo>
                    <a:pt x="3037" y="2314"/>
                    <a:pt x="3025" y="2219"/>
                    <a:pt x="3025" y="2112"/>
                  </a:cubicBezTo>
                  <a:cubicBezTo>
                    <a:pt x="3025" y="1993"/>
                    <a:pt x="3049" y="1850"/>
                    <a:pt x="3096" y="1743"/>
                  </a:cubicBezTo>
                  <a:lnTo>
                    <a:pt x="3691" y="338"/>
                  </a:lnTo>
                  <a:lnTo>
                    <a:pt x="4596" y="731"/>
                  </a:lnTo>
                  <a:cubicBezTo>
                    <a:pt x="4619" y="736"/>
                    <a:pt x="4641" y="739"/>
                    <a:pt x="4662" y="739"/>
                  </a:cubicBezTo>
                  <a:cubicBezTo>
                    <a:pt x="4729" y="739"/>
                    <a:pt x="4786" y="708"/>
                    <a:pt x="4823" y="635"/>
                  </a:cubicBezTo>
                  <a:cubicBezTo>
                    <a:pt x="4858" y="552"/>
                    <a:pt x="4823" y="457"/>
                    <a:pt x="4739" y="409"/>
                  </a:cubicBezTo>
                  <a:lnTo>
                    <a:pt x="3822" y="28"/>
                  </a:lnTo>
                  <a:cubicBezTo>
                    <a:pt x="3782" y="10"/>
                    <a:pt x="3739" y="1"/>
                    <a:pt x="36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7" name="Google Shape;12467;p62"/>
            <p:cNvSpPr/>
            <p:nvPr/>
          </p:nvSpPr>
          <p:spPr>
            <a:xfrm>
              <a:off x="3260444" y="2997577"/>
              <a:ext cx="178776" cy="225720"/>
            </a:xfrm>
            <a:custGeom>
              <a:avLst/>
              <a:gdLst/>
              <a:ahLst/>
              <a:cxnLst/>
              <a:rect l="l" t="t" r="r" b="b"/>
              <a:pathLst>
                <a:path w="5621" h="7097" extrusionOk="0">
                  <a:moveTo>
                    <a:pt x="4775" y="334"/>
                  </a:moveTo>
                  <a:cubicBezTo>
                    <a:pt x="5061" y="334"/>
                    <a:pt x="5299" y="584"/>
                    <a:pt x="5299" y="858"/>
                  </a:cubicBezTo>
                  <a:cubicBezTo>
                    <a:pt x="5299" y="1143"/>
                    <a:pt x="5061" y="1382"/>
                    <a:pt x="4775" y="1382"/>
                  </a:cubicBezTo>
                  <a:lnTo>
                    <a:pt x="4358" y="1382"/>
                  </a:lnTo>
                  <a:lnTo>
                    <a:pt x="4358" y="334"/>
                  </a:lnTo>
                  <a:close/>
                  <a:moveTo>
                    <a:pt x="1751" y="0"/>
                  </a:moveTo>
                  <a:cubicBezTo>
                    <a:pt x="1667" y="0"/>
                    <a:pt x="1584" y="72"/>
                    <a:pt x="1584" y="167"/>
                  </a:cubicBezTo>
                  <a:cubicBezTo>
                    <a:pt x="1584" y="250"/>
                    <a:pt x="1667" y="322"/>
                    <a:pt x="1751" y="322"/>
                  </a:cubicBezTo>
                  <a:lnTo>
                    <a:pt x="4037" y="322"/>
                  </a:lnTo>
                  <a:lnTo>
                    <a:pt x="4037" y="1370"/>
                  </a:lnTo>
                  <a:lnTo>
                    <a:pt x="167" y="1370"/>
                  </a:lnTo>
                  <a:cubicBezTo>
                    <a:pt x="72" y="1370"/>
                    <a:pt x="1" y="1441"/>
                    <a:pt x="1" y="1536"/>
                  </a:cubicBezTo>
                  <a:cubicBezTo>
                    <a:pt x="1" y="1620"/>
                    <a:pt x="72" y="1691"/>
                    <a:pt x="167" y="1691"/>
                  </a:cubicBezTo>
                  <a:lnTo>
                    <a:pt x="774" y="1691"/>
                  </a:lnTo>
                  <a:lnTo>
                    <a:pt x="774" y="2025"/>
                  </a:lnTo>
                  <a:cubicBezTo>
                    <a:pt x="774" y="2465"/>
                    <a:pt x="1144" y="2846"/>
                    <a:pt x="1596" y="2846"/>
                  </a:cubicBezTo>
                  <a:lnTo>
                    <a:pt x="1834" y="2846"/>
                  </a:lnTo>
                  <a:lnTo>
                    <a:pt x="1834" y="3477"/>
                  </a:lnTo>
                  <a:cubicBezTo>
                    <a:pt x="1834" y="4072"/>
                    <a:pt x="2310" y="4549"/>
                    <a:pt x="2906" y="4549"/>
                  </a:cubicBezTo>
                  <a:lnTo>
                    <a:pt x="3060" y="4549"/>
                  </a:lnTo>
                  <a:cubicBezTo>
                    <a:pt x="3561" y="4549"/>
                    <a:pt x="3953" y="4953"/>
                    <a:pt x="3953" y="5442"/>
                  </a:cubicBezTo>
                  <a:lnTo>
                    <a:pt x="3953" y="6930"/>
                  </a:lnTo>
                  <a:cubicBezTo>
                    <a:pt x="3953" y="7025"/>
                    <a:pt x="4037" y="7097"/>
                    <a:pt x="4120" y="7097"/>
                  </a:cubicBezTo>
                  <a:cubicBezTo>
                    <a:pt x="4215" y="7097"/>
                    <a:pt x="4287" y="7025"/>
                    <a:pt x="4287" y="6930"/>
                  </a:cubicBezTo>
                  <a:lnTo>
                    <a:pt x="4287" y="5442"/>
                  </a:lnTo>
                  <a:cubicBezTo>
                    <a:pt x="4287" y="4775"/>
                    <a:pt x="3739" y="4227"/>
                    <a:pt x="3060" y="4227"/>
                  </a:cubicBezTo>
                  <a:lnTo>
                    <a:pt x="2906" y="4227"/>
                  </a:lnTo>
                  <a:cubicBezTo>
                    <a:pt x="2501" y="4227"/>
                    <a:pt x="2156" y="3894"/>
                    <a:pt x="2156" y="3477"/>
                  </a:cubicBezTo>
                  <a:lnTo>
                    <a:pt x="2156" y="2846"/>
                  </a:lnTo>
                  <a:cubicBezTo>
                    <a:pt x="2176" y="2846"/>
                    <a:pt x="2207" y="2848"/>
                    <a:pt x="2246" y="2848"/>
                  </a:cubicBezTo>
                  <a:cubicBezTo>
                    <a:pt x="2344" y="2848"/>
                    <a:pt x="2491" y="2836"/>
                    <a:pt x="2644" y="2751"/>
                  </a:cubicBezTo>
                  <a:cubicBezTo>
                    <a:pt x="2739" y="2703"/>
                    <a:pt x="2763" y="2620"/>
                    <a:pt x="2727" y="2525"/>
                  </a:cubicBezTo>
                  <a:cubicBezTo>
                    <a:pt x="2694" y="2467"/>
                    <a:pt x="2638" y="2432"/>
                    <a:pt x="2579" y="2432"/>
                  </a:cubicBezTo>
                  <a:cubicBezTo>
                    <a:pt x="2553" y="2432"/>
                    <a:pt x="2526" y="2439"/>
                    <a:pt x="2501" y="2453"/>
                  </a:cubicBezTo>
                  <a:cubicBezTo>
                    <a:pt x="2422" y="2496"/>
                    <a:pt x="2374" y="2505"/>
                    <a:pt x="2191" y="2505"/>
                  </a:cubicBezTo>
                  <a:cubicBezTo>
                    <a:pt x="2068" y="2505"/>
                    <a:pt x="1887" y="2501"/>
                    <a:pt x="1596" y="2501"/>
                  </a:cubicBezTo>
                  <a:cubicBezTo>
                    <a:pt x="1322" y="2501"/>
                    <a:pt x="1096" y="2275"/>
                    <a:pt x="1096" y="2013"/>
                  </a:cubicBezTo>
                  <a:lnTo>
                    <a:pt x="1096" y="1715"/>
                  </a:lnTo>
                  <a:lnTo>
                    <a:pt x="2763" y="1715"/>
                  </a:lnTo>
                  <a:lnTo>
                    <a:pt x="2763" y="2084"/>
                  </a:lnTo>
                  <a:cubicBezTo>
                    <a:pt x="2751" y="2191"/>
                    <a:pt x="2846" y="2263"/>
                    <a:pt x="2930" y="2263"/>
                  </a:cubicBezTo>
                  <a:cubicBezTo>
                    <a:pt x="3025" y="2263"/>
                    <a:pt x="3096" y="2203"/>
                    <a:pt x="3096" y="2108"/>
                  </a:cubicBezTo>
                  <a:lnTo>
                    <a:pt x="3096" y="2036"/>
                  </a:lnTo>
                  <a:lnTo>
                    <a:pt x="3096" y="1715"/>
                  </a:lnTo>
                  <a:lnTo>
                    <a:pt x="4775" y="1715"/>
                  </a:lnTo>
                  <a:cubicBezTo>
                    <a:pt x="5251" y="1715"/>
                    <a:pt x="5620" y="1322"/>
                    <a:pt x="5620" y="858"/>
                  </a:cubicBezTo>
                  <a:cubicBezTo>
                    <a:pt x="5620" y="620"/>
                    <a:pt x="5537" y="417"/>
                    <a:pt x="5370" y="250"/>
                  </a:cubicBezTo>
                  <a:cubicBezTo>
                    <a:pt x="5204" y="84"/>
                    <a:pt x="5001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68" name="Google Shape;12468;p62"/>
          <p:cNvGrpSpPr/>
          <p:nvPr/>
        </p:nvGrpSpPr>
        <p:grpSpPr>
          <a:xfrm>
            <a:off x="2639038" y="2894942"/>
            <a:ext cx="355612" cy="355612"/>
            <a:chOff x="2639038" y="2894942"/>
            <a:chExt cx="355612" cy="355612"/>
          </a:xfrm>
        </p:grpSpPr>
        <p:sp>
          <p:nvSpPr>
            <p:cNvPr id="12469" name="Google Shape;12469;p62"/>
            <p:cNvSpPr/>
            <p:nvPr/>
          </p:nvSpPr>
          <p:spPr>
            <a:xfrm>
              <a:off x="2748479" y="2894942"/>
              <a:ext cx="246171" cy="304119"/>
            </a:xfrm>
            <a:custGeom>
              <a:avLst/>
              <a:gdLst/>
              <a:ahLst/>
              <a:cxnLst/>
              <a:rect l="l" t="t" r="r" b="b"/>
              <a:pathLst>
                <a:path w="7740" h="9562" extrusionOk="0">
                  <a:moveTo>
                    <a:pt x="7168" y="1930"/>
                  </a:moveTo>
                  <a:cubicBezTo>
                    <a:pt x="7299" y="1930"/>
                    <a:pt x="7406" y="2037"/>
                    <a:pt x="7406" y="2168"/>
                  </a:cubicBezTo>
                  <a:lnTo>
                    <a:pt x="7418" y="3156"/>
                  </a:lnTo>
                  <a:cubicBezTo>
                    <a:pt x="7418" y="3287"/>
                    <a:pt x="7311" y="3394"/>
                    <a:pt x="7180" y="3394"/>
                  </a:cubicBezTo>
                  <a:lnTo>
                    <a:pt x="6882" y="3394"/>
                  </a:lnTo>
                  <a:lnTo>
                    <a:pt x="6882" y="2715"/>
                  </a:lnTo>
                  <a:cubicBezTo>
                    <a:pt x="6882" y="2632"/>
                    <a:pt x="6811" y="2561"/>
                    <a:pt x="6715" y="2561"/>
                  </a:cubicBezTo>
                  <a:cubicBezTo>
                    <a:pt x="6632" y="2561"/>
                    <a:pt x="6549" y="2632"/>
                    <a:pt x="6549" y="2715"/>
                  </a:cubicBezTo>
                  <a:lnTo>
                    <a:pt x="6549" y="3394"/>
                  </a:lnTo>
                  <a:lnTo>
                    <a:pt x="6096" y="3394"/>
                  </a:lnTo>
                  <a:lnTo>
                    <a:pt x="6096" y="1930"/>
                  </a:lnTo>
                  <a:close/>
                  <a:moveTo>
                    <a:pt x="4549" y="1"/>
                  </a:moveTo>
                  <a:cubicBezTo>
                    <a:pt x="4227" y="1"/>
                    <a:pt x="3965" y="251"/>
                    <a:pt x="3965" y="572"/>
                  </a:cubicBezTo>
                  <a:lnTo>
                    <a:pt x="3965" y="1608"/>
                  </a:lnTo>
                  <a:lnTo>
                    <a:pt x="3239" y="1608"/>
                  </a:lnTo>
                  <a:cubicBezTo>
                    <a:pt x="3144" y="1608"/>
                    <a:pt x="3072" y="1680"/>
                    <a:pt x="3072" y="1763"/>
                  </a:cubicBezTo>
                  <a:cubicBezTo>
                    <a:pt x="3072" y="1858"/>
                    <a:pt x="3144" y="1930"/>
                    <a:pt x="3239" y="1930"/>
                  </a:cubicBezTo>
                  <a:lnTo>
                    <a:pt x="3965" y="1930"/>
                  </a:lnTo>
                  <a:lnTo>
                    <a:pt x="3965" y="3394"/>
                  </a:lnTo>
                  <a:lnTo>
                    <a:pt x="3417" y="3394"/>
                  </a:lnTo>
                  <a:lnTo>
                    <a:pt x="3417" y="3013"/>
                  </a:lnTo>
                  <a:cubicBezTo>
                    <a:pt x="3417" y="2930"/>
                    <a:pt x="3334" y="2858"/>
                    <a:pt x="3251" y="2858"/>
                  </a:cubicBezTo>
                  <a:cubicBezTo>
                    <a:pt x="3155" y="2858"/>
                    <a:pt x="3084" y="2930"/>
                    <a:pt x="3084" y="3013"/>
                  </a:cubicBezTo>
                  <a:lnTo>
                    <a:pt x="3084" y="3394"/>
                  </a:lnTo>
                  <a:lnTo>
                    <a:pt x="2382" y="3394"/>
                  </a:lnTo>
                  <a:lnTo>
                    <a:pt x="2382" y="2715"/>
                  </a:lnTo>
                  <a:cubicBezTo>
                    <a:pt x="2382" y="2632"/>
                    <a:pt x="2310" y="2561"/>
                    <a:pt x="2227" y="2561"/>
                  </a:cubicBezTo>
                  <a:cubicBezTo>
                    <a:pt x="2132" y="2561"/>
                    <a:pt x="2060" y="2632"/>
                    <a:pt x="2060" y="2715"/>
                  </a:cubicBezTo>
                  <a:lnTo>
                    <a:pt x="2060" y="3394"/>
                  </a:lnTo>
                  <a:lnTo>
                    <a:pt x="1358" y="3394"/>
                  </a:lnTo>
                  <a:lnTo>
                    <a:pt x="1358" y="3013"/>
                  </a:lnTo>
                  <a:cubicBezTo>
                    <a:pt x="1358" y="2930"/>
                    <a:pt x="1286" y="2858"/>
                    <a:pt x="1191" y="2858"/>
                  </a:cubicBezTo>
                  <a:cubicBezTo>
                    <a:pt x="1108" y="2858"/>
                    <a:pt x="1036" y="2930"/>
                    <a:pt x="1036" y="3013"/>
                  </a:cubicBezTo>
                  <a:lnTo>
                    <a:pt x="1036" y="3394"/>
                  </a:lnTo>
                  <a:lnTo>
                    <a:pt x="334" y="3394"/>
                  </a:lnTo>
                  <a:lnTo>
                    <a:pt x="334" y="2715"/>
                  </a:lnTo>
                  <a:cubicBezTo>
                    <a:pt x="334" y="2632"/>
                    <a:pt x="262" y="2561"/>
                    <a:pt x="167" y="2561"/>
                  </a:cubicBezTo>
                  <a:cubicBezTo>
                    <a:pt x="84" y="2561"/>
                    <a:pt x="0" y="2632"/>
                    <a:pt x="0" y="2715"/>
                  </a:cubicBezTo>
                  <a:lnTo>
                    <a:pt x="0" y="3549"/>
                  </a:lnTo>
                  <a:lnTo>
                    <a:pt x="0" y="4799"/>
                  </a:lnTo>
                  <a:cubicBezTo>
                    <a:pt x="0" y="4894"/>
                    <a:pt x="84" y="4966"/>
                    <a:pt x="167" y="4966"/>
                  </a:cubicBezTo>
                  <a:cubicBezTo>
                    <a:pt x="262" y="4966"/>
                    <a:pt x="334" y="4894"/>
                    <a:pt x="334" y="4799"/>
                  </a:cubicBezTo>
                  <a:lnTo>
                    <a:pt x="334" y="3716"/>
                  </a:lnTo>
                  <a:lnTo>
                    <a:pt x="3977" y="3716"/>
                  </a:lnTo>
                  <a:lnTo>
                    <a:pt x="3977" y="5692"/>
                  </a:lnTo>
                  <a:cubicBezTo>
                    <a:pt x="3977" y="5787"/>
                    <a:pt x="4048" y="5859"/>
                    <a:pt x="4144" y="5859"/>
                  </a:cubicBezTo>
                  <a:cubicBezTo>
                    <a:pt x="4227" y="5859"/>
                    <a:pt x="4310" y="5787"/>
                    <a:pt x="4310" y="5692"/>
                  </a:cubicBezTo>
                  <a:lnTo>
                    <a:pt x="4310" y="560"/>
                  </a:lnTo>
                  <a:cubicBezTo>
                    <a:pt x="4310" y="429"/>
                    <a:pt x="4406" y="322"/>
                    <a:pt x="4549" y="322"/>
                  </a:cubicBezTo>
                  <a:lnTo>
                    <a:pt x="5525" y="322"/>
                  </a:lnTo>
                  <a:cubicBezTo>
                    <a:pt x="5656" y="322"/>
                    <a:pt x="5763" y="429"/>
                    <a:pt x="5763" y="560"/>
                  </a:cubicBezTo>
                  <a:lnTo>
                    <a:pt x="5763" y="8871"/>
                  </a:lnTo>
                  <a:cubicBezTo>
                    <a:pt x="5763" y="9073"/>
                    <a:pt x="5596" y="9240"/>
                    <a:pt x="5394" y="9240"/>
                  </a:cubicBezTo>
                  <a:lnTo>
                    <a:pt x="1727" y="9240"/>
                  </a:lnTo>
                  <a:cubicBezTo>
                    <a:pt x="1643" y="9240"/>
                    <a:pt x="1572" y="9312"/>
                    <a:pt x="1572" y="9407"/>
                  </a:cubicBezTo>
                  <a:cubicBezTo>
                    <a:pt x="1572" y="9490"/>
                    <a:pt x="1643" y="9562"/>
                    <a:pt x="1727" y="9562"/>
                  </a:cubicBezTo>
                  <a:lnTo>
                    <a:pt x="5394" y="9562"/>
                  </a:lnTo>
                  <a:cubicBezTo>
                    <a:pt x="5787" y="9562"/>
                    <a:pt x="6108" y="9252"/>
                    <a:pt x="6108" y="8847"/>
                  </a:cubicBezTo>
                  <a:lnTo>
                    <a:pt x="6108" y="3704"/>
                  </a:lnTo>
                  <a:lnTo>
                    <a:pt x="7180" y="3704"/>
                  </a:lnTo>
                  <a:cubicBezTo>
                    <a:pt x="7489" y="3704"/>
                    <a:pt x="7739" y="3454"/>
                    <a:pt x="7739" y="3120"/>
                  </a:cubicBezTo>
                  <a:lnTo>
                    <a:pt x="7739" y="2144"/>
                  </a:lnTo>
                  <a:cubicBezTo>
                    <a:pt x="7739" y="1858"/>
                    <a:pt x="7489" y="1608"/>
                    <a:pt x="7180" y="1608"/>
                  </a:cubicBezTo>
                  <a:lnTo>
                    <a:pt x="6108" y="1608"/>
                  </a:lnTo>
                  <a:lnTo>
                    <a:pt x="6108" y="572"/>
                  </a:lnTo>
                  <a:cubicBezTo>
                    <a:pt x="6108" y="263"/>
                    <a:pt x="5858" y="1"/>
                    <a:pt x="5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0" name="Google Shape;12470;p62"/>
            <p:cNvSpPr/>
            <p:nvPr/>
          </p:nvSpPr>
          <p:spPr>
            <a:xfrm>
              <a:off x="2639038" y="2945703"/>
              <a:ext cx="246552" cy="304851"/>
            </a:xfrm>
            <a:custGeom>
              <a:avLst/>
              <a:gdLst/>
              <a:ahLst/>
              <a:cxnLst/>
              <a:rect l="l" t="t" r="r" b="b"/>
              <a:pathLst>
                <a:path w="7752" h="9585" extrusionOk="0">
                  <a:moveTo>
                    <a:pt x="3429" y="7989"/>
                  </a:moveTo>
                  <a:lnTo>
                    <a:pt x="3429" y="9013"/>
                  </a:lnTo>
                  <a:cubicBezTo>
                    <a:pt x="3429" y="9144"/>
                    <a:pt x="3322" y="9251"/>
                    <a:pt x="3191" y="9251"/>
                  </a:cubicBezTo>
                  <a:lnTo>
                    <a:pt x="2215" y="9251"/>
                  </a:lnTo>
                  <a:cubicBezTo>
                    <a:pt x="2072" y="9251"/>
                    <a:pt x="1977" y="9144"/>
                    <a:pt x="1977" y="9013"/>
                  </a:cubicBezTo>
                  <a:lnTo>
                    <a:pt x="1977" y="7989"/>
                  </a:lnTo>
                  <a:close/>
                  <a:moveTo>
                    <a:pt x="2358" y="0"/>
                  </a:moveTo>
                  <a:cubicBezTo>
                    <a:pt x="1977" y="0"/>
                    <a:pt x="1643" y="322"/>
                    <a:pt x="1643" y="715"/>
                  </a:cubicBezTo>
                  <a:lnTo>
                    <a:pt x="1643" y="5870"/>
                  </a:lnTo>
                  <a:lnTo>
                    <a:pt x="572" y="5870"/>
                  </a:lnTo>
                  <a:cubicBezTo>
                    <a:pt x="262" y="5870"/>
                    <a:pt x="0" y="6120"/>
                    <a:pt x="0" y="6430"/>
                  </a:cubicBezTo>
                  <a:lnTo>
                    <a:pt x="0" y="7418"/>
                  </a:lnTo>
                  <a:cubicBezTo>
                    <a:pt x="0" y="7727"/>
                    <a:pt x="250" y="7977"/>
                    <a:pt x="572" y="7977"/>
                  </a:cubicBezTo>
                  <a:lnTo>
                    <a:pt x="1643" y="7977"/>
                  </a:lnTo>
                  <a:lnTo>
                    <a:pt x="1643" y="9013"/>
                  </a:lnTo>
                  <a:cubicBezTo>
                    <a:pt x="1643" y="9323"/>
                    <a:pt x="1905" y="9585"/>
                    <a:pt x="2215" y="9585"/>
                  </a:cubicBezTo>
                  <a:lnTo>
                    <a:pt x="3191" y="9585"/>
                  </a:lnTo>
                  <a:cubicBezTo>
                    <a:pt x="3513" y="9585"/>
                    <a:pt x="3763" y="9335"/>
                    <a:pt x="3763" y="9013"/>
                  </a:cubicBezTo>
                  <a:lnTo>
                    <a:pt x="3763" y="7977"/>
                  </a:lnTo>
                  <a:lnTo>
                    <a:pt x="4489" y="7977"/>
                  </a:lnTo>
                  <a:cubicBezTo>
                    <a:pt x="4584" y="7977"/>
                    <a:pt x="4656" y="7906"/>
                    <a:pt x="4656" y="7823"/>
                  </a:cubicBezTo>
                  <a:cubicBezTo>
                    <a:pt x="4656" y="7727"/>
                    <a:pt x="4584" y="7656"/>
                    <a:pt x="4489" y="7656"/>
                  </a:cubicBezTo>
                  <a:lnTo>
                    <a:pt x="560" y="7656"/>
                  </a:lnTo>
                  <a:cubicBezTo>
                    <a:pt x="429" y="7656"/>
                    <a:pt x="322" y="7549"/>
                    <a:pt x="322" y="7418"/>
                  </a:cubicBezTo>
                  <a:lnTo>
                    <a:pt x="322" y="6430"/>
                  </a:lnTo>
                  <a:cubicBezTo>
                    <a:pt x="322" y="6299"/>
                    <a:pt x="429" y="6192"/>
                    <a:pt x="560" y="6192"/>
                  </a:cubicBezTo>
                  <a:lnTo>
                    <a:pt x="1120" y="6192"/>
                  </a:lnTo>
                  <a:lnTo>
                    <a:pt x="1120" y="6870"/>
                  </a:lnTo>
                  <a:cubicBezTo>
                    <a:pt x="1120" y="6954"/>
                    <a:pt x="1203" y="7025"/>
                    <a:pt x="1286" y="7025"/>
                  </a:cubicBezTo>
                  <a:cubicBezTo>
                    <a:pt x="1382" y="7025"/>
                    <a:pt x="1453" y="6954"/>
                    <a:pt x="1453" y="6870"/>
                  </a:cubicBezTo>
                  <a:lnTo>
                    <a:pt x="1453" y="6192"/>
                  </a:lnTo>
                  <a:lnTo>
                    <a:pt x="2155" y="6192"/>
                  </a:lnTo>
                  <a:lnTo>
                    <a:pt x="2155" y="6608"/>
                  </a:lnTo>
                  <a:cubicBezTo>
                    <a:pt x="2155" y="6704"/>
                    <a:pt x="2227" y="6775"/>
                    <a:pt x="2322" y="6775"/>
                  </a:cubicBezTo>
                  <a:cubicBezTo>
                    <a:pt x="2405" y="6775"/>
                    <a:pt x="2477" y="6704"/>
                    <a:pt x="2477" y="6608"/>
                  </a:cubicBezTo>
                  <a:lnTo>
                    <a:pt x="2477" y="6192"/>
                  </a:lnTo>
                  <a:lnTo>
                    <a:pt x="3179" y="6192"/>
                  </a:lnTo>
                  <a:lnTo>
                    <a:pt x="3179" y="6870"/>
                  </a:lnTo>
                  <a:cubicBezTo>
                    <a:pt x="3179" y="6954"/>
                    <a:pt x="3239" y="7013"/>
                    <a:pt x="3334" y="7025"/>
                  </a:cubicBezTo>
                  <a:lnTo>
                    <a:pt x="3358" y="7025"/>
                  </a:lnTo>
                  <a:cubicBezTo>
                    <a:pt x="3453" y="7025"/>
                    <a:pt x="3525" y="6954"/>
                    <a:pt x="3525" y="6870"/>
                  </a:cubicBezTo>
                  <a:lnTo>
                    <a:pt x="3525" y="6192"/>
                  </a:lnTo>
                  <a:lnTo>
                    <a:pt x="4227" y="6192"/>
                  </a:lnTo>
                  <a:lnTo>
                    <a:pt x="4227" y="6608"/>
                  </a:lnTo>
                  <a:cubicBezTo>
                    <a:pt x="4227" y="6704"/>
                    <a:pt x="4299" y="6775"/>
                    <a:pt x="4382" y="6775"/>
                  </a:cubicBezTo>
                  <a:cubicBezTo>
                    <a:pt x="4477" y="6775"/>
                    <a:pt x="4549" y="6704"/>
                    <a:pt x="4549" y="6608"/>
                  </a:cubicBezTo>
                  <a:lnTo>
                    <a:pt x="4549" y="6192"/>
                  </a:lnTo>
                  <a:lnTo>
                    <a:pt x="5251" y="6192"/>
                  </a:lnTo>
                  <a:lnTo>
                    <a:pt x="5251" y="6870"/>
                  </a:lnTo>
                  <a:cubicBezTo>
                    <a:pt x="5251" y="6954"/>
                    <a:pt x="5323" y="7025"/>
                    <a:pt x="5418" y="7025"/>
                  </a:cubicBezTo>
                  <a:cubicBezTo>
                    <a:pt x="5501" y="7025"/>
                    <a:pt x="5573" y="6954"/>
                    <a:pt x="5573" y="6870"/>
                  </a:cubicBezTo>
                  <a:lnTo>
                    <a:pt x="5573" y="6192"/>
                  </a:lnTo>
                  <a:lnTo>
                    <a:pt x="6275" y="6192"/>
                  </a:lnTo>
                  <a:lnTo>
                    <a:pt x="6275" y="6608"/>
                  </a:lnTo>
                  <a:cubicBezTo>
                    <a:pt x="6275" y="6704"/>
                    <a:pt x="6346" y="6775"/>
                    <a:pt x="6442" y="6775"/>
                  </a:cubicBezTo>
                  <a:cubicBezTo>
                    <a:pt x="6525" y="6775"/>
                    <a:pt x="6608" y="6704"/>
                    <a:pt x="6608" y="6608"/>
                  </a:cubicBezTo>
                  <a:lnTo>
                    <a:pt x="6608" y="6192"/>
                  </a:lnTo>
                  <a:lnTo>
                    <a:pt x="7418" y="6192"/>
                  </a:lnTo>
                  <a:lnTo>
                    <a:pt x="7418" y="6870"/>
                  </a:lnTo>
                  <a:cubicBezTo>
                    <a:pt x="7418" y="6954"/>
                    <a:pt x="7501" y="7025"/>
                    <a:pt x="7585" y="7025"/>
                  </a:cubicBezTo>
                  <a:cubicBezTo>
                    <a:pt x="7680" y="7025"/>
                    <a:pt x="7751" y="6954"/>
                    <a:pt x="7751" y="6870"/>
                  </a:cubicBezTo>
                  <a:lnTo>
                    <a:pt x="7751" y="5965"/>
                  </a:lnTo>
                  <a:lnTo>
                    <a:pt x="7751" y="4775"/>
                  </a:lnTo>
                  <a:cubicBezTo>
                    <a:pt x="7751" y="4679"/>
                    <a:pt x="7680" y="4608"/>
                    <a:pt x="7585" y="4608"/>
                  </a:cubicBezTo>
                  <a:cubicBezTo>
                    <a:pt x="7501" y="4608"/>
                    <a:pt x="7418" y="4679"/>
                    <a:pt x="7418" y="4775"/>
                  </a:cubicBezTo>
                  <a:lnTo>
                    <a:pt x="7418" y="5858"/>
                  </a:lnTo>
                  <a:lnTo>
                    <a:pt x="3775" y="5858"/>
                  </a:lnTo>
                  <a:lnTo>
                    <a:pt x="3775" y="3882"/>
                  </a:lnTo>
                  <a:cubicBezTo>
                    <a:pt x="3775" y="3786"/>
                    <a:pt x="3703" y="3715"/>
                    <a:pt x="3608" y="3715"/>
                  </a:cubicBezTo>
                  <a:cubicBezTo>
                    <a:pt x="3525" y="3715"/>
                    <a:pt x="3441" y="3786"/>
                    <a:pt x="3441" y="3882"/>
                  </a:cubicBezTo>
                  <a:lnTo>
                    <a:pt x="3441" y="5858"/>
                  </a:lnTo>
                  <a:lnTo>
                    <a:pt x="1989" y="5858"/>
                  </a:lnTo>
                  <a:lnTo>
                    <a:pt x="1989" y="703"/>
                  </a:lnTo>
                  <a:cubicBezTo>
                    <a:pt x="1989" y="500"/>
                    <a:pt x="2155" y="334"/>
                    <a:pt x="2358" y="334"/>
                  </a:cubicBezTo>
                  <a:lnTo>
                    <a:pt x="6025" y="334"/>
                  </a:lnTo>
                  <a:cubicBezTo>
                    <a:pt x="6108" y="334"/>
                    <a:pt x="6192" y="262"/>
                    <a:pt x="6192" y="167"/>
                  </a:cubicBezTo>
                  <a:cubicBezTo>
                    <a:pt x="6192" y="84"/>
                    <a:pt x="6108" y="0"/>
                    <a:pt x="6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71" name="Google Shape;12471;p62"/>
          <p:cNvGrpSpPr/>
          <p:nvPr/>
        </p:nvGrpSpPr>
        <p:grpSpPr>
          <a:xfrm>
            <a:off x="2194468" y="2938865"/>
            <a:ext cx="355993" cy="267766"/>
            <a:chOff x="2194468" y="2938865"/>
            <a:chExt cx="355993" cy="267766"/>
          </a:xfrm>
        </p:grpSpPr>
        <p:sp>
          <p:nvSpPr>
            <p:cNvPr id="12472" name="Google Shape;12472;p62"/>
            <p:cNvSpPr/>
            <p:nvPr/>
          </p:nvSpPr>
          <p:spPr>
            <a:xfrm>
              <a:off x="2194468" y="2938865"/>
              <a:ext cx="355993" cy="267766"/>
            </a:xfrm>
            <a:custGeom>
              <a:avLst/>
              <a:gdLst/>
              <a:ahLst/>
              <a:cxnLst/>
              <a:rect l="l" t="t" r="r" b="b"/>
              <a:pathLst>
                <a:path w="11193" h="8419" extrusionOk="0">
                  <a:moveTo>
                    <a:pt x="10859" y="1727"/>
                  </a:moveTo>
                  <a:lnTo>
                    <a:pt x="10859" y="7692"/>
                  </a:lnTo>
                  <a:cubicBezTo>
                    <a:pt x="10859" y="7919"/>
                    <a:pt x="10680" y="8097"/>
                    <a:pt x="10466" y="8097"/>
                  </a:cubicBezTo>
                  <a:lnTo>
                    <a:pt x="727" y="8097"/>
                  </a:lnTo>
                  <a:cubicBezTo>
                    <a:pt x="501" y="8097"/>
                    <a:pt x="322" y="7919"/>
                    <a:pt x="322" y="7692"/>
                  </a:cubicBezTo>
                  <a:lnTo>
                    <a:pt x="322" y="1727"/>
                  </a:lnTo>
                  <a:close/>
                  <a:moveTo>
                    <a:pt x="727" y="1"/>
                  </a:moveTo>
                  <a:cubicBezTo>
                    <a:pt x="322" y="1"/>
                    <a:pt x="0" y="322"/>
                    <a:pt x="0" y="727"/>
                  </a:cubicBezTo>
                  <a:lnTo>
                    <a:pt x="0" y="7692"/>
                  </a:lnTo>
                  <a:cubicBezTo>
                    <a:pt x="0" y="8097"/>
                    <a:pt x="322" y="8419"/>
                    <a:pt x="727" y="8419"/>
                  </a:cubicBezTo>
                  <a:lnTo>
                    <a:pt x="10466" y="8419"/>
                  </a:lnTo>
                  <a:cubicBezTo>
                    <a:pt x="10859" y="8419"/>
                    <a:pt x="11192" y="8097"/>
                    <a:pt x="11192" y="7692"/>
                  </a:cubicBezTo>
                  <a:lnTo>
                    <a:pt x="11192" y="727"/>
                  </a:lnTo>
                  <a:cubicBezTo>
                    <a:pt x="11192" y="322"/>
                    <a:pt x="10859" y="1"/>
                    <a:pt x="10466" y="1"/>
                  </a:cubicBezTo>
                  <a:lnTo>
                    <a:pt x="3644" y="1"/>
                  </a:lnTo>
                  <a:cubicBezTo>
                    <a:pt x="3560" y="1"/>
                    <a:pt x="3477" y="72"/>
                    <a:pt x="3477" y="168"/>
                  </a:cubicBezTo>
                  <a:cubicBezTo>
                    <a:pt x="3477" y="251"/>
                    <a:pt x="3560" y="322"/>
                    <a:pt x="3644" y="322"/>
                  </a:cubicBezTo>
                  <a:lnTo>
                    <a:pt x="10466" y="322"/>
                  </a:lnTo>
                  <a:cubicBezTo>
                    <a:pt x="10680" y="322"/>
                    <a:pt x="10859" y="501"/>
                    <a:pt x="10859" y="727"/>
                  </a:cubicBezTo>
                  <a:lnTo>
                    <a:pt x="10859" y="1394"/>
                  </a:lnTo>
                  <a:lnTo>
                    <a:pt x="322" y="1394"/>
                  </a:lnTo>
                  <a:lnTo>
                    <a:pt x="322" y="727"/>
                  </a:lnTo>
                  <a:cubicBezTo>
                    <a:pt x="322" y="501"/>
                    <a:pt x="501" y="322"/>
                    <a:pt x="727" y="322"/>
                  </a:cubicBezTo>
                  <a:lnTo>
                    <a:pt x="2989" y="322"/>
                  </a:lnTo>
                  <a:cubicBezTo>
                    <a:pt x="3084" y="322"/>
                    <a:pt x="3156" y="251"/>
                    <a:pt x="3156" y="156"/>
                  </a:cubicBezTo>
                  <a:cubicBezTo>
                    <a:pt x="3156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3" name="Google Shape;12473;p62"/>
            <p:cNvSpPr/>
            <p:nvPr/>
          </p:nvSpPr>
          <p:spPr>
            <a:xfrm>
              <a:off x="2217940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6" y="334"/>
                    <a:pt x="1227" y="251"/>
                    <a:pt x="1227" y="167"/>
                  </a:cubicBezTo>
                  <a:cubicBezTo>
                    <a:pt x="1227" y="72"/>
                    <a:pt x="1156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4" name="Google Shape;12474;p62"/>
            <p:cNvSpPr/>
            <p:nvPr/>
          </p:nvSpPr>
          <p:spPr>
            <a:xfrm>
              <a:off x="2270959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5" name="Google Shape;12475;p62"/>
            <p:cNvSpPr/>
            <p:nvPr/>
          </p:nvSpPr>
          <p:spPr>
            <a:xfrm>
              <a:off x="2323978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6" name="Google Shape;12476;p62"/>
            <p:cNvSpPr/>
            <p:nvPr/>
          </p:nvSpPr>
          <p:spPr>
            <a:xfrm>
              <a:off x="2376996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7" name="Google Shape;12477;p62"/>
            <p:cNvSpPr/>
            <p:nvPr/>
          </p:nvSpPr>
          <p:spPr>
            <a:xfrm>
              <a:off x="2429634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43" y="334"/>
                    <a:pt x="1227" y="251"/>
                    <a:pt x="1227" y="167"/>
                  </a:cubicBezTo>
                  <a:cubicBezTo>
                    <a:pt x="1227" y="72"/>
                    <a:pt x="1143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8" name="Google Shape;12478;p62"/>
            <p:cNvSpPr/>
            <p:nvPr/>
          </p:nvSpPr>
          <p:spPr>
            <a:xfrm>
              <a:off x="2482653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43" y="334"/>
                    <a:pt x="1226" y="251"/>
                    <a:pt x="1226" y="167"/>
                  </a:cubicBezTo>
                  <a:cubicBezTo>
                    <a:pt x="1215" y="72"/>
                    <a:pt x="1143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9" name="Google Shape;12479;p62"/>
            <p:cNvSpPr/>
            <p:nvPr/>
          </p:nvSpPr>
          <p:spPr>
            <a:xfrm>
              <a:off x="2223251" y="2962369"/>
              <a:ext cx="259433" cy="10623"/>
            </a:xfrm>
            <a:custGeom>
              <a:avLst/>
              <a:gdLst/>
              <a:ahLst/>
              <a:cxnLst/>
              <a:rect l="l" t="t" r="r" b="b"/>
              <a:pathLst>
                <a:path w="8157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7989" y="334"/>
                  </a:lnTo>
                  <a:cubicBezTo>
                    <a:pt x="8085" y="334"/>
                    <a:pt x="8156" y="262"/>
                    <a:pt x="8156" y="167"/>
                  </a:cubicBezTo>
                  <a:cubicBezTo>
                    <a:pt x="8156" y="84"/>
                    <a:pt x="8085" y="0"/>
                    <a:pt x="7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0" name="Google Shape;12480;p62"/>
            <p:cNvSpPr/>
            <p:nvPr/>
          </p:nvSpPr>
          <p:spPr>
            <a:xfrm>
              <a:off x="2502340" y="2954927"/>
              <a:ext cx="30692" cy="25635"/>
            </a:xfrm>
            <a:custGeom>
              <a:avLst/>
              <a:gdLst/>
              <a:ahLst/>
              <a:cxnLst/>
              <a:rect l="l" t="t" r="r" b="b"/>
              <a:pathLst>
                <a:path w="965" h="806" extrusionOk="0">
                  <a:moveTo>
                    <a:pt x="228" y="0"/>
                  </a:moveTo>
                  <a:cubicBezTo>
                    <a:pt x="183" y="0"/>
                    <a:pt x="139" y="18"/>
                    <a:pt x="107" y="56"/>
                  </a:cubicBezTo>
                  <a:cubicBezTo>
                    <a:pt x="48" y="139"/>
                    <a:pt x="48" y="234"/>
                    <a:pt x="119" y="294"/>
                  </a:cubicBezTo>
                  <a:lnTo>
                    <a:pt x="238" y="401"/>
                  </a:lnTo>
                  <a:lnTo>
                    <a:pt x="119" y="508"/>
                  </a:lnTo>
                  <a:cubicBezTo>
                    <a:pt x="0" y="615"/>
                    <a:pt x="84" y="806"/>
                    <a:pt x="226" y="806"/>
                  </a:cubicBezTo>
                  <a:cubicBezTo>
                    <a:pt x="334" y="806"/>
                    <a:pt x="357" y="734"/>
                    <a:pt x="488" y="627"/>
                  </a:cubicBezTo>
                  <a:cubicBezTo>
                    <a:pt x="596" y="734"/>
                    <a:pt x="643" y="806"/>
                    <a:pt x="738" y="806"/>
                  </a:cubicBezTo>
                  <a:cubicBezTo>
                    <a:pt x="881" y="806"/>
                    <a:pt x="965" y="615"/>
                    <a:pt x="846" y="508"/>
                  </a:cubicBezTo>
                  <a:lnTo>
                    <a:pt x="750" y="401"/>
                  </a:lnTo>
                  <a:lnTo>
                    <a:pt x="869" y="294"/>
                  </a:lnTo>
                  <a:cubicBezTo>
                    <a:pt x="941" y="234"/>
                    <a:pt x="941" y="139"/>
                    <a:pt x="881" y="56"/>
                  </a:cubicBezTo>
                  <a:cubicBezTo>
                    <a:pt x="850" y="18"/>
                    <a:pt x="806" y="0"/>
                    <a:pt x="761" y="0"/>
                  </a:cubicBezTo>
                  <a:cubicBezTo>
                    <a:pt x="720" y="0"/>
                    <a:pt x="677" y="15"/>
                    <a:pt x="643" y="44"/>
                  </a:cubicBezTo>
                  <a:lnTo>
                    <a:pt x="500" y="175"/>
                  </a:lnTo>
                  <a:lnTo>
                    <a:pt x="346" y="44"/>
                  </a:lnTo>
                  <a:cubicBezTo>
                    <a:pt x="311" y="15"/>
                    <a:pt x="269" y="0"/>
                    <a:pt x="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1" name="Google Shape;12481;p62"/>
            <p:cNvSpPr/>
            <p:nvPr/>
          </p:nvSpPr>
          <p:spPr>
            <a:xfrm>
              <a:off x="2217940" y="3032404"/>
              <a:ext cx="101140" cy="83361"/>
            </a:xfrm>
            <a:custGeom>
              <a:avLst/>
              <a:gdLst/>
              <a:ahLst/>
              <a:cxnLst/>
              <a:rect l="l" t="t" r="r" b="b"/>
              <a:pathLst>
                <a:path w="3180" h="2621" extrusionOk="0">
                  <a:moveTo>
                    <a:pt x="525" y="1"/>
                  </a:moveTo>
                  <a:cubicBezTo>
                    <a:pt x="227" y="1"/>
                    <a:pt x="1" y="239"/>
                    <a:pt x="1" y="525"/>
                  </a:cubicBezTo>
                  <a:lnTo>
                    <a:pt x="1" y="2465"/>
                  </a:lnTo>
                  <a:cubicBezTo>
                    <a:pt x="1" y="2549"/>
                    <a:pt x="84" y="2620"/>
                    <a:pt x="167" y="2620"/>
                  </a:cubicBezTo>
                  <a:cubicBezTo>
                    <a:pt x="263" y="2620"/>
                    <a:pt x="334" y="2549"/>
                    <a:pt x="334" y="2465"/>
                  </a:cubicBezTo>
                  <a:lnTo>
                    <a:pt x="334" y="525"/>
                  </a:lnTo>
                  <a:cubicBezTo>
                    <a:pt x="334" y="418"/>
                    <a:pt x="417" y="334"/>
                    <a:pt x="525" y="334"/>
                  </a:cubicBezTo>
                  <a:lnTo>
                    <a:pt x="3013" y="334"/>
                  </a:lnTo>
                  <a:cubicBezTo>
                    <a:pt x="3096" y="334"/>
                    <a:pt x="3180" y="263"/>
                    <a:pt x="3180" y="168"/>
                  </a:cubicBezTo>
                  <a:cubicBezTo>
                    <a:pt x="3180" y="84"/>
                    <a:pt x="3096" y="1"/>
                    <a:pt x="3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2" name="Google Shape;12482;p62"/>
            <p:cNvSpPr/>
            <p:nvPr/>
          </p:nvSpPr>
          <p:spPr>
            <a:xfrm>
              <a:off x="2217558" y="3082401"/>
              <a:ext cx="133708" cy="96592"/>
            </a:xfrm>
            <a:custGeom>
              <a:avLst/>
              <a:gdLst/>
              <a:ahLst/>
              <a:cxnLst/>
              <a:rect l="l" t="t" r="r" b="b"/>
              <a:pathLst>
                <a:path w="4204" h="3037" extrusionOk="0">
                  <a:moveTo>
                    <a:pt x="1918" y="322"/>
                  </a:moveTo>
                  <a:cubicBezTo>
                    <a:pt x="2061" y="322"/>
                    <a:pt x="2180" y="393"/>
                    <a:pt x="2239" y="512"/>
                  </a:cubicBezTo>
                  <a:lnTo>
                    <a:pt x="2549" y="1143"/>
                  </a:lnTo>
                  <a:cubicBezTo>
                    <a:pt x="2382" y="1322"/>
                    <a:pt x="2156" y="1405"/>
                    <a:pt x="1918" y="1405"/>
                  </a:cubicBezTo>
                  <a:cubicBezTo>
                    <a:pt x="1680" y="1405"/>
                    <a:pt x="1465" y="1298"/>
                    <a:pt x="1299" y="1143"/>
                  </a:cubicBezTo>
                  <a:lnTo>
                    <a:pt x="1608" y="512"/>
                  </a:lnTo>
                  <a:cubicBezTo>
                    <a:pt x="1668" y="393"/>
                    <a:pt x="1787" y="322"/>
                    <a:pt x="1918" y="322"/>
                  </a:cubicBezTo>
                  <a:close/>
                  <a:moveTo>
                    <a:pt x="2727" y="1453"/>
                  </a:moveTo>
                  <a:lnTo>
                    <a:pt x="3346" y="2691"/>
                  </a:lnTo>
                  <a:lnTo>
                    <a:pt x="525" y="2691"/>
                  </a:lnTo>
                  <a:lnTo>
                    <a:pt x="1144" y="1453"/>
                  </a:lnTo>
                  <a:cubicBezTo>
                    <a:pt x="1370" y="1644"/>
                    <a:pt x="1644" y="1751"/>
                    <a:pt x="1941" y="1751"/>
                  </a:cubicBezTo>
                  <a:cubicBezTo>
                    <a:pt x="2239" y="1751"/>
                    <a:pt x="2501" y="1644"/>
                    <a:pt x="2727" y="1453"/>
                  </a:cubicBezTo>
                  <a:close/>
                  <a:moveTo>
                    <a:pt x="1918" y="0"/>
                  </a:moveTo>
                  <a:cubicBezTo>
                    <a:pt x="1668" y="0"/>
                    <a:pt x="1430" y="143"/>
                    <a:pt x="1310" y="370"/>
                  </a:cubicBezTo>
                  <a:lnTo>
                    <a:pt x="941" y="1084"/>
                  </a:lnTo>
                  <a:lnTo>
                    <a:pt x="322" y="2275"/>
                  </a:lnTo>
                  <a:lnTo>
                    <a:pt x="322" y="1572"/>
                  </a:lnTo>
                  <a:cubicBezTo>
                    <a:pt x="322" y="1489"/>
                    <a:pt x="251" y="1405"/>
                    <a:pt x="167" y="1405"/>
                  </a:cubicBezTo>
                  <a:cubicBezTo>
                    <a:pt x="72" y="1405"/>
                    <a:pt x="1" y="1489"/>
                    <a:pt x="1" y="1572"/>
                  </a:cubicBezTo>
                  <a:lnTo>
                    <a:pt x="1" y="2501"/>
                  </a:lnTo>
                  <a:cubicBezTo>
                    <a:pt x="1" y="2644"/>
                    <a:pt x="60" y="2775"/>
                    <a:pt x="167" y="2882"/>
                  </a:cubicBezTo>
                  <a:cubicBezTo>
                    <a:pt x="263" y="2977"/>
                    <a:pt x="382" y="3037"/>
                    <a:pt x="525" y="3037"/>
                  </a:cubicBezTo>
                  <a:lnTo>
                    <a:pt x="4001" y="3037"/>
                  </a:lnTo>
                  <a:cubicBezTo>
                    <a:pt x="4097" y="3037"/>
                    <a:pt x="4168" y="2953"/>
                    <a:pt x="4168" y="2870"/>
                  </a:cubicBezTo>
                  <a:cubicBezTo>
                    <a:pt x="4204" y="2763"/>
                    <a:pt x="4120" y="2691"/>
                    <a:pt x="4037" y="2691"/>
                  </a:cubicBezTo>
                  <a:lnTo>
                    <a:pt x="3704" y="2691"/>
                  </a:lnTo>
                  <a:lnTo>
                    <a:pt x="2537" y="370"/>
                  </a:lnTo>
                  <a:cubicBezTo>
                    <a:pt x="2418" y="131"/>
                    <a:pt x="2180" y="0"/>
                    <a:pt x="1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3" name="Google Shape;12483;p62"/>
            <p:cNvSpPr/>
            <p:nvPr/>
          </p:nvSpPr>
          <p:spPr>
            <a:xfrm>
              <a:off x="2329671" y="3032404"/>
              <a:ext cx="82566" cy="145444"/>
            </a:xfrm>
            <a:custGeom>
              <a:avLst/>
              <a:gdLst/>
              <a:ahLst/>
              <a:cxnLst/>
              <a:rect l="l" t="t" r="r" b="b"/>
              <a:pathLst>
                <a:path w="2596" h="4573" extrusionOk="0">
                  <a:moveTo>
                    <a:pt x="167" y="1"/>
                  </a:moveTo>
                  <a:cubicBezTo>
                    <a:pt x="71" y="1"/>
                    <a:pt x="0" y="84"/>
                    <a:pt x="0" y="168"/>
                  </a:cubicBezTo>
                  <a:cubicBezTo>
                    <a:pt x="0" y="263"/>
                    <a:pt x="71" y="334"/>
                    <a:pt x="167" y="334"/>
                  </a:cubicBezTo>
                  <a:lnTo>
                    <a:pt x="2072" y="334"/>
                  </a:lnTo>
                  <a:cubicBezTo>
                    <a:pt x="2179" y="334"/>
                    <a:pt x="2262" y="418"/>
                    <a:pt x="2262" y="525"/>
                  </a:cubicBezTo>
                  <a:lnTo>
                    <a:pt x="2262" y="4049"/>
                  </a:lnTo>
                  <a:cubicBezTo>
                    <a:pt x="2262" y="4156"/>
                    <a:pt x="2179" y="4251"/>
                    <a:pt x="2072" y="4251"/>
                  </a:cubicBezTo>
                  <a:lnTo>
                    <a:pt x="1179" y="4251"/>
                  </a:lnTo>
                  <a:cubicBezTo>
                    <a:pt x="1095" y="4251"/>
                    <a:pt x="1012" y="4323"/>
                    <a:pt x="1012" y="4406"/>
                  </a:cubicBezTo>
                  <a:cubicBezTo>
                    <a:pt x="1012" y="4501"/>
                    <a:pt x="1095" y="4573"/>
                    <a:pt x="1179" y="4573"/>
                  </a:cubicBezTo>
                  <a:lnTo>
                    <a:pt x="2072" y="4573"/>
                  </a:lnTo>
                  <a:cubicBezTo>
                    <a:pt x="2369" y="4573"/>
                    <a:pt x="2596" y="4335"/>
                    <a:pt x="2596" y="4049"/>
                  </a:cubicBezTo>
                  <a:lnTo>
                    <a:pt x="2596" y="525"/>
                  </a:lnTo>
                  <a:cubicBezTo>
                    <a:pt x="2596" y="239"/>
                    <a:pt x="2357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4" name="Google Shape;12484;p62"/>
            <p:cNvSpPr/>
            <p:nvPr/>
          </p:nvSpPr>
          <p:spPr>
            <a:xfrm>
              <a:off x="2437585" y="3032404"/>
              <a:ext cx="84092" cy="10655"/>
            </a:xfrm>
            <a:custGeom>
              <a:avLst/>
              <a:gdLst/>
              <a:ahLst/>
              <a:cxnLst/>
              <a:rect l="l" t="t" r="r" b="b"/>
              <a:pathLst>
                <a:path w="2644" h="335" extrusionOk="0">
                  <a:moveTo>
                    <a:pt x="167" y="1"/>
                  </a:moveTo>
                  <a:cubicBezTo>
                    <a:pt x="84" y="1"/>
                    <a:pt x="0" y="84"/>
                    <a:pt x="0" y="168"/>
                  </a:cubicBezTo>
                  <a:cubicBezTo>
                    <a:pt x="0" y="263"/>
                    <a:pt x="84" y="334"/>
                    <a:pt x="167" y="334"/>
                  </a:cubicBezTo>
                  <a:lnTo>
                    <a:pt x="2477" y="334"/>
                  </a:lnTo>
                  <a:cubicBezTo>
                    <a:pt x="2560" y="334"/>
                    <a:pt x="2643" y="263"/>
                    <a:pt x="2643" y="168"/>
                  </a:cubicBezTo>
                  <a:cubicBezTo>
                    <a:pt x="2632" y="84"/>
                    <a:pt x="256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5" name="Google Shape;12485;p62"/>
            <p:cNvSpPr/>
            <p:nvPr/>
          </p:nvSpPr>
          <p:spPr>
            <a:xfrm>
              <a:off x="2427344" y="3055144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62"/>
                    <a:pt x="2965" y="167"/>
                  </a:cubicBezTo>
                  <a:cubicBezTo>
                    <a:pt x="2954" y="84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6" name="Google Shape;12486;p62"/>
            <p:cNvSpPr/>
            <p:nvPr/>
          </p:nvSpPr>
          <p:spPr>
            <a:xfrm>
              <a:off x="2427344" y="3077853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63"/>
                    <a:pt x="2965" y="167"/>
                  </a:cubicBezTo>
                  <a:cubicBezTo>
                    <a:pt x="2954" y="84"/>
                    <a:pt x="288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7" name="Google Shape;12487;p62"/>
            <p:cNvSpPr/>
            <p:nvPr/>
          </p:nvSpPr>
          <p:spPr>
            <a:xfrm>
              <a:off x="2427344" y="3100212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2799" y="333"/>
                  </a:lnTo>
                  <a:cubicBezTo>
                    <a:pt x="2882" y="333"/>
                    <a:pt x="2965" y="250"/>
                    <a:pt x="2965" y="167"/>
                  </a:cubicBezTo>
                  <a:cubicBezTo>
                    <a:pt x="2965" y="71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8" name="Google Shape;12488;p62"/>
            <p:cNvSpPr/>
            <p:nvPr/>
          </p:nvSpPr>
          <p:spPr>
            <a:xfrm>
              <a:off x="2427344" y="3122921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50"/>
                    <a:pt x="2965" y="167"/>
                  </a:cubicBezTo>
                  <a:cubicBezTo>
                    <a:pt x="2954" y="72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9" name="Google Shape;12489;p62"/>
            <p:cNvSpPr/>
            <p:nvPr/>
          </p:nvSpPr>
          <p:spPr>
            <a:xfrm>
              <a:off x="2427344" y="3145629"/>
              <a:ext cx="94334" cy="10655"/>
            </a:xfrm>
            <a:custGeom>
              <a:avLst/>
              <a:gdLst/>
              <a:ahLst/>
              <a:cxnLst/>
              <a:rect l="l" t="t" r="r" b="b"/>
              <a:pathLst>
                <a:path w="2966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51"/>
                    <a:pt x="2965" y="167"/>
                  </a:cubicBezTo>
                  <a:cubicBezTo>
                    <a:pt x="2954" y="72"/>
                    <a:pt x="288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0" name="Google Shape;12490;p62"/>
            <p:cNvSpPr/>
            <p:nvPr/>
          </p:nvSpPr>
          <p:spPr>
            <a:xfrm>
              <a:off x="2427344" y="3167988"/>
              <a:ext cx="68953" cy="10241"/>
            </a:xfrm>
            <a:custGeom>
              <a:avLst/>
              <a:gdLst/>
              <a:ahLst/>
              <a:cxnLst/>
              <a:rect l="l" t="t" r="r" b="b"/>
              <a:pathLst>
                <a:path w="2168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1989" y="322"/>
                  </a:lnTo>
                  <a:cubicBezTo>
                    <a:pt x="2084" y="322"/>
                    <a:pt x="2156" y="250"/>
                    <a:pt x="2156" y="167"/>
                  </a:cubicBezTo>
                  <a:cubicBezTo>
                    <a:pt x="2168" y="72"/>
                    <a:pt x="2096" y="0"/>
                    <a:pt x="1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1" name="Google Shape;12491;p62"/>
            <p:cNvSpPr/>
            <p:nvPr/>
          </p:nvSpPr>
          <p:spPr>
            <a:xfrm>
              <a:off x="2323214" y="3050882"/>
              <a:ext cx="66695" cy="69780"/>
            </a:xfrm>
            <a:custGeom>
              <a:avLst/>
              <a:gdLst/>
              <a:ahLst/>
              <a:cxnLst/>
              <a:rect l="l" t="t" r="r" b="b"/>
              <a:pathLst>
                <a:path w="2097" h="2194" extrusionOk="0">
                  <a:moveTo>
                    <a:pt x="715" y="408"/>
                  </a:moveTo>
                  <a:lnTo>
                    <a:pt x="715" y="527"/>
                  </a:lnTo>
                  <a:cubicBezTo>
                    <a:pt x="715" y="1075"/>
                    <a:pt x="1120" y="1527"/>
                    <a:pt x="1632" y="1611"/>
                  </a:cubicBezTo>
                  <a:cubicBezTo>
                    <a:pt x="1477" y="1742"/>
                    <a:pt x="1275" y="1837"/>
                    <a:pt x="1072" y="1837"/>
                  </a:cubicBezTo>
                  <a:cubicBezTo>
                    <a:pt x="655" y="1837"/>
                    <a:pt x="310" y="1492"/>
                    <a:pt x="310" y="1075"/>
                  </a:cubicBezTo>
                  <a:cubicBezTo>
                    <a:pt x="310" y="789"/>
                    <a:pt x="477" y="539"/>
                    <a:pt x="715" y="408"/>
                  </a:cubicBezTo>
                  <a:close/>
                  <a:moveTo>
                    <a:pt x="960" y="0"/>
                  </a:moveTo>
                  <a:cubicBezTo>
                    <a:pt x="950" y="0"/>
                    <a:pt x="939" y="1"/>
                    <a:pt x="929" y="3"/>
                  </a:cubicBezTo>
                  <a:cubicBezTo>
                    <a:pt x="394" y="75"/>
                    <a:pt x="1" y="539"/>
                    <a:pt x="1" y="1087"/>
                  </a:cubicBezTo>
                  <a:cubicBezTo>
                    <a:pt x="1" y="1694"/>
                    <a:pt x="489" y="2194"/>
                    <a:pt x="1096" y="2194"/>
                  </a:cubicBezTo>
                  <a:cubicBezTo>
                    <a:pt x="1525" y="2194"/>
                    <a:pt x="1929" y="1932"/>
                    <a:pt x="2096" y="1539"/>
                  </a:cubicBezTo>
                  <a:cubicBezTo>
                    <a:pt x="2096" y="1444"/>
                    <a:pt x="2084" y="1384"/>
                    <a:pt x="2048" y="1337"/>
                  </a:cubicBezTo>
                  <a:cubicBezTo>
                    <a:pt x="2030" y="1309"/>
                    <a:pt x="1990" y="1281"/>
                    <a:pt x="1945" y="1281"/>
                  </a:cubicBezTo>
                  <a:cubicBezTo>
                    <a:pt x="1932" y="1281"/>
                    <a:pt x="1919" y="1284"/>
                    <a:pt x="1906" y="1289"/>
                  </a:cubicBezTo>
                  <a:lnTo>
                    <a:pt x="1798" y="1289"/>
                  </a:lnTo>
                  <a:cubicBezTo>
                    <a:pt x="1382" y="1289"/>
                    <a:pt x="1036" y="944"/>
                    <a:pt x="1036" y="527"/>
                  </a:cubicBezTo>
                  <a:cubicBezTo>
                    <a:pt x="1036" y="420"/>
                    <a:pt x="1060" y="313"/>
                    <a:pt x="1096" y="229"/>
                  </a:cubicBezTo>
                  <a:cubicBezTo>
                    <a:pt x="1132" y="170"/>
                    <a:pt x="1120" y="110"/>
                    <a:pt x="1084" y="63"/>
                  </a:cubicBezTo>
                  <a:cubicBezTo>
                    <a:pt x="1054" y="23"/>
                    <a:pt x="1009" y="0"/>
                    <a:pt x="9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92" name="Google Shape;12492;p62"/>
          <p:cNvGrpSpPr/>
          <p:nvPr/>
        </p:nvGrpSpPr>
        <p:grpSpPr>
          <a:xfrm>
            <a:off x="1749897" y="2894561"/>
            <a:ext cx="355993" cy="355612"/>
            <a:chOff x="1749897" y="2894561"/>
            <a:chExt cx="355993" cy="355612"/>
          </a:xfrm>
        </p:grpSpPr>
        <p:sp>
          <p:nvSpPr>
            <p:cNvPr id="12493" name="Google Shape;12493;p62"/>
            <p:cNvSpPr/>
            <p:nvPr/>
          </p:nvSpPr>
          <p:spPr>
            <a:xfrm>
              <a:off x="1899858" y="2895324"/>
              <a:ext cx="206033" cy="161728"/>
            </a:xfrm>
            <a:custGeom>
              <a:avLst/>
              <a:gdLst/>
              <a:ahLst/>
              <a:cxnLst/>
              <a:rect l="l" t="t" r="r" b="b"/>
              <a:pathLst>
                <a:path w="6478" h="5085" extrusionOk="0">
                  <a:moveTo>
                    <a:pt x="6156" y="322"/>
                  </a:moveTo>
                  <a:lnTo>
                    <a:pt x="6156" y="4763"/>
                  </a:lnTo>
                  <a:lnTo>
                    <a:pt x="334" y="4763"/>
                  </a:lnTo>
                  <a:lnTo>
                    <a:pt x="334" y="322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4930"/>
                  </a:lnTo>
                  <a:cubicBezTo>
                    <a:pt x="0" y="5013"/>
                    <a:pt x="72" y="5085"/>
                    <a:pt x="167" y="5085"/>
                  </a:cubicBezTo>
                  <a:lnTo>
                    <a:pt x="6311" y="5085"/>
                  </a:lnTo>
                  <a:cubicBezTo>
                    <a:pt x="6406" y="5085"/>
                    <a:pt x="6477" y="5013"/>
                    <a:pt x="6477" y="4930"/>
                  </a:cubicBezTo>
                  <a:lnTo>
                    <a:pt x="6477" y="167"/>
                  </a:lnTo>
                  <a:cubicBezTo>
                    <a:pt x="6477" y="72"/>
                    <a:pt x="6406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4" name="Google Shape;12494;p62"/>
            <p:cNvSpPr/>
            <p:nvPr/>
          </p:nvSpPr>
          <p:spPr>
            <a:xfrm>
              <a:off x="1751424" y="2894561"/>
              <a:ext cx="135585" cy="161379"/>
            </a:xfrm>
            <a:custGeom>
              <a:avLst/>
              <a:gdLst/>
              <a:ahLst/>
              <a:cxnLst/>
              <a:rect l="l" t="t" r="r" b="b"/>
              <a:pathLst>
                <a:path w="4263" h="5074" extrusionOk="0">
                  <a:moveTo>
                    <a:pt x="3643" y="334"/>
                  </a:moveTo>
                  <a:lnTo>
                    <a:pt x="2048" y="2227"/>
                  </a:lnTo>
                  <a:lnTo>
                    <a:pt x="476" y="334"/>
                  </a:lnTo>
                  <a:close/>
                  <a:moveTo>
                    <a:pt x="286" y="632"/>
                  </a:moveTo>
                  <a:lnTo>
                    <a:pt x="1846" y="2489"/>
                  </a:lnTo>
                  <a:lnTo>
                    <a:pt x="286" y="4359"/>
                  </a:lnTo>
                  <a:lnTo>
                    <a:pt x="286" y="632"/>
                  </a:lnTo>
                  <a:close/>
                  <a:moveTo>
                    <a:pt x="3894" y="561"/>
                  </a:moveTo>
                  <a:lnTo>
                    <a:pt x="3894" y="4430"/>
                  </a:lnTo>
                  <a:lnTo>
                    <a:pt x="2274" y="2489"/>
                  </a:lnTo>
                  <a:lnTo>
                    <a:pt x="3894" y="561"/>
                  </a:lnTo>
                  <a:close/>
                  <a:moveTo>
                    <a:pt x="2072" y="2739"/>
                  </a:moveTo>
                  <a:lnTo>
                    <a:pt x="3763" y="4763"/>
                  </a:lnTo>
                  <a:lnTo>
                    <a:pt x="369" y="4763"/>
                  </a:lnTo>
                  <a:lnTo>
                    <a:pt x="2072" y="2739"/>
                  </a:lnTo>
                  <a:close/>
                  <a:moveTo>
                    <a:pt x="36" y="1"/>
                  </a:moveTo>
                  <a:cubicBezTo>
                    <a:pt x="36" y="1"/>
                    <a:pt x="24" y="1"/>
                    <a:pt x="24" y="25"/>
                  </a:cubicBezTo>
                  <a:cubicBezTo>
                    <a:pt x="24" y="25"/>
                    <a:pt x="12" y="25"/>
                    <a:pt x="12" y="37"/>
                  </a:cubicBezTo>
                  <a:lnTo>
                    <a:pt x="0" y="49"/>
                  </a:lnTo>
                  <a:lnTo>
                    <a:pt x="0" y="72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0" y="108"/>
                  </a:lnTo>
                  <a:lnTo>
                    <a:pt x="0" y="132"/>
                  </a:lnTo>
                  <a:lnTo>
                    <a:pt x="0" y="144"/>
                  </a:lnTo>
                  <a:lnTo>
                    <a:pt x="0" y="4906"/>
                  </a:lnTo>
                  <a:cubicBezTo>
                    <a:pt x="0" y="4990"/>
                    <a:pt x="72" y="5073"/>
                    <a:pt x="155" y="5073"/>
                  </a:cubicBezTo>
                  <a:lnTo>
                    <a:pt x="4108" y="5073"/>
                  </a:lnTo>
                  <a:cubicBezTo>
                    <a:pt x="4191" y="5073"/>
                    <a:pt x="4263" y="4990"/>
                    <a:pt x="4263" y="4906"/>
                  </a:cubicBezTo>
                  <a:lnTo>
                    <a:pt x="4263" y="144"/>
                  </a:lnTo>
                  <a:cubicBezTo>
                    <a:pt x="4239" y="84"/>
                    <a:pt x="4167" y="1"/>
                    <a:pt x="4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5" name="Google Shape;12495;p62"/>
            <p:cNvSpPr/>
            <p:nvPr/>
          </p:nvSpPr>
          <p:spPr>
            <a:xfrm>
              <a:off x="1931663" y="2921468"/>
              <a:ext cx="64787" cy="10241"/>
            </a:xfrm>
            <a:custGeom>
              <a:avLst/>
              <a:gdLst/>
              <a:ahLst/>
              <a:cxnLst/>
              <a:rect l="l" t="t" r="r" b="b"/>
              <a:pathLst>
                <a:path w="2037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1882" y="322"/>
                  </a:lnTo>
                  <a:cubicBezTo>
                    <a:pt x="1965" y="322"/>
                    <a:pt x="2037" y="250"/>
                    <a:pt x="2037" y="155"/>
                  </a:cubicBezTo>
                  <a:cubicBezTo>
                    <a:pt x="2037" y="72"/>
                    <a:pt x="1965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6" name="Google Shape;12496;p62"/>
            <p:cNvSpPr/>
            <p:nvPr/>
          </p:nvSpPr>
          <p:spPr>
            <a:xfrm>
              <a:off x="2009681" y="2921468"/>
              <a:ext cx="65168" cy="10241"/>
            </a:xfrm>
            <a:custGeom>
              <a:avLst/>
              <a:gdLst/>
              <a:ahLst/>
              <a:cxnLst/>
              <a:rect l="l" t="t" r="r" b="b"/>
              <a:pathLst>
                <a:path w="2049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1881" y="322"/>
                  </a:lnTo>
                  <a:cubicBezTo>
                    <a:pt x="1965" y="322"/>
                    <a:pt x="2048" y="250"/>
                    <a:pt x="2048" y="155"/>
                  </a:cubicBezTo>
                  <a:cubicBezTo>
                    <a:pt x="2048" y="72"/>
                    <a:pt x="1965" y="0"/>
                    <a:pt x="1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7" name="Google Shape;12497;p62"/>
            <p:cNvSpPr/>
            <p:nvPr/>
          </p:nvSpPr>
          <p:spPr>
            <a:xfrm>
              <a:off x="1931663" y="2954418"/>
              <a:ext cx="64787" cy="10623"/>
            </a:xfrm>
            <a:custGeom>
              <a:avLst/>
              <a:gdLst/>
              <a:ahLst/>
              <a:cxnLst/>
              <a:rect l="l" t="t" r="r" b="b"/>
              <a:pathLst>
                <a:path w="203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1882" y="334"/>
                  </a:lnTo>
                  <a:cubicBezTo>
                    <a:pt x="1965" y="334"/>
                    <a:pt x="2037" y="250"/>
                    <a:pt x="2037" y="167"/>
                  </a:cubicBezTo>
                  <a:cubicBezTo>
                    <a:pt x="2037" y="72"/>
                    <a:pt x="1965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8" name="Google Shape;12498;p62"/>
            <p:cNvSpPr/>
            <p:nvPr/>
          </p:nvSpPr>
          <p:spPr>
            <a:xfrm>
              <a:off x="2009681" y="2954418"/>
              <a:ext cx="65168" cy="10623"/>
            </a:xfrm>
            <a:custGeom>
              <a:avLst/>
              <a:gdLst/>
              <a:ahLst/>
              <a:cxnLst/>
              <a:rect l="l" t="t" r="r" b="b"/>
              <a:pathLst>
                <a:path w="2049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34"/>
                    <a:pt x="167" y="334"/>
                  </a:cubicBezTo>
                  <a:lnTo>
                    <a:pt x="1881" y="334"/>
                  </a:lnTo>
                  <a:cubicBezTo>
                    <a:pt x="1965" y="334"/>
                    <a:pt x="2048" y="250"/>
                    <a:pt x="2048" y="167"/>
                  </a:cubicBezTo>
                  <a:cubicBezTo>
                    <a:pt x="2048" y="72"/>
                    <a:pt x="1965" y="0"/>
                    <a:pt x="1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9" name="Google Shape;12499;p62"/>
            <p:cNvSpPr/>
            <p:nvPr/>
          </p:nvSpPr>
          <p:spPr>
            <a:xfrm>
              <a:off x="1931663" y="2987718"/>
              <a:ext cx="64787" cy="10273"/>
            </a:xfrm>
            <a:custGeom>
              <a:avLst/>
              <a:gdLst/>
              <a:ahLst/>
              <a:cxnLst/>
              <a:rect l="l" t="t" r="r" b="b"/>
              <a:pathLst>
                <a:path w="2037" h="323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882" y="322"/>
                  </a:lnTo>
                  <a:cubicBezTo>
                    <a:pt x="1965" y="322"/>
                    <a:pt x="2037" y="251"/>
                    <a:pt x="2037" y="156"/>
                  </a:cubicBezTo>
                  <a:cubicBezTo>
                    <a:pt x="2037" y="72"/>
                    <a:pt x="1965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0" name="Google Shape;12500;p62"/>
            <p:cNvSpPr/>
            <p:nvPr/>
          </p:nvSpPr>
          <p:spPr>
            <a:xfrm>
              <a:off x="2009681" y="2987718"/>
              <a:ext cx="65168" cy="10273"/>
            </a:xfrm>
            <a:custGeom>
              <a:avLst/>
              <a:gdLst/>
              <a:ahLst/>
              <a:cxnLst/>
              <a:rect l="l" t="t" r="r" b="b"/>
              <a:pathLst>
                <a:path w="2049" h="323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1881" y="322"/>
                  </a:lnTo>
                  <a:cubicBezTo>
                    <a:pt x="1965" y="322"/>
                    <a:pt x="2048" y="251"/>
                    <a:pt x="2048" y="156"/>
                  </a:cubicBezTo>
                  <a:cubicBezTo>
                    <a:pt x="2048" y="72"/>
                    <a:pt x="196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1" name="Google Shape;12501;p62"/>
            <p:cNvSpPr/>
            <p:nvPr/>
          </p:nvSpPr>
          <p:spPr>
            <a:xfrm>
              <a:off x="1931663" y="3020668"/>
              <a:ext cx="64787" cy="10655"/>
            </a:xfrm>
            <a:custGeom>
              <a:avLst/>
              <a:gdLst/>
              <a:ahLst/>
              <a:cxnLst/>
              <a:rect l="l" t="t" r="r" b="b"/>
              <a:pathLst>
                <a:path w="2037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1882" y="334"/>
                  </a:lnTo>
                  <a:cubicBezTo>
                    <a:pt x="1965" y="334"/>
                    <a:pt x="2037" y="251"/>
                    <a:pt x="2037" y="167"/>
                  </a:cubicBezTo>
                  <a:cubicBezTo>
                    <a:pt x="2037" y="72"/>
                    <a:pt x="1965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2" name="Google Shape;12502;p62"/>
            <p:cNvSpPr/>
            <p:nvPr/>
          </p:nvSpPr>
          <p:spPr>
            <a:xfrm>
              <a:off x="2009681" y="3020668"/>
              <a:ext cx="65168" cy="10655"/>
            </a:xfrm>
            <a:custGeom>
              <a:avLst/>
              <a:gdLst/>
              <a:ahLst/>
              <a:cxnLst/>
              <a:rect l="l" t="t" r="r" b="b"/>
              <a:pathLst>
                <a:path w="2049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881" y="334"/>
                  </a:lnTo>
                  <a:cubicBezTo>
                    <a:pt x="1965" y="334"/>
                    <a:pt x="2048" y="251"/>
                    <a:pt x="2048" y="167"/>
                  </a:cubicBezTo>
                  <a:cubicBezTo>
                    <a:pt x="2048" y="72"/>
                    <a:pt x="196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3" name="Google Shape;12503;p62"/>
            <p:cNvSpPr/>
            <p:nvPr/>
          </p:nvSpPr>
          <p:spPr>
            <a:xfrm>
              <a:off x="1749897" y="3069138"/>
              <a:ext cx="355993" cy="181034"/>
            </a:xfrm>
            <a:custGeom>
              <a:avLst/>
              <a:gdLst/>
              <a:ahLst/>
              <a:cxnLst/>
              <a:rect l="l" t="t" r="r" b="b"/>
              <a:pathLst>
                <a:path w="11193" h="5692" extrusionOk="0">
                  <a:moveTo>
                    <a:pt x="9859" y="322"/>
                  </a:moveTo>
                  <a:lnTo>
                    <a:pt x="5596" y="1477"/>
                  </a:lnTo>
                  <a:lnTo>
                    <a:pt x="1334" y="322"/>
                  </a:lnTo>
                  <a:close/>
                  <a:moveTo>
                    <a:pt x="334" y="394"/>
                  </a:moveTo>
                  <a:lnTo>
                    <a:pt x="4954" y="1644"/>
                  </a:lnTo>
                  <a:lnTo>
                    <a:pt x="334" y="2894"/>
                  </a:lnTo>
                  <a:lnTo>
                    <a:pt x="334" y="394"/>
                  </a:lnTo>
                  <a:close/>
                  <a:moveTo>
                    <a:pt x="10871" y="417"/>
                  </a:moveTo>
                  <a:lnTo>
                    <a:pt x="10871" y="2918"/>
                  </a:lnTo>
                  <a:lnTo>
                    <a:pt x="6239" y="1668"/>
                  </a:lnTo>
                  <a:lnTo>
                    <a:pt x="10871" y="417"/>
                  </a:lnTo>
                  <a:close/>
                  <a:moveTo>
                    <a:pt x="5596" y="1822"/>
                  </a:moveTo>
                  <a:lnTo>
                    <a:pt x="10252" y="3096"/>
                  </a:lnTo>
                  <a:lnTo>
                    <a:pt x="941" y="3096"/>
                  </a:lnTo>
                  <a:lnTo>
                    <a:pt x="5596" y="1822"/>
                  </a:lnTo>
                  <a:close/>
                  <a:moveTo>
                    <a:pt x="9132" y="3425"/>
                  </a:moveTo>
                  <a:cubicBezTo>
                    <a:pt x="9140" y="3425"/>
                    <a:pt x="9148" y="3427"/>
                    <a:pt x="9156" y="3430"/>
                  </a:cubicBezTo>
                  <a:lnTo>
                    <a:pt x="10669" y="4477"/>
                  </a:lnTo>
                  <a:cubicBezTo>
                    <a:pt x="10692" y="4489"/>
                    <a:pt x="10704" y="4501"/>
                    <a:pt x="10692" y="4537"/>
                  </a:cubicBezTo>
                  <a:cubicBezTo>
                    <a:pt x="10692" y="4549"/>
                    <a:pt x="10669" y="4561"/>
                    <a:pt x="10645" y="4561"/>
                  </a:cubicBezTo>
                  <a:lnTo>
                    <a:pt x="9871" y="4525"/>
                  </a:lnTo>
                  <a:cubicBezTo>
                    <a:pt x="9856" y="4522"/>
                    <a:pt x="9840" y="4521"/>
                    <a:pt x="9825" y="4521"/>
                  </a:cubicBezTo>
                  <a:cubicBezTo>
                    <a:pt x="9708" y="4521"/>
                    <a:pt x="9589" y="4598"/>
                    <a:pt x="9526" y="4704"/>
                  </a:cubicBezTo>
                  <a:cubicBezTo>
                    <a:pt x="9097" y="5382"/>
                    <a:pt x="9121" y="5382"/>
                    <a:pt x="9085" y="5382"/>
                  </a:cubicBezTo>
                  <a:cubicBezTo>
                    <a:pt x="9049" y="5382"/>
                    <a:pt x="9037" y="5370"/>
                    <a:pt x="9037" y="5335"/>
                  </a:cubicBezTo>
                  <a:lnTo>
                    <a:pt x="9085" y="3477"/>
                  </a:lnTo>
                  <a:cubicBezTo>
                    <a:pt x="9085" y="3441"/>
                    <a:pt x="9106" y="3425"/>
                    <a:pt x="9132" y="3425"/>
                  </a:cubicBezTo>
                  <a:close/>
                  <a:moveTo>
                    <a:pt x="334" y="1"/>
                  </a:moveTo>
                  <a:cubicBezTo>
                    <a:pt x="286" y="1"/>
                    <a:pt x="239" y="13"/>
                    <a:pt x="215" y="25"/>
                  </a:cubicBezTo>
                  <a:cubicBezTo>
                    <a:pt x="96" y="72"/>
                    <a:pt x="12" y="191"/>
                    <a:pt x="1" y="310"/>
                  </a:cubicBezTo>
                  <a:lnTo>
                    <a:pt x="1" y="322"/>
                  </a:lnTo>
                  <a:lnTo>
                    <a:pt x="1" y="3096"/>
                  </a:lnTo>
                  <a:cubicBezTo>
                    <a:pt x="1" y="3275"/>
                    <a:pt x="155" y="3418"/>
                    <a:pt x="334" y="3418"/>
                  </a:cubicBezTo>
                  <a:lnTo>
                    <a:pt x="8728" y="3418"/>
                  </a:lnTo>
                  <a:cubicBezTo>
                    <a:pt x="8728" y="3465"/>
                    <a:pt x="8728" y="3346"/>
                    <a:pt x="8680" y="5311"/>
                  </a:cubicBezTo>
                  <a:cubicBezTo>
                    <a:pt x="8680" y="5418"/>
                    <a:pt x="8704" y="5513"/>
                    <a:pt x="8775" y="5573"/>
                  </a:cubicBezTo>
                  <a:cubicBezTo>
                    <a:pt x="8859" y="5656"/>
                    <a:pt x="8954" y="5692"/>
                    <a:pt x="9061" y="5692"/>
                  </a:cubicBezTo>
                  <a:cubicBezTo>
                    <a:pt x="9192" y="5692"/>
                    <a:pt x="9311" y="5620"/>
                    <a:pt x="9395" y="5513"/>
                  </a:cubicBezTo>
                  <a:cubicBezTo>
                    <a:pt x="9823" y="4847"/>
                    <a:pt x="9787" y="4835"/>
                    <a:pt x="9835" y="4835"/>
                  </a:cubicBezTo>
                  <a:cubicBezTo>
                    <a:pt x="10764" y="4882"/>
                    <a:pt x="10621" y="4882"/>
                    <a:pt x="10645" y="4882"/>
                  </a:cubicBezTo>
                  <a:cubicBezTo>
                    <a:pt x="10800" y="4882"/>
                    <a:pt x="10954" y="4775"/>
                    <a:pt x="11002" y="4608"/>
                  </a:cubicBezTo>
                  <a:cubicBezTo>
                    <a:pt x="11038" y="4442"/>
                    <a:pt x="10978" y="4287"/>
                    <a:pt x="10847" y="4180"/>
                  </a:cubicBezTo>
                  <a:lnTo>
                    <a:pt x="9704" y="3406"/>
                  </a:lnTo>
                  <a:lnTo>
                    <a:pt x="10847" y="3406"/>
                  </a:lnTo>
                  <a:cubicBezTo>
                    <a:pt x="11026" y="3406"/>
                    <a:pt x="11181" y="3251"/>
                    <a:pt x="11181" y="3073"/>
                  </a:cubicBezTo>
                  <a:cubicBezTo>
                    <a:pt x="11192" y="2739"/>
                    <a:pt x="11192" y="620"/>
                    <a:pt x="11192" y="310"/>
                  </a:cubicBezTo>
                  <a:cubicBezTo>
                    <a:pt x="11192" y="179"/>
                    <a:pt x="11109" y="72"/>
                    <a:pt x="10990" y="25"/>
                  </a:cubicBezTo>
                  <a:cubicBezTo>
                    <a:pt x="10942" y="13"/>
                    <a:pt x="10907" y="1"/>
                    <a:pt x="108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04" name="Google Shape;12504;p62"/>
          <p:cNvGrpSpPr/>
          <p:nvPr/>
        </p:nvGrpSpPr>
        <p:grpSpPr>
          <a:xfrm>
            <a:off x="1305327" y="2894211"/>
            <a:ext cx="357520" cy="357488"/>
            <a:chOff x="1305327" y="2894211"/>
            <a:chExt cx="357520" cy="357488"/>
          </a:xfrm>
        </p:grpSpPr>
        <p:sp>
          <p:nvSpPr>
            <p:cNvPr id="12505" name="Google Shape;12505;p62"/>
            <p:cNvSpPr/>
            <p:nvPr/>
          </p:nvSpPr>
          <p:spPr>
            <a:xfrm>
              <a:off x="1305709" y="2975600"/>
              <a:ext cx="281379" cy="275336"/>
            </a:xfrm>
            <a:custGeom>
              <a:avLst/>
              <a:gdLst/>
              <a:ahLst/>
              <a:cxnLst/>
              <a:rect l="l" t="t" r="r" b="b"/>
              <a:pathLst>
                <a:path w="8847" h="8657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8085"/>
                  </a:lnTo>
                  <a:cubicBezTo>
                    <a:pt x="1" y="8395"/>
                    <a:pt x="262" y="8657"/>
                    <a:pt x="572" y="8657"/>
                  </a:cubicBezTo>
                  <a:lnTo>
                    <a:pt x="8680" y="8657"/>
                  </a:lnTo>
                  <a:cubicBezTo>
                    <a:pt x="8775" y="8657"/>
                    <a:pt x="8847" y="8573"/>
                    <a:pt x="8847" y="8490"/>
                  </a:cubicBezTo>
                  <a:cubicBezTo>
                    <a:pt x="8835" y="8395"/>
                    <a:pt x="8764" y="8323"/>
                    <a:pt x="8668" y="8323"/>
                  </a:cubicBezTo>
                  <a:lnTo>
                    <a:pt x="560" y="8323"/>
                  </a:lnTo>
                  <a:cubicBezTo>
                    <a:pt x="429" y="8323"/>
                    <a:pt x="334" y="8216"/>
                    <a:pt x="334" y="8097"/>
                  </a:cubicBezTo>
                  <a:lnTo>
                    <a:pt x="334" y="168"/>
                  </a:ln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6" name="Google Shape;12506;p62"/>
            <p:cNvSpPr/>
            <p:nvPr/>
          </p:nvSpPr>
          <p:spPr>
            <a:xfrm>
              <a:off x="1305327" y="2894211"/>
              <a:ext cx="357520" cy="357488"/>
            </a:xfrm>
            <a:custGeom>
              <a:avLst/>
              <a:gdLst/>
              <a:ahLst/>
              <a:cxnLst/>
              <a:rect l="l" t="t" r="r" b="b"/>
              <a:pathLst>
                <a:path w="11241" h="11240" extrusionOk="0">
                  <a:moveTo>
                    <a:pt x="572" y="0"/>
                  </a:moveTo>
                  <a:cubicBezTo>
                    <a:pt x="251" y="0"/>
                    <a:pt x="1" y="262"/>
                    <a:pt x="1" y="572"/>
                  </a:cubicBezTo>
                  <a:lnTo>
                    <a:pt x="1" y="2060"/>
                  </a:lnTo>
                  <a:cubicBezTo>
                    <a:pt x="1" y="2143"/>
                    <a:pt x="72" y="2215"/>
                    <a:pt x="167" y="2215"/>
                  </a:cubicBezTo>
                  <a:cubicBezTo>
                    <a:pt x="263" y="2215"/>
                    <a:pt x="334" y="2143"/>
                    <a:pt x="334" y="2060"/>
                  </a:cubicBezTo>
                  <a:lnTo>
                    <a:pt x="334" y="572"/>
                  </a:lnTo>
                  <a:cubicBezTo>
                    <a:pt x="334" y="417"/>
                    <a:pt x="453" y="333"/>
                    <a:pt x="572" y="333"/>
                  </a:cubicBezTo>
                  <a:cubicBezTo>
                    <a:pt x="620" y="333"/>
                    <a:pt x="679" y="345"/>
                    <a:pt x="739" y="405"/>
                  </a:cubicBezTo>
                  <a:lnTo>
                    <a:pt x="1048" y="714"/>
                  </a:lnTo>
                  <a:lnTo>
                    <a:pt x="596" y="1167"/>
                  </a:lnTo>
                  <a:cubicBezTo>
                    <a:pt x="501" y="1262"/>
                    <a:pt x="572" y="1441"/>
                    <a:pt x="715" y="1441"/>
                  </a:cubicBezTo>
                  <a:cubicBezTo>
                    <a:pt x="834" y="1441"/>
                    <a:pt x="858" y="1357"/>
                    <a:pt x="1286" y="953"/>
                  </a:cubicBezTo>
                  <a:lnTo>
                    <a:pt x="1822" y="1488"/>
                  </a:lnTo>
                  <a:lnTo>
                    <a:pt x="1644" y="1667"/>
                  </a:lnTo>
                  <a:cubicBezTo>
                    <a:pt x="1584" y="1726"/>
                    <a:pt x="1584" y="1834"/>
                    <a:pt x="1644" y="1905"/>
                  </a:cubicBezTo>
                  <a:cubicBezTo>
                    <a:pt x="1673" y="1935"/>
                    <a:pt x="1715" y="1950"/>
                    <a:pt x="1758" y="1950"/>
                  </a:cubicBezTo>
                  <a:cubicBezTo>
                    <a:pt x="1801" y="1950"/>
                    <a:pt x="1846" y="1935"/>
                    <a:pt x="1882" y="1905"/>
                  </a:cubicBezTo>
                  <a:lnTo>
                    <a:pt x="2060" y="1726"/>
                  </a:lnTo>
                  <a:lnTo>
                    <a:pt x="2596" y="2262"/>
                  </a:lnTo>
                  <a:lnTo>
                    <a:pt x="2144" y="2715"/>
                  </a:lnTo>
                  <a:cubicBezTo>
                    <a:pt x="2084" y="2774"/>
                    <a:pt x="2084" y="2881"/>
                    <a:pt x="2144" y="2953"/>
                  </a:cubicBezTo>
                  <a:cubicBezTo>
                    <a:pt x="2173" y="2983"/>
                    <a:pt x="2215" y="2997"/>
                    <a:pt x="2258" y="2997"/>
                  </a:cubicBezTo>
                  <a:cubicBezTo>
                    <a:pt x="2301" y="2997"/>
                    <a:pt x="2346" y="2983"/>
                    <a:pt x="2382" y="2953"/>
                  </a:cubicBezTo>
                  <a:lnTo>
                    <a:pt x="2834" y="2500"/>
                  </a:lnTo>
                  <a:lnTo>
                    <a:pt x="3370" y="3036"/>
                  </a:lnTo>
                  <a:lnTo>
                    <a:pt x="3191" y="3215"/>
                  </a:lnTo>
                  <a:cubicBezTo>
                    <a:pt x="3132" y="3274"/>
                    <a:pt x="3132" y="3381"/>
                    <a:pt x="3191" y="3453"/>
                  </a:cubicBezTo>
                  <a:cubicBezTo>
                    <a:pt x="3221" y="3483"/>
                    <a:pt x="3263" y="3498"/>
                    <a:pt x="3306" y="3498"/>
                  </a:cubicBezTo>
                  <a:cubicBezTo>
                    <a:pt x="3349" y="3498"/>
                    <a:pt x="3394" y="3483"/>
                    <a:pt x="3430" y="3453"/>
                  </a:cubicBezTo>
                  <a:lnTo>
                    <a:pt x="3608" y="3274"/>
                  </a:lnTo>
                  <a:lnTo>
                    <a:pt x="4144" y="3810"/>
                  </a:lnTo>
                  <a:lnTo>
                    <a:pt x="3692" y="4262"/>
                  </a:lnTo>
                  <a:cubicBezTo>
                    <a:pt x="3632" y="4322"/>
                    <a:pt x="3632" y="4429"/>
                    <a:pt x="3692" y="4501"/>
                  </a:cubicBezTo>
                  <a:cubicBezTo>
                    <a:pt x="3721" y="4530"/>
                    <a:pt x="3763" y="4545"/>
                    <a:pt x="3806" y="4545"/>
                  </a:cubicBezTo>
                  <a:cubicBezTo>
                    <a:pt x="3849" y="4545"/>
                    <a:pt x="3894" y="4530"/>
                    <a:pt x="3930" y="4501"/>
                  </a:cubicBezTo>
                  <a:lnTo>
                    <a:pt x="4382" y="4048"/>
                  </a:lnTo>
                  <a:lnTo>
                    <a:pt x="4918" y="4584"/>
                  </a:lnTo>
                  <a:lnTo>
                    <a:pt x="4739" y="4763"/>
                  </a:lnTo>
                  <a:cubicBezTo>
                    <a:pt x="4680" y="4822"/>
                    <a:pt x="4680" y="4929"/>
                    <a:pt x="4739" y="5001"/>
                  </a:cubicBezTo>
                  <a:cubicBezTo>
                    <a:pt x="4769" y="5030"/>
                    <a:pt x="4811" y="5045"/>
                    <a:pt x="4854" y="5045"/>
                  </a:cubicBezTo>
                  <a:cubicBezTo>
                    <a:pt x="4897" y="5045"/>
                    <a:pt x="4942" y="5030"/>
                    <a:pt x="4977" y="5001"/>
                  </a:cubicBezTo>
                  <a:lnTo>
                    <a:pt x="5156" y="4822"/>
                  </a:lnTo>
                  <a:lnTo>
                    <a:pt x="5692" y="5358"/>
                  </a:lnTo>
                  <a:lnTo>
                    <a:pt x="5239" y="5810"/>
                  </a:lnTo>
                  <a:cubicBezTo>
                    <a:pt x="5180" y="5870"/>
                    <a:pt x="5180" y="5977"/>
                    <a:pt x="5239" y="6048"/>
                  </a:cubicBezTo>
                  <a:cubicBezTo>
                    <a:pt x="5269" y="6078"/>
                    <a:pt x="5311" y="6093"/>
                    <a:pt x="5354" y="6093"/>
                  </a:cubicBezTo>
                  <a:cubicBezTo>
                    <a:pt x="5397" y="6093"/>
                    <a:pt x="5442" y="6078"/>
                    <a:pt x="5477" y="6048"/>
                  </a:cubicBezTo>
                  <a:lnTo>
                    <a:pt x="5930" y="5596"/>
                  </a:lnTo>
                  <a:lnTo>
                    <a:pt x="6466" y="6132"/>
                  </a:lnTo>
                  <a:lnTo>
                    <a:pt x="6287" y="6310"/>
                  </a:lnTo>
                  <a:cubicBezTo>
                    <a:pt x="6228" y="6370"/>
                    <a:pt x="6228" y="6477"/>
                    <a:pt x="6287" y="6548"/>
                  </a:cubicBezTo>
                  <a:cubicBezTo>
                    <a:pt x="6317" y="6578"/>
                    <a:pt x="6359" y="6593"/>
                    <a:pt x="6402" y="6593"/>
                  </a:cubicBezTo>
                  <a:cubicBezTo>
                    <a:pt x="6445" y="6593"/>
                    <a:pt x="6490" y="6578"/>
                    <a:pt x="6525" y="6548"/>
                  </a:cubicBezTo>
                  <a:lnTo>
                    <a:pt x="6704" y="6370"/>
                  </a:lnTo>
                  <a:lnTo>
                    <a:pt x="7240" y="6906"/>
                  </a:lnTo>
                  <a:lnTo>
                    <a:pt x="6787" y="7358"/>
                  </a:lnTo>
                  <a:cubicBezTo>
                    <a:pt x="6728" y="7418"/>
                    <a:pt x="6728" y="7525"/>
                    <a:pt x="6787" y="7596"/>
                  </a:cubicBezTo>
                  <a:cubicBezTo>
                    <a:pt x="6817" y="7626"/>
                    <a:pt x="6859" y="7641"/>
                    <a:pt x="6902" y="7641"/>
                  </a:cubicBezTo>
                  <a:cubicBezTo>
                    <a:pt x="6945" y="7641"/>
                    <a:pt x="6990" y="7626"/>
                    <a:pt x="7025" y="7596"/>
                  </a:cubicBezTo>
                  <a:lnTo>
                    <a:pt x="7478" y="7144"/>
                  </a:lnTo>
                  <a:lnTo>
                    <a:pt x="8014" y="7680"/>
                  </a:lnTo>
                  <a:lnTo>
                    <a:pt x="7763" y="7787"/>
                  </a:lnTo>
                  <a:cubicBezTo>
                    <a:pt x="7704" y="7846"/>
                    <a:pt x="7704" y="7953"/>
                    <a:pt x="7763" y="8025"/>
                  </a:cubicBezTo>
                  <a:cubicBezTo>
                    <a:pt x="7787" y="8055"/>
                    <a:pt x="7826" y="8069"/>
                    <a:pt x="7869" y="8069"/>
                  </a:cubicBezTo>
                  <a:cubicBezTo>
                    <a:pt x="7912" y="8069"/>
                    <a:pt x="7960" y="8055"/>
                    <a:pt x="8002" y="8025"/>
                  </a:cubicBezTo>
                  <a:lnTo>
                    <a:pt x="8180" y="7846"/>
                  </a:lnTo>
                  <a:lnTo>
                    <a:pt x="8716" y="8382"/>
                  </a:lnTo>
                  <a:lnTo>
                    <a:pt x="8264" y="8834"/>
                  </a:lnTo>
                  <a:cubicBezTo>
                    <a:pt x="8204" y="8894"/>
                    <a:pt x="8204" y="8989"/>
                    <a:pt x="8264" y="9073"/>
                  </a:cubicBezTo>
                  <a:cubicBezTo>
                    <a:pt x="8293" y="9102"/>
                    <a:pt x="8335" y="9117"/>
                    <a:pt x="8378" y="9117"/>
                  </a:cubicBezTo>
                  <a:cubicBezTo>
                    <a:pt x="8421" y="9117"/>
                    <a:pt x="8466" y="9102"/>
                    <a:pt x="8502" y="9073"/>
                  </a:cubicBezTo>
                  <a:lnTo>
                    <a:pt x="8954" y="8620"/>
                  </a:lnTo>
                  <a:lnTo>
                    <a:pt x="9490" y="9156"/>
                  </a:lnTo>
                  <a:lnTo>
                    <a:pt x="9311" y="9335"/>
                  </a:lnTo>
                  <a:cubicBezTo>
                    <a:pt x="9252" y="9394"/>
                    <a:pt x="9252" y="9501"/>
                    <a:pt x="9311" y="9573"/>
                  </a:cubicBezTo>
                  <a:cubicBezTo>
                    <a:pt x="9335" y="9608"/>
                    <a:pt x="9383" y="9620"/>
                    <a:pt x="9430" y="9620"/>
                  </a:cubicBezTo>
                  <a:cubicBezTo>
                    <a:pt x="9466" y="9620"/>
                    <a:pt x="9514" y="9608"/>
                    <a:pt x="9549" y="9573"/>
                  </a:cubicBezTo>
                  <a:lnTo>
                    <a:pt x="9728" y="9394"/>
                  </a:lnTo>
                  <a:lnTo>
                    <a:pt x="10264" y="9930"/>
                  </a:lnTo>
                  <a:lnTo>
                    <a:pt x="9811" y="10382"/>
                  </a:lnTo>
                  <a:cubicBezTo>
                    <a:pt x="9752" y="10442"/>
                    <a:pt x="9752" y="10537"/>
                    <a:pt x="9811" y="10620"/>
                  </a:cubicBezTo>
                  <a:cubicBezTo>
                    <a:pt x="9847" y="10644"/>
                    <a:pt x="9883" y="10656"/>
                    <a:pt x="9930" y="10656"/>
                  </a:cubicBezTo>
                  <a:cubicBezTo>
                    <a:pt x="9978" y="10656"/>
                    <a:pt x="10026" y="10644"/>
                    <a:pt x="10049" y="10620"/>
                  </a:cubicBezTo>
                  <a:lnTo>
                    <a:pt x="10502" y="10168"/>
                  </a:lnTo>
                  <a:lnTo>
                    <a:pt x="10835" y="10513"/>
                  </a:lnTo>
                  <a:cubicBezTo>
                    <a:pt x="10895" y="10573"/>
                    <a:pt x="10919" y="10632"/>
                    <a:pt x="10919" y="10680"/>
                  </a:cubicBezTo>
                  <a:cubicBezTo>
                    <a:pt x="10919" y="10799"/>
                    <a:pt x="10823" y="10918"/>
                    <a:pt x="10681" y="10918"/>
                  </a:cubicBezTo>
                  <a:lnTo>
                    <a:pt x="9395" y="10918"/>
                  </a:lnTo>
                  <a:cubicBezTo>
                    <a:pt x="9311" y="10918"/>
                    <a:pt x="9228" y="10989"/>
                    <a:pt x="9228" y="11073"/>
                  </a:cubicBezTo>
                  <a:cubicBezTo>
                    <a:pt x="9228" y="11168"/>
                    <a:pt x="9311" y="11240"/>
                    <a:pt x="9395" y="11240"/>
                  </a:cubicBezTo>
                  <a:lnTo>
                    <a:pt x="10681" y="11240"/>
                  </a:lnTo>
                  <a:cubicBezTo>
                    <a:pt x="10990" y="11240"/>
                    <a:pt x="11240" y="10989"/>
                    <a:pt x="11240" y="10680"/>
                  </a:cubicBezTo>
                  <a:cubicBezTo>
                    <a:pt x="11192" y="10501"/>
                    <a:pt x="11133" y="10358"/>
                    <a:pt x="11038" y="10239"/>
                  </a:cubicBezTo>
                  <a:lnTo>
                    <a:pt x="965" y="167"/>
                  </a:lnTo>
                  <a:cubicBezTo>
                    <a:pt x="870" y="60"/>
                    <a:pt x="715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7" name="Google Shape;12507;p62"/>
            <p:cNvSpPr/>
            <p:nvPr/>
          </p:nvSpPr>
          <p:spPr>
            <a:xfrm>
              <a:off x="1366679" y="3029191"/>
              <a:ext cx="57981" cy="70289"/>
            </a:xfrm>
            <a:custGeom>
              <a:avLst/>
              <a:gdLst/>
              <a:ahLst/>
              <a:cxnLst/>
              <a:rect l="l" t="t" r="r" b="b"/>
              <a:pathLst>
                <a:path w="1823" h="2210" extrusionOk="0">
                  <a:moveTo>
                    <a:pt x="164" y="1"/>
                  </a:moveTo>
                  <a:cubicBezTo>
                    <a:pt x="140" y="1"/>
                    <a:pt x="116" y="6"/>
                    <a:pt x="96" y="18"/>
                  </a:cubicBezTo>
                  <a:cubicBezTo>
                    <a:pt x="36" y="42"/>
                    <a:pt x="0" y="102"/>
                    <a:pt x="0" y="161"/>
                  </a:cubicBezTo>
                  <a:lnTo>
                    <a:pt x="0" y="2043"/>
                  </a:lnTo>
                  <a:cubicBezTo>
                    <a:pt x="0" y="2126"/>
                    <a:pt x="72" y="2209"/>
                    <a:pt x="155" y="2209"/>
                  </a:cubicBezTo>
                  <a:cubicBezTo>
                    <a:pt x="250" y="2209"/>
                    <a:pt x="322" y="2126"/>
                    <a:pt x="322" y="2043"/>
                  </a:cubicBezTo>
                  <a:lnTo>
                    <a:pt x="322" y="566"/>
                  </a:lnTo>
                  <a:lnTo>
                    <a:pt x="1513" y="1757"/>
                  </a:lnTo>
                  <a:cubicBezTo>
                    <a:pt x="1542" y="1787"/>
                    <a:pt x="1584" y="1801"/>
                    <a:pt x="1627" y="1801"/>
                  </a:cubicBezTo>
                  <a:cubicBezTo>
                    <a:pt x="1670" y="1801"/>
                    <a:pt x="1715" y="1787"/>
                    <a:pt x="1751" y="1757"/>
                  </a:cubicBezTo>
                  <a:cubicBezTo>
                    <a:pt x="1822" y="1697"/>
                    <a:pt x="1810" y="1590"/>
                    <a:pt x="1751" y="1519"/>
                  </a:cubicBezTo>
                  <a:lnTo>
                    <a:pt x="274" y="42"/>
                  </a:lnTo>
                  <a:cubicBezTo>
                    <a:pt x="251" y="19"/>
                    <a:pt x="208" y="1"/>
                    <a:pt x="1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8" name="Google Shape;12508;p62"/>
            <p:cNvSpPr/>
            <p:nvPr/>
          </p:nvSpPr>
          <p:spPr>
            <a:xfrm>
              <a:off x="1428031" y="3091211"/>
              <a:ext cx="100377" cy="99518"/>
            </a:xfrm>
            <a:custGeom>
              <a:avLst/>
              <a:gdLst/>
              <a:ahLst/>
              <a:cxnLst/>
              <a:rect l="l" t="t" r="r" b="b"/>
              <a:pathLst>
                <a:path w="3156" h="3129" extrusionOk="0">
                  <a:moveTo>
                    <a:pt x="183" y="0"/>
                  </a:moveTo>
                  <a:cubicBezTo>
                    <a:pt x="140" y="0"/>
                    <a:pt x="95" y="15"/>
                    <a:pt x="60" y="45"/>
                  </a:cubicBezTo>
                  <a:cubicBezTo>
                    <a:pt x="0" y="104"/>
                    <a:pt x="0" y="212"/>
                    <a:pt x="60" y="283"/>
                  </a:cubicBezTo>
                  <a:lnTo>
                    <a:pt x="2572" y="2795"/>
                  </a:lnTo>
                  <a:lnTo>
                    <a:pt x="655" y="2795"/>
                  </a:lnTo>
                  <a:cubicBezTo>
                    <a:pt x="560" y="2795"/>
                    <a:pt x="488" y="2879"/>
                    <a:pt x="488" y="2962"/>
                  </a:cubicBezTo>
                  <a:cubicBezTo>
                    <a:pt x="488" y="3057"/>
                    <a:pt x="560" y="3129"/>
                    <a:pt x="655" y="3129"/>
                  </a:cubicBezTo>
                  <a:lnTo>
                    <a:pt x="2977" y="3129"/>
                  </a:lnTo>
                  <a:cubicBezTo>
                    <a:pt x="3048" y="3129"/>
                    <a:pt x="3108" y="3081"/>
                    <a:pt x="3132" y="3021"/>
                  </a:cubicBezTo>
                  <a:cubicBezTo>
                    <a:pt x="3155" y="2962"/>
                    <a:pt x="3143" y="2902"/>
                    <a:pt x="3096" y="2843"/>
                  </a:cubicBezTo>
                  <a:lnTo>
                    <a:pt x="298" y="45"/>
                  </a:lnTo>
                  <a:cubicBezTo>
                    <a:pt x="268" y="15"/>
                    <a:pt x="226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9" name="Google Shape;12509;p62"/>
            <p:cNvSpPr/>
            <p:nvPr/>
          </p:nvSpPr>
          <p:spPr>
            <a:xfrm>
              <a:off x="1366297" y="3110040"/>
              <a:ext cx="66663" cy="80689"/>
            </a:xfrm>
            <a:custGeom>
              <a:avLst/>
              <a:gdLst/>
              <a:ahLst/>
              <a:cxnLst/>
              <a:rect l="l" t="t" r="r" b="b"/>
              <a:pathLst>
                <a:path w="2096" h="2537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2370"/>
                  </a:lnTo>
                  <a:cubicBezTo>
                    <a:pt x="1" y="2418"/>
                    <a:pt x="24" y="2453"/>
                    <a:pt x="48" y="2489"/>
                  </a:cubicBezTo>
                  <a:cubicBezTo>
                    <a:pt x="84" y="2513"/>
                    <a:pt x="120" y="2537"/>
                    <a:pt x="167" y="2537"/>
                  </a:cubicBezTo>
                  <a:lnTo>
                    <a:pt x="1929" y="2537"/>
                  </a:lnTo>
                  <a:cubicBezTo>
                    <a:pt x="2013" y="2537"/>
                    <a:pt x="2096" y="2453"/>
                    <a:pt x="2096" y="2370"/>
                  </a:cubicBezTo>
                  <a:cubicBezTo>
                    <a:pt x="2096" y="2287"/>
                    <a:pt x="2013" y="2203"/>
                    <a:pt x="1929" y="2203"/>
                  </a:cubicBezTo>
                  <a:lnTo>
                    <a:pt x="334" y="2203"/>
                  </a:ln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10" name="Google Shape;12510;p62"/>
          <p:cNvGrpSpPr/>
          <p:nvPr/>
        </p:nvGrpSpPr>
        <p:grpSpPr>
          <a:xfrm>
            <a:off x="853950" y="2894720"/>
            <a:ext cx="364104" cy="353290"/>
            <a:chOff x="853950" y="2894720"/>
            <a:chExt cx="364104" cy="353290"/>
          </a:xfrm>
        </p:grpSpPr>
        <p:sp>
          <p:nvSpPr>
            <p:cNvPr id="12511" name="Google Shape;12511;p62"/>
            <p:cNvSpPr/>
            <p:nvPr/>
          </p:nvSpPr>
          <p:spPr>
            <a:xfrm>
              <a:off x="1056167" y="3155298"/>
              <a:ext cx="57472" cy="57662"/>
            </a:xfrm>
            <a:custGeom>
              <a:avLst/>
              <a:gdLst/>
              <a:ahLst/>
              <a:cxnLst/>
              <a:rect l="l" t="t" r="r" b="b"/>
              <a:pathLst>
                <a:path w="1807" h="1813" extrusionOk="0">
                  <a:moveTo>
                    <a:pt x="907" y="0"/>
                  </a:moveTo>
                  <a:cubicBezTo>
                    <a:pt x="686" y="0"/>
                    <a:pt x="459" y="83"/>
                    <a:pt x="274" y="268"/>
                  </a:cubicBezTo>
                  <a:cubicBezTo>
                    <a:pt x="215" y="328"/>
                    <a:pt x="215" y="423"/>
                    <a:pt x="274" y="506"/>
                  </a:cubicBezTo>
                  <a:cubicBezTo>
                    <a:pt x="304" y="536"/>
                    <a:pt x="346" y="551"/>
                    <a:pt x="389" y="551"/>
                  </a:cubicBezTo>
                  <a:cubicBezTo>
                    <a:pt x="432" y="551"/>
                    <a:pt x="477" y="536"/>
                    <a:pt x="512" y="506"/>
                  </a:cubicBezTo>
                  <a:cubicBezTo>
                    <a:pt x="625" y="394"/>
                    <a:pt x="767" y="336"/>
                    <a:pt x="908" y="336"/>
                  </a:cubicBezTo>
                  <a:cubicBezTo>
                    <a:pt x="1020" y="336"/>
                    <a:pt x="1132" y="373"/>
                    <a:pt x="1227" y="447"/>
                  </a:cubicBezTo>
                  <a:cubicBezTo>
                    <a:pt x="1489" y="625"/>
                    <a:pt x="1560" y="983"/>
                    <a:pt x="1381" y="1233"/>
                  </a:cubicBezTo>
                  <a:cubicBezTo>
                    <a:pt x="1265" y="1401"/>
                    <a:pt x="1087" y="1477"/>
                    <a:pt x="911" y="1477"/>
                  </a:cubicBezTo>
                  <a:cubicBezTo>
                    <a:pt x="639" y="1477"/>
                    <a:pt x="370" y="1294"/>
                    <a:pt x="334" y="983"/>
                  </a:cubicBezTo>
                  <a:cubicBezTo>
                    <a:pt x="323" y="894"/>
                    <a:pt x="260" y="827"/>
                    <a:pt x="176" y="827"/>
                  </a:cubicBezTo>
                  <a:cubicBezTo>
                    <a:pt x="169" y="827"/>
                    <a:pt x="162" y="827"/>
                    <a:pt x="155" y="828"/>
                  </a:cubicBezTo>
                  <a:cubicBezTo>
                    <a:pt x="72" y="840"/>
                    <a:pt x="0" y="923"/>
                    <a:pt x="12" y="1006"/>
                  </a:cubicBezTo>
                  <a:cubicBezTo>
                    <a:pt x="63" y="1513"/>
                    <a:pt x="487" y="1812"/>
                    <a:pt x="913" y="1812"/>
                  </a:cubicBezTo>
                  <a:cubicBezTo>
                    <a:pt x="1189" y="1812"/>
                    <a:pt x="1466" y="1687"/>
                    <a:pt x="1643" y="1411"/>
                  </a:cubicBezTo>
                  <a:cubicBezTo>
                    <a:pt x="1751" y="1256"/>
                    <a:pt x="1798" y="1078"/>
                    <a:pt x="1798" y="899"/>
                  </a:cubicBezTo>
                  <a:cubicBezTo>
                    <a:pt x="1806" y="360"/>
                    <a:pt x="1368" y="0"/>
                    <a:pt x="9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2" name="Google Shape;12512;p62"/>
            <p:cNvSpPr/>
            <p:nvPr/>
          </p:nvSpPr>
          <p:spPr>
            <a:xfrm>
              <a:off x="868326" y="2975027"/>
              <a:ext cx="192802" cy="82025"/>
            </a:xfrm>
            <a:custGeom>
              <a:avLst/>
              <a:gdLst/>
              <a:ahLst/>
              <a:cxnLst/>
              <a:rect l="l" t="t" r="r" b="b"/>
              <a:pathLst>
                <a:path w="6062" h="2579" extrusionOk="0">
                  <a:moveTo>
                    <a:pt x="3619" y="1"/>
                  </a:moveTo>
                  <a:cubicBezTo>
                    <a:pt x="2165" y="1"/>
                    <a:pt x="686" y="811"/>
                    <a:pt x="48" y="2364"/>
                  </a:cubicBezTo>
                  <a:cubicBezTo>
                    <a:pt x="1" y="2460"/>
                    <a:pt x="84" y="2579"/>
                    <a:pt x="203" y="2579"/>
                  </a:cubicBezTo>
                  <a:cubicBezTo>
                    <a:pt x="263" y="2579"/>
                    <a:pt x="334" y="2543"/>
                    <a:pt x="346" y="2483"/>
                  </a:cubicBezTo>
                  <a:cubicBezTo>
                    <a:pt x="909" y="1104"/>
                    <a:pt x="2222" y="332"/>
                    <a:pt x="3567" y="332"/>
                  </a:cubicBezTo>
                  <a:cubicBezTo>
                    <a:pt x="4242" y="332"/>
                    <a:pt x="4925" y="526"/>
                    <a:pt x="5525" y="936"/>
                  </a:cubicBezTo>
                  <a:cubicBezTo>
                    <a:pt x="5609" y="995"/>
                    <a:pt x="5680" y="1031"/>
                    <a:pt x="5752" y="1114"/>
                  </a:cubicBezTo>
                  <a:cubicBezTo>
                    <a:pt x="5784" y="1142"/>
                    <a:pt x="5824" y="1156"/>
                    <a:pt x="5864" y="1156"/>
                  </a:cubicBezTo>
                  <a:cubicBezTo>
                    <a:pt x="5911" y="1156"/>
                    <a:pt x="5957" y="1136"/>
                    <a:pt x="5990" y="1090"/>
                  </a:cubicBezTo>
                  <a:cubicBezTo>
                    <a:pt x="6061" y="1019"/>
                    <a:pt x="6049" y="912"/>
                    <a:pt x="5978" y="852"/>
                  </a:cubicBezTo>
                  <a:cubicBezTo>
                    <a:pt x="5317" y="280"/>
                    <a:pt x="4473" y="1"/>
                    <a:pt x="36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3" name="Google Shape;12513;p62"/>
            <p:cNvSpPr/>
            <p:nvPr/>
          </p:nvSpPr>
          <p:spPr>
            <a:xfrm>
              <a:off x="853950" y="3067580"/>
              <a:ext cx="137875" cy="168598"/>
            </a:xfrm>
            <a:custGeom>
              <a:avLst/>
              <a:gdLst/>
              <a:ahLst/>
              <a:cxnLst/>
              <a:rect l="l" t="t" r="r" b="b"/>
              <a:pathLst>
                <a:path w="4335" h="5301" extrusionOk="0">
                  <a:moveTo>
                    <a:pt x="479" y="1"/>
                  </a:moveTo>
                  <a:cubicBezTo>
                    <a:pt x="401" y="1"/>
                    <a:pt x="321" y="57"/>
                    <a:pt x="310" y="133"/>
                  </a:cubicBezTo>
                  <a:cubicBezTo>
                    <a:pt x="0" y="1633"/>
                    <a:pt x="608" y="3217"/>
                    <a:pt x="1893" y="4074"/>
                  </a:cubicBezTo>
                  <a:cubicBezTo>
                    <a:pt x="1965" y="4134"/>
                    <a:pt x="2858" y="4788"/>
                    <a:pt x="4072" y="5288"/>
                  </a:cubicBezTo>
                  <a:cubicBezTo>
                    <a:pt x="4084" y="5300"/>
                    <a:pt x="4120" y="5300"/>
                    <a:pt x="4132" y="5300"/>
                  </a:cubicBezTo>
                  <a:cubicBezTo>
                    <a:pt x="4191" y="5300"/>
                    <a:pt x="4275" y="5253"/>
                    <a:pt x="4287" y="5193"/>
                  </a:cubicBezTo>
                  <a:cubicBezTo>
                    <a:pt x="4334" y="5074"/>
                    <a:pt x="4287" y="4979"/>
                    <a:pt x="4191" y="4955"/>
                  </a:cubicBezTo>
                  <a:cubicBezTo>
                    <a:pt x="2989" y="4479"/>
                    <a:pt x="2084" y="3800"/>
                    <a:pt x="2084" y="3800"/>
                  </a:cubicBezTo>
                  <a:cubicBezTo>
                    <a:pt x="905" y="3002"/>
                    <a:pt x="346" y="1562"/>
                    <a:pt x="643" y="193"/>
                  </a:cubicBezTo>
                  <a:cubicBezTo>
                    <a:pt x="655" y="109"/>
                    <a:pt x="596" y="14"/>
                    <a:pt x="500" y="2"/>
                  </a:cubicBezTo>
                  <a:cubicBezTo>
                    <a:pt x="493" y="1"/>
                    <a:pt x="486" y="1"/>
                    <a:pt x="4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4" name="Google Shape;12514;p62"/>
            <p:cNvSpPr/>
            <p:nvPr/>
          </p:nvSpPr>
          <p:spPr>
            <a:xfrm>
              <a:off x="937248" y="3014975"/>
              <a:ext cx="87877" cy="57217"/>
            </a:xfrm>
            <a:custGeom>
              <a:avLst/>
              <a:gdLst/>
              <a:ahLst/>
              <a:cxnLst/>
              <a:rect l="l" t="t" r="r" b="b"/>
              <a:pathLst>
                <a:path w="2763" h="1799" extrusionOk="0">
                  <a:moveTo>
                    <a:pt x="2225" y="1"/>
                  </a:moveTo>
                  <a:cubicBezTo>
                    <a:pt x="2218" y="1"/>
                    <a:pt x="2211" y="1"/>
                    <a:pt x="2203" y="1"/>
                  </a:cubicBezTo>
                  <a:lnTo>
                    <a:pt x="941" y="61"/>
                  </a:lnTo>
                  <a:cubicBezTo>
                    <a:pt x="584" y="73"/>
                    <a:pt x="346" y="430"/>
                    <a:pt x="477" y="763"/>
                  </a:cubicBezTo>
                  <a:cubicBezTo>
                    <a:pt x="203" y="787"/>
                    <a:pt x="1" y="1025"/>
                    <a:pt x="13" y="1311"/>
                  </a:cubicBezTo>
                  <a:cubicBezTo>
                    <a:pt x="25" y="1597"/>
                    <a:pt x="263" y="1799"/>
                    <a:pt x="537" y="1799"/>
                  </a:cubicBezTo>
                  <a:cubicBezTo>
                    <a:pt x="560" y="1799"/>
                    <a:pt x="548" y="1799"/>
                    <a:pt x="953" y="1787"/>
                  </a:cubicBezTo>
                  <a:cubicBezTo>
                    <a:pt x="1037" y="1787"/>
                    <a:pt x="1120" y="1704"/>
                    <a:pt x="1120" y="1608"/>
                  </a:cubicBezTo>
                  <a:cubicBezTo>
                    <a:pt x="1120" y="1525"/>
                    <a:pt x="1025" y="1442"/>
                    <a:pt x="941" y="1442"/>
                  </a:cubicBezTo>
                  <a:lnTo>
                    <a:pt x="548" y="1466"/>
                  </a:lnTo>
                  <a:cubicBezTo>
                    <a:pt x="441" y="1466"/>
                    <a:pt x="346" y="1370"/>
                    <a:pt x="346" y="1263"/>
                  </a:cubicBezTo>
                  <a:cubicBezTo>
                    <a:pt x="346" y="1168"/>
                    <a:pt x="429" y="1073"/>
                    <a:pt x="537" y="1073"/>
                  </a:cubicBezTo>
                  <a:lnTo>
                    <a:pt x="667" y="1073"/>
                  </a:lnTo>
                  <a:cubicBezTo>
                    <a:pt x="858" y="1061"/>
                    <a:pt x="953" y="835"/>
                    <a:pt x="834" y="704"/>
                  </a:cubicBezTo>
                  <a:cubicBezTo>
                    <a:pt x="727" y="585"/>
                    <a:pt x="798" y="394"/>
                    <a:pt x="965" y="370"/>
                  </a:cubicBezTo>
                  <a:lnTo>
                    <a:pt x="2227" y="311"/>
                  </a:lnTo>
                  <a:cubicBezTo>
                    <a:pt x="2334" y="311"/>
                    <a:pt x="2442" y="406"/>
                    <a:pt x="2442" y="513"/>
                  </a:cubicBezTo>
                  <a:cubicBezTo>
                    <a:pt x="2442" y="608"/>
                    <a:pt x="2346" y="704"/>
                    <a:pt x="2263" y="704"/>
                  </a:cubicBezTo>
                  <a:lnTo>
                    <a:pt x="2144" y="704"/>
                  </a:lnTo>
                  <a:cubicBezTo>
                    <a:pt x="1953" y="716"/>
                    <a:pt x="1858" y="942"/>
                    <a:pt x="1977" y="1085"/>
                  </a:cubicBezTo>
                  <a:cubicBezTo>
                    <a:pt x="2084" y="1204"/>
                    <a:pt x="1989" y="1406"/>
                    <a:pt x="1834" y="1406"/>
                  </a:cubicBezTo>
                  <a:lnTo>
                    <a:pt x="1620" y="1418"/>
                  </a:lnTo>
                  <a:cubicBezTo>
                    <a:pt x="1537" y="1418"/>
                    <a:pt x="1453" y="1501"/>
                    <a:pt x="1453" y="1597"/>
                  </a:cubicBezTo>
                  <a:cubicBezTo>
                    <a:pt x="1453" y="1680"/>
                    <a:pt x="1549" y="1763"/>
                    <a:pt x="1632" y="1763"/>
                  </a:cubicBezTo>
                  <a:lnTo>
                    <a:pt x="1846" y="1739"/>
                  </a:lnTo>
                  <a:cubicBezTo>
                    <a:pt x="2203" y="1728"/>
                    <a:pt x="2442" y="1370"/>
                    <a:pt x="2322" y="1049"/>
                  </a:cubicBezTo>
                  <a:cubicBezTo>
                    <a:pt x="2561" y="1013"/>
                    <a:pt x="2763" y="775"/>
                    <a:pt x="2751" y="489"/>
                  </a:cubicBezTo>
                  <a:cubicBezTo>
                    <a:pt x="2739" y="222"/>
                    <a:pt x="2502" y="1"/>
                    <a:pt x="22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5" name="Google Shape;12515;p62"/>
            <p:cNvSpPr/>
            <p:nvPr/>
          </p:nvSpPr>
          <p:spPr>
            <a:xfrm>
              <a:off x="978912" y="3095664"/>
              <a:ext cx="78399" cy="79290"/>
            </a:xfrm>
            <a:custGeom>
              <a:avLst/>
              <a:gdLst/>
              <a:ahLst/>
              <a:cxnLst/>
              <a:rect l="l" t="t" r="r" b="b"/>
              <a:pathLst>
                <a:path w="2465" h="2493" extrusionOk="0">
                  <a:moveTo>
                    <a:pt x="1751" y="0"/>
                  </a:moveTo>
                  <a:cubicBezTo>
                    <a:pt x="1513" y="0"/>
                    <a:pt x="1477" y="95"/>
                    <a:pt x="381" y="691"/>
                  </a:cubicBezTo>
                  <a:cubicBezTo>
                    <a:pt x="72" y="869"/>
                    <a:pt x="24" y="1286"/>
                    <a:pt x="286" y="1524"/>
                  </a:cubicBezTo>
                  <a:cubicBezTo>
                    <a:pt x="84" y="1667"/>
                    <a:pt x="0" y="1929"/>
                    <a:pt x="72" y="2155"/>
                  </a:cubicBezTo>
                  <a:cubicBezTo>
                    <a:pt x="154" y="2370"/>
                    <a:pt x="351" y="2493"/>
                    <a:pt x="555" y="2493"/>
                  </a:cubicBezTo>
                  <a:cubicBezTo>
                    <a:pt x="646" y="2493"/>
                    <a:pt x="738" y="2468"/>
                    <a:pt x="822" y="2417"/>
                  </a:cubicBezTo>
                  <a:lnTo>
                    <a:pt x="1096" y="2262"/>
                  </a:lnTo>
                  <a:cubicBezTo>
                    <a:pt x="1179" y="2215"/>
                    <a:pt x="1203" y="2108"/>
                    <a:pt x="1155" y="2036"/>
                  </a:cubicBezTo>
                  <a:cubicBezTo>
                    <a:pt x="1131" y="1987"/>
                    <a:pt x="1073" y="1955"/>
                    <a:pt x="1016" y="1955"/>
                  </a:cubicBezTo>
                  <a:cubicBezTo>
                    <a:pt x="989" y="1955"/>
                    <a:pt x="963" y="1962"/>
                    <a:pt x="941" y="1977"/>
                  </a:cubicBezTo>
                  <a:lnTo>
                    <a:pt x="655" y="2143"/>
                  </a:lnTo>
                  <a:cubicBezTo>
                    <a:pt x="624" y="2161"/>
                    <a:pt x="591" y="2169"/>
                    <a:pt x="558" y="2169"/>
                  </a:cubicBezTo>
                  <a:cubicBezTo>
                    <a:pt x="479" y="2169"/>
                    <a:pt x="403" y="2120"/>
                    <a:pt x="370" y="2036"/>
                  </a:cubicBezTo>
                  <a:cubicBezTo>
                    <a:pt x="346" y="1965"/>
                    <a:pt x="381" y="1846"/>
                    <a:pt x="465" y="1798"/>
                  </a:cubicBezTo>
                  <a:cubicBezTo>
                    <a:pt x="643" y="1691"/>
                    <a:pt x="667" y="1441"/>
                    <a:pt x="489" y="1310"/>
                  </a:cubicBezTo>
                  <a:cubicBezTo>
                    <a:pt x="381" y="1215"/>
                    <a:pt x="405" y="1048"/>
                    <a:pt x="512" y="976"/>
                  </a:cubicBezTo>
                  <a:cubicBezTo>
                    <a:pt x="1691" y="322"/>
                    <a:pt x="1632" y="322"/>
                    <a:pt x="1727" y="322"/>
                  </a:cubicBezTo>
                  <a:cubicBezTo>
                    <a:pt x="1822" y="322"/>
                    <a:pt x="1917" y="417"/>
                    <a:pt x="1917" y="512"/>
                  </a:cubicBezTo>
                  <a:cubicBezTo>
                    <a:pt x="1917" y="679"/>
                    <a:pt x="1751" y="715"/>
                    <a:pt x="1691" y="750"/>
                  </a:cubicBezTo>
                  <a:cubicBezTo>
                    <a:pt x="1536" y="846"/>
                    <a:pt x="1548" y="1084"/>
                    <a:pt x="1727" y="1155"/>
                  </a:cubicBezTo>
                  <a:cubicBezTo>
                    <a:pt x="1882" y="1215"/>
                    <a:pt x="1882" y="1429"/>
                    <a:pt x="1739" y="1512"/>
                  </a:cubicBezTo>
                  <a:lnTo>
                    <a:pt x="1501" y="1643"/>
                  </a:lnTo>
                  <a:cubicBezTo>
                    <a:pt x="1429" y="1691"/>
                    <a:pt x="1393" y="1798"/>
                    <a:pt x="1441" y="1869"/>
                  </a:cubicBezTo>
                  <a:cubicBezTo>
                    <a:pt x="1474" y="1918"/>
                    <a:pt x="1529" y="1951"/>
                    <a:pt x="1587" y="1951"/>
                  </a:cubicBezTo>
                  <a:cubicBezTo>
                    <a:pt x="1614" y="1951"/>
                    <a:pt x="1641" y="1944"/>
                    <a:pt x="1667" y="1929"/>
                  </a:cubicBezTo>
                  <a:lnTo>
                    <a:pt x="1905" y="1798"/>
                  </a:lnTo>
                  <a:cubicBezTo>
                    <a:pt x="2215" y="1619"/>
                    <a:pt x="2275" y="1203"/>
                    <a:pt x="2001" y="953"/>
                  </a:cubicBezTo>
                  <a:cubicBezTo>
                    <a:pt x="2465" y="679"/>
                    <a:pt x="2275" y="0"/>
                    <a:pt x="1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6" name="Google Shape;12516;p62"/>
            <p:cNvSpPr/>
            <p:nvPr/>
          </p:nvSpPr>
          <p:spPr>
            <a:xfrm>
              <a:off x="891067" y="3070697"/>
              <a:ext cx="74615" cy="77477"/>
            </a:xfrm>
            <a:custGeom>
              <a:avLst/>
              <a:gdLst/>
              <a:ahLst/>
              <a:cxnLst/>
              <a:rect l="l" t="t" r="r" b="b"/>
              <a:pathLst>
                <a:path w="2346" h="2436" extrusionOk="0">
                  <a:moveTo>
                    <a:pt x="534" y="1"/>
                  </a:moveTo>
                  <a:cubicBezTo>
                    <a:pt x="499" y="1"/>
                    <a:pt x="464" y="4"/>
                    <a:pt x="429" y="11"/>
                  </a:cubicBezTo>
                  <a:cubicBezTo>
                    <a:pt x="191" y="71"/>
                    <a:pt x="0" y="273"/>
                    <a:pt x="0" y="523"/>
                  </a:cubicBezTo>
                  <a:cubicBezTo>
                    <a:pt x="0" y="690"/>
                    <a:pt x="72" y="749"/>
                    <a:pt x="203" y="1107"/>
                  </a:cubicBezTo>
                  <a:cubicBezTo>
                    <a:pt x="220" y="1178"/>
                    <a:pt x="284" y="1215"/>
                    <a:pt x="345" y="1215"/>
                  </a:cubicBezTo>
                  <a:cubicBezTo>
                    <a:pt x="366" y="1215"/>
                    <a:pt x="387" y="1211"/>
                    <a:pt x="405" y="1202"/>
                  </a:cubicBezTo>
                  <a:cubicBezTo>
                    <a:pt x="500" y="1166"/>
                    <a:pt x="548" y="1059"/>
                    <a:pt x="500" y="988"/>
                  </a:cubicBezTo>
                  <a:cubicBezTo>
                    <a:pt x="345" y="583"/>
                    <a:pt x="334" y="583"/>
                    <a:pt x="334" y="523"/>
                  </a:cubicBezTo>
                  <a:cubicBezTo>
                    <a:pt x="334" y="416"/>
                    <a:pt x="429" y="333"/>
                    <a:pt x="512" y="333"/>
                  </a:cubicBezTo>
                  <a:cubicBezTo>
                    <a:pt x="584" y="333"/>
                    <a:pt x="679" y="392"/>
                    <a:pt x="703" y="464"/>
                  </a:cubicBezTo>
                  <a:cubicBezTo>
                    <a:pt x="738" y="511"/>
                    <a:pt x="750" y="738"/>
                    <a:pt x="965" y="738"/>
                  </a:cubicBezTo>
                  <a:cubicBezTo>
                    <a:pt x="1036" y="738"/>
                    <a:pt x="1107" y="690"/>
                    <a:pt x="1155" y="618"/>
                  </a:cubicBezTo>
                  <a:cubicBezTo>
                    <a:pt x="1188" y="557"/>
                    <a:pt x="1253" y="527"/>
                    <a:pt x="1318" y="527"/>
                  </a:cubicBezTo>
                  <a:cubicBezTo>
                    <a:pt x="1393" y="527"/>
                    <a:pt x="1469" y="566"/>
                    <a:pt x="1500" y="642"/>
                  </a:cubicBezTo>
                  <a:cubicBezTo>
                    <a:pt x="1977" y="1881"/>
                    <a:pt x="1977" y="1833"/>
                    <a:pt x="1977" y="1892"/>
                  </a:cubicBezTo>
                  <a:cubicBezTo>
                    <a:pt x="1977" y="2018"/>
                    <a:pt x="1874" y="2091"/>
                    <a:pt x="1773" y="2091"/>
                  </a:cubicBezTo>
                  <a:cubicBezTo>
                    <a:pt x="1701" y="2091"/>
                    <a:pt x="1630" y="2055"/>
                    <a:pt x="1596" y="1976"/>
                  </a:cubicBezTo>
                  <a:lnTo>
                    <a:pt x="1536" y="1833"/>
                  </a:lnTo>
                  <a:cubicBezTo>
                    <a:pt x="1498" y="1739"/>
                    <a:pt x="1415" y="1691"/>
                    <a:pt x="1332" y="1691"/>
                  </a:cubicBezTo>
                  <a:cubicBezTo>
                    <a:pt x="1257" y="1691"/>
                    <a:pt x="1183" y="1730"/>
                    <a:pt x="1143" y="1809"/>
                  </a:cubicBezTo>
                  <a:cubicBezTo>
                    <a:pt x="1105" y="1875"/>
                    <a:pt x="1041" y="1908"/>
                    <a:pt x="976" y="1908"/>
                  </a:cubicBezTo>
                  <a:cubicBezTo>
                    <a:pt x="901" y="1908"/>
                    <a:pt x="824" y="1863"/>
                    <a:pt x="786" y="1773"/>
                  </a:cubicBezTo>
                  <a:lnTo>
                    <a:pt x="726" y="1607"/>
                  </a:lnTo>
                  <a:cubicBezTo>
                    <a:pt x="700" y="1546"/>
                    <a:pt x="637" y="1504"/>
                    <a:pt x="577" y="1504"/>
                  </a:cubicBezTo>
                  <a:cubicBezTo>
                    <a:pt x="554" y="1504"/>
                    <a:pt x="532" y="1510"/>
                    <a:pt x="512" y="1523"/>
                  </a:cubicBezTo>
                  <a:cubicBezTo>
                    <a:pt x="429" y="1559"/>
                    <a:pt x="381" y="1654"/>
                    <a:pt x="429" y="1726"/>
                  </a:cubicBezTo>
                  <a:lnTo>
                    <a:pt x="488" y="1892"/>
                  </a:lnTo>
                  <a:cubicBezTo>
                    <a:pt x="574" y="2112"/>
                    <a:pt x="779" y="2244"/>
                    <a:pt x="987" y="2244"/>
                  </a:cubicBezTo>
                  <a:cubicBezTo>
                    <a:pt x="1095" y="2244"/>
                    <a:pt x="1204" y="2208"/>
                    <a:pt x="1298" y="2131"/>
                  </a:cubicBezTo>
                  <a:cubicBezTo>
                    <a:pt x="1390" y="2315"/>
                    <a:pt x="1583" y="2436"/>
                    <a:pt x="1793" y="2436"/>
                  </a:cubicBezTo>
                  <a:cubicBezTo>
                    <a:pt x="1853" y="2436"/>
                    <a:pt x="1915" y="2426"/>
                    <a:pt x="1977" y="2404"/>
                  </a:cubicBezTo>
                  <a:cubicBezTo>
                    <a:pt x="2179" y="2321"/>
                    <a:pt x="2310" y="2119"/>
                    <a:pt x="2310" y="1904"/>
                  </a:cubicBezTo>
                  <a:cubicBezTo>
                    <a:pt x="2346" y="1738"/>
                    <a:pt x="2298" y="1738"/>
                    <a:pt x="1834" y="523"/>
                  </a:cubicBezTo>
                  <a:cubicBezTo>
                    <a:pt x="1757" y="315"/>
                    <a:pt x="1555" y="192"/>
                    <a:pt x="1349" y="192"/>
                  </a:cubicBezTo>
                  <a:cubicBezTo>
                    <a:pt x="1236" y="192"/>
                    <a:pt x="1121" y="229"/>
                    <a:pt x="1024" y="309"/>
                  </a:cubicBezTo>
                  <a:cubicBezTo>
                    <a:pt x="933" y="116"/>
                    <a:pt x="737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7" name="Google Shape;12517;p62"/>
            <p:cNvSpPr/>
            <p:nvPr/>
          </p:nvSpPr>
          <p:spPr>
            <a:xfrm>
              <a:off x="999745" y="2894720"/>
              <a:ext cx="218310" cy="353290"/>
            </a:xfrm>
            <a:custGeom>
              <a:avLst/>
              <a:gdLst/>
              <a:ahLst/>
              <a:cxnLst/>
              <a:rect l="l" t="t" r="r" b="b"/>
              <a:pathLst>
                <a:path w="6864" h="11108" extrusionOk="0">
                  <a:moveTo>
                    <a:pt x="6633" y="1"/>
                  </a:moveTo>
                  <a:cubicBezTo>
                    <a:pt x="6605" y="1"/>
                    <a:pt x="6577" y="7"/>
                    <a:pt x="6549" y="20"/>
                  </a:cubicBezTo>
                  <a:cubicBezTo>
                    <a:pt x="5918" y="282"/>
                    <a:pt x="5299" y="698"/>
                    <a:pt x="4703" y="1246"/>
                  </a:cubicBezTo>
                  <a:cubicBezTo>
                    <a:pt x="4644" y="1306"/>
                    <a:pt x="4620" y="1413"/>
                    <a:pt x="4703" y="1484"/>
                  </a:cubicBezTo>
                  <a:cubicBezTo>
                    <a:pt x="4735" y="1516"/>
                    <a:pt x="4778" y="1538"/>
                    <a:pt x="4824" y="1538"/>
                  </a:cubicBezTo>
                  <a:cubicBezTo>
                    <a:pt x="4862" y="1538"/>
                    <a:pt x="4903" y="1523"/>
                    <a:pt x="4941" y="1484"/>
                  </a:cubicBezTo>
                  <a:cubicBezTo>
                    <a:pt x="5430" y="1032"/>
                    <a:pt x="5918" y="675"/>
                    <a:pt x="6442" y="413"/>
                  </a:cubicBezTo>
                  <a:lnTo>
                    <a:pt x="6442" y="413"/>
                  </a:lnTo>
                  <a:cubicBezTo>
                    <a:pt x="6084" y="1579"/>
                    <a:pt x="5299" y="2603"/>
                    <a:pt x="4429" y="3449"/>
                  </a:cubicBezTo>
                  <a:cubicBezTo>
                    <a:pt x="4413" y="3444"/>
                    <a:pt x="4397" y="3442"/>
                    <a:pt x="4382" y="3442"/>
                  </a:cubicBezTo>
                  <a:cubicBezTo>
                    <a:pt x="4269" y="3442"/>
                    <a:pt x="4172" y="3548"/>
                    <a:pt x="4203" y="3663"/>
                  </a:cubicBezTo>
                  <a:cubicBezTo>
                    <a:pt x="4108" y="3746"/>
                    <a:pt x="4013" y="3842"/>
                    <a:pt x="3929" y="3913"/>
                  </a:cubicBezTo>
                  <a:cubicBezTo>
                    <a:pt x="3786" y="3711"/>
                    <a:pt x="3572" y="3508"/>
                    <a:pt x="3358" y="3425"/>
                  </a:cubicBezTo>
                  <a:cubicBezTo>
                    <a:pt x="3417" y="3330"/>
                    <a:pt x="3489" y="3234"/>
                    <a:pt x="3548" y="3115"/>
                  </a:cubicBezTo>
                  <a:cubicBezTo>
                    <a:pt x="3727" y="3258"/>
                    <a:pt x="3763" y="3318"/>
                    <a:pt x="3870" y="3318"/>
                  </a:cubicBezTo>
                  <a:cubicBezTo>
                    <a:pt x="4013" y="3318"/>
                    <a:pt x="4084" y="3127"/>
                    <a:pt x="3965" y="3020"/>
                  </a:cubicBezTo>
                  <a:lnTo>
                    <a:pt x="3751" y="2830"/>
                  </a:lnTo>
                  <a:cubicBezTo>
                    <a:pt x="3786" y="2758"/>
                    <a:pt x="3775" y="2782"/>
                    <a:pt x="3810" y="2734"/>
                  </a:cubicBezTo>
                  <a:cubicBezTo>
                    <a:pt x="3810" y="2734"/>
                    <a:pt x="3941" y="2544"/>
                    <a:pt x="3953" y="2544"/>
                  </a:cubicBezTo>
                  <a:lnTo>
                    <a:pt x="4358" y="2889"/>
                  </a:lnTo>
                  <a:cubicBezTo>
                    <a:pt x="4390" y="2916"/>
                    <a:pt x="4430" y="2928"/>
                    <a:pt x="4469" y="2928"/>
                  </a:cubicBezTo>
                  <a:cubicBezTo>
                    <a:pt x="4516" y="2928"/>
                    <a:pt x="4563" y="2910"/>
                    <a:pt x="4596" y="2877"/>
                  </a:cubicBezTo>
                  <a:cubicBezTo>
                    <a:pt x="4656" y="2794"/>
                    <a:pt x="4644" y="2699"/>
                    <a:pt x="4584" y="2639"/>
                  </a:cubicBezTo>
                  <a:lnTo>
                    <a:pt x="4167" y="2282"/>
                  </a:lnTo>
                  <a:cubicBezTo>
                    <a:pt x="4263" y="2139"/>
                    <a:pt x="4370" y="2020"/>
                    <a:pt x="4489" y="1901"/>
                  </a:cubicBezTo>
                  <a:cubicBezTo>
                    <a:pt x="4548" y="1830"/>
                    <a:pt x="4548" y="1722"/>
                    <a:pt x="4477" y="1663"/>
                  </a:cubicBezTo>
                  <a:cubicBezTo>
                    <a:pt x="4444" y="1636"/>
                    <a:pt x="4404" y="1621"/>
                    <a:pt x="4364" y="1621"/>
                  </a:cubicBezTo>
                  <a:cubicBezTo>
                    <a:pt x="4317" y="1621"/>
                    <a:pt x="4271" y="1641"/>
                    <a:pt x="4239" y="1687"/>
                  </a:cubicBezTo>
                  <a:cubicBezTo>
                    <a:pt x="4001" y="1937"/>
                    <a:pt x="3775" y="2222"/>
                    <a:pt x="3536" y="2532"/>
                  </a:cubicBezTo>
                  <a:cubicBezTo>
                    <a:pt x="3536" y="2532"/>
                    <a:pt x="3310" y="2830"/>
                    <a:pt x="3013" y="3306"/>
                  </a:cubicBezTo>
                  <a:cubicBezTo>
                    <a:pt x="2985" y="3304"/>
                    <a:pt x="2957" y="3303"/>
                    <a:pt x="2929" y="3303"/>
                  </a:cubicBezTo>
                  <a:cubicBezTo>
                    <a:pt x="2484" y="3303"/>
                    <a:pt x="2071" y="3569"/>
                    <a:pt x="1858" y="3973"/>
                  </a:cubicBezTo>
                  <a:cubicBezTo>
                    <a:pt x="1762" y="4151"/>
                    <a:pt x="1750" y="4330"/>
                    <a:pt x="1679" y="4449"/>
                  </a:cubicBezTo>
                  <a:cubicBezTo>
                    <a:pt x="1608" y="4568"/>
                    <a:pt x="1500" y="4687"/>
                    <a:pt x="1346" y="4770"/>
                  </a:cubicBezTo>
                  <a:cubicBezTo>
                    <a:pt x="1191" y="4866"/>
                    <a:pt x="1024" y="4913"/>
                    <a:pt x="846" y="4961"/>
                  </a:cubicBezTo>
                  <a:cubicBezTo>
                    <a:pt x="786" y="4973"/>
                    <a:pt x="679" y="5008"/>
                    <a:pt x="572" y="5020"/>
                  </a:cubicBezTo>
                  <a:cubicBezTo>
                    <a:pt x="369" y="5056"/>
                    <a:pt x="274" y="5330"/>
                    <a:pt x="441" y="5485"/>
                  </a:cubicBezTo>
                  <a:cubicBezTo>
                    <a:pt x="560" y="5580"/>
                    <a:pt x="679" y="5687"/>
                    <a:pt x="810" y="5759"/>
                  </a:cubicBezTo>
                  <a:cubicBezTo>
                    <a:pt x="838" y="5775"/>
                    <a:pt x="868" y="5783"/>
                    <a:pt x="897" y="5783"/>
                  </a:cubicBezTo>
                  <a:cubicBezTo>
                    <a:pt x="953" y="5783"/>
                    <a:pt x="1005" y="5754"/>
                    <a:pt x="1036" y="5699"/>
                  </a:cubicBezTo>
                  <a:cubicBezTo>
                    <a:pt x="1084" y="5628"/>
                    <a:pt x="1048" y="5520"/>
                    <a:pt x="977" y="5485"/>
                  </a:cubicBezTo>
                  <a:cubicBezTo>
                    <a:pt x="905" y="5437"/>
                    <a:pt x="834" y="5378"/>
                    <a:pt x="750" y="5318"/>
                  </a:cubicBezTo>
                  <a:cubicBezTo>
                    <a:pt x="1250" y="5199"/>
                    <a:pt x="1679" y="5044"/>
                    <a:pt x="1941" y="4616"/>
                  </a:cubicBezTo>
                  <a:cubicBezTo>
                    <a:pt x="2048" y="4437"/>
                    <a:pt x="2084" y="4246"/>
                    <a:pt x="2143" y="4116"/>
                  </a:cubicBezTo>
                  <a:cubicBezTo>
                    <a:pt x="2278" y="3831"/>
                    <a:pt x="2583" y="3626"/>
                    <a:pt x="2911" y="3626"/>
                  </a:cubicBezTo>
                  <a:cubicBezTo>
                    <a:pt x="3105" y="3626"/>
                    <a:pt x="3308" y="3698"/>
                    <a:pt x="3489" y="3865"/>
                  </a:cubicBezTo>
                  <a:cubicBezTo>
                    <a:pt x="3929" y="4270"/>
                    <a:pt x="3786" y="4985"/>
                    <a:pt x="3239" y="5330"/>
                  </a:cubicBezTo>
                  <a:cubicBezTo>
                    <a:pt x="2867" y="5559"/>
                    <a:pt x="2374" y="5719"/>
                    <a:pt x="1899" y="5719"/>
                  </a:cubicBezTo>
                  <a:cubicBezTo>
                    <a:pt x="1780" y="5719"/>
                    <a:pt x="1662" y="5709"/>
                    <a:pt x="1548" y="5687"/>
                  </a:cubicBezTo>
                  <a:cubicBezTo>
                    <a:pt x="1540" y="5686"/>
                    <a:pt x="1532" y="5686"/>
                    <a:pt x="1524" y="5686"/>
                  </a:cubicBezTo>
                  <a:cubicBezTo>
                    <a:pt x="1439" y="5686"/>
                    <a:pt x="1367" y="5742"/>
                    <a:pt x="1346" y="5818"/>
                  </a:cubicBezTo>
                  <a:cubicBezTo>
                    <a:pt x="1334" y="5913"/>
                    <a:pt x="1393" y="5997"/>
                    <a:pt x="1489" y="6009"/>
                  </a:cubicBezTo>
                  <a:cubicBezTo>
                    <a:pt x="1628" y="6035"/>
                    <a:pt x="1767" y="6048"/>
                    <a:pt x="1907" y="6048"/>
                  </a:cubicBezTo>
                  <a:cubicBezTo>
                    <a:pt x="2077" y="6048"/>
                    <a:pt x="2247" y="6029"/>
                    <a:pt x="2417" y="5997"/>
                  </a:cubicBezTo>
                  <a:cubicBezTo>
                    <a:pt x="2465" y="6937"/>
                    <a:pt x="3096" y="7675"/>
                    <a:pt x="3906" y="8033"/>
                  </a:cubicBezTo>
                  <a:cubicBezTo>
                    <a:pt x="4298" y="8199"/>
                    <a:pt x="4548" y="8592"/>
                    <a:pt x="4548" y="9009"/>
                  </a:cubicBezTo>
                  <a:cubicBezTo>
                    <a:pt x="4548" y="9342"/>
                    <a:pt x="4370" y="9580"/>
                    <a:pt x="4370" y="9580"/>
                  </a:cubicBezTo>
                  <a:cubicBezTo>
                    <a:pt x="3673" y="10434"/>
                    <a:pt x="2786" y="10777"/>
                    <a:pt x="1813" y="10777"/>
                  </a:cubicBezTo>
                  <a:cubicBezTo>
                    <a:pt x="1307" y="10777"/>
                    <a:pt x="777" y="10684"/>
                    <a:pt x="238" y="10521"/>
                  </a:cubicBezTo>
                  <a:cubicBezTo>
                    <a:pt x="224" y="10517"/>
                    <a:pt x="210" y="10516"/>
                    <a:pt x="196" y="10516"/>
                  </a:cubicBezTo>
                  <a:cubicBezTo>
                    <a:pt x="119" y="10516"/>
                    <a:pt x="54" y="10568"/>
                    <a:pt x="24" y="10628"/>
                  </a:cubicBezTo>
                  <a:cubicBezTo>
                    <a:pt x="0" y="10712"/>
                    <a:pt x="60" y="10807"/>
                    <a:pt x="131" y="10831"/>
                  </a:cubicBezTo>
                  <a:cubicBezTo>
                    <a:pt x="707" y="11009"/>
                    <a:pt x="1272" y="11107"/>
                    <a:pt x="1811" y="11107"/>
                  </a:cubicBezTo>
                  <a:cubicBezTo>
                    <a:pt x="2890" y="11107"/>
                    <a:pt x="3866" y="10716"/>
                    <a:pt x="4620" y="9795"/>
                  </a:cubicBezTo>
                  <a:cubicBezTo>
                    <a:pt x="4620" y="9783"/>
                    <a:pt x="4644" y="9783"/>
                    <a:pt x="4644" y="9759"/>
                  </a:cubicBezTo>
                  <a:cubicBezTo>
                    <a:pt x="5120" y="9045"/>
                    <a:pt x="4834" y="8068"/>
                    <a:pt x="4048" y="7723"/>
                  </a:cubicBezTo>
                  <a:cubicBezTo>
                    <a:pt x="3310" y="7414"/>
                    <a:pt x="2763" y="6747"/>
                    <a:pt x="2751" y="5913"/>
                  </a:cubicBezTo>
                  <a:cubicBezTo>
                    <a:pt x="3132" y="5794"/>
                    <a:pt x="3405" y="5628"/>
                    <a:pt x="3417" y="5616"/>
                  </a:cubicBezTo>
                  <a:cubicBezTo>
                    <a:pt x="3953" y="5282"/>
                    <a:pt x="4179" y="4687"/>
                    <a:pt x="4060" y="4187"/>
                  </a:cubicBezTo>
                  <a:cubicBezTo>
                    <a:pt x="5251" y="3234"/>
                    <a:pt x="6430" y="1818"/>
                    <a:pt x="6834" y="258"/>
                  </a:cubicBezTo>
                  <a:cubicBezTo>
                    <a:pt x="6864" y="121"/>
                    <a:pt x="6757" y="1"/>
                    <a:pt x="66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18" name="Google Shape;12518;p62"/>
          <p:cNvGrpSpPr/>
          <p:nvPr/>
        </p:nvGrpSpPr>
        <p:grpSpPr>
          <a:xfrm>
            <a:off x="7066548" y="2912594"/>
            <a:ext cx="352209" cy="334938"/>
            <a:chOff x="7066548" y="2912594"/>
            <a:chExt cx="352209" cy="334938"/>
          </a:xfrm>
        </p:grpSpPr>
        <p:sp>
          <p:nvSpPr>
            <p:cNvPr id="12519" name="Google Shape;12519;p62"/>
            <p:cNvSpPr/>
            <p:nvPr/>
          </p:nvSpPr>
          <p:spPr>
            <a:xfrm>
              <a:off x="7066548" y="2912594"/>
              <a:ext cx="219264" cy="266399"/>
            </a:xfrm>
            <a:custGeom>
              <a:avLst/>
              <a:gdLst/>
              <a:ahLst/>
              <a:cxnLst/>
              <a:rect l="l" t="t" r="r" b="b"/>
              <a:pathLst>
                <a:path w="6894" h="8376" extrusionOk="0">
                  <a:moveTo>
                    <a:pt x="6584" y="363"/>
                  </a:moveTo>
                  <a:lnTo>
                    <a:pt x="6584" y="1839"/>
                  </a:lnTo>
                  <a:lnTo>
                    <a:pt x="1774" y="2911"/>
                  </a:lnTo>
                  <a:lnTo>
                    <a:pt x="1774" y="1434"/>
                  </a:lnTo>
                  <a:lnTo>
                    <a:pt x="6584" y="363"/>
                  </a:lnTo>
                  <a:close/>
                  <a:moveTo>
                    <a:pt x="6584" y="2137"/>
                  </a:moveTo>
                  <a:lnTo>
                    <a:pt x="6584" y="6078"/>
                  </a:lnTo>
                  <a:cubicBezTo>
                    <a:pt x="6584" y="6209"/>
                    <a:pt x="6525" y="6423"/>
                    <a:pt x="6346" y="6578"/>
                  </a:cubicBezTo>
                  <a:cubicBezTo>
                    <a:pt x="6203" y="6721"/>
                    <a:pt x="5989" y="6863"/>
                    <a:pt x="5596" y="6863"/>
                  </a:cubicBezTo>
                  <a:cubicBezTo>
                    <a:pt x="5191" y="6863"/>
                    <a:pt x="4882" y="6625"/>
                    <a:pt x="4882" y="6328"/>
                  </a:cubicBezTo>
                  <a:cubicBezTo>
                    <a:pt x="4882" y="6030"/>
                    <a:pt x="5215" y="5792"/>
                    <a:pt x="5596" y="5792"/>
                  </a:cubicBezTo>
                  <a:cubicBezTo>
                    <a:pt x="5751" y="5792"/>
                    <a:pt x="5906" y="5840"/>
                    <a:pt x="6084" y="5899"/>
                  </a:cubicBezTo>
                  <a:cubicBezTo>
                    <a:pt x="6104" y="5904"/>
                    <a:pt x="6126" y="5907"/>
                    <a:pt x="6148" y="5907"/>
                  </a:cubicBezTo>
                  <a:cubicBezTo>
                    <a:pt x="6179" y="5907"/>
                    <a:pt x="6211" y="5901"/>
                    <a:pt x="6239" y="5887"/>
                  </a:cubicBezTo>
                  <a:cubicBezTo>
                    <a:pt x="6287" y="5851"/>
                    <a:pt x="6311" y="5804"/>
                    <a:pt x="6311" y="5744"/>
                  </a:cubicBezTo>
                  <a:lnTo>
                    <a:pt x="6311" y="2196"/>
                  </a:lnTo>
                  <a:lnTo>
                    <a:pt x="6584" y="2137"/>
                  </a:lnTo>
                  <a:close/>
                  <a:moveTo>
                    <a:pt x="6735" y="1"/>
                  </a:moveTo>
                  <a:cubicBezTo>
                    <a:pt x="6724" y="1"/>
                    <a:pt x="6713" y="2"/>
                    <a:pt x="6704" y="5"/>
                  </a:cubicBezTo>
                  <a:lnTo>
                    <a:pt x="1560" y="1137"/>
                  </a:lnTo>
                  <a:cubicBezTo>
                    <a:pt x="1489" y="1148"/>
                    <a:pt x="1429" y="1220"/>
                    <a:pt x="1429" y="1303"/>
                  </a:cubicBezTo>
                  <a:lnTo>
                    <a:pt x="1429" y="3101"/>
                  </a:lnTo>
                  <a:lnTo>
                    <a:pt x="1429" y="4030"/>
                  </a:lnTo>
                  <a:cubicBezTo>
                    <a:pt x="1429" y="4113"/>
                    <a:pt x="1500" y="4185"/>
                    <a:pt x="1596" y="4185"/>
                  </a:cubicBezTo>
                  <a:cubicBezTo>
                    <a:pt x="1679" y="4185"/>
                    <a:pt x="1751" y="4113"/>
                    <a:pt x="1751" y="4030"/>
                  </a:cubicBezTo>
                  <a:lnTo>
                    <a:pt x="1751" y="3232"/>
                  </a:lnTo>
                  <a:lnTo>
                    <a:pt x="2024" y="3173"/>
                  </a:lnTo>
                  <a:lnTo>
                    <a:pt x="2024" y="7304"/>
                  </a:lnTo>
                  <a:cubicBezTo>
                    <a:pt x="2024" y="7459"/>
                    <a:pt x="1858" y="8078"/>
                    <a:pt x="1036" y="8078"/>
                  </a:cubicBezTo>
                  <a:cubicBezTo>
                    <a:pt x="643" y="8078"/>
                    <a:pt x="322" y="7840"/>
                    <a:pt x="322" y="7542"/>
                  </a:cubicBezTo>
                  <a:cubicBezTo>
                    <a:pt x="322" y="7244"/>
                    <a:pt x="655" y="7006"/>
                    <a:pt x="1036" y="7006"/>
                  </a:cubicBezTo>
                  <a:cubicBezTo>
                    <a:pt x="1191" y="7006"/>
                    <a:pt x="1358" y="7042"/>
                    <a:pt x="1536" y="7102"/>
                  </a:cubicBezTo>
                  <a:cubicBezTo>
                    <a:pt x="1552" y="7112"/>
                    <a:pt x="1573" y="7118"/>
                    <a:pt x="1596" y="7118"/>
                  </a:cubicBezTo>
                  <a:cubicBezTo>
                    <a:pt x="1623" y="7118"/>
                    <a:pt x="1653" y="7109"/>
                    <a:pt x="1679" y="7090"/>
                  </a:cubicBezTo>
                  <a:cubicBezTo>
                    <a:pt x="1727" y="7066"/>
                    <a:pt x="1751" y="7018"/>
                    <a:pt x="1751" y="6959"/>
                  </a:cubicBezTo>
                  <a:lnTo>
                    <a:pt x="1751" y="4744"/>
                  </a:lnTo>
                  <a:cubicBezTo>
                    <a:pt x="1751" y="4649"/>
                    <a:pt x="1679" y="4577"/>
                    <a:pt x="1596" y="4577"/>
                  </a:cubicBezTo>
                  <a:cubicBezTo>
                    <a:pt x="1500" y="4577"/>
                    <a:pt x="1429" y="4649"/>
                    <a:pt x="1429" y="4744"/>
                  </a:cubicBezTo>
                  <a:lnTo>
                    <a:pt x="1429" y="6732"/>
                  </a:lnTo>
                  <a:cubicBezTo>
                    <a:pt x="1298" y="6709"/>
                    <a:pt x="1167" y="6673"/>
                    <a:pt x="1048" y="6673"/>
                  </a:cubicBezTo>
                  <a:cubicBezTo>
                    <a:pt x="465" y="6673"/>
                    <a:pt x="0" y="7066"/>
                    <a:pt x="0" y="7518"/>
                  </a:cubicBezTo>
                  <a:cubicBezTo>
                    <a:pt x="0" y="7995"/>
                    <a:pt x="465" y="8376"/>
                    <a:pt x="1048" y="8376"/>
                  </a:cubicBezTo>
                  <a:cubicBezTo>
                    <a:pt x="1596" y="8376"/>
                    <a:pt x="1905" y="8137"/>
                    <a:pt x="2072" y="7935"/>
                  </a:cubicBezTo>
                  <a:cubicBezTo>
                    <a:pt x="2274" y="7697"/>
                    <a:pt x="2358" y="7435"/>
                    <a:pt x="2358" y="7268"/>
                  </a:cubicBezTo>
                  <a:lnTo>
                    <a:pt x="2358" y="3089"/>
                  </a:lnTo>
                  <a:lnTo>
                    <a:pt x="5965" y="2280"/>
                  </a:lnTo>
                  <a:lnTo>
                    <a:pt x="5965" y="5542"/>
                  </a:lnTo>
                  <a:cubicBezTo>
                    <a:pt x="5834" y="5518"/>
                    <a:pt x="5703" y="5482"/>
                    <a:pt x="5584" y="5482"/>
                  </a:cubicBezTo>
                  <a:cubicBezTo>
                    <a:pt x="5001" y="5482"/>
                    <a:pt x="4537" y="5875"/>
                    <a:pt x="4537" y="6328"/>
                  </a:cubicBezTo>
                  <a:cubicBezTo>
                    <a:pt x="4537" y="6804"/>
                    <a:pt x="5001" y="7185"/>
                    <a:pt x="5584" y="7185"/>
                  </a:cubicBezTo>
                  <a:cubicBezTo>
                    <a:pt x="6477" y="7185"/>
                    <a:pt x="6894" y="6506"/>
                    <a:pt x="6894" y="6054"/>
                  </a:cubicBezTo>
                  <a:lnTo>
                    <a:pt x="6894" y="1922"/>
                  </a:lnTo>
                  <a:lnTo>
                    <a:pt x="6894" y="125"/>
                  </a:lnTo>
                  <a:cubicBezTo>
                    <a:pt x="6894" y="113"/>
                    <a:pt x="6882" y="65"/>
                    <a:pt x="6834" y="29"/>
                  </a:cubicBezTo>
                  <a:cubicBezTo>
                    <a:pt x="6800" y="12"/>
                    <a:pt x="6765" y="1"/>
                    <a:pt x="67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0" name="Google Shape;12520;p62"/>
            <p:cNvSpPr/>
            <p:nvPr/>
          </p:nvSpPr>
          <p:spPr>
            <a:xfrm>
              <a:off x="7262690" y="2968571"/>
              <a:ext cx="156067" cy="278962"/>
            </a:xfrm>
            <a:custGeom>
              <a:avLst/>
              <a:gdLst/>
              <a:ahLst/>
              <a:cxnLst/>
              <a:rect l="l" t="t" r="r" b="b"/>
              <a:pathLst>
                <a:path w="4907" h="8771" extrusionOk="0">
                  <a:moveTo>
                    <a:pt x="1928" y="0"/>
                  </a:moveTo>
                  <a:cubicBezTo>
                    <a:pt x="1909" y="0"/>
                    <a:pt x="1889" y="3"/>
                    <a:pt x="1870" y="8"/>
                  </a:cubicBezTo>
                  <a:cubicBezTo>
                    <a:pt x="1787" y="31"/>
                    <a:pt x="1727" y="103"/>
                    <a:pt x="1727" y="210"/>
                  </a:cubicBezTo>
                  <a:lnTo>
                    <a:pt x="1727" y="3746"/>
                  </a:lnTo>
                  <a:cubicBezTo>
                    <a:pt x="1727" y="3841"/>
                    <a:pt x="1799" y="3913"/>
                    <a:pt x="1882" y="3913"/>
                  </a:cubicBezTo>
                  <a:cubicBezTo>
                    <a:pt x="1977" y="3913"/>
                    <a:pt x="2049" y="3841"/>
                    <a:pt x="2049" y="3746"/>
                  </a:cubicBezTo>
                  <a:lnTo>
                    <a:pt x="2049" y="627"/>
                  </a:lnTo>
                  <a:cubicBezTo>
                    <a:pt x="2108" y="734"/>
                    <a:pt x="2180" y="853"/>
                    <a:pt x="2275" y="972"/>
                  </a:cubicBezTo>
                  <a:lnTo>
                    <a:pt x="2287" y="984"/>
                  </a:lnTo>
                  <a:lnTo>
                    <a:pt x="2322" y="1008"/>
                  </a:lnTo>
                  <a:lnTo>
                    <a:pt x="2334" y="1032"/>
                  </a:lnTo>
                  <a:cubicBezTo>
                    <a:pt x="2858" y="1770"/>
                    <a:pt x="3346" y="2246"/>
                    <a:pt x="3787" y="2425"/>
                  </a:cubicBezTo>
                  <a:cubicBezTo>
                    <a:pt x="4180" y="2591"/>
                    <a:pt x="4370" y="3091"/>
                    <a:pt x="4466" y="3508"/>
                  </a:cubicBezTo>
                  <a:cubicBezTo>
                    <a:pt x="4525" y="3782"/>
                    <a:pt x="4549" y="4068"/>
                    <a:pt x="4573" y="4306"/>
                  </a:cubicBezTo>
                  <a:cubicBezTo>
                    <a:pt x="4216" y="3853"/>
                    <a:pt x="3573" y="3175"/>
                    <a:pt x="2561" y="2794"/>
                  </a:cubicBezTo>
                  <a:cubicBezTo>
                    <a:pt x="2543" y="2789"/>
                    <a:pt x="2524" y="2787"/>
                    <a:pt x="2505" y="2787"/>
                  </a:cubicBezTo>
                  <a:cubicBezTo>
                    <a:pt x="2471" y="2787"/>
                    <a:pt x="2436" y="2795"/>
                    <a:pt x="2406" y="2817"/>
                  </a:cubicBezTo>
                  <a:cubicBezTo>
                    <a:pt x="2358" y="2841"/>
                    <a:pt x="2334" y="2889"/>
                    <a:pt x="2334" y="2948"/>
                  </a:cubicBezTo>
                  <a:lnTo>
                    <a:pt x="2334" y="7366"/>
                  </a:lnTo>
                  <a:cubicBezTo>
                    <a:pt x="2334" y="7735"/>
                    <a:pt x="1894" y="8437"/>
                    <a:pt x="1191" y="8437"/>
                  </a:cubicBezTo>
                  <a:cubicBezTo>
                    <a:pt x="727" y="8437"/>
                    <a:pt x="334" y="8151"/>
                    <a:pt x="334" y="7818"/>
                  </a:cubicBezTo>
                  <a:cubicBezTo>
                    <a:pt x="334" y="7473"/>
                    <a:pt x="727" y="7187"/>
                    <a:pt x="1191" y="7187"/>
                  </a:cubicBezTo>
                  <a:cubicBezTo>
                    <a:pt x="1382" y="7187"/>
                    <a:pt x="1620" y="7247"/>
                    <a:pt x="1822" y="7354"/>
                  </a:cubicBezTo>
                  <a:cubicBezTo>
                    <a:pt x="1841" y="7363"/>
                    <a:pt x="1861" y="7367"/>
                    <a:pt x="1881" y="7367"/>
                  </a:cubicBezTo>
                  <a:cubicBezTo>
                    <a:pt x="1914" y="7367"/>
                    <a:pt x="1948" y="7357"/>
                    <a:pt x="1977" y="7342"/>
                  </a:cubicBezTo>
                  <a:cubicBezTo>
                    <a:pt x="2013" y="7306"/>
                    <a:pt x="2049" y="7258"/>
                    <a:pt x="2049" y="7199"/>
                  </a:cubicBezTo>
                  <a:lnTo>
                    <a:pt x="2049" y="4520"/>
                  </a:lnTo>
                  <a:cubicBezTo>
                    <a:pt x="2049" y="4437"/>
                    <a:pt x="1977" y="4365"/>
                    <a:pt x="1882" y="4365"/>
                  </a:cubicBezTo>
                  <a:cubicBezTo>
                    <a:pt x="1799" y="4365"/>
                    <a:pt x="1727" y="4437"/>
                    <a:pt x="1727" y="4520"/>
                  </a:cubicBezTo>
                  <a:lnTo>
                    <a:pt x="1727" y="6961"/>
                  </a:lnTo>
                  <a:cubicBezTo>
                    <a:pt x="1525" y="6901"/>
                    <a:pt x="1334" y="6866"/>
                    <a:pt x="1168" y="6866"/>
                  </a:cubicBezTo>
                  <a:cubicBezTo>
                    <a:pt x="537" y="6866"/>
                    <a:pt x="1" y="7294"/>
                    <a:pt x="1" y="7818"/>
                  </a:cubicBezTo>
                  <a:cubicBezTo>
                    <a:pt x="1" y="8330"/>
                    <a:pt x="513" y="8771"/>
                    <a:pt x="1168" y="8771"/>
                  </a:cubicBezTo>
                  <a:cubicBezTo>
                    <a:pt x="1584" y="8771"/>
                    <a:pt x="1977" y="8592"/>
                    <a:pt x="2263" y="8259"/>
                  </a:cubicBezTo>
                  <a:cubicBezTo>
                    <a:pt x="2489" y="7997"/>
                    <a:pt x="2644" y="7651"/>
                    <a:pt x="2644" y="7366"/>
                  </a:cubicBezTo>
                  <a:lnTo>
                    <a:pt x="2644" y="3187"/>
                  </a:lnTo>
                  <a:cubicBezTo>
                    <a:pt x="3775" y="3675"/>
                    <a:pt x="4382" y="4568"/>
                    <a:pt x="4549" y="4842"/>
                  </a:cubicBezTo>
                  <a:cubicBezTo>
                    <a:pt x="4589" y="4901"/>
                    <a:pt x="4654" y="4928"/>
                    <a:pt x="4723" y="4928"/>
                  </a:cubicBezTo>
                  <a:cubicBezTo>
                    <a:pt x="4736" y="4928"/>
                    <a:pt x="4750" y="4927"/>
                    <a:pt x="4763" y="4925"/>
                  </a:cubicBezTo>
                  <a:cubicBezTo>
                    <a:pt x="4847" y="4901"/>
                    <a:pt x="4894" y="4818"/>
                    <a:pt x="4894" y="4746"/>
                  </a:cubicBezTo>
                  <a:cubicBezTo>
                    <a:pt x="4906" y="4544"/>
                    <a:pt x="4894" y="3996"/>
                    <a:pt x="4763" y="3460"/>
                  </a:cubicBezTo>
                  <a:cubicBezTo>
                    <a:pt x="4597" y="2758"/>
                    <a:pt x="4311" y="2329"/>
                    <a:pt x="3894" y="2151"/>
                  </a:cubicBezTo>
                  <a:cubicBezTo>
                    <a:pt x="3513" y="1984"/>
                    <a:pt x="3061" y="1555"/>
                    <a:pt x="2584" y="865"/>
                  </a:cubicBezTo>
                  <a:cubicBezTo>
                    <a:pt x="2572" y="841"/>
                    <a:pt x="2561" y="805"/>
                    <a:pt x="2525" y="781"/>
                  </a:cubicBezTo>
                  <a:cubicBezTo>
                    <a:pt x="2346" y="508"/>
                    <a:pt x="2203" y="270"/>
                    <a:pt x="2108" y="103"/>
                  </a:cubicBezTo>
                  <a:cubicBezTo>
                    <a:pt x="2070" y="36"/>
                    <a:pt x="2002" y="0"/>
                    <a:pt x="19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1" name="Google Shape;12521;p62"/>
            <p:cNvSpPr/>
            <p:nvPr/>
          </p:nvSpPr>
          <p:spPr>
            <a:xfrm>
              <a:off x="7356610" y="3200843"/>
              <a:ext cx="58362" cy="24363"/>
            </a:xfrm>
            <a:custGeom>
              <a:avLst/>
              <a:gdLst/>
              <a:ahLst/>
              <a:cxnLst/>
              <a:rect l="l" t="t" r="r" b="b"/>
              <a:pathLst>
                <a:path w="1835" h="766" extrusionOk="0">
                  <a:moveTo>
                    <a:pt x="1669" y="1"/>
                  </a:moveTo>
                  <a:cubicBezTo>
                    <a:pt x="1636" y="1"/>
                    <a:pt x="1603" y="13"/>
                    <a:pt x="1572" y="39"/>
                  </a:cubicBezTo>
                  <a:cubicBezTo>
                    <a:pt x="1572" y="39"/>
                    <a:pt x="1120" y="348"/>
                    <a:pt x="155" y="444"/>
                  </a:cubicBezTo>
                  <a:cubicBezTo>
                    <a:pt x="60" y="456"/>
                    <a:pt x="0" y="527"/>
                    <a:pt x="0" y="622"/>
                  </a:cubicBezTo>
                  <a:cubicBezTo>
                    <a:pt x="24" y="706"/>
                    <a:pt x="84" y="765"/>
                    <a:pt x="167" y="765"/>
                  </a:cubicBezTo>
                  <a:lnTo>
                    <a:pt x="179" y="765"/>
                  </a:lnTo>
                  <a:cubicBezTo>
                    <a:pt x="1263" y="658"/>
                    <a:pt x="1739" y="325"/>
                    <a:pt x="1763" y="301"/>
                  </a:cubicBezTo>
                  <a:cubicBezTo>
                    <a:pt x="1822" y="229"/>
                    <a:pt x="1834" y="146"/>
                    <a:pt x="1786" y="63"/>
                  </a:cubicBezTo>
                  <a:cubicBezTo>
                    <a:pt x="1753" y="22"/>
                    <a:pt x="1711" y="1"/>
                    <a:pt x="16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2" name="Google Shape;12522;p62"/>
            <p:cNvSpPr/>
            <p:nvPr/>
          </p:nvSpPr>
          <p:spPr>
            <a:xfrm>
              <a:off x="7068806" y="3188821"/>
              <a:ext cx="179539" cy="24617"/>
            </a:xfrm>
            <a:custGeom>
              <a:avLst/>
              <a:gdLst/>
              <a:ahLst/>
              <a:cxnLst/>
              <a:rect l="l" t="t" r="r" b="b"/>
              <a:pathLst>
                <a:path w="5645" h="774" extrusionOk="0">
                  <a:moveTo>
                    <a:pt x="1675" y="1"/>
                  </a:moveTo>
                  <a:cubicBezTo>
                    <a:pt x="1452" y="1"/>
                    <a:pt x="1243" y="9"/>
                    <a:pt x="1048" y="24"/>
                  </a:cubicBezTo>
                  <a:cubicBezTo>
                    <a:pt x="632" y="60"/>
                    <a:pt x="322" y="131"/>
                    <a:pt x="144" y="202"/>
                  </a:cubicBezTo>
                  <a:cubicBezTo>
                    <a:pt x="36" y="250"/>
                    <a:pt x="1" y="369"/>
                    <a:pt x="84" y="464"/>
                  </a:cubicBezTo>
                  <a:cubicBezTo>
                    <a:pt x="106" y="502"/>
                    <a:pt x="147" y="520"/>
                    <a:pt x="189" y="520"/>
                  </a:cubicBezTo>
                  <a:cubicBezTo>
                    <a:pt x="215" y="520"/>
                    <a:pt x="240" y="514"/>
                    <a:pt x="263" y="500"/>
                  </a:cubicBezTo>
                  <a:cubicBezTo>
                    <a:pt x="394" y="441"/>
                    <a:pt x="656" y="369"/>
                    <a:pt x="1168" y="345"/>
                  </a:cubicBezTo>
                  <a:cubicBezTo>
                    <a:pt x="1340" y="332"/>
                    <a:pt x="1521" y="327"/>
                    <a:pt x="1709" y="327"/>
                  </a:cubicBezTo>
                  <a:cubicBezTo>
                    <a:pt x="2909" y="327"/>
                    <a:pt x="4373" y="568"/>
                    <a:pt x="5454" y="774"/>
                  </a:cubicBezTo>
                  <a:lnTo>
                    <a:pt x="5478" y="774"/>
                  </a:lnTo>
                  <a:cubicBezTo>
                    <a:pt x="5561" y="774"/>
                    <a:pt x="5632" y="714"/>
                    <a:pt x="5644" y="643"/>
                  </a:cubicBezTo>
                  <a:cubicBezTo>
                    <a:pt x="5644" y="560"/>
                    <a:pt x="5585" y="488"/>
                    <a:pt x="5513" y="464"/>
                  </a:cubicBezTo>
                  <a:cubicBezTo>
                    <a:pt x="3958" y="153"/>
                    <a:pt x="2672" y="1"/>
                    <a:pt x="16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3" name="Google Shape;12523;p62"/>
            <p:cNvSpPr/>
            <p:nvPr/>
          </p:nvSpPr>
          <p:spPr>
            <a:xfrm>
              <a:off x="7361158" y="3154726"/>
              <a:ext cx="49997" cy="20482"/>
            </a:xfrm>
            <a:custGeom>
              <a:avLst/>
              <a:gdLst/>
              <a:ahLst/>
              <a:cxnLst/>
              <a:rect l="l" t="t" r="r" b="b"/>
              <a:pathLst>
                <a:path w="1572" h="644" extrusionOk="0">
                  <a:moveTo>
                    <a:pt x="1375" y="1"/>
                  </a:moveTo>
                  <a:cubicBezTo>
                    <a:pt x="1352" y="1"/>
                    <a:pt x="1330" y="5"/>
                    <a:pt x="1310" y="12"/>
                  </a:cubicBezTo>
                  <a:cubicBezTo>
                    <a:pt x="1131" y="120"/>
                    <a:pt x="750" y="251"/>
                    <a:pt x="143" y="310"/>
                  </a:cubicBezTo>
                  <a:cubicBezTo>
                    <a:pt x="60" y="322"/>
                    <a:pt x="0" y="382"/>
                    <a:pt x="0" y="477"/>
                  </a:cubicBezTo>
                  <a:cubicBezTo>
                    <a:pt x="0" y="560"/>
                    <a:pt x="72" y="643"/>
                    <a:pt x="155" y="643"/>
                  </a:cubicBezTo>
                  <a:lnTo>
                    <a:pt x="179" y="643"/>
                  </a:lnTo>
                  <a:cubicBezTo>
                    <a:pt x="881" y="584"/>
                    <a:pt x="1274" y="417"/>
                    <a:pt x="1465" y="310"/>
                  </a:cubicBezTo>
                  <a:cubicBezTo>
                    <a:pt x="1560" y="251"/>
                    <a:pt x="1572" y="120"/>
                    <a:pt x="1501" y="48"/>
                  </a:cubicBezTo>
                  <a:cubicBezTo>
                    <a:pt x="1469" y="16"/>
                    <a:pt x="1421" y="1"/>
                    <a:pt x="13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4" name="Google Shape;12524;p62"/>
            <p:cNvSpPr/>
            <p:nvPr/>
          </p:nvSpPr>
          <p:spPr>
            <a:xfrm>
              <a:off x="7155920" y="3139523"/>
              <a:ext cx="148084" cy="33045"/>
            </a:xfrm>
            <a:custGeom>
              <a:avLst/>
              <a:gdLst/>
              <a:ahLst/>
              <a:cxnLst/>
              <a:rect l="l" t="t" r="r" b="b"/>
              <a:pathLst>
                <a:path w="4656" h="1039" extrusionOk="0">
                  <a:moveTo>
                    <a:pt x="172" y="1"/>
                  </a:moveTo>
                  <a:cubicBezTo>
                    <a:pt x="97" y="1"/>
                    <a:pt x="34" y="68"/>
                    <a:pt x="12" y="145"/>
                  </a:cubicBezTo>
                  <a:cubicBezTo>
                    <a:pt x="0" y="240"/>
                    <a:pt x="84" y="312"/>
                    <a:pt x="167" y="324"/>
                  </a:cubicBezTo>
                  <a:cubicBezTo>
                    <a:pt x="726" y="383"/>
                    <a:pt x="1536" y="526"/>
                    <a:pt x="2489" y="705"/>
                  </a:cubicBezTo>
                  <a:cubicBezTo>
                    <a:pt x="3382" y="883"/>
                    <a:pt x="4001" y="979"/>
                    <a:pt x="4477" y="1038"/>
                  </a:cubicBezTo>
                  <a:lnTo>
                    <a:pt x="4501" y="1038"/>
                  </a:lnTo>
                  <a:cubicBezTo>
                    <a:pt x="4572" y="1038"/>
                    <a:pt x="4644" y="979"/>
                    <a:pt x="4656" y="895"/>
                  </a:cubicBezTo>
                  <a:cubicBezTo>
                    <a:pt x="4644" y="824"/>
                    <a:pt x="4584" y="740"/>
                    <a:pt x="4501" y="729"/>
                  </a:cubicBezTo>
                  <a:cubicBezTo>
                    <a:pt x="4036" y="669"/>
                    <a:pt x="3417" y="562"/>
                    <a:pt x="2536" y="383"/>
                  </a:cubicBezTo>
                  <a:cubicBezTo>
                    <a:pt x="1584" y="193"/>
                    <a:pt x="762" y="62"/>
                    <a:pt x="191" y="2"/>
                  </a:cubicBezTo>
                  <a:cubicBezTo>
                    <a:pt x="185" y="1"/>
                    <a:pt x="178" y="1"/>
                    <a:pt x="1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525" name="Google Shape;12525;p62"/>
          <p:cNvSpPr/>
          <p:nvPr/>
        </p:nvSpPr>
        <p:spPr>
          <a:xfrm>
            <a:off x="6591286" y="2883970"/>
            <a:ext cx="390088" cy="357520"/>
          </a:xfrm>
          <a:custGeom>
            <a:avLst/>
            <a:gdLst/>
            <a:ahLst/>
            <a:cxnLst/>
            <a:rect l="l" t="t" r="r" b="b"/>
            <a:pathLst>
              <a:path w="12265" h="11241" extrusionOk="0">
                <a:moveTo>
                  <a:pt x="11645" y="358"/>
                </a:moveTo>
                <a:cubicBezTo>
                  <a:pt x="11562" y="465"/>
                  <a:pt x="11431" y="584"/>
                  <a:pt x="11229" y="715"/>
                </a:cubicBezTo>
                <a:lnTo>
                  <a:pt x="11205" y="715"/>
                </a:lnTo>
                <a:cubicBezTo>
                  <a:pt x="11193" y="727"/>
                  <a:pt x="11181" y="727"/>
                  <a:pt x="11169" y="739"/>
                </a:cubicBezTo>
                <a:cubicBezTo>
                  <a:pt x="11169" y="739"/>
                  <a:pt x="11145" y="739"/>
                  <a:pt x="11145" y="763"/>
                </a:cubicBezTo>
                <a:cubicBezTo>
                  <a:pt x="11133" y="763"/>
                  <a:pt x="11133" y="774"/>
                  <a:pt x="11121" y="774"/>
                </a:cubicBezTo>
                <a:cubicBezTo>
                  <a:pt x="11109" y="774"/>
                  <a:pt x="11109" y="786"/>
                  <a:pt x="11086" y="786"/>
                </a:cubicBezTo>
                <a:cubicBezTo>
                  <a:pt x="11074" y="786"/>
                  <a:pt x="11074" y="798"/>
                  <a:pt x="11062" y="798"/>
                </a:cubicBezTo>
                <a:cubicBezTo>
                  <a:pt x="11050" y="798"/>
                  <a:pt x="11050" y="822"/>
                  <a:pt x="11026" y="822"/>
                </a:cubicBezTo>
                <a:cubicBezTo>
                  <a:pt x="11002" y="834"/>
                  <a:pt x="10967" y="846"/>
                  <a:pt x="10955" y="858"/>
                </a:cubicBezTo>
                <a:cubicBezTo>
                  <a:pt x="10955" y="858"/>
                  <a:pt x="10943" y="882"/>
                  <a:pt x="10931" y="882"/>
                </a:cubicBezTo>
                <a:cubicBezTo>
                  <a:pt x="10907" y="882"/>
                  <a:pt x="10907" y="894"/>
                  <a:pt x="10895" y="894"/>
                </a:cubicBezTo>
                <a:cubicBezTo>
                  <a:pt x="10883" y="894"/>
                  <a:pt x="10883" y="905"/>
                  <a:pt x="10871" y="905"/>
                </a:cubicBezTo>
                <a:cubicBezTo>
                  <a:pt x="10848" y="905"/>
                  <a:pt x="10848" y="917"/>
                  <a:pt x="10836" y="917"/>
                </a:cubicBezTo>
                <a:cubicBezTo>
                  <a:pt x="10824" y="917"/>
                  <a:pt x="10800" y="941"/>
                  <a:pt x="10788" y="941"/>
                </a:cubicBezTo>
                <a:cubicBezTo>
                  <a:pt x="10776" y="941"/>
                  <a:pt x="10776" y="941"/>
                  <a:pt x="10764" y="953"/>
                </a:cubicBezTo>
                <a:cubicBezTo>
                  <a:pt x="10752" y="965"/>
                  <a:pt x="10728" y="965"/>
                  <a:pt x="10705" y="977"/>
                </a:cubicBezTo>
                <a:lnTo>
                  <a:pt x="10693" y="977"/>
                </a:lnTo>
                <a:cubicBezTo>
                  <a:pt x="10609" y="1013"/>
                  <a:pt x="10538" y="1036"/>
                  <a:pt x="10455" y="1084"/>
                </a:cubicBezTo>
                <a:cubicBezTo>
                  <a:pt x="10347" y="1132"/>
                  <a:pt x="10228" y="1179"/>
                  <a:pt x="10109" y="1203"/>
                </a:cubicBezTo>
                <a:cubicBezTo>
                  <a:pt x="9776" y="1310"/>
                  <a:pt x="9419" y="1417"/>
                  <a:pt x="9038" y="1489"/>
                </a:cubicBezTo>
                <a:lnTo>
                  <a:pt x="9026" y="1489"/>
                </a:lnTo>
                <a:cubicBezTo>
                  <a:pt x="8669" y="1560"/>
                  <a:pt x="8288" y="1620"/>
                  <a:pt x="7907" y="1667"/>
                </a:cubicBezTo>
                <a:lnTo>
                  <a:pt x="7895" y="1667"/>
                </a:lnTo>
                <a:cubicBezTo>
                  <a:pt x="7311" y="1739"/>
                  <a:pt x="6704" y="1775"/>
                  <a:pt x="6085" y="1775"/>
                </a:cubicBezTo>
                <a:cubicBezTo>
                  <a:pt x="5478" y="1775"/>
                  <a:pt x="4871" y="1739"/>
                  <a:pt x="4287" y="1667"/>
                </a:cubicBezTo>
                <a:lnTo>
                  <a:pt x="4275" y="1667"/>
                </a:lnTo>
                <a:cubicBezTo>
                  <a:pt x="3882" y="1620"/>
                  <a:pt x="3513" y="1560"/>
                  <a:pt x="3156" y="1489"/>
                </a:cubicBezTo>
                <a:lnTo>
                  <a:pt x="3144" y="1489"/>
                </a:lnTo>
                <a:cubicBezTo>
                  <a:pt x="2775" y="1417"/>
                  <a:pt x="2418" y="1310"/>
                  <a:pt x="2073" y="1203"/>
                </a:cubicBezTo>
                <a:cubicBezTo>
                  <a:pt x="1954" y="1155"/>
                  <a:pt x="1835" y="1120"/>
                  <a:pt x="1727" y="1084"/>
                </a:cubicBezTo>
                <a:cubicBezTo>
                  <a:pt x="1644" y="1060"/>
                  <a:pt x="1561" y="1025"/>
                  <a:pt x="1489" y="977"/>
                </a:cubicBezTo>
                <a:lnTo>
                  <a:pt x="1477" y="977"/>
                </a:lnTo>
                <a:cubicBezTo>
                  <a:pt x="1465" y="965"/>
                  <a:pt x="1442" y="965"/>
                  <a:pt x="1418" y="953"/>
                </a:cubicBezTo>
                <a:cubicBezTo>
                  <a:pt x="1406" y="953"/>
                  <a:pt x="1406" y="953"/>
                  <a:pt x="1382" y="941"/>
                </a:cubicBezTo>
                <a:cubicBezTo>
                  <a:pt x="1370" y="941"/>
                  <a:pt x="1358" y="917"/>
                  <a:pt x="1346" y="917"/>
                </a:cubicBezTo>
                <a:cubicBezTo>
                  <a:pt x="1323" y="917"/>
                  <a:pt x="1323" y="905"/>
                  <a:pt x="1311" y="905"/>
                </a:cubicBezTo>
                <a:cubicBezTo>
                  <a:pt x="1299" y="905"/>
                  <a:pt x="1299" y="894"/>
                  <a:pt x="1287" y="894"/>
                </a:cubicBezTo>
                <a:cubicBezTo>
                  <a:pt x="1263" y="894"/>
                  <a:pt x="1263" y="882"/>
                  <a:pt x="1251" y="882"/>
                </a:cubicBezTo>
                <a:cubicBezTo>
                  <a:pt x="1239" y="882"/>
                  <a:pt x="1239" y="858"/>
                  <a:pt x="1227" y="858"/>
                </a:cubicBezTo>
                <a:cubicBezTo>
                  <a:pt x="1192" y="846"/>
                  <a:pt x="1168" y="834"/>
                  <a:pt x="1144" y="822"/>
                </a:cubicBezTo>
                <a:cubicBezTo>
                  <a:pt x="1132" y="822"/>
                  <a:pt x="1132" y="798"/>
                  <a:pt x="1120" y="798"/>
                </a:cubicBezTo>
                <a:cubicBezTo>
                  <a:pt x="1108" y="798"/>
                  <a:pt x="1108" y="786"/>
                  <a:pt x="1084" y="786"/>
                </a:cubicBezTo>
                <a:cubicBezTo>
                  <a:pt x="1073" y="786"/>
                  <a:pt x="1073" y="774"/>
                  <a:pt x="1061" y="774"/>
                </a:cubicBezTo>
                <a:cubicBezTo>
                  <a:pt x="1049" y="774"/>
                  <a:pt x="1049" y="763"/>
                  <a:pt x="1025" y="763"/>
                </a:cubicBezTo>
                <a:cubicBezTo>
                  <a:pt x="1025" y="763"/>
                  <a:pt x="1013" y="763"/>
                  <a:pt x="1013" y="739"/>
                </a:cubicBezTo>
                <a:cubicBezTo>
                  <a:pt x="1001" y="727"/>
                  <a:pt x="989" y="727"/>
                  <a:pt x="965" y="715"/>
                </a:cubicBezTo>
                <a:lnTo>
                  <a:pt x="953" y="715"/>
                </a:lnTo>
                <a:cubicBezTo>
                  <a:pt x="751" y="584"/>
                  <a:pt x="608" y="453"/>
                  <a:pt x="537" y="358"/>
                </a:cubicBezTo>
                <a:close/>
                <a:moveTo>
                  <a:pt x="1537" y="5680"/>
                </a:moveTo>
                <a:lnTo>
                  <a:pt x="1537" y="6037"/>
                </a:lnTo>
                <a:lnTo>
                  <a:pt x="358" y="6037"/>
                </a:lnTo>
                <a:lnTo>
                  <a:pt x="358" y="5680"/>
                </a:lnTo>
                <a:close/>
                <a:moveTo>
                  <a:pt x="11895" y="5680"/>
                </a:moveTo>
                <a:lnTo>
                  <a:pt x="11895" y="6037"/>
                </a:lnTo>
                <a:lnTo>
                  <a:pt x="10717" y="6037"/>
                </a:lnTo>
                <a:lnTo>
                  <a:pt x="10717" y="5680"/>
                </a:lnTo>
                <a:close/>
                <a:moveTo>
                  <a:pt x="11717" y="798"/>
                </a:moveTo>
                <a:lnTo>
                  <a:pt x="11717" y="5323"/>
                </a:lnTo>
                <a:lnTo>
                  <a:pt x="10717" y="5323"/>
                </a:lnTo>
                <a:cubicBezTo>
                  <a:pt x="10526" y="5323"/>
                  <a:pt x="10359" y="5489"/>
                  <a:pt x="10359" y="5680"/>
                </a:cubicBezTo>
                <a:lnTo>
                  <a:pt x="10359" y="6049"/>
                </a:lnTo>
                <a:cubicBezTo>
                  <a:pt x="10359" y="6144"/>
                  <a:pt x="10407" y="6239"/>
                  <a:pt x="10467" y="6311"/>
                </a:cubicBezTo>
                <a:cubicBezTo>
                  <a:pt x="10359" y="6632"/>
                  <a:pt x="10228" y="7049"/>
                  <a:pt x="10109" y="7502"/>
                </a:cubicBezTo>
                <a:lnTo>
                  <a:pt x="2168" y="7502"/>
                </a:lnTo>
                <a:cubicBezTo>
                  <a:pt x="2049" y="7049"/>
                  <a:pt x="1918" y="6632"/>
                  <a:pt x="1811" y="6311"/>
                </a:cubicBezTo>
                <a:cubicBezTo>
                  <a:pt x="1870" y="6251"/>
                  <a:pt x="1918" y="6156"/>
                  <a:pt x="1918" y="6049"/>
                </a:cubicBezTo>
                <a:lnTo>
                  <a:pt x="1918" y="5680"/>
                </a:lnTo>
                <a:cubicBezTo>
                  <a:pt x="1918" y="5489"/>
                  <a:pt x="1751" y="5323"/>
                  <a:pt x="1561" y="5323"/>
                </a:cubicBezTo>
                <a:lnTo>
                  <a:pt x="561" y="5323"/>
                </a:lnTo>
                <a:lnTo>
                  <a:pt x="561" y="808"/>
                </a:lnTo>
                <a:lnTo>
                  <a:pt x="561" y="808"/>
                </a:lnTo>
                <a:cubicBezTo>
                  <a:pt x="616" y="854"/>
                  <a:pt x="673" y="909"/>
                  <a:pt x="751" y="953"/>
                </a:cubicBezTo>
                <a:cubicBezTo>
                  <a:pt x="942" y="1084"/>
                  <a:pt x="1192" y="1215"/>
                  <a:pt x="1537" y="1358"/>
                </a:cubicBezTo>
                <a:cubicBezTo>
                  <a:pt x="1537" y="2489"/>
                  <a:pt x="1203" y="3739"/>
                  <a:pt x="930" y="4608"/>
                </a:cubicBezTo>
                <a:cubicBezTo>
                  <a:pt x="894" y="4704"/>
                  <a:pt x="942" y="4799"/>
                  <a:pt x="1049" y="4835"/>
                </a:cubicBezTo>
                <a:cubicBezTo>
                  <a:pt x="1067" y="4842"/>
                  <a:pt x="1087" y="4846"/>
                  <a:pt x="1106" y="4846"/>
                </a:cubicBezTo>
                <a:cubicBezTo>
                  <a:pt x="1175" y="4846"/>
                  <a:pt x="1244" y="4799"/>
                  <a:pt x="1263" y="4715"/>
                </a:cubicBezTo>
                <a:cubicBezTo>
                  <a:pt x="1549" y="3858"/>
                  <a:pt x="1870" y="2620"/>
                  <a:pt x="1894" y="1489"/>
                </a:cubicBezTo>
                <a:cubicBezTo>
                  <a:pt x="1942" y="1501"/>
                  <a:pt x="1965" y="1513"/>
                  <a:pt x="2013" y="1525"/>
                </a:cubicBezTo>
                <a:cubicBezTo>
                  <a:pt x="2311" y="1632"/>
                  <a:pt x="2620" y="1715"/>
                  <a:pt x="2954" y="1787"/>
                </a:cubicBezTo>
                <a:cubicBezTo>
                  <a:pt x="2561" y="2965"/>
                  <a:pt x="1954" y="3930"/>
                  <a:pt x="1489" y="4549"/>
                </a:cubicBezTo>
                <a:cubicBezTo>
                  <a:pt x="1430" y="4632"/>
                  <a:pt x="1442" y="4751"/>
                  <a:pt x="1525" y="4811"/>
                </a:cubicBezTo>
                <a:cubicBezTo>
                  <a:pt x="1549" y="4835"/>
                  <a:pt x="1596" y="4835"/>
                  <a:pt x="1620" y="4835"/>
                </a:cubicBezTo>
                <a:cubicBezTo>
                  <a:pt x="1680" y="4835"/>
                  <a:pt x="1727" y="4811"/>
                  <a:pt x="1775" y="4763"/>
                </a:cubicBezTo>
                <a:cubicBezTo>
                  <a:pt x="2263" y="4108"/>
                  <a:pt x="2906" y="3096"/>
                  <a:pt x="3311" y="1846"/>
                </a:cubicBezTo>
                <a:cubicBezTo>
                  <a:pt x="3561" y="1894"/>
                  <a:pt x="3811" y="1929"/>
                  <a:pt x="4061" y="1965"/>
                </a:cubicBezTo>
                <a:cubicBezTo>
                  <a:pt x="3680" y="2906"/>
                  <a:pt x="2918" y="3858"/>
                  <a:pt x="2323" y="4525"/>
                </a:cubicBezTo>
                <a:cubicBezTo>
                  <a:pt x="2263" y="4596"/>
                  <a:pt x="2263" y="4715"/>
                  <a:pt x="2335" y="4775"/>
                </a:cubicBezTo>
                <a:cubicBezTo>
                  <a:pt x="2369" y="4803"/>
                  <a:pt x="2414" y="4818"/>
                  <a:pt x="2458" y="4818"/>
                </a:cubicBezTo>
                <a:cubicBezTo>
                  <a:pt x="2506" y="4818"/>
                  <a:pt x="2553" y="4800"/>
                  <a:pt x="2585" y="4763"/>
                </a:cubicBezTo>
                <a:cubicBezTo>
                  <a:pt x="3692" y="3525"/>
                  <a:pt x="4192" y="2608"/>
                  <a:pt x="4418" y="2013"/>
                </a:cubicBezTo>
                <a:cubicBezTo>
                  <a:pt x="4966" y="2072"/>
                  <a:pt x="5549" y="2096"/>
                  <a:pt x="6133" y="2096"/>
                </a:cubicBezTo>
                <a:cubicBezTo>
                  <a:pt x="6716" y="2096"/>
                  <a:pt x="7288" y="2072"/>
                  <a:pt x="7847" y="2013"/>
                </a:cubicBezTo>
                <a:cubicBezTo>
                  <a:pt x="8228" y="3025"/>
                  <a:pt x="9050" y="4061"/>
                  <a:pt x="9669" y="4763"/>
                </a:cubicBezTo>
                <a:cubicBezTo>
                  <a:pt x="9700" y="4800"/>
                  <a:pt x="9747" y="4818"/>
                  <a:pt x="9797" y="4818"/>
                </a:cubicBezTo>
                <a:cubicBezTo>
                  <a:pt x="9843" y="4818"/>
                  <a:pt x="9891" y="4803"/>
                  <a:pt x="9931" y="4775"/>
                </a:cubicBezTo>
                <a:cubicBezTo>
                  <a:pt x="10002" y="4715"/>
                  <a:pt x="10002" y="4596"/>
                  <a:pt x="9943" y="4525"/>
                </a:cubicBezTo>
                <a:cubicBezTo>
                  <a:pt x="9347" y="3870"/>
                  <a:pt x="8585" y="2906"/>
                  <a:pt x="8204" y="1965"/>
                </a:cubicBezTo>
                <a:cubicBezTo>
                  <a:pt x="8454" y="1929"/>
                  <a:pt x="8716" y="1894"/>
                  <a:pt x="8954" y="1846"/>
                </a:cubicBezTo>
                <a:cubicBezTo>
                  <a:pt x="9359" y="3096"/>
                  <a:pt x="10002" y="4108"/>
                  <a:pt x="10490" y="4763"/>
                </a:cubicBezTo>
                <a:cubicBezTo>
                  <a:pt x="10526" y="4811"/>
                  <a:pt x="10586" y="4835"/>
                  <a:pt x="10645" y="4835"/>
                </a:cubicBezTo>
                <a:cubicBezTo>
                  <a:pt x="10681" y="4835"/>
                  <a:pt x="10717" y="4823"/>
                  <a:pt x="10740" y="4811"/>
                </a:cubicBezTo>
                <a:cubicBezTo>
                  <a:pt x="10824" y="4751"/>
                  <a:pt x="10836" y="4632"/>
                  <a:pt x="10776" y="4549"/>
                </a:cubicBezTo>
                <a:cubicBezTo>
                  <a:pt x="10312" y="3930"/>
                  <a:pt x="9693" y="2965"/>
                  <a:pt x="9312" y="1787"/>
                </a:cubicBezTo>
                <a:cubicBezTo>
                  <a:pt x="9645" y="1715"/>
                  <a:pt x="9955" y="1620"/>
                  <a:pt x="10252" y="1525"/>
                </a:cubicBezTo>
                <a:cubicBezTo>
                  <a:pt x="10300" y="1513"/>
                  <a:pt x="10324" y="1501"/>
                  <a:pt x="10371" y="1489"/>
                </a:cubicBezTo>
                <a:cubicBezTo>
                  <a:pt x="10407" y="2632"/>
                  <a:pt x="10717" y="3858"/>
                  <a:pt x="11002" y="4715"/>
                </a:cubicBezTo>
                <a:cubicBezTo>
                  <a:pt x="11021" y="4792"/>
                  <a:pt x="11094" y="4845"/>
                  <a:pt x="11165" y="4845"/>
                </a:cubicBezTo>
                <a:cubicBezTo>
                  <a:pt x="11182" y="4845"/>
                  <a:pt x="11200" y="4842"/>
                  <a:pt x="11217" y="4835"/>
                </a:cubicBezTo>
                <a:cubicBezTo>
                  <a:pt x="11312" y="4799"/>
                  <a:pt x="11371" y="4704"/>
                  <a:pt x="11336" y="4608"/>
                </a:cubicBezTo>
                <a:cubicBezTo>
                  <a:pt x="11062" y="3751"/>
                  <a:pt x="10728" y="2489"/>
                  <a:pt x="10728" y="1358"/>
                </a:cubicBezTo>
                <a:cubicBezTo>
                  <a:pt x="11074" y="1215"/>
                  <a:pt x="11324" y="1084"/>
                  <a:pt x="11514" y="953"/>
                </a:cubicBezTo>
                <a:cubicBezTo>
                  <a:pt x="11598" y="905"/>
                  <a:pt x="11657" y="846"/>
                  <a:pt x="11717" y="798"/>
                </a:cubicBezTo>
                <a:close/>
                <a:moveTo>
                  <a:pt x="715" y="6394"/>
                </a:moveTo>
                <a:cubicBezTo>
                  <a:pt x="1382" y="8621"/>
                  <a:pt x="1596" y="10252"/>
                  <a:pt x="1287" y="10800"/>
                </a:cubicBezTo>
                <a:cubicBezTo>
                  <a:pt x="1263" y="10835"/>
                  <a:pt x="1227" y="10859"/>
                  <a:pt x="1180" y="10859"/>
                </a:cubicBezTo>
                <a:lnTo>
                  <a:pt x="537" y="10859"/>
                </a:lnTo>
                <a:lnTo>
                  <a:pt x="537" y="6394"/>
                </a:lnTo>
                <a:close/>
                <a:moveTo>
                  <a:pt x="3501" y="9478"/>
                </a:moveTo>
                <a:cubicBezTo>
                  <a:pt x="3704" y="9478"/>
                  <a:pt x="3882" y="9657"/>
                  <a:pt x="3882" y="9859"/>
                </a:cubicBezTo>
                <a:lnTo>
                  <a:pt x="3882" y="10859"/>
                </a:lnTo>
                <a:lnTo>
                  <a:pt x="2180" y="10859"/>
                </a:lnTo>
                <a:lnTo>
                  <a:pt x="2180" y="9859"/>
                </a:lnTo>
                <a:cubicBezTo>
                  <a:pt x="2180" y="9657"/>
                  <a:pt x="2358" y="9478"/>
                  <a:pt x="2561" y="9478"/>
                </a:cubicBezTo>
                <a:close/>
                <a:moveTo>
                  <a:pt x="5561" y="9478"/>
                </a:moveTo>
                <a:cubicBezTo>
                  <a:pt x="5775" y="9478"/>
                  <a:pt x="5954" y="9657"/>
                  <a:pt x="5954" y="9859"/>
                </a:cubicBezTo>
                <a:lnTo>
                  <a:pt x="5954" y="10859"/>
                </a:lnTo>
                <a:lnTo>
                  <a:pt x="4240" y="10859"/>
                </a:lnTo>
                <a:lnTo>
                  <a:pt x="4240" y="9859"/>
                </a:lnTo>
                <a:cubicBezTo>
                  <a:pt x="4240" y="9657"/>
                  <a:pt x="4418" y="9478"/>
                  <a:pt x="4632" y="9478"/>
                </a:cubicBezTo>
                <a:close/>
                <a:moveTo>
                  <a:pt x="7633" y="9478"/>
                </a:moveTo>
                <a:cubicBezTo>
                  <a:pt x="7847" y="9478"/>
                  <a:pt x="8026" y="9657"/>
                  <a:pt x="8026" y="9859"/>
                </a:cubicBezTo>
                <a:lnTo>
                  <a:pt x="8026" y="10859"/>
                </a:lnTo>
                <a:lnTo>
                  <a:pt x="6311" y="10859"/>
                </a:lnTo>
                <a:lnTo>
                  <a:pt x="6311" y="9859"/>
                </a:lnTo>
                <a:cubicBezTo>
                  <a:pt x="6311" y="9657"/>
                  <a:pt x="6490" y="9478"/>
                  <a:pt x="6704" y="9478"/>
                </a:cubicBezTo>
                <a:close/>
                <a:moveTo>
                  <a:pt x="9693" y="9478"/>
                </a:moveTo>
                <a:cubicBezTo>
                  <a:pt x="9895" y="9478"/>
                  <a:pt x="10074" y="9657"/>
                  <a:pt x="10074" y="9859"/>
                </a:cubicBezTo>
                <a:lnTo>
                  <a:pt x="10074" y="10859"/>
                </a:lnTo>
                <a:lnTo>
                  <a:pt x="8371" y="10859"/>
                </a:lnTo>
                <a:lnTo>
                  <a:pt x="8371" y="9859"/>
                </a:lnTo>
                <a:cubicBezTo>
                  <a:pt x="8371" y="9657"/>
                  <a:pt x="8550" y="9478"/>
                  <a:pt x="8752" y="9478"/>
                </a:cubicBezTo>
                <a:close/>
                <a:moveTo>
                  <a:pt x="11169" y="6394"/>
                </a:moveTo>
                <a:cubicBezTo>
                  <a:pt x="10764" y="7775"/>
                  <a:pt x="10240" y="9942"/>
                  <a:pt x="10598" y="10859"/>
                </a:cubicBezTo>
                <a:lnTo>
                  <a:pt x="10431" y="10859"/>
                </a:lnTo>
                <a:lnTo>
                  <a:pt x="10431" y="9859"/>
                </a:lnTo>
                <a:cubicBezTo>
                  <a:pt x="10431" y="9454"/>
                  <a:pt x="10097" y="9121"/>
                  <a:pt x="9693" y="9121"/>
                </a:cubicBezTo>
                <a:lnTo>
                  <a:pt x="8752" y="9121"/>
                </a:lnTo>
                <a:cubicBezTo>
                  <a:pt x="8526" y="9121"/>
                  <a:pt x="8323" y="9228"/>
                  <a:pt x="8192" y="9383"/>
                </a:cubicBezTo>
                <a:cubicBezTo>
                  <a:pt x="8050" y="9228"/>
                  <a:pt x="7847" y="9121"/>
                  <a:pt x="7621" y="9121"/>
                </a:cubicBezTo>
                <a:lnTo>
                  <a:pt x="6680" y="9121"/>
                </a:lnTo>
                <a:cubicBezTo>
                  <a:pt x="6466" y="9121"/>
                  <a:pt x="6252" y="9228"/>
                  <a:pt x="6121" y="9383"/>
                </a:cubicBezTo>
                <a:cubicBezTo>
                  <a:pt x="5990" y="9228"/>
                  <a:pt x="5775" y="9121"/>
                  <a:pt x="5549" y="9121"/>
                </a:cubicBezTo>
                <a:lnTo>
                  <a:pt x="4621" y="9121"/>
                </a:lnTo>
                <a:cubicBezTo>
                  <a:pt x="4394" y="9121"/>
                  <a:pt x="4180" y="9228"/>
                  <a:pt x="4049" y="9383"/>
                </a:cubicBezTo>
                <a:cubicBezTo>
                  <a:pt x="3918" y="9228"/>
                  <a:pt x="3704" y="9121"/>
                  <a:pt x="3489" y="9121"/>
                </a:cubicBezTo>
                <a:lnTo>
                  <a:pt x="2549" y="9121"/>
                </a:lnTo>
                <a:cubicBezTo>
                  <a:pt x="2132" y="9121"/>
                  <a:pt x="1799" y="9466"/>
                  <a:pt x="1799" y="9859"/>
                </a:cubicBezTo>
                <a:lnTo>
                  <a:pt x="1799" y="10859"/>
                </a:lnTo>
                <a:lnTo>
                  <a:pt x="1656" y="10859"/>
                </a:lnTo>
                <a:cubicBezTo>
                  <a:pt x="2013" y="9942"/>
                  <a:pt x="1489" y="7775"/>
                  <a:pt x="1084" y="6394"/>
                </a:cubicBezTo>
                <a:lnTo>
                  <a:pt x="1442" y="6394"/>
                </a:lnTo>
                <a:cubicBezTo>
                  <a:pt x="1608" y="6918"/>
                  <a:pt x="1835" y="7632"/>
                  <a:pt x="2013" y="8371"/>
                </a:cubicBezTo>
                <a:cubicBezTo>
                  <a:pt x="2034" y="8453"/>
                  <a:pt x="2108" y="8518"/>
                  <a:pt x="2182" y="8518"/>
                </a:cubicBezTo>
                <a:cubicBezTo>
                  <a:pt x="2193" y="8518"/>
                  <a:pt x="2205" y="8517"/>
                  <a:pt x="2216" y="8514"/>
                </a:cubicBezTo>
                <a:cubicBezTo>
                  <a:pt x="2311" y="8478"/>
                  <a:pt x="2382" y="8394"/>
                  <a:pt x="2358" y="8299"/>
                </a:cubicBezTo>
                <a:cubicBezTo>
                  <a:pt x="2323" y="8156"/>
                  <a:pt x="2275" y="8002"/>
                  <a:pt x="2251" y="7859"/>
                </a:cubicBezTo>
                <a:lnTo>
                  <a:pt x="9990" y="7859"/>
                </a:lnTo>
                <a:cubicBezTo>
                  <a:pt x="9943" y="8002"/>
                  <a:pt x="9919" y="8156"/>
                  <a:pt x="9883" y="8299"/>
                </a:cubicBezTo>
                <a:cubicBezTo>
                  <a:pt x="9871" y="8394"/>
                  <a:pt x="9931" y="8490"/>
                  <a:pt x="10014" y="8514"/>
                </a:cubicBezTo>
                <a:lnTo>
                  <a:pt x="10062" y="8514"/>
                </a:lnTo>
                <a:cubicBezTo>
                  <a:pt x="10133" y="8514"/>
                  <a:pt x="10217" y="8454"/>
                  <a:pt x="10240" y="8371"/>
                </a:cubicBezTo>
                <a:cubicBezTo>
                  <a:pt x="10407" y="7632"/>
                  <a:pt x="10633" y="6906"/>
                  <a:pt x="10812" y="6394"/>
                </a:cubicBezTo>
                <a:close/>
                <a:moveTo>
                  <a:pt x="11717" y="6394"/>
                </a:moveTo>
                <a:lnTo>
                  <a:pt x="11717" y="10859"/>
                </a:lnTo>
                <a:lnTo>
                  <a:pt x="11074" y="10859"/>
                </a:lnTo>
                <a:cubicBezTo>
                  <a:pt x="11026" y="10859"/>
                  <a:pt x="11002" y="10835"/>
                  <a:pt x="10967" y="10800"/>
                </a:cubicBezTo>
                <a:cubicBezTo>
                  <a:pt x="10669" y="10252"/>
                  <a:pt x="10883" y="8621"/>
                  <a:pt x="11538" y="6394"/>
                </a:cubicBezTo>
                <a:close/>
                <a:moveTo>
                  <a:pt x="370" y="1"/>
                </a:moveTo>
                <a:cubicBezTo>
                  <a:pt x="275" y="1"/>
                  <a:pt x="191" y="72"/>
                  <a:pt x="191" y="179"/>
                </a:cubicBezTo>
                <a:lnTo>
                  <a:pt x="191" y="5370"/>
                </a:lnTo>
                <a:cubicBezTo>
                  <a:pt x="84" y="5430"/>
                  <a:pt x="1" y="5549"/>
                  <a:pt x="1" y="5680"/>
                </a:cubicBezTo>
                <a:lnTo>
                  <a:pt x="1" y="6061"/>
                </a:lnTo>
                <a:cubicBezTo>
                  <a:pt x="1" y="6192"/>
                  <a:pt x="72" y="6311"/>
                  <a:pt x="191" y="6370"/>
                </a:cubicBezTo>
                <a:lnTo>
                  <a:pt x="191" y="11061"/>
                </a:lnTo>
                <a:cubicBezTo>
                  <a:pt x="191" y="11157"/>
                  <a:pt x="275" y="11240"/>
                  <a:pt x="370" y="11240"/>
                </a:cubicBezTo>
                <a:lnTo>
                  <a:pt x="11895" y="11240"/>
                </a:lnTo>
                <a:cubicBezTo>
                  <a:pt x="12002" y="11240"/>
                  <a:pt x="12074" y="11157"/>
                  <a:pt x="12074" y="11061"/>
                </a:cubicBezTo>
                <a:lnTo>
                  <a:pt x="12074" y="6370"/>
                </a:lnTo>
                <a:cubicBezTo>
                  <a:pt x="12181" y="6311"/>
                  <a:pt x="12264" y="6192"/>
                  <a:pt x="12264" y="6061"/>
                </a:cubicBezTo>
                <a:lnTo>
                  <a:pt x="12264" y="5680"/>
                </a:lnTo>
                <a:cubicBezTo>
                  <a:pt x="12252" y="5549"/>
                  <a:pt x="12181" y="5430"/>
                  <a:pt x="12074" y="5370"/>
                </a:cubicBezTo>
                <a:lnTo>
                  <a:pt x="12074" y="179"/>
                </a:lnTo>
                <a:cubicBezTo>
                  <a:pt x="12074" y="72"/>
                  <a:pt x="12002" y="1"/>
                  <a:pt x="118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526" name="Google Shape;12526;p62"/>
          <p:cNvSpPr/>
          <p:nvPr/>
        </p:nvSpPr>
        <p:spPr>
          <a:xfrm>
            <a:off x="6134980" y="2901781"/>
            <a:ext cx="390470" cy="332108"/>
          </a:xfrm>
          <a:custGeom>
            <a:avLst/>
            <a:gdLst/>
            <a:ahLst/>
            <a:cxnLst/>
            <a:rect l="l" t="t" r="r" b="b"/>
            <a:pathLst>
              <a:path w="12277" h="10442" extrusionOk="0">
                <a:moveTo>
                  <a:pt x="6121" y="298"/>
                </a:moveTo>
                <a:cubicBezTo>
                  <a:pt x="7240" y="298"/>
                  <a:pt x="8288" y="393"/>
                  <a:pt x="9085" y="536"/>
                </a:cubicBezTo>
                <a:cubicBezTo>
                  <a:pt x="10002" y="715"/>
                  <a:pt x="10228" y="929"/>
                  <a:pt x="10228" y="965"/>
                </a:cubicBezTo>
                <a:lnTo>
                  <a:pt x="10228" y="988"/>
                </a:lnTo>
                <a:lnTo>
                  <a:pt x="10216" y="1000"/>
                </a:lnTo>
                <a:cubicBezTo>
                  <a:pt x="10193" y="1024"/>
                  <a:pt x="10157" y="1060"/>
                  <a:pt x="10109" y="1084"/>
                </a:cubicBezTo>
                <a:cubicBezTo>
                  <a:pt x="10062" y="1119"/>
                  <a:pt x="9990" y="1143"/>
                  <a:pt x="9895" y="1191"/>
                </a:cubicBezTo>
                <a:lnTo>
                  <a:pt x="9871" y="1191"/>
                </a:lnTo>
                <a:cubicBezTo>
                  <a:pt x="9859" y="1191"/>
                  <a:pt x="9835" y="1215"/>
                  <a:pt x="9835" y="1215"/>
                </a:cubicBezTo>
                <a:cubicBezTo>
                  <a:pt x="9645" y="1286"/>
                  <a:pt x="9395" y="1346"/>
                  <a:pt x="9050" y="1417"/>
                </a:cubicBezTo>
                <a:cubicBezTo>
                  <a:pt x="9038" y="1417"/>
                  <a:pt x="9002" y="1429"/>
                  <a:pt x="8978" y="1429"/>
                </a:cubicBezTo>
                <a:lnTo>
                  <a:pt x="8966" y="1429"/>
                </a:lnTo>
                <a:cubicBezTo>
                  <a:pt x="8931" y="1429"/>
                  <a:pt x="8919" y="1453"/>
                  <a:pt x="8883" y="1453"/>
                </a:cubicBezTo>
                <a:cubicBezTo>
                  <a:pt x="8169" y="1560"/>
                  <a:pt x="7264" y="1643"/>
                  <a:pt x="6311" y="1655"/>
                </a:cubicBezTo>
                <a:lnTo>
                  <a:pt x="5930" y="1655"/>
                </a:lnTo>
                <a:cubicBezTo>
                  <a:pt x="4978" y="1643"/>
                  <a:pt x="4061" y="1584"/>
                  <a:pt x="3347" y="1453"/>
                </a:cubicBezTo>
                <a:cubicBezTo>
                  <a:pt x="3323" y="1453"/>
                  <a:pt x="3311" y="1429"/>
                  <a:pt x="3275" y="1429"/>
                </a:cubicBezTo>
                <a:cubicBezTo>
                  <a:pt x="3251" y="1429"/>
                  <a:pt x="3228" y="1417"/>
                  <a:pt x="3204" y="1417"/>
                </a:cubicBezTo>
                <a:cubicBezTo>
                  <a:pt x="2847" y="1346"/>
                  <a:pt x="2561" y="1262"/>
                  <a:pt x="2370" y="1191"/>
                </a:cubicBezTo>
                <a:cubicBezTo>
                  <a:pt x="2358" y="1191"/>
                  <a:pt x="2335" y="1179"/>
                  <a:pt x="2335" y="1179"/>
                </a:cubicBezTo>
                <a:cubicBezTo>
                  <a:pt x="2263" y="1179"/>
                  <a:pt x="2215" y="1155"/>
                  <a:pt x="2180" y="1119"/>
                </a:cubicBezTo>
                <a:cubicBezTo>
                  <a:pt x="2180" y="1119"/>
                  <a:pt x="2156" y="1119"/>
                  <a:pt x="2156" y="1107"/>
                </a:cubicBezTo>
                <a:cubicBezTo>
                  <a:pt x="2096" y="1072"/>
                  <a:pt x="2061" y="1024"/>
                  <a:pt x="2025" y="1000"/>
                </a:cubicBezTo>
                <a:cubicBezTo>
                  <a:pt x="2025" y="1000"/>
                  <a:pt x="2025" y="988"/>
                  <a:pt x="2013" y="988"/>
                </a:cubicBezTo>
                <a:lnTo>
                  <a:pt x="2013" y="965"/>
                </a:lnTo>
                <a:cubicBezTo>
                  <a:pt x="2025" y="929"/>
                  <a:pt x="2239" y="715"/>
                  <a:pt x="3156" y="536"/>
                </a:cubicBezTo>
                <a:cubicBezTo>
                  <a:pt x="3942" y="393"/>
                  <a:pt x="5002" y="298"/>
                  <a:pt x="6121" y="298"/>
                </a:cubicBezTo>
                <a:close/>
                <a:moveTo>
                  <a:pt x="9514" y="7775"/>
                </a:moveTo>
                <a:cubicBezTo>
                  <a:pt x="9728" y="7787"/>
                  <a:pt x="9931" y="7787"/>
                  <a:pt x="10133" y="7799"/>
                </a:cubicBezTo>
                <a:cubicBezTo>
                  <a:pt x="10181" y="7799"/>
                  <a:pt x="10228" y="7799"/>
                  <a:pt x="10288" y="7811"/>
                </a:cubicBezTo>
                <a:cubicBezTo>
                  <a:pt x="10538" y="7834"/>
                  <a:pt x="10919" y="7846"/>
                  <a:pt x="11252" y="7930"/>
                </a:cubicBezTo>
                <a:cubicBezTo>
                  <a:pt x="11490" y="7989"/>
                  <a:pt x="11776" y="8085"/>
                  <a:pt x="11812" y="8263"/>
                </a:cubicBezTo>
                <a:cubicBezTo>
                  <a:pt x="11836" y="8489"/>
                  <a:pt x="11490" y="8739"/>
                  <a:pt x="11288" y="8858"/>
                </a:cubicBezTo>
                <a:cubicBezTo>
                  <a:pt x="10943" y="9061"/>
                  <a:pt x="10514" y="9251"/>
                  <a:pt x="10336" y="9323"/>
                </a:cubicBezTo>
                <a:cubicBezTo>
                  <a:pt x="9109" y="9799"/>
                  <a:pt x="7692" y="10037"/>
                  <a:pt x="6121" y="10037"/>
                </a:cubicBezTo>
                <a:cubicBezTo>
                  <a:pt x="4537" y="10037"/>
                  <a:pt x="3108" y="9799"/>
                  <a:pt x="1906" y="9323"/>
                </a:cubicBezTo>
                <a:cubicBezTo>
                  <a:pt x="1727" y="9251"/>
                  <a:pt x="1299" y="9085"/>
                  <a:pt x="953" y="8858"/>
                </a:cubicBezTo>
                <a:cubicBezTo>
                  <a:pt x="739" y="8727"/>
                  <a:pt x="418" y="8489"/>
                  <a:pt x="477" y="8263"/>
                </a:cubicBezTo>
                <a:cubicBezTo>
                  <a:pt x="561" y="7894"/>
                  <a:pt x="1608" y="7846"/>
                  <a:pt x="2013" y="7811"/>
                </a:cubicBezTo>
                <a:cubicBezTo>
                  <a:pt x="2073" y="7811"/>
                  <a:pt x="2132" y="7811"/>
                  <a:pt x="2156" y="7799"/>
                </a:cubicBezTo>
                <a:cubicBezTo>
                  <a:pt x="2346" y="7787"/>
                  <a:pt x="2561" y="7775"/>
                  <a:pt x="2787" y="7775"/>
                </a:cubicBezTo>
                <a:lnTo>
                  <a:pt x="2787" y="8073"/>
                </a:lnTo>
                <a:lnTo>
                  <a:pt x="2787" y="8085"/>
                </a:lnTo>
                <a:lnTo>
                  <a:pt x="2787" y="8394"/>
                </a:lnTo>
                <a:lnTo>
                  <a:pt x="2787" y="8442"/>
                </a:lnTo>
                <a:cubicBezTo>
                  <a:pt x="2787" y="8466"/>
                  <a:pt x="2787" y="8489"/>
                  <a:pt x="2799" y="8513"/>
                </a:cubicBezTo>
                <a:cubicBezTo>
                  <a:pt x="2799" y="8525"/>
                  <a:pt x="2811" y="8549"/>
                  <a:pt x="2811" y="8561"/>
                </a:cubicBezTo>
                <a:cubicBezTo>
                  <a:pt x="2811" y="8573"/>
                  <a:pt x="2823" y="8585"/>
                  <a:pt x="2847" y="8608"/>
                </a:cubicBezTo>
                <a:cubicBezTo>
                  <a:pt x="2966" y="8787"/>
                  <a:pt x="3287" y="8918"/>
                  <a:pt x="3870" y="9025"/>
                </a:cubicBezTo>
                <a:cubicBezTo>
                  <a:pt x="4478" y="9120"/>
                  <a:pt x="5287" y="9204"/>
                  <a:pt x="6145" y="9204"/>
                </a:cubicBezTo>
                <a:cubicBezTo>
                  <a:pt x="6359" y="9204"/>
                  <a:pt x="6585" y="9204"/>
                  <a:pt x="6776" y="9180"/>
                </a:cubicBezTo>
                <a:cubicBezTo>
                  <a:pt x="7395" y="9168"/>
                  <a:pt x="7966" y="9108"/>
                  <a:pt x="8419" y="9025"/>
                </a:cubicBezTo>
                <a:cubicBezTo>
                  <a:pt x="9097" y="8906"/>
                  <a:pt x="9431" y="8739"/>
                  <a:pt x="9490" y="8513"/>
                </a:cubicBezTo>
                <a:cubicBezTo>
                  <a:pt x="9490" y="8489"/>
                  <a:pt x="9514" y="8466"/>
                  <a:pt x="9514" y="8442"/>
                </a:cubicBezTo>
                <a:lnTo>
                  <a:pt x="9514" y="8430"/>
                </a:lnTo>
                <a:lnTo>
                  <a:pt x="9514" y="8108"/>
                </a:lnTo>
                <a:lnTo>
                  <a:pt x="9514" y="8073"/>
                </a:lnTo>
                <a:lnTo>
                  <a:pt x="9514" y="7787"/>
                </a:lnTo>
                <a:lnTo>
                  <a:pt x="9514" y="7775"/>
                </a:lnTo>
                <a:close/>
                <a:moveTo>
                  <a:pt x="6133" y="0"/>
                </a:moveTo>
                <a:cubicBezTo>
                  <a:pt x="4978" y="0"/>
                  <a:pt x="3882" y="95"/>
                  <a:pt x="3073" y="250"/>
                </a:cubicBezTo>
                <a:cubicBezTo>
                  <a:pt x="2668" y="334"/>
                  <a:pt x="2335" y="429"/>
                  <a:pt x="2096" y="536"/>
                </a:cubicBezTo>
                <a:cubicBezTo>
                  <a:pt x="2001" y="584"/>
                  <a:pt x="1704" y="726"/>
                  <a:pt x="1668" y="988"/>
                </a:cubicBezTo>
                <a:lnTo>
                  <a:pt x="1668" y="1012"/>
                </a:lnTo>
                <a:lnTo>
                  <a:pt x="1668" y="1024"/>
                </a:lnTo>
                <a:cubicBezTo>
                  <a:pt x="1668" y="1119"/>
                  <a:pt x="1704" y="1191"/>
                  <a:pt x="1739" y="1250"/>
                </a:cubicBezTo>
                <a:cubicBezTo>
                  <a:pt x="1977" y="1953"/>
                  <a:pt x="2668" y="4155"/>
                  <a:pt x="2787" y="7144"/>
                </a:cubicBezTo>
                <a:lnTo>
                  <a:pt x="2787" y="7168"/>
                </a:lnTo>
                <a:cubicBezTo>
                  <a:pt x="2787" y="7263"/>
                  <a:pt x="2787" y="7370"/>
                  <a:pt x="2799" y="7477"/>
                </a:cubicBezTo>
                <a:cubicBezTo>
                  <a:pt x="2573" y="7489"/>
                  <a:pt x="2370" y="7489"/>
                  <a:pt x="2156" y="7501"/>
                </a:cubicBezTo>
                <a:cubicBezTo>
                  <a:pt x="2120" y="7501"/>
                  <a:pt x="2073" y="7501"/>
                  <a:pt x="2013" y="7525"/>
                </a:cubicBezTo>
                <a:cubicBezTo>
                  <a:pt x="1418" y="7549"/>
                  <a:pt x="310" y="7608"/>
                  <a:pt x="168" y="8239"/>
                </a:cubicBezTo>
                <a:cubicBezTo>
                  <a:pt x="1" y="8906"/>
                  <a:pt x="1025" y="9382"/>
                  <a:pt x="1823" y="9692"/>
                </a:cubicBezTo>
                <a:cubicBezTo>
                  <a:pt x="3073" y="10180"/>
                  <a:pt x="4537" y="10442"/>
                  <a:pt x="6168" y="10442"/>
                </a:cubicBezTo>
                <a:cubicBezTo>
                  <a:pt x="7788" y="10442"/>
                  <a:pt x="9264" y="10180"/>
                  <a:pt x="10514" y="9692"/>
                </a:cubicBezTo>
                <a:cubicBezTo>
                  <a:pt x="11252" y="9335"/>
                  <a:pt x="12276" y="8846"/>
                  <a:pt x="12121" y="8192"/>
                </a:cubicBezTo>
                <a:cubicBezTo>
                  <a:pt x="11967" y="7561"/>
                  <a:pt x="10848" y="7501"/>
                  <a:pt x="10252" y="7477"/>
                </a:cubicBezTo>
                <a:cubicBezTo>
                  <a:pt x="10193" y="7477"/>
                  <a:pt x="10157" y="7477"/>
                  <a:pt x="10109" y="7465"/>
                </a:cubicBezTo>
                <a:cubicBezTo>
                  <a:pt x="9895" y="7442"/>
                  <a:pt x="9693" y="7430"/>
                  <a:pt x="9466" y="7430"/>
                </a:cubicBezTo>
                <a:cubicBezTo>
                  <a:pt x="9466" y="7323"/>
                  <a:pt x="9466" y="7215"/>
                  <a:pt x="9478" y="7120"/>
                </a:cubicBezTo>
                <a:cubicBezTo>
                  <a:pt x="9526" y="5906"/>
                  <a:pt x="9657" y="4715"/>
                  <a:pt x="9895" y="3548"/>
                </a:cubicBezTo>
                <a:cubicBezTo>
                  <a:pt x="9907" y="3453"/>
                  <a:pt x="9859" y="3346"/>
                  <a:pt x="9764" y="3334"/>
                </a:cubicBezTo>
                <a:cubicBezTo>
                  <a:pt x="9756" y="3333"/>
                  <a:pt x="9748" y="3332"/>
                  <a:pt x="9740" y="3332"/>
                </a:cubicBezTo>
                <a:cubicBezTo>
                  <a:pt x="9653" y="3332"/>
                  <a:pt x="9571" y="3389"/>
                  <a:pt x="9550" y="3465"/>
                </a:cubicBezTo>
                <a:cubicBezTo>
                  <a:pt x="9312" y="4620"/>
                  <a:pt x="9181" y="5787"/>
                  <a:pt x="9133" y="6965"/>
                </a:cubicBezTo>
                <a:cubicBezTo>
                  <a:pt x="8288" y="7120"/>
                  <a:pt x="7228" y="7203"/>
                  <a:pt x="6121" y="7203"/>
                </a:cubicBezTo>
                <a:cubicBezTo>
                  <a:pt x="5597" y="7203"/>
                  <a:pt x="5085" y="7192"/>
                  <a:pt x="4609" y="7144"/>
                </a:cubicBezTo>
                <a:cubicBezTo>
                  <a:pt x="4513" y="7144"/>
                  <a:pt x="4430" y="7203"/>
                  <a:pt x="4418" y="7311"/>
                </a:cubicBezTo>
                <a:cubicBezTo>
                  <a:pt x="4418" y="7418"/>
                  <a:pt x="4478" y="7489"/>
                  <a:pt x="4585" y="7501"/>
                </a:cubicBezTo>
                <a:cubicBezTo>
                  <a:pt x="5073" y="7537"/>
                  <a:pt x="5597" y="7561"/>
                  <a:pt x="6121" y="7561"/>
                </a:cubicBezTo>
                <a:cubicBezTo>
                  <a:pt x="7216" y="7561"/>
                  <a:pt x="8276" y="7489"/>
                  <a:pt x="9121" y="7334"/>
                </a:cubicBezTo>
                <a:lnTo>
                  <a:pt x="9121" y="7370"/>
                </a:lnTo>
                <a:lnTo>
                  <a:pt x="9121" y="7608"/>
                </a:lnTo>
                <a:lnTo>
                  <a:pt x="9121" y="7668"/>
                </a:lnTo>
                <a:lnTo>
                  <a:pt x="9121" y="7704"/>
                </a:lnTo>
                <a:lnTo>
                  <a:pt x="9121" y="7894"/>
                </a:lnTo>
                <a:lnTo>
                  <a:pt x="9121" y="7965"/>
                </a:lnTo>
                <a:lnTo>
                  <a:pt x="9121" y="8096"/>
                </a:lnTo>
                <a:lnTo>
                  <a:pt x="9121" y="8168"/>
                </a:lnTo>
                <a:lnTo>
                  <a:pt x="9121" y="8215"/>
                </a:lnTo>
                <a:lnTo>
                  <a:pt x="9121" y="8466"/>
                </a:lnTo>
                <a:cubicBezTo>
                  <a:pt x="9097" y="8501"/>
                  <a:pt x="8919" y="8632"/>
                  <a:pt x="8216" y="8751"/>
                </a:cubicBezTo>
                <a:cubicBezTo>
                  <a:pt x="7633" y="8846"/>
                  <a:pt x="6907" y="8906"/>
                  <a:pt x="6133" y="8906"/>
                </a:cubicBezTo>
                <a:cubicBezTo>
                  <a:pt x="5359" y="8906"/>
                  <a:pt x="4609" y="8858"/>
                  <a:pt x="4049" y="8751"/>
                </a:cubicBezTo>
                <a:cubicBezTo>
                  <a:pt x="3990" y="8739"/>
                  <a:pt x="3930" y="8739"/>
                  <a:pt x="3870" y="8727"/>
                </a:cubicBezTo>
                <a:cubicBezTo>
                  <a:pt x="3716" y="8692"/>
                  <a:pt x="3597" y="8668"/>
                  <a:pt x="3501" y="8632"/>
                </a:cubicBezTo>
                <a:cubicBezTo>
                  <a:pt x="3478" y="8632"/>
                  <a:pt x="3466" y="8632"/>
                  <a:pt x="3466" y="8620"/>
                </a:cubicBezTo>
                <a:cubicBezTo>
                  <a:pt x="3239" y="8549"/>
                  <a:pt x="3168" y="8501"/>
                  <a:pt x="3144" y="8466"/>
                </a:cubicBezTo>
                <a:lnTo>
                  <a:pt x="3144" y="8275"/>
                </a:lnTo>
                <a:lnTo>
                  <a:pt x="3144" y="8251"/>
                </a:lnTo>
                <a:lnTo>
                  <a:pt x="3144" y="8204"/>
                </a:lnTo>
                <a:lnTo>
                  <a:pt x="3144" y="7370"/>
                </a:lnTo>
                <a:cubicBezTo>
                  <a:pt x="3347" y="7394"/>
                  <a:pt x="3561" y="7430"/>
                  <a:pt x="3775" y="7453"/>
                </a:cubicBezTo>
                <a:cubicBezTo>
                  <a:pt x="3786" y="7456"/>
                  <a:pt x="3798" y="7458"/>
                  <a:pt x="3808" y="7458"/>
                </a:cubicBezTo>
                <a:cubicBezTo>
                  <a:pt x="3889" y="7458"/>
                  <a:pt x="3957" y="7384"/>
                  <a:pt x="3978" y="7311"/>
                </a:cubicBezTo>
                <a:cubicBezTo>
                  <a:pt x="3990" y="7215"/>
                  <a:pt x="3918" y="7132"/>
                  <a:pt x="3823" y="7120"/>
                </a:cubicBezTo>
                <a:cubicBezTo>
                  <a:pt x="3573" y="7084"/>
                  <a:pt x="3347" y="7061"/>
                  <a:pt x="3120" y="7013"/>
                </a:cubicBezTo>
                <a:cubicBezTo>
                  <a:pt x="3025" y="4501"/>
                  <a:pt x="2513" y="2548"/>
                  <a:pt x="2215" y="1584"/>
                </a:cubicBezTo>
                <a:lnTo>
                  <a:pt x="2215" y="1584"/>
                </a:lnTo>
                <a:cubicBezTo>
                  <a:pt x="2442" y="1667"/>
                  <a:pt x="2727" y="1738"/>
                  <a:pt x="3061" y="1822"/>
                </a:cubicBezTo>
                <a:cubicBezTo>
                  <a:pt x="3859" y="1977"/>
                  <a:pt x="4894" y="2072"/>
                  <a:pt x="6002" y="2072"/>
                </a:cubicBezTo>
                <a:lnTo>
                  <a:pt x="6264" y="2072"/>
                </a:lnTo>
                <a:cubicBezTo>
                  <a:pt x="7371" y="2072"/>
                  <a:pt x="8407" y="1977"/>
                  <a:pt x="9204" y="1822"/>
                </a:cubicBezTo>
                <a:cubicBezTo>
                  <a:pt x="9538" y="1738"/>
                  <a:pt x="9824" y="1667"/>
                  <a:pt x="10050" y="1584"/>
                </a:cubicBezTo>
                <a:lnTo>
                  <a:pt x="10050" y="1584"/>
                </a:lnTo>
                <a:cubicBezTo>
                  <a:pt x="9955" y="1858"/>
                  <a:pt x="9859" y="2250"/>
                  <a:pt x="9740" y="2715"/>
                </a:cubicBezTo>
                <a:cubicBezTo>
                  <a:pt x="9705" y="2798"/>
                  <a:pt x="9764" y="2905"/>
                  <a:pt x="9871" y="2917"/>
                </a:cubicBezTo>
                <a:cubicBezTo>
                  <a:pt x="9888" y="2924"/>
                  <a:pt x="9905" y="2928"/>
                  <a:pt x="9922" y="2928"/>
                </a:cubicBezTo>
                <a:cubicBezTo>
                  <a:pt x="9993" y="2928"/>
                  <a:pt x="10064" y="2872"/>
                  <a:pt x="10074" y="2786"/>
                </a:cubicBezTo>
                <a:cubicBezTo>
                  <a:pt x="10252" y="2036"/>
                  <a:pt x="10419" y="1524"/>
                  <a:pt x="10526" y="1250"/>
                </a:cubicBezTo>
                <a:cubicBezTo>
                  <a:pt x="10574" y="1191"/>
                  <a:pt x="10597" y="1119"/>
                  <a:pt x="10597" y="1024"/>
                </a:cubicBezTo>
                <a:lnTo>
                  <a:pt x="10597" y="1012"/>
                </a:lnTo>
                <a:lnTo>
                  <a:pt x="10597" y="1000"/>
                </a:lnTo>
                <a:lnTo>
                  <a:pt x="10597" y="988"/>
                </a:lnTo>
                <a:cubicBezTo>
                  <a:pt x="10574" y="715"/>
                  <a:pt x="10276" y="584"/>
                  <a:pt x="10169" y="536"/>
                </a:cubicBezTo>
                <a:cubicBezTo>
                  <a:pt x="9943" y="429"/>
                  <a:pt x="9621" y="334"/>
                  <a:pt x="9204" y="250"/>
                </a:cubicBezTo>
                <a:cubicBezTo>
                  <a:pt x="8383" y="95"/>
                  <a:pt x="7276" y="0"/>
                  <a:pt x="613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527" name="Google Shape;12527;p62"/>
          <p:cNvGrpSpPr/>
          <p:nvPr/>
        </p:nvGrpSpPr>
        <p:grpSpPr>
          <a:xfrm>
            <a:off x="7541397" y="2904802"/>
            <a:ext cx="318495" cy="352209"/>
            <a:chOff x="7541397" y="2904802"/>
            <a:chExt cx="318495" cy="352209"/>
          </a:xfrm>
        </p:grpSpPr>
        <p:sp>
          <p:nvSpPr>
            <p:cNvPr id="12528" name="Google Shape;12528;p62"/>
            <p:cNvSpPr/>
            <p:nvPr/>
          </p:nvSpPr>
          <p:spPr>
            <a:xfrm>
              <a:off x="7541397" y="2904802"/>
              <a:ext cx="318495" cy="352209"/>
            </a:xfrm>
            <a:custGeom>
              <a:avLst/>
              <a:gdLst/>
              <a:ahLst/>
              <a:cxnLst/>
              <a:rect l="l" t="t" r="r" b="b"/>
              <a:pathLst>
                <a:path w="10014" h="11074" extrusionOk="0">
                  <a:moveTo>
                    <a:pt x="2287" y="1763"/>
                  </a:moveTo>
                  <a:lnTo>
                    <a:pt x="2453" y="3941"/>
                  </a:lnTo>
                  <a:cubicBezTo>
                    <a:pt x="2501" y="4501"/>
                    <a:pt x="2668" y="5037"/>
                    <a:pt x="2918" y="5537"/>
                  </a:cubicBezTo>
                  <a:lnTo>
                    <a:pt x="2096" y="5120"/>
                  </a:lnTo>
                  <a:cubicBezTo>
                    <a:pt x="1560" y="4846"/>
                    <a:pt x="1120" y="4430"/>
                    <a:pt x="787" y="3929"/>
                  </a:cubicBezTo>
                  <a:cubicBezTo>
                    <a:pt x="477" y="3418"/>
                    <a:pt x="310" y="2822"/>
                    <a:pt x="310" y="2227"/>
                  </a:cubicBezTo>
                  <a:lnTo>
                    <a:pt x="310" y="1977"/>
                  </a:lnTo>
                  <a:cubicBezTo>
                    <a:pt x="310" y="1858"/>
                    <a:pt x="406" y="1763"/>
                    <a:pt x="525" y="1763"/>
                  </a:cubicBezTo>
                  <a:close/>
                  <a:moveTo>
                    <a:pt x="7383" y="1036"/>
                  </a:moveTo>
                  <a:lnTo>
                    <a:pt x="7168" y="3799"/>
                  </a:lnTo>
                  <a:cubicBezTo>
                    <a:pt x="7168" y="3882"/>
                    <a:pt x="7228" y="3953"/>
                    <a:pt x="7323" y="3977"/>
                  </a:cubicBezTo>
                  <a:cubicBezTo>
                    <a:pt x="7406" y="3977"/>
                    <a:pt x="7490" y="3918"/>
                    <a:pt x="7502" y="3822"/>
                  </a:cubicBezTo>
                  <a:lnTo>
                    <a:pt x="7645" y="1751"/>
                  </a:lnTo>
                  <a:lnTo>
                    <a:pt x="9419" y="1751"/>
                  </a:lnTo>
                  <a:cubicBezTo>
                    <a:pt x="9538" y="1751"/>
                    <a:pt x="9633" y="1846"/>
                    <a:pt x="9633" y="1965"/>
                  </a:cubicBezTo>
                  <a:lnTo>
                    <a:pt x="9633" y="2227"/>
                  </a:lnTo>
                  <a:lnTo>
                    <a:pt x="9645" y="2227"/>
                  </a:lnTo>
                  <a:cubicBezTo>
                    <a:pt x="9645" y="2822"/>
                    <a:pt x="9478" y="3418"/>
                    <a:pt x="9169" y="3929"/>
                  </a:cubicBezTo>
                  <a:cubicBezTo>
                    <a:pt x="8859" y="4430"/>
                    <a:pt x="8395" y="4846"/>
                    <a:pt x="7859" y="5120"/>
                  </a:cubicBezTo>
                  <a:lnTo>
                    <a:pt x="7037" y="5525"/>
                  </a:lnTo>
                  <a:cubicBezTo>
                    <a:pt x="7204" y="5239"/>
                    <a:pt x="7323" y="4930"/>
                    <a:pt x="7395" y="4596"/>
                  </a:cubicBezTo>
                  <a:cubicBezTo>
                    <a:pt x="7406" y="4501"/>
                    <a:pt x="7371" y="4418"/>
                    <a:pt x="7275" y="4406"/>
                  </a:cubicBezTo>
                  <a:cubicBezTo>
                    <a:pt x="7265" y="4404"/>
                    <a:pt x="7255" y="4404"/>
                    <a:pt x="7244" y="4404"/>
                  </a:cubicBezTo>
                  <a:cubicBezTo>
                    <a:pt x="7170" y="4404"/>
                    <a:pt x="7095" y="4441"/>
                    <a:pt x="7085" y="4525"/>
                  </a:cubicBezTo>
                  <a:cubicBezTo>
                    <a:pt x="6966" y="5013"/>
                    <a:pt x="6740" y="5477"/>
                    <a:pt x="6430" y="5858"/>
                  </a:cubicBezTo>
                  <a:lnTo>
                    <a:pt x="6418" y="5882"/>
                  </a:lnTo>
                  <a:cubicBezTo>
                    <a:pt x="6240" y="6096"/>
                    <a:pt x="6025" y="6311"/>
                    <a:pt x="5787" y="6489"/>
                  </a:cubicBezTo>
                  <a:lnTo>
                    <a:pt x="4156" y="6489"/>
                  </a:lnTo>
                  <a:cubicBezTo>
                    <a:pt x="3930" y="6311"/>
                    <a:pt x="3715" y="6120"/>
                    <a:pt x="3537" y="5894"/>
                  </a:cubicBezTo>
                  <a:cubicBezTo>
                    <a:pt x="3525" y="5882"/>
                    <a:pt x="3525" y="5858"/>
                    <a:pt x="3513" y="5846"/>
                  </a:cubicBezTo>
                  <a:cubicBezTo>
                    <a:pt x="3084" y="5299"/>
                    <a:pt x="2811" y="4608"/>
                    <a:pt x="2751" y="3894"/>
                  </a:cubicBezTo>
                  <a:lnTo>
                    <a:pt x="2549" y="1036"/>
                  </a:lnTo>
                  <a:close/>
                  <a:moveTo>
                    <a:pt x="5668" y="6811"/>
                  </a:moveTo>
                  <a:cubicBezTo>
                    <a:pt x="5680" y="6811"/>
                    <a:pt x="5692" y="6835"/>
                    <a:pt x="5692" y="6835"/>
                  </a:cubicBezTo>
                  <a:cubicBezTo>
                    <a:pt x="5740" y="6858"/>
                    <a:pt x="5751" y="6906"/>
                    <a:pt x="5751" y="6954"/>
                  </a:cubicBezTo>
                  <a:lnTo>
                    <a:pt x="5751" y="7049"/>
                  </a:lnTo>
                  <a:cubicBezTo>
                    <a:pt x="5787" y="7120"/>
                    <a:pt x="5716" y="7192"/>
                    <a:pt x="5644" y="7192"/>
                  </a:cubicBezTo>
                  <a:lnTo>
                    <a:pt x="4311" y="7192"/>
                  </a:lnTo>
                  <a:cubicBezTo>
                    <a:pt x="4239" y="7192"/>
                    <a:pt x="4180" y="7132"/>
                    <a:pt x="4180" y="7049"/>
                  </a:cubicBezTo>
                  <a:lnTo>
                    <a:pt x="4180" y="6954"/>
                  </a:lnTo>
                  <a:cubicBezTo>
                    <a:pt x="4180" y="6906"/>
                    <a:pt x="4216" y="6858"/>
                    <a:pt x="4239" y="6835"/>
                  </a:cubicBezTo>
                  <a:cubicBezTo>
                    <a:pt x="4251" y="6835"/>
                    <a:pt x="4275" y="6811"/>
                    <a:pt x="4275" y="6811"/>
                  </a:cubicBezTo>
                  <a:close/>
                  <a:moveTo>
                    <a:pt x="5382" y="7513"/>
                  </a:moveTo>
                  <a:cubicBezTo>
                    <a:pt x="5466" y="7787"/>
                    <a:pt x="5656" y="8013"/>
                    <a:pt x="5906" y="8156"/>
                  </a:cubicBezTo>
                  <a:lnTo>
                    <a:pt x="6013" y="8216"/>
                  </a:lnTo>
                  <a:cubicBezTo>
                    <a:pt x="6180" y="8287"/>
                    <a:pt x="6263" y="8454"/>
                    <a:pt x="6263" y="8632"/>
                  </a:cubicBezTo>
                  <a:lnTo>
                    <a:pt x="6263" y="8668"/>
                  </a:lnTo>
                  <a:lnTo>
                    <a:pt x="3680" y="8668"/>
                  </a:lnTo>
                  <a:lnTo>
                    <a:pt x="3680" y="8632"/>
                  </a:lnTo>
                  <a:cubicBezTo>
                    <a:pt x="3680" y="8454"/>
                    <a:pt x="3775" y="8299"/>
                    <a:pt x="3930" y="8216"/>
                  </a:cubicBezTo>
                  <a:lnTo>
                    <a:pt x="4037" y="8156"/>
                  </a:lnTo>
                  <a:cubicBezTo>
                    <a:pt x="4287" y="8025"/>
                    <a:pt x="4477" y="7799"/>
                    <a:pt x="4537" y="7513"/>
                  </a:cubicBezTo>
                  <a:close/>
                  <a:moveTo>
                    <a:pt x="6966" y="8978"/>
                  </a:moveTo>
                  <a:cubicBezTo>
                    <a:pt x="7168" y="8978"/>
                    <a:pt x="7347" y="9156"/>
                    <a:pt x="7347" y="9359"/>
                  </a:cubicBezTo>
                  <a:lnTo>
                    <a:pt x="7347" y="10002"/>
                  </a:lnTo>
                  <a:lnTo>
                    <a:pt x="2572" y="10002"/>
                  </a:lnTo>
                  <a:lnTo>
                    <a:pt x="2572" y="9359"/>
                  </a:lnTo>
                  <a:cubicBezTo>
                    <a:pt x="2572" y="9156"/>
                    <a:pt x="2751" y="8978"/>
                    <a:pt x="2953" y="8978"/>
                  </a:cubicBezTo>
                  <a:close/>
                  <a:moveTo>
                    <a:pt x="7859" y="10347"/>
                  </a:moveTo>
                  <a:lnTo>
                    <a:pt x="7859" y="10716"/>
                  </a:lnTo>
                  <a:lnTo>
                    <a:pt x="2084" y="10716"/>
                  </a:lnTo>
                  <a:lnTo>
                    <a:pt x="2084" y="10347"/>
                  </a:lnTo>
                  <a:close/>
                  <a:moveTo>
                    <a:pt x="2132" y="0"/>
                  </a:moveTo>
                  <a:cubicBezTo>
                    <a:pt x="1930" y="0"/>
                    <a:pt x="1763" y="167"/>
                    <a:pt x="1763" y="358"/>
                  </a:cubicBezTo>
                  <a:lnTo>
                    <a:pt x="1763" y="703"/>
                  </a:lnTo>
                  <a:cubicBezTo>
                    <a:pt x="1763" y="893"/>
                    <a:pt x="1930" y="1060"/>
                    <a:pt x="2132" y="1060"/>
                  </a:cubicBezTo>
                  <a:lnTo>
                    <a:pt x="2251" y="1060"/>
                  </a:lnTo>
                  <a:lnTo>
                    <a:pt x="2275" y="1441"/>
                  </a:lnTo>
                  <a:lnTo>
                    <a:pt x="537" y="1441"/>
                  </a:lnTo>
                  <a:cubicBezTo>
                    <a:pt x="239" y="1441"/>
                    <a:pt x="1" y="1679"/>
                    <a:pt x="1" y="1977"/>
                  </a:cubicBezTo>
                  <a:lnTo>
                    <a:pt x="1" y="2227"/>
                  </a:lnTo>
                  <a:cubicBezTo>
                    <a:pt x="1" y="2882"/>
                    <a:pt x="179" y="3537"/>
                    <a:pt x="537" y="4108"/>
                  </a:cubicBezTo>
                  <a:cubicBezTo>
                    <a:pt x="870" y="4668"/>
                    <a:pt x="1382" y="5120"/>
                    <a:pt x="1965" y="5418"/>
                  </a:cubicBezTo>
                  <a:lnTo>
                    <a:pt x="3239" y="6061"/>
                  </a:lnTo>
                  <a:cubicBezTo>
                    <a:pt x="3251" y="6061"/>
                    <a:pt x="3275" y="6073"/>
                    <a:pt x="3287" y="6085"/>
                  </a:cubicBezTo>
                  <a:cubicBezTo>
                    <a:pt x="3287" y="6085"/>
                    <a:pt x="3287" y="6096"/>
                    <a:pt x="3299" y="6096"/>
                  </a:cubicBezTo>
                  <a:cubicBezTo>
                    <a:pt x="3311" y="6120"/>
                    <a:pt x="3334" y="6144"/>
                    <a:pt x="3334" y="6180"/>
                  </a:cubicBezTo>
                  <a:cubicBezTo>
                    <a:pt x="3334" y="6251"/>
                    <a:pt x="3275" y="6311"/>
                    <a:pt x="3192" y="6311"/>
                  </a:cubicBezTo>
                  <a:lnTo>
                    <a:pt x="3013" y="6311"/>
                  </a:lnTo>
                  <a:cubicBezTo>
                    <a:pt x="2930" y="6311"/>
                    <a:pt x="2858" y="6382"/>
                    <a:pt x="2858" y="6477"/>
                  </a:cubicBezTo>
                  <a:cubicBezTo>
                    <a:pt x="2858" y="6561"/>
                    <a:pt x="2930" y="6632"/>
                    <a:pt x="3013" y="6632"/>
                  </a:cubicBezTo>
                  <a:lnTo>
                    <a:pt x="3192" y="6632"/>
                  </a:lnTo>
                  <a:cubicBezTo>
                    <a:pt x="3358" y="6632"/>
                    <a:pt x="3489" y="6549"/>
                    <a:pt x="3585" y="6430"/>
                  </a:cubicBezTo>
                  <a:cubicBezTo>
                    <a:pt x="3692" y="6537"/>
                    <a:pt x="3811" y="6632"/>
                    <a:pt x="3930" y="6739"/>
                  </a:cubicBezTo>
                  <a:cubicBezTo>
                    <a:pt x="3882" y="6811"/>
                    <a:pt x="3870" y="6894"/>
                    <a:pt x="3870" y="6977"/>
                  </a:cubicBezTo>
                  <a:lnTo>
                    <a:pt x="3870" y="7085"/>
                  </a:lnTo>
                  <a:cubicBezTo>
                    <a:pt x="3870" y="7311"/>
                    <a:pt x="4025" y="7501"/>
                    <a:pt x="4239" y="7549"/>
                  </a:cubicBezTo>
                  <a:cubicBezTo>
                    <a:pt x="4180" y="7692"/>
                    <a:pt x="4073" y="7823"/>
                    <a:pt x="3906" y="7906"/>
                  </a:cubicBezTo>
                  <a:lnTo>
                    <a:pt x="3811" y="7966"/>
                  </a:lnTo>
                  <a:cubicBezTo>
                    <a:pt x="3537" y="8097"/>
                    <a:pt x="3370" y="8359"/>
                    <a:pt x="3370" y="8656"/>
                  </a:cubicBezTo>
                  <a:lnTo>
                    <a:pt x="3370" y="8704"/>
                  </a:lnTo>
                  <a:lnTo>
                    <a:pt x="3001" y="8704"/>
                  </a:lnTo>
                  <a:cubicBezTo>
                    <a:pt x="2620" y="8704"/>
                    <a:pt x="2287" y="9037"/>
                    <a:pt x="2287" y="9418"/>
                  </a:cubicBezTo>
                  <a:lnTo>
                    <a:pt x="2287" y="10061"/>
                  </a:lnTo>
                  <a:lnTo>
                    <a:pt x="2025" y="10061"/>
                  </a:lnTo>
                  <a:cubicBezTo>
                    <a:pt x="1906" y="10061"/>
                    <a:pt x="1799" y="10168"/>
                    <a:pt x="1799" y="10287"/>
                  </a:cubicBezTo>
                  <a:lnTo>
                    <a:pt x="1799" y="10847"/>
                  </a:lnTo>
                  <a:cubicBezTo>
                    <a:pt x="1799" y="10966"/>
                    <a:pt x="1906" y="11073"/>
                    <a:pt x="2025" y="11073"/>
                  </a:cubicBezTo>
                  <a:lnTo>
                    <a:pt x="8002" y="11073"/>
                  </a:lnTo>
                  <a:cubicBezTo>
                    <a:pt x="8121" y="11073"/>
                    <a:pt x="8228" y="10966"/>
                    <a:pt x="8228" y="10847"/>
                  </a:cubicBezTo>
                  <a:lnTo>
                    <a:pt x="8228" y="10287"/>
                  </a:lnTo>
                  <a:cubicBezTo>
                    <a:pt x="8228" y="10168"/>
                    <a:pt x="8121" y="10061"/>
                    <a:pt x="8002" y="10061"/>
                  </a:cubicBezTo>
                  <a:lnTo>
                    <a:pt x="7740" y="10061"/>
                  </a:lnTo>
                  <a:lnTo>
                    <a:pt x="7740" y="9418"/>
                  </a:lnTo>
                  <a:cubicBezTo>
                    <a:pt x="7740" y="9037"/>
                    <a:pt x="7406" y="8704"/>
                    <a:pt x="7025" y="8704"/>
                  </a:cubicBezTo>
                  <a:lnTo>
                    <a:pt x="6644" y="8704"/>
                  </a:lnTo>
                  <a:lnTo>
                    <a:pt x="6644" y="8656"/>
                  </a:lnTo>
                  <a:cubicBezTo>
                    <a:pt x="6644" y="8359"/>
                    <a:pt x="6490" y="8097"/>
                    <a:pt x="6216" y="7966"/>
                  </a:cubicBezTo>
                  <a:lnTo>
                    <a:pt x="6109" y="7906"/>
                  </a:lnTo>
                  <a:cubicBezTo>
                    <a:pt x="5966" y="7823"/>
                    <a:pt x="5847" y="7692"/>
                    <a:pt x="5787" y="7549"/>
                  </a:cubicBezTo>
                  <a:cubicBezTo>
                    <a:pt x="5990" y="7501"/>
                    <a:pt x="6156" y="7323"/>
                    <a:pt x="6156" y="7085"/>
                  </a:cubicBezTo>
                  <a:lnTo>
                    <a:pt x="6156" y="6977"/>
                  </a:lnTo>
                  <a:cubicBezTo>
                    <a:pt x="6156" y="6894"/>
                    <a:pt x="6132" y="6811"/>
                    <a:pt x="6097" y="6739"/>
                  </a:cubicBezTo>
                  <a:cubicBezTo>
                    <a:pt x="6216" y="6656"/>
                    <a:pt x="6335" y="6549"/>
                    <a:pt x="6442" y="6430"/>
                  </a:cubicBezTo>
                  <a:cubicBezTo>
                    <a:pt x="6513" y="6561"/>
                    <a:pt x="6668" y="6632"/>
                    <a:pt x="6823" y="6632"/>
                  </a:cubicBezTo>
                  <a:lnTo>
                    <a:pt x="7002" y="6632"/>
                  </a:lnTo>
                  <a:cubicBezTo>
                    <a:pt x="7097" y="6632"/>
                    <a:pt x="7168" y="6561"/>
                    <a:pt x="7168" y="6477"/>
                  </a:cubicBezTo>
                  <a:cubicBezTo>
                    <a:pt x="7168" y="6382"/>
                    <a:pt x="7097" y="6311"/>
                    <a:pt x="7002" y="6311"/>
                  </a:cubicBezTo>
                  <a:lnTo>
                    <a:pt x="6823" y="6311"/>
                  </a:lnTo>
                  <a:cubicBezTo>
                    <a:pt x="6752" y="6311"/>
                    <a:pt x="6692" y="6251"/>
                    <a:pt x="6692" y="6180"/>
                  </a:cubicBezTo>
                  <a:cubicBezTo>
                    <a:pt x="6692" y="6144"/>
                    <a:pt x="6704" y="6120"/>
                    <a:pt x="6728" y="6085"/>
                  </a:cubicBezTo>
                  <a:cubicBezTo>
                    <a:pt x="6740" y="6073"/>
                    <a:pt x="6752" y="6061"/>
                    <a:pt x="6763" y="6061"/>
                  </a:cubicBezTo>
                  <a:lnTo>
                    <a:pt x="8049" y="5418"/>
                  </a:lnTo>
                  <a:cubicBezTo>
                    <a:pt x="8645" y="5120"/>
                    <a:pt x="9133" y="4668"/>
                    <a:pt x="9478" y="4108"/>
                  </a:cubicBezTo>
                  <a:cubicBezTo>
                    <a:pt x="9823" y="3537"/>
                    <a:pt x="10014" y="2906"/>
                    <a:pt x="10014" y="2227"/>
                  </a:cubicBezTo>
                  <a:lnTo>
                    <a:pt x="10014" y="1977"/>
                  </a:lnTo>
                  <a:cubicBezTo>
                    <a:pt x="9954" y="1679"/>
                    <a:pt x="9716" y="1441"/>
                    <a:pt x="9430" y="1441"/>
                  </a:cubicBezTo>
                  <a:lnTo>
                    <a:pt x="7692" y="1441"/>
                  </a:lnTo>
                  <a:lnTo>
                    <a:pt x="7728" y="1060"/>
                  </a:lnTo>
                  <a:lnTo>
                    <a:pt x="7847" y="1060"/>
                  </a:lnTo>
                  <a:cubicBezTo>
                    <a:pt x="8037" y="1060"/>
                    <a:pt x="8204" y="893"/>
                    <a:pt x="8204" y="703"/>
                  </a:cubicBezTo>
                  <a:lnTo>
                    <a:pt x="8204" y="358"/>
                  </a:lnTo>
                  <a:cubicBezTo>
                    <a:pt x="8204" y="167"/>
                    <a:pt x="8037" y="0"/>
                    <a:pt x="7847" y="0"/>
                  </a:cubicBezTo>
                  <a:lnTo>
                    <a:pt x="3501" y="0"/>
                  </a:lnTo>
                  <a:cubicBezTo>
                    <a:pt x="3406" y="0"/>
                    <a:pt x="3334" y="72"/>
                    <a:pt x="3334" y="167"/>
                  </a:cubicBezTo>
                  <a:cubicBezTo>
                    <a:pt x="3334" y="250"/>
                    <a:pt x="3406" y="322"/>
                    <a:pt x="3501" y="322"/>
                  </a:cubicBezTo>
                  <a:lnTo>
                    <a:pt x="7847" y="322"/>
                  </a:lnTo>
                  <a:cubicBezTo>
                    <a:pt x="7859" y="322"/>
                    <a:pt x="7883" y="346"/>
                    <a:pt x="7883" y="370"/>
                  </a:cubicBezTo>
                  <a:lnTo>
                    <a:pt x="7883" y="715"/>
                  </a:lnTo>
                  <a:cubicBezTo>
                    <a:pt x="7883" y="727"/>
                    <a:pt x="7871" y="762"/>
                    <a:pt x="7847" y="762"/>
                  </a:cubicBezTo>
                  <a:lnTo>
                    <a:pt x="2132" y="762"/>
                  </a:lnTo>
                  <a:cubicBezTo>
                    <a:pt x="2108" y="762"/>
                    <a:pt x="2084" y="739"/>
                    <a:pt x="2084" y="715"/>
                  </a:cubicBezTo>
                  <a:lnTo>
                    <a:pt x="2084" y="370"/>
                  </a:lnTo>
                  <a:cubicBezTo>
                    <a:pt x="2084" y="358"/>
                    <a:pt x="2096" y="322"/>
                    <a:pt x="2132" y="322"/>
                  </a:cubicBezTo>
                  <a:lnTo>
                    <a:pt x="2739" y="322"/>
                  </a:lnTo>
                  <a:cubicBezTo>
                    <a:pt x="2823" y="322"/>
                    <a:pt x="2894" y="250"/>
                    <a:pt x="2894" y="167"/>
                  </a:cubicBezTo>
                  <a:cubicBezTo>
                    <a:pt x="2894" y="72"/>
                    <a:pt x="2823" y="0"/>
                    <a:pt x="2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9" name="Google Shape;12529;p62"/>
            <p:cNvSpPr/>
            <p:nvPr/>
          </p:nvSpPr>
          <p:spPr>
            <a:xfrm>
              <a:off x="7642505" y="2952128"/>
              <a:ext cx="112876" cy="106451"/>
            </a:xfrm>
            <a:custGeom>
              <a:avLst/>
              <a:gdLst/>
              <a:ahLst/>
              <a:cxnLst/>
              <a:rect l="l" t="t" r="r" b="b"/>
              <a:pathLst>
                <a:path w="3549" h="3347" extrusionOk="0">
                  <a:moveTo>
                    <a:pt x="1822" y="548"/>
                  </a:moveTo>
                  <a:lnTo>
                    <a:pt x="2084" y="1287"/>
                  </a:lnTo>
                  <a:cubicBezTo>
                    <a:pt x="2120" y="1346"/>
                    <a:pt x="2156" y="1394"/>
                    <a:pt x="2239" y="1394"/>
                  </a:cubicBezTo>
                  <a:lnTo>
                    <a:pt x="3037" y="1429"/>
                  </a:lnTo>
                  <a:lnTo>
                    <a:pt x="2382" y="1918"/>
                  </a:lnTo>
                  <a:cubicBezTo>
                    <a:pt x="2322" y="1965"/>
                    <a:pt x="2311" y="2025"/>
                    <a:pt x="2322" y="2096"/>
                  </a:cubicBezTo>
                  <a:lnTo>
                    <a:pt x="2549" y="2870"/>
                  </a:lnTo>
                  <a:lnTo>
                    <a:pt x="1894" y="2430"/>
                  </a:lnTo>
                  <a:cubicBezTo>
                    <a:pt x="1864" y="2412"/>
                    <a:pt x="1831" y="2403"/>
                    <a:pt x="1800" y="2403"/>
                  </a:cubicBezTo>
                  <a:cubicBezTo>
                    <a:pt x="1769" y="2403"/>
                    <a:pt x="1739" y="2412"/>
                    <a:pt x="1715" y="2430"/>
                  </a:cubicBezTo>
                  <a:lnTo>
                    <a:pt x="1060" y="2870"/>
                  </a:lnTo>
                  <a:lnTo>
                    <a:pt x="1287" y="2096"/>
                  </a:lnTo>
                  <a:cubicBezTo>
                    <a:pt x="1298" y="2037"/>
                    <a:pt x="1287" y="1965"/>
                    <a:pt x="1227" y="1918"/>
                  </a:cubicBezTo>
                  <a:lnTo>
                    <a:pt x="596" y="1429"/>
                  </a:lnTo>
                  <a:lnTo>
                    <a:pt x="1406" y="1394"/>
                  </a:lnTo>
                  <a:cubicBezTo>
                    <a:pt x="1465" y="1394"/>
                    <a:pt x="1525" y="1358"/>
                    <a:pt x="1549" y="1287"/>
                  </a:cubicBezTo>
                  <a:lnTo>
                    <a:pt x="1822" y="548"/>
                  </a:lnTo>
                  <a:close/>
                  <a:moveTo>
                    <a:pt x="1775" y="1"/>
                  </a:moveTo>
                  <a:cubicBezTo>
                    <a:pt x="1691" y="1"/>
                    <a:pt x="1608" y="60"/>
                    <a:pt x="1560" y="144"/>
                  </a:cubicBezTo>
                  <a:lnTo>
                    <a:pt x="1227" y="1084"/>
                  </a:lnTo>
                  <a:lnTo>
                    <a:pt x="227" y="1120"/>
                  </a:lnTo>
                  <a:cubicBezTo>
                    <a:pt x="144" y="1120"/>
                    <a:pt x="60" y="1168"/>
                    <a:pt x="36" y="1263"/>
                  </a:cubicBezTo>
                  <a:cubicBezTo>
                    <a:pt x="1" y="1358"/>
                    <a:pt x="36" y="1441"/>
                    <a:pt x="108" y="1501"/>
                  </a:cubicBezTo>
                  <a:lnTo>
                    <a:pt x="894" y="2108"/>
                  </a:lnTo>
                  <a:lnTo>
                    <a:pt x="632" y="3061"/>
                  </a:lnTo>
                  <a:cubicBezTo>
                    <a:pt x="596" y="3156"/>
                    <a:pt x="632" y="3239"/>
                    <a:pt x="703" y="3299"/>
                  </a:cubicBezTo>
                  <a:cubicBezTo>
                    <a:pt x="739" y="3328"/>
                    <a:pt x="781" y="3343"/>
                    <a:pt x="824" y="3343"/>
                  </a:cubicBezTo>
                  <a:cubicBezTo>
                    <a:pt x="867" y="3343"/>
                    <a:pt x="912" y="3328"/>
                    <a:pt x="953" y="3299"/>
                  </a:cubicBezTo>
                  <a:lnTo>
                    <a:pt x="1775" y="2751"/>
                  </a:lnTo>
                  <a:lnTo>
                    <a:pt x="2596" y="3299"/>
                  </a:lnTo>
                  <a:cubicBezTo>
                    <a:pt x="2620" y="3334"/>
                    <a:pt x="2668" y="3346"/>
                    <a:pt x="2715" y="3346"/>
                  </a:cubicBezTo>
                  <a:cubicBezTo>
                    <a:pt x="2751" y="3346"/>
                    <a:pt x="2799" y="3334"/>
                    <a:pt x="2834" y="3299"/>
                  </a:cubicBezTo>
                  <a:cubicBezTo>
                    <a:pt x="2906" y="3239"/>
                    <a:pt x="2942" y="3156"/>
                    <a:pt x="2906" y="3061"/>
                  </a:cubicBezTo>
                  <a:lnTo>
                    <a:pt x="2644" y="2108"/>
                  </a:lnTo>
                  <a:lnTo>
                    <a:pt x="3430" y="1501"/>
                  </a:lnTo>
                  <a:cubicBezTo>
                    <a:pt x="3513" y="1441"/>
                    <a:pt x="3549" y="1358"/>
                    <a:pt x="3513" y="1263"/>
                  </a:cubicBezTo>
                  <a:cubicBezTo>
                    <a:pt x="3489" y="1168"/>
                    <a:pt x="3418" y="1120"/>
                    <a:pt x="3323" y="1120"/>
                  </a:cubicBezTo>
                  <a:lnTo>
                    <a:pt x="2322" y="1084"/>
                  </a:lnTo>
                  <a:lnTo>
                    <a:pt x="1989" y="144"/>
                  </a:lnTo>
                  <a:cubicBezTo>
                    <a:pt x="1953" y="60"/>
                    <a:pt x="1882" y="1"/>
                    <a:pt x="1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30" name="Google Shape;12530;p62"/>
          <p:cNvGrpSpPr/>
          <p:nvPr/>
        </p:nvGrpSpPr>
        <p:grpSpPr>
          <a:xfrm>
            <a:off x="8003015" y="2904039"/>
            <a:ext cx="306759" cy="351445"/>
            <a:chOff x="8003015" y="2904039"/>
            <a:chExt cx="306759" cy="351445"/>
          </a:xfrm>
        </p:grpSpPr>
        <p:sp>
          <p:nvSpPr>
            <p:cNvPr id="12531" name="Google Shape;12531;p62"/>
            <p:cNvSpPr/>
            <p:nvPr/>
          </p:nvSpPr>
          <p:spPr>
            <a:xfrm>
              <a:off x="8094263" y="2957439"/>
              <a:ext cx="30342" cy="30310"/>
            </a:xfrm>
            <a:custGeom>
              <a:avLst/>
              <a:gdLst/>
              <a:ahLst/>
              <a:cxnLst/>
              <a:rect l="l" t="t" r="r" b="b"/>
              <a:pathLst>
                <a:path w="954" h="953" extrusionOk="0">
                  <a:moveTo>
                    <a:pt x="477" y="0"/>
                  </a:moveTo>
                  <a:cubicBezTo>
                    <a:pt x="382" y="0"/>
                    <a:pt x="310" y="72"/>
                    <a:pt x="310" y="155"/>
                  </a:cubicBezTo>
                  <a:lnTo>
                    <a:pt x="310" y="310"/>
                  </a:lnTo>
                  <a:lnTo>
                    <a:pt x="168" y="310"/>
                  </a:lnTo>
                  <a:cubicBezTo>
                    <a:pt x="72" y="310"/>
                    <a:pt x="1" y="381"/>
                    <a:pt x="1" y="477"/>
                  </a:cubicBezTo>
                  <a:cubicBezTo>
                    <a:pt x="1" y="560"/>
                    <a:pt x="72" y="631"/>
                    <a:pt x="168" y="631"/>
                  </a:cubicBezTo>
                  <a:lnTo>
                    <a:pt x="310" y="631"/>
                  </a:lnTo>
                  <a:lnTo>
                    <a:pt x="310" y="786"/>
                  </a:lnTo>
                  <a:cubicBezTo>
                    <a:pt x="310" y="870"/>
                    <a:pt x="382" y="953"/>
                    <a:pt x="477" y="953"/>
                  </a:cubicBezTo>
                  <a:cubicBezTo>
                    <a:pt x="560" y="953"/>
                    <a:pt x="644" y="870"/>
                    <a:pt x="644" y="786"/>
                  </a:cubicBezTo>
                  <a:lnTo>
                    <a:pt x="644" y="631"/>
                  </a:lnTo>
                  <a:lnTo>
                    <a:pt x="787" y="631"/>
                  </a:lnTo>
                  <a:cubicBezTo>
                    <a:pt x="882" y="631"/>
                    <a:pt x="953" y="560"/>
                    <a:pt x="953" y="477"/>
                  </a:cubicBezTo>
                  <a:cubicBezTo>
                    <a:pt x="953" y="381"/>
                    <a:pt x="882" y="310"/>
                    <a:pt x="787" y="310"/>
                  </a:cubicBezTo>
                  <a:lnTo>
                    <a:pt x="644" y="310"/>
                  </a:lnTo>
                  <a:lnTo>
                    <a:pt x="644" y="155"/>
                  </a:lnTo>
                  <a:cubicBezTo>
                    <a:pt x="644" y="72"/>
                    <a:pt x="560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2" name="Google Shape;12532;p62"/>
            <p:cNvSpPr/>
            <p:nvPr/>
          </p:nvSpPr>
          <p:spPr>
            <a:xfrm>
              <a:off x="8187420" y="2957439"/>
              <a:ext cx="30342" cy="30310"/>
            </a:xfrm>
            <a:custGeom>
              <a:avLst/>
              <a:gdLst/>
              <a:ahLst/>
              <a:cxnLst/>
              <a:rect l="l" t="t" r="r" b="b"/>
              <a:pathLst>
                <a:path w="954" h="953" extrusionOk="0">
                  <a:moveTo>
                    <a:pt x="477" y="0"/>
                  </a:moveTo>
                  <a:cubicBezTo>
                    <a:pt x="394" y="0"/>
                    <a:pt x="310" y="72"/>
                    <a:pt x="310" y="155"/>
                  </a:cubicBezTo>
                  <a:lnTo>
                    <a:pt x="310" y="310"/>
                  </a:lnTo>
                  <a:lnTo>
                    <a:pt x="167" y="310"/>
                  </a:lnTo>
                  <a:cubicBezTo>
                    <a:pt x="72" y="310"/>
                    <a:pt x="1" y="381"/>
                    <a:pt x="1" y="477"/>
                  </a:cubicBezTo>
                  <a:cubicBezTo>
                    <a:pt x="1" y="560"/>
                    <a:pt x="72" y="631"/>
                    <a:pt x="167" y="631"/>
                  </a:cubicBezTo>
                  <a:lnTo>
                    <a:pt x="310" y="631"/>
                  </a:lnTo>
                  <a:lnTo>
                    <a:pt x="310" y="786"/>
                  </a:lnTo>
                  <a:cubicBezTo>
                    <a:pt x="310" y="870"/>
                    <a:pt x="394" y="953"/>
                    <a:pt x="477" y="953"/>
                  </a:cubicBezTo>
                  <a:cubicBezTo>
                    <a:pt x="572" y="953"/>
                    <a:pt x="644" y="870"/>
                    <a:pt x="644" y="786"/>
                  </a:cubicBezTo>
                  <a:lnTo>
                    <a:pt x="644" y="631"/>
                  </a:lnTo>
                  <a:lnTo>
                    <a:pt x="787" y="631"/>
                  </a:lnTo>
                  <a:cubicBezTo>
                    <a:pt x="882" y="631"/>
                    <a:pt x="953" y="560"/>
                    <a:pt x="953" y="477"/>
                  </a:cubicBezTo>
                  <a:cubicBezTo>
                    <a:pt x="953" y="381"/>
                    <a:pt x="882" y="310"/>
                    <a:pt x="787" y="310"/>
                  </a:cubicBezTo>
                  <a:lnTo>
                    <a:pt x="644" y="310"/>
                  </a:lnTo>
                  <a:lnTo>
                    <a:pt x="644" y="155"/>
                  </a:lnTo>
                  <a:cubicBezTo>
                    <a:pt x="644" y="72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3" name="Google Shape;12533;p62"/>
            <p:cNvSpPr/>
            <p:nvPr/>
          </p:nvSpPr>
          <p:spPr>
            <a:xfrm>
              <a:off x="8094263" y="3027856"/>
              <a:ext cx="30342" cy="30342"/>
            </a:xfrm>
            <a:custGeom>
              <a:avLst/>
              <a:gdLst/>
              <a:ahLst/>
              <a:cxnLst/>
              <a:rect l="l" t="t" r="r" b="b"/>
              <a:pathLst>
                <a:path w="954" h="954" extrusionOk="0">
                  <a:moveTo>
                    <a:pt x="477" y="1"/>
                  </a:moveTo>
                  <a:cubicBezTo>
                    <a:pt x="382" y="1"/>
                    <a:pt x="310" y="72"/>
                    <a:pt x="310" y="168"/>
                  </a:cubicBezTo>
                  <a:lnTo>
                    <a:pt x="310" y="311"/>
                  </a:lnTo>
                  <a:lnTo>
                    <a:pt x="168" y="311"/>
                  </a:lnTo>
                  <a:cubicBezTo>
                    <a:pt x="72" y="311"/>
                    <a:pt x="1" y="382"/>
                    <a:pt x="1" y="477"/>
                  </a:cubicBezTo>
                  <a:cubicBezTo>
                    <a:pt x="1" y="561"/>
                    <a:pt x="72" y="644"/>
                    <a:pt x="168" y="644"/>
                  </a:cubicBezTo>
                  <a:lnTo>
                    <a:pt x="310" y="644"/>
                  </a:lnTo>
                  <a:lnTo>
                    <a:pt x="310" y="787"/>
                  </a:lnTo>
                  <a:cubicBezTo>
                    <a:pt x="310" y="882"/>
                    <a:pt x="382" y="953"/>
                    <a:pt x="477" y="953"/>
                  </a:cubicBezTo>
                  <a:cubicBezTo>
                    <a:pt x="560" y="953"/>
                    <a:pt x="644" y="882"/>
                    <a:pt x="644" y="787"/>
                  </a:cubicBezTo>
                  <a:lnTo>
                    <a:pt x="644" y="644"/>
                  </a:lnTo>
                  <a:lnTo>
                    <a:pt x="787" y="644"/>
                  </a:lnTo>
                  <a:cubicBezTo>
                    <a:pt x="882" y="644"/>
                    <a:pt x="953" y="561"/>
                    <a:pt x="953" y="477"/>
                  </a:cubicBezTo>
                  <a:cubicBezTo>
                    <a:pt x="953" y="382"/>
                    <a:pt x="882" y="311"/>
                    <a:pt x="787" y="311"/>
                  </a:cubicBezTo>
                  <a:lnTo>
                    <a:pt x="644" y="311"/>
                  </a:lnTo>
                  <a:lnTo>
                    <a:pt x="644" y="168"/>
                  </a:lnTo>
                  <a:cubicBezTo>
                    <a:pt x="644" y="72"/>
                    <a:pt x="560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4" name="Google Shape;12534;p62"/>
            <p:cNvSpPr/>
            <p:nvPr/>
          </p:nvSpPr>
          <p:spPr>
            <a:xfrm>
              <a:off x="8187420" y="3027856"/>
              <a:ext cx="30342" cy="30342"/>
            </a:xfrm>
            <a:custGeom>
              <a:avLst/>
              <a:gdLst/>
              <a:ahLst/>
              <a:cxnLst/>
              <a:rect l="l" t="t" r="r" b="b"/>
              <a:pathLst>
                <a:path w="954" h="954" extrusionOk="0">
                  <a:moveTo>
                    <a:pt x="477" y="1"/>
                  </a:moveTo>
                  <a:cubicBezTo>
                    <a:pt x="394" y="1"/>
                    <a:pt x="310" y="72"/>
                    <a:pt x="310" y="168"/>
                  </a:cubicBezTo>
                  <a:lnTo>
                    <a:pt x="310" y="311"/>
                  </a:lnTo>
                  <a:lnTo>
                    <a:pt x="167" y="311"/>
                  </a:lnTo>
                  <a:cubicBezTo>
                    <a:pt x="72" y="311"/>
                    <a:pt x="1" y="382"/>
                    <a:pt x="1" y="477"/>
                  </a:cubicBezTo>
                  <a:cubicBezTo>
                    <a:pt x="1" y="561"/>
                    <a:pt x="72" y="644"/>
                    <a:pt x="167" y="644"/>
                  </a:cubicBezTo>
                  <a:lnTo>
                    <a:pt x="310" y="644"/>
                  </a:lnTo>
                  <a:lnTo>
                    <a:pt x="310" y="787"/>
                  </a:lnTo>
                  <a:cubicBezTo>
                    <a:pt x="310" y="882"/>
                    <a:pt x="394" y="953"/>
                    <a:pt x="477" y="953"/>
                  </a:cubicBezTo>
                  <a:cubicBezTo>
                    <a:pt x="572" y="953"/>
                    <a:pt x="644" y="882"/>
                    <a:pt x="644" y="787"/>
                  </a:cubicBezTo>
                  <a:lnTo>
                    <a:pt x="644" y="644"/>
                  </a:lnTo>
                  <a:lnTo>
                    <a:pt x="787" y="644"/>
                  </a:lnTo>
                  <a:cubicBezTo>
                    <a:pt x="882" y="644"/>
                    <a:pt x="953" y="561"/>
                    <a:pt x="953" y="477"/>
                  </a:cubicBezTo>
                  <a:cubicBezTo>
                    <a:pt x="953" y="382"/>
                    <a:pt x="882" y="311"/>
                    <a:pt x="787" y="311"/>
                  </a:cubicBezTo>
                  <a:lnTo>
                    <a:pt x="644" y="311"/>
                  </a:lnTo>
                  <a:lnTo>
                    <a:pt x="644" y="168"/>
                  </a:lnTo>
                  <a:cubicBezTo>
                    <a:pt x="644" y="72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5" name="Google Shape;12535;p62"/>
            <p:cNvSpPr/>
            <p:nvPr/>
          </p:nvSpPr>
          <p:spPr>
            <a:xfrm>
              <a:off x="8003015" y="3050214"/>
              <a:ext cx="306759" cy="205269"/>
            </a:xfrm>
            <a:custGeom>
              <a:avLst/>
              <a:gdLst/>
              <a:ahLst/>
              <a:cxnLst/>
              <a:rect l="l" t="t" r="r" b="b"/>
              <a:pathLst>
                <a:path w="9645" h="6454" extrusionOk="0">
                  <a:moveTo>
                    <a:pt x="2465" y="310"/>
                  </a:moveTo>
                  <a:cubicBezTo>
                    <a:pt x="2465" y="310"/>
                    <a:pt x="2477" y="310"/>
                    <a:pt x="2477" y="322"/>
                  </a:cubicBezTo>
                  <a:lnTo>
                    <a:pt x="2477" y="751"/>
                  </a:lnTo>
                  <a:cubicBezTo>
                    <a:pt x="2477" y="751"/>
                    <a:pt x="2477" y="762"/>
                    <a:pt x="2465" y="762"/>
                  </a:cubicBezTo>
                  <a:lnTo>
                    <a:pt x="322" y="762"/>
                  </a:lnTo>
                  <a:lnTo>
                    <a:pt x="310" y="322"/>
                  </a:lnTo>
                  <a:cubicBezTo>
                    <a:pt x="310" y="322"/>
                    <a:pt x="310" y="310"/>
                    <a:pt x="322" y="310"/>
                  </a:cubicBezTo>
                  <a:close/>
                  <a:moveTo>
                    <a:pt x="9311" y="322"/>
                  </a:moveTo>
                  <a:cubicBezTo>
                    <a:pt x="9311" y="322"/>
                    <a:pt x="9323" y="322"/>
                    <a:pt x="9323" y="334"/>
                  </a:cubicBezTo>
                  <a:lnTo>
                    <a:pt x="9323" y="762"/>
                  </a:lnTo>
                  <a:lnTo>
                    <a:pt x="9311" y="762"/>
                  </a:lnTo>
                  <a:lnTo>
                    <a:pt x="7168" y="786"/>
                  </a:lnTo>
                  <a:cubicBezTo>
                    <a:pt x="7168" y="786"/>
                    <a:pt x="7156" y="786"/>
                    <a:pt x="7156" y="762"/>
                  </a:cubicBezTo>
                  <a:lnTo>
                    <a:pt x="7156" y="334"/>
                  </a:lnTo>
                  <a:cubicBezTo>
                    <a:pt x="7156" y="334"/>
                    <a:pt x="7156" y="322"/>
                    <a:pt x="7168" y="322"/>
                  </a:cubicBezTo>
                  <a:close/>
                  <a:moveTo>
                    <a:pt x="2084" y="1096"/>
                  </a:moveTo>
                  <a:lnTo>
                    <a:pt x="2084" y="3477"/>
                  </a:lnTo>
                  <a:lnTo>
                    <a:pt x="1036" y="3477"/>
                  </a:lnTo>
                  <a:cubicBezTo>
                    <a:pt x="870" y="3477"/>
                    <a:pt x="727" y="3346"/>
                    <a:pt x="727" y="3167"/>
                  </a:cubicBezTo>
                  <a:lnTo>
                    <a:pt x="727" y="1096"/>
                  </a:lnTo>
                  <a:close/>
                  <a:moveTo>
                    <a:pt x="6668" y="1977"/>
                  </a:moveTo>
                  <a:cubicBezTo>
                    <a:pt x="6942" y="1977"/>
                    <a:pt x="7180" y="2215"/>
                    <a:pt x="7180" y="2501"/>
                  </a:cubicBezTo>
                  <a:lnTo>
                    <a:pt x="7180" y="3477"/>
                  </a:lnTo>
                  <a:lnTo>
                    <a:pt x="2382" y="3477"/>
                  </a:lnTo>
                  <a:lnTo>
                    <a:pt x="2382" y="2501"/>
                  </a:lnTo>
                  <a:cubicBezTo>
                    <a:pt x="2394" y="2215"/>
                    <a:pt x="2632" y="1977"/>
                    <a:pt x="2917" y="1977"/>
                  </a:cubicBezTo>
                  <a:close/>
                  <a:moveTo>
                    <a:pt x="8871" y="1096"/>
                  </a:moveTo>
                  <a:lnTo>
                    <a:pt x="8871" y="3167"/>
                  </a:lnTo>
                  <a:cubicBezTo>
                    <a:pt x="8871" y="3334"/>
                    <a:pt x="8728" y="3477"/>
                    <a:pt x="8549" y="3477"/>
                  </a:cubicBezTo>
                  <a:lnTo>
                    <a:pt x="7513" y="3477"/>
                  </a:lnTo>
                  <a:lnTo>
                    <a:pt x="7513" y="1096"/>
                  </a:lnTo>
                  <a:close/>
                  <a:moveTo>
                    <a:pt x="8299" y="3787"/>
                  </a:moveTo>
                  <a:lnTo>
                    <a:pt x="8299" y="4120"/>
                  </a:lnTo>
                  <a:lnTo>
                    <a:pt x="8287" y="4120"/>
                  </a:lnTo>
                  <a:cubicBezTo>
                    <a:pt x="8287" y="4191"/>
                    <a:pt x="8228" y="4251"/>
                    <a:pt x="8156" y="4251"/>
                  </a:cubicBezTo>
                  <a:lnTo>
                    <a:pt x="1453" y="4251"/>
                  </a:lnTo>
                  <a:cubicBezTo>
                    <a:pt x="1382" y="4251"/>
                    <a:pt x="1322" y="4191"/>
                    <a:pt x="1322" y="4120"/>
                  </a:cubicBezTo>
                  <a:lnTo>
                    <a:pt x="1322" y="3787"/>
                  </a:lnTo>
                  <a:close/>
                  <a:moveTo>
                    <a:pt x="2644" y="4584"/>
                  </a:moveTo>
                  <a:lnTo>
                    <a:pt x="2644" y="6120"/>
                  </a:lnTo>
                  <a:lnTo>
                    <a:pt x="2132" y="6120"/>
                  </a:lnTo>
                  <a:lnTo>
                    <a:pt x="2132" y="4584"/>
                  </a:lnTo>
                  <a:close/>
                  <a:moveTo>
                    <a:pt x="7454" y="4584"/>
                  </a:moveTo>
                  <a:lnTo>
                    <a:pt x="7454" y="6120"/>
                  </a:lnTo>
                  <a:lnTo>
                    <a:pt x="6942" y="6120"/>
                  </a:lnTo>
                  <a:lnTo>
                    <a:pt x="6942" y="4584"/>
                  </a:lnTo>
                  <a:close/>
                  <a:moveTo>
                    <a:pt x="7168" y="0"/>
                  </a:moveTo>
                  <a:cubicBezTo>
                    <a:pt x="6989" y="0"/>
                    <a:pt x="6847" y="143"/>
                    <a:pt x="6847" y="322"/>
                  </a:cubicBezTo>
                  <a:lnTo>
                    <a:pt x="6847" y="751"/>
                  </a:lnTo>
                  <a:cubicBezTo>
                    <a:pt x="6847" y="929"/>
                    <a:pt x="6989" y="1084"/>
                    <a:pt x="7168" y="1084"/>
                  </a:cubicBezTo>
                  <a:lnTo>
                    <a:pt x="7204" y="1084"/>
                  </a:lnTo>
                  <a:lnTo>
                    <a:pt x="7204" y="1810"/>
                  </a:lnTo>
                  <a:cubicBezTo>
                    <a:pt x="7049" y="1691"/>
                    <a:pt x="6870" y="1632"/>
                    <a:pt x="6680" y="1632"/>
                  </a:cubicBezTo>
                  <a:lnTo>
                    <a:pt x="2929" y="1632"/>
                  </a:lnTo>
                  <a:cubicBezTo>
                    <a:pt x="2739" y="1632"/>
                    <a:pt x="2560" y="1703"/>
                    <a:pt x="2406" y="1810"/>
                  </a:cubicBezTo>
                  <a:lnTo>
                    <a:pt x="2406" y="1096"/>
                  </a:lnTo>
                  <a:lnTo>
                    <a:pt x="2477" y="1096"/>
                  </a:lnTo>
                  <a:cubicBezTo>
                    <a:pt x="2656" y="1096"/>
                    <a:pt x="2810" y="953"/>
                    <a:pt x="2810" y="762"/>
                  </a:cubicBezTo>
                  <a:lnTo>
                    <a:pt x="2810" y="334"/>
                  </a:lnTo>
                  <a:cubicBezTo>
                    <a:pt x="2810" y="155"/>
                    <a:pt x="2656" y="12"/>
                    <a:pt x="2477" y="12"/>
                  </a:cubicBezTo>
                  <a:lnTo>
                    <a:pt x="322" y="12"/>
                  </a:lnTo>
                  <a:cubicBezTo>
                    <a:pt x="143" y="12"/>
                    <a:pt x="0" y="155"/>
                    <a:pt x="0" y="334"/>
                  </a:cubicBezTo>
                  <a:lnTo>
                    <a:pt x="0" y="762"/>
                  </a:lnTo>
                  <a:cubicBezTo>
                    <a:pt x="0" y="953"/>
                    <a:pt x="143" y="1096"/>
                    <a:pt x="322" y="1096"/>
                  </a:cubicBezTo>
                  <a:lnTo>
                    <a:pt x="393" y="1096"/>
                  </a:lnTo>
                  <a:lnTo>
                    <a:pt x="393" y="3167"/>
                  </a:lnTo>
                  <a:cubicBezTo>
                    <a:pt x="393" y="3489"/>
                    <a:pt x="655" y="3763"/>
                    <a:pt x="977" y="3787"/>
                  </a:cubicBezTo>
                  <a:lnTo>
                    <a:pt x="977" y="4120"/>
                  </a:lnTo>
                  <a:cubicBezTo>
                    <a:pt x="977" y="4370"/>
                    <a:pt x="1191" y="4584"/>
                    <a:pt x="1441" y="4584"/>
                  </a:cubicBezTo>
                  <a:lnTo>
                    <a:pt x="1810" y="4584"/>
                  </a:lnTo>
                  <a:lnTo>
                    <a:pt x="1810" y="6132"/>
                  </a:lnTo>
                  <a:lnTo>
                    <a:pt x="1572" y="6132"/>
                  </a:lnTo>
                  <a:cubicBezTo>
                    <a:pt x="1489" y="6132"/>
                    <a:pt x="1405" y="6204"/>
                    <a:pt x="1405" y="6287"/>
                  </a:cubicBezTo>
                  <a:cubicBezTo>
                    <a:pt x="1405" y="6382"/>
                    <a:pt x="1489" y="6454"/>
                    <a:pt x="1572" y="6454"/>
                  </a:cubicBezTo>
                  <a:lnTo>
                    <a:pt x="3191" y="6454"/>
                  </a:lnTo>
                  <a:cubicBezTo>
                    <a:pt x="3287" y="6454"/>
                    <a:pt x="3358" y="6382"/>
                    <a:pt x="3358" y="6287"/>
                  </a:cubicBezTo>
                  <a:cubicBezTo>
                    <a:pt x="3358" y="6204"/>
                    <a:pt x="3287" y="6132"/>
                    <a:pt x="3191" y="6132"/>
                  </a:cubicBezTo>
                  <a:lnTo>
                    <a:pt x="2953" y="6132"/>
                  </a:lnTo>
                  <a:lnTo>
                    <a:pt x="2953" y="4584"/>
                  </a:lnTo>
                  <a:lnTo>
                    <a:pt x="6620" y="4584"/>
                  </a:lnTo>
                  <a:lnTo>
                    <a:pt x="6620" y="6132"/>
                  </a:lnTo>
                  <a:lnTo>
                    <a:pt x="6382" y="6132"/>
                  </a:lnTo>
                  <a:cubicBezTo>
                    <a:pt x="6287" y="6132"/>
                    <a:pt x="6216" y="6204"/>
                    <a:pt x="6216" y="6287"/>
                  </a:cubicBezTo>
                  <a:cubicBezTo>
                    <a:pt x="6216" y="6382"/>
                    <a:pt x="6287" y="6454"/>
                    <a:pt x="6382" y="6454"/>
                  </a:cubicBezTo>
                  <a:lnTo>
                    <a:pt x="8001" y="6454"/>
                  </a:lnTo>
                  <a:cubicBezTo>
                    <a:pt x="8097" y="6454"/>
                    <a:pt x="8168" y="6382"/>
                    <a:pt x="8168" y="6287"/>
                  </a:cubicBezTo>
                  <a:cubicBezTo>
                    <a:pt x="8168" y="6204"/>
                    <a:pt x="8097" y="6132"/>
                    <a:pt x="8001" y="6132"/>
                  </a:cubicBezTo>
                  <a:lnTo>
                    <a:pt x="7763" y="6132"/>
                  </a:lnTo>
                  <a:lnTo>
                    <a:pt x="7763" y="4584"/>
                  </a:lnTo>
                  <a:lnTo>
                    <a:pt x="8132" y="4584"/>
                  </a:lnTo>
                  <a:cubicBezTo>
                    <a:pt x="8394" y="4584"/>
                    <a:pt x="8597" y="4370"/>
                    <a:pt x="8597" y="4120"/>
                  </a:cubicBezTo>
                  <a:lnTo>
                    <a:pt x="8597" y="3787"/>
                  </a:lnTo>
                  <a:cubicBezTo>
                    <a:pt x="8930" y="3763"/>
                    <a:pt x="9180" y="3489"/>
                    <a:pt x="9180" y="3167"/>
                  </a:cubicBezTo>
                  <a:lnTo>
                    <a:pt x="9180" y="1096"/>
                  </a:lnTo>
                  <a:lnTo>
                    <a:pt x="9299" y="1096"/>
                  </a:lnTo>
                  <a:cubicBezTo>
                    <a:pt x="9478" y="1096"/>
                    <a:pt x="9621" y="953"/>
                    <a:pt x="9621" y="762"/>
                  </a:cubicBezTo>
                  <a:lnTo>
                    <a:pt x="9621" y="334"/>
                  </a:lnTo>
                  <a:cubicBezTo>
                    <a:pt x="9645" y="143"/>
                    <a:pt x="9490" y="0"/>
                    <a:pt x="93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6" name="Google Shape;12536;p62"/>
            <p:cNvSpPr/>
            <p:nvPr/>
          </p:nvSpPr>
          <p:spPr>
            <a:xfrm>
              <a:off x="8040131" y="2904039"/>
              <a:ext cx="230268" cy="132182"/>
            </a:xfrm>
            <a:custGeom>
              <a:avLst/>
              <a:gdLst/>
              <a:ahLst/>
              <a:cxnLst/>
              <a:rect l="l" t="t" r="r" b="b"/>
              <a:pathLst>
                <a:path w="7240" h="4156" extrusionOk="0">
                  <a:moveTo>
                    <a:pt x="1346" y="1"/>
                  </a:moveTo>
                  <a:cubicBezTo>
                    <a:pt x="619" y="1"/>
                    <a:pt x="0" y="596"/>
                    <a:pt x="0" y="1346"/>
                  </a:cubicBezTo>
                  <a:lnTo>
                    <a:pt x="0" y="3989"/>
                  </a:lnTo>
                  <a:cubicBezTo>
                    <a:pt x="0" y="4084"/>
                    <a:pt x="84" y="4156"/>
                    <a:pt x="167" y="4156"/>
                  </a:cubicBezTo>
                  <a:cubicBezTo>
                    <a:pt x="262" y="4156"/>
                    <a:pt x="334" y="4084"/>
                    <a:pt x="334" y="3989"/>
                  </a:cubicBezTo>
                  <a:lnTo>
                    <a:pt x="334" y="1346"/>
                  </a:lnTo>
                  <a:cubicBezTo>
                    <a:pt x="334" y="798"/>
                    <a:pt x="774" y="334"/>
                    <a:pt x="1346" y="334"/>
                  </a:cubicBezTo>
                  <a:lnTo>
                    <a:pt x="5882" y="334"/>
                  </a:lnTo>
                  <a:cubicBezTo>
                    <a:pt x="6430" y="334"/>
                    <a:pt x="6894" y="786"/>
                    <a:pt x="6894" y="1346"/>
                  </a:cubicBezTo>
                  <a:lnTo>
                    <a:pt x="6906" y="3989"/>
                  </a:lnTo>
                  <a:cubicBezTo>
                    <a:pt x="6906" y="4084"/>
                    <a:pt x="6977" y="4156"/>
                    <a:pt x="7073" y="4156"/>
                  </a:cubicBezTo>
                  <a:cubicBezTo>
                    <a:pt x="7156" y="4156"/>
                    <a:pt x="7239" y="4084"/>
                    <a:pt x="7239" y="3989"/>
                  </a:cubicBezTo>
                  <a:lnTo>
                    <a:pt x="7227" y="1346"/>
                  </a:lnTo>
                  <a:cubicBezTo>
                    <a:pt x="7227" y="620"/>
                    <a:pt x="6632" y="1"/>
                    <a:pt x="5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37" name="Google Shape;12537;p62"/>
          <p:cNvGrpSpPr/>
          <p:nvPr/>
        </p:nvGrpSpPr>
        <p:grpSpPr>
          <a:xfrm>
            <a:off x="5687770" y="2885496"/>
            <a:ext cx="369638" cy="369606"/>
            <a:chOff x="5687770" y="2885496"/>
            <a:chExt cx="369638" cy="369606"/>
          </a:xfrm>
        </p:grpSpPr>
        <p:sp>
          <p:nvSpPr>
            <p:cNvPr id="12538" name="Google Shape;12538;p62"/>
            <p:cNvSpPr/>
            <p:nvPr/>
          </p:nvSpPr>
          <p:spPr>
            <a:xfrm>
              <a:off x="5772594" y="3003366"/>
              <a:ext cx="112113" cy="110872"/>
            </a:xfrm>
            <a:custGeom>
              <a:avLst/>
              <a:gdLst/>
              <a:ahLst/>
              <a:cxnLst/>
              <a:rect l="l" t="t" r="r" b="b"/>
              <a:pathLst>
                <a:path w="3525" h="3486" extrusionOk="0">
                  <a:moveTo>
                    <a:pt x="3346" y="0"/>
                  </a:moveTo>
                  <a:cubicBezTo>
                    <a:pt x="3302" y="0"/>
                    <a:pt x="3257" y="15"/>
                    <a:pt x="3227" y="45"/>
                  </a:cubicBezTo>
                  <a:lnTo>
                    <a:pt x="60" y="3212"/>
                  </a:lnTo>
                  <a:cubicBezTo>
                    <a:pt x="1" y="3271"/>
                    <a:pt x="1" y="3390"/>
                    <a:pt x="60" y="3450"/>
                  </a:cubicBezTo>
                  <a:cubicBezTo>
                    <a:pt x="84" y="3474"/>
                    <a:pt x="132" y="3486"/>
                    <a:pt x="179" y="3486"/>
                  </a:cubicBezTo>
                  <a:cubicBezTo>
                    <a:pt x="215" y="3486"/>
                    <a:pt x="263" y="3474"/>
                    <a:pt x="298" y="3450"/>
                  </a:cubicBezTo>
                  <a:lnTo>
                    <a:pt x="3465" y="283"/>
                  </a:lnTo>
                  <a:cubicBezTo>
                    <a:pt x="3525" y="223"/>
                    <a:pt x="3525" y="116"/>
                    <a:pt x="3465" y="45"/>
                  </a:cubicBezTo>
                  <a:cubicBezTo>
                    <a:pt x="3436" y="15"/>
                    <a:pt x="3391" y="0"/>
                    <a:pt x="3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9" name="Google Shape;12539;p62"/>
            <p:cNvSpPr/>
            <p:nvPr/>
          </p:nvSpPr>
          <p:spPr>
            <a:xfrm>
              <a:off x="5800996" y="3031736"/>
              <a:ext cx="112113" cy="110904"/>
            </a:xfrm>
            <a:custGeom>
              <a:avLst/>
              <a:gdLst/>
              <a:ahLst/>
              <a:cxnLst/>
              <a:rect l="l" t="t" r="r" b="b"/>
              <a:pathLst>
                <a:path w="3525" h="3487" extrusionOk="0">
                  <a:moveTo>
                    <a:pt x="3346" y="1"/>
                  </a:moveTo>
                  <a:cubicBezTo>
                    <a:pt x="3302" y="1"/>
                    <a:pt x="3257" y="16"/>
                    <a:pt x="3227" y="46"/>
                  </a:cubicBezTo>
                  <a:lnTo>
                    <a:pt x="60" y="3213"/>
                  </a:lnTo>
                  <a:cubicBezTo>
                    <a:pt x="1" y="3272"/>
                    <a:pt x="1" y="3391"/>
                    <a:pt x="60" y="3451"/>
                  </a:cubicBezTo>
                  <a:cubicBezTo>
                    <a:pt x="84" y="3475"/>
                    <a:pt x="132" y="3487"/>
                    <a:pt x="179" y="3487"/>
                  </a:cubicBezTo>
                  <a:cubicBezTo>
                    <a:pt x="215" y="3487"/>
                    <a:pt x="263" y="3475"/>
                    <a:pt x="298" y="3451"/>
                  </a:cubicBezTo>
                  <a:lnTo>
                    <a:pt x="3465" y="284"/>
                  </a:lnTo>
                  <a:cubicBezTo>
                    <a:pt x="3525" y="224"/>
                    <a:pt x="3525" y="117"/>
                    <a:pt x="3465" y="46"/>
                  </a:cubicBezTo>
                  <a:cubicBezTo>
                    <a:pt x="3436" y="16"/>
                    <a:pt x="3391" y="1"/>
                    <a:pt x="3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0" name="Google Shape;12540;p62"/>
            <p:cNvSpPr/>
            <p:nvPr/>
          </p:nvSpPr>
          <p:spPr>
            <a:xfrm>
              <a:off x="5829016" y="3141558"/>
              <a:ext cx="31455" cy="30247"/>
            </a:xfrm>
            <a:custGeom>
              <a:avLst/>
              <a:gdLst/>
              <a:ahLst/>
              <a:cxnLst/>
              <a:rect l="l" t="t" r="r" b="b"/>
              <a:pathLst>
                <a:path w="989" h="951" extrusionOk="0">
                  <a:moveTo>
                    <a:pt x="810" y="1"/>
                  </a:moveTo>
                  <a:cubicBezTo>
                    <a:pt x="766" y="1"/>
                    <a:pt x="721" y="16"/>
                    <a:pt x="691" y="45"/>
                  </a:cubicBezTo>
                  <a:lnTo>
                    <a:pt x="72" y="665"/>
                  </a:lnTo>
                  <a:cubicBezTo>
                    <a:pt x="1" y="724"/>
                    <a:pt x="1" y="843"/>
                    <a:pt x="72" y="903"/>
                  </a:cubicBezTo>
                  <a:cubicBezTo>
                    <a:pt x="96" y="938"/>
                    <a:pt x="144" y="950"/>
                    <a:pt x="191" y="950"/>
                  </a:cubicBezTo>
                  <a:cubicBezTo>
                    <a:pt x="227" y="950"/>
                    <a:pt x="275" y="938"/>
                    <a:pt x="298" y="903"/>
                  </a:cubicBezTo>
                  <a:lnTo>
                    <a:pt x="929" y="284"/>
                  </a:lnTo>
                  <a:cubicBezTo>
                    <a:pt x="989" y="224"/>
                    <a:pt x="989" y="105"/>
                    <a:pt x="929" y="45"/>
                  </a:cubicBezTo>
                  <a:cubicBezTo>
                    <a:pt x="900" y="16"/>
                    <a:pt x="855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1" name="Google Shape;12541;p62"/>
            <p:cNvSpPr/>
            <p:nvPr/>
          </p:nvSpPr>
          <p:spPr>
            <a:xfrm>
              <a:off x="5866514" y="3060519"/>
              <a:ext cx="75378" cy="73788"/>
            </a:xfrm>
            <a:custGeom>
              <a:avLst/>
              <a:gdLst/>
              <a:ahLst/>
              <a:cxnLst/>
              <a:rect l="l" t="t" r="r" b="b"/>
              <a:pathLst>
                <a:path w="2370" h="2320" extrusionOk="0">
                  <a:moveTo>
                    <a:pt x="2179" y="1"/>
                  </a:moveTo>
                  <a:cubicBezTo>
                    <a:pt x="2135" y="1"/>
                    <a:pt x="2090" y="16"/>
                    <a:pt x="2060" y="46"/>
                  </a:cubicBezTo>
                  <a:lnTo>
                    <a:pt x="60" y="2034"/>
                  </a:lnTo>
                  <a:cubicBezTo>
                    <a:pt x="0" y="2093"/>
                    <a:pt x="0" y="2212"/>
                    <a:pt x="60" y="2272"/>
                  </a:cubicBezTo>
                  <a:cubicBezTo>
                    <a:pt x="96" y="2308"/>
                    <a:pt x="143" y="2320"/>
                    <a:pt x="179" y="2320"/>
                  </a:cubicBezTo>
                  <a:cubicBezTo>
                    <a:pt x="227" y="2320"/>
                    <a:pt x="274" y="2308"/>
                    <a:pt x="298" y="2272"/>
                  </a:cubicBezTo>
                  <a:lnTo>
                    <a:pt x="2298" y="284"/>
                  </a:lnTo>
                  <a:cubicBezTo>
                    <a:pt x="2370" y="212"/>
                    <a:pt x="2370" y="105"/>
                    <a:pt x="2298" y="46"/>
                  </a:cubicBezTo>
                  <a:cubicBezTo>
                    <a:pt x="2269" y="16"/>
                    <a:pt x="2224" y="1"/>
                    <a:pt x="2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2" name="Google Shape;12542;p62"/>
            <p:cNvSpPr/>
            <p:nvPr/>
          </p:nvSpPr>
          <p:spPr>
            <a:xfrm>
              <a:off x="5687770" y="2885496"/>
              <a:ext cx="369638" cy="369606"/>
            </a:xfrm>
            <a:custGeom>
              <a:avLst/>
              <a:gdLst/>
              <a:ahLst/>
              <a:cxnLst/>
              <a:rect l="l" t="t" r="r" b="b"/>
              <a:pathLst>
                <a:path w="11622" h="11621" extrusionOk="0">
                  <a:moveTo>
                    <a:pt x="7275" y="357"/>
                  </a:moveTo>
                  <a:lnTo>
                    <a:pt x="7466" y="548"/>
                  </a:lnTo>
                  <a:lnTo>
                    <a:pt x="7466" y="560"/>
                  </a:lnTo>
                  <a:cubicBezTo>
                    <a:pt x="7335" y="810"/>
                    <a:pt x="7383" y="1131"/>
                    <a:pt x="7573" y="1334"/>
                  </a:cubicBezTo>
                  <a:cubicBezTo>
                    <a:pt x="7702" y="1462"/>
                    <a:pt x="7864" y="1527"/>
                    <a:pt x="8028" y="1527"/>
                  </a:cubicBezTo>
                  <a:cubicBezTo>
                    <a:pt x="8137" y="1527"/>
                    <a:pt x="8247" y="1498"/>
                    <a:pt x="8347" y="1441"/>
                  </a:cubicBezTo>
                  <a:lnTo>
                    <a:pt x="8359" y="1441"/>
                  </a:lnTo>
                  <a:lnTo>
                    <a:pt x="8811" y="1881"/>
                  </a:lnTo>
                  <a:lnTo>
                    <a:pt x="8811" y="1905"/>
                  </a:lnTo>
                  <a:cubicBezTo>
                    <a:pt x="8680" y="2155"/>
                    <a:pt x="8716" y="2465"/>
                    <a:pt x="8918" y="2679"/>
                  </a:cubicBezTo>
                  <a:cubicBezTo>
                    <a:pt x="9040" y="2800"/>
                    <a:pt x="9199" y="2866"/>
                    <a:pt x="9364" y="2866"/>
                  </a:cubicBezTo>
                  <a:cubicBezTo>
                    <a:pt x="9474" y="2866"/>
                    <a:pt x="9587" y="2836"/>
                    <a:pt x="9692" y="2774"/>
                  </a:cubicBezTo>
                  <a:lnTo>
                    <a:pt x="9704" y="2774"/>
                  </a:lnTo>
                  <a:lnTo>
                    <a:pt x="10145" y="3227"/>
                  </a:lnTo>
                  <a:lnTo>
                    <a:pt x="10145" y="3239"/>
                  </a:lnTo>
                  <a:cubicBezTo>
                    <a:pt x="10014" y="3489"/>
                    <a:pt x="10061" y="3810"/>
                    <a:pt x="10252" y="4013"/>
                  </a:cubicBezTo>
                  <a:cubicBezTo>
                    <a:pt x="10381" y="4141"/>
                    <a:pt x="10543" y="4205"/>
                    <a:pt x="10707" y="4205"/>
                  </a:cubicBezTo>
                  <a:cubicBezTo>
                    <a:pt x="10816" y="4205"/>
                    <a:pt x="10926" y="4177"/>
                    <a:pt x="11026" y="4120"/>
                  </a:cubicBezTo>
                  <a:lnTo>
                    <a:pt x="11038" y="4120"/>
                  </a:lnTo>
                  <a:lnTo>
                    <a:pt x="11240" y="4310"/>
                  </a:lnTo>
                  <a:cubicBezTo>
                    <a:pt x="11276" y="4358"/>
                    <a:pt x="11288" y="4358"/>
                    <a:pt x="11276" y="4370"/>
                  </a:cubicBezTo>
                  <a:lnTo>
                    <a:pt x="10252" y="5394"/>
                  </a:lnTo>
                  <a:lnTo>
                    <a:pt x="9907" y="5060"/>
                  </a:lnTo>
                  <a:cubicBezTo>
                    <a:pt x="9877" y="5031"/>
                    <a:pt x="9832" y="5016"/>
                    <a:pt x="9788" y="5016"/>
                  </a:cubicBezTo>
                  <a:cubicBezTo>
                    <a:pt x="9743" y="5016"/>
                    <a:pt x="9698" y="5031"/>
                    <a:pt x="9669" y="5060"/>
                  </a:cubicBezTo>
                  <a:cubicBezTo>
                    <a:pt x="9609" y="5120"/>
                    <a:pt x="9609" y="5239"/>
                    <a:pt x="9669" y="5298"/>
                  </a:cubicBezTo>
                  <a:lnTo>
                    <a:pt x="10014" y="5632"/>
                  </a:lnTo>
                  <a:lnTo>
                    <a:pt x="4358" y="11287"/>
                  </a:lnTo>
                  <a:lnTo>
                    <a:pt x="4335" y="11287"/>
                  </a:lnTo>
                  <a:lnTo>
                    <a:pt x="4132" y="11097"/>
                  </a:lnTo>
                  <a:lnTo>
                    <a:pt x="4132" y="11085"/>
                  </a:lnTo>
                  <a:cubicBezTo>
                    <a:pt x="4275" y="10835"/>
                    <a:pt x="4227" y="10513"/>
                    <a:pt x="4013" y="10323"/>
                  </a:cubicBezTo>
                  <a:cubicBezTo>
                    <a:pt x="3894" y="10204"/>
                    <a:pt x="3715" y="10132"/>
                    <a:pt x="3561" y="10132"/>
                  </a:cubicBezTo>
                  <a:cubicBezTo>
                    <a:pt x="3453" y="10132"/>
                    <a:pt x="3346" y="10156"/>
                    <a:pt x="3239" y="10204"/>
                  </a:cubicBezTo>
                  <a:lnTo>
                    <a:pt x="3227" y="10204"/>
                  </a:lnTo>
                  <a:lnTo>
                    <a:pt x="2763" y="9739"/>
                  </a:lnTo>
                  <a:lnTo>
                    <a:pt x="2763" y="9728"/>
                  </a:lnTo>
                  <a:cubicBezTo>
                    <a:pt x="2906" y="9478"/>
                    <a:pt x="2858" y="9168"/>
                    <a:pt x="2644" y="8966"/>
                  </a:cubicBezTo>
                  <a:cubicBezTo>
                    <a:pt x="2518" y="8839"/>
                    <a:pt x="2354" y="8773"/>
                    <a:pt x="2188" y="8773"/>
                  </a:cubicBezTo>
                  <a:cubicBezTo>
                    <a:pt x="2089" y="8773"/>
                    <a:pt x="1988" y="8797"/>
                    <a:pt x="1894" y="8847"/>
                  </a:cubicBezTo>
                  <a:lnTo>
                    <a:pt x="1870" y="8847"/>
                  </a:lnTo>
                  <a:lnTo>
                    <a:pt x="1417" y="8394"/>
                  </a:lnTo>
                  <a:lnTo>
                    <a:pt x="1417" y="8370"/>
                  </a:lnTo>
                  <a:cubicBezTo>
                    <a:pt x="1548" y="8120"/>
                    <a:pt x="1501" y="7811"/>
                    <a:pt x="1298" y="7620"/>
                  </a:cubicBezTo>
                  <a:cubicBezTo>
                    <a:pt x="1166" y="7488"/>
                    <a:pt x="1003" y="7419"/>
                    <a:pt x="838" y="7419"/>
                  </a:cubicBezTo>
                  <a:cubicBezTo>
                    <a:pt x="736" y="7419"/>
                    <a:pt x="632" y="7446"/>
                    <a:pt x="536" y="7501"/>
                  </a:cubicBezTo>
                  <a:lnTo>
                    <a:pt x="525" y="7501"/>
                  </a:lnTo>
                  <a:lnTo>
                    <a:pt x="322" y="7299"/>
                  </a:lnTo>
                  <a:lnTo>
                    <a:pt x="322" y="7287"/>
                  </a:lnTo>
                  <a:lnTo>
                    <a:pt x="322" y="7275"/>
                  </a:lnTo>
                  <a:lnTo>
                    <a:pt x="5978" y="1619"/>
                  </a:lnTo>
                  <a:lnTo>
                    <a:pt x="6335" y="1977"/>
                  </a:lnTo>
                  <a:cubicBezTo>
                    <a:pt x="6370" y="2000"/>
                    <a:pt x="6418" y="2024"/>
                    <a:pt x="6454" y="2024"/>
                  </a:cubicBezTo>
                  <a:cubicBezTo>
                    <a:pt x="6501" y="2024"/>
                    <a:pt x="6549" y="2000"/>
                    <a:pt x="6573" y="1977"/>
                  </a:cubicBezTo>
                  <a:cubicBezTo>
                    <a:pt x="6632" y="1917"/>
                    <a:pt x="6632" y="1798"/>
                    <a:pt x="6573" y="1739"/>
                  </a:cubicBezTo>
                  <a:lnTo>
                    <a:pt x="6216" y="1381"/>
                  </a:lnTo>
                  <a:lnTo>
                    <a:pt x="7252" y="357"/>
                  </a:lnTo>
                  <a:close/>
                  <a:moveTo>
                    <a:pt x="7275" y="0"/>
                  </a:moveTo>
                  <a:cubicBezTo>
                    <a:pt x="7180" y="0"/>
                    <a:pt x="7097" y="24"/>
                    <a:pt x="7025" y="95"/>
                  </a:cubicBezTo>
                  <a:lnTo>
                    <a:pt x="96" y="7025"/>
                  </a:lnTo>
                  <a:cubicBezTo>
                    <a:pt x="36" y="7084"/>
                    <a:pt x="1" y="7168"/>
                    <a:pt x="1" y="7275"/>
                  </a:cubicBezTo>
                  <a:cubicBezTo>
                    <a:pt x="1" y="7358"/>
                    <a:pt x="24" y="7454"/>
                    <a:pt x="96" y="7525"/>
                  </a:cubicBezTo>
                  <a:lnTo>
                    <a:pt x="298" y="7715"/>
                  </a:lnTo>
                  <a:cubicBezTo>
                    <a:pt x="357" y="7782"/>
                    <a:pt x="449" y="7821"/>
                    <a:pt x="544" y="7821"/>
                  </a:cubicBezTo>
                  <a:cubicBezTo>
                    <a:pt x="602" y="7821"/>
                    <a:pt x="661" y="7807"/>
                    <a:pt x="715" y="7775"/>
                  </a:cubicBezTo>
                  <a:cubicBezTo>
                    <a:pt x="759" y="7753"/>
                    <a:pt x="806" y="7743"/>
                    <a:pt x="852" y="7743"/>
                  </a:cubicBezTo>
                  <a:cubicBezTo>
                    <a:pt x="932" y="7743"/>
                    <a:pt x="1012" y="7774"/>
                    <a:pt x="1072" y="7835"/>
                  </a:cubicBezTo>
                  <a:cubicBezTo>
                    <a:pt x="1156" y="7930"/>
                    <a:pt x="1191" y="8073"/>
                    <a:pt x="1132" y="8192"/>
                  </a:cubicBezTo>
                  <a:cubicBezTo>
                    <a:pt x="1048" y="8335"/>
                    <a:pt x="1084" y="8513"/>
                    <a:pt x="1191" y="8608"/>
                  </a:cubicBezTo>
                  <a:lnTo>
                    <a:pt x="1644" y="9073"/>
                  </a:lnTo>
                  <a:cubicBezTo>
                    <a:pt x="1710" y="9139"/>
                    <a:pt x="1803" y="9173"/>
                    <a:pt x="1895" y="9173"/>
                  </a:cubicBezTo>
                  <a:cubicBezTo>
                    <a:pt x="1953" y="9173"/>
                    <a:pt x="2010" y="9160"/>
                    <a:pt x="2060" y="9132"/>
                  </a:cubicBezTo>
                  <a:cubicBezTo>
                    <a:pt x="2107" y="9109"/>
                    <a:pt x="2159" y="9097"/>
                    <a:pt x="2210" y="9097"/>
                  </a:cubicBezTo>
                  <a:cubicBezTo>
                    <a:pt x="2290" y="9097"/>
                    <a:pt x="2367" y="9127"/>
                    <a:pt x="2418" y="9192"/>
                  </a:cubicBezTo>
                  <a:cubicBezTo>
                    <a:pt x="2513" y="9287"/>
                    <a:pt x="2537" y="9430"/>
                    <a:pt x="2477" y="9549"/>
                  </a:cubicBezTo>
                  <a:cubicBezTo>
                    <a:pt x="2406" y="9680"/>
                    <a:pt x="2441" y="9859"/>
                    <a:pt x="2549" y="9966"/>
                  </a:cubicBezTo>
                  <a:lnTo>
                    <a:pt x="3001" y="10430"/>
                  </a:lnTo>
                  <a:cubicBezTo>
                    <a:pt x="3067" y="10496"/>
                    <a:pt x="3160" y="10530"/>
                    <a:pt x="3252" y="10530"/>
                  </a:cubicBezTo>
                  <a:cubicBezTo>
                    <a:pt x="3310" y="10530"/>
                    <a:pt x="3367" y="10517"/>
                    <a:pt x="3418" y="10490"/>
                  </a:cubicBezTo>
                  <a:cubicBezTo>
                    <a:pt x="3464" y="10466"/>
                    <a:pt x="3516" y="10454"/>
                    <a:pt x="3567" y="10454"/>
                  </a:cubicBezTo>
                  <a:cubicBezTo>
                    <a:pt x="3647" y="10454"/>
                    <a:pt x="3724" y="10484"/>
                    <a:pt x="3775" y="10549"/>
                  </a:cubicBezTo>
                  <a:cubicBezTo>
                    <a:pt x="3870" y="10632"/>
                    <a:pt x="3894" y="10787"/>
                    <a:pt x="3834" y="10906"/>
                  </a:cubicBezTo>
                  <a:cubicBezTo>
                    <a:pt x="3763" y="11037"/>
                    <a:pt x="3799" y="11216"/>
                    <a:pt x="3894" y="11323"/>
                  </a:cubicBezTo>
                  <a:lnTo>
                    <a:pt x="4096" y="11514"/>
                  </a:lnTo>
                  <a:cubicBezTo>
                    <a:pt x="4156" y="11573"/>
                    <a:pt x="4239" y="11621"/>
                    <a:pt x="4346" y="11621"/>
                  </a:cubicBezTo>
                  <a:cubicBezTo>
                    <a:pt x="4430" y="11621"/>
                    <a:pt x="4525" y="11585"/>
                    <a:pt x="4596" y="11514"/>
                  </a:cubicBezTo>
                  <a:lnTo>
                    <a:pt x="11514" y="4596"/>
                  </a:lnTo>
                  <a:cubicBezTo>
                    <a:pt x="11574" y="4536"/>
                    <a:pt x="11621" y="4441"/>
                    <a:pt x="11621" y="4346"/>
                  </a:cubicBezTo>
                  <a:cubicBezTo>
                    <a:pt x="11621" y="4239"/>
                    <a:pt x="11585" y="4179"/>
                    <a:pt x="11538" y="4108"/>
                  </a:cubicBezTo>
                  <a:lnTo>
                    <a:pt x="11335" y="3905"/>
                  </a:lnTo>
                  <a:cubicBezTo>
                    <a:pt x="11275" y="3845"/>
                    <a:pt x="11180" y="3808"/>
                    <a:pt x="11082" y="3808"/>
                  </a:cubicBezTo>
                  <a:cubicBezTo>
                    <a:pt x="11027" y="3808"/>
                    <a:pt x="10970" y="3820"/>
                    <a:pt x="10919" y="3846"/>
                  </a:cubicBezTo>
                  <a:cubicBezTo>
                    <a:pt x="10872" y="3869"/>
                    <a:pt x="10822" y="3882"/>
                    <a:pt x="10772" y="3882"/>
                  </a:cubicBezTo>
                  <a:cubicBezTo>
                    <a:pt x="10693" y="3882"/>
                    <a:pt x="10615" y="3852"/>
                    <a:pt x="10550" y="3786"/>
                  </a:cubicBezTo>
                  <a:cubicBezTo>
                    <a:pt x="10466" y="3703"/>
                    <a:pt x="10431" y="3536"/>
                    <a:pt x="10490" y="3417"/>
                  </a:cubicBezTo>
                  <a:cubicBezTo>
                    <a:pt x="10561" y="3286"/>
                    <a:pt x="10550" y="3108"/>
                    <a:pt x="10431" y="3001"/>
                  </a:cubicBezTo>
                  <a:lnTo>
                    <a:pt x="9990" y="2560"/>
                  </a:lnTo>
                  <a:cubicBezTo>
                    <a:pt x="9923" y="2493"/>
                    <a:pt x="9829" y="2454"/>
                    <a:pt x="9736" y="2454"/>
                  </a:cubicBezTo>
                  <a:cubicBezTo>
                    <a:pt x="9679" y="2454"/>
                    <a:pt x="9623" y="2469"/>
                    <a:pt x="9573" y="2501"/>
                  </a:cubicBezTo>
                  <a:cubicBezTo>
                    <a:pt x="9530" y="2522"/>
                    <a:pt x="9481" y="2533"/>
                    <a:pt x="9432" y="2533"/>
                  </a:cubicBezTo>
                  <a:cubicBezTo>
                    <a:pt x="9347" y="2533"/>
                    <a:pt x="9260" y="2501"/>
                    <a:pt x="9192" y="2441"/>
                  </a:cubicBezTo>
                  <a:cubicBezTo>
                    <a:pt x="9109" y="2346"/>
                    <a:pt x="9073" y="2179"/>
                    <a:pt x="9133" y="2060"/>
                  </a:cubicBezTo>
                  <a:cubicBezTo>
                    <a:pt x="9204" y="1929"/>
                    <a:pt x="9192" y="1750"/>
                    <a:pt x="9073" y="1643"/>
                  </a:cubicBezTo>
                  <a:lnTo>
                    <a:pt x="8633" y="1203"/>
                  </a:lnTo>
                  <a:cubicBezTo>
                    <a:pt x="8567" y="1137"/>
                    <a:pt x="8474" y="1102"/>
                    <a:pt x="8381" y="1102"/>
                  </a:cubicBezTo>
                  <a:cubicBezTo>
                    <a:pt x="8324" y="1102"/>
                    <a:pt x="8266" y="1116"/>
                    <a:pt x="8216" y="1143"/>
                  </a:cubicBezTo>
                  <a:cubicBezTo>
                    <a:pt x="8169" y="1166"/>
                    <a:pt x="8117" y="1179"/>
                    <a:pt x="8065" y="1179"/>
                  </a:cubicBezTo>
                  <a:cubicBezTo>
                    <a:pt x="7983" y="1179"/>
                    <a:pt x="7900" y="1149"/>
                    <a:pt x="7835" y="1084"/>
                  </a:cubicBezTo>
                  <a:cubicBezTo>
                    <a:pt x="7752" y="988"/>
                    <a:pt x="7716" y="834"/>
                    <a:pt x="7775" y="715"/>
                  </a:cubicBezTo>
                  <a:cubicBezTo>
                    <a:pt x="7859" y="572"/>
                    <a:pt x="7835" y="393"/>
                    <a:pt x="7716" y="298"/>
                  </a:cubicBezTo>
                  <a:lnTo>
                    <a:pt x="7525" y="95"/>
                  </a:lnTo>
                  <a:cubicBezTo>
                    <a:pt x="7466" y="36"/>
                    <a:pt x="7383" y="0"/>
                    <a:pt x="7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3" name="Google Shape;12543;p62"/>
            <p:cNvSpPr/>
            <p:nvPr/>
          </p:nvSpPr>
          <p:spPr>
            <a:xfrm>
              <a:off x="5737386" y="2968794"/>
              <a:ext cx="182942" cy="181416"/>
            </a:xfrm>
            <a:custGeom>
              <a:avLst/>
              <a:gdLst/>
              <a:ahLst/>
              <a:cxnLst/>
              <a:rect l="l" t="t" r="r" b="b"/>
              <a:pathLst>
                <a:path w="5752" h="5704" extrusionOk="0">
                  <a:moveTo>
                    <a:pt x="4322" y="1"/>
                  </a:moveTo>
                  <a:cubicBezTo>
                    <a:pt x="4263" y="1"/>
                    <a:pt x="4203" y="24"/>
                    <a:pt x="4156" y="48"/>
                  </a:cubicBezTo>
                  <a:lnTo>
                    <a:pt x="60" y="4144"/>
                  </a:lnTo>
                  <a:cubicBezTo>
                    <a:pt x="12" y="4192"/>
                    <a:pt x="0" y="4251"/>
                    <a:pt x="0" y="4311"/>
                  </a:cubicBezTo>
                  <a:cubicBezTo>
                    <a:pt x="0" y="4370"/>
                    <a:pt x="36" y="4430"/>
                    <a:pt x="60" y="4477"/>
                  </a:cubicBezTo>
                  <a:lnTo>
                    <a:pt x="1251" y="5668"/>
                  </a:lnTo>
                  <a:cubicBezTo>
                    <a:pt x="1286" y="5692"/>
                    <a:pt x="1322" y="5704"/>
                    <a:pt x="1370" y="5704"/>
                  </a:cubicBezTo>
                  <a:cubicBezTo>
                    <a:pt x="1417" y="5704"/>
                    <a:pt x="1465" y="5692"/>
                    <a:pt x="1489" y="5668"/>
                  </a:cubicBezTo>
                  <a:cubicBezTo>
                    <a:pt x="1548" y="5608"/>
                    <a:pt x="1548" y="5489"/>
                    <a:pt x="1489" y="5430"/>
                  </a:cubicBezTo>
                  <a:lnTo>
                    <a:pt x="393" y="4323"/>
                  </a:lnTo>
                  <a:lnTo>
                    <a:pt x="4322" y="393"/>
                  </a:lnTo>
                  <a:lnTo>
                    <a:pt x="5418" y="1501"/>
                  </a:lnTo>
                  <a:cubicBezTo>
                    <a:pt x="5447" y="1531"/>
                    <a:pt x="5492" y="1545"/>
                    <a:pt x="5537" y="1545"/>
                  </a:cubicBezTo>
                  <a:cubicBezTo>
                    <a:pt x="5581" y="1545"/>
                    <a:pt x="5626" y="1531"/>
                    <a:pt x="5656" y="1501"/>
                  </a:cubicBezTo>
                  <a:cubicBezTo>
                    <a:pt x="5751" y="1406"/>
                    <a:pt x="5751" y="1310"/>
                    <a:pt x="5668" y="1239"/>
                  </a:cubicBezTo>
                  <a:lnTo>
                    <a:pt x="4477" y="48"/>
                  </a:lnTo>
                  <a:cubicBezTo>
                    <a:pt x="4441" y="12"/>
                    <a:pt x="4370" y="1"/>
                    <a:pt x="4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4" name="Google Shape;12544;p62"/>
            <p:cNvSpPr/>
            <p:nvPr/>
          </p:nvSpPr>
          <p:spPr>
            <a:xfrm>
              <a:off x="5793808" y="3024548"/>
              <a:ext cx="181797" cy="181320"/>
            </a:xfrm>
            <a:custGeom>
              <a:avLst/>
              <a:gdLst/>
              <a:ahLst/>
              <a:cxnLst/>
              <a:rect l="l" t="t" r="r" b="b"/>
              <a:pathLst>
                <a:path w="5716" h="5701" extrusionOk="0">
                  <a:moveTo>
                    <a:pt x="4346" y="1"/>
                  </a:moveTo>
                  <a:cubicBezTo>
                    <a:pt x="4302" y="1"/>
                    <a:pt x="4257" y="16"/>
                    <a:pt x="4227" y="45"/>
                  </a:cubicBezTo>
                  <a:cubicBezTo>
                    <a:pt x="4168" y="105"/>
                    <a:pt x="4168" y="224"/>
                    <a:pt x="4227" y="284"/>
                  </a:cubicBezTo>
                  <a:lnTo>
                    <a:pt x="5322" y="1379"/>
                  </a:lnTo>
                  <a:lnTo>
                    <a:pt x="1393" y="5308"/>
                  </a:lnTo>
                  <a:lnTo>
                    <a:pt x="298" y="4213"/>
                  </a:lnTo>
                  <a:cubicBezTo>
                    <a:pt x="268" y="4183"/>
                    <a:pt x="224" y="4168"/>
                    <a:pt x="179" y="4168"/>
                  </a:cubicBezTo>
                  <a:cubicBezTo>
                    <a:pt x="134" y="4168"/>
                    <a:pt x="90" y="4183"/>
                    <a:pt x="60" y="4213"/>
                  </a:cubicBezTo>
                  <a:cubicBezTo>
                    <a:pt x="0" y="4272"/>
                    <a:pt x="0" y="4391"/>
                    <a:pt x="60" y="4451"/>
                  </a:cubicBezTo>
                  <a:lnTo>
                    <a:pt x="1251" y="5641"/>
                  </a:lnTo>
                  <a:cubicBezTo>
                    <a:pt x="1298" y="5689"/>
                    <a:pt x="1358" y="5701"/>
                    <a:pt x="1393" y="5701"/>
                  </a:cubicBezTo>
                  <a:cubicBezTo>
                    <a:pt x="1453" y="5701"/>
                    <a:pt x="1512" y="5689"/>
                    <a:pt x="1560" y="5641"/>
                  </a:cubicBezTo>
                  <a:lnTo>
                    <a:pt x="5656" y="1546"/>
                  </a:lnTo>
                  <a:cubicBezTo>
                    <a:pt x="5692" y="1498"/>
                    <a:pt x="5715" y="1438"/>
                    <a:pt x="5715" y="1379"/>
                  </a:cubicBezTo>
                  <a:cubicBezTo>
                    <a:pt x="5715" y="1343"/>
                    <a:pt x="5703" y="1272"/>
                    <a:pt x="5656" y="1236"/>
                  </a:cubicBezTo>
                  <a:lnTo>
                    <a:pt x="4465" y="45"/>
                  </a:lnTo>
                  <a:cubicBezTo>
                    <a:pt x="4435" y="16"/>
                    <a:pt x="4391" y="1"/>
                    <a:pt x="4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5" name="Google Shape;12545;p62"/>
            <p:cNvSpPr/>
            <p:nvPr/>
          </p:nvSpPr>
          <p:spPr>
            <a:xfrm>
              <a:off x="5964600" y="3015483"/>
              <a:ext cx="23122" cy="21882"/>
            </a:xfrm>
            <a:custGeom>
              <a:avLst/>
              <a:gdLst/>
              <a:ahLst/>
              <a:cxnLst/>
              <a:rect l="l" t="t" r="r" b="b"/>
              <a:pathLst>
                <a:path w="727" h="688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488" y="688"/>
                    <a:pt x="536" y="688"/>
                  </a:cubicBezTo>
                  <a:cubicBezTo>
                    <a:pt x="584" y="688"/>
                    <a:pt x="619" y="664"/>
                    <a:pt x="655" y="640"/>
                  </a:cubicBezTo>
                  <a:cubicBezTo>
                    <a:pt x="726" y="580"/>
                    <a:pt x="726" y="473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6" name="Google Shape;12546;p62"/>
            <p:cNvSpPr/>
            <p:nvPr/>
          </p:nvSpPr>
          <p:spPr>
            <a:xfrm>
              <a:off x="5935817" y="2986700"/>
              <a:ext cx="22741" cy="21119"/>
            </a:xfrm>
            <a:custGeom>
              <a:avLst/>
              <a:gdLst/>
              <a:ahLst/>
              <a:cxnLst/>
              <a:rect l="l" t="t" r="r" b="b"/>
              <a:pathLst>
                <a:path w="715" h="664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05" y="628"/>
                  </a:lnTo>
                  <a:cubicBezTo>
                    <a:pt x="429" y="652"/>
                    <a:pt x="476" y="664"/>
                    <a:pt x="524" y="664"/>
                  </a:cubicBezTo>
                  <a:cubicBezTo>
                    <a:pt x="560" y="664"/>
                    <a:pt x="607" y="652"/>
                    <a:pt x="643" y="628"/>
                  </a:cubicBezTo>
                  <a:cubicBezTo>
                    <a:pt x="715" y="569"/>
                    <a:pt x="715" y="462"/>
                    <a:pt x="643" y="378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7" name="Google Shape;12547;p62"/>
            <p:cNvSpPr/>
            <p:nvPr/>
          </p:nvSpPr>
          <p:spPr>
            <a:xfrm>
              <a:off x="5906270" y="2957153"/>
              <a:ext cx="23504" cy="21914"/>
            </a:xfrm>
            <a:custGeom>
              <a:avLst/>
              <a:gdLst/>
              <a:ahLst/>
              <a:cxnLst/>
              <a:rect l="l" t="t" r="r" b="b"/>
              <a:pathLst>
                <a:path w="739" h="689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1" y="105"/>
                    <a:pt x="1" y="224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501" y="688"/>
                    <a:pt x="536" y="688"/>
                  </a:cubicBezTo>
                  <a:cubicBezTo>
                    <a:pt x="584" y="688"/>
                    <a:pt x="632" y="676"/>
                    <a:pt x="655" y="640"/>
                  </a:cubicBezTo>
                  <a:cubicBezTo>
                    <a:pt x="739" y="581"/>
                    <a:pt x="739" y="486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48" name="Google Shape;12548;p62"/>
          <p:cNvGrpSpPr/>
          <p:nvPr/>
        </p:nvGrpSpPr>
        <p:grpSpPr>
          <a:xfrm>
            <a:off x="4881958" y="2904802"/>
            <a:ext cx="156417" cy="349537"/>
            <a:chOff x="4881958" y="2904802"/>
            <a:chExt cx="156417" cy="349537"/>
          </a:xfrm>
        </p:grpSpPr>
        <p:sp>
          <p:nvSpPr>
            <p:cNvPr id="12549" name="Google Shape;12549;p62"/>
            <p:cNvSpPr/>
            <p:nvPr/>
          </p:nvSpPr>
          <p:spPr>
            <a:xfrm>
              <a:off x="4994802" y="3168370"/>
              <a:ext cx="10241" cy="10623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cubicBezTo>
                    <a:pt x="250" y="334"/>
                    <a:pt x="322" y="250"/>
                    <a:pt x="322" y="167"/>
                  </a:cubicBez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0" name="Google Shape;12550;p62"/>
            <p:cNvSpPr/>
            <p:nvPr/>
          </p:nvSpPr>
          <p:spPr>
            <a:xfrm>
              <a:off x="4994802" y="3194864"/>
              <a:ext cx="10241" cy="10273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1" name="Google Shape;12551;p62"/>
            <p:cNvSpPr/>
            <p:nvPr/>
          </p:nvSpPr>
          <p:spPr>
            <a:xfrm>
              <a:off x="4937999" y="2904802"/>
              <a:ext cx="45831" cy="221935"/>
            </a:xfrm>
            <a:custGeom>
              <a:avLst/>
              <a:gdLst/>
              <a:ahLst/>
              <a:cxnLst/>
              <a:rect l="l" t="t" r="r" b="b"/>
              <a:pathLst>
                <a:path w="1441" h="6978" extrusionOk="0">
                  <a:moveTo>
                    <a:pt x="1060" y="310"/>
                  </a:moveTo>
                  <a:cubicBezTo>
                    <a:pt x="1072" y="310"/>
                    <a:pt x="1084" y="322"/>
                    <a:pt x="1084" y="322"/>
                  </a:cubicBezTo>
                  <a:cubicBezTo>
                    <a:pt x="1084" y="346"/>
                    <a:pt x="1096" y="346"/>
                    <a:pt x="1096" y="358"/>
                  </a:cubicBezTo>
                  <a:lnTo>
                    <a:pt x="1084" y="417"/>
                  </a:lnTo>
                  <a:cubicBezTo>
                    <a:pt x="1024" y="643"/>
                    <a:pt x="1024" y="881"/>
                    <a:pt x="1060" y="1096"/>
                  </a:cubicBezTo>
                  <a:lnTo>
                    <a:pt x="1143" y="1632"/>
                  </a:lnTo>
                  <a:cubicBezTo>
                    <a:pt x="1119" y="1691"/>
                    <a:pt x="1096" y="1727"/>
                    <a:pt x="1072" y="1751"/>
                  </a:cubicBezTo>
                  <a:cubicBezTo>
                    <a:pt x="1000" y="1834"/>
                    <a:pt x="881" y="1953"/>
                    <a:pt x="834" y="2096"/>
                  </a:cubicBezTo>
                  <a:lnTo>
                    <a:pt x="834" y="2108"/>
                  </a:lnTo>
                  <a:lnTo>
                    <a:pt x="488" y="2108"/>
                  </a:lnTo>
                  <a:lnTo>
                    <a:pt x="488" y="2096"/>
                  </a:lnTo>
                  <a:lnTo>
                    <a:pt x="1012" y="310"/>
                  </a:lnTo>
                  <a:close/>
                  <a:moveTo>
                    <a:pt x="774" y="2429"/>
                  </a:moveTo>
                  <a:lnTo>
                    <a:pt x="917" y="6668"/>
                  </a:lnTo>
                  <a:lnTo>
                    <a:pt x="465" y="6668"/>
                  </a:lnTo>
                  <a:lnTo>
                    <a:pt x="607" y="2429"/>
                  </a:lnTo>
                  <a:close/>
                  <a:moveTo>
                    <a:pt x="1000" y="0"/>
                  </a:moveTo>
                  <a:cubicBezTo>
                    <a:pt x="846" y="0"/>
                    <a:pt x="727" y="84"/>
                    <a:pt x="679" y="239"/>
                  </a:cubicBezTo>
                  <a:lnTo>
                    <a:pt x="655" y="310"/>
                  </a:lnTo>
                  <a:lnTo>
                    <a:pt x="548" y="286"/>
                  </a:lnTo>
                  <a:cubicBezTo>
                    <a:pt x="531" y="279"/>
                    <a:pt x="513" y="275"/>
                    <a:pt x="496" y="275"/>
                  </a:cubicBezTo>
                  <a:cubicBezTo>
                    <a:pt x="429" y="275"/>
                    <a:pt x="367" y="325"/>
                    <a:pt x="357" y="381"/>
                  </a:cubicBezTo>
                  <a:cubicBezTo>
                    <a:pt x="322" y="477"/>
                    <a:pt x="381" y="560"/>
                    <a:pt x="465" y="584"/>
                  </a:cubicBezTo>
                  <a:lnTo>
                    <a:pt x="560" y="608"/>
                  </a:lnTo>
                  <a:lnTo>
                    <a:pt x="488" y="846"/>
                  </a:lnTo>
                  <a:lnTo>
                    <a:pt x="381" y="822"/>
                  </a:lnTo>
                  <a:cubicBezTo>
                    <a:pt x="364" y="815"/>
                    <a:pt x="346" y="811"/>
                    <a:pt x="329" y="811"/>
                  </a:cubicBezTo>
                  <a:cubicBezTo>
                    <a:pt x="262" y="811"/>
                    <a:pt x="200" y="860"/>
                    <a:pt x="191" y="917"/>
                  </a:cubicBezTo>
                  <a:cubicBezTo>
                    <a:pt x="167" y="1012"/>
                    <a:pt x="226" y="1096"/>
                    <a:pt x="298" y="1120"/>
                  </a:cubicBezTo>
                  <a:lnTo>
                    <a:pt x="405" y="1143"/>
                  </a:lnTo>
                  <a:lnTo>
                    <a:pt x="322" y="1382"/>
                  </a:lnTo>
                  <a:lnTo>
                    <a:pt x="226" y="1358"/>
                  </a:lnTo>
                  <a:cubicBezTo>
                    <a:pt x="207" y="1350"/>
                    <a:pt x="188" y="1347"/>
                    <a:pt x="170" y="1347"/>
                  </a:cubicBezTo>
                  <a:cubicBezTo>
                    <a:pt x="99" y="1347"/>
                    <a:pt x="43" y="1396"/>
                    <a:pt x="24" y="1453"/>
                  </a:cubicBezTo>
                  <a:cubicBezTo>
                    <a:pt x="0" y="1548"/>
                    <a:pt x="60" y="1632"/>
                    <a:pt x="131" y="1655"/>
                  </a:cubicBezTo>
                  <a:lnTo>
                    <a:pt x="238" y="1679"/>
                  </a:lnTo>
                  <a:lnTo>
                    <a:pt x="143" y="1977"/>
                  </a:lnTo>
                  <a:cubicBezTo>
                    <a:pt x="119" y="2084"/>
                    <a:pt x="131" y="2191"/>
                    <a:pt x="203" y="2275"/>
                  </a:cubicBezTo>
                  <a:cubicBezTo>
                    <a:pt x="226" y="2310"/>
                    <a:pt x="250" y="2334"/>
                    <a:pt x="286" y="2346"/>
                  </a:cubicBezTo>
                  <a:lnTo>
                    <a:pt x="131" y="6668"/>
                  </a:lnTo>
                  <a:cubicBezTo>
                    <a:pt x="131" y="6751"/>
                    <a:pt x="167" y="6835"/>
                    <a:pt x="226" y="6894"/>
                  </a:cubicBezTo>
                  <a:cubicBezTo>
                    <a:pt x="286" y="6954"/>
                    <a:pt x="357" y="6977"/>
                    <a:pt x="429" y="6977"/>
                  </a:cubicBezTo>
                  <a:lnTo>
                    <a:pt x="905" y="6977"/>
                  </a:lnTo>
                  <a:cubicBezTo>
                    <a:pt x="1000" y="6977"/>
                    <a:pt x="1072" y="6954"/>
                    <a:pt x="1119" y="6894"/>
                  </a:cubicBezTo>
                  <a:cubicBezTo>
                    <a:pt x="1179" y="6835"/>
                    <a:pt x="1203" y="6751"/>
                    <a:pt x="1203" y="6668"/>
                  </a:cubicBezTo>
                  <a:lnTo>
                    <a:pt x="1060" y="2286"/>
                  </a:lnTo>
                  <a:cubicBezTo>
                    <a:pt x="1084" y="2263"/>
                    <a:pt x="1096" y="2215"/>
                    <a:pt x="1119" y="2167"/>
                  </a:cubicBezTo>
                  <a:cubicBezTo>
                    <a:pt x="1143" y="2084"/>
                    <a:pt x="1203" y="2013"/>
                    <a:pt x="1262" y="1965"/>
                  </a:cubicBezTo>
                  <a:cubicBezTo>
                    <a:pt x="1393" y="1894"/>
                    <a:pt x="1441" y="1751"/>
                    <a:pt x="1429" y="1608"/>
                  </a:cubicBezTo>
                  <a:lnTo>
                    <a:pt x="1334" y="1072"/>
                  </a:lnTo>
                  <a:cubicBezTo>
                    <a:pt x="1310" y="881"/>
                    <a:pt x="1310" y="703"/>
                    <a:pt x="1369" y="500"/>
                  </a:cubicBezTo>
                  <a:lnTo>
                    <a:pt x="1381" y="441"/>
                  </a:lnTo>
                  <a:cubicBezTo>
                    <a:pt x="1417" y="346"/>
                    <a:pt x="1381" y="227"/>
                    <a:pt x="1310" y="131"/>
                  </a:cubicBezTo>
                  <a:cubicBezTo>
                    <a:pt x="1239" y="48"/>
                    <a:pt x="1131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2" name="Google Shape;12552;p62"/>
            <p:cNvSpPr/>
            <p:nvPr/>
          </p:nvSpPr>
          <p:spPr>
            <a:xfrm>
              <a:off x="4937617" y="3141463"/>
              <a:ext cx="44718" cy="10273"/>
            </a:xfrm>
            <a:custGeom>
              <a:avLst/>
              <a:gdLst/>
              <a:ahLst/>
              <a:cxnLst/>
              <a:rect l="l" t="t" r="r" b="b"/>
              <a:pathLst>
                <a:path w="1406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1239" y="322"/>
                  </a:lnTo>
                  <a:cubicBezTo>
                    <a:pt x="1334" y="322"/>
                    <a:pt x="1405" y="251"/>
                    <a:pt x="1405" y="168"/>
                  </a:cubicBezTo>
                  <a:cubicBezTo>
                    <a:pt x="1405" y="72"/>
                    <a:pt x="1334" y="1"/>
                    <a:pt x="1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3" name="Google Shape;12553;p62"/>
            <p:cNvSpPr/>
            <p:nvPr/>
          </p:nvSpPr>
          <p:spPr>
            <a:xfrm>
              <a:off x="4937617" y="3168370"/>
              <a:ext cx="44718" cy="10623"/>
            </a:xfrm>
            <a:custGeom>
              <a:avLst/>
              <a:gdLst/>
              <a:ahLst/>
              <a:cxnLst/>
              <a:rect l="l" t="t" r="r" b="b"/>
              <a:pathLst>
                <a:path w="1406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1239" y="334"/>
                  </a:lnTo>
                  <a:cubicBezTo>
                    <a:pt x="1334" y="334"/>
                    <a:pt x="1405" y="250"/>
                    <a:pt x="1405" y="167"/>
                  </a:cubicBezTo>
                  <a:cubicBezTo>
                    <a:pt x="1405" y="72"/>
                    <a:pt x="1334" y="0"/>
                    <a:pt x="1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4" name="Google Shape;12554;p62"/>
            <p:cNvSpPr/>
            <p:nvPr/>
          </p:nvSpPr>
          <p:spPr>
            <a:xfrm>
              <a:off x="4937617" y="3195245"/>
              <a:ext cx="44718" cy="10623"/>
            </a:xfrm>
            <a:custGeom>
              <a:avLst/>
              <a:gdLst/>
              <a:ahLst/>
              <a:cxnLst/>
              <a:rect l="l" t="t" r="r" b="b"/>
              <a:pathLst>
                <a:path w="1406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1239" y="334"/>
                  </a:lnTo>
                  <a:cubicBezTo>
                    <a:pt x="1334" y="334"/>
                    <a:pt x="1405" y="262"/>
                    <a:pt x="1405" y="167"/>
                  </a:cubicBezTo>
                  <a:cubicBezTo>
                    <a:pt x="1405" y="72"/>
                    <a:pt x="1334" y="0"/>
                    <a:pt x="1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5" name="Google Shape;12555;p62"/>
            <p:cNvSpPr/>
            <p:nvPr/>
          </p:nvSpPr>
          <p:spPr>
            <a:xfrm>
              <a:off x="4881958" y="3054953"/>
              <a:ext cx="156417" cy="199386"/>
            </a:xfrm>
            <a:custGeom>
              <a:avLst/>
              <a:gdLst/>
              <a:ahLst/>
              <a:cxnLst/>
              <a:rect l="l" t="t" r="r" b="b"/>
              <a:pathLst>
                <a:path w="4918" h="6269" extrusionOk="0">
                  <a:moveTo>
                    <a:pt x="777" y="1"/>
                  </a:moveTo>
                  <a:cubicBezTo>
                    <a:pt x="669" y="1"/>
                    <a:pt x="573" y="58"/>
                    <a:pt x="512" y="149"/>
                  </a:cubicBezTo>
                  <a:cubicBezTo>
                    <a:pt x="262" y="471"/>
                    <a:pt x="393" y="1316"/>
                    <a:pt x="869" y="2268"/>
                  </a:cubicBezTo>
                  <a:cubicBezTo>
                    <a:pt x="1012" y="2566"/>
                    <a:pt x="988" y="2602"/>
                    <a:pt x="750" y="2888"/>
                  </a:cubicBezTo>
                  <a:cubicBezTo>
                    <a:pt x="643" y="2995"/>
                    <a:pt x="512" y="3149"/>
                    <a:pt x="357" y="3376"/>
                  </a:cubicBezTo>
                  <a:cubicBezTo>
                    <a:pt x="36" y="3840"/>
                    <a:pt x="0" y="4566"/>
                    <a:pt x="298" y="5138"/>
                  </a:cubicBezTo>
                  <a:cubicBezTo>
                    <a:pt x="500" y="5543"/>
                    <a:pt x="1000" y="6221"/>
                    <a:pt x="2227" y="6269"/>
                  </a:cubicBezTo>
                  <a:lnTo>
                    <a:pt x="2703" y="6269"/>
                  </a:lnTo>
                  <a:cubicBezTo>
                    <a:pt x="3632" y="6233"/>
                    <a:pt x="4346" y="5781"/>
                    <a:pt x="4679" y="5043"/>
                  </a:cubicBezTo>
                  <a:cubicBezTo>
                    <a:pt x="4917" y="4471"/>
                    <a:pt x="4870" y="3792"/>
                    <a:pt x="4525" y="3388"/>
                  </a:cubicBezTo>
                  <a:cubicBezTo>
                    <a:pt x="4405" y="3257"/>
                    <a:pt x="4310" y="3149"/>
                    <a:pt x="4227" y="3042"/>
                  </a:cubicBezTo>
                  <a:cubicBezTo>
                    <a:pt x="4013" y="2804"/>
                    <a:pt x="3929" y="2721"/>
                    <a:pt x="3917" y="2602"/>
                  </a:cubicBezTo>
                  <a:cubicBezTo>
                    <a:pt x="3929" y="2554"/>
                    <a:pt x="3989" y="2471"/>
                    <a:pt x="4036" y="2376"/>
                  </a:cubicBezTo>
                  <a:cubicBezTo>
                    <a:pt x="4263" y="1995"/>
                    <a:pt x="4644" y="1340"/>
                    <a:pt x="4394" y="875"/>
                  </a:cubicBezTo>
                  <a:cubicBezTo>
                    <a:pt x="4334" y="768"/>
                    <a:pt x="4251" y="744"/>
                    <a:pt x="4203" y="721"/>
                  </a:cubicBezTo>
                  <a:cubicBezTo>
                    <a:pt x="4192" y="719"/>
                    <a:pt x="4180" y="718"/>
                    <a:pt x="4169" y="718"/>
                  </a:cubicBezTo>
                  <a:cubicBezTo>
                    <a:pt x="4003" y="718"/>
                    <a:pt x="3845" y="876"/>
                    <a:pt x="3655" y="1066"/>
                  </a:cubicBezTo>
                  <a:cubicBezTo>
                    <a:pt x="3596" y="1125"/>
                    <a:pt x="3536" y="1185"/>
                    <a:pt x="3477" y="1233"/>
                  </a:cubicBezTo>
                  <a:cubicBezTo>
                    <a:pt x="3417" y="1292"/>
                    <a:pt x="3393" y="1399"/>
                    <a:pt x="3453" y="1459"/>
                  </a:cubicBezTo>
                  <a:cubicBezTo>
                    <a:pt x="3487" y="1486"/>
                    <a:pt x="3538" y="1506"/>
                    <a:pt x="3586" y="1506"/>
                  </a:cubicBezTo>
                  <a:cubicBezTo>
                    <a:pt x="3621" y="1506"/>
                    <a:pt x="3654" y="1496"/>
                    <a:pt x="3679" y="1471"/>
                  </a:cubicBezTo>
                  <a:lnTo>
                    <a:pt x="3858" y="1292"/>
                  </a:lnTo>
                  <a:cubicBezTo>
                    <a:pt x="3929" y="1209"/>
                    <a:pt x="4048" y="1102"/>
                    <a:pt x="4108" y="1054"/>
                  </a:cubicBezTo>
                  <a:lnTo>
                    <a:pt x="4108" y="1054"/>
                  </a:lnTo>
                  <a:cubicBezTo>
                    <a:pt x="4227" y="1352"/>
                    <a:pt x="3917" y="1899"/>
                    <a:pt x="3739" y="2197"/>
                  </a:cubicBezTo>
                  <a:cubicBezTo>
                    <a:pt x="3620" y="2399"/>
                    <a:pt x="3572" y="2495"/>
                    <a:pt x="3572" y="2566"/>
                  </a:cubicBezTo>
                  <a:cubicBezTo>
                    <a:pt x="3572" y="2804"/>
                    <a:pt x="3727" y="2971"/>
                    <a:pt x="3977" y="3245"/>
                  </a:cubicBezTo>
                  <a:cubicBezTo>
                    <a:pt x="4072" y="3328"/>
                    <a:pt x="4155" y="3435"/>
                    <a:pt x="4274" y="3566"/>
                  </a:cubicBezTo>
                  <a:cubicBezTo>
                    <a:pt x="4525" y="3876"/>
                    <a:pt x="4560" y="4435"/>
                    <a:pt x="4346" y="4912"/>
                  </a:cubicBezTo>
                  <a:cubicBezTo>
                    <a:pt x="4191" y="5269"/>
                    <a:pt x="3751" y="5888"/>
                    <a:pt x="2655" y="5947"/>
                  </a:cubicBezTo>
                  <a:lnTo>
                    <a:pt x="2203" y="5947"/>
                  </a:lnTo>
                  <a:cubicBezTo>
                    <a:pt x="1429" y="5900"/>
                    <a:pt x="834" y="5578"/>
                    <a:pt x="572" y="4995"/>
                  </a:cubicBezTo>
                  <a:cubicBezTo>
                    <a:pt x="334" y="4519"/>
                    <a:pt x="357" y="3911"/>
                    <a:pt x="619" y="3554"/>
                  </a:cubicBezTo>
                  <a:cubicBezTo>
                    <a:pt x="762" y="3340"/>
                    <a:pt x="881" y="3209"/>
                    <a:pt x="988" y="3090"/>
                  </a:cubicBezTo>
                  <a:cubicBezTo>
                    <a:pt x="1274" y="2757"/>
                    <a:pt x="1369" y="2602"/>
                    <a:pt x="1155" y="2126"/>
                  </a:cubicBezTo>
                  <a:cubicBezTo>
                    <a:pt x="584" y="947"/>
                    <a:pt x="691" y="351"/>
                    <a:pt x="774" y="316"/>
                  </a:cubicBezTo>
                  <a:lnTo>
                    <a:pt x="774" y="316"/>
                  </a:lnTo>
                  <a:cubicBezTo>
                    <a:pt x="881" y="340"/>
                    <a:pt x="941" y="435"/>
                    <a:pt x="1048" y="602"/>
                  </a:cubicBezTo>
                  <a:cubicBezTo>
                    <a:pt x="1107" y="709"/>
                    <a:pt x="1179" y="828"/>
                    <a:pt x="1286" y="935"/>
                  </a:cubicBezTo>
                  <a:cubicBezTo>
                    <a:pt x="1317" y="966"/>
                    <a:pt x="1361" y="984"/>
                    <a:pt x="1405" y="984"/>
                  </a:cubicBezTo>
                  <a:cubicBezTo>
                    <a:pt x="1445" y="984"/>
                    <a:pt x="1484" y="969"/>
                    <a:pt x="1512" y="935"/>
                  </a:cubicBezTo>
                  <a:cubicBezTo>
                    <a:pt x="1572" y="875"/>
                    <a:pt x="1584" y="768"/>
                    <a:pt x="1512" y="709"/>
                  </a:cubicBezTo>
                  <a:cubicBezTo>
                    <a:pt x="1429" y="613"/>
                    <a:pt x="1369" y="530"/>
                    <a:pt x="1310" y="447"/>
                  </a:cubicBezTo>
                  <a:cubicBezTo>
                    <a:pt x="1191" y="244"/>
                    <a:pt x="1072" y="54"/>
                    <a:pt x="834" y="6"/>
                  </a:cubicBezTo>
                  <a:cubicBezTo>
                    <a:pt x="814" y="3"/>
                    <a:pt x="795" y="1"/>
                    <a:pt x="7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56" name="Google Shape;12556;p62"/>
          <p:cNvGrpSpPr/>
          <p:nvPr/>
        </p:nvGrpSpPr>
        <p:grpSpPr>
          <a:xfrm>
            <a:off x="5230318" y="2886514"/>
            <a:ext cx="371133" cy="367443"/>
            <a:chOff x="5230318" y="2886514"/>
            <a:chExt cx="371133" cy="367443"/>
          </a:xfrm>
        </p:grpSpPr>
        <p:sp>
          <p:nvSpPr>
            <p:cNvPr id="12557" name="Google Shape;12557;p62"/>
            <p:cNvSpPr/>
            <p:nvPr/>
          </p:nvSpPr>
          <p:spPr>
            <a:xfrm>
              <a:off x="5328023" y="3080397"/>
              <a:ext cx="72356" cy="70257"/>
            </a:xfrm>
            <a:custGeom>
              <a:avLst/>
              <a:gdLst/>
              <a:ahLst/>
              <a:cxnLst/>
              <a:rect l="l" t="t" r="r" b="b"/>
              <a:pathLst>
                <a:path w="2275" h="2209" extrusionOk="0">
                  <a:moveTo>
                    <a:pt x="1161" y="0"/>
                  </a:moveTo>
                  <a:cubicBezTo>
                    <a:pt x="1103" y="0"/>
                    <a:pt x="1041" y="35"/>
                    <a:pt x="1001" y="75"/>
                  </a:cubicBezTo>
                  <a:cubicBezTo>
                    <a:pt x="953" y="111"/>
                    <a:pt x="941" y="147"/>
                    <a:pt x="965" y="206"/>
                  </a:cubicBezTo>
                  <a:lnTo>
                    <a:pt x="1858" y="1826"/>
                  </a:lnTo>
                  <a:lnTo>
                    <a:pt x="239" y="933"/>
                  </a:lnTo>
                  <a:cubicBezTo>
                    <a:pt x="226" y="926"/>
                    <a:pt x="212" y="923"/>
                    <a:pt x="199" y="923"/>
                  </a:cubicBezTo>
                  <a:cubicBezTo>
                    <a:pt x="165" y="923"/>
                    <a:pt x="130" y="943"/>
                    <a:pt x="96" y="968"/>
                  </a:cubicBezTo>
                  <a:cubicBezTo>
                    <a:pt x="36" y="1028"/>
                    <a:pt x="1" y="1147"/>
                    <a:pt x="60" y="1206"/>
                  </a:cubicBezTo>
                  <a:lnTo>
                    <a:pt x="72" y="1218"/>
                  </a:lnTo>
                  <a:lnTo>
                    <a:pt x="1941" y="2195"/>
                  </a:lnTo>
                  <a:cubicBezTo>
                    <a:pt x="1964" y="2204"/>
                    <a:pt x="1986" y="2209"/>
                    <a:pt x="2008" y="2209"/>
                  </a:cubicBezTo>
                  <a:cubicBezTo>
                    <a:pt x="2068" y="2209"/>
                    <a:pt x="2124" y="2176"/>
                    <a:pt x="2168" y="2123"/>
                  </a:cubicBezTo>
                  <a:cubicBezTo>
                    <a:pt x="2251" y="2088"/>
                    <a:pt x="2275" y="1992"/>
                    <a:pt x="2251" y="1921"/>
                  </a:cubicBezTo>
                  <a:lnTo>
                    <a:pt x="1251" y="63"/>
                  </a:lnTo>
                  <a:cubicBezTo>
                    <a:pt x="1251" y="40"/>
                    <a:pt x="1239" y="40"/>
                    <a:pt x="1239" y="28"/>
                  </a:cubicBezTo>
                  <a:cubicBezTo>
                    <a:pt x="1216" y="8"/>
                    <a:pt x="1189" y="0"/>
                    <a:pt x="11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8" name="Google Shape;12558;p62"/>
            <p:cNvSpPr/>
            <p:nvPr/>
          </p:nvSpPr>
          <p:spPr>
            <a:xfrm>
              <a:off x="5372328" y="3064877"/>
              <a:ext cx="56836" cy="55468"/>
            </a:xfrm>
            <a:custGeom>
              <a:avLst/>
              <a:gdLst/>
              <a:ahLst/>
              <a:cxnLst/>
              <a:rect l="l" t="t" r="r" b="b"/>
              <a:pathLst>
                <a:path w="1787" h="1744" extrusionOk="0">
                  <a:moveTo>
                    <a:pt x="226" y="0"/>
                  </a:moveTo>
                  <a:cubicBezTo>
                    <a:pt x="182" y="0"/>
                    <a:pt x="136" y="35"/>
                    <a:pt x="96" y="75"/>
                  </a:cubicBezTo>
                  <a:cubicBezTo>
                    <a:pt x="36" y="135"/>
                    <a:pt x="1" y="206"/>
                    <a:pt x="48" y="266"/>
                  </a:cubicBezTo>
                  <a:lnTo>
                    <a:pt x="1513" y="1718"/>
                  </a:lnTo>
                  <a:cubicBezTo>
                    <a:pt x="1526" y="1736"/>
                    <a:pt x="1547" y="1744"/>
                    <a:pt x="1571" y="1744"/>
                  </a:cubicBezTo>
                  <a:cubicBezTo>
                    <a:pt x="1614" y="1744"/>
                    <a:pt x="1666" y="1720"/>
                    <a:pt x="1703" y="1683"/>
                  </a:cubicBezTo>
                  <a:cubicBezTo>
                    <a:pt x="1763" y="1623"/>
                    <a:pt x="1787" y="1540"/>
                    <a:pt x="1751" y="1480"/>
                  </a:cubicBezTo>
                  <a:lnTo>
                    <a:pt x="286" y="28"/>
                  </a:lnTo>
                  <a:cubicBezTo>
                    <a:pt x="267" y="8"/>
                    <a:pt x="247" y="0"/>
                    <a:pt x="2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9" name="Google Shape;12559;p62"/>
            <p:cNvSpPr/>
            <p:nvPr/>
          </p:nvSpPr>
          <p:spPr>
            <a:xfrm>
              <a:off x="5390902" y="3028269"/>
              <a:ext cx="57949" cy="73533"/>
            </a:xfrm>
            <a:custGeom>
              <a:avLst/>
              <a:gdLst/>
              <a:ahLst/>
              <a:cxnLst/>
              <a:rect l="l" t="t" r="r" b="b"/>
              <a:pathLst>
                <a:path w="1822" h="2312" extrusionOk="0">
                  <a:moveTo>
                    <a:pt x="933" y="336"/>
                  </a:moveTo>
                  <a:cubicBezTo>
                    <a:pt x="1027" y="336"/>
                    <a:pt x="1125" y="381"/>
                    <a:pt x="1226" y="476"/>
                  </a:cubicBezTo>
                  <a:lnTo>
                    <a:pt x="1250" y="512"/>
                  </a:lnTo>
                  <a:cubicBezTo>
                    <a:pt x="1441" y="702"/>
                    <a:pt x="1441" y="893"/>
                    <a:pt x="1286" y="1060"/>
                  </a:cubicBezTo>
                  <a:lnTo>
                    <a:pt x="1012" y="1321"/>
                  </a:lnTo>
                  <a:lnTo>
                    <a:pt x="405" y="726"/>
                  </a:lnTo>
                  <a:lnTo>
                    <a:pt x="667" y="464"/>
                  </a:lnTo>
                  <a:cubicBezTo>
                    <a:pt x="750" y="381"/>
                    <a:pt x="840" y="336"/>
                    <a:pt x="933" y="336"/>
                  </a:cubicBezTo>
                  <a:close/>
                  <a:moveTo>
                    <a:pt x="973" y="0"/>
                  </a:moveTo>
                  <a:cubicBezTo>
                    <a:pt x="797" y="0"/>
                    <a:pt x="634" y="92"/>
                    <a:pt x="488" y="238"/>
                  </a:cubicBezTo>
                  <a:lnTo>
                    <a:pt x="60" y="667"/>
                  </a:lnTo>
                  <a:cubicBezTo>
                    <a:pt x="0" y="726"/>
                    <a:pt x="0" y="786"/>
                    <a:pt x="48" y="833"/>
                  </a:cubicBezTo>
                  <a:lnTo>
                    <a:pt x="1500" y="2286"/>
                  </a:lnTo>
                  <a:cubicBezTo>
                    <a:pt x="1518" y="2303"/>
                    <a:pt x="1542" y="2311"/>
                    <a:pt x="1567" y="2311"/>
                  </a:cubicBezTo>
                  <a:cubicBezTo>
                    <a:pt x="1611" y="2311"/>
                    <a:pt x="1661" y="2288"/>
                    <a:pt x="1691" y="2250"/>
                  </a:cubicBezTo>
                  <a:cubicBezTo>
                    <a:pt x="1762" y="2191"/>
                    <a:pt x="1786" y="2119"/>
                    <a:pt x="1738" y="2048"/>
                  </a:cubicBezTo>
                  <a:lnTo>
                    <a:pt x="1191" y="1500"/>
                  </a:lnTo>
                  <a:lnTo>
                    <a:pt x="1465" y="1238"/>
                  </a:lnTo>
                  <a:cubicBezTo>
                    <a:pt x="1738" y="952"/>
                    <a:pt x="1822" y="607"/>
                    <a:pt x="1477" y="250"/>
                  </a:cubicBezTo>
                  <a:lnTo>
                    <a:pt x="1465" y="238"/>
                  </a:lnTo>
                  <a:cubicBezTo>
                    <a:pt x="1292" y="71"/>
                    <a:pt x="1127" y="0"/>
                    <a:pt x="9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0" name="Google Shape;12560;p62"/>
            <p:cNvSpPr/>
            <p:nvPr/>
          </p:nvSpPr>
          <p:spPr>
            <a:xfrm>
              <a:off x="5230318" y="2886514"/>
              <a:ext cx="371133" cy="367443"/>
            </a:xfrm>
            <a:custGeom>
              <a:avLst/>
              <a:gdLst/>
              <a:ahLst/>
              <a:cxnLst/>
              <a:rect l="l" t="t" r="r" b="b"/>
              <a:pathLst>
                <a:path w="11669" h="11553" extrusionOk="0">
                  <a:moveTo>
                    <a:pt x="7323" y="385"/>
                  </a:moveTo>
                  <a:lnTo>
                    <a:pt x="7526" y="575"/>
                  </a:lnTo>
                  <a:lnTo>
                    <a:pt x="7526" y="587"/>
                  </a:lnTo>
                  <a:cubicBezTo>
                    <a:pt x="7383" y="837"/>
                    <a:pt x="7430" y="1147"/>
                    <a:pt x="7621" y="1349"/>
                  </a:cubicBezTo>
                  <a:cubicBezTo>
                    <a:pt x="7752" y="1473"/>
                    <a:pt x="7918" y="1539"/>
                    <a:pt x="8082" y="1539"/>
                  </a:cubicBezTo>
                  <a:cubicBezTo>
                    <a:pt x="8187" y="1539"/>
                    <a:pt x="8290" y="1512"/>
                    <a:pt x="8383" y="1456"/>
                  </a:cubicBezTo>
                  <a:lnTo>
                    <a:pt x="8395" y="1456"/>
                  </a:lnTo>
                  <a:lnTo>
                    <a:pt x="8847" y="1897"/>
                  </a:lnTo>
                  <a:lnTo>
                    <a:pt x="8847" y="1909"/>
                  </a:lnTo>
                  <a:cubicBezTo>
                    <a:pt x="8716" y="2171"/>
                    <a:pt x="8752" y="2480"/>
                    <a:pt x="8954" y="2671"/>
                  </a:cubicBezTo>
                  <a:cubicBezTo>
                    <a:pt x="9076" y="2800"/>
                    <a:pt x="9236" y="2864"/>
                    <a:pt x="9396" y="2864"/>
                  </a:cubicBezTo>
                  <a:cubicBezTo>
                    <a:pt x="9503" y="2864"/>
                    <a:pt x="9609" y="2835"/>
                    <a:pt x="9704" y="2778"/>
                  </a:cubicBezTo>
                  <a:lnTo>
                    <a:pt x="9728" y="2778"/>
                  </a:lnTo>
                  <a:lnTo>
                    <a:pt x="10169" y="3219"/>
                  </a:lnTo>
                  <a:lnTo>
                    <a:pt x="10169" y="3242"/>
                  </a:lnTo>
                  <a:cubicBezTo>
                    <a:pt x="10038" y="3492"/>
                    <a:pt x="10085" y="3802"/>
                    <a:pt x="10276" y="3993"/>
                  </a:cubicBezTo>
                  <a:cubicBezTo>
                    <a:pt x="10398" y="4122"/>
                    <a:pt x="10564" y="4191"/>
                    <a:pt x="10728" y="4191"/>
                  </a:cubicBezTo>
                  <a:cubicBezTo>
                    <a:pt x="10836" y="4191"/>
                    <a:pt x="10944" y="4161"/>
                    <a:pt x="11038" y="4100"/>
                  </a:cubicBezTo>
                  <a:lnTo>
                    <a:pt x="11050" y="4100"/>
                  </a:lnTo>
                  <a:lnTo>
                    <a:pt x="11240" y="4290"/>
                  </a:lnTo>
                  <a:cubicBezTo>
                    <a:pt x="11300" y="4350"/>
                    <a:pt x="11300" y="4350"/>
                    <a:pt x="11288" y="4350"/>
                  </a:cubicBezTo>
                  <a:lnTo>
                    <a:pt x="10276" y="5362"/>
                  </a:lnTo>
                  <a:lnTo>
                    <a:pt x="9966" y="5052"/>
                  </a:lnTo>
                  <a:cubicBezTo>
                    <a:pt x="9937" y="5022"/>
                    <a:pt x="9892" y="5008"/>
                    <a:pt x="9847" y="5008"/>
                  </a:cubicBezTo>
                  <a:cubicBezTo>
                    <a:pt x="9803" y="5008"/>
                    <a:pt x="9758" y="5022"/>
                    <a:pt x="9728" y="5052"/>
                  </a:cubicBezTo>
                  <a:cubicBezTo>
                    <a:pt x="9669" y="5112"/>
                    <a:pt x="9669" y="5231"/>
                    <a:pt x="9728" y="5290"/>
                  </a:cubicBezTo>
                  <a:lnTo>
                    <a:pt x="10038" y="5600"/>
                  </a:lnTo>
                  <a:lnTo>
                    <a:pt x="4394" y="11243"/>
                  </a:lnTo>
                  <a:lnTo>
                    <a:pt x="4382" y="11243"/>
                  </a:lnTo>
                  <a:lnTo>
                    <a:pt x="4192" y="11053"/>
                  </a:lnTo>
                  <a:lnTo>
                    <a:pt x="4192" y="11029"/>
                  </a:lnTo>
                  <a:cubicBezTo>
                    <a:pt x="4323" y="10779"/>
                    <a:pt x="4275" y="10469"/>
                    <a:pt x="4073" y="10279"/>
                  </a:cubicBezTo>
                  <a:cubicBezTo>
                    <a:pt x="3954" y="10160"/>
                    <a:pt x="3775" y="10077"/>
                    <a:pt x="3608" y="10077"/>
                  </a:cubicBezTo>
                  <a:cubicBezTo>
                    <a:pt x="3501" y="10077"/>
                    <a:pt x="3394" y="10112"/>
                    <a:pt x="3311" y="10160"/>
                  </a:cubicBezTo>
                  <a:lnTo>
                    <a:pt x="3299" y="10160"/>
                  </a:lnTo>
                  <a:lnTo>
                    <a:pt x="2846" y="9707"/>
                  </a:lnTo>
                  <a:lnTo>
                    <a:pt x="2846" y="9696"/>
                  </a:lnTo>
                  <a:cubicBezTo>
                    <a:pt x="2977" y="9446"/>
                    <a:pt x="2942" y="9136"/>
                    <a:pt x="2727" y="8934"/>
                  </a:cubicBezTo>
                  <a:cubicBezTo>
                    <a:pt x="2601" y="8807"/>
                    <a:pt x="2438" y="8741"/>
                    <a:pt x="2269" y="8741"/>
                  </a:cubicBezTo>
                  <a:cubicBezTo>
                    <a:pt x="2167" y="8741"/>
                    <a:pt x="2064" y="8765"/>
                    <a:pt x="1965" y="8815"/>
                  </a:cubicBezTo>
                  <a:lnTo>
                    <a:pt x="1954" y="8815"/>
                  </a:lnTo>
                  <a:lnTo>
                    <a:pt x="1513" y="8374"/>
                  </a:lnTo>
                  <a:lnTo>
                    <a:pt x="1513" y="8350"/>
                  </a:lnTo>
                  <a:cubicBezTo>
                    <a:pt x="1644" y="8100"/>
                    <a:pt x="1596" y="7791"/>
                    <a:pt x="1394" y="7600"/>
                  </a:cubicBezTo>
                  <a:cubicBezTo>
                    <a:pt x="1260" y="7473"/>
                    <a:pt x="1093" y="7403"/>
                    <a:pt x="925" y="7403"/>
                  </a:cubicBezTo>
                  <a:cubicBezTo>
                    <a:pt x="825" y="7403"/>
                    <a:pt x="725" y="7428"/>
                    <a:pt x="632" y="7481"/>
                  </a:cubicBezTo>
                  <a:lnTo>
                    <a:pt x="620" y="7481"/>
                  </a:lnTo>
                  <a:lnTo>
                    <a:pt x="418" y="7291"/>
                  </a:lnTo>
                  <a:lnTo>
                    <a:pt x="418" y="7267"/>
                  </a:lnTo>
                  <a:lnTo>
                    <a:pt x="6061" y="1635"/>
                  </a:lnTo>
                  <a:lnTo>
                    <a:pt x="6395" y="1957"/>
                  </a:lnTo>
                  <a:cubicBezTo>
                    <a:pt x="6418" y="1992"/>
                    <a:pt x="6466" y="2004"/>
                    <a:pt x="6514" y="2004"/>
                  </a:cubicBezTo>
                  <a:cubicBezTo>
                    <a:pt x="6549" y="2004"/>
                    <a:pt x="6597" y="1992"/>
                    <a:pt x="6633" y="1957"/>
                  </a:cubicBezTo>
                  <a:cubicBezTo>
                    <a:pt x="6692" y="1897"/>
                    <a:pt x="6692" y="1778"/>
                    <a:pt x="6633" y="1718"/>
                  </a:cubicBezTo>
                  <a:lnTo>
                    <a:pt x="6299" y="1397"/>
                  </a:lnTo>
                  <a:lnTo>
                    <a:pt x="7311" y="385"/>
                  </a:lnTo>
                  <a:close/>
                  <a:moveTo>
                    <a:pt x="7288" y="1"/>
                  </a:moveTo>
                  <a:cubicBezTo>
                    <a:pt x="7198" y="1"/>
                    <a:pt x="7109" y="34"/>
                    <a:pt x="7037" y="99"/>
                  </a:cubicBezTo>
                  <a:lnTo>
                    <a:pt x="132" y="7005"/>
                  </a:lnTo>
                  <a:cubicBezTo>
                    <a:pt x="1" y="7136"/>
                    <a:pt x="1" y="7362"/>
                    <a:pt x="132" y="7493"/>
                  </a:cubicBezTo>
                  <a:lnTo>
                    <a:pt x="334" y="7683"/>
                  </a:lnTo>
                  <a:cubicBezTo>
                    <a:pt x="393" y="7750"/>
                    <a:pt x="485" y="7789"/>
                    <a:pt x="580" y="7789"/>
                  </a:cubicBezTo>
                  <a:cubicBezTo>
                    <a:pt x="638" y="7789"/>
                    <a:pt x="697" y="7775"/>
                    <a:pt x="751" y="7743"/>
                  </a:cubicBezTo>
                  <a:cubicBezTo>
                    <a:pt x="795" y="7721"/>
                    <a:pt x="842" y="7711"/>
                    <a:pt x="888" y="7711"/>
                  </a:cubicBezTo>
                  <a:cubicBezTo>
                    <a:pt x="968" y="7711"/>
                    <a:pt x="1048" y="7742"/>
                    <a:pt x="1108" y="7803"/>
                  </a:cubicBezTo>
                  <a:cubicBezTo>
                    <a:pt x="1192" y="7898"/>
                    <a:pt x="1227" y="8041"/>
                    <a:pt x="1168" y="8160"/>
                  </a:cubicBezTo>
                  <a:cubicBezTo>
                    <a:pt x="1084" y="8303"/>
                    <a:pt x="1120" y="8481"/>
                    <a:pt x="1227" y="8576"/>
                  </a:cubicBezTo>
                  <a:lnTo>
                    <a:pt x="1668" y="9029"/>
                  </a:lnTo>
                  <a:cubicBezTo>
                    <a:pt x="1734" y="9095"/>
                    <a:pt x="1827" y="9129"/>
                    <a:pt x="1919" y="9129"/>
                  </a:cubicBezTo>
                  <a:cubicBezTo>
                    <a:pt x="1977" y="9129"/>
                    <a:pt x="2034" y="9116"/>
                    <a:pt x="2084" y="9088"/>
                  </a:cubicBezTo>
                  <a:cubicBezTo>
                    <a:pt x="2131" y="9065"/>
                    <a:pt x="2183" y="9053"/>
                    <a:pt x="2234" y="9053"/>
                  </a:cubicBezTo>
                  <a:cubicBezTo>
                    <a:pt x="2314" y="9053"/>
                    <a:pt x="2391" y="9083"/>
                    <a:pt x="2442" y="9148"/>
                  </a:cubicBezTo>
                  <a:cubicBezTo>
                    <a:pt x="2537" y="9231"/>
                    <a:pt x="2561" y="9386"/>
                    <a:pt x="2501" y="9505"/>
                  </a:cubicBezTo>
                  <a:cubicBezTo>
                    <a:pt x="2430" y="9636"/>
                    <a:pt x="2454" y="9815"/>
                    <a:pt x="2561" y="9922"/>
                  </a:cubicBezTo>
                  <a:lnTo>
                    <a:pt x="3013" y="10362"/>
                  </a:lnTo>
                  <a:cubicBezTo>
                    <a:pt x="3080" y="10429"/>
                    <a:pt x="3174" y="10468"/>
                    <a:pt x="3267" y="10468"/>
                  </a:cubicBezTo>
                  <a:cubicBezTo>
                    <a:pt x="3324" y="10468"/>
                    <a:pt x="3380" y="10453"/>
                    <a:pt x="3430" y="10422"/>
                  </a:cubicBezTo>
                  <a:cubicBezTo>
                    <a:pt x="3474" y="10400"/>
                    <a:pt x="3520" y="10389"/>
                    <a:pt x="3567" y="10389"/>
                  </a:cubicBezTo>
                  <a:cubicBezTo>
                    <a:pt x="3647" y="10389"/>
                    <a:pt x="3727" y="10421"/>
                    <a:pt x="3787" y="10481"/>
                  </a:cubicBezTo>
                  <a:cubicBezTo>
                    <a:pt x="3870" y="10577"/>
                    <a:pt x="3906" y="10720"/>
                    <a:pt x="3847" y="10839"/>
                  </a:cubicBezTo>
                  <a:cubicBezTo>
                    <a:pt x="3775" y="10970"/>
                    <a:pt x="3799" y="11160"/>
                    <a:pt x="3906" y="11255"/>
                  </a:cubicBezTo>
                  <a:lnTo>
                    <a:pt x="4097" y="11446"/>
                  </a:lnTo>
                  <a:cubicBezTo>
                    <a:pt x="4168" y="11529"/>
                    <a:pt x="4263" y="11553"/>
                    <a:pt x="4347" y="11553"/>
                  </a:cubicBezTo>
                  <a:cubicBezTo>
                    <a:pt x="4442" y="11553"/>
                    <a:pt x="4525" y="11529"/>
                    <a:pt x="4609" y="11446"/>
                  </a:cubicBezTo>
                  <a:lnTo>
                    <a:pt x="11514" y="4540"/>
                  </a:lnTo>
                  <a:cubicBezTo>
                    <a:pt x="11669" y="4457"/>
                    <a:pt x="11669" y="4231"/>
                    <a:pt x="11538" y="4100"/>
                  </a:cubicBezTo>
                  <a:lnTo>
                    <a:pt x="11348" y="3909"/>
                  </a:lnTo>
                  <a:cubicBezTo>
                    <a:pt x="11282" y="3843"/>
                    <a:pt x="11188" y="3809"/>
                    <a:pt x="11096" y="3809"/>
                  </a:cubicBezTo>
                  <a:cubicBezTo>
                    <a:pt x="11038" y="3809"/>
                    <a:pt x="10981" y="3822"/>
                    <a:pt x="10931" y="3850"/>
                  </a:cubicBezTo>
                  <a:cubicBezTo>
                    <a:pt x="10884" y="3873"/>
                    <a:pt x="10832" y="3885"/>
                    <a:pt x="10780" y="3885"/>
                  </a:cubicBezTo>
                  <a:cubicBezTo>
                    <a:pt x="10700" y="3885"/>
                    <a:pt x="10620" y="3855"/>
                    <a:pt x="10562" y="3790"/>
                  </a:cubicBezTo>
                  <a:cubicBezTo>
                    <a:pt x="10466" y="3695"/>
                    <a:pt x="10443" y="3540"/>
                    <a:pt x="10490" y="3421"/>
                  </a:cubicBezTo>
                  <a:cubicBezTo>
                    <a:pt x="10574" y="3278"/>
                    <a:pt x="10562" y="3100"/>
                    <a:pt x="10431" y="3004"/>
                  </a:cubicBezTo>
                  <a:lnTo>
                    <a:pt x="9990" y="2552"/>
                  </a:lnTo>
                  <a:cubicBezTo>
                    <a:pt x="9924" y="2486"/>
                    <a:pt x="9831" y="2451"/>
                    <a:pt x="9739" y="2451"/>
                  </a:cubicBezTo>
                  <a:cubicBezTo>
                    <a:pt x="9681" y="2451"/>
                    <a:pt x="9624" y="2465"/>
                    <a:pt x="9574" y="2492"/>
                  </a:cubicBezTo>
                  <a:cubicBezTo>
                    <a:pt x="9527" y="2516"/>
                    <a:pt x="9475" y="2528"/>
                    <a:pt x="9423" y="2528"/>
                  </a:cubicBezTo>
                  <a:cubicBezTo>
                    <a:pt x="9342" y="2528"/>
                    <a:pt x="9262" y="2498"/>
                    <a:pt x="9204" y="2433"/>
                  </a:cubicBezTo>
                  <a:cubicBezTo>
                    <a:pt x="9109" y="2349"/>
                    <a:pt x="9085" y="2183"/>
                    <a:pt x="9145" y="2064"/>
                  </a:cubicBezTo>
                  <a:cubicBezTo>
                    <a:pt x="9216" y="1933"/>
                    <a:pt x="9204" y="1754"/>
                    <a:pt x="9085" y="1647"/>
                  </a:cubicBezTo>
                  <a:lnTo>
                    <a:pt x="8633" y="1195"/>
                  </a:lnTo>
                  <a:cubicBezTo>
                    <a:pt x="8565" y="1134"/>
                    <a:pt x="8467" y="1097"/>
                    <a:pt x="8372" y="1097"/>
                  </a:cubicBezTo>
                  <a:cubicBezTo>
                    <a:pt x="8317" y="1097"/>
                    <a:pt x="8264" y="1109"/>
                    <a:pt x="8216" y="1135"/>
                  </a:cubicBezTo>
                  <a:cubicBezTo>
                    <a:pt x="8170" y="1158"/>
                    <a:pt x="8119" y="1171"/>
                    <a:pt x="8069" y="1171"/>
                  </a:cubicBezTo>
                  <a:cubicBezTo>
                    <a:pt x="7991" y="1171"/>
                    <a:pt x="7912" y="1141"/>
                    <a:pt x="7847" y="1075"/>
                  </a:cubicBezTo>
                  <a:cubicBezTo>
                    <a:pt x="7740" y="980"/>
                    <a:pt x="7728" y="825"/>
                    <a:pt x="7788" y="706"/>
                  </a:cubicBezTo>
                  <a:cubicBezTo>
                    <a:pt x="7859" y="575"/>
                    <a:pt x="7847" y="397"/>
                    <a:pt x="7728" y="290"/>
                  </a:cubicBezTo>
                  <a:lnTo>
                    <a:pt x="7538" y="99"/>
                  </a:lnTo>
                  <a:cubicBezTo>
                    <a:pt x="7466" y="34"/>
                    <a:pt x="7377" y="1"/>
                    <a:pt x="72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1" name="Google Shape;12561;p62"/>
            <p:cNvSpPr/>
            <p:nvPr/>
          </p:nvSpPr>
          <p:spPr>
            <a:xfrm>
              <a:off x="5337501" y="3026074"/>
              <a:ext cx="181797" cy="180175"/>
            </a:xfrm>
            <a:custGeom>
              <a:avLst/>
              <a:gdLst/>
              <a:ahLst/>
              <a:cxnLst/>
              <a:rect l="l" t="t" r="r" b="b"/>
              <a:pathLst>
                <a:path w="5716" h="5665" extrusionOk="0">
                  <a:moveTo>
                    <a:pt x="4324" y="0"/>
                  </a:moveTo>
                  <a:cubicBezTo>
                    <a:pt x="4281" y="0"/>
                    <a:pt x="4239" y="15"/>
                    <a:pt x="4215" y="45"/>
                  </a:cubicBezTo>
                  <a:cubicBezTo>
                    <a:pt x="4144" y="105"/>
                    <a:pt x="4144" y="224"/>
                    <a:pt x="4215" y="283"/>
                  </a:cubicBezTo>
                  <a:lnTo>
                    <a:pt x="5311" y="1379"/>
                  </a:lnTo>
                  <a:lnTo>
                    <a:pt x="1393" y="5296"/>
                  </a:lnTo>
                  <a:lnTo>
                    <a:pt x="298" y="4188"/>
                  </a:lnTo>
                  <a:cubicBezTo>
                    <a:pt x="268" y="4159"/>
                    <a:pt x="224" y="4144"/>
                    <a:pt x="179" y="4144"/>
                  </a:cubicBezTo>
                  <a:cubicBezTo>
                    <a:pt x="134" y="4144"/>
                    <a:pt x="90" y="4159"/>
                    <a:pt x="60" y="4188"/>
                  </a:cubicBezTo>
                  <a:cubicBezTo>
                    <a:pt x="0" y="4248"/>
                    <a:pt x="0" y="4367"/>
                    <a:pt x="60" y="4427"/>
                  </a:cubicBezTo>
                  <a:lnTo>
                    <a:pt x="1239" y="5605"/>
                  </a:lnTo>
                  <a:cubicBezTo>
                    <a:pt x="1274" y="5653"/>
                    <a:pt x="1322" y="5665"/>
                    <a:pt x="1381" y="5665"/>
                  </a:cubicBezTo>
                  <a:cubicBezTo>
                    <a:pt x="1441" y="5665"/>
                    <a:pt x="1501" y="5641"/>
                    <a:pt x="1536" y="5605"/>
                  </a:cubicBezTo>
                  <a:lnTo>
                    <a:pt x="5608" y="1533"/>
                  </a:lnTo>
                  <a:cubicBezTo>
                    <a:pt x="5715" y="1438"/>
                    <a:pt x="5715" y="1307"/>
                    <a:pt x="5620" y="1212"/>
                  </a:cubicBezTo>
                  <a:lnTo>
                    <a:pt x="4441" y="45"/>
                  </a:lnTo>
                  <a:cubicBezTo>
                    <a:pt x="4412" y="15"/>
                    <a:pt x="4367" y="0"/>
                    <a:pt x="43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2" name="Google Shape;12562;p62"/>
            <p:cNvSpPr/>
            <p:nvPr/>
          </p:nvSpPr>
          <p:spPr>
            <a:xfrm>
              <a:off x="5281461" y="2969462"/>
              <a:ext cx="181416" cy="180366"/>
            </a:xfrm>
            <a:custGeom>
              <a:avLst/>
              <a:gdLst/>
              <a:ahLst/>
              <a:cxnLst/>
              <a:rect l="l" t="t" r="r" b="b"/>
              <a:pathLst>
                <a:path w="5704" h="5671" extrusionOk="0">
                  <a:moveTo>
                    <a:pt x="4298" y="0"/>
                  </a:moveTo>
                  <a:cubicBezTo>
                    <a:pt x="4242" y="0"/>
                    <a:pt x="4185" y="21"/>
                    <a:pt x="4144" y="63"/>
                  </a:cubicBezTo>
                  <a:lnTo>
                    <a:pt x="60" y="4147"/>
                  </a:lnTo>
                  <a:cubicBezTo>
                    <a:pt x="24" y="4182"/>
                    <a:pt x="0" y="4230"/>
                    <a:pt x="0" y="4290"/>
                  </a:cubicBezTo>
                  <a:cubicBezTo>
                    <a:pt x="0" y="4349"/>
                    <a:pt x="36" y="4409"/>
                    <a:pt x="60" y="4444"/>
                  </a:cubicBezTo>
                  <a:lnTo>
                    <a:pt x="1250" y="5635"/>
                  </a:lnTo>
                  <a:cubicBezTo>
                    <a:pt x="1286" y="5659"/>
                    <a:pt x="1334" y="5671"/>
                    <a:pt x="1369" y="5671"/>
                  </a:cubicBezTo>
                  <a:cubicBezTo>
                    <a:pt x="1417" y="5671"/>
                    <a:pt x="1465" y="5659"/>
                    <a:pt x="1489" y="5635"/>
                  </a:cubicBezTo>
                  <a:cubicBezTo>
                    <a:pt x="1548" y="5576"/>
                    <a:pt x="1548" y="5445"/>
                    <a:pt x="1489" y="5385"/>
                  </a:cubicBezTo>
                  <a:lnTo>
                    <a:pt x="393" y="4290"/>
                  </a:lnTo>
                  <a:lnTo>
                    <a:pt x="4298" y="372"/>
                  </a:lnTo>
                  <a:lnTo>
                    <a:pt x="5406" y="1480"/>
                  </a:lnTo>
                  <a:cubicBezTo>
                    <a:pt x="5435" y="1510"/>
                    <a:pt x="5480" y="1524"/>
                    <a:pt x="5525" y="1524"/>
                  </a:cubicBezTo>
                  <a:cubicBezTo>
                    <a:pt x="5569" y="1524"/>
                    <a:pt x="5614" y="1510"/>
                    <a:pt x="5644" y="1480"/>
                  </a:cubicBezTo>
                  <a:cubicBezTo>
                    <a:pt x="5703" y="1432"/>
                    <a:pt x="5703" y="1313"/>
                    <a:pt x="5644" y="1254"/>
                  </a:cubicBezTo>
                  <a:lnTo>
                    <a:pt x="4453" y="63"/>
                  </a:lnTo>
                  <a:cubicBezTo>
                    <a:pt x="4411" y="21"/>
                    <a:pt x="4355" y="0"/>
                    <a:pt x="4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3" name="Google Shape;12563;p62"/>
            <p:cNvSpPr/>
            <p:nvPr/>
          </p:nvSpPr>
          <p:spPr>
            <a:xfrm>
              <a:off x="5508294" y="3016978"/>
              <a:ext cx="23122" cy="21532"/>
            </a:xfrm>
            <a:custGeom>
              <a:avLst/>
              <a:gdLst/>
              <a:ahLst/>
              <a:cxnLst/>
              <a:rect l="l" t="t" r="r" b="b"/>
              <a:pathLst>
                <a:path w="727" h="677" extrusionOk="0">
                  <a:moveTo>
                    <a:pt x="179" y="1"/>
                  </a:moveTo>
                  <a:cubicBezTo>
                    <a:pt x="134" y="1"/>
                    <a:pt x="89" y="16"/>
                    <a:pt x="60" y="45"/>
                  </a:cubicBezTo>
                  <a:cubicBezTo>
                    <a:pt x="0" y="105"/>
                    <a:pt x="0" y="224"/>
                    <a:pt x="60" y="283"/>
                  </a:cubicBezTo>
                  <a:lnTo>
                    <a:pt x="417" y="641"/>
                  </a:lnTo>
                  <a:cubicBezTo>
                    <a:pt x="453" y="664"/>
                    <a:pt x="488" y="676"/>
                    <a:pt x="536" y="676"/>
                  </a:cubicBezTo>
                  <a:cubicBezTo>
                    <a:pt x="583" y="676"/>
                    <a:pt x="631" y="664"/>
                    <a:pt x="655" y="641"/>
                  </a:cubicBezTo>
                  <a:cubicBezTo>
                    <a:pt x="726" y="581"/>
                    <a:pt x="726" y="474"/>
                    <a:pt x="655" y="402"/>
                  </a:cubicBezTo>
                  <a:lnTo>
                    <a:pt x="298" y="45"/>
                  </a:lnTo>
                  <a:cubicBezTo>
                    <a:pt x="268" y="16"/>
                    <a:pt x="22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4" name="Google Shape;12564;p62"/>
            <p:cNvSpPr/>
            <p:nvPr/>
          </p:nvSpPr>
          <p:spPr>
            <a:xfrm>
              <a:off x="5478366" y="2987082"/>
              <a:ext cx="23504" cy="21882"/>
            </a:xfrm>
            <a:custGeom>
              <a:avLst/>
              <a:gdLst/>
              <a:ahLst/>
              <a:cxnLst/>
              <a:rect l="l" t="t" r="r" b="b"/>
              <a:pathLst>
                <a:path w="739" h="688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501" y="688"/>
                    <a:pt x="536" y="688"/>
                  </a:cubicBezTo>
                  <a:cubicBezTo>
                    <a:pt x="584" y="688"/>
                    <a:pt x="632" y="664"/>
                    <a:pt x="655" y="640"/>
                  </a:cubicBezTo>
                  <a:cubicBezTo>
                    <a:pt x="739" y="580"/>
                    <a:pt x="739" y="473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5" name="Google Shape;12565;p62"/>
            <p:cNvSpPr/>
            <p:nvPr/>
          </p:nvSpPr>
          <p:spPr>
            <a:xfrm>
              <a:off x="5449200" y="2957916"/>
              <a:ext cx="23122" cy="21500"/>
            </a:xfrm>
            <a:custGeom>
              <a:avLst/>
              <a:gdLst/>
              <a:ahLst/>
              <a:cxnLst/>
              <a:rect l="l" t="t" r="r" b="b"/>
              <a:pathLst>
                <a:path w="727" h="676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93"/>
                    <a:pt x="1" y="224"/>
                    <a:pt x="60" y="283"/>
                  </a:cubicBezTo>
                  <a:lnTo>
                    <a:pt x="417" y="640"/>
                  </a:lnTo>
                  <a:cubicBezTo>
                    <a:pt x="441" y="664"/>
                    <a:pt x="489" y="676"/>
                    <a:pt x="536" y="676"/>
                  </a:cubicBezTo>
                  <a:cubicBezTo>
                    <a:pt x="584" y="676"/>
                    <a:pt x="620" y="664"/>
                    <a:pt x="656" y="640"/>
                  </a:cubicBezTo>
                  <a:cubicBezTo>
                    <a:pt x="727" y="581"/>
                    <a:pt x="727" y="474"/>
                    <a:pt x="656" y="390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66" name="Google Shape;12566;p62"/>
          <p:cNvGrpSpPr/>
          <p:nvPr/>
        </p:nvGrpSpPr>
        <p:grpSpPr>
          <a:xfrm>
            <a:off x="5748358" y="3434578"/>
            <a:ext cx="352590" cy="182561"/>
            <a:chOff x="5748358" y="3434578"/>
            <a:chExt cx="352590" cy="182561"/>
          </a:xfrm>
        </p:grpSpPr>
        <p:sp>
          <p:nvSpPr>
            <p:cNvPr id="12567" name="Google Shape;12567;p62"/>
            <p:cNvSpPr/>
            <p:nvPr/>
          </p:nvSpPr>
          <p:spPr>
            <a:xfrm>
              <a:off x="5857799" y="3457668"/>
              <a:ext cx="26525" cy="50761"/>
            </a:xfrm>
            <a:custGeom>
              <a:avLst/>
              <a:gdLst/>
              <a:ahLst/>
              <a:cxnLst/>
              <a:rect l="l" t="t" r="r" b="b"/>
              <a:pathLst>
                <a:path w="834" h="1596" extrusionOk="0">
                  <a:moveTo>
                    <a:pt x="417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239"/>
                  </a:lnTo>
                  <a:lnTo>
                    <a:pt x="155" y="239"/>
                  </a:lnTo>
                  <a:cubicBezTo>
                    <a:pt x="72" y="239"/>
                    <a:pt x="1" y="310"/>
                    <a:pt x="1" y="405"/>
                  </a:cubicBezTo>
                  <a:cubicBezTo>
                    <a:pt x="1" y="489"/>
                    <a:pt x="72" y="560"/>
                    <a:pt x="155" y="560"/>
                  </a:cubicBezTo>
                  <a:lnTo>
                    <a:pt x="251" y="560"/>
                  </a:lnTo>
                  <a:lnTo>
                    <a:pt x="251" y="1429"/>
                  </a:lnTo>
                  <a:cubicBezTo>
                    <a:pt x="251" y="1513"/>
                    <a:pt x="322" y="1596"/>
                    <a:pt x="417" y="1596"/>
                  </a:cubicBezTo>
                  <a:cubicBezTo>
                    <a:pt x="501" y="1596"/>
                    <a:pt x="572" y="1513"/>
                    <a:pt x="572" y="1429"/>
                  </a:cubicBezTo>
                  <a:lnTo>
                    <a:pt x="572" y="560"/>
                  </a:lnTo>
                  <a:lnTo>
                    <a:pt x="667" y="560"/>
                  </a:lnTo>
                  <a:cubicBezTo>
                    <a:pt x="751" y="560"/>
                    <a:pt x="822" y="489"/>
                    <a:pt x="822" y="405"/>
                  </a:cubicBezTo>
                  <a:cubicBezTo>
                    <a:pt x="834" y="310"/>
                    <a:pt x="751" y="239"/>
                    <a:pt x="667" y="239"/>
                  </a:cubicBezTo>
                  <a:lnTo>
                    <a:pt x="572" y="239"/>
                  </a:lnTo>
                  <a:lnTo>
                    <a:pt x="572" y="167"/>
                  </a:lnTo>
                  <a:cubicBezTo>
                    <a:pt x="572" y="72"/>
                    <a:pt x="501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8" name="Google Shape;12568;p62"/>
            <p:cNvSpPr/>
            <p:nvPr/>
          </p:nvSpPr>
          <p:spPr>
            <a:xfrm>
              <a:off x="5823704" y="3457668"/>
              <a:ext cx="26557" cy="51142"/>
            </a:xfrm>
            <a:custGeom>
              <a:avLst/>
              <a:gdLst/>
              <a:ahLst/>
              <a:cxnLst/>
              <a:rect l="l" t="t" r="r" b="b"/>
              <a:pathLst>
                <a:path w="835" h="1608" extrusionOk="0">
                  <a:moveTo>
                    <a:pt x="418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846"/>
                  </a:lnTo>
                  <a:lnTo>
                    <a:pt x="156" y="846"/>
                  </a:lnTo>
                  <a:cubicBezTo>
                    <a:pt x="72" y="846"/>
                    <a:pt x="1" y="917"/>
                    <a:pt x="1" y="1013"/>
                  </a:cubicBezTo>
                  <a:cubicBezTo>
                    <a:pt x="1" y="1096"/>
                    <a:pt x="72" y="1179"/>
                    <a:pt x="156" y="1179"/>
                  </a:cubicBezTo>
                  <a:lnTo>
                    <a:pt x="251" y="1179"/>
                  </a:lnTo>
                  <a:lnTo>
                    <a:pt x="251" y="1441"/>
                  </a:lnTo>
                  <a:cubicBezTo>
                    <a:pt x="251" y="1536"/>
                    <a:pt x="322" y="1608"/>
                    <a:pt x="418" y="1608"/>
                  </a:cubicBezTo>
                  <a:cubicBezTo>
                    <a:pt x="501" y="1608"/>
                    <a:pt x="572" y="1536"/>
                    <a:pt x="572" y="1441"/>
                  </a:cubicBezTo>
                  <a:lnTo>
                    <a:pt x="572" y="1179"/>
                  </a:lnTo>
                  <a:lnTo>
                    <a:pt x="668" y="1179"/>
                  </a:lnTo>
                  <a:cubicBezTo>
                    <a:pt x="751" y="1179"/>
                    <a:pt x="834" y="1096"/>
                    <a:pt x="834" y="1013"/>
                  </a:cubicBezTo>
                  <a:cubicBezTo>
                    <a:pt x="834" y="917"/>
                    <a:pt x="751" y="846"/>
                    <a:pt x="668" y="846"/>
                  </a:cubicBezTo>
                  <a:lnTo>
                    <a:pt x="572" y="846"/>
                  </a:lnTo>
                  <a:lnTo>
                    <a:pt x="572" y="167"/>
                  </a:lnTo>
                  <a:cubicBezTo>
                    <a:pt x="572" y="72"/>
                    <a:pt x="501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9" name="Google Shape;12569;p62"/>
            <p:cNvSpPr/>
            <p:nvPr/>
          </p:nvSpPr>
          <p:spPr>
            <a:xfrm>
              <a:off x="5788115" y="3457668"/>
              <a:ext cx="26557" cy="50761"/>
            </a:xfrm>
            <a:custGeom>
              <a:avLst/>
              <a:gdLst/>
              <a:ahLst/>
              <a:cxnLst/>
              <a:rect l="l" t="t" r="r" b="b"/>
              <a:pathLst>
                <a:path w="835" h="1596" extrusionOk="0">
                  <a:moveTo>
                    <a:pt x="418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239"/>
                  </a:lnTo>
                  <a:lnTo>
                    <a:pt x="167" y="239"/>
                  </a:lnTo>
                  <a:cubicBezTo>
                    <a:pt x="72" y="239"/>
                    <a:pt x="1" y="310"/>
                    <a:pt x="1" y="405"/>
                  </a:cubicBezTo>
                  <a:cubicBezTo>
                    <a:pt x="1" y="489"/>
                    <a:pt x="72" y="560"/>
                    <a:pt x="167" y="560"/>
                  </a:cubicBezTo>
                  <a:lnTo>
                    <a:pt x="251" y="560"/>
                  </a:lnTo>
                  <a:lnTo>
                    <a:pt x="251" y="1429"/>
                  </a:lnTo>
                  <a:cubicBezTo>
                    <a:pt x="251" y="1513"/>
                    <a:pt x="322" y="1596"/>
                    <a:pt x="418" y="1596"/>
                  </a:cubicBezTo>
                  <a:cubicBezTo>
                    <a:pt x="501" y="1596"/>
                    <a:pt x="584" y="1513"/>
                    <a:pt x="584" y="1429"/>
                  </a:cubicBezTo>
                  <a:lnTo>
                    <a:pt x="584" y="560"/>
                  </a:lnTo>
                  <a:lnTo>
                    <a:pt x="668" y="560"/>
                  </a:lnTo>
                  <a:cubicBezTo>
                    <a:pt x="763" y="560"/>
                    <a:pt x="834" y="489"/>
                    <a:pt x="834" y="405"/>
                  </a:cubicBezTo>
                  <a:cubicBezTo>
                    <a:pt x="834" y="310"/>
                    <a:pt x="763" y="239"/>
                    <a:pt x="668" y="239"/>
                  </a:cubicBezTo>
                  <a:lnTo>
                    <a:pt x="584" y="239"/>
                  </a:lnTo>
                  <a:lnTo>
                    <a:pt x="584" y="167"/>
                  </a:lnTo>
                  <a:cubicBezTo>
                    <a:pt x="584" y="72"/>
                    <a:pt x="501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0" name="Google Shape;12570;p62"/>
            <p:cNvSpPr/>
            <p:nvPr/>
          </p:nvSpPr>
          <p:spPr>
            <a:xfrm>
              <a:off x="5913458" y="3457668"/>
              <a:ext cx="142423" cy="50761"/>
            </a:xfrm>
            <a:custGeom>
              <a:avLst/>
              <a:gdLst/>
              <a:ahLst/>
              <a:cxnLst/>
              <a:rect l="l" t="t" r="r" b="b"/>
              <a:pathLst>
                <a:path w="4478" h="1596" extrusionOk="0">
                  <a:moveTo>
                    <a:pt x="4156" y="322"/>
                  </a:moveTo>
                  <a:lnTo>
                    <a:pt x="4156" y="1263"/>
                  </a:lnTo>
                  <a:lnTo>
                    <a:pt x="310" y="1263"/>
                  </a:lnTo>
                  <a:lnTo>
                    <a:pt x="310" y="322"/>
                  </a:lnTo>
                  <a:close/>
                  <a:moveTo>
                    <a:pt x="298" y="1"/>
                  </a:moveTo>
                  <a:cubicBezTo>
                    <a:pt x="132" y="1"/>
                    <a:pt x="1" y="131"/>
                    <a:pt x="1" y="298"/>
                  </a:cubicBezTo>
                  <a:lnTo>
                    <a:pt x="1" y="1298"/>
                  </a:lnTo>
                  <a:cubicBezTo>
                    <a:pt x="1" y="1453"/>
                    <a:pt x="132" y="1596"/>
                    <a:pt x="298" y="1596"/>
                  </a:cubicBezTo>
                  <a:lnTo>
                    <a:pt x="4180" y="1596"/>
                  </a:lnTo>
                  <a:cubicBezTo>
                    <a:pt x="4347" y="1596"/>
                    <a:pt x="4478" y="1453"/>
                    <a:pt x="4478" y="1298"/>
                  </a:cubicBezTo>
                  <a:lnTo>
                    <a:pt x="4478" y="298"/>
                  </a:lnTo>
                  <a:cubicBezTo>
                    <a:pt x="4478" y="131"/>
                    <a:pt x="4347" y="1"/>
                    <a:pt x="4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1" name="Google Shape;12571;p62"/>
            <p:cNvSpPr/>
            <p:nvPr/>
          </p:nvSpPr>
          <p:spPr>
            <a:xfrm>
              <a:off x="5748358" y="3434578"/>
              <a:ext cx="352590" cy="39788"/>
            </a:xfrm>
            <a:custGeom>
              <a:avLst/>
              <a:gdLst/>
              <a:ahLst/>
              <a:cxnLst/>
              <a:rect l="l" t="t" r="r" b="b"/>
              <a:pathLst>
                <a:path w="11086" h="1251" extrusionOk="0">
                  <a:moveTo>
                    <a:pt x="370" y="0"/>
                  </a:moveTo>
                  <a:cubicBezTo>
                    <a:pt x="155" y="0"/>
                    <a:pt x="1" y="155"/>
                    <a:pt x="1" y="369"/>
                  </a:cubicBezTo>
                  <a:lnTo>
                    <a:pt x="1" y="1084"/>
                  </a:lnTo>
                  <a:cubicBezTo>
                    <a:pt x="1" y="1167"/>
                    <a:pt x="72" y="1250"/>
                    <a:pt x="155" y="1250"/>
                  </a:cubicBezTo>
                  <a:cubicBezTo>
                    <a:pt x="251" y="1250"/>
                    <a:pt x="322" y="1167"/>
                    <a:pt x="322" y="1084"/>
                  </a:cubicBezTo>
                  <a:lnTo>
                    <a:pt x="322" y="369"/>
                  </a:lnTo>
                  <a:cubicBezTo>
                    <a:pt x="322" y="334"/>
                    <a:pt x="334" y="322"/>
                    <a:pt x="370" y="322"/>
                  </a:cubicBezTo>
                  <a:lnTo>
                    <a:pt x="10692" y="322"/>
                  </a:lnTo>
                  <a:cubicBezTo>
                    <a:pt x="10728" y="322"/>
                    <a:pt x="10740" y="334"/>
                    <a:pt x="10740" y="369"/>
                  </a:cubicBezTo>
                  <a:lnTo>
                    <a:pt x="10740" y="1084"/>
                  </a:lnTo>
                  <a:cubicBezTo>
                    <a:pt x="10740" y="1167"/>
                    <a:pt x="10812" y="1250"/>
                    <a:pt x="10907" y="1250"/>
                  </a:cubicBezTo>
                  <a:cubicBezTo>
                    <a:pt x="10990" y="1250"/>
                    <a:pt x="11073" y="1167"/>
                    <a:pt x="11073" y="1084"/>
                  </a:cubicBezTo>
                  <a:lnTo>
                    <a:pt x="11073" y="369"/>
                  </a:lnTo>
                  <a:cubicBezTo>
                    <a:pt x="11085" y="179"/>
                    <a:pt x="10919" y="0"/>
                    <a:pt x="107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2" name="Google Shape;12572;p62"/>
            <p:cNvSpPr/>
            <p:nvPr/>
          </p:nvSpPr>
          <p:spPr>
            <a:xfrm>
              <a:off x="5748358" y="3488328"/>
              <a:ext cx="352590" cy="128810"/>
            </a:xfrm>
            <a:custGeom>
              <a:avLst/>
              <a:gdLst/>
              <a:ahLst/>
              <a:cxnLst/>
              <a:rect l="l" t="t" r="r" b="b"/>
              <a:pathLst>
                <a:path w="11086" h="4050" extrusionOk="0">
                  <a:moveTo>
                    <a:pt x="2227" y="1525"/>
                  </a:moveTo>
                  <a:lnTo>
                    <a:pt x="2227" y="2620"/>
                  </a:lnTo>
                  <a:lnTo>
                    <a:pt x="1918" y="2620"/>
                  </a:lnTo>
                  <a:lnTo>
                    <a:pt x="1918" y="1525"/>
                  </a:lnTo>
                  <a:close/>
                  <a:moveTo>
                    <a:pt x="3954" y="1525"/>
                  </a:moveTo>
                  <a:lnTo>
                    <a:pt x="3954" y="2620"/>
                  </a:lnTo>
                  <a:lnTo>
                    <a:pt x="3644" y="2620"/>
                  </a:lnTo>
                  <a:lnTo>
                    <a:pt x="3644" y="1525"/>
                  </a:lnTo>
                  <a:close/>
                  <a:moveTo>
                    <a:pt x="5680" y="1525"/>
                  </a:moveTo>
                  <a:lnTo>
                    <a:pt x="5680" y="2620"/>
                  </a:lnTo>
                  <a:lnTo>
                    <a:pt x="5370" y="2620"/>
                  </a:lnTo>
                  <a:lnTo>
                    <a:pt x="5370" y="1525"/>
                  </a:lnTo>
                  <a:close/>
                  <a:moveTo>
                    <a:pt x="7406" y="1525"/>
                  </a:moveTo>
                  <a:lnTo>
                    <a:pt x="7406" y="2620"/>
                  </a:lnTo>
                  <a:lnTo>
                    <a:pt x="7097" y="2620"/>
                  </a:lnTo>
                  <a:lnTo>
                    <a:pt x="7097" y="1525"/>
                  </a:lnTo>
                  <a:close/>
                  <a:moveTo>
                    <a:pt x="9157" y="1525"/>
                  </a:moveTo>
                  <a:lnTo>
                    <a:pt x="9157" y="2620"/>
                  </a:lnTo>
                  <a:lnTo>
                    <a:pt x="8835" y="2620"/>
                  </a:lnTo>
                  <a:lnTo>
                    <a:pt x="8835" y="1525"/>
                  </a:lnTo>
                  <a:close/>
                  <a:moveTo>
                    <a:pt x="10764" y="1501"/>
                  </a:moveTo>
                  <a:lnTo>
                    <a:pt x="10764" y="3668"/>
                  </a:lnTo>
                  <a:cubicBezTo>
                    <a:pt x="10764" y="3692"/>
                    <a:pt x="10740" y="3704"/>
                    <a:pt x="10716" y="3704"/>
                  </a:cubicBezTo>
                  <a:lnTo>
                    <a:pt x="10026" y="3704"/>
                  </a:lnTo>
                  <a:lnTo>
                    <a:pt x="10026" y="1501"/>
                  </a:lnTo>
                  <a:close/>
                  <a:moveTo>
                    <a:pt x="1060" y="1525"/>
                  </a:moveTo>
                  <a:lnTo>
                    <a:pt x="1060" y="3728"/>
                  </a:lnTo>
                  <a:lnTo>
                    <a:pt x="370" y="3728"/>
                  </a:lnTo>
                  <a:cubicBezTo>
                    <a:pt x="346" y="3728"/>
                    <a:pt x="322" y="3704"/>
                    <a:pt x="322" y="3680"/>
                  </a:cubicBezTo>
                  <a:lnTo>
                    <a:pt x="322" y="1525"/>
                  </a:lnTo>
                  <a:close/>
                  <a:moveTo>
                    <a:pt x="1608" y="1525"/>
                  </a:moveTo>
                  <a:lnTo>
                    <a:pt x="1608" y="2620"/>
                  </a:lnTo>
                  <a:cubicBezTo>
                    <a:pt x="1608" y="2799"/>
                    <a:pt x="1751" y="2954"/>
                    <a:pt x="1929" y="2954"/>
                  </a:cubicBezTo>
                  <a:lnTo>
                    <a:pt x="1929" y="3728"/>
                  </a:lnTo>
                  <a:lnTo>
                    <a:pt x="1382" y="3728"/>
                  </a:lnTo>
                  <a:lnTo>
                    <a:pt x="1382" y="1525"/>
                  </a:lnTo>
                  <a:close/>
                  <a:moveTo>
                    <a:pt x="2799" y="1525"/>
                  </a:moveTo>
                  <a:lnTo>
                    <a:pt x="2799" y="3728"/>
                  </a:lnTo>
                  <a:lnTo>
                    <a:pt x="2251" y="3728"/>
                  </a:lnTo>
                  <a:lnTo>
                    <a:pt x="2251" y="2954"/>
                  </a:lnTo>
                  <a:cubicBezTo>
                    <a:pt x="2430" y="2954"/>
                    <a:pt x="2572" y="2799"/>
                    <a:pt x="2572" y="2620"/>
                  </a:cubicBezTo>
                  <a:lnTo>
                    <a:pt x="2572" y="1525"/>
                  </a:lnTo>
                  <a:close/>
                  <a:moveTo>
                    <a:pt x="3334" y="1525"/>
                  </a:moveTo>
                  <a:lnTo>
                    <a:pt x="3334" y="2620"/>
                  </a:lnTo>
                  <a:cubicBezTo>
                    <a:pt x="3334" y="2799"/>
                    <a:pt x="3477" y="2954"/>
                    <a:pt x="3656" y="2954"/>
                  </a:cubicBezTo>
                  <a:lnTo>
                    <a:pt x="3656" y="3728"/>
                  </a:lnTo>
                  <a:lnTo>
                    <a:pt x="3108" y="3728"/>
                  </a:lnTo>
                  <a:lnTo>
                    <a:pt x="3108" y="1525"/>
                  </a:lnTo>
                  <a:close/>
                  <a:moveTo>
                    <a:pt x="4537" y="1525"/>
                  </a:moveTo>
                  <a:lnTo>
                    <a:pt x="4537" y="3728"/>
                  </a:lnTo>
                  <a:lnTo>
                    <a:pt x="3989" y="3728"/>
                  </a:lnTo>
                  <a:lnTo>
                    <a:pt x="3989" y="2954"/>
                  </a:lnTo>
                  <a:cubicBezTo>
                    <a:pt x="4168" y="2954"/>
                    <a:pt x="4311" y="2799"/>
                    <a:pt x="4311" y="2620"/>
                  </a:cubicBezTo>
                  <a:lnTo>
                    <a:pt x="4311" y="1525"/>
                  </a:lnTo>
                  <a:close/>
                  <a:moveTo>
                    <a:pt x="5073" y="1525"/>
                  </a:moveTo>
                  <a:lnTo>
                    <a:pt x="5073" y="2620"/>
                  </a:lnTo>
                  <a:cubicBezTo>
                    <a:pt x="5073" y="2799"/>
                    <a:pt x="5227" y="2954"/>
                    <a:pt x="5406" y="2954"/>
                  </a:cubicBezTo>
                  <a:lnTo>
                    <a:pt x="5406" y="3728"/>
                  </a:lnTo>
                  <a:lnTo>
                    <a:pt x="4846" y="3728"/>
                  </a:lnTo>
                  <a:lnTo>
                    <a:pt x="4846" y="1525"/>
                  </a:lnTo>
                  <a:close/>
                  <a:moveTo>
                    <a:pt x="6263" y="1525"/>
                  </a:moveTo>
                  <a:lnTo>
                    <a:pt x="6263" y="3728"/>
                  </a:lnTo>
                  <a:lnTo>
                    <a:pt x="5716" y="3728"/>
                  </a:lnTo>
                  <a:lnTo>
                    <a:pt x="5716" y="2954"/>
                  </a:lnTo>
                  <a:cubicBezTo>
                    <a:pt x="5894" y="2954"/>
                    <a:pt x="6037" y="2799"/>
                    <a:pt x="6037" y="2620"/>
                  </a:cubicBezTo>
                  <a:lnTo>
                    <a:pt x="6037" y="1525"/>
                  </a:lnTo>
                  <a:close/>
                  <a:moveTo>
                    <a:pt x="6799" y="1525"/>
                  </a:moveTo>
                  <a:lnTo>
                    <a:pt x="6799" y="2620"/>
                  </a:lnTo>
                  <a:cubicBezTo>
                    <a:pt x="6799" y="2799"/>
                    <a:pt x="6954" y="2954"/>
                    <a:pt x="7132" y="2954"/>
                  </a:cubicBezTo>
                  <a:lnTo>
                    <a:pt x="7132" y="3728"/>
                  </a:lnTo>
                  <a:lnTo>
                    <a:pt x="6573" y="3728"/>
                  </a:lnTo>
                  <a:lnTo>
                    <a:pt x="6573" y="1525"/>
                  </a:lnTo>
                  <a:close/>
                  <a:moveTo>
                    <a:pt x="7990" y="1525"/>
                  </a:moveTo>
                  <a:lnTo>
                    <a:pt x="7990" y="3728"/>
                  </a:lnTo>
                  <a:lnTo>
                    <a:pt x="7442" y="3728"/>
                  </a:lnTo>
                  <a:lnTo>
                    <a:pt x="7442" y="2954"/>
                  </a:lnTo>
                  <a:cubicBezTo>
                    <a:pt x="7621" y="2954"/>
                    <a:pt x="7764" y="2799"/>
                    <a:pt x="7764" y="2620"/>
                  </a:cubicBezTo>
                  <a:lnTo>
                    <a:pt x="7764" y="1525"/>
                  </a:lnTo>
                  <a:close/>
                  <a:moveTo>
                    <a:pt x="8526" y="1525"/>
                  </a:moveTo>
                  <a:lnTo>
                    <a:pt x="8526" y="2620"/>
                  </a:lnTo>
                  <a:cubicBezTo>
                    <a:pt x="8526" y="2799"/>
                    <a:pt x="8680" y="2954"/>
                    <a:pt x="8859" y="2954"/>
                  </a:cubicBezTo>
                  <a:lnTo>
                    <a:pt x="8859" y="3728"/>
                  </a:lnTo>
                  <a:lnTo>
                    <a:pt x="8299" y="3728"/>
                  </a:lnTo>
                  <a:lnTo>
                    <a:pt x="8299" y="1525"/>
                  </a:lnTo>
                  <a:close/>
                  <a:moveTo>
                    <a:pt x="9716" y="1525"/>
                  </a:moveTo>
                  <a:lnTo>
                    <a:pt x="9716" y="3728"/>
                  </a:lnTo>
                  <a:lnTo>
                    <a:pt x="9168" y="3728"/>
                  </a:lnTo>
                  <a:lnTo>
                    <a:pt x="9168" y="2954"/>
                  </a:lnTo>
                  <a:cubicBezTo>
                    <a:pt x="9347" y="2954"/>
                    <a:pt x="9490" y="2799"/>
                    <a:pt x="9490" y="2620"/>
                  </a:cubicBezTo>
                  <a:lnTo>
                    <a:pt x="9490" y="1525"/>
                  </a:lnTo>
                  <a:close/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1358"/>
                  </a:lnTo>
                  <a:lnTo>
                    <a:pt x="1" y="3680"/>
                  </a:lnTo>
                  <a:cubicBezTo>
                    <a:pt x="1" y="3882"/>
                    <a:pt x="167" y="4049"/>
                    <a:pt x="370" y="4049"/>
                  </a:cubicBezTo>
                  <a:lnTo>
                    <a:pt x="10704" y="4049"/>
                  </a:lnTo>
                  <a:cubicBezTo>
                    <a:pt x="10907" y="4049"/>
                    <a:pt x="11073" y="3882"/>
                    <a:pt x="11073" y="3680"/>
                  </a:cubicBezTo>
                  <a:lnTo>
                    <a:pt x="11073" y="1358"/>
                  </a:lnTo>
                  <a:lnTo>
                    <a:pt x="11073" y="168"/>
                  </a:lnTo>
                  <a:cubicBezTo>
                    <a:pt x="11085" y="60"/>
                    <a:pt x="11014" y="1"/>
                    <a:pt x="10919" y="1"/>
                  </a:cubicBezTo>
                  <a:cubicBezTo>
                    <a:pt x="10835" y="1"/>
                    <a:pt x="10764" y="72"/>
                    <a:pt x="10764" y="168"/>
                  </a:cubicBezTo>
                  <a:lnTo>
                    <a:pt x="10764" y="1192"/>
                  </a:lnTo>
                  <a:lnTo>
                    <a:pt x="322" y="1192"/>
                  </a:lnTo>
                  <a:lnTo>
                    <a:pt x="322" y="168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73" name="Google Shape;12573;p62"/>
          <p:cNvGrpSpPr/>
          <p:nvPr/>
        </p:nvGrpSpPr>
        <p:grpSpPr>
          <a:xfrm>
            <a:off x="862283" y="4274771"/>
            <a:ext cx="341204" cy="359301"/>
            <a:chOff x="862283" y="4274771"/>
            <a:chExt cx="341204" cy="359301"/>
          </a:xfrm>
        </p:grpSpPr>
        <p:sp>
          <p:nvSpPr>
            <p:cNvPr id="12574" name="Google Shape;12574;p62"/>
            <p:cNvSpPr/>
            <p:nvPr/>
          </p:nvSpPr>
          <p:spPr>
            <a:xfrm>
              <a:off x="1100089" y="4490790"/>
              <a:ext cx="24267" cy="17366"/>
            </a:xfrm>
            <a:custGeom>
              <a:avLst/>
              <a:gdLst/>
              <a:ahLst/>
              <a:cxnLst/>
              <a:rect l="l" t="t" r="r" b="b"/>
              <a:pathLst>
                <a:path w="763" h="546" extrusionOk="0">
                  <a:moveTo>
                    <a:pt x="561" y="0"/>
                  </a:moveTo>
                  <a:cubicBezTo>
                    <a:pt x="536" y="0"/>
                    <a:pt x="510" y="7"/>
                    <a:pt x="489" y="22"/>
                  </a:cubicBezTo>
                  <a:lnTo>
                    <a:pt x="108" y="224"/>
                  </a:lnTo>
                  <a:cubicBezTo>
                    <a:pt x="24" y="272"/>
                    <a:pt x="0" y="379"/>
                    <a:pt x="48" y="450"/>
                  </a:cubicBezTo>
                  <a:cubicBezTo>
                    <a:pt x="72" y="510"/>
                    <a:pt x="131" y="545"/>
                    <a:pt x="191" y="545"/>
                  </a:cubicBezTo>
                  <a:cubicBezTo>
                    <a:pt x="227" y="545"/>
                    <a:pt x="250" y="545"/>
                    <a:pt x="262" y="522"/>
                  </a:cubicBezTo>
                  <a:lnTo>
                    <a:pt x="655" y="319"/>
                  </a:lnTo>
                  <a:cubicBezTo>
                    <a:pt x="727" y="272"/>
                    <a:pt x="762" y="164"/>
                    <a:pt x="715" y="93"/>
                  </a:cubicBezTo>
                  <a:cubicBezTo>
                    <a:pt x="682" y="35"/>
                    <a:pt x="620" y="0"/>
                    <a:pt x="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5" name="Google Shape;12575;p62"/>
            <p:cNvSpPr/>
            <p:nvPr/>
          </p:nvSpPr>
          <p:spPr>
            <a:xfrm>
              <a:off x="1100089" y="4476001"/>
              <a:ext cx="24267" cy="17397"/>
            </a:xfrm>
            <a:custGeom>
              <a:avLst/>
              <a:gdLst/>
              <a:ahLst/>
              <a:cxnLst/>
              <a:rect l="l" t="t" r="r" b="b"/>
              <a:pathLst>
                <a:path w="763" h="547" extrusionOk="0">
                  <a:moveTo>
                    <a:pt x="561" y="1"/>
                  </a:moveTo>
                  <a:cubicBezTo>
                    <a:pt x="536" y="1"/>
                    <a:pt x="510" y="8"/>
                    <a:pt x="489" y="22"/>
                  </a:cubicBezTo>
                  <a:lnTo>
                    <a:pt x="108" y="236"/>
                  </a:lnTo>
                  <a:cubicBezTo>
                    <a:pt x="24" y="272"/>
                    <a:pt x="0" y="379"/>
                    <a:pt x="48" y="451"/>
                  </a:cubicBezTo>
                  <a:cubicBezTo>
                    <a:pt x="72" y="510"/>
                    <a:pt x="131" y="546"/>
                    <a:pt x="191" y="546"/>
                  </a:cubicBezTo>
                  <a:cubicBezTo>
                    <a:pt x="227" y="546"/>
                    <a:pt x="250" y="546"/>
                    <a:pt x="262" y="534"/>
                  </a:cubicBezTo>
                  <a:lnTo>
                    <a:pt x="655" y="320"/>
                  </a:lnTo>
                  <a:cubicBezTo>
                    <a:pt x="727" y="272"/>
                    <a:pt x="762" y="177"/>
                    <a:pt x="715" y="94"/>
                  </a:cubicBezTo>
                  <a:cubicBezTo>
                    <a:pt x="682" y="36"/>
                    <a:pt x="620" y="1"/>
                    <a:pt x="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6" name="Google Shape;12576;p62"/>
            <p:cNvSpPr/>
            <p:nvPr/>
          </p:nvSpPr>
          <p:spPr>
            <a:xfrm>
              <a:off x="862283" y="4274771"/>
              <a:ext cx="341204" cy="359301"/>
            </a:xfrm>
            <a:custGeom>
              <a:avLst/>
              <a:gdLst/>
              <a:ahLst/>
              <a:cxnLst/>
              <a:rect l="l" t="t" r="r" b="b"/>
              <a:pathLst>
                <a:path w="10728" h="11297" extrusionOk="0">
                  <a:moveTo>
                    <a:pt x="5203" y="444"/>
                  </a:moveTo>
                  <a:lnTo>
                    <a:pt x="5203" y="2194"/>
                  </a:lnTo>
                  <a:lnTo>
                    <a:pt x="2084" y="3920"/>
                  </a:lnTo>
                  <a:lnTo>
                    <a:pt x="512" y="3051"/>
                  </a:lnTo>
                  <a:lnTo>
                    <a:pt x="5203" y="444"/>
                  </a:lnTo>
                  <a:close/>
                  <a:moveTo>
                    <a:pt x="5537" y="444"/>
                  </a:moveTo>
                  <a:lnTo>
                    <a:pt x="10228" y="3051"/>
                  </a:lnTo>
                  <a:lnTo>
                    <a:pt x="8656" y="3920"/>
                  </a:lnTo>
                  <a:lnTo>
                    <a:pt x="5537" y="2194"/>
                  </a:lnTo>
                  <a:lnTo>
                    <a:pt x="5537" y="444"/>
                  </a:lnTo>
                  <a:close/>
                  <a:moveTo>
                    <a:pt x="5382" y="2480"/>
                  </a:moveTo>
                  <a:lnTo>
                    <a:pt x="8311" y="4099"/>
                  </a:lnTo>
                  <a:lnTo>
                    <a:pt x="5382" y="5730"/>
                  </a:lnTo>
                  <a:lnTo>
                    <a:pt x="2441" y="4099"/>
                  </a:lnTo>
                  <a:lnTo>
                    <a:pt x="5382" y="2480"/>
                  </a:lnTo>
                  <a:close/>
                  <a:moveTo>
                    <a:pt x="346" y="3325"/>
                  </a:moveTo>
                  <a:lnTo>
                    <a:pt x="1941" y="4206"/>
                  </a:lnTo>
                  <a:lnTo>
                    <a:pt x="1941" y="7278"/>
                  </a:lnTo>
                  <a:lnTo>
                    <a:pt x="346" y="7992"/>
                  </a:lnTo>
                  <a:lnTo>
                    <a:pt x="346" y="3325"/>
                  </a:lnTo>
                  <a:close/>
                  <a:moveTo>
                    <a:pt x="2262" y="4385"/>
                  </a:moveTo>
                  <a:lnTo>
                    <a:pt x="3477" y="5051"/>
                  </a:lnTo>
                  <a:lnTo>
                    <a:pt x="5215" y="6028"/>
                  </a:lnTo>
                  <a:lnTo>
                    <a:pt x="5215" y="8921"/>
                  </a:lnTo>
                  <a:lnTo>
                    <a:pt x="2262" y="7290"/>
                  </a:lnTo>
                  <a:lnTo>
                    <a:pt x="2262" y="4385"/>
                  </a:lnTo>
                  <a:close/>
                  <a:moveTo>
                    <a:pt x="8489" y="4385"/>
                  </a:moveTo>
                  <a:lnTo>
                    <a:pt x="8489" y="7290"/>
                  </a:lnTo>
                  <a:lnTo>
                    <a:pt x="5537" y="8921"/>
                  </a:lnTo>
                  <a:lnTo>
                    <a:pt x="5537" y="6028"/>
                  </a:lnTo>
                  <a:lnTo>
                    <a:pt x="8489" y="4385"/>
                  </a:lnTo>
                  <a:close/>
                  <a:moveTo>
                    <a:pt x="5374" y="0"/>
                  </a:moveTo>
                  <a:cubicBezTo>
                    <a:pt x="5346" y="0"/>
                    <a:pt x="5316" y="9"/>
                    <a:pt x="5287" y="27"/>
                  </a:cubicBezTo>
                  <a:lnTo>
                    <a:pt x="96" y="2896"/>
                  </a:lnTo>
                  <a:cubicBezTo>
                    <a:pt x="36" y="2932"/>
                    <a:pt x="0" y="2992"/>
                    <a:pt x="0" y="3051"/>
                  </a:cubicBezTo>
                  <a:lnTo>
                    <a:pt x="0" y="8242"/>
                  </a:lnTo>
                  <a:cubicBezTo>
                    <a:pt x="0" y="8302"/>
                    <a:pt x="36" y="8361"/>
                    <a:pt x="96" y="8385"/>
                  </a:cubicBezTo>
                  <a:lnTo>
                    <a:pt x="2382" y="9659"/>
                  </a:lnTo>
                  <a:cubicBezTo>
                    <a:pt x="2407" y="9670"/>
                    <a:pt x="2434" y="9676"/>
                    <a:pt x="2461" y="9676"/>
                  </a:cubicBezTo>
                  <a:cubicBezTo>
                    <a:pt x="2519" y="9676"/>
                    <a:pt x="2575" y="9649"/>
                    <a:pt x="2608" y="9600"/>
                  </a:cubicBezTo>
                  <a:cubicBezTo>
                    <a:pt x="2655" y="9516"/>
                    <a:pt x="2620" y="9421"/>
                    <a:pt x="2548" y="9373"/>
                  </a:cubicBezTo>
                  <a:lnTo>
                    <a:pt x="548" y="8266"/>
                  </a:lnTo>
                  <a:lnTo>
                    <a:pt x="2096" y="7587"/>
                  </a:lnTo>
                  <a:lnTo>
                    <a:pt x="5227" y="9314"/>
                  </a:lnTo>
                  <a:lnTo>
                    <a:pt x="5227" y="10862"/>
                  </a:lnTo>
                  <a:lnTo>
                    <a:pt x="3215" y="9742"/>
                  </a:lnTo>
                  <a:cubicBezTo>
                    <a:pt x="3193" y="9727"/>
                    <a:pt x="3167" y="9721"/>
                    <a:pt x="3140" y="9721"/>
                  </a:cubicBezTo>
                  <a:cubicBezTo>
                    <a:pt x="3082" y="9721"/>
                    <a:pt x="3021" y="9753"/>
                    <a:pt x="2989" y="9802"/>
                  </a:cubicBezTo>
                  <a:cubicBezTo>
                    <a:pt x="2953" y="9873"/>
                    <a:pt x="2977" y="9981"/>
                    <a:pt x="3060" y="10028"/>
                  </a:cubicBezTo>
                  <a:lnTo>
                    <a:pt x="5299" y="11278"/>
                  </a:lnTo>
                  <a:cubicBezTo>
                    <a:pt x="5322" y="11290"/>
                    <a:pt x="5349" y="11296"/>
                    <a:pt x="5377" y="11296"/>
                  </a:cubicBezTo>
                  <a:cubicBezTo>
                    <a:pt x="5406" y="11296"/>
                    <a:pt x="5435" y="11290"/>
                    <a:pt x="5465" y="11278"/>
                  </a:cubicBezTo>
                  <a:lnTo>
                    <a:pt x="7835" y="9969"/>
                  </a:lnTo>
                  <a:cubicBezTo>
                    <a:pt x="7906" y="9921"/>
                    <a:pt x="7930" y="9814"/>
                    <a:pt x="7894" y="9742"/>
                  </a:cubicBezTo>
                  <a:cubicBezTo>
                    <a:pt x="7861" y="9693"/>
                    <a:pt x="7801" y="9661"/>
                    <a:pt x="7743" y="9661"/>
                  </a:cubicBezTo>
                  <a:cubicBezTo>
                    <a:pt x="7716" y="9661"/>
                    <a:pt x="7690" y="9668"/>
                    <a:pt x="7668" y="9683"/>
                  </a:cubicBezTo>
                  <a:lnTo>
                    <a:pt x="5561" y="10862"/>
                  </a:lnTo>
                  <a:lnTo>
                    <a:pt x="5561" y="9314"/>
                  </a:lnTo>
                  <a:lnTo>
                    <a:pt x="8680" y="7587"/>
                  </a:lnTo>
                  <a:lnTo>
                    <a:pt x="10228" y="8266"/>
                  </a:lnTo>
                  <a:lnTo>
                    <a:pt x="8335" y="9314"/>
                  </a:lnTo>
                  <a:cubicBezTo>
                    <a:pt x="8263" y="9361"/>
                    <a:pt x="8239" y="9457"/>
                    <a:pt x="8275" y="9540"/>
                  </a:cubicBezTo>
                  <a:cubicBezTo>
                    <a:pt x="8311" y="9600"/>
                    <a:pt x="8370" y="9623"/>
                    <a:pt x="8430" y="9623"/>
                  </a:cubicBezTo>
                  <a:cubicBezTo>
                    <a:pt x="8454" y="9623"/>
                    <a:pt x="8489" y="9623"/>
                    <a:pt x="8501" y="9611"/>
                  </a:cubicBezTo>
                  <a:lnTo>
                    <a:pt x="10680" y="8409"/>
                  </a:lnTo>
                  <a:cubicBezTo>
                    <a:pt x="10680" y="8373"/>
                    <a:pt x="10692" y="8349"/>
                    <a:pt x="10704" y="8326"/>
                  </a:cubicBezTo>
                  <a:cubicBezTo>
                    <a:pt x="10716" y="8302"/>
                    <a:pt x="10728" y="8266"/>
                    <a:pt x="10728" y="8242"/>
                  </a:cubicBezTo>
                  <a:lnTo>
                    <a:pt x="10728" y="6778"/>
                  </a:lnTo>
                  <a:cubicBezTo>
                    <a:pt x="10728" y="6694"/>
                    <a:pt x="10656" y="6623"/>
                    <a:pt x="10573" y="6623"/>
                  </a:cubicBezTo>
                  <a:cubicBezTo>
                    <a:pt x="10478" y="6623"/>
                    <a:pt x="10406" y="6694"/>
                    <a:pt x="10406" y="6778"/>
                  </a:cubicBezTo>
                  <a:lnTo>
                    <a:pt x="10406" y="7992"/>
                  </a:lnTo>
                  <a:lnTo>
                    <a:pt x="8811" y="7278"/>
                  </a:lnTo>
                  <a:lnTo>
                    <a:pt x="8811" y="4206"/>
                  </a:lnTo>
                  <a:lnTo>
                    <a:pt x="10406" y="3325"/>
                  </a:lnTo>
                  <a:lnTo>
                    <a:pt x="10406" y="6063"/>
                  </a:lnTo>
                  <a:cubicBezTo>
                    <a:pt x="10406" y="6159"/>
                    <a:pt x="10478" y="6230"/>
                    <a:pt x="10573" y="6230"/>
                  </a:cubicBezTo>
                  <a:cubicBezTo>
                    <a:pt x="10656" y="6230"/>
                    <a:pt x="10728" y="6159"/>
                    <a:pt x="10728" y="6063"/>
                  </a:cubicBezTo>
                  <a:lnTo>
                    <a:pt x="10728" y="3051"/>
                  </a:lnTo>
                  <a:cubicBezTo>
                    <a:pt x="10728" y="2992"/>
                    <a:pt x="10704" y="2932"/>
                    <a:pt x="10644" y="2896"/>
                  </a:cubicBezTo>
                  <a:lnTo>
                    <a:pt x="5453" y="27"/>
                  </a:lnTo>
                  <a:cubicBezTo>
                    <a:pt x="5430" y="9"/>
                    <a:pt x="5403" y="0"/>
                    <a:pt x="53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77" name="Google Shape;12577;p62"/>
          <p:cNvGrpSpPr/>
          <p:nvPr/>
        </p:nvGrpSpPr>
        <p:grpSpPr>
          <a:xfrm>
            <a:off x="1396957" y="4287365"/>
            <a:ext cx="301861" cy="332871"/>
            <a:chOff x="1396957" y="4287365"/>
            <a:chExt cx="301861" cy="332871"/>
          </a:xfrm>
        </p:grpSpPr>
        <p:sp>
          <p:nvSpPr>
            <p:cNvPr id="12578" name="Google Shape;12578;p62"/>
            <p:cNvSpPr/>
            <p:nvPr/>
          </p:nvSpPr>
          <p:spPr>
            <a:xfrm>
              <a:off x="1396957" y="4287365"/>
              <a:ext cx="301861" cy="332871"/>
            </a:xfrm>
            <a:custGeom>
              <a:avLst/>
              <a:gdLst/>
              <a:ahLst/>
              <a:cxnLst/>
              <a:rect l="l" t="t" r="r" b="b"/>
              <a:pathLst>
                <a:path w="9491" h="10466" extrusionOk="0">
                  <a:moveTo>
                    <a:pt x="751" y="2417"/>
                  </a:moveTo>
                  <a:lnTo>
                    <a:pt x="930" y="2619"/>
                  </a:lnTo>
                  <a:lnTo>
                    <a:pt x="513" y="2989"/>
                  </a:lnTo>
                  <a:lnTo>
                    <a:pt x="334" y="2786"/>
                  </a:lnTo>
                  <a:lnTo>
                    <a:pt x="751" y="2417"/>
                  </a:lnTo>
                  <a:close/>
                  <a:moveTo>
                    <a:pt x="1132" y="2834"/>
                  </a:moveTo>
                  <a:lnTo>
                    <a:pt x="3394" y="5346"/>
                  </a:lnTo>
                  <a:lnTo>
                    <a:pt x="3299" y="5429"/>
                  </a:lnTo>
                  <a:lnTo>
                    <a:pt x="1037" y="2917"/>
                  </a:lnTo>
                  <a:lnTo>
                    <a:pt x="1132" y="2834"/>
                  </a:lnTo>
                  <a:close/>
                  <a:moveTo>
                    <a:pt x="811" y="3131"/>
                  </a:moveTo>
                  <a:lnTo>
                    <a:pt x="3073" y="5644"/>
                  </a:lnTo>
                  <a:lnTo>
                    <a:pt x="2989" y="5727"/>
                  </a:lnTo>
                  <a:lnTo>
                    <a:pt x="727" y="3215"/>
                  </a:lnTo>
                  <a:lnTo>
                    <a:pt x="811" y="3131"/>
                  </a:lnTo>
                  <a:close/>
                  <a:moveTo>
                    <a:pt x="3478" y="5691"/>
                  </a:moveTo>
                  <a:lnTo>
                    <a:pt x="3597" y="5989"/>
                  </a:lnTo>
                  <a:lnTo>
                    <a:pt x="3299" y="5846"/>
                  </a:lnTo>
                  <a:lnTo>
                    <a:pt x="3478" y="5691"/>
                  </a:lnTo>
                  <a:close/>
                  <a:moveTo>
                    <a:pt x="3216" y="0"/>
                  </a:moveTo>
                  <a:cubicBezTo>
                    <a:pt x="3013" y="0"/>
                    <a:pt x="2858" y="167"/>
                    <a:pt x="2858" y="357"/>
                  </a:cubicBezTo>
                  <a:lnTo>
                    <a:pt x="2858" y="4286"/>
                  </a:lnTo>
                  <a:lnTo>
                    <a:pt x="977" y="2203"/>
                  </a:lnTo>
                  <a:cubicBezTo>
                    <a:pt x="918" y="2143"/>
                    <a:pt x="846" y="2119"/>
                    <a:pt x="775" y="2096"/>
                  </a:cubicBezTo>
                  <a:cubicBezTo>
                    <a:pt x="691" y="2096"/>
                    <a:pt x="608" y="2131"/>
                    <a:pt x="549" y="2167"/>
                  </a:cubicBezTo>
                  <a:lnTo>
                    <a:pt x="132" y="2548"/>
                  </a:lnTo>
                  <a:cubicBezTo>
                    <a:pt x="13" y="2667"/>
                    <a:pt x="1" y="2858"/>
                    <a:pt x="96" y="2977"/>
                  </a:cubicBezTo>
                  <a:lnTo>
                    <a:pt x="2751" y="5917"/>
                  </a:lnTo>
                  <a:cubicBezTo>
                    <a:pt x="2775" y="5953"/>
                    <a:pt x="2811" y="5977"/>
                    <a:pt x="2858" y="6001"/>
                  </a:cubicBezTo>
                  <a:lnTo>
                    <a:pt x="2858" y="8358"/>
                  </a:lnTo>
                  <a:lnTo>
                    <a:pt x="2263" y="8358"/>
                  </a:lnTo>
                  <a:cubicBezTo>
                    <a:pt x="2168" y="8358"/>
                    <a:pt x="2108" y="8442"/>
                    <a:pt x="2108" y="8513"/>
                  </a:cubicBezTo>
                  <a:cubicBezTo>
                    <a:pt x="2108" y="8596"/>
                    <a:pt x="2180" y="8656"/>
                    <a:pt x="2263" y="8656"/>
                  </a:cubicBezTo>
                  <a:lnTo>
                    <a:pt x="6502" y="8656"/>
                  </a:lnTo>
                  <a:cubicBezTo>
                    <a:pt x="6526" y="8656"/>
                    <a:pt x="6549" y="8692"/>
                    <a:pt x="6549" y="8704"/>
                  </a:cubicBezTo>
                  <a:lnTo>
                    <a:pt x="6549" y="9013"/>
                  </a:lnTo>
                  <a:cubicBezTo>
                    <a:pt x="6549" y="9477"/>
                    <a:pt x="6752" y="9882"/>
                    <a:pt x="7097" y="10144"/>
                  </a:cubicBezTo>
                  <a:lnTo>
                    <a:pt x="1644" y="10144"/>
                  </a:lnTo>
                  <a:cubicBezTo>
                    <a:pt x="1025" y="10144"/>
                    <a:pt x="513" y="9644"/>
                    <a:pt x="513" y="9013"/>
                  </a:cubicBezTo>
                  <a:lnTo>
                    <a:pt x="513" y="8704"/>
                  </a:lnTo>
                  <a:cubicBezTo>
                    <a:pt x="513" y="8680"/>
                    <a:pt x="549" y="8656"/>
                    <a:pt x="561" y="8656"/>
                  </a:cubicBezTo>
                  <a:lnTo>
                    <a:pt x="1573" y="8656"/>
                  </a:lnTo>
                  <a:cubicBezTo>
                    <a:pt x="1668" y="8656"/>
                    <a:pt x="1727" y="8584"/>
                    <a:pt x="1727" y="8513"/>
                  </a:cubicBezTo>
                  <a:cubicBezTo>
                    <a:pt x="1727" y="8418"/>
                    <a:pt x="1644" y="8358"/>
                    <a:pt x="1573" y="8358"/>
                  </a:cubicBezTo>
                  <a:lnTo>
                    <a:pt x="561" y="8358"/>
                  </a:lnTo>
                  <a:cubicBezTo>
                    <a:pt x="370" y="8358"/>
                    <a:pt x="203" y="8525"/>
                    <a:pt x="203" y="8715"/>
                  </a:cubicBezTo>
                  <a:lnTo>
                    <a:pt x="203" y="9037"/>
                  </a:lnTo>
                  <a:cubicBezTo>
                    <a:pt x="203" y="9823"/>
                    <a:pt x="846" y="10466"/>
                    <a:pt x="1632" y="10466"/>
                  </a:cubicBezTo>
                  <a:lnTo>
                    <a:pt x="8050" y="10466"/>
                  </a:lnTo>
                  <a:cubicBezTo>
                    <a:pt x="8835" y="10466"/>
                    <a:pt x="9478" y="9823"/>
                    <a:pt x="9478" y="9037"/>
                  </a:cubicBezTo>
                  <a:lnTo>
                    <a:pt x="9478" y="4846"/>
                  </a:lnTo>
                  <a:cubicBezTo>
                    <a:pt x="9478" y="4763"/>
                    <a:pt x="9407" y="4703"/>
                    <a:pt x="9324" y="4703"/>
                  </a:cubicBezTo>
                  <a:cubicBezTo>
                    <a:pt x="9240" y="4703"/>
                    <a:pt x="9181" y="4774"/>
                    <a:pt x="9181" y="4846"/>
                  </a:cubicBezTo>
                  <a:lnTo>
                    <a:pt x="9181" y="9037"/>
                  </a:lnTo>
                  <a:cubicBezTo>
                    <a:pt x="9181" y="9656"/>
                    <a:pt x="8669" y="10168"/>
                    <a:pt x="8050" y="10168"/>
                  </a:cubicBezTo>
                  <a:lnTo>
                    <a:pt x="7978" y="10168"/>
                  </a:lnTo>
                  <a:cubicBezTo>
                    <a:pt x="7347" y="10168"/>
                    <a:pt x="6847" y="9656"/>
                    <a:pt x="6847" y="9037"/>
                  </a:cubicBezTo>
                  <a:lnTo>
                    <a:pt x="6847" y="8715"/>
                  </a:lnTo>
                  <a:cubicBezTo>
                    <a:pt x="6847" y="8525"/>
                    <a:pt x="6680" y="8358"/>
                    <a:pt x="6490" y="8358"/>
                  </a:cubicBezTo>
                  <a:lnTo>
                    <a:pt x="3156" y="8358"/>
                  </a:lnTo>
                  <a:lnTo>
                    <a:pt x="3156" y="6096"/>
                  </a:lnTo>
                  <a:lnTo>
                    <a:pt x="3585" y="6322"/>
                  </a:lnTo>
                  <a:cubicBezTo>
                    <a:pt x="3609" y="6334"/>
                    <a:pt x="3656" y="6358"/>
                    <a:pt x="3692" y="6358"/>
                  </a:cubicBezTo>
                  <a:cubicBezTo>
                    <a:pt x="3751" y="6358"/>
                    <a:pt x="3811" y="6334"/>
                    <a:pt x="3847" y="6298"/>
                  </a:cubicBezTo>
                  <a:cubicBezTo>
                    <a:pt x="3930" y="6215"/>
                    <a:pt x="3954" y="6120"/>
                    <a:pt x="3906" y="6025"/>
                  </a:cubicBezTo>
                  <a:lnTo>
                    <a:pt x="3668" y="5394"/>
                  </a:lnTo>
                  <a:lnTo>
                    <a:pt x="3668" y="5358"/>
                  </a:lnTo>
                  <a:cubicBezTo>
                    <a:pt x="3668" y="5286"/>
                    <a:pt x="3644" y="5191"/>
                    <a:pt x="3597" y="5132"/>
                  </a:cubicBezTo>
                  <a:lnTo>
                    <a:pt x="3132" y="4608"/>
                  </a:lnTo>
                  <a:lnTo>
                    <a:pt x="3132" y="345"/>
                  </a:lnTo>
                  <a:cubicBezTo>
                    <a:pt x="3132" y="310"/>
                    <a:pt x="3168" y="298"/>
                    <a:pt x="3180" y="298"/>
                  </a:cubicBezTo>
                  <a:lnTo>
                    <a:pt x="9109" y="298"/>
                  </a:lnTo>
                  <a:cubicBezTo>
                    <a:pt x="9133" y="298"/>
                    <a:pt x="9145" y="333"/>
                    <a:pt x="9145" y="345"/>
                  </a:cubicBezTo>
                  <a:lnTo>
                    <a:pt x="9145" y="2346"/>
                  </a:lnTo>
                  <a:cubicBezTo>
                    <a:pt x="9145" y="2441"/>
                    <a:pt x="9228" y="2500"/>
                    <a:pt x="9300" y="2500"/>
                  </a:cubicBezTo>
                  <a:cubicBezTo>
                    <a:pt x="9383" y="2500"/>
                    <a:pt x="9443" y="2429"/>
                    <a:pt x="9443" y="2346"/>
                  </a:cubicBezTo>
                  <a:lnTo>
                    <a:pt x="9443" y="345"/>
                  </a:lnTo>
                  <a:cubicBezTo>
                    <a:pt x="9490" y="167"/>
                    <a:pt x="9324" y="0"/>
                    <a:pt x="9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9" name="Google Shape;12579;p62"/>
            <p:cNvSpPr/>
            <p:nvPr/>
          </p:nvSpPr>
          <p:spPr>
            <a:xfrm>
              <a:off x="1689309" y="4378614"/>
              <a:ext cx="9510" cy="46976"/>
            </a:xfrm>
            <a:custGeom>
              <a:avLst/>
              <a:gdLst/>
              <a:ahLst/>
              <a:cxnLst/>
              <a:rect l="l" t="t" r="r" b="b"/>
              <a:pathLst>
                <a:path w="299" h="1477" extrusionOk="0">
                  <a:moveTo>
                    <a:pt x="155" y="0"/>
                  </a:moveTo>
                  <a:cubicBezTo>
                    <a:pt x="60" y="0"/>
                    <a:pt x="1" y="84"/>
                    <a:pt x="1" y="155"/>
                  </a:cubicBezTo>
                  <a:lnTo>
                    <a:pt x="1" y="1334"/>
                  </a:lnTo>
                  <a:cubicBezTo>
                    <a:pt x="1" y="1417"/>
                    <a:pt x="72" y="1477"/>
                    <a:pt x="155" y="1477"/>
                  </a:cubicBezTo>
                  <a:cubicBezTo>
                    <a:pt x="239" y="1477"/>
                    <a:pt x="298" y="1405"/>
                    <a:pt x="298" y="1334"/>
                  </a:cubicBezTo>
                  <a:lnTo>
                    <a:pt x="298" y="155"/>
                  </a:lnTo>
                  <a:cubicBezTo>
                    <a:pt x="298" y="84"/>
                    <a:pt x="239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0" name="Google Shape;12580;p62"/>
            <p:cNvSpPr/>
            <p:nvPr/>
          </p:nvSpPr>
          <p:spPr>
            <a:xfrm>
              <a:off x="1520424" y="4385420"/>
              <a:ext cx="33363" cy="3298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298"/>
                  </a:moveTo>
                  <a:cubicBezTo>
                    <a:pt x="643" y="298"/>
                    <a:pt x="739" y="406"/>
                    <a:pt x="739" y="525"/>
                  </a:cubicBezTo>
                  <a:cubicBezTo>
                    <a:pt x="739" y="644"/>
                    <a:pt x="643" y="739"/>
                    <a:pt x="524" y="739"/>
                  </a:cubicBezTo>
                  <a:cubicBezTo>
                    <a:pt x="405" y="739"/>
                    <a:pt x="298" y="644"/>
                    <a:pt x="298" y="525"/>
                  </a:cubicBezTo>
                  <a:cubicBezTo>
                    <a:pt x="298" y="406"/>
                    <a:pt x="405" y="298"/>
                    <a:pt x="524" y="298"/>
                  </a:cubicBezTo>
                  <a:close/>
                  <a:moveTo>
                    <a:pt x="524" y="1"/>
                  </a:moveTo>
                  <a:cubicBezTo>
                    <a:pt x="238" y="1"/>
                    <a:pt x="0" y="239"/>
                    <a:pt x="0" y="525"/>
                  </a:cubicBezTo>
                  <a:cubicBezTo>
                    <a:pt x="0" y="798"/>
                    <a:pt x="238" y="1037"/>
                    <a:pt x="524" y="1037"/>
                  </a:cubicBezTo>
                  <a:cubicBezTo>
                    <a:pt x="798" y="1037"/>
                    <a:pt x="1036" y="798"/>
                    <a:pt x="1036" y="525"/>
                  </a:cubicBezTo>
                  <a:cubicBezTo>
                    <a:pt x="1048" y="239"/>
                    <a:pt x="822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1" name="Google Shape;12581;p62"/>
            <p:cNvSpPr/>
            <p:nvPr/>
          </p:nvSpPr>
          <p:spPr>
            <a:xfrm>
              <a:off x="1563202" y="4398683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0"/>
                  </a:moveTo>
                  <a:cubicBezTo>
                    <a:pt x="84" y="0"/>
                    <a:pt x="25" y="72"/>
                    <a:pt x="25" y="143"/>
                  </a:cubicBezTo>
                  <a:cubicBezTo>
                    <a:pt x="1" y="227"/>
                    <a:pt x="84" y="298"/>
                    <a:pt x="167" y="298"/>
                  </a:cubicBezTo>
                  <a:lnTo>
                    <a:pt x="929" y="298"/>
                  </a:lnTo>
                  <a:cubicBezTo>
                    <a:pt x="1025" y="298"/>
                    <a:pt x="1084" y="227"/>
                    <a:pt x="1084" y="143"/>
                  </a:cubicBezTo>
                  <a:cubicBezTo>
                    <a:pt x="1084" y="60"/>
                    <a:pt x="1001" y="0"/>
                    <a:pt x="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2" name="Google Shape;12582;p62"/>
            <p:cNvSpPr/>
            <p:nvPr/>
          </p:nvSpPr>
          <p:spPr>
            <a:xfrm>
              <a:off x="1563965" y="4410037"/>
              <a:ext cx="92807" cy="9510"/>
            </a:xfrm>
            <a:custGeom>
              <a:avLst/>
              <a:gdLst/>
              <a:ahLst/>
              <a:cxnLst/>
              <a:rect l="l" t="t" r="r" b="b"/>
              <a:pathLst>
                <a:path w="2918" h="299" extrusionOk="0">
                  <a:moveTo>
                    <a:pt x="143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3" y="298"/>
                  </a:cubicBezTo>
                  <a:lnTo>
                    <a:pt x="2763" y="298"/>
                  </a:lnTo>
                  <a:cubicBezTo>
                    <a:pt x="2858" y="298"/>
                    <a:pt x="2918" y="227"/>
                    <a:pt x="2918" y="144"/>
                  </a:cubicBezTo>
                  <a:cubicBezTo>
                    <a:pt x="2918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3" name="Google Shape;12583;p62"/>
            <p:cNvSpPr/>
            <p:nvPr/>
          </p:nvSpPr>
          <p:spPr>
            <a:xfrm>
              <a:off x="1563202" y="4385039"/>
              <a:ext cx="10273" cy="9510"/>
            </a:xfrm>
            <a:custGeom>
              <a:avLst/>
              <a:gdLst/>
              <a:ahLst/>
              <a:cxnLst/>
              <a:rect l="l" t="t" r="r" b="b"/>
              <a:pathLst>
                <a:path w="323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44"/>
                  </a:cubicBezTo>
                  <a:cubicBezTo>
                    <a:pt x="1" y="215"/>
                    <a:pt x="84" y="299"/>
                    <a:pt x="167" y="299"/>
                  </a:cubicBezTo>
                  <a:cubicBezTo>
                    <a:pt x="263" y="299"/>
                    <a:pt x="322" y="215"/>
                    <a:pt x="322" y="144"/>
                  </a:cubicBezTo>
                  <a:cubicBezTo>
                    <a:pt x="322" y="60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4" name="Google Shape;12584;p62"/>
            <p:cNvSpPr/>
            <p:nvPr/>
          </p:nvSpPr>
          <p:spPr>
            <a:xfrm>
              <a:off x="1520424" y="4436944"/>
              <a:ext cx="33363" cy="33332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4" y="298"/>
                  </a:moveTo>
                  <a:cubicBezTo>
                    <a:pt x="643" y="298"/>
                    <a:pt x="739" y="405"/>
                    <a:pt x="739" y="524"/>
                  </a:cubicBezTo>
                  <a:cubicBezTo>
                    <a:pt x="739" y="655"/>
                    <a:pt x="643" y="750"/>
                    <a:pt x="524" y="750"/>
                  </a:cubicBezTo>
                  <a:cubicBezTo>
                    <a:pt x="405" y="750"/>
                    <a:pt x="298" y="643"/>
                    <a:pt x="298" y="524"/>
                  </a:cubicBezTo>
                  <a:cubicBezTo>
                    <a:pt x="298" y="405"/>
                    <a:pt x="405" y="298"/>
                    <a:pt x="524" y="298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810"/>
                    <a:pt x="238" y="1048"/>
                    <a:pt x="524" y="1048"/>
                  </a:cubicBezTo>
                  <a:cubicBezTo>
                    <a:pt x="798" y="1048"/>
                    <a:pt x="1036" y="810"/>
                    <a:pt x="1036" y="524"/>
                  </a:cubicBezTo>
                  <a:cubicBezTo>
                    <a:pt x="1048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5" name="Google Shape;12585;p62"/>
            <p:cNvSpPr/>
            <p:nvPr/>
          </p:nvSpPr>
          <p:spPr>
            <a:xfrm>
              <a:off x="1563202" y="4450175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56"/>
                  </a:cubicBezTo>
                  <a:cubicBezTo>
                    <a:pt x="1" y="239"/>
                    <a:pt x="84" y="298"/>
                    <a:pt x="167" y="298"/>
                  </a:cubicBezTo>
                  <a:lnTo>
                    <a:pt x="929" y="298"/>
                  </a:lnTo>
                  <a:cubicBezTo>
                    <a:pt x="1025" y="298"/>
                    <a:pt x="1084" y="227"/>
                    <a:pt x="1084" y="156"/>
                  </a:cubicBezTo>
                  <a:cubicBezTo>
                    <a:pt x="1084" y="60"/>
                    <a:pt x="100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6" name="Google Shape;12586;p62"/>
            <p:cNvSpPr/>
            <p:nvPr/>
          </p:nvSpPr>
          <p:spPr>
            <a:xfrm>
              <a:off x="1563965" y="4461530"/>
              <a:ext cx="92807" cy="9510"/>
            </a:xfrm>
            <a:custGeom>
              <a:avLst/>
              <a:gdLst/>
              <a:ahLst/>
              <a:cxnLst/>
              <a:rect l="l" t="t" r="r" b="b"/>
              <a:pathLst>
                <a:path w="2918" h="299" extrusionOk="0">
                  <a:moveTo>
                    <a:pt x="143" y="1"/>
                  </a:moveTo>
                  <a:cubicBezTo>
                    <a:pt x="60" y="1"/>
                    <a:pt x="1" y="72"/>
                    <a:pt x="1" y="156"/>
                  </a:cubicBezTo>
                  <a:cubicBezTo>
                    <a:pt x="1" y="239"/>
                    <a:pt x="72" y="299"/>
                    <a:pt x="143" y="299"/>
                  </a:cubicBezTo>
                  <a:lnTo>
                    <a:pt x="2763" y="299"/>
                  </a:lnTo>
                  <a:cubicBezTo>
                    <a:pt x="2858" y="299"/>
                    <a:pt x="2918" y="227"/>
                    <a:pt x="2918" y="156"/>
                  </a:cubicBezTo>
                  <a:cubicBezTo>
                    <a:pt x="2918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7" name="Google Shape;12587;p62"/>
            <p:cNvSpPr/>
            <p:nvPr/>
          </p:nvSpPr>
          <p:spPr>
            <a:xfrm>
              <a:off x="1563202" y="4436563"/>
              <a:ext cx="10273" cy="9478"/>
            </a:xfrm>
            <a:custGeom>
              <a:avLst/>
              <a:gdLst/>
              <a:ahLst/>
              <a:cxnLst/>
              <a:rect l="l" t="t" r="r" b="b"/>
              <a:pathLst>
                <a:path w="323" h="298" extrusionOk="0">
                  <a:moveTo>
                    <a:pt x="167" y="0"/>
                  </a:moveTo>
                  <a:cubicBezTo>
                    <a:pt x="84" y="0"/>
                    <a:pt x="25" y="72"/>
                    <a:pt x="25" y="143"/>
                  </a:cubicBezTo>
                  <a:cubicBezTo>
                    <a:pt x="1" y="226"/>
                    <a:pt x="84" y="298"/>
                    <a:pt x="167" y="298"/>
                  </a:cubicBezTo>
                  <a:cubicBezTo>
                    <a:pt x="263" y="298"/>
                    <a:pt x="322" y="226"/>
                    <a:pt x="322" y="143"/>
                  </a:cubicBezTo>
                  <a:cubicBezTo>
                    <a:pt x="322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8" name="Google Shape;12588;p62"/>
            <p:cNvSpPr/>
            <p:nvPr/>
          </p:nvSpPr>
          <p:spPr>
            <a:xfrm>
              <a:off x="1520424" y="4488437"/>
              <a:ext cx="33363" cy="33332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4" y="298"/>
                  </a:moveTo>
                  <a:cubicBezTo>
                    <a:pt x="643" y="298"/>
                    <a:pt x="739" y="405"/>
                    <a:pt x="739" y="524"/>
                  </a:cubicBezTo>
                  <a:cubicBezTo>
                    <a:pt x="739" y="643"/>
                    <a:pt x="643" y="750"/>
                    <a:pt x="524" y="750"/>
                  </a:cubicBezTo>
                  <a:cubicBezTo>
                    <a:pt x="405" y="750"/>
                    <a:pt x="298" y="643"/>
                    <a:pt x="298" y="524"/>
                  </a:cubicBezTo>
                  <a:cubicBezTo>
                    <a:pt x="298" y="405"/>
                    <a:pt x="405" y="298"/>
                    <a:pt x="524" y="298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810"/>
                    <a:pt x="238" y="1048"/>
                    <a:pt x="524" y="1048"/>
                  </a:cubicBezTo>
                  <a:cubicBezTo>
                    <a:pt x="798" y="1048"/>
                    <a:pt x="1036" y="810"/>
                    <a:pt x="1036" y="524"/>
                  </a:cubicBezTo>
                  <a:cubicBezTo>
                    <a:pt x="1048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9" name="Google Shape;12589;p62"/>
            <p:cNvSpPr/>
            <p:nvPr/>
          </p:nvSpPr>
          <p:spPr>
            <a:xfrm>
              <a:off x="1563202" y="4501667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1"/>
                  </a:moveTo>
                  <a:cubicBezTo>
                    <a:pt x="84" y="1"/>
                    <a:pt x="25" y="84"/>
                    <a:pt x="25" y="156"/>
                  </a:cubicBezTo>
                  <a:cubicBezTo>
                    <a:pt x="1" y="239"/>
                    <a:pt x="84" y="299"/>
                    <a:pt x="167" y="299"/>
                  </a:cubicBezTo>
                  <a:lnTo>
                    <a:pt x="929" y="299"/>
                  </a:lnTo>
                  <a:cubicBezTo>
                    <a:pt x="1025" y="299"/>
                    <a:pt x="1084" y="227"/>
                    <a:pt x="1084" y="156"/>
                  </a:cubicBezTo>
                  <a:cubicBezTo>
                    <a:pt x="1084" y="61"/>
                    <a:pt x="100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0" name="Google Shape;12590;p62"/>
            <p:cNvSpPr/>
            <p:nvPr/>
          </p:nvSpPr>
          <p:spPr>
            <a:xfrm>
              <a:off x="1563202" y="4513785"/>
              <a:ext cx="93570" cy="9510"/>
            </a:xfrm>
            <a:custGeom>
              <a:avLst/>
              <a:gdLst/>
              <a:ahLst/>
              <a:cxnLst/>
              <a:rect l="l" t="t" r="r" b="b"/>
              <a:pathLst>
                <a:path w="2942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44"/>
                  </a:cubicBezTo>
                  <a:cubicBezTo>
                    <a:pt x="1" y="215"/>
                    <a:pt x="84" y="299"/>
                    <a:pt x="167" y="299"/>
                  </a:cubicBezTo>
                  <a:lnTo>
                    <a:pt x="2787" y="299"/>
                  </a:lnTo>
                  <a:cubicBezTo>
                    <a:pt x="2882" y="299"/>
                    <a:pt x="2942" y="215"/>
                    <a:pt x="2942" y="144"/>
                  </a:cubicBezTo>
                  <a:cubicBezTo>
                    <a:pt x="2942" y="61"/>
                    <a:pt x="2870" y="1"/>
                    <a:pt x="2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1" name="Google Shape;12591;p62"/>
            <p:cNvSpPr/>
            <p:nvPr/>
          </p:nvSpPr>
          <p:spPr>
            <a:xfrm>
              <a:off x="1563202" y="4488055"/>
              <a:ext cx="10273" cy="9478"/>
            </a:xfrm>
            <a:custGeom>
              <a:avLst/>
              <a:gdLst/>
              <a:ahLst/>
              <a:cxnLst/>
              <a:rect l="l" t="t" r="r" b="b"/>
              <a:pathLst>
                <a:path w="323" h="298" extrusionOk="0">
                  <a:moveTo>
                    <a:pt x="167" y="0"/>
                  </a:moveTo>
                  <a:cubicBezTo>
                    <a:pt x="84" y="0"/>
                    <a:pt x="25" y="72"/>
                    <a:pt x="25" y="155"/>
                  </a:cubicBezTo>
                  <a:cubicBezTo>
                    <a:pt x="1" y="227"/>
                    <a:pt x="84" y="298"/>
                    <a:pt x="167" y="298"/>
                  </a:cubicBezTo>
                  <a:cubicBezTo>
                    <a:pt x="263" y="298"/>
                    <a:pt x="322" y="227"/>
                    <a:pt x="322" y="155"/>
                  </a:cubicBezTo>
                  <a:cubicBezTo>
                    <a:pt x="322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2" name="Google Shape;12592;p62"/>
            <p:cNvSpPr/>
            <p:nvPr/>
          </p:nvSpPr>
          <p:spPr>
            <a:xfrm>
              <a:off x="1522682" y="4318025"/>
              <a:ext cx="141659" cy="37912"/>
            </a:xfrm>
            <a:custGeom>
              <a:avLst/>
              <a:gdLst/>
              <a:ahLst/>
              <a:cxnLst/>
              <a:rect l="l" t="t" r="r" b="b"/>
              <a:pathLst>
                <a:path w="4454" h="1192" extrusionOk="0">
                  <a:moveTo>
                    <a:pt x="4144" y="322"/>
                  </a:moveTo>
                  <a:lnTo>
                    <a:pt x="4144" y="893"/>
                  </a:lnTo>
                  <a:lnTo>
                    <a:pt x="298" y="893"/>
                  </a:lnTo>
                  <a:lnTo>
                    <a:pt x="298" y="322"/>
                  </a:lnTo>
                  <a:close/>
                  <a:moveTo>
                    <a:pt x="156" y="0"/>
                  </a:moveTo>
                  <a:cubicBezTo>
                    <a:pt x="60" y="0"/>
                    <a:pt x="1" y="84"/>
                    <a:pt x="1" y="155"/>
                  </a:cubicBezTo>
                  <a:lnTo>
                    <a:pt x="1" y="1048"/>
                  </a:lnTo>
                  <a:cubicBezTo>
                    <a:pt x="1" y="1132"/>
                    <a:pt x="72" y="1191"/>
                    <a:pt x="156" y="1191"/>
                  </a:cubicBezTo>
                  <a:lnTo>
                    <a:pt x="4299" y="1191"/>
                  </a:lnTo>
                  <a:cubicBezTo>
                    <a:pt x="4382" y="1191"/>
                    <a:pt x="4454" y="1132"/>
                    <a:pt x="4454" y="1048"/>
                  </a:cubicBezTo>
                  <a:lnTo>
                    <a:pt x="4454" y="155"/>
                  </a:lnTo>
                  <a:cubicBezTo>
                    <a:pt x="4454" y="60"/>
                    <a:pt x="4382" y="0"/>
                    <a:pt x="4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93" name="Google Shape;12593;p62"/>
          <p:cNvGrpSpPr/>
          <p:nvPr/>
        </p:nvGrpSpPr>
        <p:grpSpPr>
          <a:xfrm>
            <a:off x="1865381" y="4277506"/>
            <a:ext cx="396131" cy="355612"/>
            <a:chOff x="1865381" y="4277506"/>
            <a:chExt cx="396131" cy="355612"/>
          </a:xfrm>
        </p:grpSpPr>
        <p:sp>
          <p:nvSpPr>
            <p:cNvPr id="12594" name="Google Shape;12594;p62"/>
            <p:cNvSpPr/>
            <p:nvPr/>
          </p:nvSpPr>
          <p:spPr>
            <a:xfrm>
              <a:off x="1865381" y="4277506"/>
              <a:ext cx="396131" cy="355612"/>
            </a:xfrm>
            <a:custGeom>
              <a:avLst/>
              <a:gdLst/>
              <a:ahLst/>
              <a:cxnLst/>
              <a:rect l="l" t="t" r="r" b="b"/>
              <a:pathLst>
                <a:path w="12455" h="11181" extrusionOk="0">
                  <a:moveTo>
                    <a:pt x="6240" y="322"/>
                  </a:moveTo>
                  <a:cubicBezTo>
                    <a:pt x="6883" y="322"/>
                    <a:pt x="7395" y="846"/>
                    <a:pt x="7395" y="1489"/>
                  </a:cubicBezTo>
                  <a:cubicBezTo>
                    <a:pt x="7395" y="2132"/>
                    <a:pt x="6883" y="2644"/>
                    <a:pt x="6240" y="2644"/>
                  </a:cubicBezTo>
                  <a:cubicBezTo>
                    <a:pt x="5597" y="2644"/>
                    <a:pt x="5073" y="2132"/>
                    <a:pt x="5073" y="1489"/>
                  </a:cubicBezTo>
                  <a:cubicBezTo>
                    <a:pt x="5073" y="834"/>
                    <a:pt x="5597" y="322"/>
                    <a:pt x="6240" y="322"/>
                  </a:cubicBezTo>
                  <a:close/>
                  <a:moveTo>
                    <a:pt x="8621" y="3703"/>
                  </a:moveTo>
                  <a:cubicBezTo>
                    <a:pt x="8943" y="3703"/>
                    <a:pt x="9276" y="3751"/>
                    <a:pt x="9585" y="3834"/>
                  </a:cubicBezTo>
                  <a:cubicBezTo>
                    <a:pt x="9657" y="4156"/>
                    <a:pt x="9705" y="4477"/>
                    <a:pt x="9705" y="4811"/>
                  </a:cubicBezTo>
                  <a:cubicBezTo>
                    <a:pt x="9705" y="6239"/>
                    <a:pt x="8847" y="7466"/>
                    <a:pt x="7609" y="7990"/>
                  </a:cubicBezTo>
                  <a:cubicBezTo>
                    <a:pt x="7669" y="7728"/>
                    <a:pt x="7692" y="7454"/>
                    <a:pt x="7692" y="7192"/>
                  </a:cubicBezTo>
                  <a:cubicBezTo>
                    <a:pt x="7692" y="6382"/>
                    <a:pt x="7454" y="5620"/>
                    <a:pt x="7002" y="4965"/>
                  </a:cubicBezTo>
                  <a:cubicBezTo>
                    <a:pt x="6859" y="4775"/>
                    <a:pt x="6704" y="4584"/>
                    <a:pt x="6526" y="4418"/>
                  </a:cubicBezTo>
                  <a:cubicBezTo>
                    <a:pt x="7097" y="3977"/>
                    <a:pt x="7835" y="3703"/>
                    <a:pt x="8621" y="3703"/>
                  </a:cubicBezTo>
                  <a:close/>
                  <a:moveTo>
                    <a:pt x="10478" y="7918"/>
                  </a:moveTo>
                  <a:lnTo>
                    <a:pt x="10598" y="8168"/>
                  </a:lnTo>
                  <a:lnTo>
                    <a:pt x="10359" y="8168"/>
                  </a:lnTo>
                  <a:lnTo>
                    <a:pt x="10478" y="7918"/>
                  </a:lnTo>
                  <a:close/>
                  <a:moveTo>
                    <a:pt x="6240" y="4656"/>
                  </a:moveTo>
                  <a:cubicBezTo>
                    <a:pt x="6407" y="4823"/>
                    <a:pt x="6561" y="4989"/>
                    <a:pt x="6704" y="5180"/>
                  </a:cubicBezTo>
                  <a:cubicBezTo>
                    <a:pt x="7121" y="5775"/>
                    <a:pt x="7335" y="6454"/>
                    <a:pt x="7335" y="7192"/>
                  </a:cubicBezTo>
                  <a:cubicBezTo>
                    <a:pt x="7335" y="7513"/>
                    <a:pt x="7299" y="7847"/>
                    <a:pt x="7204" y="8144"/>
                  </a:cubicBezTo>
                  <a:cubicBezTo>
                    <a:pt x="6907" y="8228"/>
                    <a:pt x="6585" y="8275"/>
                    <a:pt x="6252" y="8275"/>
                  </a:cubicBezTo>
                  <a:cubicBezTo>
                    <a:pt x="5930" y="8275"/>
                    <a:pt x="5597" y="8228"/>
                    <a:pt x="5299" y="8144"/>
                  </a:cubicBezTo>
                  <a:cubicBezTo>
                    <a:pt x="5180" y="7847"/>
                    <a:pt x="5133" y="7513"/>
                    <a:pt x="5133" y="7192"/>
                  </a:cubicBezTo>
                  <a:cubicBezTo>
                    <a:pt x="5133" y="6192"/>
                    <a:pt x="5549" y="5299"/>
                    <a:pt x="6240" y="4656"/>
                  </a:cubicBezTo>
                  <a:close/>
                  <a:moveTo>
                    <a:pt x="5430" y="8561"/>
                  </a:moveTo>
                  <a:lnTo>
                    <a:pt x="5430" y="8561"/>
                  </a:lnTo>
                  <a:cubicBezTo>
                    <a:pt x="5704" y="8621"/>
                    <a:pt x="5966" y="8644"/>
                    <a:pt x="6252" y="8644"/>
                  </a:cubicBezTo>
                  <a:cubicBezTo>
                    <a:pt x="6537" y="8644"/>
                    <a:pt x="6799" y="8621"/>
                    <a:pt x="7061" y="8561"/>
                  </a:cubicBezTo>
                  <a:lnTo>
                    <a:pt x="7061" y="8561"/>
                  </a:lnTo>
                  <a:cubicBezTo>
                    <a:pt x="6847" y="8990"/>
                    <a:pt x="6585" y="9395"/>
                    <a:pt x="6240" y="9716"/>
                  </a:cubicBezTo>
                  <a:cubicBezTo>
                    <a:pt x="5895" y="9395"/>
                    <a:pt x="5609" y="9002"/>
                    <a:pt x="5430" y="8561"/>
                  </a:cubicBezTo>
                  <a:close/>
                  <a:moveTo>
                    <a:pt x="2470" y="7643"/>
                  </a:moveTo>
                  <a:cubicBezTo>
                    <a:pt x="2693" y="7643"/>
                    <a:pt x="2903" y="7736"/>
                    <a:pt x="3049" y="7882"/>
                  </a:cubicBezTo>
                  <a:cubicBezTo>
                    <a:pt x="3216" y="8049"/>
                    <a:pt x="3323" y="8263"/>
                    <a:pt x="3323" y="8502"/>
                  </a:cubicBezTo>
                  <a:cubicBezTo>
                    <a:pt x="3323" y="8692"/>
                    <a:pt x="3263" y="8859"/>
                    <a:pt x="3144" y="9002"/>
                  </a:cubicBezTo>
                  <a:cubicBezTo>
                    <a:pt x="2954" y="9275"/>
                    <a:pt x="2799" y="9549"/>
                    <a:pt x="2739" y="9847"/>
                  </a:cubicBezTo>
                  <a:lnTo>
                    <a:pt x="2192" y="9847"/>
                  </a:lnTo>
                  <a:cubicBezTo>
                    <a:pt x="2132" y="9537"/>
                    <a:pt x="2001" y="9252"/>
                    <a:pt x="1799" y="9002"/>
                  </a:cubicBezTo>
                  <a:cubicBezTo>
                    <a:pt x="1680" y="8835"/>
                    <a:pt x="1620" y="8656"/>
                    <a:pt x="1620" y="8454"/>
                  </a:cubicBezTo>
                  <a:cubicBezTo>
                    <a:pt x="1644" y="8025"/>
                    <a:pt x="2001" y="7668"/>
                    <a:pt x="2430" y="7644"/>
                  </a:cubicBezTo>
                  <a:cubicBezTo>
                    <a:pt x="2443" y="7644"/>
                    <a:pt x="2457" y="7643"/>
                    <a:pt x="2470" y="7643"/>
                  </a:cubicBezTo>
                  <a:close/>
                  <a:moveTo>
                    <a:pt x="10300" y="8525"/>
                  </a:moveTo>
                  <a:lnTo>
                    <a:pt x="10300" y="10145"/>
                  </a:lnTo>
                  <a:lnTo>
                    <a:pt x="10109" y="10145"/>
                  </a:lnTo>
                  <a:lnTo>
                    <a:pt x="10109" y="8585"/>
                  </a:lnTo>
                  <a:cubicBezTo>
                    <a:pt x="10109" y="8561"/>
                    <a:pt x="10133" y="8525"/>
                    <a:pt x="10169" y="8525"/>
                  </a:cubicBezTo>
                  <a:close/>
                  <a:moveTo>
                    <a:pt x="10788" y="8525"/>
                  </a:moveTo>
                  <a:cubicBezTo>
                    <a:pt x="10824" y="8525"/>
                    <a:pt x="10848" y="8561"/>
                    <a:pt x="10848" y="8585"/>
                  </a:cubicBezTo>
                  <a:lnTo>
                    <a:pt x="10848" y="10145"/>
                  </a:lnTo>
                  <a:lnTo>
                    <a:pt x="10657" y="10145"/>
                  </a:lnTo>
                  <a:lnTo>
                    <a:pt x="10657" y="8525"/>
                  </a:lnTo>
                  <a:close/>
                  <a:moveTo>
                    <a:pt x="2847" y="10252"/>
                  </a:moveTo>
                  <a:lnTo>
                    <a:pt x="2847" y="10323"/>
                  </a:lnTo>
                  <a:lnTo>
                    <a:pt x="2073" y="10323"/>
                  </a:lnTo>
                  <a:lnTo>
                    <a:pt x="2073" y="10252"/>
                  </a:lnTo>
                  <a:close/>
                  <a:moveTo>
                    <a:pt x="2489" y="4013"/>
                  </a:moveTo>
                  <a:lnTo>
                    <a:pt x="2489" y="4013"/>
                  </a:lnTo>
                  <a:cubicBezTo>
                    <a:pt x="2430" y="4287"/>
                    <a:pt x="2394" y="4549"/>
                    <a:pt x="2394" y="4823"/>
                  </a:cubicBezTo>
                  <a:cubicBezTo>
                    <a:pt x="2394" y="6501"/>
                    <a:pt x="3489" y="7930"/>
                    <a:pt x="4990" y="8454"/>
                  </a:cubicBezTo>
                  <a:cubicBezTo>
                    <a:pt x="5180" y="9025"/>
                    <a:pt x="5525" y="9549"/>
                    <a:pt x="5954" y="9966"/>
                  </a:cubicBezTo>
                  <a:cubicBezTo>
                    <a:pt x="5371" y="10383"/>
                    <a:pt x="4644" y="10657"/>
                    <a:pt x="3859" y="10657"/>
                  </a:cubicBezTo>
                  <a:cubicBezTo>
                    <a:pt x="3644" y="10657"/>
                    <a:pt x="3430" y="10645"/>
                    <a:pt x="3216" y="10597"/>
                  </a:cubicBezTo>
                  <a:lnTo>
                    <a:pt x="3216" y="10192"/>
                  </a:lnTo>
                  <a:cubicBezTo>
                    <a:pt x="3216" y="10085"/>
                    <a:pt x="3168" y="10002"/>
                    <a:pt x="3097" y="9942"/>
                  </a:cubicBezTo>
                  <a:cubicBezTo>
                    <a:pt x="3156" y="9680"/>
                    <a:pt x="3263" y="9454"/>
                    <a:pt x="3430" y="9240"/>
                  </a:cubicBezTo>
                  <a:cubicBezTo>
                    <a:pt x="3585" y="9025"/>
                    <a:pt x="3680" y="8775"/>
                    <a:pt x="3680" y="8513"/>
                  </a:cubicBezTo>
                  <a:cubicBezTo>
                    <a:pt x="3680" y="8180"/>
                    <a:pt x="3549" y="7871"/>
                    <a:pt x="3311" y="7632"/>
                  </a:cubicBezTo>
                  <a:cubicBezTo>
                    <a:pt x="3072" y="7416"/>
                    <a:pt x="2769" y="7298"/>
                    <a:pt x="2462" y="7298"/>
                  </a:cubicBezTo>
                  <a:cubicBezTo>
                    <a:pt x="2447" y="7298"/>
                    <a:pt x="2433" y="7298"/>
                    <a:pt x="2418" y="7299"/>
                  </a:cubicBezTo>
                  <a:cubicBezTo>
                    <a:pt x="1787" y="7335"/>
                    <a:pt x="1275" y="7835"/>
                    <a:pt x="1263" y="8466"/>
                  </a:cubicBezTo>
                  <a:cubicBezTo>
                    <a:pt x="1251" y="8752"/>
                    <a:pt x="1346" y="9025"/>
                    <a:pt x="1525" y="9252"/>
                  </a:cubicBezTo>
                  <a:cubicBezTo>
                    <a:pt x="1680" y="9466"/>
                    <a:pt x="1787" y="9704"/>
                    <a:pt x="1846" y="9954"/>
                  </a:cubicBezTo>
                  <a:lnTo>
                    <a:pt x="1799" y="10002"/>
                  </a:lnTo>
                  <a:cubicBezTo>
                    <a:pt x="906" y="9347"/>
                    <a:pt x="382" y="8311"/>
                    <a:pt x="382" y="7204"/>
                  </a:cubicBezTo>
                  <a:cubicBezTo>
                    <a:pt x="382" y="5775"/>
                    <a:pt x="1251" y="4537"/>
                    <a:pt x="2489" y="4013"/>
                  </a:cubicBezTo>
                  <a:close/>
                  <a:moveTo>
                    <a:pt x="2847" y="10680"/>
                  </a:moveTo>
                  <a:lnTo>
                    <a:pt x="2847" y="10788"/>
                  </a:lnTo>
                  <a:lnTo>
                    <a:pt x="2073" y="10788"/>
                  </a:lnTo>
                  <a:lnTo>
                    <a:pt x="2073" y="10680"/>
                  </a:lnTo>
                  <a:close/>
                  <a:moveTo>
                    <a:pt x="10848" y="10526"/>
                  </a:moveTo>
                  <a:lnTo>
                    <a:pt x="10848" y="10728"/>
                  </a:lnTo>
                  <a:cubicBezTo>
                    <a:pt x="10848" y="10764"/>
                    <a:pt x="10824" y="10788"/>
                    <a:pt x="10788" y="10788"/>
                  </a:cubicBezTo>
                  <a:lnTo>
                    <a:pt x="10169" y="10788"/>
                  </a:lnTo>
                  <a:cubicBezTo>
                    <a:pt x="10133" y="10788"/>
                    <a:pt x="10109" y="10764"/>
                    <a:pt x="10109" y="10728"/>
                  </a:cubicBezTo>
                  <a:lnTo>
                    <a:pt x="10109" y="10526"/>
                  </a:lnTo>
                  <a:close/>
                  <a:moveTo>
                    <a:pt x="6228" y="0"/>
                  </a:moveTo>
                  <a:cubicBezTo>
                    <a:pt x="5454" y="0"/>
                    <a:pt x="4823" y="584"/>
                    <a:pt x="4716" y="1310"/>
                  </a:cubicBezTo>
                  <a:cubicBezTo>
                    <a:pt x="4049" y="1596"/>
                    <a:pt x="3466" y="2072"/>
                    <a:pt x="3049" y="2667"/>
                  </a:cubicBezTo>
                  <a:cubicBezTo>
                    <a:pt x="2858" y="2941"/>
                    <a:pt x="2692" y="3263"/>
                    <a:pt x="2597" y="3584"/>
                  </a:cubicBezTo>
                  <a:cubicBezTo>
                    <a:pt x="1084" y="4108"/>
                    <a:pt x="1" y="5537"/>
                    <a:pt x="1" y="7216"/>
                  </a:cubicBezTo>
                  <a:cubicBezTo>
                    <a:pt x="1" y="8502"/>
                    <a:pt x="632" y="9692"/>
                    <a:pt x="1704" y="10407"/>
                  </a:cubicBezTo>
                  <a:lnTo>
                    <a:pt x="1704" y="10847"/>
                  </a:lnTo>
                  <a:cubicBezTo>
                    <a:pt x="1704" y="11026"/>
                    <a:pt x="1846" y="11180"/>
                    <a:pt x="2025" y="11180"/>
                  </a:cubicBezTo>
                  <a:lnTo>
                    <a:pt x="2858" y="11180"/>
                  </a:lnTo>
                  <a:cubicBezTo>
                    <a:pt x="2989" y="11180"/>
                    <a:pt x="3108" y="11097"/>
                    <a:pt x="3156" y="10978"/>
                  </a:cubicBezTo>
                  <a:cubicBezTo>
                    <a:pt x="3382" y="11026"/>
                    <a:pt x="3609" y="11038"/>
                    <a:pt x="3823" y="11038"/>
                  </a:cubicBezTo>
                  <a:cubicBezTo>
                    <a:pt x="4716" y="11038"/>
                    <a:pt x="5549" y="10728"/>
                    <a:pt x="6204" y="10204"/>
                  </a:cubicBezTo>
                  <a:cubicBezTo>
                    <a:pt x="6764" y="10645"/>
                    <a:pt x="7419" y="10919"/>
                    <a:pt x="8157" y="11014"/>
                  </a:cubicBezTo>
                  <a:lnTo>
                    <a:pt x="8169" y="11014"/>
                  </a:lnTo>
                  <a:cubicBezTo>
                    <a:pt x="8264" y="11014"/>
                    <a:pt x="8335" y="10942"/>
                    <a:pt x="8347" y="10847"/>
                  </a:cubicBezTo>
                  <a:cubicBezTo>
                    <a:pt x="8371" y="10740"/>
                    <a:pt x="8288" y="10657"/>
                    <a:pt x="8192" y="10645"/>
                  </a:cubicBezTo>
                  <a:cubicBezTo>
                    <a:pt x="7550" y="10561"/>
                    <a:pt x="6966" y="10323"/>
                    <a:pt x="6490" y="9954"/>
                  </a:cubicBezTo>
                  <a:cubicBezTo>
                    <a:pt x="6918" y="9537"/>
                    <a:pt x="7264" y="9014"/>
                    <a:pt x="7454" y="8442"/>
                  </a:cubicBezTo>
                  <a:cubicBezTo>
                    <a:pt x="8966" y="7918"/>
                    <a:pt x="10050" y="6489"/>
                    <a:pt x="10050" y="4811"/>
                  </a:cubicBezTo>
                  <a:cubicBezTo>
                    <a:pt x="10050" y="4525"/>
                    <a:pt x="10014" y="4251"/>
                    <a:pt x="9955" y="4001"/>
                  </a:cubicBezTo>
                  <a:lnTo>
                    <a:pt x="9955" y="4001"/>
                  </a:lnTo>
                  <a:cubicBezTo>
                    <a:pt x="11193" y="4537"/>
                    <a:pt x="12062" y="5763"/>
                    <a:pt x="12062" y="7192"/>
                  </a:cubicBezTo>
                  <a:cubicBezTo>
                    <a:pt x="12062" y="8037"/>
                    <a:pt x="11741" y="8859"/>
                    <a:pt x="11181" y="9490"/>
                  </a:cubicBezTo>
                  <a:lnTo>
                    <a:pt x="11181" y="8597"/>
                  </a:lnTo>
                  <a:cubicBezTo>
                    <a:pt x="11181" y="8466"/>
                    <a:pt x="11109" y="8335"/>
                    <a:pt x="11002" y="8263"/>
                  </a:cubicBezTo>
                  <a:lnTo>
                    <a:pt x="10717" y="7644"/>
                  </a:lnTo>
                  <a:cubicBezTo>
                    <a:pt x="10669" y="7549"/>
                    <a:pt x="10574" y="7466"/>
                    <a:pt x="10455" y="7466"/>
                  </a:cubicBezTo>
                  <a:cubicBezTo>
                    <a:pt x="10336" y="7466"/>
                    <a:pt x="10228" y="7525"/>
                    <a:pt x="10181" y="7644"/>
                  </a:cubicBezTo>
                  <a:lnTo>
                    <a:pt x="9895" y="8263"/>
                  </a:lnTo>
                  <a:cubicBezTo>
                    <a:pt x="9800" y="8335"/>
                    <a:pt x="9716" y="8466"/>
                    <a:pt x="9716" y="8597"/>
                  </a:cubicBezTo>
                  <a:lnTo>
                    <a:pt x="9716" y="10478"/>
                  </a:lnTo>
                  <a:cubicBezTo>
                    <a:pt x="9466" y="10561"/>
                    <a:pt x="9216" y="10621"/>
                    <a:pt x="8943" y="10645"/>
                  </a:cubicBezTo>
                  <a:cubicBezTo>
                    <a:pt x="8847" y="10657"/>
                    <a:pt x="8764" y="10740"/>
                    <a:pt x="8788" y="10835"/>
                  </a:cubicBezTo>
                  <a:cubicBezTo>
                    <a:pt x="8800" y="10919"/>
                    <a:pt x="8871" y="11002"/>
                    <a:pt x="8966" y="11002"/>
                  </a:cubicBezTo>
                  <a:lnTo>
                    <a:pt x="8978" y="11002"/>
                  </a:lnTo>
                  <a:cubicBezTo>
                    <a:pt x="9228" y="10966"/>
                    <a:pt x="9478" y="10919"/>
                    <a:pt x="9740" y="10847"/>
                  </a:cubicBezTo>
                  <a:cubicBezTo>
                    <a:pt x="9776" y="11026"/>
                    <a:pt x="9943" y="11157"/>
                    <a:pt x="10133" y="11157"/>
                  </a:cubicBezTo>
                  <a:lnTo>
                    <a:pt x="10764" y="11157"/>
                  </a:lnTo>
                  <a:cubicBezTo>
                    <a:pt x="11002" y="11157"/>
                    <a:pt x="11193" y="10966"/>
                    <a:pt x="11193" y="10728"/>
                  </a:cubicBezTo>
                  <a:lnTo>
                    <a:pt x="11193" y="10014"/>
                  </a:lnTo>
                  <a:cubicBezTo>
                    <a:pt x="12002" y="9287"/>
                    <a:pt x="12455" y="8263"/>
                    <a:pt x="12455" y="7192"/>
                  </a:cubicBezTo>
                  <a:cubicBezTo>
                    <a:pt x="12455" y="5501"/>
                    <a:pt x="11371" y="4072"/>
                    <a:pt x="9871" y="3560"/>
                  </a:cubicBezTo>
                  <a:cubicBezTo>
                    <a:pt x="9740" y="3168"/>
                    <a:pt x="9538" y="2798"/>
                    <a:pt x="9276" y="2465"/>
                  </a:cubicBezTo>
                  <a:cubicBezTo>
                    <a:pt x="9242" y="2425"/>
                    <a:pt x="9189" y="2403"/>
                    <a:pt x="9137" y="2403"/>
                  </a:cubicBezTo>
                  <a:cubicBezTo>
                    <a:pt x="9097" y="2403"/>
                    <a:pt x="9057" y="2416"/>
                    <a:pt x="9026" y="2441"/>
                  </a:cubicBezTo>
                  <a:cubicBezTo>
                    <a:pt x="8943" y="2501"/>
                    <a:pt x="8931" y="2620"/>
                    <a:pt x="8990" y="2691"/>
                  </a:cubicBezTo>
                  <a:cubicBezTo>
                    <a:pt x="9169" y="2929"/>
                    <a:pt x="9324" y="3168"/>
                    <a:pt x="9443" y="3441"/>
                  </a:cubicBezTo>
                  <a:cubicBezTo>
                    <a:pt x="9169" y="3382"/>
                    <a:pt x="8907" y="3346"/>
                    <a:pt x="8621" y="3346"/>
                  </a:cubicBezTo>
                  <a:cubicBezTo>
                    <a:pt x="7728" y="3346"/>
                    <a:pt x="6895" y="3656"/>
                    <a:pt x="6240" y="4180"/>
                  </a:cubicBezTo>
                  <a:cubicBezTo>
                    <a:pt x="5930" y="3930"/>
                    <a:pt x="5573" y="3739"/>
                    <a:pt x="5192" y="3584"/>
                  </a:cubicBezTo>
                  <a:cubicBezTo>
                    <a:pt x="5175" y="3580"/>
                    <a:pt x="5158" y="3577"/>
                    <a:pt x="5140" y="3577"/>
                  </a:cubicBezTo>
                  <a:cubicBezTo>
                    <a:pt x="5068" y="3577"/>
                    <a:pt x="4992" y="3615"/>
                    <a:pt x="4954" y="3691"/>
                  </a:cubicBezTo>
                  <a:cubicBezTo>
                    <a:pt x="4930" y="3775"/>
                    <a:pt x="4978" y="3882"/>
                    <a:pt x="5061" y="3930"/>
                  </a:cubicBezTo>
                  <a:cubicBezTo>
                    <a:pt x="5394" y="4049"/>
                    <a:pt x="5692" y="4215"/>
                    <a:pt x="5954" y="4418"/>
                  </a:cubicBezTo>
                  <a:cubicBezTo>
                    <a:pt x="5228" y="5120"/>
                    <a:pt x="4775" y="6096"/>
                    <a:pt x="4775" y="7192"/>
                  </a:cubicBezTo>
                  <a:cubicBezTo>
                    <a:pt x="4775" y="7466"/>
                    <a:pt x="4811" y="7740"/>
                    <a:pt x="4871" y="7990"/>
                  </a:cubicBezTo>
                  <a:cubicBezTo>
                    <a:pt x="3632" y="7454"/>
                    <a:pt x="2775" y="6239"/>
                    <a:pt x="2775" y="4811"/>
                  </a:cubicBezTo>
                  <a:cubicBezTo>
                    <a:pt x="2775" y="4477"/>
                    <a:pt x="2811" y="4156"/>
                    <a:pt x="2906" y="3858"/>
                  </a:cubicBezTo>
                  <a:cubicBezTo>
                    <a:pt x="3204" y="3763"/>
                    <a:pt x="3525" y="3715"/>
                    <a:pt x="3859" y="3715"/>
                  </a:cubicBezTo>
                  <a:cubicBezTo>
                    <a:pt x="4025" y="3715"/>
                    <a:pt x="4168" y="3739"/>
                    <a:pt x="4335" y="3751"/>
                  </a:cubicBezTo>
                  <a:cubicBezTo>
                    <a:pt x="4342" y="3752"/>
                    <a:pt x="4349" y="3752"/>
                    <a:pt x="4356" y="3752"/>
                  </a:cubicBezTo>
                  <a:cubicBezTo>
                    <a:pt x="4444" y="3752"/>
                    <a:pt x="4526" y="3684"/>
                    <a:pt x="4537" y="3596"/>
                  </a:cubicBezTo>
                  <a:cubicBezTo>
                    <a:pt x="4549" y="3501"/>
                    <a:pt x="4478" y="3406"/>
                    <a:pt x="4394" y="3394"/>
                  </a:cubicBezTo>
                  <a:cubicBezTo>
                    <a:pt x="4216" y="3358"/>
                    <a:pt x="4049" y="3358"/>
                    <a:pt x="3870" y="3358"/>
                  </a:cubicBezTo>
                  <a:cubicBezTo>
                    <a:pt x="3585" y="3358"/>
                    <a:pt x="3323" y="3394"/>
                    <a:pt x="3049" y="3453"/>
                  </a:cubicBezTo>
                  <a:cubicBezTo>
                    <a:pt x="3144" y="3239"/>
                    <a:pt x="3239" y="3048"/>
                    <a:pt x="3382" y="2858"/>
                  </a:cubicBezTo>
                  <a:cubicBezTo>
                    <a:pt x="3716" y="2346"/>
                    <a:pt x="4192" y="1953"/>
                    <a:pt x="4728" y="1691"/>
                  </a:cubicBezTo>
                  <a:cubicBezTo>
                    <a:pt x="4835" y="2441"/>
                    <a:pt x="5466" y="3025"/>
                    <a:pt x="6240" y="3025"/>
                  </a:cubicBezTo>
                  <a:cubicBezTo>
                    <a:pt x="7014" y="3025"/>
                    <a:pt x="7657" y="2441"/>
                    <a:pt x="7740" y="1691"/>
                  </a:cubicBezTo>
                  <a:cubicBezTo>
                    <a:pt x="7990" y="1810"/>
                    <a:pt x="8228" y="1977"/>
                    <a:pt x="8454" y="2156"/>
                  </a:cubicBezTo>
                  <a:cubicBezTo>
                    <a:pt x="8490" y="2191"/>
                    <a:pt x="8526" y="2203"/>
                    <a:pt x="8573" y="2203"/>
                  </a:cubicBezTo>
                  <a:cubicBezTo>
                    <a:pt x="8633" y="2203"/>
                    <a:pt x="8681" y="2191"/>
                    <a:pt x="8704" y="2144"/>
                  </a:cubicBezTo>
                  <a:cubicBezTo>
                    <a:pt x="8764" y="2072"/>
                    <a:pt x="8764" y="1953"/>
                    <a:pt x="8681" y="1894"/>
                  </a:cubicBezTo>
                  <a:cubicBezTo>
                    <a:pt x="8395" y="1655"/>
                    <a:pt x="8073" y="1453"/>
                    <a:pt x="7728" y="1310"/>
                  </a:cubicBezTo>
                  <a:cubicBezTo>
                    <a:pt x="7621" y="560"/>
                    <a:pt x="7002" y="0"/>
                    <a:pt x="6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5" name="Google Shape;12595;p62"/>
            <p:cNvSpPr/>
            <p:nvPr/>
          </p:nvSpPr>
          <p:spPr>
            <a:xfrm>
              <a:off x="2057770" y="4294553"/>
              <a:ext cx="22741" cy="35622"/>
            </a:xfrm>
            <a:custGeom>
              <a:avLst/>
              <a:gdLst/>
              <a:ahLst/>
              <a:cxnLst/>
              <a:rect l="l" t="t" r="r" b="b"/>
              <a:pathLst>
                <a:path w="715" h="1120" extrusionOk="0">
                  <a:moveTo>
                    <a:pt x="191" y="0"/>
                  </a:moveTo>
                  <a:cubicBezTo>
                    <a:pt x="84" y="0"/>
                    <a:pt x="12" y="72"/>
                    <a:pt x="12" y="179"/>
                  </a:cubicBezTo>
                  <a:lnTo>
                    <a:pt x="12" y="941"/>
                  </a:lnTo>
                  <a:cubicBezTo>
                    <a:pt x="0" y="1036"/>
                    <a:pt x="84" y="1119"/>
                    <a:pt x="191" y="1119"/>
                  </a:cubicBezTo>
                  <a:lnTo>
                    <a:pt x="536" y="1119"/>
                  </a:lnTo>
                  <a:cubicBezTo>
                    <a:pt x="631" y="1119"/>
                    <a:pt x="715" y="1036"/>
                    <a:pt x="715" y="941"/>
                  </a:cubicBezTo>
                  <a:cubicBezTo>
                    <a:pt x="715" y="834"/>
                    <a:pt x="631" y="750"/>
                    <a:pt x="536" y="750"/>
                  </a:cubicBezTo>
                  <a:lnTo>
                    <a:pt x="369" y="750"/>
                  </a:lnTo>
                  <a:lnTo>
                    <a:pt x="369" y="179"/>
                  </a:lnTo>
                  <a:cubicBezTo>
                    <a:pt x="369" y="72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6" name="Google Shape;12596;p62"/>
            <p:cNvSpPr/>
            <p:nvPr/>
          </p:nvSpPr>
          <p:spPr>
            <a:xfrm>
              <a:off x="2048292" y="4456250"/>
              <a:ext cx="30724" cy="64055"/>
            </a:xfrm>
            <a:custGeom>
              <a:avLst/>
              <a:gdLst/>
              <a:ahLst/>
              <a:cxnLst/>
              <a:rect l="l" t="t" r="r" b="b"/>
              <a:pathLst>
                <a:path w="966" h="2014" extrusionOk="0">
                  <a:moveTo>
                    <a:pt x="477" y="0"/>
                  </a:moveTo>
                  <a:cubicBezTo>
                    <a:pt x="370" y="0"/>
                    <a:pt x="298" y="84"/>
                    <a:pt x="298" y="179"/>
                  </a:cubicBezTo>
                  <a:lnTo>
                    <a:pt x="298" y="262"/>
                  </a:lnTo>
                  <a:cubicBezTo>
                    <a:pt x="120" y="334"/>
                    <a:pt x="1" y="512"/>
                    <a:pt x="1" y="703"/>
                  </a:cubicBezTo>
                  <a:cubicBezTo>
                    <a:pt x="1" y="977"/>
                    <a:pt x="215" y="1191"/>
                    <a:pt x="489" y="1191"/>
                  </a:cubicBezTo>
                  <a:cubicBezTo>
                    <a:pt x="560" y="1191"/>
                    <a:pt x="608" y="1250"/>
                    <a:pt x="608" y="1310"/>
                  </a:cubicBezTo>
                  <a:cubicBezTo>
                    <a:pt x="608" y="1381"/>
                    <a:pt x="548" y="1429"/>
                    <a:pt x="489" y="1429"/>
                  </a:cubicBezTo>
                  <a:cubicBezTo>
                    <a:pt x="441" y="1429"/>
                    <a:pt x="394" y="1405"/>
                    <a:pt x="382" y="1358"/>
                  </a:cubicBezTo>
                  <a:cubicBezTo>
                    <a:pt x="346" y="1287"/>
                    <a:pt x="284" y="1249"/>
                    <a:pt x="216" y="1249"/>
                  </a:cubicBezTo>
                  <a:cubicBezTo>
                    <a:pt x="192" y="1249"/>
                    <a:pt x="168" y="1253"/>
                    <a:pt x="144" y="1262"/>
                  </a:cubicBezTo>
                  <a:cubicBezTo>
                    <a:pt x="60" y="1310"/>
                    <a:pt x="13" y="1417"/>
                    <a:pt x="60" y="1500"/>
                  </a:cubicBezTo>
                  <a:cubicBezTo>
                    <a:pt x="120" y="1608"/>
                    <a:pt x="203" y="1703"/>
                    <a:pt x="310" y="1739"/>
                  </a:cubicBezTo>
                  <a:lnTo>
                    <a:pt x="310" y="1834"/>
                  </a:lnTo>
                  <a:cubicBezTo>
                    <a:pt x="310" y="1941"/>
                    <a:pt x="382" y="2012"/>
                    <a:pt x="489" y="2012"/>
                  </a:cubicBezTo>
                  <a:cubicBezTo>
                    <a:pt x="495" y="2013"/>
                    <a:pt x="501" y="2014"/>
                    <a:pt x="507" y="2014"/>
                  </a:cubicBezTo>
                  <a:cubicBezTo>
                    <a:pt x="586" y="2014"/>
                    <a:pt x="667" y="1945"/>
                    <a:pt x="667" y="1846"/>
                  </a:cubicBezTo>
                  <a:lnTo>
                    <a:pt x="667" y="1762"/>
                  </a:lnTo>
                  <a:cubicBezTo>
                    <a:pt x="846" y="1691"/>
                    <a:pt x="965" y="1512"/>
                    <a:pt x="965" y="1310"/>
                  </a:cubicBezTo>
                  <a:cubicBezTo>
                    <a:pt x="965" y="1048"/>
                    <a:pt x="739" y="822"/>
                    <a:pt x="477" y="822"/>
                  </a:cubicBezTo>
                  <a:cubicBezTo>
                    <a:pt x="394" y="822"/>
                    <a:pt x="358" y="762"/>
                    <a:pt x="358" y="703"/>
                  </a:cubicBezTo>
                  <a:cubicBezTo>
                    <a:pt x="358" y="631"/>
                    <a:pt x="417" y="584"/>
                    <a:pt x="477" y="584"/>
                  </a:cubicBezTo>
                  <a:cubicBezTo>
                    <a:pt x="513" y="584"/>
                    <a:pt x="548" y="596"/>
                    <a:pt x="572" y="643"/>
                  </a:cubicBezTo>
                  <a:cubicBezTo>
                    <a:pt x="608" y="700"/>
                    <a:pt x="660" y="727"/>
                    <a:pt x="717" y="727"/>
                  </a:cubicBezTo>
                  <a:cubicBezTo>
                    <a:pt x="755" y="727"/>
                    <a:pt x="796" y="715"/>
                    <a:pt x="834" y="691"/>
                  </a:cubicBezTo>
                  <a:cubicBezTo>
                    <a:pt x="917" y="631"/>
                    <a:pt x="929" y="524"/>
                    <a:pt x="870" y="441"/>
                  </a:cubicBezTo>
                  <a:cubicBezTo>
                    <a:pt x="810" y="357"/>
                    <a:pt x="739" y="286"/>
                    <a:pt x="656" y="262"/>
                  </a:cubicBezTo>
                  <a:lnTo>
                    <a:pt x="656" y="179"/>
                  </a:lnTo>
                  <a:cubicBezTo>
                    <a:pt x="656" y="84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7" name="Google Shape;12597;p62"/>
            <p:cNvSpPr/>
            <p:nvPr/>
          </p:nvSpPr>
          <p:spPr>
            <a:xfrm>
              <a:off x="1898713" y="4487196"/>
              <a:ext cx="17461" cy="16030"/>
            </a:xfrm>
            <a:custGeom>
              <a:avLst/>
              <a:gdLst/>
              <a:ahLst/>
              <a:cxnLst/>
              <a:rect l="l" t="t" r="r" b="b"/>
              <a:pathLst>
                <a:path w="549" h="504" extrusionOk="0">
                  <a:moveTo>
                    <a:pt x="193" y="1"/>
                  </a:moveTo>
                  <a:cubicBezTo>
                    <a:pt x="147" y="1"/>
                    <a:pt x="102" y="21"/>
                    <a:pt x="72" y="63"/>
                  </a:cubicBezTo>
                  <a:cubicBezTo>
                    <a:pt x="1" y="135"/>
                    <a:pt x="1" y="254"/>
                    <a:pt x="72" y="313"/>
                  </a:cubicBezTo>
                  <a:lnTo>
                    <a:pt x="203" y="444"/>
                  </a:lnTo>
                  <a:cubicBezTo>
                    <a:pt x="227" y="480"/>
                    <a:pt x="298" y="504"/>
                    <a:pt x="334" y="504"/>
                  </a:cubicBezTo>
                  <a:cubicBezTo>
                    <a:pt x="382" y="504"/>
                    <a:pt x="429" y="492"/>
                    <a:pt x="465" y="444"/>
                  </a:cubicBezTo>
                  <a:cubicBezTo>
                    <a:pt x="548" y="373"/>
                    <a:pt x="548" y="254"/>
                    <a:pt x="465" y="194"/>
                  </a:cubicBezTo>
                  <a:lnTo>
                    <a:pt x="322" y="63"/>
                  </a:lnTo>
                  <a:cubicBezTo>
                    <a:pt x="286" y="21"/>
                    <a:pt x="239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8" name="Google Shape;12598;p62"/>
            <p:cNvSpPr/>
            <p:nvPr/>
          </p:nvSpPr>
          <p:spPr>
            <a:xfrm>
              <a:off x="1887740" y="4502494"/>
              <a:ext cx="19337" cy="13231"/>
            </a:xfrm>
            <a:custGeom>
              <a:avLst/>
              <a:gdLst/>
              <a:ahLst/>
              <a:cxnLst/>
              <a:rect l="l" t="t" r="r" b="b"/>
              <a:pathLst>
                <a:path w="608" h="416" extrusionOk="0">
                  <a:moveTo>
                    <a:pt x="190" y="0"/>
                  </a:moveTo>
                  <a:cubicBezTo>
                    <a:pt x="112" y="0"/>
                    <a:pt x="53" y="56"/>
                    <a:pt x="24" y="142"/>
                  </a:cubicBezTo>
                  <a:cubicBezTo>
                    <a:pt x="0" y="249"/>
                    <a:pt x="60" y="332"/>
                    <a:pt x="155" y="368"/>
                  </a:cubicBezTo>
                  <a:lnTo>
                    <a:pt x="358" y="416"/>
                  </a:lnTo>
                  <a:lnTo>
                    <a:pt x="405" y="416"/>
                  </a:lnTo>
                  <a:cubicBezTo>
                    <a:pt x="477" y="416"/>
                    <a:pt x="548" y="356"/>
                    <a:pt x="572" y="273"/>
                  </a:cubicBezTo>
                  <a:cubicBezTo>
                    <a:pt x="608" y="189"/>
                    <a:pt x="548" y="82"/>
                    <a:pt x="441" y="58"/>
                  </a:cubicBezTo>
                  <a:lnTo>
                    <a:pt x="250" y="11"/>
                  </a:lnTo>
                  <a:cubicBezTo>
                    <a:pt x="229" y="4"/>
                    <a:pt x="209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9" name="Google Shape;12599;p62"/>
            <p:cNvSpPr/>
            <p:nvPr/>
          </p:nvSpPr>
          <p:spPr>
            <a:xfrm>
              <a:off x="1913852" y="4477019"/>
              <a:ext cx="13676" cy="17874"/>
            </a:xfrm>
            <a:custGeom>
              <a:avLst/>
              <a:gdLst/>
              <a:ahLst/>
              <a:cxnLst/>
              <a:rect l="l" t="t" r="r" b="b"/>
              <a:pathLst>
                <a:path w="430" h="562" extrusionOk="0">
                  <a:moveTo>
                    <a:pt x="175" y="0"/>
                  </a:moveTo>
                  <a:cubicBezTo>
                    <a:pt x="165" y="0"/>
                    <a:pt x="155" y="1"/>
                    <a:pt x="144" y="2"/>
                  </a:cubicBezTo>
                  <a:cubicBezTo>
                    <a:pt x="37" y="38"/>
                    <a:pt x="1" y="121"/>
                    <a:pt x="13" y="228"/>
                  </a:cubicBezTo>
                  <a:lnTo>
                    <a:pt x="60" y="419"/>
                  </a:lnTo>
                  <a:cubicBezTo>
                    <a:pt x="72" y="502"/>
                    <a:pt x="144" y="562"/>
                    <a:pt x="239" y="562"/>
                  </a:cubicBezTo>
                  <a:lnTo>
                    <a:pt x="275" y="562"/>
                  </a:lnTo>
                  <a:cubicBezTo>
                    <a:pt x="382" y="526"/>
                    <a:pt x="430" y="443"/>
                    <a:pt x="418" y="335"/>
                  </a:cubicBezTo>
                  <a:lnTo>
                    <a:pt x="370" y="145"/>
                  </a:lnTo>
                  <a:cubicBezTo>
                    <a:pt x="338" y="49"/>
                    <a:pt x="267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00" name="Google Shape;12600;p62"/>
          <p:cNvGrpSpPr/>
          <p:nvPr/>
        </p:nvGrpSpPr>
        <p:grpSpPr>
          <a:xfrm>
            <a:off x="2411823" y="4303999"/>
            <a:ext cx="334398" cy="299953"/>
            <a:chOff x="2411823" y="4303999"/>
            <a:chExt cx="334398" cy="299953"/>
          </a:xfrm>
        </p:grpSpPr>
        <p:sp>
          <p:nvSpPr>
            <p:cNvPr id="12601" name="Google Shape;12601;p62"/>
            <p:cNvSpPr/>
            <p:nvPr/>
          </p:nvSpPr>
          <p:spPr>
            <a:xfrm>
              <a:off x="2411823" y="4303999"/>
              <a:ext cx="237838" cy="84124"/>
            </a:xfrm>
            <a:custGeom>
              <a:avLst/>
              <a:gdLst/>
              <a:ahLst/>
              <a:cxnLst/>
              <a:rect l="l" t="t" r="r" b="b"/>
              <a:pathLst>
                <a:path w="7478" h="2645" extrusionOk="0">
                  <a:moveTo>
                    <a:pt x="3573" y="299"/>
                  </a:moveTo>
                  <a:cubicBezTo>
                    <a:pt x="3584" y="299"/>
                    <a:pt x="3596" y="310"/>
                    <a:pt x="3608" y="322"/>
                  </a:cubicBezTo>
                  <a:lnTo>
                    <a:pt x="3954" y="846"/>
                  </a:lnTo>
                  <a:lnTo>
                    <a:pt x="703" y="846"/>
                  </a:lnTo>
                  <a:lnTo>
                    <a:pt x="703" y="346"/>
                  </a:lnTo>
                  <a:lnTo>
                    <a:pt x="715" y="346"/>
                  </a:lnTo>
                  <a:cubicBezTo>
                    <a:pt x="715" y="310"/>
                    <a:pt x="739" y="299"/>
                    <a:pt x="751" y="299"/>
                  </a:cubicBezTo>
                  <a:close/>
                  <a:moveTo>
                    <a:pt x="5978" y="501"/>
                  </a:moveTo>
                  <a:cubicBezTo>
                    <a:pt x="5990" y="501"/>
                    <a:pt x="6013" y="525"/>
                    <a:pt x="6025" y="537"/>
                  </a:cubicBezTo>
                  <a:lnTo>
                    <a:pt x="6216" y="846"/>
                  </a:lnTo>
                  <a:lnTo>
                    <a:pt x="4323" y="846"/>
                  </a:lnTo>
                  <a:lnTo>
                    <a:pt x="4120" y="525"/>
                  </a:lnTo>
                  <a:lnTo>
                    <a:pt x="5978" y="525"/>
                  </a:lnTo>
                  <a:lnTo>
                    <a:pt x="5978" y="501"/>
                  </a:lnTo>
                  <a:close/>
                  <a:moveTo>
                    <a:pt x="786" y="1"/>
                  </a:moveTo>
                  <a:cubicBezTo>
                    <a:pt x="596" y="1"/>
                    <a:pt x="429" y="156"/>
                    <a:pt x="429" y="358"/>
                  </a:cubicBezTo>
                  <a:lnTo>
                    <a:pt x="429" y="858"/>
                  </a:lnTo>
                  <a:lnTo>
                    <a:pt x="358" y="858"/>
                  </a:lnTo>
                  <a:cubicBezTo>
                    <a:pt x="155" y="858"/>
                    <a:pt x="1" y="1025"/>
                    <a:pt x="1" y="1215"/>
                  </a:cubicBezTo>
                  <a:lnTo>
                    <a:pt x="1" y="2513"/>
                  </a:lnTo>
                  <a:cubicBezTo>
                    <a:pt x="1" y="2585"/>
                    <a:pt x="72" y="2644"/>
                    <a:pt x="144" y="2644"/>
                  </a:cubicBezTo>
                  <a:cubicBezTo>
                    <a:pt x="239" y="2644"/>
                    <a:pt x="298" y="2573"/>
                    <a:pt x="298" y="2501"/>
                  </a:cubicBezTo>
                  <a:lnTo>
                    <a:pt x="298" y="1203"/>
                  </a:lnTo>
                  <a:cubicBezTo>
                    <a:pt x="298" y="1168"/>
                    <a:pt x="322" y="1156"/>
                    <a:pt x="334" y="1156"/>
                  </a:cubicBezTo>
                  <a:lnTo>
                    <a:pt x="7335" y="1156"/>
                  </a:lnTo>
                  <a:cubicBezTo>
                    <a:pt x="7418" y="1156"/>
                    <a:pt x="7478" y="1084"/>
                    <a:pt x="7478" y="1013"/>
                  </a:cubicBezTo>
                  <a:cubicBezTo>
                    <a:pt x="7478" y="918"/>
                    <a:pt x="7406" y="858"/>
                    <a:pt x="7335" y="858"/>
                  </a:cubicBezTo>
                  <a:lnTo>
                    <a:pt x="6573" y="858"/>
                  </a:lnTo>
                  <a:lnTo>
                    <a:pt x="6263" y="382"/>
                  </a:lnTo>
                  <a:cubicBezTo>
                    <a:pt x="6204" y="275"/>
                    <a:pt x="6085" y="215"/>
                    <a:pt x="5966" y="215"/>
                  </a:cubicBezTo>
                  <a:lnTo>
                    <a:pt x="3930" y="215"/>
                  </a:lnTo>
                  <a:lnTo>
                    <a:pt x="3894" y="156"/>
                  </a:lnTo>
                  <a:cubicBezTo>
                    <a:pt x="3834" y="60"/>
                    <a:pt x="3715" y="1"/>
                    <a:pt x="3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2" name="Google Shape;12602;p62"/>
            <p:cNvSpPr/>
            <p:nvPr/>
          </p:nvSpPr>
          <p:spPr>
            <a:xfrm>
              <a:off x="2412205" y="4330525"/>
              <a:ext cx="334016" cy="273428"/>
            </a:xfrm>
            <a:custGeom>
              <a:avLst/>
              <a:gdLst/>
              <a:ahLst/>
              <a:cxnLst/>
              <a:rect l="l" t="t" r="r" b="b"/>
              <a:pathLst>
                <a:path w="10502" h="8597" extrusionOk="0">
                  <a:moveTo>
                    <a:pt x="6847" y="6835"/>
                  </a:moveTo>
                  <a:cubicBezTo>
                    <a:pt x="6870" y="6835"/>
                    <a:pt x="6894" y="6858"/>
                    <a:pt x="6894" y="6870"/>
                  </a:cubicBezTo>
                  <a:lnTo>
                    <a:pt x="6894" y="7192"/>
                  </a:lnTo>
                  <a:cubicBezTo>
                    <a:pt x="6894" y="7644"/>
                    <a:pt x="7097" y="8049"/>
                    <a:pt x="7442" y="8323"/>
                  </a:cubicBezTo>
                  <a:lnTo>
                    <a:pt x="1989" y="8323"/>
                  </a:lnTo>
                  <a:cubicBezTo>
                    <a:pt x="1370" y="8323"/>
                    <a:pt x="858" y="7811"/>
                    <a:pt x="858" y="7192"/>
                  </a:cubicBezTo>
                  <a:lnTo>
                    <a:pt x="858" y="6870"/>
                  </a:lnTo>
                  <a:cubicBezTo>
                    <a:pt x="858" y="6846"/>
                    <a:pt x="894" y="6835"/>
                    <a:pt x="905" y="6835"/>
                  </a:cubicBezTo>
                  <a:close/>
                  <a:moveTo>
                    <a:pt x="8002" y="0"/>
                  </a:moveTo>
                  <a:cubicBezTo>
                    <a:pt x="7918" y="0"/>
                    <a:pt x="7859" y="72"/>
                    <a:pt x="7859" y="143"/>
                  </a:cubicBezTo>
                  <a:cubicBezTo>
                    <a:pt x="7859" y="238"/>
                    <a:pt x="7930" y="298"/>
                    <a:pt x="8002" y="298"/>
                  </a:cubicBezTo>
                  <a:lnTo>
                    <a:pt x="10133" y="298"/>
                  </a:lnTo>
                  <a:cubicBezTo>
                    <a:pt x="10169" y="298"/>
                    <a:pt x="10180" y="322"/>
                    <a:pt x="10180" y="346"/>
                  </a:cubicBezTo>
                  <a:lnTo>
                    <a:pt x="10180" y="6918"/>
                  </a:lnTo>
                  <a:cubicBezTo>
                    <a:pt x="10180" y="6954"/>
                    <a:pt x="10145" y="6966"/>
                    <a:pt x="10133" y="6966"/>
                  </a:cubicBezTo>
                  <a:lnTo>
                    <a:pt x="9847" y="6966"/>
                  </a:lnTo>
                  <a:lnTo>
                    <a:pt x="9847" y="2465"/>
                  </a:lnTo>
                  <a:cubicBezTo>
                    <a:pt x="9847" y="2274"/>
                    <a:pt x="9680" y="2108"/>
                    <a:pt x="9490" y="2108"/>
                  </a:cubicBezTo>
                  <a:lnTo>
                    <a:pt x="5358" y="2108"/>
                  </a:lnTo>
                  <a:cubicBezTo>
                    <a:pt x="5263" y="2108"/>
                    <a:pt x="5204" y="2191"/>
                    <a:pt x="5204" y="2263"/>
                  </a:cubicBezTo>
                  <a:cubicBezTo>
                    <a:pt x="5204" y="2346"/>
                    <a:pt x="5287" y="2405"/>
                    <a:pt x="5358" y="2405"/>
                  </a:cubicBezTo>
                  <a:lnTo>
                    <a:pt x="9490" y="2405"/>
                  </a:lnTo>
                  <a:cubicBezTo>
                    <a:pt x="9526" y="2405"/>
                    <a:pt x="9537" y="2441"/>
                    <a:pt x="9537" y="2453"/>
                  </a:cubicBezTo>
                  <a:lnTo>
                    <a:pt x="9537" y="7144"/>
                  </a:lnTo>
                  <a:cubicBezTo>
                    <a:pt x="9537" y="7763"/>
                    <a:pt x="9037" y="8275"/>
                    <a:pt x="8406" y="8275"/>
                  </a:cubicBezTo>
                  <a:lnTo>
                    <a:pt x="8335" y="8275"/>
                  </a:lnTo>
                  <a:cubicBezTo>
                    <a:pt x="7704" y="8275"/>
                    <a:pt x="7204" y="7763"/>
                    <a:pt x="7204" y="7144"/>
                  </a:cubicBezTo>
                  <a:lnTo>
                    <a:pt x="7204" y="6823"/>
                  </a:lnTo>
                  <a:cubicBezTo>
                    <a:pt x="7204" y="6632"/>
                    <a:pt x="7037" y="6465"/>
                    <a:pt x="6847" y="6465"/>
                  </a:cubicBezTo>
                  <a:lnTo>
                    <a:pt x="3513" y="6465"/>
                  </a:lnTo>
                  <a:lnTo>
                    <a:pt x="3513" y="2453"/>
                  </a:lnTo>
                  <a:cubicBezTo>
                    <a:pt x="3513" y="2417"/>
                    <a:pt x="3537" y="2405"/>
                    <a:pt x="3549" y="2405"/>
                  </a:cubicBezTo>
                  <a:lnTo>
                    <a:pt x="4680" y="2405"/>
                  </a:lnTo>
                  <a:cubicBezTo>
                    <a:pt x="4775" y="2405"/>
                    <a:pt x="4835" y="2334"/>
                    <a:pt x="4835" y="2263"/>
                  </a:cubicBezTo>
                  <a:cubicBezTo>
                    <a:pt x="4835" y="2167"/>
                    <a:pt x="4763" y="2108"/>
                    <a:pt x="4680" y="2108"/>
                  </a:cubicBezTo>
                  <a:lnTo>
                    <a:pt x="3549" y="2108"/>
                  </a:lnTo>
                  <a:cubicBezTo>
                    <a:pt x="3358" y="2108"/>
                    <a:pt x="3191" y="2274"/>
                    <a:pt x="3191" y="2465"/>
                  </a:cubicBezTo>
                  <a:lnTo>
                    <a:pt x="3191" y="6489"/>
                  </a:lnTo>
                  <a:lnTo>
                    <a:pt x="905" y="6489"/>
                  </a:lnTo>
                  <a:cubicBezTo>
                    <a:pt x="715" y="6489"/>
                    <a:pt x="548" y="6656"/>
                    <a:pt x="548" y="6846"/>
                  </a:cubicBezTo>
                  <a:lnTo>
                    <a:pt x="548" y="6966"/>
                  </a:lnTo>
                  <a:lnTo>
                    <a:pt x="346" y="6966"/>
                  </a:lnTo>
                  <a:cubicBezTo>
                    <a:pt x="310" y="6966"/>
                    <a:pt x="298" y="6930"/>
                    <a:pt x="298" y="6918"/>
                  </a:cubicBezTo>
                  <a:lnTo>
                    <a:pt x="298" y="2298"/>
                  </a:lnTo>
                  <a:cubicBezTo>
                    <a:pt x="298" y="2215"/>
                    <a:pt x="227" y="2155"/>
                    <a:pt x="143" y="2155"/>
                  </a:cubicBezTo>
                  <a:cubicBezTo>
                    <a:pt x="60" y="2155"/>
                    <a:pt x="1" y="2227"/>
                    <a:pt x="1" y="2298"/>
                  </a:cubicBezTo>
                  <a:lnTo>
                    <a:pt x="1" y="6918"/>
                  </a:lnTo>
                  <a:cubicBezTo>
                    <a:pt x="1" y="7108"/>
                    <a:pt x="167" y="7275"/>
                    <a:pt x="358" y="7275"/>
                  </a:cubicBezTo>
                  <a:lnTo>
                    <a:pt x="584" y="7275"/>
                  </a:lnTo>
                  <a:cubicBezTo>
                    <a:pt x="632" y="8013"/>
                    <a:pt x="1251" y="8597"/>
                    <a:pt x="2001" y="8597"/>
                  </a:cubicBezTo>
                  <a:lnTo>
                    <a:pt x="8442" y="8597"/>
                  </a:lnTo>
                  <a:cubicBezTo>
                    <a:pt x="9192" y="8597"/>
                    <a:pt x="9823" y="8013"/>
                    <a:pt x="9871" y="7275"/>
                  </a:cubicBezTo>
                  <a:lnTo>
                    <a:pt x="10145" y="7275"/>
                  </a:lnTo>
                  <a:cubicBezTo>
                    <a:pt x="10335" y="7275"/>
                    <a:pt x="10502" y="7108"/>
                    <a:pt x="10502" y="6918"/>
                  </a:cubicBezTo>
                  <a:lnTo>
                    <a:pt x="10502" y="334"/>
                  </a:lnTo>
                  <a:cubicBezTo>
                    <a:pt x="10490" y="167"/>
                    <a:pt x="10347" y="0"/>
                    <a:pt x="10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3" name="Google Shape;12603;p62"/>
            <p:cNvSpPr/>
            <p:nvPr/>
          </p:nvSpPr>
          <p:spPr>
            <a:xfrm>
              <a:off x="2543241" y="4476319"/>
              <a:ext cx="20101" cy="9478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67" y="0"/>
                  </a:moveTo>
                  <a:cubicBezTo>
                    <a:pt x="72" y="0"/>
                    <a:pt x="12" y="72"/>
                    <a:pt x="12" y="143"/>
                  </a:cubicBezTo>
                  <a:cubicBezTo>
                    <a:pt x="0" y="226"/>
                    <a:pt x="72" y="298"/>
                    <a:pt x="167" y="298"/>
                  </a:cubicBezTo>
                  <a:lnTo>
                    <a:pt x="476" y="298"/>
                  </a:lnTo>
                  <a:cubicBezTo>
                    <a:pt x="572" y="298"/>
                    <a:pt x="631" y="226"/>
                    <a:pt x="631" y="143"/>
                  </a:cubicBezTo>
                  <a:cubicBezTo>
                    <a:pt x="631" y="60"/>
                    <a:pt x="548" y="0"/>
                    <a:pt x="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4" name="Google Shape;12604;p62"/>
            <p:cNvSpPr/>
            <p:nvPr/>
          </p:nvSpPr>
          <p:spPr>
            <a:xfrm>
              <a:off x="2568590" y="4475937"/>
              <a:ext cx="129160" cy="9478"/>
            </a:xfrm>
            <a:custGeom>
              <a:avLst/>
              <a:gdLst/>
              <a:ahLst/>
              <a:cxnLst/>
              <a:rect l="l" t="t" r="r" b="b"/>
              <a:pathLst>
                <a:path w="4061" h="298" extrusionOk="0">
                  <a:moveTo>
                    <a:pt x="156" y="0"/>
                  </a:moveTo>
                  <a:cubicBezTo>
                    <a:pt x="84" y="0"/>
                    <a:pt x="1" y="72"/>
                    <a:pt x="1" y="143"/>
                  </a:cubicBezTo>
                  <a:cubicBezTo>
                    <a:pt x="1" y="238"/>
                    <a:pt x="84" y="298"/>
                    <a:pt x="156" y="298"/>
                  </a:cubicBezTo>
                  <a:lnTo>
                    <a:pt x="3906" y="298"/>
                  </a:lnTo>
                  <a:cubicBezTo>
                    <a:pt x="4001" y="298"/>
                    <a:pt x="4061" y="215"/>
                    <a:pt x="4061" y="143"/>
                  </a:cubicBezTo>
                  <a:cubicBezTo>
                    <a:pt x="4061" y="60"/>
                    <a:pt x="3978" y="0"/>
                    <a:pt x="3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5" name="Google Shape;12605;p62"/>
            <p:cNvSpPr/>
            <p:nvPr/>
          </p:nvSpPr>
          <p:spPr>
            <a:xfrm>
              <a:off x="2543241" y="4491840"/>
              <a:ext cx="154890" cy="9510"/>
            </a:xfrm>
            <a:custGeom>
              <a:avLst/>
              <a:gdLst/>
              <a:ahLst/>
              <a:cxnLst/>
              <a:rect l="l" t="t" r="r" b="b"/>
              <a:pathLst>
                <a:path w="4870" h="299" extrusionOk="0">
                  <a:moveTo>
                    <a:pt x="155" y="0"/>
                  </a:moveTo>
                  <a:cubicBezTo>
                    <a:pt x="60" y="0"/>
                    <a:pt x="0" y="72"/>
                    <a:pt x="0" y="155"/>
                  </a:cubicBezTo>
                  <a:cubicBezTo>
                    <a:pt x="0" y="239"/>
                    <a:pt x="72" y="298"/>
                    <a:pt x="155" y="298"/>
                  </a:cubicBezTo>
                  <a:lnTo>
                    <a:pt x="4715" y="298"/>
                  </a:lnTo>
                  <a:cubicBezTo>
                    <a:pt x="4810" y="298"/>
                    <a:pt x="4870" y="227"/>
                    <a:pt x="4870" y="155"/>
                  </a:cubicBezTo>
                  <a:cubicBezTo>
                    <a:pt x="4870" y="72"/>
                    <a:pt x="4810" y="0"/>
                    <a:pt x="4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6" name="Google Shape;12606;p62"/>
            <p:cNvSpPr/>
            <p:nvPr/>
          </p:nvSpPr>
          <p:spPr>
            <a:xfrm>
              <a:off x="2543241" y="4508506"/>
              <a:ext cx="154890" cy="9478"/>
            </a:xfrm>
            <a:custGeom>
              <a:avLst/>
              <a:gdLst/>
              <a:ahLst/>
              <a:cxnLst/>
              <a:rect l="l" t="t" r="r" b="b"/>
              <a:pathLst>
                <a:path w="4870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38"/>
                    <a:pt x="72" y="298"/>
                    <a:pt x="155" y="298"/>
                  </a:cubicBezTo>
                  <a:lnTo>
                    <a:pt x="4715" y="298"/>
                  </a:lnTo>
                  <a:cubicBezTo>
                    <a:pt x="4810" y="298"/>
                    <a:pt x="4870" y="227"/>
                    <a:pt x="4870" y="143"/>
                  </a:cubicBezTo>
                  <a:cubicBezTo>
                    <a:pt x="4870" y="72"/>
                    <a:pt x="4810" y="0"/>
                    <a:pt x="4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7" name="Google Shape;12607;p62"/>
            <p:cNvSpPr/>
            <p:nvPr/>
          </p:nvSpPr>
          <p:spPr>
            <a:xfrm>
              <a:off x="2635635" y="4436563"/>
              <a:ext cx="62497" cy="27289"/>
            </a:xfrm>
            <a:custGeom>
              <a:avLst/>
              <a:gdLst/>
              <a:ahLst/>
              <a:cxnLst/>
              <a:rect l="l" t="t" r="r" b="b"/>
              <a:pathLst>
                <a:path w="1965" h="858" extrusionOk="0">
                  <a:moveTo>
                    <a:pt x="1655" y="310"/>
                  </a:moveTo>
                  <a:lnTo>
                    <a:pt x="1655" y="560"/>
                  </a:lnTo>
                  <a:lnTo>
                    <a:pt x="298" y="560"/>
                  </a:lnTo>
                  <a:lnTo>
                    <a:pt x="298" y="310"/>
                  </a:lnTo>
                  <a:close/>
                  <a:moveTo>
                    <a:pt x="143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714"/>
                  </a:lnTo>
                  <a:cubicBezTo>
                    <a:pt x="0" y="798"/>
                    <a:pt x="72" y="857"/>
                    <a:pt x="143" y="857"/>
                  </a:cubicBezTo>
                  <a:lnTo>
                    <a:pt x="1810" y="857"/>
                  </a:lnTo>
                  <a:cubicBezTo>
                    <a:pt x="1905" y="857"/>
                    <a:pt x="1965" y="786"/>
                    <a:pt x="1965" y="714"/>
                  </a:cubicBezTo>
                  <a:lnTo>
                    <a:pt x="1965" y="143"/>
                  </a:lnTo>
                  <a:cubicBezTo>
                    <a:pt x="1965" y="60"/>
                    <a:pt x="1893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08" name="Google Shape;12608;p62"/>
          <p:cNvGrpSpPr/>
          <p:nvPr/>
        </p:nvGrpSpPr>
        <p:grpSpPr>
          <a:xfrm>
            <a:off x="2903337" y="4279032"/>
            <a:ext cx="382519" cy="350682"/>
            <a:chOff x="2903337" y="4279032"/>
            <a:chExt cx="382519" cy="350682"/>
          </a:xfrm>
        </p:grpSpPr>
        <p:sp>
          <p:nvSpPr>
            <p:cNvPr id="12609" name="Google Shape;12609;p62"/>
            <p:cNvSpPr/>
            <p:nvPr/>
          </p:nvSpPr>
          <p:spPr>
            <a:xfrm>
              <a:off x="2966979" y="4320570"/>
              <a:ext cx="202248" cy="184183"/>
            </a:xfrm>
            <a:custGeom>
              <a:avLst/>
              <a:gdLst/>
              <a:ahLst/>
              <a:cxnLst/>
              <a:rect l="l" t="t" r="r" b="b"/>
              <a:pathLst>
                <a:path w="6359" h="5791" extrusionOk="0">
                  <a:moveTo>
                    <a:pt x="3179" y="361"/>
                  </a:moveTo>
                  <a:cubicBezTo>
                    <a:pt x="3834" y="361"/>
                    <a:pt x="4477" y="611"/>
                    <a:pt x="4989" y="1099"/>
                  </a:cubicBezTo>
                  <a:cubicBezTo>
                    <a:pt x="5965" y="2087"/>
                    <a:pt x="5965" y="3707"/>
                    <a:pt x="4965" y="4683"/>
                  </a:cubicBezTo>
                  <a:cubicBezTo>
                    <a:pt x="4465" y="5183"/>
                    <a:pt x="3813" y="5433"/>
                    <a:pt x="3164" y="5433"/>
                  </a:cubicBezTo>
                  <a:cubicBezTo>
                    <a:pt x="2515" y="5433"/>
                    <a:pt x="1870" y="5183"/>
                    <a:pt x="1381" y="4683"/>
                  </a:cubicBezTo>
                  <a:cubicBezTo>
                    <a:pt x="393" y="3695"/>
                    <a:pt x="381" y="2087"/>
                    <a:pt x="1381" y="1099"/>
                  </a:cubicBezTo>
                  <a:cubicBezTo>
                    <a:pt x="1870" y="611"/>
                    <a:pt x="2524" y="361"/>
                    <a:pt x="3179" y="361"/>
                  </a:cubicBezTo>
                  <a:close/>
                  <a:moveTo>
                    <a:pt x="3179" y="1"/>
                  </a:moveTo>
                  <a:cubicBezTo>
                    <a:pt x="2438" y="1"/>
                    <a:pt x="1697" y="284"/>
                    <a:pt x="1131" y="849"/>
                  </a:cubicBezTo>
                  <a:cubicBezTo>
                    <a:pt x="0" y="1980"/>
                    <a:pt x="0" y="3814"/>
                    <a:pt x="1131" y="4945"/>
                  </a:cubicBezTo>
                  <a:cubicBezTo>
                    <a:pt x="1691" y="5504"/>
                    <a:pt x="2441" y="5790"/>
                    <a:pt x="3167" y="5790"/>
                  </a:cubicBezTo>
                  <a:cubicBezTo>
                    <a:pt x="3917" y="5790"/>
                    <a:pt x="4644" y="5504"/>
                    <a:pt x="5203" y="4945"/>
                  </a:cubicBezTo>
                  <a:cubicBezTo>
                    <a:pt x="6358" y="3814"/>
                    <a:pt x="6358" y="1980"/>
                    <a:pt x="5227" y="849"/>
                  </a:cubicBezTo>
                  <a:cubicBezTo>
                    <a:pt x="4662" y="284"/>
                    <a:pt x="3920" y="1"/>
                    <a:pt x="3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0" name="Google Shape;12610;p62"/>
            <p:cNvSpPr/>
            <p:nvPr/>
          </p:nvSpPr>
          <p:spPr>
            <a:xfrm>
              <a:off x="2903337" y="4279032"/>
              <a:ext cx="382519" cy="350682"/>
            </a:xfrm>
            <a:custGeom>
              <a:avLst/>
              <a:gdLst/>
              <a:ahLst/>
              <a:cxnLst/>
              <a:rect l="l" t="t" r="r" b="b"/>
              <a:pathLst>
                <a:path w="12027" h="11026" extrusionOk="0">
                  <a:moveTo>
                    <a:pt x="5168" y="1072"/>
                  </a:moveTo>
                  <a:cubicBezTo>
                    <a:pt x="5966" y="1072"/>
                    <a:pt x="6776" y="1381"/>
                    <a:pt x="7383" y="1988"/>
                  </a:cubicBezTo>
                  <a:cubicBezTo>
                    <a:pt x="8609" y="3215"/>
                    <a:pt x="8609" y="5203"/>
                    <a:pt x="7383" y="6429"/>
                  </a:cubicBezTo>
                  <a:cubicBezTo>
                    <a:pt x="6776" y="7037"/>
                    <a:pt x="5966" y="7346"/>
                    <a:pt x="5168" y="7346"/>
                  </a:cubicBezTo>
                  <a:cubicBezTo>
                    <a:pt x="4359" y="7334"/>
                    <a:pt x="3561" y="7037"/>
                    <a:pt x="2954" y="6429"/>
                  </a:cubicBezTo>
                  <a:cubicBezTo>
                    <a:pt x="1727" y="5203"/>
                    <a:pt x="1727" y="3215"/>
                    <a:pt x="2954" y="1988"/>
                  </a:cubicBezTo>
                  <a:cubicBezTo>
                    <a:pt x="3561" y="1381"/>
                    <a:pt x="4359" y="1072"/>
                    <a:pt x="5168" y="1072"/>
                  </a:cubicBezTo>
                  <a:close/>
                  <a:moveTo>
                    <a:pt x="7788" y="6513"/>
                  </a:moveTo>
                  <a:lnTo>
                    <a:pt x="8538" y="7263"/>
                  </a:lnTo>
                  <a:lnTo>
                    <a:pt x="8240" y="7561"/>
                  </a:lnTo>
                  <a:lnTo>
                    <a:pt x="7490" y="6810"/>
                  </a:lnTo>
                  <a:cubicBezTo>
                    <a:pt x="7550" y="6763"/>
                    <a:pt x="7597" y="6727"/>
                    <a:pt x="7633" y="6668"/>
                  </a:cubicBezTo>
                  <a:lnTo>
                    <a:pt x="7788" y="6513"/>
                  </a:lnTo>
                  <a:close/>
                  <a:moveTo>
                    <a:pt x="9038" y="7251"/>
                  </a:moveTo>
                  <a:cubicBezTo>
                    <a:pt x="9050" y="7251"/>
                    <a:pt x="9050" y="7251"/>
                    <a:pt x="9074" y="7275"/>
                  </a:cubicBezTo>
                  <a:lnTo>
                    <a:pt x="11276" y="9477"/>
                  </a:lnTo>
                  <a:lnTo>
                    <a:pt x="10455" y="10287"/>
                  </a:lnTo>
                  <a:lnTo>
                    <a:pt x="8252" y="8084"/>
                  </a:lnTo>
                  <a:cubicBezTo>
                    <a:pt x="8240" y="8073"/>
                    <a:pt x="8240" y="8061"/>
                    <a:pt x="8240" y="8061"/>
                  </a:cubicBezTo>
                  <a:cubicBezTo>
                    <a:pt x="8240" y="8049"/>
                    <a:pt x="8240" y="8049"/>
                    <a:pt x="8252" y="8037"/>
                  </a:cubicBezTo>
                  <a:lnTo>
                    <a:pt x="9014" y="7275"/>
                  </a:lnTo>
                  <a:cubicBezTo>
                    <a:pt x="9026" y="7251"/>
                    <a:pt x="9026" y="7251"/>
                    <a:pt x="9038" y="7251"/>
                  </a:cubicBezTo>
                  <a:close/>
                  <a:moveTo>
                    <a:pt x="11514" y="9716"/>
                  </a:moveTo>
                  <a:lnTo>
                    <a:pt x="11621" y="9835"/>
                  </a:lnTo>
                  <a:cubicBezTo>
                    <a:pt x="11645" y="9847"/>
                    <a:pt x="11645" y="9882"/>
                    <a:pt x="11633" y="9894"/>
                  </a:cubicBezTo>
                  <a:lnTo>
                    <a:pt x="10871" y="10656"/>
                  </a:lnTo>
                  <a:cubicBezTo>
                    <a:pt x="10859" y="10668"/>
                    <a:pt x="10859" y="10668"/>
                    <a:pt x="10836" y="10668"/>
                  </a:cubicBezTo>
                  <a:cubicBezTo>
                    <a:pt x="10824" y="10668"/>
                    <a:pt x="10824" y="10668"/>
                    <a:pt x="10812" y="10656"/>
                  </a:cubicBezTo>
                  <a:lnTo>
                    <a:pt x="10693" y="10537"/>
                  </a:lnTo>
                  <a:lnTo>
                    <a:pt x="11514" y="9716"/>
                  </a:lnTo>
                  <a:close/>
                  <a:moveTo>
                    <a:pt x="656" y="0"/>
                  </a:moveTo>
                  <a:cubicBezTo>
                    <a:pt x="299" y="0"/>
                    <a:pt x="1" y="298"/>
                    <a:pt x="1" y="655"/>
                  </a:cubicBezTo>
                  <a:lnTo>
                    <a:pt x="1" y="8715"/>
                  </a:lnTo>
                  <a:cubicBezTo>
                    <a:pt x="1" y="8942"/>
                    <a:pt x="180" y="9132"/>
                    <a:pt x="418" y="9132"/>
                  </a:cubicBezTo>
                  <a:lnTo>
                    <a:pt x="5859" y="9132"/>
                  </a:lnTo>
                  <a:cubicBezTo>
                    <a:pt x="5954" y="9132"/>
                    <a:pt x="6037" y="9061"/>
                    <a:pt x="6037" y="8954"/>
                  </a:cubicBezTo>
                  <a:cubicBezTo>
                    <a:pt x="6037" y="8846"/>
                    <a:pt x="5954" y="8775"/>
                    <a:pt x="5859" y="8775"/>
                  </a:cubicBezTo>
                  <a:lnTo>
                    <a:pt x="418" y="8775"/>
                  </a:lnTo>
                  <a:cubicBezTo>
                    <a:pt x="394" y="8775"/>
                    <a:pt x="358" y="8739"/>
                    <a:pt x="358" y="8715"/>
                  </a:cubicBezTo>
                  <a:lnTo>
                    <a:pt x="358" y="1631"/>
                  </a:lnTo>
                  <a:lnTo>
                    <a:pt x="2787" y="1631"/>
                  </a:lnTo>
                  <a:lnTo>
                    <a:pt x="2704" y="1727"/>
                  </a:lnTo>
                  <a:cubicBezTo>
                    <a:pt x="1346" y="3072"/>
                    <a:pt x="1346" y="5298"/>
                    <a:pt x="2704" y="6668"/>
                  </a:cubicBezTo>
                  <a:cubicBezTo>
                    <a:pt x="3382" y="7346"/>
                    <a:pt x="4275" y="7692"/>
                    <a:pt x="5168" y="7692"/>
                  </a:cubicBezTo>
                  <a:cubicBezTo>
                    <a:pt x="5883" y="7692"/>
                    <a:pt x="6597" y="7465"/>
                    <a:pt x="7204" y="7037"/>
                  </a:cubicBezTo>
                  <a:lnTo>
                    <a:pt x="7978" y="7811"/>
                  </a:lnTo>
                  <a:cubicBezTo>
                    <a:pt x="7919" y="7882"/>
                    <a:pt x="7883" y="7977"/>
                    <a:pt x="7883" y="8061"/>
                  </a:cubicBezTo>
                  <a:cubicBezTo>
                    <a:pt x="7883" y="8168"/>
                    <a:pt x="7919" y="8275"/>
                    <a:pt x="8002" y="8346"/>
                  </a:cubicBezTo>
                  <a:lnTo>
                    <a:pt x="8443" y="8787"/>
                  </a:lnTo>
                  <a:lnTo>
                    <a:pt x="6609" y="8787"/>
                  </a:lnTo>
                  <a:cubicBezTo>
                    <a:pt x="6514" y="8787"/>
                    <a:pt x="6430" y="8870"/>
                    <a:pt x="6430" y="8966"/>
                  </a:cubicBezTo>
                  <a:cubicBezTo>
                    <a:pt x="6430" y="9073"/>
                    <a:pt x="6514" y="9144"/>
                    <a:pt x="6609" y="9144"/>
                  </a:cubicBezTo>
                  <a:lnTo>
                    <a:pt x="8800" y="9144"/>
                  </a:lnTo>
                  <a:lnTo>
                    <a:pt x="10562" y="10906"/>
                  </a:lnTo>
                  <a:cubicBezTo>
                    <a:pt x="10633" y="10978"/>
                    <a:pt x="10740" y="11025"/>
                    <a:pt x="10836" y="11025"/>
                  </a:cubicBezTo>
                  <a:cubicBezTo>
                    <a:pt x="10943" y="11025"/>
                    <a:pt x="11050" y="10978"/>
                    <a:pt x="11121" y="10906"/>
                  </a:cubicBezTo>
                  <a:lnTo>
                    <a:pt x="11883" y="10144"/>
                  </a:lnTo>
                  <a:cubicBezTo>
                    <a:pt x="12026" y="9978"/>
                    <a:pt x="12026" y="9728"/>
                    <a:pt x="11872" y="9585"/>
                  </a:cubicBezTo>
                  <a:lnTo>
                    <a:pt x="11062" y="8775"/>
                  </a:lnTo>
                  <a:lnTo>
                    <a:pt x="11062" y="8727"/>
                  </a:lnTo>
                  <a:lnTo>
                    <a:pt x="11062" y="7025"/>
                  </a:lnTo>
                  <a:cubicBezTo>
                    <a:pt x="11062" y="6918"/>
                    <a:pt x="10990" y="6846"/>
                    <a:pt x="10883" y="6846"/>
                  </a:cubicBezTo>
                  <a:cubicBezTo>
                    <a:pt x="10776" y="6846"/>
                    <a:pt x="10705" y="6918"/>
                    <a:pt x="10705" y="7025"/>
                  </a:cubicBezTo>
                  <a:lnTo>
                    <a:pt x="10705" y="8430"/>
                  </a:lnTo>
                  <a:lnTo>
                    <a:pt x="9312" y="7037"/>
                  </a:lnTo>
                  <a:cubicBezTo>
                    <a:pt x="9233" y="6958"/>
                    <a:pt x="9132" y="6919"/>
                    <a:pt x="9034" y="6919"/>
                  </a:cubicBezTo>
                  <a:cubicBezTo>
                    <a:pt x="8939" y="6919"/>
                    <a:pt x="8846" y="6955"/>
                    <a:pt x="8776" y="7025"/>
                  </a:cubicBezTo>
                  <a:lnTo>
                    <a:pt x="8002" y="6251"/>
                  </a:lnTo>
                  <a:cubicBezTo>
                    <a:pt x="8978" y="4882"/>
                    <a:pt x="8859" y="2953"/>
                    <a:pt x="7633" y="1738"/>
                  </a:cubicBezTo>
                  <a:lnTo>
                    <a:pt x="7550" y="1643"/>
                  </a:lnTo>
                  <a:lnTo>
                    <a:pt x="10705" y="1643"/>
                  </a:lnTo>
                  <a:lnTo>
                    <a:pt x="10705" y="6251"/>
                  </a:lnTo>
                  <a:cubicBezTo>
                    <a:pt x="10705" y="6346"/>
                    <a:pt x="10776" y="6429"/>
                    <a:pt x="10883" y="6429"/>
                  </a:cubicBezTo>
                  <a:cubicBezTo>
                    <a:pt x="10990" y="6429"/>
                    <a:pt x="11062" y="6346"/>
                    <a:pt x="11062" y="6251"/>
                  </a:cubicBezTo>
                  <a:lnTo>
                    <a:pt x="11062" y="655"/>
                  </a:lnTo>
                  <a:cubicBezTo>
                    <a:pt x="11062" y="298"/>
                    <a:pt x="10764" y="0"/>
                    <a:pt x="10407" y="0"/>
                  </a:cubicBezTo>
                  <a:lnTo>
                    <a:pt x="8812" y="0"/>
                  </a:lnTo>
                  <a:cubicBezTo>
                    <a:pt x="8716" y="0"/>
                    <a:pt x="8633" y="72"/>
                    <a:pt x="8633" y="179"/>
                  </a:cubicBezTo>
                  <a:cubicBezTo>
                    <a:pt x="8633" y="274"/>
                    <a:pt x="8716" y="357"/>
                    <a:pt x="8812" y="357"/>
                  </a:cubicBezTo>
                  <a:lnTo>
                    <a:pt x="10407" y="357"/>
                  </a:lnTo>
                  <a:cubicBezTo>
                    <a:pt x="10574" y="357"/>
                    <a:pt x="10705" y="488"/>
                    <a:pt x="10705" y="655"/>
                  </a:cubicBezTo>
                  <a:lnTo>
                    <a:pt x="10705" y="1286"/>
                  </a:lnTo>
                  <a:lnTo>
                    <a:pt x="7109" y="1286"/>
                  </a:lnTo>
                  <a:cubicBezTo>
                    <a:pt x="6520" y="899"/>
                    <a:pt x="5841" y="706"/>
                    <a:pt x="5165" y="706"/>
                  </a:cubicBezTo>
                  <a:cubicBezTo>
                    <a:pt x="4490" y="706"/>
                    <a:pt x="3817" y="899"/>
                    <a:pt x="3239" y="1286"/>
                  </a:cubicBezTo>
                  <a:lnTo>
                    <a:pt x="358" y="1286"/>
                  </a:lnTo>
                  <a:lnTo>
                    <a:pt x="358" y="655"/>
                  </a:lnTo>
                  <a:cubicBezTo>
                    <a:pt x="358" y="488"/>
                    <a:pt x="501" y="357"/>
                    <a:pt x="656" y="357"/>
                  </a:cubicBezTo>
                  <a:lnTo>
                    <a:pt x="8062" y="357"/>
                  </a:lnTo>
                  <a:cubicBezTo>
                    <a:pt x="8157" y="357"/>
                    <a:pt x="8240" y="274"/>
                    <a:pt x="8240" y="179"/>
                  </a:cubicBezTo>
                  <a:cubicBezTo>
                    <a:pt x="8240" y="72"/>
                    <a:pt x="8157" y="0"/>
                    <a:pt x="80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1" name="Google Shape;12611;p62"/>
            <p:cNvSpPr/>
            <p:nvPr/>
          </p:nvSpPr>
          <p:spPr>
            <a:xfrm>
              <a:off x="2937814" y="4300215"/>
              <a:ext cx="11768" cy="11418"/>
            </a:xfrm>
            <a:custGeom>
              <a:avLst/>
              <a:gdLst/>
              <a:ahLst/>
              <a:cxnLst/>
              <a:rect l="l" t="t" r="r" b="b"/>
              <a:pathLst>
                <a:path w="370" h="359" extrusionOk="0">
                  <a:moveTo>
                    <a:pt x="191" y="1"/>
                  </a:moveTo>
                  <a:cubicBezTo>
                    <a:pt x="84" y="1"/>
                    <a:pt x="0" y="72"/>
                    <a:pt x="0" y="179"/>
                  </a:cubicBezTo>
                  <a:cubicBezTo>
                    <a:pt x="0" y="263"/>
                    <a:pt x="84" y="358"/>
                    <a:pt x="191" y="358"/>
                  </a:cubicBezTo>
                  <a:cubicBezTo>
                    <a:pt x="286" y="358"/>
                    <a:pt x="370" y="287"/>
                    <a:pt x="370" y="179"/>
                  </a:cubicBezTo>
                  <a:cubicBezTo>
                    <a:pt x="370" y="72"/>
                    <a:pt x="286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2" name="Google Shape;12612;p62"/>
            <p:cNvSpPr/>
            <p:nvPr/>
          </p:nvSpPr>
          <p:spPr>
            <a:xfrm>
              <a:off x="2952572" y="4300215"/>
              <a:ext cx="11386" cy="11418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63"/>
                    <a:pt x="84" y="358"/>
                    <a:pt x="179" y="358"/>
                  </a:cubicBezTo>
                  <a:cubicBezTo>
                    <a:pt x="287" y="358"/>
                    <a:pt x="358" y="287"/>
                    <a:pt x="358" y="179"/>
                  </a:cubicBezTo>
                  <a:cubicBezTo>
                    <a:pt x="358" y="72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3" name="Google Shape;12613;p62"/>
            <p:cNvSpPr/>
            <p:nvPr/>
          </p:nvSpPr>
          <p:spPr>
            <a:xfrm>
              <a:off x="2967361" y="4300215"/>
              <a:ext cx="11386" cy="11418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63"/>
                    <a:pt x="72" y="358"/>
                    <a:pt x="179" y="358"/>
                  </a:cubicBezTo>
                  <a:cubicBezTo>
                    <a:pt x="286" y="358"/>
                    <a:pt x="357" y="287"/>
                    <a:pt x="357" y="179"/>
                  </a:cubicBezTo>
                  <a:cubicBezTo>
                    <a:pt x="345" y="72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4" name="Google Shape;12614;p62"/>
            <p:cNvSpPr/>
            <p:nvPr/>
          </p:nvSpPr>
          <p:spPr>
            <a:xfrm>
              <a:off x="3016563" y="4424063"/>
              <a:ext cx="11418" cy="11386"/>
            </a:xfrm>
            <a:custGeom>
              <a:avLst/>
              <a:gdLst/>
              <a:ahLst/>
              <a:cxnLst/>
              <a:rect l="l" t="t" r="r" b="b"/>
              <a:pathLst>
                <a:path w="359" h="358" extrusionOk="0">
                  <a:moveTo>
                    <a:pt x="180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7"/>
                    <a:pt x="180" y="357"/>
                  </a:cubicBezTo>
                  <a:cubicBezTo>
                    <a:pt x="287" y="357"/>
                    <a:pt x="358" y="286"/>
                    <a:pt x="358" y="179"/>
                  </a:cubicBezTo>
                  <a:cubicBezTo>
                    <a:pt x="358" y="84"/>
                    <a:pt x="287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5" name="Google Shape;12615;p62"/>
            <p:cNvSpPr/>
            <p:nvPr/>
          </p:nvSpPr>
          <p:spPr>
            <a:xfrm>
              <a:off x="3016563" y="4442606"/>
              <a:ext cx="11418" cy="11386"/>
            </a:xfrm>
            <a:custGeom>
              <a:avLst/>
              <a:gdLst/>
              <a:ahLst/>
              <a:cxnLst/>
              <a:rect l="l" t="t" r="r" b="b"/>
              <a:pathLst>
                <a:path w="359" h="358" extrusionOk="0">
                  <a:moveTo>
                    <a:pt x="180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80" y="358"/>
                  </a:cubicBezTo>
                  <a:cubicBezTo>
                    <a:pt x="287" y="358"/>
                    <a:pt x="358" y="286"/>
                    <a:pt x="358" y="179"/>
                  </a:cubicBezTo>
                  <a:cubicBezTo>
                    <a:pt x="358" y="72"/>
                    <a:pt x="287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6" name="Google Shape;12616;p62"/>
            <p:cNvSpPr/>
            <p:nvPr/>
          </p:nvSpPr>
          <p:spPr>
            <a:xfrm>
              <a:off x="3032498" y="4424063"/>
              <a:ext cx="11768" cy="11386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91" y="0"/>
                  </a:moveTo>
                  <a:cubicBezTo>
                    <a:pt x="83" y="0"/>
                    <a:pt x="0" y="84"/>
                    <a:pt x="0" y="179"/>
                  </a:cubicBezTo>
                  <a:cubicBezTo>
                    <a:pt x="0" y="286"/>
                    <a:pt x="83" y="357"/>
                    <a:pt x="191" y="357"/>
                  </a:cubicBezTo>
                  <a:cubicBezTo>
                    <a:pt x="286" y="357"/>
                    <a:pt x="369" y="286"/>
                    <a:pt x="369" y="179"/>
                  </a:cubicBezTo>
                  <a:cubicBezTo>
                    <a:pt x="369" y="84"/>
                    <a:pt x="274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7" name="Google Shape;12617;p62"/>
            <p:cNvSpPr/>
            <p:nvPr/>
          </p:nvSpPr>
          <p:spPr>
            <a:xfrm>
              <a:off x="3032498" y="4442606"/>
              <a:ext cx="11768" cy="11386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91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86"/>
                    <a:pt x="83" y="358"/>
                    <a:pt x="191" y="358"/>
                  </a:cubicBezTo>
                  <a:cubicBezTo>
                    <a:pt x="286" y="358"/>
                    <a:pt x="369" y="286"/>
                    <a:pt x="369" y="179"/>
                  </a:cubicBezTo>
                  <a:cubicBezTo>
                    <a:pt x="369" y="72"/>
                    <a:pt x="274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8" name="Google Shape;12618;p62"/>
            <p:cNvSpPr/>
            <p:nvPr/>
          </p:nvSpPr>
          <p:spPr>
            <a:xfrm>
              <a:off x="3016213" y="4357527"/>
              <a:ext cx="112494" cy="111636"/>
            </a:xfrm>
            <a:custGeom>
              <a:avLst/>
              <a:gdLst/>
              <a:ahLst/>
              <a:cxnLst/>
              <a:rect l="l" t="t" r="r" b="b"/>
              <a:pathLst>
                <a:path w="3537" h="3510" extrusionOk="0">
                  <a:moveTo>
                    <a:pt x="2250" y="354"/>
                  </a:moveTo>
                  <a:lnTo>
                    <a:pt x="2096" y="1080"/>
                  </a:lnTo>
                  <a:lnTo>
                    <a:pt x="1357" y="913"/>
                  </a:lnTo>
                  <a:cubicBezTo>
                    <a:pt x="1336" y="909"/>
                    <a:pt x="1315" y="907"/>
                    <a:pt x="1293" y="907"/>
                  </a:cubicBezTo>
                  <a:cubicBezTo>
                    <a:pt x="1193" y="907"/>
                    <a:pt x="1093" y="950"/>
                    <a:pt x="1024" y="1009"/>
                  </a:cubicBezTo>
                  <a:cubicBezTo>
                    <a:pt x="929" y="1104"/>
                    <a:pt x="905" y="1211"/>
                    <a:pt x="929" y="1342"/>
                  </a:cubicBezTo>
                  <a:lnTo>
                    <a:pt x="953" y="1366"/>
                  </a:lnTo>
                  <a:lnTo>
                    <a:pt x="369" y="818"/>
                  </a:lnTo>
                  <a:lnTo>
                    <a:pt x="2250" y="354"/>
                  </a:lnTo>
                  <a:close/>
                  <a:moveTo>
                    <a:pt x="1274" y="1259"/>
                  </a:moveTo>
                  <a:lnTo>
                    <a:pt x="2036" y="1425"/>
                  </a:lnTo>
                  <a:lnTo>
                    <a:pt x="1869" y="2259"/>
                  </a:lnTo>
                  <a:lnTo>
                    <a:pt x="1429" y="1830"/>
                  </a:lnTo>
                  <a:lnTo>
                    <a:pt x="1274" y="1259"/>
                  </a:lnTo>
                  <a:close/>
                  <a:moveTo>
                    <a:pt x="2369" y="1521"/>
                  </a:moveTo>
                  <a:lnTo>
                    <a:pt x="3167" y="1699"/>
                  </a:lnTo>
                  <a:lnTo>
                    <a:pt x="1715" y="3152"/>
                  </a:lnTo>
                  <a:lnTo>
                    <a:pt x="1548" y="2449"/>
                  </a:lnTo>
                  <a:lnTo>
                    <a:pt x="1607" y="2509"/>
                  </a:lnTo>
                  <a:cubicBezTo>
                    <a:pt x="1679" y="2568"/>
                    <a:pt x="1774" y="2616"/>
                    <a:pt x="1857" y="2616"/>
                  </a:cubicBezTo>
                  <a:cubicBezTo>
                    <a:pt x="1893" y="2616"/>
                    <a:pt x="1929" y="2616"/>
                    <a:pt x="1965" y="2604"/>
                  </a:cubicBezTo>
                  <a:cubicBezTo>
                    <a:pt x="2084" y="2557"/>
                    <a:pt x="2191" y="2473"/>
                    <a:pt x="2203" y="2330"/>
                  </a:cubicBezTo>
                  <a:lnTo>
                    <a:pt x="2369" y="1521"/>
                  </a:lnTo>
                  <a:close/>
                  <a:moveTo>
                    <a:pt x="2239" y="0"/>
                  </a:moveTo>
                  <a:cubicBezTo>
                    <a:pt x="2211" y="0"/>
                    <a:pt x="2183" y="3"/>
                    <a:pt x="2155" y="9"/>
                  </a:cubicBezTo>
                  <a:lnTo>
                    <a:pt x="274" y="473"/>
                  </a:lnTo>
                  <a:cubicBezTo>
                    <a:pt x="167" y="509"/>
                    <a:pt x="60" y="604"/>
                    <a:pt x="24" y="723"/>
                  </a:cubicBezTo>
                  <a:cubicBezTo>
                    <a:pt x="0" y="842"/>
                    <a:pt x="24" y="985"/>
                    <a:pt x="119" y="1068"/>
                  </a:cubicBezTo>
                  <a:lnTo>
                    <a:pt x="1084" y="2009"/>
                  </a:lnTo>
                  <a:lnTo>
                    <a:pt x="1369" y="3223"/>
                  </a:lnTo>
                  <a:cubicBezTo>
                    <a:pt x="1393" y="3342"/>
                    <a:pt x="1488" y="3450"/>
                    <a:pt x="1619" y="3497"/>
                  </a:cubicBezTo>
                  <a:cubicBezTo>
                    <a:pt x="1655" y="3509"/>
                    <a:pt x="1679" y="3509"/>
                    <a:pt x="1726" y="3509"/>
                  </a:cubicBezTo>
                  <a:cubicBezTo>
                    <a:pt x="1810" y="3509"/>
                    <a:pt x="1905" y="3473"/>
                    <a:pt x="1976" y="3402"/>
                  </a:cubicBezTo>
                  <a:lnTo>
                    <a:pt x="3441" y="1949"/>
                  </a:lnTo>
                  <a:cubicBezTo>
                    <a:pt x="3512" y="1842"/>
                    <a:pt x="3536" y="1711"/>
                    <a:pt x="3512" y="1592"/>
                  </a:cubicBezTo>
                  <a:cubicBezTo>
                    <a:pt x="3477" y="1473"/>
                    <a:pt x="3381" y="1366"/>
                    <a:pt x="3239" y="1342"/>
                  </a:cubicBezTo>
                  <a:lnTo>
                    <a:pt x="2441" y="1152"/>
                  </a:lnTo>
                  <a:lnTo>
                    <a:pt x="2584" y="425"/>
                  </a:lnTo>
                  <a:cubicBezTo>
                    <a:pt x="2619" y="306"/>
                    <a:pt x="2572" y="187"/>
                    <a:pt x="2488" y="104"/>
                  </a:cubicBezTo>
                  <a:cubicBezTo>
                    <a:pt x="2416" y="31"/>
                    <a:pt x="2329" y="0"/>
                    <a:pt x="2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9" name="Google Shape;12619;p62"/>
            <p:cNvSpPr/>
            <p:nvPr/>
          </p:nvSpPr>
          <p:spPr>
            <a:xfrm>
              <a:off x="2937051" y="4499791"/>
              <a:ext cx="14439" cy="11386"/>
            </a:xfrm>
            <a:custGeom>
              <a:avLst/>
              <a:gdLst/>
              <a:ahLst/>
              <a:cxnLst/>
              <a:rect l="l" t="t" r="r" b="b"/>
              <a:pathLst>
                <a:path w="454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96" y="358"/>
                    <a:pt x="179" y="358"/>
                  </a:cubicBezTo>
                  <a:lnTo>
                    <a:pt x="274" y="358"/>
                  </a:lnTo>
                  <a:cubicBezTo>
                    <a:pt x="370" y="358"/>
                    <a:pt x="453" y="286"/>
                    <a:pt x="453" y="179"/>
                  </a:cubicBezTo>
                  <a:cubicBezTo>
                    <a:pt x="453" y="72"/>
                    <a:pt x="370" y="0"/>
                    <a:pt x="2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0" name="Google Shape;12620;p62"/>
            <p:cNvSpPr/>
            <p:nvPr/>
          </p:nvSpPr>
          <p:spPr>
            <a:xfrm>
              <a:off x="2953717" y="4499791"/>
              <a:ext cx="30310" cy="11386"/>
            </a:xfrm>
            <a:custGeom>
              <a:avLst/>
              <a:gdLst/>
              <a:ahLst/>
              <a:cxnLst/>
              <a:rect l="l" t="t" r="r" b="b"/>
              <a:pathLst>
                <a:path w="953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774" y="358"/>
                  </a:lnTo>
                  <a:cubicBezTo>
                    <a:pt x="882" y="358"/>
                    <a:pt x="953" y="286"/>
                    <a:pt x="953" y="179"/>
                  </a:cubicBezTo>
                  <a:cubicBezTo>
                    <a:pt x="953" y="96"/>
                    <a:pt x="858" y="0"/>
                    <a:pt x="7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1" name="Google Shape;12621;p62"/>
            <p:cNvSpPr/>
            <p:nvPr/>
          </p:nvSpPr>
          <p:spPr>
            <a:xfrm>
              <a:off x="2937051" y="4514930"/>
              <a:ext cx="46976" cy="11386"/>
            </a:xfrm>
            <a:custGeom>
              <a:avLst/>
              <a:gdLst/>
              <a:ahLst/>
              <a:cxnLst/>
              <a:rect l="l" t="t" r="r" b="b"/>
              <a:pathLst>
                <a:path w="1477" h="358" extrusionOk="0">
                  <a:moveTo>
                    <a:pt x="179" y="1"/>
                  </a:moveTo>
                  <a:cubicBezTo>
                    <a:pt x="72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1298" y="358"/>
                  </a:lnTo>
                  <a:cubicBezTo>
                    <a:pt x="1406" y="358"/>
                    <a:pt x="1477" y="286"/>
                    <a:pt x="1477" y="179"/>
                  </a:cubicBezTo>
                  <a:cubicBezTo>
                    <a:pt x="1477" y="84"/>
                    <a:pt x="1382" y="1"/>
                    <a:pt x="1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2" name="Google Shape;12622;p62"/>
            <p:cNvSpPr/>
            <p:nvPr/>
          </p:nvSpPr>
          <p:spPr>
            <a:xfrm>
              <a:off x="2937051" y="4529719"/>
              <a:ext cx="46976" cy="11386"/>
            </a:xfrm>
            <a:custGeom>
              <a:avLst/>
              <a:gdLst/>
              <a:ahLst/>
              <a:cxnLst/>
              <a:rect l="l" t="t" r="r" b="b"/>
              <a:pathLst>
                <a:path w="1477" h="358" extrusionOk="0">
                  <a:moveTo>
                    <a:pt x="179" y="0"/>
                  </a:moveTo>
                  <a:cubicBezTo>
                    <a:pt x="72" y="0"/>
                    <a:pt x="1" y="71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298" y="357"/>
                  </a:lnTo>
                  <a:cubicBezTo>
                    <a:pt x="1406" y="357"/>
                    <a:pt x="1477" y="286"/>
                    <a:pt x="1477" y="179"/>
                  </a:cubicBezTo>
                  <a:cubicBezTo>
                    <a:pt x="1477" y="71"/>
                    <a:pt x="1382" y="0"/>
                    <a:pt x="1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3" name="Google Shape;12623;p62"/>
            <p:cNvSpPr/>
            <p:nvPr/>
          </p:nvSpPr>
          <p:spPr>
            <a:xfrm>
              <a:off x="3213881" y="4343787"/>
              <a:ext cx="11386" cy="126488"/>
            </a:xfrm>
            <a:custGeom>
              <a:avLst/>
              <a:gdLst/>
              <a:ahLst/>
              <a:cxnLst/>
              <a:rect l="l" t="t" r="r" b="b"/>
              <a:pathLst>
                <a:path w="358" h="3977" extrusionOk="0">
                  <a:moveTo>
                    <a:pt x="179" y="0"/>
                  </a:moveTo>
                  <a:cubicBezTo>
                    <a:pt x="83" y="0"/>
                    <a:pt x="0" y="83"/>
                    <a:pt x="0" y="179"/>
                  </a:cubicBezTo>
                  <a:lnTo>
                    <a:pt x="0" y="3798"/>
                  </a:lnTo>
                  <a:cubicBezTo>
                    <a:pt x="0" y="3893"/>
                    <a:pt x="83" y="3977"/>
                    <a:pt x="179" y="3977"/>
                  </a:cubicBezTo>
                  <a:cubicBezTo>
                    <a:pt x="286" y="3977"/>
                    <a:pt x="357" y="3893"/>
                    <a:pt x="357" y="3798"/>
                  </a:cubicBezTo>
                  <a:lnTo>
                    <a:pt x="357" y="179"/>
                  </a:lnTo>
                  <a:cubicBezTo>
                    <a:pt x="357" y="72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24" name="Google Shape;12624;p62"/>
          <p:cNvGrpSpPr/>
          <p:nvPr/>
        </p:nvGrpSpPr>
        <p:grpSpPr>
          <a:xfrm>
            <a:off x="3933342" y="4315767"/>
            <a:ext cx="383632" cy="276449"/>
            <a:chOff x="3933342" y="4315767"/>
            <a:chExt cx="383632" cy="276449"/>
          </a:xfrm>
        </p:grpSpPr>
        <p:sp>
          <p:nvSpPr>
            <p:cNvPr id="12625" name="Google Shape;12625;p62"/>
            <p:cNvSpPr/>
            <p:nvPr/>
          </p:nvSpPr>
          <p:spPr>
            <a:xfrm>
              <a:off x="3933342" y="4315767"/>
              <a:ext cx="383632" cy="276449"/>
            </a:xfrm>
            <a:custGeom>
              <a:avLst/>
              <a:gdLst/>
              <a:ahLst/>
              <a:cxnLst/>
              <a:rect l="l" t="t" r="r" b="b"/>
              <a:pathLst>
                <a:path w="12062" h="8692" extrusionOk="0">
                  <a:moveTo>
                    <a:pt x="2061" y="369"/>
                  </a:moveTo>
                  <a:cubicBezTo>
                    <a:pt x="2120" y="369"/>
                    <a:pt x="2168" y="417"/>
                    <a:pt x="2168" y="476"/>
                  </a:cubicBezTo>
                  <a:lnTo>
                    <a:pt x="2168" y="845"/>
                  </a:lnTo>
                  <a:lnTo>
                    <a:pt x="1406" y="845"/>
                  </a:lnTo>
                  <a:lnTo>
                    <a:pt x="1406" y="476"/>
                  </a:lnTo>
                  <a:cubicBezTo>
                    <a:pt x="1406" y="417"/>
                    <a:pt x="1454" y="369"/>
                    <a:pt x="1513" y="369"/>
                  </a:cubicBezTo>
                  <a:close/>
                  <a:moveTo>
                    <a:pt x="10824" y="1262"/>
                  </a:moveTo>
                  <a:cubicBezTo>
                    <a:pt x="10883" y="1262"/>
                    <a:pt x="10931" y="1310"/>
                    <a:pt x="10931" y="1369"/>
                  </a:cubicBezTo>
                  <a:lnTo>
                    <a:pt x="10943" y="1715"/>
                  </a:lnTo>
                  <a:lnTo>
                    <a:pt x="9490" y="1715"/>
                  </a:lnTo>
                  <a:lnTo>
                    <a:pt x="9490" y="1369"/>
                  </a:lnTo>
                  <a:cubicBezTo>
                    <a:pt x="9490" y="1310"/>
                    <a:pt x="9526" y="1262"/>
                    <a:pt x="9586" y="1262"/>
                  </a:cubicBezTo>
                  <a:close/>
                  <a:moveTo>
                    <a:pt x="1513" y="0"/>
                  </a:moveTo>
                  <a:cubicBezTo>
                    <a:pt x="1251" y="0"/>
                    <a:pt x="1049" y="214"/>
                    <a:pt x="1049" y="464"/>
                  </a:cubicBezTo>
                  <a:lnTo>
                    <a:pt x="1049" y="833"/>
                  </a:lnTo>
                  <a:lnTo>
                    <a:pt x="894" y="833"/>
                  </a:lnTo>
                  <a:cubicBezTo>
                    <a:pt x="692" y="833"/>
                    <a:pt x="489" y="905"/>
                    <a:pt x="334" y="1048"/>
                  </a:cubicBezTo>
                  <a:cubicBezTo>
                    <a:pt x="263" y="1107"/>
                    <a:pt x="239" y="1226"/>
                    <a:pt x="299" y="1298"/>
                  </a:cubicBezTo>
                  <a:cubicBezTo>
                    <a:pt x="332" y="1338"/>
                    <a:pt x="385" y="1360"/>
                    <a:pt x="440" y="1360"/>
                  </a:cubicBezTo>
                  <a:cubicBezTo>
                    <a:pt x="482" y="1360"/>
                    <a:pt x="525" y="1347"/>
                    <a:pt x="561" y="1322"/>
                  </a:cubicBezTo>
                  <a:cubicBezTo>
                    <a:pt x="676" y="1220"/>
                    <a:pt x="791" y="1203"/>
                    <a:pt x="908" y="1203"/>
                  </a:cubicBezTo>
                  <a:cubicBezTo>
                    <a:pt x="966" y="1203"/>
                    <a:pt x="1025" y="1207"/>
                    <a:pt x="1084" y="1207"/>
                  </a:cubicBezTo>
                  <a:cubicBezTo>
                    <a:pt x="1116" y="1207"/>
                    <a:pt x="1148" y="1206"/>
                    <a:pt x="1180" y="1203"/>
                  </a:cubicBezTo>
                  <a:lnTo>
                    <a:pt x="2680" y="1203"/>
                  </a:lnTo>
                  <a:cubicBezTo>
                    <a:pt x="2978" y="1203"/>
                    <a:pt x="3216" y="1441"/>
                    <a:pt x="3216" y="1738"/>
                  </a:cubicBezTo>
                  <a:lnTo>
                    <a:pt x="3216" y="2429"/>
                  </a:lnTo>
                  <a:cubicBezTo>
                    <a:pt x="3216" y="2536"/>
                    <a:pt x="3299" y="2607"/>
                    <a:pt x="3394" y="2607"/>
                  </a:cubicBezTo>
                  <a:cubicBezTo>
                    <a:pt x="3501" y="2607"/>
                    <a:pt x="3573" y="2536"/>
                    <a:pt x="3573" y="2429"/>
                  </a:cubicBezTo>
                  <a:lnTo>
                    <a:pt x="3573" y="2072"/>
                  </a:lnTo>
                  <a:lnTo>
                    <a:pt x="11217" y="2072"/>
                  </a:lnTo>
                  <a:cubicBezTo>
                    <a:pt x="11491" y="2084"/>
                    <a:pt x="11705" y="2322"/>
                    <a:pt x="11705" y="2607"/>
                  </a:cubicBezTo>
                  <a:lnTo>
                    <a:pt x="11705" y="2834"/>
                  </a:lnTo>
                  <a:lnTo>
                    <a:pt x="11395" y="2834"/>
                  </a:lnTo>
                  <a:cubicBezTo>
                    <a:pt x="11288" y="2834"/>
                    <a:pt x="11217" y="2905"/>
                    <a:pt x="11217" y="3012"/>
                  </a:cubicBezTo>
                  <a:cubicBezTo>
                    <a:pt x="11217" y="3108"/>
                    <a:pt x="11288" y="3191"/>
                    <a:pt x="11395" y="3191"/>
                  </a:cubicBezTo>
                  <a:lnTo>
                    <a:pt x="11705" y="3191"/>
                  </a:lnTo>
                  <a:lnTo>
                    <a:pt x="11705" y="7441"/>
                  </a:lnTo>
                  <a:lnTo>
                    <a:pt x="10883" y="7441"/>
                  </a:lnTo>
                  <a:cubicBezTo>
                    <a:pt x="10621" y="7441"/>
                    <a:pt x="10395" y="7215"/>
                    <a:pt x="10395" y="6953"/>
                  </a:cubicBezTo>
                  <a:lnTo>
                    <a:pt x="10395" y="3667"/>
                  </a:lnTo>
                  <a:cubicBezTo>
                    <a:pt x="10395" y="3453"/>
                    <a:pt x="10538" y="3262"/>
                    <a:pt x="10740" y="3203"/>
                  </a:cubicBezTo>
                  <a:cubicBezTo>
                    <a:pt x="10824" y="3167"/>
                    <a:pt x="10883" y="3072"/>
                    <a:pt x="10859" y="2977"/>
                  </a:cubicBezTo>
                  <a:cubicBezTo>
                    <a:pt x="10829" y="2906"/>
                    <a:pt x="10747" y="2852"/>
                    <a:pt x="10672" y="2852"/>
                  </a:cubicBezTo>
                  <a:cubicBezTo>
                    <a:pt x="10659" y="2852"/>
                    <a:pt x="10646" y="2854"/>
                    <a:pt x="10633" y="2858"/>
                  </a:cubicBezTo>
                  <a:cubicBezTo>
                    <a:pt x="10276" y="2965"/>
                    <a:pt x="10038" y="3310"/>
                    <a:pt x="10038" y="3667"/>
                  </a:cubicBezTo>
                  <a:lnTo>
                    <a:pt x="10038" y="6953"/>
                  </a:lnTo>
                  <a:cubicBezTo>
                    <a:pt x="10038" y="7418"/>
                    <a:pt x="10419" y="7799"/>
                    <a:pt x="10883" y="7799"/>
                  </a:cubicBezTo>
                  <a:lnTo>
                    <a:pt x="11705" y="7799"/>
                  </a:lnTo>
                  <a:cubicBezTo>
                    <a:pt x="11705" y="8096"/>
                    <a:pt x="11467" y="8334"/>
                    <a:pt x="11169" y="8334"/>
                  </a:cubicBezTo>
                  <a:lnTo>
                    <a:pt x="3394" y="8334"/>
                  </a:lnTo>
                  <a:cubicBezTo>
                    <a:pt x="3478" y="8227"/>
                    <a:pt x="3537" y="8108"/>
                    <a:pt x="3561" y="7977"/>
                  </a:cubicBezTo>
                  <a:cubicBezTo>
                    <a:pt x="3573" y="7870"/>
                    <a:pt x="3513" y="7787"/>
                    <a:pt x="3430" y="7775"/>
                  </a:cubicBezTo>
                  <a:cubicBezTo>
                    <a:pt x="3414" y="7771"/>
                    <a:pt x="3399" y="7770"/>
                    <a:pt x="3384" y="7770"/>
                  </a:cubicBezTo>
                  <a:cubicBezTo>
                    <a:pt x="3299" y="7770"/>
                    <a:pt x="3236" y="7825"/>
                    <a:pt x="3216" y="7906"/>
                  </a:cubicBezTo>
                  <a:cubicBezTo>
                    <a:pt x="3180" y="8156"/>
                    <a:pt x="2954" y="8334"/>
                    <a:pt x="2704" y="8334"/>
                  </a:cubicBezTo>
                  <a:lnTo>
                    <a:pt x="823" y="8334"/>
                  </a:lnTo>
                  <a:cubicBezTo>
                    <a:pt x="572" y="8287"/>
                    <a:pt x="358" y="8072"/>
                    <a:pt x="358" y="7799"/>
                  </a:cubicBezTo>
                  <a:lnTo>
                    <a:pt x="358" y="2774"/>
                  </a:lnTo>
                  <a:lnTo>
                    <a:pt x="358" y="1834"/>
                  </a:lnTo>
                  <a:cubicBezTo>
                    <a:pt x="358" y="1726"/>
                    <a:pt x="287" y="1655"/>
                    <a:pt x="180" y="1655"/>
                  </a:cubicBezTo>
                  <a:cubicBezTo>
                    <a:pt x="72" y="1655"/>
                    <a:pt x="1" y="1726"/>
                    <a:pt x="1" y="1834"/>
                  </a:cubicBezTo>
                  <a:lnTo>
                    <a:pt x="1" y="7799"/>
                  </a:lnTo>
                  <a:cubicBezTo>
                    <a:pt x="1" y="8251"/>
                    <a:pt x="334" y="8608"/>
                    <a:pt x="751" y="8680"/>
                  </a:cubicBezTo>
                  <a:cubicBezTo>
                    <a:pt x="763" y="8680"/>
                    <a:pt x="787" y="8680"/>
                    <a:pt x="811" y="8692"/>
                  </a:cubicBezTo>
                  <a:lnTo>
                    <a:pt x="11169" y="8692"/>
                  </a:lnTo>
                  <a:cubicBezTo>
                    <a:pt x="11657" y="8692"/>
                    <a:pt x="12062" y="8287"/>
                    <a:pt x="12062" y="7799"/>
                  </a:cubicBezTo>
                  <a:lnTo>
                    <a:pt x="12062" y="2607"/>
                  </a:lnTo>
                  <a:cubicBezTo>
                    <a:pt x="12050" y="2155"/>
                    <a:pt x="11717" y="1786"/>
                    <a:pt x="11300" y="1715"/>
                  </a:cubicBezTo>
                  <a:lnTo>
                    <a:pt x="11300" y="1357"/>
                  </a:lnTo>
                  <a:cubicBezTo>
                    <a:pt x="11300" y="1107"/>
                    <a:pt x="11098" y="893"/>
                    <a:pt x="10836" y="893"/>
                  </a:cubicBezTo>
                  <a:lnTo>
                    <a:pt x="9609" y="893"/>
                  </a:lnTo>
                  <a:cubicBezTo>
                    <a:pt x="9347" y="893"/>
                    <a:pt x="9145" y="1107"/>
                    <a:pt x="9145" y="1357"/>
                  </a:cubicBezTo>
                  <a:lnTo>
                    <a:pt x="9145" y="1703"/>
                  </a:lnTo>
                  <a:lnTo>
                    <a:pt x="8621" y="1703"/>
                  </a:lnTo>
                  <a:lnTo>
                    <a:pt x="8252" y="881"/>
                  </a:lnTo>
                  <a:cubicBezTo>
                    <a:pt x="8121" y="595"/>
                    <a:pt x="7823" y="405"/>
                    <a:pt x="7502" y="405"/>
                  </a:cubicBezTo>
                  <a:lnTo>
                    <a:pt x="6049" y="405"/>
                  </a:lnTo>
                  <a:cubicBezTo>
                    <a:pt x="5776" y="405"/>
                    <a:pt x="5525" y="536"/>
                    <a:pt x="5383" y="738"/>
                  </a:cubicBezTo>
                  <a:cubicBezTo>
                    <a:pt x="5323" y="822"/>
                    <a:pt x="5335" y="941"/>
                    <a:pt x="5418" y="1000"/>
                  </a:cubicBezTo>
                  <a:cubicBezTo>
                    <a:pt x="5450" y="1023"/>
                    <a:pt x="5486" y="1033"/>
                    <a:pt x="5523" y="1033"/>
                  </a:cubicBezTo>
                  <a:cubicBezTo>
                    <a:pt x="5583" y="1033"/>
                    <a:pt x="5643" y="1004"/>
                    <a:pt x="5680" y="953"/>
                  </a:cubicBezTo>
                  <a:cubicBezTo>
                    <a:pt x="5764" y="833"/>
                    <a:pt x="5895" y="762"/>
                    <a:pt x="6049" y="762"/>
                  </a:cubicBezTo>
                  <a:lnTo>
                    <a:pt x="7502" y="762"/>
                  </a:lnTo>
                  <a:cubicBezTo>
                    <a:pt x="7681" y="762"/>
                    <a:pt x="7847" y="869"/>
                    <a:pt x="7919" y="1024"/>
                  </a:cubicBezTo>
                  <a:lnTo>
                    <a:pt x="8240" y="1703"/>
                  </a:lnTo>
                  <a:lnTo>
                    <a:pt x="5335" y="1703"/>
                  </a:lnTo>
                  <a:lnTo>
                    <a:pt x="5395" y="1584"/>
                  </a:lnTo>
                  <a:cubicBezTo>
                    <a:pt x="5430" y="1488"/>
                    <a:pt x="5395" y="1381"/>
                    <a:pt x="5299" y="1345"/>
                  </a:cubicBezTo>
                  <a:cubicBezTo>
                    <a:pt x="5276" y="1332"/>
                    <a:pt x="5252" y="1327"/>
                    <a:pt x="5227" y="1327"/>
                  </a:cubicBezTo>
                  <a:cubicBezTo>
                    <a:pt x="5162" y="1327"/>
                    <a:pt x="5096" y="1368"/>
                    <a:pt x="5061" y="1429"/>
                  </a:cubicBezTo>
                  <a:lnTo>
                    <a:pt x="4942" y="1703"/>
                  </a:lnTo>
                  <a:lnTo>
                    <a:pt x="3561" y="1703"/>
                  </a:lnTo>
                  <a:cubicBezTo>
                    <a:pt x="3549" y="1226"/>
                    <a:pt x="3144" y="833"/>
                    <a:pt x="2668" y="833"/>
                  </a:cubicBezTo>
                  <a:lnTo>
                    <a:pt x="2525" y="833"/>
                  </a:lnTo>
                  <a:lnTo>
                    <a:pt x="2525" y="464"/>
                  </a:lnTo>
                  <a:cubicBezTo>
                    <a:pt x="2525" y="214"/>
                    <a:pt x="2311" y="0"/>
                    <a:pt x="2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6" name="Google Shape;12626;p62"/>
            <p:cNvSpPr/>
            <p:nvPr/>
          </p:nvSpPr>
          <p:spPr>
            <a:xfrm>
              <a:off x="4035214" y="4410037"/>
              <a:ext cx="11386" cy="140896"/>
            </a:xfrm>
            <a:custGeom>
              <a:avLst/>
              <a:gdLst/>
              <a:ahLst/>
              <a:cxnLst/>
              <a:rect l="l" t="t" r="r" b="b"/>
              <a:pathLst>
                <a:path w="358" h="4430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4251"/>
                  </a:lnTo>
                  <a:cubicBezTo>
                    <a:pt x="1" y="4358"/>
                    <a:pt x="72" y="4430"/>
                    <a:pt x="179" y="4430"/>
                  </a:cubicBezTo>
                  <a:cubicBezTo>
                    <a:pt x="287" y="4430"/>
                    <a:pt x="358" y="4358"/>
                    <a:pt x="358" y="4251"/>
                  </a:cubicBezTo>
                  <a:lnTo>
                    <a:pt x="358" y="179"/>
                  </a:lnTo>
                  <a:cubicBezTo>
                    <a:pt x="358" y="84"/>
                    <a:pt x="287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7" name="Google Shape;12627;p62"/>
            <p:cNvSpPr/>
            <p:nvPr/>
          </p:nvSpPr>
          <p:spPr>
            <a:xfrm>
              <a:off x="4221146" y="4390827"/>
              <a:ext cx="42460" cy="32886"/>
            </a:xfrm>
            <a:custGeom>
              <a:avLst/>
              <a:gdLst/>
              <a:ahLst/>
              <a:cxnLst/>
              <a:rect l="l" t="t" r="r" b="b"/>
              <a:pathLst>
                <a:path w="1335" h="1034" extrusionOk="0">
                  <a:moveTo>
                    <a:pt x="813" y="0"/>
                  </a:moveTo>
                  <a:cubicBezTo>
                    <a:pt x="753" y="0"/>
                    <a:pt x="693" y="29"/>
                    <a:pt x="656" y="81"/>
                  </a:cubicBezTo>
                  <a:cubicBezTo>
                    <a:pt x="596" y="152"/>
                    <a:pt x="620" y="271"/>
                    <a:pt x="703" y="331"/>
                  </a:cubicBezTo>
                  <a:cubicBezTo>
                    <a:pt x="846" y="438"/>
                    <a:pt x="775" y="664"/>
                    <a:pt x="596" y="664"/>
                  </a:cubicBezTo>
                  <a:cubicBezTo>
                    <a:pt x="489" y="664"/>
                    <a:pt x="406" y="557"/>
                    <a:pt x="417" y="450"/>
                  </a:cubicBezTo>
                  <a:cubicBezTo>
                    <a:pt x="429" y="355"/>
                    <a:pt x="370" y="259"/>
                    <a:pt x="275" y="247"/>
                  </a:cubicBezTo>
                  <a:cubicBezTo>
                    <a:pt x="265" y="246"/>
                    <a:pt x="256" y="246"/>
                    <a:pt x="248" y="246"/>
                  </a:cubicBezTo>
                  <a:cubicBezTo>
                    <a:pt x="152" y="246"/>
                    <a:pt x="71" y="303"/>
                    <a:pt x="60" y="390"/>
                  </a:cubicBezTo>
                  <a:cubicBezTo>
                    <a:pt x="1" y="736"/>
                    <a:pt x="251" y="1033"/>
                    <a:pt x="584" y="1033"/>
                  </a:cubicBezTo>
                  <a:cubicBezTo>
                    <a:pt x="1120" y="1009"/>
                    <a:pt x="1334" y="331"/>
                    <a:pt x="918" y="33"/>
                  </a:cubicBezTo>
                  <a:cubicBezTo>
                    <a:pt x="886" y="11"/>
                    <a:pt x="849" y="0"/>
                    <a:pt x="8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8" name="Google Shape;12628;p62"/>
            <p:cNvSpPr/>
            <p:nvPr/>
          </p:nvSpPr>
          <p:spPr>
            <a:xfrm>
              <a:off x="4054519" y="4384561"/>
              <a:ext cx="192961" cy="192516"/>
            </a:xfrm>
            <a:custGeom>
              <a:avLst/>
              <a:gdLst/>
              <a:ahLst/>
              <a:cxnLst/>
              <a:rect l="l" t="t" r="r" b="b"/>
              <a:pathLst>
                <a:path w="6067" h="6053" extrusionOk="0">
                  <a:moveTo>
                    <a:pt x="3013" y="1"/>
                  </a:moveTo>
                  <a:cubicBezTo>
                    <a:pt x="2380" y="1"/>
                    <a:pt x="1733" y="201"/>
                    <a:pt x="1168" y="647"/>
                  </a:cubicBezTo>
                  <a:cubicBezTo>
                    <a:pt x="1096" y="706"/>
                    <a:pt x="1073" y="825"/>
                    <a:pt x="1132" y="909"/>
                  </a:cubicBezTo>
                  <a:cubicBezTo>
                    <a:pt x="1166" y="949"/>
                    <a:pt x="1219" y="971"/>
                    <a:pt x="1274" y="971"/>
                  </a:cubicBezTo>
                  <a:cubicBezTo>
                    <a:pt x="1315" y="971"/>
                    <a:pt x="1358" y="958"/>
                    <a:pt x="1394" y="933"/>
                  </a:cubicBezTo>
                  <a:cubicBezTo>
                    <a:pt x="1895" y="538"/>
                    <a:pt x="2466" y="360"/>
                    <a:pt x="3024" y="360"/>
                  </a:cubicBezTo>
                  <a:cubicBezTo>
                    <a:pt x="4402" y="360"/>
                    <a:pt x="5704" y="1444"/>
                    <a:pt x="5704" y="3028"/>
                  </a:cubicBezTo>
                  <a:cubicBezTo>
                    <a:pt x="5704" y="3659"/>
                    <a:pt x="5478" y="4266"/>
                    <a:pt x="5085" y="4743"/>
                  </a:cubicBezTo>
                  <a:cubicBezTo>
                    <a:pt x="4573" y="5350"/>
                    <a:pt x="3835" y="5707"/>
                    <a:pt x="3025" y="5707"/>
                  </a:cubicBezTo>
                  <a:cubicBezTo>
                    <a:pt x="1549" y="5707"/>
                    <a:pt x="358" y="4516"/>
                    <a:pt x="358" y="3052"/>
                  </a:cubicBezTo>
                  <a:cubicBezTo>
                    <a:pt x="358" y="2457"/>
                    <a:pt x="561" y="1897"/>
                    <a:pt x="918" y="1421"/>
                  </a:cubicBezTo>
                  <a:cubicBezTo>
                    <a:pt x="977" y="1349"/>
                    <a:pt x="953" y="1230"/>
                    <a:pt x="882" y="1171"/>
                  </a:cubicBezTo>
                  <a:cubicBezTo>
                    <a:pt x="852" y="1146"/>
                    <a:pt x="814" y="1134"/>
                    <a:pt x="776" y="1134"/>
                  </a:cubicBezTo>
                  <a:cubicBezTo>
                    <a:pt x="722" y="1134"/>
                    <a:pt x="667" y="1158"/>
                    <a:pt x="632" y="1206"/>
                  </a:cubicBezTo>
                  <a:cubicBezTo>
                    <a:pt x="227" y="1742"/>
                    <a:pt x="1" y="2361"/>
                    <a:pt x="1" y="3028"/>
                  </a:cubicBezTo>
                  <a:cubicBezTo>
                    <a:pt x="1" y="4695"/>
                    <a:pt x="1358" y="6052"/>
                    <a:pt x="3025" y="6052"/>
                  </a:cubicBezTo>
                  <a:cubicBezTo>
                    <a:pt x="3930" y="6052"/>
                    <a:pt x="4775" y="5648"/>
                    <a:pt x="5347" y="4969"/>
                  </a:cubicBezTo>
                  <a:cubicBezTo>
                    <a:pt x="5787" y="4433"/>
                    <a:pt x="6049" y="3731"/>
                    <a:pt x="6049" y="3028"/>
                  </a:cubicBezTo>
                  <a:cubicBezTo>
                    <a:pt x="6066" y="1230"/>
                    <a:pt x="4580" y="1"/>
                    <a:pt x="3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9" name="Google Shape;12629;p62"/>
            <p:cNvSpPr/>
            <p:nvPr/>
          </p:nvSpPr>
          <p:spPr>
            <a:xfrm>
              <a:off x="4085593" y="4420278"/>
              <a:ext cx="145826" cy="120923"/>
            </a:xfrm>
            <a:custGeom>
              <a:avLst/>
              <a:gdLst/>
              <a:ahLst/>
              <a:cxnLst/>
              <a:rect l="l" t="t" r="r" b="b"/>
              <a:pathLst>
                <a:path w="4585" h="3802" extrusionOk="0">
                  <a:moveTo>
                    <a:pt x="2060" y="0"/>
                  </a:moveTo>
                  <a:cubicBezTo>
                    <a:pt x="893" y="0"/>
                    <a:pt x="0" y="1060"/>
                    <a:pt x="191" y="2203"/>
                  </a:cubicBezTo>
                  <a:cubicBezTo>
                    <a:pt x="202" y="2301"/>
                    <a:pt x="282" y="2359"/>
                    <a:pt x="369" y="2359"/>
                  </a:cubicBezTo>
                  <a:cubicBezTo>
                    <a:pt x="377" y="2359"/>
                    <a:pt x="385" y="2359"/>
                    <a:pt x="393" y="2358"/>
                  </a:cubicBezTo>
                  <a:cubicBezTo>
                    <a:pt x="500" y="2346"/>
                    <a:pt x="560" y="2250"/>
                    <a:pt x="548" y="2143"/>
                  </a:cubicBezTo>
                  <a:cubicBezTo>
                    <a:pt x="377" y="1146"/>
                    <a:pt x="1184" y="350"/>
                    <a:pt x="2075" y="350"/>
                  </a:cubicBezTo>
                  <a:cubicBezTo>
                    <a:pt x="2428" y="350"/>
                    <a:pt x="2795" y="475"/>
                    <a:pt x="3120" y="762"/>
                  </a:cubicBezTo>
                  <a:cubicBezTo>
                    <a:pt x="3727" y="1334"/>
                    <a:pt x="3786" y="2310"/>
                    <a:pt x="3191" y="2941"/>
                  </a:cubicBezTo>
                  <a:cubicBezTo>
                    <a:pt x="2884" y="3270"/>
                    <a:pt x="2472" y="3430"/>
                    <a:pt x="2064" y="3430"/>
                  </a:cubicBezTo>
                  <a:cubicBezTo>
                    <a:pt x="1569" y="3430"/>
                    <a:pt x="1079" y="3195"/>
                    <a:pt x="786" y="2739"/>
                  </a:cubicBezTo>
                  <a:cubicBezTo>
                    <a:pt x="751" y="2690"/>
                    <a:pt x="700" y="2666"/>
                    <a:pt x="645" y="2666"/>
                  </a:cubicBezTo>
                  <a:cubicBezTo>
                    <a:pt x="606" y="2666"/>
                    <a:pt x="564" y="2678"/>
                    <a:pt x="524" y="2703"/>
                  </a:cubicBezTo>
                  <a:cubicBezTo>
                    <a:pt x="441" y="2762"/>
                    <a:pt x="429" y="2858"/>
                    <a:pt x="488" y="2953"/>
                  </a:cubicBezTo>
                  <a:cubicBezTo>
                    <a:pt x="859" y="3512"/>
                    <a:pt x="1464" y="3801"/>
                    <a:pt x="2073" y="3801"/>
                  </a:cubicBezTo>
                  <a:cubicBezTo>
                    <a:pt x="2579" y="3801"/>
                    <a:pt x="3087" y="3602"/>
                    <a:pt x="3465" y="3191"/>
                  </a:cubicBezTo>
                  <a:cubicBezTo>
                    <a:pt x="4584" y="1988"/>
                    <a:pt x="3715" y="0"/>
                    <a:pt x="2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0" name="Google Shape;12630;p62"/>
            <p:cNvSpPr/>
            <p:nvPr/>
          </p:nvSpPr>
          <p:spPr>
            <a:xfrm>
              <a:off x="4131392" y="4449507"/>
              <a:ext cx="54577" cy="45767"/>
            </a:xfrm>
            <a:custGeom>
              <a:avLst/>
              <a:gdLst/>
              <a:ahLst/>
              <a:cxnLst/>
              <a:rect l="l" t="t" r="r" b="b"/>
              <a:pathLst>
                <a:path w="1716" h="1439" extrusionOk="0">
                  <a:moveTo>
                    <a:pt x="820" y="0"/>
                  </a:moveTo>
                  <a:cubicBezTo>
                    <a:pt x="805" y="0"/>
                    <a:pt x="790" y="3"/>
                    <a:pt x="775" y="10"/>
                  </a:cubicBezTo>
                  <a:cubicBezTo>
                    <a:pt x="203" y="129"/>
                    <a:pt x="1" y="831"/>
                    <a:pt x="394" y="1224"/>
                  </a:cubicBezTo>
                  <a:cubicBezTo>
                    <a:pt x="537" y="1367"/>
                    <a:pt x="724" y="1439"/>
                    <a:pt x="912" y="1439"/>
                  </a:cubicBezTo>
                  <a:cubicBezTo>
                    <a:pt x="1099" y="1439"/>
                    <a:pt x="1287" y="1367"/>
                    <a:pt x="1430" y="1224"/>
                  </a:cubicBezTo>
                  <a:cubicBezTo>
                    <a:pt x="1668" y="986"/>
                    <a:pt x="1715" y="665"/>
                    <a:pt x="1573" y="391"/>
                  </a:cubicBezTo>
                  <a:cubicBezTo>
                    <a:pt x="1546" y="329"/>
                    <a:pt x="1481" y="294"/>
                    <a:pt x="1410" y="294"/>
                  </a:cubicBezTo>
                  <a:cubicBezTo>
                    <a:pt x="1385" y="294"/>
                    <a:pt x="1359" y="298"/>
                    <a:pt x="1334" y="307"/>
                  </a:cubicBezTo>
                  <a:cubicBezTo>
                    <a:pt x="1251" y="343"/>
                    <a:pt x="1215" y="450"/>
                    <a:pt x="1251" y="546"/>
                  </a:cubicBezTo>
                  <a:cubicBezTo>
                    <a:pt x="1311" y="677"/>
                    <a:pt x="1287" y="843"/>
                    <a:pt x="1180" y="962"/>
                  </a:cubicBezTo>
                  <a:cubicBezTo>
                    <a:pt x="1102" y="1034"/>
                    <a:pt x="1007" y="1069"/>
                    <a:pt x="913" y="1069"/>
                  </a:cubicBezTo>
                  <a:cubicBezTo>
                    <a:pt x="820" y="1069"/>
                    <a:pt x="727" y="1034"/>
                    <a:pt x="656" y="962"/>
                  </a:cubicBezTo>
                  <a:cubicBezTo>
                    <a:pt x="441" y="748"/>
                    <a:pt x="561" y="391"/>
                    <a:pt x="846" y="343"/>
                  </a:cubicBezTo>
                  <a:cubicBezTo>
                    <a:pt x="953" y="331"/>
                    <a:pt x="1013" y="236"/>
                    <a:pt x="977" y="141"/>
                  </a:cubicBezTo>
                  <a:cubicBezTo>
                    <a:pt x="958" y="63"/>
                    <a:pt x="890" y="0"/>
                    <a:pt x="8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31" name="Google Shape;12631;p62"/>
          <p:cNvGrpSpPr/>
          <p:nvPr/>
        </p:nvGrpSpPr>
        <p:grpSpPr>
          <a:xfrm>
            <a:off x="3441065" y="4302505"/>
            <a:ext cx="337069" cy="302593"/>
            <a:chOff x="3441065" y="4302505"/>
            <a:chExt cx="337069" cy="302593"/>
          </a:xfrm>
        </p:grpSpPr>
        <p:sp>
          <p:nvSpPr>
            <p:cNvPr id="12632" name="Google Shape;12632;p62"/>
            <p:cNvSpPr/>
            <p:nvPr/>
          </p:nvSpPr>
          <p:spPr>
            <a:xfrm>
              <a:off x="3441065" y="4366941"/>
              <a:ext cx="337069" cy="173655"/>
            </a:xfrm>
            <a:custGeom>
              <a:avLst/>
              <a:gdLst/>
              <a:ahLst/>
              <a:cxnLst/>
              <a:rect l="l" t="t" r="r" b="b"/>
              <a:pathLst>
                <a:path w="10598" h="5460" extrusionOk="0">
                  <a:moveTo>
                    <a:pt x="5062" y="1"/>
                  </a:moveTo>
                  <a:cubicBezTo>
                    <a:pt x="3977" y="1"/>
                    <a:pt x="2891" y="303"/>
                    <a:pt x="1834" y="951"/>
                  </a:cubicBezTo>
                  <a:cubicBezTo>
                    <a:pt x="1001" y="1463"/>
                    <a:pt x="418" y="2058"/>
                    <a:pt x="156" y="2368"/>
                  </a:cubicBezTo>
                  <a:cubicBezTo>
                    <a:pt x="1" y="2546"/>
                    <a:pt x="1" y="2808"/>
                    <a:pt x="168" y="2987"/>
                  </a:cubicBezTo>
                  <a:cubicBezTo>
                    <a:pt x="1001" y="3844"/>
                    <a:pt x="1870" y="4475"/>
                    <a:pt x="2739" y="4892"/>
                  </a:cubicBezTo>
                  <a:cubicBezTo>
                    <a:pt x="2763" y="4916"/>
                    <a:pt x="2787" y="4916"/>
                    <a:pt x="2823" y="4916"/>
                  </a:cubicBezTo>
                  <a:cubicBezTo>
                    <a:pt x="2977" y="4916"/>
                    <a:pt x="3037" y="4689"/>
                    <a:pt x="2894" y="4618"/>
                  </a:cubicBezTo>
                  <a:cubicBezTo>
                    <a:pt x="2049" y="4213"/>
                    <a:pt x="1215" y="3582"/>
                    <a:pt x="406" y="2773"/>
                  </a:cubicBezTo>
                  <a:cubicBezTo>
                    <a:pt x="346" y="2713"/>
                    <a:pt x="346" y="2630"/>
                    <a:pt x="406" y="2570"/>
                  </a:cubicBezTo>
                  <a:cubicBezTo>
                    <a:pt x="799" y="2130"/>
                    <a:pt x="2061" y="868"/>
                    <a:pt x="3918" y="451"/>
                  </a:cubicBezTo>
                  <a:lnTo>
                    <a:pt x="3918" y="451"/>
                  </a:lnTo>
                  <a:cubicBezTo>
                    <a:pt x="3561" y="665"/>
                    <a:pt x="3263" y="963"/>
                    <a:pt x="3025" y="1320"/>
                  </a:cubicBezTo>
                  <a:cubicBezTo>
                    <a:pt x="2977" y="1403"/>
                    <a:pt x="3001" y="1487"/>
                    <a:pt x="3073" y="1534"/>
                  </a:cubicBezTo>
                  <a:cubicBezTo>
                    <a:pt x="3098" y="1551"/>
                    <a:pt x="3126" y="1559"/>
                    <a:pt x="3154" y="1559"/>
                  </a:cubicBezTo>
                  <a:cubicBezTo>
                    <a:pt x="3204" y="1559"/>
                    <a:pt x="3252" y="1533"/>
                    <a:pt x="3275" y="1487"/>
                  </a:cubicBezTo>
                  <a:cubicBezTo>
                    <a:pt x="3728" y="772"/>
                    <a:pt x="4490" y="367"/>
                    <a:pt x="5299" y="367"/>
                  </a:cubicBezTo>
                  <a:cubicBezTo>
                    <a:pt x="6609" y="367"/>
                    <a:pt x="7680" y="1439"/>
                    <a:pt x="7680" y="2749"/>
                  </a:cubicBezTo>
                  <a:cubicBezTo>
                    <a:pt x="7680" y="3820"/>
                    <a:pt x="6954" y="4773"/>
                    <a:pt x="5930" y="5047"/>
                  </a:cubicBezTo>
                  <a:cubicBezTo>
                    <a:pt x="5720" y="5103"/>
                    <a:pt x="5510" y="5130"/>
                    <a:pt x="5305" y="5130"/>
                  </a:cubicBezTo>
                  <a:cubicBezTo>
                    <a:pt x="4250" y="5130"/>
                    <a:pt x="3302" y="4424"/>
                    <a:pt x="3013" y="3368"/>
                  </a:cubicBezTo>
                  <a:cubicBezTo>
                    <a:pt x="2954" y="3154"/>
                    <a:pt x="2918" y="2951"/>
                    <a:pt x="2918" y="2737"/>
                  </a:cubicBezTo>
                  <a:cubicBezTo>
                    <a:pt x="2918" y="2487"/>
                    <a:pt x="2966" y="2249"/>
                    <a:pt x="3037" y="2011"/>
                  </a:cubicBezTo>
                  <a:cubicBezTo>
                    <a:pt x="3073" y="1915"/>
                    <a:pt x="3025" y="1844"/>
                    <a:pt x="2942" y="1820"/>
                  </a:cubicBezTo>
                  <a:cubicBezTo>
                    <a:pt x="2920" y="1812"/>
                    <a:pt x="2899" y="1808"/>
                    <a:pt x="2880" y="1808"/>
                  </a:cubicBezTo>
                  <a:cubicBezTo>
                    <a:pt x="2816" y="1808"/>
                    <a:pt x="2767" y="1851"/>
                    <a:pt x="2739" y="1915"/>
                  </a:cubicBezTo>
                  <a:cubicBezTo>
                    <a:pt x="2656" y="2189"/>
                    <a:pt x="2608" y="2475"/>
                    <a:pt x="2608" y="2737"/>
                  </a:cubicBezTo>
                  <a:cubicBezTo>
                    <a:pt x="2608" y="2975"/>
                    <a:pt x="2644" y="3213"/>
                    <a:pt x="2704" y="3439"/>
                  </a:cubicBezTo>
                  <a:cubicBezTo>
                    <a:pt x="2858" y="4058"/>
                    <a:pt x="3251" y="4582"/>
                    <a:pt x="3739" y="4928"/>
                  </a:cubicBezTo>
                  <a:cubicBezTo>
                    <a:pt x="3632" y="4892"/>
                    <a:pt x="3549" y="4868"/>
                    <a:pt x="3442" y="4820"/>
                  </a:cubicBezTo>
                  <a:cubicBezTo>
                    <a:pt x="3427" y="4816"/>
                    <a:pt x="3412" y="4813"/>
                    <a:pt x="3396" y="4813"/>
                  </a:cubicBezTo>
                  <a:cubicBezTo>
                    <a:pt x="3334" y="4813"/>
                    <a:pt x="3270" y="4849"/>
                    <a:pt x="3251" y="4916"/>
                  </a:cubicBezTo>
                  <a:cubicBezTo>
                    <a:pt x="3216" y="4987"/>
                    <a:pt x="3263" y="5070"/>
                    <a:pt x="3335" y="5106"/>
                  </a:cubicBezTo>
                  <a:cubicBezTo>
                    <a:pt x="3996" y="5346"/>
                    <a:pt x="4652" y="5460"/>
                    <a:pt x="5299" y="5460"/>
                  </a:cubicBezTo>
                  <a:cubicBezTo>
                    <a:pt x="6446" y="5460"/>
                    <a:pt x="7563" y="5103"/>
                    <a:pt x="8621" y="4463"/>
                  </a:cubicBezTo>
                  <a:cubicBezTo>
                    <a:pt x="9502" y="3927"/>
                    <a:pt x="10145" y="3308"/>
                    <a:pt x="10443" y="2975"/>
                  </a:cubicBezTo>
                  <a:cubicBezTo>
                    <a:pt x="10597" y="2808"/>
                    <a:pt x="10586" y="2511"/>
                    <a:pt x="10395" y="2356"/>
                  </a:cubicBezTo>
                  <a:cubicBezTo>
                    <a:pt x="10062" y="2058"/>
                    <a:pt x="9728" y="1784"/>
                    <a:pt x="9383" y="1546"/>
                  </a:cubicBezTo>
                  <a:cubicBezTo>
                    <a:pt x="9357" y="1529"/>
                    <a:pt x="9327" y="1521"/>
                    <a:pt x="9298" y="1521"/>
                  </a:cubicBezTo>
                  <a:cubicBezTo>
                    <a:pt x="9246" y="1521"/>
                    <a:pt x="9194" y="1544"/>
                    <a:pt x="9157" y="1582"/>
                  </a:cubicBezTo>
                  <a:cubicBezTo>
                    <a:pt x="9109" y="1653"/>
                    <a:pt x="9133" y="1737"/>
                    <a:pt x="9192" y="1796"/>
                  </a:cubicBezTo>
                  <a:cubicBezTo>
                    <a:pt x="9514" y="2034"/>
                    <a:pt x="9847" y="2296"/>
                    <a:pt x="10169" y="2594"/>
                  </a:cubicBezTo>
                  <a:cubicBezTo>
                    <a:pt x="10228" y="2653"/>
                    <a:pt x="10228" y="2737"/>
                    <a:pt x="10181" y="2796"/>
                  </a:cubicBezTo>
                  <a:cubicBezTo>
                    <a:pt x="9788" y="3225"/>
                    <a:pt x="8550" y="4439"/>
                    <a:pt x="6835" y="4939"/>
                  </a:cubicBezTo>
                  <a:cubicBezTo>
                    <a:pt x="8311" y="3904"/>
                    <a:pt x="8359" y="1737"/>
                    <a:pt x="6954" y="629"/>
                  </a:cubicBezTo>
                  <a:lnTo>
                    <a:pt x="6954" y="629"/>
                  </a:lnTo>
                  <a:cubicBezTo>
                    <a:pt x="7538" y="820"/>
                    <a:pt x="8121" y="1106"/>
                    <a:pt x="8692" y="1463"/>
                  </a:cubicBezTo>
                  <a:cubicBezTo>
                    <a:pt x="8722" y="1476"/>
                    <a:pt x="8752" y="1482"/>
                    <a:pt x="8780" y="1482"/>
                  </a:cubicBezTo>
                  <a:cubicBezTo>
                    <a:pt x="8831" y="1482"/>
                    <a:pt x="8876" y="1461"/>
                    <a:pt x="8907" y="1415"/>
                  </a:cubicBezTo>
                  <a:cubicBezTo>
                    <a:pt x="8954" y="1344"/>
                    <a:pt x="8931" y="1249"/>
                    <a:pt x="8859" y="1201"/>
                  </a:cubicBezTo>
                  <a:cubicBezTo>
                    <a:pt x="7632" y="426"/>
                    <a:pt x="6348" y="1"/>
                    <a:pt x="50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3" name="Google Shape;12633;p62"/>
            <p:cNvSpPr/>
            <p:nvPr/>
          </p:nvSpPr>
          <p:spPr>
            <a:xfrm>
              <a:off x="3572864" y="4423300"/>
              <a:ext cx="76141" cy="61479"/>
            </a:xfrm>
            <a:custGeom>
              <a:avLst/>
              <a:gdLst/>
              <a:ahLst/>
              <a:cxnLst/>
              <a:rect l="l" t="t" r="r" b="b"/>
              <a:pathLst>
                <a:path w="2394" h="1933" extrusionOk="0">
                  <a:moveTo>
                    <a:pt x="1143" y="0"/>
                  </a:moveTo>
                  <a:cubicBezTo>
                    <a:pt x="465" y="0"/>
                    <a:pt x="0" y="679"/>
                    <a:pt x="238" y="1322"/>
                  </a:cubicBezTo>
                  <a:cubicBezTo>
                    <a:pt x="258" y="1381"/>
                    <a:pt x="326" y="1423"/>
                    <a:pt x="396" y="1423"/>
                  </a:cubicBezTo>
                  <a:cubicBezTo>
                    <a:pt x="411" y="1423"/>
                    <a:pt x="426" y="1421"/>
                    <a:pt x="441" y="1417"/>
                  </a:cubicBezTo>
                  <a:cubicBezTo>
                    <a:pt x="524" y="1382"/>
                    <a:pt x="560" y="1298"/>
                    <a:pt x="536" y="1203"/>
                  </a:cubicBezTo>
                  <a:cubicBezTo>
                    <a:pt x="354" y="738"/>
                    <a:pt x="729" y="308"/>
                    <a:pt x="1156" y="308"/>
                  </a:cubicBezTo>
                  <a:cubicBezTo>
                    <a:pt x="1287" y="308"/>
                    <a:pt x="1422" y="349"/>
                    <a:pt x="1548" y="441"/>
                  </a:cubicBezTo>
                  <a:cubicBezTo>
                    <a:pt x="2036" y="822"/>
                    <a:pt x="1774" y="1620"/>
                    <a:pt x="1143" y="1620"/>
                  </a:cubicBezTo>
                  <a:cubicBezTo>
                    <a:pt x="1048" y="1620"/>
                    <a:pt x="953" y="1608"/>
                    <a:pt x="881" y="1560"/>
                  </a:cubicBezTo>
                  <a:cubicBezTo>
                    <a:pt x="860" y="1554"/>
                    <a:pt x="840" y="1551"/>
                    <a:pt x="819" y="1551"/>
                  </a:cubicBezTo>
                  <a:cubicBezTo>
                    <a:pt x="759" y="1551"/>
                    <a:pt x="703" y="1578"/>
                    <a:pt x="667" y="1632"/>
                  </a:cubicBezTo>
                  <a:cubicBezTo>
                    <a:pt x="643" y="1715"/>
                    <a:pt x="667" y="1798"/>
                    <a:pt x="738" y="1846"/>
                  </a:cubicBezTo>
                  <a:cubicBezTo>
                    <a:pt x="869" y="1904"/>
                    <a:pt x="1009" y="1933"/>
                    <a:pt x="1148" y="1933"/>
                  </a:cubicBezTo>
                  <a:cubicBezTo>
                    <a:pt x="1438" y="1933"/>
                    <a:pt x="1724" y="1806"/>
                    <a:pt x="1917" y="1548"/>
                  </a:cubicBezTo>
                  <a:cubicBezTo>
                    <a:pt x="2393" y="917"/>
                    <a:pt x="1965" y="0"/>
                    <a:pt x="1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4" name="Google Shape;12634;p62"/>
            <p:cNvSpPr/>
            <p:nvPr/>
          </p:nvSpPr>
          <p:spPr>
            <a:xfrm>
              <a:off x="3619045" y="4394485"/>
              <a:ext cx="46626" cy="39088"/>
            </a:xfrm>
            <a:custGeom>
              <a:avLst/>
              <a:gdLst/>
              <a:ahLst/>
              <a:cxnLst/>
              <a:rect l="l" t="t" r="r" b="b"/>
              <a:pathLst>
                <a:path w="1466" h="1229" extrusionOk="0">
                  <a:moveTo>
                    <a:pt x="782" y="310"/>
                  </a:moveTo>
                  <a:cubicBezTo>
                    <a:pt x="917" y="310"/>
                    <a:pt x="1054" y="400"/>
                    <a:pt x="1096" y="549"/>
                  </a:cubicBezTo>
                  <a:cubicBezTo>
                    <a:pt x="1120" y="716"/>
                    <a:pt x="1013" y="871"/>
                    <a:pt x="858" y="906"/>
                  </a:cubicBezTo>
                  <a:cubicBezTo>
                    <a:pt x="834" y="912"/>
                    <a:pt x="810" y="914"/>
                    <a:pt x="788" y="914"/>
                  </a:cubicBezTo>
                  <a:cubicBezTo>
                    <a:pt x="553" y="914"/>
                    <a:pt x="406" y="648"/>
                    <a:pt x="537" y="442"/>
                  </a:cubicBezTo>
                  <a:cubicBezTo>
                    <a:pt x="599" y="351"/>
                    <a:pt x="690" y="310"/>
                    <a:pt x="782" y="310"/>
                  </a:cubicBezTo>
                  <a:close/>
                  <a:moveTo>
                    <a:pt x="791" y="1"/>
                  </a:moveTo>
                  <a:cubicBezTo>
                    <a:pt x="598" y="1"/>
                    <a:pt x="403" y="88"/>
                    <a:pt x="275" y="275"/>
                  </a:cubicBezTo>
                  <a:cubicBezTo>
                    <a:pt x="1" y="692"/>
                    <a:pt x="321" y="1229"/>
                    <a:pt x="792" y="1229"/>
                  </a:cubicBezTo>
                  <a:cubicBezTo>
                    <a:pt x="833" y="1229"/>
                    <a:pt x="875" y="1225"/>
                    <a:pt x="918" y="1216"/>
                  </a:cubicBezTo>
                  <a:cubicBezTo>
                    <a:pt x="1251" y="1145"/>
                    <a:pt x="1465" y="811"/>
                    <a:pt x="1394" y="490"/>
                  </a:cubicBezTo>
                  <a:cubicBezTo>
                    <a:pt x="1331" y="176"/>
                    <a:pt x="1064" y="1"/>
                    <a:pt x="7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5" name="Google Shape;12635;p62"/>
            <p:cNvSpPr/>
            <p:nvPr/>
          </p:nvSpPr>
          <p:spPr>
            <a:xfrm>
              <a:off x="3604669" y="4302505"/>
              <a:ext cx="9860" cy="42046"/>
            </a:xfrm>
            <a:custGeom>
              <a:avLst/>
              <a:gdLst/>
              <a:ahLst/>
              <a:cxnLst/>
              <a:rect l="l" t="t" r="r" b="b"/>
              <a:pathLst>
                <a:path w="310" h="1322" extrusionOk="0">
                  <a:moveTo>
                    <a:pt x="143" y="0"/>
                  </a:moveTo>
                  <a:cubicBezTo>
                    <a:pt x="60" y="0"/>
                    <a:pt x="0" y="72"/>
                    <a:pt x="0" y="155"/>
                  </a:cubicBezTo>
                  <a:lnTo>
                    <a:pt x="0" y="1179"/>
                  </a:lnTo>
                  <a:cubicBezTo>
                    <a:pt x="0" y="1262"/>
                    <a:pt x="72" y="1322"/>
                    <a:pt x="143" y="1322"/>
                  </a:cubicBezTo>
                  <a:cubicBezTo>
                    <a:pt x="238" y="1322"/>
                    <a:pt x="298" y="1250"/>
                    <a:pt x="298" y="1179"/>
                  </a:cubicBezTo>
                  <a:lnTo>
                    <a:pt x="298" y="155"/>
                  </a:lnTo>
                  <a:cubicBezTo>
                    <a:pt x="310" y="72"/>
                    <a:pt x="238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6" name="Google Shape;12636;p62"/>
            <p:cNvSpPr/>
            <p:nvPr/>
          </p:nvSpPr>
          <p:spPr>
            <a:xfrm>
              <a:off x="3528178" y="4315926"/>
              <a:ext cx="22359" cy="40742"/>
            </a:xfrm>
            <a:custGeom>
              <a:avLst/>
              <a:gdLst/>
              <a:ahLst/>
              <a:cxnLst/>
              <a:rect l="l" t="t" r="r" b="b"/>
              <a:pathLst>
                <a:path w="703" h="1281" extrusionOk="0">
                  <a:moveTo>
                    <a:pt x="163" y="1"/>
                  </a:moveTo>
                  <a:cubicBezTo>
                    <a:pt x="149" y="1"/>
                    <a:pt x="134" y="3"/>
                    <a:pt x="119" y="7"/>
                  </a:cubicBezTo>
                  <a:cubicBezTo>
                    <a:pt x="48" y="43"/>
                    <a:pt x="0" y="126"/>
                    <a:pt x="36" y="209"/>
                  </a:cubicBezTo>
                  <a:lnTo>
                    <a:pt x="393" y="1174"/>
                  </a:lnTo>
                  <a:cubicBezTo>
                    <a:pt x="417" y="1233"/>
                    <a:pt x="477" y="1281"/>
                    <a:pt x="536" y="1281"/>
                  </a:cubicBezTo>
                  <a:cubicBezTo>
                    <a:pt x="631" y="1281"/>
                    <a:pt x="703" y="1174"/>
                    <a:pt x="679" y="1067"/>
                  </a:cubicBezTo>
                  <a:lnTo>
                    <a:pt x="322" y="102"/>
                  </a:lnTo>
                  <a:cubicBezTo>
                    <a:pt x="292" y="43"/>
                    <a:pt x="231" y="1"/>
                    <a:pt x="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7" name="Google Shape;12637;p62"/>
            <p:cNvSpPr/>
            <p:nvPr/>
          </p:nvSpPr>
          <p:spPr>
            <a:xfrm>
              <a:off x="3457730" y="4348590"/>
              <a:ext cx="32600" cy="35367"/>
            </a:xfrm>
            <a:custGeom>
              <a:avLst/>
              <a:gdLst/>
              <a:ahLst/>
              <a:cxnLst/>
              <a:rect l="l" t="t" r="r" b="b"/>
              <a:pathLst>
                <a:path w="1025" h="1112" extrusionOk="0">
                  <a:moveTo>
                    <a:pt x="183" y="0"/>
                  </a:moveTo>
                  <a:cubicBezTo>
                    <a:pt x="147" y="0"/>
                    <a:pt x="110" y="13"/>
                    <a:pt x="72" y="40"/>
                  </a:cubicBezTo>
                  <a:cubicBezTo>
                    <a:pt x="13" y="99"/>
                    <a:pt x="1" y="194"/>
                    <a:pt x="60" y="266"/>
                  </a:cubicBezTo>
                  <a:lnTo>
                    <a:pt x="715" y="1052"/>
                  </a:lnTo>
                  <a:cubicBezTo>
                    <a:pt x="751" y="1087"/>
                    <a:pt x="787" y="1111"/>
                    <a:pt x="834" y="1111"/>
                  </a:cubicBezTo>
                  <a:cubicBezTo>
                    <a:pt x="953" y="1099"/>
                    <a:pt x="1025" y="944"/>
                    <a:pt x="953" y="849"/>
                  </a:cubicBezTo>
                  <a:lnTo>
                    <a:pt x="298" y="51"/>
                  </a:lnTo>
                  <a:cubicBezTo>
                    <a:pt x="266" y="19"/>
                    <a:pt x="226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8" name="Google Shape;12638;p62"/>
            <p:cNvSpPr/>
            <p:nvPr/>
          </p:nvSpPr>
          <p:spPr>
            <a:xfrm>
              <a:off x="3727723" y="4351611"/>
              <a:ext cx="32218" cy="34954"/>
            </a:xfrm>
            <a:custGeom>
              <a:avLst/>
              <a:gdLst/>
              <a:ahLst/>
              <a:cxnLst/>
              <a:rect l="l" t="t" r="r" b="b"/>
              <a:pathLst>
                <a:path w="1013" h="1099" extrusionOk="0">
                  <a:moveTo>
                    <a:pt x="834" y="1"/>
                  </a:moveTo>
                  <a:cubicBezTo>
                    <a:pt x="791" y="1"/>
                    <a:pt x="748" y="19"/>
                    <a:pt x="715" y="52"/>
                  </a:cubicBezTo>
                  <a:lnTo>
                    <a:pt x="60" y="838"/>
                  </a:lnTo>
                  <a:cubicBezTo>
                    <a:pt x="1" y="897"/>
                    <a:pt x="13" y="1004"/>
                    <a:pt x="72" y="1064"/>
                  </a:cubicBezTo>
                  <a:cubicBezTo>
                    <a:pt x="96" y="1088"/>
                    <a:pt x="128" y="1098"/>
                    <a:pt x="161" y="1098"/>
                  </a:cubicBezTo>
                  <a:cubicBezTo>
                    <a:pt x="211" y="1098"/>
                    <a:pt x="263" y="1075"/>
                    <a:pt x="299" y="1040"/>
                  </a:cubicBezTo>
                  <a:lnTo>
                    <a:pt x="953" y="254"/>
                  </a:lnTo>
                  <a:cubicBezTo>
                    <a:pt x="1013" y="183"/>
                    <a:pt x="1013" y="76"/>
                    <a:pt x="930" y="40"/>
                  </a:cubicBezTo>
                  <a:cubicBezTo>
                    <a:pt x="903" y="13"/>
                    <a:pt x="869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9" name="Google Shape;12639;p62"/>
            <p:cNvSpPr/>
            <p:nvPr/>
          </p:nvSpPr>
          <p:spPr>
            <a:xfrm>
              <a:off x="3668279" y="4315926"/>
              <a:ext cx="22391" cy="40742"/>
            </a:xfrm>
            <a:custGeom>
              <a:avLst/>
              <a:gdLst/>
              <a:ahLst/>
              <a:cxnLst/>
              <a:rect l="l" t="t" r="r" b="b"/>
              <a:pathLst>
                <a:path w="704" h="1281" extrusionOk="0">
                  <a:moveTo>
                    <a:pt x="544" y="1"/>
                  </a:moveTo>
                  <a:cubicBezTo>
                    <a:pt x="481" y="1"/>
                    <a:pt x="413" y="43"/>
                    <a:pt x="394" y="102"/>
                  </a:cubicBezTo>
                  <a:lnTo>
                    <a:pt x="36" y="1067"/>
                  </a:lnTo>
                  <a:cubicBezTo>
                    <a:pt x="1" y="1174"/>
                    <a:pt x="84" y="1281"/>
                    <a:pt x="179" y="1281"/>
                  </a:cubicBezTo>
                  <a:cubicBezTo>
                    <a:pt x="239" y="1281"/>
                    <a:pt x="298" y="1233"/>
                    <a:pt x="334" y="1174"/>
                  </a:cubicBezTo>
                  <a:lnTo>
                    <a:pt x="691" y="209"/>
                  </a:lnTo>
                  <a:cubicBezTo>
                    <a:pt x="703" y="126"/>
                    <a:pt x="655" y="43"/>
                    <a:pt x="584" y="7"/>
                  </a:cubicBezTo>
                  <a:cubicBezTo>
                    <a:pt x="571" y="3"/>
                    <a:pt x="558" y="1"/>
                    <a:pt x="5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0" name="Google Shape;12640;p62"/>
            <p:cNvSpPr/>
            <p:nvPr/>
          </p:nvSpPr>
          <p:spPr>
            <a:xfrm>
              <a:off x="3603143" y="4563019"/>
              <a:ext cx="9891" cy="42078"/>
            </a:xfrm>
            <a:custGeom>
              <a:avLst/>
              <a:gdLst/>
              <a:ahLst/>
              <a:cxnLst/>
              <a:rect l="l" t="t" r="r" b="b"/>
              <a:pathLst>
                <a:path w="311" h="1323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1168"/>
                  </a:lnTo>
                  <a:cubicBezTo>
                    <a:pt x="1" y="1263"/>
                    <a:pt x="72" y="1322"/>
                    <a:pt x="144" y="1322"/>
                  </a:cubicBezTo>
                  <a:cubicBezTo>
                    <a:pt x="239" y="1322"/>
                    <a:pt x="298" y="1251"/>
                    <a:pt x="298" y="1168"/>
                  </a:cubicBezTo>
                  <a:lnTo>
                    <a:pt x="298" y="144"/>
                  </a:lnTo>
                  <a:cubicBezTo>
                    <a:pt x="310" y="72"/>
                    <a:pt x="239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1" name="Google Shape;12641;p62"/>
            <p:cNvSpPr/>
            <p:nvPr/>
          </p:nvSpPr>
          <p:spPr>
            <a:xfrm>
              <a:off x="3667134" y="4552206"/>
              <a:ext cx="22009" cy="40233"/>
            </a:xfrm>
            <a:custGeom>
              <a:avLst/>
              <a:gdLst/>
              <a:ahLst/>
              <a:cxnLst/>
              <a:rect l="l" t="t" r="r" b="b"/>
              <a:pathLst>
                <a:path w="692" h="1265" extrusionOk="0">
                  <a:moveTo>
                    <a:pt x="165" y="0"/>
                  </a:moveTo>
                  <a:cubicBezTo>
                    <a:pt x="150" y="0"/>
                    <a:pt x="135" y="3"/>
                    <a:pt x="120" y="7"/>
                  </a:cubicBezTo>
                  <a:cubicBezTo>
                    <a:pt x="37" y="43"/>
                    <a:pt x="1" y="126"/>
                    <a:pt x="25" y="198"/>
                  </a:cubicBezTo>
                  <a:lnTo>
                    <a:pt x="382" y="1174"/>
                  </a:lnTo>
                  <a:cubicBezTo>
                    <a:pt x="410" y="1231"/>
                    <a:pt x="468" y="1265"/>
                    <a:pt x="527" y="1265"/>
                  </a:cubicBezTo>
                  <a:cubicBezTo>
                    <a:pt x="542" y="1265"/>
                    <a:pt x="557" y="1263"/>
                    <a:pt x="572" y="1258"/>
                  </a:cubicBezTo>
                  <a:cubicBezTo>
                    <a:pt x="656" y="1234"/>
                    <a:pt x="691" y="1139"/>
                    <a:pt x="668" y="1067"/>
                  </a:cubicBezTo>
                  <a:lnTo>
                    <a:pt x="310" y="103"/>
                  </a:lnTo>
                  <a:cubicBezTo>
                    <a:pt x="282" y="36"/>
                    <a:pt x="223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2" name="Google Shape;12642;p62"/>
            <p:cNvSpPr/>
            <p:nvPr/>
          </p:nvSpPr>
          <p:spPr>
            <a:xfrm>
              <a:off x="3727723" y="4524662"/>
              <a:ext cx="32982" cy="35367"/>
            </a:xfrm>
            <a:custGeom>
              <a:avLst/>
              <a:gdLst/>
              <a:ahLst/>
              <a:cxnLst/>
              <a:rect l="l" t="t" r="r" b="b"/>
              <a:pathLst>
                <a:path w="1037" h="1112" extrusionOk="0">
                  <a:moveTo>
                    <a:pt x="178" y="1"/>
                  </a:moveTo>
                  <a:cubicBezTo>
                    <a:pt x="142" y="1"/>
                    <a:pt x="104" y="13"/>
                    <a:pt x="72" y="40"/>
                  </a:cubicBezTo>
                  <a:cubicBezTo>
                    <a:pt x="13" y="100"/>
                    <a:pt x="1" y="195"/>
                    <a:pt x="60" y="266"/>
                  </a:cubicBezTo>
                  <a:lnTo>
                    <a:pt x="715" y="1052"/>
                  </a:lnTo>
                  <a:cubicBezTo>
                    <a:pt x="739" y="1088"/>
                    <a:pt x="787" y="1112"/>
                    <a:pt x="834" y="1112"/>
                  </a:cubicBezTo>
                  <a:cubicBezTo>
                    <a:pt x="965" y="1100"/>
                    <a:pt x="1037" y="945"/>
                    <a:pt x="953" y="850"/>
                  </a:cubicBezTo>
                  <a:lnTo>
                    <a:pt x="299" y="52"/>
                  </a:lnTo>
                  <a:cubicBezTo>
                    <a:pt x="266" y="19"/>
                    <a:pt x="222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3" name="Google Shape;12643;p62"/>
            <p:cNvSpPr/>
            <p:nvPr/>
          </p:nvSpPr>
          <p:spPr>
            <a:xfrm>
              <a:off x="3457349" y="4522023"/>
              <a:ext cx="32218" cy="34954"/>
            </a:xfrm>
            <a:custGeom>
              <a:avLst/>
              <a:gdLst/>
              <a:ahLst/>
              <a:cxnLst/>
              <a:rect l="l" t="t" r="r" b="b"/>
              <a:pathLst>
                <a:path w="1013" h="1099" extrusionOk="0">
                  <a:moveTo>
                    <a:pt x="841" y="0"/>
                  </a:moveTo>
                  <a:cubicBezTo>
                    <a:pt x="795" y="0"/>
                    <a:pt x="748" y="19"/>
                    <a:pt x="715" y="52"/>
                  </a:cubicBezTo>
                  <a:lnTo>
                    <a:pt x="60" y="837"/>
                  </a:lnTo>
                  <a:cubicBezTo>
                    <a:pt x="1" y="897"/>
                    <a:pt x="13" y="1004"/>
                    <a:pt x="72" y="1064"/>
                  </a:cubicBezTo>
                  <a:cubicBezTo>
                    <a:pt x="96" y="1088"/>
                    <a:pt x="128" y="1098"/>
                    <a:pt x="161" y="1098"/>
                  </a:cubicBezTo>
                  <a:cubicBezTo>
                    <a:pt x="211" y="1098"/>
                    <a:pt x="263" y="1075"/>
                    <a:pt x="298" y="1040"/>
                  </a:cubicBezTo>
                  <a:lnTo>
                    <a:pt x="953" y="254"/>
                  </a:lnTo>
                  <a:cubicBezTo>
                    <a:pt x="1013" y="183"/>
                    <a:pt x="1013" y="99"/>
                    <a:pt x="941" y="40"/>
                  </a:cubicBezTo>
                  <a:cubicBezTo>
                    <a:pt x="915" y="13"/>
                    <a:pt x="878" y="0"/>
                    <a:pt x="8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4" name="Google Shape;12644;p62"/>
            <p:cNvSpPr/>
            <p:nvPr/>
          </p:nvSpPr>
          <p:spPr>
            <a:xfrm>
              <a:off x="3526270" y="4551665"/>
              <a:ext cx="22772" cy="40392"/>
            </a:xfrm>
            <a:custGeom>
              <a:avLst/>
              <a:gdLst/>
              <a:ahLst/>
              <a:cxnLst/>
              <a:rect l="l" t="t" r="r" b="b"/>
              <a:pathLst>
                <a:path w="716" h="1270" extrusionOk="0">
                  <a:moveTo>
                    <a:pt x="531" y="0"/>
                  </a:moveTo>
                  <a:cubicBezTo>
                    <a:pt x="472" y="0"/>
                    <a:pt x="412" y="41"/>
                    <a:pt x="394" y="96"/>
                  </a:cubicBezTo>
                  <a:lnTo>
                    <a:pt x="36" y="1072"/>
                  </a:lnTo>
                  <a:cubicBezTo>
                    <a:pt x="1" y="1144"/>
                    <a:pt x="48" y="1227"/>
                    <a:pt x="120" y="1263"/>
                  </a:cubicBezTo>
                  <a:cubicBezTo>
                    <a:pt x="137" y="1268"/>
                    <a:pt x="154" y="1270"/>
                    <a:pt x="170" y="1270"/>
                  </a:cubicBezTo>
                  <a:cubicBezTo>
                    <a:pt x="235" y="1270"/>
                    <a:pt x="294" y="1234"/>
                    <a:pt x="322" y="1167"/>
                  </a:cubicBezTo>
                  <a:lnTo>
                    <a:pt x="679" y="203"/>
                  </a:lnTo>
                  <a:cubicBezTo>
                    <a:pt x="715" y="132"/>
                    <a:pt x="679" y="36"/>
                    <a:pt x="584" y="13"/>
                  </a:cubicBezTo>
                  <a:cubicBezTo>
                    <a:pt x="567" y="4"/>
                    <a:pt x="549" y="0"/>
                    <a:pt x="5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45" name="Google Shape;12645;p62"/>
          <p:cNvGrpSpPr/>
          <p:nvPr/>
        </p:nvGrpSpPr>
        <p:grpSpPr>
          <a:xfrm>
            <a:off x="3532345" y="3362635"/>
            <a:ext cx="339328" cy="336274"/>
            <a:chOff x="3532345" y="3362635"/>
            <a:chExt cx="339328" cy="336274"/>
          </a:xfrm>
        </p:grpSpPr>
        <p:sp>
          <p:nvSpPr>
            <p:cNvPr id="12646" name="Google Shape;12646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7" name="Google Shape;12647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8" name="Google Shape;12648;p62"/>
            <p:cNvSpPr/>
            <p:nvPr/>
          </p:nvSpPr>
          <p:spPr>
            <a:xfrm>
              <a:off x="3532345" y="3362635"/>
              <a:ext cx="339328" cy="282142"/>
            </a:xfrm>
            <a:custGeom>
              <a:avLst/>
              <a:gdLst/>
              <a:ahLst/>
              <a:cxnLst/>
              <a:rect l="l" t="t" r="r" b="b"/>
              <a:pathLst>
                <a:path w="10669" h="8871" extrusionOk="0">
                  <a:moveTo>
                    <a:pt x="6299" y="262"/>
                  </a:moveTo>
                  <a:cubicBezTo>
                    <a:pt x="6465" y="262"/>
                    <a:pt x="6596" y="393"/>
                    <a:pt x="6596" y="560"/>
                  </a:cubicBezTo>
                  <a:lnTo>
                    <a:pt x="6596" y="2084"/>
                  </a:lnTo>
                  <a:cubicBezTo>
                    <a:pt x="6382" y="2119"/>
                    <a:pt x="6322" y="2155"/>
                    <a:pt x="6322" y="2155"/>
                  </a:cubicBezTo>
                  <a:cubicBezTo>
                    <a:pt x="6203" y="2179"/>
                    <a:pt x="6108" y="2227"/>
                    <a:pt x="6049" y="2238"/>
                  </a:cubicBezTo>
                  <a:cubicBezTo>
                    <a:pt x="5941" y="2119"/>
                    <a:pt x="6001" y="1988"/>
                    <a:pt x="5989" y="1846"/>
                  </a:cubicBezTo>
                  <a:lnTo>
                    <a:pt x="5989" y="560"/>
                  </a:lnTo>
                  <a:cubicBezTo>
                    <a:pt x="5989" y="393"/>
                    <a:pt x="6120" y="262"/>
                    <a:pt x="6287" y="262"/>
                  </a:cubicBezTo>
                  <a:close/>
                  <a:moveTo>
                    <a:pt x="3489" y="262"/>
                  </a:moveTo>
                  <a:cubicBezTo>
                    <a:pt x="3655" y="262"/>
                    <a:pt x="3786" y="393"/>
                    <a:pt x="3786" y="560"/>
                  </a:cubicBezTo>
                  <a:lnTo>
                    <a:pt x="3786" y="1846"/>
                  </a:lnTo>
                  <a:cubicBezTo>
                    <a:pt x="3786" y="2084"/>
                    <a:pt x="3786" y="2096"/>
                    <a:pt x="3775" y="2155"/>
                  </a:cubicBezTo>
                  <a:cubicBezTo>
                    <a:pt x="3727" y="2274"/>
                    <a:pt x="3620" y="2357"/>
                    <a:pt x="3477" y="2357"/>
                  </a:cubicBezTo>
                  <a:cubicBezTo>
                    <a:pt x="3477" y="2357"/>
                    <a:pt x="3470" y="2358"/>
                    <a:pt x="3457" y="2358"/>
                  </a:cubicBezTo>
                  <a:cubicBezTo>
                    <a:pt x="3399" y="2358"/>
                    <a:pt x="3228" y="2342"/>
                    <a:pt x="3179" y="2155"/>
                  </a:cubicBezTo>
                  <a:cubicBezTo>
                    <a:pt x="3167" y="2084"/>
                    <a:pt x="3191" y="2024"/>
                    <a:pt x="3179" y="1846"/>
                  </a:cubicBezTo>
                  <a:lnTo>
                    <a:pt x="3179" y="560"/>
                  </a:lnTo>
                  <a:cubicBezTo>
                    <a:pt x="3179" y="393"/>
                    <a:pt x="3310" y="262"/>
                    <a:pt x="3477" y="262"/>
                  </a:cubicBezTo>
                  <a:close/>
                  <a:moveTo>
                    <a:pt x="5370" y="262"/>
                  </a:moveTo>
                  <a:cubicBezTo>
                    <a:pt x="5525" y="262"/>
                    <a:pt x="5668" y="393"/>
                    <a:pt x="5668" y="560"/>
                  </a:cubicBezTo>
                  <a:lnTo>
                    <a:pt x="5668" y="1846"/>
                  </a:lnTo>
                  <a:cubicBezTo>
                    <a:pt x="5668" y="2060"/>
                    <a:pt x="5668" y="2096"/>
                    <a:pt x="5644" y="2155"/>
                  </a:cubicBezTo>
                  <a:cubicBezTo>
                    <a:pt x="5608" y="2274"/>
                    <a:pt x="5501" y="2357"/>
                    <a:pt x="5346" y="2357"/>
                  </a:cubicBezTo>
                  <a:cubicBezTo>
                    <a:pt x="5346" y="2357"/>
                    <a:pt x="5339" y="2358"/>
                    <a:pt x="5327" y="2358"/>
                  </a:cubicBezTo>
                  <a:cubicBezTo>
                    <a:pt x="5269" y="2358"/>
                    <a:pt x="5098" y="2342"/>
                    <a:pt x="5049" y="2155"/>
                  </a:cubicBezTo>
                  <a:lnTo>
                    <a:pt x="5049" y="1846"/>
                  </a:lnTo>
                  <a:lnTo>
                    <a:pt x="5049" y="560"/>
                  </a:lnTo>
                  <a:cubicBezTo>
                    <a:pt x="5049" y="393"/>
                    <a:pt x="5191" y="262"/>
                    <a:pt x="5346" y="262"/>
                  </a:cubicBezTo>
                  <a:close/>
                  <a:moveTo>
                    <a:pt x="4429" y="262"/>
                  </a:moveTo>
                  <a:cubicBezTo>
                    <a:pt x="4596" y="262"/>
                    <a:pt x="4727" y="393"/>
                    <a:pt x="4727" y="560"/>
                  </a:cubicBezTo>
                  <a:lnTo>
                    <a:pt x="4727" y="2060"/>
                  </a:lnTo>
                  <a:cubicBezTo>
                    <a:pt x="4727" y="2264"/>
                    <a:pt x="4567" y="2368"/>
                    <a:pt x="4408" y="2368"/>
                  </a:cubicBezTo>
                  <a:cubicBezTo>
                    <a:pt x="4251" y="2368"/>
                    <a:pt x="4096" y="2267"/>
                    <a:pt x="4096" y="2060"/>
                  </a:cubicBezTo>
                  <a:cubicBezTo>
                    <a:pt x="4120" y="1726"/>
                    <a:pt x="4120" y="869"/>
                    <a:pt x="4120" y="560"/>
                  </a:cubicBezTo>
                  <a:cubicBezTo>
                    <a:pt x="4120" y="393"/>
                    <a:pt x="4251" y="262"/>
                    <a:pt x="4417" y="262"/>
                  </a:cubicBezTo>
                  <a:close/>
                  <a:moveTo>
                    <a:pt x="2882" y="2155"/>
                  </a:moveTo>
                  <a:cubicBezTo>
                    <a:pt x="2927" y="2488"/>
                    <a:pt x="3212" y="2686"/>
                    <a:pt x="3503" y="2686"/>
                  </a:cubicBezTo>
                  <a:cubicBezTo>
                    <a:pt x="3670" y="2686"/>
                    <a:pt x="3839" y="2620"/>
                    <a:pt x="3965" y="2477"/>
                  </a:cubicBezTo>
                  <a:cubicBezTo>
                    <a:pt x="4090" y="2619"/>
                    <a:pt x="4260" y="2691"/>
                    <a:pt x="4431" y="2691"/>
                  </a:cubicBezTo>
                  <a:cubicBezTo>
                    <a:pt x="4602" y="2691"/>
                    <a:pt x="4775" y="2619"/>
                    <a:pt x="4906" y="2477"/>
                  </a:cubicBezTo>
                  <a:cubicBezTo>
                    <a:pt x="5001" y="2596"/>
                    <a:pt x="5168" y="2691"/>
                    <a:pt x="5346" y="2691"/>
                  </a:cubicBezTo>
                  <a:cubicBezTo>
                    <a:pt x="5275" y="2750"/>
                    <a:pt x="5203" y="2822"/>
                    <a:pt x="5120" y="2893"/>
                  </a:cubicBezTo>
                  <a:lnTo>
                    <a:pt x="2227" y="2893"/>
                  </a:lnTo>
                  <a:lnTo>
                    <a:pt x="2227" y="2155"/>
                  </a:lnTo>
                  <a:close/>
                  <a:moveTo>
                    <a:pt x="8370" y="2155"/>
                  </a:moveTo>
                  <a:lnTo>
                    <a:pt x="8370" y="2893"/>
                  </a:lnTo>
                  <a:lnTo>
                    <a:pt x="7870" y="2893"/>
                  </a:lnTo>
                  <a:lnTo>
                    <a:pt x="7870" y="2155"/>
                  </a:lnTo>
                  <a:close/>
                  <a:moveTo>
                    <a:pt x="9906" y="2798"/>
                  </a:moveTo>
                  <a:lnTo>
                    <a:pt x="10228" y="2977"/>
                  </a:lnTo>
                  <a:cubicBezTo>
                    <a:pt x="10287" y="2989"/>
                    <a:pt x="10287" y="3072"/>
                    <a:pt x="10228" y="3108"/>
                  </a:cubicBezTo>
                  <a:lnTo>
                    <a:pt x="9906" y="3286"/>
                  </a:lnTo>
                  <a:cubicBezTo>
                    <a:pt x="9835" y="3131"/>
                    <a:pt x="9835" y="2941"/>
                    <a:pt x="9906" y="2798"/>
                  </a:cubicBezTo>
                  <a:close/>
                  <a:moveTo>
                    <a:pt x="1917" y="2167"/>
                  </a:moveTo>
                  <a:lnTo>
                    <a:pt x="1917" y="3905"/>
                  </a:lnTo>
                  <a:lnTo>
                    <a:pt x="1298" y="3905"/>
                  </a:lnTo>
                  <a:lnTo>
                    <a:pt x="1298" y="2167"/>
                  </a:lnTo>
                  <a:close/>
                  <a:moveTo>
                    <a:pt x="4870" y="3227"/>
                  </a:moveTo>
                  <a:cubicBezTo>
                    <a:pt x="4834" y="3274"/>
                    <a:pt x="4751" y="3393"/>
                    <a:pt x="4715" y="3512"/>
                  </a:cubicBezTo>
                  <a:cubicBezTo>
                    <a:pt x="4656" y="3631"/>
                    <a:pt x="4596" y="3774"/>
                    <a:pt x="4596" y="3774"/>
                  </a:cubicBezTo>
                  <a:lnTo>
                    <a:pt x="4548" y="3905"/>
                  </a:lnTo>
                  <a:lnTo>
                    <a:pt x="2227" y="3905"/>
                  </a:lnTo>
                  <a:lnTo>
                    <a:pt x="2227" y="3227"/>
                  </a:lnTo>
                  <a:close/>
                  <a:moveTo>
                    <a:pt x="8370" y="3227"/>
                  </a:moveTo>
                  <a:lnTo>
                    <a:pt x="8370" y="3905"/>
                  </a:lnTo>
                  <a:lnTo>
                    <a:pt x="7775" y="3905"/>
                  </a:lnTo>
                  <a:cubicBezTo>
                    <a:pt x="7882" y="3548"/>
                    <a:pt x="7870" y="3286"/>
                    <a:pt x="7870" y="3227"/>
                  </a:cubicBezTo>
                  <a:close/>
                  <a:moveTo>
                    <a:pt x="7109" y="843"/>
                  </a:moveTo>
                  <a:cubicBezTo>
                    <a:pt x="7144" y="843"/>
                    <a:pt x="7181" y="849"/>
                    <a:pt x="7215" y="857"/>
                  </a:cubicBezTo>
                  <a:cubicBezTo>
                    <a:pt x="7358" y="905"/>
                    <a:pt x="7477" y="1024"/>
                    <a:pt x="7525" y="1167"/>
                  </a:cubicBezTo>
                  <a:cubicBezTo>
                    <a:pt x="7549" y="1286"/>
                    <a:pt x="7537" y="1393"/>
                    <a:pt x="7537" y="1524"/>
                  </a:cubicBezTo>
                  <a:cubicBezTo>
                    <a:pt x="7537" y="3370"/>
                    <a:pt x="7585" y="3489"/>
                    <a:pt x="7454" y="3870"/>
                  </a:cubicBezTo>
                  <a:cubicBezTo>
                    <a:pt x="7394" y="4024"/>
                    <a:pt x="7311" y="4179"/>
                    <a:pt x="7215" y="4322"/>
                  </a:cubicBezTo>
                  <a:lnTo>
                    <a:pt x="4751" y="4322"/>
                  </a:lnTo>
                  <a:cubicBezTo>
                    <a:pt x="4846" y="3786"/>
                    <a:pt x="5156" y="3250"/>
                    <a:pt x="5537" y="2941"/>
                  </a:cubicBezTo>
                  <a:cubicBezTo>
                    <a:pt x="5763" y="2750"/>
                    <a:pt x="6108" y="2560"/>
                    <a:pt x="6465" y="2453"/>
                  </a:cubicBezTo>
                  <a:cubicBezTo>
                    <a:pt x="6763" y="2381"/>
                    <a:pt x="6799" y="2405"/>
                    <a:pt x="6870" y="2346"/>
                  </a:cubicBezTo>
                  <a:cubicBezTo>
                    <a:pt x="6894" y="2322"/>
                    <a:pt x="6894" y="2298"/>
                    <a:pt x="6918" y="2286"/>
                  </a:cubicBezTo>
                  <a:cubicBezTo>
                    <a:pt x="6930" y="2238"/>
                    <a:pt x="6930" y="2203"/>
                    <a:pt x="6930" y="2167"/>
                  </a:cubicBezTo>
                  <a:lnTo>
                    <a:pt x="6930" y="988"/>
                  </a:lnTo>
                  <a:cubicBezTo>
                    <a:pt x="6930" y="964"/>
                    <a:pt x="6942" y="929"/>
                    <a:pt x="6954" y="905"/>
                  </a:cubicBezTo>
                  <a:cubicBezTo>
                    <a:pt x="6991" y="860"/>
                    <a:pt x="7048" y="843"/>
                    <a:pt x="7109" y="843"/>
                  </a:cubicBezTo>
                  <a:close/>
                  <a:moveTo>
                    <a:pt x="4453" y="4227"/>
                  </a:moveTo>
                  <a:cubicBezTo>
                    <a:pt x="4453" y="4251"/>
                    <a:pt x="4441" y="4286"/>
                    <a:pt x="4441" y="4322"/>
                  </a:cubicBezTo>
                  <a:lnTo>
                    <a:pt x="3548" y="4322"/>
                  </a:lnTo>
                  <a:cubicBezTo>
                    <a:pt x="3489" y="4322"/>
                    <a:pt x="3441" y="4322"/>
                    <a:pt x="3405" y="4346"/>
                  </a:cubicBezTo>
                  <a:cubicBezTo>
                    <a:pt x="3370" y="4298"/>
                    <a:pt x="3358" y="4262"/>
                    <a:pt x="3322" y="4227"/>
                  </a:cubicBezTo>
                  <a:close/>
                  <a:moveTo>
                    <a:pt x="3489" y="0"/>
                  </a:moveTo>
                  <a:cubicBezTo>
                    <a:pt x="3144" y="0"/>
                    <a:pt x="2858" y="274"/>
                    <a:pt x="2858" y="619"/>
                  </a:cubicBezTo>
                  <a:lnTo>
                    <a:pt x="2858" y="1905"/>
                  </a:lnTo>
                  <a:lnTo>
                    <a:pt x="1167" y="1905"/>
                  </a:lnTo>
                  <a:cubicBezTo>
                    <a:pt x="750" y="1905"/>
                    <a:pt x="357" y="2107"/>
                    <a:pt x="155" y="2465"/>
                  </a:cubicBezTo>
                  <a:cubicBezTo>
                    <a:pt x="107" y="2536"/>
                    <a:pt x="143" y="2643"/>
                    <a:pt x="215" y="2691"/>
                  </a:cubicBezTo>
                  <a:cubicBezTo>
                    <a:pt x="237" y="2706"/>
                    <a:pt x="263" y="2713"/>
                    <a:pt x="289" y="2713"/>
                  </a:cubicBezTo>
                  <a:cubicBezTo>
                    <a:pt x="347" y="2713"/>
                    <a:pt x="408" y="2680"/>
                    <a:pt x="441" y="2631"/>
                  </a:cubicBezTo>
                  <a:cubicBezTo>
                    <a:pt x="572" y="2417"/>
                    <a:pt x="762" y="2274"/>
                    <a:pt x="1000" y="2227"/>
                  </a:cubicBezTo>
                  <a:lnTo>
                    <a:pt x="1000" y="3941"/>
                  </a:lnTo>
                  <a:cubicBezTo>
                    <a:pt x="631" y="3846"/>
                    <a:pt x="334" y="3536"/>
                    <a:pt x="322" y="3155"/>
                  </a:cubicBezTo>
                  <a:cubicBezTo>
                    <a:pt x="322" y="3060"/>
                    <a:pt x="238" y="3000"/>
                    <a:pt x="155" y="3000"/>
                  </a:cubicBezTo>
                  <a:cubicBezTo>
                    <a:pt x="60" y="3000"/>
                    <a:pt x="0" y="3072"/>
                    <a:pt x="0" y="3167"/>
                  </a:cubicBezTo>
                  <a:cubicBezTo>
                    <a:pt x="48" y="3762"/>
                    <a:pt x="536" y="4239"/>
                    <a:pt x="1131" y="4286"/>
                  </a:cubicBezTo>
                  <a:lnTo>
                    <a:pt x="3001" y="4286"/>
                  </a:lnTo>
                  <a:cubicBezTo>
                    <a:pt x="3024" y="4370"/>
                    <a:pt x="3072" y="4465"/>
                    <a:pt x="3120" y="4536"/>
                  </a:cubicBezTo>
                  <a:cubicBezTo>
                    <a:pt x="2941" y="4667"/>
                    <a:pt x="2834" y="4882"/>
                    <a:pt x="2834" y="5120"/>
                  </a:cubicBezTo>
                  <a:lnTo>
                    <a:pt x="2834" y="5632"/>
                  </a:lnTo>
                  <a:cubicBezTo>
                    <a:pt x="2834" y="6025"/>
                    <a:pt x="3144" y="6346"/>
                    <a:pt x="3536" y="6370"/>
                  </a:cubicBezTo>
                  <a:lnTo>
                    <a:pt x="3536" y="8704"/>
                  </a:lnTo>
                  <a:cubicBezTo>
                    <a:pt x="3536" y="8787"/>
                    <a:pt x="3608" y="8870"/>
                    <a:pt x="3691" y="8870"/>
                  </a:cubicBezTo>
                  <a:cubicBezTo>
                    <a:pt x="3786" y="8870"/>
                    <a:pt x="3858" y="8787"/>
                    <a:pt x="3858" y="8704"/>
                  </a:cubicBezTo>
                  <a:lnTo>
                    <a:pt x="3858" y="6310"/>
                  </a:lnTo>
                  <a:lnTo>
                    <a:pt x="5001" y="6310"/>
                  </a:lnTo>
                  <a:cubicBezTo>
                    <a:pt x="5096" y="6310"/>
                    <a:pt x="5168" y="6227"/>
                    <a:pt x="5168" y="6144"/>
                  </a:cubicBezTo>
                  <a:cubicBezTo>
                    <a:pt x="5168" y="6048"/>
                    <a:pt x="5096" y="5977"/>
                    <a:pt x="5001" y="5977"/>
                  </a:cubicBezTo>
                  <a:lnTo>
                    <a:pt x="3548" y="5977"/>
                  </a:lnTo>
                  <a:cubicBezTo>
                    <a:pt x="3334" y="5965"/>
                    <a:pt x="3155" y="5786"/>
                    <a:pt x="3155" y="5572"/>
                  </a:cubicBezTo>
                  <a:lnTo>
                    <a:pt x="3155" y="5048"/>
                  </a:lnTo>
                  <a:cubicBezTo>
                    <a:pt x="3155" y="4917"/>
                    <a:pt x="3215" y="4798"/>
                    <a:pt x="3322" y="4727"/>
                  </a:cubicBezTo>
                  <a:cubicBezTo>
                    <a:pt x="3394" y="4667"/>
                    <a:pt x="3489" y="4632"/>
                    <a:pt x="3572" y="4632"/>
                  </a:cubicBezTo>
                  <a:lnTo>
                    <a:pt x="7215" y="4632"/>
                  </a:lnTo>
                  <a:cubicBezTo>
                    <a:pt x="7275" y="4632"/>
                    <a:pt x="7311" y="4655"/>
                    <a:pt x="7358" y="4667"/>
                  </a:cubicBezTo>
                  <a:lnTo>
                    <a:pt x="7370" y="4667"/>
                  </a:lnTo>
                  <a:cubicBezTo>
                    <a:pt x="7525" y="4727"/>
                    <a:pt x="7608" y="4870"/>
                    <a:pt x="7608" y="5036"/>
                  </a:cubicBezTo>
                  <a:lnTo>
                    <a:pt x="7608" y="5560"/>
                  </a:lnTo>
                  <a:cubicBezTo>
                    <a:pt x="7608" y="5786"/>
                    <a:pt x="7430" y="5977"/>
                    <a:pt x="7192" y="5977"/>
                  </a:cubicBezTo>
                  <a:lnTo>
                    <a:pt x="5620" y="5977"/>
                  </a:lnTo>
                  <a:cubicBezTo>
                    <a:pt x="5525" y="5977"/>
                    <a:pt x="5453" y="6048"/>
                    <a:pt x="5453" y="6144"/>
                  </a:cubicBezTo>
                  <a:cubicBezTo>
                    <a:pt x="5453" y="6227"/>
                    <a:pt x="5525" y="6298"/>
                    <a:pt x="5620" y="6298"/>
                  </a:cubicBezTo>
                  <a:lnTo>
                    <a:pt x="6751" y="6298"/>
                  </a:lnTo>
                  <a:lnTo>
                    <a:pt x="6751" y="6751"/>
                  </a:lnTo>
                  <a:cubicBezTo>
                    <a:pt x="6751" y="6834"/>
                    <a:pt x="6823" y="6918"/>
                    <a:pt x="6918" y="6918"/>
                  </a:cubicBezTo>
                  <a:cubicBezTo>
                    <a:pt x="7001" y="6918"/>
                    <a:pt x="7073" y="6834"/>
                    <a:pt x="7073" y="6751"/>
                  </a:cubicBezTo>
                  <a:lnTo>
                    <a:pt x="7073" y="6298"/>
                  </a:lnTo>
                  <a:lnTo>
                    <a:pt x="7215" y="6298"/>
                  </a:lnTo>
                  <a:cubicBezTo>
                    <a:pt x="7608" y="6298"/>
                    <a:pt x="7942" y="5977"/>
                    <a:pt x="7942" y="5572"/>
                  </a:cubicBezTo>
                  <a:lnTo>
                    <a:pt x="7942" y="5048"/>
                  </a:lnTo>
                  <a:cubicBezTo>
                    <a:pt x="7942" y="4786"/>
                    <a:pt x="7787" y="4560"/>
                    <a:pt x="7585" y="4429"/>
                  </a:cubicBezTo>
                  <a:lnTo>
                    <a:pt x="7585" y="4393"/>
                  </a:lnTo>
                  <a:cubicBezTo>
                    <a:pt x="7608" y="4334"/>
                    <a:pt x="7644" y="4298"/>
                    <a:pt x="7668" y="4239"/>
                  </a:cubicBezTo>
                  <a:lnTo>
                    <a:pt x="8561" y="4239"/>
                  </a:lnTo>
                  <a:cubicBezTo>
                    <a:pt x="8728" y="4239"/>
                    <a:pt x="8894" y="4191"/>
                    <a:pt x="9037" y="4120"/>
                  </a:cubicBezTo>
                  <a:cubicBezTo>
                    <a:pt x="9073" y="4096"/>
                    <a:pt x="9263" y="4001"/>
                    <a:pt x="10394" y="3405"/>
                  </a:cubicBezTo>
                  <a:cubicBezTo>
                    <a:pt x="10621" y="3250"/>
                    <a:pt x="10668" y="2929"/>
                    <a:pt x="10466" y="2750"/>
                  </a:cubicBezTo>
                  <a:cubicBezTo>
                    <a:pt x="10394" y="2691"/>
                    <a:pt x="10383" y="2691"/>
                    <a:pt x="9918" y="2453"/>
                  </a:cubicBezTo>
                  <a:lnTo>
                    <a:pt x="9632" y="2298"/>
                  </a:lnTo>
                  <a:cubicBezTo>
                    <a:pt x="9610" y="2287"/>
                    <a:pt x="9585" y="2282"/>
                    <a:pt x="9559" y="2282"/>
                  </a:cubicBezTo>
                  <a:cubicBezTo>
                    <a:pt x="9503" y="2282"/>
                    <a:pt x="9446" y="2308"/>
                    <a:pt x="9430" y="2357"/>
                  </a:cubicBezTo>
                  <a:cubicBezTo>
                    <a:pt x="9382" y="2441"/>
                    <a:pt x="9418" y="2536"/>
                    <a:pt x="9490" y="2572"/>
                  </a:cubicBezTo>
                  <a:lnTo>
                    <a:pt x="9621" y="2643"/>
                  </a:lnTo>
                  <a:cubicBezTo>
                    <a:pt x="9490" y="2881"/>
                    <a:pt x="9490" y="3179"/>
                    <a:pt x="9621" y="3429"/>
                  </a:cubicBezTo>
                  <a:lnTo>
                    <a:pt x="8882" y="3834"/>
                  </a:lnTo>
                  <a:cubicBezTo>
                    <a:pt x="8823" y="3870"/>
                    <a:pt x="8763" y="3893"/>
                    <a:pt x="8680" y="3905"/>
                  </a:cubicBezTo>
                  <a:lnTo>
                    <a:pt x="8680" y="2203"/>
                  </a:lnTo>
                  <a:cubicBezTo>
                    <a:pt x="8823" y="2227"/>
                    <a:pt x="8894" y="2274"/>
                    <a:pt x="8942" y="2298"/>
                  </a:cubicBezTo>
                  <a:cubicBezTo>
                    <a:pt x="8966" y="2314"/>
                    <a:pt x="8995" y="2322"/>
                    <a:pt x="9023" y="2322"/>
                  </a:cubicBezTo>
                  <a:cubicBezTo>
                    <a:pt x="9077" y="2322"/>
                    <a:pt x="9129" y="2293"/>
                    <a:pt x="9144" y="2238"/>
                  </a:cubicBezTo>
                  <a:cubicBezTo>
                    <a:pt x="9192" y="2167"/>
                    <a:pt x="9156" y="2060"/>
                    <a:pt x="9085" y="2036"/>
                  </a:cubicBezTo>
                  <a:lnTo>
                    <a:pt x="9025" y="2000"/>
                  </a:lnTo>
                  <a:cubicBezTo>
                    <a:pt x="8882" y="1929"/>
                    <a:pt x="8716" y="1881"/>
                    <a:pt x="8549" y="1881"/>
                  </a:cubicBezTo>
                  <a:lnTo>
                    <a:pt x="7882" y="1881"/>
                  </a:lnTo>
                  <a:lnTo>
                    <a:pt x="7882" y="1345"/>
                  </a:lnTo>
                  <a:cubicBezTo>
                    <a:pt x="7882" y="1048"/>
                    <a:pt x="7704" y="750"/>
                    <a:pt x="7370" y="619"/>
                  </a:cubicBezTo>
                  <a:cubicBezTo>
                    <a:pt x="7297" y="590"/>
                    <a:pt x="7200" y="569"/>
                    <a:pt x="7107" y="569"/>
                  </a:cubicBezTo>
                  <a:cubicBezTo>
                    <a:pt x="7049" y="569"/>
                    <a:pt x="6992" y="577"/>
                    <a:pt x="6942" y="595"/>
                  </a:cubicBezTo>
                  <a:cubicBezTo>
                    <a:pt x="6930" y="262"/>
                    <a:pt x="6656" y="0"/>
                    <a:pt x="6322" y="0"/>
                  </a:cubicBezTo>
                  <a:lnTo>
                    <a:pt x="6299" y="0"/>
                  </a:lnTo>
                  <a:cubicBezTo>
                    <a:pt x="6120" y="0"/>
                    <a:pt x="5965" y="71"/>
                    <a:pt x="5846" y="202"/>
                  </a:cubicBezTo>
                  <a:cubicBezTo>
                    <a:pt x="5727" y="71"/>
                    <a:pt x="5560" y="0"/>
                    <a:pt x="5382" y="0"/>
                  </a:cubicBezTo>
                  <a:lnTo>
                    <a:pt x="5370" y="0"/>
                  </a:lnTo>
                  <a:cubicBezTo>
                    <a:pt x="5191" y="0"/>
                    <a:pt x="5025" y="71"/>
                    <a:pt x="4906" y="202"/>
                  </a:cubicBezTo>
                  <a:cubicBezTo>
                    <a:pt x="4787" y="71"/>
                    <a:pt x="4620" y="0"/>
                    <a:pt x="4441" y="0"/>
                  </a:cubicBezTo>
                  <a:lnTo>
                    <a:pt x="4429" y="0"/>
                  </a:lnTo>
                  <a:cubicBezTo>
                    <a:pt x="4251" y="0"/>
                    <a:pt x="4084" y="71"/>
                    <a:pt x="3965" y="202"/>
                  </a:cubicBezTo>
                  <a:cubicBezTo>
                    <a:pt x="3846" y="71"/>
                    <a:pt x="3679" y="0"/>
                    <a:pt x="3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9" name="Google Shape;12649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0" name="Google Shape;12650;p62"/>
            <p:cNvSpPr/>
            <p:nvPr/>
          </p:nvSpPr>
          <p:spPr>
            <a:xfrm>
              <a:off x="3644044" y="3592490"/>
              <a:ext cx="112494" cy="106420"/>
            </a:xfrm>
            <a:custGeom>
              <a:avLst/>
              <a:gdLst/>
              <a:ahLst/>
              <a:cxnLst/>
              <a:rect l="l" t="t" r="r" b="b"/>
              <a:pathLst>
                <a:path w="3537" h="3346" extrusionOk="0">
                  <a:moveTo>
                    <a:pt x="3382" y="0"/>
                  </a:moveTo>
                  <a:cubicBezTo>
                    <a:pt x="3299" y="0"/>
                    <a:pt x="3227" y="72"/>
                    <a:pt x="3227" y="167"/>
                  </a:cubicBezTo>
                  <a:lnTo>
                    <a:pt x="3227" y="2798"/>
                  </a:lnTo>
                  <a:cubicBezTo>
                    <a:pt x="3227" y="2929"/>
                    <a:pt x="3120" y="3036"/>
                    <a:pt x="2989" y="3036"/>
                  </a:cubicBezTo>
                  <a:lnTo>
                    <a:pt x="572" y="3036"/>
                  </a:lnTo>
                  <a:cubicBezTo>
                    <a:pt x="441" y="3036"/>
                    <a:pt x="334" y="2929"/>
                    <a:pt x="334" y="2798"/>
                  </a:cubicBezTo>
                  <a:lnTo>
                    <a:pt x="334" y="2060"/>
                  </a:lnTo>
                  <a:cubicBezTo>
                    <a:pt x="334" y="1965"/>
                    <a:pt x="263" y="1893"/>
                    <a:pt x="167" y="1893"/>
                  </a:cubicBezTo>
                  <a:cubicBezTo>
                    <a:pt x="84" y="1893"/>
                    <a:pt x="1" y="1965"/>
                    <a:pt x="1" y="2060"/>
                  </a:cubicBezTo>
                  <a:lnTo>
                    <a:pt x="1" y="2798"/>
                  </a:lnTo>
                  <a:cubicBezTo>
                    <a:pt x="1" y="3108"/>
                    <a:pt x="263" y="3346"/>
                    <a:pt x="560" y="3346"/>
                  </a:cubicBezTo>
                  <a:lnTo>
                    <a:pt x="2989" y="3346"/>
                  </a:lnTo>
                  <a:cubicBezTo>
                    <a:pt x="3299" y="3346"/>
                    <a:pt x="3537" y="3096"/>
                    <a:pt x="3537" y="2798"/>
                  </a:cubicBezTo>
                  <a:lnTo>
                    <a:pt x="3537" y="167"/>
                  </a:lnTo>
                  <a:cubicBezTo>
                    <a:pt x="3537" y="60"/>
                    <a:pt x="3465" y="0"/>
                    <a:pt x="3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51" name="Google Shape;12651;p62"/>
          <p:cNvSpPr/>
          <p:nvPr/>
        </p:nvSpPr>
        <p:spPr>
          <a:xfrm>
            <a:off x="3968964" y="3349945"/>
            <a:ext cx="359015" cy="358442"/>
          </a:xfrm>
          <a:custGeom>
            <a:avLst/>
            <a:gdLst/>
            <a:ahLst/>
            <a:cxnLst/>
            <a:rect l="l" t="t" r="r" b="b"/>
            <a:pathLst>
              <a:path w="11288" h="11270" extrusionOk="0">
                <a:moveTo>
                  <a:pt x="6049" y="351"/>
                </a:moveTo>
                <a:lnTo>
                  <a:pt x="6049" y="1149"/>
                </a:lnTo>
                <a:lnTo>
                  <a:pt x="5239" y="1149"/>
                </a:lnTo>
                <a:lnTo>
                  <a:pt x="5239" y="351"/>
                </a:lnTo>
                <a:close/>
                <a:moveTo>
                  <a:pt x="1167" y="5828"/>
                </a:moveTo>
                <a:lnTo>
                  <a:pt x="1167" y="6650"/>
                </a:lnTo>
                <a:lnTo>
                  <a:pt x="345" y="6650"/>
                </a:lnTo>
                <a:lnTo>
                  <a:pt x="345" y="5828"/>
                </a:lnTo>
                <a:close/>
                <a:moveTo>
                  <a:pt x="10954" y="5828"/>
                </a:moveTo>
                <a:lnTo>
                  <a:pt x="10954" y="6650"/>
                </a:lnTo>
                <a:lnTo>
                  <a:pt x="10132" y="6650"/>
                </a:lnTo>
                <a:lnTo>
                  <a:pt x="10132" y="5828"/>
                </a:lnTo>
                <a:close/>
                <a:moveTo>
                  <a:pt x="1442" y="0"/>
                </a:moveTo>
                <a:cubicBezTo>
                  <a:pt x="1273" y="0"/>
                  <a:pt x="1100" y="58"/>
                  <a:pt x="953" y="185"/>
                </a:cubicBezTo>
                <a:cubicBezTo>
                  <a:pt x="726" y="375"/>
                  <a:pt x="643" y="709"/>
                  <a:pt x="726" y="971"/>
                </a:cubicBezTo>
                <a:cubicBezTo>
                  <a:pt x="755" y="1047"/>
                  <a:pt x="814" y="1085"/>
                  <a:pt x="885" y="1085"/>
                </a:cubicBezTo>
                <a:cubicBezTo>
                  <a:pt x="903" y="1085"/>
                  <a:pt x="922" y="1082"/>
                  <a:pt x="941" y="1078"/>
                </a:cubicBezTo>
                <a:cubicBezTo>
                  <a:pt x="1024" y="1042"/>
                  <a:pt x="1072" y="959"/>
                  <a:pt x="1036" y="863"/>
                </a:cubicBezTo>
                <a:cubicBezTo>
                  <a:pt x="953" y="601"/>
                  <a:pt x="1143" y="328"/>
                  <a:pt x="1429" y="328"/>
                </a:cubicBezTo>
                <a:cubicBezTo>
                  <a:pt x="1798" y="328"/>
                  <a:pt x="1977" y="792"/>
                  <a:pt x="1691" y="1042"/>
                </a:cubicBezTo>
                <a:cubicBezTo>
                  <a:pt x="1631" y="1112"/>
                  <a:pt x="1545" y="1140"/>
                  <a:pt x="1463" y="1140"/>
                </a:cubicBezTo>
                <a:cubicBezTo>
                  <a:pt x="1447" y="1140"/>
                  <a:pt x="1432" y="1139"/>
                  <a:pt x="1417" y="1137"/>
                </a:cubicBezTo>
                <a:cubicBezTo>
                  <a:pt x="1322" y="1137"/>
                  <a:pt x="1238" y="1197"/>
                  <a:pt x="1238" y="1280"/>
                </a:cubicBezTo>
                <a:cubicBezTo>
                  <a:pt x="1238" y="1375"/>
                  <a:pt x="1298" y="1459"/>
                  <a:pt x="1381" y="1459"/>
                </a:cubicBezTo>
                <a:cubicBezTo>
                  <a:pt x="1409" y="1462"/>
                  <a:pt x="1436" y="1464"/>
                  <a:pt x="1463" y="1464"/>
                </a:cubicBezTo>
                <a:cubicBezTo>
                  <a:pt x="1628" y="1464"/>
                  <a:pt x="1795" y="1403"/>
                  <a:pt x="1917" y="1280"/>
                </a:cubicBezTo>
                <a:cubicBezTo>
                  <a:pt x="2036" y="1185"/>
                  <a:pt x="2131" y="1042"/>
                  <a:pt x="2155" y="899"/>
                </a:cubicBezTo>
                <a:lnTo>
                  <a:pt x="3822" y="899"/>
                </a:lnTo>
                <a:cubicBezTo>
                  <a:pt x="3167" y="1149"/>
                  <a:pt x="2572" y="1542"/>
                  <a:pt x="2072" y="2042"/>
                </a:cubicBezTo>
                <a:cubicBezTo>
                  <a:pt x="1143" y="2971"/>
                  <a:pt x="619" y="4173"/>
                  <a:pt x="595" y="5471"/>
                </a:cubicBezTo>
                <a:lnTo>
                  <a:pt x="167" y="5471"/>
                </a:lnTo>
                <a:cubicBezTo>
                  <a:pt x="72" y="5471"/>
                  <a:pt x="0" y="5543"/>
                  <a:pt x="0" y="5626"/>
                </a:cubicBezTo>
                <a:lnTo>
                  <a:pt x="0" y="6793"/>
                </a:lnTo>
                <a:cubicBezTo>
                  <a:pt x="0" y="6876"/>
                  <a:pt x="72" y="6959"/>
                  <a:pt x="167" y="6959"/>
                </a:cubicBezTo>
                <a:lnTo>
                  <a:pt x="1322" y="6959"/>
                </a:lnTo>
                <a:cubicBezTo>
                  <a:pt x="1417" y="6959"/>
                  <a:pt x="1488" y="6876"/>
                  <a:pt x="1488" y="6793"/>
                </a:cubicBezTo>
                <a:lnTo>
                  <a:pt x="1488" y="5626"/>
                </a:lnTo>
                <a:cubicBezTo>
                  <a:pt x="1488" y="5543"/>
                  <a:pt x="1417" y="5471"/>
                  <a:pt x="1322" y="5471"/>
                </a:cubicBezTo>
                <a:lnTo>
                  <a:pt x="941" y="5471"/>
                </a:lnTo>
                <a:cubicBezTo>
                  <a:pt x="1012" y="3185"/>
                  <a:pt x="2703" y="1304"/>
                  <a:pt x="4906" y="959"/>
                </a:cubicBezTo>
                <a:lnTo>
                  <a:pt x="4906" y="1304"/>
                </a:lnTo>
                <a:cubicBezTo>
                  <a:pt x="4906" y="1387"/>
                  <a:pt x="4989" y="1459"/>
                  <a:pt x="5072" y="1459"/>
                </a:cubicBezTo>
                <a:lnTo>
                  <a:pt x="5406" y="1459"/>
                </a:lnTo>
                <a:cubicBezTo>
                  <a:pt x="5227" y="1518"/>
                  <a:pt x="5072" y="1661"/>
                  <a:pt x="5001" y="1852"/>
                </a:cubicBezTo>
                <a:lnTo>
                  <a:pt x="3513" y="5269"/>
                </a:lnTo>
                <a:cubicBezTo>
                  <a:pt x="3382" y="5566"/>
                  <a:pt x="3322" y="5888"/>
                  <a:pt x="3322" y="6197"/>
                </a:cubicBezTo>
                <a:cubicBezTo>
                  <a:pt x="3322" y="6793"/>
                  <a:pt x="3548" y="7340"/>
                  <a:pt x="3941" y="7793"/>
                </a:cubicBezTo>
                <a:cubicBezTo>
                  <a:pt x="3977" y="7817"/>
                  <a:pt x="4001" y="7852"/>
                  <a:pt x="4036" y="7900"/>
                </a:cubicBezTo>
                <a:lnTo>
                  <a:pt x="3643" y="7900"/>
                </a:lnTo>
                <a:cubicBezTo>
                  <a:pt x="3429" y="7900"/>
                  <a:pt x="3215" y="8031"/>
                  <a:pt x="3132" y="8233"/>
                </a:cubicBezTo>
                <a:cubicBezTo>
                  <a:pt x="3096" y="8329"/>
                  <a:pt x="3132" y="8412"/>
                  <a:pt x="3215" y="8460"/>
                </a:cubicBezTo>
                <a:cubicBezTo>
                  <a:pt x="3240" y="8469"/>
                  <a:pt x="3264" y="8473"/>
                  <a:pt x="3287" y="8473"/>
                </a:cubicBezTo>
                <a:cubicBezTo>
                  <a:pt x="3351" y="8473"/>
                  <a:pt x="3406" y="8438"/>
                  <a:pt x="3441" y="8376"/>
                </a:cubicBezTo>
                <a:cubicBezTo>
                  <a:pt x="3465" y="8281"/>
                  <a:pt x="3560" y="8221"/>
                  <a:pt x="3667" y="8221"/>
                </a:cubicBezTo>
                <a:lnTo>
                  <a:pt x="7632" y="8221"/>
                </a:lnTo>
                <a:cubicBezTo>
                  <a:pt x="7775" y="8221"/>
                  <a:pt x="7870" y="8329"/>
                  <a:pt x="7870" y="8460"/>
                </a:cubicBezTo>
                <a:lnTo>
                  <a:pt x="7870" y="9043"/>
                </a:lnTo>
                <a:cubicBezTo>
                  <a:pt x="7870" y="9174"/>
                  <a:pt x="7775" y="9281"/>
                  <a:pt x="7632" y="9281"/>
                </a:cubicBezTo>
                <a:lnTo>
                  <a:pt x="3632" y="9281"/>
                </a:lnTo>
                <a:cubicBezTo>
                  <a:pt x="3501" y="9281"/>
                  <a:pt x="3393" y="9174"/>
                  <a:pt x="3393" y="9043"/>
                </a:cubicBezTo>
                <a:lnTo>
                  <a:pt x="3393" y="8972"/>
                </a:lnTo>
                <a:cubicBezTo>
                  <a:pt x="3393" y="8876"/>
                  <a:pt x="3322" y="8805"/>
                  <a:pt x="3227" y="8805"/>
                </a:cubicBezTo>
                <a:cubicBezTo>
                  <a:pt x="3143" y="8805"/>
                  <a:pt x="3072" y="8876"/>
                  <a:pt x="3072" y="8972"/>
                </a:cubicBezTo>
                <a:lnTo>
                  <a:pt x="3072" y="9043"/>
                </a:lnTo>
                <a:cubicBezTo>
                  <a:pt x="3072" y="9353"/>
                  <a:pt x="3322" y="9603"/>
                  <a:pt x="3632" y="9603"/>
                </a:cubicBezTo>
                <a:lnTo>
                  <a:pt x="3691" y="9603"/>
                </a:lnTo>
                <a:lnTo>
                  <a:pt x="3691" y="11103"/>
                </a:lnTo>
                <a:cubicBezTo>
                  <a:pt x="3691" y="11198"/>
                  <a:pt x="3763" y="11269"/>
                  <a:pt x="3858" y="11269"/>
                </a:cubicBezTo>
                <a:lnTo>
                  <a:pt x="7382" y="11269"/>
                </a:lnTo>
                <a:cubicBezTo>
                  <a:pt x="7477" y="11269"/>
                  <a:pt x="7549" y="11198"/>
                  <a:pt x="7549" y="11103"/>
                </a:cubicBezTo>
                <a:lnTo>
                  <a:pt x="7549" y="10710"/>
                </a:lnTo>
                <a:cubicBezTo>
                  <a:pt x="7549" y="10615"/>
                  <a:pt x="7477" y="10543"/>
                  <a:pt x="7382" y="10543"/>
                </a:cubicBezTo>
                <a:cubicBezTo>
                  <a:pt x="7299" y="10543"/>
                  <a:pt x="7215" y="10615"/>
                  <a:pt x="7215" y="10710"/>
                </a:cubicBezTo>
                <a:lnTo>
                  <a:pt x="7215" y="10948"/>
                </a:lnTo>
                <a:lnTo>
                  <a:pt x="4024" y="10948"/>
                </a:lnTo>
                <a:lnTo>
                  <a:pt x="4024" y="9603"/>
                </a:lnTo>
                <a:lnTo>
                  <a:pt x="7215" y="9603"/>
                </a:lnTo>
                <a:lnTo>
                  <a:pt x="7215" y="10031"/>
                </a:lnTo>
                <a:cubicBezTo>
                  <a:pt x="7215" y="10126"/>
                  <a:pt x="7299" y="10198"/>
                  <a:pt x="7382" y="10198"/>
                </a:cubicBezTo>
                <a:cubicBezTo>
                  <a:pt x="7477" y="10198"/>
                  <a:pt x="7549" y="10126"/>
                  <a:pt x="7549" y="10031"/>
                </a:cubicBezTo>
                <a:lnTo>
                  <a:pt x="7549" y="9603"/>
                </a:lnTo>
                <a:lnTo>
                  <a:pt x="7608" y="9603"/>
                </a:lnTo>
                <a:cubicBezTo>
                  <a:pt x="7918" y="9603"/>
                  <a:pt x="8168" y="9353"/>
                  <a:pt x="8168" y="9043"/>
                </a:cubicBezTo>
                <a:lnTo>
                  <a:pt x="8168" y="8460"/>
                </a:lnTo>
                <a:cubicBezTo>
                  <a:pt x="8168" y="8150"/>
                  <a:pt x="7918" y="7900"/>
                  <a:pt x="7608" y="7900"/>
                </a:cubicBezTo>
                <a:lnTo>
                  <a:pt x="7239" y="7900"/>
                </a:lnTo>
                <a:cubicBezTo>
                  <a:pt x="7453" y="7686"/>
                  <a:pt x="7632" y="7436"/>
                  <a:pt x="7751" y="7150"/>
                </a:cubicBezTo>
                <a:cubicBezTo>
                  <a:pt x="7799" y="7067"/>
                  <a:pt x="7751" y="6971"/>
                  <a:pt x="7668" y="6924"/>
                </a:cubicBezTo>
                <a:cubicBezTo>
                  <a:pt x="7643" y="6915"/>
                  <a:pt x="7620" y="6910"/>
                  <a:pt x="7598" y="6910"/>
                </a:cubicBezTo>
                <a:cubicBezTo>
                  <a:pt x="7532" y="6910"/>
                  <a:pt x="7477" y="6948"/>
                  <a:pt x="7442" y="7019"/>
                </a:cubicBezTo>
                <a:cubicBezTo>
                  <a:pt x="7275" y="7388"/>
                  <a:pt x="7013" y="7686"/>
                  <a:pt x="6680" y="7900"/>
                </a:cubicBezTo>
                <a:lnTo>
                  <a:pt x="4572" y="7900"/>
                </a:lnTo>
                <a:cubicBezTo>
                  <a:pt x="4001" y="7555"/>
                  <a:pt x="3632" y="6912"/>
                  <a:pt x="3632" y="6209"/>
                </a:cubicBezTo>
                <a:cubicBezTo>
                  <a:pt x="3632" y="5947"/>
                  <a:pt x="3691" y="5674"/>
                  <a:pt x="3798" y="5423"/>
                </a:cubicBezTo>
                <a:lnTo>
                  <a:pt x="5287" y="2006"/>
                </a:lnTo>
                <a:cubicBezTo>
                  <a:pt x="5310" y="1911"/>
                  <a:pt x="5370" y="1852"/>
                  <a:pt x="5453" y="1828"/>
                </a:cubicBezTo>
                <a:lnTo>
                  <a:pt x="5453" y="5114"/>
                </a:lnTo>
                <a:cubicBezTo>
                  <a:pt x="5072" y="5173"/>
                  <a:pt x="4775" y="5423"/>
                  <a:pt x="4656" y="5781"/>
                </a:cubicBezTo>
                <a:cubicBezTo>
                  <a:pt x="4632" y="5876"/>
                  <a:pt x="4679" y="5959"/>
                  <a:pt x="4763" y="5995"/>
                </a:cubicBezTo>
                <a:cubicBezTo>
                  <a:pt x="4779" y="5999"/>
                  <a:pt x="4795" y="6001"/>
                  <a:pt x="4811" y="6001"/>
                </a:cubicBezTo>
                <a:cubicBezTo>
                  <a:pt x="4886" y="6001"/>
                  <a:pt x="4947" y="5957"/>
                  <a:pt x="4977" y="5888"/>
                </a:cubicBezTo>
                <a:cubicBezTo>
                  <a:pt x="5085" y="5573"/>
                  <a:pt x="5349" y="5427"/>
                  <a:pt x="5614" y="5427"/>
                </a:cubicBezTo>
                <a:cubicBezTo>
                  <a:pt x="5930" y="5427"/>
                  <a:pt x="6247" y="5636"/>
                  <a:pt x="6299" y="6019"/>
                </a:cubicBezTo>
                <a:lnTo>
                  <a:pt x="6299" y="6114"/>
                </a:lnTo>
                <a:cubicBezTo>
                  <a:pt x="6299" y="6537"/>
                  <a:pt x="5951" y="6795"/>
                  <a:pt x="5605" y="6795"/>
                </a:cubicBezTo>
                <a:cubicBezTo>
                  <a:pt x="5356" y="6795"/>
                  <a:pt x="5108" y="6662"/>
                  <a:pt x="4989" y="6364"/>
                </a:cubicBezTo>
                <a:cubicBezTo>
                  <a:pt x="4962" y="6293"/>
                  <a:pt x="4903" y="6255"/>
                  <a:pt x="4835" y="6255"/>
                </a:cubicBezTo>
                <a:cubicBezTo>
                  <a:pt x="4811" y="6255"/>
                  <a:pt x="4787" y="6260"/>
                  <a:pt x="4763" y="6269"/>
                </a:cubicBezTo>
                <a:cubicBezTo>
                  <a:pt x="4679" y="6305"/>
                  <a:pt x="4632" y="6412"/>
                  <a:pt x="4679" y="6495"/>
                </a:cubicBezTo>
                <a:cubicBezTo>
                  <a:pt x="4810" y="6805"/>
                  <a:pt x="5072" y="7043"/>
                  <a:pt x="5418" y="7126"/>
                </a:cubicBezTo>
                <a:cubicBezTo>
                  <a:pt x="5483" y="7138"/>
                  <a:pt x="5548" y="7144"/>
                  <a:pt x="5612" y="7144"/>
                </a:cubicBezTo>
                <a:cubicBezTo>
                  <a:pt x="6166" y="7144"/>
                  <a:pt x="6644" y="6702"/>
                  <a:pt x="6644" y="6126"/>
                </a:cubicBezTo>
                <a:cubicBezTo>
                  <a:pt x="6644" y="5590"/>
                  <a:pt x="6239" y="5197"/>
                  <a:pt x="5787" y="5126"/>
                </a:cubicBezTo>
                <a:lnTo>
                  <a:pt x="5787" y="1840"/>
                </a:lnTo>
                <a:cubicBezTo>
                  <a:pt x="5870" y="1864"/>
                  <a:pt x="5929" y="1947"/>
                  <a:pt x="5953" y="2018"/>
                </a:cubicBezTo>
                <a:lnTo>
                  <a:pt x="7442" y="5459"/>
                </a:lnTo>
                <a:cubicBezTo>
                  <a:pt x="7573" y="5769"/>
                  <a:pt x="7632" y="6114"/>
                  <a:pt x="7596" y="6447"/>
                </a:cubicBezTo>
                <a:cubicBezTo>
                  <a:pt x="7573" y="6543"/>
                  <a:pt x="7656" y="6626"/>
                  <a:pt x="7739" y="6626"/>
                </a:cubicBezTo>
                <a:cubicBezTo>
                  <a:pt x="7750" y="6629"/>
                  <a:pt x="7762" y="6630"/>
                  <a:pt x="7772" y="6630"/>
                </a:cubicBezTo>
                <a:cubicBezTo>
                  <a:pt x="7853" y="6630"/>
                  <a:pt x="7918" y="6557"/>
                  <a:pt x="7918" y="6483"/>
                </a:cubicBezTo>
                <a:cubicBezTo>
                  <a:pt x="7965" y="6090"/>
                  <a:pt x="7906" y="5697"/>
                  <a:pt x="7739" y="5316"/>
                </a:cubicBezTo>
                <a:lnTo>
                  <a:pt x="6251" y="1887"/>
                </a:lnTo>
                <a:cubicBezTo>
                  <a:pt x="6180" y="1709"/>
                  <a:pt x="6025" y="1566"/>
                  <a:pt x="5846" y="1494"/>
                </a:cubicBezTo>
                <a:lnTo>
                  <a:pt x="6180" y="1494"/>
                </a:lnTo>
                <a:cubicBezTo>
                  <a:pt x="6263" y="1494"/>
                  <a:pt x="6346" y="1423"/>
                  <a:pt x="6346" y="1328"/>
                </a:cubicBezTo>
                <a:lnTo>
                  <a:pt x="6346" y="994"/>
                </a:lnTo>
                <a:cubicBezTo>
                  <a:pt x="8549" y="1328"/>
                  <a:pt x="10240" y="3221"/>
                  <a:pt x="10311" y="5495"/>
                </a:cubicBezTo>
                <a:lnTo>
                  <a:pt x="9930" y="5495"/>
                </a:lnTo>
                <a:cubicBezTo>
                  <a:pt x="9835" y="5495"/>
                  <a:pt x="9763" y="5578"/>
                  <a:pt x="9763" y="5662"/>
                </a:cubicBezTo>
                <a:lnTo>
                  <a:pt x="9763" y="6828"/>
                </a:lnTo>
                <a:cubicBezTo>
                  <a:pt x="9763" y="6912"/>
                  <a:pt x="9835" y="6983"/>
                  <a:pt x="9930" y="6983"/>
                </a:cubicBezTo>
                <a:lnTo>
                  <a:pt x="11085" y="6983"/>
                </a:lnTo>
                <a:cubicBezTo>
                  <a:pt x="11180" y="6983"/>
                  <a:pt x="11252" y="6912"/>
                  <a:pt x="11252" y="6828"/>
                </a:cubicBezTo>
                <a:lnTo>
                  <a:pt x="11252" y="5662"/>
                </a:lnTo>
                <a:cubicBezTo>
                  <a:pt x="11287" y="5554"/>
                  <a:pt x="11204" y="5483"/>
                  <a:pt x="11121" y="5483"/>
                </a:cubicBezTo>
                <a:lnTo>
                  <a:pt x="10692" y="5483"/>
                </a:lnTo>
                <a:cubicBezTo>
                  <a:pt x="10656" y="4185"/>
                  <a:pt x="10132" y="2983"/>
                  <a:pt x="9216" y="2054"/>
                </a:cubicBezTo>
                <a:cubicBezTo>
                  <a:pt x="8704" y="1554"/>
                  <a:pt x="8108" y="1161"/>
                  <a:pt x="7453" y="911"/>
                </a:cubicBezTo>
                <a:lnTo>
                  <a:pt x="9120" y="911"/>
                </a:lnTo>
                <a:cubicBezTo>
                  <a:pt x="9204" y="1244"/>
                  <a:pt x="9501" y="1483"/>
                  <a:pt x="9835" y="1483"/>
                </a:cubicBezTo>
                <a:cubicBezTo>
                  <a:pt x="10240" y="1483"/>
                  <a:pt x="10585" y="1149"/>
                  <a:pt x="10585" y="732"/>
                </a:cubicBezTo>
                <a:cubicBezTo>
                  <a:pt x="10585" y="447"/>
                  <a:pt x="10418" y="197"/>
                  <a:pt x="10180" y="78"/>
                </a:cubicBezTo>
                <a:cubicBezTo>
                  <a:pt x="10155" y="63"/>
                  <a:pt x="10128" y="56"/>
                  <a:pt x="10102" y="56"/>
                </a:cubicBezTo>
                <a:cubicBezTo>
                  <a:pt x="10043" y="56"/>
                  <a:pt x="9987" y="91"/>
                  <a:pt x="9954" y="149"/>
                </a:cubicBezTo>
                <a:cubicBezTo>
                  <a:pt x="9918" y="244"/>
                  <a:pt x="9942" y="328"/>
                  <a:pt x="10037" y="375"/>
                </a:cubicBezTo>
                <a:cubicBezTo>
                  <a:pt x="10168" y="447"/>
                  <a:pt x="10251" y="590"/>
                  <a:pt x="10251" y="732"/>
                </a:cubicBezTo>
                <a:cubicBezTo>
                  <a:pt x="10251" y="959"/>
                  <a:pt x="10073" y="1137"/>
                  <a:pt x="9859" y="1137"/>
                </a:cubicBezTo>
                <a:cubicBezTo>
                  <a:pt x="9632" y="1137"/>
                  <a:pt x="9454" y="959"/>
                  <a:pt x="9454" y="732"/>
                </a:cubicBezTo>
                <a:cubicBezTo>
                  <a:pt x="9454" y="613"/>
                  <a:pt x="9489" y="506"/>
                  <a:pt x="9585" y="435"/>
                </a:cubicBezTo>
                <a:cubicBezTo>
                  <a:pt x="9656" y="375"/>
                  <a:pt x="9656" y="268"/>
                  <a:pt x="9597" y="197"/>
                </a:cubicBezTo>
                <a:cubicBezTo>
                  <a:pt x="9565" y="159"/>
                  <a:pt x="9521" y="141"/>
                  <a:pt x="9476" y="141"/>
                </a:cubicBezTo>
                <a:cubicBezTo>
                  <a:pt x="9435" y="141"/>
                  <a:pt x="9393" y="156"/>
                  <a:pt x="9358" y="185"/>
                </a:cubicBezTo>
                <a:cubicBezTo>
                  <a:pt x="9239" y="292"/>
                  <a:pt x="9168" y="423"/>
                  <a:pt x="9120" y="566"/>
                </a:cubicBezTo>
                <a:lnTo>
                  <a:pt x="6370" y="566"/>
                </a:lnTo>
                <a:lnTo>
                  <a:pt x="6370" y="173"/>
                </a:lnTo>
                <a:cubicBezTo>
                  <a:pt x="6370" y="78"/>
                  <a:pt x="6299" y="6"/>
                  <a:pt x="6203" y="6"/>
                </a:cubicBezTo>
                <a:lnTo>
                  <a:pt x="5072" y="6"/>
                </a:lnTo>
                <a:cubicBezTo>
                  <a:pt x="4989" y="6"/>
                  <a:pt x="4906" y="78"/>
                  <a:pt x="4906" y="173"/>
                </a:cubicBezTo>
                <a:lnTo>
                  <a:pt x="4906" y="566"/>
                </a:lnTo>
                <a:lnTo>
                  <a:pt x="2155" y="566"/>
                </a:lnTo>
                <a:cubicBezTo>
                  <a:pt x="2077" y="214"/>
                  <a:pt x="1767" y="0"/>
                  <a:pt x="144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52" name="Google Shape;12652;p62"/>
          <p:cNvGrpSpPr/>
          <p:nvPr/>
        </p:nvGrpSpPr>
        <p:grpSpPr>
          <a:xfrm>
            <a:off x="1883955" y="3808700"/>
            <a:ext cx="162873" cy="351445"/>
            <a:chOff x="1883955" y="3808700"/>
            <a:chExt cx="162873" cy="351445"/>
          </a:xfrm>
        </p:grpSpPr>
        <p:sp>
          <p:nvSpPr>
            <p:cNvPr id="12653" name="Google Shape;12653;p62"/>
            <p:cNvSpPr/>
            <p:nvPr/>
          </p:nvSpPr>
          <p:spPr>
            <a:xfrm>
              <a:off x="1901734" y="3808700"/>
              <a:ext cx="131832" cy="209054"/>
            </a:xfrm>
            <a:custGeom>
              <a:avLst/>
              <a:gdLst/>
              <a:ahLst/>
              <a:cxnLst/>
              <a:rect l="l" t="t" r="r" b="b"/>
              <a:pathLst>
                <a:path w="4145" h="6573" extrusionOk="0">
                  <a:moveTo>
                    <a:pt x="2704" y="1941"/>
                  </a:moveTo>
                  <a:lnTo>
                    <a:pt x="2704" y="2346"/>
                  </a:lnTo>
                  <a:lnTo>
                    <a:pt x="1275" y="2346"/>
                  </a:lnTo>
                  <a:lnTo>
                    <a:pt x="1275" y="1941"/>
                  </a:lnTo>
                  <a:close/>
                  <a:moveTo>
                    <a:pt x="953" y="1"/>
                  </a:moveTo>
                  <a:cubicBezTo>
                    <a:pt x="715" y="1"/>
                    <a:pt x="525" y="191"/>
                    <a:pt x="525" y="429"/>
                  </a:cubicBezTo>
                  <a:lnTo>
                    <a:pt x="525" y="1489"/>
                  </a:lnTo>
                  <a:cubicBezTo>
                    <a:pt x="525" y="1727"/>
                    <a:pt x="715" y="1906"/>
                    <a:pt x="942" y="1917"/>
                  </a:cubicBezTo>
                  <a:lnTo>
                    <a:pt x="942" y="2322"/>
                  </a:lnTo>
                  <a:lnTo>
                    <a:pt x="739" y="2322"/>
                  </a:lnTo>
                  <a:cubicBezTo>
                    <a:pt x="513" y="2322"/>
                    <a:pt x="322" y="2489"/>
                    <a:pt x="287" y="2715"/>
                  </a:cubicBezTo>
                  <a:lnTo>
                    <a:pt x="25" y="4835"/>
                  </a:lnTo>
                  <a:cubicBezTo>
                    <a:pt x="1" y="4930"/>
                    <a:pt x="84" y="5013"/>
                    <a:pt x="168" y="5013"/>
                  </a:cubicBezTo>
                  <a:cubicBezTo>
                    <a:pt x="180" y="5016"/>
                    <a:pt x="192" y="5018"/>
                    <a:pt x="204" y="5018"/>
                  </a:cubicBezTo>
                  <a:cubicBezTo>
                    <a:pt x="283" y="5018"/>
                    <a:pt x="346" y="4953"/>
                    <a:pt x="346" y="4870"/>
                  </a:cubicBezTo>
                  <a:lnTo>
                    <a:pt x="620" y="2739"/>
                  </a:lnTo>
                  <a:cubicBezTo>
                    <a:pt x="620" y="2679"/>
                    <a:pt x="680" y="2632"/>
                    <a:pt x="739" y="2632"/>
                  </a:cubicBezTo>
                  <a:lnTo>
                    <a:pt x="3239" y="2632"/>
                  </a:lnTo>
                  <a:cubicBezTo>
                    <a:pt x="3299" y="2632"/>
                    <a:pt x="3335" y="2679"/>
                    <a:pt x="3359" y="2739"/>
                  </a:cubicBezTo>
                  <a:lnTo>
                    <a:pt x="3799" y="6418"/>
                  </a:lnTo>
                  <a:cubicBezTo>
                    <a:pt x="3811" y="6513"/>
                    <a:pt x="3870" y="6573"/>
                    <a:pt x="3966" y="6573"/>
                  </a:cubicBezTo>
                  <a:lnTo>
                    <a:pt x="3978" y="6573"/>
                  </a:lnTo>
                  <a:cubicBezTo>
                    <a:pt x="4073" y="6573"/>
                    <a:pt x="4144" y="6478"/>
                    <a:pt x="4132" y="6394"/>
                  </a:cubicBezTo>
                  <a:lnTo>
                    <a:pt x="3680" y="2715"/>
                  </a:lnTo>
                  <a:cubicBezTo>
                    <a:pt x="3656" y="2489"/>
                    <a:pt x="3454" y="2322"/>
                    <a:pt x="3239" y="2322"/>
                  </a:cubicBezTo>
                  <a:lnTo>
                    <a:pt x="3025" y="2322"/>
                  </a:lnTo>
                  <a:lnTo>
                    <a:pt x="3025" y="1917"/>
                  </a:lnTo>
                  <a:cubicBezTo>
                    <a:pt x="3263" y="1917"/>
                    <a:pt x="3442" y="1727"/>
                    <a:pt x="3442" y="1489"/>
                  </a:cubicBezTo>
                  <a:lnTo>
                    <a:pt x="3442" y="429"/>
                  </a:lnTo>
                  <a:cubicBezTo>
                    <a:pt x="3442" y="191"/>
                    <a:pt x="3251" y="1"/>
                    <a:pt x="3013" y="1"/>
                  </a:cubicBezTo>
                  <a:lnTo>
                    <a:pt x="2013" y="1"/>
                  </a:lnTo>
                  <a:cubicBezTo>
                    <a:pt x="1930" y="1"/>
                    <a:pt x="1846" y="72"/>
                    <a:pt x="1846" y="167"/>
                  </a:cubicBezTo>
                  <a:cubicBezTo>
                    <a:pt x="1846" y="251"/>
                    <a:pt x="1930" y="334"/>
                    <a:pt x="2013" y="334"/>
                  </a:cubicBezTo>
                  <a:lnTo>
                    <a:pt x="3013" y="334"/>
                  </a:lnTo>
                  <a:cubicBezTo>
                    <a:pt x="3073" y="334"/>
                    <a:pt x="3120" y="370"/>
                    <a:pt x="3120" y="441"/>
                  </a:cubicBezTo>
                  <a:lnTo>
                    <a:pt x="3120" y="1489"/>
                  </a:lnTo>
                  <a:cubicBezTo>
                    <a:pt x="3120" y="1536"/>
                    <a:pt x="3073" y="1584"/>
                    <a:pt x="3025" y="1596"/>
                  </a:cubicBezTo>
                  <a:lnTo>
                    <a:pt x="942" y="1596"/>
                  </a:lnTo>
                  <a:cubicBezTo>
                    <a:pt x="894" y="1596"/>
                    <a:pt x="858" y="1548"/>
                    <a:pt x="858" y="1489"/>
                  </a:cubicBezTo>
                  <a:lnTo>
                    <a:pt x="858" y="441"/>
                  </a:lnTo>
                  <a:cubicBezTo>
                    <a:pt x="858" y="382"/>
                    <a:pt x="894" y="334"/>
                    <a:pt x="953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72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4" name="Google Shape;12654;p62"/>
            <p:cNvSpPr/>
            <p:nvPr/>
          </p:nvSpPr>
          <p:spPr>
            <a:xfrm>
              <a:off x="1883955" y="3978730"/>
              <a:ext cx="162873" cy="181416"/>
            </a:xfrm>
            <a:custGeom>
              <a:avLst/>
              <a:gdLst/>
              <a:ahLst/>
              <a:cxnLst/>
              <a:rect l="l" t="t" r="r" b="b"/>
              <a:pathLst>
                <a:path w="5121" h="5704" extrusionOk="0">
                  <a:moveTo>
                    <a:pt x="715" y="0"/>
                  </a:moveTo>
                  <a:cubicBezTo>
                    <a:pt x="619" y="0"/>
                    <a:pt x="536" y="60"/>
                    <a:pt x="536" y="155"/>
                  </a:cubicBezTo>
                  <a:cubicBezTo>
                    <a:pt x="0" y="4501"/>
                    <a:pt x="24" y="4299"/>
                    <a:pt x="24" y="4322"/>
                  </a:cubicBezTo>
                  <a:lnTo>
                    <a:pt x="24" y="5537"/>
                  </a:lnTo>
                  <a:cubicBezTo>
                    <a:pt x="24" y="5632"/>
                    <a:pt x="96" y="5704"/>
                    <a:pt x="191" y="5704"/>
                  </a:cubicBezTo>
                  <a:lnTo>
                    <a:pt x="4953" y="5704"/>
                  </a:lnTo>
                  <a:cubicBezTo>
                    <a:pt x="5037" y="5704"/>
                    <a:pt x="5120" y="5632"/>
                    <a:pt x="5120" y="5537"/>
                  </a:cubicBezTo>
                  <a:cubicBezTo>
                    <a:pt x="5084" y="4227"/>
                    <a:pt x="5084" y="4322"/>
                    <a:pt x="5084" y="4287"/>
                  </a:cubicBezTo>
                  <a:lnTo>
                    <a:pt x="4763" y="1703"/>
                  </a:lnTo>
                  <a:cubicBezTo>
                    <a:pt x="4751" y="1608"/>
                    <a:pt x="4668" y="1548"/>
                    <a:pt x="4584" y="1548"/>
                  </a:cubicBezTo>
                  <a:cubicBezTo>
                    <a:pt x="4489" y="1560"/>
                    <a:pt x="4429" y="1644"/>
                    <a:pt x="4429" y="1727"/>
                  </a:cubicBezTo>
                  <a:lnTo>
                    <a:pt x="4727" y="4144"/>
                  </a:lnTo>
                  <a:lnTo>
                    <a:pt x="2084" y="4144"/>
                  </a:lnTo>
                  <a:cubicBezTo>
                    <a:pt x="1989" y="4144"/>
                    <a:pt x="1917" y="4215"/>
                    <a:pt x="1917" y="4299"/>
                  </a:cubicBezTo>
                  <a:cubicBezTo>
                    <a:pt x="1917" y="4394"/>
                    <a:pt x="1989" y="4465"/>
                    <a:pt x="2084" y="4465"/>
                  </a:cubicBezTo>
                  <a:lnTo>
                    <a:pt x="4763" y="4465"/>
                  </a:lnTo>
                  <a:lnTo>
                    <a:pt x="4763" y="5358"/>
                  </a:lnTo>
                  <a:lnTo>
                    <a:pt x="4549" y="5358"/>
                  </a:lnTo>
                  <a:lnTo>
                    <a:pt x="4549" y="4834"/>
                  </a:lnTo>
                  <a:cubicBezTo>
                    <a:pt x="4549" y="4751"/>
                    <a:pt x="4477" y="4680"/>
                    <a:pt x="4394" y="4680"/>
                  </a:cubicBezTo>
                  <a:cubicBezTo>
                    <a:pt x="4299" y="4680"/>
                    <a:pt x="4227" y="4751"/>
                    <a:pt x="4227" y="4834"/>
                  </a:cubicBezTo>
                  <a:lnTo>
                    <a:pt x="4227" y="5358"/>
                  </a:lnTo>
                  <a:lnTo>
                    <a:pt x="3822" y="5358"/>
                  </a:lnTo>
                  <a:lnTo>
                    <a:pt x="3822" y="4834"/>
                  </a:lnTo>
                  <a:cubicBezTo>
                    <a:pt x="3822" y="4751"/>
                    <a:pt x="3751" y="4680"/>
                    <a:pt x="3656" y="4680"/>
                  </a:cubicBezTo>
                  <a:cubicBezTo>
                    <a:pt x="3572" y="4680"/>
                    <a:pt x="3501" y="4751"/>
                    <a:pt x="3501" y="4834"/>
                  </a:cubicBezTo>
                  <a:lnTo>
                    <a:pt x="3501" y="5358"/>
                  </a:lnTo>
                  <a:lnTo>
                    <a:pt x="3096" y="5358"/>
                  </a:lnTo>
                  <a:lnTo>
                    <a:pt x="3096" y="4834"/>
                  </a:lnTo>
                  <a:cubicBezTo>
                    <a:pt x="3096" y="4751"/>
                    <a:pt x="3025" y="4680"/>
                    <a:pt x="2929" y="4680"/>
                  </a:cubicBezTo>
                  <a:cubicBezTo>
                    <a:pt x="2834" y="4680"/>
                    <a:pt x="2763" y="4751"/>
                    <a:pt x="2763" y="4834"/>
                  </a:cubicBezTo>
                  <a:lnTo>
                    <a:pt x="2763" y="5358"/>
                  </a:lnTo>
                  <a:lnTo>
                    <a:pt x="2358" y="5358"/>
                  </a:lnTo>
                  <a:lnTo>
                    <a:pt x="2358" y="4834"/>
                  </a:lnTo>
                  <a:cubicBezTo>
                    <a:pt x="2358" y="4751"/>
                    <a:pt x="2286" y="4680"/>
                    <a:pt x="2203" y="4680"/>
                  </a:cubicBezTo>
                  <a:cubicBezTo>
                    <a:pt x="2108" y="4680"/>
                    <a:pt x="2036" y="4751"/>
                    <a:pt x="2036" y="4834"/>
                  </a:cubicBezTo>
                  <a:lnTo>
                    <a:pt x="2036" y="5358"/>
                  </a:lnTo>
                  <a:lnTo>
                    <a:pt x="1632" y="5358"/>
                  </a:lnTo>
                  <a:lnTo>
                    <a:pt x="1632" y="4834"/>
                  </a:lnTo>
                  <a:cubicBezTo>
                    <a:pt x="1632" y="4751"/>
                    <a:pt x="1560" y="4680"/>
                    <a:pt x="1465" y="4680"/>
                  </a:cubicBezTo>
                  <a:cubicBezTo>
                    <a:pt x="1381" y="4680"/>
                    <a:pt x="1310" y="4751"/>
                    <a:pt x="1310" y="4834"/>
                  </a:cubicBezTo>
                  <a:lnTo>
                    <a:pt x="1310" y="5358"/>
                  </a:lnTo>
                  <a:lnTo>
                    <a:pt x="905" y="5358"/>
                  </a:lnTo>
                  <a:lnTo>
                    <a:pt x="905" y="4834"/>
                  </a:lnTo>
                  <a:cubicBezTo>
                    <a:pt x="905" y="4751"/>
                    <a:pt x="834" y="4680"/>
                    <a:pt x="739" y="4680"/>
                  </a:cubicBezTo>
                  <a:cubicBezTo>
                    <a:pt x="655" y="4680"/>
                    <a:pt x="572" y="4751"/>
                    <a:pt x="572" y="4834"/>
                  </a:cubicBezTo>
                  <a:lnTo>
                    <a:pt x="572" y="5358"/>
                  </a:lnTo>
                  <a:lnTo>
                    <a:pt x="334" y="5358"/>
                  </a:lnTo>
                  <a:lnTo>
                    <a:pt x="334" y="4465"/>
                  </a:lnTo>
                  <a:lnTo>
                    <a:pt x="1453" y="4465"/>
                  </a:lnTo>
                  <a:cubicBezTo>
                    <a:pt x="1548" y="4465"/>
                    <a:pt x="1620" y="4394"/>
                    <a:pt x="1620" y="4299"/>
                  </a:cubicBezTo>
                  <a:cubicBezTo>
                    <a:pt x="1620" y="4215"/>
                    <a:pt x="1548" y="4144"/>
                    <a:pt x="1453" y="4144"/>
                  </a:cubicBezTo>
                  <a:lnTo>
                    <a:pt x="369" y="4144"/>
                  </a:lnTo>
                  <a:lnTo>
                    <a:pt x="858" y="179"/>
                  </a:lnTo>
                  <a:cubicBezTo>
                    <a:pt x="870" y="96"/>
                    <a:pt x="798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55" name="Google Shape;12655;p62"/>
          <p:cNvGrpSpPr/>
          <p:nvPr/>
        </p:nvGrpSpPr>
        <p:grpSpPr>
          <a:xfrm>
            <a:off x="939156" y="3809209"/>
            <a:ext cx="192007" cy="351318"/>
            <a:chOff x="939156" y="3809209"/>
            <a:chExt cx="192007" cy="351318"/>
          </a:xfrm>
        </p:grpSpPr>
        <p:sp>
          <p:nvSpPr>
            <p:cNvPr id="12656" name="Google Shape;12656;p62"/>
            <p:cNvSpPr/>
            <p:nvPr/>
          </p:nvSpPr>
          <p:spPr>
            <a:xfrm>
              <a:off x="939538" y="3809209"/>
              <a:ext cx="191625" cy="106706"/>
            </a:xfrm>
            <a:custGeom>
              <a:avLst/>
              <a:gdLst/>
              <a:ahLst/>
              <a:cxnLst/>
              <a:rect l="l" t="t" r="r" b="b"/>
              <a:pathLst>
                <a:path w="6025" h="3355" extrusionOk="0">
                  <a:moveTo>
                    <a:pt x="3016" y="0"/>
                  </a:moveTo>
                  <a:cubicBezTo>
                    <a:pt x="2872" y="0"/>
                    <a:pt x="2764" y="67"/>
                    <a:pt x="2786" y="199"/>
                  </a:cubicBezTo>
                  <a:cubicBezTo>
                    <a:pt x="2797" y="275"/>
                    <a:pt x="2878" y="331"/>
                    <a:pt x="2955" y="331"/>
                  </a:cubicBezTo>
                  <a:cubicBezTo>
                    <a:pt x="2962" y="331"/>
                    <a:pt x="2970" y="331"/>
                    <a:pt x="2977" y="330"/>
                  </a:cubicBezTo>
                  <a:cubicBezTo>
                    <a:pt x="2994" y="326"/>
                    <a:pt x="3012" y="324"/>
                    <a:pt x="3028" y="324"/>
                  </a:cubicBezTo>
                  <a:cubicBezTo>
                    <a:pt x="3172" y="324"/>
                    <a:pt x="3286" y="453"/>
                    <a:pt x="3286" y="592"/>
                  </a:cubicBezTo>
                  <a:lnTo>
                    <a:pt x="3286" y="687"/>
                  </a:lnTo>
                  <a:lnTo>
                    <a:pt x="2739" y="687"/>
                  </a:lnTo>
                  <a:lnTo>
                    <a:pt x="2739" y="628"/>
                  </a:lnTo>
                  <a:cubicBezTo>
                    <a:pt x="2739" y="532"/>
                    <a:pt x="2667" y="461"/>
                    <a:pt x="2572" y="461"/>
                  </a:cubicBezTo>
                  <a:cubicBezTo>
                    <a:pt x="2489" y="461"/>
                    <a:pt x="2417" y="532"/>
                    <a:pt x="2417" y="628"/>
                  </a:cubicBezTo>
                  <a:lnTo>
                    <a:pt x="2417" y="687"/>
                  </a:lnTo>
                  <a:lnTo>
                    <a:pt x="1405" y="687"/>
                  </a:lnTo>
                  <a:cubicBezTo>
                    <a:pt x="1310" y="687"/>
                    <a:pt x="1238" y="758"/>
                    <a:pt x="1238" y="854"/>
                  </a:cubicBezTo>
                  <a:cubicBezTo>
                    <a:pt x="1238" y="937"/>
                    <a:pt x="1310" y="1020"/>
                    <a:pt x="1405" y="1020"/>
                  </a:cubicBezTo>
                  <a:lnTo>
                    <a:pt x="5584" y="1020"/>
                  </a:lnTo>
                  <a:cubicBezTo>
                    <a:pt x="5644" y="1020"/>
                    <a:pt x="5691" y="1056"/>
                    <a:pt x="5691" y="1116"/>
                  </a:cubicBezTo>
                  <a:lnTo>
                    <a:pt x="5691" y="1473"/>
                  </a:lnTo>
                  <a:cubicBezTo>
                    <a:pt x="5691" y="1532"/>
                    <a:pt x="5644" y="1580"/>
                    <a:pt x="5584" y="1580"/>
                  </a:cubicBezTo>
                  <a:lnTo>
                    <a:pt x="429" y="1580"/>
                  </a:lnTo>
                  <a:cubicBezTo>
                    <a:pt x="369" y="1580"/>
                    <a:pt x="334" y="1532"/>
                    <a:pt x="334" y="1473"/>
                  </a:cubicBezTo>
                  <a:lnTo>
                    <a:pt x="334" y="1116"/>
                  </a:lnTo>
                  <a:cubicBezTo>
                    <a:pt x="334" y="1056"/>
                    <a:pt x="369" y="1020"/>
                    <a:pt x="429" y="1020"/>
                  </a:cubicBezTo>
                  <a:lnTo>
                    <a:pt x="750" y="1020"/>
                  </a:lnTo>
                  <a:cubicBezTo>
                    <a:pt x="834" y="1020"/>
                    <a:pt x="905" y="937"/>
                    <a:pt x="905" y="854"/>
                  </a:cubicBezTo>
                  <a:cubicBezTo>
                    <a:pt x="905" y="758"/>
                    <a:pt x="834" y="687"/>
                    <a:pt x="750" y="687"/>
                  </a:cubicBezTo>
                  <a:lnTo>
                    <a:pt x="429" y="687"/>
                  </a:lnTo>
                  <a:cubicBezTo>
                    <a:pt x="191" y="687"/>
                    <a:pt x="0" y="878"/>
                    <a:pt x="0" y="1116"/>
                  </a:cubicBezTo>
                  <a:lnTo>
                    <a:pt x="0" y="1473"/>
                  </a:lnTo>
                  <a:cubicBezTo>
                    <a:pt x="0" y="1711"/>
                    <a:pt x="191" y="1901"/>
                    <a:pt x="429" y="1901"/>
                  </a:cubicBezTo>
                  <a:lnTo>
                    <a:pt x="572" y="1901"/>
                  </a:lnTo>
                  <a:lnTo>
                    <a:pt x="572" y="3187"/>
                  </a:lnTo>
                  <a:cubicBezTo>
                    <a:pt x="572" y="3271"/>
                    <a:pt x="643" y="3354"/>
                    <a:pt x="726" y="3354"/>
                  </a:cubicBezTo>
                  <a:cubicBezTo>
                    <a:pt x="822" y="3354"/>
                    <a:pt x="893" y="3271"/>
                    <a:pt x="893" y="3187"/>
                  </a:cubicBezTo>
                  <a:lnTo>
                    <a:pt x="893" y="1901"/>
                  </a:lnTo>
                  <a:lnTo>
                    <a:pt x="5132" y="1901"/>
                  </a:lnTo>
                  <a:lnTo>
                    <a:pt x="5132" y="2306"/>
                  </a:lnTo>
                  <a:cubicBezTo>
                    <a:pt x="5132" y="2402"/>
                    <a:pt x="5215" y="2473"/>
                    <a:pt x="5298" y="2473"/>
                  </a:cubicBezTo>
                  <a:cubicBezTo>
                    <a:pt x="5394" y="2473"/>
                    <a:pt x="5465" y="2402"/>
                    <a:pt x="5465" y="2306"/>
                  </a:cubicBezTo>
                  <a:lnTo>
                    <a:pt x="5465" y="1901"/>
                  </a:lnTo>
                  <a:lnTo>
                    <a:pt x="5596" y="1901"/>
                  </a:lnTo>
                  <a:cubicBezTo>
                    <a:pt x="5834" y="1901"/>
                    <a:pt x="6025" y="1711"/>
                    <a:pt x="6025" y="1473"/>
                  </a:cubicBezTo>
                  <a:lnTo>
                    <a:pt x="6025" y="1116"/>
                  </a:lnTo>
                  <a:cubicBezTo>
                    <a:pt x="6025" y="878"/>
                    <a:pt x="5822" y="687"/>
                    <a:pt x="5584" y="687"/>
                  </a:cubicBezTo>
                  <a:lnTo>
                    <a:pt x="3620" y="687"/>
                  </a:lnTo>
                  <a:lnTo>
                    <a:pt x="3620" y="604"/>
                  </a:lnTo>
                  <a:cubicBezTo>
                    <a:pt x="3620" y="198"/>
                    <a:pt x="3263" y="0"/>
                    <a:pt x="30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7" name="Google Shape;12657;p62"/>
            <p:cNvSpPr/>
            <p:nvPr/>
          </p:nvSpPr>
          <p:spPr>
            <a:xfrm>
              <a:off x="939156" y="3898835"/>
              <a:ext cx="192007" cy="261692"/>
            </a:xfrm>
            <a:custGeom>
              <a:avLst/>
              <a:gdLst/>
              <a:ahLst/>
              <a:cxnLst/>
              <a:rect l="l" t="t" r="r" b="b"/>
              <a:pathLst>
                <a:path w="6037" h="8228" extrusionOk="0">
                  <a:moveTo>
                    <a:pt x="2977" y="4691"/>
                  </a:moveTo>
                  <a:cubicBezTo>
                    <a:pt x="2739" y="5179"/>
                    <a:pt x="1953" y="6846"/>
                    <a:pt x="1536" y="7739"/>
                  </a:cubicBezTo>
                  <a:cubicBezTo>
                    <a:pt x="1489" y="7811"/>
                    <a:pt x="1417" y="7870"/>
                    <a:pt x="1322" y="7870"/>
                  </a:cubicBezTo>
                  <a:cubicBezTo>
                    <a:pt x="1298" y="7870"/>
                    <a:pt x="1250" y="7858"/>
                    <a:pt x="1215" y="7835"/>
                  </a:cubicBezTo>
                  <a:cubicBezTo>
                    <a:pt x="1096" y="7787"/>
                    <a:pt x="1060" y="7644"/>
                    <a:pt x="1119" y="7525"/>
                  </a:cubicBezTo>
                  <a:lnTo>
                    <a:pt x="2465" y="4691"/>
                  </a:lnTo>
                  <a:close/>
                  <a:moveTo>
                    <a:pt x="3572" y="4703"/>
                  </a:moveTo>
                  <a:lnTo>
                    <a:pt x="4929" y="7549"/>
                  </a:lnTo>
                  <a:cubicBezTo>
                    <a:pt x="4989" y="7668"/>
                    <a:pt x="4929" y="7799"/>
                    <a:pt x="4822" y="7858"/>
                  </a:cubicBezTo>
                  <a:cubicBezTo>
                    <a:pt x="4787" y="7870"/>
                    <a:pt x="4763" y="7882"/>
                    <a:pt x="4715" y="7882"/>
                  </a:cubicBezTo>
                  <a:cubicBezTo>
                    <a:pt x="4632" y="7882"/>
                    <a:pt x="4548" y="7846"/>
                    <a:pt x="4513" y="7751"/>
                  </a:cubicBezTo>
                  <a:lnTo>
                    <a:pt x="3572" y="5775"/>
                  </a:lnTo>
                  <a:cubicBezTo>
                    <a:pt x="3572" y="5775"/>
                    <a:pt x="3215" y="5025"/>
                    <a:pt x="3203" y="4989"/>
                  </a:cubicBezTo>
                  <a:cubicBezTo>
                    <a:pt x="3298" y="4775"/>
                    <a:pt x="3334" y="4715"/>
                    <a:pt x="3334" y="4703"/>
                  </a:cubicBezTo>
                  <a:close/>
                  <a:moveTo>
                    <a:pt x="3036" y="5358"/>
                  </a:moveTo>
                  <a:lnTo>
                    <a:pt x="3263" y="5834"/>
                  </a:lnTo>
                  <a:lnTo>
                    <a:pt x="3263" y="7680"/>
                  </a:lnTo>
                  <a:cubicBezTo>
                    <a:pt x="3263" y="7799"/>
                    <a:pt x="3155" y="7906"/>
                    <a:pt x="3036" y="7906"/>
                  </a:cubicBezTo>
                  <a:cubicBezTo>
                    <a:pt x="2917" y="7906"/>
                    <a:pt x="2810" y="7799"/>
                    <a:pt x="2810" y="7680"/>
                  </a:cubicBezTo>
                  <a:lnTo>
                    <a:pt x="2810" y="5834"/>
                  </a:lnTo>
                  <a:lnTo>
                    <a:pt x="3036" y="5358"/>
                  </a:lnTo>
                  <a:close/>
                  <a:moveTo>
                    <a:pt x="5299" y="0"/>
                  </a:moveTo>
                  <a:cubicBezTo>
                    <a:pt x="5203" y="0"/>
                    <a:pt x="5132" y="72"/>
                    <a:pt x="5132" y="167"/>
                  </a:cubicBezTo>
                  <a:lnTo>
                    <a:pt x="5132" y="3453"/>
                  </a:lnTo>
                  <a:lnTo>
                    <a:pt x="893" y="3453"/>
                  </a:lnTo>
                  <a:lnTo>
                    <a:pt x="893" y="1024"/>
                  </a:lnTo>
                  <a:cubicBezTo>
                    <a:pt x="893" y="941"/>
                    <a:pt x="822" y="858"/>
                    <a:pt x="727" y="858"/>
                  </a:cubicBezTo>
                  <a:cubicBezTo>
                    <a:pt x="643" y="858"/>
                    <a:pt x="560" y="941"/>
                    <a:pt x="560" y="1024"/>
                  </a:cubicBezTo>
                  <a:lnTo>
                    <a:pt x="560" y="3453"/>
                  </a:lnTo>
                  <a:lnTo>
                    <a:pt x="429" y="3453"/>
                  </a:lnTo>
                  <a:cubicBezTo>
                    <a:pt x="191" y="3453"/>
                    <a:pt x="0" y="3644"/>
                    <a:pt x="0" y="3882"/>
                  </a:cubicBezTo>
                  <a:lnTo>
                    <a:pt x="0" y="4239"/>
                  </a:lnTo>
                  <a:cubicBezTo>
                    <a:pt x="0" y="4477"/>
                    <a:pt x="191" y="4668"/>
                    <a:pt x="429" y="4668"/>
                  </a:cubicBezTo>
                  <a:lnTo>
                    <a:pt x="2084" y="4668"/>
                  </a:lnTo>
                  <a:lnTo>
                    <a:pt x="798" y="7382"/>
                  </a:lnTo>
                  <a:cubicBezTo>
                    <a:pt x="667" y="7668"/>
                    <a:pt x="786" y="7989"/>
                    <a:pt x="1060" y="8120"/>
                  </a:cubicBezTo>
                  <a:cubicBezTo>
                    <a:pt x="1131" y="8156"/>
                    <a:pt x="1215" y="8180"/>
                    <a:pt x="1298" y="8180"/>
                  </a:cubicBezTo>
                  <a:cubicBezTo>
                    <a:pt x="1500" y="8180"/>
                    <a:pt x="1715" y="8061"/>
                    <a:pt x="1798" y="7870"/>
                  </a:cubicBezTo>
                  <a:lnTo>
                    <a:pt x="2441" y="6513"/>
                  </a:lnTo>
                  <a:lnTo>
                    <a:pt x="2441" y="7680"/>
                  </a:lnTo>
                  <a:cubicBezTo>
                    <a:pt x="2441" y="7989"/>
                    <a:pt x="2691" y="8227"/>
                    <a:pt x="2989" y="8227"/>
                  </a:cubicBezTo>
                  <a:cubicBezTo>
                    <a:pt x="3298" y="8227"/>
                    <a:pt x="3536" y="7977"/>
                    <a:pt x="3536" y="7680"/>
                  </a:cubicBezTo>
                  <a:lnTo>
                    <a:pt x="3536" y="6513"/>
                  </a:lnTo>
                  <a:lnTo>
                    <a:pt x="4179" y="7870"/>
                  </a:lnTo>
                  <a:cubicBezTo>
                    <a:pt x="4275" y="8061"/>
                    <a:pt x="4465" y="8180"/>
                    <a:pt x="4691" y="8180"/>
                  </a:cubicBezTo>
                  <a:cubicBezTo>
                    <a:pt x="4775" y="8180"/>
                    <a:pt x="4846" y="8168"/>
                    <a:pt x="4929" y="8120"/>
                  </a:cubicBezTo>
                  <a:cubicBezTo>
                    <a:pt x="5203" y="7989"/>
                    <a:pt x="5310" y="7668"/>
                    <a:pt x="5179" y="7382"/>
                  </a:cubicBezTo>
                  <a:lnTo>
                    <a:pt x="3894" y="4668"/>
                  </a:lnTo>
                  <a:lnTo>
                    <a:pt x="4596" y="4668"/>
                  </a:lnTo>
                  <a:cubicBezTo>
                    <a:pt x="4679" y="4668"/>
                    <a:pt x="4763" y="4596"/>
                    <a:pt x="4763" y="4513"/>
                  </a:cubicBezTo>
                  <a:cubicBezTo>
                    <a:pt x="4763" y="4417"/>
                    <a:pt x="4679" y="4346"/>
                    <a:pt x="4596" y="4346"/>
                  </a:cubicBezTo>
                  <a:lnTo>
                    <a:pt x="417" y="4346"/>
                  </a:lnTo>
                  <a:cubicBezTo>
                    <a:pt x="357" y="4346"/>
                    <a:pt x="310" y="4298"/>
                    <a:pt x="310" y="4239"/>
                  </a:cubicBezTo>
                  <a:lnTo>
                    <a:pt x="310" y="3882"/>
                  </a:lnTo>
                  <a:cubicBezTo>
                    <a:pt x="310" y="3822"/>
                    <a:pt x="357" y="3775"/>
                    <a:pt x="417" y="3775"/>
                  </a:cubicBezTo>
                  <a:lnTo>
                    <a:pt x="5560" y="3775"/>
                  </a:lnTo>
                  <a:cubicBezTo>
                    <a:pt x="5620" y="3775"/>
                    <a:pt x="5668" y="3822"/>
                    <a:pt x="5668" y="3882"/>
                  </a:cubicBezTo>
                  <a:lnTo>
                    <a:pt x="5668" y="4239"/>
                  </a:lnTo>
                  <a:cubicBezTo>
                    <a:pt x="5668" y="4298"/>
                    <a:pt x="5620" y="4346"/>
                    <a:pt x="5560" y="4346"/>
                  </a:cubicBezTo>
                  <a:lnTo>
                    <a:pt x="5251" y="4346"/>
                  </a:lnTo>
                  <a:cubicBezTo>
                    <a:pt x="5168" y="4346"/>
                    <a:pt x="5084" y="4417"/>
                    <a:pt x="5084" y="4513"/>
                  </a:cubicBezTo>
                  <a:cubicBezTo>
                    <a:pt x="5084" y="4596"/>
                    <a:pt x="5168" y="4668"/>
                    <a:pt x="5251" y="4668"/>
                  </a:cubicBezTo>
                  <a:lnTo>
                    <a:pt x="5560" y="4668"/>
                  </a:lnTo>
                  <a:cubicBezTo>
                    <a:pt x="5799" y="4668"/>
                    <a:pt x="6001" y="4477"/>
                    <a:pt x="6001" y="4239"/>
                  </a:cubicBezTo>
                  <a:lnTo>
                    <a:pt x="6001" y="3882"/>
                  </a:lnTo>
                  <a:cubicBezTo>
                    <a:pt x="6037" y="3655"/>
                    <a:pt x="5834" y="3453"/>
                    <a:pt x="5596" y="3453"/>
                  </a:cubicBezTo>
                  <a:lnTo>
                    <a:pt x="5465" y="3453"/>
                  </a:lnTo>
                  <a:lnTo>
                    <a:pt x="5465" y="167"/>
                  </a:lnTo>
                  <a:cubicBezTo>
                    <a:pt x="5465" y="72"/>
                    <a:pt x="5382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58" name="Google Shape;12658;p62"/>
          <p:cNvGrpSpPr/>
          <p:nvPr/>
        </p:nvGrpSpPr>
        <p:grpSpPr>
          <a:xfrm>
            <a:off x="2306167" y="3809845"/>
            <a:ext cx="193915" cy="349155"/>
            <a:chOff x="2306167" y="3809845"/>
            <a:chExt cx="193915" cy="349155"/>
          </a:xfrm>
        </p:grpSpPr>
        <p:sp>
          <p:nvSpPr>
            <p:cNvPr id="12659" name="Google Shape;12659;p62"/>
            <p:cNvSpPr/>
            <p:nvPr/>
          </p:nvSpPr>
          <p:spPr>
            <a:xfrm>
              <a:off x="2306167" y="3809845"/>
              <a:ext cx="137875" cy="349155"/>
            </a:xfrm>
            <a:custGeom>
              <a:avLst/>
              <a:gdLst/>
              <a:ahLst/>
              <a:cxnLst/>
              <a:rect l="l" t="t" r="r" b="b"/>
              <a:pathLst>
                <a:path w="4335" h="10978" extrusionOk="0">
                  <a:moveTo>
                    <a:pt x="4001" y="5656"/>
                  </a:moveTo>
                  <a:lnTo>
                    <a:pt x="4001" y="8918"/>
                  </a:lnTo>
                  <a:lnTo>
                    <a:pt x="2989" y="8918"/>
                  </a:lnTo>
                  <a:cubicBezTo>
                    <a:pt x="2763" y="8918"/>
                    <a:pt x="2596" y="8739"/>
                    <a:pt x="2596" y="8525"/>
                  </a:cubicBezTo>
                  <a:lnTo>
                    <a:pt x="2596" y="6037"/>
                  </a:lnTo>
                  <a:cubicBezTo>
                    <a:pt x="2596" y="5822"/>
                    <a:pt x="2775" y="5656"/>
                    <a:pt x="2989" y="5656"/>
                  </a:cubicBezTo>
                  <a:close/>
                  <a:moveTo>
                    <a:pt x="2168" y="0"/>
                  </a:moveTo>
                  <a:cubicBezTo>
                    <a:pt x="2084" y="0"/>
                    <a:pt x="2001" y="72"/>
                    <a:pt x="2001" y="167"/>
                  </a:cubicBezTo>
                  <a:cubicBezTo>
                    <a:pt x="2001" y="250"/>
                    <a:pt x="2084" y="322"/>
                    <a:pt x="2168" y="322"/>
                  </a:cubicBezTo>
                  <a:cubicBezTo>
                    <a:pt x="2382" y="322"/>
                    <a:pt x="2549" y="477"/>
                    <a:pt x="2573" y="667"/>
                  </a:cubicBezTo>
                  <a:cubicBezTo>
                    <a:pt x="2561" y="667"/>
                    <a:pt x="2525" y="655"/>
                    <a:pt x="2513" y="655"/>
                  </a:cubicBezTo>
                  <a:cubicBezTo>
                    <a:pt x="2406" y="655"/>
                    <a:pt x="2334" y="738"/>
                    <a:pt x="2334" y="834"/>
                  </a:cubicBezTo>
                  <a:cubicBezTo>
                    <a:pt x="2334" y="941"/>
                    <a:pt x="2430" y="1012"/>
                    <a:pt x="2513" y="1012"/>
                  </a:cubicBezTo>
                  <a:cubicBezTo>
                    <a:pt x="2549" y="1012"/>
                    <a:pt x="2561" y="1012"/>
                    <a:pt x="2584" y="1000"/>
                  </a:cubicBezTo>
                  <a:lnTo>
                    <a:pt x="2584" y="1262"/>
                  </a:lnTo>
                  <a:lnTo>
                    <a:pt x="1751" y="1262"/>
                  </a:lnTo>
                  <a:lnTo>
                    <a:pt x="1751" y="727"/>
                  </a:lnTo>
                  <a:cubicBezTo>
                    <a:pt x="1751" y="667"/>
                    <a:pt x="1775" y="596"/>
                    <a:pt x="1799" y="536"/>
                  </a:cubicBezTo>
                  <a:cubicBezTo>
                    <a:pt x="1846" y="465"/>
                    <a:pt x="1811" y="357"/>
                    <a:pt x="1727" y="310"/>
                  </a:cubicBezTo>
                  <a:cubicBezTo>
                    <a:pt x="1707" y="297"/>
                    <a:pt x="1685" y="291"/>
                    <a:pt x="1661" y="291"/>
                  </a:cubicBezTo>
                  <a:cubicBezTo>
                    <a:pt x="1601" y="291"/>
                    <a:pt x="1535" y="330"/>
                    <a:pt x="1501" y="381"/>
                  </a:cubicBezTo>
                  <a:cubicBezTo>
                    <a:pt x="1453" y="488"/>
                    <a:pt x="1430" y="608"/>
                    <a:pt x="1430" y="715"/>
                  </a:cubicBezTo>
                  <a:lnTo>
                    <a:pt x="1430" y="1298"/>
                  </a:lnTo>
                  <a:cubicBezTo>
                    <a:pt x="1263" y="1334"/>
                    <a:pt x="1096" y="1393"/>
                    <a:pt x="953" y="1489"/>
                  </a:cubicBezTo>
                  <a:cubicBezTo>
                    <a:pt x="882" y="1536"/>
                    <a:pt x="846" y="1631"/>
                    <a:pt x="894" y="1715"/>
                  </a:cubicBezTo>
                  <a:cubicBezTo>
                    <a:pt x="927" y="1764"/>
                    <a:pt x="982" y="1791"/>
                    <a:pt x="1041" y="1791"/>
                  </a:cubicBezTo>
                  <a:cubicBezTo>
                    <a:pt x="1067" y="1791"/>
                    <a:pt x="1094" y="1785"/>
                    <a:pt x="1120" y="1774"/>
                  </a:cubicBezTo>
                  <a:cubicBezTo>
                    <a:pt x="1215" y="1715"/>
                    <a:pt x="1322" y="1667"/>
                    <a:pt x="1430" y="1631"/>
                  </a:cubicBezTo>
                  <a:cubicBezTo>
                    <a:pt x="1537" y="1608"/>
                    <a:pt x="1632" y="1572"/>
                    <a:pt x="1751" y="1572"/>
                  </a:cubicBezTo>
                  <a:lnTo>
                    <a:pt x="2584" y="1572"/>
                  </a:lnTo>
                  <a:cubicBezTo>
                    <a:pt x="2692" y="1596"/>
                    <a:pt x="2811" y="1608"/>
                    <a:pt x="2918" y="1631"/>
                  </a:cubicBezTo>
                  <a:cubicBezTo>
                    <a:pt x="3537" y="1834"/>
                    <a:pt x="4001" y="2429"/>
                    <a:pt x="4001" y="3108"/>
                  </a:cubicBezTo>
                  <a:lnTo>
                    <a:pt x="4001" y="3572"/>
                  </a:lnTo>
                  <a:cubicBezTo>
                    <a:pt x="4001" y="3632"/>
                    <a:pt x="3954" y="3679"/>
                    <a:pt x="3894" y="3679"/>
                  </a:cubicBezTo>
                  <a:lnTo>
                    <a:pt x="429" y="3679"/>
                  </a:lnTo>
                  <a:cubicBezTo>
                    <a:pt x="370" y="3679"/>
                    <a:pt x="322" y="3632"/>
                    <a:pt x="322" y="3572"/>
                  </a:cubicBezTo>
                  <a:lnTo>
                    <a:pt x="322" y="3108"/>
                  </a:lnTo>
                  <a:cubicBezTo>
                    <a:pt x="322" y="2763"/>
                    <a:pt x="441" y="2429"/>
                    <a:pt x="656" y="2155"/>
                  </a:cubicBezTo>
                  <a:cubicBezTo>
                    <a:pt x="715" y="2084"/>
                    <a:pt x="703" y="1977"/>
                    <a:pt x="620" y="1929"/>
                  </a:cubicBezTo>
                  <a:cubicBezTo>
                    <a:pt x="592" y="1906"/>
                    <a:pt x="559" y="1895"/>
                    <a:pt x="526" y="1895"/>
                  </a:cubicBezTo>
                  <a:cubicBezTo>
                    <a:pt x="476" y="1895"/>
                    <a:pt x="427" y="1921"/>
                    <a:pt x="406" y="1965"/>
                  </a:cubicBezTo>
                  <a:cubicBezTo>
                    <a:pt x="132" y="2286"/>
                    <a:pt x="1" y="2691"/>
                    <a:pt x="1" y="3120"/>
                  </a:cubicBezTo>
                  <a:lnTo>
                    <a:pt x="1" y="10013"/>
                  </a:lnTo>
                  <a:cubicBezTo>
                    <a:pt x="1" y="10549"/>
                    <a:pt x="429" y="10978"/>
                    <a:pt x="953" y="10978"/>
                  </a:cubicBezTo>
                  <a:lnTo>
                    <a:pt x="1418" y="10978"/>
                  </a:lnTo>
                  <a:cubicBezTo>
                    <a:pt x="1501" y="10978"/>
                    <a:pt x="1572" y="10906"/>
                    <a:pt x="1572" y="10823"/>
                  </a:cubicBezTo>
                  <a:cubicBezTo>
                    <a:pt x="1572" y="10728"/>
                    <a:pt x="1501" y="10656"/>
                    <a:pt x="1418" y="10656"/>
                  </a:cubicBezTo>
                  <a:lnTo>
                    <a:pt x="953" y="10656"/>
                  </a:lnTo>
                  <a:cubicBezTo>
                    <a:pt x="608" y="10656"/>
                    <a:pt x="322" y="10371"/>
                    <a:pt x="322" y="10013"/>
                  </a:cubicBezTo>
                  <a:lnTo>
                    <a:pt x="322" y="4001"/>
                  </a:lnTo>
                  <a:cubicBezTo>
                    <a:pt x="358" y="4013"/>
                    <a:pt x="382" y="4013"/>
                    <a:pt x="429" y="4013"/>
                  </a:cubicBezTo>
                  <a:lnTo>
                    <a:pt x="3894" y="4013"/>
                  </a:lnTo>
                  <a:cubicBezTo>
                    <a:pt x="3930" y="4013"/>
                    <a:pt x="3954" y="4013"/>
                    <a:pt x="4001" y="4001"/>
                  </a:cubicBezTo>
                  <a:lnTo>
                    <a:pt x="4001" y="5299"/>
                  </a:lnTo>
                  <a:lnTo>
                    <a:pt x="2989" y="5299"/>
                  </a:lnTo>
                  <a:cubicBezTo>
                    <a:pt x="2584" y="5299"/>
                    <a:pt x="2275" y="5620"/>
                    <a:pt x="2275" y="6013"/>
                  </a:cubicBezTo>
                  <a:lnTo>
                    <a:pt x="2275" y="8501"/>
                  </a:lnTo>
                  <a:cubicBezTo>
                    <a:pt x="2275" y="8894"/>
                    <a:pt x="2608" y="9216"/>
                    <a:pt x="2989" y="9216"/>
                  </a:cubicBezTo>
                  <a:lnTo>
                    <a:pt x="4001" y="9216"/>
                  </a:lnTo>
                  <a:lnTo>
                    <a:pt x="4001" y="10013"/>
                  </a:lnTo>
                  <a:cubicBezTo>
                    <a:pt x="4001" y="10371"/>
                    <a:pt x="3716" y="10656"/>
                    <a:pt x="3382" y="10656"/>
                  </a:cubicBezTo>
                  <a:lnTo>
                    <a:pt x="2084" y="10656"/>
                  </a:lnTo>
                  <a:cubicBezTo>
                    <a:pt x="1989" y="10656"/>
                    <a:pt x="1918" y="10728"/>
                    <a:pt x="1918" y="10823"/>
                  </a:cubicBezTo>
                  <a:cubicBezTo>
                    <a:pt x="1918" y="10906"/>
                    <a:pt x="1989" y="10978"/>
                    <a:pt x="2084" y="10978"/>
                  </a:cubicBezTo>
                  <a:lnTo>
                    <a:pt x="3382" y="10978"/>
                  </a:lnTo>
                  <a:cubicBezTo>
                    <a:pt x="3894" y="10978"/>
                    <a:pt x="4335" y="10549"/>
                    <a:pt x="4335" y="10013"/>
                  </a:cubicBezTo>
                  <a:lnTo>
                    <a:pt x="4335" y="9049"/>
                  </a:lnTo>
                  <a:lnTo>
                    <a:pt x="4335" y="5441"/>
                  </a:lnTo>
                  <a:lnTo>
                    <a:pt x="4335" y="3108"/>
                  </a:lnTo>
                  <a:cubicBezTo>
                    <a:pt x="4335" y="2262"/>
                    <a:pt x="3739" y="1536"/>
                    <a:pt x="2918" y="1322"/>
                  </a:cubicBezTo>
                  <a:lnTo>
                    <a:pt x="2918" y="738"/>
                  </a:lnTo>
                  <a:cubicBezTo>
                    <a:pt x="2918" y="346"/>
                    <a:pt x="2584" y="0"/>
                    <a:pt x="2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0" name="Google Shape;12660;p62"/>
            <p:cNvSpPr/>
            <p:nvPr/>
          </p:nvSpPr>
          <p:spPr>
            <a:xfrm>
              <a:off x="2474701" y="3860256"/>
              <a:ext cx="22741" cy="17779"/>
            </a:xfrm>
            <a:custGeom>
              <a:avLst/>
              <a:gdLst/>
              <a:ahLst/>
              <a:cxnLst/>
              <a:rect l="l" t="t" r="r" b="b"/>
              <a:pathLst>
                <a:path w="715" h="559" extrusionOk="0">
                  <a:moveTo>
                    <a:pt x="188" y="1"/>
                  </a:moveTo>
                  <a:cubicBezTo>
                    <a:pt x="130" y="1"/>
                    <a:pt x="72" y="33"/>
                    <a:pt x="48" y="82"/>
                  </a:cubicBezTo>
                  <a:cubicBezTo>
                    <a:pt x="0" y="154"/>
                    <a:pt x="24" y="261"/>
                    <a:pt x="107" y="308"/>
                  </a:cubicBezTo>
                  <a:cubicBezTo>
                    <a:pt x="238" y="380"/>
                    <a:pt x="345" y="439"/>
                    <a:pt x="417" y="511"/>
                  </a:cubicBezTo>
                  <a:cubicBezTo>
                    <a:pt x="441" y="547"/>
                    <a:pt x="488" y="558"/>
                    <a:pt x="524" y="558"/>
                  </a:cubicBezTo>
                  <a:cubicBezTo>
                    <a:pt x="560" y="558"/>
                    <a:pt x="607" y="535"/>
                    <a:pt x="643" y="499"/>
                  </a:cubicBezTo>
                  <a:cubicBezTo>
                    <a:pt x="714" y="427"/>
                    <a:pt x="703" y="332"/>
                    <a:pt x="643" y="273"/>
                  </a:cubicBezTo>
                  <a:cubicBezTo>
                    <a:pt x="536" y="189"/>
                    <a:pt x="417" y="106"/>
                    <a:pt x="262" y="23"/>
                  </a:cubicBezTo>
                  <a:cubicBezTo>
                    <a:pt x="240" y="8"/>
                    <a:pt x="214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1" name="Google Shape;12661;p62"/>
            <p:cNvSpPr/>
            <p:nvPr/>
          </p:nvSpPr>
          <p:spPr>
            <a:xfrm>
              <a:off x="2409565" y="3840092"/>
              <a:ext cx="25031" cy="12945"/>
            </a:xfrm>
            <a:custGeom>
              <a:avLst/>
              <a:gdLst/>
              <a:ahLst/>
              <a:cxnLst/>
              <a:rect l="l" t="t" r="r" b="b"/>
              <a:pathLst>
                <a:path w="787" h="407" extrusionOk="0">
                  <a:moveTo>
                    <a:pt x="190" y="0"/>
                  </a:moveTo>
                  <a:cubicBezTo>
                    <a:pt x="106" y="0"/>
                    <a:pt x="35" y="57"/>
                    <a:pt x="24" y="133"/>
                  </a:cubicBezTo>
                  <a:cubicBezTo>
                    <a:pt x="0" y="228"/>
                    <a:pt x="72" y="311"/>
                    <a:pt x="155" y="323"/>
                  </a:cubicBezTo>
                  <a:cubicBezTo>
                    <a:pt x="155" y="323"/>
                    <a:pt x="322" y="359"/>
                    <a:pt x="560" y="407"/>
                  </a:cubicBezTo>
                  <a:lnTo>
                    <a:pt x="584" y="407"/>
                  </a:lnTo>
                  <a:cubicBezTo>
                    <a:pt x="655" y="407"/>
                    <a:pt x="738" y="359"/>
                    <a:pt x="750" y="264"/>
                  </a:cubicBezTo>
                  <a:cubicBezTo>
                    <a:pt x="786" y="192"/>
                    <a:pt x="727" y="109"/>
                    <a:pt x="631" y="85"/>
                  </a:cubicBezTo>
                  <a:cubicBezTo>
                    <a:pt x="381" y="26"/>
                    <a:pt x="215" y="2"/>
                    <a:pt x="215" y="2"/>
                  </a:cubicBezTo>
                  <a:cubicBezTo>
                    <a:pt x="206" y="1"/>
                    <a:pt x="198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2" name="Google Shape;12662;p62"/>
            <p:cNvSpPr/>
            <p:nvPr/>
          </p:nvSpPr>
          <p:spPr>
            <a:xfrm>
              <a:off x="2442865" y="3847916"/>
              <a:ext cx="24267" cy="14598"/>
            </a:xfrm>
            <a:custGeom>
              <a:avLst/>
              <a:gdLst/>
              <a:ahLst/>
              <a:cxnLst/>
              <a:rect l="l" t="t" r="r" b="b"/>
              <a:pathLst>
                <a:path w="763" h="459" extrusionOk="0">
                  <a:moveTo>
                    <a:pt x="200" y="1"/>
                  </a:moveTo>
                  <a:cubicBezTo>
                    <a:pt x="128" y="1"/>
                    <a:pt x="57" y="52"/>
                    <a:pt x="37" y="113"/>
                  </a:cubicBezTo>
                  <a:cubicBezTo>
                    <a:pt x="1" y="196"/>
                    <a:pt x="61" y="292"/>
                    <a:pt x="132" y="315"/>
                  </a:cubicBezTo>
                  <a:cubicBezTo>
                    <a:pt x="275" y="363"/>
                    <a:pt x="406" y="411"/>
                    <a:pt x="525" y="434"/>
                  </a:cubicBezTo>
                  <a:cubicBezTo>
                    <a:pt x="537" y="434"/>
                    <a:pt x="549" y="458"/>
                    <a:pt x="584" y="458"/>
                  </a:cubicBezTo>
                  <a:cubicBezTo>
                    <a:pt x="656" y="458"/>
                    <a:pt x="715" y="411"/>
                    <a:pt x="727" y="351"/>
                  </a:cubicBezTo>
                  <a:cubicBezTo>
                    <a:pt x="763" y="256"/>
                    <a:pt x="715" y="173"/>
                    <a:pt x="644" y="137"/>
                  </a:cubicBezTo>
                  <a:cubicBezTo>
                    <a:pt x="525" y="101"/>
                    <a:pt x="370" y="53"/>
                    <a:pt x="239" y="6"/>
                  </a:cubicBezTo>
                  <a:cubicBezTo>
                    <a:pt x="226" y="2"/>
                    <a:pt x="213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3" name="Google Shape;12663;p62"/>
            <p:cNvSpPr/>
            <p:nvPr/>
          </p:nvSpPr>
          <p:spPr>
            <a:xfrm>
              <a:off x="2409183" y="3824952"/>
              <a:ext cx="24267" cy="11800"/>
            </a:xfrm>
            <a:custGeom>
              <a:avLst/>
              <a:gdLst/>
              <a:ahLst/>
              <a:cxnLst/>
              <a:rect l="l" t="t" r="r" b="b"/>
              <a:pathLst>
                <a:path w="763" h="371" extrusionOk="0">
                  <a:moveTo>
                    <a:pt x="593" y="0"/>
                  </a:moveTo>
                  <a:cubicBezTo>
                    <a:pt x="586" y="0"/>
                    <a:pt x="579" y="1"/>
                    <a:pt x="572" y="2"/>
                  </a:cubicBezTo>
                  <a:lnTo>
                    <a:pt x="155" y="61"/>
                  </a:lnTo>
                  <a:cubicBezTo>
                    <a:pt x="60" y="73"/>
                    <a:pt x="0" y="144"/>
                    <a:pt x="24" y="240"/>
                  </a:cubicBezTo>
                  <a:cubicBezTo>
                    <a:pt x="36" y="311"/>
                    <a:pt x="96" y="371"/>
                    <a:pt x="179" y="371"/>
                  </a:cubicBezTo>
                  <a:lnTo>
                    <a:pt x="215" y="371"/>
                  </a:lnTo>
                  <a:lnTo>
                    <a:pt x="631" y="311"/>
                  </a:lnTo>
                  <a:cubicBezTo>
                    <a:pt x="703" y="311"/>
                    <a:pt x="762" y="228"/>
                    <a:pt x="750" y="133"/>
                  </a:cubicBezTo>
                  <a:cubicBezTo>
                    <a:pt x="740" y="56"/>
                    <a:pt x="669" y="0"/>
                    <a:pt x="5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4" name="Google Shape;12664;p62"/>
            <p:cNvSpPr/>
            <p:nvPr/>
          </p:nvSpPr>
          <p:spPr>
            <a:xfrm>
              <a:off x="2442865" y="3820023"/>
              <a:ext cx="24267" cy="12181"/>
            </a:xfrm>
            <a:custGeom>
              <a:avLst/>
              <a:gdLst/>
              <a:ahLst/>
              <a:cxnLst/>
              <a:rect l="l" t="t" r="r" b="b"/>
              <a:pathLst>
                <a:path w="763" h="383" extrusionOk="0">
                  <a:moveTo>
                    <a:pt x="593" y="0"/>
                  </a:moveTo>
                  <a:cubicBezTo>
                    <a:pt x="587" y="0"/>
                    <a:pt x="580" y="1"/>
                    <a:pt x="572" y="2"/>
                  </a:cubicBezTo>
                  <a:lnTo>
                    <a:pt x="156" y="61"/>
                  </a:lnTo>
                  <a:cubicBezTo>
                    <a:pt x="61" y="85"/>
                    <a:pt x="1" y="157"/>
                    <a:pt x="13" y="240"/>
                  </a:cubicBezTo>
                  <a:cubicBezTo>
                    <a:pt x="37" y="323"/>
                    <a:pt x="96" y="383"/>
                    <a:pt x="180" y="383"/>
                  </a:cubicBezTo>
                  <a:lnTo>
                    <a:pt x="215" y="383"/>
                  </a:lnTo>
                  <a:lnTo>
                    <a:pt x="632" y="323"/>
                  </a:lnTo>
                  <a:cubicBezTo>
                    <a:pt x="703" y="299"/>
                    <a:pt x="763" y="228"/>
                    <a:pt x="751" y="145"/>
                  </a:cubicBezTo>
                  <a:cubicBezTo>
                    <a:pt x="729" y="58"/>
                    <a:pt x="668" y="0"/>
                    <a:pt x="5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5" name="Google Shape;12665;p62"/>
            <p:cNvSpPr/>
            <p:nvPr/>
          </p:nvSpPr>
          <p:spPr>
            <a:xfrm>
              <a:off x="2476196" y="3811054"/>
              <a:ext cx="23886" cy="15871"/>
            </a:xfrm>
            <a:custGeom>
              <a:avLst/>
              <a:gdLst/>
              <a:ahLst/>
              <a:cxnLst/>
              <a:rect l="l" t="t" r="r" b="b"/>
              <a:pathLst>
                <a:path w="751" h="499" extrusionOk="0">
                  <a:moveTo>
                    <a:pt x="564" y="0"/>
                  </a:moveTo>
                  <a:cubicBezTo>
                    <a:pt x="537" y="0"/>
                    <a:pt x="511" y="7"/>
                    <a:pt x="489" y="22"/>
                  </a:cubicBezTo>
                  <a:cubicBezTo>
                    <a:pt x="382" y="81"/>
                    <a:pt x="263" y="129"/>
                    <a:pt x="132" y="165"/>
                  </a:cubicBezTo>
                  <a:cubicBezTo>
                    <a:pt x="36" y="200"/>
                    <a:pt x="1" y="284"/>
                    <a:pt x="25" y="379"/>
                  </a:cubicBezTo>
                  <a:cubicBezTo>
                    <a:pt x="36" y="450"/>
                    <a:pt x="120" y="498"/>
                    <a:pt x="179" y="498"/>
                  </a:cubicBezTo>
                  <a:lnTo>
                    <a:pt x="215" y="498"/>
                  </a:lnTo>
                  <a:cubicBezTo>
                    <a:pt x="370" y="450"/>
                    <a:pt x="513" y="391"/>
                    <a:pt x="632" y="331"/>
                  </a:cubicBezTo>
                  <a:cubicBezTo>
                    <a:pt x="727" y="272"/>
                    <a:pt x="751" y="165"/>
                    <a:pt x="715" y="81"/>
                  </a:cubicBezTo>
                  <a:cubicBezTo>
                    <a:pt x="682" y="32"/>
                    <a:pt x="622" y="0"/>
                    <a:pt x="5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66" name="Google Shape;12666;p62"/>
          <p:cNvGrpSpPr/>
          <p:nvPr/>
        </p:nvGrpSpPr>
        <p:grpSpPr>
          <a:xfrm>
            <a:off x="1323901" y="3807173"/>
            <a:ext cx="356343" cy="356757"/>
            <a:chOff x="1323901" y="3807173"/>
            <a:chExt cx="356343" cy="356757"/>
          </a:xfrm>
        </p:grpSpPr>
        <p:sp>
          <p:nvSpPr>
            <p:cNvPr id="12667" name="Google Shape;12667;p62"/>
            <p:cNvSpPr/>
            <p:nvPr/>
          </p:nvSpPr>
          <p:spPr>
            <a:xfrm>
              <a:off x="1478760" y="4058242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13" y="1"/>
                  </a:moveTo>
                  <a:cubicBezTo>
                    <a:pt x="1" y="1"/>
                    <a:pt x="1" y="1"/>
                    <a:pt x="13" y="1"/>
                  </a:cubicBezTo>
                  <a:cubicBezTo>
                    <a:pt x="1" y="1"/>
                    <a:pt x="1" y="1"/>
                    <a:pt x="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8" name="Google Shape;12668;p62"/>
            <p:cNvSpPr/>
            <p:nvPr/>
          </p:nvSpPr>
          <p:spPr>
            <a:xfrm>
              <a:off x="1323901" y="3807173"/>
              <a:ext cx="356343" cy="356757"/>
            </a:xfrm>
            <a:custGeom>
              <a:avLst/>
              <a:gdLst/>
              <a:ahLst/>
              <a:cxnLst/>
              <a:rect l="l" t="t" r="r" b="b"/>
              <a:pathLst>
                <a:path w="11204" h="11217" extrusionOk="0">
                  <a:moveTo>
                    <a:pt x="786" y="1"/>
                  </a:moveTo>
                  <a:cubicBezTo>
                    <a:pt x="357" y="1"/>
                    <a:pt x="0" y="358"/>
                    <a:pt x="0" y="799"/>
                  </a:cubicBezTo>
                  <a:lnTo>
                    <a:pt x="0" y="9050"/>
                  </a:lnTo>
                  <a:lnTo>
                    <a:pt x="0" y="9550"/>
                  </a:lnTo>
                  <a:cubicBezTo>
                    <a:pt x="0" y="10467"/>
                    <a:pt x="738" y="11217"/>
                    <a:pt x="1667" y="11217"/>
                  </a:cubicBezTo>
                  <a:lnTo>
                    <a:pt x="10418" y="11217"/>
                  </a:lnTo>
                  <a:cubicBezTo>
                    <a:pt x="10847" y="11217"/>
                    <a:pt x="11204" y="10859"/>
                    <a:pt x="11204" y="10419"/>
                  </a:cubicBezTo>
                  <a:lnTo>
                    <a:pt x="11204" y="10014"/>
                  </a:lnTo>
                  <a:cubicBezTo>
                    <a:pt x="11204" y="9919"/>
                    <a:pt x="11132" y="9847"/>
                    <a:pt x="11037" y="9847"/>
                  </a:cubicBezTo>
                  <a:cubicBezTo>
                    <a:pt x="10954" y="9847"/>
                    <a:pt x="10882" y="9919"/>
                    <a:pt x="10882" y="10014"/>
                  </a:cubicBezTo>
                  <a:lnTo>
                    <a:pt x="10882" y="10419"/>
                  </a:lnTo>
                  <a:cubicBezTo>
                    <a:pt x="10882" y="10681"/>
                    <a:pt x="10668" y="10883"/>
                    <a:pt x="10418" y="10883"/>
                  </a:cubicBezTo>
                  <a:lnTo>
                    <a:pt x="3155" y="10883"/>
                  </a:lnTo>
                  <a:cubicBezTo>
                    <a:pt x="3274" y="10800"/>
                    <a:pt x="3381" y="10693"/>
                    <a:pt x="3465" y="10574"/>
                  </a:cubicBezTo>
                  <a:lnTo>
                    <a:pt x="3762" y="10407"/>
                  </a:lnTo>
                  <a:cubicBezTo>
                    <a:pt x="3834" y="10478"/>
                    <a:pt x="3941" y="10514"/>
                    <a:pt x="4048" y="10514"/>
                  </a:cubicBezTo>
                  <a:lnTo>
                    <a:pt x="4584" y="10514"/>
                  </a:lnTo>
                  <a:cubicBezTo>
                    <a:pt x="4667" y="10514"/>
                    <a:pt x="4751" y="10443"/>
                    <a:pt x="4751" y="10347"/>
                  </a:cubicBezTo>
                  <a:cubicBezTo>
                    <a:pt x="4751" y="10264"/>
                    <a:pt x="4667" y="10181"/>
                    <a:pt x="4584" y="10181"/>
                  </a:cubicBezTo>
                  <a:lnTo>
                    <a:pt x="4155" y="10181"/>
                  </a:lnTo>
                  <a:lnTo>
                    <a:pt x="4774" y="9824"/>
                  </a:lnTo>
                  <a:lnTo>
                    <a:pt x="4774" y="9943"/>
                  </a:lnTo>
                  <a:cubicBezTo>
                    <a:pt x="4774" y="10038"/>
                    <a:pt x="4846" y="10109"/>
                    <a:pt x="4941" y="10109"/>
                  </a:cubicBezTo>
                  <a:cubicBezTo>
                    <a:pt x="5024" y="10109"/>
                    <a:pt x="5108" y="10038"/>
                    <a:pt x="5108" y="9943"/>
                  </a:cubicBezTo>
                  <a:lnTo>
                    <a:pt x="5108" y="9597"/>
                  </a:lnTo>
                  <a:lnTo>
                    <a:pt x="5536" y="9335"/>
                  </a:lnTo>
                  <a:lnTo>
                    <a:pt x="5536" y="9383"/>
                  </a:lnTo>
                  <a:cubicBezTo>
                    <a:pt x="5536" y="9478"/>
                    <a:pt x="5608" y="9550"/>
                    <a:pt x="5703" y="9550"/>
                  </a:cubicBezTo>
                  <a:cubicBezTo>
                    <a:pt x="5786" y="9550"/>
                    <a:pt x="5858" y="9478"/>
                    <a:pt x="5858" y="9383"/>
                  </a:cubicBezTo>
                  <a:lnTo>
                    <a:pt x="5858" y="9157"/>
                  </a:lnTo>
                  <a:lnTo>
                    <a:pt x="6251" y="8931"/>
                  </a:lnTo>
                  <a:lnTo>
                    <a:pt x="6251" y="10074"/>
                  </a:lnTo>
                  <a:cubicBezTo>
                    <a:pt x="6251" y="10312"/>
                    <a:pt x="6441" y="10478"/>
                    <a:pt x="6668" y="10478"/>
                  </a:cubicBezTo>
                  <a:lnTo>
                    <a:pt x="7203" y="10478"/>
                  </a:lnTo>
                  <a:cubicBezTo>
                    <a:pt x="7299" y="10478"/>
                    <a:pt x="7370" y="10407"/>
                    <a:pt x="7370" y="10324"/>
                  </a:cubicBezTo>
                  <a:cubicBezTo>
                    <a:pt x="7370" y="10228"/>
                    <a:pt x="7299" y="10157"/>
                    <a:pt x="7203" y="10157"/>
                  </a:cubicBezTo>
                  <a:lnTo>
                    <a:pt x="6668" y="10157"/>
                  </a:lnTo>
                  <a:cubicBezTo>
                    <a:pt x="6620" y="10157"/>
                    <a:pt x="6572" y="10109"/>
                    <a:pt x="6572" y="10062"/>
                  </a:cubicBezTo>
                  <a:lnTo>
                    <a:pt x="6572" y="8740"/>
                  </a:lnTo>
                  <a:lnTo>
                    <a:pt x="7156" y="8395"/>
                  </a:lnTo>
                  <a:lnTo>
                    <a:pt x="7310" y="8395"/>
                  </a:lnTo>
                  <a:cubicBezTo>
                    <a:pt x="7346" y="8395"/>
                    <a:pt x="7394" y="8442"/>
                    <a:pt x="7394" y="8490"/>
                  </a:cubicBezTo>
                  <a:lnTo>
                    <a:pt x="7394" y="9907"/>
                  </a:lnTo>
                  <a:cubicBezTo>
                    <a:pt x="7394" y="9990"/>
                    <a:pt x="7465" y="10074"/>
                    <a:pt x="7560" y="10074"/>
                  </a:cubicBezTo>
                  <a:cubicBezTo>
                    <a:pt x="7656" y="10074"/>
                    <a:pt x="7727" y="9990"/>
                    <a:pt x="7727" y="9907"/>
                  </a:cubicBezTo>
                  <a:lnTo>
                    <a:pt x="7727" y="8490"/>
                  </a:lnTo>
                  <a:cubicBezTo>
                    <a:pt x="7727" y="8359"/>
                    <a:pt x="7668" y="8240"/>
                    <a:pt x="7572" y="8157"/>
                  </a:cubicBezTo>
                  <a:lnTo>
                    <a:pt x="8382" y="7704"/>
                  </a:lnTo>
                  <a:lnTo>
                    <a:pt x="10406" y="7704"/>
                  </a:lnTo>
                  <a:cubicBezTo>
                    <a:pt x="10656" y="7704"/>
                    <a:pt x="10870" y="7907"/>
                    <a:pt x="10870" y="8157"/>
                  </a:cubicBezTo>
                  <a:lnTo>
                    <a:pt x="10870" y="9324"/>
                  </a:lnTo>
                  <a:cubicBezTo>
                    <a:pt x="10787" y="9419"/>
                    <a:pt x="10870" y="9490"/>
                    <a:pt x="10966" y="9490"/>
                  </a:cubicBezTo>
                  <a:cubicBezTo>
                    <a:pt x="11061" y="9490"/>
                    <a:pt x="11132" y="9419"/>
                    <a:pt x="11132" y="9324"/>
                  </a:cubicBezTo>
                  <a:lnTo>
                    <a:pt x="11132" y="8169"/>
                  </a:lnTo>
                  <a:cubicBezTo>
                    <a:pt x="11132" y="7728"/>
                    <a:pt x="10775" y="7371"/>
                    <a:pt x="10347" y="7371"/>
                  </a:cubicBezTo>
                  <a:lnTo>
                    <a:pt x="8906" y="7371"/>
                  </a:lnTo>
                  <a:lnTo>
                    <a:pt x="10251" y="6597"/>
                  </a:lnTo>
                  <a:cubicBezTo>
                    <a:pt x="10632" y="6383"/>
                    <a:pt x="10763" y="5906"/>
                    <a:pt x="10537" y="5525"/>
                  </a:cubicBezTo>
                  <a:lnTo>
                    <a:pt x="10335" y="5168"/>
                  </a:lnTo>
                  <a:cubicBezTo>
                    <a:pt x="10302" y="5119"/>
                    <a:pt x="10241" y="5087"/>
                    <a:pt x="10183" y="5087"/>
                  </a:cubicBezTo>
                  <a:cubicBezTo>
                    <a:pt x="10157" y="5087"/>
                    <a:pt x="10131" y="5094"/>
                    <a:pt x="10108" y="5109"/>
                  </a:cubicBezTo>
                  <a:cubicBezTo>
                    <a:pt x="10037" y="5156"/>
                    <a:pt x="10001" y="5264"/>
                    <a:pt x="10049" y="5335"/>
                  </a:cubicBezTo>
                  <a:lnTo>
                    <a:pt x="10251" y="5692"/>
                  </a:lnTo>
                  <a:cubicBezTo>
                    <a:pt x="10370" y="5918"/>
                    <a:pt x="10299" y="6180"/>
                    <a:pt x="10097" y="6323"/>
                  </a:cubicBezTo>
                  <a:cubicBezTo>
                    <a:pt x="6620" y="8312"/>
                    <a:pt x="7501" y="7811"/>
                    <a:pt x="7025" y="8085"/>
                  </a:cubicBezTo>
                  <a:cubicBezTo>
                    <a:pt x="5120" y="9193"/>
                    <a:pt x="7060" y="8073"/>
                    <a:pt x="3691" y="10014"/>
                  </a:cubicBezTo>
                  <a:cubicBezTo>
                    <a:pt x="3691" y="9990"/>
                    <a:pt x="3703" y="9978"/>
                    <a:pt x="3703" y="9966"/>
                  </a:cubicBezTo>
                  <a:lnTo>
                    <a:pt x="4120" y="9240"/>
                  </a:lnTo>
                  <a:cubicBezTo>
                    <a:pt x="4138" y="9242"/>
                    <a:pt x="4155" y="9243"/>
                    <a:pt x="4172" y="9243"/>
                  </a:cubicBezTo>
                  <a:cubicBezTo>
                    <a:pt x="4364" y="9243"/>
                    <a:pt x="4474" y="9123"/>
                    <a:pt x="4715" y="9002"/>
                  </a:cubicBezTo>
                  <a:lnTo>
                    <a:pt x="4870" y="8907"/>
                  </a:lnTo>
                  <a:cubicBezTo>
                    <a:pt x="4941" y="8859"/>
                    <a:pt x="4977" y="8764"/>
                    <a:pt x="4929" y="8681"/>
                  </a:cubicBezTo>
                  <a:cubicBezTo>
                    <a:pt x="4893" y="8627"/>
                    <a:pt x="4838" y="8600"/>
                    <a:pt x="4777" y="8600"/>
                  </a:cubicBezTo>
                  <a:cubicBezTo>
                    <a:pt x="4757" y="8600"/>
                    <a:pt x="4736" y="8603"/>
                    <a:pt x="4715" y="8609"/>
                  </a:cubicBezTo>
                  <a:cubicBezTo>
                    <a:pt x="4703" y="8609"/>
                    <a:pt x="4715" y="8609"/>
                    <a:pt x="4382" y="8800"/>
                  </a:cubicBezTo>
                  <a:lnTo>
                    <a:pt x="4703" y="8240"/>
                  </a:lnTo>
                  <a:lnTo>
                    <a:pt x="4751" y="8300"/>
                  </a:lnTo>
                  <a:cubicBezTo>
                    <a:pt x="4782" y="8356"/>
                    <a:pt x="4837" y="8386"/>
                    <a:pt x="4893" y="8386"/>
                  </a:cubicBezTo>
                  <a:cubicBezTo>
                    <a:pt x="4944" y="8386"/>
                    <a:pt x="4997" y="8362"/>
                    <a:pt x="5036" y="8312"/>
                  </a:cubicBezTo>
                  <a:cubicBezTo>
                    <a:pt x="5072" y="8264"/>
                    <a:pt x="5072" y="8192"/>
                    <a:pt x="5048" y="8133"/>
                  </a:cubicBezTo>
                  <a:lnTo>
                    <a:pt x="4917" y="7895"/>
                  </a:lnTo>
                  <a:cubicBezTo>
                    <a:pt x="4929" y="7859"/>
                    <a:pt x="4977" y="7776"/>
                    <a:pt x="5155" y="7478"/>
                  </a:cubicBezTo>
                  <a:cubicBezTo>
                    <a:pt x="5180" y="7527"/>
                    <a:pt x="5238" y="7559"/>
                    <a:pt x="5295" y="7559"/>
                  </a:cubicBezTo>
                  <a:cubicBezTo>
                    <a:pt x="5321" y="7559"/>
                    <a:pt x="5347" y="7553"/>
                    <a:pt x="5370" y="7538"/>
                  </a:cubicBezTo>
                  <a:cubicBezTo>
                    <a:pt x="5453" y="7490"/>
                    <a:pt x="5477" y="7395"/>
                    <a:pt x="5429" y="7311"/>
                  </a:cubicBezTo>
                  <a:lnTo>
                    <a:pt x="5346" y="7145"/>
                  </a:lnTo>
                  <a:lnTo>
                    <a:pt x="5572" y="6764"/>
                  </a:lnTo>
                  <a:cubicBezTo>
                    <a:pt x="6094" y="7677"/>
                    <a:pt x="6119" y="7717"/>
                    <a:pt x="6120" y="7717"/>
                  </a:cubicBezTo>
                  <a:cubicBezTo>
                    <a:pt x="6120" y="7717"/>
                    <a:pt x="6120" y="7716"/>
                    <a:pt x="6120" y="7716"/>
                  </a:cubicBezTo>
                  <a:lnTo>
                    <a:pt x="6120" y="7716"/>
                  </a:lnTo>
                  <a:cubicBezTo>
                    <a:pt x="6199" y="7843"/>
                    <a:pt x="6337" y="7917"/>
                    <a:pt x="6476" y="7917"/>
                  </a:cubicBezTo>
                  <a:cubicBezTo>
                    <a:pt x="6546" y="7917"/>
                    <a:pt x="6616" y="7899"/>
                    <a:pt x="6679" y="7859"/>
                  </a:cubicBezTo>
                  <a:cubicBezTo>
                    <a:pt x="6715" y="7847"/>
                    <a:pt x="6798" y="7788"/>
                    <a:pt x="7144" y="7597"/>
                  </a:cubicBezTo>
                  <a:cubicBezTo>
                    <a:pt x="7215" y="7550"/>
                    <a:pt x="7251" y="7466"/>
                    <a:pt x="7215" y="7395"/>
                  </a:cubicBezTo>
                  <a:cubicBezTo>
                    <a:pt x="7198" y="7327"/>
                    <a:pt x="7134" y="7296"/>
                    <a:pt x="7063" y="7296"/>
                  </a:cubicBezTo>
                  <a:cubicBezTo>
                    <a:pt x="7035" y="7296"/>
                    <a:pt x="7005" y="7301"/>
                    <a:pt x="6977" y="7311"/>
                  </a:cubicBezTo>
                  <a:lnTo>
                    <a:pt x="6846" y="7395"/>
                  </a:lnTo>
                  <a:cubicBezTo>
                    <a:pt x="6489" y="7585"/>
                    <a:pt x="6501" y="7597"/>
                    <a:pt x="6465" y="7597"/>
                  </a:cubicBezTo>
                  <a:cubicBezTo>
                    <a:pt x="6370" y="7597"/>
                    <a:pt x="6429" y="7597"/>
                    <a:pt x="5751" y="6442"/>
                  </a:cubicBezTo>
                  <a:lnTo>
                    <a:pt x="6120" y="5787"/>
                  </a:lnTo>
                  <a:cubicBezTo>
                    <a:pt x="6179" y="5752"/>
                    <a:pt x="6191" y="5728"/>
                    <a:pt x="6239" y="5728"/>
                  </a:cubicBezTo>
                  <a:cubicBezTo>
                    <a:pt x="6263" y="5728"/>
                    <a:pt x="6298" y="5740"/>
                    <a:pt x="6310" y="5764"/>
                  </a:cubicBezTo>
                  <a:lnTo>
                    <a:pt x="7025" y="6990"/>
                  </a:lnTo>
                  <a:cubicBezTo>
                    <a:pt x="7057" y="7039"/>
                    <a:pt x="7118" y="7071"/>
                    <a:pt x="7176" y="7071"/>
                  </a:cubicBezTo>
                  <a:cubicBezTo>
                    <a:pt x="7203" y="7071"/>
                    <a:pt x="7228" y="7064"/>
                    <a:pt x="7251" y="7049"/>
                  </a:cubicBezTo>
                  <a:cubicBezTo>
                    <a:pt x="7322" y="7002"/>
                    <a:pt x="7358" y="6895"/>
                    <a:pt x="7310" y="6823"/>
                  </a:cubicBezTo>
                  <a:lnTo>
                    <a:pt x="6596" y="5609"/>
                  </a:lnTo>
                  <a:cubicBezTo>
                    <a:pt x="6537" y="5502"/>
                    <a:pt x="6441" y="5442"/>
                    <a:pt x="6322" y="5406"/>
                  </a:cubicBezTo>
                  <a:lnTo>
                    <a:pt x="6822" y="4573"/>
                  </a:lnTo>
                  <a:cubicBezTo>
                    <a:pt x="8573" y="3573"/>
                    <a:pt x="8525" y="3537"/>
                    <a:pt x="8739" y="3537"/>
                  </a:cubicBezTo>
                  <a:cubicBezTo>
                    <a:pt x="8906" y="3537"/>
                    <a:pt x="9049" y="3620"/>
                    <a:pt x="9144" y="3763"/>
                  </a:cubicBezTo>
                  <a:lnTo>
                    <a:pt x="9716" y="4763"/>
                  </a:lnTo>
                  <a:cubicBezTo>
                    <a:pt x="9747" y="4818"/>
                    <a:pt x="9804" y="4847"/>
                    <a:pt x="9859" y="4847"/>
                  </a:cubicBezTo>
                  <a:cubicBezTo>
                    <a:pt x="9888" y="4847"/>
                    <a:pt x="9917" y="4839"/>
                    <a:pt x="9942" y="4823"/>
                  </a:cubicBezTo>
                  <a:cubicBezTo>
                    <a:pt x="10013" y="4787"/>
                    <a:pt x="10049" y="4680"/>
                    <a:pt x="10001" y="4609"/>
                  </a:cubicBezTo>
                  <a:lnTo>
                    <a:pt x="9418" y="3597"/>
                  </a:lnTo>
                  <a:cubicBezTo>
                    <a:pt x="9282" y="3348"/>
                    <a:pt x="9011" y="3202"/>
                    <a:pt x="8736" y="3202"/>
                  </a:cubicBezTo>
                  <a:cubicBezTo>
                    <a:pt x="8602" y="3202"/>
                    <a:pt x="8467" y="3237"/>
                    <a:pt x="8346" y="3311"/>
                  </a:cubicBezTo>
                  <a:lnTo>
                    <a:pt x="7144" y="4013"/>
                  </a:lnTo>
                  <a:lnTo>
                    <a:pt x="7846" y="2811"/>
                  </a:lnTo>
                  <a:cubicBezTo>
                    <a:pt x="7918" y="2692"/>
                    <a:pt x="7941" y="2549"/>
                    <a:pt x="7941" y="2418"/>
                  </a:cubicBezTo>
                  <a:cubicBezTo>
                    <a:pt x="7941" y="2132"/>
                    <a:pt x="7799" y="1870"/>
                    <a:pt x="7560" y="1739"/>
                  </a:cubicBezTo>
                  <a:lnTo>
                    <a:pt x="7203" y="1525"/>
                  </a:lnTo>
                  <a:cubicBezTo>
                    <a:pt x="7181" y="1510"/>
                    <a:pt x="7155" y="1503"/>
                    <a:pt x="7128" y="1503"/>
                  </a:cubicBezTo>
                  <a:cubicBezTo>
                    <a:pt x="7070" y="1503"/>
                    <a:pt x="7010" y="1535"/>
                    <a:pt x="6977" y="1584"/>
                  </a:cubicBezTo>
                  <a:cubicBezTo>
                    <a:pt x="6929" y="1656"/>
                    <a:pt x="6965" y="1763"/>
                    <a:pt x="7037" y="1811"/>
                  </a:cubicBezTo>
                  <a:lnTo>
                    <a:pt x="7394" y="2013"/>
                  </a:lnTo>
                  <a:cubicBezTo>
                    <a:pt x="7608" y="2132"/>
                    <a:pt x="7691" y="2418"/>
                    <a:pt x="7560" y="2644"/>
                  </a:cubicBezTo>
                  <a:lnTo>
                    <a:pt x="6572" y="4335"/>
                  </a:lnTo>
                  <a:lnTo>
                    <a:pt x="6251" y="4918"/>
                  </a:lnTo>
                  <a:lnTo>
                    <a:pt x="5882" y="5561"/>
                  </a:lnTo>
                  <a:lnTo>
                    <a:pt x="5358" y="6454"/>
                  </a:lnTo>
                  <a:cubicBezTo>
                    <a:pt x="5024" y="7002"/>
                    <a:pt x="4751" y="7490"/>
                    <a:pt x="4036" y="8752"/>
                  </a:cubicBezTo>
                  <a:cubicBezTo>
                    <a:pt x="3953" y="8871"/>
                    <a:pt x="3917" y="8966"/>
                    <a:pt x="3881" y="9014"/>
                  </a:cubicBezTo>
                  <a:cubicBezTo>
                    <a:pt x="3884" y="9010"/>
                    <a:pt x="3885" y="9007"/>
                    <a:pt x="3884" y="9007"/>
                  </a:cubicBezTo>
                  <a:lnTo>
                    <a:pt x="3884" y="9007"/>
                  </a:lnTo>
                  <a:cubicBezTo>
                    <a:pt x="3882" y="9007"/>
                    <a:pt x="3851" y="9059"/>
                    <a:pt x="3762" y="9216"/>
                  </a:cubicBezTo>
                  <a:lnTo>
                    <a:pt x="3762" y="8192"/>
                  </a:lnTo>
                  <a:cubicBezTo>
                    <a:pt x="4048" y="8145"/>
                    <a:pt x="4096" y="7895"/>
                    <a:pt x="4191" y="7740"/>
                  </a:cubicBezTo>
                  <a:cubicBezTo>
                    <a:pt x="4191" y="7728"/>
                    <a:pt x="4227" y="7692"/>
                    <a:pt x="4310" y="7538"/>
                  </a:cubicBezTo>
                  <a:cubicBezTo>
                    <a:pt x="4370" y="7430"/>
                    <a:pt x="4310" y="7311"/>
                    <a:pt x="4191" y="7288"/>
                  </a:cubicBezTo>
                  <a:cubicBezTo>
                    <a:pt x="4178" y="7282"/>
                    <a:pt x="4165" y="7280"/>
                    <a:pt x="4152" y="7280"/>
                  </a:cubicBezTo>
                  <a:cubicBezTo>
                    <a:pt x="4103" y="7280"/>
                    <a:pt x="4055" y="7312"/>
                    <a:pt x="4036" y="7359"/>
                  </a:cubicBezTo>
                  <a:cubicBezTo>
                    <a:pt x="4037" y="7358"/>
                    <a:pt x="4037" y="7357"/>
                    <a:pt x="4036" y="7357"/>
                  </a:cubicBezTo>
                  <a:cubicBezTo>
                    <a:pt x="4029" y="7357"/>
                    <a:pt x="3762" y="7824"/>
                    <a:pt x="3762" y="7835"/>
                  </a:cubicBezTo>
                  <a:lnTo>
                    <a:pt x="3762" y="6990"/>
                  </a:lnTo>
                  <a:lnTo>
                    <a:pt x="3917" y="7073"/>
                  </a:lnTo>
                  <a:cubicBezTo>
                    <a:pt x="3942" y="7090"/>
                    <a:pt x="3970" y="7098"/>
                    <a:pt x="3999" y="7098"/>
                  </a:cubicBezTo>
                  <a:cubicBezTo>
                    <a:pt x="4054" y="7098"/>
                    <a:pt x="4108" y="7068"/>
                    <a:pt x="4131" y="7014"/>
                  </a:cubicBezTo>
                  <a:cubicBezTo>
                    <a:pt x="4179" y="6942"/>
                    <a:pt x="4155" y="6835"/>
                    <a:pt x="4072" y="6799"/>
                  </a:cubicBezTo>
                  <a:lnTo>
                    <a:pt x="3762" y="6609"/>
                  </a:lnTo>
                  <a:lnTo>
                    <a:pt x="3762" y="6121"/>
                  </a:lnTo>
                  <a:cubicBezTo>
                    <a:pt x="3834" y="6156"/>
                    <a:pt x="3870" y="6204"/>
                    <a:pt x="3941" y="6204"/>
                  </a:cubicBezTo>
                  <a:cubicBezTo>
                    <a:pt x="4108" y="6204"/>
                    <a:pt x="4167" y="5978"/>
                    <a:pt x="4036" y="5883"/>
                  </a:cubicBezTo>
                  <a:cubicBezTo>
                    <a:pt x="3858" y="5775"/>
                    <a:pt x="3798" y="5752"/>
                    <a:pt x="3774" y="5740"/>
                  </a:cubicBezTo>
                  <a:lnTo>
                    <a:pt x="3774" y="5287"/>
                  </a:lnTo>
                  <a:cubicBezTo>
                    <a:pt x="4905" y="5942"/>
                    <a:pt x="4882" y="5942"/>
                    <a:pt x="5024" y="5942"/>
                  </a:cubicBezTo>
                  <a:cubicBezTo>
                    <a:pt x="5179" y="5942"/>
                    <a:pt x="5310" y="5871"/>
                    <a:pt x="5382" y="5740"/>
                  </a:cubicBezTo>
                  <a:cubicBezTo>
                    <a:pt x="5405" y="5704"/>
                    <a:pt x="5465" y="5621"/>
                    <a:pt x="5655" y="5275"/>
                  </a:cubicBezTo>
                  <a:cubicBezTo>
                    <a:pt x="5724" y="5161"/>
                    <a:pt x="5617" y="5025"/>
                    <a:pt x="5492" y="5025"/>
                  </a:cubicBezTo>
                  <a:cubicBezTo>
                    <a:pt x="5487" y="5025"/>
                    <a:pt x="5482" y="5025"/>
                    <a:pt x="5477" y="5025"/>
                  </a:cubicBezTo>
                  <a:cubicBezTo>
                    <a:pt x="5477" y="5025"/>
                    <a:pt x="5405" y="5037"/>
                    <a:pt x="5358" y="5097"/>
                  </a:cubicBezTo>
                  <a:lnTo>
                    <a:pt x="5084" y="5561"/>
                  </a:lnTo>
                  <a:cubicBezTo>
                    <a:pt x="5068" y="5584"/>
                    <a:pt x="5043" y="5603"/>
                    <a:pt x="5014" y="5603"/>
                  </a:cubicBezTo>
                  <a:cubicBezTo>
                    <a:pt x="4998" y="5603"/>
                    <a:pt x="4982" y="5597"/>
                    <a:pt x="4965" y="5585"/>
                  </a:cubicBezTo>
                  <a:cubicBezTo>
                    <a:pt x="3977" y="5013"/>
                    <a:pt x="3798" y="4906"/>
                    <a:pt x="3762" y="4883"/>
                  </a:cubicBezTo>
                  <a:lnTo>
                    <a:pt x="3762" y="4335"/>
                  </a:lnTo>
                  <a:cubicBezTo>
                    <a:pt x="3881" y="4156"/>
                    <a:pt x="3881" y="4073"/>
                    <a:pt x="3977" y="4073"/>
                  </a:cubicBezTo>
                  <a:cubicBezTo>
                    <a:pt x="3979" y="4073"/>
                    <a:pt x="3981" y="4073"/>
                    <a:pt x="3982" y="4073"/>
                  </a:cubicBezTo>
                  <a:cubicBezTo>
                    <a:pt x="4010" y="4073"/>
                    <a:pt x="4031" y="4094"/>
                    <a:pt x="5239" y="4787"/>
                  </a:cubicBezTo>
                  <a:cubicBezTo>
                    <a:pt x="5261" y="4798"/>
                    <a:pt x="5286" y="4804"/>
                    <a:pt x="5313" y="4804"/>
                  </a:cubicBezTo>
                  <a:cubicBezTo>
                    <a:pt x="5371" y="4804"/>
                    <a:pt x="5432" y="4777"/>
                    <a:pt x="5465" y="4728"/>
                  </a:cubicBezTo>
                  <a:cubicBezTo>
                    <a:pt x="5501" y="4644"/>
                    <a:pt x="5477" y="4549"/>
                    <a:pt x="5405" y="4502"/>
                  </a:cubicBezTo>
                  <a:lnTo>
                    <a:pt x="4179" y="3787"/>
                  </a:lnTo>
                  <a:cubicBezTo>
                    <a:pt x="4120" y="3751"/>
                    <a:pt x="4048" y="3728"/>
                    <a:pt x="3977" y="3728"/>
                  </a:cubicBezTo>
                  <a:cubicBezTo>
                    <a:pt x="3893" y="3728"/>
                    <a:pt x="3822" y="3740"/>
                    <a:pt x="3762" y="3787"/>
                  </a:cubicBezTo>
                  <a:lnTo>
                    <a:pt x="3762" y="2894"/>
                  </a:lnTo>
                  <a:lnTo>
                    <a:pt x="4834" y="1049"/>
                  </a:lnTo>
                  <a:cubicBezTo>
                    <a:pt x="4915" y="910"/>
                    <a:pt x="5075" y="822"/>
                    <a:pt x="5240" y="822"/>
                  </a:cubicBezTo>
                  <a:cubicBezTo>
                    <a:pt x="5316" y="822"/>
                    <a:pt x="5394" y="841"/>
                    <a:pt x="5465" y="882"/>
                  </a:cubicBezTo>
                  <a:lnTo>
                    <a:pt x="6477" y="1465"/>
                  </a:lnTo>
                  <a:cubicBezTo>
                    <a:pt x="6499" y="1480"/>
                    <a:pt x="6525" y="1487"/>
                    <a:pt x="6552" y="1487"/>
                  </a:cubicBezTo>
                  <a:cubicBezTo>
                    <a:pt x="6609" y="1487"/>
                    <a:pt x="6667" y="1455"/>
                    <a:pt x="6691" y="1406"/>
                  </a:cubicBezTo>
                  <a:cubicBezTo>
                    <a:pt x="6739" y="1334"/>
                    <a:pt x="6715" y="1227"/>
                    <a:pt x="6632" y="1180"/>
                  </a:cubicBezTo>
                  <a:lnTo>
                    <a:pt x="5620" y="608"/>
                  </a:lnTo>
                  <a:cubicBezTo>
                    <a:pt x="5496" y="536"/>
                    <a:pt x="5359" y="502"/>
                    <a:pt x="5223" y="502"/>
                  </a:cubicBezTo>
                  <a:cubicBezTo>
                    <a:pt x="4954" y="502"/>
                    <a:pt x="4691" y="637"/>
                    <a:pt x="4548" y="882"/>
                  </a:cubicBezTo>
                  <a:lnTo>
                    <a:pt x="3774" y="2239"/>
                  </a:lnTo>
                  <a:lnTo>
                    <a:pt x="3774" y="799"/>
                  </a:lnTo>
                  <a:cubicBezTo>
                    <a:pt x="3774" y="370"/>
                    <a:pt x="3417" y="13"/>
                    <a:pt x="2988" y="13"/>
                  </a:cubicBezTo>
                  <a:lnTo>
                    <a:pt x="2572" y="13"/>
                  </a:lnTo>
                  <a:cubicBezTo>
                    <a:pt x="2488" y="13"/>
                    <a:pt x="2405" y="84"/>
                    <a:pt x="2405" y="168"/>
                  </a:cubicBezTo>
                  <a:cubicBezTo>
                    <a:pt x="2405" y="263"/>
                    <a:pt x="2488" y="334"/>
                    <a:pt x="2572" y="334"/>
                  </a:cubicBezTo>
                  <a:lnTo>
                    <a:pt x="2988" y="334"/>
                  </a:lnTo>
                  <a:cubicBezTo>
                    <a:pt x="3239" y="334"/>
                    <a:pt x="3453" y="549"/>
                    <a:pt x="3453" y="799"/>
                  </a:cubicBezTo>
                  <a:lnTo>
                    <a:pt x="3453" y="2823"/>
                  </a:lnTo>
                  <a:lnTo>
                    <a:pt x="3453" y="3489"/>
                  </a:lnTo>
                  <a:lnTo>
                    <a:pt x="3453" y="4216"/>
                  </a:lnTo>
                  <a:cubicBezTo>
                    <a:pt x="3453" y="8966"/>
                    <a:pt x="3477" y="9574"/>
                    <a:pt x="3417" y="9847"/>
                  </a:cubicBezTo>
                  <a:cubicBezTo>
                    <a:pt x="3381" y="10026"/>
                    <a:pt x="3298" y="10205"/>
                    <a:pt x="3203" y="10336"/>
                  </a:cubicBezTo>
                  <a:cubicBezTo>
                    <a:pt x="3167" y="10371"/>
                    <a:pt x="3143" y="10407"/>
                    <a:pt x="3108" y="10455"/>
                  </a:cubicBezTo>
                  <a:cubicBezTo>
                    <a:pt x="2858" y="10717"/>
                    <a:pt x="2512" y="10871"/>
                    <a:pt x="2143" y="10871"/>
                  </a:cubicBezTo>
                  <a:lnTo>
                    <a:pt x="1655" y="10871"/>
                  </a:lnTo>
                  <a:cubicBezTo>
                    <a:pt x="917" y="10871"/>
                    <a:pt x="321" y="10276"/>
                    <a:pt x="321" y="9550"/>
                  </a:cubicBezTo>
                  <a:lnTo>
                    <a:pt x="321" y="799"/>
                  </a:lnTo>
                  <a:cubicBezTo>
                    <a:pt x="321" y="549"/>
                    <a:pt x="536" y="334"/>
                    <a:pt x="786" y="334"/>
                  </a:cubicBezTo>
                  <a:lnTo>
                    <a:pt x="1953" y="334"/>
                  </a:lnTo>
                  <a:cubicBezTo>
                    <a:pt x="2036" y="334"/>
                    <a:pt x="2107" y="263"/>
                    <a:pt x="2107" y="168"/>
                  </a:cubicBezTo>
                  <a:cubicBezTo>
                    <a:pt x="2107" y="84"/>
                    <a:pt x="2036" y="1"/>
                    <a:pt x="1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9" name="Google Shape;12669;p62"/>
            <p:cNvSpPr/>
            <p:nvPr/>
          </p:nvSpPr>
          <p:spPr>
            <a:xfrm>
              <a:off x="1605630" y="4063935"/>
              <a:ext cx="46976" cy="76523"/>
            </a:xfrm>
            <a:custGeom>
              <a:avLst/>
              <a:gdLst/>
              <a:ahLst/>
              <a:cxnLst/>
              <a:rect l="l" t="t" r="r" b="b"/>
              <a:pathLst>
                <a:path w="1477" h="2406" extrusionOk="0">
                  <a:moveTo>
                    <a:pt x="417" y="0"/>
                  </a:moveTo>
                  <a:cubicBezTo>
                    <a:pt x="179" y="0"/>
                    <a:pt x="0" y="191"/>
                    <a:pt x="0" y="417"/>
                  </a:cubicBezTo>
                  <a:lnTo>
                    <a:pt x="0" y="2001"/>
                  </a:lnTo>
                  <a:cubicBezTo>
                    <a:pt x="0" y="2239"/>
                    <a:pt x="191" y="2405"/>
                    <a:pt x="417" y="2405"/>
                  </a:cubicBezTo>
                  <a:lnTo>
                    <a:pt x="953" y="2405"/>
                  </a:lnTo>
                  <a:cubicBezTo>
                    <a:pt x="1036" y="2405"/>
                    <a:pt x="1119" y="2334"/>
                    <a:pt x="1119" y="2251"/>
                  </a:cubicBezTo>
                  <a:cubicBezTo>
                    <a:pt x="1119" y="2155"/>
                    <a:pt x="1036" y="2084"/>
                    <a:pt x="953" y="2084"/>
                  </a:cubicBezTo>
                  <a:lnTo>
                    <a:pt x="417" y="2084"/>
                  </a:lnTo>
                  <a:cubicBezTo>
                    <a:pt x="369" y="2084"/>
                    <a:pt x="322" y="2036"/>
                    <a:pt x="322" y="1989"/>
                  </a:cubicBezTo>
                  <a:lnTo>
                    <a:pt x="322" y="417"/>
                  </a:lnTo>
                  <a:cubicBezTo>
                    <a:pt x="322" y="369"/>
                    <a:pt x="369" y="322"/>
                    <a:pt x="417" y="322"/>
                  </a:cubicBezTo>
                  <a:lnTo>
                    <a:pt x="1060" y="322"/>
                  </a:lnTo>
                  <a:cubicBezTo>
                    <a:pt x="1096" y="322"/>
                    <a:pt x="1143" y="369"/>
                    <a:pt x="1143" y="417"/>
                  </a:cubicBezTo>
                  <a:lnTo>
                    <a:pt x="1143" y="1834"/>
                  </a:lnTo>
                  <a:cubicBezTo>
                    <a:pt x="1143" y="1917"/>
                    <a:pt x="1215" y="1989"/>
                    <a:pt x="1310" y="1989"/>
                  </a:cubicBezTo>
                  <a:cubicBezTo>
                    <a:pt x="1393" y="1989"/>
                    <a:pt x="1477" y="1917"/>
                    <a:pt x="1477" y="1834"/>
                  </a:cubicBezTo>
                  <a:lnTo>
                    <a:pt x="1477" y="417"/>
                  </a:lnTo>
                  <a:cubicBezTo>
                    <a:pt x="1477" y="179"/>
                    <a:pt x="1274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0" name="Google Shape;12670;p62"/>
            <p:cNvSpPr/>
            <p:nvPr/>
          </p:nvSpPr>
          <p:spPr>
            <a:xfrm>
              <a:off x="1582158" y="4065462"/>
              <a:ext cx="10623" cy="45449"/>
            </a:xfrm>
            <a:custGeom>
              <a:avLst/>
              <a:gdLst/>
              <a:ahLst/>
              <a:cxnLst/>
              <a:rect l="l" t="t" r="r" b="b"/>
              <a:pathLst>
                <a:path w="334" h="1429" extrusionOk="0">
                  <a:moveTo>
                    <a:pt x="167" y="0"/>
                  </a:moveTo>
                  <a:cubicBezTo>
                    <a:pt x="83" y="0"/>
                    <a:pt x="0" y="71"/>
                    <a:pt x="0" y="167"/>
                  </a:cubicBezTo>
                  <a:lnTo>
                    <a:pt x="0" y="1262"/>
                  </a:lnTo>
                  <a:cubicBezTo>
                    <a:pt x="0" y="1357"/>
                    <a:pt x="83" y="1429"/>
                    <a:pt x="167" y="1429"/>
                  </a:cubicBezTo>
                  <a:cubicBezTo>
                    <a:pt x="262" y="1429"/>
                    <a:pt x="333" y="1357"/>
                    <a:pt x="333" y="1262"/>
                  </a:cubicBezTo>
                  <a:lnTo>
                    <a:pt x="333" y="167"/>
                  </a:lnTo>
                  <a:cubicBezTo>
                    <a:pt x="333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1" name="Google Shape;12671;p62"/>
            <p:cNvSpPr/>
            <p:nvPr/>
          </p:nvSpPr>
          <p:spPr>
            <a:xfrm>
              <a:off x="1582158" y="4121884"/>
              <a:ext cx="10623" cy="17429"/>
            </a:xfrm>
            <a:custGeom>
              <a:avLst/>
              <a:gdLst/>
              <a:ahLst/>
              <a:cxnLst/>
              <a:rect l="l" t="t" r="r" b="b"/>
              <a:pathLst>
                <a:path w="334" h="548" extrusionOk="0">
                  <a:moveTo>
                    <a:pt x="167" y="0"/>
                  </a:moveTo>
                  <a:cubicBezTo>
                    <a:pt x="83" y="0"/>
                    <a:pt x="0" y="71"/>
                    <a:pt x="0" y="155"/>
                  </a:cubicBezTo>
                  <a:lnTo>
                    <a:pt x="0" y="381"/>
                  </a:lnTo>
                  <a:cubicBezTo>
                    <a:pt x="0" y="476"/>
                    <a:pt x="83" y="548"/>
                    <a:pt x="167" y="548"/>
                  </a:cubicBezTo>
                  <a:cubicBezTo>
                    <a:pt x="262" y="548"/>
                    <a:pt x="333" y="476"/>
                    <a:pt x="333" y="381"/>
                  </a:cubicBezTo>
                  <a:lnTo>
                    <a:pt x="333" y="155"/>
                  </a:lnTo>
                  <a:cubicBezTo>
                    <a:pt x="333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2" name="Google Shape;12672;p62"/>
            <p:cNvSpPr/>
            <p:nvPr/>
          </p:nvSpPr>
          <p:spPr>
            <a:xfrm>
              <a:off x="1497684" y="4121884"/>
              <a:ext cx="10273" cy="17429"/>
            </a:xfrm>
            <a:custGeom>
              <a:avLst/>
              <a:gdLst/>
              <a:ahLst/>
              <a:cxnLst/>
              <a:rect l="l" t="t" r="r" b="b"/>
              <a:pathLst>
                <a:path w="323" h="548" extrusionOk="0">
                  <a:moveTo>
                    <a:pt x="168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81"/>
                  </a:lnTo>
                  <a:cubicBezTo>
                    <a:pt x="1" y="476"/>
                    <a:pt x="72" y="548"/>
                    <a:pt x="168" y="548"/>
                  </a:cubicBezTo>
                  <a:cubicBezTo>
                    <a:pt x="251" y="548"/>
                    <a:pt x="322" y="476"/>
                    <a:pt x="322" y="381"/>
                  </a:cubicBezTo>
                  <a:lnTo>
                    <a:pt x="322" y="155"/>
                  </a:lnTo>
                  <a:cubicBezTo>
                    <a:pt x="322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3" name="Google Shape;12673;p62"/>
            <p:cNvSpPr/>
            <p:nvPr/>
          </p:nvSpPr>
          <p:spPr>
            <a:xfrm>
              <a:off x="1360604" y="4091574"/>
              <a:ext cx="43986" cy="43573"/>
            </a:xfrm>
            <a:custGeom>
              <a:avLst/>
              <a:gdLst/>
              <a:ahLst/>
              <a:cxnLst/>
              <a:rect l="l" t="t" r="r" b="b"/>
              <a:pathLst>
                <a:path w="1383" h="1370" extrusionOk="0">
                  <a:moveTo>
                    <a:pt x="691" y="322"/>
                  </a:moveTo>
                  <a:cubicBezTo>
                    <a:pt x="882" y="322"/>
                    <a:pt x="1049" y="489"/>
                    <a:pt x="1049" y="679"/>
                  </a:cubicBezTo>
                  <a:cubicBezTo>
                    <a:pt x="1049" y="870"/>
                    <a:pt x="882" y="1036"/>
                    <a:pt x="691" y="1036"/>
                  </a:cubicBezTo>
                  <a:cubicBezTo>
                    <a:pt x="501" y="1036"/>
                    <a:pt x="334" y="870"/>
                    <a:pt x="334" y="679"/>
                  </a:cubicBezTo>
                  <a:cubicBezTo>
                    <a:pt x="334" y="489"/>
                    <a:pt x="501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22" y="1"/>
                    <a:pt x="1" y="310"/>
                    <a:pt x="1" y="679"/>
                  </a:cubicBezTo>
                  <a:cubicBezTo>
                    <a:pt x="1" y="1048"/>
                    <a:pt x="322" y="1370"/>
                    <a:pt x="691" y="1370"/>
                  </a:cubicBezTo>
                  <a:cubicBezTo>
                    <a:pt x="1061" y="1370"/>
                    <a:pt x="1382" y="1048"/>
                    <a:pt x="1382" y="679"/>
                  </a:cubicBezTo>
                  <a:cubicBezTo>
                    <a:pt x="1382" y="310"/>
                    <a:pt x="1061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4" name="Google Shape;12674;p62"/>
            <p:cNvSpPr/>
            <p:nvPr/>
          </p:nvSpPr>
          <p:spPr>
            <a:xfrm>
              <a:off x="1344320" y="3832172"/>
              <a:ext cx="76523" cy="46626"/>
            </a:xfrm>
            <a:custGeom>
              <a:avLst/>
              <a:gdLst/>
              <a:ahLst/>
              <a:cxnLst/>
              <a:rect l="l" t="t" r="r" b="b"/>
              <a:pathLst>
                <a:path w="2406" h="1466" extrusionOk="0">
                  <a:moveTo>
                    <a:pt x="418" y="1"/>
                  </a:moveTo>
                  <a:cubicBezTo>
                    <a:pt x="180" y="1"/>
                    <a:pt x="1" y="191"/>
                    <a:pt x="1" y="417"/>
                  </a:cubicBezTo>
                  <a:lnTo>
                    <a:pt x="1" y="1049"/>
                  </a:lnTo>
                  <a:cubicBezTo>
                    <a:pt x="1" y="1287"/>
                    <a:pt x="191" y="1465"/>
                    <a:pt x="418" y="1465"/>
                  </a:cubicBezTo>
                  <a:lnTo>
                    <a:pt x="1989" y="1465"/>
                  </a:lnTo>
                  <a:cubicBezTo>
                    <a:pt x="2227" y="1465"/>
                    <a:pt x="2406" y="1275"/>
                    <a:pt x="2406" y="1049"/>
                  </a:cubicBezTo>
                  <a:lnTo>
                    <a:pt x="2406" y="513"/>
                  </a:lnTo>
                  <a:cubicBezTo>
                    <a:pt x="2406" y="429"/>
                    <a:pt x="2335" y="358"/>
                    <a:pt x="2251" y="358"/>
                  </a:cubicBezTo>
                  <a:cubicBezTo>
                    <a:pt x="2156" y="358"/>
                    <a:pt x="2085" y="429"/>
                    <a:pt x="2085" y="513"/>
                  </a:cubicBezTo>
                  <a:lnTo>
                    <a:pt x="2085" y="1049"/>
                  </a:lnTo>
                  <a:cubicBezTo>
                    <a:pt x="2085" y="1096"/>
                    <a:pt x="2037" y="1144"/>
                    <a:pt x="1989" y="1144"/>
                  </a:cubicBezTo>
                  <a:lnTo>
                    <a:pt x="418" y="1144"/>
                  </a:lnTo>
                  <a:cubicBezTo>
                    <a:pt x="370" y="1144"/>
                    <a:pt x="322" y="1096"/>
                    <a:pt x="322" y="1049"/>
                  </a:cubicBezTo>
                  <a:lnTo>
                    <a:pt x="322" y="417"/>
                  </a:lnTo>
                  <a:cubicBezTo>
                    <a:pt x="322" y="370"/>
                    <a:pt x="370" y="322"/>
                    <a:pt x="418" y="322"/>
                  </a:cubicBezTo>
                  <a:lnTo>
                    <a:pt x="1823" y="322"/>
                  </a:lnTo>
                  <a:cubicBezTo>
                    <a:pt x="1918" y="322"/>
                    <a:pt x="1989" y="251"/>
                    <a:pt x="1989" y="156"/>
                  </a:cubicBezTo>
                  <a:cubicBezTo>
                    <a:pt x="1989" y="72"/>
                    <a:pt x="1918" y="1"/>
                    <a:pt x="1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5" name="Google Shape;12675;p62"/>
            <p:cNvSpPr/>
            <p:nvPr/>
          </p:nvSpPr>
          <p:spPr>
            <a:xfrm>
              <a:off x="1401887" y="3891648"/>
              <a:ext cx="17843" cy="10623"/>
            </a:xfrm>
            <a:custGeom>
              <a:avLst/>
              <a:gdLst/>
              <a:ahLst/>
              <a:cxnLst/>
              <a:rect l="l" t="t" r="r" b="b"/>
              <a:pathLst>
                <a:path w="561" h="334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7" y="333"/>
                  </a:cubicBezTo>
                  <a:lnTo>
                    <a:pt x="394" y="333"/>
                  </a:lnTo>
                  <a:cubicBezTo>
                    <a:pt x="477" y="333"/>
                    <a:pt x="560" y="250"/>
                    <a:pt x="560" y="167"/>
                  </a:cubicBezTo>
                  <a:cubicBezTo>
                    <a:pt x="560" y="71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6" name="Google Shape;12676;p62"/>
            <p:cNvSpPr/>
            <p:nvPr/>
          </p:nvSpPr>
          <p:spPr>
            <a:xfrm>
              <a:off x="1345465" y="3891648"/>
              <a:ext cx="45863" cy="10623"/>
            </a:xfrm>
            <a:custGeom>
              <a:avLst/>
              <a:gdLst/>
              <a:ahLst/>
              <a:cxnLst/>
              <a:rect l="l" t="t" r="r" b="b"/>
              <a:pathLst>
                <a:path w="1442" h="334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50"/>
                    <a:pt x="84" y="333"/>
                    <a:pt x="167" y="333"/>
                  </a:cubicBezTo>
                  <a:lnTo>
                    <a:pt x="1275" y="333"/>
                  </a:lnTo>
                  <a:cubicBezTo>
                    <a:pt x="1358" y="333"/>
                    <a:pt x="1441" y="250"/>
                    <a:pt x="1441" y="167"/>
                  </a:cubicBezTo>
                  <a:cubicBezTo>
                    <a:pt x="1441" y="71"/>
                    <a:pt x="1358" y="0"/>
                    <a:pt x="1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7" name="Google Shape;12677;p62"/>
            <p:cNvSpPr/>
            <p:nvPr/>
          </p:nvSpPr>
          <p:spPr>
            <a:xfrm>
              <a:off x="1343588" y="3917378"/>
              <a:ext cx="77254" cy="46626"/>
            </a:xfrm>
            <a:custGeom>
              <a:avLst/>
              <a:gdLst/>
              <a:ahLst/>
              <a:cxnLst/>
              <a:rect l="l" t="t" r="r" b="b"/>
              <a:pathLst>
                <a:path w="2429" h="1466" extrusionOk="0">
                  <a:moveTo>
                    <a:pt x="417" y="1"/>
                  </a:moveTo>
                  <a:cubicBezTo>
                    <a:pt x="179" y="1"/>
                    <a:pt x="0" y="191"/>
                    <a:pt x="0" y="417"/>
                  </a:cubicBezTo>
                  <a:lnTo>
                    <a:pt x="0" y="1048"/>
                  </a:lnTo>
                  <a:cubicBezTo>
                    <a:pt x="0" y="1287"/>
                    <a:pt x="203" y="1465"/>
                    <a:pt x="417" y="1465"/>
                  </a:cubicBezTo>
                  <a:lnTo>
                    <a:pt x="2000" y="1465"/>
                  </a:lnTo>
                  <a:cubicBezTo>
                    <a:pt x="2239" y="1465"/>
                    <a:pt x="2417" y="1275"/>
                    <a:pt x="2417" y="1048"/>
                  </a:cubicBezTo>
                  <a:lnTo>
                    <a:pt x="2417" y="513"/>
                  </a:lnTo>
                  <a:cubicBezTo>
                    <a:pt x="2429" y="417"/>
                    <a:pt x="2358" y="334"/>
                    <a:pt x="2274" y="334"/>
                  </a:cubicBezTo>
                  <a:cubicBezTo>
                    <a:pt x="2250" y="334"/>
                    <a:pt x="2239" y="334"/>
                    <a:pt x="2215" y="358"/>
                  </a:cubicBezTo>
                  <a:cubicBezTo>
                    <a:pt x="2155" y="370"/>
                    <a:pt x="2096" y="441"/>
                    <a:pt x="2096" y="513"/>
                  </a:cubicBezTo>
                  <a:lnTo>
                    <a:pt x="2096" y="1048"/>
                  </a:lnTo>
                  <a:cubicBezTo>
                    <a:pt x="2096" y="1096"/>
                    <a:pt x="2048" y="1144"/>
                    <a:pt x="2000" y="1144"/>
                  </a:cubicBezTo>
                  <a:lnTo>
                    <a:pt x="417" y="1144"/>
                  </a:lnTo>
                  <a:cubicBezTo>
                    <a:pt x="381" y="1144"/>
                    <a:pt x="334" y="1096"/>
                    <a:pt x="334" y="1048"/>
                  </a:cubicBezTo>
                  <a:lnTo>
                    <a:pt x="334" y="417"/>
                  </a:lnTo>
                  <a:cubicBezTo>
                    <a:pt x="334" y="370"/>
                    <a:pt x="381" y="322"/>
                    <a:pt x="417" y="322"/>
                  </a:cubicBezTo>
                  <a:lnTo>
                    <a:pt x="1834" y="322"/>
                  </a:lnTo>
                  <a:cubicBezTo>
                    <a:pt x="1929" y="322"/>
                    <a:pt x="2000" y="251"/>
                    <a:pt x="2000" y="155"/>
                  </a:cubicBezTo>
                  <a:cubicBezTo>
                    <a:pt x="2000" y="72"/>
                    <a:pt x="1929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8" name="Google Shape;12678;p62"/>
            <p:cNvSpPr/>
            <p:nvPr/>
          </p:nvSpPr>
          <p:spPr>
            <a:xfrm>
              <a:off x="1401887" y="3976471"/>
              <a:ext cx="17843" cy="10241"/>
            </a:xfrm>
            <a:custGeom>
              <a:avLst/>
              <a:gdLst/>
              <a:ahLst/>
              <a:cxnLst/>
              <a:rect l="l" t="t" r="r" b="b"/>
              <a:pathLst>
                <a:path w="561" h="322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394" y="322"/>
                  </a:lnTo>
                  <a:cubicBezTo>
                    <a:pt x="477" y="322"/>
                    <a:pt x="560" y="250"/>
                    <a:pt x="560" y="167"/>
                  </a:cubicBezTo>
                  <a:cubicBezTo>
                    <a:pt x="560" y="71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9" name="Google Shape;12679;p62"/>
            <p:cNvSpPr/>
            <p:nvPr/>
          </p:nvSpPr>
          <p:spPr>
            <a:xfrm>
              <a:off x="1345465" y="3976471"/>
              <a:ext cx="45863" cy="10241"/>
            </a:xfrm>
            <a:custGeom>
              <a:avLst/>
              <a:gdLst/>
              <a:ahLst/>
              <a:cxnLst/>
              <a:rect l="l" t="t" r="r" b="b"/>
              <a:pathLst>
                <a:path w="1442" h="322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1275" y="322"/>
                  </a:lnTo>
                  <a:cubicBezTo>
                    <a:pt x="1358" y="322"/>
                    <a:pt x="1441" y="250"/>
                    <a:pt x="1441" y="167"/>
                  </a:cubicBezTo>
                  <a:cubicBezTo>
                    <a:pt x="1441" y="71"/>
                    <a:pt x="1382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0" name="Google Shape;12680;p62"/>
            <p:cNvSpPr/>
            <p:nvPr/>
          </p:nvSpPr>
          <p:spPr>
            <a:xfrm>
              <a:off x="1343588" y="4001057"/>
              <a:ext cx="77636" cy="46626"/>
            </a:xfrm>
            <a:custGeom>
              <a:avLst/>
              <a:gdLst/>
              <a:ahLst/>
              <a:cxnLst/>
              <a:rect l="l" t="t" r="r" b="b"/>
              <a:pathLst>
                <a:path w="2441" h="1466" extrusionOk="0">
                  <a:moveTo>
                    <a:pt x="417" y="1"/>
                  </a:moveTo>
                  <a:cubicBezTo>
                    <a:pt x="179" y="1"/>
                    <a:pt x="0" y="191"/>
                    <a:pt x="0" y="418"/>
                  </a:cubicBezTo>
                  <a:lnTo>
                    <a:pt x="0" y="1049"/>
                  </a:lnTo>
                  <a:cubicBezTo>
                    <a:pt x="0" y="1156"/>
                    <a:pt x="48" y="1263"/>
                    <a:pt x="107" y="1334"/>
                  </a:cubicBezTo>
                  <a:cubicBezTo>
                    <a:pt x="179" y="1430"/>
                    <a:pt x="298" y="1465"/>
                    <a:pt x="417" y="1465"/>
                  </a:cubicBezTo>
                  <a:lnTo>
                    <a:pt x="2000" y="1465"/>
                  </a:lnTo>
                  <a:cubicBezTo>
                    <a:pt x="2131" y="1465"/>
                    <a:pt x="2239" y="1406"/>
                    <a:pt x="2310" y="1323"/>
                  </a:cubicBezTo>
                  <a:cubicBezTo>
                    <a:pt x="2310" y="1323"/>
                    <a:pt x="2417" y="1203"/>
                    <a:pt x="2417" y="1049"/>
                  </a:cubicBezTo>
                  <a:cubicBezTo>
                    <a:pt x="2417" y="525"/>
                    <a:pt x="2441" y="489"/>
                    <a:pt x="2405" y="430"/>
                  </a:cubicBezTo>
                  <a:cubicBezTo>
                    <a:pt x="2370" y="381"/>
                    <a:pt x="2317" y="358"/>
                    <a:pt x="2266" y="358"/>
                  </a:cubicBezTo>
                  <a:cubicBezTo>
                    <a:pt x="2179" y="358"/>
                    <a:pt x="2096" y="421"/>
                    <a:pt x="2096" y="525"/>
                  </a:cubicBezTo>
                  <a:lnTo>
                    <a:pt x="2096" y="1061"/>
                  </a:lnTo>
                  <a:cubicBezTo>
                    <a:pt x="2096" y="1096"/>
                    <a:pt x="2048" y="1144"/>
                    <a:pt x="2000" y="1144"/>
                  </a:cubicBezTo>
                  <a:lnTo>
                    <a:pt x="417" y="1144"/>
                  </a:lnTo>
                  <a:cubicBezTo>
                    <a:pt x="381" y="1144"/>
                    <a:pt x="334" y="1096"/>
                    <a:pt x="334" y="1061"/>
                  </a:cubicBezTo>
                  <a:lnTo>
                    <a:pt x="334" y="418"/>
                  </a:lnTo>
                  <a:cubicBezTo>
                    <a:pt x="334" y="370"/>
                    <a:pt x="381" y="322"/>
                    <a:pt x="417" y="322"/>
                  </a:cubicBezTo>
                  <a:lnTo>
                    <a:pt x="1834" y="322"/>
                  </a:lnTo>
                  <a:cubicBezTo>
                    <a:pt x="1893" y="322"/>
                    <a:pt x="1965" y="287"/>
                    <a:pt x="1988" y="227"/>
                  </a:cubicBezTo>
                  <a:cubicBezTo>
                    <a:pt x="2024" y="120"/>
                    <a:pt x="1941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1" name="Google Shape;12681;p62"/>
            <p:cNvSpPr/>
            <p:nvPr/>
          </p:nvSpPr>
          <p:spPr>
            <a:xfrm>
              <a:off x="1344702" y="4060150"/>
              <a:ext cx="46626" cy="10623"/>
            </a:xfrm>
            <a:custGeom>
              <a:avLst/>
              <a:gdLst/>
              <a:ahLst/>
              <a:cxnLst/>
              <a:rect l="l" t="t" r="r" b="b"/>
              <a:pathLst>
                <a:path w="1466" h="334" extrusionOk="0">
                  <a:moveTo>
                    <a:pt x="168" y="0"/>
                  </a:moveTo>
                  <a:cubicBezTo>
                    <a:pt x="108" y="12"/>
                    <a:pt x="60" y="48"/>
                    <a:pt x="48" y="96"/>
                  </a:cubicBezTo>
                  <a:cubicBezTo>
                    <a:pt x="1" y="191"/>
                    <a:pt x="72" y="334"/>
                    <a:pt x="191" y="334"/>
                  </a:cubicBezTo>
                  <a:lnTo>
                    <a:pt x="1299" y="334"/>
                  </a:lnTo>
                  <a:cubicBezTo>
                    <a:pt x="1382" y="334"/>
                    <a:pt x="1453" y="250"/>
                    <a:pt x="1453" y="167"/>
                  </a:cubicBezTo>
                  <a:cubicBezTo>
                    <a:pt x="1465" y="72"/>
                    <a:pt x="1382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2" name="Google Shape;12682;p62"/>
            <p:cNvSpPr/>
            <p:nvPr/>
          </p:nvSpPr>
          <p:spPr>
            <a:xfrm>
              <a:off x="1401887" y="4060150"/>
              <a:ext cx="17843" cy="10623"/>
            </a:xfrm>
            <a:custGeom>
              <a:avLst/>
              <a:gdLst/>
              <a:ahLst/>
              <a:cxnLst/>
              <a:rect l="l" t="t" r="r" b="b"/>
              <a:pathLst>
                <a:path w="561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394" y="334"/>
                  </a:lnTo>
                  <a:cubicBezTo>
                    <a:pt x="477" y="334"/>
                    <a:pt x="560" y="250"/>
                    <a:pt x="560" y="167"/>
                  </a:cubicBezTo>
                  <a:cubicBezTo>
                    <a:pt x="560" y="72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3" name="Google Shape;12683;p62"/>
            <p:cNvSpPr/>
            <p:nvPr/>
          </p:nvSpPr>
          <p:spPr>
            <a:xfrm>
              <a:off x="1563584" y="3936365"/>
              <a:ext cx="67077" cy="80276"/>
            </a:xfrm>
            <a:custGeom>
              <a:avLst/>
              <a:gdLst/>
              <a:ahLst/>
              <a:cxnLst/>
              <a:rect l="l" t="t" r="r" b="b"/>
              <a:pathLst>
                <a:path w="2109" h="2524" extrusionOk="0">
                  <a:moveTo>
                    <a:pt x="986" y="0"/>
                  </a:moveTo>
                  <a:cubicBezTo>
                    <a:pt x="915" y="0"/>
                    <a:pt x="842" y="19"/>
                    <a:pt x="775" y="59"/>
                  </a:cubicBezTo>
                  <a:lnTo>
                    <a:pt x="203" y="380"/>
                  </a:lnTo>
                  <a:cubicBezTo>
                    <a:pt x="72" y="451"/>
                    <a:pt x="1" y="594"/>
                    <a:pt x="1" y="737"/>
                  </a:cubicBezTo>
                  <a:cubicBezTo>
                    <a:pt x="1" y="928"/>
                    <a:pt x="60" y="916"/>
                    <a:pt x="846" y="2321"/>
                  </a:cubicBezTo>
                  <a:cubicBezTo>
                    <a:pt x="917" y="2452"/>
                    <a:pt x="1048" y="2523"/>
                    <a:pt x="1203" y="2523"/>
                  </a:cubicBezTo>
                  <a:cubicBezTo>
                    <a:pt x="1382" y="2523"/>
                    <a:pt x="1453" y="2416"/>
                    <a:pt x="1882" y="2190"/>
                  </a:cubicBezTo>
                  <a:cubicBezTo>
                    <a:pt x="1965" y="2154"/>
                    <a:pt x="1989" y="2047"/>
                    <a:pt x="1941" y="1975"/>
                  </a:cubicBezTo>
                  <a:cubicBezTo>
                    <a:pt x="1918" y="1921"/>
                    <a:pt x="1864" y="1892"/>
                    <a:pt x="1809" y="1892"/>
                  </a:cubicBezTo>
                  <a:cubicBezTo>
                    <a:pt x="1780" y="1892"/>
                    <a:pt x="1752" y="1900"/>
                    <a:pt x="1727" y="1916"/>
                  </a:cubicBezTo>
                  <a:cubicBezTo>
                    <a:pt x="1227" y="2190"/>
                    <a:pt x="1251" y="2190"/>
                    <a:pt x="1215" y="2190"/>
                  </a:cubicBezTo>
                  <a:cubicBezTo>
                    <a:pt x="1132" y="2190"/>
                    <a:pt x="1167" y="2178"/>
                    <a:pt x="358" y="785"/>
                  </a:cubicBezTo>
                  <a:cubicBezTo>
                    <a:pt x="322" y="737"/>
                    <a:pt x="334" y="690"/>
                    <a:pt x="382" y="666"/>
                  </a:cubicBezTo>
                  <a:lnTo>
                    <a:pt x="953" y="332"/>
                  </a:lnTo>
                  <a:cubicBezTo>
                    <a:pt x="965" y="324"/>
                    <a:pt x="978" y="320"/>
                    <a:pt x="992" y="320"/>
                  </a:cubicBezTo>
                  <a:cubicBezTo>
                    <a:pt x="1019" y="320"/>
                    <a:pt x="1048" y="336"/>
                    <a:pt x="1072" y="368"/>
                  </a:cubicBezTo>
                  <a:lnTo>
                    <a:pt x="1787" y="1583"/>
                  </a:lnTo>
                  <a:cubicBezTo>
                    <a:pt x="1810" y="1637"/>
                    <a:pt x="1864" y="1666"/>
                    <a:pt x="1919" y="1666"/>
                  </a:cubicBezTo>
                  <a:cubicBezTo>
                    <a:pt x="1948" y="1666"/>
                    <a:pt x="1976" y="1658"/>
                    <a:pt x="2001" y="1642"/>
                  </a:cubicBezTo>
                  <a:cubicBezTo>
                    <a:pt x="2084" y="1606"/>
                    <a:pt x="2108" y="1499"/>
                    <a:pt x="2060" y="1428"/>
                  </a:cubicBezTo>
                  <a:lnTo>
                    <a:pt x="1346" y="201"/>
                  </a:lnTo>
                  <a:cubicBezTo>
                    <a:pt x="1267" y="74"/>
                    <a:pt x="1129" y="0"/>
                    <a:pt x="9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4" name="Google Shape;12684;p62"/>
            <p:cNvSpPr/>
            <p:nvPr/>
          </p:nvSpPr>
          <p:spPr>
            <a:xfrm>
              <a:off x="1569658" y="4013174"/>
              <a:ext cx="15553" cy="16698"/>
            </a:xfrm>
            <a:custGeom>
              <a:avLst/>
              <a:gdLst/>
              <a:ahLst/>
              <a:cxnLst/>
              <a:rect l="l" t="t" r="r" b="b"/>
              <a:pathLst>
                <a:path w="489" h="525" extrusionOk="0">
                  <a:moveTo>
                    <a:pt x="189" y="0"/>
                  </a:moveTo>
                  <a:cubicBezTo>
                    <a:pt x="161" y="0"/>
                    <a:pt x="132" y="8"/>
                    <a:pt x="107" y="25"/>
                  </a:cubicBezTo>
                  <a:cubicBezTo>
                    <a:pt x="24" y="60"/>
                    <a:pt x="0" y="168"/>
                    <a:pt x="48" y="239"/>
                  </a:cubicBezTo>
                  <a:lnTo>
                    <a:pt x="143" y="441"/>
                  </a:lnTo>
                  <a:cubicBezTo>
                    <a:pt x="179" y="501"/>
                    <a:pt x="238" y="525"/>
                    <a:pt x="298" y="525"/>
                  </a:cubicBezTo>
                  <a:cubicBezTo>
                    <a:pt x="417" y="513"/>
                    <a:pt x="488" y="382"/>
                    <a:pt x="429" y="275"/>
                  </a:cubicBezTo>
                  <a:lnTo>
                    <a:pt x="322" y="84"/>
                  </a:lnTo>
                  <a:cubicBezTo>
                    <a:pt x="298" y="30"/>
                    <a:pt x="244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5" name="Google Shape;12685;p62"/>
            <p:cNvSpPr/>
            <p:nvPr/>
          </p:nvSpPr>
          <p:spPr>
            <a:xfrm>
              <a:off x="1541256" y="3964417"/>
              <a:ext cx="29165" cy="40615"/>
            </a:xfrm>
            <a:custGeom>
              <a:avLst/>
              <a:gdLst/>
              <a:ahLst/>
              <a:cxnLst/>
              <a:rect l="l" t="t" r="r" b="b"/>
              <a:pathLst>
                <a:path w="917" h="1277" extrusionOk="0">
                  <a:moveTo>
                    <a:pt x="182" y="0"/>
                  </a:moveTo>
                  <a:cubicBezTo>
                    <a:pt x="156" y="0"/>
                    <a:pt x="130" y="7"/>
                    <a:pt x="107" y="22"/>
                  </a:cubicBezTo>
                  <a:cubicBezTo>
                    <a:pt x="24" y="69"/>
                    <a:pt x="0" y="165"/>
                    <a:pt x="48" y="248"/>
                  </a:cubicBezTo>
                  <a:lnTo>
                    <a:pt x="596" y="1201"/>
                  </a:lnTo>
                  <a:cubicBezTo>
                    <a:pt x="628" y="1250"/>
                    <a:pt x="684" y="1277"/>
                    <a:pt x="743" y="1277"/>
                  </a:cubicBezTo>
                  <a:cubicBezTo>
                    <a:pt x="769" y="1277"/>
                    <a:pt x="796" y="1271"/>
                    <a:pt x="822" y="1260"/>
                  </a:cubicBezTo>
                  <a:cubicBezTo>
                    <a:pt x="893" y="1212"/>
                    <a:pt x="917" y="1105"/>
                    <a:pt x="881" y="1034"/>
                  </a:cubicBezTo>
                  <a:lnTo>
                    <a:pt x="322" y="81"/>
                  </a:lnTo>
                  <a:cubicBezTo>
                    <a:pt x="297" y="32"/>
                    <a:pt x="239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6" name="Google Shape;12686;p62"/>
            <p:cNvSpPr/>
            <p:nvPr/>
          </p:nvSpPr>
          <p:spPr>
            <a:xfrm>
              <a:off x="1496189" y="4055284"/>
              <a:ext cx="15171" cy="16634"/>
            </a:xfrm>
            <a:custGeom>
              <a:avLst/>
              <a:gdLst/>
              <a:ahLst/>
              <a:cxnLst/>
              <a:rect l="l" t="t" r="r" b="b"/>
              <a:pathLst>
                <a:path w="477" h="523" extrusionOk="0">
                  <a:moveTo>
                    <a:pt x="182" y="1"/>
                  </a:moveTo>
                  <a:cubicBezTo>
                    <a:pt x="156" y="1"/>
                    <a:pt x="130" y="7"/>
                    <a:pt x="108" y="22"/>
                  </a:cubicBezTo>
                  <a:cubicBezTo>
                    <a:pt x="36" y="70"/>
                    <a:pt x="0" y="165"/>
                    <a:pt x="48" y="249"/>
                  </a:cubicBezTo>
                  <a:cubicBezTo>
                    <a:pt x="48" y="249"/>
                    <a:pt x="155" y="427"/>
                    <a:pt x="155" y="439"/>
                  </a:cubicBezTo>
                  <a:cubicBezTo>
                    <a:pt x="194" y="494"/>
                    <a:pt x="259" y="523"/>
                    <a:pt x="309" y="523"/>
                  </a:cubicBezTo>
                  <a:cubicBezTo>
                    <a:pt x="335" y="523"/>
                    <a:pt x="357" y="515"/>
                    <a:pt x="369" y="499"/>
                  </a:cubicBezTo>
                  <a:cubicBezTo>
                    <a:pt x="453" y="451"/>
                    <a:pt x="477" y="344"/>
                    <a:pt x="429" y="272"/>
                  </a:cubicBezTo>
                  <a:lnTo>
                    <a:pt x="334" y="82"/>
                  </a:lnTo>
                  <a:cubicBezTo>
                    <a:pt x="301" y="33"/>
                    <a:pt x="240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7" name="Google Shape;12687;p62"/>
            <p:cNvSpPr/>
            <p:nvPr/>
          </p:nvSpPr>
          <p:spPr>
            <a:xfrm>
              <a:off x="1468169" y="3851859"/>
              <a:ext cx="78781" cy="69717"/>
            </a:xfrm>
            <a:custGeom>
              <a:avLst/>
              <a:gdLst/>
              <a:ahLst/>
              <a:cxnLst/>
              <a:rect l="l" t="t" r="r" b="b"/>
              <a:pathLst>
                <a:path w="2477" h="2192" extrusionOk="0">
                  <a:moveTo>
                    <a:pt x="738" y="1"/>
                  </a:moveTo>
                  <a:cubicBezTo>
                    <a:pt x="584" y="1"/>
                    <a:pt x="453" y="72"/>
                    <a:pt x="381" y="215"/>
                  </a:cubicBezTo>
                  <a:cubicBezTo>
                    <a:pt x="96" y="727"/>
                    <a:pt x="0" y="787"/>
                    <a:pt x="0" y="989"/>
                  </a:cubicBezTo>
                  <a:cubicBezTo>
                    <a:pt x="0" y="1132"/>
                    <a:pt x="84" y="1263"/>
                    <a:pt x="215" y="1346"/>
                  </a:cubicBezTo>
                  <a:cubicBezTo>
                    <a:pt x="1608" y="2132"/>
                    <a:pt x="1596" y="2192"/>
                    <a:pt x="1786" y="2192"/>
                  </a:cubicBezTo>
                  <a:cubicBezTo>
                    <a:pt x="1941" y="2192"/>
                    <a:pt x="2072" y="2120"/>
                    <a:pt x="2143" y="1977"/>
                  </a:cubicBezTo>
                  <a:lnTo>
                    <a:pt x="2417" y="1525"/>
                  </a:lnTo>
                  <a:cubicBezTo>
                    <a:pt x="2477" y="1418"/>
                    <a:pt x="2441" y="1311"/>
                    <a:pt x="2358" y="1263"/>
                  </a:cubicBezTo>
                  <a:cubicBezTo>
                    <a:pt x="2336" y="1252"/>
                    <a:pt x="2310" y="1247"/>
                    <a:pt x="2284" y="1247"/>
                  </a:cubicBezTo>
                  <a:cubicBezTo>
                    <a:pt x="2226" y="1247"/>
                    <a:pt x="2164" y="1273"/>
                    <a:pt x="2132" y="1322"/>
                  </a:cubicBezTo>
                  <a:lnTo>
                    <a:pt x="1870" y="1787"/>
                  </a:lnTo>
                  <a:cubicBezTo>
                    <a:pt x="1846" y="1819"/>
                    <a:pt x="1817" y="1834"/>
                    <a:pt x="1789" y="1834"/>
                  </a:cubicBezTo>
                  <a:cubicBezTo>
                    <a:pt x="1776" y="1834"/>
                    <a:pt x="1762" y="1830"/>
                    <a:pt x="1751" y="1823"/>
                  </a:cubicBezTo>
                  <a:cubicBezTo>
                    <a:pt x="334" y="989"/>
                    <a:pt x="334" y="1049"/>
                    <a:pt x="334" y="953"/>
                  </a:cubicBezTo>
                  <a:cubicBezTo>
                    <a:pt x="334" y="906"/>
                    <a:pt x="334" y="941"/>
                    <a:pt x="655" y="358"/>
                  </a:cubicBezTo>
                  <a:cubicBezTo>
                    <a:pt x="677" y="329"/>
                    <a:pt x="703" y="314"/>
                    <a:pt x="728" y="314"/>
                  </a:cubicBezTo>
                  <a:cubicBezTo>
                    <a:pt x="744" y="314"/>
                    <a:pt x="760" y="320"/>
                    <a:pt x="774" y="334"/>
                  </a:cubicBezTo>
                  <a:lnTo>
                    <a:pt x="2001" y="1049"/>
                  </a:lnTo>
                  <a:cubicBezTo>
                    <a:pt x="2023" y="1060"/>
                    <a:pt x="2048" y="1065"/>
                    <a:pt x="2074" y="1065"/>
                  </a:cubicBezTo>
                  <a:cubicBezTo>
                    <a:pt x="2133" y="1065"/>
                    <a:pt x="2194" y="1038"/>
                    <a:pt x="2227" y="989"/>
                  </a:cubicBezTo>
                  <a:cubicBezTo>
                    <a:pt x="2262" y="906"/>
                    <a:pt x="2239" y="811"/>
                    <a:pt x="2167" y="763"/>
                  </a:cubicBezTo>
                  <a:cubicBezTo>
                    <a:pt x="929" y="60"/>
                    <a:pt x="929" y="1"/>
                    <a:pt x="7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8" name="Google Shape;12688;p62"/>
            <p:cNvSpPr/>
            <p:nvPr/>
          </p:nvSpPr>
          <p:spPr>
            <a:xfrm>
              <a:off x="1503377" y="3929368"/>
              <a:ext cx="17843" cy="13740"/>
            </a:xfrm>
            <a:custGeom>
              <a:avLst/>
              <a:gdLst/>
              <a:ahLst/>
              <a:cxnLst/>
              <a:rect l="l" t="t" r="r" b="b"/>
              <a:pathLst>
                <a:path w="561" h="432" extrusionOk="0">
                  <a:moveTo>
                    <a:pt x="189" y="0"/>
                  </a:moveTo>
                  <a:cubicBezTo>
                    <a:pt x="132" y="0"/>
                    <a:pt x="73" y="27"/>
                    <a:pt x="48" y="76"/>
                  </a:cubicBezTo>
                  <a:cubicBezTo>
                    <a:pt x="1" y="159"/>
                    <a:pt x="24" y="255"/>
                    <a:pt x="96" y="302"/>
                  </a:cubicBezTo>
                  <a:lnTo>
                    <a:pt x="298" y="409"/>
                  </a:lnTo>
                  <a:cubicBezTo>
                    <a:pt x="321" y="424"/>
                    <a:pt x="347" y="431"/>
                    <a:pt x="373" y="431"/>
                  </a:cubicBezTo>
                  <a:cubicBezTo>
                    <a:pt x="431" y="431"/>
                    <a:pt x="492" y="399"/>
                    <a:pt x="524" y="350"/>
                  </a:cubicBezTo>
                  <a:cubicBezTo>
                    <a:pt x="560" y="255"/>
                    <a:pt x="536" y="171"/>
                    <a:pt x="465" y="124"/>
                  </a:cubicBezTo>
                  <a:lnTo>
                    <a:pt x="263" y="17"/>
                  </a:lnTo>
                  <a:cubicBezTo>
                    <a:pt x="240" y="6"/>
                    <a:pt x="215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9" name="Google Shape;12689;p62"/>
            <p:cNvSpPr/>
            <p:nvPr/>
          </p:nvSpPr>
          <p:spPr>
            <a:xfrm>
              <a:off x="1454524" y="3900966"/>
              <a:ext cx="42078" cy="27798"/>
            </a:xfrm>
            <a:custGeom>
              <a:avLst/>
              <a:gdLst/>
              <a:ahLst/>
              <a:cxnLst/>
              <a:rect l="l" t="t" r="r" b="b"/>
              <a:pathLst>
                <a:path w="1323" h="874" extrusionOk="0">
                  <a:moveTo>
                    <a:pt x="195" y="0"/>
                  </a:moveTo>
                  <a:cubicBezTo>
                    <a:pt x="137" y="0"/>
                    <a:pt x="81" y="27"/>
                    <a:pt x="48" y="76"/>
                  </a:cubicBezTo>
                  <a:cubicBezTo>
                    <a:pt x="1" y="159"/>
                    <a:pt x="36" y="255"/>
                    <a:pt x="108" y="302"/>
                  </a:cubicBezTo>
                  <a:lnTo>
                    <a:pt x="1060" y="850"/>
                  </a:lnTo>
                  <a:cubicBezTo>
                    <a:pt x="1084" y="874"/>
                    <a:pt x="1120" y="874"/>
                    <a:pt x="1144" y="874"/>
                  </a:cubicBezTo>
                  <a:cubicBezTo>
                    <a:pt x="1203" y="874"/>
                    <a:pt x="1263" y="838"/>
                    <a:pt x="1298" y="779"/>
                  </a:cubicBezTo>
                  <a:cubicBezTo>
                    <a:pt x="1322" y="719"/>
                    <a:pt x="1310" y="612"/>
                    <a:pt x="1227" y="576"/>
                  </a:cubicBezTo>
                  <a:lnTo>
                    <a:pt x="275" y="17"/>
                  </a:lnTo>
                  <a:cubicBezTo>
                    <a:pt x="249" y="6"/>
                    <a:pt x="222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0" name="Google Shape;12690;p62"/>
            <p:cNvSpPr/>
            <p:nvPr/>
          </p:nvSpPr>
          <p:spPr>
            <a:xfrm>
              <a:off x="1460981" y="4002265"/>
              <a:ext cx="19083" cy="13740"/>
            </a:xfrm>
            <a:custGeom>
              <a:avLst/>
              <a:gdLst/>
              <a:ahLst/>
              <a:cxnLst/>
              <a:rect l="l" t="t" r="r" b="b"/>
              <a:pathLst>
                <a:path w="600" h="432" extrusionOk="0">
                  <a:moveTo>
                    <a:pt x="199" y="1"/>
                  </a:moveTo>
                  <a:cubicBezTo>
                    <a:pt x="141" y="1"/>
                    <a:pt x="80" y="33"/>
                    <a:pt x="48" y="82"/>
                  </a:cubicBezTo>
                  <a:cubicBezTo>
                    <a:pt x="0" y="153"/>
                    <a:pt x="36" y="261"/>
                    <a:pt x="107" y="308"/>
                  </a:cubicBezTo>
                  <a:cubicBezTo>
                    <a:pt x="107" y="308"/>
                    <a:pt x="286" y="403"/>
                    <a:pt x="298" y="403"/>
                  </a:cubicBezTo>
                  <a:cubicBezTo>
                    <a:pt x="328" y="423"/>
                    <a:pt x="358" y="432"/>
                    <a:pt x="386" y="432"/>
                  </a:cubicBezTo>
                  <a:cubicBezTo>
                    <a:pt x="512" y="432"/>
                    <a:pt x="600" y="263"/>
                    <a:pt x="512" y="165"/>
                  </a:cubicBezTo>
                  <a:cubicBezTo>
                    <a:pt x="488" y="130"/>
                    <a:pt x="453" y="130"/>
                    <a:pt x="274" y="22"/>
                  </a:cubicBezTo>
                  <a:cubicBezTo>
                    <a:pt x="251" y="8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91" name="Google Shape;12691;p62"/>
          <p:cNvSpPr/>
          <p:nvPr/>
        </p:nvSpPr>
        <p:spPr>
          <a:xfrm>
            <a:off x="2787472" y="3804915"/>
            <a:ext cx="89022" cy="360064"/>
          </a:xfrm>
          <a:custGeom>
            <a:avLst/>
            <a:gdLst/>
            <a:ahLst/>
            <a:cxnLst/>
            <a:rect l="l" t="t" r="r" b="b"/>
            <a:pathLst>
              <a:path w="2799" h="11321" extrusionOk="0">
                <a:moveTo>
                  <a:pt x="906" y="1763"/>
                </a:moveTo>
                <a:lnTo>
                  <a:pt x="1858" y="2358"/>
                </a:lnTo>
                <a:lnTo>
                  <a:pt x="1858" y="3310"/>
                </a:lnTo>
                <a:lnTo>
                  <a:pt x="906" y="2715"/>
                </a:lnTo>
                <a:lnTo>
                  <a:pt x="906" y="1763"/>
                </a:lnTo>
                <a:close/>
                <a:moveTo>
                  <a:pt x="906" y="3096"/>
                </a:moveTo>
                <a:lnTo>
                  <a:pt x="1858" y="3691"/>
                </a:lnTo>
                <a:lnTo>
                  <a:pt x="1858" y="4644"/>
                </a:lnTo>
                <a:cubicBezTo>
                  <a:pt x="1144" y="4203"/>
                  <a:pt x="965" y="4084"/>
                  <a:pt x="929" y="4072"/>
                </a:cubicBezTo>
                <a:cubicBezTo>
                  <a:pt x="906" y="3965"/>
                  <a:pt x="906" y="3453"/>
                  <a:pt x="906" y="3096"/>
                </a:cubicBezTo>
                <a:close/>
                <a:moveTo>
                  <a:pt x="906" y="4453"/>
                </a:moveTo>
                <a:lnTo>
                  <a:pt x="1858" y="5049"/>
                </a:lnTo>
                <a:lnTo>
                  <a:pt x="1858" y="6001"/>
                </a:lnTo>
                <a:lnTo>
                  <a:pt x="906" y="5394"/>
                </a:lnTo>
                <a:lnTo>
                  <a:pt x="906" y="4453"/>
                </a:lnTo>
                <a:close/>
                <a:moveTo>
                  <a:pt x="906" y="5799"/>
                </a:moveTo>
                <a:lnTo>
                  <a:pt x="1858" y="6394"/>
                </a:lnTo>
                <a:lnTo>
                  <a:pt x="1858" y="6716"/>
                </a:lnTo>
                <a:lnTo>
                  <a:pt x="906" y="6716"/>
                </a:lnTo>
                <a:lnTo>
                  <a:pt x="906" y="5799"/>
                </a:lnTo>
                <a:close/>
                <a:moveTo>
                  <a:pt x="2441" y="4370"/>
                </a:moveTo>
                <a:lnTo>
                  <a:pt x="2441" y="6811"/>
                </a:lnTo>
                <a:cubicBezTo>
                  <a:pt x="2370" y="6763"/>
                  <a:pt x="2299" y="6728"/>
                  <a:pt x="2203" y="6716"/>
                </a:cubicBezTo>
                <a:lnTo>
                  <a:pt x="2203" y="4370"/>
                </a:lnTo>
                <a:close/>
                <a:moveTo>
                  <a:pt x="679" y="7073"/>
                </a:moveTo>
                <a:cubicBezTo>
                  <a:pt x="2227" y="7073"/>
                  <a:pt x="2144" y="7073"/>
                  <a:pt x="2203" y="7085"/>
                </a:cubicBezTo>
                <a:cubicBezTo>
                  <a:pt x="2561" y="7192"/>
                  <a:pt x="2489" y="7740"/>
                  <a:pt x="2096" y="7740"/>
                </a:cubicBezTo>
                <a:cubicBezTo>
                  <a:pt x="548" y="7740"/>
                  <a:pt x="644" y="7740"/>
                  <a:pt x="584" y="7728"/>
                </a:cubicBezTo>
                <a:cubicBezTo>
                  <a:pt x="465" y="7680"/>
                  <a:pt x="358" y="7585"/>
                  <a:pt x="346" y="7442"/>
                </a:cubicBezTo>
                <a:lnTo>
                  <a:pt x="346" y="7370"/>
                </a:lnTo>
                <a:cubicBezTo>
                  <a:pt x="358" y="7204"/>
                  <a:pt x="513" y="7073"/>
                  <a:pt x="679" y="7073"/>
                </a:cubicBezTo>
                <a:close/>
                <a:moveTo>
                  <a:pt x="334" y="8002"/>
                </a:moveTo>
                <a:cubicBezTo>
                  <a:pt x="405" y="8037"/>
                  <a:pt x="477" y="8073"/>
                  <a:pt x="572" y="8085"/>
                </a:cubicBezTo>
                <a:lnTo>
                  <a:pt x="572" y="8752"/>
                </a:lnTo>
                <a:cubicBezTo>
                  <a:pt x="572" y="8847"/>
                  <a:pt x="644" y="8918"/>
                  <a:pt x="727" y="8918"/>
                </a:cubicBezTo>
                <a:lnTo>
                  <a:pt x="2013" y="8918"/>
                </a:lnTo>
                <a:cubicBezTo>
                  <a:pt x="2096" y="8918"/>
                  <a:pt x="2180" y="8847"/>
                  <a:pt x="2180" y="8752"/>
                </a:cubicBezTo>
                <a:lnTo>
                  <a:pt x="2180" y="8513"/>
                </a:lnTo>
                <a:cubicBezTo>
                  <a:pt x="2180" y="8430"/>
                  <a:pt x="2096" y="8359"/>
                  <a:pt x="2013" y="8359"/>
                </a:cubicBezTo>
                <a:cubicBezTo>
                  <a:pt x="1918" y="8359"/>
                  <a:pt x="1846" y="8430"/>
                  <a:pt x="1846" y="8513"/>
                </a:cubicBezTo>
                <a:lnTo>
                  <a:pt x="1846" y="8597"/>
                </a:lnTo>
                <a:lnTo>
                  <a:pt x="894" y="8597"/>
                </a:lnTo>
                <a:lnTo>
                  <a:pt x="894" y="8097"/>
                </a:lnTo>
                <a:lnTo>
                  <a:pt x="2084" y="8097"/>
                </a:lnTo>
                <a:cubicBezTo>
                  <a:pt x="2203" y="8097"/>
                  <a:pt x="2322" y="8073"/>
                  <a:pt x="2430" y="8013"/>
                </a:cubicBezTo>
                <a:lnTo>
                  <a:pt x="2430" y="9204"/>
                </a:lnTo>
                <a:lnTo>
                  <a:pt x="2251" y="9204"/>
                </a:lnTo>
                <a:cubicBezTo>
                  <a:pt x="2156" y="9204"/>
                  <a:pt x="2084" y="9275"/>
                  <a:pt x="2084" y="9371"/>
                </a:cubicBezTo>
                <a:cubicBezTo>
                  <a:pt x="2084" y="9454"/>
                  <a:pt x="2156" y="9526"/>
                  <a:pt x="2251" y="9526"/>
                </a:cubicBezTo>
                <a:lnTo>
                  <a:pt x="2430" y="9526"/>
                </a:lnTo>
                <a:cubicBezTo>
                  <a:pt x="2430" y="9811"/>
                  <a:pt x="2477" y="10037"/>
                  <a:pt x="2346" y="10323"/>
                </a:cubicBezTo>
                <a:cubicBezTo>
                  <a:pt x="2239" y="10597"/>
                  <a:pt x="2037" y="10740"/>
                  <a:pt x="2013" y="10764"/>
                </a:cubicBezTo>
                <a:cubicBezTo>
                  <a:pt x="1974" y="10793"/>
                  <a:pt x="1728" y="10973"/>
                  <a:pt x="1380" y="10973"/>
                </a:cubicBezTo>
                <a:cubicBezTo>
                  <a:pt x="1302" y="10973"/>
                  <a:pt x="1219" y="10964"/>
                  <a:pt x="1132" y="10942"/>
                </a:cubicBezTo>
                <a:cubicBezTo>
                  <a:pt x="810" y="10871"/>
                  <a:pt x="536" y="10645"/>
                  <a:pt x="417" y="10335"/>
                </a:cubicBezTo>
                <a:cubicBezTo>
                  <a:pt x="298" y="10049"/>
                  <a:pt x="346" y="9871"/>
                  <a:pt x="334" y="9514"/>
                </a:cubicBezTo>
                <a:lnTo>
                  <a:pt x="1560" y="9514"/>
                </a:lnTo>
                <a:cubicBezTo>
                  <a:pt x="1656" y="9514"/>
                  <a:pt x="1727" y="9442"/>
                  <a:pt x="1727" y="9347"/>
                </a:cubicBezTo>
                <a:cubicBezTo>
                  <a:pt x="1727" y="9264"/>
                  <a:pt x="1656" y="9192"/>
                  <a:pt x="1560" y="9192"/>
                </a:cubicBezTo>
                <a:lnTo>
                  <a:pt x="334" y="9192"/>
                </a:lnTo>
                <a:lnTo>
                  <a:pt x="334" y="8002"/>
                </a:lnTo>
                <a:close/>
                <a:moveTo>
                  <a:pt x="882" y="1"/>
                </a:moveTo>
                <a:cubicBezTo>
                  <a:pt x="715" y="1"/>
                  <a:pt x="596" y="143"/>
                  <a:pt x="596" y="286"/>
                </a:cubicBezTo>
                <a:lnTo>
                  <a:pt x="596" y="572"/>
                </a:lnTo>
                <a:cubicBezTo>
                  <a:pt x="596" y="655"/>
                  <a:pt x="667" y="739"/>
                  <a:pt x="763" y="739"/>
                </a:cubicBezTo>
                <a:cubicBezTo>
                  <a:pt x="846" y="739"/>
                  <a:pt x="929" y="655"/>
                  <a:pt x="929" y="572"/>
                </a:cubicBezTo>
                <a:lnTo>
                  <a:pt x="929" y="382"/>
                </a:lnTo>
                <a:lnTo>
                  <a:pt x="1882" y="977"/>
                </a:lnTo>
                <a:lnTo>
                  <a:pt x="1882" y="1953"/>
                </a:lnTo>
                <a:lnTo>
                  <a:pt x="929" y="1358"/>
                </a:lnTo>
                <a:lnTo>
                  <a:pt x="929" y="1239"/>
                </a:lnTo>
                <a:cubicBezTo>
                  <a:pt x="929" y="1155"/>
                  <a:pt x="846" y="1072"/>
                  <a:pt x="763" y="1072"/>
                </a:cubicBezTo>
                <a:cubicBezTo>
                  <a:pt x="667" y="1072"/>
                  <a:pt x="596" y="1155"/>
                  <a:pt x="596" y="1239"/>
                </a:cubicBezTo>
                <a:lnTo>
                  <a:pt x="596" y="4025"/>
                </a:lnTo>
                <a:lnTo>
                  <a:pt x="191" y="4025"/>
                </a:lnTo>
                <a:cubicBezTo>
                  <a:pt x="108" y="4025"/>
                  <a:pt x="24" y="4096"/>
                  <a:pt x="24" y="4192"/>
                </a:cubicBezTo>
                <a:lnTo>
                  <a:pt x="24" y="5716"/>
                </a:lnTo>
                <a:cubicBezTo>
                  <a:pt x="24" y="5811"/>
                  <a:pt x="108" y="5882"/>
                  <a:pt x="191" y="5882"/>
                </a:cubicBezTo>
                <a:cubicBezTo>
                  <a:pt x="286" y="5882"/>
                  <a:pt x="358" y="5811"/>
                  <a:pt x="358" y="5716"/>
                </a:cubicBezTo>
                <a:lnTo>
                  <a:pt x="358" y="4370"/>
                </a:lnTo>
                <a:lnTo>
                  <a:pt x="596" y="4370"/>
                </a:lnTo>
                <a:lnTo>
                  <a:pt x="596" y="6728"/>
                </a:lnTo>
                <a:cubicBezTo>
                  <a:pt x="513" y="6751"/>
                  <a:pt x="429" y="6775"/>
                  <a:pt x="358" y="6823"/>
                </a:cubicBezTo>
                <a:lnTo>
                  <a:pt x="358" y="6418"/>
                </a:lnTo>
                <a:cubicBezTo>
                  <a:pt x="358" y="6335"/>
                  <a:pt x="286" y="6251"/>
                  <a:pt x="191" y="6251"/>
                </a:cubicBezTo>
                <a:cubicBezTo>
                  <a:pt x="108" y="6251"/>
                  <a:pt x="24" y="6335"/>
                  <a:pt x="24" y="6418"/>
                </a:cubicBezTo>
                <a:lnTo>
                  <a:pt x="24" y="9371"/>
                </a:lnTo>
                <a:lnTo>
                  <a:pt x="24" y="9633"/>
                </a:lnTo>
                <a:cubicBezTo>
                  <a:pt x="48" y="9859"/>
                  <a:pt x="1" y="10061"/>
                  <a:pt x="84" y="10347"/>
                </a:cubicBezTo>
                <a:cubicBezTo>
                  <a:pt x="276" y="10971"/>
                  <a:pt x="839" y="11321"/>
                  <a:pt x="1415" y="11321"/>
                </a:cubicBezTo>
                <a:cubicBezTo>
                  <a:pt x="1696" y="11321"/>
                  <a:pt x="1981" y="11237"/>
                  <a:pt x="2227" y="11061"/>
                </a:cubicBezTo>
                <a:lnTo>
                  <a:pt x="2275" y="11026"/>
                </a:lnTo>
                <a:cubicBezTo>
                  <a:pt x="2465" y="10883"/>
                  <a:pt x="2620" y="10692"/>
                  <a:pt x="2703" y="10466"/>
                </a:cubicBezTo>
                <a:cubicBezTo>
                  <a:pt x="2799" y="10145"/>
                  <a:pt x="2775" y="9966"/>
                  <a:pt x="2775" y="9347"/>
                </a:cubicBezTo>
                <a:lnTo>
                  <a:pt x="2775" y="4203"/>
                </a:lnTo>
                <a:cubicBezTo>
                  <a:pt x="2775" y="4108"/>
                  <a:pt x="2691" y="4037"/>
                  <a:pt x="2608" y="4037"/>
                </a:cubicBezTo>
                <a:lnTo>
                  <a:pt x="2203" y="4037"/>
                </a:lnTo>
                <a:lnTo>
                  <a:pt x="2203" y="882"/>
                </a:lnTo>
                <a:cubicBezTo>
                  <a:pt x="2203" y="822"/>
                  <a:pt x="2168" y="763"/>
                  <a:pt x="2132" y="739"/>
                </a:cubicBezTo>
                <a:lnTo>
                  <a:pt x="1025" y="48"/>
                </a:lnTo>
                <a:cubicBezTo>
                  <a:pt x="989" y="24"/>
                  <a:pt x="917" y="1"/>
                  <a:pt x="88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92" name="Google Shape;12692;p62"/>
          <p:cNvGrpSpPr/>
          <p:nvPr/>
        </p:nvGrpSpPr>
        <p:grpSpPr>
          <a:xfrm>
            <a:off x="859262" y="3353920"/>
            <a:ext cx="306759" cy="351445"/>
            <a:chOff x="859262" y="3353920"/>
            <a:chExt cx="306759" cy="351445"/>
          </a:xfrm>
        </p:grpSpPr>
        <p:sp>
          <p:nvSpPr>
            <p:cNvPr id="12693" name="Google Shape;12693;p62"/>
            <p:cNvSpPr/>
            <p:nvPr/>
          </p:nvSpPr>
          <p:spPr>
            <a:xfrm>
              <a:off x="859262" y="3415718"/>
              <a:ext cx="132563" cy="205937"/>
            </a:xfrm>
            <a:custGeom>
              <a:avLst/>
              <a:gdLst/>
              <a:ahLst/>
              <a:cxnLst/>
              <a:rect l="l" t="t" r="r" b="b"/>
              <a:pathLst>
                <a:path w="4168" h="6475" extrusionOk="0">
                  <a:moveTo>
                    <a:pt x="1444" y="0"/>
                  </a:moveTo>
                  <a:cubicBezTo>
                    <a:pt x="1418" y="0"/>
                    <a:pt x="1392" y="7"/>
                    <a:pt x="1369" y="22"/>
                  </a:cubicBezTo>
                  <a:lnTo>
                    <a:pt x="262" y="665"/>
                  </a:lnTo>
                  <a:cubicBezTo>
                    <a:pt x="0" y="808"/>
                    <a:pt x="0" y="1200"/>
                    <a:pt x="262" y="1367"/>
                  </a:cubicBezTo>
                  <a:lnTo>
                    <a:pt x="1143" y="1867"/>
                  </a:lnTo>
                  <a:lnTo>
                    <a:pt x="429" y="2284"/>
                  </a:lnTo>
                  <a:cubicBezTo>
                    <a:pt x="83" y="2474"/>
                    <a:pt x="83" y="2974"/>
                    <a:pt x="429" y="3165"/>
                  </a:cubicBezTo>
                  <a:lnTo>
                    <a:pt x="1167" y="3594"/>
                  </a:lnTo>
                  <a:lnTo>
                    <a:pt x="417" y="4022"/>
                  </a:lnTo>
                  <a:cubicBezTo>
                    <a:pt x="71" y="4225"/>
                    <a:pt x="71" y="4713"/>
                    <a:pt x="417" y="4903"/>
                  </a:cubicBezTo>
                  <a:lnTo>
                    <a:pt x="1155" y="5332"/>
                  </a:lnTo>
                  <a:lnTo>
                    <a:pt x="917" y="5463"/>
                  </a:lnTo>
                  <a:cubicBezTo>
                    <a:pt x="774" y="5558"/>
                    <a:pt x="833" y="5784"/>
                    <a:pt x="1012" y="5784"/>
                  </a:cubicBezTo>
                  <a:cubicBezTo>
                    <a:pt x="1084" y="5784"/>
                    <a:pt x="1095" y="5749"/>
                    <a:pt x="1488" y="5522"/>
                  </a:cubicBezTo>
                  <a:lnTo>
                    <a:pt x="3119" y="6463"/>
                  </a:lnTo>
                  <a:cubicBezTo>
                    <a:pt x="3155" y="6475"/>
                    <a:pt x="3179" y="6475"/>
                    <a:pt x="3191" y="6475"/>
                  </a:cubicBezTo>
                  <a:cubicBezTo>
                    <a:pt x="3250" y="6475"/>
                    <a:pt x="3310" y="6451"/>
                    <a:pt x="3346" y="6392"/>
                  </a:cubicBezTo>
                  <a:cubicBezTo>
                    <a:pt x="3393" y="6320"/>
                    <a:pt x="3358" y="6213"/>
                    <a:pt x="3286" y="6165"/>
                  </a:cubicBezTo>
                  <a:cubicBezTo>
                    <a:pt x="2643" y="5796"/>
                    <a:pt x="1226" y="4987"/>
                    <a:pt x="560" y="4618"/>
                  </a:cubicBezTo>
                  <a:cubicBezTo>
                    <a:pt x="441" y="4546"/>
                    <a:pt x="441" y="4368"/>
                    <a:pt x="560" y="4308"/>
                  </a:cubicBezTo>
                  <a:lnTo>
                    <a:pt x="1476" y="3772"/>
                  </a:lnTo>
                  <a:cubicBezTo>
                    <a:pt x="1498" y="3782"/>
                    <a:pt x="1520" y="3786"/>
                    <a:pt x="1541" y="3786"/>
                  </a:cubicBezTo>
                  <a:cubicBezTo>
                    <a:pt x="1627" y="3786"/>
                    <a:pt x="1705" y="3717"/>
                    <a:pt x="1715" y="3641"/>
                  </a:cubicBezTo>
                  <a:cubicBezTo>
                    <a:pt x="1715" y="3582"/>
                    <a:pt x="1691" y="3522"/>
                    <a:pt x="1631" y="3486"/>
                  </a:cubicBezTo>
                  <a:lnTo>
                    <a:pt x="1476" y="3403"/>
                  </a:lnTo>
                  <a:lnTo>
                    <a:pt x="560" y="2879"/>
                  </a:lnTo>
                  <a:cubicBezTo>
                    <a:pt x="441" y="2808"/>
                    <a:pt x="441" y="2629"/>
                    <a:pt x="560" y="2570"/>
                  </a:cubicBezTo>
                  <a:lnTo>
                    <a:pt x="1441" y="2058"/>
                  </a:lnTo>
                  <a:lnTo>
                    <a:pt x="3870" y="3439"/>
                  </a:lnTo>
                  <a:cubicBezTo>
                    <a:pt x="3893" y="3463"/>
                    <a:pt x="3929" y="3463"/>
                    <a:pt x="3941" y="3463"/>
                  </a:cubicBezTo>
                  <a:cubicBezTo>
                    <a:pt x="4001" y="3463"/>
                    <a:pt x="4060" y="3427"/>
                    <a:pt x="4084" y="3367"/>
                  </a:cubicBezTo>
                  <a:cubicBezTo>
                    <a:pt x="4167" y="3296"/>
                    <a:pt x="4132" y="3189"/>
                    <a:pt x="4060" y="3153"/>
                  </a:cubicBezTo>
                  <a:cubicBezTo>
                    <a:pt x="1262" y="1558"/>
                    <a:pt x="3215" y="2653"/>
                    <a:pt x="429" y="1069"/>
                  </a:cubicBezTo>
                  <a:cubicBezTo>
                    <a:pt x="381" y="1034"/>
                    <a:pt x="381" y="962"/>
                    <a:pt x="429" y="950"/>
                  </a:cubicBezTo>
                  <a:lnTo>
                    <a:pt x="1524" y="307"/>
                  </a:lnTo>
                  <a:cubicBezTo>
                    <a:pt x="1607" y="260"/>
                    <a:pt x="1631" y="153"/>
                    <a:pt x="1584" y="81"/>
                  </a:cubicBezTo>
                  <a:cubicBezTo>
                    <a:pt x="1559" y="32"/>
                    <a:pt x="1501" y="0"/>
                    <a:pt x="14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4" name="Google Shape;12694;p62"/>
            <p:cNvSpPr/>
            <p:nvPr/>
          </p:nvSpPr>
          <p:spPr>
            <a:xfrm>
              <a:off x="916415" y="3353920"/>
              <a:ext cx="178013" cy="62147"/>
            </a:xfrm>
            <a:custGeom>
              <a:avLst/>
              <a:gdLst/>
              <a:ahLst/>
              <a:cxnLst/>
              <a:rect l="l" t="t" r="r" b="b"/>
              <a:pathLst>
                <a:path w="5597" h="1954" extrusionOk="0">
                  <a:moveTo>
                    <a:pt x="3061" y="0"/>
                  </a:moveTo>
                  <a:cubicBezTo>
                    <a:pt x="2891" y="0"/>
                    <a:pt x="2929" y="33"/>
                    <a:pt x="144" y="1631"/>
                  </a:cubicBezTo>
                  <a:cubicBezTo>
                    <a:pt x="1" y="1727"/>
                    <a:pt x="60" y="1953"/>
                    <a:pt x="239" y="1953"/>
                  </a:cubicBezTo>
                  <a:cubicBezTo>
                    <a:pt x="245" y="1953"/>
                    <a:pt x="249" y="1953"/>
                    <a:pt x="254" y="1953"/>
                  </a:cubicBezTo>
                  <a:cubicBezTo>
                    <a:pt x="317" y="1953"/>
                    <a:pt x="372" y="1901"/>
                    <a:pt x="3049" y="357"/>
                  </a:cubicBezTo>
                  <a:cubicBezTo>
                    <a:pt x="3060" y="350"/>
                    <a:pt x="3067" y="344"/>
                    <a:pt x="3080" y="344"/>
                  </a:cubicBezTo>
                  <a:cubicBezTo>
                    <a:pt x="3151" y="344"/>
                    <a:pt x="3392" y="523"/>
                    <a:pt x="5347" y="1631"/>
                  </a:cubicBezTo>
                  <a:cubicBezTo>
                    <a:pt x="5372" y="1648"/>
                    <a:pt x="5402" y="1656"/>
                    <a:pt x="5431" y="1656"/>
                  </a:cubicBezTo>
                  <a:cubicBezTo>
                    <a:pt x="5485" y="1656"/>
                    <a:pt x="5538" y="1630"/>
                    <a:pt x="5561" y="1584"/>
                  </a:cubicBezTo>
                  <a:cubicBezTo>
                    <a:pt x="5597" y="1488"/>
                    <a:pt x="5561" y="1381"/>
                    <a:pt x="5490" y="1334"/>
                  </a:cubicBezTo>
                  <a:cubicBezTo>
                    <a:pt x="3216" y="48"/>
                    <a:pt x="3263" y="0"/>
                    <a:pt x="3085" y="0"/>
                  </a:cubicBezTo>
                  <a:cubicBezTo>
                    <a:pt x="3076" y="0"/>
                    <a:pt x="3069" y="0"/>
                    <a:pt x="3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5" name="Google Shape;12695;p62"/>
            <p:cNvSpPr/>
            <p:nvPr/>
          </p:nvSpPr>
          <p:spPr>
            <a:xfrm>
              <a:off x="920582" y="3405858"/>
              <a:ext cx="245439" cy="243817"/>
            </a:xfrm>
            <a:custGeom>
              <a:avLst/>
              <a:gdLst/>
              <a:ahLst/>
              <a:cxnLst/>
              <a:rect l="l" t="t" r="r" b="b"/>
              <a:pathLst>
                <a:path w="7717" h="7666" extrusionOk="0">
                  <a:moveTo>
                    <a:pt x="6359" y="844"/>
                  </a:moveTo>
                  <a:lnTo>
                    <a:pt x="6359" y="1808"/>
                  </a:lnTo>
                  <a:lnTo>
                    <a:pt x="5359" y="1332"/>
                  </a:lnTo>
                  <a:lnTo>
                    <a:pt x="6359" y="844"/>
                  </a:lnTo>
                  <a:close/>
                  <a:moveTo>
                    <a:pt x="5820" y="0"/>
                  </a:moveTo>
                  <a:cubicBezTo>
                    <a:pt x="5762" y="0"/>
                    <a:pt x="5701" y="33"/>
                    <a:pt x="5668" y="82"/>
                  </a:cubicBezTo>
                  <a:cubicBezTo>
                    <a:pt x="5621" y="153"/>
                    <a:pt x="5656" y="260"/>
                    <a:pt x="5728" y="308"/>
                  </a:cubicBezTo>
                  <a:lnTo>
                    <a:pt x="6144" y="546"/>
                  </a:lnTo>
                  <a:lnTo>
                    <a:pt x="4882" y="1153"/>
                  </a:lnTo>
                  <a:cubicBezTo>
                    <a:pt x="4823" y="1177"/>
                    <a:pt x="4799" y="1237"/>
                    <a:pt x="4799" y="1296"/>
                  </a:cubicBezTo>
                  <a:cubicBezTo>
                    <a:pt x="4799" y="1356"/>
                    <a:pt x="4823" y="1415"/>
                    <a:pt x="4882" y="1451"/>
                  </a:cubicBezTo>
                  <a:lnTo>
                    <a:pt x="6144" y="2058"/>
                  </a:lnTo>
                  <a:cubicBezTo>
                    <a:pt x="5656" y="2344"/>
                    <a:pt x="3204" y="3737"/>
                    <a:pt x="2954" y="3892"/>
                  </a:cubicBezTo>
                  <a:cubicBezTo>
                    <a:pt x="2942" y="3898"/>
                    <a:pt x="2930" y="3901"/>
                    <a:pt x="2916" y="3901"/>
                  </a:cubicBezTo>
                  <a:cubicBezTo>
                    <a:pt x="2903" y="3901"/>
                    <a:pt x="2888" y="3898"/>
                    <a:pt x="2870" y="3892"/>
                  </a:cubicBezTo>
                  <a:lnTo>
                    <a:pt x="2668" y="3773"/>
                  </a:lnTo>
                  <a:cubicBezTo>
                    <a:pt x="2645" y="3758"/>
                    <a:pt x="2619" y="3751"/>
                    <a:pt x="2593" y="3751"/>
                  </a:cubicBezTo>
                  <a:cubicBezTo>
                    <a:pt x="2535" y="3751"/>
                    <a:pt x="2474" y="3783"/>
                    <a:pt x="2442" y="3832"/>
                  </a:cubicBezTo>
                  <a:cubicBezTo>
                    <a:pt x="2394" y="3904"/>
                    <a:pt x="2430" y="4011"/>
                    <a:pt x="2501" y="4058"/>
                  </a:cubicBezTo>
                  <a:lnTo>
                    <a:pt x="2715" y="4177"/>
                  </a:lnTo>
                  <a:cubicBezTo>
                    <a:pt x="2775" y="4201"/>
                    <a:pt x="2846" y="4237"/>
                    <a:pt x="2906" y="4237"/>
                  </a:cubicBezTo>
                  <a:cubicBezTo>
                    <a:pt x="2977" y="4237"/>
                    <a:pt x="3037" y="4213"/>
                    <a:pt x="3096" y="4177"/>
                  </a:cubicBezTo>
                  <a:lnTo>
                    <a:pt x="6299" y="2344"/>
                  </a:lnTo>
                  <a:lnTo>
                    <a:pt x="7180" y="2844"/>
                  </a:lnTo>
                  <a:cubicBezTo>
                    <a:pt x="7299" y="2927"/>
                    <a:pt x="7299" y="3106"/>
                    <a:pt x="7180" y="3165"/>
                  </a:cubicBezTo>
                  <a:cubicBezTo>
                    <a:pt x="4823" y="4499"/>
                    <a:pt x="5823" y="3939"/>
                    <a:pt x="2989" y="5559"/>
                  </a:cubicBezTo>
                  <a:cubicBezTo>
                    <a:pt x="2960" y="5570"/>
                    <a:pt x="2930" y="5576"/>
                    <a:pt x="2900" y="5576"/>
                  </a:cubicBezTo>
                  <a:cubicBezTo>
                    <a:pt x="2870" y="5576"/>
                    <a:pt x="2840" y="5570"/>
                    <a:pt x="2811" y="5559"/>
                  </a:cubicBezTo>
                  <a:lnTo>
                    <a:pt x="275" y="4094"/>
                  </a:lnTo>
                  <a:cubicBezTo>
                    <a:pt x="249" y="4083"/>
                    <a:pt x="222" y="4078"/>
                    <a:pt x="196" y="4078"/>
                  </a:cubicBezTo>
                  <a:cubicBezTo>
                    <a:pt x="137" y="4078"/>
                    <a:pt x="81" y="4104"/>
                    <a:pt x="48" y="4154"/>
                  </a:cubicBezTo>
                  <a:cubicBezTo>
                    <a:pt x="1" y="4237"/>
                    <a:pt x="37" y="4332"/>
                    <a:pt x="108" y="4380"/>
                  </a:cubicBezTo>
                  <a:lnTo>
                    <a:pt x="2656" y="5844"/>
                  </a:lnTo>
                  <a:cubicBezTo>
                    <a:pt x="2727" y="5880"/>
                    <a:pt x="2811" y="5916"/>
                    <a:pt x="2906" y="5916"/>
                  </a:cubicBezTo>
                  <a:cubicBezTo>
                    <a:pt x="2989" y="5916"/>
                    <a:pt x="3085" y="5880"/>
                    <a:pt x="3156" y="5844"/>
                  </a:cubicBezTo>
                  <a:lnTo>
                    <a:pt x="6264" y="4070"/>
                  </a:lnTo>
                  <a:lnTo>
                    <a:pt x="7192" y="4606"/>
                  </a:lnTo>
                  <a:cubicBezTo>
                    <a:pt x="7311" y="4678"/>
                    <a:pt x="7311" y="4856"/>
                    <a:pt x="7192" y="4916"/>
                  </a:cubicBezTo>
                  <a:cubicBezTo>
                    <a:pt x="7097" y="4963"/>
                    <a:pt x="7121" y="4963"/>
                    <a:pt x="3013" y="7309"/>
                  </a:cubicBezTo>
                  <a:cubicBezTo>
                    <a:pt x="2983" y="7327"/>
                    <a:pt x="2954" y="7336"/>
                    <a:pt x="2924" y="7336"/>
                  </a:cubicBezTo>
                  <a:cubicBezTo>
                    <a:pt x="2894" y="7336"/>
                    <a:pt x="2864" y="7327"/>
                    <a:pt x="2835" y="7309"/>
                  </a:cubicBezTo>
                  <a:lnTo>
                    <a:pt x="1942" y="6797"/>
                  </a:lnTo>
                  <a:cubicBezTo>
                    <a:pt x="1913" y="6780"/>
                    <a:pt x="1883" y="6773"/>
                    <a:pt x="1854" y="6773"/>
                  </a:cubicBezTo>
                  <a:cubicBezTo>
                    <a:pt x="1798" y="6773"/>
                    <a:pt x="1747" y="6802"/>
                    <a:pt x="1715" y="6856"/>
                  </a:cubicBezTo>
                  <a:cubicBezTo>
                    <a:pt x="1668" y="6928"/>
                    <a:pt x="1703" y="7035"/>
                    <a:pt x="1775" y="7071"/>
                  </a:cubicBezTo>
                  <a:lnTo>
                    <a:pt x="2668" y="7595"/>
                  </a:lnTo>
                  <a:cubicBezTo>
                    <a:pt x="2739" y="7642"/>
                    <a:pt x="2835" y="7666"/>
                    <a:pt x="2918" y="7666"/>
                  </a:cubicBezTo>
                  <a:cubicBezTo>
                    <a:pt x="3013" y="7666"/>
                    <a:pt x="3096" y="7642"/>
                    <a:pt x="3168" y="7595"/>
                  </a:cubicBezTo>
                  <a:lnTo>
                    <a:pt x="6287" y="5821"/>
                  </a:lnTo>
                  <a:lnTo>
                    <a:pt x="7204" y="6356"/>
                  </a:lnTo>
                  <a:cubicBezTo>
                    <a:pt x="7323" y="6440"/>
                    <a:pt x="7323" y="6618"/>
                    <a:pt x="7204" y="6678"/>
                  </a:cubicBezTo>
                  <a:lnTo>
                    <a:pt x="6430" y="7118"/>
                  </a:lnTo>
                  <a:cubicBezTo>
                    <a:pt x="6287" y="7214"/>
                    <a:pt x="6347" y="7428"/>
                    <a:pt x="6502" y="7428"/>
                  </a:cubicBezTo>
                  <a:cubicBezTo>
                    <a:pt x="6585" y="7428"/>
                    <a:pt x="6549" y="7416"/>
                    <a:pt x="7359" y="6975"/>
                  </a:cubicBezTo>
                  <a:cubicBezTo>
                    <a:pt x="7716" y="6761"/>
                    <a:pt x="7716" y="6273"/>
                    <a:pt x="7383" y="6082"/>
                  </a:cubicBezTo>
                  <a:lnTo>
                    <a:pt x="6621" y="5642"/>
                  </a:lnTo>
                  <a:lnTo>
                    <a:pt x="7371" y="5213"/>
                  </a:lnTo>
                  <a:cubicBezTo>
                    <a:pt x="7538" y="5130"/>
                    <a:pt x="7621" y="4963"/>
                    <a:pt x="7621" y="4773"/>
                  </a:cubicBezTo>
                  <a:cubicBezTo>
                    <a:pt x="7621" y="4594"/>
                    <a:pt x="7538" y="4427"/>
                    <a:pt x="7371" y="4320"/>
                  </a:cubicBezTo>
                  <a:lnTo>
                    <a:pt x="6609" y="3892"/>
                  </a:lnTo>
                  <a:lnTo>
                    <a:pt x="7359" y="3463"/>
                  </a:lnTo>
                  <a:cubicBezTo>
                    <a:pt x="7514" y="3368"/>
                    <a:pt x="7609" y="3201"/>
                    <a:pt x="7609" y="3011"/>
                  </a:cubicBezTo>
                  <a:cubicBezTo>
                    <a:pt x="7609" y="2832"/>
                    <a:pt x="7514" y="2665"/>
                    <a:pt x="7359" y="2570"/>
                  </a:cubicBezTo>
                  <a:lnTo>
                    <a:pt x="6668" y="2165"/>
                  </a:lnTo>
                  <a:cubicBezTo>
                    <a:pt x="6668" y="427"/>
                    <a:pt x="6680" y="510"/>
                    <a:pt x="6621" y="451"/>
                  </a:cubicBezTo>
                  <a:cubicBezTo>
                    <a:pt x="6597" y="403"/>
                    <a:pt x="6609" y="439"/>
                    <a:pt x="5894" y="22"/>
                  </a:cubicBezTo>
                  <a:cubicBezTo>
                    <a:pt x="5872" y="7"/>
                    <a:pt x="5846" y="0"/>
                    <a:pt x="58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6" name="Google Shape;12696;p62"/>
            <p:cNvSpPr/>
            <p:nvPr/>
          </p:nvSpPr>
          <p:spPr>
            <a:xfrm>
              <a:off x="986100" y="3642074"/>
              <a:ext cx="129923" cy="63292"/>
            </a:xfrm>
            <a:custGeom>
              <a:avLst/>
              <a:gdLst/>
              <a:ahLst/>
              <a:cxnLst/>
              <a:rect l="l" t="t" r="r" b="b"/>
              <a:pathLst>
                <a:path w="4085" h="1990" extrusionOk="0">
                  <a:moveTo>
                    <a:pt x="3892" y="0"/>
                  </a:moveTo>
                  <a:cubicBezTo>
                    <a:pt x="3864" y="0"/>
                    <a:pt x="3835" y="8"/>
                    <a:pt x="3811" y="25"/>
                  </a:cubicBezTo>
                  <a:lnTo>
                    <a:pt x="965" y="1644"/>
                  </a:lnTo>
                  <a:cubicBezTo>
                    <a:pt x="935" y="1656"/>
                    <a:pt x="906" y="1662"/>
                    <a:pt x="876" y="1662"/>
                  </a:cubicBezTo>
                  <a:cubicBezTo>
                    <a:pt x="846" y="1662"/>
                    <a:pt x="816" y="1656"/>
                    <a:pt x="786" y="1644"/>
                  </a:cubicBezTo>
                  <a:lnTo>
                    <a:pt x="263" y="1346"/>
                  </a:lnTo>
                  <a:cubicBezTo>
                    <a:pt x="240" y="1331"/>
                    <a:pt x="214" y="1325"/>
                    <a:pt x="188" y="1325"/>
                  </a:cubicBezTo>
                  <a:cubicBezTo>
                    <a:pt x="130" y="1325"/>
                    <a:pt x="69" y="1357"/>
                    <a:pt x="36" y="1406"/>
                  </a:cubicBezTo>
                  <a:cubicBezTo>
                    <a:pt x="1" y="1477"/>
                    <a:pt x="24" y="1584"/>
                    <a:pt x="96" y="1632"/>
                  </a:cubicBezTo>
                  <a:cubicBezTo>
                    <a:pt x="572" y="1882"/>
                    <a:pt x="655" y="1989"/>
                    <a:pt x="870" y="1989"/>
                  </a:cubicBezTo>
                  <a:cubicBezTo>
                    <a:pt x="1108" y="1989"/>
                    <a:pt x="965" y="1989"/>
                    <a:pt x="3965" y="287"/>
                  </a:cubicBezTo>
                  <a:cubicBezTo>
                    <a:pt x="4061" y="263"/>
                    <a:pt x="4084" y="156"/>
                    <a:pt x="4025" y="84"/>
                  </a:cubicBezTo>
                  <a:cubicBezTo>
                    <a:pt x="4001" y="29"/>
                    <a:pt x="3947" y="0"/>
                    <a:pt x="38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7" name="Google Shape;12697;p62"/>
            <p:cNvSpPr/>
            <p:nvPr/>
          </p:nvSpPr>
          <p:spPr>
            <a:xfrm>
              <a:off x="862283" y="3599678"/>
              <a:ext cx="118696" cy="84156"/>
            </a:xfrm>
            <a:custGeom>
              <a:avLst/>
              <a:gdLst/>
              <a:ahLst/>
              <a:cxnLst/>
              <a:rect l="l" t="t" r="r" b="b"/>
              <a:pathLst>
                <a:path w="3732" h="2646" extrusionOk="0">
                  <a:moveTo>
                    <a:pt x="366" y="1"/>
                  </a:moveTo>
                  <a:cubicBezTo>
                    <a:pt x="332" y="1"/>
                    <a:pt x="299" y="9"/>
                    <a:pt x="274" y="24"/>
                  </a:cubicBezTo>
                  <a:cubicBezTo>
                    <a:pt x="0" y="250"/>
                    <a:pt x="36" y="679"/>
                    <a:pt x="346" y="858"/>
                  </a:cubicBezTo>
                  <a:cubicBezTo>
                    <a:pt x="3352" y="2574"/>
                    <a:pt x="3447" y="2644"/>
                    <a:pt x="3517" y="2644"/>
                  </a:cubicBezTo>
                  <a:cubicBezTo>
                    <a:pt x="3523" y="2644"/>
                    <a:pt x="3529" y="2644"/>
                    <a:pt x="3536" y="2644"/>
                  </a:cubicBezTo>
                  <a:cubicBezTo>
                    <a:pt x="3544" y="2645"/>
                    <a:pt x="3550" y="2645"/>
                    <a:pt x="3557" y="2645"/>
                  </a:cubicBezTo>
                  <a:cubicBezTo>
                    <a:pt x="3685" y="2645"/>
                    <a:pt x="3732" y="2436"/>
                    <a:pt x="3596" y="2346"/>
                  </a:cubicBezTo>
                  <a:lnTo>
                    <a:pt x="500" y="584"/>
                  </a:lnTo>
                  <a:cubicBezTo>
                    <a:pt x="381" y="524"/>
                    <a:pt x="381" y="358"/>
                    <a:pt x="465" y="286"/>
                  </a:cubicBezTo>
                  <a:cubicBezTo>
                    <a:pt x="536" y="227"/>
                    <a:pt x="536" y="119"/>
                    <a:pt x="500" y="60"/>
                  </a:cubicBezTo>
                  <a:cubicBezTo>
                    <a:pt x="465" y="18"/>
                    <a:pt x="414" y="1"/>
                    <a:pt x="3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98" name="Google Shape;12698;p62"/>
          <p:cNvSpPr/>
          <p:nvPr/>
        </p:nvSpPr>
        <p:spPr>
          <a:xfrm>
            <a:off x="1315918" y="3360631"/>
            <a:ext cx="288599" cy="337515"/>
          </a:xfrm>
          <a:custGeom>
            <a:avLst/>
            <a:gdLst/>
            <a:ahLst/>
            <a:cxnLst/>
            <a:rect l="l" t="t" r="r" b="b"/>
            <a:pathLst>
              <a:path w="9074" h="10612" extrusionOk="0">
                <a:moveTo>
                  <a:pt x="1215" y="396"/>
                </a:moveTo>
                <a:lnTo>
                  <a:pt x="1370" y="682"/>
                </a:lnTo>
                <a:cubicBezTo>
                  <a:pt x="1323" y="706"/>
                  <a:pt x="1269" y="718"/>
                  <a:pt x="1217" y="718"/>
                </a:cubicBezTo>
                <a:cubicBezTo>
                  <a:pt x="1165" y="718"/>
                  <a:pt x="1114" y="706"/>
                  <a:pt x="1073" y="682"/>
                </a:cubicBezTo>
                <a:lnTo>
                  <a:pt x="1215" y="396"/>
                </a:lnTo>
                <a:close/>
                <a:moveTo>
                  <a:pt x="2870" y="396"/>
                </a:moveTo>
                <a:lnTo>
                  <a:pt x="3013" y="682"/>
                </a:lnTo>
                <a:cubicBezTo>
                  <a:pt x="2972" y="706"/>
                  <a:pt x="2921" y="718"/>
                  <a:pt x="2869" y="718"/>
                </a:cubicBezTo>
                <a:cubicBezTo>
                  <a:pt x="2817" y="718"/>
                  <a:pt x="2763" y="706"/>
                  <a:pt x="2716" y="682"/>
                </a:cubicBezTo>
                <a:lnTo>
                  <a:pt x="2870" y="396"/>
                </a:lnTo>
                <a:close/>
                <a:moveTo>
                  <a:pt x="4525" y="420"/>
                </a:moveTo>
                <a:lnTo>
                  <a:pt x="4668" y="694"/>
                </a:lnTo>
                <a:cubicBezTo>
                  <a:pt x="4627" y="718"/>
                  <a:pt x="4576" y="730"/>
                  <a:pt x="4524" y="730"/>
                </a:cubicBezTo>
                <a:cubicBezTo>
                  <a:pt x="4472" y="730"/>
                  <a:pt x="4418" y="718"/>
                  <a:pt x="4371" y="694"/>
                </a:cubicBezTo>
                <a:lnTo>
                  <a:pt x="4525" y="420"/>
                </a:lnTo>
                <a:close/>
                <a:moveTo>
                  <a:pt x="6180" y="420"/>
                </a:moveTo>
                <a:lnTo>
                  <a:pt x="6323" y="694"/>
                </a:lnTo>
                <a:cubicBezTo>
                  <a:pt x="6282" y="718"/>
                  <a:pt x="6231" y="730"/>
                  <a:pt x="6179" y="730"/>
                </a:cubicBezTo>
                <a:cubicBezTo>
                  <a:pt x="6127" y="730"/>
                  <a:pt x="6073" y="718"/>
                  <a:pt x="6026" y="694"/>
                </a:cubicBezTo>
                <a:lnTo>
                  <a:pt x="6180" y="420"/>
                </a:lnTo>
                <a:close/>
                <a:moveTo>
                  <a:pt x="7823" y="420"/>
                </a:moveTo>
                <a:lnTo>
                  <a:pt x="7978" y="694"/>
                </a:lnTo>
                <a:cubicBezTo>
                  <a:pt x="7931" y="718"/>
                  <a:pt x="7877" y="730"/>
                  <a:pt x="7825" y="730"/>
                </a:cubicBezTo>
                <a:cubicBezTo>
                  <a:pt x="7773" y="730"/>
                  <a:pt x="7722" y="718"/>
                  <a:pt x="7681" y="694"/>
                </a:cubicBezTo>
                <a:lnTo>
                  <a:pt x="7823" y="420"/>
                </a:lnTo>
                <a:close/>
                <a:moveTo>
                  <a:pt x="1501" y="980"/>
                </a:moveTo>
                <a:lnTo>
                  <a:pt x="1775" y="1480"/>
                </a:lnTo>
                <a:lnTo>
                  <a:pt x="620" y="1480"/>
                </a:lnTo>
                <a:lnTo>
                  <a:pt x="906" y="980"/>
                </a:lnTo>
                <a:cubicBezTo>
                  <a:pt x="1001" y="1027"/>
                  <a:pt x="1096" y="1051"/>
                  <a:pt x="1204" y="1051"/>
                </a:cubicBezTo>
                <a:cubicBezTo>
                  <a:pt x="1311" y="1051"/>
                  <a:pt x="1406" y="1027"/>
                  <a:pt x="1501" y="980"/>
                </a:cubicBezTo>
                <a:close/>
                <a:moveTo>
                  <a:pt x="3168" y="980"/>
                </a:moveTo>
                <a:lnTo>
                  <a:pt x="3442" y="1480"/>
                </a:lnTo>
                <a:lnTo>
                  <a:pt x="2287" y="1480"/>
                </a:lnTo>
                <a:lnTo>
                  <a:pt x="2573" y="980"/>
                </a:lnTo>
                <a:cubicBezTo>
                  <a:pt x="2668" y="1027"/>
                  <a:pt x="2763" y="1051"/>
                  <a:pt x="2870" y="1051"/>
                </a:cubicBezTo>
                <a:cubicBezTo>
                  <a:pt x="2978" y="1051"/>
                  <a:pt x="3073" y="1027"/>
                  <a:pt x="3168" y="980"/>
                </a:cubicBezTo>
                <a:close/>
                <a:moveTo>
                  <a:pt x="4823" y="992"/>
                </a:moveTo>
                <a:lnTo>
                  <a:pt x="5085" y="1504"/>
                </a:lnTo>
                <a:lnTo>
                  <a:pt x="3942" y="1504"/>
                </a:lnTo>
                <a:lnTo>
                  <a:pt x="4228" y="992"/>
                </a:lnTo>
                <a:cubicBezTo>
                  <a:pt x="4311" y="1039"/>
                  <a:pt x="4418" y="1075"/>
                  <a:pt x="4525" y="1075"/>
                </a:cubicBezTo>
                <a:cubicBezTo>
                  <a:pt x="4633" y="1075"/>
                  <a:pt x="4728" y="1039"/>
                  <a:pt x="4823" y="992"/>
                </a:cubicBezTo>
                <a:close/>
                <a:moveTo>
                  <a:pt x="6478" y="992"/>
                </a:moveTo>
                <a:lnTo>
                  <a:pt x="6740" y="1504"/>
                </a:lnTo>
                <a:lnTo>
                  <a:pt x="5597" y="1504"/>
                </a:lnTo>
                <a:lnTo>
                  <a:pt x="5883" y="992"/>
                </a:lnTo>
                <a:cubicBezTo>
                  <a:pt x="5966" y="1039"/>
                  <a:pt x="6073" y="1075"/>
                  <a:pt x="6180" y="1075"/>
                </a:cubicBezTo>
                <a:cubicBezTo>
                  <a:pt x="6276" y="1075"/>
                  <a:pt x="6383" y="1039"/>
                  <a:pt x="6478" y="992"/>
                </a:cubicBezTo>
                <a:close/>
                <a:moveTo>
                  <a:pt x="8121" y="992"/>
                </a:moveTo>
                <a:lnTo>
                  <a:pt x="8395" y="1504"/>
                </a:lnTo>
                <a:lnTo>
                  <a:pt x="7252" y="1504"/>
                </a:lnTo>
                <a:lnTo>
                  <a:pt x="7526" y="992"/>
                </a:lnTo>
                <a:cubicBezTo>
                  <a:pt x="7621" y="1039"/>
                  <a:pt x="7728" y="1075"/>
                  <a:pt x="7823" y="1075"/>
                </a:cubicBezTo>
                <a:cubicBezTo>
                  <a:pt x="7931" y="1075"/>
                  <a:pt x="8038" y="1039"/>
                  <a:pt x="8121" y="992"/>
                </a:cubicBezTo>
                <a:close/>
                <a:moveTo>
                  <a:pt x="1061" y="1801"/>
                </a:moveTo>
                <a:lnTo>
                  <a:pt x="1061" y="3575"/>
                </a:lnTo>
                <a:lnTo>
                  <a:pt x="549" y="3575"/>
                </a:lnTo>
                <a:lnTo>
                  <a:pt x="549" y="1801"/>
                </a:lnTo>
                <a:close/>
                <a:moveTo>
                  <a:pt x="1894" y="1801"/>
                </a:moveTo>
                <a:lnTo>
                  <a:pt x="1894" y="3575"/>
                </a:lnTo>
                <a:lnTo>
                  <a:pt x="1382" y="3575"/>
                </a:lnTo>
                <a:lnTo>
                  <a:pt x="1382" y="1801"/>
                </a:lnTo>
                <a:close/>
                <a:moveTo>
                  <a:pt x="2704" y="1801"/>
                </a:moveTo>
                <a:lnTo>
                  <a:pt x="2704" y="3575"/>
                </a:lnTo>
                <a:lnTo>
                  <a:pt x="2204" y="3575"/>
                </a:lnTo>
                <a:lnTo>
                  <a:pt x="2204" y="1801"/>
                </a:lnTo>
                <a:close/>
                <a:moveTo>
                  <a:pt x="3037" y="1801"/>
                </a:moveTo>
                <a:lnTo>
                  <a:pt x="3537" y="1813"/>
                </a:lnTo>
                <a:lnTo>
                  <a:pt x="3537" y="3575"/>
                </a:lnTo>
                <a:lnTo>
                  <a:pt x="3037" y="3575"/>
                </a:lnTo>
                <a:lnTo>
                  <a:pt x="3037" y="1801"/>
                </a:lnTo>
                <a:close/>
                <a:moveTo>
                  <a:pt x="4359" y="1813"/>
                </a:moveTo>
                <a:lnTo>
                  <a:pt x="4359" y="3575"/>
                </a:lnTo>
                <a:lnTo>
                  <a:pt x="3859" y="3575"/>
                </a:lnTo>
                <a:lnTo>
                  <a:pt x="3859" y="1813"/>
                </a:lnTo>
                <a:close/>
                <a:moveTo>
                  <a:pt x="5192" y="1813"/>
                </a:moveTo>
                <a:lnTo>
                  <a:pt x="5192" y="3575"/>
                </a:lnTo>
                <a:lnTo>
                  <a:pt x="4692" y="3575"/>
                </a:lnTo>
                <a:lnTo>
                  <a:pt x="4692" y="1813"/>
                </a:lnTo>
                <a:close/>
                <a:moveTo>
                  <a:pt x="6026" y="1813"/>
                </a:moveTo>
                <a:lnTo>
                  <a:pt x="6026" y="3575"/>
                </a:lnTo>
                <a:lnTo>
                  <a:pt x="5525" y="3575"/>
                </a:lnTo>
                <a:lnTo>
                  <a:pt x="5525" y="1813"/>
                </a:lnTo>
                <a:close/>
                <a:moveTo>
                  <a:pt x="6847" y="1813"/>
                </a:moveTo>
                <a:lnTo>
                  <a:pt x="6847" y="3575"/>
                </a:lnTo>
                <a:lnTo>
                  <a:pt x="6335" y="3575"/>
                </a:lnTo>
                <a:lnTo>
                  <a:pt x="6335" y="1813"/>
                </a:lnTo>
                <a:close/>
                <a:moveTo>
                  <a:pt x="7681" y="1813"/>
                </a:moveTo>
                <a:lnTo>
                  <a:pt x="7681" y="3575"/>
                </a:lnTo>
                <a:lnTo>
                  <a:pt x="7169" y="3575"/>
                </a:lnTo>
                <a:lnTo>
                  <a:pt x="7169" y="1813"/>
                </a:lnTo>
                <a:close/>
                <a:moveTo>
                  <a:pt x="8502" y="1813"/>
                </a:moveTo>
                <a:lnTo>
                  <a:pt x="8502" y="3575"/>
                </a:lnTo>
                <a:lnTo>
                  <a:pt x="7990" y="3575"/>
                </a:lnTo>
                <a:lnTo>
                  <a:pt x="7990" y="1813"/>
                </a:lnTo>
                <a:close/>
                <a:moveTo>
                  <a:pt x="1221" y="1"/>
                </a:moveTo>
                <a:cubicBezTo>
                  <a:pt x="1132" y="1"/>
                  <a:pt x="1043" y="45"/>
                  <a:pt x="1001" y="134"/>
                </a:cubicBezTo>
                <a:lnTo>
                  <a:pt x="322" y="1385"/>
                </a:lnTo>
                <a:cubicBezTo>
                  <a:pt x="263" y="1504"/>
                  <a:pt x="227" y="1647"/>
                  <a:pt x="227" y="1789"/>
                </a:cubicBezTo>
                <a:lnTo>
                  <a:pt x="227" y="3599"/>
                </a:lnTo>
                <a:cubicBezTo>
                  <a:pt x="84" y="3659"/>
                  <a:pt x="1" y="3814"/>
                  <a:pt x="1" y="3956"/>
                </a:cubicBezTo>
                <a:lnTo>
                  <a:pt x="1" y="4921"/>
                </a:lnTo>
                <a:cubicBezTo>
                  <a:pt x="1" y="5016"/>
                  <a:pt x="72" y="5087"/>
                  <a:pt x="168" y="5087"/>
                </a:cubicBezTo>
                <a:cubicBezTo>
                  <a:pt x="251" y="5087"/>
                  <a:pt x="322" y="5016"/>
                  <a:pt x="322" y="4921"/>
                </a:cubicBezTo>
                <a:lnTo>
                  <a:pt x="322" y="3956"/>
                </a:lnTo>
                <a:cubicBezTo>
                  <a:pt x="322" y="3909"/>
                  <a:pt x="370" y="3873"/>
                  <a:pt x="418" y="3873"/>
                </a:cubicBezTo>
                <a:lnTo>
                  <a:pt x="8657" y="3873"/>
                </a:lnTo>
                <a:cubicBezTo>
                  <a:pt x="8704" y="3873"/>
                  <a:pt x="8740" y="3897"/>
                  <a:pt x="8752" y="3944"/>
                </a:cubicBezTo>
                <a:lnTo>
                  <a:pt x="8752" y="6552"/>
                </a:lnTo>
                <a:lnTo>
                  <a:pt x="6180" y="6552"/>
                </a:lnTo>
                <a:cubicBezTo>
                  <a:pt x="6085" y="6552"/>
                  <a:pt x="6014" y="6623"/>
                  <a:pt x="6014" y="6707"/>
                </a:cubicBezTo>
                <a:cubicBezTo>
                  <a:pt x="6014" y="6802"/>
                  <a:pt x="6085" y="6873"/>
                  <a:pt x="6180" y="6873"/>
                </a:cubicBezTo>
                <a:lnTo>
                  <a:pt x="8752" y="6873"/>
                </a:lnTo>
                <a:lnTo>
                  <a:pt x="8752" y="7707"/>
                </a:lnTo>
                <a:lnTo>
                  <a:pt x="3918" y="7707"/>
                </a:lnTo>
                <a:cubicBezTo>
                  <a:pt x="3823" y="7707"/>
                  <a:pt x="3751" y="7778"/>
                  <a:pt x="3751" y="7874"/>
                </a:cubicBezTo>
                <a:cubicBezTo>
                  <a:pt x="3751" y="7957"/>
                  <a:pt x="3823" y="8040"/>
                  <a:pt x="3918" y="8040"/>
                </a:cubicBezTo>
                <a:lnTo>
                  <a:pt x="8752" y="8040"/>
                </a:lnTo>
                <a:lnTo>
                  <a:pt x="8752" y="8671"/>
                </a:lnTo>
                <a:lnTo>
                  <a:pt x="8752" y="9767"/>
                </a:lnTo>
                <a:cubicBezTo>
                  <a:pt x="8752" y="10064"/>
                  <a:pt x="8478" y="10302"/>
                  <a:pt x="8169" y="10302"/>
                </a:cubicBezTo>
                <a:lnTo>
                  <a:pt x="918" y="10302"/>
                </a:lnTo>
                <a:cubicBezTo>
                  <a:pt x="596" y="10302"/>
                  <a:pt x="346" y="10064"/>
                  <a:pt x="346" y="9767"/>
                </a:cubicBezTo>
                <a:lnTo>
                  <a:pt x="346" y="8040"/>
                </a:lnTo>
                <a:lnTo>
                  <a:pt x="3287" y="8040"/>
                </a:lnTo>
                <a:cubicBezTo>
                  <a:pt x="3382" y="8040"/>
                  <a:pt x="3454" y="7957"/>
                  <a:pt x="3454" y="7874"/>
                </a:cubicBezTo>
                <a:cubicBezTo>
                  <a:pt x="3454" y="7778"/>
                  <a:pt x="3382" y="7707"/>
                  <a:pt x="3287" y="7707"/>
                </a:cubicBezTo>
                <a:lnTo>
                  <a:pt x="346" y="7707"/>
                </a:lnTo>
                <a:lnTo>
                  <a:pt x="346" y="6873"/>
                </a:lnTo>
                <a:lnTo>
                  <a:pt x="5549" y="6873"/>
                </a:lnTo>
                <a:cubicBezTo>
                  <a:pt x="5645" y="6873"/>
                  <a:pt x="5716" y="6802"/>
                  <a:pt x="5716" y="6707"/>
                </a:cubicBezTo>
                <a:cubicBezTo>
                  <a:pt x="5716" y="6623"/>
                  <a:pt x="5645" y="6552"/>
                  <a:pt x="5549" y="6552"/>
                </a:cubicBezTo>
                <a:lnTo>
                  <a:pt x="346" y="6552"/>
                </a:lnTo>
                <a:lnTo>
                  <a:pt x="346" y="5552"/>
                </a:lnTo>
                <a:cubicBezTo>
                  <a:pt x="346" y="5457"/>
                  <a:pt x="263" y="5385"/>
                  <a:pt x="180" y="5385"/>
                </a:cubicBezTo>
                <a:cubicBezTo>
                  <a:pt x="84" y="5385"/>
                  <a:pt x="13" y="5457"/>
                  <a:pt x="13" y="5552"/>
                </a:cubicBezTo>
                <a:lnTo>
                  <a:pt x="13" y="9743"/>
                </a:lnTo>
                <a:cubicBezTo>
                  <a:pt x="13" y="10219"/>
                  <a:pt x="418" y="10612"/>
                  <a:pt x="918" y="10612"/>
                </a:cubicBezTo>
                <a:lnTo>
                  <a:pt x="8169" y="10612"/>
                </a:lnTo>
                <a:cubicBezTo>
                  <a:pt x="8681" y="10612"/>
                  <a:pt x="9074" y="10219"/>
                  <a:pt x="9074" y="9743"/>
                </a:cubicBezTo>
                <a:cubicBezTo>
                  <a:pt x="9062" y="9707"/>
                  <a:pt x="9062" y="4075"/>
                  <a:pt x="9062" y="3956"/>
                </a:cubicBezTo>
                <a:cubicBezTo>
                  <a:pt x="9050" y="3790"/>
                  <a:pt x="8954" y="3659"/>
                  <a:pt x="8824" y="3599"/>
                </a:cubicBezTo>
                <a:lnTo>
                  <a:pt x="8824" y="1813"/>
                </a:lnTo>
                <a:cubicBezTo>
                  <a:pt x="8824" y="1682"/>
                  <a:pt x="8800" y="1528"/>
                  <a:pt x="8716" y="1408"/>
                </a:cubicBezTo>
                <a:lnTo>
                  <a:pt x="8050" y="146"/>
                </a:lnTo>
                <a:cubicBezTo>
                  <a:pt x="7997" y="64"/>
                  <a:pt x="7913" y="23"/>
                  <a:pt x="7831" y="23"/>
                </a:cubicBezTo>
                <a:cubicBezTo>
                  <a:pt x="7746" y="23"/>
                  <a:pt x="7663" y="67"/>
                  <a:pt x="7621" y="158"/>
                </a:cubicBezTo>
                <a:lnTo>
                  <a:pt x="7335" y="694"/>
                </a:lnTo>
                <a:lnTo>
                  <a:pt x="7014" y="1313"/>
                </a:lnTo>
                <a:lnTo>
                  <a:pt x="6395" y="146"/>
                </a:lnTo>
                <a:cubicBezTo>
                  <a:pt x="6350" y="68"/>
                  <a:pt x="6273" y="31"/>
                  <a:pt x="6194" y="31"/>
                </a:cubicBezTo>
                <a:cubicBezTo>
                  <a:pt x="6106" y="31"/>
                  <a:pt x="6016" y="77"/>
                  <a:pt x="5966" y="158"/>
                </a:cubicBezTo>
                <a:lnTo>
                  <a:pt x="5680" y="694"/>
                </a:lnTo>
                <a:lnTo>
                  <a:pt x="5359" y="1313"/>
                </a:lnTo>
                <a:cubicBezTo>
                  <a:pt x="5287" y="1158"/>
                  <a:pt x="4752" y="146"/>
                  <a:pt x="4752" y="146"/>
                </a:cubicBezTo>
                <a:cubicBezTo>
                  <a:pt x="4696" y="70"/>
                  <a:pt x="4609" y="26"/>
                  <a:pt x="4524" y="26"/>
                </a:cubicBezTo>
                <a:cubicBezTo>
                  <a:pt x="4463" y="26"/>
                  <a:pt x="4403" y="49"/>
                  <a:pt x="4359" y="99"/>
                </a:cubicBezTo>
                <a:cubicBezTo>
                  <a:pt x="4335" y="134"/>
                  <a:pt x="4347" y="99"/>
                  <a:pt x="4037" y="682"/>
                </a:cubicBezTo>
                <a:lnTo>
                  <a:pt x="3716" y="1289"/>
                </a:lnTo>
                <a:lnTo>
                  <a:pt x="3394" y="682"/>
                </a:lnTo>
                <a:cubicBezTo>
                  <a:pt x="3097" y="134"/>
                  <a:pt x="3109" y="146"/>
                  <a:pt x="3085" y="99"/>
                </a:cubicBezTo>
                <a:cubicBezTo>
                  <a:pt x="3030" y="39"/>
                  <a:pt x="2956" y="9"/>
                  <a:pt x="2883" y="9"/>
                </a:cubicBezTo>
                <a:cubicBezTo>
                  <a:pt x="2797" y="9"/>
                  <a:pt x="2713" y="51"/>
                  <a:pt x="2668" y="134"/>
                </a:cubicBezTo>
                <a:cubicBezTo>
                  <a:pt x="2668" y="134"/>
                  <a:pt x="2668" y="134"/>
                  <a:pt x="2668" y="134"/>
                </a:cubicBezTo>
                <a:lnTo>
                  <a:pt x="2668" y="134"/>
                </a:lnTo>
                <a:cubicBezTo>
                  <a:pt x="2668" y="134"/>
                  <a:pt x="2635" y="191"/>
                  <a:pt x="2049" y="1277"/>
                </a:cubicBezTo>
                <a:lnTo>
                  <a:pt x="1727" y="670"/>
                </a:lnTo>
                <a:lnTo>
                  <a:pt x="1442" y="134"/>
                </a:lnTo>
                <a:cubicBezTo>
                  <a:pt x="1400" y="45"/>
                  <a:pt x="1311" y="1"/>
                  <a:pt x="122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99" name="Google Shape;12699;p62"/>
          <p:cNvGrpSpPr/>
          <p:nvPr/>
        </p:nvGrpSpPr>
        <p:grpSpPr>
          <a:xfrm>
            <a:off x="3967437" y="3837102"/>
            <a:ext cx="364708" cy="295405"/>
            <a:chOff x="3967437" y="3837102"/>
            <a:chExt cx="364708" cy="295405"/>
          </a:xfrm>
        </p:grpSpPr>
        <p:sp>
          <p:nvSpPr>
            <p:cNvPr id="12700" name="Google Shape;12700;p62"/>
            <p:cNvSpPr/>
            <p:nvPr/>
          </p:nvSpPr>
          <p:spPr>
            <a:xfrm>
              <a:off x="4178750" y="3868334"/>
              <a:ext cx="153396" cy="264172"/>
            </a:xfrm>
            <a:custGeom>
              <a:avLst/>
              <a:gdLst/>
              <a:ahLst/>
              <a:cxnLst/>
              <a:rect l="l" t="t" r="r" b="b"/>
              <a:pathLst>
                <a:path w="4823" h="8306" extrusionOk="0">
                  <a:moveTo>
                    <a:pt x="4273" y="1"/>
                  </a:moveTo>
                  <a:cubicBezTo>
                    <a:pt x="4217" y="1"/>
                    <a:pt x="4158" y="32"/>
                    <a:pt x="4120" y="78"/>
                  </a:cubicBezTo>
                  <a:cubicBezTo>
                    <a:pt x="4060" y="150"/>
                    <a:pt x="4096" y="257"/>
                    <a:pt x="4167" y="316"/>
                  </a:cubicBezTo>
                  <a:cubicBezTo>
                    <a:pt x="4370" y="471"/>
                    <a:pt x="4489" y="685"/>
                    <a:pt x="4489" y="947"/>
                  </a:cubicBezTo>
                  <a:lnTo>
                    <a:pt x="4489" y="7210"/>
                  </a:lnTo>
                  <a:cubicBezTo>
                    <a:pt x="4489" y="7627"/>
                    <a:pt x="4156" y="7984"/>
                    <a:pt x="3715" y="7984"/>
                  </a:cubicBezTo>
                  <a:lnTo>
                    <a:pt x="167" y="7984"/>
                  </a:lnTo>
                  <a:cubicBezTo>
                    <a:pt x="72" y="7984"/>
                    <a:pt x="0" y="8055"/>
                    <a:pt x="0" y="8151"/>
                  </a:cubicBezTo>
                  <a:cubicBezTo>
                    <a:pt x="0" y="8234"/>
                    <a:pt x="72" y="8305"/>
                    <a:pt x="167" y="8305"/>
                  </a:cubicBezTo>
                  <a:lnTo>
                    <a:pt x="3715" y="8305"/>
                  </a:lnTo>
                  <a:cubicBezTo>
                    <a:pt x="4334" y="8305"/>
                    <a:pt x="4822" y="7817"/>
                    <a:pt x="4822" y="7210"/>
                  </a:cubicBezTo>
                  <a:lnTo>
                    <a:pt x="4822" y="947"/>
                  </a:lnTo>
                  <a:cubicBezTo>
                    <a:pt x="4822" y="590"/>
                    <a:pt x="4644" y="245"/>
                    <a:pt x="4358" y="31"/>
                  </a:cubicBezTo>
                  <a:cubicBezTo>
                    <a:pt x="4333" y="10"/>
                    <a:pt x="4303" y="1"/>
                    <a:pt x="42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1" name="Google Shape;12701;p62"/>
            <p:cNvSpPr/>
            <p:nvPr/>
          </p:nvSpPr>
          <p:spPr>
            <a:xfrm>
              <a:off x="3969346" y="3937447"/>
              <a:ext cx="198431" cy="194678"/>
            </a:xfrm>
            <a:custGeom>
              <a:avLst/>
              <a:gdLst/>
              <a:ahLst/>
              <a:cxnLst/>
              <a:rect l="l" t="t" r="r" b="b"/>
              <a:pathLst>
                <a:path w="6239" h="6121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5025"/>
                  </a:lnTo>
                  <a:cubicBezTo>
                    <a:pt x="0" y="5632"/>
                    <a:pt x="488" y="6121"/>
                    <a:pt x="1107" y="6121"/>
                  </a:cubicBezTo>
                  <a:lnTo>
                    <a:pt x="6060" y="6121"/>
                  </a:lnTo>
                  <a:cubicBezTo>
                    <a:pt x="6144" y="6121"/>
                    <a:pt x="6227" y="6049"/>
                    <a:pt x="6227" y="5954"/>
                  </a:cubicBezTo>
                  <a:cubicBezTo>
                    <a:pt x="6239" y="5870"/>
                    <a:pt x="6168" y="5799"/>
                    <a:pt x="6060" y="5799"/>
                  </a:cubicBezTo>
                  <a:lnTo>
                    <a:pt x="1107" y="5799"/>
                  </a:lnTo>
                  <a:cubicBezTo>
                    <a:pt x="691" y="5799"/>
                    <a:pt x="333" y="5454"/>
                    <a:pt x="333" y="5025"/>
                  </a:cubicBezTo>
                  <a:lnTo>
                    <a:pt x="333" y="167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2" name="Google Shape;12702;p62"/>
            <p:cNvSpPr/>
            <p:nvPr/>
          </p:nvSpPr>
          <p:spPr>
            <a:xfrm>
              <a:off x="3967437" y="3837102"/>
              <a:ext cx="331376" cy="89786"/>
            </a:xfrm>
            <a:custGeom>
              <a:avLst/>
              <a:gdLst/>
              <a:ahLst/>
              <a:cxnLst/>
              <a:rect l="l" t="t" r="r" b="b"/>
              <a:pathLst>
                <a:path w="10419" h="2823" extrusionOk="0">
                  <a:moveTo>
                    <a:pt x="2739" y="334"/>
                  </a:moveTo>
                  <a:cubicBezTo>
                    <a:pt x="2822" y="334"/>
                    <a:pt x="2894" y="393"/>
                    <a:pt x="2894" y="477"/>
                  </a:cubicBezTo>
                  <a:lnTo>
                    <a:pt x="2894" y="1453"/>
                  </a:lnTo>
                  <a:cubicBezTo>
                    <a:pt x="2894" y="1525"/>
                    <a:pt x="2834" y="1596"/>
                    <a:pt x="2739" y="1596"/>
                  </a:cubicBezTo>
                  <a:cubicBezTo>
                    <a:pt x="2668" y="1596"/>
                    <a:pt x="2596" y="1536"/>
                    <a:pt x="2596" y="1453"/>
                  </a:cubicBezTo>
                  <a:lnTo>
                    <a:pt x="2596" y="477"/>
                  </a:lnTo>
                  <a:cubicBezTo>
                    <a:pt x="2596" y="405"/>
                    <a:pt x="2656" y="334"/>
                    <a:pt x="2739" y="334"/>
                  </a:cubicBezTo>
                  <a:close/>
                  <a:moveTo>
                    <a:pt x="4751" y="334"/>
                  </a:moveTo>
                  <a:cubicBezTo>
                    <a:pt x="4823" y="334"/>
                    <a:pt x="4906" y="393"/>
                    <a:pt x="4906" y="477"/>
                  </a:cubicBezTo>
                  <a:lnTo>
                    <a:pt x="4906" y="1453"/>
                  </a:lnTo>
                  <a:cubicBezTo>
                    <a:pt x="4906" y="1525"/>
                    <a:pt x="4846" y="1596"/>
                    <a:pt x="4751" y="1596"/>
                  </a:cubicBezTo>
                  <a:cubicBezTo>
                    <a:pt x="4680" y="1596"/>
                    <a:pt x="4608" y="1536"/>
                    <a:pt x="4608" y="1453"/>
                  </a:cubicBezTo>
                  <a:lnTo>
                    <a:pt x="4608" y="477"/>
                  </a:lnTo>
                  <a:cubicBezTo>
                    <a:pt x="4608" y="405"/>
                    <a:pt x="4668" y="334"/>
                    <a:pt x="4751" y="334"/>
                  </a:cubicBezTo>
                  <a:close/>
                  <a:moveTo>
                    <a:pt x="6763" y="334"/>
                  </a:moveTo>
                  <a:cubicBezTo>
                    <a:pt x="6835" y="334"/>
                    <a:pt x="6906" y="393"/>
                    <a:pt x="6906" y="477"/>
                  </a:cubicBezTo>
                  <a:lnTo>
                    <a:pt x="6906" y="1453"/>
                  </a:lnTo>
                  <a:cubicBezTo>
                    <a:pt x="6906" y="1525"/>
                    <a:pt x="6847" y="1596"/>
                    <a:pt x="6763" y="1596"/>
                  </a:cubicBezTo>
                  <a:cubicBezTo>
                    <a:pt x="6692" y="1596"/>
                    <a:pt x="6609" y="1536"/>
                    <a:pt x="6609" y="1453"/>
                  </a:cubicBezTo>
                  <a:lnTo>
                    <a:pt x="6609" y="477"/>
                  </a:lnTo>
                  <a:cubicBezTo>
                    <a:pt x="6609" y="405"/>
                    <a:pt x="6668" y="334"/>
                    <a:pt x="6763" y="334"/>
                  </a:cubicBezTo>
                  <a:close/>
                  <a:moveTo>
                    <a:pt x="8775" y="334"/>
                  </a:moveTo>
                  <a:cubicBezTo>
                    <a:pt x="8847" y="334"/>
                    <a:pt x="8918" y="393"/>
                    <a:pt x="8918" y="477"/>
                  </a:cubicBezTo>
                  <a:lnTo>
                    <a:pt x="8918" y="1453"/>
                  </a:lnTo>
                  <a:cubicBezTo>
                    <a:pt x="8918" y="1525"/>
                    <a:pt x="8859" y="1596"/>
                    <a:pt x="8775" y="1596"/>
                  </a:cubicBezTo>
                  <a:cubicBezTo>
                    <a:pt x="8692" y="1596"/>
                    <a:pt x="8621" y="1536"/>
                    <a:pt x="8621" y="1453"/>
                  </a:cubicBezTo>
                  <a:lnTo>
                    <a:pt x="8621" y="1155"/>
                  </a:lnTo>
                  <a:lnTo>
                    <a:pt x="8621" y="810"/>
                  </a:lnTo>
                  <a:lnTo>
                    <a:pt x="8621" y="477"/>
                  </a:lnTo>
                  <a:cubicBezTo>
                    <a:pt x="8621" y="405"/>
                    <a:pt x="8680" y="334"/>
                    <a:pt x="8775" y="334"/>
                  </a:cubicBezTo>
                  <a:close/>
                  <a:moveTo>
                    <a:pt x="2703" y="1"/>
                  </a:moveTo>
                  <a:cubicBezTo>
                    <a:pt x="2429" y="1"/>
                    <a:pt x="2203" y="227"/>
                    <a:pt x="2203" y="501"/>
                  </a:cubicBezTo>
                  <a:lnTo>
                    <a:pt x="2203" y="822"/>
                  </a:lnTo>
                  <a:lnTo>
                    <a:pt x="1108" y="822"/>
                  </a:lnTo>
                  <a:cubicBezTo>
                    <a:pt x="501" y="822"/>
                    <a:pt x="1" y="1310"/>
                    <a:pt x="1" y="1929"/>
                  </a:cubicBezTo>
                  <a:lnTo>
                    <a:pt x="1" y="2656"/>
                  </a:lnTo>
                  <a:cubicBezTo>
                    <a:pt x="1" y="2739"/>
                    <a:pt x="84" y="2822"/>
                    <a:pt x="167" y="2822"/>
                  </a:cubicBezTo>
                  <a:cubicBezTo>
                    <a:pt x="262" y="2822"/>
                    <a:pt x="334" y="2739"/>
                    <a:pt x="334" y="2656"/>
                  </a:cubicBezTo>
                  <a:lnTo>
                    <a:pt x="334" y="1929"/>
                  </a:lnTo>
                  <a:cubicBezTo>
                    <a:pt x="334" y="1513"/>
                    <a:pt x="679" y="1144"/>
                    <a:pt x="1108" y="1144"/>
                  </a:cubicBezTo>
                  <a:lnTo>
                    <a:pt x="2203" y="1144"/>
                  </a:lnTo>
                  <a:lnTo>
                    <a:pt x="2203" y="1441"/>
                  </a:lnTo>
                  <a:cubicBezTo>
                    <a:pt x="2203" y="1715"/>
                    <a:pt x="2429" y="1941"/>
                    <a:pt x="2703" y="1941"/>
                  </a:cubicBezTo>
                  <a:cubicBezTo>
                    <a:pt x="2965" y="1941"/>
                    <a:pt x="3191" y="1715"/>
                    <a:pt x="3191" y="1441"/>
                  </a:cubicBezTo>
                  <a:lnTo>
                    <a:pt x="3191" y="1144"/>
                  </a:lnTo>
                  <a:lnTo>
                    <a:pt x="4227" y="1144"/>
                  </a:lnTo>
                  <a:lnTo>
                    <a:pt x="4227" y="1441"/>
                  </a:lnTo>
                  <a:cubicBezTo>
                    <a:pt x="4227" y="1715"/>
                    <a:pt x="4453" y="1941"/>
                    <a:pt x="4727" y="1941"/>
                  </a:cubicBezTo>
                  <a:cubicBezTo>
                    <a:pt x="4989" y="1941"/>
                    <a:pt x="5215" y="1715"/>
                    <a:pt x="5215" y="1441"/>
                  </a:cubicBezTo>
                  <a:lnTo>
                    <a:pt x="5215" y="1144"/>
                  </a:lnTo>
                  <a:lnTo>
                    <a:pt x="6251" y="1144"/>
                  </a:lnTo>
                  <a:lnTo>
                    <a:pt x="6251" y="1441"/>
                  </a:lnTo>
                  <a:cubicBezTo>
                    <a:pt x="6251" y="1715"/>
                    <a:pt x="6478" y="1941"/>
                    <a:pt x="6751" y="1941"/>
                  </a:cubicBezTo>
                  <a:cubicBezTo>
                    <a:pt x="7013" y="1941"/>
                    <a:pt x="7240" y="1715"/>
                    <a:pt x="7240" y="1441"/>
                  </a:cubicBezTo>
                  <a:lnTo>
                    <a:pt x="7240" y="1144"/>
                  </a:lnTo>
                  <a:lnTo>
                    <a:pt x="8275" y="1144"/>
                  </a:lnTo>
                  <a:lnTo>
                    <a:pt x="8275" y="1441"/>
                  </a:lnTo>
                  <a:cubicBezTo>
                    <a:pt x="8275" y="1715"/>
                    <a:pt x="8502" y="1941"/>
                    <a:pt x="8775" y="1941"/>
                  </a:cubicBezTo>
                  <a:cubicBezTo>
                    <a:pt x="9037" y="1941"/>
                    <a:pt x="9264" y="1715"/>
                    <a:pt x="9264" y="1441"/>
                  </a:cubicBezTo>
                  <a:lnTo>
                    <a:pt x="9264" y="1144"/>
                  </a:lnTo>
                  <a:lnTo>
                    <a:pt x="10264" y="1144"/>
                  </a:lnTo>
                  <a:cubicBezTo>
                    <a:pt x="10347" y="1144"/>
                    <a:pt x="10419" y="1072"/>
                    <a:pt x="10419" y="989"/>
                  </a:cubicBezTo>
                  <a:cubicBezTo>
                    <a:pt x="10419" y="894"/>
                    <a:pt x="10347" y="822"/>
                    <a:pt x="10264" y="822"/>
                  </a:cubicBezTo>
                  <a:lnTo>
                    <a:pt x="9264" y="822"/>
                  </a:lnTo>
                  <a:lnTo>
                    <a:pt x="9264" y="501"/>
                  </a:lnTo>
                  <a:cubicBezTo>
                    <a:pt x="9264" y="227"/>
                    <a:pt x="9037" y="1"/>
                    <a:pt x="8775" y="1"/>
                  </a:cubicBezTo>
                  <a:cubicBezTo>
                    <a:pt x="8502" y="1"/>
                    <a:pt x="8275" y="227"/>
                    <a:pt x="8275" y="501"/>
                  </a:cubicBezTo>
                  <a:lnTo>
                    <a:pt x="8275" y="822"/>
                  </a:lnTo>
                  <a:lnTo>
                    <a:pt x="7240" y="822"/>
                  </a:lnTo>
                  <a:lnTo>
                    <a:pt x="7240" y="501"/>
                  </a:lnTo>
                  <a:cubicBezTo>
                    <a:pt x="7240" y="227"/>
                    <a:pt x="7013" y="1"/>
                    <a:pt x="6751" y="1"/>
                  </a:cubicBezTo>
                  <a:cubicBezTo>
                    <a:pt x="6478" y="1"/>
                    <a:pt x="6251" y="227"/>
                    <a:pt x="6251" y="501"/>
                  </a:cubicBezTo>
                  <a:lnTo>
                    <a:pt x="6251" y="822"/>
                  </a:lnTo>
                  <a:lnTo>
                    <a:pt x="5215" y="822"/>
                  </a:lnTo>
                  <a:lnTo>
                    <a:pt x="5215" y="501"/>
                  </a:lnTo>
                  <a:cubicBezTo>
                    <a:pt x="5215" y="227"/>
                    <a:pt x="4989" y="1"/>
                    <a:pt x="4727" y="1"/>
                  </a:cubicBezTo>
                  <a:cubicBezTo>
                    <a:pt x="4453" y="1"/>
                    <a:pt x="4227" y="227"/>
                    <a:pt x="4227" y="501"/>
                  </a:cubicBezTo>
                  <a:lnTo>
                    <a:pt x="4227" y="822"/>
                  </a:lnTo>
                  <a:lnTo>
                    <a:pt x="3191" y="822"/>
                  </a:lnTo>
                  <a:lnTo>
                    <a:pt x="3191" y="501"/>
                  </a:lnTo>
                  <a:cubicBezTo>
                    <a:pt x="3191" y="227"/>
                    <a:pt x="2965" y="1"/>
                    <a:pt x="2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3" name="Google Shape;12703;p62"/>
            <p:cNvSpPr/>
            <p:nvPr/>
          </p:nvSpPr>
          <p:spPr>
            <a:xfrm>
              <a:off x="3994694" y="3917378"/>
              <a:ext cx="158325" cy="156067"/>
            </a:xfrm>
            <a:custGeom>
              <a:avLst/>
              <a:gdLst/>
              <a:ahLst/>
              <a:cxnLst/>
              <a:rect l="l" t="t" r="r" b="b"/>
              <a:pathLst>
                <a:path w="4978" h="4907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1251"/>
                  </a:lnTo>
                  <a:cubicBezTo>
                    <a:pt x="1" y="2049"/>
                    <a:pt x="656" y="2703"/>
                    <a:pt x="1453" y="2703"/>
                  </a:cubicBezTo>
                  <a:lnTo>
                    <a:pt x="2049" y="2703"/>
                  </a:lnTo>
                  <a:cubicBezTo>
                    <a:pt x="2573" y="2703"/>
                    <a:pt x="2989" y="3120"/>
                    <a:pt x="2989" y="3644"/>
                  </a:cubicBezTo>
                  <a:cubicBezTo>
                    <a:pt x="2989" y="4346"/>
                    <a:pt x="3549" y="4906"/>
                    <a:pt x="4251" y="4906"/>
                  </a:cubicBezTo>
                  <a:lnTo>
                    <a:pt x="4811" y="4906"/>
                  </a:lnTo>
                  <a:cubicBezTo>
                    <a:pt x="4906" y="4906"/>
                    <a:pt x="4978" y="4835"/>
                    <a:pt x="4978" y="4739"/>
                  </a:cubicBezTo>
                  <a:cubicBezTo>
                    <a:pt x="4978" y="4644"/>
                    <a:pt x="4906" y="4561"/>
                    <a:pt x="4799" y="4561"/>
                  </a:cubicBezTo>
                  <a:lnTo>
                    <a:pt x="4239" y="4561"/>
                  </a:lnTo>
                  <a:cubicBezTo>
                    <a:pt x="3716" y="4561"/>
                    <a:pt x="3299" y="4144"/>
                    <a:pt x="3299" y="3632"/>
                  </a:cubicBezTo>
                  <a:cubicBezTo>
                    <a:pt x="3299" y="2930"/>
                    <a:pt x="2739" y="2358"/>
                    <a:pt x="2037" y="2358"/>
                  </a:cubicBezTo>
                  <a:lnTo>
                    <a:pt x="1441" y="2358"/>
                  </a:lnTo>
                  <a:cubicBezTo>
                    <a:pt x="834" y="2358"/>
                    <a:pt x="322" y="1858"/>
                    <a:pt x="322" y="1251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4" name="Google Shape;12704;p62"/>
            <p:cNvSpPr/>
            <p:nvPr/>
          </p:nvSpPr>
          <p:spPr>
            <a:xfrm>
              <a:off x="4160812" y="3927174"/>
              <a:ext cx="155813" cy="149992"/>
            </a:xfrm>
            <a:custGeom>
              <a:avLst/>
              <a:gdLst/>
              <a:ahLst/>
              <a:cxnLst/>
              <a:rect l="l" t="t" r="r" b="b"/>
              <a:pathLst>
                <a:path w="4899" h="4716" extrusionOk="0">
                  <a:moveTo>
                    <a:pt x="3231" y="645"/>
                  </a:moveTo>
                  <a:lnTo>
                    <a:pt x="4124" y="1538"/>
                  </a:lnTo>
                  <a:lnTo>
                    <a:pt x="3838" y="1812"/>
                  </a:lnTo>
                  <a:lnTo>
                    <a:pt x="2945" y="919"/>
                  </a:lnTo>
                  <a:lnTo>
                    <a:pt x="3231" y="645"/>
                  </a:lnTo>
                  <a:close/>
                  <a:moveTo>
                    <a:pt x="2707" y="1157"/>
                  </a:moveTo>
                  <a:lnTo>
                    <a:pt x="3029" y="1491"/>
                  </a:lnTo>
                  <a:lnTo>
                    <a:pt x="1302" y="3217"/>
                  </a:lnTo>
                  <a:lnTo>
                    <a:pt x="981" y="2884"/>
                  </a:lnTo>
                  <a:lnTo>
                    <a:pt x="2707" y="1157"/>
                  </a:lnTo>
                  <a:close/>
                  <a:moveTo>
                    <a:pt x="814" y="3205"/>
                  </a:moveTo>
                  <a:lnTo>
                    <a:pt x="1564" y="3943"/>
                  </a:lnTo>
                  <a:lnTo>
                    <a:pt x="1064" y="4098"/>
                  </a:lnTo>
                  <a:cubicBezTo>
                    <a:pt x="993" y="3919"/>
                    <a:pt x="862" y="3765"/>
                    <a:pt x="671" y="3693"/>
                  </a:cubicBezTo>
                  <a:lnTo>
                    <a:pt x="814" y="3205"/>
                  </a:lnTo>
                  <a:close/>
                  <a:moveTo>
                    <a:pt x="552" y="4015"/>
                  </a:moveTo>
                  <a:cubicBezTo>
                    <a:pt x="624" y="4050"/>
                    <a:pt x="695" y="4122"/>
                    <a:pt x="731" y="4193"/>
                  </a:cubicBezTo>
                  <a:lnTo>
                    <a:pt x="469" y="4288"/>
                  </a:lnTo>
                  <a:lnTo>
                    <a:pt x="469" y="4288"/>
                  </a:lnTo>
                  <a:lnTo>
                    <a:pt x="552" y="4015"/>
                  </a:lnTo>
                  <a:close/>
                  <a:moveTo>
                    <a:pt x="3648" y="1"/>
                  </a:moveTo>
                  <a:cubicBezTo>
                    <a:pt x="3640" y="1"/>
                    <a:pt x="3632" y="1"/>
                    <a:pt x="3624" y="2"/>
                  </a:cubicBezTo>
                  <a:cubicBezTo>
                    <a:pt x="3148" y="86"/>
                    <a:pt x="3005" y="419"/>
                    <a:pt x="2588" y="788"/>
                  </a:cubicBezTo>
                  <a:cubicBezTo>
                    <a:pt x="2588" y="788"/>
                    <a:pt x="707" y="2669"/>
                    <a:pt x="683" y="2705"/>
                  </a:cubicBezTo>
                  <a:cubicBezTo>
                    <a:pt x="517" y="2812"/>
                    <a:pt x="445" y="3276"/>
                    <a:pt x="40" y="4491"/>
                  </a:cubicBezTo>
                  <a:cubicBezTo>
                    <a:pt x="0" y="4612"/>
                    <a:pt x="79" y="4716"/>
                    <a:pt x="191" y="4716"/>
                  </a:cubicBezTo>
                  <a:cubicBezTo>
                    <a:pt x="212" y="4716"/>
                    <a:pt x="233" y="4712"/>
                    <a:pt x="255" y="4705"/>
                  </a:cubicBezTo>
                  <a:lnTo>
                    <a:pt x="1743" y="4241"/>
                  </a:lnTo>
                  <a:cubicBezTo>
                    <a:pt x="2017" y="4158"/>
                    <a:pt x="2124" y="3979"/>
                    <a:pt x="2231" y="3896"/>
                  </a:cubicBezTo>
                  <a:cubicBezTo>
                    <a:pt x="2291" y="3836"/>
                    <a:pt x="2291" y="3717"/>
                    <a:pt x="2231" y="3657"/>
                  </a:cubicBezTo>
                  <a:cubicBezTo>
                    <a:pt x="2201" y="3628"/>
                    <a:pt x="2157" y="3613"/>
                    <a:pt x="2112" y="3613"/>
                  </a:cubicBezTo>
                  <a:cubicBezTo>
                    <a:pt x="2067" y="3613"/>
                    <a:pt x="2023" y="3628"/>
                    <a:pt x="1993" y="3657"/>
                  </a:cubicBezTo>
                  <a:lnTo>
                    <a:pt x="1874" y="3777"/>
                  </a:lnTo>
                  <a:lnTo>
                    <a:pt x="1541" y="3455"/>
                  </a:lnTo>
                  <a:lnTo>
                    <a:pt x="3267" y="1729"/>
                  </a:lnTo>
                  <a:lnTo>
                    <a:pt x="3600" y="2050"/>
                  </a:lnTo>
                  <a:lnTo>
                    <a:pt x="2469" y="3181"/>
                  </a:lnTo>
                  <a:cubicBezTo>
                    <a:pt x="2362" y="3288"/>
                    <a:pt x="2434" y="3467"/>
                    <a:pt x="2588" y="3467"/>
                  </a:cubicBezTo>
                  <a:cubicBezTo>
                    <a:pt x="2719" y="3467"/>
                    <a:pt x="2672" y="3419"/>
                    <a:pt x="3946" y="2169"/>
                  </a:cubicBezTo>
                  <a:lnTo>
                    <a:pt x="4458" y="1657"/>
                  </a:lnTo>
                  <a:cubicBezTo>
                    <a:pt x="4898" y="1240"/>
                    <a:pt x="4862" y="562"/>
                    <a:pt x="4398" y="193"/>
                  </a:cubicBezTo>
                  <a:cubicBezTo>
                    <a:pt x="4368" y="168"/>
                    <a:pt x="4332" y="156"/>
                    <a:pt x="4296" y="156"/>
                  </a:cubicBezTo>
                  <a:cubicBezTo>
                    <a:pt x="4246" y="156"/>
                    <a:pt x="4195" y="180"/>
                    <a:pt x="4160" y="228"/>
                  </a:cubicBezTo>
                  <a:cubicBezTo>
                    <a:pt x="4100" y="300"/>
                    <a:pt x="4124" y="407"/>
                    <a:pt x="4196" y="467"/>
                  </a:cubicBezTo>
                  <a:cubicBezTo>
                    <a:pt x="4339" y="586"/>
                    <a:pt x="4434" y="764"/>
                    <a:pt x="4434" y="955"/>
                  </a:cubicBezTo>
                  <a:cubicBezTo>
                    <a:pt x="4434" y="1074"/>
                    <a:pt x="4398" y="1181"/>
                    <a:pt x="4339" y="1264"/>
                  </a:cubicBezTo>
                  <a:lnTo>
                    <a:pt x="3481" y="407"/>
                  </a:lnTo>
                  <a:cubicBezTo>
                    <a:pt x="3541" y="371"/>
                    <a:pt x="3612" y="348"/>
                    <a:pt x="3684" y="324"/>
                  </a:cubicBezTo>
                  <a:cubicBezTo>
                    <a:pt x="3779" y="312"/>
                    <a:pt x="3838" y="228"/>
                    <a:pt x="3827" y="133"/>
                  </a:cubicBezTo>
                  <a:cubicBezTo>
                    <a:pt x="3805" y="57"/>
                    <a:pt x="3733" y="1"/>
                    <a:pt x="36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705" name="Google Shape;12705;p62"/>
          <p:cNvSpPr/>
          <p:nvPr/>
        </p:nvSpPr>
        <p:spPr>
          <a:xfrm>
            <a:off x="3216521" y="3807937"/>
            <a:ext cx="78049" cy="353417"/>
          </a:xfrm>
          <a:custGeom>
            <a:avLst/>
            <a:gdLst/>
            <a:ahLst/>
            <a:cxnLst/>
            <a:rect l="l" t="t" r="r" b="b"/>
            <a:pathLst>
              <a:path w="2454" h="11112" extrusionOk="0">
                <a:moveTo>
                  <a:pt x="1215" y="501"/>
                </a:moveTo>
                <a:cubicBezTo>
                  <a:pt x="1429" y="894"/>
                  <a:pt x="1453" y="953"/>
                  <a:pt x="1453" y="965"/>
                </a:cubicBezTo>
                <a:cubicBezTo>
                  <a:pt x="1382" y="1013"/>
                  <a:pt x="1286" y="1025"/>
                  <a:pt x="1203" y="1025"/>
                </a:cubicBezTo>
                <a:cubicBezTo>
                  <a:pt x="1108" y="1025"/>
                  <a:pt x="1024" y="1013"/>
                  <a:pt x="941" y="965"/>
                </a:cubicBezTo>
                <a:lnTo>
                  <a:pt x="1215" y="501"/>
                </a:lnTo>
                <a:close/>
                <a:moveTo>
                  <a:pt x="1620" y="1275"/>
                </a:moveTo>
                <a:lnTo>
                  <a:pt x="2001" y="2013"/>
                </a:lnTo>
                <a:lnTo>
                  <a:pt x="429" y="2013"/>
                </a:lnTo>
                <a:lnTo>
                  <a:pt x="810" y="1275"/>
                </a:lnTo>
                <a:cubicBezTo>
                  <a:pt x="929" y="1334"/>
                  <a:pt x="1084" y="1382"/>
                  <a:pt x="1215" y="1382"/>
                </a:cubicBezTo>
                <a:cubicBezTo>
                  <a:pt x="1346" y="1382"/>
                  <a:pt x="1501" y="1358"/>
                  <a:pt x="1620" y="1275"/>
                </a:cubicBezTo>
                <a:close/>
                <a:moveTo>
                  <a:pt x="2108" y="9109"/>
                </a:moveTo>
                <a:lnTo>
                  <a:pt x="2108" y="9752"/>
                </a:lnTo>
                <a:lnTo>
                  <a:pt x="322" y="9752"/>
                </a:lnTo>
                <a:lnTo>
                  <a:pt x="322" y="9109"/>
                </a:lnTo>
                <a:close/>
                <a:moveTo>
                  <a:pt x="1215" y="1"/>
                </a:moveTo>
                <a:cubicBezTo>
                  <a:pt x="1155" y="1"/>
                  <a:pt x="1096" y="25"/>
                  <a:pt x="1072" y="84"/>
                </a:cubicBezTo>
                <a:lnTo>
                  <a:pt x="608" y="965"/>
                </a:lnTo>
                <a:lnTo>
                  <a:pt x="120" y="1894"/>
                </a:lnTo>
                <a:cubicBezTo>
                  <a:pt x="36" y="2037"/>
                  <a:pt x="0" y="2215"/>
                  <a:pt x="0" y="2382"/>
                </a:cubicBezTo>
                <a:lnTo>
                  <a:pt x="0" y="5359"/>
                </a:lnTo>
                <a:cubicBezTo>
                  <a:pt x="0" y="5442"/>
                  <a:pt x="72" y="5525"/>
                  <a:pt x="155" y="5525"/>
                </a:cubicBezTo>
                <a:cubicBezTo>
                  <a:pt x="250" y="5525"/>
                  <a:pt x="322" y="5442"/>
                  <a:pt x="322" y="5359"/>
                </a:cubicBezTo>
                <a:lnTo>
                  <a:pt x="322" y="2346"/>
                </a:lnTo>
                <a:lnTo>
                  <a:pt x="1048" y="2346"/>
                </a:lnTo>
                <a:lnTo>
                  <a:pt x="1048" y="8776"/>
                </a:lnTo>
                <a:lnTo>
                  <a:pt x="322" y="8776"/>
                </a:lnTo>
                <a:lnTo>
                  <a:pt x="322" y="6002"/>
                </a:lnTo>
                <a:cubicBezTo>
                  <a:pt x="322" y="5906"/>
                  <a:pt x="250" y="5835"/>
                  <a:pt x="155" y="5835"/>
                </a:cubicBezTo>
                <a:cubicBezTo>
                  <a:pt x="72" y="5835"/>
                  <a:pt x="0" y="5906"/>
                  <a:pt x="0" y="6002"/>
                </a:cubicBezTo>
                <a:lnTo>
                  <a:pt x="0" y="9895"/>
                </a:lnTo>
                <a:cubicBezTo>
                  <a:pt x="0" y="10121"/>
                  <a:pt x="60" y="10323"/>
                  <a:pt x="179" y="10526"/>
                </a:cubicBezTo>
                <a:cubicBezTo>
                  <a:pt x="203" y="10562"/>
                  <a:pt x="262" y="10597"/>
                  <a:pt x="322" y="10597"/>
                </a:cubicBezTo>
                <a:cubicBezTo>
                  <a:pt x="453" y="10597"/>
                  <a:pt x="536" y="10466"/>
                  <a:pt x="477" y="10347"/>
                </a:cubicBezTo>
                <a:cubicBezTo>
                  <a:pt x="417" y="10252"/>
                  <a:pt x="381" y="10145"/>
                  <a:pt x="370" y="10050"/>
                </a:cubicBezTo>
                <a:lnTo>
                  <a:pt x="2108" y="10050"/>
                </a:lnTo>
                <a:cubicBezTo>
                  <a:pt x="2025" y="10443"/>
                  <a:pt x="1679" y="10764"/>
                  <a:pt x="1251" y="10776"/>
                </a:cubicBezTo>
                <a:cubicBezTo>
                  <a:pt x="1108" y="10776"/>
                  <a:pt x="989" y="10764"/>
                  <a:pt x="893" y="10704"/>
                </a:cubicBezTo>
                <a:cubicBezTo>
                  <a:pt x="869" y="10695"/>
                  <a:pt x="844" y="10691"/>
                  <a:pt x="822" y="10691"/>
                </a:cubicBezTo>
                <a:cubicBezTo>
                  <a:pt x="757" y="10691"/>
                  <a:pt x="702" y="10726"/>
                  <a:pt x="667" y="10788"/>
                </a:cubicBezTo>
                <a:cubicBezTo>
                  <a:pt x="631" y="10883"/>
                  <a:pt x="667" y="10966"/>
                  <a:pt x="751" y="11014"/>
                </a:cubicBezTo>
                <a:cubicBezTo>
                  <a:pt x="907" y="11081"/>
                  <a:pt x="1067" y="11111"/>
                  <a:pt x="1222" y="11111"/>
                </a:cubicBezTo>
                <a:cubicBezTo>
                  <a:pt x="1872" y="11111"/>
                  <a:pt x="2453" y="10577"/>
                  <a:pt x="2453" y="9895"/>
                </a:cubicBezTo>
                <a:lnTo>
                  <a:pt x="2453" y="9895"/>
                </a:lnTo>
                <a:cubicBezTo>
                  <a:pt x="2453" y="9895"/>
                  <a:pt x="2453" y="9895"/>
                  <a:pt x="2453" y="9895"/>
                </a:cubicBezTo>
                <a:cubicBezTo>
                  <a:pt x="2441" y="9895"/>
                  <a:pt x="2441" y="8954"/>
                  <a:pt x="2441" y="8942"/>
                </a:cubicBezTo>
                <a:lnTo>
                  <a:pt x="2441" y="7514"/>
                </a:lnTo>
                <a:cubicBezTo>
                  <a:pt x="2441" y="7418"/>
                  <a:pt x="2358" y="7347"/>
                  <a:pt x="2275" y="7347"/>
                </a:cubicBezTo>
                <a:cubicBezTo>
                  <a:pt x="2179" y="7347"/>
                  <a:pt x="2108" y="7418"/>
                  <a:pt x="2108" y="7514"/>
                </a:cubicBezTo>
                <a:lnTo>
                  <a:pt x="2108" y="8776"/>
                </a:lnTo>
                <a:lnTo>
                  <a:pt x="1382" y="8776"/>
                </a:lnTo>
                <a:lnTo>
                  <a:pt x="1382" y="2346"/>
                </a:lnTo>
                <a:lnTo>
                  <a:pt x="2108" y="2346"/>
                </a:lnTo>
                <a:lnTo>
                  <a:pt x="2108" y="2382"/>
                </a:lnTo>
                <a:lnTo>
                  <a:pt x="2108" y="6859"/>
                </a:lnTo>
                <a:cubicBezTo>
                  <a:pt x="2108" y="6954"/>
                  <a:pt x="2179" y="7025"/>
                  <a:pt x="2275" y="7025"/>
                </a:cubicBezTo>
                <a:cubicBezTo>
                  <a:pt x="2358" y="7025"/>
                  <a:pt x="2441" y="6954"/>
                  <a:pt x="2441" y="6859"/>
                </a:cubicBezTo>
                <a:lnTo>
                  <a:pt x="2441" y="2382"/>
                </a:lnTo>
                <a:cubicBezTo>
                  <a:pt x="2441" y="2215"/>
                  <a:pt x="2394" y="2037"/>
                  <a:pt x="2322" y="1894"/>
                </a:cubicBezTo>
                <a:lnTo>
                  <a:pt x="1370" y="84"/>
                </a:lnTo>
                <a:cubicBezTo>
                  <a:pt x="1334" y="25"/>
                  <a:pt x="1274" y="1"/>
                  <a:pt x="121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06" name="Google Shape;12706;p62"/>
          <p:cNvSpPr/>
          <p:nvPr/>
        </p:nvSpPr>
        <p:spPr>
          <a:xfrm>
            <a:off x="3469466" y="3828197"/>
            <a:ext cx="363563" cy="311657"/>
          </a:xfrm>
          <a:custGeom>
            <a:avLst/>
            <a:gdLst/>
            <a:ahLst/>
            <a:cxnLst/>
            <a:rect l="l" t="t" r="r" b="b"/>
            <a:pathLst>
              <a:path w="11431" h="9799" extrusionOk="0">
                <a:moveTo>
                  <a:pt x="4347" y="1"/>
                </a:moveTo>
                <a:cubicBezTo>
                  <a:pt x="3957" y="1"/>
                  <a:pt x="3588" y="148"/>
                  <a:pt x="3311" y="435"/>
                </a:cubicBezTo>
                <a:lnTo>
                  <a:pt x="3287" y="447"/>
                </a:lnTo>
                <a:lnTo>
                  <a:pt x="3275" y="447"/>
                </a:lnTo>
                <a:cubicBezTo>
                  <a:pt x="3189" y="435"/>
                  <a:pt x="3104" y="429"/>
                  <a:pt x="3019" y="429"/>
                </a:cubicBezTo>
                <a:cubicBezTo>
                  <a:pt x="2531" y="429"/>
                  <a:pt x="2074" y="633"/>
                  <a:pt x="1739" y="1019"/>
                </a:cubicBezTo>
                <a:cubicBezTo>
                  <a:pt x="1358" y="1459"/>
                  <a:pt x="1239" y="2055"/>
                  <a:pt x="1418" y="2602"/>
                </a:cubicBezTo>
                <a:lnTo>
                  <a:pt x="1418" y="2626"/>
                </a:lnTo>
                <a:lnTo>
                  <a:pt x="1406" y="2638"/>
                </a:lnTo>
                <a:cubicBezTo>
                  <a:pt x="549" y="3007"/>
                  <a:pt x="1" y="3841"/>
                  <a:pt x="1" y="4769"/>
                </a:cubicBezTo>
                <a:cubicBezTo>
                  <a:pt x="1" y="5507"/>
                  <a:pt x="346" y="6198"/>
                  <a:pt x="941" y="6627"/>
                </a:cubicBezTo>
                <a:lnTo>
                  <a:pt x="953" y="6638"/>
                </a:lnTo>
                <a:lnTo>
                  <a:pt x="941" y="6650"/>
                </a:lnTo>
                <a:cubicBezTo>
                  <a:pt x="608" y="7281"/>
                  <a:pt x="703" y="7996"/>
                  <a:pt x="1168" y="8532"/>
                </a:cubicBezTo>
                <a:cubicBezTo>
                  <a:pt x="1492" y="8915"/>
                  <a:pt x="1937" y="9116"/>
                  <a:pt x="2409" y="9116"/>
                </a:cubicBezTo>
                <a:cubicBezTo>
                  <a:pt x="2597" y="9116"/>
                  <a:pt x="2788" y="9084"/>
                  <a:pt x="2977" y="9020"/>
                </a:cubicBezTo>
                <a:lnTo>
                  <a:pt x="2989" y="9020"/>
                </a:lnTo>
                <a:lnTo>
                  <a:pt x="3013" y="9032"/>
                </a:lnTo>
                <a:cubicBezTo>
                  <a:pt x="3108" y="9210"/>
                  <a:pt x="3251" y="9377"/>
                  <a:pt x="3406" y="9496"/>
                </a:cubicBezTo>
                <a:cubicBezTo>
                  <a:pt x="3433" y="9523"/>
                  <a:pt x="3473" y="9536"/>
                  <a:pt x="3511" y="9536"/>
                </a:cubicBezTo>
                <a:cubicBezTo>
                  <a:pt x="3524" y="9536"/>
                  <a:pt x="3537" y="9535"/>
                  <a:pt x="3549" y="9532"/>
                </a:cubicBezTo>
                <a:cubicBezTo>
                  <a:pt x="3585" y="9532"/>
                  <a:pt x="3632" y="9496"/>
                  <a:pt x="3668" y="9472"/>
                </a:cubicBezTo>
                <a:cubicBezTo>
                  <a:pt x="3692" y="9436"/>
                  <a:pt x="3704" y="9377"/>
                  <a:pt x="3692" y="9329"/>
                </a:cubicBezTo>
                <a:cubicBezTo>
                  <a:pt x="3692" y="9294"/>
                  <a:pt x="3668" y="9246"/>
                  <a:pt x="3632" y="9210"/>
                </a:cubicBezTo>
                <a:cubicBezTo>
                  <a:pt x="3466" y="9079"/>
                  <a:pt x="3335" y="8913"/>
                  <a:pt x="3263" y="8710"/>
                </a:cubicBezTo>
                <a:cubicBezTo>
                  <a:pt x="3251" y="8663"/>
                  <a:pt x="3204" y="8639"/>
                  <a:pt x="3156" y="8603"/>
                </a:cubicBezTo>
                <a:cubicBezTo>
                  <a:pt x="3132" y="8597"/>
                  <a:pt x="3111" y="8594"/>
                  <a:pt x="3090" y="8594"/>
                </a:cubicBezTo>
                <a:cubicBezTo>
                  <a:pt x="3070" y="8594"/>
                  <a:pt x="3049" y="8597"/>
                  <a:pt x="3025" y="8603"/>
                </a:cubicBezTo>
                <a:cubicBezTo>
                  <a:pt x="2841" y="8695"/>
                  <a:pt x="2642" y="8741"/>
                  <a:pt x="2443" y="8741"/>
                </a:cubicBezTo>
                <a:cubicBezTo>
                  <a:pt x="2177" y="8741"/>
                  <a:pt x="1911" y="8659"/>
                  <a:pt x="1680" y="8496"/>
                </a:cubicBezTo>
                <a:cubicBezTo>
                  <a:pt x="1287" y="8222"/>
                  <a:pt x="1072" y="7758"/>
                  <a:pt x="1120" y="7281"/>
                </a:cubicBezTo>
                <a:cubicBezTo>
                  <a:pt x="1191" y="6615"/>
                  <a:pt x="1763" y="6091"/>
                  <a:pt x="2442" y="6091"/>
                </a:cubicBezTo>
                <a:cubicBezTo>
                  <a:pt x="2537" y="6091"/>
                  <a:pt x="2620" y="6019"/>
                  <a:pt x="2620" y="5912"/>
                </a:cubicBezTo>
                <a:cubicBezTo>
                  <a:pt x="2620" y="5817"/>
                  <a:pt x="2549" y="5734"/>
                  <a:pt x="2442" y="5734"/>
                </a:cubicBezTo>
                <a:cubicBezTo>
                  <a:pt x="1965" y="5734"/>
                  <a:pt x="1501" y="5936"/>
                  <a:pt x="1180" y="6317"/>
                </a:cubicBezTo>
                <a:lnTo>
                  <a:pt x="1168" y="6329"/>
                </a:lnTo>
                <a:lnTo>
                  <a:pt x="1144" y="6317"/>
                </a:lnTo>
                <a:cubicBezTo>
                  <a:pt x="644" y="5936"/>
                  <a:pt x="358" y="5365"/>
                  <a:pt x="358" y="4733"/>
                </a:cubicBezTo>
                <a:cubicBezTo>
                  <a:pt x="358" y="3948"/>
                  <a:pt x="822" y="3233"/>
                  <a:pt x="1549" y="2936"/>
                </a:cubicBezTo>
                <a:lnTo>
                  <a:pt x="1561" y="2912"/>
                </a:lnTo>
                <a:lnTo>
                  <a:pt x="1584" y="2936"/>
                </a:lnTo>
                <a:cubicBezTo>
                  <a:pt x="1882" y="3436"/>
                  <a:pt x="2430" y="3757"/>
                  <a:pt x="3025" y="3757"/>
                </a:cubicBezTo>
                <a:cubicBezTo>
                  <a:pt x="3108" y="3757"/>
                  <a:pt x="3204" y="3674"/>
                  <a:pt x="3204" y="3567"/>
                </a:cubicBezTo>
                <a:cubicBezTo>
                  <a:pt x="3204" y="3471"/>
                  <a:pt x="3132" y="3388"/>
                  <a:pt x="3025" y="3388"/>
                </a:cubicBezTo>
                <a:cubicBezTo>
                  <a:pt x="2501" y="3388"/>
                  <a:pt x="2025" y="3079"/>
                  <a:pt x="1822" y="2614"/>
                </a:cubicBezTo>
                <a:cubicBezTo>
                  <a:pt x="1620" y="2186"/>
                  <a:pt x="1668" y="1709"/>
                  <a:pt x="1942" y="1328"/>
                </a:cubicBezTo>
                <a:cubicBezTo>
                  <a:pt x="2196" y="946"/>
                  <a:pt x="2608" y="744"/>
                  <a:pt x="3058" y="744"/>
                </a:cubicBezTo>
                <a:cubicBezTo>
                  <a:pt x="3071" y="744"/>
                  <a:pt x="3084" y="745"/>
                  <a:pt x="3096" y="745"/>
                </a:cubicBezTo>
                <a:cubicBezTo>
                  <a:pt x="3549" y="769"/>
                  <a:pt x="3930" y="995"/>
                  <a:pt x="4156" y="1388"/>
                </a:cubicBezTo>
                <a:cubicBezTo>
                  <a:pt x="4189" y="1437"/>
                  <a:pt x="4245" y="1464"/>
                  <a:pt x="4307" y="1464"/>
                </a:cubicBezTo>
                <a:cubicBezTo>
                  <a:pt x="4335" y="1464"/>
                  <a:pt x="4365" y="1458"/>
                  <a:pt x="4394" y="1447"/>
                </a:cubicBezTo>
                <a:cubicBezTo>
                  <a:pt x="4466" y="1400"/>
                  <a:pt x="4501" y="1293"/>
                  <a:pt x="4454" y="1209"/>
                </a:cubicBezTo>
                <a:cubicBezTo>
                  <a:pt x="4275" y="923"/>
                  <a:pt x="4037" y="697"/>
                  <a:pt x="3727" y="554"/>
                </a:cubicBezTo>
                <a:lnTo>
                  <a:pt x="3692" y="531"/>
                </a:lnTo>
                <a:lnTo>
                  <a:pt x="3727" y="519"/>
                </a:lnTo>
                <a:cubicBezTo>
                  <a:pt x="3925" y="392"/>
                  <a:pt x="4142" y="329"/>
                  <a:pt x="4362" y="329"/>
                </a:cubicBezTo>
                <a:cubicBezTo>
                  <a:pt x="4553" y="329"/>
                  <a:pt x="4747" y="377"/>
                  <a:pt x="4930" y="471"/>
                </a:cubicBezTo>
                <a:cubicBezTo>
                  <a:pt x="5311" y="685"/>
                  <a:pt x="5537" y="1066"/>
                  <a:pt x="5537" y="1519"/>
                </a:cubicBezTo>
                <a:lnTo>
                  <a:pt x="5537" y="4031"/>
                </a:lnTo>
                <a:lnTo>
                  <a:pt x="5513" y="4031"/>
                </a:lnTo>
                <a:cubicBezTo>
                  <a:pt x="5156" y="4019"/>
                  <a:pt x="4918" y="3888"/>
                  <a:pt x="4751" y="3626"/>
                </a:cubicBezTo>
                <a:cubicBezTo>
                  <a:pt x="4719" y="3577"/>
                  <a:pt x="4652" y="3550"/>
                  <a:pt x="4590" y="3550"/>
                </a:cubicBezTo>
                <a:cubicBezTo>
                  <a:pt x="4562" y="3550"/>
                  <a:pt x="4535" y="3556"/>
                  <a:pt x="4513" y="3567"/>
                </a:cubicBezTo>
                <a:cubicBezTo>
                  <a:pt x="4442" y="3614"/>
                  <a:pt x="4406" y="3733"/>
                  <a:pt x="4454" y="3805"/>
                </a:cubicBezTo>
                <a:cubicBezTo>
                  <a:pt x="4680" y="4162"/>
                  <a:pt x="5037" y="4364"/>
                  <a:pt x="5490" y="4376"/>
                </a:cubicBezTo>
                <a:lnTo>
                  <a:pt x="5513" y="4376"/>
                </a:lnTo>
                <a:lnTo>
                  <a:pt x="5513" y="7008"/>
                </a:lnTo>
                <a:lnTo>
                  <a:pt x="5466" y="6984"/>
                </a:lnTo>
                <a:cubicBezTo>
                  <a:pt x="5240" y="6758"/>
                  <a:pt x="4930" y="6638"/>
                  <a:pt x="4620" y="6638"/>
                </a:cubicBezTo>
                <a:lnTo>
                  <a:pt x="3549" y="6638"/>
                </a:lnTo>
                <a:cubicBezTo>
                  <a:pt x="3454" y="6638"/>
                  <a:pt x="3370" y="6710"/>
                  <a:pt x="3370" y="6817"/>
                </a:cubicBezTo>
                <a:cubicBezTo>
                  <a:pt x="3370" y="6900"/>
                  <a:pt x="3442" y="6996"/>
                  <a:pt x="3549" y="6996"/>
                </a:cubicBezTo>
                <a:lnTo>
                  <a:pt x="4620" y="6996"/>
                </a:lnTo>
                <a:cubicBezTo>
                  <a:pt x="5109" y="6996"/>
                  <a:pt x="5490" y="7400"/>
                  <a:pt x="5490" y="7877"/>
                </a:cubicBezTo>
                <a:lnTo>
                  <a:pt x="5490" y="8258"/>
                </a:lnTo>
                <a:cubicBezTo>
                  <a:pt x="5490" y="8603"/>
                  <a:pt x="5347" y="8924"/>
                  <a:pt x="5073" y="9163"/>
                </a:cubicBezTo>
                <a:cubicBezTo>
                  <a:pt x="4859" y="9347"/>
                  <a:pt x="4589" y="9453"/>
                  <a:pt x="4310" y="9453"/>
                </a:cubicBezTo>
                <a:cubicBezTo>
                  <a:pt x="4247" y="9453"/>
                  <a:pt x="4184" y="9447"/>
                  <a:pt x="4120" y="9436"/>
                </a:cubicBezTo>
                <a:lnTo>
                  <a:pt x="4097" y="9436"/>
                </a:lnTo>
                <a:cubicBezTo>
                  <a:pt x="4061" y="9436"/>
                  <a:pt x="4025" y="9448"/>
                  <a:pt x="3989" y="9460"/>
                </a:cubicBezTo>
                <a:cubicBezTo>
                  <a:pt x="3942" y="9496"/>
                  <a:pt x="3930" y="9544"/>
                  <a:pt x="3918" y="9579"/>
                </a:cubicBezTo>
                <a:cubicBezTo>
                  <a:pt x="3906" y="9675"/>
                  <a:pt x="3966" y="9758"/>
                  <a:pt x="4061" y="9782"/>
                </a:cubicBezTo>
                <a:cubicBezTo>
                  <a:pt x="4137" y="9793"/>
                  <a:pt x="4213" y="9799"/>
                  <a:pt x="4289" y="9799"/>
                </a:cubicBezTo>
                <a:cubicBezTo>
                  <a:pt x="4842" y="9799"/>
                  <a:pt x="5372" y="9500"/>
                  <a:pt x="5644" y="9008"/>
                </a:cubicBezTo>
                <a:lnTo>
                  <a:pt x="5656" y="8972"/>
                </a:lnTo>
                <a:lnTo>
                  <a:pt x="5668" y="9008"/>
                </a:lnTo>
                <a:cubicBezTo>
                  <a:pt x="5951" y="9500"/>
                  <a:pt x="6473" y="9799"/>
                  <a:pt x="7024" y="9799"/>
                </a:cubicBezTo>
                <a:cubicBezTo>
                  <a:pt x="7100" y="9799"/>
                  <a:pt x="7176" y="9793"/>
                  <a:pt x="7252" y="9782"/>
                </a:cubicBezTo>
                <a:cubicBezTo>
                  <a:pt x="7335" y="9758"/>
                  <a:pt x="7418" y="9675"/>
                  <a:pt x="7395" y="9579"/>
                </a:cubicBezTo>
                <a:cubicBezTo>
                  <a:pt x="7395" y="9544"/>
                  <a:pt x="7371" y="9496"/>
                  <a:pt x="7323" y="9460"/>
                </a:cubicBezTo>
                <a:cubicBezTo>
                  <a:pt x="7288" y="9443"/>
                  <a:pt x="7260" y="9432"/>
                  <a:pt x="7228" y="9432"/>
                </a:cubicBezTo>
                <a:cubicBezTo>
                  <a:pt x="7217" y="9432"/>
                  <a:pt x="7205" y="9433"/>
                  <a:pt x="7192" y="9436"/>
                </a:cubicBezTo>
                <a:cubicBezTo>
                  <a:pt x="7129" y="9447"/>
                  <a:pt x="7066" y="9453"/>
                  <a:pt x="7003" y="9453"/>
                </a:cubicBezTo>
                <a:cubicBezTo>
                  <a:pt x="6723" y="9453"/>
                  <a:pt x="6454" y="9347"/>
                  <a:pt x="6240" y="9163"/>
                </a:cubicBezTo>
                <a:cubicBezTo>
                  <a:pt x="5978" y="8948"/>
                  <a:pt x="5823" y="8615"/>
                  <a:pt x="5823" y="8258"/>
                </a:cubicBezTo>
                <a:lnTo>
                  <a:pt x="5823" y="6746"/>
                </a:lnTo>
                <a:cubicBezTo>
                  <a:pt x="5823" y="6246"/>
                  <a:pt x="6228" y="5865"/>
                  <a:pt x="6704" y="5865"/>
                </a:cubicBezTo>
                <a:lnTo>
                  <a:pt x="8252" y="5865"/>
                </a:lnTo>
                <a:cubicBezTo>
                  <a:pt x="8335" y="5865"/>
                  <a:pt x="8430" y="5793"/>
                  <a:pt x="8430" y="5686"/>
                </a:cubicBezTo>
                <a:cubicBezTo>
                  <a:pt x="8430" y="5579"/>
                  <a:pt x="8359" y="5507"/>
                  <a:pt x="8252" y="5507"/>
                </a:cubicBezTo>
                <a:lnTo>
                  <a:pt x="6704" y="5507"/>
                </a:lnTo>
                <a:cubicBezTo>
                  <a:pt x="6383" y="5507"/>
                  <a:pt x="6085" y="5626"/>
                  <a:pt x="5847" y="5853"/>
                </a:cubicBezTo>
                <a:lnTo>
                  <a:pt x="5811" y="5876"/>
                </a:lnTo>
                <a:lnTo>
                  <a:pt x="5811" y="5210"/>
                </a:lnTo>
                <a:lnTo>
                  <a:pt x="5823" y="5210"/>
                </a:lnTo>
                <a:cubicBezTo>
                  <a:pt x="6549" y="5186"/>
                  <a:pt x="7133" y="4591"/>
                  <a:pt x="7133" y="3841"/>
                </a:cubicBezTo>
                <a:cubicBezTo>
                  <a:pt x="7133" y="3757"/>
                  <a:pt x="7061" y="3662"/>
                  <a:pt x="6954" y="3662"/>
                </a:cubicBezTo>
                <a:cubicBezTo>
                  <a:pt x="6859" y="3662"/>
                  <a:pt x="6775" y="3733"/>
                  <a:pt x="6775" y="3841"/>
                </a:cubicBezTo>
                <a:cubicBezTo>
                  <a:pt x="6775" y="4376"/>
                  <a:pt x="6359" y="4829"/>
                  <a:pt x="5823" y="4853"/>
                </a:cubicBezTo>
                <a:lnTo>
                  <a:pt x="5787" y="4853"/>
                </a:lnTo>
                <a:lnTo>
                  <a:pt x="5787" y="1543"/>
                </a:lnTo>
                <a:cubicBezTo>
                  <a:pt x="5787" y="1114"/>
                  <a:pt x="6013" y="709"/>
                  <a:pt x="6406" y="507"/>
                </a:cubicBezTo>
                <a:cubicBezTo>
                  <a:pt x="6582" y="408"/>
                  <a:pt x="6773" y="360"/>
                  <a:pt x="6963" y="360"/>
                </a:cubicBezTo>
                <a:cubicBezTo>
                  <a:pt x="7186" y="360"/>
                  <a:pt x="7410" y="426"/>
                  <a:pt x="7609" y="554"/>
                </a:cubicBezTo>
                <a:lnTo>
                  <a:pt x="7633" y="566"/>
                </a:lnTo>
                <a:lnTo>
                  <a:pt x="7728" y="602"/>
                </a:lnTo>
                <a:cubicBezTo>
                  <a:pt x="7430" y="733"/>
                  <a:pt x="7180" y="971"/>
                  <a:pt x="7002" y="1257"/>
                </a:cubicBezTo>
                <a:cubicBezTo>
                  <a:pt x="6954" y="1328"/>
                  <a:pt x="6966" y="1447"/>
                  <a:pt x="7061" y="1495"/>
                </a:cubicBezTo>
                <a:cubicBezTo>
                  <a:pt x="7086" y="1507"/>
                  <a:pt x="7116" y="1514"/>
                  <a:pt x="7147" y="1514"/>
                </a:cubicBezTo>
                <a:cubicBezTo>
                  <a:pt x="7206" y="1514"/>
                  <a:pt x="7268" y="1490"/>
                  <a:pt x="7299" y="1435"/>
                </a:cubicBezTo>
                <a:cubicBezTo>
                  <a:pt x="7526" y="1054"/>
                  <a:pt x="7918" y="816"/>
                  <a:pt x="8371" y="793"/>
                </a:cubicBezTo>
                <a:cubicBezTo>
                  <a:pt x="8405" y="790"/>
                  <a:pt x="8438" y="789"/>
                  <a:pt x="8471" y="789"/>
                </a:cubicBezTo>
                <a:cubicBezTo>
                  <a:pt x="8895" y="789"/>
                  <a:pt x="9271" y="998"/>
                  <a:pt x="9514" y="1340"/>
                </a:cubicBezTo>
                <a:cubicBezTo>
                  <a:pt x="9788" y="1709"/>
                  <a:pt x="9847" y="2186"/>
                  <a:pt x="9669" y="2602"/>
                </a:cubicBezTo>
                <a:cubicBezTo>
                  <a:pt x="9454" y="3114"/>
                  <a:pt x="8978" y="3436"/>
                  <a:pt x="8430" y="3436"/>
                </a:cubicBezTo>
                <a:cubicBezTo>
                  <a:pt x="8335" y="3436"/>
                  <a:pt x="8252" y="3519"/>
                  <a:pt x="8252" y="3614"/>
                </a:cubicBezTo>
                <a:cubicBezTo>
                  <a:pt x="8252" y="3721"/>
                  <a:pt x="8323" y="3793"/>
                  <a:pt x="8430" y="3793"/>
                </a:cubicBezTo>
                <a:cubicBezTo>
                  <a:pt x="9014" y="3793"/>
                  <a:pt x="9573" y="3483"/>
                  <a:pt x="9871" y="2983"/>
                </a:cubicBezTo>
                <a:lnTo>
                  <a:pt x="9883" y="2959"/>
                </a:lnTo>
                <a:lnTo>
                  <a:pt x="9907" y="2983"/>
                </a:lnTo>
                <a:cubicBezTo>
                  <a:pt x="10562" y="3257"/>
                  <a:pt x="10990" y="3841"/>
                  <a:pt x="11074" y="4555"/>
                </a:cubicBezTo>
                <a:cubicBezTo>
                  <a:pt x="11169" y="5269"/>
                  <a:pt x="10871" y="5936"/>
                  <a:pt x="10300" y="6353"/>
                </a:cubicBezTo>
                <a:lnTo>
                  <a:pt x="10288" y="6377"/>
                </a:lnTo>
                <a:lnTo>
                  <a:pt x="10276" y="6353"/>
                </a:lnTo>
                <a:cubicBezTo>
                  <a:pt x="9966" y="5984"/>
                  <a:pt x="9502" y="5781"/>
                  <a:pt x="9014" y="5781"/>
                </a:cubicBezTo>
                <a:cubicBezTo>
                  <a:pt x="8919" y="5781"/>
                  <a:pt x="8835" y="5853"/>
                  <a:pt x="8835" y="5960"/>
                </a:cubicBezTo>
                <a:cubicBezTo>
                  <a:pt x="8835" y="6055"/>
                  <a:pt x="8907" y="6138"/>
                  <a:pt x="9014" y="6138"/>
                </a:cubicBezTo>
                <a:cubicBezTo>
                  <a:pt x="9633" y="6138"/>
                  <a:pt x="10181" y="6579"/>
                  <a:pt x="10300" y="7186"/>
                </a:cubicBezTo>
                <a:cubicBezTo>
                  <a:pt x="10407" y="7698"/>
                  <a:pt x="10228" y="8186"/>
                  <a:pt x="9812" y="8496"/>
                </a:cubicBezTo>
                <a:cubicBezTo>
                  <a:pt x="9570" y="8688"/>
                  <a:pt x="9281" y="8786"/>
                  <a:pt x="8992" y="8786"/>
                </a:cubicBezTo>
                <a:cubicBezTo>
                  <a:pt x="8796" y="8786"/>
                  <a:pt x="8601" y="8742"/>
                  <a:pt x="8419" y="8651"/>
                </a:cubicBezTo>
                <a:cubicBezTo>
                  <a:pt x="8390" y="8643"/>
                  <a:pt x="8361" y="8632"/>
                  <a:pt x="8332" y="8632"/>
                </a:cubicBezTo>
                <a:cubicBezTo>
                  <a:pt x="8313" y="8632"/>
                  <a:pt x="8294" y="8637"/>
                  <a:pt x="8276" y="8651"/>
                </a:cubicBezTo>
                <a:cubicBezTo>
                  <a:pt x="8240" y="8663"/>
                  <a:pt x="8204" y="8698"/>
                  <a:pt x="8180" y="8758"/>
                </a:cubicBezTo>
                <a:cubicBezTo>
                  <a:pt x="8097" y="8948"/>
                  <a:pt x="7966" y="9127"/>
                  <a:pt x="7799" y="9258"/>
                </a:cubicBezTo>
                <a:cubicBezTo>
                  <a:pt x="7776" y="9294"/>
                  <a:pt x="7740" y="9329"/>
                  <a:pt x="7740" y="9377"/>
                </a:cubicBezTo>
                <a:cubicBezTo>
                  <a:pt x="7740" y="9425"/>
                  <a:pt x="7740" y="9472"/>
                  <a:pt x="7776" y="9508"/>
                </a:cubicBezTo>
                <a:cubicBezTo>
                  <a:pt x="7810" y="9556"/>
                  <a:pt x="7861" y="9581"/>
                  <a:pt x="7912" y="9581"/>
                </a:cubicBezTo>
                <a:cubicBezTo>
                  <a:pt x="7948" y="9581"/>
                  <a:pt x="7984" y="9568"/>
                  <a:pt x="8014" y="9544"/>
                </a:cubicBezTo>
                <a:cubicBezTo>
                  <a:pt x="8180" y="9413"/>
                  <a:pt x="8311" y="9258"/>
                  <a:pt x="8419" y="9079"/>
                </a:cubicBezTo>
                <a:lnTo>
                  <a:pt x="8430" y="9067"/>
                </a:lnTo>
                <a:lnTo>
                  <a:pt x="8442" y="9067"/>
                </a:lnTo>
                <a:cubicBezTo>
                  <a:pt x="8618" y="9127"/>
                  <a:pt x="8801" y="9156"/>
                  <a:pt x="8983" y="9156"/>
                </a:cubicBezTo>
                <a:cubicBezTo>
                  <a:pt x="9343" y="9156"/>
                  <a:pt x="9702" y="9043"/>
                  <a:pt x="10002" y="8829"/>
                </a:cubicBezTo>
                <a:cubicBezTo>
                  <a:pt x="10466" y="8484"/>
                  <a:pt x="10705" y="7960"/>
                  <a:pt x="10681" y="7400"/>
                </a:cubicBezTo>
                <a:cubicBezTo>
                  <a:pt x="10657" y="7162"/>
                  <a:pt x="10597" y="6924"/>
                  <a:pt x="10478" y="6710"/>
                </a:cubicBezTo>
                <a:lnTo>
                  <a:pt x="10466" y="6698"/>
                </a:lnTo>
                <a:lnTo>
                  <a:pt x="10478" y="6686"/>
                </a:lnTo>
                <a:cubicBezTo>
                  <a:pt x="11097" y="6198"/>
                  <a:pt x="11431" y="5507"/>
                  <a:pt x="11431" y="4769"/>
                </a:cubicBezTo>
                <a:cubicBezTo>
                  <a:pt x="11431" y="3841"/>
                  <a:pt x="10883" y="3007"/>
                  <a:pt x="10038" y="2638"/>
                </a:cubicBezTo>
                <a:lnTo>
                  <a:pt x="10026" y="2626"/>
                </a:lnTo>
                <a:lnTo>
                  <a:pt x="10026" y="2602"/>
                </a:lnTo>
                <a:cubicBezTo>
                  <a:pt x="10204" y="2055"/>
                  <a:pt x="10062" y="1459"/>
                  <a:pt x="9693" y="1019"/>
                </a:cubicBezTo>
                <a:cubicBezTo>
                  <a:pt x="9378" y="633"/>
                  <a:pt x="8907" y="429"/>
                  <a:pt x="8421" y="429"/>
                </a:cubicBezTo>
                <a:cubicBezTo>
                  <a:pt x="8337" y="429"/>
                  <a:pt x="8253" y="435"/>
                  <a:pt x="8169" y="447"/>
                </a:cubicBezTo>
                <a:lnTo>
                  <a:pt x="8157" y="447"/>
                </a:lnTo>
                <a:lnTo>
                  <a:pt x="8145" y="435"/>
                </a:lnTo>
                <a:cubicBezTo>
                  <a:pt x="7855" y="156"/>
                  <a:pt x="7473" y="2"/>
                  <a:pt x="7076" y="2"/>
                </a:cubicBezTo>
                <a:cubicBezTo>
                  <a:pt x="7000" y="2"/>
                  <a:pt x="6923" y="7"/>
                  <a:pt x="6847" y="19"/>
                </a:cubicBezTo>
                <a:cubicBezTo>
                  <a:pt x="6371" y="90"/>
                  <a:pt x="5966" y="376"/>
                  <a:pt x="5728" y="793"/>
                </a:cubicBezTo>
                <a:lnTo>
                  <a:pt x="5716" y="816"/>
                </a:lnTo>
                <a:lnTo>
                  <a:pt x="5704" y="793"/>
                </a:lnTo>
                <a:cubicBezTo>
                  <a:pt x="5466" y="376"/>
                  <a:pt x="5061" y="90"/>
                  <a:pt x="4585" y="19"/>
                </a:cubicBezTo>
                <a:cubicBezTo>
                  <a:pt x="4505" y="7"/>
                  <a:pt x="4426" y="1"/>
                  <a:pt x="434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07" name="Google Shape;12707;p62"/>
          <p:cNvSpPr/>
          <p:nvPr/>
        </p:nvSpPr>
        <p:spPr>
          <a:xfrm>
            <a:off x="5314611" y="3818560"/>
            <a:ext cx="324188" cy="324538"/>
          </a:xfrm>
          <a:custGeom>
            <a:avLst/>
            <a:gdLst/>
            <a:ahLst/>
            <a:cxnLst/>
            <a:rect l="l" t="t" r="r" b="b"/>
            <a:pathLst>
              <a:path w="10193" h="10204" extrusionOk="0">
                <a:moveTo>
                  <a:pt x="5096" y="286"/>
                </a:moveTo>
                <a:lnTo>
                  <a:pt x="8668" y="2369"/>
                </a:lnTo>
                <a:lnTo>
                  <a:pt x="8061" y="2369"/>
                </a:lnTo>
                <a:lnTo>
                  <a:pt x="5215" y="726"/>
                </a:lnTo>
                <a:cubicBezTo>
                  <a:pt x="5180" y="703"/>
                  <a:pt x="5138" y="691"/>
                  <a:pt x="5096" y="691"/>
                </a:cubicBezTo>
                <a:cubicBezTo>
                  <a:pt x="5054" y="691"/>
                  <a:pt x="5013" y="703"/>
                  <a:pt x="4977" y="726"/>
                </a:cubicBezTo>
                <a:lnTo>
                  <a:pt x="4215" y="1155"/>
                </a:lnTo>
                <a:cubicBezTo>
                  <a:pt x="4144" y="1191"/>
                  <a:pt x="4132" y="1286"/>
                  <a:pt x="4156" y="1357"/>
                </a:cubicBezTo>
                <a:cubicBezTo>
                  <a:pt x="4188" y="1407"/>
                  <a:pt x="4238" y="1433"/>
                  <a:pt x="4294" y="1433"/>
                </a:cubicBezTo>
                <a:cubicBezTo>
                  <a:pt x="4318" y="1433"/>
                  <a:pt x="4344" y="1428"/>
                  <a:pt x="4370" y="1417"/>
                </a:cubicBezTo>
                <a:lnTo>
                  <a:pt x="5096" y="1000"/>
                </a:lnTo>
                <a:lnTo>
                  <a:pt x="7466" y="2381"/>
                </a:lnTo>
                <a:lnTo>
                  <a:pt x="2715" y="2381"/>
                </a:lnTo>
                <a:lnTo>
                  <a:pt x="3775" y="1774"/>
                </a:lnTo>
                <a:cubicBezTo>
                  <a:pt x="3846" y="1727"/>
                  <a:pt x="3858" y="1643"/>
                  <a:pt x="3834" y="1572"/>
                </a:cubicBezTo>
                <a:cubicBezTo>
                  <a:pt x="3803" y="1517"/>
                  <a:pt x="3751" y="1493"/>
                  <a:pt x="3699" y="1493"/>
                </a:cubicBezTo>
                <a:cubicBezTo>
                  <a:pt x="3672" y="1493"/>
                  <a:pt x="3644" y="1500"/>
                  <a:pt x="3620" y="1512"/>
                </a:cubicBezTo>
                <a:lnTo>
                  <a:pt x="2132" y="2369"/>
                </a:lnTo>
                <a:lnTo>
                  <a:pt x="1524" y="2369"/>
                </a:lnTo>
                <a:lnTo>
                  <a:pt x="5096" y="286"/>
                </a:lnTo>
                <a:close/>
                <a:moveTo>
                  <a:pt x="9156" y="2667"/>
                </a:moveTo>
                <a:lnTo>
                  <a:pt x="9156" y="3382"/>
                </a:lnTo>
                <a:lnTo>
                  <a:pt x="1000" y="3382"/>
                </a:lnTo>
                <a:lnTo>
                  <a:pt x="1000" y="2667"/>
                </a:lnTo>
                <a:close/>
                <a:moveTo>
                  <a:pt x="5894" y="3679"/>
                </a:moveTo>
                <a:cubicBezTo>
                  <a:pt x="5918" y="3679"/>
                  <a:pt x="5953" y="3703"/>
                  <a:pt x="5989" y="3727"/>
                </a:cubicBezTo>
                <a:cubicBezTo>
                  <a:pt x="6013" y="3763"/>
                  <a:pt x="6025" y="3798"/>
                  <a:pt x="6025" y="3834"/>
                </a:cubicBezTo>
                <a:cubicBezTo>
                  <a:pt x="6025" y="3905"/>
                  <a:pt x="5953" y="3965"/>
                  <a:pt x="5882" y="3965"/>
                </a:cubicBezTo>
                <a:cubicBezTo>
                  <a:pt x="5834" y="3965"/>
                  <a:pt x="5811" y="3953"/>
                  <a:pt x="5775" y="3917"/>
                </a:cubicBezTo>
                <a:cubicBezTo>
                  <a:pt x="5738" y="3880"/>
                  <a:pt x="5696" y="3861"/>
                  <a:pt x="5652" y="3861"/>
                </a:cubicBezTo>
                <a:cubicBezTo>
                  <a:pt x="5626" y="3861"/>
                  <a:pt x="5599" y="3868"/>
                  <a:pt x="5572" y="3882"/>
                </a:cubicBezTo>
                <a:cubicBezTo>
                  <a:pt x="5489" y="3905"/>
                  <a:pt x="5453" y="3977"/>
                  <a:pt x="5453" y="4060"/>
                </a:cubicBezTo>
                <a:lnTo>
                  <a:pt x="5453" y="8192"/>
                </a:lnTo>
                <a:lnTo>
                  <a:pt x="4870" y="8192"/>
                </a:lnTo>
                <a:lnTo>
                  <a:pt x="4870" y="4060"/>
                </a:lnTo>
                <a:cubicBezTo>
                  <a:pt x="4870" y="3977"/>
                  <a:pt x="4822" y="3905"/>
                  <a:pt x="4751" y="3882"/>
                </a:cubicBezTo>
                <a:cubicBezTo>
                  <a:pt x="4724" y="3868"/>
                  <a:pt x="4694" y="3861"/>
                  <a:pt x="4664" y="3861"/>
                </a:cubicBezTo>
                <a:cubicBezTo>
                  <a:pt x="4615" y="3861"/>
                  <a:pt x="4566" y="3880"/>
                  <a:pt x="4537" y="3917"/>
                </a:cubicBezTo>
                <a:cubicBezTo>
                  <a:pt x="4513" y="3953"/>
                  <a:pt x="4477" y="3965"/>
                  <a:pt x="4441" y="3965"/>
                </a:cubicBezTo>
                <a:cubicBezTo>
                  <a:pt x="4394" y="3965"/>
                  <a:pt x="4358" y="3953"/>
                  <a:pt x="4334" y="3917"/>
                </a:cubicBezTo>
                <a:cubicBezTo>
                  <a:pt x="4298" y="3893"/>
                  <a:pt x="4287" y="3846"/>
                  <a:pt x="4287" y="3822"/>
                </a:cubicBezTo>
                <a:cubicBezTo>
                  <a:pt x="4287" y="3739"/>
                  <a:pt x="4358" y="3679"/>
                  <a:pt x="4441" y="3679"/>
                </a:cubicBezTo>
                <a:close/>
                <a:moveTo>
                  <a:pt x="2798" y="3703"/>
                </a:moveTo>
                <a:cubicBezTo>
                  <a:pt x="2846" y="3703"/>
                  <a:pt x="2870" y="3715"/>
                  <a:pt x="2905" y="3739"/>
                </a:cubicBezTo>
                <a:cubicBezTo>
                  <a:pt x="2941" y="3774"/>
                  <a:pt x="2953" y="3810"/>
                  <a:pt x="2953" y="3846"/>
                </a:cubicBezTo>
                <a:cubicBezTo>
                  <a:pt x="2953" y="3917"/>
                  <a:pt x="2870" y="3977"/>
                  <a:pt x="2798" y="3977"/>
                </a:cubicBezTo>
                <a:cubicBezTo>
                  <a:pt x="2751" y="3977"/>
                  <a:pt x="2727" y="3965"/>
                  <a:pt x="2691" y="3941"/>
                </a:cubicBezTo>
                <a:cubicBezTo>
                  <a:pt x="2651" y="3901"/>
                  <a:pt x="2605" y="3877"/>
                  <a:pt x="2557" y="3877"/>
                </a:cubicBezTo>
                <a:cubicBezTo>
                  <a:pt x="2534" y="3877"/>
                  <a:pt x="2512" y="3882"/>
                  <a:pt x="2489" y="3893"/>
                </a:cubicBezTo>
                <a:cubicBezTo>
                  <a:pt x="2417" y="3917"/>
                  <a:pt x="2370" y="4001"/>
                  <a:pt x="2370" y="4072"/>
                </a:cubicBezTo>
                <a:lnTo>
                  <a:pt x="2370" y="8204"/>
                </a:lnTo>
                <a:lnTo>
                  <a:pt x="1786" y="8204"/>
                </a:lnTo>
                <a:lnTo>
                  <a:pt x="1786" y="4072"/>
                </a:lnTo>
                <a:cubicBezTo>
                  <a:pt x="1786" y="4001"/>
                  <a:pt x="1739" y="3917"/>
                  <a:pt x="1667" y="3893"/>
                </a:cubicBezTo>
                <a:cubicBezTo>
                  <a:pt x="1644" y="3882"/>
                  <a:pt x="1620" y="3877"/>
                  <a:pt x="1596" y="3877"/>
                </a:cubicBezTo>
                <a:cubicBezTo>
                  <a:pt x="1545" y="3877"/>
                  <a:pt x="1493" y="3901"/>
                  <a:pt x="1453" y="3941"/>
                </a:cubicBezTo>
                <a:cubicBezTo>
                  <a:pt x="1417" y="3965"/>
                  <a:pt x="1381" y="3977"/>
                  <a:pt x="1346" y="3977"/>
                </a:cubicBezTo>
                <a:cubicBezTo>
                  <a:pt x="1298" y="3977"/>
                  <a:pt x="1262" y="3965"/>
                  <a:pt x="1239" y="3941"/>
                </a:cubicBezTo>
                <a:cubicBezTo>
                  <a:pt x="1203" y="3905"/>
                  <a:pt x="1191" y="3858"/>
                  <a:pt x="1191" y="3834"/>
                </a:cubicBezTo>
                <a:cubicBezTo>
                  <a:pt x="1191" y="3763"/>
                  <a:pt x="1262" y="3703"/>
                  <a:pt x="1346" y="3703"/>
                </a:cubicBezTo>
                <a:close/>
                <a:moveTo>
                  <a:pt x="2501" y="8501"/>
                </a:moveTo>
                <a:lnTo>
                  <a:pt x="2501" y="8668"/>
                </a:lnTo>
                <a:lnTo>
                  <a:pt x="1655" y="8668"/>
                </a:lnTo>
                <a:lnTo>
                  <a:pt x="1655" y="8501"/>
                </a:lnTo>
                <a:close/>
                <a:moveTo>
                  <a:pt x="3965" y="3703"/>
                </a:moveTo>
                <a:cubicBezTo>
                  <a:pt x="3953" y="3739"/>
                  <a:pt x="3953" y="3774"/>
                  <a:pt x="3929" y="3822"/>
                </a:cubicBezTo>
                <a:cubicBezTo>
                  <a:pt x="3929" y="3941"/>
                  <a:pt x="3977" y="4060"/>
                  <a:pt x="4048" y="4144"/>
                </a:cubicBezTo>
                <a:cubicBezTo>
                  <a:pt x="4144" y="4239"/>
                  <a:pt x="4239" y="4274"/>
                  <a:pt x="4382" y="4274"/>
                </a:cubicBezTo>
                <a:cubicBezTo>
                  <a:pt x="4429" y="4274"/>
                  <a:pt x="4489" y="4263"/>
                  <a:pt x="4525" y="4251"/>
                </a:cubicBezTo>
                <a:lnTo>
                  <a:pt x="4525" y="8239"/>
                </a:lnTo>
                <a:cubicBezTo>
                  <a:pt x="4453" y="8275"/>
                  <a:pt x="4394" y="8370"/>
                  <a:pt x="4394" y="8465"/>
                </a:cubicBezTo>
                <a:lnTo>
                  <a:pt x="4394" y="8668"/>
                </a:lnTo>
                <a:lnTo>
                  <a:pt x="2786" y="8668"/>
                </a:lnTo>
                <a:lnTo>
                  <a:pt x="2786" y="8465"/>
                </a:lnTo>
                <a:cubicBezTo>
                  <a:pt x="2798" y="8370"/>
                  <a:pt x="2751" y="8287"/>
                  <a:pt x="2667" y="8239"/>
                </a:cubicBezTo>
                <a:lnTo>
                  <a:pt x="2667" y="4251"/>
                </a:lnTo>
                <a:cubicBezTo>
                  <a:pt x="2715" y="4263"/>
                  <a:pt x="2774" y="4274"/>
                  <a:pt x="2822" y="4274"/>
                </a:cubicBezTo>
                <a:cubicBezTo>
                  <a:pt x="3048" y="4274"/>
                  <a:pt x="3251" y="4084"/>
                  <a:pt x="3251" y="3858"/>
                </a:cubicBezTo>
                <a:cubicBezTo>
                  <a:pt x="3251" y="3798"/>
                  <a:pt x="3251" y="3739"/>
                  <a:pt x="3215" y="3703"/>
                </a:cubicBezTo>
                <a:close/>
                <a:moveTo>
                  <a:pt x="5572" y="8501"/>
                </a:moveTo>
                <a:lnTo>
                  <a:pt x="5572" y="8668"/>
                </a:lnTo>
                <a:lnTo>
                  <a:pt x="4727" y="8668"/>
                </a:lnTo>
                <a:lnTo>
                  <a:pt x="4727" y="8501"/>
                </a:lnTo>
                <a:close/>
                <a:moveTo>
                  <a:pt x="8620" y="8501"/>
                </a:moveTo>
                <a:lnTo>
                  <a:pt x="8620" y="8668"/>
                </a:lnTo>
                <a:lnTo>
                  <a:pt x="7775" y="8668"/>
                </a:lnTo>
                <a:lnTo>
                  <a:pt x="7775" y="8501"/>
                </a:lnTo>
                <a:close/>
                <a:moveTo>
                  <a:pt x="8930" y="3703"/>
                </a:moveTo>
                <a:cubicBezTo>
                  <a:pt x="8978" y="3703"/>
                  <a:pt x="9001" y="3715"/>
                  <a:pt x="9037" y="3739"/>
                </a:cubicBezTo>
                <a:cubicBezTo>
                  <a:pt x="9061" y="3774"/>
                  <a:pt x="9085" y="3822"/>
                  <a:pt x="9085" y="3846"/>
                </a:cubicBezTo>
                <a:cubicBezTo>
                  <a:pt x="9073" y="3917"/>
                  <a:pt x="9001" y="3977"/>
                  <a:pt x="8930" y="3977"/>
                </a:cubicBezTo>
                <a:cubicBezTo>
                  <a:pt x="8894" y="3977"/>
                  <a:pt x="8859" y="3965"/>
                  <a:pt x="8823" y="3941"/>
                </a:cubicBezTo>
                <a:cubicBezTo>
                  <a:pt x="8782" y="3901"/>
                  <a:pt x="8736" y="3877"/>
                  <a:pt x="8689" y="3877"/>
                </a:cubicBezTo>
                <a:cubicBezTo>
                  <a:pt x="8666" y="3877"/>
                  <a:pt x="8643" y="3882"/>
                  <a:pt x="8620" y="3893"/>
                </a:cubicBezTo>
                <a:cubicBezTo>
                  <a:pt x="8549" y="3917"/>
                  <a:pt x="8501" y="4001"/>
                  <a:pt x="8501" y="4072"/>
                </a:cubicBezTo>
                <a:lnTo>
                  <a:pt x="8501" y="8204"/>
                </a:lnTo>
                <a:lnTo>
                  <a:pt x="7918" y="8204"/>
                </a:lnTo>
                <a:lnTo>
                  <a:pt x="7918" y="6715"/>
                </a:lnTo>
                <a:cubicBezTo>
                  <a:pt x="7918" y="6632"/>
                  <a:pt x="7858" y="6572"/>
                  <a:pt x="7775" y="6572"/>
                </a:cubicBezTo>
                <a:cubicBezTo>
                  <a:pt x="7680" y="6572"/>
                  <a:pt x="7620" y="6632"/>
                  <a:pt x="7620" y="6715"/>
                </a:cubicBezTo>
                <a:lnTo>
                  <a:pt x="7620" y="8251"/>
                </a:lnTo>
                <a:cubicBezTo>
                  <a:pt x="7549" y="8299"/>
                  <a:pt x="7489" y="8382"/>
                  <a:pt x="7489" y="8477"/>
                </a:cubicBezTo>
                <a:lnTo>
                  <a:pt x="7489" y="8680"/>
                </a:lnTo>
                <a:lnTo>
                  <a:pt x="5882" y="8680"/>
                </a:lnTo>
                <a:lnTo>
                  <a:pt x="5882" y="8477"/>
                </a:lnTo>
                <a:cubicBezTo>
                  <a:pt x="5882" y="8370"/>
                  <a:pt x="5822" y="8299"/>
                  <a:pt x="5751" y="8251"/>
                </a:cubicBezTo>
                <a:lnTo>
                  <a:pt x="5751" y="4263"/>
                </a:lnTo>
                <a:cubicBezTo>
                  <a:pt x="5787" y="4274"/>
                  <a:pt x="5846" y="4298"/>
                  <a:pt x="5894" y="4298"/>
                </a:cubicBezTo>
                <a:cubicBezTo>
                  <a:pt x="6132" y="4298"/>
                  <a:pt x="6323" y="4096"/>
                  <a:pt x="6323" y="3882"/>
                </a:cubicBezTo>
                <a:cubicBezTo>
                  <a:pt x="6323" y="3822"/>
                  <a:pt x="6323" y="3763"/>
                  <a:pt x="6299" y="3715"/>
                </a:cubicBezTo>
                <a:lnTo>
                  <a:pt x="7037" y="3715"/>
                </a:lnTo>
                <a:cubicBezTo>
                  <a:pt x="7025" y="3763"/>
                  <a:pt x="7025" y="3786"/>
                  <a:pt x="7013" y="3834"/>
                </a:cubicBezTo>
                <a:cubicBezTo>
                  <a:pt x="7013" y="3953"/>
                  <a:pt x="7061" y="4072"/>
                  <a:pt x="7132" y="4155"/>
                </a:cubicBezTo>
                <a:cubicBezTo>
                  <a:pt x="7215" y="4251"/>
                  <a:pt x="7323" y="4298"/>
                  <a:pt x="7454" y="4298"/>
                </a:cubicBezTo>
                <a:cubicBezTo>
                  <a:pt x="7501" y="4298"/>
                  <a:pt x="7561" y="4274"/>
                  <a:pt x="7608" y="4263"/>
                </a:cubicBezTo>
                <a:lnTo>
                  <a:pt x="7608" y="5989"/>
                </a:lnTo>
                <a:cubicBezTo>
                  <a:pt x="7608" y="6084"/>
                  <a:pt x="7668" y="6144"/>
                  <a:pt x="7751" y="6144"/>
                </a:cubicBezTo>
                <a:cubicBezTo>
                  <a:pt x="7847" y="6144"/>
                  <a:pt x="7906" y="6084"/>
                  <a:pt x="7906" y="5989"/>
                </a:cubicBezTo>
                <a:lnTo>
                  <a:pt x="7906" y="4072"/>
                </a:lnTo>
                <a:cubicBezTo>
                  <a:pt x="7906" y="4001"/>
                  <a:pt x="7858" y="3917"/>
                  <a:pt x="7787" y="3893"/>
                </a:cubicBezTo>
                <a:cubicBezTo>
                  <a:pt x="7764" y="3882"/>
                  <a:pt x="7739" y="3877"/>
                  <a:pt x="7713" y="3877"/>
                </a:cubicBezTo>
                <a:cubicBezTo>
                  <a:pt x="7659" y="3877"/>
                  <a:pt x="7605" y="3901"/>
                  <a:pt x="7573" y="3941"/>
                </a:cubicBezTo>
                <a:cubicBezTo>
                  <a:pt x="7549" y="3965"/>
                  <a:pt x="7513" y="3977"/>
                  <a:pt x="7477" y="3977"/>
                </a:cubicBezTo>
                <a:cubicBezTo>
                  <a:pt x="7430" y="3977"/>
                  <a:pt x="7394" y="3965"/>
                  <a:pt x="7370" y="3941"/>
                </a:cubicBezTo>
                <a:cubicBezTo>
                  <a:pt x="7335" y="3905"/>
                  <a:pt x="7323" y="3858"/>
                  <a:pt x="7323" y="3834"/>
                </a:cubicBezTo>
                <a:cubicBezTo>
                  <a:pt x="7323" y="3763"/>
                  <a:pt x="7394" y="3703"/>
                  <a:pt x="7477" y="3703"/>
                </a:cubicBezTo>
                <a:close/>
                <a:moveTo>
                  <a:pt x="8990" y="8954"/>
                </a:moveTo>
                <a:cubicBezTo>
                  <a:pt x="9073" y="8954"/>
                  <a:pt x="9132" y="9013"/>
                  <a:pt x="9132" y="9085"/>
                </a:cubicBezTo>
                <a:lnTo>
                  <a:pt x="9132" y="9263"/>
                </a:lnTo>
                <a:lnTo>
                  <a:pt x="4263" y="9263"/>
                </a:lnTo>
                <a:cubicBezTo>
                  <a:pt x="4167" y="9263"/>
                  <a:pt x="4108" y="9323"/>
                  <a:pt x="4108" y="9418"/>
                </a:cubicBezTo>
                <a:cubicBezTo>
                  <a:pt x="4108" y="9501"/>
                  <a:pt x="4167" y="9561"/>
                  <a:pt x="4263" y="9561"/>
                </a:cubicBezTo>
                <a:lnTo>
                  <a:pt x="9311" y="9561"/>
                </a:lnTo>
                <a:cubicBezTo>
                  <a:pt x="9382" y="9561"/>
                  <a:pt x="9454" y="9620"/>
                  <a:pt x="9454" y="9716"/>
                </a:cubicBezTo>
                <a:lnTo>
                  <a:pt x="9454" y="9870"/>
                </a:lnTo>
                <a:lnTo>
                  <a:pt x="738" y="9870"/>
                </a:lnTo>
                <a:lnTo>
                  <a:pt x="738" y="9716"/>
                </a:lnTo>
                <a:cubicBezTo>
                  <a:pt x="738" y="9632"/>
                  <a:pt x="798" y="9561"/>
                  <a:pt x="881" y="9561"/>
                </a:cubicBezTo>
                <a:lnTo>
                  <a:pt x="3513" y="9561"/>
                </a:lnTo>
                <a:cubicBezTo>
                  <a:pt x="3608" y="9561"/>
                  <a:pt x="3667" y="9501"/>
                  <a:pt x="3667" y="9418"/>
                </a:cubicBezTo>
                <a:cubicBezTo>
                  <a:pt x="3667" y="9323"/>
                  <a:pt x="3608" y="9263"/>
                  <a:pt x="3513" y="9263"/>
                </a:cubicBezTo>
                <a:lnTo>
                  <a:pt x="1048" y="9263"/>
                </a:lnTo>
                <a:lnTo>
                  <a:pt x="1048" y="9085"/>
                </a:lnTo>
                <a:cubicBezTo>
                  <a:pt x="1048" y="9013"/>
                  <a:pt x="1108" y="8954"/>
                  <a:pt x="1179" y="8954"/>
                </a:cubicBezTo>
                <a:close/>
                <a:moveTo>
                  <a:pt x="5096" y="0"/>
                </a:moveTo>
                <a:cubicBezTo>
                  <a:pt x="5052" y="0"/>
                  <a:pt x="5007" y="12"/>
                  <a:pt x="4965" y="36"/>
                </a:cubicBezTo>
                <a:lnTo>
                  <a:pt x="858" y="2429"/>
                </a:lnTo>
                <a:cubicBezTo>
                  <a:pt x="834" y="2453"/>
                  <a:pt x="822" y="2453"/>
                  <a:pt x="822" y="2465"/>
                </a:cubicBezTo>
                <a:cubicBezTo>
                  <a:pt x="762" y="2524"/>
                  <a:pt x="715" y="2596"/>
                  <a:pt x="715" y="2691"/>
                </a:cubicBezTo>
                <a:lnTo>
                  <a:pt x="715" y="3429"/>
                </a:lnTo>
                <a:cubicBezTo>
                  <a:pt x="715" y="3560"/>
                  <a:pt x="822" y="3679"/>
                  <a:pt x="941" y="3715"/>
                </a:cubicBezTo>
                <a:cubicBezTo>
                  <a:pt x="929" y="3763"/>
                  <a:pt x="917" y="3798"/>
                  <a:pt x="917" y="3846"/>
                </a:cubicBezTo>
                <a:cubicBezTo>
                  <a:pt x="917" y="3965"/>
                  <a:pt x="953" y="4084"/>
                  <a:pt x="1036" y="4179"/>
                </a:cubicBezTo>
                <a:cubicBezTo>
                  <a:pt x="1119" y="4263"/>
                  <a:pt x="1227" y="4310"/>
                  <a:pt x="1358" y="4310"/>
                </a:cubicBezTo>
                <a:cubicBezTo>
                  <a:pt x="1405" y="4310"/>
                  <a:pt x="1465" y="4298"/>
                  <a:pt x="1512" y="4274"/>
                </a:cubicBezTo>
                <a:lnTo>
                  <a:pt x="1512" y="8263"/>
                </a:lnTo>
                <a:cubicBezTo>
                  <a:pt x="1429" y="8311"/>
                  <a:pt x="1370" y="8406"/>
                  <a:pt x="1370" y="8489"/>
                </a:cubicBezTo>
                <a:lnTo>
                  <a:pt x="1370" y="8704"/>
                </a:lnTo>
                <a:lnTo>
                  <a:pt x="1191" y="8704"/>
                </a:lnTo>
                <a:cubicBezTo>
                  <a:pt x="953" y="8704"/>
                  <a:pt x="762" y="8894"/>
                  <a:pt x="762" y="9132"/>
                </a:cubicBezTo>
                <a:lnTo>
                  <a:pt x="762" y="9323"/>
                </a:lnTo>
                <a:cubicBezTo>
                  <a:pt x="584" y="9382"/>
                  <a:pt x="453" y="9549"/>
                  <a:pt x="453" y="9739"/>
                </a:cubicBezTo>
                <a:lnTo>
                  <a:pt x="453" y="9906"/>
                </a:lnTo>
                <a:lnTo>
                  <a:pt x="155" y="9906"/>
                </a:lnTo>
                <a:cubicBezTo>
                  <a:pt x="60" y="9906"/>
                  <a:pt x="0" y="9966"/>
                  <a:pt x="0" y="10049"/>
                </a:cubicBezTo>
                <a:cubicBezTo>
                  <a:pt x="0" y="10144"/>
                  <a:pt x="60" y="10204"/>
                  <a:pt x="155" y="10204"/>
                </a:cubicBezTo>
                <a:lnTo>
                  <a:pt x="10049" y="10204"/>
                </a:lnTo>
                <a:cubicBezTo>
                  <a:pt x="10133" y="10204"/>
                  <a:pt x="10192" y="10144"/>
                  <a:pt x="10192" y="10049"/>
                </a:cubicBezTo>
                <a:cubicBezTo>
                  <a:pt x="10180" y="9954"/>
                  <a:pt x="10109" y="9870"/>
                  <a:pt x="10037" y="9870"/>
                </a:cubicBezTo>
                <a:lnTo>
                  <a:pt x="9740" y="9870"/>
                </a:lnTo>
                <a:lnTo>
                  <a:pt x="9740" y="9716"/>
                </a:lnTo>
                <a:cubicBezTo>
                  <a:pt x="9740" y="9513"/>
                  <a:pt x="9597" y="9335"/>
                  <a:pt x="9430" y="9299"/>
                </a:cubicBezTo>
                <a:lnTo>
                  <a:pt x="9430" y="9097"/>
                </a:lnTo>
                <a:cubicBezTo>
                  <a:pt x="9430" y="8858"/>
                  <a:pt x="9228" y="8668"/>
                  <a:pt x="8990" y="8668"/>
                </a:cubicBezTo>
                <a:lnTo>
                  <a:pt x="8918" y="8668"/>
                </a:lnTo>
                <a:lnTo>
                  <a:pt x="8918" y="8465"/>
                </a:lnTo>
                <a:cubicBezTo>
                  <a:pt x="8918" y="8358"/>
                  <a:pt x="8859" y="8287"/>
                  <a:pt x="8787" y="8239"/>
                </a:cubicBezTo>
                <a:lnTo>
                  <a:pt x="8787" y="4251"/>
                </a:lnTo>
                <a:cubicBezTo>
                  <a:pt x="8823" y="4263"/>
                  <a:pt x="8894" y="4274"/>
                  <a:pt x="8930" y="4274"/>
                </a:cubicBezTo>
                <a:cubicBezTo>
                  <a:pt x="9168" y="4274"/>
                  <a:pt x="9371" y="4084"/>
                  <a:pt x="9371" y="3858"/>
                </a:cubicBezTo>
                <a:cubicBezTo>
                  <a:pt x="9371" y="3786"/>
                  <a:pt x="9347" y="3715"/>
                  <a:pt x="9323" y="3655"/>
                </a:cubicBezTo>
                <a:cubicBezTo>
                  <a:pt x="9394" y="3608"/>
                  <a:pt x="9454" y="3524"/>
                  <a:pt x="9454" y="3417"/>
                </a:cubicBezTo>
                <a:lnTo>
                  <a:pt x="9454" y="2667"/>
                </a:lnTo>
                <a:cubicBezTo>
                  <a:pt x="9454" y="2572"/>
                  <a:pt x="9394" y="2465"/>
                  <a:pt x="9311" y="2417"/>
                </a:cubicBezTo>
                <a:lnTo>
                  <a:pt x="5227" y="36"/>
                </a:lnTo>
                <a:cubicBezTo>
                  <a:pt x="5185" y="12"/>
                  <a:pt x="5141" y="0"/>
                  <a:pt x="5096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708" name="Google Shape;12708;p62"/>
          <p:cNvGrpSpPr/>
          <p:nvPr/>
        </p:nvGrpSpPr>
        <p:grpSpPr>
          <a:xfrm>
            <a:off x="5811827" y="3806451"/>
            <a:ext cx="283743" cy="308444"/>
            <a:chOff x="5964227" y="3858701"/>
            <a:chExt cx="283743" cy="308444"/>
          </a:xfrm>
        </p:grpSpPr>
        <p:sp>
          <p:nvSpPr>
            <p:cNvPr id="12709" name="Google Shape;12709;p62"/>
            <p:cNvSpPr/>
            <p:nvPr/>
          </p:nvSpPr>
          <p:spPr>
            <a:xfrm>
              <a:off x="5964227" y="3858701"/>
              <a:ext cx="283743" cy="308444"/>
            </a:xfrm>
            <a:custGeom>
              <a:avLst/>
              <a:gdLst/>
              <a:ahLst/>
              <a:cxnLst/>
              <a:rect l="l" t="t" r="r" b="b"/>
              <a:pathLst>
                <a:path w="6978" h="7585" extrusionOk="0">
                  <a:moveTo>
                    <a:pt x="6084" y="3060"/>
                  </a:moveTo>
                  <a:cubicBezTo>
                    <a:pt x="6453" y="3120"/>
                    <a:pt x="6739" y="3429"/>
                    <a:pt x="6739" y="3822"/>
                  </a:cubicBezTo>
                  <a:cubicBezTo>
                    <a:pt x="6739" y="4203"/>
                    <a:pt x="6453" y="4525"/>
                    <a:pt x="6084" y="4584"/>
                  </a:cubicBezTo>
                  <a:lnTo>
                    <a:pt x="6084" y="3060"/>
                  </a:lnTo>
                  <a:close/>
                  <a:moveTo>
                    <a:pt x="881" y="2929"/>
                  </a:moveTo>
                  <a:lnTo>
                    <a:pt x="881" y="4715"/>
                  </a:lnTo>
                  <a:lnTo>
                    <a:pt x="607" y="4715"/>
                  </a:lnTo>
                  <a:cubicBezTo>
                    <a:pt x="405" y="4715"/>
                    <a:pt x="226" y="4536"/>
                    <a:pt x="226" y="4322"/>
                  </a:cubicBezTo>
                  <a:lnTo>
                    <a:pt x="226" y="3310"/>
                  </a:lnTo>
                  <a:cubicBezTo>
                    <a:pt x="226" y="3108"/>
                    <a:pt x="405" y="2929"/>
                    <a:pt x="607" y="2929"/>
                  </a:cubicBezTo>
                  <a:close/>
                  <a:moveTo>
                    <a:pt x="1893" y="2917"/>
                  </a:moveTo>
                  <a:lnTo>
                    <a:pt x="1893" y="4715"/>
                  </a:lnTo>
                  <a:lnTo>
                    <a:pt x="1107" y="4715"/>
                  </a:lnTo>
                  <a:lnTo>
                    <a:pt x="1107" y="2917"/>
                  </a:lnTo>
                  <a:close/>
                  <a:moveTo>
                    <a:pt x="2024" y="5596"/>
                  </a:moveTo>
                  <a:lnTo>
                    <a:pt x="2024" y="6108"/>
                  </a:lnTo>
                  <a:lnTo>
                    <a:pt x="1798" y="6108"/>
                  </a:lnTo>
                  <a:lnTo>
                    <a:pt x="1929" y="5596"/>
                  </a:lnTo>
                  <a:close/>
                  <a:moveTo>
                    <a:pt x="1858" y="4953"/>
                  </a:moveTo>
                  <a:lnTo>
                    <a:pt x="1405" y="6620"/>
                  </a:lnTo>
                  <a:lnTo>
                    <a:pt x="1107" y="6620"/>
                  </a:lnTo>
                  <a:lnTo>
                    <a:pt x="1107" y="4953"/>
                  </a:lnTo>
                  <a:close/>
                  <a:moveTo>
                    <a:pt x="5846" y="250"/>
                  </a:moveTo>
                  <a:lnTo>
                    <a:pt x="5846" y="7394"/>
                  </a:lnTo>
                  <a:lnTo>
                    <a:pt x="5322" y="7394"/>
                  </a:lnTo>
                  <a:lnTo>
                    <a:pt x="5322" y="2358"/>
                  </a:lnTo>
                  <a:cubicBezTo>
                    <a:pt x="5322" y="2298"/>
                    <a:pt x="5263" y="2239"/>
                    <a:pt x="5203" y="2239"/>
                  </a:cubicBezTo>
                  <a:cubicBezTo>
                    <a:pt x="5144" y="2239"/>
                    <a:pt x="5084" y="2298"/>
                    <a:pt x="5084" y="2358"/>
                  </a:cubicBezTo>
                  <a:lnTo>
                    <a:pt x="5084" y="6608"/>
                  </a:lnTo>
                  <a:cubicBezTo>
                    <a:pt x="4941" y="6394"/>
                    <a:pt x="4715" y="6108"/>
                    <a:pt x="4417" y="5834"/>
                  </a:cubicBezTo>
                  <a:cubicBezTo>
                    <a:pt x="4096" y="5501"/>
                    <a:pt x="3739" y="5251"/>
                    <a:pt x="3393" y="5072"/>
                  </a:cubicBezTo>
                  <a:cubicBezTo>
                    <a:pt x="2989" y="4858"/>
                    <a:pt x="2572" y="4739"/>
                    <a:pt x="2155" y="4727"/>
                  </a:cubicBezTo>
                  <a:lnTo>
                    <a:pt x="2155" y="2917"/>
                  </a:lnTo>
                  <a:cubicBezTo>
                    <a:pt x="2572" y="2893"/>
                    <a:pt x="2989" y="2774"/>
                    <a:pt x="3393" y="2572"/>
                  </a:cubicBezTo>
                  <a:cubicBezTo>
                    <a:pt x="3751" y="2393"/>
                    <a:pt x="4096" y="2120"/>
                    <a:pt x="4417" y="1810"/>
                  </a:cubicBezTo>
                  <a:cubicBezTo>
                    <a:pt x="4715" y="1524"/>
                    <a:pt x="4941" y="1250"/>
                    <a:pt x="5084" y="1036"/>
                  </a:cubicBezTo>
                  <a:lnTo>
                    <a:pt x="5084" y="1798"/>
                  </a:lnTo>
                  <a:cubicBezTo>
                    <a:pt x="5084" y="1858"/>
                    <a:pt x="5144" y="1917"/>
                    <a:pt x="5203" y="1917"/>
                  </a:cubicBezTo>
                  <a:cubicBezTo>
                    <a:pt x="5263" y="1917"/>
                    <a:pt x="5322" y="1858"/>
                    <a:pt x="5322" y="1798"/>
                  </a:cubicBezTo>
                  <a:lnTo>
                    <a:pt x="5322" y="250"/>
                  </a:lnTo>
                  <a:close/>
                  <a:moveTo>
                    <a:pt x="5203" y="0"/>
                  </a:moveTo>
                  <a:cubicBezTo>
                    <a:pt x="5144" y="0"/>
                    <a:pt x="5084" y="60"/>
                    <a:pt x="5084" y="119"/>
                  </a:cubicBezTo>
                  <a:lnTo>
                    <a:pt x="5084" y="596"/>
                  </a:lnTo>
                  <a:cubicBezTo>
                    <a:pt x="5013" y="715"/>
                    <a:pt x="4715" y="1167"/>
                    <a:pt x="4239" y="1619"/>
                  </a:cubicBezTo>
                  <a:cubicBezTo>
                    <a:pt x="3751" y="2096"/>
                    <a:pt x="2965" y="2655"/>
                    <a:pt x="2024" y="2655"/>
                  </a:cubicBezTo>
                  <a:lnTo>
                    <a:pt x="619" y="2655"/>
                  </a:lnTo>
                  <a:cubicBezTo>
                    <a:pt x="286" y="2655"/>
                    <a:pt x="0" y="2941"/>
                    <a:pt x="0" y="3286"/>
                  </a:cubicBezTo>
                  <a:lnTo>
                    <a:pt x="0" y="4298"/>
                  </a:lnTo>
                  <a:cubicBezTo>
                    <a:pt x="0" y="4632"/>
                    <a:pt x="286" y="4917"/>
                    <a:pt x="619" y="4917"/>
                  </a:cubicBezTo>
                  <a:lnTo>
                    <a:pt x="893" y="4917"/>
                  </a:lnTo>
                  <a:lnTo>
                    <a:pt x="893" y="6703"/>
                  </a:lnTo>
                  <a:cubicBezTo>
                    <a:pt x="893" y="6763"/>
                    <a:pt x="953" y="6822"/>
                    <a:pt x="1012" y="6822"/>
                  </a:cubicBezTo>
                  <a:lnTo>
                    <a:pt x="1512" y="6822"/>
                  </a:lnTo>
                  <a:cubicBezTo>
                    <a:pt x="1572" y="6822"/>
                    <a:pt x="1619" y="6799"/>
                    <a:pt x="1631" y="6739"/>
                  </a:cubicBezTo>
                  <a:lnTo>
                    <a:pt x="1750" y="6322"/>
                  </a:lnTo>
                  <a:lnTo>
                    <a:pt x="2155" y="6322"/>
                  </a:lnTo>
                  <a:cubicBezTo>
                    <a:pt x="2215" y="6322"/>
                    <a:pt x="2274" y="6263"/>
                    <a:pt x="2274" y="6203"/>
                  </a:cubicBezTo>
                  <a:lnTo>
                    <a:pt x="2274" y="5441"/>
                  </a:lnTo>
                  <a:cubicBezTo>
                    <a:pt x="2274" y="5382"/>
                    <a:pt x="2215" y="5322"/>
                    <a:pt x="2155" y="5322"/>
                  </a:cubicBezTo>
                  <a:lnTo>
                    <a:pt x="2012" y="5322"/>
                  </a:lnTo>
                  <a:lnTo>
                    <a:pt x="2108" y="4917"/>
                  </a:lnTo>
                  <a:cubicBezTo>
                    <a:pt x="3024" y="4953"/>
                    <a:pt x="3763" y="5501"/>
                    <a:pt x="4239" y="5965"/>
                  </a:cubicBezTo>
                  <a:cubicBezTo>
                    <a:pt x="4715" y="6430"/>
                    <a:pt x="5013" y="6882"/>
                    <a:pt x="5084" y="6989"/>
                  </a:cubicBezTo>
                  <a:lnTo>
                    <a:pt x="5084" y="7465"/>
                  </a:lnTo>
                  <a:cubicBezTo>
                    <a:pt x="5084" y="7525"/>
                    <a:pt x="5144" y="7584"/>
                    <a:pt x="5203" y="7584"/>
                  </a:cubicBezTo>
                  <a:lnTo>
                    <a:pt x="5965" y="7584"/>
                  </a:lnTo>
                  <a:cubicBezTo>
                    <a:pt x="6025" y="7584"/>
                    <a:pt x="6084" y="7525"/>
                    <a:pt x="6084" y="7465"/>
                  </a:cubicBezTo>
                  <a:lnTo>
                    <a:pt x="6084" y="4775"/>
                  </a:lnTo>
                  <a:cubicBezTo>
                    <a:pt x="6596" y="4715"/>
                    <a:pt x="6977" y="4286"/>
                    <a:pt x="6977" y="3774"/>
                  </a:cubicBezTo>
                  <a:cubicBezTo>
                    <a:pt x="6977" y="3298"/>
                    <a:pt x="6596" y="2870"/>
                    <a:pt x="6084" y="2810"/>
                  </a:cubicBezTo>
                  <a:lnTo>
                    <a:pt x="6084" y="119"/>
                  </a:lnTo>
                  <a:cubicBezTo>
                    <a:pt x="6084" y="60"/>
                    <a:pt x="6025" y="0"/>
                    <a:pt x="5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0" name="Google Shape;12710;p62"/>
            <p:cNvSpPr/>
            <p:nvPr/>
          </p:nvSpPr>
          <p:spPr>
            <a:xfrm>
              <a:off x="6202788" y="3976471"/>
              <a:ext cx="19719" cy="7601"/>
            </a:xfrm>
            <a:custGeom>
              <a:avLst/>
              <a:gdLst/>
              <a:ahLst/>
              <a:cxnLst/>
              <a:rect l="l" t="t" r="r" b="b"/>
              <a:pathLst>
                <a:path w="620" h="239" extrusionOk="0">
                  <a:moveTo>
                    <a:pt x="119" y="0"/>
                  </a:moveTo>
                  <a:cubicBezTo>
                    <a:pt x="60" y="0"/>
                    <a:pt x="0" y="60"/>
                    <a:pt x="0" y="119"/>
                  </a:cubicBezTo>
                  <a:cubicBezTo>
                    <a:pt x="0" y="179"/>
                    <a:pt x="60" y="238"/>
                    <a:pt x="119" y="238"/>
                  </a:cubicBezTo>
                  <a:lnTo>
                    <a:pt x="500" y="238"/>
                  </a:lnTo>
                  <a:cubicBezTo>
                    <a:pt x="560" y="238"/>
                    <a:pt x="619" y="179"/>
                    <a:pt x="619" y="119"/>
                  </a:cubicBezTo>
                  <a:cubicBezTo>
                    <a:pt x="619" y="60"/>
                    <a:pt x="560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1" name="Google Shape;12711;p62"/>
            <p:cNvSpPr/>
            <p:nvPr/>
          </p:nvSpPr>
          <p:spPr>
            <a:xfrm>
              <a:off x="6186122" y="3930259"/>
              <a:ext cx="17429" cy="16316"/>
            </a:xfrm>
            <a:custGeom>
              <a:avLst/>
              <a:gdLst/>
              <a:ahLst/>
              <a:cxnLst/>
              <a:rect l="l" t="t" r="r" b="b"/>
              <a:pathLst>
                <a:path w="548" h="513" extrusionOk="0">
                  <a:moveTo>
                    <a:pt x="429" y="0"/>
                  </a:moveTo>
                  <a:cubicBezTo>
                    <a:pt x="399" y="0"/>
                    <a:pt x="369" y="12"/>
                    <a:pt x="346" y="36"/>
                  </a:cubicBezTo>
                  <a:lnTo>
                    <a:pt x="72" y="298"/>
                  </a:lnTo>
                  <a:cubicBezTo>
                    <a:pt x="0" y="381"/>
                    <a:pt x="60" y="512"/>
                    <a:pt x="167" y="512"/>
                  </a:cubicBezTo>
                  <a:cubicBezTo>
                    <a:pt x="191" y="512"/>
                    <a:pt x="226" y="501"/>
                    <a:pt x="250" y="477"/>
                  </a:cubicBezTo>
                  <a:lnTo>
                    <a:pt x="524" y="215"/>
                  </a:lnTo>
                  <a:cubicBezTo>
                    <a:pt x="548" y="167"/>
                    <a:pt x="548" y="84"/>
                    <a:pt x="512" y="36"/>
                  </a:cubicBezTo>
                  <a:cubicBezTo>
                    <a:pt x="488" y="12"/>
                    <a:pt x="459" y="0"/>
                    <a:pt x="4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2" name="Google Shape;12712;p62"/>
            <p:cNvSpPr/>
            <p:nvPr/>
          </p:nvSpPr>
          <p:spPr>
            <a:xfrm>
              <a:off x="6187235" y="4013556"/>
              <a:ext cx="16316" cy="15934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120" y="1"/>
                  </a:moveTo>
                  <a:cubicBezTo>
                    <a:pt x="90" y="1"/>
                    <a:pt x="61" y="13"/>
                    <a:pt x="37" y="37"/>
                  </a:cubicBezTo>
                  <a:cubicBezTo>
                    <a:pt x="1" y="84"/>
                    <a:pt x="1" y="156"/>
                    <a:pt x="37" y="203"/>
                  </a:cubicBezTo>
                  <a:lnTo>
                    <a:pt x="311" y="465"/>
                  </a:lnTo>
                  <a:cubicBezTo>
                    <a:pt x="334" y="489"/>
                    <a:pt x="367" y="501"/>
                    <a:pt x="400" y="501"/>
                  </a:cubicBezTo>
                  <a:cubicBezTo>
                    <a:pt x="433" y="501"/>
                    <a:pt x="465" y="489"/>
                    <a:pt x="489" y="465"/>
                  </a:cubicBezTo>
                  <a:cubicBezTo>
                    <a:pt x="513" y="429"/>
                    <a:pt x="513" y="346"/>
                    <a:pt x="477" y="310"/>
                  </a:cubicBezTo>
                  <a:lnTo>
                    <a:pt x="203" y="37"/>
                  </a:lnTo>
                  <a:cubicBezTo>
                    <a:pt x="180" y="13"/>
                    <a:pt x="150" y="1"/>
                    <a:pt x="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13" name="Google Shape;12713;p62"/>
          <p:cNvGrpSpPr/>
          <p:nvPr/>
        </p:nvGrpSpPr>
        <p:grpSpPr>
          <a:xfrm>
            <a:off x="6243508" y="3873073"/>
            <a:ext cx="320372" cy="213602"/>
            <a:chOff x="6395908" y="3873073"/>
            <a:chExt cx="320372" cy="213602"/>
          </a:xfrm>
        </p:grpSpPr>
        <p:sp>
          <p:nvSpPr>
            <p:cNvPr id="12714" name="Google Shape;12714;p62"/>
            <p:cNvSpPr/>
            <p:nvPr/>
          </p:nvSpPr>
          <p:spPr>
            <a:xfrm>
              <a:off x="6395908" y="3873073"/>
              <a:ext cx="320372" cy="213602"/>
            </a:xfrm>
            <a:custGeom>
              <a:avLst/>
              <a:gdLst/>
              <a:ahLst/>
              <a:cxnLst/>
              <a:rect l="l" t="t" r="r" b="b"/>
              <a:pathLst>
                <a:path w="10073" h="6716" extrusionOk="0">
                  <a:moveTo>
                    <a:pt x="9585" y="310"/>
                  </a:moveTo>
                  <a:cubicBezTo>
                    <a:pt x="9692" y="310"/>
                    <a:pt x="9763" y="394"/>
                    <a:pt x="9763" y="501"/>
                  </a:cubicBezTo>
                  <a:lnTo>
                    <a:pt x="9763" y="6228"/>
                  </a:lnTo>
                  <a:cubicBezTo>
                    <a:pt x="9763" y="6335"/>
                    <a:pt x="9692" y="6406"/>
                    <a:pt x="9585" y="6406"/>
                  </a:cubicBezTo>
                  <a:lnTo>
                    <a:pt x="488" y="6406"/>
                  </a:lnTo>
                  <a:cubicBezTo>
                    <a:pt x="381" y="6406"/>
                    <a:pt x="310" y="6335"/>
                    <a:pt x="310" y="6228"/>
                  </a:cubicBezTo>
                  <a:lnTo>
                    <a:pt x="310" y="501"/>
                  </a:lnTo>
                  <a:cubicBezTo>
                    <a:pt x="310" y="394"/>
                    <a:pt x="381" y="310"/>
                    <a:pt x="488" y="310"/>
                  </a:cubicBezTo>
                  <a:close/>
                  <a:moveTo>
                    <a:pt x="488" y="1"/>
                  </a:moveTo>
                  <a:cubicBezTo>
                    <a:pt x="227" y="1"/>
                    <a:pt x="0" y="227"/>
                    <a:pt x="0" y="501"/>
                  </a:cubicBezTo>
                  <a:lnTo>
                    <a:pt x="0" y="6228"/>
                  </a:lnTo>
                  <a:cubicBezTo>
                    <a:pt x="0" y="6490"/>
                    <a:pt x="227" y="6716"/>
                    <a:pt x="488" y="6716"/>
                  </a:cubicBezTo>
                  <a:lnTo>
                    <a:pt x="9585" y="6716"/>
                  </a:lnTo>
                  <a:cubicBezTo>
                    <a:pt x="9847" y="6716"/>
                    <a:pt x="10073" y="6490"/>
                    <a:pt x="10073" y="6228"/>
                  </a:cubicBezTo>
                  <a:lnTo>
                    <a:pt x="10073" y="501"/>
                  </a:lnTo>
                  <a:cubicBezTo>
                    <a:pt x="10073" y="227"/>
                    <a:pt x="9871" y="1"/>
                    <a:pt x="95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5" name="Google Shape;12715;p62"/>
            <p:cNvSpPr/>
            <p:nvPr/>
          </p:nvSpPr>
          <p:spPr>
            <a:xfrm>
              <a:off x="6427713" y="3894669"/>
              <a:ext cx="256762" cy="171175"/>
            </a:xfrm>
            <a:custGeom>
              <a:avLst/>
              <a:gdLst/>
              <a:ahLst/>
              <a:cxnLst/>
              <a:rect l="l" t="t" r="r" b="b"/>
              <a:pathLst>
                <a:path w="8073" h="5382" extrusionOk="0">
                  <a:moveTo>
                    <a:pt x="7751" y="322"/>
                  </a:moveTo>
                  <a:lnTo>
                    <a:pt x="7751" y="5060"/>
                  </a:lnTo>
                  <a:lnTo>
                    <a:pt x="310" y="5060"/>
                  </a:lnTo>
                  <a:lnTo>
                    <a:pt x="310" y="322"/>
                  </a:lnTo>
                  <a:close/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215"/>
                  </a:lnTo>
                  <a:cubicBezTo>
                    <a:pt x="0" y="5310"/>
                    <a:pt x="72" y="5382"/>
                    <a:pt x="155" y="5382"/>
                  </a:cubicBezTo>
                  <a:lnTo>
                    <a:pt x="7918" y="5382"/>
                  </a:lnTo>
                  <a:cubicBezTo>
                    <a:pt x="8001" y="5382"/>
                    <a:pt x="8073" y="5310"/>
                    <a:pt x="8073" y="5215"/>
                  </a:cubicBezTo>
                  <a:lnTo>
                    <a:pt x="8073" y="155"/>
                  </a:lnTo>
                  <a:cubicBezTo>
                    <a:pt x="8073" y="72"/>
                    <a:pt x="8001" y="0"/>
                    <a:pt x="7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6" name="Google Shape;12716;p62"/>
            <p:cNvSpPr/>
            <p:nvPr/>
          </p:nvSpPr>
          <p:spPr>
            <a:xfrm>
              <a:off x="6411429" y="3969633"/>
              <a:ext cx="10623" cy="21627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513"/>
                  </a:lnTo>
                  <a:cubicBezTo>
                    <a:pt x="0" y="596"/>
                    <a:pt x="72" y="679"/>
                    <a:pt x="167" y="679"/>
                  </a:cubicBezTo>
                  <a:cubicBezTo>
                    <a:pt x="251" y="679"/>
                    <a:pt x="334" y="596"/>
                    <a:pt x="334" y="513"/>
                  </a:cubicBezTo>
                  <a:lnTo>
                    <a:pt x="334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7" name="Google Shape;12717;p62"/>
            <p:cNvSpPr/>
            <p:nvPr/>
          </p:nvSpPr>
          <p:spPr>
            <a:xfrm>
              <a:off x="6690136" y="3964704"/>
              <a:ext cx="10623" cy="31487"/>
            </a:xfrm>
            <a:custGeom>
              <a:avLst/>
              <a:gdLst/>
              <a:ahLst/>
              <a:cxnLst/>
              <a:rect l="l" t="t" r="r" b="b"/>
              <a:pathLst>
                <a:path w="334" h="990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834"/>
                  </a:lnTo>
                  <a:cubicBezTo>
                    <a:pt x="0" y="918"/>
                    <a:pt x="84" y="989"/>
                    <a:pt x="167" y="989"/>
                  </a:cubicBezTo>
                  <a:cubicBezTo>
                    <a:pt x="251" y="989"/>
                    <a:pt x="334" y="918"/>
                    <a:pt x="334" y="834"/>
                  </a:cubicBezTo>
                  <a:lnTo>
                    <a:pt x="334" y="156"/>
                  </a:lnTo>
                  <a:cubicBezTo>
                    <a:pt x="334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8" name="Google Shape;12718;p62"/>
            <p:cNvSpPr/>
            <p:nvPr/>
          </p:nvSpPr>
          <p:spPr>
            <a:xfrm>
              <a:off x="6690136" y="3894669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251" y="322"/>
                    <a:pt x="334" y="250"/>
                    <a:pt x="334" y="155"/>
                  </a:cubicBez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9" name="Google Shape;12719;p62"/>
            <p:cNvSpPr/>
            <p:nvPr/>
          </p:nvSpPr>
          <p:spPr>
            <a:xfrm>
              <a:off x="6411429" y="3942758"/>
              <a:ext cx="10623" cy="15553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67" y="489"/>
                  </a:cubicBezTo>
                  <a:cubicBezTo>
                    <a:pt x="251" y="489"/>
                    <a:pt x="334" y="417"/>
                    <a:pt x="334" y="33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0" name="Google Shape;12720;p62"/>
            <p:cNvSpPr/>
            <p:nvPr/>
          </p:nvSpPr>
          <p:spPr>
            <a:xfrm>
              <a:off x="6411429" y="4001820"/>
              <a:ext cx="10623" cy="15934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501"/>
                    <a:pt x="167" y="501"/>
                  </a:cubicBezTo>
                  <a:cubicBezTo>
                    <a:pt x="251" y="501"/>
                    <a:pt x="334" y="417"/>
                    <a:pt x="334" y="334"/>
                  </a:cubicBezTo>
                  <a:lnTo>
                    <a:pt x="334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1" name="Google Shape;12721;p62"/>
            <p:cNvSpPr/>
            <p:nvPr/>
          </p:nvSpPr>
          <p:spPr>
            <a:xfrm>
              <a:off x="6448927" y="4017723"/>
              <a:ext cx="214366" cy="32218"/>
            </a:xfrm>
            <a:custGeom>
              <a:avLst/>
              <a:gdLst/>
              <a:ahLst/>
              <a:cxnLst/>
              <a:rect l="l" t="t" r="r" b="b"/>
              <a:pathLst>
                <a:path w="6740" h="1013" extrusionOk="0">
                  <a:moveTo>
                    <a:pt x="1512" y="322"/>
                  </a:moveTo>
                  <a:cubicBezTo>
                    <a:pt x="1619" y="322"/>
                    <a:pt x="1691" y="394"/>
                    <a:pt x="1691" y="501"/>
                  </a:cubicBezTo>
                  <a:cubicBezTo>
                    <a:pt x="1691" y="608"/>
                    <a:pt x="1619" y="679"/>
                    <a:pt x="1512" y="679"/>
                  </a:cubicBezTo>
                  <a:cubicBezTo>
                    <a:pt x="1417" y="679"/>
                    <a:pt x="1334" y="608"/>
                    <a:pt x="1334" y="501"/>
                  </a:cubicBezTo>
                  <a:cubicBezTo>
                    <a:pt x="1334" y="394"/>
                    <a:pt x="1417" y="322"/>
                    <a:pt x="1512" y="322"/>
                  </a:cubicBezTo>
                  <a:close/>
                  <a:moveTo>
                    <a:pt x="1512" y="1"/>
                  </a:moveTo>
                  <a:cubicBezTo>
                    <a:pt x="1298" y="1"/>
                    <a:pt x="1119" y="132"/>
                    <a:pt x="1036" y="334"/>
                  </a:cubicBezTo>
                  <a:lnTo>
                    <a:pt x="167" y="334"/>
                  </a:lnTo>
                  <a:cubicBezTo>
                    <a:pt x="72" y="334"/>
                    <a:pt x="0" y="418"/>
                    <a:pt x="0" y="501"/>
                  </a:cubicBezTo>
                  <a:cubicBezTo>
                    <a:pt x="0" y="596"/>
                    <a:pt x="72" y="668"/>
                    <a:pt x="167" y="668"/>
                  </a:cubicBezTo>
                  <a:lnTo>
                    <a:pt x="1036" y="668"/>
                  </a:lnTo>
                  <a:cubicBezTo>
                    <a:pt x="1096" y="858"/>
                    <a:pt x="1298" y="1013"/>
                    <a:pt x="1512" y="1013"/>
                  </a:cubicBezTo>
                  <a:cubicBezTo>
                    <a:pt x="1739" y="1013"/>
                    <a:pt x="1917" y="870"/>
                    <a:pt x="1989" y="668"/>
                  </a:cubicBezTo>
                  <a:lnTo>
                    <a:pt x="6572" y="668"/>
                  </a:lnTo>
                  <a:cubicBezTo>
                    <a:pt x="6668" y="668"/>
                    <a:pt x="6739" y="596"/>
                    <a:pt x="6739" y="501"/>
                  </a:cubicBezTo>
                  <a:cubicBezTo>
                    <a:pt x="6727" y="418"/>
                    <a:pt x="6668" y="334"/>
                    <a:pt x="6572" y="334"/>
                  </a:cubicBezTo>
                  <a:lnTo>
                    <a:pt x="1989" y="334"/>
                  </a:lnTo>
                  <a:cubicBezTo>
                    <a:pt x="1929" y="144"/>
                    <a:pt x="1739" y="1"/>
                    <a:pt x="1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2" name="Google Shape;12722;p62"/>
            <p:cNvSpPr/>
            <p:nvPr/>
          </p:nvSpPr>
          <p:spPr>
            <a:xfrm>
              <a:off x="6535627" y="3940913"/>
              <a:ext cx="46244" cy="46181"/>
            </a:xfrm>
            <a:custGeom>
              <a:avLst/>
              <a:gdLst/>
              <a:ahLst/>
              <a:cxnLst/>
              <a:rect l="l" t="t" r="r" b="b"/>
              <a:pathLst>
                <a:path w="1454" h="1452" extrusionOk="0">
                  <a:moveTo>
                    <a:pt x="298" y="308"/>
                  </a:moveTo>
                  <a:lnTo>
                    <a:pt x="1096" y="713"/>
                  </a:lnTo>
                  <a:cubicBezTo>
                    <a:pt x="1108" y="713"/>
                    <a:pt x="1132" y="713"/>
                    <a:pt x="1108" y="725"/>
                  </a:cubicBezTo>
                  <a:lnTo>
                    <a:pt x="310" y="1130"/>
                  </a:lnTo>
                  <a:lnTo>
                    <a:pt x="298" y="1130"/>
                  </a:lnTo>
                  <a:lnTo>
                    <a:pt x="298" y="1118"/>
                  </a:lnTo>
                  <a:lnTo>
                    <a:pt x="298" y="332"/>
                  </a:lnTo>
                  <a:lnTo>
                    <a:pt x="298" y="308"/>
                  </a:lnTo>
                  <a:close/>
                  <a:moveTo>
                    <a:pt x="303" y="0"/>
                  </a:moveTo>
                  <a:cubicBezTo>
                    <a:pt x="247" y="0"/>
                    <a:pt x="194" y="15"/>
                    <a:pt x="144" y="46"/>
                  </a:cubicBezTo>
                  <a:cubicBezTo>
                    <a:pt x="36" y="106"/>
                    <a:pt x="1" y="213"/>
                    <a:pt x="1" y="332"/>
                  </a:cubicBezTo>
                  <a:lnTo>
                    <a:pt x="1" y="1130"/>
                  </a:lnTo>
                  <a:cubicBezTo>
                    <a:pt x="1" y="1249"/>
                    <a:pt x="60" y="1356"/>
                    <a:pt x="144" y="1416"/>
                  </a:cubicBezTo>
                  <a:cubicBezTo>
                    <a:pt x="203" y="1440"/>
                    <a:pt x="263" y="1451"/>
                    <a:pt x="322" y="1451"/>
                  </a:cubicBezTo>
                  <a:cubicBezTo>
                    <a:pt x="370" y="1451"/>
                    <a:pt x="429" y="1440"/>
                    <a:pt x="477" y="1428"/>
                  </a:cubicBezTo>
                  <a:lnTo>
                    <a:pt x="1275" y="1023"/>
                  </a:lnTo>
                  <a:cubicBezTo>
                    <a:pt x="1382" y="963"/>
                    <a:pt x="1453" y="856"/>
                    <a:pt x="1453" y="725"/>
                  </a:cubicBezTo>
                  <a:cubicBezTo>
                    <a:pt x="1453" y="594"/>
                    <a:pt x="1370" y="487"/>
                    <a:pt x="1263" y="427"/>
                  </a:cubicBezTo>
                  <a:lnTo>
                    <a:pt x="453" y="35"/>
                  </a:lnTo>
                  <a:cubicBezTo>
                    <a:pt x="403" y="12"/>
                    <a:pt x="352" y="0"/>
                    <a:pt x="3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3" name="Google Shape;12723;p62"/>
            <p:cNvSpPr/>
            <p:nvPr/>
          </p:nvSpPr>
          <p:spPr>
            <a:xfrm>
              <a:off x="6497016" y="3916233"/>
              <a:ext cx="117424" cy="96242"/>
            </a:xfrm>
            <a:custGeom>
              <a:avLst/>
              <a:gdLst/>
              <a:ahLst/>
              <a:cxnLst/>
              <a:rect l="l" t="t" r="r" b="b"/>
              <a:pathLst>
                <a:path w="3692" h="3026" extrusionOk="0">
                  <a:moveTo>
                    <a:pt x="2858" y="299"/>
                  </a:moveTo>
                  <a:cubicBezTo>
                    <a:pt x="3144" y="299"/>
                    <a:pt x="3382" y="537"/>
                    <a:pt x="3382" y="822"/>
                  </a:cubicBezTo>
                  <a:lnTo>
                    <a:pt x="3382" y="2180"/>
                  </a:lnTo>
                  <a:cubicBezTo>
                    <a:pt x="3382" y="2454"/>
                    <a:pt x="3144" y="2692"/>
                    <a:pt x="2858" y="2692"/>
                  </a:cubicBezTo>
                  <a:lnTo>
                    <a:pt x="834" y="2692"/>
                  </a:lnTo>
                  <a:cubicBezTo>
                    <a:pt x="560" y="2692"/>
                    <a:pt x="322" y="2454"/>
                    <a:pt x="322" y="2180"/>
                  </a:cubicBezTo>
                  <a:lnTo>
                    <a:pt x="322" y="822"/>
                  </a:lnTo>
                  <a:cubicBezTo>
                    <a:pt x="322" y="537"/>
                    <a:pt x="560" y="299"/>
                    <a:pt x="834" y="299"/>
                  </a:cubicBezTo>
                  <a:close/>
                  <a:moveTo>
                    <a:pt x="834" y="1"/>
                  </a:moveTo>
                  <a:cubicBezTo>
                    <a:pt x="381" y="1"/>
                    <a:pt x="0" y="370"/>
                    <a:pt x="0" y="834"/>
                  </a:cubicBezTo>
                  <a:lnTo>
                    <a:pt x="0" y="2192"/>
                  </a:lnTo>
                  <a:cubicBezTo>
                    <a:pt x="0" y="2656"/>
                    <a:pt x="381" y="3025"/>
                    <a:pt x="834" y="3025"/>
                  </a:cubicBezTo>
                  <a:lnTo>
                    <a:pt x="2858" y="3025"/>
                  </a:lnTo>
                  <a:cubicBezTo>
                    <a:pt x="3322" y="3025"/>
                    <a:pt x="3691" y="2656"/>
                    <a:pt x="3691" y="2192"/>
                  </a:cubicBezTo>
                  <a:lnTo>
                    <a:pt x="3691" y="834"/>
                  </a:lnTo>
                  <a:cubicBezTo>
                    <a:pt x="3691" y="370"/>
                    <a:pt x="3322" y="1"/>
                    <a:pt x="2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24" name="Google Shape;12724;p62"/>
          <p:cNvGrpSpPr/>
          <p:nvPr/>
        </p:nvGrpSpPr>
        <p:grpSpPr>
          <a:xfrm>
            <a:off x="7262890" y="3802816"/>
            <a:ext cx="357138" cy="352018"/>
            <a:chOff x="7415290" y="3802816"/>
            <a:chExt cx="357138" cy="352018"/>
          </a:xfrm>
        </p:grpSpPr>
        <p:sp>
          <p:nvSpPr>
            <p:cNvPr id="12725" name="Google Shape;12725;p62"/>
            <p:cNvSpPr/>
            <p:nvPr/>
          </p:nvSpPr>
          <p:spPr>
            <a:xfrm>
              <a:off x="7680385" y="3835289"/>
              <a:ext cx="59475" cy="58267"/>
            </a:xfrm>
            <a:custGeom>
              <a:avLst/>
              <a:gdLst/>
              <a:ahLst/>
              <a:cxnLst/>
              <a:rect l="l" t="t" r="r" b="b"/>
              <a:pathLst>
                <a:path w="1870" h="1832" extrusionOk="0">
                  <a:moveTo>
                    <a:pt x="1695" y="1"/>
                  </a:moveTo>
                  <a:cubicBezTo>
                    <a:pt x="1652" y="1"/>
                    <a:pt x="1608" y="16"/>
                    <a:pt x="1572" y="46"/>
                  </a:cubicBezTo>
                  <a:lnTo>
                    <a:pt x="60" y="1546"/>
                  </a:lnTo>
                  <a:cubicBezTo>
                    <a:pt x="0" y="1605"/>
                    <a:pt x="0" y="1713"/>
                    <a:pt x="60" y="1784"/>
                  </a:cubicBezTo>
                  <a:cubicBezTo>
                    <a:pt x="96" y="1820"/>
                    <a:pt x="143" y="1832"/>
                    <a:pt x="179" y="1832"/>
                  </a:cubicBezTo>
                  <a:cubicBezTo>
                    <a:pt x="227" y="1832"/>
                    <a:pt x="274" y="1820"/>
                    <a:pt x="298" y="1784"/>
                  </a:cubicBezTo>
                  <a:lnTo>
                    <a:pt x="1810" y="284"/>
                  </a:lnTo>
                  <a:cubicBezTo>
                    <a:pt x="1870" y="224"/>
                    <a:pt x="1870" y="117"/>
                    <a:pt x="1810" y="46"/>
                  </a:cubicBezTo>
                  <a:cubicBezTo>
                    <a:pt x="1780" y="16"/>
                    <a:pt x="1739" y="1"/>
                    <a:pt x="16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6" name="Google Shape;12726;p62"/>
            <p:cNvSpPr/>
            <p:nvPr/>
          </p:nvSpPr>
          <p:spPr>
            <a:xfrm>
              <a:off x="7659553" y="3805329"/>
              <a:ext cx="30310" cy="76109"/>
            </a:xfrm>
            <a:custGeom>
              <a:avLst/>
              <a:gdLst/>
              <a:ahLst/>
              <a:cxnLst/>
              <a:rect l="l" t="t" r="r" b="b"/>
              <a:pathLst>
                <a:path w="953" h="2393" extrusionOk="0">
                  <a:moveTo>
                    <a:pt x="771" y="1"/>
                  </a:moveTo>
                  <a:cubicBezTo>
                    <a:pt x="703" y="1"/>
                    <a:pt x="639" y="54"/>
                    <a:pt x="620" y="130"/>
                  </a:cubicBezTo>
                  <a:lnTo>
                    <a:pt x="36" y="2178"/>
                  </a:lnTo>
                  <a:cubicBezTo>
                    <a:pt x="0" y="2274"/>
                    <a:pt x="60" y="2357"/>
                    <a:pt x="155" y="2393"/>
                  </a:cubicBezTo>
                  <a:lnTo>
                    <a:pt x="191" y="2393"/>
                  </a:lnTo>
                  <a:cubicBezTo>
                    <a:pt x="274" y="2393"/>
                    <a:pt x="334" y="2345"/>
                    <a:pt x="358" y="2274"/>
                  </a:cubicBezTo>
                  <a:lnTo>
                    <a:pt x="941" y="214"/>
                  </a:lnTo>
                  <a:cubicBezTo>
                    <a:pt x="953" y="107"/>
                    <a:pt x="893" y="23"/>
                    <a:pt x="822" y="11"/>
                  </a:cubicBezTo>
                  <a:cubicBezTo>
                    <a:pt x="805" y="4"/>
                    <a:pt x="788" y="1"/>
                    <a:pt x="7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7" name="Google Shape;12727;p62"/>
            <p:cNvSpPr/>
            <p:nvPr/>
          </p:nvSpPr>
          <p:spPr>
            <a:xfrm>
              <a:off x="7619033" y="3802816"/>
              <a:ext cx="31837" cy="75600"/>
            </a:xfrm>
            <a:custGeom>
              <a:avLst/>
              <a:gdLst/>
              <a:ahLst/>
              <a:cxnLst/>
              <a:rect l="l" t="t" r="r" b="b"/>
              <a:pathLst>
                <a:path w="1001" h="2377" extrusionOk="0">
                  <a:moveTo>
                    <a:pt x="180" y="1"/>
                  </a:moveTo>
                  <a:cubicBezTo>
                    <a:pt x="164" y="1"/>
                    <a:pt x="148" y="3"/>
                    <a:pt x="131" y="7"/>
                  </a:cubicBezTo>
                  <a:cubicBezTo>
                    <a:pt x="48" y="43"/>
                    <a:pt x="1" y="126"/>
                    <a:pt x="24" y="221"/>
                  </a:cubicBezTo>
                  <a:lnTo>
                    <a:pt x="655" y="2257"/>
                  </a:lnTo>
                  <a:cubicBezTo>
                    <a:pt x="667" y="2329"/>
                    <a:pt x="739" y="2376"/>
                    <a:pt x="798" y="2376"/>
                  </a:cubicBezTo>
                  <a:lnTo>
                    <a:pt x="846" y="2376"/>
                  </a:lnTo>
                  <a:cubicBezTo>
                    <a:pt x="953" y="2329"/>
                    <a:pt x="1001" y="2245"/>
                    <a:pt x="965" y="2150"/>
                  </a:cubicBezTo>
                  <a:lnTo>
                    <a:pt x="346" y="114"/>
                  </a:lnTo>
                  <a:cubicBezTo>
                    <a:pt x="316" y="45"/>
                    <a:pt x="254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8" name="Google Shape;12728;p62"/>
            <p:cNvSpPr/>
            <p:nvPr/>
          </p:nvSpPr>
          <p:spPr>
            <a:xfrm>
              <a:off x="7693266" y="3885509"/>
              <a:ext cx="76904" cy="28879"/>
            </a:xfrm>
            <a:custGeom>
              <a:avLst/>
              <a:gdLst/>
              <a:ahLst/>
              <a:cxnLst/>
              <a:rect l="l" t="t" r="r" b="b"/>
              <a:pathLst>
                <a:path w="2418" h="908" extrusionOk="0">
                  <a:moveTo>
                    <a:pt x="2222" y="0"/>
                  </a:moveTo>
                  <a:cubicBezTo>
                    <a:pt x="2212" y="0"/>
                    <a:pt x="2201" y="1"/>
                    <a:pt x="2191" y="3"/>
                  </a:cubicBezTo>
                  <a:lnTo>
                    <a:pt x="131" y="586"/>
                  </a:lnTo>
                  <a:cubicBezTo>
                    <a:pt x="48" y="610"/>
                    <a:pt x="0" y="705"/>
                    <a:pt x="12" y="788"/>
                  </a:cubicBezTo>
                  <a:cubicBezTo>
                    <a:pt x="36" y="860"/>
                    <a:pt x="107" y="907"/>
                    <a:pt x="179" y="907"/>
                  </a:cubicBezTo>
                  <a:lnTo>
                    <a:pt x="226" y="907"/>
                  </a:lnTo>
                  <a:lnTo>
                    <a:pt x="2274" y="324"/>
                  </a:lnTo>
                  <a:cubicBezTo>
                    <a:pt x="2369" y="300"/>
                    <a:pt x="2417" y="193"/>
                    <a:pt x="2393" y="122"/>
                  </a:cubicBezTo>
                  <a:cubicBezTo>
                    <a:pt x="2372" y="38"/>
                    <a:pt x="2297" y="0"/>
                    <a:pt x="22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9" name="Google Shape;12729;p62"/>
            <p:cNvSpPr/>
            <p:nvPr/>
          </p:nvSpPr>
          <p:spPr>
            <a:xfrm>
              <a:off x="7695524" y="3924566"/>
              <a:ext cx="76904" cy="29960"/>
            </a:xfrm>
            <a:custGeom>
              <a:avLst/>
              <a:gdLst/>
              <a:ahLst/>
              <a:cxnLst/>
              <a:rect l="l" t="t" r="r" b="b"/>
              <a:pathLst>
                <a:path w="2418" h="942" extrusionOk="0">
                  <a:moveTo>
                    <a:pt x="180" y="1"/>
                  </a:moveTo>
                  <a:cubicBezTo>
                    <a:pt x="115" y="1"/>
                    <a:pt x="55" y="44"/>
                    <a:pt x="36" y="108"/>
                  </a:cubicBezTo>
                  <a:cubicBezTo>
                    <a:pt x="1" y="203"/>
                    <a:pt x="48" y="287"/>
                    <a:pt x="143" y="322"/>
                  </a:cubicBezTo>
                  <a:lnTo>
                    <a:pt x="2179" y="941"/>
                  </a:lnTo>
                  <a:lnTo>
                    <a:pt x="2227" y="941"/>
                  </a:lnTo>
                  <a:cubicBezTo>
                    <a:pt x="2298" y="941"/>
                    <a:pt x="2358" y="906"/>
                    <a:pt x="2370" y="822"/>
                  </a:cubicBezTo>
                  <a:cubicBezTo>
                    <a:pt x="2418" y="751"/>
                    <a:pt x="2370" y="668"/>
                    <a:pt x="2287" y="632"/>
                  </a:cubicBezTo>
                  <a:lnTo>
                    <a:pt x="239" y="13"/>
                  </a:lnTo>
                  <a:cubicBezTo>
                    <a:pt x="220" y="5"/>
                    <a:pt x="200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0" name="Google Shape;12730;p62"/>
            <p:cNvSpPr/>
            <p:nvPr/>
          </p:nvSpPr>
          <p:spPr>
            <a:xfrm>
              <a:off x="7473620" y="3916519"/>
              <a:ext cx="75378" cy="85333"/>
            </a:xfrm>
            <a:custGeom>
              <a:avLst/>
              <a:gdLst/>
              <a:ahLst/>
              <a:cxnLst/>
              <a:rect l="l" t="t" r="r" b="b"/>
              <a:pathLst>
                <a:path w="2370" h="2683" extrusionOk="0">
                  <a:moveTo>
                    <a:pt x="2184" y="0"/>
                  </a:moveTo>
                  <a:cubicBezTo>
                    <a:pt x="2139" y="0"/>
                    <a:pt x="2098" y="19"/>
                    <a:pt x="2072" y="51"/>
                  </a:cubicBezTo>
                  <a:lnTo>
                    <a:pt x="60" y="2421"/>
                  </a:lnTo>
                  <a:cubicBezTo>
                    <a:pt x="1" y="2492"/>
                    <a:pt x="12" y="2599"/>
                    <a:pt x="72" y="2647"/>
                  </a:cubicBezTo>
                  <a:cubicBezTo>
                    <a:pt x="108" y="2671"/>
                    <a:pt x="155" y="2683"/>
                    <a:pt x="179" y="2683"/>
                  </a:cubicBezTo>
                  <a:cubicBezTo>
                    <a:pt x="227" y="2683"/>
                    <a:pt x="274" y="2671"/>
                    <a:pt x="298" y="2623"/>
                  </a:cubicBezTo>
                  <a:lnTo>
                    <a:pt x="2310" y="266"/>
                  </a:lnTo>
                  <a:cubicBezTo>
                    <a:pt x="2370" y="182"/>
                    <a:pt x="2370" y="99"/>
                    <a:pt x="2298" y="40"/>
                  </a:cubicBezTo>
                  <a:cubicBezTo>
                    <a:pt x="2261" y="13"/>
                    <a:pt x="2221" y="0"/>
                    <a:pt x="2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1" name="Google Shape;12731;p62"/>
            <p:cNvSpPr/>
            <p:nvPr/>
          </p:nvSpPr>
          <p:spPr>
            <a:xfrm>
              <a:off x="7415290" y="3850078"/>
              <a:ext cx="310576" cy="304756"/>
            </a:xfrm>
            <a:custGeom>
              <a:avLst/>
              <a:gdLst/>
              <a:ahLst/>
              <a:cxnLst/>
              <a:rect l="l" t="t" r="r" b="b"/>
              <a:pathLst>
                <a:path w="9765" h="9582" extrusionOk="0">
                  <a:moveTo>
                    <a:pt x="5716" y="386"/>
                  </a:moveTo>
                  <a:cubicBezTo>
                    <a:pt x="5941" y="386"/>
                    <a:pt x="6202" y="495"/>
                    <a:pt x="6407" y="700"/>
                  </a:cubicBezTo>
                  <a:cubicBezTo>
                    <a:pt x="6645" y="938"/>
                    <a:pt x="6764" y="1259"/>
                    <a:pt x="6704" y="1533"/>
                  </a:cubicBezTo>
                  <a:lnTo>
                    <a:pt x="5573" y="402"/>
                  </a:lnTo>
                  <a:cubicBezTo>
                    <a:pt x="5618" y="391"/>
                    <a:pt x="5666" y="386"/>
                    <a:pt x="5716" y="386"/>
                  </a:cubicBezTo>
                  <a:close/>
                  <a:moveTo>
                    <a:pt x="5144" y="426"/>
                  </a:moveTo>
                  <a:lnTo>
                    <a:pt x="6657" y="1950"/>
                  </a:lnTo>
                  <a:lnTo>
                    <a:pt x="6347" y="2260"/>
                  </a:lnTo>
                  <a:lnTo>
                    <a:pt x="4823" y="747"/>
                  </a:lnTo>
                  <a:lnTo>
                    <a:pt x="5144" y="426"/>
                  </a:lnTo>
                  <a:close/>
                  <a:moveTo>
                    <a:pt x="8341" y="3017"/>
                  </a:moveTo>
                  <a:cubicBezTo>
                    <a:pt x="8572" y="3017"/>
                    <a:pt x="8831" y="3126"/>
                    <a:pt x="9026" y="3331"/>
                  </a:cubicBezTo>
                  <a:cubicBezTo>
                    <a:pt x="9276" y="3569"/>
                    <a:pt x="9383" y="3903"/>
                    <a:pt x="9324" y="4165"/>
                  </a:cubicBezTo>
                  <a:lnTo>
                    <a:pt x="8192" y="3033"/>
                  </a:lnTo>
                  <a:cubicBezTo>
                    <a:pt x="8240" y="3023"/>
                    <a:pt x="8290" y="3017"/>
                    <a:pt x="8341" y="3017"/>
                  </a:cubicBezTo>
                  <a:close/>
                  <a:moveTo>
                    <a:pt x="7776" y="3081"/>
                  </a:moveTo>
                  <a:lnTo>
                    <a:pt x="7800" y="3105"/>
                  </a:lnTo>
                  <a:lnTo>
                    <a:pt x="9288" y="4593"/>
                  </a:lnTo>
                  <a:lnTo>
                    <a:pt x="8978" y="4915"/>
                  </a:lnTo>
                  <a:lnTo>
                    <a:pt x="7466" y="3391"/>
                  </a:lnTo>
                  <a:lnTo>
                    <a:pt x="7776" y="3081"/>
                  </a:lnTo>
                  <a:close/>
                  <a:moveTo>
                    <a:pt x="3966" y="4796"/>
                  </a:moveTo>
                  <a:lnTo>
                    <a:pt x="4942" y="5772"/>
                  </a:lnTo>
                  <a:lnTo>
                    <a:pt x="4335" y="6498"/>
                  </a:lnTo>
                  <a:lnTo>
                    <a:pt x="3239" y="5403"/>
                  </a:lnTo>
                  <a:lnTo>
                    <a:pt x="3966" y="4796"/>
                  </a:lnTo>
                  <a:close/>
                  <a:moveTo>
                    <a:pt x="3573" y="7427"/>
                  </a:moveTo>
                  <a:lnTo>
                    <a:pt x="3680" y="7534"/>
                  </a:lnTo>
                  <a:lnTo>
                    <a:pt x="4930" y="8784"/>
                  </a:lnTo>
                  <a:lnTo>
                    <a:pt x="4442" y="9272"/>
                  </a:lnTo>
                  <a:lnTo>
                    <a:pt x="3085" y="7915"/>
                  </a:lnTo>
                  <a:lnTo>
                    <a:pt x="3573" y="7427"/>
                  </a:lnTo>
                  <a:close/>
                  <a:moveTo>
                    <a:pt x="5101" y="0"/>
                  </a:moveTo>
                  <a:cubicBezTo>
                    <a:pt x="5058" y="0"/>
                    <a:pt x="5013" y="15"/>
                    <a:pt x="4978" y="45"/>
                  </a:cubicBezTo>
                  <a:lnTo>
                    <a:pt x="4525" y="486"/>
                  </a:lnTo>
                  <a:cubicBezTo>
                    <a:pt x="4513" y="486"/>
                    <a:pt x="4490" y="474"/>
                    <a:pt x="4466" y="474"/>
                  </a:cubicBezTo>
                  <a:cubicBezTo>
                    <a:pt x="4430" y="474"/>
                    <a:pt x="4382" y="509"/>
                    <a:pt x="4347" y="533"/>
                  </a:cubicBezTo>
                  <a:lnTo>
                    <a:pt x="1096" y="4474"/>
                  </a:lnTo>
                  <a:lnTo>
                    <a:pt x="1001" y="4391"/>
                  </a:lnTo>
                  <a:cubicBezTo>
                    <a:pt x="971" y="4361"/>
                    <a:pt x="930" y="4346"/>
                    <a:pt x="886" y="4346"/>
                  </a:cubicBezTo>
                  <a:cubicBezTo>
                    <a:pt x="843" y="4346"/>
                    <a:pt x="799" y="4361"/>
                    <a:pt x="763" y="4391"/>
                  </a:cubicBezTo>
                  <a:lnTo>
                    <a:pt x="49" y="5105"/>
                  </a:lnTo>
                  <a:cubicBezTo>
                    <a:pt x="25" y="5129"/>
                    <a:pt x="1" y="5177"/>
                    <a:pt x="1" y="5224"/>
                  </a:cubicBezTo>
                  <a:cubicBezTo>
                    <a:pt x="1" y="5272"/>
                    <a:pt x="25" y="5308"/>
                    <a:pt x="49" y="5343"/>
                  </a:cubicBezTo>
                  <a:lnTo>
                    <a:pt x="703" y="5998"/>
                  </a:lnTo>
                  <a:cubicBezTo>
                    <a:pt x="733" y="6028"/>
                    <a:pt x="775" y="6043"/>
                    <a:pt x="818" y="6043"/>
                  </a:cubicBezTo>
                  <a:cubicBezTo>
                    <a:pt x="861" y="6043"/>
                    <a:pt x="906" y="6028"/>
                    <a:pt x="942" y="5998"/>
                  </a:cubicBezTo>
                  <a:cubicBezTo>
                    <a:pt x="1001" y="5939"/>
                    <a:pt x="1001" y="5831"/>
                    <a:pt x="942" y="5760"/>
                  </a:cubicBezTo>
                  <a:lnTo>
                    <a:pt x="406" y="5224"/>
                  </a:lnTo>
                  <a:lnTo>
                    <a:pt x="894" y="4736"/>
                  </a:lnTo>
                  <a:lnTo>
                    <a:pt x="989" y="4819"/>
                  </a:lnTo>
                  <a:lnTo>
                    <a:pt x="2144" y="5986"/>
                  </a:lnTo>
                  <a:lnTo>
                    <a:pt x="2239" y="6070"/>
                  </a:lnTo>
                  <a:lnTo>
                    <a:pt x="1751" y="6558"/>
                  </a:lnTo>
                  <a:lnTo>
                    <a:pt x="1394" y="6201"/>
                  </a:lnTo>
                  <a:cubicBezTo>
                    <a:pt x="1364" y="6171"/>
                    <a:pt x="1323" y="6156"/>
                    <a:pt x="1279" y="6156"/>
                  </a:cubicBezTo>
                  <a:cubicBezTo>
                    <a:pt x="1236" y="6156"/>
                    <a:pt x="1192" y="6171"/>
                    <a:pt x="1156" y="6201"/>
                  </a:cubicBezTo>
                  <a:cubicBezTo>
                    <a:pt x="1096" y="6260"/>
                    <a:pt x="1096" y="6367"/>
                    <a:pt x="1156" y="6439"/>
                  </a:cubicBezTo>
                  <a:lnTo>
                    <a:pt x="1632" y="6915"/>
                  </a:lnTo>
                  <a:cubicBezTo>
                    <a:pt x="1656" y="6951"/>
                    <a:pt x="1704" y="6963"/>
                    <a:pt x="1751" y="6963"/>
                  </a:cubicBezTo>
                  <a:cubicBezTo>
                    <a:pt x="1787" y="6963"/>
                    <a:pt x="1835" y="6951"/>
                    <a:pt x="1870" y="6915"/>
                  </a:cubicBezTo>
                  <a:lnTo>
                    <a:pt x="2585" y="6201"/>
                  </a:lnTo>
                  <a:cubicBezTo>
                    <a:pt x="2608" y="6177"/>
                    <a:pt x="2620" y="6129"/>
                    <a:pt x="2620" y="6081"/>
                  </a:cubicBezTo>
                  <a:cubicBezTo>
                    <a:pt x="2620" y="6046"/>
                    <a:pt x="2608" y="5998"/>
                    <a:pt x="2585" y="5962"/>
                  </a:cubicBezTo>
                  <a:lnTo>
                    <a:pt x="2489" y="5879"/>
                  </a:lnTo>
                  <a:lnTo>
                    <a:pt x="2906" y="5534"/>
                  </a:lnTo>
                  <a:lnTo>
                    <a:pt x="4049" y="6677"/>
                  </a:lnTo>
                  <a:lnTo>
                    <a:pt x="3716" y="7093"/>
                  </a:lnTo>
                  <a:lnTo>
                    <a:pt x="3620" y="7010"/>
                  </a:lnTo>
                  <a:cubicBezTo>
                    <a:pt x="3597" y="6974"/>
                    <a:pt x="3549" y="6963"/>
                    <a:pt x="3501" y="6963"/>
                  </a:cubicBezTo>
                  <a:cubicBezTo>
                    <a:pt x="3454" y="6963"/>
                    <a:pt x="3418" y="6974"/>
                    <a:pt x="3382" y="7010"/>
                  </a:cubicBezTo>
                  <a:lnTo>
                    <a:pt x="2668" y="7725"/>
                  </a:lnTo>
                  <a:cubicBezTo>
                    <a:pt x="2608" y="7784"/>
                    <a:pt x="2608" y="7891"/>
                    <a:pt x="2668" y="7963"/>
                  </a:cubicBezTo>
                  <a:lnTo>
                    <a:pt x="4251" y="9534"/>
                  </a:lnTo>
                  <a:cubicBezTo>
                    <a:pt x="4275" y="9570"/>
                    <a:pt x="4323" y="9582"/>
                    <a:pt x="4371" y="9582"/>
                  </a:cubicBezTo>
                  <a:cubicBezTo>
                    <a:pt x="4406" y="9582"/>
                    <a:pt x="4454" y="9570"/>
                    <a:pt x="4490" y="9534"/>
                  </a:cubicBezTo>
                  <a:lnTo>
                    <a:pt x="5204" y="8820"/>
                  </a:lnTo>
                  <a:cubicBezTo>
                    <a:pt x="5264" y="8760"/>
                    <a:pt x="5264" y="8665"/>
                    <a:pt x="5204" y="8582"/>
                  </a:cubicBezTo>
                  <a:lnTo>
                    <a:pt x="5109" y="8498"/>
                  </a:lnTo>
                  <a:lnTo>
                    <a:pt x="6966" y="6963"/>
                  </a:lnTo>
                  <a:cubicBezTo>
                    <a:pt x="7049" y="6903"/>
                    <a:pt x="7049" y="6796"/>
                    <a:pt x="6990" y="6736"/>
                  </a:cubicBezTo>
                  <a:cubicBezTo>
                    <a:pt x="6959" y="6699"/>
                    <a:pt x="6915" y="6681"/>
                    <a:pt x="6871" y="6681"/>
                  </a:cubicBezTo>
                  <a:cubicBezTo>
                    <a:pt x="6831" y="6681"/>
                    <a:pt x="6792" y="6696"/>
                    <a:pt x="6764" y="6724"/>
                  </a:cubicBezTo>
                  <a:lnTo>
                    <a:pt x="4871" y="8284"/>
                  </a:lnTo>
                  <a:lnTo>
                    <a:pt x="3918" y="7332"/>
                  </a:lnTo>
                  <a:lnTo>
                    <a:pt x="7073" y="3498"/>
                  </a:lnTo>
                  <a:lnTo>
                    <a:pt x="8693" y="5117"/>
                  </a:lnTo>
                  <a:lnTo>
                    <a:pt x="7252" y="6308"/>
                  </a:lnTo>
                  <a:cubicBezTo>
                    <a:pt x="7180" y="6367"/>
                    <a:pt x="7180" y="6474"/>
                    <a:pt x="7240" y="6534"/>
                  </a:cubicBezTo>
                  <a:cubicBezTo>
                    <a:pt x="7271" y="6571"/>
                    <a:pt x="7315" y="6589"/>
                    <a:pt x="7359" y="6589"/>
                  </a:cubicBezTo>
                  <a:cubicBezTo>
                    <a:pt x="7398" y="6589"/>
                    <a:pt x="7438" y="6574"/>
                    <a:pt x="7466" y="6546"/>
                  </a:cubicBezTo>
                  <a:lnTo>
                    <a:pt x="9050" y="5236"/>
                  </a:lnTo>
                  <a:cubicBezTo>
                    <a:pt x="9085" y="5212"/>
                    <a:pt x="9109" y="5165"/>
                    <a:pt x="9109" y="5117"/>
                  </a:cubicBezTo>
                  <a:cubicBezTo>
                    <a:pt x="9109" y="5105"/>
                    <a:pt x="9109" y="5069"/>
                    <a:pt x="9097" y="5058"/>
                  </a:cubicBezTo>
                  <a:lnTo>
                    <a:pt x="9550" y="4617"/>
                  </a:lnTo>
                  <a:cubicBezTo>
                    <a:pt x="9565" y="4619"/>
                    <a:pt x="9578" y="4620"/>
                    <a:pt x="9591" y="4620"/>
                  </a:cubicBezTo>
                  <a:cubicBezTo>
                    <a:pt x="9704" y="4620"/>
                    <a:pt x="9698" y="4528"/>
                    <a:pt x="9633" y="4474"/>
                  </a:cubicBezTo>
                  <a:lnTo>
                    <a:pt x="9574" y="4415"/>
                  </a:lnTo>
                  <a:cubicBezTo>
                    <a:pt x="9764" y="4022"/>
                    <a:pt x="9645" y="3486"/>
                    <a:pt x="9264" y="3093"/>
                  </a:cubicBezTo>
                  <a:cubicBezTo>
                    <a:pt x="8995" y="2832"/>
                    <a:pt x="8659" y="2694"/>
                    <a:pt x="8348" y="2694"/>
                  </a:cubicBezTo>
                  <a:cubicBezTo>
                    <a:pt x="8204" y="2694"/>
                    <a:pt x="8066" y="2723"/>
                    <a:pt x="7942" y="2783"/>
                  </a:cubicBezTo>
                  <a:lnTo>
                    <a:pt x="7883" y="2724"/>
                  </a:lnTo>
                  <a:cubicBezTo>
                    <a:pt x="7847" y="2688"/>
                    <a:pt x="7800" y="2676"/>
                    <a:pt x="7764" y="2676"/>
                  </a:cubicBezTo>
                  <a:cubicBezTo>
                    <a:pt x="7716" y="2676"/>
                    <a:pt x="7669" y="2688"/>
                    <a:pt x="7645" y="2724"/>
                  </a:cubicBezTo>
                  <a:lnTo>
                    <a:pt x="7192" y="3164"/>
                  </a:lnTo>
                  <a:cubicBezTo>
                    <a:pt x="7180" y="3164"/>
                    <a:pt x="7145" y="3153"/>
                    <a:pt x="7133" y="3153"/>
                  </a:cubicBezTo>
                  <a:cubicBezTo>
                    <a:pt x="7085" y="3153"/>
                    <a:pt x="7049" y="3188"/>
                    <a:pt x="7014" y="3212"/>
                  </a:cubicBezTo>
                  <a:lnTo>
                    <a:pt x="5121" y="5510"/>
                  </a:lnTo>
                  <a:lnTo>
                    <a:pt x="4192" y="4569"/>
                  </a:lnTo>
                  <a:lnTo>
                    <a:pt x="4621" y="4212"/>
                  </a:lnTo>
                  <a:cubicBezTo>
                    <a:pt x="4692" y="4153"/>
                    <a:pt x="4692" y="4045"/>
                    <a:pt x="4632" y="3986"/>
                  </a:cubicBezTo>
                  <a:cubicBezTo>
                    <a:pt x="4601" y="3949"/>
                    <a:pt x="4557" y="3931"/>
                    <a:pt x="4514" y="3931"/>
                  </a:cubicBezTo>
                  <a:cubicBezTo>
                    <a:pt x="4474" y="3931"/>
                    <a:pt x="4435" y="3946"/>
                    <a:pt x="4406" y="3974"/>
                  </a:cubicBezTo>
                  <a:lnTo>
                    <a:pt x="3847" y="4438"/>
                  </a:lnTo>
                  <a:lnTo>
                    <a:pt x="2299" y="5712"/>
                  </a:lnTo>
                  <a:lnTo>
                    <a:pt x="1346" y="4760"/>
                  </a:lnTo>
                  <a:lnTo>
                    <a:pt x="4502" y="926"/>
                  </a:lnTo>
                  <a:lnTo>
                    <a:pt x="6121" y="2545"/>
                  </a:lnTo>
                  <a:lnTo>
                    <a:pt x="4906" y="3557"/>
                  </a:lnTo>
                  <a:cubicBezTo>
                    <a:pt x="4823" y="3617"/>
                    <a:pt x="4823" y="3724"/>
                    <a:pt x="4883" y="3784"/>
                  </a:cubicBezTo>
                  <a:cubicBezTo>
                    <a:pt x="4914" y="3821"/>
                    <a:pt x="4958" y="3839"/>
                    <a:pt x="5001" y="3839"/>
                  </a:cubicBezTo>
                  <a:cubicBezTo>
                    <a:pt x="5041" y="3839"/>
                    <a:pt x="5080" y="3824"/>
                    <a:pt x="5109" y="3795"/>
                  </a:cubicBezTo>
                  <a:lnTo>
                    <a:pt x="6478" y="2664"/>
                  </a:lnTo>
                  <a:cubicBezTo>
                    <a:pt x="6514" y="2629"/>
                    <a:pt x="6537" y="2593"/>
                    <a:pt x="6537" y="2545"/>
                  </a:cubicBezTo>
                  <a:cubicBezTo>
                    <a:pt x="6537" y="2533"/>
                    <a:pt x="6537" y="2498"/>
                    <a:pt x="6526" y="2486"/>
                  </a:cubicBezTo>
                  <a:lnTo>
                    <a:pt x="6966" y="2033"/>
                  </a:lnTo>
                  <a:cubicBezTo>
                    <a:pt x="7002" y="2010"/>
                    <a:pt x="7014" y="1962"/>
                    <a:pt x="7014" y="1914"/>
                  </a:cubicBezTo>
                  <a:cubicBezTo>
                    <a:pt x="7014" y="1879"/>
                    <a:pt x="7002" y="1831"/>
                    <a:pt x="6966" y="1795"/>
                  </a:cubicBezTo>
                  <a:lnTo>
                    <a:pt x="6907" y="1736"/>
                  </a:lnTo>
                  <a:cubicBezTo>
                    <a:pt x="7109" y="1343"/>
                    <a:pt x="6990" y="807"/>
                    <a:pt x="6597" y="414"/>
                  </a:cubicBezTo>
                  <a:cubicBezTo>
                    <a:pt x="6336" y="153"/>
                    <a:pt x="6003" y="15"/>
                    <a:pt x="5688" y="15"/>
                  </a:cubicBezTo>
                  <a:cubicBezTo>
                    <a:pt x="5544" y="15"/>
                    <a:pt x="5403" y="44"/>
                    <a:pt x="5275" y="105"/>
                  </a:cubicBezTo>
                  <a:lnTo>
                    <a:pt x="5216" y="45"/>
                  </a:lnTo>
                  <a:cubicBezTo>
                    <a:pt x="5186" y="15"/>
                    <a:pt x="5144" y="0"/>
                    <a:pt x="51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2" name="Google Shape;12732;p62"/>
            <p:cNvSpPr/>
            <p:nvPr/>
          </p:nvSpPr>
          <p:spPr>
            <a:xfrm>
              <a:off x="7557299" y="4000198"/>
              <a:ext cx="75410" cy="85714"/>
            </a:xfrm>
            <a:custGeom>
              <a:avLst/>
              <a:gdLst/>
              <a:ahLst/>
              <a:cxnLst/>
              <a:rect l="l" t="t" r="r" b="b"/>
              <a:pathLst>
                <a:path w="2371" h="2695" extrusionOk="0">
                  <a:moveTo>
                    <a:pt x="2189" y="1"/>
                  </a:moveTo>
                  <a:cubicBezTo>
                    <a:pt x="2143" y="1"/>
                    <a:pt x="2099" y="19"/>
                    <a:pt x="2072" y="52"/>
                  </a:cubicBezTo>
                  <a:lnTo>
                    <a:pt x="60" y="2421"/>
                  </a:lnTo>
                  <a:cubicBezTo>
                    <a:pt x="1" y="2493"/>
                    <a:pt x="25" y="2600"/>
                    <a:pt x="72" y="2647"/>
                  </a:cubicBezTo>
                  <a:cubicBezTo>
                    <a:pt x="108" y="2671"/>
                    <a:pt x="156" y="2695"/>
                    <a:pt x="179" y="2695"/>
                  </a:cubicBezTo>
                  <a:cubicBezTo>
                    <a:pt x="227" y="2695"/>
                    <a:pt x="275" y="2671"/>
                    <a:pt x="298" y="2635"/>
                  </a:cubicBezTo>
                  <a:lnTo>
                    <a:pt x="2311" y="266"/>
                  </a:lnTo>
                  <a:cubicBezTo>
                    <a:pt x="2370" y="195"/>
                    <a:pt x="2370" y="99"/>
                    <a:pt x="2299" y="40"/>
                  </a:cubicBezTo>
                  <a:cubicBezTo>
                    <a:pt x="2267" y="13"/>
                    <a:pt x="2227" y="1"/>
                    <a:pt x="2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33" name="Google Shape;12733;p62"/>
          <p:cNvGrpSpPr/>
          <p:nvPr/>
        </p:nvGrpSpPr>
        <p:grpSpPr>
          <a:xfrm>
            <a:off x="6737312" y="3833413"/>
            <a:ext cx="355230" cy="293401"/>
            <a:chOff x="6889712" y="3833413"/>
            <a:chExt cx="355230" cy="293401"/>
          </a:xfrm>
        </p:grpSpPr>
        <p:sp>
          <p:nvSpPr>
            <p:cNvPr id="12734" name="Google Shape;12734;p62"/>
            <p:cNvSpPr/>
            <p:nvPr/>
          </p:nvSpPr>
          <p:spPr>
            <a:xfrm>
              <a:off x="6926797" y="3833413"/>
              <a:ext cx="279121" cy="293401"/>
            </a:xfrm>
            <a:custGeom>
              <a:avLst/>
              <a:gdLst/>
              <a:ahLst/>
              <a:cxnLst/>
              <a:rect l="l" t="t" r="r" b="b"/>
              <a:pathLst>
                <a:path w="8776" h="9225" extrusionOk="0">
                  <a:moveTo>
                    <a:pt x="5097" y="3534"/>
                  </a:moveTo>
                  <a:cubicBezTo>
                    <a:pt x="5121" y="3534"/>
                    <a:pt x="5156" y="3546"/>
                    <a:pt x="5180" y="3557"/>
                  </a:cubicBezTo>
                  <a:cubicBezTo>
                    <a:pt x="5228" y="3617"/>
                    <a:pt x="5228" y="3688"/>
                    <a:pt x="5180" y="3736"/>
                  </a:cubicBezTo>
                  <a:cubicBezTo>
                    <a:pt x="5162" y="3760"/>
                    <a:pt x="5130" y="3772"/>
                    <a:pt x="5095" y="3772"/>
                  </a:cubicBezTo>
                  <a:cubicBezTo>
                    <a:pt x="5061" y="3772"/>
                    <a:pt x="5025" y="3760"/>
                    <a:pt x="5002" y="3736"/>
                  </a:cubicBezTo>
                  <a:cubicBezTo>
                    <a:pt x="4978" y="3712"/>
                    <a:pt x="4978" y="3677"/>
                    <a:pt x="4978" y="3653"/>
                  </a:cubicBezTo>
                  <a:cubicBezTo>
                    <a:pt x="4978" y="3617"/>
                    <a:pt x="4990" y="3593"/>
                    <a:pt x="5002" y="3557"/>
                  </a:cubicBezTo>
                  <a:cubicBezTo>
                    <a:pt x="5037" y="3534"/>
                    <a:pt x="5061" y="3534"/>
                    <a:pt x="5097" y="3534"/>
                  </a:cubicBezTo>
                  <a:close/>
                  <a:moveTo>
                    <a:pt x="3710" y="3543"/>
                  </a:moveTo>
                  <a:cubicBezTo>
                    <a:pt x="3742" y="3543"/>
                    <a:pt x="3775" y="3551"/>
                    <a:pt x="3799" y="3569"/>
                  </a:cubicBezTo>
                  <a:cubicBezTo>
                    <a:pt x="3835" y="3605"/>
                    <a:pt x="3835" y="3629"/>
                    <a:pt x="3835" y="3665"/>
                  </a:cubicBezTo>
                  <a:cubicBezTo>
                    <a:pt x="3835" y="3688"/>
                    <a:pt x="3811" y="3724"/>
                    <a:pt x="3799" y="3748"/>
                  </a:cubicBezTo>
                  <a:cubicBezTo>
                    <a:pt x="3775" y="3772"/>
                    <a:pt x="3742" y="3784"/>
                    <a:pt x="3710" y="3784"/>
                  </a:cubicBezTo>
                  <a:cubicBezTo>
                    <a:pt x="3677" y="3784"/>
                    <a:pt x="3644" y="3772"/>
                    <a:pt x="3620" y="3748"/>
                  </a:cubicBezTo>
                  <a:cubicBezTo>
                    <a:pt x="3573" y="3688"/>
                    <a:pt x="3573" y="3617"/>
                    <a:pt x="3620" y="3569"/>
                  </a:cubicBezTo>
                  <a:cubicBezTo>
                    <a:pt x="3644" y="3551"/>
                    <a:pt x="3677" y="3543"/>
                    <a:pt x="3710" y="3543"/>
                  </a:cubicBezTo>
                  <a:close/>
                  <a:moveTo>
                    <a:pt x="8109" y="4498"/>
                  </a:moveTo>
                  <a:lnTo>
                    <a:pt x="8109" y="4665"/>
                  </a:lnTo>
                  <a:lnTo>
                    <a:pt x="8085" y="4665"/>
                  </a:lnTo>
                  <a:cubicBezTo>
                    <a:pt x="8073" y="4843"/>
                    <a:pt x="7764" y="5141"/>
                    <a:pt x="6895" y="5355"/>
                  </a:cubicBezTo>
                  <a:cubicBezTo>
                    <a:pt x="6216" y="5534"/>
                    <a:pt x="5335" y="5629"/>
                    <a:pt x="4406" y="5629"/>
                  </a:cubicBezTo>
                  <a:cubicBezTo>
                    <a:pt x="3501" y="5629"/>
                    <a:pt x="2608" y="5522"/>
                    <a:pt x="1930" y="5355"/>
                  </a:cubicBezTo>
                  <a:cubicBezTo>
                    <a:pt x="1049" y="5141"/>
                    <a:pt x="739" y="4843"/>
                    <a:pt x="739" y="4665"/>
                  </a:cubicBezTo>
                  <a:lnTo>
                    <a:pt x="739" y="4498"/>
                  </a:lnTo>
                  <a:cubicBezTo>
                    <a:pt x="941" y="4665"/>
                    <a:pt x="1251" y="4796"/>
                    <a:pt x="1656" y="4915"/>
                  </a:cubicBezTo>
                  <a:cubicBezTo>
                    <a:pt x="2406" y="5129"/>
                    <a:pt x="3382" y="5248"/>
                    <a:pt x="4418" y="5248"/>
                  </a:cubicBezTo>
                  <a:cubicBezTo>
                    <a:pt x="5466" y="5248"/>
                    <a:pt x="6442" y="5129"/>
                    <a:pt x="7192" y="4915"/>
                  </a:cubicBezTo>
                  <a:cubicBezTo>
                    <a:pt x="7597" y="4796"/>
                    <a:pt x="7907" y="4653"/>
                    <a:pt x="8109" y="4498"/>
                  </a:cubicBezTo>
                  <a:close/>
                  <a:moveTo>
                    <a:pt x="8085" y="5189"/>
                  </a:moveTo>
                  <a:lnTo>
                    <a:pt x="8085" y="7915"/>
                  </a:lnTo>
                  <a:cubicBezTo>
                    <a:pt x="8085" y="8106"/>
                    <a:pt x="7776" y="8356"/>
                    <a:pt x="7085" y="8558"/>
                  </a:cubicBezTo>
                  <a:lnTo>
                    <a:pt x="7085" y="5629"/>
                  </a:lnTo>
                  <a:cubicBezTo>
                    <a:pt x="7442" y="5522"/>
                    <a:pt x="7823" y="5391"/>
                    <a:pt x="8085" y="5189"/>
                  </a:cubicBezTo>
                  <a:close/>
                  <a:moveTo>
                    <a:pt x="739" y="5201"/>
                  </a:moveTo>
                  <a:cubicBezTo>
                    <a:pt x="953" y="5355"/>
                    <a:pt x="1287" y="5510"/>
                    <a:pt x="1727" y="5629"/>
                  </a:cubicBezTo>
                  <a:lnTo>
                    <a:pt x="1727" y="6713"/>
                  </a:lnTo>
                  <a:cubicBezTo>
                    <a:pt x="1727" y="6808"/>
                    <a:pt x="1811" y="6879"/>
                    <a:pt x="1894" y="6879"/>
                  </a:cubicBezTo>
                  <a:cubicBezTo>
                    <a:pt x="1989" y="6879"/>
                    <a:pt x="2061" y="6808"/>
                    <a:pt x="2061" y="6713"/>
                  </a:cubicBezTo>
                  <a:lnTo>
                    <a:pt x="2061" y="5712"/>
                  </a:lnTo>
                  <a:cubicBezTo>
                    <a:pt x="2704" y="5867"/>
                    <a:pt x="3454" y="5939"/>
                    <a:pt x="4263" y="5951"/>
                  </a:cubicBezTo>
                  <a:lnTo>
                    <a:pt x="4263" y="8891"/>
                  </a:lnTo>
                  <a:lnTo>
                    <a:pt x="4251" y="8891"/>
                  </a:lnTo>
                  <a:cubicBezTo>
                    <a:pt x="4097" y="8891"/>
                    <a:pt x="3954" y="8891"/>
                    <a:pt x="3811" y="8868"/>
                  </a:cubicBezTo>
                  <a:cubicBezTo>
                    <a:pt x="3275" y="8844"/>
                    <a:pt x="2775" y="8784"/>
                    <a:pt x="2323" y="8701"/>
                  </a:cubicBezTo>
                  <a:cubicBezTo>
                    <a:pt x="2239" y="8689"/>
                    <a:pt x="2144" y="8665"/>
                    <a:pt x="2061" y="8653"/>
                  </a:cubicBezTo>
                  <a:lnTo>
                    <a:pt x="2061" y="7403"/>
                  </a:lnTo>
                  <a:cubicBezTo>
                    <a:pt x="2061" y="7308"/>
                    <a:pt x="1989" y="7236"/>
                    <a:pt x="1894" y="7236"/>
                  </a:cubicBezTo>
                  <a:cubicBezTo>
                    <a:pt x="1811" y="7236"/>
                    <a:pt x="1727" y="7308"/>
                    <a:pt x="1727" y="7403"/>
                  </a:cubicBezTo>
                  <a:lnTo>
                    <a:pt x="1727" y="8558"/>
                  </a:lnTo>
                  <a:lnTo>
                    <a:pt x="1465" y="8463"/>
                  </a:lnTo>
                  <a:cubicBezTo>
                    <a:pt x="1001" y="8308"/>
                    <a:pt x="739" y="8094"/>
                    <a:pt x="739" y="7915"/>
                  </a:cubicBezTo>
                  <a:lnTo>
                    <a:pt x="739" y="5201"/>
                  </a:lnTo>
                  <a:close/>
                  <a:moveTo>
                    <a:pt x="8582" y="0"/>
                  </a:moveTo>
                  <a:cubicBezTo>
                    <a:pt x="8541" y="0"/>
                    <a:pt x="8496" y="15"/>
                    <a:pt x="8454" y="45"/>
                  </a:cubicBezTo>
                  <a:lnTo>
                    <a:pt x="5775" y="2724"/>
                  </a:lnTo>
                  <a:cubicBezTo>
                    <a:pt x="5502" y="2700"/>
                    <a:pt x="5204" y="2664"/>
                    <a:pt x="4882" y="2664"/>
                  </a:cubicBezTo>
                  <a:cubicBezTo>
                    <a:pt x="4799" y="2664"/>
                    <a:pt x="4728" y="2724"/>
                    <a:pt x="4728" y="2831"/>
                  </a:cubicBezTo>
                  <a:cubicBezTo>
                    <a:pt x="4728" y="2915"/>
                    <a:pt x="4787" y="2998"/>
                    <a:pt x="4882" y="2998"/>
                  </a:cubicBezTo>
                  <a:cubicBezTo>
                    <a:pt x="5097" y="3010"/>
                    <a:pt x="5299" y="3010"/>
                    <a:pt x="5502" y="3034"/>
                  </a:cubicBezTo>
                  <a:lnTo>
                    <a:pt x="5275" y="3260"/>
                  </a:lnTo>
                  <a:cubicBezTo>
                    <a:pt x="5216" y="3234"/>
                    <a:pt x="5151" y="3221"/>
                    <a:pt x="5086" y="3221"/>
                  </a:cubicBezTo>
                  <a:cubicBezTo>
                    <a:pt x="4971" y="3221"/>
                    <a:pt x="4855" y="3263"/>
                    <a:pt x="4763" y="3355"/>
                  </a:cubicBezTo>
                  <a:cubicBezTo>
                    <a:pt x="4680" y="3438"/>
                    <a:pt x="4632" y="3546"/>
                    <a:pt x="4632" y="3665"/>
                  </a:cubicBezTo>
                  <a:cubicBezTo>
                    <a:pt x="4632" y="3784"/>
                    <a:pt x="4680" y="3903"/>
                    <a:pt x="4763" y="3974"/>
                  </a:cubicBezTo>
                  <a:cubicBezTo>
                    <a:pt x="4859" y="4069"/>
                    <a:pt x="4978" y="4105"/>
                    <a:pt x="5085" y="4105"/>
                  </a:cubicBezTo>
                  <a:cubicBezTo>
                    <a:pt x="5204" y="4105"/>
                    <a:pt x="5311" y="4069"/>
                    <a:pt x="5394" y="3974"/>
                  </a:cubicBezTo>
                  <a:cubicBezTo>
                    <a:pt x="5525" y="3843"/>
                    <a:pt x="5549" y="3629"/>
                    <a:pt x="5478" y="3474"/>
                  </a:cubicBezTo>
                  <a:lnTo>
                    <a:pt x="5883" y="3069"/>
                  </a:lnTo>
                  <a:cubicBezTo>
                    <a:pt x="7299" y="3248"/>
                    <a:pt x="8050" y="3653"/>
                    <a:pt x="8050" y="3950"/>
                  </a:cubicBezTo>
                  <a:cubicBezTo>
                    <a:pt x="8050" y="4343"/>
                    <a:pt x="6656" y="4915"/>
                    <a:pt x="4382" y="4915"/>
                  </a:cubicBezTo>
                  <a:cubicBezTo>
                    <a:pt x="2096" y="4915"/>
                    <a:pt x="703" y="4343"/>
                    <a:pt x="703" y="3950"/>
                  </a:cubicBezTo>
                  <a:cubicBezTo>
                    <a:pt x="703" y="3653"/>
                    <a:pt x="1465" y="3248"/>
                    <a:pt x="2870" y="3069"/>
                  </a:cubicBezTo>
                  <a:lnTo>
                    <a:pt x="3275" y="3474"/>
                  </a:lnTo>
                  <a:cubicBezTo>
                    <a:pt x="3204" y="3629"/>
                    <a:pt x="3227" y="3843"/>
                    <a:pt x="3370" y="3974"/>
                  </a:cubicBezTo>
                  <a:cubicBezTo>
                    <a:pt x="3454" y="4069"/>
                    <a:pt x="3573" y="4105"/>
                    <a:pt x="3680" y="4105"/>
                  </a:cubicBezTo>
                  <a:cubicBezTo>
                    <a:pt x="3799" y="4105"/>
                    <a:pt x="3918" y="4069"/>
                    <a:pt x="3989" y="3974"/>
                  </a:cubicBezTo>
                  <a:cubicBezTo>
                    <a:pt x="4085" y="3891"/>
                    <a:pt x="4120" y="3784"/>
                    <a:pt x="4120" y="3665"/>
                  </a:cubicBezTo>
                  <a:cubicBezTo>
                    <a:pt x="4120" y="3546"/>
                    <a:pt x="4085" y="3426"/>
                    <a:pt x="3989" y="3355"/>
                  </a:cubicBezTo>
                  <a:cubicBezTo>
                    <a:pt x="3906" y="3263"/>
                    <a:pt x="3787" y="3221"/>
                    <a:pt x="3672" y="3221"/>
                  </a:cubicBezTo>
                  <a:cubicBezTo>
                    <a:pt x="3608" y="3221"/>
                    <a:pt x="3545" y="3234"/>
                    <a:pt x="3489" y="3260"/>
                  </a:cubicBezTo>
                  <a:lnTo>
                    <a:pt x="3263" y="3034"/>
                  </a:lnTo>
                  <a:cubicBezTo>
                    <a:pt x="3561" y="3010"/>
                    <a:pt x="3870" y="2998"/>
                    <a:pt x="4216" y="2998"/>
                  </a:cubicBezTo>
                  <a:cubicBezTo>
                    <a:pt x="4299" y="2998"/>
                    <a:pt x="4382" y="2915"/>
                    <a:pt x="4382" y="2831"/>
                  </a:cubicBezTo>
                  <a:cubicBezTo>
                    <a:pt x="4382" y="2736"/>
                    <a:pt x="4299" y="2664"/>
                    <a:pt x="4216" y="2664"/>
                  </a:cubicBezTo>
                  <a:cubicBezTo>
                    <a:pt x="3799" y="2664"/>
                    <a:pt x="3382" y="2700"/>
                    <a:pt x="2977" y="2736"/>
                  </a:cubicBezTo>
                  <a:lnTo>
                    <a:pt x="299" y="57"/>
                  </a:lnTo>
                  <a:cubicBezTo>
                    <a:pt x="269" y="27"/>
                    <a:pt x="227" y="12"/>
                    <a:pt x="184" y="12"/>
                  </a:cubicBezTo>
                  <a:cubicBezTo>
                    <a:pt x="141" y="12"/>
                    <a:pt x="96" y="27"/>
                    <a:pt x="60" y="57"/>
                  </a:cubicBezTo>
                  <a:cubicBezTo>
                    <a:pt x="1" y="117"/>
                    <a:pt x="1" y="224"/>
                    <a:pt x="60" y="295"/>
                  </a:cubicBezTo>
                  <a:lnTo>
                    <a:pt x="2561" y="2795"/>
                  </a:lnTo>
                  <a:cubicBezTo>
                    <a:pt x="1322" y="2998"/>
                    <a:pt x="358" y="3379"/>
                    <a:pt x="358" y="3962"/>
                  </a:cubicBezTo>
                  <a:lnTo>
                    <a:pt x="358" y="4236"/>
                  </a:lnTo>
                  <a:lnTo>
                    <a:pt x="358" y="4653"/>
                  </a:lnTo>
                  <a:lnTo>
                    <a:pt x="358" y="7927"/>
                  </a:lnTo>
                  <a:cubicBezTo>
                    <a:pt x="358" y="8165"/>
                    <a:pt x="525" y="8499"/>
                    <a:pt x="1299" y="8796"/>
                  </a:cubicBezTo>
                  <a:cubicBezTo>
                    <a:pt x="1549" y="8880"/>
                    <a:pt x="1858" y="8975"/>
                    <a:pt x="2204" y="9034"/>
                  </a:cubicBezTo>
                  <a:cubicBezTo>
                    <a:pt x="2668" y="9118"/>
                    <a:pt x="3192" y="9177"/>
                    <a:pt x="3739" y="9213"/>
                  </a:cubicBezTo>
                  <a:cubicBezTo>
                    <a:pt x="3942" y="9225"/>
                    <a:pt x="4144" y="9225"/>
                    <a:pt x="4347" y="9225"/>
                  </a:cubicBezTo>
                  <a:cubicBezTo>
                    <a:pt x="4751" y="9225"/>
                    <a:pt x="5156" y="9213"/>
                    <a:pt x="5537" y="9165"/>
                  </a:cubicBezTo>
                  <a:cubicBezTo>
                    <a:pt x="5633" y="9153"/>
                    <a:pt x="5692" y="9082"/>
                    <a:pt x="5692" y="8987"/>
                  </a:cubicBezTo>
                  <a:cubicBezTo>
                    <a:pt x="5668" y="8903"/>
                    <a:pt x="5597" y="8844"/>
                    <a:pt x="5513" y="8844"/>
                  </a:cubicBezTo>
                  <a:cubicBezTo>
                    <a:pt x="5180" y="8868"/>
                    <a:pt x="4859" y="8880"/>
                    <a:pt x="4513" y="8880"/>
                  </a:cubicBezTo>
                  <a:lnTo>
                    <a:pt x="4513" y="5939"/>
                  </a:lnTo>
                  <a:cubicBezTo>
                    <a:pt x="5299" y="5927"/>
                    <a:pt x="6073" y="5855"/>
                    <a:pt x="6716" y="5701"/>
                  </a:cubicBezTo>
                  <a:lnTo>
                    <a:pt x="6716" y="8630"/>
                  </a:lnTo>
                  <a:cubicBezTo>
                    <a:pt x="6537" y="8677"/>
                    <a:pt x="6359" y="8713"/>
                    <a:pt x="6145" y="8737"/>
                  </a:cubicBezTo>
                  <a:cubicBezTo>
                    <a:pt x="6061" y="8749"/>
                    <a:pt x="6002" y="8844"/>
                    <a:pt x="6014" y="8927"/>
                  </a:cubicBezTo>
                  <a:cubicBezTo>
                    <a:pt x="6025" y="9011"/>
                    <a:pt x="6109" y="9070"/>
                    <a:pt x="6180" y="9070"/>
                  </a:cubicBezTo>
                  <a:lnTo>
                    <a:pt x="6204" y="9070"/>
                  </a:lnTo>
                  <a:cubicBezTo>
                    <a:pt x="6383" y="9034"/>
                    <a:pt x="6645" y="8987"/>
                    <a:pt x="6907" y="8915"/>
                  </a:cubicBezTo>
                  <a:cubicBezTo>
                    <a:pt x="6918" y="8915"/>
                    <a:pt x="6918" y="8915"/>
                    <a:pt x="6942" y="8903"/>
                  </a:cubicBezTo>
                  <a:cubicBezTo>
                    <a:pt x="7609" y="8725"/>
                    <a:pt x="8371" y="8415"/>
                    <a:pt x="8371" y="7891"/>
                  </a:cubicBezTo>
                  <a:lnTo>
                    <a:pt x="8371" y="4629"/>
                  </a:lnTo>
                  <a:lnTo>
                    <a:pt x="8371" y="4617"/>
                  </a:lnTo>
                  <a:lnTo>
                    <a:pt x="8371" y="3903"/>
                  </a:lnTo>
                  <a:cubicBezTo>
                    <a:pt x="8371" y="3546"/>
                    <a:pt x="7990" y="3236"/>
                    <a:pt x="7299" y="2998"/>
                  </a:cubicBezTo>
                  <a:cubicBezTo>
                    <a:pt x="6966" y="2891"/>
                    <a:pt x="6585" y="2795"/>
                    <a:pt x="6168" y="2736"/>
                  </a:cubicBezTo>
                  <a:lnTo>
                    <a:pt x="8669" y="236"/>
                  </a:lnTo>
                  <a:cubicBezTo>
                    <a:pt x="8776" y="224"/>
                    <a:pt x="8776" y="117"/>
                    <a:pt x="8692" y="45"/>
                  </a:cubicBezTo>
                  <a:cubicBezTo>
                    <a:pt x="8663" y="15"/>
                    <a:pt x="8624" y="0"/>
                    <a:pt x="85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5" name="Google Shape;12735;p62"/>
            <p:cNvSpPr/>
            <p:nvPr/>
          </p:nvSpPr>
          <p:spPr>
            <a:xfrm>
              <a:off x="6922281" y="3873646"/>
              <a:ext cx="40170" cy="54387"/>
            </a:xfrm>
            <a:custGeom>
              <a:avLst/>
              <a:gdLst/>
              <a:ahLst/>
              <a:cxnLst/>
              <a:rect l="l" t="t" r="r" b="b"/>
              <a:pathLst>
                <a:path w="1263" h="1710" extrusionOk="0">
                  <a:moveTo>
                    <a:pt x="191" y="0"/>
                  </a:moveTo>
                  <a:cubicBezTo>
                    <a:pt x="162" y="0"/>
                    <a:pt x="132" y="9"/>
                    <a:pt x="107" y="30"/>
                  </a:cubicBezTo>
                  <a:cubicBezTo>
                    <a:pt x="24" y="78"/>
                    <a:pt x="0" y="185"/>
                    <a:pt x="60" y="256"/>
                  </a:cubicBezTo>
                  <a:lnTo>
                    <a:pt x="953" y="1638"/>
                  </a:lnTo>
                  <a:cubicBezTo>
                    <a:pt x="976" y="1685"/>
                    <a:pt x="1036" y="1709"/>
                    <a:pt x="1083" y="1709"/>
                  </a:cubicBezTo>
                  <a:cubicBezTo>
                    <a:pt x="1119" y="1709"/>
                    <a:pt x="1143" y="1697"/>
                    <a:pt x="1179" y="1685"/>
                  </a:cubicBezTo>
                  <a:cubicBezTo>
                    <a:pt x="1250" y="1638"/>
                    <a:pt x="1262" y="1530"/>
                    <a:pt x="1214" y="1459"/>
                  </a:cubicBezTo>
                  <a:lnTo>
                    <a:pt x="321" y="78"/>
                  </a:lnTo>
                  <a:cubicBezTo>
                    <a:pt x="298" y="32"/>
                    <a:pt x="245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6" name="Google Shape;12736;p62"/>
            <p:cNvSpPr/>
            <p:nvPr/>
          </p:nvSpPr>
          <p:spPr>
            <a:xfrm>
              <a:off x="6889712" y="3913529"/>
              <a:ext cx="56804" cy="29261"/>
            </a:xfrm>
            <a:custGeom>
              <a:avLst/>
              <a:gdLst/>
              <a:ahLst/>
              <a:cxnLst/>
              <a:rect l="l" t="t" r="r" b="b"/>
              <a:pathLst>
                <a:path w="1786" h="920" extrusionOk="0">
                  <a:moveTo>
                    <a:pt x="167" y="1"/>
                  </a:moveTo>
                  <a:cubicBezTo>
                    <a:pt x="103" y="1"/>
                    <a:pt x="50" y="36"/>
                    <a:pt x="24" y="98"/>
                  </a:cubicBezTo>
                  <a:cubicBezTo>
                    <a:pt x="0" y="193"/>
                    <a:pt x="24" y="276"/>
                    <a:pt x="119" y="312"/>
                  </a:cubicBezTo>
                  <a:lnTo>
                    <a:pt x="1536" y="907"/>
                  </a:lnTo>
                  <a:cubicBezTo>
                    <a:pt x="1560" y="919"/>
                    <a:pt x="1584" y="919"/>
                    <a:pt x="1607" y="919"/>
                  </a:cubicBezTo>
                  <a:cubicBezTo>
                    <a:pt x="1667" y="919"/>
                    <a:pt x="1715" y="872"/>
                    <a:pt x="1750" y="812"/>
                  </a:cubicBezTo>
                  <a:cubicBezTo>
                    <a:pt x="1786" y="729"/>
                    <a:pt x="1738" y="634"/>
                    <a:pt x="1667" y="610"/>
                  </a:cubicBezTo>
                  <a:lnTo>
                    <a:pt x="238" y="15"/>
                  </a:lnTo>
                  <a:cubicBezTo>
                    <a:pt x="213" y="5"/>
                    <a:pt x="189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7" name="Google Shape;12737;p62"/>
            <p:cNvSpPr/>
            <p:nvPr/>
          </p:nvSpPr>
          <p:spPr>
            <a:xfrm>
              <a:off x="7171823" y="3873710"/>
              <a:ext cx="39788" cy="54323"/>
            </a:xfrm>
            <a:custGeom>
              <a:avLst/>
              <a:gdLst/>
              <a:ahLst/>
              <a:cxnLst/>
              <a:rect l="l" t="t" r="r" b="b"/>
              <a:pathLst>
                <a:path w="1251" h="1708" extrusionOk="0">
                  <a:moveTo>
                    <a:pt x="1062" y="0"/>
                  </a:moveTo>
                  <a:cubicBezTo>
                    <a:pt x="1010" y="0"/>
                    <a:pt x="958" y="25"/>
                    <a:pt x="929" y="76"/>
                  </a:cubicBezTo>
                  <a:lnTo>
                    <a:pt x="36" y="1457"/>
                  </a:lnTo>
                  <a:cubicBezTo>
                    <a:pt x="0" y="1528"/>
                    <a:pt x="12" y="1636"/>
                    <a:pt x="84" y="1683"/>
                  </a:cubicBezTo>
                  <a:cubicBezTo>
                    <a:pt x="119" y="1695"/>
                    <a:pt x="143" y="1707"/>
                    <a:pt x="179" y="1707"/>
                  </a:cubicBezTo>
                  <a:cubicBezTo>
                    <a:pt x="238" y="1707"/>
                    <a:pt x="274" y="1683"/>
                    <a:pt x="310" y="1636"/>
                  </a:cubicBezTo>
                  <a:lnTo>
                    <a:pt x="1203" y="254"/>
                  </a:lnTo>
                  <a:cubicBezTo>
                    <a:pt x="1250" y="183"/>
                    <a:pt x="1227" y="76"/>
                    <a:pt x="1155" y="28"/>
                  </a:cubicBezTo>
                  <a:cubicBezTo>
                    <a:pt x="1128" y="10"/>
                    <a:pt x="1095" y="0"/>
                    <a:pt x="10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8" name="Google Shape;12738;p62"/>
            <p:cNvSpPr/>
            <p:nvPr/>
          </p:nvSpPr>
          <p:spPr>
            <a:xfrm>
              <a:off x="7187725" y="3913529"/>
              <a:ext cx="57217" cy="29261"/>
            </a:xfrm>
            <a:custGeom>
              <a:avLst/>
              <a:gdLst/>
              <a:ahLst/>
              <a:cxnLst/>
              <a:rect l="l" t="t" r="r" b="b"/>
              <a:pathLst>
                <a:path w="1799" h="920" extrusionOk="0">
                  <a:moveTo>
                    <a:pt x="1610" y="1"/>
                  </a:moveTo>
                  <a:cubicBezTo>
                    <a:pt x="1588" y="1"/>
                    <a:pt x="1567" y="5"/>
                    <a:pt x="1548" y="15"/>
                  </a:cubicBezTo>
                  <a:lnTo>
                    <a:pt x="119" y="610"/>
                  </a:lnTo>
                  <a:cubicBezTo>
                    <a:pt x="36" y="634"/>
                    <a:pt x="0" y="741"/>
                    <a:pt x="36" y="812"/>
                  </a:cubicBezTo>
                  <a:cubicBezTo>
                    <a:pt x="60" y="872"/>
                    <a:pt x="119" y="919"/>
                    <a:pt x="179" y="919"/>
                  </a:cubicBezTo>
                  <a:cubicBezTo>
                    <a:pt x="191" y="919"/>
                    <a:pt x="227" y="919"/>
                    <a:pt x="238" y="907"/>
                  </a:cubicBezTo>
                  <a:lnTo>
                    <a:pt x="1667" y="312"/>
                  </a:lnTo>
                  <a:cubicBezTo>
                    <a:pt x="1762" y="276"/>
                    <a:pt x="1798" y="181"/>
                    <a:pt x="1762" y="98"/>
                  </a:cubicBezTo>
                  <a:cubicBezTo>
                    <a:pt x="1736" y="36"/>
                    <a:pt x="1671" y="1"/>
                    <a:pt x="16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39" name="Google Shape;12739;p62"/>
          <p:cNvGrpSpPr/>
          <p:nvPr/>
        </p:nvGrpSpPr>
        <p:grpSpPr>
          <a:xfrm>
            <a:off x="7707152" y="3835870"/>
            <a:ext cx="282318" cy="337168"/>
            <a:chOff x="1635875" y="237775"/>
            <a:chExt cx="4370250" cy="5219325"/>
          </a:xfrm>
        </p:grpSpPr>
        <p:sp>
          <p:nvSpPr>
            <p:cNvPr id="12740" name="Google Shape;12740;p62"/>
            <p:cNvSpPr/>
            <p:nvPr/>
          </p:nvSpPr>
          <p:spPr>
            <a:xfrm>
              <a:off x="3572675" y="2020200"/>
              <a:ext cx="583925" cy="556900"/>
            </a:xfrm>
            <a:custGeom>
              <a:avLst/>
              <a:gdLst/>
              <a:ahLst/>
              <a:cxnLst/>
              <a:rect l="l" t="t" r="r" b="b"/>
              <a:pathLst>
                <a:path w="23357" h="22276" extrusionOk="0">
                  <a:moveTo>
                    <a:pt x="11172" y="6159"/>
                  </a:moveTo>
                  <a:cubicBezTo>
                    <a:pt x="12402" y="6159"/>
                    <a:pt x="13657" y="6612"/>
                    <a:pt x="14680" y="7624"/>
                  </a:cubicBezTo>
                  <a:cubicBezTo>
                    <a:pt x="16604" y="9582"/>
                    <a:pt x="16604" y="12746"/>
                    <a:pt x="14680" y="14670"/>
                  </a:cubicBezTo>
                  <a:lnTo>
                    <a:pt x="14680" y="14703"/>
                  </a:lnTo>
                  <a:cubicBezTo>
                    <a:pt x="13658" y="15714"/>
                    <a:pt x="12405" y="16167"/>
                    <a:pt x="11177" y="16167"/>
                  </a:cubicBezTo>
                  <a:cubicBezTo>
                    <a:pt x="8601" y="16167"/>
                    <a:pt x="6133" y="14173"/>
                    <a:pt x="6133" y="11147"/>
                  </a:cubicBezTo>
                  <a:cubicBezTo>
                    <a:pt x="6133" y="8145"/>
                    <a:pt x="8598" y="6159"/>
                    <a:pt x="11172" y="6159"/>
                  </a:cubicBezTo>
                  <a:close/>
                  <a:moveTo>
                    <a:pt x="11218" y="1"/>
                  </a:moveTo>
                  <a:cubicBezTo>
                    <a:pt x="5493" y="1"/>
                    <a:pt x="1" y="4440"/>
                    <a:pt x="1" y="11147"/>
                  </a:cubicBezTo>
                  <a:cubicBezTo>
                    <a:pt x="1" y="15649"/>
                    <a:pt x="2708" y="19694"/>
                    <a:pt x="6883" y="21423"/>
                  </a:cubicBezTo>
                  <a:cubicBezTo>
                    <a:pt x="8258" y="21996"/>
                    <a:pt x="9705" y="22276"/>
                    <a:pt x="11142" y="22276"/>
                  </a:cubicBezTo>
                  <a:cubicBezTo>
                    <a:pt x="14033" y="22276"/>
                    <a:pt x="16882" y="21145"/>
                    <a:pt x="19018" y="19009"/>
                  </a:cubicBezTo>
                  <a:cubicBezTo>
                    <a:pt x="23356" y="14670"/>
                    <a:pt x="23356" y="7624"/>
                    <a:pt x="19018" y="3286"/>
                  </a:cubicBezTo>
                  <a:cubicBezTo>
                    <a:pt x="16749" y="1017"/>
                    <a:pt x="13957" y="1"/>
                    <a:pt x="112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1" name="Google Shape;12741;p62"/>
            <p:cNvSpPr/>
            <p:nvPr/>
          </p:nvSpPr>
          <p:spPr>
            <a:xfrm>
              <a:off x="1635875" y="237775"/>
              <a:ext cx="4370250" cy="5219325"/>
            </a:xfrm>
            <a:custGeom>
              <a:avLst/>
              <a:gdLst/>
              <a:ahLst/>
              <a:cxnLst/>
              <a:rect l="l" t="t" r="r" b="b"/>
              <a:pathLst>
                <a:path w="174810" h="208773" extrusionOk="0">
                  <a:moveTo>
                    <a:pt x="18855" y="146249"/>
                  </a:moveTo>
                  <a:lnTo>
                    <a:pt x="24792" y="152218"/>
                  </a:lnTo>
                  <a:lnTo>
                    <a:pt x="14875" y="160863"/>
                  </a:lnTo>
                  <a:lnTo>
                    <a:pt x="10178" y="156198"/>
                  </a:lnTo>
                  <a:lnTo>
                    <a:pt x="18855" y="146249"/>
                  </a:lnTo>
                  <a:close/>
                  <a:moveTo>
                    <a:pt x="90749" y="190905"/>
                  </a:moveTo>
                  <a:lnTo>
                    <a:pt x="95479" y="195603"/>
                  </a:lnTo>
                  <a:lnTo>
                    <a:pt x="88531" y="200855"/>
                  </a:lnTo>
                  <a:lnTo>
                    <a:pt x="85530" y="197853"/>
                  </a:lnTo>
                  <a:lnTo>
                    <a:pt x="90749" y="190905"/>
                  </a:lnTo>
                  <a:close/>
                  <a:moveTo>
                    <a:pt x="132129" y="0"/>
                  </a:moveTo>
                  <a:cubicBezTo>
                    <a:pt x="124550" y="0"/>
                    <a:pt x="116929" y="2213"/>
                    <a:pt x="110288" y="6734"/>
                  </a:cubicBezTo>
                  <a:cubicBezTo>
                    <a:pt x="108853" y="7712"/>
                    <a:pt x="108494" y="9637"/>
                    <a:pt x="109473" y="11040"/>
                  </a:cubicBezTo>
                  <a:cubicBezTo>
                    <a:pt x="110062" y="11914"/>
                    <a:pt x="111032" y="12383"/>
                    <a:pt x="112019" y="12383"/>
                  </a:cubicBezTo>
                  <a:cubicBezTo>
                    <a:pt x="112615" y="12383"/>
                    <a:pt x="113217" y="12211"/>
                    <a:pt x="113746" y="11855"/>
                  </a:cubicBezTo>
                  <a:cubicBezTo>
                    <a:pt x="119348" y="8059"/>
                    <a:pt x="125738" y="6222"/>
                    <a:pt x="132075" y="6222"/>
                  </a:cubicBezTo>
                  <a:cubicBezTo>
                    <a:pt x="141530" y="6222"/>
                    <a:pt x="150867" y="10312"/>
                    <a:pt x="157293" y="18085"/>
                  </a:cubicBezTo>
                  <a:cubicBezTo>
                    <a:pt x="168058" y="31068"/>
                    <a:pt x="167177" y="50085"/>
                    <a:pt x="155303" y="62057"/>
                  </a:cubicBezTo>
                  <a:cubicBezTo>
                    <a:pt x="144310" y="73050"/>
                    <a:pt x="135373" y="78432"/>
                    <a:pt x="128001" y="78432"/>
                  </a:cubicBezTo>
                  <a:cubicBezTo>
                    <a:pt x="125293" y="78400"/>
                    <a:pt x="122651" y="77715"/>
                    <a:pt x="120302" y="76377"/>
                  </a:cubicBezTo>
                  <a:lnTo>
                    <a:pt x="120204" y="76344"/>
                  </a:lnTo>
                  <a:cubicBezTo>
                    <a:pt x="116029" y="74028"/>
                    <a:pt x="112180" y="70147"/>
                    <a:pt x="108135" y="66069"/>
                  </a:cubicBezTo>
                  <a:lnTo>
                    <a:pt x="106569" y="64503"/>
                  </a:lnTo>
                  <a:lnTo>
                    <a:pt x="105036" y="62970"/>
                  </a:lnTo>
                  <a:cubicBezTo>
                    <a:pt x="100959" y="58925"/>
                    <a:pt x="97110" y="55109"/>
                    <a:pt x="94826" y="50803"/>
                  </a:cubicBezTo>
                  <a:cubicBezTo>
                    <a:pt x="94794" y="50705"/>
                    <a:pt x="94728" y="50640"/>
                    <a:pt x="94696" y="50575"/>
                  </a:cubicBezTo>
                  <a:cubicBezTo>
                    <a:pt x="91010" y="43333"/>
                    <a:pt x="91956" y="34819"/>
                    <a:pt x="103797" y="21315"/>
                  </a:cubicBezTo>
                  <a:cubicBezTo>
                    <a:pt x="104906" y="20010"/>
                    <a:pt x="104775" y="18085"/>
                    <a:pt x="103503" y="16976"/>
                  </a:cubicBezTo>
                  <a:cubicBezTo>
                    <a:pt x="102924" y="16471"/>
                    <a:pt x="102202" y="16223"/>
                    <a:pt x="101483" y="16223"/>
                  </a:cubicBezTo>
                  <a:cubicBezTo>
                    <a:pt x="100624" y="16223"/>
                    <a:pt x="99769" y="16577"/>
                    <a:pt x="99165" y="17270"/>
                  </a:cubicBezTo>
                  <a:cubicBezTo>
                    <a:pt x="88987" y="28915"/>
                    <a:pt x="85171" y="38538"/>
                    <a:pt x="87161" y="47639"/>
                  </a:cubicBezTo>
                  <a:cubicBezTo>
                    <a:pt x="87454" y="49042"/>
                    <a:pt x="87911" y="50412"/>
                    <a:pt x="88466" y="51749"/>
                  </a:cubicBezTo>
                  <a:lnTo>
                    <a:pt x="16898" y="134799"/>
                  </a:lnTo>
                  <a:cubicBezTo>
                    <a:pt x="15430" y="136496"/>
                    <a:pt x="14843" y="138779"/>
                    <a:pt x="15300" y="140964"/>
                  </a:cubicBezTo>
                  <a:lnTo>
                    <a:pt x="5350" y="152381"/>
                  </a:lnTo>
                  <a:cubicBezTo>
                    <a:pt x="3361" y="154665"/>
                    <a:pt x="3459" y="158122"/>
                    <a:pt x="5611" y="160275"/>
                  </a:cubicBezTo>
                  <a:lnTo>
                    <a:pt x="6166" y="160830"/>
                  </a:lnTo>
                  <a:cubicBezTo>
                    <a:pt x="1" y="169963"/>
                    <a:pt x="1143" y="182163"/>
                    <a:pt x="8939" y="189992"/>
                  </a:cubicBezTo>
                  <a:lnTo>
                    <a:pt x="10831" y="191884"/>
                  </a:lnTo>
                  <a:cubicBezTo>
                    <a:pt x="15332" y="196369"/>
                    <a:pt x="21220" y="198612"/>
                    <a:pt x="27104" y="198612"/>
                  </a:cubicBezTo>
                  <a:cubicBezTo>
                    <a:pt x="32988" y="198612"/>
                    <a:pt x="38867" y="196369"/>
                    <a:pt x="43352" y="191884"/>
                  </a:cubicBezTo>
                  <a:lnTo>
                    <a:pt x="76135" y="159101"/>
                  </a:lnTo>
                  <a:cubicBezTo>
                    <a:pt x="79368" y="155770"/>
                    <a:pt x="83668" y="154097"/>
                    <a:pt x="87964" y="154097"/>
                  </a:cubicBezTo>
                  <a:cubicBezTo>
                    <a:pt x="92165" y="154097"/>
                    <a:pt x="96363" y="155696"/>
                    <a:pt x="99556" y="158905"/>
                  </a:cubicBezTo>
                  <a:cubicBezTo>
                    <a:pt x="106048" y="165397"/>
                    <a:pt x="105982" y="175933"/>
                    <a:pt x="99393" y="182326"/>
                  </a:cubicBezTo>
                  <a:lnTo>
                    <a:pt x="95153" y="186600"/>
                  </a:lnTo>
                  <a:lnTo>
                    <a:pt x="94859" y="186306"/>
                  </a:lnTo>
                  <a:cubicBezTo>
                    <a:pt x="93710" y="185157"/>
                    <a:pt x="92220" y="184595"/>
                    <a:pt x="90735" y="184595"/>
                  </a:cubicBezTo>
                  <a:cubicBezTo>
                    <a:pt x="88974" y="184595"/>
                    <a:pt x="87220" y="185386"/>
                    <a:pt x="86052" y="186926"/>
                  </a:cubicBezTo>
                  <a:lnTo>
                    <a:pt x="80474" y="194363"/>
                  </a:lnTo>
                  <a:cubicBezTo>
                    <a:pt x="78908" y="196483"/>
                    <a:pt x="78908" y="199387"/>
                    <a:pt x="80539" y="201474"/>
                  </a:cubicBezTo>
                  <a:lnTo>
                    <a:pt x="78484" y="203529"/>
                  </a:lnTo>
                  <a:cubicBezTo>
                    <a:pt x="77277" y="204736"/>
                    <a:pt x="77277" y="206693"/>
                    <a:pt x="78484" y="207868"/>
                  </a:cubicBezTo>
                  <a:cubicBezTo>
                    <a:pt x="79087" y="208471"/>
                    <a:pt x="79878" y="208773"/>
                    <a:pt x="80665" y="208773"/>
                  </a:cubicBezTo>
                  <a:cubicBezTo>
                    <a:pt x="81452" y="208773"/>
                    <a:pt x="82235" y="208471"/>
                    <a:pt x="82822" y="207868"/>
                  </a:cubicBezTo>
                  <a:lnTo>
                    <a:pt x="84910" y="205813"/>
                  </a:lnTo>
                  <a:cubicBezTo>
                    <a:pt x="85958" y="206645"/>
                    <a:pt x="87236" y="207061"/>
                    <a:pt x="88518" y="207061"/>
                  </a:cubicBezTo>
                  <a:cubicBezTo>
                    <a:pt x="89748" y="207061"/>
                    <a:pt x="90983" y="206677"/>
                    <a:pt x="92021" y="205911"/>
                  </a:cubicBezTo>
                  <a:lnTo>
                    <a:pt x="99458" y="200300"/>
                  </a:lnTo>
                  <a:cubicBezTo>
                    <a:pt x="102264" y="198180"/>
                    <a:pt x="102557" y="194004"/>
                    <a:pt x="100046" y="191493"/>
                  </a:cubicBezTo>
                  <a:lnTo>
                    <a:pt x="99491" y="190938"/>
                  </a:lnTo>
                  <a:lnTo>
                    <a:pt x="103764" y="186697"/>
                  </a:lnTo>
                  <a:cubicBezTo>
                    <a:pt x="112408" y="177825"/>
                    <a:pt x="112311" y="163700"/>
                    <a:pt x="103568" y="154926"/>
                  </a:cubicBezTo>
                  <a:cubicBezTo>
                    <a:pt x="99169" y="150526"/>
                    <a:pt x="93397" y="148324"/>
                    <a:pt x="87623" y="148324"/>
                  </a:cubicBezTo>
                  <a:cubicBezTo>
                    <a:pt x="81923" y="148324"/>
                    <a:pt x="76220" y="150469"/>
                    <a:pt x="71829" y="154763"/>
                  </a:cubicBezTo>
                  <a:lnTo>
                    <a:pt x="39014" y="187546"/>
                  </a:lnTo>
                  <a:cubicBezTo>
                    <a:pt x="35719" y="190824"/>
                    <a:pt x="31414" y="192463"/>
                    <a:pt x="27108" y="192463"/>
                  </a:cubicBezTo>
                  <a:cubicBezTo>
                    <a:pt x="22802" y="192463"/>
                    <a:pt x="18496" y="190824"/>
                    <a:pt x="15202" y="187546"/>
                  </a:cubicBezTo>
                  <a:lnTo>
                    <a:pt x="13277" y="185654"/>
                  </a:lnTo>
                  <a:cubicBezTo>
                    <a:pt x="7895" y="180239"/>
                    <a:pt x="6818" y="171888"/>
                    <a:pt x="10635" y="165299"/>
                  </a:cubicBezTo>
                  <a:lnTo>
                    <a:pt x="10635" y="165299"/>
                  </a:lnTo>
                  <a:lnTo>
                    <a:pt x="10765" y="165429"/>
                  </a:lnTo>
                  <a:cubicBezTo>
                    <a:pt x="11888" y="166552"/>
                    <a:pt x="13367" y="167116"/>
                    <a:pt x="14848" y="167116"/>
                  </a:cubicBezTo>
                  <a:cubicBezTo>
                    <a:pt x="16206" y="167116"/>
                    <a:pt x="17567" y="166642"/>
                    <a:pt x="18659" y="165690"/>
                  </a:cubicBezTo>
                  <a:lnTo>
                    <a:pt x="30076" y="155741"/>
                  </a:lnTo>
                  <a:cubicBezTo>
                    <a:pt x="30533" y="155839"/>
                    <a:pt x="31022" y="155872"/>
                    <a:pt x="31512" y="155904"/>
                  </a:cubicBezTo>
                  <a:cubicBezTo>
                    <a:pt x="33240" y="155904"/>
                    <a:pt x="34937" y="155285"/>
                    <a:pt x="36241" y="154143"/>
                  </a:cubicBezTo>
                  <a:lnTo>
                    <a:pt x="51018" y="141421"/>
                  </a:lnTo>
                  <a:cubicBezTo>
                    <a:pt x="52290" y="140312"/>
                    <a:pt x="52453" y="138387"/>
                    <a:pt x="51344" y="137083"/>
                  </a:cubicBezTo>
                  <a:cubicBezTo>
                    <a:pt x="50733" y="136381"/>
                    <a:pt x="49864" y="136017"/>
                    <a:pt x="48994" y="136017"/>
                  </a:cubicBezTo>
                  <a:cubicBezTo>
                    <a:pt x="48286" y="136017"/>
                    <a:pt x="47577" y="136259"/>
                    <a:pt x="47006" y="136756"/>
                  </a:cubicBezTo>
                  <a:lnTo>
                    <a:pt x="32229" y="149478"/>
                  </a:lnTo>
                  <a:cubicBezTo>
                    <a:pt x="32023" y="149665"/>
                    <a:pt x="31764" y="149756"/>
                    <a:pt x="31500" y="149756"/>
                  </a:cubicBezTo>
                  <a:cubicBezTo>
                    <a:pt x="31304" y="149756"/>
                    <a:pt x="31105" y="149706"/>
                    <a:pt x="30924" y="149609"/>
                  </a:cubicBezTo>
                  <a:lnTo>
                    <a:pt x="30859" y="149543"/>
                  </a:lnTo>
                  <a:cubicBezTo>
                    <a:pt x="30794" y="149511"/>
                    <a:pt x="30761" y="149478"/>
                    <a:pt x="30729" y="149446"/>
                  </a:cubicBezTo>
                  <a:lnTo>
                    <a:pt x="21628" y="140345"/>
                  </a:lnTo>
                  <a:cubicBezTo>
                    <a:pt x="21562" y="140279"/>
                    <a:pt x="21497" y="140182"/>
                    <a:pt x="21465" y="140116"/>
                  </a:cubicBezTo>
                  <a:cubicBezTo>
                    <a:pt x="21204" y="139692"/>
                    <a:pt x="21236" y="139170"/>
                    <a:pt x="21562" y="138812"/>
                  </a:cubicBezTo>
                  <a:lnTo>
                    <a:pt x="91727" y="57392"/>
                  </a:lnTo>
                  <a:cubicBezTo>
                    <a:pt x="94304" y="60948"/>
                    <a:pt x="97534" y="64177"/>
                    <a:pt x="100698" y="67341"/>
                  </a:cubicBezTo>
                  <a:lnTo>
                    <a:pt x="102198" y="68842"/>
                  </a:lnTo>
                  <a:lnTo>
                    <a:pt x="103764" y="70408"/>
                  </a:lnTo>
                  <a:lnTo>
                    <a:pt x="104906" y="71549"/>
                  </a:lnTo>
                  <a:lnTo>
                    <a:pt x="105004" y="71647"/>
                  </a:lnTo>
                  <a:lnTo>
                    <a:pt x="105950" y="72593"/>
                  </a:lnTo>
                  <a:lnTo>
                    <a:pt x="106374" y="72985"/>
                  </a:lnTo>
                  <a:lnTo>
                    <a:pt x="107091" y="73702"/>
                  </a:lnTo>
                  <a:cubicBezTo>
                    <a:pt x="109146" y="75725"/>
                    <a:pt x="111299" y="77617"/>
                    <a:pt x="113615" y="79378"/>
                  </a:cubicBezTo>
                  <a:lnTo>
                    <a:pt x="57901" y="127362"/>
                  </a:lnTo>
                  <a:cubicBezTo>
                    <a:pt x="56629" y="128471"/>
                    <a:pt x="56466" y="130428"/>
                    <a:pt x="57575" y="131700"/>
                  </a:cubicBezTo>
                  <a:cubicBezTo>
                    <a:pt x="58182" y="132414"/>
                    <a:pt x="59033" y="132777"/>
                    <a:pt x="59893" y="132777"/>
                  </a:cubicBezTo>
                  <a:cubicBezTo>
                    <a:pt x="60604" y="132777"/>
                    <a:pt x="61322" y="132529"/>
                    <a:pt x="61913" y="132027"/>
                  </a:cubicBezTo>
                  <a:lnTo>
                    <a:pt x="119193" y="82640"/>
                  </a:lnTo>
                  <a:cubicBezTo>
                    <a:pt x="121966" y="83912"/>
                    <a:pt x="124934" y="84565"/>
                    <a:pt x="127968" y="84565"/>
                  </a:cubicBezTo>
                  <a:lnTo>
                    <a:pt x="128001" y="84565"/>
                  </a:lnTo>
                  <a:cubicBezTo>
                    <a:pt x="137199" y="84565"/>
                    <a:pt x="147246" y="78791"/>
                    <a:pt x="159642" y="66395"/>
                  </a:cubicBezTo>
                  <a:cubicBezTo>
                    <a:pt x="174810" y="51195"/>
                    <a:pt x="174810" y="26599"/>
                    <a:pt x="159642" y="11398"/>
                  </a:cubicBezTo>
                  <a:cubicBezTo>
                    <a:pt x="152117" y="3874"/>
                    <a:pt x="142159" y="0"/>
                    <a:pt x="1321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42" name="Google Shape;12742;p62"/>
          <p:cNvGrpSpPr/>
          <p:nvPr/>
        </p:nvGrpSpPr>
        <p:grpSpPr>
          <a:xfrm>
            <a:off x="3103963" y="3361140"/>
            <a:ext cx="297886" cy="337578"/>
            <a:chOff x="3103963" y="3361140"/>
            <a:chExt cx="297886" cy="337578"/>
          </a:xfrm>
        </p:grpSpPr>
        <p:sp>
          <p:nvSpPr>
            <p:cNvPr id="12743" name="Google Shape;12743;p62"/>
            <p:cNvSpPr/>
            <p:nvPr/>
          </p:nvSpPr>
          <p:spPr>
            <a:xfrm>
              <a:off x="3245305" y="3519402"/>
              <a:ext cx="14026" cy="14408"/>
            </a:xfrm>
            <a:custGeom>
              <a:avLst/>
              <a:gdLst/>
              <a:ahLst/>
              <a:cxnLst/>
              <a:rect l="l" t="t" r="r" b="b"/>
              <a:pathLst>
                <a:path w="441" h="453" extrusionOk="0">
                  <a:moveTo>
                    <a:pt x="227" y="0"/>
                  </a:moveTo>
                  <a:cubicBezTo>
                    <a:pt x="96" y="0"/>
                    <a:pt x="0" y="107"/>
                    <a:pt x="0" y="226"/>
                  </a:cubicBezTo>
                  <a:cubicBezTo>
                    <a:pt x="0" y="357"/>
                    <a:pt x="96" y="453"/>
                    <a:pt x="227" y="453"/>
                  </a:cubicBezTo>
                  <a:cubicBezTo>
                    <a:pt x="346" y="453"/>
                    <a:pt x="441" y="357"/>
                    <a:pt x="441" y="226"/>
                  </a:cubicBezTo>
                  <a:cubicBezTo>
                    <a:pt x="441" y="107"/>
                    <a:pt x="346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4" name="Google Shape;12744;p62"/>
            <p:cNvSpPr/>
            <p:nvPr/>
          </p:nvSpPr>
          <p:spPr>
            <a:xfrm>
              <a:off x="3284679" y="3597388"/>
              <a:ext cx="74646" cy="74646"/>
            </a:xfrm>
            <a:custGeom>
              <a:avLst/>
              <a:gdLst/>
              <a:ahLst/>
              <a:cxnLst/>
              <a:rect l="l" t="t" r="r" b="b"/>
              <a:pathLst>
                <a:path w="2347" h="2347" extrusionOk="0">
                  <a:moveTo>
                    <a:pt x="1167" y="1"/>
                  </a:moveTo>
                  <a:cubicBezTo>
                    <a:pt x="513" y="1"/>
                    <a:pt x="1" y="513"/>
                    <a:pt x="1" y="1168"/>
                  </a:cubicBezTo>
                  <a:cubicBezTo>
                    <a:pt x="1" y="1823"/>
                    <a:pt x="513" y="2346"/>
                    <a:pt x="1167" y="2346"/>
                  </a:cubicBezTo>
                  <a:cubicBezTo>
                    <a:pt x="1787" y="2346"/>
                    <a:pt x="2287" y="1870"/>
                    <a:pt x="2346" y="1263"/>
                  </a:cubicBezTo>
                  <a:cubicBezTo>
                    <a:pt x="2334" y="1203"/>
                    <a:pt x="2275" y="1132"/>
                    <a:pt x="2179" y="1108"/>
                  </a:cubicBezTo>
                  <a:cubicBezTo>
                    <a:pt x="2096" y="1108"/>
                    <a:pt x="2025" y="1168"/>
                    <a:pt x="2025" y="1263"/>
                  </a:cubicBezTo>
                  <a:cubicBezTo>
                    <a:pt x="1979" y="1706"/>
                    <a:pt x="1609" y="2051"/>
                    <a:pt x="1172" y="2051"/>
                  </a:cubicBezTo>
                  <a:cubicBezTo>
                    <a:pt x="1151" y="2051"/>
                    <a:pt x="1129" y="2050"/>
                    <a:pt x="1108" y="2049"/>
                  </a:cubicBezTo>
                  <a:cubicBezTo>
                    <a:pt x="655" y="2025"/>
                    <a:pt x="298" y="1644"/>
                    <a:pt x="298" y="1192"/>
                  </a:cubicBezTo>
                  <a:cubicBezTo>
                    <a:pt x="298" y="651"/>
                    <a:pt x="733" y="325"/>
                    <a:pt x="1174" y="325"/>
                  </a:cubicBezTo>
                  <a:cubicBezTo>
                    <a:pt x="1451" y="325"/>
                    <a:pt x="1731" y="454"/>
                    <a:pt x="1906" y="739"/>
                  </a:cubicBezTo>
                  <a:cubicBezTo>
                    <a:pt x="1930" y="788"/>
                    <a:pt x="1988" y="820"/>
                    <a:pt x="2045" y="820"/>
                  </a:cubicBezTo>
                  <a:cubicBezTo>
                    <a:pt x="2072" y="820"/>
                    <a:pt x="2097" y="814"/>
                    <a:pt x="2120" y="799"/>
                  </a:cubicBezTo>
                  <a:cubicBezTo>
                    <a:pt x="2203" y="751"/>
                    <a:pt x="2227" y="656"/>
                    <a:pt x="2179" y="572"/>
                  </a:cubicBezTo>
                  <a:cubicBezTo>
                    <a:pt x="1977" y="215"/>
                    <a:pt x="1584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5" name="Google Shape;12745;p62"/>
            <p:cNvSpPr/>
            <p:nvPr/>
          </p:nvSpPr>
          <p:spPr>
            <a:xfrm>
              <a:off x="3145692" y="3597483"/>
              <a:ext cx="75028" cy="74933"/>
            </a:xfrm>
            <a:custGeom>
              <a:avLst/>
              <a:gdLst/>
              <a:ahLst/>
              <a:cxnLst/>
              <a:rect l="l" t="t" r="r" b="b"/>
              <a:pathLst>
                <a:path w="2359" h="2356" extrusionOk="0">
                  <a:moveTo>
                    <a:pt x="1176" y="1"/>
                  </a:moveTo>
                  <a:cubicBezTo>
                    <a:pt x="539" y="1"/>
                    <a:pt x="1" y="522"/>
                    <a:pt x="1" y="1189"/>
                  </a:cubicBezTo>
                  <a:cubicBezTo>
                    <a:pt x="1" y="1820"/>
                    <a:pt x="525" y="2355"/>
                    <a:pt x="1180" y="2355"/>
                  </a:cubicBezTo>
                  <a:cubicBezTo>
                    <a:pt x="1715" y="2355"/>
                    <a:pt x="2180" y="1998"/>
                    <a:pt x="2311" y="1486"/>
                  </a:cubicBezTo>
                  <a:cubicBezTo>
                    <a:pt x="2347" y="1379"/>
                    <a:pt x="2358" y="1272"/>
                    <a:pt x="2358" y="1165"/>
                  </a:cubicBezTo>
                  <a:cubicBezTo>
                    <a:pt x="2358" y="903"/>
                    <a:pt x="2251" y="617"/>
                    <a:pt x="2073" y="415"/>
                  </a:cubicBezTo>
                  <a:cubicBezTo>
                    <a:pt x="2037" y="379"/>
                    <a:pt x="1985" y="356"/>
                    <a:pt x="1936" y="356"/>
                  </a:cubicBezTo>
                  <a:cubicBezTo>
                    <a:pt x="1902" y="356"/>
                    <a:pt x="1870" y="367"/>
                    <a:pt x="1846" y="391"/>
                  </a:cubicBezTo>
                  <a:cubicBezTo>
                    <a:pt x="1787" y="450"/>
                    <a:pt x="1775" y="558"/>
                    <a:pt x="1835" y="617"/>
                  </a:cubicBezTo>
                  <a:cubicBezTo>
                    <a:pt x="1966" y="784"/>
                    <a:pt x="2049" y="974"/>
                    <a:pt x="2049" y="1189"/>
                  </a:cubicBezTo>
                  <a:cubicBezTo>
                    <a:pt x="2049" y="1260"/>
                    <a:pt x="2025" y="1331"/>
                    <a:pt x="2013" y="1403"/>
                  </a:cubicBezTo>
                  <a:cubicBezTo>
                    <a:pt x="1906" y="1784"/>
                    <a:pt x="1573" y="2046"/>
                    <a:pt x="1180" y="2046"/>
                  </a:cubicBezTo>
                  <a:cubicBezTo>
                    <a:pt x="703" y="2046"/>
                    <a:pt x="322" y="1653"/>
                    <a:pt x="322" y="1189"/>
                  </a:cubicBezTo>
                  <a:cubicBezTo>
                    <a:pt x="322" y="699"/>
                    <a:pt x="714" y="319"/>
                    <a:pt x="1171" y="319"/>
                  </a:cubicBezTo>
                  <a:cubicBezTo>
                    <a:pt x="1236" y="319"/>
                    <a:pt x="1303" y="327"/>
                    <a:pt x="1370" y="343"/>
                  </a:cubicBezTo>
                  <a:cubicBezTo>
                    <a:pt x="1387" y="347"/>
                    <a:pt x="1403" y="349"/>
                    <a:pt x="1418" y="349"/>
                  </a:cubicBezTo>
                  <a:cubicBezTo>
                    <a:pt x="1489" y="349"/>
                    <a:pt x="1543" y="305"/>
                    <a:pt x="1573" y="236"/>
                  </a:cubicBezTo>
                  <a:cubicBezTo>
                    <a:pt x="1585" y="141"/>
                    <a:pt x="1537" y="69"/>
                    <a:pt x="1454" y="34"/>
                  </a:cubicBezTo>
                  <a:cubicBezTo>
                    <a:pt x="1360" y="11"/>
                    <a:pt x="1267" y="1"/>
                    <a:pt x="1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6" name="Google Shape;12746;p62"/>
            <p:cNvSpPr/>
            <p:nvPr/>
          </p:nvSpPr>
          <p:spPr>
            <a:xfrm>
              <a:off x="3277873" y="34913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7" name="Google Shape;12747;p62"/>
            <p:cNvSpPr/>
            <p:nvPr/>
          </p:nvSpPr>
          <p:spPr>
            <a:xfrm>
              <a:off x="3277873" y="349061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8" name="Google Shape;12748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9" name="Google Shape;12749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0" name="Google Shape;12750;p62"/>
            <p:cNvSpPr/>
            <p:nvPr/>
          </p:nvSpPr>
          <p:spPr>
            <a:xfrm>
              <a:off x="3103963" y="3361140"/>
              <a:ext cx="297886" cy="337578"/>
            </a:xfrm>
            <a:custGeom>
              <a:avLst/>
              <a:gdLst/>
              <a:ahLst/>
              <a:cxnLst/>
              <a:rect l="l" t="t" r="r" b="b"/>
              <a:pathLst>
                <a:path w="9366" h="10614" extrusionOk="0">
                  <a:moveTo>
                    <a:pt x="3824" y="312"/>
                  </a:moveTo>
                  <a:cubicBezTo>
                    <a:pt x="3859" y="312"/>
                    <a:pt x="3900" y="334"/>
                    <a:pt x="3909" y="369"/>
                  </a:cubicBezTo>
                  <a:cubicBezTo>
                    <a:pt x="4444" y="2345"/>
                    <a:pt x="4516" y="2607"/>
                    <a:pt x="4516" y="2631"/>
                  </a:cubicBezTo>
                  <a:lnTo>
                    <a:pt x="4016" y="4536"/>
                  </a:lnTo>
                  <a:lnTo>
                    <a:pt x="3206" y="1631"/>
                  </a:lnTo>
                  <a:cubicBezTo>
                    <a:pt x="3075" y="1107"/>
                    <a:pt x="3313" y="559"/>
                    <a:pt x="3789" y="321"/>
                  </a:cubicBezTo>
                  <a:cubicBezTo>
                    <a:pt x="3799" y="315"/>
                    <a:pt x="3811" y="312"/>
                    <a:pt x="3824" y="312"/>
                  </a:cubicBezTo>
                  <a:close/>
                  <a:moveTo>
                    <a:pt x="4682" y="4655"/>
                  </a:moveTo>
                  <a:cubicBezTo>
                    <a:pt x="5004" y="4667"/>
                    <a:pt x="5218" y="4988"/>
                    <a:pt x="5147" y="5286"/>
                  </a:cubicBezTo>
                  <a:lnTo>
                    <a:pt x="4790" y="6595"/>
                  </a:lnTo>
                  <a:cubicBezTo>
                    <a:pt x="4766" y="6655"/>
                    <a:pt x="4147" y="8989"/>
                    <a:pt x="4111" y="9072"/>
                  </a:cubicBezTo>
                  <a:cubicBezTo>
                    <a:pt x="3902" y="9809"/>
                    <a:pt x="3226" y="10296"/>
                    <a:pt x="2495" y="10296"/>
                  </a:cubicBezTo>
                  <a:cubicBezTo>
                    <a:pt x="2352" y="10296"/>
                    <a:pt x="2207" y="10278"/>
                    <a:pt x="2063" y="10239"/>
                  </a:cubicBezTo>
                  <a:cubicBezTo>
                    <a:pt x="1158" y="10001"/>
                    <a:pt x="634" y="9072"/>
                    <a:pt x="872" y="8167"/>
                  </a:cubicBezTo>
                  <a:cubicBezTo>
                    <a:pt x="1083" y="7391"/>
                    <a:pt x="1785" y="6913"/>
                    <a:pt x="2515" y="6913"/>
                  </a:cubicBezTo>
                  <a:cubicBezTo>
                    <a:pt x="2815" y="6913"/>
                    <a:pt x="3119" y="6994"/>
                    <a:pt x="3397" y="7167"/>
                  </a:cubicBezTo>
                  <a:cubicBezTo>
                    <a:pt x="3428" y="7186"/>
                    <a:pt x="3461" y="7196"/>
                    <a:pt x="3493" y="7196"/>
                  </a:cubicBezTo>
                  <a:cubicBezTo>
                    <a:pt x="3559" y="7196"/>
                    <a:pt x="3619" y="7156"/>
                    <a:pt x="3635" y="7084"/>
                  </a:cubicBezTo>
                  <a:cubicBezTo>
                    <a:pt x="3659" y="7048"/>
                    <a:pt x="3682" y="6905"/>
                    <a:pt x="3813" y="6393"/>
                  </a:cubicBezTo>
                  <a:lnTo>
                    <a:pt x="3992" y="5762"/>
                  </a:lnTo>
                  <a:lnTo>
                    <a:pt x="4194" y="5024"/>
                  </a:lnTo>
                  <a:cubicBezTo>
                    <a:pt x="4254" y="4821"/>
                    <a:pt x="4444" y="4655"/>
                    <a:pt x="4682" y="4655"/>
                  </a:cubicBezTo>
                  <a:close/>
                  <a:moveTo>
                    <a:pt x="5337" y="5774"/>
                  </a:moveTo>
                  <a:cubicBezTo>
                    <a:pt x="5614" y="6801"/>
                    <a:pt x="5643" y="6918"/>
                    <a:pt x="5642" y="6918"/>
                  </a:cubicBezTo>
                  <a:cubicBezTo>
                    <a:pt x="5641" y="6918"/>
                    <a:pt x="5638" y="6908"/>
                    <a:pt x="5638" y="6908"/>
                  </a:cubicBezTo>
                  <a:lnTo>
                    <a:pt x="5638" y="6908"/>
                  </a:lnTo>
                  <a:cubicBezTo>
                    <a:pt x="5638" y="6908"/>
                    <a:pt x="5647" y="6939"/>
                    <a:pt x="5694" y="7107"/>
                  </a:cubicBezTo>
                  <a:cubicBezTo>
                    <a:pt x="5706" y="7155"/>
                    <a:pt x="5730" y="7203"/>
                    <a:pt x="5778" y="7215"/>
                  </a:cubicBezTo>
                  <a:cubicBezTo>
                    <a:pt x="5800" y="7223"/>
                    <a:pt x="5820" y="7227"/>
                    <a:pt x="5839" y="7227"/>
                  </a:cubicBezTo>
                  <a:cubicBezTo>
                    <a:pt x="5948" y="7227"/>
                    <a:pt x="6017" y="7094"/>
                    <a:pt x="6373" y="7012"/>
                  </a:cubicBezTo>
                  <a:cubicBezTo>
                    <a:pt x="6538" y="6965"/>
                    <a:pt x="6699" y="6943"/>
                    <a:pt x="6855" y="6943"/>
                  </a:cubicBezTo>
                  <a:cubicBezTo>
                    <a:pt x="8084" y="6943"/>
                    <a:pt x="8957" y="8303"/>
                    <a:pt x="8302" y="9465"/>
                  </a:cubicBezTo>
                  <a:cubicBezTo>
                    <a:pt x="7970" y="10039"/>
                    <a:pt x="7408" y="10308"/>
                    <a:pt x="6849" y="10308"/>
                  </a:cubicBezTo>
                  <a:cubicBezTo>
                    <a:pt x="6144" y="10308"/>
                    <a:pt x="5444" y="9880"/>
                    <a:pt x="5218" y="9096"/>
                  </a:cubicBezTo>
                  <a:cubicBezTo>
                    <a:pt x="5183" y="9001"/>
                    <a:pt x="4921" y="8000"/>
                    <a:pt x="4825" y="7667"/>
                  </a:cubicBezTo>
                  <a:cubicBezTo>
                    <a:pt x="4849" y="7619"/>
                    <a:pt x="4885" y="7453"/>
                    <a:pt x="5040" y="6869"/>
                  </a:cubicBezTo>
                  <a:cubicBezTo>
                    <a:pt x="5218" y="6191"/>
                    <a:pt x="5159" y="6453"/>
                    <a:pt x="5337" y="5774"/>
                  </a:cubicBezTo>
                  <a:close/>
                  <a:moveTo>
                    <a:pt x="3839" y="0"/>
                  </a:moveTo>
                  <a:cubicBezTo>
                    <a:pt x="3778" y="0"/>
                    <a:pt x="3716" y="15"/>
                    <a:pt x="3659" y="47"/>
                  </a:cubicBezTo>
                  <a:cubicBezTo>
                    <a:pt x="3063" y="357"/>
                    <a:pt x="2742" y="1035"/>
                    <a:pt x="2920" y="1714"/>
                  </a:cubicBezTo>
                  <a:lnTo>
                    <a:pt x="3849" y="5143"/>
                  </a:lnTo>
                  <a:cubicBezTo>
                    <a:pt x="3670" y="5833"/>
                    <a:pt x="3718" y="5655"/>
                    <a:pt x="3397" y="6810"/>
                  </a:cubicBezTo>
                  <a:cubicBezTo>
                    <a:pt x="3278" y="6750"/>
                    <a:pt x="3158" y="6715"/>
                    <a:pt x="3039" y="6679"/>
                  </a:cubicBezTo>
                  <a:cubicBezTo>
                    <a:pt x="2859" y="6630"/>
                    <a:pt x="2682" y="6607"/>
                    <a:pt x="2510" y="6607"/>
                  </a:cubicBezTo>
                  <a:cubicBezTo>
                    <a:pt x="1060" y="6607"/>
                    <a:pt x="0" y="8245"/>
                    <a:pt x="777" y="9608"/>
                  </a:cubicBezTo>
                  <a:cubicBezTo>
                    <a:pt x="1168" y="10290"/>
                    <a:pt x="1839" y="10613"/>
                    <a:pt x="2507" y="10613"/>
                  </a:cubicBezTo>
                  <a:cubicBezTo>
                    <a:pt x="3342" y="10613"/>
                    <a:pt x="4173" y="10107"/>
                    <a:pt x="4444" y="9167"/>
                  </a:cubicBezTo>
                  <a:lnTo>
                    <a:pt x="4682" y="8262"/>
                  </a:lnTo>
                  <a:cubicBezTo>
                    <a:pt x="4932" y="9215"/>
                    <a:pt x="4921" y="9167"/>
                    <a:pt x="4932" y="9179"/>
                  </a:cubicBezTo>
                  <a:cubicBezTo>
                    <a:pt x="5087" y="9691"/>
                    <a:pt x="5409" y="10084"/>
                    <a:pt x="5873" y="10358"/>
                  </a:cubicBezTo>
                  <a:cubicBezTo>
                    <a:pt x="6181" y="10531"/>
                    <a:pt x="6516" y="10613"/>
                    <a:pt x="6848" y="10613"/>
                  </a:cubicBezTo>
                  <a:cubicBezTo>
                    <a:pt x="7542" y="10613"/>
                    <a:pt x="8221" y="10252"/>
                    <a:pt x="8600" y="9608"/>
                  </a:cubicBezTo>
                  <a:cubicBezTo>
                    <a:pt x="9365" y="8226"/>
                    <a:pt x="8308" y="6606"/>
                    <a:pt x="6852" y="6606"/>
                  </a:cubicBezTo>
                  <a:cubicBezTo>
                    <a:pt x="6677" y="6606"/>
                    <a:pt x="6497" y="6629"/>
                    <a:pt x="6314" y="6679"/>
                  </a:cubicBezTo>
                  <a:cubicBezTo>
                    <a:pt x="6195" y="6715"/>
                    <a:pt x="6064" y="6750"/>
                    <a:pt x="5956" y="6810"/>
                  </a:cubicBezTo>
                  <a:cubicBezTo>
                    <a:pt x="5587" y="5405"/>
                    <a:pt x="5516" y="5179"/>
                    <a:pt x="5516" y="5143"/>
                  </a:cubicBezTo>
                  <a:lnTo>
                    <a:pt x="5778" y="4167"/>
                  </a:lnTo>
                  <a:cubicBezTo>
                    <a:pt x="5814" y="4071"/>
                    <a:pt x="5754" y="4000"/>
                    <a:pt x="5671" y="3976"/>
                  </a:cubicBezTo>
                  <a:cubicBezTo>
                    <a:pt x="5653" y="3969"/>
                    <a:pt x="5637" y="3965"/>
                    <a:pt x="5621" y="3965"/>
                  </a:cubicBezTo>
                  <a:cubicBezTo>
                    <a:pt x="5559" y="3965"/>
                    <a:pt x="5509" y="4015"/>
                    <a:pt x="5480" y="4071"/>
                  </a:cubicBezTo>
                  <a:cubicBezTo>
                    <a:pt x="5468" y="4107"/>
                    <a:pt x="5444" y="4226"/>
                    <a:pt x="5337" y="4655"/>
                  </a:cubicBezTo>
                  <a:cubicBezTo>
                    <a:pt x="5179" y="4455"/>
                    <a:pt x="4939" y="4336"/>
                    <a:pt x="4695" y="4336"/>
                  </a:cubicBezTo>
                  <a:cubicBezTo>
                    <a:pt x="4590" y="4336"/>
                    <a:pt x="4485" y="4358"/>
                    <a:pt x="4385" y="4405"/>
                  </a:cubicBezTo>
                  <a:cubicBezTo>
                    <a:pt x="4444" y="4167"/>
                    <a:pt x="4980" y="2190"/>
                    <a:pt x="5087" y="1797"/>
                  </a:cubicBezTo>
                  <a:cubicBezTo>
                    <a:pt x="5111" y="1702"/>
                    <a:pt x="5052" y="1631"/>
                    <a:pt x="4980" y="1607"/>
                  </a:cubicBezTo>
                  <a:cubicBezTo>
                    <a:pt x="4961" y="1600"/>
                    <a:pt x="4942" y="1596"/>
                    <a:pt x="4925" y="1596"/>
                  </a:cubicBezTo>
                  <a:cubicBezTo>
                    <a:pt x="4858" y="1596"/>
                    <a:pt x="4809" y="1647"/>
                    <a:pt x="4790" y="1714"/>
                  </a:cubicBezTo>
                  <a:lnTo>
                    <a:pt x="4694" y="2023"/>
                  </a:lnTo>
                  <a:cubicBezTo>
                    <a:pt x="4218" y="249"/>
                    <a:pt x="4266" y="416"/>
                    <a:pt x="4218" y="285"/>
                  </a:cubicBezTo>
                  <a:cubicBezTo>
                    <a:pt x="4166" y="111"/>
                    <a:pt x="4005" y="0"/>
                    <a:pt x="38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1" name="Google Shape;12751;p62"/>
            <p:cNvSpPr/>
            <p:nvPr/>
          </p:nvSpPr>
          <p:spPr>
            <a:xfrm>
              <a:off x="3277873" y="34913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2" name="Google Shape;12752;p62"/>
            <p:cNvSpPr/>
            <p:nvPr/>
          </p:nvSpPr>
          <p:spPr>
            <a:xfrm>
              <a:off x="3278986" y="3524681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3" name="Google Shape;12753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4" name="Google Shape;12754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5" name="Google Shape;12755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6" name="Google Shape;12756;p62"/>
            <p:cNvSpPr/>
            <p:nvPr/>
          </p:nvSpPr>
          <p:spPr>
            <a:xfrm>
              <a:off x="3247181" y="344478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7" name="Google Shape;12757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8" name="Google Shape;12758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9" name="Google Shape;12759;p62"/>
            <p:cNvSpPr/>
            <p:nvPr/>
          </p:nvSpPr>
          <p:spPr>
            <a:xfrm>
              <a:off x="3247181" y="344478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0" name="Google Shape;12760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1" name="Google Shape;12761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2" name="Google Shape;12762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3" name="Google Shape;12763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4" name="Google Shape;12764;p62"/>
            <p:cNvSpPr/>
            <p:nvPr/>
          </p:nvSpPr>
          <p:spPr>
            <a:xfrm>
              <a:off x="3259299" y="3361140"/>
              <a:ext cx="51174" cy="118060"/>
            </a:xfrm>
            <a:custGeom>
              <a:avLst/>
              <a:gdLst/>
              <a:ahLst/>
              <a:cxnLst/>
              <a:rect l="l" t="t" r="r" b="b"/>
              <a:pathLst>
                <a:path w="1609" h="3712" extrusionOk="0">
                  <a:moveTo>
                    <a:pt x="637" y="0"/>
                  </a:moveTo>
                  <a:cubicBezTo>
                    <a:pt x="469" y="0"/>
                    <a:pt x="315" y="111"/>
                    <a:pt x="263" y="285"/>
                  </a:cubicBezTo>
                  <a:cubicBezTo>
                    <a:pt x="215" y="428"/>
                    <a:pt x="263" y="285"/>
                    <a:pt x="37" y="1119"/>
                  </a:cubicBezTo>
                  <a:cubicBezTo>
                    <a:pt x="1" y="1202"/>
                    <a:pt x="60" y="1273"/>
                    <a:pt x="144" y="1309"/>
                  </a:cubicBezTo>
                  <a:cubicBezTo>
                    <a:pt x="156" y="1313"/>
                    <a:pt x="169" y="1314"/>
                    <a:pt x="181" y="1314"/>
                  </a:cubicBezTo>
                  <a:cubicBezTo>
                    <a:pt x="248" y="1314"/>
                    <a:pt x="304" y="1262"/>
                    <a:pt x="334" y="1202"/>
                  </a:cubicBezTo>
                  <a:cubicBezTo>
                    <a:pt x="346" y="1154"/>
                    <a:pt x="394" y="976"/>
                    <a:pt x="560" y="404"/>
                  </a:cubicBezTo>
                  <a:cubicBezTo>
                    <a:pt x="569" y="370"/>
                    <a:pt x="602" y="342"/>
                    <a:pt x="637" y="342"/>
                  </a:cubicBezTo>
                  <a:cubicBezTo>
                    <a:pt x="652" y="342"/>
                    <a:pt x="666" y="346"/>
                    <a:pt x="680" y="357"/>
                  </a:cubicBezTo>
                  <a:cubicBezTo>
                    <a:pt x="1156" y="607"/>
                    <a:pt x="1394" y="1142"/>
                    <a:pt x="1251" y="1666"/>
                  </a:cubicBezTo>
                  <a:lnTo>
                    <a:pt x="763" y="3512"/>
                  </a:lnTo>
                  <a:cubicBezTo>
                    <a:pt x="739" y="3595"/>
                    <a:pt x="799" y="3678"/>
                    <a:pt x="870" y="3702"/>
                  </a:cubicBezTo>
                  <a:cubicBezTo>
                    <a:pt x="885" y="3709"/>
                    <a:pt x="901" y="3712"/>
                    <a:pt x="916" y="3712"/>
                  </a:cubicBezTo>
                  <a:cubicBezTo>
                    <a:pt x="982" y="3712"/>
                    <a:pt x="1041" y="3653"/>
                    <a:pt x="1061" y="3595"/>
                  </a:cubicBezTo>
                  <a:cubicBezTo>
                    <a:pt x="1537" y="1750"/>
                    <a:pt x="1608" y="1702"/>
                    <a:pt x="1608" y="1381"/>
                  </a:cubicBezTo>
                  <a:cubicBezTo>
                    <a:pt x="1596" y="785"/>
                    <a:pt x="1299" y="297"/>
                    <a:pt x="822" y="47"/>
                  </a:cubicBezTo>
                  <a:cubicBezTo>
                    <a:pt x="762" y="15"/>
                    <a:pt x="699" y="0"/>
                    <a:pt x="6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5" name="Google Shape;12765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6" name="Google Shape;12766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67" name="Google Shape;12767;p62"/>
          <p:cNvGrpSpPr/>
          <p:nvPr/>
        </p:nvGrpSpPr>
        <p:grpSpPr>
          <a:xfrm>
            <a:off x="2667821" y="3361108"/>
            <a:ext cx="273046" cy="337801"/>
            <a:chOff x="2667821" y="3361108"/>
            <a:chExt cx="273046" cy="337801"/>
          </a:xfrm>
        </p:grpSpPr>
        <p:sp>
          <p:nvSpPr>
            <p:cNvPr id="12768" name="Google Shape;12768;p62"/>
            <p:cNvSpPr/>
            <p:nvPr/>
          </p:nvSpPr>
          <p:spPr>
            <a:xfrm>
              <a:off x="2799971" y="3361108"/>
              <a:ext cx="10273" cy="36385"/>
            </a:xfrm>
            <a:custGeom>
              <a:avLst/>
              <a:gdLst/>
              <a:ahLst/>
              <a:cxnLst/>
              <a:rect l="l" t="t" r="r" b="b"/>
              <a:pathLst>
                <a:path w="323" h="1144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977"/>
                  </a:lnTo>
                  <a:cubicBezTo>
                    <a:pt x="1" y="1072"/>
                    <a:pt x="72" y="1143"/>
                    <a:pt x="155" y="1143"/>
                  </a:cubicBezTo>
                  <a:cubicBezTo>
                    <a:pt x="251" y="1143"/>
                    <a:pt x="322" y="1072"/>
                    <a:pt x="322" y="977"/>
                  </a:cubicBezTo>
                  <a:lnTo>
                    <a:pt x="322" y="167"/>
                  </a:lnTo>
                  <a:cubicBezTo>
                    <a:pt x="310" y="60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9" name="Google Shape;12769;p62"/>
            <p:cNvSpPr/>
            <p:nvPr/>
          </p:nvSpPr>
          <p:spPr>
            <a:xfrm>
              <a:off x="2838964" y="3371063"/>
              <a:ext cx="22009" cy="34381"/>
            </a:xfrm>
            <a:custGeom>
              <a:avLst/>
              <a:gdLst/>
              <a:ahLst/>
              <a:cxnLst/>
              <a:rect l="l" t="t" r="r" b="b"/>
              <a:pathLst>
                <a:path w="692" h="1081" extrusionOk="0">
                  <a:moveTo>
                    <a:pt x="517" y="0"/>
                  </a:moveTo>
                  <a:cubicBezTo>
                    <a:pt x="454" y="0"/>
                    <a:pt x="385" y="31"/>
                    <a:pt x="358" y="104"/>
                  </a:cubicBezTo>
                  <a:lnTo>
                    <a:pt x="49" y="866"/>
                  </a:lnTo>
                  <a:cubicBezTo>
                    <a:pt x="1" y="961"/>
                    <a:pt x="84" y="1080"/>
                    <a:pt x="203" y="1080"/>
                  </a:cubicBezTo>
                  <a:cubicBezTo>
                    <a:pt x="263" y="1080"/>
                    <a:pt x="322" y="1057"/>
                    <a:pt x="346" y="985"/>
                  </a:cubicBezTo>
                  <a:lnTo>
                    <a:pt x="656" y="223"/>
                  </a:lnTo>
                  <a:cubicBezTo>
                    <a:pt x="691" y="152"/>
                    <a:pt x="644" y="45"/>
                    <a:pt x="572" y="9"/>
                  </a:cubicBezTo>
                  <a:cubicBezTo>
                    <a:pt x="556" y="3"/>
                    <a:pt x="537" y="0"/>
                    <a:pt x="5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0" name="Google Shape;12770;p62"/>
            <p:cNvSpPr/>
            <p:nvPr/>
          </p:nvSpPr>
          <p:spPr>
            <a:xfrm>
              <a:off x="2873822" y="3399815"/>
              <a:ext cx="29197" cy="28338"/>
            </a:xfrm>
            <a:custGeom>
              <a:avLst/>
              <a:gdLst/>
              <a:ahLst/>
              <a:cxnLst/>
              <a:rect l="l" t="t" r="r" b="b"/>
              <a:pathLst>
                <a:path w="918" h="891" extrusionOk="0">
                  <a:moveTo>
                    <a:pt x="744" y="1"/>
                  </a:moveTo>
                  <a:cubicBezTo>
                    <a:pt x="703" y="1"/>
                    <a:pt x="661" y="16"/>
                    <a:pt x="631" y="45"/>
                  </a:cubicBezTo>
                  <a:lnTo>
                    <a:pt x="60" y="629"/>
                  </a:lnTo>
                  <a:cubicBezTo>
                    <a:pt x="0" y="688"/>
                    <a:pt x="0" y="784"/>
                    <a:pt x="60" y="843"/>
                  </a:cubicBezTo>
                  <a:cubicBezTo>
                    <a:pt x="84" y="879"/>
                    <a:pt x="131" y="891"/>
                    <a:pt x="179" y="891"/>
                  </a:cubicBezTo>
                  <a:cubicBezTo>
                    <a:pt x="286" y="891"/>
                    <a:pt x="274" y="831"/>
                    <a:pt x="858" y="272"/>
                  </a:cubicBezTo>
                  <a:cubicBezTo>
                    <a:pt x="917" y="212"/>
                    <a:pt x="917" y="105"/>
                    <a:pt x="858" y="45"/>
                  </a:cubicBezTo>
                  <a:cubicBezTo>
                    <a:pt x="828" y="16"/>
                    <a:pt x="786" y="1"/>
                    <a:pt x="7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1" name="Google Shape;12771;p62"/>
            <p:cNvSpPr/>
            <p:nvPr/>
          </p:nvSpPr>
          <p:spPr>
            <a:xfrm>
              <a:off x="2894655" y="3442656"/>
              <a:ext cx="37116" cy="19592"/>
            </a:xfrm>
            <a:custGeom>
              <a:avLst/>
              <a:gdLst/>
              <a:ahLst/>
              <a:cxnLst/>
              <a:rect l="l" t="t" r="r" b="b"/>
              <a:pathLst>
                <a:path w="1167" h="616" extrusionOk="0">
                  <a:moveTo>
                    <a:pt x="973" y="1"/>
                  </a:moveTo>
                  <a:cubicBezTo>
                    <a:pt x="955" y="1"/>
                    <a:pt x="936" y="3"/>
                    <a:pt x="917" y="8"/>
                  </a:cubicBezTo>
                  <a:lnTo>
                    <a:pt x="155" y="318"/>
                  </a:lnTo>
                  <a:cubicBezTo>
                    <a:pt x="0" y="377"/>
                    <a:pt x="36" y="615"/>
                    <a:pt x="214" y="615"/>
                  </a:cubicBezTo>
                  <a:cubicBezTo>
                    <a:pt x="274" y="615"/>
                    <a:pt x="238" y="615"/>
                    <a:pt x="1036" y="294"/>
                  </a:cubicBezTo>
                  <a:cubicBezTo>
                    <a:pt x="1131" y="282"/>
                    <a:pt x="1167" y="175"/>
                    <a:pt x="1131" y="103"/>
                  </a:cubicBezTo>
                  <a:cubicBezTo>
                    <a:pt x="1103" y="37"/>
                    <a:pt x="1044" y="1"/>
                    <a:pt x="9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2" name="Google Shape;12772;p62"/>
            <p:cNvSpPr/>
            <p:nvPr/>
          </p:nvSpPr>
          <p:spPr>
            <a:xfrm>
              <a:off x="2904482" y="3493258"/>
              <a:ext cx="36385" cy="10273"/>
            </a:xfrm>
            <a:custGeom>
              <a:avLst/>
              <a:gdLst/>
              <a:ahLst/>
              <a:cxnLst/>
              <a:rect l="l" t="t" r="r" b="b"/>
              <a:pathLst>
                <a:path w="1144" h="323" extrusionOk="0">
                  <a:moveTo>
                    <a:pt x="155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5" y="322"/>
                  </a:cubicBezTo>
                  <a:lnTo>
                    <a:pt x="977" y="322"/>
                  </a:lnTo>
                  <a:cubicBezTo>
                    <a:pt x="1072" y="322"/>
                    <a:pt x="1144" y="251"/>
                    <a:pt x="1144" y="155"/>
                  </a:cubicBezTo>
                  <a:cubicBezTo>
                    <a:pt x="1144" y="72"/>
                    <a:pt x="1072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3" name="Google Shape;12773;p62"/>
            <p:cNvSpPr/>
            <p:nvPr/>
          </p:nvSpPr>
          <p:spPr>
            <a:xfrm>
              <a:off x="2895386" y="3533364"/>
              <a:ext cx="35653" cy="20196"/>
            </a:xfrm>
            <a:custGeom>
              <a:avLst/>
              <a:gdLst/>
              <a:ahLst/>
              <a:cxnLst/>
              <a:rect l="l" t="t" r="r" b="b"/>
              <a:pathLst>
                <a:path w="1121" h="635" extrusionOk="0">
                  <a:moveTo>
                    <a:pt x="179" y="0"/>
                  </a:moveTo>
                  <a:cubicBezTo>
                    <a:pt x="118" y="0"/>
                    <a:pt x="54" y="38"/>
                    <a:pt x="37" y="109"/>
                  </a:cubicBezTo>
                  <a:cubicBezTo>
                    <a:pt x="1" y="180"/>
                    <a:pt x="37" y="288"/>
                    <a:pt x="120" y="311"/>
                  </a:cubicBezTo>
                  <a:lnTo>
                    <a:pt x="882" y="621"/>
                  </a:lnTo>
                  <a:cubicBezTo>
                    <a:pt x="901" y="630"/>
                    <a:pt x="922" y="635"/>
                    <a:pt x="943" y="635"/>
                  </a:cubicBezTo>
                  <a:cubicBezTo>
                    <a:pt x="1004" y="635"/>
                    <a:pt x="1067" y="599"/>
                    <a:pt x="1084" y="538"/>
                  </a:cubicBezTo>
                  <a:cubicBezTo>
                    <a:pt x="1120" y="442"/>
                    <a:pt x="1084" y="359"/>
                    <a:pt x="1001" y="323"/>
                  </a:cubicBezTo>
                  <a:lnTo>
                    <a:pt x="239" y="14"/>
                  </a:lnTo>
                  <a:cubicBezTo>
                    <a:pt x="221" y="5"/>
                    <a:pt x="200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4" name="Google Shape;12774;p62"/>
            <p:cNvSpPr/>
            <p:nvPr/>
          </p:nvSpPr>
          <p:spPr>
            <a:xfrm>
              <a:off x="2872677" y="3567586"/>
              <a:ext cx="30692" cy="28338"/>
            </a:xfrm>
            <a:custGeom>
              <a:avLst/>
              <a:gdLst/>
              <a:ahLst/>
              <a:cxnLst/>
              <a:rect l="l" t="t" r="r" b="b"/>
              <a:pathLst>
                <a:path w="965" h="891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644" y="819"/>
                    <a:pt x="620" y="890"/>
                    <a:pt x="751" y="890"/>
                  </a:cubicBezTo>
                  <a:cubicBezTo>
                    <a:pt x="894" y="890"/>
                    <a:pt x="965" y="712"/>
                    <a:pt x="858" y="616"/>
                  </a:cubicBezTo>
                  <a:lnTo>
                    <a:pt x="286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5" name="Google Shape;12775;p62"/>
            <p:cNvSpPr/>
            <p:nvPr/>
          </p:nvSpPr>
          <p:spPr>
            <a:xfrm>
              <a:off x="2838233" y="3589818"/>
              <a:ext cx="21214" cy="34318"/>
            </a:xfrm>
            <a:custGeom>
              <a:avLst/>
              <a:gdLst/>
              <a:ahLst/>
              <a:cxnLst/>
              <a:rect l="l" t="t" r="r" b="b"/>
              <a:pathLst>
                <a:path w="667" h="1079" extrusionOk="0">
                  <a:moveTo>
                    <a:pt x="179" y="1"/>
                  </a:moveTo>
                  <a:cubicBezTo>
                    <a:pt x="159" y="1"/>
                    <a:pt x="139" y="4"/>
                    <a:pt x="119" y="13"/>
                  </a:cubicBezTo>
                  <a:cubicBezTo>
                    <a:pt x="48" y="37"/>
                    <a:pt x="0" y="132"/>
                    <a:pt x="24" y="215"/>
                  </a:cubicBezTo>
                  <a:lnTo>
                    <a:pt x="345" y="977"/>
                  </a:lnTo>
                  <a:cubicBezTo>
                    <a:pt x="365" y="1036"/>
                    <a:pt x="425" y="1079"/>
                    <a:pt x="499" y="1079"/>
                  </a:cubicBezTo>
                  <a:cubicBezTo>
                    <a:pt x="514" y="1079"/>
                    <a:pt x="531" y="1077"/>
                    <a:pt x="548" y="1072"/>
                  </a:cubicBezTo>
                  <a:cubicBezTo>
                    <a:pt x="643" y="1037"/>
                    <a:pt x="667" y="929"/>
                    <a:pt x="643" y="858"/>
                  </a:cubicBezTo>
                  <a:lnTo>
                    <a:pt x="322" y="96"/>
                  </a:lnTo>
                  <a:cubicBezTo>
                    <a:pt x="303" y="41"/>
                    <a:pt x="24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6" name="Google Shape;12776;p62"/>
            <p:cNvSpPr/>
            <p:nvPr/>
          </p:nvSpPr>
          <p:spPr>
            <a:xfrm>
              <a:off x="2747334" y="3589754"/>
              <a:ext cx="21627" cy="34572"/>
            </a:xfrm>
            <a:custGeom>
              <a:avLst/>
              <a:gdLst/>
              <a:ahLst/>
              <a:cxnLst/>
              <a:rect l="l" t="t" r="r" b="b"/>
              <a:pathLst>
                <a:path w="680" h="1087" extrusionOk="0">
                  <a:moveTo>
                    <a:pt x="499" y="1"/>
                  </a:moveTo>
                  <a:cubicBezTo>
                    <a:pt x="438" y="1"/>
                    <a:pt x="375" y="36"/>
                    <a:pt x="358" y="98"/>
                  </a:cubicBezTo>
                  <a:lnTo>
                    <a:pt x="36" y="860"/>
                  </a:lnTo>
                  <a:cubicBezTo>
                    <a:pt x="1" y="967"/>
                    <a:pt x="72" y="1086"/>
                    <a:pt x="191" y="1086"/>
                  </a:cubicBezTo>
                  <a:cubicBezTo>
                    <a:pt x="251" y="1086"/>
                    <a:pt x="310" y="1051"/>
                    <a:pt x="334" y="979"/>
                  </a:cubicBezTo>
                  <a:lnTo>
                    <a:pt x="655" y="217"/>
                  </a:lnTo>
                  <a:cubicBezTo>
                    <a:pt x="679" y="134"/>
                    <a:pt x="632" y="39"/>
                    <a:pt x="560" y="15"/>
                  </a:cubicBezTo>
                  <a:cubicBezTo>
                    <a:pt x="542" y="5"/>
                    <a:pt x="520" y="1"/>
                    <a:pt x="4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7" name="Google Shape;12777;p62"/>
            <p:cNvSpPr/>
            <p:nvPr/>
          </p:nvSpPr>
          <p:spPr>
            <a:xfrm>
              <a:off x="2705319" y="3566441"/>
              <a:ext cx="29547" cy="28625"/>
            </a:xfrm>
            <a:custGeom>
              <a:avLst/>
              <a:gdLst/>
              <a:ahLst/>
              <a:cxnLst/>
              <a:rect l="l" t="t" r="r" b="b"/>
              <a:pathLst>
                <a:path w="929" h="900" extrusionOk="0">
                  <a:moveTo>
                    <a:pt x="744" y="1"/>
                  </a:moveTo>
                  <a:cubicBezTo>
                    <a:pt x="702" y="1"/>
                    <a:pt x="661" y="15"/>
                    <a:pt x="631" y="45"/>
                  </a:cubicBezTo>
                  <a:lnTo>
                    <a:pt x="60" y="629"/>
                  </a:lnTo>
                  <a:cubicBezTo>
                    <a:pt x="0" y="688"/>
                    <a:pt x="0" y="795"/>
                    <a:pt x="60" y="855"/>
                  </a:cubicBezTo>
                  <a:cubicBezTo>
                    <a:pt x="89" y="885"/>
                    <a:pt x="128" y="899"/>
                    <a:pt x="167" y="899"/>
                  </a:cubicBezTo>
                  <a:cubicBezTo>
                    <a:pt x="205" y="899"/>
                    <a:pt x="244" y="885"/>
                    <a:pt x="274" y="855"/>
                  </a:cubicBezTo>
                  <a:lnTo>
                    <a:pt x="857" y="271"/>
                  </a:lnTo>
                  <a:cubicBezTo>
                    <a:pt x="929" y="212"/>
                    <a:pt x="929" y="105"/>
                    <a:pt x="857" y="45"/>
                  </a:cubicBezTo>
                  <a:cubicBezTo>
                    <a:pt x="827" y="15"/>
                    <a:pt x="786" y="1"/>
                    <a:pt x="7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8" name="Google Shape;12778;p62"/>
            <p:cNvSpPr/>
            <p:nvPr/>
          </p:nvSpPr>
          <p:spPr>
            <a:xfrm>
              <a:off x="2676918" y="3532060"/>
              <a:ext cx="35240" cy="20133"/>
            </a:xfrm>
            <a:custGeom>
              <a:avLst/>
              <a:gdLst/>
              <a:ahLst/>
              <a:cxnLst/>
              <a:rect l="l" t="t" r="r" b="b"/>
              <a:pathLst>
                <a:path w="1108" h="633" extrusionOk="0">
                  <a:moveTo>
                    <a:pt x="918" y="1"/>
                  </a:moveTo>
                  <a:cubicBezTo>
                    <a:pt x="903" y="1"/>
                    <a:pt x="886" y="3"/>
                    <a:pt x="869" y="7"/>
                  </a:cubicBezTo>
                  <a:lnTo>
                    <a:pt x="119" y="329"/>
                  </a:lnTo>
                  <a:cubicBezTo>
                    <a:pt x="36" y="352"/>
                    <a:pt x="0" y="448"/>
                    <a:pt x="24" y="531"/>
                  </a:cubicBezTo>
                  <a:cubicBezTo>
                    <a:pt x="53" y="590"/>
                    <a:pt x="115" y="632"/>
                    <a:pt x="182" y="632"/>
                  </a:cubicBezTo>
                  <a:cubicBezTo>
                    <a:pt x="197" y="632"/>
                    <a:pt x="211" y="630"/>
                    <a:pt x="226" y="626"/>
                  </a:cubicBezTo>
                  <a:lnTo>
                    <a:pt x="988" y="305"/>
                  </a:lnTo>
                  <a:cubicBezTo>
                    <a:pt x="1060" y="281"/>
                    <a:pt x="1107" y="174"/>
                    <a:pt x="1084" y="102"/>
                  </a:cubicBezTo>
                  <a:cubicBezTo>
                    <a:pt x="1054" y="44"/>
                    <a:pt x="992" y="1"/>
                    <a:pt x="9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9" name="Google Shape;12779;p62"/>
            <p:cNvSpPr/>
            <p:nvPr/>
          </p:nvSpPr>
          <p:spPr>
            <a:xfrm>
              <a:off x="2667821" y="3491763"/>
              <a:ext cx="36385" cy="10241"/>
            </a:xfrm>
            <a:custGeom>
              <a:avLst/>
              <a:gdLst/>
              <a:ahLst/>
              <a:cxnLst/>
              <a:rect l="l" t="t" r="r" b="b"/>
              <a:pathLst>
                <a:path w="1144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977" y="322"/>
                  </a:lnTo>
                  <a:cubicBezTo>
                    <a:pt x="1072" y="322"/>
                    <a:pt x="1143" y="250"/>
                    <a:pt x="1143" y="167"/>
                  </a:cubicBezTo>
                  <a:cubicBezTo>
                    <a:pt x="1131" y="72"/>
                    <a:pt x="1048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0" name="Google Shape;12780;p62"/>
            <p:cNvSpPr/>
            <p:nvPr/>
          </p:nvSpPr>
          <p:spPr>
            <a:xfrm>
              <a:off x="2677267" y="3441702"/>
              <a:ext cx="35653" cy="20069"/>
            </a:xfrm>
            <a:custGeom>
              <a:avLst/>
              <a:gdLst/>
              <a:ahLst/>
              <a:cxnLst/>
              <a:rect l="l" t="t" r="r" b="b"/>
              <a:pathLst>
                <a:path w="1121" h="631" extrusionOk="0">
                  <a:moveTo>
                    <a:pt x="173" y="1"/>
                  </a:moveTo>
                  <a:cubicBezTo>
                    <a:pt x="110" y="1"/>
                    <a:pt x="51" y="36"/>
                    <a:pt x="25" y="98"/>
                  </a:cubicBezTo>
                  <a:cubicBezTo>
                    <a:pt x="1" y="193"/>
                    <a:pt x="25" y="276"/>
                    <a:pt x="120" y="312"/>
                  </a:cubicBezTo>
                  <a:lnTo>
                    <a:pt x="882" y="622"/>
                  </a:lnTo>
                  <a:cubicBezTo>
                    <a:pt x="899" y="627"/>
                    <a:pt x="918" y="630"/>
                    <a:pt x="937" y="630"/>
                  </a:cubicBezTo>
                  <a:cubicBezTo>
                    <a:pt x="999" y="630"/>
                    <a:pt x="1066" y="599"/>
                    <a:pt x="1084" y="526"/>
                  </a:cubicBezTo>
                  <a:cubicBezTo>
                    <a:pt x="1120" y="443"/>
                    <a:pt x="1084" y="348"/>
                    <a:pt x="1001" y="324"/>
                  </a:cubicBezTo>
                  <a:lnTo>
                    <a:pt x="239" y="14"/>
                  </a:lnTo>
                  <a:cubicBezTo>
                    <a:pt x="217" y="5"/>
                    <a:pt x="19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1" name="Google Shape;12781;p62"/>
            <p:cNvSpPr/>
            <p:nvPr/>
          </p:nvSpPr>
          <p:spPr>
            <a:xfrm>
              <a:off x="2706051" y="3399084"/>
              <a:ext cx="30724" cy="28338"/>
            </a:xfrm>
            <a:custGeom>
              <a:avLst/>
              <a:gdLst/>
              <a:ahLst/>
              <a:cxnLst/>
              <a:rect l="l" t="t" r="r" b="b"/>
              <a:pathLst>
                <a:path w="966" h="891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199"/>
                    <a:pt x="60" y="259"/>
                  </a:cubicBezTo>
                  <a:cubicBezTo>
                    <a:pt x="644" y="819"/>
                    <a:pt x="632" y="890"/>
                    <a:pt x="751" y="890"/>
                  </a:cubicBezTo>
                  <a:cubicBezTo>
                    <a:pt x="894" y="890"/>
                    <a:pt x="965" y="723"/>
                    <a:pt x="870" y="616"/>
                  </a:cubicBezTo>
                  <a:lnTo>
                    <a:pt x="287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2" name="Google Shape;12782;p62"/>
            <p:cNvSpPr/>
            <p:nvPr/>
          </p:nvSpPr>
          <p:spPr>
            <a:xfrm>
              <a:off x="2748861" y="3370713"/>
              <a:ext cx="21596" cy="34190"/>
            </a:xfrm>
            <a:custGeom>
              <a:avLst/>
              <a:gdLst/>
              <a:ahLst/>
              <a:cxnLst/>
              <a:rect l="l" t="t" r="r" b="b"/>
              <a:pathLst>
                <a:path w="679" h="1075" extrusionOk="0">
                  <a:moveTo>
                    <a:pt x="170" y="1"/>
                  </a:moveTo>
                  <a:cubicBezTo>
                    <a:pt x="153" y="1"/>
                    <a:pt x="136" y="3"/>
                    <a:pt x="119" y="8"/>
                  </a:cubicBezTo>
                  <a:cubicBezTo>
                    <a:pt x="36" y="44"/>
                    <a:pt x="0" y="127"/>
                    <a:pt x="24" y="210"/>
                  </a:cubicBezTo>
                  <a:lnTo>
                    <a:pt x="334" y="972"/>
                  </a:lnTo>
                  <a:cubicBezTo>
                    <a:pt x="362" y="1039"/>
                    <a:pt x="421" y="1075"/>
                    <a:pt x="491" y="1075"/>
                  </a:cubicBezTo>
                  <a:cubicBezTo>
                    <a:pt x="510" y="1075"/>
                    <a:pt x="528" y="1073"/>
                    <a:pt x="548" y="1068"/>
                  </a:cubicBezTo>
                  <a:cubicBezTo>
                    <a:pt x="631" y="1020"/>
                    <a:pt x="679" y="937"/>
                    <a:pt x="631" y="841"/>
                  </a:cubicBezTo>
                  <a:lnTo>
                    <a:pt x="322" y="103"/>
                  </a:lnTo>
                  <a:cubicBezTo>
                    <a:pt x="293" y="37"/>
                    <a:pt x="235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3" name="Google Shape;12783;p62"/>
            <p:cNvSpPr/>
            <p:nvPr/>
          </p:nvSpPr>
          <p:spPr>
            <a:xfrm>
              <a:off x="2749242" y="3533364"/>
              <a:ext cx="111731" cy="115198"/>
            </a:xfrm>
            <a:custGeom>
              <a:avLst/>
              <a:gdLst/>
              <a:ahLst/>
              <a:cxnLst/>
              <a:rect l="l" t="t" r="r" b="b"/>
              <a:pathLst>
                <a:path w="3513" h="3622" extrusionOk="0">
                  <a:moveTo>
                    <a:pt x="3224" y="0"/>
                  </a:moveTo>
                  <a:cubicBezTo>
                    <a:pt x="3217" y="0"/>
                    <a:pt x="3210" y="1"/>
                    <a:pt x="3203" y="2"/>
                  </a:cubicBezTo>
                  <a:cubicBezTo>
                    <a:pt x="3108" y="14"/>
                    <a:pt x="3048" y="85"/>
                    <a:pt x="3060" y="180"/>
                  </a:cubicBezTo>
                  <a:lnTo>
                    <a:pt x="3155" y="740"/>
                  </a:lnTo>
                  <a:lnTo>
                    <a:pt x="3155" y="776"/>
                  </a:lnTo>
                  <a:cubicBezTo>
                    <a:pt x="3155" y="842"/>
                    <a:pt x="3087" y="909"/>
                    <a:pt x="3017" y="909"/>
                  </a:cubicBezTo>
                  <a:cubicBezTo>
                    <a:pt x="2999" y="909"/>
                    <a:pt x="2982" y="904"/>
                    <a:pt x="2965" y="895"/>
                  </a:cubicBezTo>
                  <a:cubicBezTo>
                    <a:pt x="2965" y="895"/>
                    <a:pt x="1929" y="359"/>
                    <a:pt x="1917" y="347"/>
                  </a:cubicBezTo>
                  <a:cubicBezTo>
                    <a:pt x="1858" y="320"/>
                    <a:pt x="1794" y="308"/>
                    <a:pt x="1731" y="308"/>
                  </a:cubicBezTo>
                  <a:cubicBezTo>
                    <a:pt x="1654" y="308"/>
                    <a:pt x="1578" y="326"/>
                    <a:pt x="1512" y="359"/>
                  </a:cubicBezTo>
                  <a:cubicBezTo>
                    <a:pt x="1453" y="383"/>
                    <a:pt x="548" y="859"/>
                    <a:pt x="500" y="895"/>
                  </a:cubicBezTo>
                  <a:cubicBezTo>
                    <a:pt x="480" y="906"/>
                    <a:pt x="459" y="911"/>
                    <a:pt x="438" y="911"/>
                  </a:cubicBezTo>
                  <a:cubicBezTo>
                    <a:pt x="372" y="911"/>
                    <a:pt x="310" y="857"/>
                    <a:pt x="310" y="776"/>
                  </a:cubicBezTo>
                  <a:cubicBezTo>
                    <a:pt x="310" y="764"/>
                    <a:pt x="310" y="740"/>
                    <a:pt x="345" y="585"/>
                  </a:cubicBezTo>
                  <a:cubicBezTo>
                    <a:pt x="357" y="490"/>
                    <a:pt x="298" y="418"/>
                    <a:pt x="203" y="407"/>
                  </a:cubicBezTo>
                  <a:cubicBezTo>
                    <a:pt x="190" y="403"/>
                    <a:pt x="178" y="401"/>
                    <a:pt x="166" y="401"/>
                  </a:cubicBezTo>
                  <a:cubicBezTo>
                    <a:pt x="99" y="401"/>
                    <a:pt x="44" y="457"/>
                    <a:pt x="24" y="538"/>
                  </a:cubicBezTo>
                  <a:cubicBezTo>
                    <a:pt x="0" y="680"/>
                    <a:pt x="0" y="716"/>
                    <a:pt x="0" y="776"/>
                  </a:cubicBezTo>
                  <a:cubicBezTo>
                    <a:pt x="0" y="1030"/>
                    <a:pt x="223" y="1224"/>
                    <a:pt x="464" y="1224"/>
                  </a:cubicBezTo>
                  <a:cubicBezTo>
                    <a:pt x="527" y="1224"/>
                    <a:pt x="592" y="1210"/>
                    <a:pt x="655" y="1180"/>
                  </a:cubicBezTo>
                  <a:lnTo>
                    <a:pt x="1238" y="883"/>
                  </a:lnTo>
                  <a:lnTo>
                    <a:pt x="1238" y="1454"/>
                  </a:lnTo>
                  <a:cubicBezTo>
                    <a:pt x="1238" y="1550"/>
                    <a:pt x="1310" y="1621"/>
                    <a:pt x="1393" y="1621"/>
                  </a:cubicBezTo>
                  <a:cubicBezTo>
                    <a:pt x="1488" y="1621"/>
                    <a:pt x="1560" y="1550"/>
                    <a:pt x="1560" y="1454"/>
                  </a:cubicBezTo>
                  <a:lnTo>
                    <a:pt x="1560" y="716"/>
                  </a:lnTo>
                  <a:cubicBezTo>
                    <a:pt x="1631" y="689"/>
                    <a:pt x="1683" y="636"/>
                    <a:pt x="1744" y="636"/>
                  </a:cubicBezTo>
                  <a:cubicBezTo>
                    <a:pt x="1764" y="636"/>
                    <a:pt x="1786" y="642"/>
                    <a:pt x="1810" y="657"/>
                  </a:cubicBezTo>
                  <a:lnTo>
                    <a:pt x="1929" y="716"/>
                  </a:lnTo>
                  <a:lnTo>
                    <a:pt x="1929" y="3455"/>
                  </a:lnTo>
                  <a:cubicBezTo>
                    <a:pt x="1929" y="3538"/>
                    <a:pt x="2012" y="3621"/>
                    <a:pt x="2096" y="3621"/>
                  </a:cubicBezTo>
                  <a:cubicBezTo>
                    <a:pt x="2191" y="3621"/>
                    <a:pt x="2262" y="3538"/>
                    <a:pt x="2262" y="3455"/>
                  </a:cubicBezTo>
                  <a:lnTo>
                    <a:pt x="2262" y="883"/>
                  </a:lnTo>
                  <a:cubicBezTo>
                    <a:pt x="2798" y="1145"/>
                    <a:pt x="2870" y="1240"/>
                    <a:pt x="3048" y="1240"/>
                  </a:cubicBezTo>
                  <a:cubicBezTo>
                    <a:pt x="3298" y="1216"/>
                    <a:pt x="3512" y="966"/>
                    <a:pt x="3465" y="704"/>
                  </a:cubicBezTo>
                  <a:lnTo>
                    <a:pt x="3382" y="133"/>
                  </a:lnTo>
                  <a:cubicBezTo>
                    <a:pt x="3360" y="57"/>
                    <a:pt x="3298" y="0"/>
                    <a:pt x="32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4" name="Google Shape;12784;p62"/>
            <p:cNvSpPr/>
            <p:nvPr/>
          </p:nvSpPr>
          <p:spPr>
            <a:xfrm>
              <a:off x="2795010" y="3417371"/>
              <a:ext cx="94365" cy="106960"/>
            </a:xfrm>
            <a:custGeom>
              <a:avLst/>
              <a:gdLst/>
              <a:ahLst/>
              <a:cxnLst/>
              <a:rect l="l" t="t" r="r" b="b"/>
              <a:pathLst>
                <a:path w="2967" h="3363" extrusionOk="0">
                  <a:moveTo>
                    <a:pt x="275" y="1"/>
                  </a:moveTo>
                  <a:cubicBezTo>
                    <a:pt x="121" y="1"/>
                    <a:pt x="0" y="85"/>
                    <a:pt x="49" y="220"/>
                  </a:cubicBezTo>
                  <a:cubicBezTo>
                    <a:pt x="68" y="296"/>
                    <a:pt x="133" y="334"/>
                    <a:pt x="195" y="334"/>
                  </a:cubicBezTo>
                  <a:cubicBezTo>
                    <a:pt x="210" y="334"/>
                    <a:pt x="226" y="332"/>
                    <a:pt x="240" y="327"/>
                  </a:cubicBezTo>
                  <a:cubicBezTo>
                    <a:pt x="253" y="324"/>
                    <a:pt x="266" y="323"/>
                    <a:pt x="280" y="323"/>
                  </a:cubicBezTo>
                  <a:cubicBezTo>
                    <a:pt x="329" y="323"/>
                    <a:pt x="379" y="342"/>
                    <a:pt x="407" y="398"/>
                  </a:cubicBezTo>
                  <a:lnTo>
                    <a:pt x="907" y="1434"/>
                  </a:lnTo>
                  <a:cubicBezTo>
                    <a:pt x="966" y="1565"/>
                    <a:pt x="1097" y="1649"/>
                    <a:pt x="1252" y="1684"/>
                  </a:cubicBezTo>
                  <a:lnTo>
                    <a:pt x="2395" y="1851"/>
                  </a:lnTo>
                  <a:cubicBezTo>
                    <a:pt x="2502" y="1863"/>
                    <a:pt x="2550" y="1994"/>
                    <a:pt x="2466" y="2065"/>
                  </a:cubicBezTo>
                  <a:lnTo>
                    <a:pt x="1657" y="2875"/>
                  </a:lnTo>
                  <a:cubicBezTo>
                    <a:pt x="1562" y="2958"/>
                    <a:pt x="1514" y="3077"/>
                    <a:pt x="1514" y="3196"/>
                  </a:cubicBezTo>
                  <a:cubicBezTo>
                    <a:pt x="1514" y="3292"/>
                    <a:pt x="1597" y="3363"/>
                    <a:pt x="1681" y="3363"/>
                  </a:cubicBezTo>
                  <a:cubicBezTo>
                    <a:pt x="1776" y="3363"/>
                    <a:pt x="1847" y="3292"/>
                    <a:pt x="1847" y="3196"/>
                  </a:cubicBezTo>
                  <a:cubicBezTo>
                    <a:pt x="1847" y="3101"/>
                    <a:pt x="1883" y="3137"/>
                    <a:pt x="2705" y="2303"/>
                  </a:cubicBezTo>
                  <a:cubicBezTo>
                    <a:pt x="2966" y="2030"/>
                    <a:pt x="2812" y="1577"/>
                    <a:pt x="2443" y="1518"/>
                  </a:cubicBezTo>
                  <a:lnTo>
                    <a:pt x="1300" y="1351"/>
                  </a:lnTo>
                  <a:cubicBezTo>
                    <a:pt x="1252" y="1351"/>
                    <a:pt x="1216" y="1327"/>
                    <a:pt x="1192" y="1279"/>
                  </a:cubicBezTo>
                  <a:lnTo>
                    <a:pt x="680" y="255"/>
                  </a:lnTo>
                  <a:cubicBezTo>
                    <a:pt x="594" y="76"/>
                    <a:pt x="420" y="1"/>
                    <a:pt x="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5" name="Google Shape;12785;p62"/>
            <p:cNvSpPr/>
            <p:nvPr/>
          </p:nvSpPr>
          <p:spPr>
            <a:xfrm>
              <a:off x="2719695" y="3433974"/>
              <a:ext cx="76141" cy="101744"/>
            </a:xfrm>
            <a:custGeom>
              <a:avLst/>
              <a:gdLst/>
              <a:ahLst/>
              <a:cxnLst/>
              <a:rect l="l" t="t" r="r" b="b"/>
              <a:pathLst>
                <a:path w="2394" h="3199" extrusionOk="0">
                  <a:moveTo>
                    <a:pt x="2232" y="0"/>
                  </a:moveTo>
                  <a:cubicBezTo>
                    <a:pt x="2173" y="0"/>
                    <a:pt x="2110" y="39"/>
                    <a:pt x="2084" y="91"/>
                  </a:cubicBezTo>
                  <a:lnTo>
                    <a:pt x="1763" y="757"/>
                  </a:lnTo>
                  <a:cubicBezTo>
                    <a:pt x="1751" y="805"/>
                    <a:pt x="1703" y="817"/>
                    <a:pt x="1655" y="829"/>
                  </a:cubicBezTo>
                  <a:lnTo>
                    <a:pt x="512" y="996"/>
                  </a:lnTo>
                  <a:cubicBezTo>
                    <a:pt x="131" y="1055"/>
                    <a:pt x="0" y="1508"/>
                    <a:pt x="250" y="1758"/>
                  </a:cubicBezTo>
                  <a:cubicBezTo>
                    <a:pt x="1108" y="2603"/>
                    <a:pt x="1132" y="2555"/>
                    <a:pt x="1120" y="2674"/>
                  </a:cubicBezTo>
                  <a:lnTo>
                    <a:pt x="1060" y="3020"/>
                  </a:lnTo>
                  <a:cubicBezTo>
                    <a:pt x="1048" y="3115"/>
                    <a:pt x="1120" y="3198"/>
                    <a:pt x="1203" y="3198"/>
                  </a:cubicBezTo>
                  <a:cubicBezTo>
                    <a:pt x="1286" y="3198"/>
                    <a:pt x="1358" y="3139"/>
                    <a:pt x="1358" y="3067"/>
                  </a:cubicBezTo>
                  <a:lnTo>
                    <a:pt x="1417" y="2722"/>
                  </a:lnTo>
                  <a:cubicBezTo>
                    <a:pt x="1441" y="2579"/>
                    <a:pt x="1382" y="2424"/>
                    <a:pt x="1286" y="2317"/>
                  </a:cubicBezTo>
                  <a:lnTo>
                    <a:pt x="465" y="1519"/>
                  </a:lnTo>
                  <a:cubicBezTo>
                    <a:pt x="393" y="1448"/>
                    <a:pt x="429" y="1305"/>
                    <a:pt x="536" y="1293"/>
                  </a:cubicBezTo>
                  <a:lnTo>
                    <a:pt x="1679" y="1127"/>
                  </a:lnTo>
                  <a:cubicBezTo>
                    <a:pt x="1834" y="1115"/>
                    <a:pt x="1953" y="1007"/>
                    <a:pt x="2025" y="876"/>
                  </a:cubicBezTo>
                  <a:lnTo>
                    <a:pt x="2358" y="210"/>
                  </a:lnTo>
                  <a:cubicBezTo>
                    <a:pt x="2394" y="150"/>
                    <a:pt x="2370" y="55"/>
                    <a:pt x="2298" y="19"/>
                  </a:cubicBezTo>
                  <a:cubicBezTo>
                    <a:pt x="2278" y="6"/>
                    <a:pt x="2256" y="0"/>
                    <a:pt x="22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6" name="Google Shape;12786;p62"/>
            <p:cNvSpPr/>
            <p:nvPr/>
          </p:nvSpPr>
          <p:spPr>
            <a:xfrm>
              <a:off x="2787472" y="3594366"/>
              <a:ext cx="32600" cy="104543"/>
            </a:xfrm>
            <a:custGeom>
              <a:avLst/>
              <a:gdLst/>
              <a:ahLst/>
              <a:cxnLst/>
              <a:rect l="l" t="t" r="r" b="b"/>
              <a:pathLst>
                <a:path w="1025" h="3287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2787"/>
                  </a:lnTo>
                  <a:cubicBezTo>
                    <a:pt x="1" y="3072"/>
                    <a:pt x="227" y="3287"/>
                    <a:pt x="513" y="3287"/>
                  </a:cubicBezTo>
                  <a:cubicBezTo>
                    <a:pt x="786" y="3287"/>
                    <a:pt x="1013" y="3072"/>
                    <a:pt x="1013" y="2787"/>
                  </a:cubicBezTo>
                  <a:lnTo>
                    <a:pt x="1013" y="2156"/>
                  </a:lnTo>
                  <a:cubicBezTo>
                    <a:pt x="1025" y="2072"/>
                    <a:pt x="953" y="2001"/>
                    <a:pt x="882" y="2001"/>
                  </a:cubicBezTo>
                  <a:cubicBezTo>
                    <a:pt x="786" y="2001"/>
                    <a:pt x="715" y="2072"/>
                    <a:pt x="715" y="2156"/>
                  </a:cubicBezTo>
                  <a:lnTo>
                    <a:pt x="715" y="2787"/>
                  </a:lnTo>
                  <a:cubicBezTo>
                    <a:pt x="715" y="2894"/>
                    <a:pt x="620" y="2977"/>
                    <a:pt x="525" y="2977"/>
                  </a:cubicBezTo>
                  <a:cubicBezTo>
                    <a:pt x="417" y="2977"/>
                    <a:pt x="334" y="2894"/>
                    <a:pt x="334" y="2787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87" name="Google Shape;12787;p62"/>
          <p:cNvGrpSpPr/>
          <p:nvPr/>
        </p:nvGrpSpPr>
        <p:grpSpPr>
          <a:xfrm>
            <a:off x="2212469" y="3360313"/>
            <a:ext cx="282715" cy="338660"/>
            <a:chOff x="2212469" y="3360313"/>
            <a:chExt cx="282715" cy="338660"/>
          </a:xfrm>
        </p:grpSpPr>
        <p:sp>
          <p:nvSpPr>
            <p:cNvPr id="12788" name="Google Shape;12788;p62"/>
            <p:cNvSpPr/>
            <p:nvPr/>
          </p:nvSpPr>
          <p:spPr>
            <a:xfrm>
              <a:off x="2282313" y="3360313"/>
              <a:ext cx="212871" cy="200403"/>
            </a:xfrm>
            <a:custGeom>
              <a:avLst/>
              <a:gdLst/>
              <a:ahLst/>
              <a:cxnLst/>
              <a:rect l="l" t="t" r="r" b="b"/>
              <a:pathLst>
                <a:path w="6693" h="6301" extrusionOk="0">
                  <a:moveTo>
                    <a:pt x="2751" y="2573"/>
                  </a:moveTo>
                  <a:lnTo>
                    <a:pt x="4108" y="3919"/>
                  </a:lnTo>
                  <a:lnTo>
                    <a:pt x="2882" y="5157"/>
                  </a:lnTo>
                  <a:lnTo>
                    <a:pt x="1525" y="3800"/>
                  </a:lnTo>
                  <a:lnTo>
                    <a:pt x="2751" y="2573"/>
                  </a:lnTo>
                  <a:close/>
                  <a:moveTo>
                    <a:pt x="5397" y="0"/>
                  </a:moveTo>
                  <a:cubicBezTo>
                    <a:pt x="5323" y="0"/>
                    <a:pt x="5261" y="55"/>
                    <a:pt x="5239" y="121"/>
                  </a:cubicBezTo>
                  <a:cubicBezTo>
                    <a:pt x="5228" y="216"/>
                    <a:pt x="5287" y="287"/>
                    <a:pt x="5359" y="299"/>
                  </a:cubicBezTo>
                  <a:cubicBezTo>
                    <a:pt x="5775" y="383"/>
                    <a:pt x="5990" y="656"/>
                    <a:pt x="6037" y="692"/>
                  </a:cubicBezTo>
                  <a:cubicBezTo>
                    <a:pt x="6478" y="1133"/>
                    <a:pt x="6478" y="1871"/>
                    <a:pt x="6037" y="2335"/>
                  </a:cubicBezTo>
                  <a:lnTo>
                    <a:pt x="5406" y="2954"/>
                  </a:lnTo>
                  <a:lnTo>
                    <a:pt x="3715" y="1264"/>
                  </a:lnTo>
                  <a:lnTo>
                    <a:pt x="4335" y="633"/>
                  </a:lnTo>
                  <a:cubicBezTo>
                    <a:pt x="4466" y="502"/>
                    <a:pt x="4632" y="395"/>
                    <a:pt x="4823" y="347"/>
                  </a:cubicBezTo>
                  <a:cubicBezTo>
                    <a:pt x="4918" y="323"/>
                    <a:pt x="4966" y="228"/>
                    <a:pt x="4930" y="156"/>
                  </a:cubicBezTo>
                  <a:cubicBezTo>
                    <a:pt x="4910" y="88"/>
                    <a:pt x="4842" y="43"/>
                    <a:pt x="4778" y="43"/>
                  </a:cubicBezTo>
                  <a:cubicBezTo>
                    <a:pt x="4765" y="43"/>
                    <a:pt x="4752" y="45"/>
                    <a:pt x="4739" y="49"/>
                  </a:cubicBezTo>
                  <a:cubicBezTo>
                    <a:pt x="4501" y="133"/>
                    <a:pt x="4287" y="240"/>
                    <a:pt x="4108" y="430"/>
                  </a:cubicBezTo>
                  <a:lnTo>
                    <a:pt x="3489" y="1049"/>
                  </a:lnTo>
                  <a:lnTo>
                    <a:pt x="3180" y="752"/>
                  </a:lnTo>
                  <a:cubicBezTo>
                    <a:pt x="3073" y="651"/>
                    <a:pt x="2933" y="600"/>
                    <a:pt x="2794" y="600"/>
                  </a:cubicBezTo>
                  <a:cubicBezTo>
                    <a:pt x="2656" y="600"/>
                    <a:pt x="2519" y="651"/>
                    <a:pt x="2418" y="752"/>
                  </a:cubicBezTo>
                  <a:lnTo>
                    <a:pt x="2049" y="1121"/>
                  </a:lnTo>
                  <a:cubicBezTo>
                    <a:pt x="1834" y="1335"/>
                    <a:pt x="1834" y="1680"/>
                    <a:pt x="2049" y="1883"/>
                  </a:cubicBezTo>
                  <a:lnTo>
                    <a:pt x="2525" y="2359"/>
                  </a:lnTo>
                  <a:lnTo>
                    <a:pt x="60" y="4812"/>
                  </a:lnTo>
                  <a:cubicBezTo>
                    <a:pt x="1" y="4871"/>
                    <a:pt x="1" y="4978"/>
                    <a:pt x="60" y="5038"/>
                  </a:cubicBezTo>
                  <a:cubicBezTo>
                    <a:pt x="90" y="5068"/>
                    <a:pt x="132" y="5083"/>
                    <a:pt x="173" y="5083"/>
                  </a:cubicBezTo>
                  <a:cubicBezTo>
                    <a:pt x="215" y="5083"/>
                    <a:pt x="257" y="5068"/>
                    <a:pt x="286" y="5038"/>
                  </a:cubicBezTo>
                  <a:lnTo>
                    <a:pt x="1287" y="4038"/>
                  </a:lnTo>
                  <a:lnTo>
                    <a:pt x="2644" y="5395"/>
                  </a:lnTo>
                  <a:lnTo>
                    <a:pt x="2001" y="6038"/>
                  </a:lnTo>
                  <a:cubicBezTo>
                    <a:pt x="1894" y="6145"/>
                    <a:pt x="1965" y="6300"/>
                    <a:pt x="2120" y="6300"/>
                  </a:cubicBezTo>
                  <a:cubicBezTo>
                    <a:pt x="2123" y="6300"/>
                    <a:pt x="2125" y="6300"/>
                    <a:pt x="2127" y="6300"/>
                  </a:cubicBezTo>
                  <a:cubicBezTo>
                    <a:pt x="2236" y="6300"/>
                    <a:pt x="2191" y="6277"/>
                    <a:pt x="4370" y="4133"/>
                  </a:cubicBezTo>
                  <a:cubicBezTo>
                    <a:pt x="4454" y="4133"/>
                    <a:pt x="4525" y="4062"/>
                    <a:pt x="4525" y="3966"/>
                  </a:cubicBezTo>
                  <a:cubicBezTo>
                    <a:pt x="4525" y="3859"/>
                    <a:pt x="4442" y="3835"/>
                    <a:pt x="4335" y="3716"/>
                  </a:cubicBezTo>
                  <a:lnTo>
                    <a:pt x="2977" y="2359"/>
                  </a:lnTo>
                  <a:lnTo>
                    <a:pt x="2287" y="1657"/>
                  </a:lnTo>
                  <a:cubicBezTo>
                    <a:pt x="2191" y="1573"/>
                    <a:pt x="2191" y="1430"/>
                    <a:pt x="2287" y="1347"/>
                  </a:cubicBezTo>
                  <a:lnTo>
                    <a:pt x="2656" y="978"/>
                  </a:lnTo>
                  <a:cubicBezTo>
                    <a:pt x="2697" y="930"/>
                    <a:pt x="2754" y="906"/>
                    <a:pt x="2811" y="906"/>
                  </a:cubicBezTo>
                  <a:cubicBezTo>
                    <a:pt x="2867" y="906"/>
                    <a:pt x="2924" y="930"/>
                    <a:pt x="2965" y="978"/>
                  </a:cubicBezTo>
                  <a:lnTo>
                    <a:pt x="5716" y="3728"/>
                  </a:lnTo>
                  <a:cubicBezTo>
                    <a:pt x="5811" y="3812"/>
                    <a:pt x="5811" y="3954"/>
                    <a:pt x="5716" y="4038"/>
                  </a:cubicBezTo>
                  <a:lnTo>
                    <a:pt x="5347" y="4407"/>
                  </a:lnTo>
                  <a:cubicBezTo>
                    <a:pt x="5305" y="4455"/>
                    <a:pt x="5248" y="4478"/>
                    <a:pt x="5192" y="4478"/>
                  </a:cubicBezTo>
                  <a:cubicBezTo>
                    <a:pt x="5135" y="4478"/>
                    <a:pt x="5079" y="4455"/>
                    <a:pt x="5037" y="4407"/>
                  </a:cubicBezTo>
                  <a:lnTo>
                    <a:pt x="4918" y="4288"/>
                  </a:lnTo>
                  <a:cubicBezTo>
                    <a:pt x="4888" y="4258"/>
                    <a:pt x="4847" y="4243"/>
                    <a:pt x="4805" y="4243"/>
                  </a:cubicBezTo>
                  <a:cubicBezTo>
                    <a:pt x="4763" y="4243"/>
                    <a:pt x="4722" y="4258"/>
                    <a:pt x="4692" y="4288"/>
                  </a:cubicBezTo>
                  <a:cubicBezTo>
                    <a:pt x="4632" y="4347"/>
                    <a:pt x="4632" y="4455"/>
                    <a:pt x="4692" y="4514"/>
                  </a:cubicBezTo>
                  <a:lnTo>
                    <a:pt x="4811" y="4633"/>
                  </a:lnTo>
                  <a:cubicBezTo>
                    <a:pt x="4918" y="4740"/>
                    <a:pt x="5055" y="4794"/>
                    <a:pt x="5192" y="4794"/>
                  </a:cubicBezTo>
                  <a:cubicBezTo>
                    <a:pt x="5329" y="4794"/>
                    <a:pt x="5466" y="4740"/>
                    <a:pt x="5573" y="4633"/>
                  </a:cubicBezTo>
                  <a:lnTo>
                    <a:pt x="5942" y="4264"/>
                  </a:lnTo>
                  <a:cubicBezTo>
                    <a:pt x="6156" y="4050"/>
                    <a:pt x="6156" y="3716"/>
                    <a:pt x="5942" y="3502"/>
                  </a:cubicBezTo>
                  <a:lnTo>
                    <a:pt x="5644" y="3204"/>
                  </a:lnTo>
                  <a:lnTo>
                    <a:pt x="6275" y="2585"/>
                  </a:lnTo>
                  <a:cubicBezTo>
                    <a:pt x="6537" y="2300"/>
                    <a:pt x="6692" y="1930"/>
                    <a:pt x="6692" y="1526"/>
                  </a:cubicBezTo>
                  <a:cubicBezTo>
                    <a:pt x="6692" y="823"/>
                    <a:pt x="6216" y="454"/>
                    <a:pt x="6180" y="406"/>
                  </a:cubicBezTo>
                  <a:cubicBezTo>
                    <a:pt x="5978" y="204"/>
                    <a:pt x="5704" y="73"/>
                    <a:pt x="5418" y="2"/>
                  </a:cubicBezTo>
                  <a:cubicBezTo>
                    <a:pt x="5411" y="1"/>
                    <a:pt x="5404" y="0"/>
                    <a:pt x="53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9" name="Google Shape;12789;p62"/>
            <p:cNvSpPr/>
            <p:nvPr/>
          </p:nvSpPr>
          <p:spPr>
            <a:xfrm>
              <a:off x="2234987" y="3526304"/>
              <a:ext cx="106070" cy="94143"/>
            </a:xfrm>
            <a:custGeom>
              <a:avLst/>
              <a:gdLst/>
              <a:ahLst/>
              <a:cxnLst/>
              <a:rect l="l" t="t" r="r" b="b"/>
              <a:pathLst>
                <a:path w="3335" h="2960" extrusionOk="0">
                  <a:moveTo>
                    <a:pt x="1245" y="1"/>
                  </a:moveTo>
                  <a:cubicBezTo>
                    <a:pt x="1203" y="1"/>
                    <a:pt x="1161" y="15"/>
                    <a:pt x="1132" y="45"/>
                  </a:cubicBezTo>
                  <a:cubicBezTo>
                    <a:pt x="1120" y="57"/>
                    <a:pt x="620" y="462"/>
                    <a:pt x="739" y="1152"/>
                  </a:cubicBezTo>
                  <a:lnTo>
                    <a:pt x="227" y="1664"/>
                  </a:lnTo>
                  <a:cubicBezTo>
                    <a:pt x="84" y="1807"/>
                    <a:pt x="0" y="2010"/>
                    <a:pt x="0" y="2200"/>
                  </a:cubicBezTo>
                  <a:cubicBezTo>
                    <a:pt x="0" y="2659"/>
                    <a:pt x="376" y="2960"/>
                    <a:pt x="766" y="2960"/>
                  </a:cubicBezTo>
                  <a:cubicBezTo>
                    <a:pt x="953" y="2960"/>
                    <a:pt x="1144" y="2890"/>
                    <a:pt x="1298" y="2736"/>
                  </a:cubicBezTo>
                  <a:lnTo>
                    <a:pt x="1810" y="2236"/>
                  </a:lnTo>
                  <a:cubicBezTo>
                    <a:pt x="1868" y="2243"/>
                    <a:pt x="1926" y="2247"/>
                    <a:pt x="1984" y="2247"/>
                  </a:cubicBezTo>
                  <a:cubicBezTo>
                    <a:pt x="2308" y="2247"/>
                    <a:pt x="2626" y="2133"/>
                    <a:pt x="2858" y="1891"/>
                  </a:cubicBezTo>
                  <a:lnTo>
                    <a:pt x="3275" y="1474"/>
                  </a:lnTo>
                  <a:cubicBezTo>
                    <a:pt x="3334" y="1414"/>
                    <a:pt x="3334" y="1307"/>
                    <a:pt x="3275" y="1248"/>
                  </a:cubicBezTo>
                  <a:cubicBezTo>
                    <a:pt x="3245" y="1218"/>
                    <a:pt x="3206" y="1203"/>
                    <a:pt x="3168" y="1203"/>
                  </a:cubicBezTo>
                  <a:cubicBezTo>
                    <a:pt x="3129" y="1203"/>
                    <a:pt x="3090" y="1218"/>
                    <a:pt x="3060" y="1248"/>
                  </a:cubicBezTo>
                  <a:lnTo>
                    <a:pt x="2644" y="1664"/>
                  </a:lnTo>
                  <a:cubicBezTo>
                    <a:pt x="2464" y="1844"/>
                    <a:pt x="2237" y="1929"/>
                    <a:pt x="2008" y="1929"/>
                  </a:cubicBezTo>
                  <a:cubicBezTo>
                    <a:pt x="1934" y="1929"/>
                    <a:pt x="1859" y="1920"/>
                    <a:pt x="1786" y="1903"/>
                  </a:cubicBezTo>
                  <a:cubicBezTo>
                    <a:pt x="1772" y="1900"/>
                    <a:pt x="1760" y="1898"/>
                    <a:pt x="1748" y="1898"/>
                  </a:cubicBezTo>
                  <a:cubicBezTo>
                    <a:pt x="1709" y="1898"/>
                    <a:pt x="1680" y="1914"/>
                    <a:pt x="1644" y="1950"/>
                  </a:cubicBezTo>
                  <a:lnTo>
                    <a:pt x="1072" y="2510"/>
                  </a:lnTo>
                  <a:cubicBezTo>
                    <a:pt x="989" y="2605"/>
                    <a:pt x="882" y="2641"/>
                    <a:pt x="762" y="2641"/>
                  </a:cubicBezTo>
                  <a:cubicBezTo>
                    <a:pt x="358" y="2641"/>
                    <a:pt x="167" y="2164"/>
                    <a:pt x="453" y="1891"/>
                  </a:cubicBezTo>
                  <a:lnTo>
                    <a:pt x="1012" y="1319"/>
                  </a:lnTo>
                  <a:cubicBezTo>
                    <a:pt x="1060" y="1283"/>
                    <a:pt x="1072" y="1236"/>
                    <a:pt x="1060" y="1176"/>
                  </a:cubicBezTo>
                  <a:cubicBezTo>
                    <a:pt x="929" y="605"/>
                    <a:pt x="1358" y="283"/>
                    <a:pt x="1358" y="259"/>
                  </a:cubicBezTo>
                  <a:cubicBezTo>
                    <a:pt x="1417" y="200"/>
                    <a:pt x="1417" y="105"/>
                    <a:pt x="1358" y="45"/>
                  </a:cubicBezTo>
                  <a:cubicBezTo>
                    <a:pt x="1328" y="15"/>
                    <a:pt x="1286" y="1"/>
                    <a:pt x="12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0" name="Google Shape;12790;p62"/>
            <p:cNvSpPr/>
            <p:nvPr/>
          </p:nvSpPr>
          <p:spPr>
            <a:xfrm>
              <a:off x="2212469" y="3622386"/>
              <a:ext cx="61924" cy="76586"/>
            </a:xfrm>
            <a:custGeom>
              <a:avLst/>
              <a:gdLst/>
              <a:ahLst/>
              <a:cxnLst/>
              <a:rect l="l" t="t" r="r" b="b"/>
              <a:pathLst>
                <a:path w="1947" h="2408" extrusionOk="0">
                  <a:moveTo>
                    <a:pt x="982" y="322"/>
                  </a:moveTo>
                  <a:lnTo>
                    <a:pt x="1447" y="1382"/>
                  </a:lnTo>
                  <a:cubicBezTo>
                    <a:pt x="1566" y="1680"/>
                    <a:pt x="1387" y="2084"/>
                    <a:pt x="970" y="2084"/>
                  </a:cubicBezTo>
                  <a:cubicBezTo>
                    <a:pt x="589" y="2084"/>
                    <a:pt x="387" y="1691"/>
                    <a:pt x="518" y="1382"/>
                  </a:cubicBezTo>
                  <a:lnTo>
                    <a:pt x="982" y="322"/>
                  </a:lnTo>
                  <a:close/>
                  <a:moveTo>
                    <a:pt x="975" y="1"/>
                  </a:moveTo>
                  <a:cubicBezTo>
                    <a:pt x="863" y="1"/>
                    <a:pt x="750" y="60"/>
                    <a:pt x="697" y="179"/>
                  </a:cubicBezTo>
                  <a:lnTo>
                    <a:pt x="220" y="1263"/>
                  </a:lnTo>
                  <a:cubicBezTo>
                    <a:pt x="0" y="1773"/>
                    <a:pt x="333" y="2407"/>
                    <a:pt x="977" y="2407"/>
                  </a:cubicBezTo>
                  <a:cubicBezTo>
                    <a:pt x="994" y="2407"/>
                    <a:pt x="1012" y="2407"/>
                    <a:pt x="1030" y="2406"/>
                  </a:cubicBezTo>
                  <a:cubicBezTo>
                    <a:pt x="1601" y="2382"/>
                    <a:pt x="1947" y="1775"/>
                    <a:pt x="1720" y="1263"/>
                  </a:cubicBezTo>
                  <a:lnTo>
                    <a:pt x="1244" y="179"/>
                  </a:lnTo>
                  <a:cubicBezTo>
                    <a:pt x="1197" y="60"/>
                    <a:pt x="1086" y="1"/>
                    <a:pt x="9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91" name="Google Shape;12791;p62"/>
          <p:cNvGrpSpPr/>
          <p:nvPr/>
        </p:nvGrpSpPr>
        <p:grpSpPr>
          <a:xfrm>
            <a:off x="1768821" y="3361108"/>
            <a:ext cx="278739" cy="339073"/>
            <a:chOff x="1768821" y="3361108"/>
            <a:chExt cx="278739" cy="339073"/>
          </a:xfrm>
        </p:grpSpPr>
        <p:sp>
          <p:nvSpPr>
            <p:cNvPr id="12792" name="Google Shape;12792;p62"/>
            <p:cNvSpPr/>
            <p:nvPr/>
          </p:nvSpPr>
          <p:spPr>
            <a:xfrm>
              <a:off x="1784374" y="3549744"/>
              <a:ext cx="32218" cy="21564"/>
            </a:xfrm>
            <a:custGeom>
              <a:avLst/>
              <a:gdLst/>
              <a:ahLst/>
              <a:cxnLst/>
              <a:rect l="l" t="t" r="r" b="b"/>
              <a:pathLst>
                <a:path w="1013" h="678" extrusionOk="0">
                  <a:moveTo>
                    <a:pt x="830" y="1"/>
                  </a:moveTo>
                  <a:cubicBezTo>
                    <a:pt x="804" y="1"/>
                    <a:pt x="776" y="8"/>
                    <a:pt x="750" y="23"/>
                  </a:cubicBezTo>
                  <a:lnTo>
                    <a:pt x="143" y="380"/>
                  </a:lnTo>
                  <a:cubicBezTo>
                    <a:pt x="0" y="451"/>
                    <a:pt x="48" y="677"/>
                    <a:pt x="214" y="677"/>
                  </a:cubicBezTo>
                  <a:cubicBezTo>
                    <a:pt x="238" y="677"/>
                    <a:pt x="274" y="677"/>
                    <a:pt x="286" y="665"/>
                  </a:cubicBezTo>
                  <a:lnTo>
                    <a:pt x="893" y="308"/>
                  </a:lnTo>
                  <a:cubicBezTo>
                    <a:pt x="1000" y="261"/>
                    <a:pt x="1012" y="154"/>
                    <a:pt x="976" y="82"/>
                  </a:cubicBezTo>
                  <a:cubicBezTo>
                    <a:pt x="944" y="33"/>
                    <a:pt x="889" y="1"/>
                    <a:pt x="8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3" name="Google Shape;12793;p62"/>
            <p:cNvSpPr/>
            <p:nvPr/>
          </p:nvSpPr>
          <p:spPr>
            <a:xfrm>
              <a:off x="1998326" y="3551652"/>
              <a:ext cx="32218" cy="21532"/>
            </a:xfrm>
            <a:custGeom>
              <a:avLst/>
              <a:gdLst/>
              <a:ahLst/>
              <a:cxnLst/>
              <a:rect l="l" t="t" r="r" b="b"/>
              <a:pathLst>
                <a:path w="1013" h="677" extrusionOk="0">
                  <a:moveTo>
                    <a:pt x="199" y="0"/>
                  </a:moveTo>
                  <a:cubicBezTo>
                    <a:pt x="141" y="0"/>
                    <a:pt x="80" y="33"/>
                    <a:pt x="48" y="82"/>
                  </a:cubicBezTo>
                  <a:cubicBezTo>
                    <a:pt x="0" y="153"/>
                    <a:pt x="36" y="260"/>
                    <a:pt x="107" y="308"/>
                  </a:cubicBezTo>
                  <a:cubicBezTo>
                    <a:pt x="726" y="665"/>
                    <a:pt x="714" y="677"/>
                    <a:pt x="810" y="677"/>
                  </a:cubicBezTo>
                  <a:cubicBezTo>
                    <a:pt x="953" y="677"/>
                    <a:pt x="1012" y="451"/>
                    <a:pt x="881" y="379"/>
                  </a:cubicBezTo>
                  <a:lnTo>
                    <a:pt x="274" y="22"/>
                  </a:lnTo>
                  <a:cubicBezTo>
                    <a:pt x="251" y="7"/>
                    <a:pt x="226" y="0"/>
                    <a:pt x="1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4" name="Google Shape;12794;p62"/>
            <p:cNvSpPr/>
            <p:nvPr/>
          </p:nvSpPr>
          <p:spPr>
            <a:xfrm>
              <a:off x="1826007" y="3466383"/>
              <a:ext cx="142041" cy="233799"/>
            </a:xfrm>
            <a:custGeom>
              <a:avLst/>
              <a:gdLst/>
              <a:ahLst/>
              <a:cxnLst/>
              <a:rect l="l" t="t" r="r" b="b"/>
              <a:pathLst>
                <a:path w="4466" h="7351" extrusionOk="0">
                  <a:moveTo>
                    <a:pt x="1715" y="346"/>
                  </a:moveTo>
                  <a:cubicBezTo>
                    <a:pt x="1882" y="346"/>
                    <a:pt x="2013" y="489"/>
                    <a:pt x="2013" y="643"/>
                  </a:cubicBezTo>
                  <a:lnTo>
                    <a:pt x="2013" y="941"/>
                  </a:lnTo>
                  <a:lnTo>
                    <a:pt x="1668" y="941"/>
                  </a:lnTo>
                  <a:cubicBezTo>
                    <a:pt x="1501" y="941"/>
                    <a:pt x="1370" y="810"/>
                    <a:pt x="1370" y="643"/>
                  </a:cubicBezTo>
                  <a:cubicBezTo>
                    <a:pt x="1370" y="489"/>
                    <a:pt x="1501" y="346"/>
                    <a:pt x="1668" y="346"/>
                  </a:cubicBezTo>
                  <a:close/>
                  <a:moveTo>
                    <a:pt x="3573" y="346"/>
                  </a:moveTo>
                  <a:cubicBezTo>
                    <a:pt x="3739" y="346"/>
                    <a:pt x="3870" y="489"/>
                    <a:pt x="3870" y="643"/>
                  </a:cubicBezTo>
                  <a:cubicBezTo>
                    <a:pt x="3870" y="810"/>
                    <a:pt x="3739" y="941"/>
                    <a:pt x="3573" y="941"/>
                  </a:cubicBezTo>
                  <a:lnTo>
                    <a:pt x="3239" y="941"/>
                  </a:lnTo>
                  <a:lnTo>
                    <a:pt x="3239" y="643"/>
                  </a:lnTo>
                  <a:cubicBezTo>
                    <a:pt x="3239" y="489"/>
                    <a:pt x="3370" y="346"/>
                    <a:pt x="3537" y="346"/>
                  </a:cubicBezTo>
                  <a:close/>
                  <a:moveTo>
                    <a:pt x="3727" y="4370"/>
                  </a:moveTo>
                  <a:lnTo>
                    <a:pt x="3727" y="5049"/>
                  </a:lnTo>
                  <a:lnTo>
                    <a:pt x="1513" y="5049"/>
                  </a:lnTo>
                  <a:lnTo>
                    <a:pt x="1513" y="4370"/>
                  </a:lnTo>
                  <a:close/>
                  <a:moveTo>
                    <a:pt x="3739" y="5370"/>
                  </a:moveTo>
                  <a:lnTo>
                    <a:pt x="3739" y="5799"/>
                  </a:lnTo>
                  <a:lnTo>
                    <a:pt x="3727" y="5799"/>
                  </a:lnTo>
                  <a:cubicBezTo>
                    <a:pt x="3727" y="5930"/>
                    <a:pt x="3620" y="6037"/>
                    <a:pt x="3489" y="6037"/>
                  </a:cubicBezTo>
                  <a:lnTo>
                    <a:pt x="1763" y="6037"/>
                  </a:lnTo>
                  <a:cubicBezTo>
                    <a:pt x="1620" y="6037"/>
                    <a:pt x="1525" y="5930"/>
                    <a:pt x="1525" y="5799"/>
                  </a:cubicBezTo>
                  <a:lnTo>
                    <a:pt x="1525" y="5370"/>
                  </a:lnTo>
                  <a:close/>
                  <a:moveTo>
                    <a:pt x="1656" y="0"/>
                  </a:moveTo>
                  <a:cubicBezTo>
                    <a:pt x="1310" y="0"/>
                    <a:pt x="1037" y="286"/>
                    <a:pt x="1037" y="631"/>
                  </a:cubicBezTo>
                  <a:cubicBezTo>
                    <a:pt x="1037" y="977"/>
                    <a:pt x="1310" y="1262"/>
                    <a:pt x="1656" y="1262"/>
                  </a:cubicBezTo>
                  <a:lnTo>
                    <a:pt x="2001" y="1262"/>
                  </a:lnTo>
                  <a:lnTo>
                    <a:pt x="2001" y="2548"/>
                  </a:lnTo>
                  <a:cubicBezTo>
                    <a:pt x="2001" y="2644"/>
                    <a:pt x="2072" y="2715"/>
                    <a:pt x="2168" y="2715"/>
                  </a:cubicBezTo>
                  <a:cubicBezTo>
                    <a:pt x="2251" y="2715"/>
                    <a:pt x="2322" y="2644"/>
                    <a:pt x="2322" y="2548"/>
                  </a:cubicBezTo>
                  <a:lnTo>
                    <a:pt x="2322" y="1262"/>
                  </a:lnTo>
                  <a:lnTo>
                    <a:pt x="2906" y="1262"/>
                  </a:lnTo>
                  <a:lnTo>
                    <a:pt x="2906" y="4037"/>
                  </a:lnTo>
                  <a:lnTo>
                    <a:pt x="2322" y="4037"/>
                  </a:lnTo>
                  <a:lnTo>
                    <a:pt x="2322" y="3191"/>
                  </a:lnTo>
                  <a:cubicBezTo>
                    <a:pt x="2322" y="3108"/>
                    <a:pt x="2251" y="3025"/>
                    <a:pt x="2168" y="3025"/>
                  </a:cubicBezTo>
                  <a:cubicBezTo>
                    <a:pt x="2072" y="3025"/>
                    <a:pt x="2001" y="3108"/>
                    <a:pt x="2001" y="3191"/>
                  </a:cubicBezTo>
                  <a:lnTo>
                    <a:pt x="2001" y="4060"/>
                  </a:lnTo>
                  <a:lnTo>
                    <a:pt x="1513" y="4060"/>
                  </a:lnTo>
                  <a:cubicBezTo>
                    <a:pt x="1489" y="3596"/>
                    <a:pt x="1298" y="3167"/>
                    <a:pt x="941" y="2846"/>
                  </a:cubicBezTo>
                  <a:cubicBezTo>
                    <a:pt x="679" y="2608"/>
                    <a:pt x="465" y="2310"/>
                    <a:pt x="334" y="1989"/>
                  </a:cubicBezTo>
                  <a:cubicBezTo>
                    <a:pt x="305" y="1930"/>
                    <a:pt x="235" y="1887"/>
                    <a:pt x="165" y="1887"/>
                  </a:cubicBezTo>
                  <a:cubicBezTo>
                    <a:pt x="150" y="1887"/>
                    <a:pt x="135" y="1889"/>
                    <a:pt x="120" y="1893"/>
                  </a:cubicBezTo>
                  <a:cubicBezTo>
                    <a:pt x="48" y="1929"/>
                    <a:pt x="1" y="2036"/>
                    <a:pt x="36" y="2108"/>
                  </a:cubicBezTo>
                  <a:cubicBezTo>
                    <a:pt x="179" y="2477"/>
                    <a:pt x="417" y="2810"/>
                    <a:pt x="715" y="3084"/>
                  </a:cubicBezTo>
                  <a:cubicBezTo>
                    <a:pt x="1001" y="3358"/>
                    <a:pt x="1179" y="3727"/>
                    <a:pt x="1179" y="4120"/>
                  </a:cubicBezTo>
                  <a:lnTo>
                    <a:pt x="1179" y="5823"/>
                  </a:lnTo>
                  <a:cubicBezTo>
                    <a:pt x="1179" y="6096"/>
                    <a:pt x="1358" y="6311"/>
                    <a:pt x="1608" y="6382"/>
                  </a:cubicBezTo>
                  <a:cubicBezTo>
                    <a:pt x="1608" y="6513"/>
                    <a:pt x="1644" y="6644"/>
                    <a:pt x="1703" y="6775"/>
                  </a:cubicBezTo>
                  <a:cubicBezTo>
                    <a:pt x="1738" y="6837"/>
                    <a:pt x="1793" y="6872"/>
                    <a:pt x="1848" y="6872"/>
                  </a:cubicBezTo>
                  <a:cubicBezTo>
                    <a:pt x="1868" y="6872"/>
                    <a:pt x="1887" y="6868"/>
                    <a:pt x="1906" y="6858"/>
                  </a:cubicBezTo>
                  <a:cubicBezTo>
                    <a:pt x="1989" y="6811"/>
                    <a:pt x="2025" y="6715"/>
                    <a:pt x="1989" y="6644"/>
                  </a:cubicBezTo>
                  <a:cubicBezTo>
                    <a:pt x="1953" y="6573"/>
                    <a:pt x="1930" y="6477"/>
                    <a:pt x="1930" y="6394"/>
                  </a:cubicBezTo>
                  <a:lnTo>
                    <a:pt x="3263" y="6394"/>
                  </a:lnTo>
                  <a:cubicBezTo>
                    <a:pt x="3243" y="6759"/>
                    <a:pt x="2922" y="7025"/>
                    <a:pt x="2575" y="7025"/>
                  </a:cubicBezTo>
                  <a:cubicBezTo>
                    <a:pt x="2503" y="7025"/>
                    <a:pt x="2430" y="7014"/>
                    <a:pt x="2358" y="6989"/>
                  </a:cubicBezTo>
                  <a:cubicBezTo>
                    <a:pt x="2336" y="6981"/>
                    <a:pt x="2314" y="6977"/>
                    <a:pt x="2294" y="6977"/>
                  </a:cubicBezTo>
                  <a:cubicBezTo>
                    <a:pt x="2227" y="6977"/>
                    <a:pt x="2171" y="7018"/>
                    <a:pt x="2144" y="7073"/>
                  </a:cubicBezTo>
                  <a:cubicBezTo>
                    <a:pt x="2120" y="7168"/>
                    <a:pt x="2168" y="7251"/>
                    <a:pt x="2239" y="7287"/>
                  </a:cubicBezTo>
                  <a:cubicBezTo>
                    <a:pt x="2356" y="7330"/>
                    <a:pt x="2473" y="7350"/>
                    <a:pt x="2588" y="7350"/>
                  </a:cubicBezTo>
                  <a:cubicBezTo>
                    <a:pt x="3106" y="7350"/>
                    <a:pt x="3563" y="6940"/>
                    <a:pt x="3573" y="6394"/>
                  </a:cubicBezTo>
                  <a:cubicBezTo>
                    <a:pt x="3835" y="6334"/>
                    <a:pt x="4013" y="6108"/>
                    <a:pt x="4013" y="5846"/>
                  </a:cubicBezTo>
                  <a:lnTo>
                    <a:pt x="4013" y="4156"/>
                  </a:lnTo>
                  <a:cubicBezTo>
                    <a:pt x="4013" y="3798"/>
                    <a:pt x="4144" y="3465"/>
                    <a:pt x="4370" y="3203"/>
                  </a:cubicBezTo>
                  <a:cubicBezTo>
                    <a:pt x="4466" y="3108"/>
                    <a:pt x="4454" y="3001"/>
                    <a:pt x="4394" y="2941"/>
                  </a:cubicBezTo>
                  <a:cubicBezTo>
                    <a:pt x="4366" y="2913"/>
                    <a:pt x="4326" y="2898"/>
                    <a:pt x="4287" y="2898"/>
                  </a:cubicBezTo>
                  <a:cubicBezTo>
                    <a:pt x="4243" y="2898"/>
                    <a:pt x="4199" y="2916"/>
                    <a:pt x="4168" y="2953"/>
                  </a:cubicBezTo>
                  <a:cubicBezTo>
                    <a:pt x="3906" y="3251"/>
                    <a:pt x="3739" y="3644"/>
                    <a:pt x="3727" y="4060"/>
                  </a:cubicBezTo>
                  <a:lnTo>
                    <a:pt x="3239" y="4060"/>
                  </a:lnTo>
                  <a:lnTo>
                    <a:pt x="3239" y="1262"/>
                  </a:lnTo>
                  <a:lnTo>
                    <a:pt x="3573" y="1262"/>
                  </a:lnTo>
                  <a:cubicBezTo>
                    <a:pt x="3918" y="1262"/>
                    <a:pt x="4204" y="977"/>
                    <a:pt x="4204" y="631"/>
                  </a:cubicBezTo>
                  <a:cubicBezTo>
                    <a:pt x="4204" y="286"/>
                    <a:pt x="3918" y="0"/>
                    <a:pt x="3573" y="0"/>
                  </a:cubicBezTo>
                  <a:lnTo>
                    <a:pt x="3537" y="0"/>
                  </a:lnTo>
                  <a:cubicBezTo>
                    <a:pt x="3192" y="0"/>
                    <a:pt x="2906" y="286"/>
                    <a:pt x="2906" y="631"/>
                  </a:cubicBezTo>
                  <a:lnTo>
                    <a:pt x="2906" y="929"/>
                  </a:lnTo>
                  <a:lnTo>
                    <a:pt x="2322" y="929"/>
                  </a:lnTo>
                  <a:lnTo>
                    <a:pt x="2322" y="631"/>
                  </a:lnTo>
                  <a:cubicBezTo>
                    <a:pt x="2322" y="286"/>
                    <a:pt x="2049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5" name="Google Shape;12795;p62"/>
            <p:cNvSpPr/>
            <p:nvPr/>
          </p:nvSpPr>
          <p:spPr>
            <a:xfrm>
              <a:off x="1820345" y="3409706"/>
              <a:ext cx="177631" cy="144236"/>
            </a:xfrm>
            <a:custGeom>
              <a:avLst/>
              <a:gdLst/>
              <a:ahLst/>
              <a:cxnLst/>
              <a:rect l="l" t="t" r="r" b="b"/>
              <a:pathLst>
                <a:path w="5585" h="4535" extrusionOk="0">
                  <a:moveTo>
                    <a:pt x="2818" y="1"/>
                  </a:moveTo>
                  <a:cubicBezTo>
                    <a:pt x="1382" y="1"/>
                    <a:pt x="0" y="1113"/>
                    <a:pt x="0" y="2782"/>
                  </a:cubicBezTo>
                  <a:cubicBezTo>
                    <a:pt x="0" y="2937"/>
                    <a:pt x="24" y="3080"/>
                    <a:pt x="36" y="3223"/>
                  </a:cubicBezTo>
                  <a:cubicBezTo>
                    <a:pt x="47" y="3299"/>
                    <a:pt x="107" y="3355"/>
                    <a:pt x="190" y="3355"/>
                  </a:cubicBezTo>
                  <a:cubicBezTo>
                    <a:pt x="198" y="3355"/>
                    <a:pt x="206" y="3355"/>
                    <a:pt x="214" y="3354"/>
                  </a:cubicBezTo>
                  <a:cubicBezTo>
                    <a:pt x="298" y="3342"/>
                    <a:pt x="357" y="3259"/>
                    <a:pt x="345" y="3175"/>
                  </a:cubicBezTo>
                  <a:cubicBezTo>
                    <a:pt x="333" y="3044"/>
                    <a:pt x="310" y="2925"/>
                    <a:pt x="310" y="2782"/>
                  </a:cubicBezTo>
                  <a:cubicBezTo>
                    <a:pt x="310" y="1416"/>
                    <a:pt x="1429" y="318"/>
                    <a:pt x="2779" y="318"/>
                  </a:cubicBezTo>
                  <a:cubicBezTo>
                    <a:pt x="2793" y="318"/>
                    <a:pt x="2807" y="318"/>
                    <a:pt x="2822" y="318"/>
                  </a:cubicBezTo>
                  <a:cubicBezTo>
                    <a:pt x="4143" y="330"/>
                    <a:pt x="5227" y="1437"/>
                    <a:pt x="5239" y="2759"/>
                  </a:cubicBezTo>
                  <a:lnTo>
                    <a:pt x="5239" y="2782"/>
                  </a:lnTo>
                  <a:cubicBezTo>
                    <a:pt x="5239" y="3318"/>
                    <a:pt x="5060" y="3842"/>
                    <a:pt x="4751" y="4271"/>
                  </a:cubicBezTo>
                  <a:cubicBezTo>
                    <a:pt x="4691" y="4354"/>
                    <a:pt x="4703" y="4437"/>
                    <a:pt x="4775" y="4497"/>
                  </a:cubicBezTo>
                  <a:cubicBezTo>
                    <a:pt x="4809" y="4522"/>
                    <a:pt x="4844" y="4534"/>
                    <a:pt x="4877" y="4534"/>
                  </a:cubicBezTo>
                  <a:cubicBezTo>
                    <a:pt x="4923" y="4534"/>
                    <a:pt x="4966" y="4510"/>
                    <a:pt x="5001" y="4461"/>
                  </a:cubicBezTo>
                  <a:cubicBezTo>
                    <a:pt x="5370" y="3973"/>
                    <a:pt x="5572" y="3390"/>
                    <a:pt x="5572" y="2782"/>
                  </a:cubicBezTo>
                  <a:cubicBezTo>
                    <a:pt x="5584" y="2782"/>
                    <a:pt x="5584" y="2771"/>
                    <a:pt x="5584" y="2759"/>
                  </a:cubicBezTo>
                  <a:cubicBezTo>
                    <a:pt x="5572" y="2032"/>
                    <a:pt x="5286" y="1342"/>
                    <a:pt x="4763" y="818"/>
                  </a:cubicBezTo>
                  <a:cubicBezTo>
                    <a:pt x="4198" y="253"/>
                    <a:pt x="3502" y="1"/>
                    <a:pt x="28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6" name="Google Shape;12796;p62"/>
            <p:cNvSpPr/>
            <p:nvPr/>
          </p:nvSpPr>
          <p:spPr>
            <a:xfrm>
              <a:off x="1904406" y="3361108"/>
              <a:ext cx="10241" cy="32982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70"/>
                  </a:lnTo>
                  <a:cubicBezTo>
                    <a:pt x="0" y="965"/>
                    <a:pt x="72" y="1036"/>
                    <a:pt x="155" y="1036"/>
                  </a:cubicBezTo>
                  <a:cubicBezTo>
                    <a:pt x="250" y="1036"/>
                    <a:pt x="322" y="965"/>
                    <a:pt x="322" y="870"/>
                  </a:cubicBezTo>
                  <a:lnTo>
                    <a:pt x="322" y="167"/>
                  </a:lnTo>
                  <a:cubicBezTo>
                    <a:pt x="310" y="60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7" name="Google Shape;12797;p62"/>
            <p:cNvSpPr/>
            <p:nvPr/>
          </p:nvSpPr>
          <p:spPr>
            <a:xfrm>
              <a:off x="1836248" y="3378219"/>
              <a:ext cx="23504" cy="29865"/>
            </a:xfrm>
            <a:custGeom>
              <a:avLst/>
              <a:gdLst/>
              <a:ahLst/>
              <a:cxnLst/>
              <a:rect l="l" t="t" r="r" b="b"/>
              <a:pathLst>
                <a:path w="739" h="939" extrusionOk="0">
                  <a:moveTo>
                    <a:pt x="181" y="0"/>
                  </a:moveTo>
                  <a:cubicBezTo>
                    <a:pt x="154" y="0"/>
                    <a:pt x="125" y="7"/>
                    <a:pt x="95" y="22"/>
                  </a:cubicBezTo>
                  <a:cubicBezTo>
                    <a:pt x="24" y="70"/>
                    <a:pt x="0" y="165"/>
                    <a:pt x="36" y="248"/>
                  </a:cubicBezTo>
                  <a:lnTo>
                    <a:pt x="393" y="855"/>
                  </a:lnTo>
                  <a:cubicBezTo>
                    <a:pt x="429" y="903"/>
                    <a:pt x="488" y="939"/>
                    <a:pt x="536" y="939"/>
                  </a:cubicBezTo>
                  <a:cubicBezTo>
                    <a:pt x="667" y="939"/>
                    <a:pt x="738" y="796"/>
                    <a:pt x="679" y="701"/>
                  </a:cubicBezTo>
                  <a:lnTo>
                    <a:pt x="322" y="82"/>
                  </a:lnTo>
                  <a:cubicBezTo>
                    <a:pt x="289" y="33"/>
                    <a:pt x="239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8" name="Google Shape;12798;p62"/>
            <p:cNvSpPr/>
            <p:nvPr/>
          </p:nvSpPr>
          <p:spPr>
            <a:xfrm>
              <a:off x="1787014" y="3427072"/>
              <a:ext cx="31073" cy="21691"/>
            </a:xfrm>
            <a:custGeom>
              <a:avLst/>
              <a:gdLst/>
              <a:ahLst/>
              <a:cxnLst/>
              <a:rect l="l" t="t" r="r" b="b"/>
              <a:pathLst>
                <a:path w="977" h="682" extrusionOk="0">
                  <a:moveTo>
                    <a:pt x="187" y="0"/>
                  </a:moveTo>
                  <a:cubicBezTo>
                    <a:pt x="129" y="0"/>
                    <a:pt x="69" y="32"/>
                    <a:pt x="36" y="81"/>
                  </a:cubicBezTo>
                  <a:cubicBezTo>
                    <a:pt x="0" y="153"/>
                    <a:pt x="24" y="260"/>
                    <a:pt x="96" y="308"/>
                  </a:cubicBezTo>
                  <a:lnTo>
                    <a:pt x="715" y="665"/>
                  </a:lnTo>
                  <a:cubicBezTo>
                    <a:pt x="737" y="676"/>
                    <a:pt x="762" y="681"/>
                    <a:pt x="788" y="681"/>
                  </a:cubicBezTo>
                  <a:cubicBezTo>
                    <a:pt x="846" y="681"/>
                    <a:pt x="904" y="655"/>
                    <a:pt x="929" y="605"/>
                  </a:cubicBezTo>
                  <a:cubicBezTo>
                    <a:pt x="977" y="510"/>
                    <a:pt x="953" y="427"/>
                    <a:pt x="870" y="379"/>
                  </a:cubicBezTo>
                  <a:lnTo>
                    <a:pt x="262" y="22"/>
                  </a:lnTo>
                  <a:cubicBezTo>
                    <a:pt x="240" y="7"/>
                    <a:pt x="214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9" name="Google Shape;12799;p62"/>
            <p:cNvSpPr/>
            <p:nvPr/>
          </p:nvSpPr>
          <p:spPr>
            <a:xfrm>
              <a:off x="1768821" y="3494021"/>
              <a:ext cx="33363" cy="10623"/>
            </a:xfrm>
            <a:custGeom>
              <a:avLst/>
              <a:gdLst/>
              <a:ahLst/>
              <a:cxnLst/>
              <a:rect l="l" t="t" r="r" b="b"/>
              <a:pathLst>
                <a:path w="1049" h="334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882" y="334"/>
                  </a:lnTo>
                  <a:cubicBezTo>
                    <a:pt x="965" y="334"/>
                    <a:pt x="1049" y="251"/>
                    <a:pt x="1049" y="167"/>
                  </a:cubicBezTo>
                  <a:cubicBezTo>
                    <a:pt x="1049" y="72"/>
                    <a:pt x="965" y="1"/>
                    <a:pt x="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0" name="Google Shape;12800;p62"/>
            <p:cNvSpPr/>
            <p:nvPr/>
          </p:nvSpPr>
          <p:spPr>
            <a:xfrm>
              <a:off x="2014610" y="3495930"/>
              <a:ext cx="32950" cy="10623"/>
            </a:xfrm>
            <a:custGeom>
              <a:avLst/>
              <a:gdLst/>
              <a:ahLst/>
              <a:cxnLst/>
              <a:rect l="l" t="t" r="r" b="b"/>
              <a:pathLst>
                <a:path w="1036" h="334" extrusionOk="0">
                  <a:moveTo>
                    <a:pt x="167" y="0"/>
                  </a:moveTo>
                  <a:cubicBezTo>
                    <a:pt x="71" y="0"/>
                    <a:pt x="0" y="71"/>
                    <a:pt x="0" y="167"/>
                  </a:cubicBezTo>
                  <a:cubicBezTo>
                    <a:pt x="0" y="250"/>
                    <a:pt x="71" y="333"/>
                    <a:pt x="167" y="333"/>
                  </a:cubicBezTo>
                  <a:lnTo>
                    <a:pt x="881" y="333"/>
                  </a:lnTo>
                  <a:cubicBezTo>
                    <a:pt x="964" y="333"/>
                    <a:pt x="1036" y="250"/>
                    <a:pt x="1036" y="167"/>
                  </a:cubicBezTo>
                  <a:cubicBezTo>
                    <a:pt x="1024" y="71"/>
                    <a:pt x="953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1" name="Google Shape;12801;p62"/>
            <p:cNvSpPr/>
            <p:nvPr/>
          </p:nvSpPr>
          <p:spPr>
            <a:xfrm>
              <a:off x="1999439" y="3428948"/>
              <a:ext cx="31105" cy="21882"/>
            </a:xfrm>
            <a:custGeom>
              <a:avLst/>
              <a:gdLst/>
              <a:ahLst/>
              <a:cxnLst/>
              <a:rect l="l" t="t" r="r" b="b"/>
              <a:pathLst>
                <a:path w="978" h="688" extrusionOk="0">
                  <a:moveTo>
                    <a:pt x="795" y="1"/>
                  </a:moveTo>
                  <a:cubicBezTo>
                    <a:pt x="769" y="1"/>
                    <a:pt x="741" y="8"/>
                    <a:pt x="715" y="22"/>
                  </a:cubicBezTo>
                  <a:lnTo>
                    <a:pt x="108" y="380"/>
                  </a:lnTo>
                  <a:cubicBezTo>
                    <a:pt x="25" y="427"/>
                    <a:pt x="1" y="511"/>
                    <a:pt x="48" y="606"/>
                  </a:cubicBezTo>
                  <a:cubicBezTo>
                    <a:pt x="73" y="655"/>
                    <a:pt x="125" y="687"/>
                    <a:pt x="183" y="687"/>
                  </a:cubicBezTo>
                  <a:cubicBezTo>
                    <a:pt x="209" y="687"/>
                    <a:pt x="237" y="680"/>
                    <a:pt x="263" y="665"/>
                  </a:cubicBezTo>
                  <a:lnTo>
                    <a:pt x="882" y="308"/>
                  </a:lnTo>
                  <a:cubicBezTo>
                    <a:pt x="953" y="249"/>
                    <a:pt x="977" y="153"/>
                    <a:pt x="941" y="82"/>
                  </a:cubicBezTo>
                  <a:cubicBezTo>
                    <a:pt x="909" y="33"/>
                    <a:pt x="854" y="1"/>
                    <a:pt x="7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2" name="Google Shape;12802;p62"/>
            <p:cNvSpPr/>
            <p:nvPr/>
          </p:nvSpPr>
          <p:spPr>
            <a:xfrm>
              <a:off x="1958156" y="3379269"/>
              <a:ext cx="23917" cy="29579"/>
            </a:xfrm>
            <a:custGeom>
              <a:avLst/>
              <a:gdLst/>
              <a:ahLst/>
              <a:cxnLst/>
              <a:rect l="l" t="t" r="r" b="b"/>
              <a:pathLst>
                <a:path w="752" h="930" extrusionOk="0">
                  <a:moveTo>
                    <a:pt x="562" y="0"/>
                  </a:moveTo>
                  <a:cubicBezTo>
                    <a:pt x="506" y="0"/>
                    <a:pt x="449" y="30"/>
                    <a:pt x="418" y="84"/>
                  </a:cubicBezTo>
                  <a:lnTo>
                    <a:pt x="61" y="691"/>
                  </a:lnTo>
                  <a:cubicBezTo>
                    <a:pt x="1" y="799"/>
                    <a:pt x="72" y="930"/>
                    <a:pt x="191" y="930"/>
                  </a:cubicBezTo>
                  <a:cubicBezTo>
                    <a:pt x="251" y="930"/>
                    <a:pt x="299" y="894"/>
                    <a:pt x="334" y="858"/>
                  </a:cubicBezTo>
                  <a:lnTo>
                    <a:pt x="692" y="239"/>
                  </a:lnTo>
                  <a:cubicBezTo>
                    <a:pt x="751" y="168"/>
                    <a:pt x="715" y="72"/>
                    <a:pt x="644" y="25"/>
                  </a:cubicBezTo>
                  <a:cubicBezTo>
                    <a:pt x="619" y="8"/>
                    <a:pt x="591" y="0"/>
                    <a:pt x="5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03" name="Google Shape;12803;p62"/>
          <p:cNvGrpSpPr/>
          <p:nvPr/>
        </p:nvGrpSpPr>
        <p:grpSpPr>
          <a:xfrm>
            <a:off x="5337883" y="3336873"/>
            <a:ext cx="307141" cy="376826"/>
            <a:chOff x="5337883" y="3336873"/>
            <a:chExt cx="307141" cy="376826"/>
          </a:xfrm>
        </p:grpSpPr>
        <p:sp>
          <p:nvSpPr>
            <p:cNvPr id="12804" name="Google Shape;12804;p62"/>
            <p:cNvSpPr/>
            <p:nvPr/>
          </p:nvSpPr>
          <p:spPr>
            <a:xfrm>
              <a:off x="5405659" y="3336873"/>
              <a:ext cx="223844" cy="125375"/>
            </a:xfrm>
            <a:custGeom>
              <a:avLst/>
              <a:gdLst/>
              <a:ahLst/>
              <a:cxnLst/>
              <a:rect l="l" t="t" r="r" b="b"/>
              <a:pathLst>
                <a:path w="7038" h="3942" extrusionOk="0">
                  <a:moveTo>
                    <a:pt x="2882" y="346"/>
                  </a:moveTo>
                  <a:lnTo>
                    <a:pt x="2882" y="679"/>
                  </a:lnTo>
                  <a:lnTo>
                    <a:pt x="2429" y="679"/>
                  </a:lnTo>
                  <a:lnTo>
                    <a:pt x="2429" y="346"/>
                  </a:lnTo>
                  <a:close/>
                  <a:moveTo>
                    <a:pt x="3501" y="1036"/>
                  </a:moveTo>
                  <a:lnTo>
                    <a:pt x="3501" y="1227"/>
                  </a:lnTo>
                  <a:lnTo>
                    <a:pt x="3513" y="1227"/>
                  </a:lnTo>
                  <a:lnTo>
                    <a:pt x="3513" y="1405"/>
                  </a:lnTo>
                  <a:lnTo>
                    <a:pt x="1798" y="1405"/>
                  </a:lnTo>
                  <a:lnTo>
                    <a:pt x="1798" y="1227"/>
                  </a:lnTo>
                  <a:lnTo>
                    <a:pt x="1798" y="1036"/>
                  </a:lnTo>
                  <a:close/>
                  <a:moveTo>
                    <a:pt x="2334" y="0"/>
                  </a:moveTo>
                  <a:cubicBezTo>
                    <a:pt x="2191" y="0"/>
                    <a:pt x="2072" y="119"/>
                    <a:pt x="2072" y="274"/>
                  </a:cubicBezTo>
                  <a:lnTo>
                    <a:pt x="2072" y="703"/>
                  </a:lnTo>
                  <a:lnTo>
                    <a:pt x="1691" y="703"/>
                  </a:lnTo>
                  <a:cubicBezTo>
                    <a:pt x="1560" y="703"/>
                    <a:pt x="1441" y="810"/>
                    <a:pt x="1441" y="953"/>
                  </a:cubicBezTo>
                  <a:lnTo>
                    <a:pt x="1441" y="1060"/>
                  </a:lnTo>
                  <a:lnTo>
                    <a:pt x="179" y="1060"/>
                  </a:lnTo>
                  <a:cubicBezTo>
                    <a:pt x="84" y="1060"/>
                    <a:pt x="0" y="1132"/>
                    <a:pt x="0" y="1239"/>
                  </a:cubicBezTo>
                  <a:cubicBezTo>
                    <a:pt x="0" y="1346"/>
                    <a:pt x="72" y="1417"/>
                    <a:pt x="179" y="1417"/>
                  </a:cubicBezTo>
                  <a:lnTo>
                    <a:pt x="1441" y="1417"/>
                  </a:lnTo>
                  <a:lnTo>
                    <a:pt x="1441" y="1524"/>
                  </a:lnTo>
                  <a:cubicBezTo>
                    <a:pt x="1441" y="1655"/>
                    <a:pt x="1548" y="1774"/>
                    <a:pt x="1691" y="1774"/>
                  </a:cubicBezTo>
                  <a:lnTo>
                    <a:pt x="3596" y="1774"/>
                  </a:lnTo>
                  <a:cubicBezTo>
                    <a:pt x="3739" y="1774"/>
                    <a:pt x="3858" y="1667"/>
                    <a:pt x="3858" y="1524"/>
                  </a:cubicBezTo>
                  <a:lnTo>
                    <a:pt x="3858" y="1417"/>
                  </a:lnTo>
                  <a:lnTo>
                    <a:pt x="6680" y="1417"/>
                  </a:lnTo>
                  <a:lnTo>
                    <a:pt x="6680" y="3763"/>
                  </a:lnTo>
                  <a:cubicBezTo>
                    <a:pt x="6680" y="3858"/>
                    <a:pt x="6751" y="3941"/>
                    <a:pt x="6858" y="3941"/>
                  </a:cubicBezTo>
                  <a:cubicBezTo>
                    <a:pt x="6954" y="3941"/>
                    <a:pt x="7037" y="3870"/>
                    <a:pt x="7037" y="3763"/>
                  </a:cubicBezTo>
                  <a:lnTo>
                    <a:pt x="7037" y="1417"/>
                  </a:lnTo>
                  <a:cubicBezTo>
                    <a:pt x="7025" y="1191"/>
                    <a:pt x="6870" y="1048"/>
                    <a:pt x="6680" y="1048"/>
                  </a:cubicBezTo>
                  <a:lnTo>
                    <a:pt x="3858" y="1048"/>
                  </a:lnTo>
                  <a:lnTo>
                    <a:pt x="3858" y="941"/>
                  </a:lnTo>
                  <a:cubicBezTo>
                    <a:pt x="3858" y="810"/>
                    <a:pt x="3751" y="679"/>
                    <a:pt x="3596" y="679"/>
                  </a:cubicBezTo>
                  <a:lnTo>
                    <a:pt x="3227" y="679"/>
                  </a:lnTo>
                  <a:lnTo>
                    <a:pt x="3227" y="274"/>
                  </a:lnTo>
                  <a:cubicBezTo>
                    <a:pt x="3227" y="119"/>
                    <a:pt x="3108" y="0"/>
                    <a:pt x="2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5" name="Google Shape;12805;p62"/>
            <p:cNvSpPr/>
            <p:nvPr/>
          </p:nvSpPr>
          <p:spPr>
            <a:xfrm>
              <a:off x="5337883" y="3369060"/>
              <a:ext cx="307141" cy="344639"/>
            </a:xfrm>
            <a:custGeom>
              <a:avLst/>
              <a:gdLst/>
              <a:ahLst/>
              <a:cxnLst/>
              <a:rect l="l" t="t" r="r" b="b"/>
              <a:pathLst>
                <a:path w="9657" h="10836" extrusionOk="0">
                  <a:moveTo>
                    <a:pt x="5811" y="1774"/>
                  </a:moveTo>
                  <a:lnTo>
                    <a:pt x="6370" y="2572"/>
                  </a:lnTo>
                  <a:lnTo>
                    <a:pt x="6144" y="2453"/>
                  </a:lnTo>
                  <a:cubicBezTo>
                    <a:pt x="6119" y="2445"/>
                    <a:pt x="6087" y="2436"/>
                    <a:pt x="6054" y="2436"/>
                  </a:cubicBezTo>
                  <a:cubicBezTo>
                    <a:pt x="6041" y="2436"/>
                    <a:pt x="6027" y="2438"/>
                    <a:pt x="6013" y="2441"/>
                  </a:cubicBezTo>
                  <a:cubicBezTo>
                    <a:pt x="5965" y="2453"/>
                    <a:pt x="5941" y="2489"/>
                    <a:pt x="5906" y="2536"/>
                  </a:cubicBezTo>
                  <a:lnTo>
                    <a:pt x="5775" y="2798"/>
                  </a:lnTo>
                  <a:lnTo>
                    <a:pt x="5596" y="2548"/>
                  </a:lnTo>
                  <a:cubicBezTo>
                    <a:pt x="5560" y="2501"/>
                    <a:pt x="5501" y="2465"/>
                    <a:pt x="5465" y="2465"/>
                  </a:cubicBezTo>
                  <a:cubicBezTo>
                    <a:pt x="5441" y="2465"/>
                    <a:pt x="5430" y="2465"/>
                    <a:pt x="5406" y="2489"/>
                  </a:cubicBezTo>
                  <a:lnTo>
                    <a:pt x="5203" y="2548"/>
                  </a:lnTo>
                  <a:lnTo>
                    <a:pt x="5811" y="1774"/>
                  </a:lnTo>
                  <a:close/>
                  <a:moveTo>
                    <a:pt x="2870" y="3346"/>
                  </a:moveTo>
                  <a:lnTo>
                    <a:pt x="3179" y="3787"/>
                  </a:lnTo>
                  <a:lnTo>
                    <a:pt x="2905" y="4049"/>
                  </a:lnTo>
                  <a:lnTo>
                    <a:pt x="2798" y="3906"/>
                  </a:lnTo>
                  <a:cubicBezTo>
                    <a:pt x="2763" y="3858"/>
                    <a:pt x="2703" y="3822"/>
                    <a:pt x="2643" y="3822"/>
                  </a:cubicBezTo>
                  <a:lnTo>
                    <a:pt x="2620" y="3822"/>
                  </a:lnTo>
                  <a:lnTo>
                    <a:pt x="2453" y="3858"/>
                  </a:lnTo>
                  <a:lnTo>
                    <a:pt x="2501" y="3822"/>
                  </a:lnTo>
                  <a:lnTo>
                    <a:pt x="2870" y="3346"/>
                  </a:lnTo>
                  <a:close/>
                  <a:moveTo>
                    <a:pt x="6084" y="2870"/>
                  </a:moveTo>
                  <a:lnTo>
                    <a:pt x="6763" y="3227"/>
                  </a:lnTo>
                  <a:lnTo>
                    <a:pt x="7870" y="4811"/>
                  </a:lnTo>
                  <a:lnTo>
                    <a:pt x="1679" y="4811"/>
                  </a:lnTo>
                  <a:lnTo>
                    <a:pt x="2143" y="4275"/>
                  </a:lnTo>
                  <a:lnTo>
                    <a:pt x="2572" y="4203"/>
                  </a:lnTo>
                  <a:lnTo>
                    <a:pt x="2727" y="4418"/>
                  </a:lnTo>
                  <a:cubicBezTo>
                    <a:pt x="2751" y="4465"/>
                    <a:pt x="2798" y="4501"/>
                    <a:pt x="2846" y="4501"/>
                  </a:cubicBezTo>
                  <a:lnTo>
                    <a:pt x="2858" y="4501"/>
                  </a:lnTo>
                  <a:cubicBezTo>
                    <a:pt x="2905" y="4501"/>
                    <a:pt x="2941" y="4477"/>
                    <a:pt x="2977" y="4453"/>
                  </a:cubicBezTo>
                  <a:lnTo>
                    <a:pt x="3358" y="4084"/>
                  </a:lnTo>
                  <a:lnTo>
                    <a:pt x="3525" y="4322"/>
                  </a:lnTo>
                  <a:cubicBezTo>
                    <a:pt x="3560" y="4358"/>
                    <a:pt x="3620" y="4394"/>
                    <a:pt x="3655" y="4394"/>
                  </a:cubicBezTo>
                  <a:cubicBezTo>
                    <a:pt x="3727" y="4394"/>
                    <a:pt x="3763" y="4358"/>
                    <a:pt x="3798" y="4334"/>
                  </a:cubicBezTo>
                  <a:lnTo>
                    <a:pt x="4798" y="3048"/>
                  </a:lnTo>
                  <a:lnTo>
                    <a:pt x="5346" y="2870"/>
                  </a:lnTo>
                  <a:lnTo>
                    <a:pt x="5632" y="3263"/>
                  </a:lnTo>
                  <a:cubicBezTo>
                    <a:pt x="5656" y="3310"/>
                    <a:pt x="5715" y="3334"/>
                    <a:pt x="5763" y="3334"/>
                  </a:cubicBezTo>
                  <a:lnTo>
                    <a:pt x="5775" y="3334"/>
                  </a:lnTo>
                  <a:cubicBezTo>
                    <a:pt x="5834" y="3334"/>
                    <a:pt x="5894" y="3287"/>
                    <a:pt x="5906" y="3227"/>
                  </a:cubicBezTo>
                  <a:lnTo>
                    <a:pt x="6084" y="2870"/>
                  </a:lnTo>
                  <a:close/>
                  <a:moveTo>
                    <a:pt x="8811" y="5132"/>
                  </a:moveTo>
                  <a:lnTo>
                    <a:pt x="8811" y="5537"/>
                  </a:lnTo>
                  <a:lnTo>
                    <a:pt x="750" y="5537"/>
                  </a:lnTo>
                  <a:lnTo>
                    <a:pt x="750" y="5132"/>
                  </a:lnTo>
                  <a:close/>
                  <a:moveTo>
                    <a:pt x="9263" y="5882"/>
                  </a:moveTo>
                  <a:lnTo>
                    <a:pt x="9263" y="6239"/>
                  </a:lnTo>
                  <a:lnTo>
                    <a:pt x="298" y="6239"/>
                  </a:lnTo>
                  <a:lnTo>
                    <a:pt x="298" y="5882"/>
                  </a:lnTo>
                  <a:close/>
                  <a:moveTo>
                    <a:pt x="4239" y="6597"/>
                  </a:moveTo>
                  <a:lnTo>
                    <a:pt x="4239" y="7620"/>
                  </a:lnTo>
                  <a:lnTo>
                    <a:pt x="3167" y="7620"/>
                  </a:lnTo>
                  <a:lnTo>
                    <a:pt x="3465" y="6597"/>
                  </a:lnTo>
                  <a:close/>
                  <a:moveTo>
                    <a:pt x="6084" y="6597"/>
                  </a:moveTo>
                  <a:lnTo>
                    <a:pt x="6382" y="7620"/>
                  </a:lnTo>
                  <a:lnTo>
                    <a:pt x="5310" y="7620"/>
                  </a:lnTo>
                  <a:lnTo>
                    <a:pt x="5310" y="6597"/>
                  </a:lnTo>
                  <a:close/>
                  <a:moveTo>
                    <a:pt x="4941" y="6597"/>
                  </a:moveTo>
                  <a:lnTo>
                    <a:pt x="4941" y="9466"/>
                  </a:lnTo>
                  <a:lnTo>
                    <a:pt x="4953" y="9466"/>
                  </a:lnTo>
                  <a:lnTo>
                    <a:pt x="4596" y="9478"/>
                  </a:lnTo>
                  <a:cubicBezTo>
                    <a:pt x="4596" y="9478"/>
                    <a:pt x="4584" y="9478"/>
                    <a:pt x="4584" y="9466"/>
                  </a:cubicBezTo>
                  <a:lnTo>
                    <a:pt x="4584" y="6597"/>
                  </a:lnTo>
                  <a:close/>
                  <a:moveTo>
                    <a:pt x="3132" y="6585"/>
                  </a:moveTo>
                  <a:lnTo>
                    <a:pt x="1965" y="10514"/>
                  </a:lnTo>
                  <a:lnTo>
                    <a:pt x="1584" y="10514"/>
                  </a:lnTo>
                  <a:lnTo>
                    <a:pt x="1584" y="10490"/>
                  </a:lnTo>
                  <a:lnTo>
                    <a:pt x="2727" y="6585"/>
                  </a:lnTo>
                  <a:close/>
                  <a:moveTo>
                    <a:pt x="6846" y="6597"/>
                  </a:moveTo>
                  <a:lnTo>
                    <a:pt x="7989" y="10514"/>
                  </a:lnTo>
                  <a:lnTo>
                    <a:pt x="7608" y="10526"/>
                  </a:lnTo>
                  <a:lnTo>
                    <a:pt x="7596" y="10526"/>
                  </a:lnTo>
                  <a:lnTo>
                    <a:pt x="6442" y="6597"/>
                  </a:lnTo>
                  <a:close/>
                  <a:moveTo>
                    <a:pt x="786" y="0"/>
                  </a:moveTo>
                  <a:cubicBezTo>
                    <a:pt x="596" y="0"/>
                    <a:pt x="453" y="143"/>
                    <a:pt x="453" y="346"/>
                  </a:cubicBezTo>
                  <a:lnTo>
                    <a:pt x="453" y="5501"/>
                  </a:lnTo>
                  <a:lnTo>
                    <a:pt x="298" y="5501"/>
                  </a:lnTo>
                  <a:cubicBezTo>
                    <a:pt x="131" y="5501"/>
                    <a:pt x="0" y="5644"/>
                    <a:pt x="0" y="5799"/>
                  </a:cubicBezTo>
                  <a:lnTo>
                    <a:pt x="0" y="6251"/>
                  </a:lnTo>
                  <a:cubicBezTo>
                    <a:pt x="0" y="6418"/>
                    <a:pt x="131" y="6549"/>
                    <a:pt x="298" y="6549"/>
                  </a:cubicBezTo>
                  <a:lnTo>
                    <a:pt x="2393" y="6549"/>
                  </a:lnTo>
                  <a:lnTo>
                    <a:pt x="1286" y="10371"/>
                  </a:lnTo>
                  <a:cubicBezTo>
                    <a:pt x="1250" y="10478"/>
                    <a:pt x="1262" y="10597"/>
                    <a:pt x="1346" y="10680"/>
                  </a:cubicBezTo>
                  <a:cubicBezTo>
                    <a:pt x="1417" y="10776"/>
                    <a:pt x="1524" y="10835"/>
                    <a:pt x="1620" y="10835"/>
                  </a:cubicBezTo>
                  <a:lnTo>
                    <a:pt x="2012" y="10835"/>
                  </a:lnTo>
                  <a:cubicBezTo>
                    <a:pt x="2179" y="10835"/>
                    <a:pt x="2310" y="10728"/>
                    <a:pt x="2358" y="10585"/>
                  </a:cubicBezTo>
                  <a:lnTo>
                    <a:pt x="3132" y="7930"/>
                  </a:lnTo>
                  <a:lnTo>
                    <a:pt x="4298" y="7930"/>
                  </a:lnTo>
                  <a:lnTo>
                    <a:pt x="4298" y="9430"/>
                  </a:lnTo>
                  <a:cubicBezTo>
                    <a:pt x="4298" y="9633"/>
                    <a:pt x="4465" y="9787"/>
                    <a:pt x="4656" y="9787"/>
                  </a:cubicBezTo>
                  <a:lnTo>
                    <a:pt x="5001" y="9787"/>
                  </a:lnTo>
                  <a:cubicBezTo>
                    <a:pt x="5191" y="9787"/>
                    <a:pt x="5358" y="9633"/>
                    <a:pt x="5358" y="9430"/>
                  </a:cubicBezTo>
                  <a:lnTo>
                    <a:pt x="5358" y="7930"/>
                  </a:lnTo>
                  <a:lnTo>
                    <a:pt x="6537" y="7930"/>
                  </a:lnTo>
                  <a:lnTo>
                    <a:pt x="7311" y="10585"/>
                  </a:lnTo>
                  <a:cubicBezTo>
                    <a:pt x="7358" y="10728"/>
                    <a:pt x="7489" y="10835"/>
                    <a:pt x="7656" y="10835"/>
                  </a:cubicBezTo>
                  <a:lnTo>
                    <a:pt x="8037" y="10835"/>
                  </a:lnTo>
                  <a:cubicBezTo>
                    <a:pt x="8156" y="10835"/>
                    <a:pt x="8263" y="10787"/>
                    <a:pt x="8323" y="10680"/>
                  </a:cubicBezTo>
                  <a:cubicBezTo>
                    <a:pt x="8394" y="10597"/>
                    <a:pt x="8406" y="10478"/>
                    <a:pt x="8382" y="10371"/>
                  </a:cubicBezTo>
                  <a:lnTo>
                    <a:pt x="7263" y="6549"/>
                  </a:lnTo>
                  <a:lnTo>
                    <a:pt x="9359" y="6549"/>
                  </a:lnTo>
                  <a:cubicBezTo>
                    <a:pt x="9525" y="6549"/>
                    <a:pt x="9656" y="6418"/>
                    <a:pt x="9656" y="6251"/>
                  </a:cubicBezTo>
                  <a:lnTo>
                    <a:pt x="9656" y="5799"/>
                  </a:lnTo>
                  <a:cubicBezTo>
                    <a:pt x="9621" y="5668"/>
                    <a:pt x="9478" y="5537"/>
                    <a:pt x="9323" y="5537"/>
                  </a:cubicBezTo>
                  <a:lnTo>
                    <a:pt x="9168" y="5537"/>
                  </a:lnTo>
                  <a:lnTo>
                    <a:pt x="9168" y="3525"/>
                  </a:lnTo>
                  <a:cubicBezTo>
                    <a:pt x="9168" y="3441"/>
                    <a:pt x="9097" y="3346"/>
                    <a:pt x="8989" y="3346"/>
                  </a:cubicBezTo>
                  <a:cubicBezTo>
                    <a:pt x="8882" y="3346"/>
                    <a:pt x="8811" y="3429"/>
                    <a:pt x="8811" y="3525"/>
                  </a:cubicBezTo>
                  <a:lnTo>
                    <a:pt x="8811" y="4775"/>
                  </a:lnTo>
                  <a:lnTo>
                    <a:pt x="8370" y="4775"/>
                  </a:lnTo>
                  <a:lnTo>
                    <a:pt x="7084" y="2965"/>
                  </a:lnTo>
                  <a:lnTo>
                    <a:pt x="5965" y="1370"/>
                  </a:lnTo>
                  <a:cubicBezTo>
                    <a:pt x="5941" y="1322"/>
                    <a:pt x="5882" y="1298"/>
                    <a:pt x="5834" y="1298"/>
                  </a:cubicBezTo>
                  <a:cubicBezTo>
                    <a:pt x="5775" y="1298"/>
                    <a:pt x="5727" y="1322"/>
                    <a:pt x="5703" y="1358"/>
                  </a:cubicBezTo>
                  <a:lnTo>
                    <a:pt x="3727" y="3906"/>
                  </a:lnTo>
                  <a:lnTo>
                    <a:pt x="3036" y="2929"/>
                  </a:lnTo>
                  <a:cubicBezTo>
                    <a:pt x="3013" y="2894"/>
                    <a:pt x="2965" y="2870"/>
                    <a:pt x="2917" y="2858"/>
                  </a:cubicBezTo>
                  <a:lnTo>
                    <a:pt x="2905" y="2858"/>
                  </a:lnTo>
                  <a:cubicBezTo>
                    <a:pt x="2846" y="2858"/>
                    <a:pt x="2798" y="2894"/>
                    <a:pt x="2774" y="2917"/>
                  </a:cubicBezTo>
                  <a:lnTo>
                    <a:pt x="1346" y="4763"/>
                  </a:lnTo>
                  <a:lnTo>
                    <a:pt x="786" y="4763"/>
                  </a:lnTo>
                  <a:lnTo>
                    <a:pt x="786" y="358"/>
                  </a:lnTo>
                  <a:lnTo>
                    <a:pt x="1548" y="358"/>
                  </a:lnTo>
                  <a:cubicBezTo>
                    <a:pt x="1643" y="358"/>
                    <a:pt x="1727" y="286"/>
                    <a:pt x="1727" y="179"/>
                  </a:cubicBezTo>
                  <a:cubicBezTo>
                    <a:pt x="1727" y="84"/>
                    <a:pt x="1655" y="0"/>
                    <a:pt x="1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06" name="Google Shape;12806;p62"/>
          <p:cNvGrpSpPr/>
          <p:nvPr/>
        </p:nvGrpSpPr>
        <p:grpSpPr>
          <a:xfrm>
            <a:off x="4883835" y="3337255"/>
            <a:ext cx="323425" cy="377557"/>
            <a:chOff x="4883835" y="3337255"/>
            <a:chExt cx="323425" cy="377557"/>
          </a:xfrm>
        </p:grpSpPr>
        <p:sp>
          <p:nvSpPr>
            <p:cNvPr id="12807" name="Google Shape;12807;p62"/>
            <p:cNvSpPr/>
            <p:nvPr/>
          </p:nvSpPr>
          <p:spPr>
            <a:xfrm>
              <a:off x="4883835" y="3447682"/>
              <a:ext cx="323425" cy="142932"/>
            </a:xfrm>
            <a:custGeom>
              <a:avLst/>
              <a:gdLst/>
              <a:ahLst/>
              <a:cxnLst/>
              <a:rect l="l" t="t" r="r" b="b"/>
              <a:pathLst>
                <a:path w="10169" h="4494" extrusionOk="0">
                  <a:moveTo>
                    <a:pt x="7537" y="1993"/>
                  </a:moveTo>
                  <a:lnTo>
                    <a:pt x="7537" y="2005"/>
                  </a:lnTo>
                  <a:lnTo>
                    <a:pt x="7537" y="2279"/>
                  </a:lnTo>
                  <a:lnTo>
                    <a:pt x="7537" y="2291"/>
                  </a:lnTo>
                  <a:lnTo>
                    <a:pt x="7537" y="2577"/>
                  </a:lnTo>
                  <a:cubicBezTo>
                    <a:pt x="7502" y="2589"/>
                    <a:pt x="7442" y="2636"/>
                    <a:pt x="7299" y="2672"/>
                  </a:cubicBezTo>
                  <a:cubicBezTo>
                    <a:pt x="7109" y="2731"/>
                    <a:pt x="6787" y="2791"/>
                    <a:pt x="6371" y="2839"/>
                  </a:cubicBezTo>
                  <a:cubicBezTo>
                    <a:pt x="6347" y="2839"/>
                    <a:pt x="6335" y="2839"/>
                    <a:pt x="6299" y="2851"/>
                  </a:cubicBezTo>
                  <a:cubicBezTo>
                    <a:pt x="5990" y="2886"/>
                    <a:pt x="5656" y="2898"/>
                    <a:pt x="5299" y="2910"/>
                  </a:cubicBezTo>
                  <a:lnTo>
                    <a:pt x="4847" y="2910"/>
                  </a:lnTo>
                  <a:cubicBezTo>
                    <a:pt x="4501" y="2910"/>
                    <a:pt x="4156" y="2886"/>
                    <a:pt x="3846" y="2851"/>
                  </a:cubicBezTo>
                  <a:cubicBezTo>
                    <a:pt x="3811" y="2851"/>
                    <a:pt x="3799" y="2851"/>
                    <a:pt x="3775" y="2839"/>
                  </a:cubicBezTo>
                  <a:cubicBezTo>
                    <a:pt x="3358" y="2791"/>
                    <a:pt x="3037" y="2731"/>
                    <a:pt x="2846" y="2672"/>
                  </a:cubicBezTo>
                  <a:cubicBezTo>
                    <a:pt x="2715" y="2636"/>
                    <a:pt x="2632" y="2601"/>
                    <a:pt x="2620" y="2577"/>
                  </a:cubicBezTo>
                  <a:lnTo>
                    <a:pt x="2620" y="2410"/>
                  </a:lnTo>
                  <a:lnTo>
                    <a:pt x="2620" y="2398"/>
                  </a:lnTo>
                  <a:lnTo>
                    <a:pt x="2620" y="2291"/>
                  </a:lnTo>
                  <a:lnTo>
                    <a:pt x="2620" y="2279"/>
                  </a:lnTo>
                  <a:lnTo>
                    <a:pt x="2620" y="2243"/>
                  </a:lnTo>
                  <a:lnTo>
                    <a:pt x="2620" y="2077"/>
                  </a:lnTo>
                  <a:lnTo>
                    <a:pt x="2620" y="2065"/>
                  </a:lnTo>
                  <a:lnTo>
                    <a:pt x="2620" y="2005"/>
                  </a:lnTo>
                  <a:lnTo>
                    <a:pt x="2620" y="1993"/>
                  </a:lnTo>
                  <a:cubicBezTo>
                    <a:pt x="3263" y="2112"/>
                    <a:pt x="4144" y="2184"/>
                    <a:pt x="5085" y="2184"/>
                  </a:cubicBezTo>
                  <a:cubicBezTo>
                    <a:pt x="6013" y="2184"/>
                    <a:pt x="6906" y="2112"/>
                    <a:pt x="7537" y="1993"/>
                  </a:cubicBezTo>
                  <a:close/>
                  <a:moveTo>
                    <a:pt x="2239" y="2112"/>
                  </a:moveTo>
                  <a:lnTo>
                    <a:pt x="2239" y="2136"/>
                  </a:lnTo>
                  <a:lnTo>
                    <a:pt x="2239" y="2303"/>
                  </a:lnTo>
                  <a:lnTo>
                    <a:pt x="2239" y="2362"/>
                  </a:lnTo>
                  <a:lnTo>
                    <a:pt x="2239" y="2374"/>
                  </a:lnTo>
                  <a:lnTo>
                    <a:pt x="2239" y="2601"/>
                  </a:lnTo>
                  <a:lnTo>
                    <a:pt x="2239" y="2636"/>
                  </a:lnTo>
                  <a:cubicBezTo>
                    <a:pt x="2239" y="2874"/>
                    <a:pt x="2501" y="3017"/>
                    <a:pt x="3156" y="3136"/>
                  </a:cubicBezTo>
                  <a:cubicBezTo>
                    <a:pt x="3668" y="3232"/>
                    <a:pt x="4346" y="3267"/>
                    <a:pt x="5061" y="3267"/>
                  </a:cubicBezTo>
                  <a:cubicBezTo>
                    <a:pt x="5775" y="3267"/>
                    <a:pt x="6454" y="3232"/>
                    <a:pt x="6966" y="3136"/>
                  </a:cubicBezTo>
                  <a:cubicBezTo>
                    <a:pt x="7609" y="3017"/>
                    <a:pt x="7895" y="2874"/>
                    <a:pt x="7895" y="2636"/>
                  </a:cubicBezTo>
                  <a:lnTo>
                    <a:pt x="7895" y="2398"/>
                  </a:lnTo>
                  <a:lnTo>
                    <a:pt x="7895" y="2339"/>
                  </a:lnTo>
                  <a:lnTo>
                    <a:pt x="7895" y="2172"/>
                  </a:lnTo>
                  <a:lnTo>
                    <a:pt x="7895" y="2136"/>
                  </a:lnTo>
                  <a:cubicBezTo>
                    <a:pt x="8073" y="2160"/>
                    <a:pt x="8240" y="2160"/>
                    <a:pt x="8395" y="2172"/>
                  </a:cubicBezTo>
                  <a:lnTo>
                    <a:pt x="8514" y="2172"/>
                  </a:lnTo>
                  <a:cubicBezTo>
                    <a:pt x="8728" y="2184"/>
                    <a:pt x="9049" y="2208"/>
                    <a:pt x="9323" y="2267"/>
                  </a:cubicBezTo>
                  <a:cubicBezTo>
                    <a:pt x="9585" y="2327"/>
                    <a:pt x="9752" y="2410"/>
                    <a:pt x="9764" y="2517"/>
                  </a:cubicBezTo>
                  <a:cubicBezTo>
                    <a:pt x="9766" y="2516"/>
                    <a:pt x="9769" y="2516"/>
                    <a:pt x="9771" y="2516"/>
                  </a:cubicBezTo>
                  <a:cubicBezTo>
                    <a:pt x="9796" y="2516"/>
                    <a:pt x="9769" y="2587"/>
                    <a:pt x="9680" y="2720"/>
                  </a:cubicBezTo>
                  <a:cubicBezTo>
                    <a:pt x="9430" y="3053"/>
                    <a:pt x="8871" y="3398"/>
                    <a:pt x="8204" y="3648"/>
                  </a:cubicBezTo>
                  <a:cubicBezTo>
                    <a:pt x="7323" y="3994"/>
                    <a:pt x="6240" y="4172"/>
                    <a:pt x="5085" y="4172"/>
                  </a:cubicBezTo>
                  <a:cubicBezTo>
                    <a:pt x="3918" y="4172"/>
                    <a:pt x="2846" y="3994"/>
                    <a:pt x="1953" y="3648"/>
                  </a:cubicBezTo>
                  <a:cubicBezTo>
                    <a:pt x="1287" y="3398"/>
                    <a:pt x="739" y="3053"/>
                    <a:pt x="477" y="2720"/>
                  </a:cubicBezTo>
                  <a:cubicBezTo>
                    <a:pt x="370" y="2589"/>
                    <a:pt x="358" y="2505"/>
                    <a:pt x="358" y="2481"/>
                  </a:cubicBezTo>
                  <a:cubicBezTo>
                    <a:pt x="394" y="2374"/>
                    <a:pt x="548" y="2291"/>
                    <a:pt x="810" y="2231"/>
                  </a:cubicBezTo>
                  <a:cubicBezTo>
                    <a:pt x="1072" y="2172"/>
                    <a:pt x="1406" y="2160"/>
                    <a:pt x="1608" y="2136"/>
                  </a:cubicBezTo>
                  <a:lnTo>
                    <a:pt x="1727" y="2136"/>
                  </a:lnTo>
                  <a:cubicBezTo>
                    <a:pt x="1894" y="2124"/>
                    <a:pt x="2060" y="2124"/>
                    <a:pt x="2239" y="2112"/>
                  </a:cubicBezTo>
                  <a:close/>
                  <a:moveTo>
                    <a:pt x="2344" y="1"/>
                  </a:moveTo>
                  <a:cubicBezTo>
                    <a:pt x="2333" y="1"/>
                    <a:pt x="2322" y="2"/>
                    <a:pt x="2310" y="5"/>
                  </a:cubicBezTo>
                  <a:cubicBezTo>
                    <a:pt x="2227" y="17"/>
                    <a:pt x="2144" y="100"/>
                    <a:pt x="2168" y="195"/>
                  </a:cubicBezTo>
                  <a:cubicBezTo>
                    <a:pt x="2239" y="684"/>
                    <a:pt x="2263" y="1207"/>
                    <a:pt x="2287" y="1743"/>
                  </a:cubicBezTo>
                  <a:cubicBezTo>
                    <a:pt x="2084" y="1755"/>
                    <a:pt x="1929" y="1755"/>
                    <a:pt x="1751" y="1767"/>
                  </a:cubicBezTo>
                  <a:lnTo>
                    <a:pt x="1632" y="1767"/>
                  </a:lnTo>
                  <a:cubicBezTo>
                    <a:pt x="1072" y="1803"/>
                    <a:pt x="167" y="1850"/>
                    <a:pt x="48" y="2386"/>
                  </a:cubicBezTo>
                  <a:cubicBezTo>
                    <a:pt x="1" y="2529"/>
                    <a:pt x="84" y="2720"/>
                    <a:pt x="227" y="2922"/>
                  </a:cubicBezTo>
                  <a:cubicBezTo>
                    <a:pt x="525" y="3303"/>
                    <a:pt x="1120" y="3672"/>
                    <a:pt x="1846" y="3958"/>
                  </a:cubicBezTo>
                  <a:cubicBezTo>
                    <a:pt x="2775" y="4315"/>
                    <a:pt x="3906" y="4494"/>
                    <a:pt x="5097" y="4494"/>
                  </a:cubicBezTo>
                  <a:cubicBezTo>
                    <a:pt x="6299" y="4494"/>
                    <a:pt x="7418" y="4315"/>
                    <a:pt x="8335" y="3958"/>
                  </a:cubicBezTo>
                  <a:cubicBezTo>
                    <a:pt x="9073" y="3672"/>
                    <a:pt x="9669" y="3303"/>
                    <a:pt x="9966" y="2922"/>
                  </a:cubicBezTo>
                  <a:cubicBezTo>
                    <a:pt x="10109" y="2743"/>
                    <a:pt x="10169" y="2565"/>
                    <a:pt x="10145" y="2398"/>
                  </a:cubicBezTo>
                  <a:cubicBezTo>
                    <a:pt x="10002" y="1862"/>
                    <a:pt x="9097" y="1815"/>
                    <a:pt x="8561" y="1791"/>
                  </a:cubicBezTo>
                  <a:lnTo>
                    <a:pt x="8442" y="1791"/>
                  </a:lnTo>
                  <a:cubicBezTo>
                    <a:pt x="8276" y="1767"/>
                    <a:pt x="8097" y="1767"/>
                    <a:pt x="7906" y="1755"/>
                  </a:cubicBezTo>
                  <a:cubicBezTo>
                    <a:pt x="7918" y="1219"/>
                    <a:pt x="7966" y="696"/>
                    <a:pt x="8025" y="207"/>
                  </a:cubicBezTo>
                  <a:cubicBezTo>
                    <a:pt x="8037" y="124"/>
                    <a:pt x="7966" y="29"/>
                    <a:pt x="7883" y="17"/>
                  </a:cubicBezTo>
                  <a:cubicBezTo>
                    <a:pt x="7876" y="16"/>
                    <a:pt x="7869" y="16"/>
                    <a:pt x="7862" y="16"/>
                  </a:cubicBezTo>
                  <a:cubicBezTo>
                    <a:pt x="7775" y="16"/>
                    <a:pt x="7702" y="83"/>
                    <a:pt x="7680" y="160"/>
                  </a:cubicBezTo>
                  <a:cubicBezTo>
                    <a:pt x="7621" y="636"/>
                    <a:pt x="7585" y="1136"/>
                    <a:pt x="7561" y="1636"/>
                  </a:cubicBezTo>
                  <a:cubicBezTo>
                    <a:pt x="6954" y="1755"/>
                    <a:pt x="6049" y="1827"/>
                    <a:pt x="5097" y="1827"/>
                  </a:cubicBezTo>
                  <a:cubicBezTo>
                    <a:pt x="4132" y="1827"/>
                    <a:pt x="3251" y="1755"/>
                    <a:pt x="2620" y="1636"/>
                  </a:cubicBezTo>
                  <a:cubicBezTo>
                    <a:pt x="2608" y="1136"/>
                    <a:pt x="2561" y="624"/>
                    <a:pt x="2501" y="148"/>
                  </a:cubicBezTo>
                  <a:cubicBezTo>
                    <a:pt x="2490" y="74"/>
                    <a:pt x="2424" y="1"/>
                    <a:pt x="23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8" name="Google Shape;12808;p62"/>
            <p:cNvSpPr/>
            <p:nvPr/>
          </p:nvSpPr>
          <p:spPr>
            <a:xfrm>
              <a:off x="4931161" y="3600377"/>
              <a:ext cx="228392" cy="114434"/>
            </a:xfrm>
            <a:custGeom>
              <a:avLst/>
              <a:gdLst/>
              <a:ahLst/>
              <a:cxnLst/>
              <a:rect l="l" t="t" r="r" b="b"/>
              <a:pathLst>
                <a:path w="7181" h="3598" extrusionOk="0">
                  <a:moveTo>
                    <a:pt x="3823" y="967"/>
                  </a:moveTo>
                  <a:cubicBezTo>
                    <a:pt x="3906" y="967"/>
                    <a:pt x="3942" y="1014"/>
                    <a:pt x="3978" y="1074"/>
                  </a:cubicBezTo>
                  <a:lnTo>
                    <a:pt x="3978" y="1109"/>
                  </a:lnTo>
                  <a:lnTo>
                    <a:pt x="3978" y="1133"/>
                  </a:lnTo>
                  <a:lnTo>
                    <a:pt x="3978" y="2443"/>
                  </a:lnTo>
                  <a:lnTo>
                    <a:pt x="3978" y="2479"/>
                  </a:lnTo>
                  <a:lnTo>
                    <a:pt x="3978" y="2502"/>
                  </a:lnTo>
                  <a:cubicBezTo>
                    <a:pt x="3966" y="2562"/>
                    <a:pt x="3906" y="2610"/>
                    <a:pt x="3823" y="2610"/>
                  </a:cubicBezTo>
                  <a:lnTo>
                    <a:pt x="3382" y="2610"/>
                  </a:lnTo>
                  <a:cubicBezTo>
                    <a:pt x="3311" y="2610"/>
                    <a:pt x="3263" y="2562"/>
                    <a:pt x="3228" y="2502"/>
                  </a:cubicBezTo>
                  <a:lnTo>
                    <a:pt x="3228" y="2479"/>
                  </a:lnTo>
                  <a:lnTo>
                    <a:pt x="3228" y="2443"/>
                  </a:lnTo>
                  <a:lnTo>
                    <a:pt x="3228" y="1133"/>
                  </a:lnTo>
                  <a:lnTo>
                    <a:pt x="3228" y="1109"/>
                  </a:lnTo>
                  <a:lnTo>
                    <a:pt x="3228" y="1074"/>
                  </a:lnTo>
                  <a:cubicBezTo>
                    <a:pt x="3251" y="1014"/>
                    <a:pt x="3311" y="967"/>
                    <a:pt x="3382" y="967"/>
                  </a:cubicBezTo>
                  <a:close/>
                  <a:moveTo>
                    <a:pt x="6018" y="345"/>
                  </a:moveTo>
                  <a:cubicBezTo>
                    <a:pt x="6123" y="345"/>
                    <a:pt x="6218" y="361"/>
                    <a:pt x="6299" y="395"/>
                  </a:cubicBezTo>
                  <a:cubicBezTo>
                    <a:pt x="6478" y="467"/>
                    <a:pt x="6597" y="586"/>
                    <a:pt x="6668" y="752"/>
                  </a:cubicBezTo>
                  <a:cubicBezTo>
                    <a:pt x="6835" y="1169"/>
                    <a:pt x="6561" y="1717"/>
                    <a:pt x="6561" y="1717"/>
                  </a:cubicBezTo>
                  <a:cubicBezTo>
                    <a:pt x="6537" y="1764"/>
                    <a:pt x="6537" y="1824"/>
                    <a:pt x="6561" y="1871"/>
                  </a:cubicBezTo>
                  <a:cubicBezTo>
                    <a:pt x="6585" y="1883"/>
                    <a:pt x="6835" y="2431"/>
                    <a:pt x="6692" y="2836"/>
                  </a:cubicBezTo>
                  <a:cubicBezTo>
                    <a:pt x="6621" y="3003"/>
                    <a:pt x="6502" y="3122"/>
                    <a:pt x="6311" y="3193"/>
                  </a:cubicBezTo>
                  <a:cubicBezTo>
                    <a:pt x="6237" y="3225"/>
                    <a:pt x="6151" y="3241"/>
                    <a:pt x="6052" y="3241"/>
                  </a:cubicBezTo>
                  <a:cubicBezTo>
                    <a:pt x="5643" y="3241"/>
                    <a:pt x="5033" y="2968"/>
                    <a:pt x="4323" y="2479"/>
                  </a:cubicBezTo>
                  <a:lnTo>
                    <a:pt x="4323" y="2443"/>
                  </a:lnTo>
                  <a:lnTo>
                    <a:pt x="4323" y="2300"/>
                  </a:lnTo>
                  <a:lnTo>
                    <a:pt x="5037" y="2491"/>
                  </a:lnTo>
                  <a:lnTo>
                    <a:pt x="5073" y="2491"/>
                  </a:lnTo>
                  <a:cubicBezTo>
                    <a:pt x="5156" y="2491"/>
                    <a:pt x="5228" y="2443"/>
                    <a:pt x="5240" y="2360"/>
                  </a:cubicBezTo>
                  <a:cubicBezTo>
                    <a:pt x="5275" y="2264"/>
                    <a:pt x="5216" y="2169"/>
                    <a:pt x="5121" y="2133"/>
                  </a:cubicBezTo>
                  <a:lnTo>
                    <a:pt x="4323" y="1907"/>
                  </a:lnTo>
                  <a:lnTo>
                    <a:pt x="4323" y="1657"/>
                  </a:lnTo>
                  <a:lnTo>
                    <a:pt x="5121" y="1431"/>
                  </a:lnTo>
                  <a:cubicBezTo>
                    <a:pt x="5216" y="1407"/>
                    <a:pt x="5275" y="1312"/>
                    <a:pt x="5240" y="1217"/>
                  </a:cubicBezTo>
                  <a:cubicBezTo>
                    <a:pt x="5221" y="1140"/>
                    <a:pt x="5156" y="1087"/>
                    <a:pt x="5076" y="1087"/>
                  </a:cubicBezTo>
                  <a:cubicBezTo>
                    <a:pt x="5056" y="1087"/>
                    <a:pt x="5035" y="1090"/>
                    <a:pt x="5013" y="1098"/>
                  </a:cubicBezTo>
                  <a:lnTo>
                    <a:pt x="4299" y="1288"/>
                  </a:lnTo>
                  <a:lnTo>
                    <a:pt x="4299" y="1133"/>
                  </a:lnTo>
                  <a:lnTo>
                    <a:pt x="4299" y="1109"/>
                  </a:lnTo>
                  <a:cubicBezTo>
                    <a:pt x="5002" y="606"/>
                    <a:pt x="5600" y="345"/>
                    <a:pt x="6018" y="345"/>
                  </a:cubicBezTo>
                  <a:close/>
                  <a:moveTo>
                    <a:pt x="1132" y="359"/>
                  </a:moveTo>
                  <a:cubicBezTo>
                    <a:pt x="1549" y="359"/>
                    <a:pt x="2144" y="633"/>
                    <a:pt x="2858" y="1133"/>
                  </a:cubicBezTo>
                  <a:lnTo>
                    <a:pt x="2858" y="1169"/>
                  </a:lnTo>
                  <a:lnTo>
                    <a:pt x="2858" y="1312"/>
                  </a:lnTo>
                  <a:lnTo>
                    <a:pt x="2144" y="1121"/>
                  </a:lnTo>
                  <a:cubicBezTo>
                    <a:pt x="2131" y="1118"/>
                    <a:pt x="2118" y="1116"/>
                    <a:pt x="2105" y="1116"/>
                  </a:cubicBezTo>
                  <a:cubicBezTo>
                    <a:pt x="2030" y="1116"/>
                    <a:pt x="1948" y="1170"/>
                    <a:pt x="1918" y="1240"/>
                  </a:cubicBezTo>
                  <a:cubicBezTo>
                    <a:pt x="1906" y="1312"/>
                    <a:pt x="1965" y="1419"/>
                    <a:pt x="2061" y="1431"/>
                  </a:cubicBezTo>
                  <a:lnTo>
                    <a:pt x="2858" y="1657"/>
                  </a:lnTo>
                  <a:lnTo>
                    <a:pt x="2858" y="1931"/>
                  </a:lnTo>
                  <a:lnTo>
                    <a:pt x="2061" y="2145"/>
                  </a:lnTo>
                  <a:cubicBezTo>
                    <a:pt x="1965" y="2181"/>
                    <a:pt x="1906" y="2264"/>
                    <a:pt x="1942" y="2372"/>
                  </a:cubicBezTo>
                  <a:cubicBezTo>
                    <a:pt x="1954" y="2443"/>
                    <a:pt x="2025" y="2502"/>
                    <a:pt x="2108" y="2502"/>
                  </a:cubicBezTo>
                  <a:lnTo>
                    <a:pt x="2144" y="2502"/>
                  </a:lnTo>
                  <a:lnTo>
                    <a:pt x="2858" y="2312"/>
                  </a:lnTo>
                  <a:lnTo>
                    <a:pt x="2858" y="2467"/>
                  </a:lnTo>
                  <a:lnTo>
                    <a:pt x="2858" y="2491"/>
                  </a:lnTo>
                  <a:cubicBezTo>
                    <a:pt x="2155" y="2994"/>
                    <a:pt x="1558" y="3255"/>
                    <a:pt x="1146" y="3255"/>
                  </a:cubicBezTo>
                  <a:cubicBezTo>
                    <a:pt x="1042" y="3255"/>
                    <a:pt x="949" y="3239"/>
                    <a:pt x="870" y="3205"/>
                  </a:cubicBezTo>
                  <a:cubicBezTo>
                    <a:pt x="692" y="3134"/>
                    <a:pt x="572" y="3014"/>
                    <a:pt x="489" y="2848"/>
                  </a:cubicBezTo>
                  <a:cubicBezTo>
                    <a:pt x="334" y="2431"/>
                    <a:pt x="596" y="1883"/>
                    <a:pt x="596" y="1883"/>
                  </a:cubicBezTo>
                  <a:cubicBezTo>
                    <a:pt x="632" y="1836"/>
                    <a:pt x="632" y="1776"/>
                    <a:pt x="596" y="1729"/>
                  </a:cubicBezTo>
                  <a:cubicBezTo>
                    <a:pt x="596" y="1729"/>
                    <a:pt x="346" y="1181"/>
                    <a:pt x="489" y="764"/>
                  </a:cubicBezTo>
                  <a:cubicBezTo>
                    <a:pt x="549" y="597"/>
                    <a:pt x="668" y="478"/>
                    <a:pt x="870" y="407"/>
                  </a:cubicBezTo>
                  <a:cubicBezTo>
                    <a:pt x="942" y="383"/>
                    <a:pt x="1025" y="359"/>
                    <a:pt x="1132" y="359"/>
                  </a:cubicBezTo>
                  <a:close/>
                  <a:moveTo>
                    <a:pt x="1141" y="0"/>
                  </a:moveTo>
                  <a:cubicBezTo>
                    <a:pt x="1002" y="0"/>
                    <a:pt x="871" y="23"/>
                    <a:pt x="751" y="74"/>
                  </a:cubicBezTo>
                  <a:cubicBezTo>
                    <a:pt x="477" y="193"/>
                    <a:pt x="287" y="371"/>
                    <a:pt x="180" y="633"/>
                  </a:cubicBezTo>
                  <a:cubicBezTo>
                    <a:pt x="1" y="1074"/>
                    <a:pt x="180" y="1598"/>
                    <a:pt x="251" y="1800"/>
                  </a:cubicBezTo>
                  <a:cubicBezTo>
                    <a:pt x="227" y="1895"/>
                    <a:pt x="168" y="2026"/>
                    <a:pt x="144" y="2193"/>
                  </a:cubicBezTo>
                  <a:cubicBezTo>
                    <a:pt x="72" y="2491"/>
                    <a:pt x="96" y="2741"/>
                    <a:pt x="180" y="2967"/>
                  </a:cubicBezTo>
                  <a:cubicBezTo>
                    <a:pt x="287" y="3217"/>
                    <a:pt x="465" y="3419"/>
                    <a:pt x="751" y="3514"/>
                  </a:cubicBezTo>
                  <a:cubicBezTo>
                    <a:pt x="870" y="3562"/>
                    <a:pt x="1001" y="3598"/>
                    <a:pt x="1144" y="3598"/>
                  </a:cubicBezTo>
                  <a:cubicBezTo>
                    <a:pt x="1727" y="3598"/>
                    <a:pt x="2442" y="3205"/>
                    <a:pt x="3013" y="2800"/>
                  </a:cubicBezTo>
                  <a:cubicBezTo>
                    <a:pt x="3097" y="2895"/>
                    <a:pt x="3228" y="2955"/>
                    <a:pt x="3370" y="2955"/>
                  </a:cubicBezTo>
                  <a:lnTo>
                    <a:pt x="3811" y="2955"/>
                  </a:lnTo>
                  <a:cubicBezTo>
                    <a:pt x="3966" y="2955"/>
                    <a:pt x="4085" y="2895"/>
                    <a:pt x="4168" y="2800"/>
                  </a:cubicBezTo>
                  <a:cubicBezTo>
                    <a:pt x="4752" y="3205"/>
                    <a:pt x="5454" y="3598"/>
                    <a:pt x="6037" y="3598"/>
                  </a:cubicBezTo>
                  <a:cubicBezTo>
                    <a:pt x="6180" y="3598"/>
                    <a:pt x="6311" y="3562"/>
                    <a:pt x="6430" y="3514"/>
                  </a:cubicBezTo>
                  <a:cubicBezTo>
                    <a:pt x="6704" y="3395"/>
                    <a:pt x="6895" y="3217"/>
                    <a:pt x="7002" y="2967"/>
                  </a:cubicBezTo>
                  <a:cubicBezTo>
                    <a:pt x="7180" y="2502"/>
                    <a:pt x="7014" y="1991"/>
                    <a:pt x="6930" y="1788"/>
                  </a:cubicBezTo>
                  <a:cubicBezTo>
                    <a:pt x="6954" y="1705"/>
                    <a:pt x="7014" y="1574"/>
                    <a:pt x="7049" y="1407"/>
                  </a:cubicBezTo>
                  <a:cubicBezTo>
                    <a:pt x="7109" y="1109"/>
                    <a:pt x="7085" y="848"/>
                    <a:pt x="7002" y="633"/>
                  </a:cubicBezTo>
                  <a:cubicBezTo>
                    <a:pt x="6895" y="371"/>
                    <a:pt x="6716" y="181"/>
                    <a:pt x="6430" y="74"/>
                  </a:cubicBezTo>
                  <a:cubicBezTo>
                    <a:pt x="6308" y="23"/>
                    <a:pt x="6175" y="0"/>
                    <a:pt x="6035" y="0"/>
                  </a:cubicBezTo>
                  <a:cubicBezTo>
                    <a:pt x="5449" y="0"/>
                    <a:pt x="4735" y="394"/>
                    <a:pt x="4168" y="788"/>
                  </a:cubicBezTo>
                  <a:cubicBezTo>
                    <a:pt x="4085" y="705"/>
                    <a:pt x="3954" y="645"/>
                    <a:pt x="3811" y="645"/>
                  </a:cubicBezTo>
                  <a:lnTo>
                    <a:pt x="3370" y="645"/>
                  </a:lnTo>
                  <a:cubicBezTo>
                    <a:pt x="3216" y="645"/>
                    <a:pt x="3097" y="705"/>
                    <a:pt x="3013" y="788"/>
                  </a:cubicBezTo>
                  <a:cubicBezTo>
                    <a:pt x="2437" y="394"/>
                    <a:pt x="1721" y="0"/>
                    <a:pt x="11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9" name="Google Shape;12809;p62"/>
            <p:cNvSpPr/>
            <p:nvPr/>
          </p:nvSpPr>
          <p:spPr>
            <a:xfrm>
              <a:off x="4926263" y="3337255"/>
              <a:ext cx="238601" cy="97355"/>
            </a:xfrm>
            <a:custGeom>
              <a:avLst/>
              <a:gdLst/>
              <a:ahLst/>
              <a:cxnLst/>
              <a:rect l="l" t="t" r="r" b="b"/>
              <a:pathLst>
                <a:path w="7502" h="3061" extrusionOk="0">
                  <a:moveTo>
                    <a:pt x="3774" y="346"/>
                  </a:moveTo>
                  <a:cubicBezTo>
                    <a:pt x="4667" y="346"/>
                    <a:pt x="5513" y="405"/>
                    <a:pt x="6168" y="524"/>
                  </a:cubicBezTo>
                  <a:cubicBezTo>
                    <a:pt x="6858" y="643"/>
                    <a:pt x="7096" y="798"/>
                    <a:pt x="7144" y="869"/>
                  </a:cubicBezTo>
                  <a:cubicBezTo>
                    <a:pt x="7096" y="917"/>
                    <a:pt x="6953" y="1000"/>
                    <a:pt x="6572" y="1108"/>
                  </a:cubicBezTo>
                  <a:cubicBezTo>
                    <a:pt x="6561" y="1108"/>
                    <a:pt x="6549" y="1108"/>
                    <a:pt x="6525" y="1120"/>
                  </a:cubicBezTo>
                  <a:lnTo>
                    <a:pt x="6513" y="1120"/>
                  </a:lnTo>
                  <a:cubicBezTo>
                    <a:pt x="6501" y="1120"/>
                    <a:pt x="6489" y="1120"/>
                    <a:pt x="6465" y="1131"/>
                  </a:cubicBezTo>
                  <a:lnTo>
                    <a:pt x="6453" y="1131"/>
                  </a:lnTo>
                  <a:cubicBezTo>
                    <a:pt x="6441" y="1131"/>
                    <a:pt x="6430" y="1131"/>
                    <a:pt x="6430" y="1155"/>
                  </a:cubicBezTo>
                  <a:lnTo>
                    <a:pt x="6406" y="1155"/>
                  </a:lnTo>
                  <a:cubicBezTo>
                    <a:pt x="6394" y="1155"/>
                    <a:pt x="6382" y="1155"/>
                    <a:pt x="6370" y="1167"/>
                  </a:cubicBezTo>
                  <a:lnTo>
                    <a:pt x="6346" y="1167"/>
                  </a:lnTo>
                  <a:cubicBezTo>
                    <a:pt x="6334" y="1167"/>
                    <a:pt x="6310" y="1179"/>
                    <a:pt x="6287" y="1179"/>
                  </a:cubicBezTo>
                  <a:cubicBezTo>
                    <a:pt x="6275" y="1179"/>
                    <a:pt x="6251" y="1191"/>
                    <a:pt x="6215" y="1191"/>
                  </a:cubicBezTo>
                  <a:cubicBezTo>
                    <a:pt x="6203" y="1191"/>
                    <a:pt x="6168" y="1215"/>
                    <a:pt x="6156" y="1215"/>
                  </a:cubicBezTo>
                  <a:cubicBezTo>
                    <a:pt x="6132" y="1215"/>
                    <a:pt x="6084" y="1227"/>
                    <a:pt x="6049" y="1227"/>
                  </a:cubicBezTo>
                  <a:lnTo>
                    <a:pt x="6025" y="1227"/>
                  </a:lnTo>
                  <a:cubicBezTo>
                    <a:pt x="6013" y="1227"/>
                    <a:pt x="5977" y="1227"/>
                    <a:pt x="5965" y="1239"/>
                  </a:cubicBezTo>
                  <a:cubicBezTo>
                    <a:pt x="5929" y="1239"/>
                    <a:pt x="5918" y="1239"/>
                    <a:pt x="5894" y="1250"/>
                  </a:cubicBezTo>
                  <a:lnTo>
                    <a:pt x="5846" y="1250"/>
                  </a:lnTo>
                  <a:cubicBezTo>
                    <a:pt x="5810" y="1250"/>
                    <a:pt x="5787" y="1274"/>
                    <a:pt x="5751" y="1274"/>
                  </a:cubicBezTo>
                  <a:cubicBezTo>
                    <a:pt x="5382" y="1310"/>
                    <a:pt x="4965" y="1358"/>
                    <a:pt x="4525" y="1370"/>
                  </a:cubicBezTo>
                  <a:lnTo>
                    <a:pt x="3048" y="1370"/>
                  </a:lnTo>
                  <a:cubicBezTo>
                    <a:pt x="2620" y="1358"/>
                    <a:pt x="2203" y="1310"/>
                    <a:pt x="1822" y="1274"/>
                  </a:cubicBezTo>
                  <a:lnTo>
                    <a:pt x="1810" y="1274"/>
                  </a:lnTo>
                  <a:cubicBezTo>
                    <a:pt x="1786" y="1274"/>
                    <a:pt x="1750" y="1250"/>
                    <a:pt x="1727" y="1250"/>
                  </a:cubicBezTo>
                  <a:lnTo>
                    <a:pt x="1679" y="1250"/>
                  </a:lnTo>
                  <a:cubicBezTo>
                    <a:pt x="1643" y="1250"/>
                    <a:pt x="1631" y="1250"/>
                    <a:pt x="1608" y="1239"/>
                  </a:cubicBezTo>
                  <a:cubicBezTo>
                    <a:pt x="1584" y="1239"/>
                    <a:pt x="1560" y="1239"/>
                    <a:pt x="1548" y="1227"/>
                  </a:cubicBezTo>
                  <a:lnTo>
                    <a:pt x="1512" y="1227"/>
                  </a:lnTo>
                  <a:cubicBezTo>
                    <a:pt x="1488" y="1227"/>
                    <a:pt x="1441" y="1215"/>
                    <a:pt x="1405" y="1215"/>
                  </a:cubicBezTo>
                  <a:cubicBezTo>
                    <a:pt x="1393" y="1215"/>
                    <a:pt x="1369" y="1191"/>
                    <a:pt x="1346" y="1191"/>
                  </a:cubicBezTo>
                  <a:cubicBezTo>
                    <a:pt x="1310" y="1179"/>
                    <a:pt x="1262" y="1179"/>
                    <a:pt x="1215" y="1167"/>
                  </a:cubicBezTo>
                  <a:lnTo>
                    <a:pt x="1203" y="1167"/>
                  </a:lnTo>
                  <a:cubicBezTo>
                    <a:pt x="1191" y="1167"/>
                    <a:pt x="1167" y="1167"/>
                    <a:pt x="1155" y="1155"/>
                  </a:cubicBezTo>
                  <a:lnTo>
                    <a:pt x="1143" y="1155"/>
                  </a:lnTo>
                  <a:cubicBezTo>
                    <a:pt x="1131" y="1155"/>
                    <a:pt x="1107" y="1155"/>
                    <a:pt x="1096" y="1131"/>
                  </a:cubicBezTo>
                  <a:lnTo>
                    <a:pt x="1084" y="1131"/>
                  </a:lnTo>
                  <a:cubicBezTo>
                    <a:pt x="1072" y="1131"/>
                    <a:pt x="1048" y="1131"/>
                    <a:pt x="1036" y="1120"/>
                  </a:cubicBezTo>
                  <a:lnTo>
                    <a:pt x="1024" y="1120"/>
                  </a:lnTo>
                  <a:cubicBezTo>
                    <a:pt x="1012" y="1120"/>
                    <a:pt x="988" y="1120"/>
                    <a:pt x="976" y="1108"/>
                  </a:cubicBezTo>
                  <a:cubicBezTo>
                    <a:pt x="595" y="1000"/>
                    <a:pt x="453" y="917"/>
                    <a:pt x="417" y="881"/>
                  </a:cubicBezTo>
                  <a:lnTo>
                    <a:pt x="393" y="881"/>
                  </a:lnTo>
                  <a:lnTo>
                    <a:pt x="381" y="869"/>
                  </a:lnTo>
                  <a:cubicBezTo>
                    <a:pt x="429" y="810"/>
                    <a:pt x="679" y="655"/>
                    <a:pt x="1381" y="524"/>
                  </a:cubicBezTo>
                  <a:cubicBezTo>
                    <a:pt x="2036" y="405"/>
                    <a:pt x="2881" y="346"/>
                    <a:pt x="3774" y="346"/>
                  </a:cubicBezTo>
                  <a:close/>
                  <a:moveTo>
                    <a:pt x="3751" y="0"/>
                  </a:moveTo>
                  <a:cubicBezTo>
                    <a:pt x="2774" y="0"/>
                    <a:pt x="1869" y="72"/>
                    <a:pt x="1191" y="215"/>
                  </a:cubicBezTo>
                  <a:cubicBezTo>
                    <a:pt x="405" y="358"/>
                    <a:pt x="24" y="548"/>
                    <a:pt x="0" y="834"/>
                  </a:cubicBezTo>
                  <a:lnTo>
                    <a:pt x="0" y="869"/>
                  </a:lnTo>
                  <a:cubicBezTo>
                    <a:pt x="0" y="953"/>
                    <a:pt x="36" y="1048"/>
                    <a:pt x="107" y="1120"/>
                  </a:cubicBezTo>
                  <a:cubicBezTo>
                    <a:pt x="250" y="1405"/>
                    <a:pt x="488" y="1989"/>
                    <a:pt x="667" y="2894"/>
                  </a:cubicBezTo>
                  <a:cubicBezTo>
                    <a:pt x="677" y="2963"/>
                    <a:pt x="754" y="3033"/>
                    <a:pt x="827" y="3033"/>
                  </a:cubicBezTo>
                  <a:cubicBezTo>
                    <a:pt x="841" y="3033"/>
                    <a:pt x="856" y="3030"/>
                    <a:pt x="869" y="3025"/>
                  </a:cubicBezTo>
                  <a:cubicBezTo>
                    <a:pt x="965" y="3013"/>
                    <a:pt x="1036" y="2905"/>
                    <a:pt x="1012" y="2822"/>
                  </a:cubicBezTo>
                  <a:cubicBezTo>
                    <a:pt x="869" y="2191"/>
                    <a:pt x="726" y="1715"/>
                    <a:pt x="595" y="1370"/>
                  </a:cubicBezTo>
                  <a:lnTo>
                    <a:pt x="595" y="1370"/>
                  </a:lnTo>
                  <a:lnTo>
                    <a:pt x="726" y="1417"/>
                  </a:lnTo>
                  <a:lnTo>
                    <a:pt x="738" y="1417"/>
                  </a:lnTo>
                  <a:cubicBezTo>
                    <a:pt x="750" y="1417"/>
                    <a:pt x="750" y="1417"/>
                    <a:pt x="774" y="1429"/>
                  </a:cubicBezTo>
                  <a:cubicBezTo>
                    <a:pt x="1036" y="1512"/>
                    <a:pt x="1346" y="1560"/>
                    <a:pt x="1703" y="1608"/>
                  </a:cubicBezTo>
                  <a:cubicBezTo>
                    <a:pt x="1738" y="1608"/>
                    <a:pt x="1750" y="1608"/>
                    <a:pt x="1786" y="1631"/>
                  </a:cubicBezTo>
                  <a:lnTo>
                    <a:pt x="1810" y="1631"/>
                  </a:lnTo>
                  <a:cubicBezTo>
                    <a:pt x="2298" y="1691"/>
                    <a:pt x="2858" y="1715"/>
                    <a:pt x="3453" y="1727"/>
                  </a:cubicBezTo>
                  <a:lnTo>
                    <a:pt x="4227" y="1727"/>
                  </a:lnTo>
                  <a:cubicBezTo>
                    <a:pt x="4894" y="1715"/>
                    <a:pt x="5537" y="1655"/>
                    <a:pt x="6072" y="1584"/>
                  </a:cubicBezTo>
                  <a:cubicBezTo>
                    <a:pt x="6108" y="1584"/>
                    <a:pt x="6144" y="1572"/>
                    <a:pt x="6168" y="1572"/>
                  </a:cubicBezTo>
                  <a:lnTo>
                    <a:pt x="6191" y="1572"/>
                  </a:lnTo>
                  <a:cubicBezTo>
                    <a:pt x="6334" y="1536"/>
                    <a:pt x="6465" y="1512"/>
                    <a:pt x="6584" y="1477"/>
                  </a:cubicBezTo>
                  <a:cubicBezTo>
                    <a:pt x="6608" y="1477"/>
                    <a:pt x="6620" y="1465"/>
                    <a:pt x="6644" y="1465"/>
                  </a:cubicBezTo>
                  <a:lnTo>
                    <a:pt x="6680" y="1465"/>
                  </a:lnTo>
                  <a:cubicBezTo>
                    <a:pt x="6751" y="1453"/>
                    <a:pt x="6822" y="1417"/>
                    <a:pt x="6882" y="1405"/>
                  </a:cubicBezTo>
                  <a:lnTo>
                    <a:pt x="6882" y="1405"/>
                  </a:lnTo>
                  <a:cubicBezTo>
                    <a:pt x="6751" y="1751"/>
                    <a:pt x="6608" y="2227"/>
                    <a:pt x="6465" y="2846"/>
                  </a:cubicBezTo>
                  <a:cubicBezTo>
                    <a:pt x="6453" y="2941"/>
                    <a:pt x="6513" y="3036"/>
                    <a:pt x="6608" y="3060"/>
                  </a:cubicBezTo>
                  <a:lnTo>
                    <a:pt x="6632" y="3060"/>
                  </a:lnTo>
                  <a:cubicBezTo>
                    <a:pt x="6703" y="3060"/>
                    <a:pt x="6787" y="3001"/>
                    <a:pt x="6811" y="2917"/>
                  </a:cubicBezTo>
                  <a:cubicBezTo>
                    <a:pt x="7001" y="2012"/>
                    <a:pt x="7239" y="1429"/>
                    <a:pt x="7358" y="1155"/>
                  </a:cubicBezTo>
                  <a:cubicBezTo>
                    <a:pt x="7465" y="1036"/>
                    <a:pt x="7501" y="953"/>
                    <a:pt x="7501" y="858"/>
                  </a:cubicBezTo>
                  <a:lnTo>
                    <a:pt x="7501" y="834"/>
                  </a:lnTo>
                  <a:cubicBezTo>
                    <a:pt x="7465" y="560"/>
                    <a:pt x="7096" y="358"/>
                    <a:pt x="6310" y="215"/>
                  </a:cubicBezTo>
                  <a:cubicBezTo>
                    <a:pt x="5620" y="72"/>
                    <a:pt x="4715" y="0"/>
                    <a:pt x="3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0" name="Google Shape;12810;p62"/>
          <p:cNvGrpSpPr/>
          <p:nvPr/>
        </p:nvGrpSpPr>
        <p:grpSpPr>
          <a:xfrm>
            <a:off x="6193310" y="3407289"/>
            <a:ext cx="352590" cy="237488"/>
            <a:chOff x="6193310" y="3407289"/>
            <a:chExt cx="352590" cy="237488"/>
          </a:xfrm>
        </p:grpSpPr>
        <p:sp>
          <p:nvSpPr>
            <p:cNvPr id="12811" name="Google Shape;12811;p62"/>
            <p:cNvSpPr/>
            <p:nvPr/>
          </p:nvSpPr>
          <p:spPr>
            <a:xfrm>
              <a:off x="6193310" y="3522042"/>
              <a:ext cx="352590" cy="122735"/>
            </a:xfrm>
            <a:custGeom>
              <a:avLst/>
              <a:gdLst/>
              <a:ahLst/>
              <a:cxnLst/>
              <a:rect l="l" t="t" r="r" b="b"/>
              <a:pathLst>
                <a:path w="11086" h="3859" extrusionOk="0">
                  <a:moveTo>
                    <a:pt x="10549" y="310"/>
                  </a:moveTo>
                  <a:cubicBezTo>
                    <a:pt x="10668" y="310"/>
                    <a:pt x="10776" y="417"/>
                    <a:pt x="10776" y="536"/>
                  </a:cubicBezTo>
                  <a:lnTo>
                    <a:pt x="10776" y="3287"/>
                  </a:lnTo>
                  <a:lnTo>
                    <a:pt x="10764" y="3287"/>
                  </a:lnTo>
                  <a:cubicBezTo>
                    <a:pt x="10764" y="3406"/>
                    <a:pt x="10657" y="3513"/>
                    <a:pt x="10538" y="3513"/>
                  </a:cubicBezTo>
                  <a:lnTo>
                    <a:pt x="6811" y="3513"/>
                  </a:lnTo>
                  <a:cubicBezTo>
                    <a:pt x="6692" y="3513"/>
                    <a:pt x="6597" y="3465"/>
                    <a:pt x="6513" y="3394"/>
                  </a:cubicBezTo>
                  <a:lnTo>
                    <a:pt x="5668" y="2620"/>
                  </a:lnTo>
                  <a:cubicBezTo>
                    <a:pt x="5644" y="2584"/>
                    <a:pt x="5608" y="2572"/>
                    <a:pt x="5561" y="2572"/>
                  </a:cubicBezTo>
                  <a:cubicBezTo>
                    <a:pt x="5525" y="2572"/>
                    <a:pt x="5454" y="2584"/>
                    <a:pt x="5430" y="2620"/>
                  </a:cubicBezTo>
                  <a:lnTo>
                    <a:pt x="4584" y="3394"/>
                  </a:lnTo>
                  <a:cubicBezTo>
                    <a:pt x="4489" y="3465"/>
                    <a:pt x="4382" y="3513"/>
                    <a:pt x="4287" y="3513"/>
                  </a:cubicBezTo>
                  <a:lnTo>
                    <a:pt x="560" y="3513"/>
                  </a:lnTo>
                  <a:cubicBezTo>
                    <a:pt x="441" y="3513"/>
                    <a:pt x="334" y="3406"/>
                    <a:pt x="334" y="3287"/>
                  </a:cubicBezTo>
                  <a:lnTo>
                    <a:pt x="334" y="536"/>
                  </a:lnTo>
                  <a:cubicBezTo>
                    <a:pt x="334" y="417"/>
                    <a:pt x="441" y="310"/>
                    <a:pt x="560" y="310"/>
                  </a:cubicBezTo>
                  <a:close/>
                  <a:moveTo>
                    <a:pt x="548" y="1"/>
                  </a:moveTo>
                  <a:cubicBezTo>
                    <a:pt x="251" y="1"/>
                    <a:pt x="0" y="251"/>
                    <a:pt x="0" y="548"/>
                  </a:cubicBezTo>
                  <a:lnTo>
                    <a:pt x="0" y="3299"/>
                  </a:lnTo>
                  <a:cubicBezTo>
                    <a:pt x="0" y="3596"/>
                    <a:pt x="251" y="3858"/>
                    <a:pt x="548" y="3858"/>
                  </a:cubicBezTo>
                  <a:lnTo>
                    <a:pt x="4275" y="3858"/>
                  </a:lnTo>
                  <a:cubicBezTo>
                    <a:pt x="4465" y="3858"/>
                    <a:pt x="4644" y="3775"/>
                    <a:pt x="4787" y="3644"/>
                  </a:cubicBezTo>
                  <a:lnTo>
                    <a:pt x="5537" y="2965"/>
                  </a:lnTo>
                  <a:lnTo>
                    <a:pt x="6275" y="3644"/>
                  </a:lnTo>
                  <a:cubicBezTo>
                    <a:pt x="6430" y="3775"/>
                    <a:pt x="6608" y="3858"/>
                    <a:pt x="6799" y="3858"/>
                  </a:cubicBezTo>
                  <a:lnTo>
                    <a:pt x="10526" y="3858"/>
                  </a:lnTo>
                  <a:cubicBezTo>
                    <a:pt x="10823" y="3858"/>
                    <a:pt x="11073" y="3596"/>
                    <a:pt x="11073" y="3299"/>
                  </a:cubicBezTo>
                  <a:lnTo>
                    <a:pt x="11073" y="548"/>
                  </a:lnTo>
                  <a:cubicBezTo>
                    <a:pt x="11085" y="239"/>
                    <a:pt x="10835" y="1"/>
                    <a:pt x="105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2" name="Google Shape;12812;p62"/>
            <p:cNvSpPr/>
            <p:nvPr/>
          </p:nvSpPr>
          <p:spPr>
            <a:xfrm>
              <a:off x="6217927" y="3546277"/>
              <a:ext cx="132563" cy="73120"/>
            </a:xfrm>
            <a:custGeom>
              <a:avLst/>
              <a:gdLst/>
              <a:ahLst/>
              <a:cxnLst/>
              <a:rect l="l" t="t" r="r" b="b"/>
              <a:pathLst>
                <a:path w="4168" h="2299" extrusionOk="0">
                  <a:moveTo>
                    <a:pt x="3834" y="322"/>
                  </a:moveTo>
                  <a:lnTo>
                    <a:pt x="3834" y="1560"/>
                  </a:lnTo>
                  <a:lnTo>
                    <a:pt x="3382" y="1977"/>
                  </a:lnTo>
                  <a:lnTo>
                    <a:pt x="322" y="1977"/>
                  </a:lnTo>
                  <a:lnTo>
                    <a:pt x="322" y="322"/>
                  </a:lnTo>
                  <a:close/>
                  <a:moveTo>
                    <a:pt x="250" y="1"/>
                  </a:moveTo>
                  <a:cubicBezTo>
                    <a:pt x="119" y="1"/>
                    <a:pt x="0" y="120"/>
                    <a:pt x="0" y="251"/>
                  </a:cubicBezTo>
                  <a:lnTo>
                    <a:pt x="0" y="2048"/>
                  </a:lnTo>
                  <a:cubicBezTo>
                    <a:pt x="0" y="2179"/>
                    <a:pt x="119" y="2298"/>
                    <a:pt x="250" y="2298"/>
                  </a:cubicBezTo>
                  <a:lnTo>
                    <a:pt x="3406" y="2298"/>
                  </a:lnTo>
                  <a:cubicBezTo>
                    <a:pt x="3465" y="2298"/>
                    <a:pt x="3525" y="2275"/>
                    <a:pt x="3572" y="2239"/>
                  </a:cubicBezTo>
                  <a:lnTo>
                    <a:pt x="4072" y="1787"/>
                  </a:lnTo>
                  <a:cubicBezTo>
                    <a:pt x="4120" y="1739"/>
                    <a:pt x="4156" y="1667"/>
                    <a:pt x="4156" y="1608"/>
                  </a:cubicBezTo>
                  <a:lnTo>
                    <a:pt x="4156" y="263"/>
                  </a:lnTo>
                  <a:cubicBezTo>
                    <a:pt x="4168" y="120"/>
                    <a:pt x="4049" y="1"/>
                    <a:pt x="39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3" name="Google Shape;12813;p62"/>
            <p:cNvSpPr/>
            <p:nvPr/>
          </p:nvSpPr>
          <p:spPr>
            <a:xfrm>
              <a:off x="6388720" y="3546277"/>
              <a:ext cx="132563" cy="72738"/>
            </a:xfrm>
            <a:custGeom>
              <a:avLst/>
              <a:gdLst/>
              <a:ahLst/>
              <a:cxnLst/>
              <a:rect l="l" t="t" r="r" b="b"/>
              <a:pathLst>
                <a:path w="4168" h="2287" extrusionOk="0">
                  <a:moveTo>
                    <a:pt x="3846" y="322"/>
                  </a:moveTo>
                  <a:lnTo>
                    <a:pt x="3846" y="1977"/>
                  </a:lnTo>
                  <a:lnTo>
                    <a:pt x="786" y="1977"/>
                  </a:lnTo>
                  <a:lnTo>
                    <a:pt x="333" y="1560"/>
                  </a:lnTo>
                  <a:lnTo>
                    <a:pt x="333" y="322"/>
                  </a:lnTo>
                  <a:close/>
                  <a:moveTo>
                    <a:pt x="250" y="1"/>
                  </a:moveTo>
                  <a:cubicBezTo>
                    <a:pt x="119" y="1"/>
                    <a:pt x="0" y="120"/>
                    <a:pt x="0" y="251"/>
                  </a:cubicBezTo>
                  <a:lnTo>
                    <a:pt x="0" y="1584"/>
                  </a:lnTo>
                  <a:cubicBezTo>
                    <a:pt x="0" y="1667"/>
                    <a:pt x="36" y="1727"/>
                    <a:pt x="72" y="1763"/>
                  </a:cubicBezTo>
                  <a:lnTo>
                    <a:pt x="584" y="2227"/>
                  </a:lnTo>
                  <a:cubicBezTo>
                    <a:pt x="631" y="2275"/>
                    <a:pt x="691" y="2287"/>
                    <a:pt x="750" y="2287"/>
                  </a:cubicBezTo>
                  <a:lnTo>
                    <a:pt x="3905" y="2287"/>
                  </a:lnTo>
                  <a:cubicBezTo>
                    <a:pt x="4036" y="2287"/>
                    <a:pt x="4155" y="2168"/>
                    <a:pt x="4155" y="2037"/>
                  </a:cubicBezTo>
                  <a:lnTo>
                    <a:pt x="4155" y="239"/>
                  </a:lnTo>
                  <a:cubicBezTo>
                    <a:pt x="4167" y="120"/>
                    <a:pt x="4048" y="1"/>
                    <a:pt x="3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4" name="Google Shape;12814;p62"/>
            <p:cNvSpPr/>
            <p:nvPr/>
          </p:nvSpPr>
          <p:spPr>
            <a:xfrm>
              <a:off x="6405736" y="3407289"/>
              <a:ext cx="121591" cy="105306"/>
            </a:xfrm>
            <a:custGeom>
              <a:avLst/>
              <a:gdLst/>
              <a:ahLst/>
              <a:cxnLst/>
              <a:rect l="l" t="t" r="r" b="b"/>
              <a:pathLst>
                <a:path w="3823" h="3311" extrusionOk="0">
                  <a:moveTo>
                    <a:pt x="668" y="1"/>
                  </a:moveTo>
                  <a:cubicBezTo>
                    <a:pt x="299" y="1"/>
                    <a:pt x="1" y="299"/>
                    <a:pt x="1" y="680"/>
                  </a:cubicBezTo>
                  <a:lnTo>
                    <a:pt x="1" y="1775"/>
                  </a:lnTo>
                  <a:cubicBezTo>
                    <a:pt x="1" y="2073"/>
                    <a:pt x="239" y="2311"/>
                    <a:pt x="537" y="2311"/>
                  </a:cubicBezTo>
                  <a:cubicBezTo>
                    <a:pt x="822" y="2311"/>
                    <a:pt x="1049" y="2085"/>
                    <a:pt x="1072" y="1823"/>
                  </a:cubicBezTo>
                  <a:lnTo>
                    <a:pt x="2132" y="3251"/>
                  </a:lnTo>
                  <a:cubicBezTo>
                    <a:pt x="2156" y="3299"/>
                    <a:pt x="2204" y="3311"/>
                    <a:pt x="2263" y="3311"/>
                  </a:cubicBezTo>
                  <a:cubicBezTo>
                    <a:pt x="2287" y="3311"/>
                    <a:pt x="2335" y="3299"/>
                    <a:pt x="2346" y="3275"/>
                  </a:cubicBezTo>
                  <a:cubicBezTo>
                    <a:pt x="2430" y="3216"/>
                    <a:pt x="2442" y="3132"/>
                    <a:pt x="2382" y="3061"/>
                  </a:cubicBezTo>
                  <a:lnTo>
                    <a:pt x="1037" y="1227"/>
                  </a:lnTo>
                  <a:cubicBezTo>
                    <a:pt x="1009" y="1181"/>
                    <a:pt x="953" y="1164"/>
                    <a:pt x="901" y="1164"/>
                  </a:cubicBezTo>
                  <a:cubicBezTo>
                    <a:pt x="886" y="1164"/>
                    <a:pt x="872" y="1165"/>
                    <a:pt x="858" y="1168"/>
                  </a:cubicBezTo>
                  <a:cubicBezTo>
                    <a:pt x="799" y="1180"/>
                    <a:pt x="739" y="1251"/>
                    <a:pt x="739" y="1311"/>
                  </a:cubicBezTo>
                  <a:lnTo>
                    <a:pt x="739" y="1775"/>
                  </a:lnTo>
                  <a:cubicBezTo>
                    <a:pt x="739" y="1894"/>
                    <a:pt x="656" y="1989"/>
                    <a:pt x="537" y="1989"/>
                  </a:cubicBezTo>
                  <a:cubicBezTo>
                    <a:pt x="418" y="1989"/>
                    <a:pt x="322" y="1894"/>
                    <a:pt x="322" y="1775"/>
                  </a:cubicBezTo>
                  <a:lnTo>
                    <a:pt x="322" y="680"/>
                  </a:lnTo>
                  <a:cubicBezTo>
                    <a:pt x="322" y="477"/>
                    <a:pt x="489" y="322"/>
                    <a:pt x="680" y="322"/>
                  </a:cubicBezTo>
                  <a:cubicBezTo>
                    <a:pt x="787" y="322"/>
                    <a:pt x="882" y="358"/>
                    <a:pt x="941" y="418"/>
                  </a:cubicBezTo>
                  <a:lnTo>
                    <a:pt x="3525" y="3204"/>
                  </a:lnTo>
                  <a:cubicBezTo>
                    <a:pt x="3558" y="3236"/>
                    <a:pt x="3605" y="3255"/>
                    <a:pt x="3651" y="3255"/>
                  </a:cubicBezTo>
                  <a:cubicBezTo>
                    <a:pt x="3688" y="3255"/>
                    <a:pt x="3725" y="3242"/>
                    <a:pt x="3751" y="3216"/>
                  </a:cubicBezTo>
                  <a:cubicBezTo>
                    <a:pt x="3811" y="3180"/>
                    <a:pt x="3823" y="3073"/>
                    <a:pt x="3751" y="3001"/>
                  </a:cubicBezTo>
                  <a:lnTo>
                    <a:pt x="1156" y="215"/>
                  </a:lnTo>
                  <a:cubicBezTo>
                    <a:pt x="1025" y="84"/>
                    <a:pt x="846" y="1"/>
                    <a:pt x="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5" name="Google Shape;12815;p62"/>
            <p:cNvSpPr/>
            <p:nvPr/>
          </p:nvSpPr>
          <p:spPr>
            <a:xfrm>
              <a:off x="6212616" y="3407289"/>
              <a:ext cx="120827" cy="105306"/>
            </a:xfrm>
            <a:custGeom>
              <a:avLst/>
              <a:gdLst/>
              <a:ahLst/>
              <a:cxnLst/>
              <a:rect l="l" t="t" r="r" b="b"/>
              <a:pathLst>
                <a:path w="3799" h="3311" extrusionOk="0">
                  <a:moveTo>
                    <a:pt x="3132" y="1"/>
                  </a:moveTo>
                  <a:cubicBezTo>
                    <a:pt x="2930" y="1"/>
                    <a:pt x="2751" y="84"/>
                    <a:pt x="2632" y="215"/>
                  </a:cubicBezTo>
                  <a:lnTo>
                    <a:pt x="60" y="2978"/>
                  </a:lnTo>
                  <a:cubicBezTo>
                    <a:pt x="1" y="3037"/>
                    <a:pt x="1" y="3144"/>
                    <a:pt x="72" y="3204"/>
                  </a:cubicBezTo>
                  <a:cubicBezTo>
                    <a:pt x="101" y="3232"/>
                    <a:pt x="140" y="3247"/>
                    <a:pt x="180" y="3247"/>
                  </a:cubicBezTo>
                  <a:cubicBezTo>
                    <a:pt x="223" y="3247"/>
                    <a:pt x="267" y="3229"/>
                    <a:pt x="298" y="3192"/>
                  </a:cubicBezTo>
                  <a:lnTo>
                    <a:pt x="2870" y="418"/>
                  </a:lnTo>
                  <a:cubicBezTo>
                    <a:pt x="2930" y="346"/>
                    <a:pt x="3037" y="311"/>
                    <a:pt x="3132" y="311"/>
                  </a:cubicBezTo>
                  <a:cubicBezTo>
                    <a:pt x="3323" y="311"/>
                    <a:pt x="3489" y="477"/>
                    <a:pt x="3489" y="668"/>
                  </a:cubicBezTo>
                  <a:lnTo>
                    <a:pt x="3489" y="1775"/>
                  </a:lnTo>
                  <a:cubicBezTo>
                    <a:pt x="3489" y="1894"/>
                    <a:pt x="3394" y="1977"/>
                    <a:pt x="3275" y="1977"/>
                  </a:cubicBezTo>
                  <a:cubicBezTo>
                    <a:pt x="3156" y="1977"/>
                    <a:pt x="3061" y="1894"/>
                    <a:pt x="3061" y="1775"/>
                  </a:cubicBezTo>
                  <a:lnTo>
                    <a:pt x="3061" y="1334"/>
                  </a:lnTo>
                  <a:cubicBezTo>
                    <a:pt x="3061" y="1251"/>
                    <a:pt x="3025" y="1192"/>
                    <a:pt x="2953" y="1180"/>
                  </a:cubicBezTo>
                  <a:cubicBezTo>
                    <a:pt x="2937" y="1177"/>
                    <a:pt x="2921" y="1176"/>
                    <a:pt x="2906" y="1176"/>
                  </a:cubicBezTo>
                  <a:cubicBezTo>
                    <a:pt x="2851" y="1176"/>
                    <a:pt x="2800" y="1193"/>
                    <a:pt x="2763" y="1239"/>
                  </a:cubicBezTo>
                  <a:lnTo>
                    <a:pt x="1429" y="3061"/>
                  </a:lnTo>
                  <a:cubicBezTo>
                    <a:pt x="1370" y="3132"/>
                    <a:pt x="1382" y="3239"/>
                    <a:pt x="1465" y="3275"/>
                  </a:cubicBezTo>
                  <a:cubicBezTo>
                    <a:pt x="1489" y="3299"/>
                    <a:pt x="1525" y="3311"/>
                    <a:pt x="1549" y="3311"/>
                  </a:cubicBezTo>
                  <a:cubicBezTo>
                    <a:pt x="1596" y="3311"/>
                    <a:pt x="1656" y="3275"/>
                    <a:pt x="1679" y="3251"/>
                  </a:cubicBezTo>
                  <a:lnTo>
                    <a:pt x="2727" y="1835"/>
                  </a:lnTo>
                  <a:cubicBezTo>
                    <a:pt x="2739" y="2120"/>
                    <a:pt x="2977" y="2323"/>
                    <a:pt x="3263" y="2323"/>
                  </a:cubicBezTo>
                  <a:cubicBezTo>
                    <a:pt x="3561" y="2323"/>
                    <a:pt x="3799" y="2085"/>
                    <a:pt x="3799" y="1787"/>
                  </a:cubicBezTo>
                  <a:lnTo>
                    <a:pt x="3799" y="692"/>
                  </a:lnTo>
                  <a:cubicBezTo>
                    <a:pt x="3799" y="299"/>
                    <a:pt x="3501" y="1"/>
                    <a:pt x="3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6" name="Google Shape;12816;p62"/>
          <p:cNvGrpSpPr/>
          <p:nvPr/>
        </p:nvGrpSpPr>
        <p:grpSpPr>
          <a:xfrm>
            <a:off x="6637117" y="3397843"/>
            <a:ext cx="353735" cy="254504"/>
            <a:chOff x="6637117" y="3397843"/>
            <a:chExt cx="353735" cy="254504"/>
          </a:xfrm>
        </p:grpSpPr>
        <p:sp>
          <p:nvSpPr>
            <p:cNvPr id="12817" name="Google Shape;12817;p62"/>
            <p:cNvSpPr/>
            <p:nvPr/>
          </p:nvSpPr>
          <p:spPr>
            <a:xfrm>
              <a:off x="6637117" y="3397843"/>
              <a:ext cx="353735" cy="254504"/>
            </a:xfrm>
            <a:custGeom>
              <a:avLst/>
              <a:gdLst/>
              <a:ahLst/>
              <a:cxnLst/>
              <a:rect l="l" t="t" r="r" b="b"/>
              <a:pathLst>
                <a:path w="11122" h="8002" extrusionOk="0">
                  <a:moveTo>
                    <a:pt x="1941" y="358"/>
                  </a:moveTo>
                  <a:cubicBezTo>
                    <a:pt x="2001" y="358"/>
                    <a:pt x="2048" y="405"/>
                    <a:pt x="2048" y="465"/>
                  </a:cubicBezTo>
                  <a:lnTo>
                    <a:pt x="2025" y="810"/>
                  </a:lnTo>
                  <a:lnTo>
                    <a:pt x="1334" y="810"/>
                  </a:lnTo>
                  <a:lnTo>
                    <a:pt x="1334" y="465"/>
                  </a:lnTo>
                  <a:cubicBezTo>
                    <a:pt x="1334" y="405"/>
                    <a:pt x="1370" y="358"/>
                    <a:pt x="1429" y="358"/>
                  </a:cubicBezTo>
                  <a:close/>
                  <a:moveTo>
                    <a:pt x="10002" y="1179"/>
                  </a:moveTo>
                  <a:cubicBezTo>
                    <a:pt x="10061" y="1179"/>
                    <a:pt x="10109" y="1227"/>
                    <a:pt x="10109" y="1286"/>
                  </a:cubicBezTo>
                  <a:lnTo>
                    <a:pt x="10097" y="1596"/>
                  </a:lnTo>
                  <a:lnTo>
                    <a:pt x="8752" y="1596"/>
                  </a:lnTo>
                  <a:lnTo>
                    <a:pt x="8752" y="1286"/>
                  </a:lnTo>
                  <a:cubicBezTo>
                    <a:pt x="8752" y="1227"/>
                    <a:pt x="8799" y="1179"/>
                    <a:pt x="8859" y="1179"/>
                  </a:cubicBezTo>
                  <a:close/>
                  <a:moveTo>
                    <a:pt x="1417" y="0"/>
                  </a:moveTo>
                  <a:cubicBezTo>
                    <a:pt x="1179" y="0"/>
                    <a:pt x="989" y="203"/>
                    <a:pt x="989" y="441"/>
                  </a:cubicBezTo>
                  <a:lnTo>
                    <a:pt x="989" y="774"/>
                  </a:lnTo>
                  <a:lnTo>
                    <a:pt x="846" y="774"/>
                  </a:lnTo>
                  <a:cubicBezTo>
                    <a:pt x="655" y="774"/>
                    <a:pt x="477" y="834"/>
                    <a:pt x="334" y="953"/>
                  </a:cubicBezTo>
                  <a:cubicBezTo>
                    <a:pt x="251" y="1012"/>
                    <a:pt x="251" y="1120"/>
                    <a:pt x="298" y="1191"/>
                  </a:cubicBezTo>
                  <a:cubicBezTo>
                    <a:pt x="332" y="1238"/>
                    <a:pt x="382" y="1259"/>
                    <a:pt x="431" y="1259"/>
                  </a:cubicBezTo>
                  <a:cubicBezTo>
                    <a:pt x="468" y="1259"/>
                    <a:pt x="506" y="1247"/>
                    <a:pt x="536" y="1227"/>
                  </a:cubicBezTo>
                  <a:cubicBezTo>
                    <a:pt x="644" y="1132"/>
                    <a:pt x="756" y="1114"/>
                    <a:pt x="865" y="1114"/>
                  </a:cubicBezTo>
                  <a:cubicBezTo>
                    <a:pt x="932" y="1114"/>
                    <a:pt x="998" y="1121"/>
                    <a:pt x="1062" y="1121"/>
                  </a:cubicBezTo>
                  <a:cubicBezTo>
                    <a:pt x="1077" y="1121"/>
                    <a:pt x="1093" y="1121"/>
                    <a:pt x="1108" y="1120"/>
                  </a:cubicBezTo>
                  <a:lnTo>
                    <a:pt x="2489" y="1120"/>
                  </a:lnTo>
                  <a:cubicBezTo>
                    <a:pt x="2751" y="1120"/>
                    <a:pt x="2977" y="1346"/>
                    <a:pt x="2977" y="1608"/>
                  </a:cubicBezTo>
                  <a:lnTo>
                    <a:pt x="2977" y="2239"/>
                  </a:lnTo>
                  <a:cubicBezTo>
                    <a:pt x="2977" y="2322"/>
                    <a:pt x="3049" y="2405"/>
                    <a:pt x="3144" y="2405"/>
                  </a:cubicBezTo>
                  <a:cubicBezTo>
                    <a:pt x="3227" y="2405"/>
                    <a:pt x="3311" y="2322"/>
                    <a:pt x="3311" y="2239"/>
                  </a:cubicBezTo>
                  <a:lnTo>
                    <a:pt x="3311" y="1929"/>
                  </a:lnTo>
                  <a:lnTo>
                    <a:pt x="10311" y="1929"/>
                  </a:lnTo>
                  <a:cubicBezTo>
                    <a:pt x="10573" y="1941"/>
                    <a:pt x="10776" y="2167"/>
                    <a:pt x="10776" y="2417"/>
                  </a:cubicBezTo>
                  <a:lnTo>
                    <a:pt x="10776" y="2608"/>
                  </a:lnTo>
                  <a:lnTo>
                    <a:pt x="10490" y="2608"/>
                  </a:lnTo>
                  <a:cubicBezTo>
                    <a:pt x="10407" y="2608"/>
                    <a:pt x="10335" y="2679"/>
                    <a:pt x="10335" y="2774"/>
                  </a:cubicBezTo>
                  <a:cubicBezTo>
                    <a:pt x="10335" y="2858"/>
                    <a:pt x="10407" y="2941"/>
                    <a:pt x="10490" y="2941"/>
                  </a:cubicBezTo>
                  <a:lnTo>
                    <a:pt x="10776" y="2941"/>
                  </a:lnTo>
                  <a:lnTo>
                    <a:pt x="10776" y="6846"/>
                  </a:lnTo>
                  <a:lnTo>
                    <a:pt x="10014" y="6846"/>
                  </a:lnTo>
                  <a:cubicBezTo>
                    <a:pt x="9764" y="6846"/>
                    <a:pt x="9573" y="6644"/>
                    <a:pt x="9573" y="6406"/>
                  </a:cubicBezTo>
                  <a:lnTo>
                    <a:pt x="9573" y="3382"/>
                  </a:lnTo>
                  <a:cubicBezTo>
                    <a:pt x="9573" y="3191"/>
                    <a:pt x="9704" y="3013"/>
                    <a:pt x="9883" y="2953"/>
                  </a:cubicBezTo>
                  <a:cubicBezTo>
                    <a:pt x="9978" y="2917"/>
                    <a:pt x="10014" y="2834"/>
                    <a:pt x="9990" y="2739"/>
                  </a:cubicBezTo>
                  <a:cubicBezTo>
                    <a:pt x="9962" y="2675"/>
                    <a:pt x="9907" y="2632"/>
                    <a:pt x="9839" y="2632"/>
                  </a:cubicBezTo>
                  <a:cubicBezTo>
                    <a:pt x="9819" y="2632"/>
                    <a:pt x="9797" y="2635"/>
                    <a:pt x="9776" y="2644"/>
                  </a:cubicBezTo>
                  <a:cubicBezTo>
                    <a:pt x="9454" y="2739"/>
                    <a:pt x="9228" y="3036"/>
                    <a:pt x="9228" y="3382"/>
                  </a:cubicBezTo>
                  <a:lnTo>
                    <a:pt x="9228" y="6406"/>
                  </a:lnTo>
                  <a:cubicBezTo>
                    <a:pt x="9228" y="6835"/>
                    <a:pt x="9573" y="7180"/>
                    <a:pt x="10002" y="7180"/>
                  </a:cubicBezTo>
                  <a:lnTo>
                    <a:pt x="10764" y="7180"/>
                  </a:lnTo>
                  <a:cubicBezTo>
                    <a:pt x="10764" y="7442"/>
                    <a:pt x="10538" y="7668"/>
                    <a:pt x="10276" y="7668"/>
                  </a:cubicBezTo>
                  <a:lnTo>
                    <a:pt x="3132" y="7668"/>
                  </a:lnTo>
                  <a:cubicBezTo>
                    <a:pt x="3203" y="7573"/>
                    <a:pt x="3251" y="7466"/>
                    <a:pt x="3275" y="7335"/>
                  </a:cubicBezTo>
                  <a:cubicBezTo>
                    <a:pt x="3287" y="7251"/>
                    <a:pt x="3227" y="7156"/>
                    <a:pt x="3144" y="7144"/>
                  </a:cubicBezTo>
                  <a:cubicBezTo>
                    <a:pt x="3136" y="7143"/>
                    <a:pt x="3128" y="7143"/>
                    <a:pt x="3120" y="7143"/>
                  </a:cubicBezTo>
                  <a:cubicBezTo>
                    <a:pt x="3035" y="7143"/>
                    <a:pt x="2964" y="7199"/>
                    <a:pt x="2953" y="7275"/>
                  </a:cubicBezTo>
                  <a:cubicBezTo>
                    <a:pt x="2906" y="7501"/>
                    <a:pt x="2691" y="7668"/>
                    <a:pt x="2477" y="7668"/>
                  </a:cubicBezTo>
                  <a:lnTo>
                    <a:pt x="751" y="7668"/>
                  </a:lnTo>
                  <a:cubicBezTo>
                    <a:pt x="513" y="7632"/>
                    <a:pt x="334" y="7430"/>
                    <a:pt x="334" y="7180"/>
                  </a:cubicBezTo>
                  <a:lnTo>
                    <a:pt x="334" y="2548"/>
                  </a:lnTo>
                  <a:lnTo>
                    <a:pt x="334" y="1691"/>
                  </a:lnTo>
                  <a:cubicBezTo>
                    <a:pt x="334" y="1596"/>
                    <a:pt x="251" y="1524"/>
                    <a:pt x="167" y="1524"/>
                  </a:cubicBezTo>
                  <a:cubicBezTo>
                    <a:pt x="72" y="1524"/>
                    <a:pt x="1" y="1596"/>
                    <a:pt x="1" y="1691"/>
                  </a:cubicBezTo>
                  <a:lnTo>
                    <a:pt x="1" y="7180"/>
                  </a:lnTo>
                  <a:cubicBezTo>
                    <a:pt x="1" y="7585"/>
                    <a:pt x="298" y="7918"/>
                    <a:pt x="691" y="7978"/>
                  </a:cubicBezTo>
                  <a:cubicBezTo>
                    <a:pt x="703" y="7978"/>
                    <a:pt x="727" y="7978"/>
                    <a:pt x="751" y="8001"/>
                  </a:cubicBezTo>
                  <a:lnTo>
                    <a:pt x="10276" y="8001"/>
                  </a:lnTo>
                  <a:cubicBezTo>
                    <a:pt x="10716" y="8001"/>
                    <a:pt x="11085" y="7620"/>
                    <a:pt x="11085" y="7180"/>
                  </a:cubicBezTo>
                  <a:lnTo>
                    <a:pt x="11085" y="2405"/>
                  </a:lnTo>
                  <a:cubicBezTo>
                    <a:pt x="11121" y="2001"/>
                    <a:pt x="10823" y="1655"/>
                    <a:pt x="10442" y="1596"/>
                  </a:cubicBezTo>
                  <a:lnTo>
                    <a:pt x="10442" y="1262"/>
                  </a:lnTo>
                  <a:cubicBezTo>
                    <a:pt x="10442" y="1024"/>
                    <a:pt x="10240" y="834"/>
                    <a:pt x="10002" y="834"/>
                  </a:cubicBezTo>
                  <a:lnTo>
                    <a:pt x="8859" y="834"/>
                  </a:lnTo>
                  <a:cubicBezTo>
                    <a:pt x="8621" y="834"/>
                    <a:pt x="8430" y="1024"/>
                    <a:pt x="8430" y="1262"/>
                  </a:cubicBezTo>
                  <a:lnTo>
                    <a:pt x="8430" y="1584"/>
                  </a:lnTo>
                  <a:lnTo>
                    <a:pt x="7966" y="1584"/>
                  </a:lnTo>
                  <a:lnTo>
                    <a:pt x="7621" y="834"/>
                  </a:lnTo>
                  <a:cubicBezTo>
                    <a:pt x="7502" y="572"/>
                    <a:pt x="7240" y="405"/>
                    <a:pt x="6942" y="405"/>
                  </a:cubicBezTo>
                  <a:lnTo>
                    <a:pt x="5597" y="405"/>
                  </a:lnTo>
                  <a:cubicBezTo>
                    <a:pt x="5358" y="405"/>
                    <a:pt x="5120" y="524"/>
                    <a:pt x="4989" y="715"/>
                  </a:cubicBezTo>
                  <a:cubicBezTo>
                    <a:pt x="4930" y="798"/>
                    <a:pt x="4966" y="893"/>
                    <a:pt x="5037" y="941"/>
                  </a:cubicBezTo>
                  <a:cubicBezTo>
                    <a:pt x="5064" y="963"/>
                    <a:pt x="5096" y="974"/>
                    <a:pt x="5128" y="974"/>
                  </a:cubicBezTo>
                  <a:cubicBezTo>
                    <a:pt x="5181" y="974"/>
                    <a:pt x="5234" y="945"/>
                    <a:pt x="5263" y="893"/>
                  </a:cubicBezTo>
                  <a:cubicBezTo>
                    <a:pt x="5335" y="798"/>
                    <a:pt x="5466" y="715"/>
                    <a:pt x="5597" y="715"/>
                  </a:cubicBezTo>
                  <a:lnTo>
                    <a:pt x="6942" y="715"/>
                  </a:lnTo>
                  <a:cubicBezTo>
                    <a:pt x="7109" y="715"/>
                    <a:pt x="7252" y="810"/>
                    <a:pt x="7323" y="953"/>
                  </a:cubicBezTo>
                  <a:lnTo>
                    <a:pt x="7609" y="1572"/>
                  </a:lnTo>
                  <a:lnTo>
                    <a:pt x="4942" y="1572"/>
                  </a:lnTo>
                  <a:lnTo>
                    <a:pt x="4989" y="1465"/>
                  </a:lnTo>
                  <a:cubicBezTo>
                    <a:pt x="5037" y="1370"/>
                    <a:pt x="4989" y="1286"/>
                    <a:pt x="4918" y="1239"/>
                  </a:cubicBezTo>
                  <a:cubicBezTo>
                    <a:pt x="4891" y="1225"/>
                    <a:pt x="4866" y="1219"/>
                    <a:pt x="4841" y="1219"/>
                  </a:cubicBezTo>
                  <a:cubicBezTo>
                    <a:pt x="4779" y="1219"/>
                    <a:pt x="4726" y="1259"/>
                    <a:pt x="4692" y="1310"/>
                  </a:cubicBezTo>
                  <a:lnTo>
                    <a:pt x="4573" y="1572"/>
                  </a:lnTo>
                  <a:lnTo>
                    <a:pt x="3311" y="1572"/>
                  </a:lnTo>
                  <a:cubicBezTo>
                    <a:pt x="3299" y="1131"/>
                    <a:pt x="2918" y="774"/>
                    <a:pt x="2489" y="774"/>
                  </a:cubicBezTo>
                  <a:lnTo>
                    <a:pt x="2358" y="774"/>
                  </a:lnTo>
                  <a:lnTo>
                    <a:pt x="2358" y="441"/>
                  </a:lnTo>
                  <a:cubicBezTo>
                    <a:pt x="2358" y="203"/>
                    <a:pt x="2168" y="0"/>
                    <a:pt x="1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8" name="Google Shape;12818;p62"/>
            <p:cNvSpPr/>
            <p:nvPr/>
          </p:nvSpPr>
          <p:spPr>
            <a:xfrm>
              <a:off x="6732532" y="3484925"/>
              <a:ext cx="10273" cy="129923"/>
            </a:xfrm>
            <a:custGeom>
              <a:avLst/>
              <a:gdLst/>
              <a:ahLst/>
              <a:cxnLst/>
              <a:rect l="l" t="t" r="r" b="b"/>
              <a:pathLst>
                <a:path w="323" h="4085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918"/>
                  </a:lnTo>
                  <a:cubicBezTo>
                    <a:pt x="1" y="4013"/>
                    <a:pt x="72" y="4085"/>
                    <a:pt x="156" y="4085"/>
                  </a:cubicBezTo>
                  <a:cubicBezTo>
                    <a:pt x="251" y="4085"/>
                    <a:pt x="322" y="4013"/>
                    <a:pt x="322" y="3918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9" name="Google Shape;12819;p62"/>
            <p:cNvSpPr/>
            <p:nvPr/>
          </p:nvSpPr>
          <p:spPr>
            <a:xfrm>
              <a:off x="6903707" y="3467591"/>
              <a:ext cx="38293" cy="29483"/>
            </a:xfrm>
            <a:custGeom>
              <a:avLst/>
              <a:gdLst/>
              <a:ahLst/>
              <a:cxnLst/>
              <a:rect l="l" t="t" r="r" b="b"/>
              <a:pathLst>
                <a:path w="1204" h="927" extrusionOk="0">
                  <a:moveTo>
                    <a:pt x="728" y="0"/>
                  </a:moveTo>
                  <a:cubicBezTo>
                    <a:pt x="676" y="0"/>
                    <a:pt x="625" y="26"/>
                    <a:pt x="596" y="70"/>
                  </a:cubicBezTo>
                  <a:cubicBezTo>
                    <a:pt x="536" y="153"/>
                    <a:pt x="572" y="248"/>
                    <a:pt x="644" y="296"/>
                  </a:cubicBezTo>
                  <a:cubicBezTo>
                    <a:pt x="775" y="391"/>
                    <a:pt x="703" y="593"/>
                    <a:pt x="548" y="593"/>
                  </a:cubicBezTo>
                  <a:cubicBezTo>
                    <a:pt x="453" y="593"/>
                    <a:pt x="370" y="510"/>
                    <a:pt x="394" y="403"/>
                  </a:cubicBezTo>
                  <a:cubicBezTo>
                    <a:pt x="405" y="308"/>
                    <a:pt x="346" y="224"/>
                    <a:pt x="251" y="212"/>
                  </a:cubicBezTo>
                  <a:cubicBezTo>
                    <a:pt x="238" y="209"/>
                    <a:pt x="225" y="207"/>
                    <a:pt x="213" y="207"/>
                  </a:cubicBezTo>
                  <a:cubicBezTo>
                    <a:pt x="141" y="207"/>
                    <a:pt x="70" y="262"/>
                    <a:pt x="60" y="343"/>
                  </a:cubicBezTo>
                  <a:cubicBezTo>
                    <a:pt x="1" y="653"/>
                    <a:pt x="239" y="927"/>
                    <a:pt x="548" y="927"/>
                  </a:cubicBezTo>
                  <a:cubicBezTo>
                    <a:pt x="1013" y="927"/>
                    <a:pt x="1203" y="308"/>
                    <a:pt x="822" y="34"/>
                  </a:cubicBezTo>
                  <a:cubicBezTo>
                    <a:pt x="794" y="11"/>
                    <a:pt x="761" y="0"/>
                    <a:pt x="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0" name="Google Shape;12820;p62"/>
            <p:cNvSpPr/>
            <p:nvPr/>
          </p:nvSpPr>
          <p:spPr>
            <a:xfrm>
              <a:off x="6750725" y="3461739"/>
              <a:ext cx="177249" cy="177345"/>
            </a:xfrm>
            <a:custGeom>
              <a:avLst/>
              <a:gdLst/>
              <a:ahLst/>
              <a:cxnLst/>
              <a:rect l="l" t="t" r="r" b="b"/>
              <a:pathLst>
                <a:path w="5573" h="5576" extrusionOk="0">
                  <a:moveTo>
                    <a:pt x="2753" y="0"/>
                  </a:moveTo>
                  <a:cubicBezTo>
                    <a:pt x="2168" y="0"/>
                    <a:pt x="1571" y="186"/>
                    <a:pt x="1048" y="599"/>
                  </a:cubicBezTo>
                  <a:cubicBezTo>
                    <a:pt x="977" y="658"/>
                    <a:pt x="953" y="765"/>
                    <a:pt x="1013" y="837"/>
                  </a:cubicBezTo>
                  <a:cubicBezTo>
                    <a:pt x="1049" y="881"/>
                    <a:pt x="1103" y="906"/>
                    <a:pt x="1156" y="906"/>
                  </a:cubicBezTo>
                  <a:cubicBezTo>
                    <a:pt x="1190" y="906"/>
                    <a:pt x="1223" y="896"/>
                    <a:pt x="1251" y="873"/>
                  </a:cubicBezTo>
                  <a:cubicBezTo>
                    <a:pt x="1711" y="505"/>
                    <a:pt x="2238" y="339"/>
                    <a:pt x="2753" y="339"/>
                  </a:cubicBezTo>
                  <a:cubicBezTo>
                    <a:pt x="4023" y="339"/>
                    <a:pt x="5227" y="1342"/>
                    <a:pt x="5227" y="2790"/>
                  </a:cubicBezTo>
                  <a:cubicBezTo>
                    <a:pt x="5227" y="3373"/>
                    <a:pt x="5013" y="3921"/>
                    <a:pt x="4668" y="4361"/>
                  </a:cubicBezTo>
                  <a:cubicBezTo>
                    <a:pt x="4203" y="4933"/>
                    <a:pt x="3501" y="5242"/>
                    <a:pt x="2775" y="5242"/>
                  </a:cubicBezTo>
                  <a:cubicBezTo>
                    <a:pt x="1417" y="5242"/>
                    <a:pt x="322" y="4147"/>
                    <a:pt x="322" y="2790"/>
                  </a:cubicBezTo>
                  <a:cubicBezTo>
                    <a:pt x="322" y="2242"/>
                    <a:pt x="501" y="1730"/>
                    <a:pt x="822" y="1301"/>
                  </a:cubicBezTo>
                  <a:cubicBezTo>
                    <a:pt x="882" y="1230"/>
                    <a:pt x="870" y="1123"/>
                    <a:pt x="798" y="1075"/>
                  </a:cubicBezTo>
                  <a:cubicBezTo>
                    <a:pt x="763" y="1050"/>
                    <a:pt x="727" y="1038"/>
                    <a:pt x="692" y="1038"/>
                  </a:cubicBezTo>
                  <a:cubicBezTo>
                    <a:pt x="644" y="1038"/>
                    <a:pt x="600" y="1062"/>
                    <a:pt x="572" y="1111"/>
                  </a:cubicBezTo>
                  <a:cubicBezTo>
                    <a:pt x="203" y="1599"/>
                    <a:pt x="0" y="2182"/>
                    <a:pt x="0" y="2790"/>
                  </a:cubicBezTo>
                  <a:cubicBezTo>
                    <a:pt x="0" y="4325"/>
                    <a:pt x="1251" y="5576"/>
                    <a:pt x="2787" y="5576"/>
                  </a:cubicBezTo>
                  <a:cubicBezTo>
                    <a:pt x="3620" y="5576"/>
                    <a:pt x="4394" y="5195"/>
                    <a:pt x="4930" y="4575"/>
                  </a:cubicBezTo>
                  <a:cubicBezTo>
                    <a:pt x="5346" y="4087"/>
                    <a:pt x="5573" y="3444"/>
                    <a:pt x="5573" y="2790"/>
                  </a:cubicBezTo>
                  <a:cubicBezTo>
                    <a:pt x="5564" y="1130"/>
                    <a:pt x="4194" y="0"/>
                    <a:pt x="27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1" name="Google Shape;12821;p62"/>
            <p:cNvSpPr/>
            <p:nvPr/>
          </p:nvSpPr>
          <p:spPr>
            <a:xfrm>
              <a:off x="6778363" y="3495166"/>
              <a:ext cx="134090" cy="110681"/>
            </a:xfrm>
            <a:custGeom>
              <a:avLst/>
              <a:gdLst/>
              <a:ahLst/>
              <a:cxnLst/>
              <a:rect l="l" t="t" r="r" b="b"/>
              <a:pathLst>
                <a:path w="4216" h="3480" extrusionOk="0">
                  <a:moveTo>
                    <a:pt x="1906" y="0"/>
                  </a:moveTo>
                  <a:cubicBezTo>
                    <a:pt x="834" y="0"/>
                    <a:pt x="1" y="965"/>
                    <a:pt x="179" y="2024"/>
                  </a:cubicBezTo>
                  <a:cubicBezTo>
                    <a:pt x="190" y="2100"/>
                    <a:pt x="271" y="2157"/>
                    <a:pt x="348" y="2157"/>
                  </a:cubicBezTo>
                  <a:cubicBezTo>
                    <a:pt x="355" y="2157"/>
                    <a:pt x="363" y="2156"/>
                    <a:pt x="370" y="2155"/>
                  </a:cubicBezTo>
                  <a:cubicBezTo>
                    <a:pt x="465" y="2143"/>
                    <a:pt x="525" y="2048"/>
                    <a:pt x="501" y="1965"/>
                  </a:cubicBezTo>
                  <a:cubicBezTo>
                    <a:pt x="348" y="1037"/>
                    <a:pt x="1082" y="310"/>
                    <a:pt x="1901" y="310"/>
                  </a:cubicBezTo>
                  <a:cubicBezTo>
                    <a:pt x="2228" y="310"/>
                    <a:pt x="2568" y="426"/>
                    <a:pt x="2870" y="691"/>
                  </a:cubicBezTo>
                  <a:cubicBezTo>
                    <a:pt x="3442" y="1215"/>
                    <a:pt x="3477" y="2108"/>
                    <a:pt x="2941" y="2691"/>
                  </a:cubicBezTo>
                  <a:cubicBezTo>
                    <a:pt x="2660" y="2994"/>
                    <a:pt x="2278" y="3142"/>
                    <a:pt x="1899" y="3142"/>
                  </a:cubicBezTo>
                  <a:cubicBezTo>
                    <a:pt x="1444" y="3142"/>
                    <a:pt x="993" y="2928"/>
                    <a:pt x="727" y="2512"/>
                  </a:cubicBezTo>
                  <a:cubicBezTo>
                    <a:pt x="696" y="2466"/>
                    <a:pt x="645" y="2435"/>
                    <a:pt x="590" y="2435"/>
                  </a:cubicBezTo>
                  <a:cubicBezTo>
                    <a:pt x="561" y="2435"/>
                    <a:pt x="530" y="2444"/>
                    <a:pt x="501" y="2465"/>
                  </a:cubicBezTo>
                  <a:cubicBezTo>
                    <a:pt x="429" y="2512"/>
                    <a:pt x="405" y="2620"/>
                    <a:pt x="465" y="2691"/>
                  </a:cubicBezTo>
                  <a:cubicBezTo>
                    <a:pt x="803" y="3212"/>
                    <a:pt x="1362" y="3480"/>
                    <a:pt x="1924" y="3480"/>
                  </a:cubicBezTo>
                  <a:cubicBezTo>
                    <a:pt x="2390" y="3480"/>
                    <a:pt x="2858" y="3295"/>
                    <a:pt x="3203" y="2917"/>
                  </a:cubicBezTo>
                  <a:cubicBezTo>
                    <a:pt x="4215" y="1810"/>
                    <a:pt x="3418" y="0"/>
                    <a:pt x="1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2" name="Google Shape;12822;p62"/>
            <p:cNvSpPr/>
            <p:nvPr/>
          </p:nvSpPr>
          <p:spPr>
            <a:xfrm>
              <a:off x="6820791" y="3521501"/>
              <a:ext cx="49997" cy="41665"/>
            </a:xfrm>
            <a:custGeom>
              <a:avLst/>
              <a:gdLst/>
              <a:ahLst/>
              <a:cxnLst/>
              <a:rect l="l" t="t" r="r" b="b"/>
              <a:pathLst>
                <a:path w="1572" h="1310" extrusionOk="0">
                  <a:moveTo>
                    <a:pt x="756" y="0"/>
                  </a:moveTo>
                  <a:cubicBezTo>
                    <a:pt x="743" y="0"/>
                    <a:pt x="729" y="2"/>
                    <a:pt x="715" y="6"/>
                  </a:cubicBezTo>
                  <a:cubicBezTo>
                    <a:pt x="203" y="101"/>
                    <a:pt x="0" y="744"/>
                    <a:pt x="381" y="1113"/>
                  </a:cubicBezTo>
                  <a:cubicBezTo>
                    <a:pt x="506" y="1244"/>
                    <a:pt x="676" y="1309"/>
                    <a:pt x="845" y="1309"/>
                  </a:cubicBezTo>
                  <a:cubicBezTo>
                    <a:pt x="1015" y="1309"/>
                    <a:pt x="1185" y="1244"/>
                    <a:pt x="1310" y="1113"/>
                  </a:cubicBezTo>
                  <a:cubicBezTo>
                    <a:pt x="1524" y="911"/>
                    <a:pt x="1572" y="613"/>
                    <a:pt x="1453" y="363"/>
                  </a:cubicBezTo>
                  <a:cubicBezTo>
                    <a:pt x="1418" y="301"/>
                    <a:pt x="1356" y="266"/>
                    <a:pt x="1293" y="266"/>
                  </a:cubicBezTo>
                  <a:cubicBezTo>
                    <a:pt x="1271" y="266"/>
                    <a:pt x="1248" y="270"/>
                    <a:pt x="1226" y="280"/>
                  </a:cubicBezTo>
                  <a:cubicBezTo>
                    <a:pt x="1155" y="327"/>
                    <a:pt x="1107" y="422"/>
                    <a:pt x="1155" y="506"/>
                  </a:cubicBezTo>
                  <a:cubicBezTo>
                    <a:pt x="1215" y="625"/>
                    <a:pt x="1191" y="791"/>
                    <a:pt x="1096" y="899"/>
                  </a:cubicBezTo>
                  <a:cubicBezTo>
                    <a:pt x="1024" y="964"/>
                    <a:pt x="938" y="997"/>
                    <a:pt x="851" y="997"/>
                  </a:cubicBezTo>
                  <a:cubicBezTo>
                    <a:pt x="765" y="997"/>
                    <a:pt x="679" y="964"/>
                    <a:pt x="607" y="899"/>
                  </a:cubicBezTo>
                  <a:cubicBezTo>
                    <a:pt x="417" y="696"/>
                    <a:pt x="524" y="375"/>
                    <a:pt x="774" y="327"/>
                  </a:cubicBezTo>
                  <a:cubicBezTo>
                    <a:pt x="869" y="315"/>
                    <a:pt x="929" y="220"/>
                    <a:pt x="905" y="137"/>
                  </a:cubicBezTo>
                  <a:cubicBezTo>
                    <a:pt x="895" y="56"/>
                    <a:pt x="833" y="0"/>
                    <a:pt x="7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23" name="Google Shape;12823;p62"/>
          <p:cNvGrpSpPr/>
          <p:nvPr/>
        </p:nvGrpSpPr>
        <p:grpSpPr>
          <a:xfrm>
            <a:off x="7075994" y="3349531"/>
            <a:ext cx="360637" cy="352336"/>
            <a:chOff x="7075994" y="3349531"/>
            <a:chExt cx="360637" cy="352336"/>
          </a:xfrm>
        </p:grpSpPr>
        <p:sp>
          <p:nvSpPr>
            <p:cNvPr id="12824" name="Google Shape;12824;p62"/>
            <p:cNvSpPr/>
            <p:nvPr/>
          </p:nvSpPr>
          <p:spPr>
            <a:xfrm>
              <a:off x="7277097" y="3607502"/>
              <a:ext cx="56454" cy="57154"/>
            </a:xfrm>
            <a:custGeom>
              <a:avLst/>
              <a:gdLst/>
              <a:ahLst/>
              <a:cxnLst/>
              <a:rect l="l" t="t" r="r" b="b"/>
              <a:pathLst>
                <a:path w="1775" h="1797" extrusionOk="0">
                  <a:moveTo>
                    <a:pt x="871" y="0"/>
                  </a:moveTo>
                  <a:cubicBezTo>
                    <a:pt x="656" y="0"/>
                    <a:pt x="438" y="79"/>
                    <a:pt x="262" y="254"/>
                  </a:cubicBezTo>
                  <a:cubicBezTo>
                    <a:pt x="203" y="314"/>
                    <a:pt x="203" y="421"/>
                    <a:pt x="262" y="493"/>
                  </a:cubicBezTo>
                  <a:cubicBezTo>
                    <a:pt x="292" y="522"/>
                    <a:pt x="331" y="537"/>
                    <a:pt x="372" y="537"/>
                  </a:cubicBezTo>
                  <a:cubicBezTo>
                    <a:pt x="414" y="537"/>
                    <a:pt x="459" y="522"/>
                    <a:pt x="500" y="493"/>
                  </a:cubicBezTo>
                  <a:cubicBezTo>
                    <a:pt x="609" y="391"/>
                    <a:pt x="753" y="335"/>
                    <a:pt x="898" y="335"/>
                  </a:cubicBezTo>
                  <a:cubicBezTo>
                    <a:pt x="1007" y="335"/>
                    <a:pt x="1117" y="367"/>
                    <a:pt x="1215" y="433"/>
                  </a:cubicBezTo>
                  <a:cubicBezTo>
                    <a:pt x="1465" y="612"/>
                    <a:pt x="1536" y="957"/>
                    <a:pt x="1357" y="1231"/>
                  </a:cubicBezTo>
                  <a:cubicBezTo>
                    <a:pt x="1241" y="1398"/>
                    <a:pt x="1069" y="1475"/>
                    <a:pt x="898" y="1475"/>
                  </a:cubicBezTo>
                  <a:cubicBezTo>
                    <a:pt x="632" y="1475"/>
                    <a:pt x="370" y="1288"/>
                    <a:pt x="334" y="969"/>
                  </a:cubicBezTo>
                  <a:cubicBezTo>
                    <a:pt x="322" y="885"/>
                    <a:pt x="238" y="826"/>
                    <a:pt x="155" y="826"/>
                  </a:cubicBezTo>
                  <a:cubicBezTo>
                    <a:pt x="60" y="838"/>
                    <a:pt x="0" y="909"/>
                    <a:pt x="0" y="1005"/>
                  </a:cubicBezTo>
                  <a:cubicBezTo>
                    <a:pt x="58" y="1504"/>
                    <a:pt x="477" y="1797"/>
                    <a:pt x="901" y="1797"/>
                  </a:cubicBezTo>
                  <a:cubicBezTo>
                    <a:pt x="1174" y="1797"/>
                    <a:pt x="1449" y="1675"/>
                    <a:pt x="1631" y="1409"/>
                  </a:cubicBezTo>
                  <a:cubicBezTo>
                    <a:pt x="1727" y="1255"/>
                    <a:pt x="1774" y="1076"/>
                    <a:pt x="1774" y="897"/>
                  </a:cubicBezTo>
                  <a:cubicBezTo>
                    <a:pt x="1774" y="355"/>
                    <a:pt x="1329" y="0"/>
                    <a:pt x="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5" name="Google Shape;12825;p62"/>
            <p:cNvSpPr/>
            <p:nvPr/>
          </p:nvSpPr>
          <p:spPr>
            <a:xfrm>
              <a:off x="7090784" y="3428917"/>
              <a:ext cx="190894" cy="81421"/>
            </a:xfrm>
            <a:custGeom>
              <a:avLst/>
              <a:gdLst/>
              <a:ahLst/>
              <a:cxnLst/>
              <a:rect l="l" t="t" r="r" b="b"/>
              <a:pathLst>
                <a:path w="6002" h="2560" extrusionOk="0">
                  <a:moveTo>
                    <a:pt x="3568" y="0"/>
                  </a:moveTo>
                  <a:cubicBezTo>
                    <a:pt x="2130" y="0"/>
                    <a:pt x="671" y="803"/>
                    <a:pt x="48" y="2333"/>
                  </a:cubicBezTo>
                  <a:cubicBezTo>
                    <a:pt x="0" y="2440"/>
                    <a:pt x="72" y="2559"/>
                    <a:pt x="191" y="2559"/>
                  </a:cubicBezTo>
                  <a:cubicBezTo>
                    <a:pt x="250" y="2559"/>
                    <a:pt x="310" y="2512"/>
                    <a:pt x="346" y="2452"/>
                  </a:cubicBezTo>
                  <a:cubicBezTo>
                    <a:pt x="909" y="1087"/>
                    <a:pt x="2208" y="325"/>
                    <a:pt x="3537" y="325"/>
                  </a:cubicBezTo>
                  <a:cubicBezTo>
                    <a:pt x="4202" y="325"/>
                    <a:pt x="4874" y="516"/>
                    <a:pt x="5465" y="916"/>
                  </a:cubicBezTo>
                  <a:cubicBezTo>
                    <a:pt x="5537" y="976"/>
                    <a:pt x="5608" y="1024"/>
                    <a:pt x="5680" y="1095"/>
                  </a:cubicBezTo>
                  <a:cubicBezTo>
                    <a:pt x="5719" y="1123"/>
                    <a:pt x="5762" y="1138"/>
                    <a:pt x="5802" y="1138"/>
                  </a:cubicBezTo>
                  <a:cubicBezTo>
                    <a:pt x="5846" y="1138"/>
                    <a:pt x="5887" y="1120"/>
                    <a:pt x="5918" y="1083"/>
                  </a:cubicBezTo>
                  <a:cubicBezTo>
                    <a:pt x="6001" y="1012"/>
                    <a:pt x="5977" y="905"/>
                    <a:pt x="5906" y="845"/>
                  </a:cubicBezTo>
                  <a:cubicBezTo>
                    <a:pt x="5250" y="277"/>
                    <a:pt x="4413" y="0"/>
                    <a:pt x="35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6" name="Google Shape;12826;p62"/>
            <p:cNvSpPr/>
            <p:nvPr/>
          </p:nvSpPr>
          <p:spPr>
            <a:xfrm>
              <a:off x="7075994" y="3520102"/>
              <a:ext cx="136762" cy="167072"/>
            </a:xfrm>
            <a:custGeom>
              <a:avLst/>
              <a:gdLst/>
              <a:ahLst/>
              <a:cxnLst/>
              <a:rect l="l" t="t" r="r" b="b"/>
              <a:pathLst>
                <a:path w="4300" h="5253" extrusionOk="0">
                  <a:moveTo>
                    <a:pt x="489" y="1"/>
                  </a:moveTo>
                  <a:cubicBezTo>
                    <a:pt x="404" y="1"/>
                    <a:pt x="332" y="57"/>
                    <a:pt x="311" y="133"/>
                  </a:cubicBezTo>
                  <a:cubicBezTo>
                    <a:pt x="1" y="1621"/>
                    <a:pt x="608" y="3181"/>
                    <a:pt x="1882" y="4050"/>
                  </a:cubicBezTo>
                  <a:cubicBezTo>
                    <a:pt x="1954" y="4110"/>
                    <a:pt x="2847" y="4765"/>
                    <a:pt x="4049" y="5241"/>
                  </a:cubicBezTo>
                  <a:cubicBezTo>
                    <a:pt x="4061" y="5253"/>
                    <a:pt x="4097" y="5253"/>
                    <a:pt x="4109" y="5253"/>
                  </a:cubicBezTo>
                  <a:cubicBezTo>
                    <a:pt x="4168" y="5253"/>
                    <a:pt x="4240" y="5205"/>
                    <a:pt x="4263" y="5146"/>
                  </a:cubicBezTo>
                  <a:cubicBezTo>
                    <a:pt x="4299" y="5050"/>
                    <a:pt x="4263" y="4955"/>
                    <a:pt x="4168" y="4907"/>
                  </a:cubicBezTo>
                  <a:cubicBezTo>
                    <a:pt x="2978" y="4431"/>
                    <a:pt x="2085" y="3764"/>
                    <a:pt x="2073" y="3764"/>
                  </a:cubicBezTo>
                  <a:cubicBezTo>
                    <a:pt x="906" y="2979"/>
                    <a:pt x="346" y="1562"/>
                    <a:pt x="644" y="193"/>
                  </a:cubicBezTo>
                  <a:cubicBezTo>
                    <a:pt x="656" y="97"/>
                    <a:pt x="596" y="14"/>
                    <a:pt x="513" y="2"/>
                  </a:cubicBezTo>
                  <a:cubicBezTo>
                    <a:pt x="505" y="1"/>
                    <a:pt x="497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7" name="Google Shape;12827;p62"/>
            <p:cNvSpPr/>
            <p:nvPr/>
          </p:nvSpPr>
          <p:spPr>
            <a:xfrm>
              <a:off x="7158560" y="3468609"/>
              <a:ext cx="87496" cy="57249"/>
            </a:xfrm>
            <a:custGeom>
              <a:avLst/>
              <a:gdLst/>
              <a:ahLst/>
              <a:cxnLst/>
              <a:rect l="l" t="t" r="r" b="b"/>
              <a:pathLst>
                <a:path w="2751" h="1800" extrusionOk="0">
                  <a:moveTo>
                    <a:pt x="2222" y="0"/>
                  </a:moveTo>
                  <a:cubicBezTo>
                    <a:pt x="2208" y="0"/>
                    <a:pt x="2194" y="1"/>
                    <a:pt x="2179" y="2"/>
                  </a:cubicBezTo>
                  <a:lnTo>
                    <a:pt x="929" y="61"/>
                  </a:lnTo>
                  <a:cubicBezTo>
                    <a:pt x="572" y="73"/>
                    <a:pt x="346" y="430"/>
                    <a:pt x="477" y="752"/>
                  </a:cubicBezTo>
                  <a:cubicBezTo>
                    <a:pt x="203" y="788"/>
                    <a:pt x="1" y="1026"/>
                    <a:pt x="12" y="1311"/>
                  </a:cubicBezTo>
                  <a:cubicBezTo>
                    <a:pt x="24" y="1573"/>
                    <a:pt x="262" y="1800"/>
                    <a:pt x="536" y="1800"/>
                  </a:cubicBezTo>
                  <a:cubicBezTo>
                    <a:pt x="560" y="1800"/>
                    <a:pt x="548" y="1800"/>
                    <a:pt x="953" y="1788"/>
                  </a:cubicBezTo>
                  <a:cubicBezTo>
                    <a:pt x="1036" y="1788"/>
                    <a:pt x="1108" y="1692"/>
                    <a:pt x="1096" y="1609"/>
                  </a:cubicBezTo>
                  <a:cubicBezTo>
                    <a:pt x="1096" y="1521"/>
                    <a:pt x="1024" y="1453"/>
                    <a:pt x="938" y="1453"/>
                  </a:cubicBezTo>
                  <a:cubicBezTo>
                    <a:pt x="931" y="1453"/>
                    <a:pt x="924" y="1453"/>
                    <a:pt x="917" y="1454"/>
                  </a:cubicBezTo>
                  <a:lnTo>
                    <a:pt x="536" y="1466"/>
                  </a:lnTo>
                  <a:cubicBezTo>
                    <a:pt x="429" y="1466"/>
                    <a:pt x="322" y="1383"/>
                    <a:pt x="322" y="1276"/>
                  </a:cubicBezTo>
                  <a:cubicBezTo>
                    <a:pt x="322" y="1169"/>
                    <a:pt x="405" y="1085"/>
                    <a:pt x="512" y="1085"/>
                  </a:cubicBezTo>
                  <a:lnTo>
                    <a:pt x="655" y="1085"/>
                  </a:lnTo>
                  <a:cubicBezTo>
                    <a:pt x="846" y="1073"/>
                    <a:pt x="929" y="847"/>
                    <a:pt x="798" y="716"/>
                  </a:cubicBezTo>
                  <a:cubicBezTo>
                    <a:pt x="691" y="597"/>
                    <a:pt x="774" y="395"/>
                    <a:pt x="929" y="395"/>
                  </a:cubicBezTo>
                  <a:lnTo>
                    <a:pt x="2179" y="335"/>
                  </a:lnTo>
                  <a:cubicBezTo>
                    <a:pt x="2287" y="335"/>
                    <a:pt x="2394" y="430"/>
                    <a:pt x="2394" y="538"/>
                  </a:cubicBezTo>
                  <a:cubicBezTo>
                    <a:pt x="2394" y="633"/>
                    <a:pt x="2322" y="728"/>
                    <a:pt x="2215" y="728"/>
                  </a:cubicBezTo>
                  <a:lnTo>
                    <a:pt x="2096" y="728"/>
                  </a:lnTo>
                  <a:cubicBezTo>
                    <a:pt x="1906" y="740"/>
                    <a:pt x="1810" y="966"/>
                    <a:pt x="1929" y="1097"/>
                  </a:cubicBezTo>
                  <a:cubicBezTo>
                    <a:pt x="2036" y="1216"/>
                    <a:pt x="1941" y="1395"/>
                    <a:pt x="1786" y="1407"/>
                  </a:cubicBezTo>
                  <a:lnTo>
                    <a:pt x="1572" y="1431"/>
                  </a:lnTo>
                  <a:cubicBezTo>
                    <a:pt x="1489" y="1431"/>
                    <a:pt x="1405" y="1514"/>
                    <a:pt x="1429" y="1609"/>
                  </a:cubicBezTo>
                  <a:cubicBezTo>
                    <a:pt x="1429" y="1686"/>
                    <a:pt x="1501" y="1753"/>
                    <a:pt x="1587" y="1753"/>
                  </a:cubicBezTo>
                  <a:cubicBezTo>
                    <a:pt x="1594" y="1753"/>
                    <a:pt x="1601" y="1753"/>
                    <a:pt x="1608" y="1752"/>
                  </a:cubicBezTo>
                  <a:lnTo>
                    <a:pt x="1810" y="1740"/>
                  </a:lnTo>
                  <a:cubicBezTo>
                    <a:pt x="2156" y="1728"/>
                    <a:pt x="2406" y="1383"/>
                    <a:pt x="2287" y="1038"/>
                  </a:cubicBezTo>
                  <a:cubicBezTo>
                    <a:pt x="2537" y="1014"/>
                    <a:pt x="2751" y="776"/>
                    <a:pt x="2739" y="490"/>
                  </a:cubicBezTo>
                  <a:cubicBezTo>
                    <a:pt x="2716" y="218"/>
                    <a:pt x="2500" y="0"/>
                    <a:pt x="22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8" name="Google Shape;12828;p62"/>
            <p:cNvSpPr/>
            <p:nvPr/>
          </p:nvSpPr>
          <p:spPr>
            <a:xfrm>
              <a:off x="7199461" y="3548567"/>
              <a:ext cx="78399" cy="78749"/>
            </a:xfrm>
            <a:custGeom>
              <a:avLst/>
              <a:gdLst/>
              <a:ahLst/>
              <a:cxnLst/>
              <a:rect l="l" t="t" r="r" b="b"/>
              <a:pathLst>
                <a:path w="2465" h="2476" extrusionOk="0">
                  <a:moveTo>
                    <a:pt x="1751" y="0"/>
                  </a:moveTo>
                  <a:cubicBezTo>
                    <a:pt x="1512" y="0"/>
                    <a:pt x="1465" y="107"/>
                    <a:pt x="393" y="679"/>
                  </a:cubicBezTo>
                  <a:cubicBezTo>
                    <a:pt x="96" y="857"/>
                    <a:pt x="36" y="1274"/>
                    <a:pt x="286" y="1512"/>
                  </a:cubicBezTo>
                  <a:cubicBezTo>
                    <a:pt x="96" y="1655"/>
                    <a:pt x="0" y="1917"/>
                    <a:pt x="96" y="2143"/>
                  </a:cubicBezTo>
                  <a:cubicBezTo>
                    <a:pt x="178" y="2358"/>
                    <a:pt x="376" y="2475"/>
                    <a:pt x="576" y="2475"/>
                  </a:cubicBezTo>
                  <a:cubicBezTo>
                    <a:pt x="665" y="2475"/>
                    <a:pt x="754" y="2452"/>
                    <a:pt x="834" y="2405"/>
                  </a:cubicBezTo>
                  <a:lnTo>
                    <a:pt x="1120" y="2250"/>
                  </a:lnTo>
                  <a:cubicBezTo>
                    <a:pt x="1191" y="2203"/>
                    <a:pt x="1227" y="2096"/>
                    <a:pt x="1179" y="2024"/>
                  </a:cubicBezTo>
                  <a:cubicBezTo>
                    <a:pt x="1146" y="1975"/>
                    <a:pt x="1091" y="1943"/>
                    <a:pt x="1033" y="1943"/>
                  </a:cubicBezTo>
                  <a:cubicBezTo>
                    <a:pt x="1006" y="1943"/>
                    <a:pt x="979" y="1950"/>
                    <a:pt x="953" y="1965"/>
                  </a:cubicBezTo>
                  <a:lnTo>
                    <a:pt x="679" y="2131"/>
                  </a:lnTo>
                  <a:cubicBezTo>
                    <a:pt x="648" y="2149"/>
                    <a:pt x="614" y="2157"/>
                    <a:pt x="582" y="2157"/>
                  </a:cubicBezTo>
                  <a:cubicBezTo>
                    <a:pt x="504" y="2157"/>
                    <a:pt x="430" y="2108"/>
                    <a:pt x="405" y="2024"/>
                  </a:cubicBezTo>
                  <a:cubicBezTo>
                    <a:pt x="381" y="1953"/>
                    <a:pt x="417" y="1834"/>
                    <a:pt x="500" y="1786"/>
                  </a:cubicBezTo>
                  <a:cubicBezTo>
                    <a:pt x="679" y="1679"/>
                    <a:pt x="703" y="1429"/>
                    <a:pt x="524" y="1298"/>
                  </a:cubicBezTo>
                  <a:cubicBezTo>
                    <a:pt x="417" y="1203"/>
                    <a:pt x="441" y="1036"/>
                    <a:pt x="560" y="976"/>
                  </a:cubicBezTo>
                  <a:cubicBezTo>
                    <a:pt x="1715" y="345"/>
                    <a:pt x="1655" y="345"/>
                    <a:pt x="1751" y="345"/>
                  </a:cubicBezTo>
                  <a:cubicBezTo>
                    <a:pt x="1846" y="345"/>
                    <a:pt x="1941" y="429"/>
                    <a:pt x="1941" y="536"/>
                  </a:cubicBezTo>
                  <a:cubicBezTo>
                    <a:pt x="1941" y="702"/>
                    <a:pt x="1774" y="726"/>
                    <a:pt x="1715" y="774"/>
                  </a:cubicBezTo>
                  <a:cubicBezTo>
                    <a:pt x="1548" y="857"/>
                    <a:pt x="1572" y="1095"/>
                    <a:pt x="1751" y="1155"/>
                  </a:cubicBezTo>
                  <a:cubicBezTo>
                    <a:pt x="1893" y="1214"/>
                    <a:pt x="1905" y="1429"/>
                    <a:pt x="1763" y="1512"/>
                  </a:cubicBezTo>
                  <a:lnTo>
                    <a:pt x="1524" y="1655"/>
                  </a:lnTo>
                  <a:cubicBezTo>
                    <a:pt x="1453" y="1691"/>
                    <a:pt x="1417" y="1798"/>
                    <a:pt x="1465" y="1869"/>
                  </a:cubicBezTo>
                  <a:cubicBezTo>
                    <a:pt x="1496" y="1924"/>
                    <a:pt x="1548" y="1953"/>
                    <a:pt x="1603" y="1953"/>
                  </a:cubicBezTo>
                  <a:cubicBezTo>
                    <a:pt x="1632" y="1953"/>
                    <a:pt x="1662" y="1945"/>
                    <a:pt x="1691" y="1929"/>
                  </a:cubicBezTo>
                  <a:lnTo>
                    <a:pt x="1929" y="1798"/>
                  </a:lnTo>
                  <a:cubicBezTo>
                    <a:pt x="2239" y="1619"/>
                    <a:pt x="2298" y="1203"/>
                    <a:pt x="2024" y="964"/>
                  </a:cubicBezTo>
                  <a:cubicBezTo>
                    <a:pt x="2465" y="667"/>
                    <a:pt x="2263" y="0"/>
                    <a:pt x="1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9" name="Google Shape;12829;p62"/>
            <p:cNvSpPr/>
            <p:nvPr/>
          </p:nvSpPr>
          <p:spPr>
            <a:xfrm>
              <a:off x="7114256" y="3523855"/>
              <a:ext cx="72738" cy="76141"/>
            </a:xfrm>
            <a:custGeom>
              <a:avLst/>
              <a:gdLst/>
              <a:ahLst/>
              <a:cxnLst/>
              <a:rect l="l" t="t" r="r" b="b"/>
              <a:pathLst>
                <a:path w="2287" h="2394" extrusionOk="0">
                  <a:moveTo>
                    <a:pt x="518" y="1"/>
                  </a:moveTo>
                  <a:cubicBezTo>
                    <a:pt x="480" y="1"/>
                    <a:pt x="442" y="5"/>
                    <a:pt x="405" y="15"/>
                  </a:cubicBezTo>
                  <a:cubicBezTo>
                    <a:pt x="167" y="75"/>
                    <a:pt x="0" y="289"/>
                    <a:pt x="0" y="527"/>
                  </a:cubicBezTo>
                  <a:cubicBezTo>
                    <a:pt x="0" y="670"/>
                    <a:pt x="60" y="741"/>
                    <a:pt x="191" y="1098"/>
                  </a:cubicBezTo>
                  <a:cubicBezTo>
                    <a:pt x="217" y="1168"/>
                    <a:pt x="282" y="1212"/>
                    <a:pt x="342" y="1212"/>
                  </a:cubicBezTo>
                  <a:cubicBezTo>
                    <a:pt x="364" y="1212"/>
                    <a:pt x="386" y="1206"/>
                    <a:pt x="405" y="1194"/>
                  </a:cubicBezTo>
                  <a:cubicBezTo>
                    <a:pt x="489" y="1158"/>
                    <a:pt x="536" y="1063"/>
                    <a:pt x="489" y="979"/>
                  </a:cubicBezTo>
                  <a:cubicBezTo>
                    <a:pt x="346" y="587"/>
                    <a:pt x="334" y="587"/>
                    <a:pt x="334" y="527"/>
                  </a:cubicBezTo>
                  <a:cubicBezTo>
                    <a:pt x="334" y="420"/>
                    <a:pt x="417" y="325"/>
                    <a:pt x="512" y="325"/>
                  </a:cubicBezTo>
                  <a:cubicBezTo>
                    <a:pt x="584" y="325"/>
                    <a:pt x="667" y="384"/>
                    <a:pt x="703" y="467"/>
                  </a:cubicBezTo>
                  <a:cubicBezTo>
                    <a:pt x="727" y="503"/>
                    <a:pt x="751" y="729"/>
                    <a:pt x="953" y="729"/>
                  </a:cubicBezTo>
                  <a:cubicBezTo>
                    <a:pt x="1024" y="729"/>
                    <a:pt x="1108" y="682"/>
                    <a:pt x="1143" y="610"/>
                  </a:cubicBezTo>
                  <a:cubicBezTo>
                    <a:pt x="1182" y="550"/>
                    <a:pt x="1245" y="520"/>
                    <a:pt x="1308" y="520"/>
                  </a:cubicBezTo>
                  <a:cubicBezTo>
                    <a:pt x="1382" y="520"/>
                    <a:pt x="1457" y="562"/>
                    <a:pt x="1489" y="646"/>
                  </a:cubicBezTo>
                  <a:cubicBezTo>
                    <a:pt x="1965" y="1860"/>
                    <a:pt x="1953" y="1813"/>
                    <a:pt x="1953" y="1872"/>
                  </a:cubicBezTo>
                  <a:cubicBezTo>
                    <a:pt x="1953" y="1998"/>
                    <a:pt x="1851" y="2071"/>
                    <a:pt x="1752" y="2071"/>
                  </a:cubicBezTo>
                  <a:cubicBezTo>
                    <a:pt x="1682" y="2071"/>
                    <a:pt x="1614" y="2035"/>
                    <a:pt x="1584" y="1956"/>
                  </a:cubicBezTo>
                  <a:lnTo>
                    <a:pt x="1524" y="1813"/>
                  </a:lnTo>
                  <a:cubicBezTo>
                    <a:pt x="1481" y="1719"/>
                    <a:pt x="1394" y="1671"/>
                    <a:pt x="1311" y="1671"/>
                  </a:cubicBezTo>
                  <a:cubicBezTo>
                    <a:pt x="1237" y="1671"/>
                    <a:pt x="1165" y="1710"/>
                    <a:pt x="1132" y="1789"/>
                  </a:cubicBezTo>
                  <a:cubicBezTo>
                    <a:pt x="1099" y="1855"/>
                    <a:pt x="1035" y="1888"/>
                    <a:pt x="971" y="1888"/>
                  </a:cubicBezTo>
                  <a:cubicBezTo>
                    <a:pt x="895" y="1888"/>
                    <a:pt x="818" y="1843"/>
                    <a:pt x="786" y="1753"/>
                  </a:cubicBezTo>
                  <a:lnTo>
                    <a:pt x="727" y="1599"/>
                  </a:lnTo>
                  <a:cubicBezTo>
                    <a:pt x="709" y="1529"/>
                    <a:pt x="647" y="1485"/>
                    <a:pt x="587" y="1485"/>
                  </a:cubicBezTo>
                  <a:cubicBezTo>
                    <a:pt x="565" y="1485"/>
                    <a:pt x="543" y="1491"/>
                    <a:pt x="524" y="1503"/>
                  </a:cubicBezTo>
                  <a:cubicBezTo>
                    <a:pt x="429" y="1539"/>
                    <a:pt x="393" y="1634"/>
                    <a:pt x="429" y="1718"/>
                  </a:cubicBezTo>
                  <a:lnTo>
                    <a:pt x="489" y="1872"/>
                  </a:lnTo>
                  <a:cubicBezTo>
                    <a:pt x="566" y="2089"/>
                    <a:pt x="769" y="2215"/>
                    <a:pt x="976" y="2215"/>
                  </a:cubicBezTo>
                  <a:cubicBezTo>
                    <a:pt x="1088" y="2215"/>
                    <a:pt x="1202" y="2178"/>
                    <a:pt x="1298" y="2099"/>
                  </a:cubicBezTo>
                  <a:cubicBezTo>
                    <a:pt x="1389" y="2281"/>
                    <a:pt x="1578" y="2393"/>
                    <a:pt x="1774" y="2393"/>
                  </a:cubicBezTo>
                  <a:cubicBezTo>
                    <a:pt x="1834" y="2393"/>
                    <a:pt x="1894" y="2383"/>
                    <a:pt x="1953" y="2361"/>
                  </a:cubicBezTo>
                  <a:cubicBezTo>
                    <a:pt x="2144" y="2289"/>
                    <a:pt x="2286" y="2099"/>
                    <a:pt x="2286" y="1872"/>
                  </a:cubicBezTo>
                  <a:cubicBezTo>
                    <a:pt x="2286" y="1718"/>
                    <a:pt x="2239" y="1718"/>
                    <a:pt x="1786" y="527"/>
                  </a:cubicBezTo>
                  <a:cubicBezTo>
                    <a:pt x="1708" y="316"/>
                    <a:pt x="1502" y="187"/>
                    <a:pt x="1296" y="187"/>
                  </a:cubicBezTo>
                  <a:cubicBezTo>
                    <a:pt x="1187" y="187"/>
                    <a:pt x="1079" y="223"/>
                    <a:pt x="989" y="301"/>
                  </a:cubicBezTo>
                  <a:cubicBezTo>
                    <a:pt x="899" y="122"/>
                    <a:pt x="710" y="1"/>
                    <a:pt x="5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0" name="Google Shape;12830;p62"/>
            <p:cNvSpPr/>
            <p:nvPr/>
          </p:nvSpPr>
          <p:spPr>
            <a:xfrm>
              <a:off x="7221057" y="3349531"/>
              <a:ext cx="215574" cy="352336"/>
            </a:xfrm>
            <a:custGeom>
              <a:avLst/>
              <a:gdLst/>
              <a:ahLst/>
              <a:cxnLst/>
              <a:rect l="l" t="t" r="r" b="b"/>
              <a:pathLst>
                <a:path w="6778" h="11078" extrusionOk="0">
                  <a:moveTo>
                    <a:pt x="6543" y="0"/>
                  </a:moveTo>
                  <a:cubicBezTo>
                    <a:pt x="6514" y="0"/>
                    <a:pt x="6483" y="6"/>
                    <a:pt x="6453" y="19"/>
                  </a:cubicBezTo>
                  <a:cubicBezTo>
                    <a:pt x="5834" y="281"/>
                    <a:pt x="5215" y="710"/>
                    <a:pt x="4643" y="1257"/>
                  </a:cubicBezTo>
                  <a:cubicBezTo>
                    <a:pt x="4584" y="1317"/>
                    <a:pt x="4560" y="1424"/>
                    <a:pt x="4643" y="1496"/>
                  </a:cubicBezTo>
                  <a:cubicBezTo>
                    <a:pt x="4675" y="1527"/>
                    <a:pt x="4715" y="1545"/>
                    <a:pt x="4759" y="1545"/>
                  </a:cubicBezTo>
                  <a:cubicBezTo>
                    <a:pt x="4799" y="1545"/>
                    <a:pt x="4842" y="1530"/>
                    <a:pt x="4882" y="1496"/>
                  </a:cubicBezTo>
                  <a:cubicBezTo>
                    <a:pt x="5358" y="1043"/>
                    <a:pt x="5858" y="686"/>
                    <a:pt x="6370" y="436"/>
                  </a:cubicBezTo>
                  <a:lnTo>
                    <a:pt x="6370" y="436"/>
                  </a:lnTo>
                  <a:cubicBezTo>
                    <a:pt x="6001" y="1579"/>
                    <a:pt x="5239" y="2615"/>
                    <a:pt x="4382" y="3448"/>
                  </a:cubicBezTo>
                  <a:cubicBezTo>
                    <a:pt x="4361" y="3441"/>
                    <a:pt x="4342" y="3437"/>
                    <a:pt x="4323" y="3437"/>
                  </a:cubicBezTo>
                  <a:cubicBezTo>
                    <a:pt x="4218" y="3437"/>
                    <a:pt x="4139" y="3540"/>
                    <a:pt x="4179" y="3651"/>
                  </a:cubicBezTo>
                  <a:cubicBezTo>
                    <a:pt x="4072" y="3746"/>
                    <a:pt x="3989" y="3829"/>
                    <a:pt x="3893" y="3901"/>
                  </a:cubicBezTo>
                  <a:cubicBezTo>
                    <a:pt x="3762" y="3698"/>
                    <a:pt x="3548" y="3520"/>
                    <a:pt x="3322" y="3424"/>
                  </a:cubicBezTo>
                  <a:cubicBezTo>
                    <a:pt x="3393" y="3341"/>
                    <a:pt x="3441" y="3234"/>
                    <a:pt x="3524" y="3127"/>
                  </a:cubicBezTo>
                  <a:cubicBezTo>
                    <a:pt x="3703" y="3281"/>
                    <a:pt x="3727" y="3341"/>
                    <a:pt x="3834" y="3341"/>
                  </a:cubicBezTo>
                  <a:cubicBezTo>
                    <a:pt x="3977" y="3341"/>
                    <a:pt x="4060" y="3150"/>
                    <a:pt x="3941" y="3055"/>
                  </a:cubicBezTo>
                  <a:lnTo>
                    <a:pt x="3715" y="2865"/>
                  </a:lnTo>
                  <a:cubicBezTo>
                    <a:pt x="3762" y="2793"/>
                    <a:pt x="3739" y="2817"/>
                    <a:pt x="3774" y="2793"/>
                  </a:cubicBezTo>
                  <a:cubicBezTo>
                    <a:pt x="3774" y="2793"/>
                    <a:pt x="3905" y="2615"/>
                    <a:pt x="3917" y="2591"/>
                  </a:cubicBezTo>
                  <a:lnTo>
                    <a:pt x="4322" y="2936"/>
                  </a:lnTo>
                  <a:cubicBezTo>
                    <a:pt x="4354" y="2963"/>
                    <a:pt x="4394" y="2975"/>
                    <a:pt x="4433" y="2975"/>
                  </a:cubicBezTo>
                  <a:cubicBezTo>
                    <a:pt x="4480" y="2975"/>
                    <a:pt x="4527" y="2957"/>
                    <a:pt x="4560" y="2924"/>
                  </a:cubicBezTo>
                  <a:cubicBezTo>
                    <a:pt x="4620" y="2853"/>
                    <a:pt x="4608" y="2746"/>
                    <a:pt x="4548" y="2686"/>
                  </a:cubicBezTo>
                  <a:lnTo>
                    <a:pt x="4132" y="2329"/>
                  </a:lnTo>
                  <a:cubicBezTo>
                    <a:pt x="4239" y="2198"/>
                    <a:pt x="4346" y="2067"/>
                    <a:pt x="4441" y="1960"/>
                  </a:cubicBezTo>
                  <a:cubicBezTo>
                    <a:pt x="4501" y="1877"/>
                    <a:pt x="4501" y="1769"/>
                    <a:pt x="4429" y="1722"/>
                  </a:cubicBezTo>
                  <a:cubicBezTo>
                    <a:pt x="4395" y="1693"/>
                    <a:pt x="4356" y="1678"/>
                    <a:pt x="4316" y="1678"/>
                  </a:cubicBezTo>
                  <a:cubicBezTo>
                    <a:pt x="4272" y="1678"/>
                    <a:pt x="4228" y="1696"/>
                    <a:pt x="4191" y="1734"/>
                  </a:cubicBezTo>
                  <a:cubicBezTo>
                    <a:pt x="3953" y="1984"/>
                    <a:pt x="3727" y="2269"/>
                    <a:pt x="3512" y="2579"/>
                  </a:cubicBezTo>
                  <a:cubicBezTo>
                    <a:pt x="3512" y="2579"/>
                    <a:pt x="3286" y="2877"/>
                    <a:pt x="2989" y="3353"/>
                  </a:cubicBezTo>
                  <a:cubicBezTo>
                    <a:pt x="2968" y="3352"/>
                    <a:pt x="2948" y="3351"/>
                    <a:pt x="2928" y="3351"/>
                  </a:cubicBezTo>
                  <a:cubicBezTo>
                    <a:pt x="2474" y="3351"/>
                    <a:pt x="2039" y="3609"/>
                    <a:pt x="1846" y="4008"/>
                  </a:cubicBezTo>
                  <a:cubicBezTo>
                    <a:pt x="1750" y="4174"/>
                    <a:pt x="1738" y="4353"/>
                    <a:pt x="1667" y="4484"/>
                  </a:cubicBezTo>
                  <a:cubicBezTo>
                    <a:pt x="1584" y="4603"/>
                    <a:pt x="1488" y="4710"/>
                    <a:pt x="1334" y="4794"/>
                  </a:cubicBezTo>
                  <a:cubicBezTo>
                    <a:pt x="1167" y="4901"/>
                    <a:pt x="1012" y="4948"/>
                    <a:pt x="845" y="4996"/>
                  </a:cubicBezTo>
                  <a:cubicBezTo>
                    <a:pt x="786" y="5008"/>
                    <a:pt x="679" y="5032"/>
                    <a:pt x="572" y="5055"/>
                  </a:cubicBezTo>
                  <a:cubicBezTo>
                    <a:pt x="369" y="5091"/>
                    <a:pt x="274" y="5365"/>
                    <a:pt x="441" y="5508"/>
                  </a:cubicBezTo>
                  <a:cubicBezTo>
                    <a:pt x="560" y="5615"/>
                    <a:pt x="679" y="5722"/>
                    <a:pt x="810" y="5794"/>
                  </a:cubicBezTo>
                  <a:cubicBezTo>
                    <a:pt x="836" y="5809"/>
                    <a:pt x="863" y="5815"/>
                    <a:pt x="890" y="5815"/>
                  </a:cubicBezTo>
                  <a:cubicBezTo>
                    <a:pt x="948" y="5815"/>
                    <a:pt x="1003" y="5783"/>
                    <a:pt x="1036" y="5734"/>
                  </a:cubicBezTo>
                  <a:cubicBezTo>
                    <a:pt x="1084" y="5663"/>
                    <a:pt x="1048" y="5556"/>
                    <a:pt x="976" y="5508"/>
                  </a:cubicBezTo>
                  <a:cubicBezTo>
                    <a:pt x="905" y="5472"/>
                    <a:pt x="822" y="5413"/>
                    <a:pt x="750" y="5353"/>
                  </a:cubicBezTo>
                  <a:cubicBezTo>
                    <a:pt x="1238" y="5234"/>
                    <a:pt x="1679" y="5079"/>
                    <a:pt x="1929" y="4663"/>
                  </a:cubicBezTo>
                  <a:cubicBezTo>
                    <a:pt x="2036" y="4484"/>
                    <a:pt x="2048" y="4293"/>
                    <a:pt x="2119" y="4163"/>
                  </a:cubicBezTo>
                  <a:cubicBezTo>
                    <a:pt x="2261" y="3880"/>
                    <a:pt x="2560" y="3676"/>
                    <a:pt x="2883" y="3676"/>
                  </a:cubicBezTo>
                  <a:cubicBezTo>
                    <a:pt x="3078" y="3676"/>
                    <a:pt x="3281" y="3750"/>
                    <a:pt x="3465" y="3924"/>
                  </a:cubicBezTo>
                  <a:cubicBezTo>
                    <a:pt x="3881" y="4317"/>
                    <a:pt x="3762" y="5020"/>
                    <a:pt x="3203" y="5365"/>
                  </a:cubicBezTo>
                  <a:cubicBezTo>
                    <a:pt x="2842" y="5574"/>
                    <a:pt x="2359" y="5745"/>
                    <a:pt x="1888" y="5745"/>
                  </a:cubicBezTo>
                  <a:cubicBezTo>
                    <a:pt x="1769" y="5745"/>
                    <a:pt x="1651" y="5734"/>
                    <a:pt x="1536" y="5710"/>
                  </a:cubicBezTo>
                  <a:cubicBezTo>
                    <a:pt x="1524" y="5707"/>
                    <a:pt x="1511" y="5705"/>
                    <a:pt x="1498" y="5705"/>
                  </a:cubicBezTo>
                  <a:cubicBezTo>
                    <a:pt x="1426" y="5705"/>
                    <a:pt x="1356" y="5760"/>
                    <a:pt x="1345" y="5841"/>
                  </a:cubicBezTo>
                  <a:cubicBezTo>
                    <a:pt x="1334" y="5925"/>
                    <a:pt x="1393" y="6020"/>
                    <a:pt x="1488" y="6032"/>
                  </a:cubicBezTo>
                  <a:cubicBezTo>
                    <a:pt x="1628" y="6059"/>
                    <a:pt x="1767" y="6071"/>
                    <a:pt x="1906" y="6071"/>
                  </a:cubicBezTo>
                  <a:cubicBezTo>
                    <a:pt x="2074" y="6071"/>
                    <a:pt x="2242" y="6053"/>
                    <a:pt x="2405" y="6020"/>
                  </a:cubicBezTo>
                  <a:cubicBezTo>
                    <a:pt x="2453" y="6937"/>
                    <a:pt x="3060" y="7675"/>
                    <a:pt x="3881" y="8044"/>
                  </a:cubicBezTo>
                  <a:cubicBezTo>
                    <a:pt x="4262" y="8211"/>
                    <a:pt x="4501" y="8592"/>
                    <a:pt x="4501" y="8996"/>
                  </a:cubicBezTo>
                  <a:cubicBezTo>
                    <a:pt x="4501" y="9330"/>
                    <a:pt x="4322" y="9580"/>
                    <a:pt x="4322" y="9580"/>
                  </a:cubicBezTo>
                  <a:cubicBezTo>
                    <a:pt x="3643" y="10415"/>
                    <a:pt x="2769" y="10754"/>
                    <a:pt x="1808" y="10754"/>
                  </a:cubicBezTo>
                  <a:cubicBezTo>
                    <a:pt x="1304" y="10754"/>
                    <a:pt x="775" y="10661"/>
                    <a:pt x="238" y="10497"/>
                  </a:cubicBezTo>
                  <a:cubicBezTo>
                    <a:pt x="219" y="10492"/>
                    <a:pt x="201" y="10489"/>
                    <a:pt x="183" y="10489"/>
                  </a:cubicBezTo>
                  <a:cubicBezTo>
                    <a:pt x="111" y="10489"/>
                    <a:pt x="52" y="10528"/>
                    <a:pt x="24" y="10604"/>
                  </a:cubicBezTo>
                  <a:cubicBezTo>
                    <a:pt x="0" y="10687"/>
                    <a:pt x="36" y="10782"/>
                    <a:pt x="131" y="10806"/>
                  </a:cubicBezTo>
                  <a:cubicBezTo>
                    <a:pt x="703" y="10981"/>
                    <a:pt x="1263" y="11077"/>
                    <a:pt x="1799" y="11077"/>
                  </a:cubicBezTo>
                  <a:cubicBezTo>
                    <a:pt x="2869" y="11077"/>
                    <a:pt x="3838" y="10691"/>
                    <a:pt x="4584" y="9770"/>
                  </a:cubicBezTo>
                  <a:cubicBezTo>
                    <a:pt x="4584" y="9758"/>
                    <a:pt x="4596" y="9758"/>
                    <a:pt x="4596" y="9735"/>
                  </a:cubicBezTo>
                  <a:cubicBezTo>
                    <a:pt x="5072" y="9032"/>
                    <a:pt x="4786" y="8068"/>
                    <a:pt x="4001" y="7711"/>
                  </a:cubicBezTo>
                  <a:cubicBezTo>
                    <a:pt x="3286" y="7401"/>
                    <a:pt x="2738" y="6746"/>
                    <a:pt x="2715" y="5913"/>
                  </a:cubicBezTo>
                  <a:cubicBezTo>
                    <a:pt x="3108" y="5794"/>
                    <a:pt x="3358" y="5627"/>
                    <a:pt x="3370" y="5615"/>
                  </a:cubicBezTo>
                  <a:cubicBezTo>
                    <a:pt x="3893" y="5282"/>
                    <a:pt x="4120" y="4710"/>
                    <a:pt x="4001" y="4198"/>
                  </a:cubicBezTo>
                  <a:cubicBezTo>
                    <a:pt x="5191" y="3210"/>
                    <a:pt x="6346" y="1805"/>
                    <a:pt x="6739" y="257"/>
                  </a:cubicBezTo>
                  <a:cubicBezTo>
                    <a:pt x="6778" y="121"/>
                    <a:pt x="6673" y="0"/>
                    <a:pt x="65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31" name="Google Shape;12831;p62"/>
          <p:cNvGrpSpPr/>
          <p:nvPr/>
        </p:nvGrpSpPr>
        <p:grpSpPr>
          <a:xfrm>
            <a:off x="7651983" y="3349181"/>
            <a:ext cx="107183" cy="352399"/>
            <a:chOff x="7651983" y="3349181"/>
            <a:chExt cx="107183" cy="352399"/>
          </a:xfrm>
        </p:grpSpPr>
        <p:sp>
          <p:nvSpPr>
            <p:cNvPr id="12832" name="Google Shape;12832;p62"/>
            <p:cNvSpPr/>
            <p:nvPr/>
          </p:nvSpPr>
          <p:spPr>
            <a:xfrm>
              <a:off x="7651983" y="3349181"/>
              <a:ext cx="84092" cy="247507"/>
            </a:xfrm>
            <a:custGeom>
              <a:avLst/>
              <a:gdLst/>
              <a:ahLst/>
              <a:cxnLst/>
              <a:rect l="l" t="t" r="r" b="b"/>
              <a:pathLst>
                <a:path w="2644" h="7782" extrusionOk="0">
                  <a:moveTo>
                    <a:pt x="1699" y="0"/>
                  </a:moveTo>
                  <a:cubicBezTo>
                    <a:pt x="1523" y="0"/>
                    <a:pt x="1349" y="75"/>
                    <a:pt x="1227" y="221"/>
                  </a:cubicBezTo>
                  <a:lnTo>
                    <a:pt x="750" y="756"/>
                  </a:lnTo>
                  <a:cubicBezTo>
                    <a:pt x="274" y="1292"/>
                    <a:pt x="0" y="1995"/>
                    <a:pt x="0" y="2721"/>
                  </a:cubicBezTo>
                  <a:lnTo>
                    <a:pt x="0" y="4602"/>
                  </a:lnTo>
                  <a:cubicBezTo>
                    <a:pt x="0" y="4793"/>
                    <a:pt x="381" y="4840"/>
                    <a:pt x="381" y="5138"/>
                  </a:cubicBezTo>
                  <a:cubicBezTo>
                    <a:pt x="381" y="5328"/>
                    <a:pt x="227" y="5388"/>
                    <a:pt x="48" y="5602"/>
                  </a:cubicBezTo>
                  <a:cubicBezTo>
                    <a:pt x="24" y="5626"/>
                    <a:pt x="0" y="5674"/>
                    <a:pt x="0" y="5721"/>
                  </a:cubicBezTo>
                  <a:lnTo>
                    <a:pt x="0" y="6876"/>
                  </a:lnTo>
                  <a:cubicBezTo>
                    <a:pt x="0" y="7162"/>
                    <a:pt x="60" y="7424"/>
                    <a:pt x="167" y="7686"/>
                  </a:cubicBezTo>
                  <a:cubicBezTo>
                    <a:pt x="203" y="7745"/>
                    <a:pt x="262" y="7781"/>
                    <a:pt x="322" y="7781"/>
                  </a:cubicBezTo>
                  <a:cubicBezTo>
                    <a:pt x="441" y="7781"/>
                    <a:pt x="512" y="7662"/>
                    <a:pt x="465" y="7543"/>
                  </a:cubicBezTo>
                  <a:cubicBezTo>
                    <a:pt x="381" y="7341"/>
                    <a:pt x="346" y="6710"/>
                    <a:pt x="334" y="5793"/>
                  </a:cubicBezTo>
                  <a:cubicBezTo>
                    <a:pt x="441" y="5638"/>
                    <a:pt x="703" y="5507"/>
                    <a:pt x="703" y="5150"/>
                  </a:cubicBezTo>
                  <a:cubicBezTo>
                    <a:pt x="703" y="4769"/>
                    <a:pt x="393" y="4614"/>
                    <a:pt x="334" y="4543"/>
                  </a:cubicBezTo>
                  <a:lnTo>
                    <a:pt x="334" y="2757"/>
                  </a:lnTo>
                  <a:cubicBezTo>
                    <a:pt x="334" y="2114"/>
                    <a:pt x="572" y="1495"/>
                    <a:pt x="989" y="1018"/>
                  </a:cubicBezTo>
                  <a:lnTo>
                    <a:pt x="1465" y="483"/>
                  </a:lnTo>
                  <a:cubicBezTo>
                    <a:pt x="1522" y="408"/>
                    <a:pt x="1604" y="372"/>
                    <a:pt x="1687" y="372"/>
                  </a:cubicBezTo>
                  <a:cubicBezTo>
                    <a:pt x="1777" y="372"/>
                    <a:pt x="1867" y="414"/>
                    <a:pt x="1929" y="494"/>
                  </a:cubicBezTo>
                  <a:lnTo>
                    <a:pt x="2310" y="971"/>
                  </a:lnTo>
                  <a:cubicBezTo>
                    <a:pt x="2343" y="1010"/>
                    <a:pt x="2390" y="1028"/>
                    <a:pt x="2438" y="1028"/>
                  </a:cubicBezTo>
                  <a:cubicBezTo>
                    <a:pt x="2477" y="1028"/>
                    <a:pt x="2516" y="1016"/>
                    <a:pt x="2548" y="995"/>
                  </a:cubicBezTo>
                  <a:cubicBezTo>
                    <a:pt x="2620" y="887"/>
                    <a:pt x="2644" y="792"/>
                    <a:pt x="2584" y="721"/>
                  </a:cubicBezTo>
                  <a:lnTo>
                    <a:pt x="2191" y="244"/>
                  </a:lnTo>
                  <a:cubicBezTo>
                    <a:pt x="2064" y="81"/>
                    <a:pt x="1881" y="0"/>
                    <a:pt x="16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3" name="Google Shape;12833;p62"/>
            <p:cNvSpPr/>
            <p:nvPr/>
          </p:nvSpPr>
          <p:spPr>
            <a:xfrm>
              <a:off x="7667885" y="3387379"/>
              <a:ext cx="91280" cy="314202"/>
            </a:xfrm>
            <a:custGeom>
              <a:avLst/>
              <a:gdLst/>
              <a:ahLst/>
              <a:cxnLst/>
              <a:rect l="l" t="t" r="r" b="b"/>
              <a:pathLst>
                <a:path w="2870" h="9879" extrusionOk="0">
                  <a:moveTo>
                    <a:pt x="2334" y="1"/>
                  </a:moveTo>
                  <a:cubicBezTo>
                    <a:pt x="2310" y="1"/>
                    <a:pt x="2286" y="6"/>
                    <a:pt x="2263" y="20"/>
                  </a:cubicBezTo>
                  <a:cubicBezTo>
                    <a:pt x="2179" y="67"/>
                    <a:pt x="2144" y="151"/>
                    <a:pt x="2179" y="246"/>
                  </a:cubicBezTo>
                  <a:cubicBezTo>
                    <a:pt x="2536" y="948"/>
                    <a:pt x="2453" y="1544"/>
                    <a:pt x="2465" y="1639"/>
                  </a:cubicBezTo>
                  <a:lnTo>
                    <a:pt x="2084" y="2044"/>
                  </a:lnTo>
                  <a:cubicBezTo>
                    <a:pt x="1822" y="2318"/>
                    <a:pt x="1858" y="2746"/>
                    <a:pt x="2144" y="2973"/>
                  </a:cubicBezTo>
                  <a:lnTo>
                    <a:pt x="2465" y="3234"/>
                  </a:lnTo>
                  <a:lnTo>
                    <a:pt x="2465" y="5616"/>
                  </a:lnTo>
                  <a:cubicBezTo>
                    <a:pt x="2465" y="5973"/>
                    <a:pt x="2358" y="6306"/>
                    <a:pt x="2155" y="6580"/>
                  </a:cubicBezTo>
                  <a:lnTo>
                    <a:pt x="1334" y="7711"/>
                  </a:lnTo>
                  <a:lnTo>
                    <a:pt x="1334" y="3937"/>
                  </a:lnTo>
                  <a:lnTo>
                    <a:pt x="2084" y="3389"/>
                  </a:lnTo>
                  <a:cubicBezTo>
                    <a:pt x="2155" y="3330"/>
                    <a:pt x="2167" y="3223"/>
                    <a:pt x="2108" y="3151"/>
                  </a:cubicBezTo>
                  <a:cubicBezTo>
                    <a:pt x="2073" y="3102"/>
                    <a:pt x="2022" y="3078"/>
                    <a:pt x="1972" y="3078"/>
                  </a:cubicBezTo>
                  <a:cubicBezTo>
                    <a:pt x="1935" y="3078"/>
                    <a:pt x="1899" y="3091"/>
                    <a:pt x="1870" y="3115"/>
                  </a:cubicBezTo>
                  <a:lnTo>
                    <a:pt x="1322" y="3520"/>
                  </a:lnTo>
                  <a:lnTo>
                    <a:pt x="1322" y="210"/>
                  </a:lnTo>
                  <a:cubicBezTo>
                    <a:pt x="1322" y="127"/>
                    <a:pt x="1251" y="44"/>
                    <a:pt x="1155" y="44"/>
                  </a:cubicBezTo>
                  <a:cubicBezTo>
                    <a:pt x="1072" y="44"/>
                    <a:pt x="989" y="127"/>
                    <a:pt x="989" y="210"/>
                  </a:cubicBezTo>
                  <a:lnTo>
                    <a:pt x="989" y="1270"/>
                  </a:lnTo>
                  <a:lnTo>
                    <a:pt x="608" y="925"/>
                  </a:lnTo>
                  <a:cubicBezTo>
                    <a:pt x="575" y="897"/>
                    <a:pt x="535" y="883"/>
                    <a:pt x="495" y="883"/>
                  </a:cubicBezTo>
                  <a:cubicBezTo>
                    <a:pt x="448" y="883"/>
                    <a:pt x="402" y="903"/>
                    <a:pt x="370" y="948"/>
                  </a:cubicBezTo>
                  <a:cubicBezTo>
                    <a:pt x="310" y="1020"/>
                    <a:pt x="310" y="1127"/>
                    <a:pt x="381" y="1187"/>
                  </a:cubicBezTo>
                  <a:cubicBezTo>
                    <a:pt x="846" y="1579"/>
                    <a:pt x="977" y="1722"/>
                    <a:pt x="989" y="1722"/>
                  </a:cubicBezTo>
                  <a:lnTo>
                    <a:pt x="989" y="4842"/>
                  </a:lnTo>
                  <a:lnTo>
                    <a:pt x="655" y="4532"/>
                  </a:lnTo>
                  <a:cubicBezTo>
                    <a:pt x="615" y="4504"/>
                    <a:pt x="573" y="4489"/>
                    <a:pt x="533" y="4489"/>
                  </a:cubicBezTo>
                  <a:cubicBezTo>
                    <a:pt x="489" y="4489"/>
                    <a:pt x="448" y="4507"/>
                    <a:pt x="417" y="4544"/>
                  </a:cubicBezTo>
                  <a:cubicBezTo>
                    <a:pt x="358" y="4616"/>
                    <a:pt x="358" y="4723"/>
                    <a:pt x="429" y="4782"/>
                  </a:cubicBezTo>
                  <a:lnTo>
                    <a:pt x="989" y="5306"/>
                  </a:lnTo>
                  <a:lnTo>
                    <a:pt x="989" y="7795"/>
                  </a:lnTo>
                  <a:lnTo>
                    <a:pt x="322" y="6854"/>
                  </a:lnTo>
                  <a:cubicBezTo>
                    <a:pt x="283" y="6808"/>
                    <a:pt x="235" y="6782"/>
                    <a:pt x="183" y="6782"/>
                  </a:cubicBezTo>
                  <a:cubicBezTo>
                    <a:pt x="155" y="6782"/>
                    <a:pt x="125" y="6789"/>
                    <a:pt x="96" y="6806"/>
                  </a:cubicBezTo>
                  <a:cubicBezTo>
                    <a:pt x="24" y="6866"/>
                    <a:pt x="12" y="6961"/>
                    <a:pt x="60" y="7033"/>
                  </a:cubicBezTo>
                  <a:lnTo>
                    <a:pt x="989" y="8342"/>
                  </a:lnTo>
                  <a:lnTo>
                    <a:pt x="989" y="8699"/>
                  </a:lnTo>
                  <a:lnTo>
                    <a:pt x="298" y="8033"/>
                  </a:lnTo>
                  <a:cubicBezTo>
                    <a:pt x="268" y="8003"/>
                    <a:pt x="227" y="7988"/>
                    <a:pt x="183" y="7988"/>
                  </a:cubicBezTo>
                  <a:cubicBezTo>
                    <a:pt x="140" y="7988"/>
                    <a:pt x="96" y="8003"/>
                    <a:pt x="60" y="8033"/>
                  </a:cubicBezTo>
                  <a:cubicBezTo>
                    <a:pt x="0" y="8092"/>
                    <a:pt x="0" y="8187"/>
                    <a:pt x="60" y="8271"/>
                  </a:cubicBezTo>
                  <a:lnTo>
                    <a:pt x="977" y="9164"/>
                  </a:lnTo>
                  <a:lnTo>
                    <a:pt x="977" y="9711"/>
                  </a:lnTo>
                  <a:cubicBezTo>
                    <a:pt x="977" y="9795"/>
                    <a:pt x="1048" y="9878"/>
                    <a:pt x="1143" y="9878"/>
                  </a:cubicBezTo>
                  <a:cubicBezTo>
                    <a:pt x="1227" y="9878"/>
                    <a:pt x="1310" y="9795"/>
                    <a:pt x="1310" y="9711"/>
                  </a:cubicBezTo>
                  <a:lnTo>
                    <a:pt x="1310" y="9164"/>
                  </a:lnTo>
                  <a:lnTo>
                    <a:pt x="2263" y="8187"/>
                  </a:lnTo>
                  <a:cubicBezTo>
                    <a:pt x="2322" y="8128"/>
                    <a:pt x="2322" y="8033"/>
                    <a:pt x="2263" y="7949"/>
                  </a:cubicBezTo>
                  <a:cubicBezTo>
                    <a:pt x="2234" y="7915"/>
                    <a:pt x="2195" y="7900"/>
                    <a:pt x="2154" y="7900"/>
                  </a:cubicBezTo>
                  <a:cubicBezTo>
                    <a:pt x="2109" y="7900"/>
                    <a:pt x="2062" y="7918"/>
                    <a:pt x="2024" y="7949"/>
                  </a:cubicBezTo>
                  <a:lnTo>
                    <a:pt x="1286" y="8688"/>
                  </a:lnTo>
                  <a:lnTo>
                    <a:pt x="1286" y="8247"/>
                  </a:lnTo>
                  <a:lnTo>
                    <a:pt x="2382" y="6759"/>
                  </a:lnTo>
                  <a:cubicBezTo>
                    <a:pt x="2632" y="6425"/>
                    <a:pt x="2763" y="6021"/>
                    <a:pt x="2763" y="5604"/>
                  </a:cubicBezTo>
                  <a:lnTo>
                    <a:pt x="2763" y="3151"/>
                  </a:lnTo>
                  <a:cubicBezTo>
                    <a:pt x="2798" y="3115"/>
                    <a:pt x="2763" y="3068"/>
                    <a:pt x="2739" y="3044"/>
                  </a:cubicBezTo>
                  <a:lnTo>
                    <a:pt x="2346" y="2734"/>
                  </a:lnTo>
                  <a:cubicBezTo>
                    <a:pt x="2215" y="2627"/>
                    <a:pt x="2203" y="2413"/>
                    <a:pt x="2322" y="2282"/>
                  </a:cubicBezTo>
                  <a:cubicBezTo>
                    <a:pt x="2715" y="1853"/>
                    <a:pt x="2798" y="1841"/>
                    <a:pt x="2798" y="1722"/>
                  </a:cubicBezTo>
                  <a:cubicBezTo>
                    <a:pt x="2775" y="1568"/>
                    <a:pt x="2870" y="877"/>
                    <a:pt x="2477" y="91"/>
                  </a:cubicBezTo>
                  <a:cubicBezTo>
                    <a:pt x="2451" y="40"/>
                    <a:pt x="2394" y="1"/>
                    <a:pt x="2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34" name="Google Shape;12834;p62"/>
          <p:cNvGrpSpPr/>
          <p:nvPr/>
        </p:nvGrpSpPr>
        <p:grpSpPr>
          <a:xfrm>
            <a:off x="7973468" y="3382322"/>
            <a:ext cx="352590" cy="287072"/>
            <a:chOff x="7973468" y="3382322"/>
            <a:chExt cx="352590" cy="287072"/>
          </a:xfrm>
        </p:grpSpPr>
        <p:sp>
          <p:nvSpPr>
            <p:cNvPr id="12835" name="Google Shape;12835;p62"/>
            <p:cNvSpPr/>
            <p:nvPr/>
          </p:nvSpPr>
          <p:spPr>
            <a:xfrm>
              <a:off x="7973468" y="3382322"/>
              <a:ext cx="352590" cy="287072"/>
            </a:xfrm>
            <a:custGeom>
              <a:avLst/>
              <a:gdLst/>
              <a:ahLst/>
              <a:cxnLst/>
              <a:rect l="l" t="t" r="r" b="b"/>
              <a:pathLst>
                <a:path w="11086" h="9026" extrusionOk="0">
                  <a:moveTo>
                    <a:pt x="5370" y="334"/>
                  </a:moveTo>
                  <a:lnTo>
                    <a:pt x="5370" y="7001"/>
                  </a:lnTo>
                  <a:lnTo>
                    <a:pt x="941" y="7001"/>
                  </a:lnTo>
                  <a:lnTo>
                    <a:pt x="941" y="334"/>
                  </a:lnTo>
                  <a:close/>
                  <a:moveTo>
                    <a:pt x="5370" y="7323"/>
                  </a:moveTo>
                  <a:lnTo>
                    <a:pt x="5370" y="7656"/>
                  </a:lnTo>
                  <a:lnTo>
                    <a:pt x="941" y="7656"/>
                  </a:lnTo>
                  <a:lnTo>
                    <a:pt x="941" y="7323"/>
                  </a:lnTo>
                  <a:close/>
                  <a:moveTo>
                    <a:pt x="10133" y="7323"/>
                  </a:moveTo>
                  <a:lnTo>
                    <a:pt x="10133" y="7656"/>
                  </a:lnTo>
                  <a:lnTo>
                    <a:pt x="5704" y="7656"/>
                  </a:lnTo>
                  <a:lnTo>
                    <a:pt x="5704" y="7323"/>
                  </a:lnTo>
                  <a:close/>
                  <a:moveTo>
                    <a:pt x="5835" y="7977"/>
                  </a:moveTo>
                  <a:lnTo>
                    <a:pt x="5835" y="8680"/>
                  </a:lnTo>
                  <a:lnTo>
                    <a:pt x="5240" y="8692"/>
                  </a:lnTo>
                  <a:cubicBezTo>
                    <a:pt x="5240" y="8692"/>
                    <a:pt x="5228" y="8692"/>
                    <a:pt x="5228" y="8680"/>
                  </a:cubicBezTo>
                  <a:lnTo>
                    <a:pt x="5228" y="7977"/>
                  </a:lnTo>
                  <a:close/>
                  <a:moveTo>
                    <a:pt x="775" y="0"/>
                  </a:moveTo>
                  <a:cubicBezTo>
                    <a:pt x="691" y="0"/>
                    <a:pt x="608" y="72"/>
                    <a:pt x="608" y="167"/>
                  </a:cubicBezTo>
                  <a:lnTo>
                    <a:pt x="608" y="536"/>
                  </a:lnTo>
                  <a:lnTo>
                    <a:pt x="465" y="536"/>
                  </a:lnTo>
                  <a:cubicBezTo>
                    <a:pt x="215" y="536"/>
                    <a:pt x="1" y="738"/>
                    <a:pt x="1" y="1000"/>
                  </a:cubicBezTo>
                  <a:lnTo>
                    <a:pt x="1" y="1715"/>
                  </a:lnTo>
                  <a:cubicBezTo>
                    <a:pt x="1" y="1798"/>
                    <a:pt x="72" y="1881"/>
                    <a:pt x="167" y="1881"/>
                  </a:cubicBezTo>
                  <a:cubicBezTo>
                    <a:pt x="251" y="1881"/>
                    <a:pt x="334" y="1798"/>
                    <a:pt x="334" y="1715"/>
                  </a:cubicBezTo>
                  <a:lnTo>
                    <a:pt x="334" y="1000"/>
                  </a:lnTo>
                  <a:cubicBezTo>
                    <a:pt x="334" y="929"/>
                    <a:pt x="394" y="869"/>
                    <a:pt x="465" y="869"/>
                  </a:cubicBezTo>
                  <a:lnTo>
                    <a:pt x="608" y="869"/>
                  </a:lnTo>
                  <a:lnTo>
                    <a:pt x="608" y="7799"/>
                  </a:lnTo>
                  <a:cubicBezTo>
                    <a:pt x="608" y="7894"/>
                    <a:pt x="691" y="7965"/>
                    <a:pt x="775" y="7965"/>
                  </a:cubicBezTo>
                  <a:lnTo>
                    <a:pt x="4918" y="7965"/>
                  </a:lnTo>
                  <a:lnTo>
                    <a:pt x="4918" y="8335"/>
                  </a:lnTo>
                  <a:lnTo>
                    <a:pt x="465" y="8335"/>
                  </a:lnTo>
                  <a:cubicBezTo>
                    <a:pt x="394" y="8335"/>
                    <a:pt x="334" y="8275"/>
                    <a:pt x="334" y="8204"/>
                  </a:cubicBezTo>
                  <a:lnTo>
                    <a:pt x="334" y="2429"/>
                  </a:lnTo>
                  <a:cubicBezTo>
                    <a:pt x="334" y="2334"/>
                    <a:pt x="251" y="2262"/>
                    <a:pt x="167" y="2262"/>
                  </a:cubicBezTo>
                  <a:cubicBezTo>
                    <a:pt x="72" y="2262"/>
                    <a:pt x="1" y="2334"/>
                    <a:pt x="1" y="2429"/>
                  </a:cubicBezTo>
                  <a:lnTo>
                    <a:pt x="1" y="8204"/>
                  </a:lnTo>
                  <a:cubicBezTo>
                    <a:pt x="1" y="8454"/>
                    <a:pt x="215" y="8668"/>
                    <a:pt x="465" y="8668"/>
                  </a:cubicBezTo>
                  <a:lnTo>
                    <a:pt x="4918" y="8668"/>
                  </a:lnTo>
                  <a:lnTo>
                    <a:pt x="4918" y="8680"/>
                  </a:lnTo>
                  <a:cubicBezTo>
                    <a:pt x="4918" y="8858"/>
                    <a:pt x="5061" y="9025"/>
                    <a:pt x="5251" y="9025"/>
                  </a:cubicBezTo>
                  <a:lnTo>
                    <a:pt x="5835" y="9025"/>
                  </a:lnTo>
                  <a:cubicBezTo>
                    <a:pt x="6013" y="9025"/>
                    <a:pt x="6180" y="8870"/>
                    <a:pt x="6180" y="8680"/>
                  </a:cubicBezTo>
                  <a:lnTo>
                    <a:pt x="6180" y="8668"/>
                  </a:lnTo>
                  <a:lnTo>
                    <a:pt x="10633" y="8668"/>
                  </a:lnTo>
                  <a:cubicBezTo>
                    <a:pt x="10883" y="8668"/>
                    <a:pt x="11085" y="8454"/>
                    <a:pt x="11085" y="8204"/>
                  </a:cubicBezTo>
                  <a:lnTo>
                    <a:pt x="11085" y="1012"/>
                  </a:lnTo>
                  <a:cubicBezTo>
                    <a:pt x="11074" y="762"/>
                    <a:pt x="10871" y="548"/>
                    <a:pt x="10609" y="548"/>
                  </a:cubicBezTo>
                  <a:lnTo>
                    <a:pt x="10466" y="548"/>
                  </a:lnTo>
                  <a:lnTo>
                    <a:pt x="10466" y="179"/>
                  </a:lnTo>
                  <a:cubicBezTo>
                    <a:pt x="10466" y="95"/>
                    <a:pt x="10395" y="12"/>
                    <a:pt x="10300" y="12"/>
                  </a:cubicBezTo>
                  <a:lnTo>
                    <a:pt x="9692" y="12"/>
                  </a:lnTo>
                  <a:cubicBezTo>
                    <a:pt x="9597" y="12"/>
                    <a:pt x="9526" y="95"/>
                    <a:pt x="9526" y="179"/>
                  </a:cubicBezTo>
                  <a:cubicBezTo>
                    <a:pt x="9526" y="274"/>
                    <a:pt x="9597" y="345"/>
                    <a:pt x="9692" y="345"/>
                  </a:cubicBezTo>
                  <a:lnTo>
                    <a:pt x="10133" y="345"/>
                  </a:lnTo>
                  <a:lnTo>
                    <a:pt x="10133" y="5894"/>
                  </a:lnTo>
                  <a:cubicBezTo>
                    <a:pt x="10133" y="5989"/>
                    <a:pt x="10216" y="6060"/>
                    <a:pt x="10300" y="6060"/>
                  </a:cubicBezTo>
                  <a:cubicBezTo>
                    <a:pt x="10395" y="6060"/>
                    <a:pt x="10466" y="5989"/>
                    <a:pt x="10466" y="5894"/>
                  </a:cubicBezTo>
                  <a:lnTo>
                    <a:pt x="10466" y="881"/>
                  </a:lnTo>
                  <a:lnTo>
                    <a:pt x="10609" y="881"/>
                  </a:lnTo>
                  <a:cubicBezTo>
                    <a:pt x="10693" y="881"/>
                    <a:pt x="10752" y="941"/>
                    <a:pt x="10752" y="1012"/>
                  </a:cubicBezTo>
                  <a:lnTo>
                    <a:pt x="10752" y="8204"/>
                  </a:lnTo>
                  <a:cubicBezTo>
                    <a:pt x="10752" y="8275"/>
                    <a:pt x="10693" y="8335"/>
                    <a:pt x="10609" y="8335"/>
                  </a:cubicBezTo>
                  <a:lnTo>
                    <a:pt x="6168" y="8335"/>
                  </a:lnTo>
                  <a:lnTo>
                    <a:pt x="6168" y="7965"/>
                  </a:lnTo>
                  <a:lnTo>
                    <a:pt x="10300" y="7965"/>
                  </a:lnTo>
                  <a:cubicBezTo>
                    <a:pt x="10395" y="7965"/>
                    <a:pt x="10466" y="7882"/>
                    <a:pt x="10466" y="7799"/>
                  </a:cubicBezTo>
                  <a:lnTo>
                    <a:pt x="10466" y="6584"/>
                  </a:lnTo>
                  <a:cubicBezTo>
                    <a:pt x="10466" y="6489"/>
                    <a:pt x="10395" y="6418"/>
                    <a:pt x="10300" y="6418"/>
                  </a:cubicBezTo>
                  <a:cubicBezTo>
                    <a:pt x="10216" y="6418"/>
                    <a:pt x="10133" y="6489"/>
                    <a:pt x="10133" y="6584"/>
                  </a:cubicBezTo>
                  <a:lnTo>
                    <a:pt x="10133" y="7001"/>
                  </a:lnTo>
                  <a:lnTo>
                    <a:pt x="5704" y="7001"/>
                  </a:lnTo>
                  <a:lnTo>
                    <a:pt x="5704" y="334"/>
                  </a:lnTo>
                  <a:lnTo>
                    <a:pt x="9002" y="334"/>
                  </a:lnTo>
                  <a:cubicBezTo>
                    <a:pt x="9097" y="334"/>
                    <a:pt x="9169" y="250"/>
                    <a:pt x="9169" y="167"/>
                  </a:cubicBezTo>
                  <a:cubicBezTo>
                    <a:pt x="9169" y="72"/>
                    <a:pt x="9097" y="0"/>
                    <a:pt x="90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6" name="Google Shape;12836;p62"/>
            <p:cNvSpPr/>
            <p:nvPr/>
          </p:nvSpPr>
          <p:spPr>
            <a:xfrm>
              <a:off x="8051486" y="3417149"/>
              <a:ext cx="73883" cy="10623"/>
            </a:xfrm>
            <a:custGeom>
              <a:avLst/>
              <a:gdLst/>
              <a:ahLst/>
              <a:cxnLst/>
              <a:rect l="l" t="t" r="r" b="b"/>
              <a:pathLst>
                <a:path w="2323" h="334" extrusionOk="0">
                  <a:moveTo>
                    <a:pt x="167" y="1"/>
                  </a:moveTo>
                  <a:cubicBezTo>
                    <a:pt x="84" y="1"/>
                    <a:pt x="0" y="84"/>
                    <a:pt x="0" y="167"/>
                  </a:cubicBezTo>
                  <a:cubicBezTo>
                    <a:pt x="0" y="262"/>
                    <a:pt x="84" y="334"/>
                    <a:pt x="167" y="334"/>
                  </a:cubicBezTo>
                  <a:lnTo>
                    <a:pt x="2167" y="334"/>
                  </a:lnTo>
                  <a:cubicBezTo>
                    <a:pt x="2251" y="334"/>
                    <a:pt x="2322" y="262"/>
                    <a:pt x="2322" y="167"/>
                  </a:cubicBezTo>
                  <a:cubicBezTo>
                    <a:pt x="2322" y="84"/>
                    <a:pt x="225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7" name="Google Shape;12837;p62"/>
            <p:cNvSpPr/>
            <p:nvPr/>
          </p:nvSpPr>
          <p:spPr>
            <a:xfrm>
              <a:off x="8022702" y="3437981"/>
              <a:ext cx="102667" cy="10623"/>
            </a:xfrm>
            <a:custGeom>
              <a:avLst/>
              <a:gdLst/>
              <a:ahLst/>
              <a:cxnLst/>
              <a:rect l="l" t="t" r="r" b="b"/>
              <a:pathLst>
                <a:path w="322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62"/>
                    <a:pt x="72" y="334"/>
                    <a:pt x="167" y="334"/>
                  </a:cubicBezTo>
                  <a:lnTo>
                    <a:pt x="3072" y="334"/>
                  </a:lnTo>
                  <a:cubicBezTo>
                    <a:pt x="3156" y="334"/>
                    <a:pt x="3227" y="262"/>
                    <a:pt x="3227" y="167"/>
                  </a:cubicBezTo>
                  <a:cubicBezTo>
                    <a:pt x="3227" y="84"/>
                    <a:pt x="3156" y="0"/>
                    <a:pt x="3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8" name="Google Shape;12838;p62"/>
            <p:cNvSpPr/>
            <p:nvPr/>
          </p:nvSpPr>
          <p:spPr>
            <a:xfrm>
              <a:off x="8022702" y="3458432"/>
              <a:ext cx="102667" cy="10623"/>
            </a:xfrm>
            <a:custGeom>
              <a:avLst/>
              <a:gdLst/>
              <a:ahLst/>
              <a:cxnLst/>
              <a:rect l="l" t="t" r="r" b="b"/>
              <a:pathLst>
                <a:path w="322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74"/>
                    <a:pt x="72" y="334"/>
                    <a:pt x="167" y="334"/>
                  </a:cubicBezTo>
                  <a:lnTo>
                    <a:pt x="3072" y="334"/>
                  </a:lnTo>
                  <a:cubicBezTo>
                    <a:pt x="3156" y="334"/>
                    <a:pt x="3227" y="262"/>
                    <a:pt x="3227" y="167"/>
                  </a:cubicBezTo>
                  <a:cubicBezTo>
                    <a:pt x="3227" y="84"/>
                    <a:pt x="3156" y="0"/>
                    <a:pt x="3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9" name="Google Shape;12839;p62"/>
            <p:cNvSpPr/>
            <p:nvPr/>
          </p:nvSpPr>
          <p:spPr>
            <a:xfrm>
              <a:off x="8022702" y="3479264"/>
              <a:ext cx="81071" cy="10623"/>
            </a:xfrm>
            <a:custGeom>
              <a:avLst/>
              <a:gdLst/>
              <a:ahLst/>
              <a:cxnLst/>
              <a:rect l="l" t="t" r="r" b="b"/>
              <a:pathLst>
                <a:path w="2549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62"/>
                    <a:pt x="72" y="334"/>
                    <a:pt x="167" y="334"/>
                  </a:cubicBezTo>
                  <a:lnTo>
                    <a:pt x="2382" y="334"/>
                  </a:lnTo>
                  <a:cubicBezTo>
                    <a:pt x="2477" y="334"/>
                    <a:pt x="2549" y="262"/>
                    <a:pt x="2549" y="167"/>
                  </a:cubicBezTo>
                  <a:cubicBezTo>
                    <a:pt x="2549" y="84"/>
                    <a:pt x="2477" y="0"/>
                    <a:pt x="2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0" name="Google Shape;12840;p62"/>
            <p:cNvSpPr/>
            <p:nvPr/>
          </p:nvSpPr>
          <p:spPr>
            <a:xfrm>
              <a:off x="8051486" y="3520515"/>
              <a:ext cx="73883" cy="10655"/>
            </a:xfrm>
            <a:custGeom>
              <a:avLst/>
              <a:gdLst/>
              <a:ahLst/>
              <a:cxnLst/>
              <a:rect l="l" t="t" r="r" b="b"/>
              <a:pathLst>
                <a:path w="2323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2167" y="334"/>
                  </a:lnTo>
                  <a:cubicBezTo>
                    <a:pt x="2251" y="334"/>
                    <a:pt x="2322" y="251"/>
                    <a:pt x="2322" y="168"/>
                  </a:cubicBezTo>
                  <a:cubicBezTo>
                    <a:pt x="2322" y="72"/>
                    <a:pt x="225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1" name="Google Shape;12841;p62"/>
            <p:cNvSpPr/>
            <p:nvPr/>
          </p:nvSpPr>
          <p:spPr>
            <a:xfrm>
              <a:off x="8022702" y="3540966"/>
              <a:ext cx="102667" cy="10273"/>
            </a:xfrm>
            <a:custGeom>
              <a:avLst/>
              <a:gdLst/>
              <a:ahLst/>
              <a:cxnLst/>
              <a:rect l="l" t="t" r="r" b="b"/>
              <a:pathLst>
                <a:path w="3228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2" y="263"/>
                    <a:pt x="72" y="322"/>
                    <a:pt x="167" y="322"/>
                  </a:cubicBezTo>
                  <a:lnTo>
                    <a:pt x="3072" y="322"/>
                  </a:lnTo>
                  <a:cubicBezTo>
                    <a:pt x="3156" y="322"/>
                    <a:pt x="3227" y="251"/>
                    <a:pt x="3227" y="168"/>
                  </a:cubicBezTo>
                  <a:cubicBezTo>
                    <a:pt x="3227" y="72"/>
                    <a:pt x="3156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2" name="Google Shape;12842;p62"/>
            <p:cNvSpPr/>
            <p:nvPr/>
          </p:nvSpPr>
          <p:spPr>
            <a:xfrm>
              <a:off x="8022702" y="3561798"/>
              <a:ext cx="49266" cy="10273"/>
            </a:xfrm>
            <a:custGeom>
              <a:avLst/>
              <a:gdLst/>
              <a:ahLst/>
              <a:cxnLst/>
              <a:rect l="l" t="t" r="r" b="b"/>
              <a:pathLst>
                <a:path w="1549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2" y="251"/>
                    <a:pt x="72" y="322"/>
                    <a:pt x="167" y="322"/>
                  </a:cubicBezTo>
                  <a:lnTo>
                    <a:pt x="1382" y="322"/>
                  </a:lnTo>
                  <a:cubicBezTo>
                    <a:pt x="1477" y="322"/>
                    <a:pt x="1548" y="251"/>
                    <a:pt x="1548" y="167"/>
                  </a:cubicBezTo>
                  <a:cubicBezTo>
                    <a:pt x="1548" y="72"/>
                    <a:pt x="1477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3" name="Google Shape;12843;p62"/>
            <p:cNvSpPr/>
            <p:nvPr/>
          </p:nvSpPr>
          <p:spPr>
            <a:xfrm>
              <a:off x="8200683" y="3486452"/>
              <a:ext cx="73883" cy="10623"/>
            </a:xfrm>
            <a:custGeom>
              <a:avLst/>
              <a:gdLst/>
              <a:ahLst/>
              <a:cxnLst/>
              <a:rect l="l" t="t" r="r" b="b"/>
              <a:pathLst>
                <a:path w="2323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156" y="334"/>
                  </a:lnTo>
                  <a:cubicBezTo>
                    <a:pt x="2251" y="334"/>
                    <a:pt x="2322" y="250"/>
                    <a:pt x="2322" y="167"/>
                  </a:cubicBezTo>
                  <a:cubicBezTo>
                    <a:pt x="2322" y="72"/>
                    <a:pt x="2251" y="0"/>
                    <a:pt x="2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4" name="Google Shape;12844;p62"/>
            <p:cNvSpPr/>
            <p:nvPr/>
          </p:nvSpPr>
          <p:spPr>
            <a:xfrm>
              <a:off x="8171899" y="3506902"/>
              <a:ext cx="102667" cy="10241"/>
            </a:xfrm>
            <a:custGeom>
              <a:avLst/>
              <a:gdLst/>
              <a:ahLst/>
              <a:cxnLst/>
              <a:rect l="l" t="t" r="r" b="b"/>
              <a:pathLst>
                <a:path w="322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3061" y="322"/>
                  </a:lnTo>
                  <a:cubicBezTo>
                    <a:pt x="3156" y="322"/>
                    <a:pt x="3227" y="250"/>
                    <a:pt x="3227" y="167"/>
                  </a:cubicBezTo>
                  <a:cubicBezTo>
                    <a:pt x="3227" y="72"/>
                    <a:pt x="3156" y="0"/>
                    <a:pt x="3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5" name="Google Shape;12845;p62"/>
            <p:cNvSpPr/>
            <p:nvPr/>
          </p:nvSpPr>
          <p:spPr>
            <a:xfrm>
              <a:off x="8171899" y="3527735"/>
              <a:ext cx="49266" cy="10241"/>
            </a:xfrm>
            <a:custGeom>
              <a:avLst/>
              <a:gdLst/>
              <a:ahLst/>
              <a:cxnLst/>
              <a:rect l="l" t="t" r="r" b="b"/>
              <a:pathLst>
                <a:path w="1549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1382" y="322"/>
                  </a:lnTo>
                  <a:cubicBezTo>
                    <a:pt x="1477" y="322"/>
                    <a:pt x="1548" y="250"/>
                    <a:pt x="1548" y="167"/>
                  </a:cubicBezTo>
                  <a:cubicBezTo>
                    <a:pt x="1548" y="72"/>
                    <a:pt x="1477" y="0"/>
                    <a:pt x="1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6" name="Google Shape;12846;p62"/>
            <p:cNvSpPr/>
            <p:nvPr/>
          </p:nvSpPr>
          <p:spPr>
            <a:xfrm>
              <a:off x="8174189" y="3417149"/>
              <a:ext cx="102635" cy="45099"/>
            </a:xfrm>
            <a:custGeom>
              <a:avLst/>
              <a:gdLst/>
              <a:ahLst/>
              <a:cxnLst/>
              <a:rect l="l" t="t" r="r" b="b"/>
              <a:pathLst>
                <a:path w="3227" h="1418" extrusionOk="0">
                  <a:moveTo>
                    <a:pt x="2905" y="334"/>
                  </a:moveTo>
                  <a:lnTo>
                    <a:pt x="2905" y="1096"/>
                  </a:lnTo>
                  <a:lnTo>
                    <a:pt x="333" y="1096"/>
                  </a:lnTo>
                  <a:lnTo>
                    <a:pt x="333" y="334"/>
                  </a:lnTo>
                  <a:close/>
                  <a:moveTo>
                    <a:pt x="167" y="1"/>
                  </a:moveTo>
                  <a:cubicBezTo>
                    <a:pt x="72" y="12"/>
                    <a:pt x="0" y="84"/>
                    <a:pt x="0" y="167"/>
                  </a:cubicBezTo>
                  <a:lnTo>
                    <a:pt x="0" y="1251"/>
                  </a:lnTo>
                  <a:cubicBezTo>
                    <a:pt x="0" y="1346"/>
                    <a:pt x="72" y="1417"/>
                    <a:pt x="167" y="1417"/>
                  </a:cubicBezTo>
                  <a:lnTo>
                    <a:pt x="3072" y="1417"/>
                  </a:lnTo>
                  <a:cubicBezTo>
                    <a:pt x="3155" y="1417"/>
                    <a:pt x="3227" y="1346"/>
                    <a:pt x="3227" y="1251"/>
                  </a:cubicBezTo>
                  <a:lnTo>
                    <a:pt x="3227" y="167"/>
                  </a:lnTo>
                  <a:cubicBezTo>
                    <a:pt x="3227" y="84"/>
                    <a:pt x="3155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28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51" name="Google Shape;12851;p63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Nature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852" name="Google Shape;12852;p63"/>
          <p:cNvGrpSpPr/>
          <p:nvPr/>
        </p:nvGrpSpPr>
        <p:grpSpPr>
          <a:xfrm>
            <a:off x="849677" y="1500658"/>
            <a:ext cx="347872" cy="347488"/>
            <a:chOff x="849677" y="1500658"/>
            <a:chExt cx="347872" cy="347488"/>
          </a:xfrm>
        </p:grpSpPr>
        <p:sp>
          <p:nvSpPr>
            <p:cNvPr id="12853" name="Google Shape;12853;p63"/>
            <p:cNvSpPr/>
            <p:nvPr/>
          </p:nvSpPr>
          <p:spPr>
            <a:xfrm>
              <a:off x="849677" y="1500658"/>
              <a:ext cx="347872" cy="347488"/>
            </a:xfrm>
            <a:custGeom>
              <a:avLst/>
              <a:gdLst/>
              <a:ahLst/>
              <a:cxnLst/>
              <a:rect l="l" t="t" r="r" b="b"/>
              <a:pathLst>
                <a:path w="10871" h="10859" extrusionOk="0">
                  <a:moveTo>
                    <a:pt x="2024" y="989"/>
                  </a:moveTo>
                  <a:cubicBezTo>
                    <a:pt x="2441" y="989"/>
                    <a:pt x="2810" y="1251"/>
                    <a:pt x="2977" y="1620"/>
                  </a:cubicBezTo>
                  <a:cubicBezTo>
                    <a:pt x="2560" y="1834"/>
                    <a:pt x="2179" y="2120"/>
                    <a:pt x="1834" y="2453"/>
                  </a:cubicBezTo>
                  <a:cubicBezTo>
                    <a:pt x="1703" y="2584"/>
                    <a:pt x="1560" y="2715"/>
                    <a:pt x="1441" y="2870"/>
                  </a:cubicBezTo>
                  <a:cubicBezTo>
                    <a:pt x="1167" y="2679"/>
                    <a:pt x="1001" y="2358"/>
                    <a:pt x="1001" y="2024"/>
                  </a:cubicBezTo>
                  <a:cubicBezTo>
                    <a:pt x="1001" y="1453"/>
                    <a:pt x="1465" y="989"/>
                    <a:pt x="2024" y="989"/>
                  </a:cubicBezTo>
                  <a:close/>
                  <a:moveTo>
                    <a:pt x="2024" y="310"/>
                  </a:moveTo>
                  <a:cubicBezTo>
                    <a:pt x="2715" y="310"/>
                    <a:pt x="3322" y="715"/>
                    <a:pt x="3608" y="1334"/>
                  </a:cubicBezTo>
                  <a:cubicBezTo>
                    <a:pt x="3489" y="1382"/>
                    <a:pt x="3382" y="1429"/>
                    <a:pt x="3275" y="1465"/>
                  </a:cubicBezTo>
                  <a:cubicBezTo>
                    <a:pt x="3072" y="977"/>
                    <a:pt x="2572" y="667"/>
                    <a:pt x="2036" y="667"/>
                  </a:cubicBezTo>
                  <a:cubicBezTo>
                    <a:pt x="1298" y="667"/>
                    <a:pt x="691" y="1274"/>
                    <a:pt x="691" y="2013"/>
                  </a:cubicBezTo>
                  <a:cubicBezTo>
                    <a:pt x="691" y="2465"/>
                    <a:pt x="893" y="2870"/>
                    <a:pt x="1251" y="3120"/>
                  </a:cubicBezTo>
                  <a:cubicBezTo>
                    <a:pt x="1179" y="3227"/>
                    <a:pt x="1120" y="3310"/>
                    <a:pt x="1048" y="3418"/>
                  </a:cubicBezTo>
                  <a:cubicBezTo>
                    <a:pt x="596" y="3108"/>
                    <a:pt x="310" y="2584"/>
                    <a:pt x="310" y="2024"/>
                  </a:cubicBezTo>
                  <a:cubicBezTo>
                    <a:pt x="310" y="1084"/>
                    <a:pt x="1084" y="310"/>
                    <a:pt x="2024" y="310"/>
                  </a:cubicBezTo>
                  <a:close/>
                  <a:moveTo>
                    <a:pt x="8847" y="310"/>
                  </a:moveTo>
                  <a:cubicBezTo>
                    <a:pt x="9775" y="310"/>
                    <a:pt x="10549" y="1084"/>
                    <a:pt x="10549" y="2024"/>
                  </a:cubicBezTo>
                  <a:cubicBezTo>
                    <a:pt x="10549" y="2584"/>
                    <a:pt x="10275" y="3108"/>
                    <a:pt x="9823" y="3418"/>
                  </a:cubicBezTo>
                  <a:cubicBezTo>
                    <a:pt x="9764" y="3310"/>
                    <a:pt x="9692" y="3215"/>
                    <a:pt x="9621" y="3120"/>
                  </a:cubicBezTo>
                  <a:cubicBezTo>
                    <a:pt x="9978" y="2870"/>
                    <a:pt x="10180" y="2465"/>
                    <a:pt x="10180" y="2024"/>
                  </a:cubicBezTo>
                  <a:cubicBezTo>
                    <a:pt x="10180" y="1846"/>
                    <a:pt x="10156" y="1667"/>
                    <a:pt x="10073" y="1501"/>
                  </a:cubicBezTo>
                  <a:cubicBezTo>
                    <a:pt x="10053" y="1442"/>
                    <a:pt x="9977" y="1399"/>
                    <a:pt x="9911" y="1399"/>
                  </a:cubicBezTo>
                  <a:cubicBezTo>
                    <a:pt x="9897" y="1399"/>
                    <a:pt x="9883" y="1401"/>
                    <a:pt x="9871" y="1405"/>
                  </a:cubicBezTo>
                  <a:cubicBezTo>
                    <a:pt x="9799" y="1441"/>
                    <a:pt x="9752" y="1536"/>
                    <a:pt x="9775" y="1620"/>
                  </a:cubicBezTo>
                  <a:cubicBezTo>
                    <a:pt x="9835" y="1751"/>
                    <a:pt x="9859" y="1882"/>
                    <a:pt x="9859" y="2013"/>
                  </a:cubicBezTo>
                  <a:cubicBezTo>
                    <a:pt x="9859" y="2358"/>
                    <a:pt x="9692" y="2667"/>
                    <a:pt x="9406" y="2870"/>
                  </a:cubicBezTo>
                  <a:cubicBezTo>
                    <a:pt x="9287" y="2715"/>
                    <a:pt x="9156" y="2584"/>
                    <a:pt x="9025" y="2453"/>
                  </a:cubicBezTo>
                  <a:cubicBezTo>
                    <a:pt x="8680" y="2120"/>
                    <a:pt x="8287" y="1834"/>
                    <a:pt x="7870" y="1620"/>
                  </a:cubicBezTo>
                  <a:cubicBezTo>
                    <a:pt x="8037" y="1239"/>
                    <a:pt x="8406" y="989"/>
                    <a:pt x="8823" y="989"/>
                  </a:cubicBezTo>
                  <a:cubicBezTo>
                    <a:pt x="9002" y="989"/>
                    <a:pt x="9204" y="1036"/>
                    <a:pt x="9347" y="1143"/>
                  </a:cubicBezTo>
                  <a:cubicBezTo>
                    <a:pt x="9369" y="1154"/>
                    <a:pt x="9394" y="1160"/>
                    <a:pt x="9421" y="1160"/>
                  </a:cubicBezTo>
                  <a:cubicBezTo>
                    <a:pt x="9479" y="1160"/>
                    <a:pt x="9540" y="1133"/>
                    <a:pt x="9573" y="1084"/>
                  </a:cubicBezTo>
                  <a:cubicBezTo>
                    <a:pt x="9621" y="1001"/>
                    <a:pt x="9585" y="905"/>
                    <a:pt x="9513" y="858"/>
                  </a:cubicBezTo>
                  <a:cubicBezTo>
                    <a:pt x="9299" y="739"/>
                    <a:pt x="9061" y="667"/>
                    <a:pt x="8823" y="667"/>
                  </a:cubicBezTo>
                  <a:cubicBezTo>
                    <a:pt x="8287" y="667"/>
                    <a:pt x="7799" y="977"/>
                    <a:pt x="7597" y="1465"/>
                  </a:cubicBezTo>
                  <a:cubicBezTo>
                    <a:pt x="7489" y="1417"/>
                    <a:pt x="7370" y="1382"/>
                    <a:pt x="7263" y="1334"/>
                  </a:cubicBezTo>
                  <a:cubicBezTo>
                    <a:pt x="7537" y="727"/>
                    <a:pt x="8156" y="310"/>
                    <a:pt x="8847" y="310"/>
                  </a:cubicBezTo>
                  <a:close/>
                  <a:moveTo>
                    <a:pt x="5430" y="1322"/>
                  </a:moveTo>
                  <a:cubicBezTo>
                    <a:pt x="6716" y="1322"/>
                    <a:pt x="7906" y="1798"/>
                    <a:pt x="8811" y="2679"/>
                  </a:cubicBezTo>
                  <a:cubicBezTo>
                    <a:pt x="9704" y="3548"/>
                    <a:pt x="10216" y="4715"/>
                    <a:pt x="10216" y="5930"/>
                  </a:cubicBezTo>
                  <a:cubicBezTo>
                    <a:pt x="10216" y="7168"/>
                    <a:pt x="9716" y="8311"/>
                    <a:pt x="8811" y="9192"/>
                  </a:cubicBezTo>
                  <a:cubicBezTo>
                    <a:pt x="7906" y="10073"/>
                    <a:pt x="6716" y="10549"/>
                    <a:pt x="5430" y="10549"/>
                  </a:cubicBezTo>
                  <a:cubicBezTo>
                    <a:pt x="4156" y="10549"/>
                    <a:pt x="2965" y="10073"/>
                    <a:pt x="2060" y="9192"/>
                  </a:cubicBezTo>
                  <a:cubicBezTo>
                    <a:pt x="1167" y="8323"/>
                    <a:pt x="655" y="7168"/>
                    <a:pt x="655" y="5930"/>
                  </a:cubicBezTo>
                  <a:cubicBezTo>
                    <a:pt x="655" y="4703"/>
                    <a:pt x="1143" y="3548"/>
                    <a:pt x="2060" y="2679"/>
                  </a:cubicBezTo>
                  <a:cubicBezTo>
                    <a:pt x="2965" y="1798"/>
                    <a:pt x="4156" y="1322"/>
                    <a:pt x="5430" y="1322"/>
                  </a:cubicBezTo>
                  <a:close/>
                  <a:moveTo>
                    <a:pt x="2024" y="0"/>
                  </a:moveTo>
                  <a:cubicBezTo>
                    <a:pt x="905" y="0"/>
                    <a:pt x="0" y="905"/>
                    <a:pt x="0" y="2024"/>
                  </a:cubicBezTo>
                  <a:cubicBezTo>
                    <a:pt x="0" y="2691"/>
                    <a:pt x="346" y="3334"/>
                    <a:pt x="893" y="3703"/>
                  </a:cubicBezTo>
                  <a:cubicBezTo>
                    <a:pt x="536" y="4382"/>
                    <a:pt x="346" y="5144"/>
                    <a:pt x="346" y="5930"/>
                  </a:cubicBezTo>
                  <a:cubicBezTo>
                    <a:pt x="346" y="7239"/>
                    <a:pt x="881" y="8490"/>
                    <a:pt x="1834" y="9418"/>
                  </a:cubicBezTo>
                  <a:cubicBezTo>
                    <a:pt x="2798" y="10335"/>
                    <a:pt x="4060" y="10859"/>
                    <a:pt x="5430" y="10859"/>
                  </a:cubicBezTo>
                  <a:cubicBezTo>
                    <a:pt x="6799" y="10859"/>
                    <a:pt x="8061" y="10359"/>
                    <a:pt x="9037" y="9418"/>
                  </a:cubicBezTo>
                  <a:cubicBezTo>
                    <a:pt x="10002" y="8490"/>
                    <a:pt x="10526" y="7239"/>
                    <a:pt x="10526" y="5930"/>
                  </a:cubicBezTo>
                  <a:cubicBezTo>
                    <a:pt x="10526" y="5144"/>
                    <a:pt x="10323" y="4382"/>
                    <a:pt x="9978" y="3703"/>
                  </a:cubicBezTo>
                  <a:cubicBezTo>
                    <a:pt x="10526" y="3322"/>
                    <a:pt x="10871" y="2703"/>
                    <a:pt x="10871" y="2024"/>
                  </a:cubicBezTo>
                  <a:cubicBezTo>
                    <a:pt x="10871" y="905"/>
                    <a:pt x="9954" y="0"/>
                    <a:pt x="8847" y="0"/>
                  </a:cubicBezTo>
                  <a:cubicBezTo>
                    <a:pt x="8025" y="0"/>
                    <a:pt x="7275" y="489"/>
                    <a:pt x="6966" y="1251"/>
                  </a:cubicBezTo>
                  <a:cubicBezTo>
                    <a:pt x="6477" y="1096"/>
                    <a:pt x="5965" y="1024"/>
                    <a:pt x="5430" y="1024"/>
                  </a:cubicBezTo>
                  <a:cubicBezTo>
                    <a:pt x="4894" y="1024"/>
                    <a:pt x="4394" y="1096"/>
                    <a:pt x="3894" y="1251"/>
                  </a:cubicBezTo>
                  <a:cubicBezTo>
                    <a:pt x="3584" y="500"/>
                    <a:pt x="2846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4" name="Google Shape;12854;p63"/>
            <p:cNvSpPr/>
            <p:nvPr/>
          </p:nvSpPr>
          <p:spPr>
            <a:xfrm>
              <a:off x="936557" y="1663346"/>
              <a:ext cx="43072" cy="48032"/>
            </a:xfrm>
            <a:custGeom>
              <a:avLst/>
              <a:gdLst/>
              <a:ahLst/>
              <a:cxnLst/>
              <a:rect l="l" t="t" r="r" b="b"/>
              <a:pathLst>
                <a:path w="1346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45" y="596"/>
                    <a:pt x="1274" y="524"/>
                    <a:pt x="1191" y="524"/>
                  </a:cubicBezTo>
                  <a:cubicBezTo>
                    <a:pt x="1095" y="524"/>
                    <a:pt x="1024" y="596"/>
                    <a:pt x="1024" y="691"/>
                  </a:cubicBezTo>
                  <a:lnTo>
                    <a:pt x="1024" y="846"/>
                  </a:lnTo>
                  <a:cubicBezTo>
                    <a:pt x="1024" y="1048"/>
                    <a:pt x="857" y="1203"/>
                    <a:pt x="667" y="1203"/>
                  </a:cubicBezTo>
                  <a:cubicBezTo>
                    <a:pt x="476" y="1203"/>
                    <a:pt x="310" y="1048"/>
                    <a:pt x="310" y="846"/>
                  </a:cubicBezTo>
                  <a:lnTo>
                    <a:pt x="310" y="691"/>
                  </a:lnTo>
                  <a:cubicBezTo>
                    <a:pt x="310" y="489"/>
                    <a:pt x="476" y="334"/>
                    <a:pt x="667" y="334"/>
                  </a:cubicBezTo>
                  <a:cubicBezTo>
                    <a:pt x="750" y="334"/>
                    <a:pt x="833" y="250"/>
                    <a:pt x="833" y="167"/>
                  </a:cubicBezTo>
                  <a:cubicBezTo>
                    <a:pt x="833" y="72"/>
                    <a:pt x="750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5" name="Google Shape;12855;p63"/>
            <p:cNvSpPr/>
            <p:nvPr/>
          </p:nvSpPr>
          <p:spPr>
            <a:xfrm>
              <a:off x="1066829" y="1663346"/>
              <a:ext cx="43488" cy="48032"/>
            </a:xfrm>
            <a:custGeom>
              <a:avLst/>
              <a:gdLst/>
              <a:ahLst/>
              <a:cxnLst/>
              <a:rect l="l" t="t" r="r" b="b"/>
              <a:pathLst>
                <a:path w="1359" h="150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9" y="1501"/>
                    <a:pt x="668" y="1501"/>
                  </a:cubicBezTo>
                  <a:cubicBezTo>
                    <a:pt x="1049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7" y="524"/>
                    <a:pt x="1192" y="524"/>
                  </a:cubicBezTo>
                  <a:cubicBezTo>
                    <a:pt x="1108" y="524"/>
                    <a:pt x="1025" y="596"/>
                    <a:pt x="1025" y="691"/>
                  </a:cubicBezTo>
                  <a:lnTo>
                    <a:pt x="1025" y="846"/>
                  </a:lnTo>
                  <a:cubicBezTo>
                    <a:pt x="1025" y="1048"/>
                    <a:pt x="870" y="1203"/>
                    <a:pt x="668" y="1203"/>
                  </a:cubicBezTo>
                  <a:cubicBezTo>
                    <a:pt x="477" y="1203"/>
                    <a:pt x="311" y="1048"/>
                    <a:pt x="311" y="846"/>
                  </a:cubicBezTo>
                  <a:lnTo>
                    <a:pt x="311" y="691"/>
                  </a:lnTo>
                  <a:cubicBezTo>
                    <a:pt x="311" y="489"/>
                    <a:pt x="477" y="334"/>
                    <a:pt x="668" y="334"/>
                  </a:cubicBezTo>
                  <a:cubicBezTo>
                    <a:pt x="763" y="334"/>
                    <a:pt x="834" y="250"/>
                    <a:pt x="834" y="167"/>
                  </a:cubicBezTo>
                  <a:cubicBezTo>
                    <a:pt x="834" y="72"/>
                    <a:pt x="763" y="0"/>
                    <a:pt x="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6" name="Google Shape;12856;p63"/>
            <p:cNvSpPr/>
            <p:nvPr/>
          </p:nvSpPr>
          <p:spPr>
            <a:xfrm>
              <a:off x="893101" y="1636178"/>
              <a:ext cx="110144" cy="116352"/>
            </a:xfrm>
            <a:custGeom>
              <a:avLst/>
              <a:gdLst/>
              <a:ahLst/>
              <a:cxnLst/>
              <a:rect l="l" t="t" r="r" b="b"/>
              <a:pathLst>
                <a:path w="3442" h="3636" extrusionOk="0">
                  <a:moveTo>
                    <a:pt x="1926" y="1"/>
                  </a:moveTo>
                  <a:cubicBezTo>
                    <a:pt x="1743" y="1"/>
                    <a:pt x="1556" y="34"/>
                    <a:pt x="1370" y="99"/>
                  </a:cubicBezTo>
                  <a:cubicBezTo>
                    <a:pt x="941" y="254"/>
                    <a:pt x="560" y="576"/>
                    <a:pt x="310" y="992"/>
                  </a:cubicBezTo>
                  <a:cubicBezTo>
                    <a:pt x="84" y="1373"/>
                    <a:pt x="1" y="1802"/>
                    <a:pt x="48" y="2219"/>
                  </a:cubicBezTo>
                  <a:cubicBezTo>
                    <a:pt x="60" y="2302"/>
                    <a:pt x="132" y="2361"/>
                    <a:pt x="227" y="2361"/>
                  </a:cubicBezTo>
                  <a:cubicBezTo>
                    <a:pt x="310" y="2350"/>
                    <a:pt x="370" y="2278"/>
                    <a:pt x="370" y="2183"/>
                  </a:cubicBezTo>
                  <a:cubicBezTo>
                    <a:pt x="346" y="1850"/>
                    <a:pt x="417" y="1469"/>
                    <a:pt x="608" y="1159"/>
                  </a:cubicBezTo>
                  <a:cubicBezTo>
                    <a:pt x="822" y="802"/>
                    <a:pt x="1132" y="540"/>
                    <a:pt x="1489" y="397"/>
                  </a:cubicBezTo>
                  <a:cubicBezTo>
                    <a:pt x="1635" y="348"/>
                    <a:pt x="1782" y="323"/>
                    <a:pt x="1922" y="323"/>
                  </a:cubicBezTo>
                  <a:cubicBezTo>
                    <a:pt x="2125" y="323"/>
                    <a:pt x="2316" y="375"/>
                    <a:pt x="2477" y="480"/>
                  </a:cubicBezTo>
                  <a:cubicBezTo>
                    <a:pt x="2775" y="635"/>
                    <a:pt x="2977" y="933"/>
                    <a:pt x="3049" y="1314"/>
                  </a:cubicBezTo>
                  <a:cubicBezTo>
                    <a:pt x="3120" y="1683"/>
                    <a:pt x="3037" y="2100"/>
                    <a:pt x="2822" y="2457"/>
                  </a:cubicBezTo>
                  <a:cubicBezTo>
                    <a:pt x="2511" y="2985"/>
                    <a:pt x="1984" y="3293"/>
                    <a:pt x="1482" y="3293"/>
                  </a:cubicBezTo>
                  <a:cubicBezTo>
                    <a:pt x="1294" y="3293"/>
                    <a:pt x="1110" y="3250"/>
                    <a:pt x="941" y="3159"/>
                  </a:cubicBezTo>
                  <a:cubicBezTo>
                    <a:pt x="787" y="3064"/>
                    <a:pt x="667" y="2957"/>
                    <a:pt x="584" y="2814"/>
                  </a:cubicBezTo>
                  <a:cubicBezTo>
                    <a:pt x="553" y="2768"/>
                    <a:pt x="498" y="2742"/>
                    <a:pt x="443" y="2742"/>
                  </a:cubicBezTo>
                  <a:cubicBezTo>
                    <a:pt x="413" y="2742"/>
                    <a:pt x="383" y="2749"/>
                    <a:pt x="358" y="2766"/>
                  </a:cubicBezTo>
                  <a:cubicBezTo>
                    <a:pt x="286" y="2814"/>
                    <a:pt x="263" y="2921"/>
                    <a:pt x="310" y="2993"/>
                  </a:cubicBezTo>
                  <a:cubicBezTo>
                    <a:pt x="429" y="3171"/>
                    <a:pt x="596" y="3314"/>
                    <a:pt x="787" y="3433"/>
                  </a:cubicBezTo>
                  <a:cubicBezTo>
                    <a:pt x="1013" y="3576"/>
                    <a:pt x="1251" y="3635"/>
                    <a:pt x="1501" y="3635"/>
                  </a:cubicBezTo>
                  <a:cubicBezTo>
                    <a:pt x="2108" y="3635"/>
                    <a:pt x="2739" y="3254"/>
                    <a:pt x="3108" y="2635"/>
                  </a:cubicBezTo>
                  <a:cubicBezTo>
                    <a:pt x="3346" y="2195"/>
                    <a:pt x="3442" y="1695"/>
                    <a:pt x="3346" y="1254"/>
                  </a:cubicBezTo>
                  <a:cubicBezTo>
                    <a:pt x="3263" y="790"/>
                    <a:pt x="3001" y="421"/>
                    <a:pt x="2632" y="195"/>
                  </a:cubicBezTo>
                  <a:cubicBezTo>
                    <a:pt x="2418" y="64"/>
                    <a:pt x="2177" y="1"/>
                    <a:pt x="19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7" name="Google Shape;12857;p63"/>
            <p:cNvSpPr/>
            <p:nvPr/>
          </p:nvSpPr>
          <p:spPr>
            <a:xfrm>
              <a:off x="1043597" y="1636882"/>
              <a:ext cx="116608" cy="115264"/>
            </a:xfrm>
            <a:custGeom>
              <a:avLst/>
              <a:gdLst/>
              <a:ahLst/>
              <a:cxnLst/>
              <a:rect l="l" t="t" r="r" b="b"/>
              <a:pathLst>
                <a:path w="3644" h="3602" extrusionOk="0">
                  <a:moveTo>
                    <a:pt x="1513" y="292"/>
                  </a:moveTo>
                  <a:cubicBezTo>
                    <a:pt x="1668" y="292"/>
                    <a:pt x="1810" y="327"/>
                    <a:pt x="1965" y="363"/>
                  </a:cubicBezTo>
                  <a:cubicBezTo>
                    <a:pt x="2322" y="506"/>
                    <a:pt x="2632" y="768"/>
                    <a:pt x="2846" y="1125"/>
                  </a:cubicBezTo>
                  <a:cubicBezTo>
                    <a:pt x="3275" y="1887"/>
                    <a:pt x="3120" y="2780"/>
                    <a:pt x="2513" y="3125"/>
                  </a:cubicBezTo>
                  <a:cubicBezTo>
                    <a:pt x="2344" y="3225"/>
                    <a:pt x="2157" y="3271"/>
                    <a:pt x="1965" y="3271"/>
                  </a:cubicBezTo>
                  <a:cubicBezTo>
                    <a:pt x="1467" y="3271"/>
                    <a:pt x="938" y="2956"/>
                    <a:pt x="620" y="2423"/>
                  </a:cubicBezTo>
                  <a:cubicBezTo>
                    <a:pt x="417" y="2066"/>
                    <a:pt x="346" y="1649"/>
                    <a:pt x="405" y="1280"/>
                  </a:cubicBezTo>
                  <a:cubicBezTo>
                    <a:pt x="477" y="899"/>
                    <a:pt x="667" y="601"/>
                    <a:pt x="965" y="446"/>
                  </a:cubicBezTo>
                  <a:cubicBezTo>
                    <a:pt x="1132" y="339"/>
                    <a:pt x="1322" y="292"/>
                    <a:pt x="1513" y="292"/>
                  </a:cubicBezTo>
                  <a:close/>
                  <a:moveTo>
                    <a:pt x="1522" y="0"/>
                  </a:moveTo>
                  <a:cubicBezTo>
                    <a:pt x="1267" y="0"/>
                    <a:pt x="1022" y="66"/>
                    <a:pt x="798" y="184"/>
                  </a:cubicBezTo>
                  <a:cubicBezTo>
                    <a:pt x="429" y="411"/>
                    <a:pt x="179" y="780"/>
                    <a:pt x="84" y="1244"/>
                  </a:cubicBezTo>
                  <a:cubicBezTo>
                    <a:pt x="1" y="1697"/>
                    <a:pt x="108" y="2185"/>
                    <a:pt x="346" y="2601"/>
                  </a:cubicBezTo>
                  <a:cubicBezTo>
                    <a:pt x="703" y="3221"/>
                    <a:pt x="1334" y="3602"/>
                    <a:pt x="1953" y="3602"/>
                  </a:cubicBezTo>
                  <a:cubicBezTo>
                    <a:pt x="2203" y="3602"/>
                    <a:pt x="2441" y="3542"/>
                    <a:pt x="2668" y="3399"/>
                  </a:cubicBezTo>
                  <a:cubicBezTo>
                    <a:pt x="3442" y="2959"/>
                    <a:pt x="3644" y="1875"/>
                    <a:pt x="3120" y="994"/>
                  </a:cubicBezTo>
                  <a:cubicBezTo>
                    <a:pt x="2870" y="565"/>
                    <a:pt x="2501" y="244"/>
                    <a:pt x="2072" y="101"/>
                  </a:cubicBezTo>
                  <a:cubicBezTo>
                    <a:pt x="1886" y="32"/>
                    <a:pt x="1701" y="0"/>
                    <a:pt x="15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8" name="Google Shape;12858;p63"/>
            <p:cNvSpPr/>
            <p:nvPr/>
          </p:nvSpPr>
          <p:spPr>
            <a:xfrm>
              <a:off x="968173" y="1730002"/>
              <a:ext cx="110144" cy="96064"/>
            </a:xfrm>
            <a:custGeom>
              <a:avLst/>
              <a:gdLst/>
              <a:ahLst/>
              <a:cxnLst/>
              <a:rect l="l" t="t" r="r" b="b"/>
              <a:pathLst>
                <a:path w="3442" h="3002" extrusionOk="0">
                  <a:moveTo>
                    <a:pt x="1715" y="287"/>
                  </a:moveTo>
                  <a:cubicBezTo>
                    <a:pt x="2024" y="287"/>
                    <a:pt x="2405" y="430"/>
                    <a:pt x="2405" y="644"/>
                  </a:cubicBezTo>
                  <a:cubicBezTo>
                    <a:pt x="2405" y="823"/>
                    <a:pt x="2108" y="1168"/>
                    <a:pt x="1715" y="1168"/>
                  </a:cubicBezTo>
                  <a:cubicBezTo>
                    <a:pt x="1334" y="1168"/>
                    <a:pt x="1036" y="823"/>
                    <a:pt x="1036" y="644"/>
                  </a:cubicBezTo>
                  <a:cubicBezTo>
                    <a:pt x="1036" y="430"/>
                    <a:pt x="1405" y="287"/>
                    <a:pt x="1715" y="287"/>
                  </a:cubicBezTo>
                  <a:close/>
                  <a:moveTo>
                    <a:pt x="1727" y="2025"/>
                  </a:moveTo>
                  <a:cubicBezTo>
                    <a:pt x="1834" y="2025"/>
                    <a:pt x="1929" y="2025"/>
                    <a:pt x="2024" y="2037"/>
                  </a:cubicBezTo>
                  <a:cubicBezTo>
                    <a:pt x="2185" y="2061"/>
                    <a:pt x="2328" y="2073"/>
                    <a:pt x="2456" y="2073"/>
                  </a:cubicBezTo>
                  <a:cubicBezTo>
                    <a:pt x="2584" y="2073"/>
                    <a:pt x="2697" y="2061"/>
                    <a:pt x="2798" y="2037"/>
                  </a:cubicBezTo>
                  <a:lnTo>
                    <a:pt x="2798" y="2037"/>
                  </a:lnTo>
                  <a:cubicBezTo>
                    <a:pt x="2679" y="2406"/>
                    <a:pt x="2251" y="2692"/>
                    <a:pt x="1727" y="2692"/>
                  </a:cubicBezTo>
                  <a:cubicBezTo>
                    <a:pt x="1215" y="2692"/>
                    <a:pt x="774" y="2418"/>
                    <a:pt x="655" y="2037"/>
                  </a:cubicBezTo>
                  <a:lnTo>
                    <a:pt x="655" y="2037"/>
                  </a:lnTo>
                  <a:cubicBezTo>
                    <a:pt x="762" y="2061"/>
                    <a:pt x="878" y="2073"/>
                    <a:pt x="1006" y="2073"/>
                  </a:cubicBezTo>
                  <a:cubicBezTo>
                    <a:pt x="1134" y="2073"/>
                    <a:pt x="1274" y="2061"/>
                    <a:pt x="1429" y="2037"/>
                  </a:cubicBezTo>
                  <a:cubicBezTo>
                    <a:pt x="1536" y="2025"/>
                    <a:pt x="1631" y="2025"/>
                    <a:pt x="1727" y="2025"/>
                  </a:cubicBezTo>
                  <a:close/>
                  <a:moveTo>
                    <a:pt x="1715" y="1"/>
                  </a:moveTo>
                  <a:cubicBezTo>
                    <a:pt x="1143" y="1"/>
                    <a:pt x="703" y="299"/>
                    <a:pt x="703" y="668"/>
                  </a:cubicBezTo>
                  <a:cubicBezTo>
                    <a:pt x="703" y="858"/>
                    <a:pt x="822" y="1073"/>
                    <a:pt x="1000" y="1239"/>
                  </a:cubicBezTo>
                  <a:cubicBezTo>
                    <a:pt x="1167" y="1370"/>
                    <a:pt x="1346" y="1454"/>
                    <a:pt x="1548" y="1501"/>
                  </a:cubicBezTo>
                  <a:lnTo>
                    <a:pt x="1548" y="1739"/>
                  </a:lnTo>
                  <a:cubicBezTo>
                    <a:pt x="1489" y="1739"/>
                    <a:pt x="1429" y="1763"/>
                    <a:pt x="1369" y="1763"/>
                  </a:cubicBezTo>
                  <a:cubicBezTo>
                    <a:pt x="1243" y="1776"/>
                    <a:pt x="1126" y="1783"/>
                    <a:pt x="1019" y="1783"/>
                  </a:cubicBezTo>
                  <a:cubicBezTo>
                    <a:pt x="724" y="1783"/>
                    <a:pt x="510" y="1731"/>
                    <a:pt x="405" y="1608"/>
                  </a:cubicBezTo>
                  <a:cubicBezTo>
                    <a:pt x="298" y="1501"/>
                    <a:pt x="334" y="1382"/>
                    <a:pt x="334" y="1370"/>
                  </a:cubicBezTo>
                  <a:cubicBezTo>
                    <a:pt x="346" y="1275"/>
                    <a:pt x="286" y="1204"/>
                    <a:pt x="215" y="1180"/>
                  </a:cubicBezTo>
                  <a:cubicBezTo>
                    <a:pt x="200" y="1176"/>
                    <a:pt x="186" y="1174"/>
                    <a:pt x="173" y="1174"/>
                  </a:cubicBezTo>
                  <a:cubicBezTo>
                    <a:pt x="99" y="1174"/>
                    <a:pt x="42" y="1228"/>
                    <a:pt x="12" y="1299"/>
                  </a:cubicBezTo>
                  <a:cubicBezTo>
                    <a:pt x="0" y="1394"/>
                    <a:pt x="0" y="1620"/>
                    <a:pt x="167" y="1799"/>
                  </a:cubicBezTo>
                  <a:cubicBezTo>
                    <a:pt x="191" y="1835"/>
                    <a:pt x="238" y="1858"/>
                    <a:pt x="274" y="1894"/>
                  </a:cubicBezTo>
                  <a:cubicBezTo>
                    <a:pt x="310" y="2513"/>
                    <a:pt x="941" y="3001"/>
                    <a:pt x="1703" y="3001"/>
                  </a:cubicBezTo>
                  <a:cubicBezTo>
                    <a:pt x="2453" y="3001"/>
                    <a:pt x="3084" y="2513"/>
                    <a:pt x="3132" y="1894"/>
                  </a:cubicBezTo>
                  <a:cubicBezTo>
                    <a:pt x="3167" y="1858"/>
                    <a:pt x="3203" y="1835"/>
                    <a:pt x="3227" y="1799"/>
                  </a:cubicBezTo>
                  <a:cubicBezTo>
                    <a:pt x="3429" y="1620"/>
                    <a:pt x="3441" y="1406"/>
                    <a:pt x="3417" y="1299"/>
                  </a:cubicBezTo>
                  <a:cubicBezTo>
                    <a:pt x="3398" y="1223"/>
                    <a:pt x="3341" y="1169"/>
                    <a:pt x="3270" y="1169"/>
                  </a:cubicBezTo>
                  <a:cubicBezTo>
                    <a:pt x="3253" y="1169"/>
                    <a:pt x="3234" y="1173"/>
                    <a:pt x="3215" y="1180"/>
                  </a:cubicBezTo>
                  <a:cubicBezTo>
                    <a:pt x="3132" y="1192"/>
                    <a:pt x="3072" y="1275"/>
                    <a:pt x="3096" y="1370"/>
                  </a:cubicBezTo>
                  <a:cubicBezTo>
                    <a:pt x="3096" y="1370"/>
                    <a:pt x="3108" y="1501"/>
                    <a:pt x="3024" y="1608"/>
                  </a:cubicBezTo>
                  <a:cubicBezTo>
                    <a:pt x="2908" y="1725"/>
                    <a:pt x="2690" y="1781"/>
                    <a:pt x="2385" y="1781"/>
                  </a:cubicBezTo>
                  <a:cubicBezTo>
                    <a:pt x="2286" y="1781"/>
                    <a:pt x="2177" y="1775"/>
                    <a:pt x="2060" y="1763"/>
                  </a:cubicBezTo>
                  <a:cubicBezTo>
                    <a:pt x="2000" y="1739"/>
                    <a:pt x="1941" y="1739"/>
                    <a:pt x="1881" y="1739"/>
                  </a:cubicBezTo>
                  <a:lnTo>
                    <a:pt x="1881" y="1501"/>
                  </a:lnTo>
                  <a:cubicBezTo>
                    <a:pt x="2072" y="1477"/>
                    <a:pt x="2262" y="1382"/>
                    <a:pt x="2429" y="1239"/>
                  </a:cubicBezTo>
                  <a:cubicBezTo>
                    <a:pt x="2620" y="1073"/>
                    <a:pt x="2727" y="858"/>
                    <a:pt x="2727" y="668"/>
                  </a:cubicBezTo>
                  <a:cubicBezTo>
                    <a:pt x="2727" y="299"/>
                    <a:pt x="2274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59" name="Google Shape;12859;p63"/>
          <p:cNvGrpSpPr/>
          <p:nvPr/>
        </p:nvGrpSpPr>
        <p:grpSpPr>
          <a:xfrm>
            <a:off x="1415853" y="1500658"/>
            <a:ext cx="315872" cy="347488"/>
            <a:chOff x="1415853" y="1500658"/>
            <a:chExt cx="315872" cy="347488"/>
          </a:xfrm>
        </p:grpSpPr>
        <p:sp>
          <p:nvSpPr>
            <p:cNvPr id="12860" name="Google Shape;12860;p63"/>
            <p:cNvSpPr/>
            <p:nvPr/>
          </p:nvSpPr>
          <p:spPr>
            <a:xfrm>
              <a:off x="1415853" y="1500658"/>
              <a:ext cx="315872" cy="347488"/>
            </a:xfrm>
            <a:custGeom>
              <a:avLst/>
              <a:gdLst/>
              <a:ahLst/>
              <a:cxnLst/>
              <a:rect l="l" t="t" r="r" b="b"/>
              <a:pathLst>
                <a:path w="9871" h="10859" extrusionOk="0">
                  <a:moveTo>
                    <a:pt x="4894" y="322"/>
                  </a:moveTo>
                  <a:cubicBezTo>
                    <a:pt x="5739" y="322"/>
                    <a:pt x="6465" y="786"/>
                    <a:pt x="6834" y="1465"/>
                  </a:cubicBezTo>
                  <a:cubicBezTo>
                    <a:pt x="6775" y="1429"/>
                    <a:pt x="6727" y="1393"/>
                    <a:pt x="6668" y="1370"/>
                  </a:cubicBezTo>
                  <a:cubicBezTo>
                    <a:pt x="6643" y="1353"/>
                    <a:pt x="6614" y="1345"/>
                    <a:pt x="6586" y="1345"/>
                  </a:cubicBezTo>
                  <a:cubicBezTo>
                    <a:pt x="6532" y="1345"/>
                    <a:pt x="6481" y="1374"/>
                    <a:pt x="6465" y="1429"/>
                  </a:cubicBezTo>
                  <a:cubicBezTo>
                    <a:pt x="6418" y="1501"/>
                    <a:pt x="6441" y="1608"/>
                    <a:pt x="6525" y="1632"/>
                  </a:cubicBezTo>
                  <a:cubicBezTo>
                    <a:pt x="6882" y="1822"/>
                    <a:pt x="7096" y="2179"/>
                    <a:pt x="7120" y="2584"/>
                  </a:cubicBezTo>
                  <a:cubicBezTo>
                    <a:pt x="7084" y="3787"/>
                    <a:pt x="6108" y="4763"/>
                    <a:pt x="4894" y="4763"/>
                  </a:cubicBezTo>
                  <a:cubicBezTo>
                    <a:pt x="3727" y="4763"/>
                    <a:pt x="2739" y="3822"/>
                    <a:pt x="2703" y="2632"/>
                  </a:cubicBezTo>
                  <a:cubicBezTo>
                    <a:pt x="2727" y="2048"/>
                    <a:pt x="3215" y="1584"/>
                    <a:pt x="3810" y="1584"/>
                  </a:cubicBezTo>
                  <a:cubicBezTo>
                    <a:pt x="4132" y="1584"/>
                    <a:pt x="4441" y="1715"/>
                    <a:pt x="4644" y="1965"/>
                  </a:cubicBezTo>
                  <a:cubicBezTo>
                    <a:pt x="4703" y="2036"/>
                    <a:pt x="4798" y="2060"/>
                    <a:pt x="4882" y="2060"/>
                  </a:cubicBezTo>
                  <a:cubicBezTo>
                    <a:pt x="4989" y="2060"/>
                    <a:pt x="5084" y="2013"/>
                    <a:pt x="5144" y="1929"/>
                  </a:cubicBezTo>
                  <a:cubicBezTo>
                    <a:pt x="5334" y="1679"/>
                    <a:pt x="5632" y="1524"/>
                    <a:pt x="5941" y="1501"/>
                  </a:cubicBezTo>
                  <a:cubicBezTo>
                    <a:pt x="6037" y="1501"/>
                    <a:pt x="6096" y="1429"/>
                    <a:pt x="6096" y="1334"/>
                  </a:cubicBezTo>
                  <a:cubicBezTo>
                    <a:pt x="6096" y="1251"/>
                    <a:pt x="6013" y="1191"/>
                    <a:pt x="5929" y="1191"/>
                  </a:cubicBezTo>
                  <a:cubicBezTo>
                    <a:pt x="5525" y="1215"/>
                    <a:pt x="5132" y="1405"/>
                    <a:pt x="4882" y="1739"/>
                  </a:cubicBezTo>
                  <a:cubicBezTo>
                    <a:pt x="4882" y="1739"/>
                    <a:pt x="4870" y="1739"/>
                    <a:pt x="4870" y="1751"/>
                  </a:cubicBezTo>
                  <a:cubicBezTo>
                    <a:pt x="4596" y="1453"/>
                    <a:pt x="4215" y="1274"/>
                    <a:pt x="3798" y="1274"/>
                  </a:cubicBezTo>
                  <a:cubicBezTo>
                    <a:pt x="3453" y="1274"/>
                    <a:pt x="3143" y="1393"/>
                    <a:pt x="2893" y="1608"/>
                  </a:cubicBezTo>
                  <a:cubicBezTo>
                    <a:pt x="3250" y="846"/>
                    <a:pt x="4024" y="322"/>
                    <a:pt x="4894" y="322"/>
                  </a:cubicBezTo>
                  <a:close/>
                  <a:moveTo>
                    <a:pt x="2310" y="4430"/>
                  </a:moveTo>
                  <a:lnTo>
                    <a:pt x="2310" y="4430"/>
                  </a:lnTo>
                  <a:cubicBezTo>
                    <a:pt x="1726" y="5334"/>
                    <a:pt x="1369" y="6489"/>
                    <a:pt x="1357" y="7537"/>
                  </a:cubicBezTo>
                  <a:cubicBezTo>
                    <a:pt x="1146" y="7654"/>
                    <a:pt x="878" y="7684"/>
                    <a:pt x="652" y="7684"/>
                  </a:cubicBezTo>
                  <a:cubicBezTo>
                    <a:pt x="534" y="7684"/>
                    <a:pt x="427" y="7676"/>
                    <a:pt x="345" y="7668"/>
                  </a:cubicBezTo>
                  <a:cubicBezTo>
                    <a:pt x="703" y="6227"/>
                    <a:pt x="1357" y="5334"/>
                    <a:pt x="1857" y="4834"/>
                  </a:cubicBezTo>
                  <a:cubicBezTo>
                    <a:pt x="2024" y="4668"/>
                    <a:pt x="2179" y="4537"/>
                    <a:pt x="2310" y="4430"/>
                  </a:cubicBezTo>
                  <a:close/>
                  <a:moveTo>
                    <a:pt x="7501" y="4430"/>
                  </a:moveTo>
                  <a:cubicBezTo>
                    <a:pt x="7644" y="4537"/>
                    <a:pt x="7799" y="4668"/>
                    <a:pt x="7953" y="4834"/>
                  </a:cubicBezTo>
                  <a:cubicBezTo>
                    <a:pt x="8454" y="5334"/>
                    <a:pt x="9132" y="6251"/>
                    <a:pt x="9466" y="7680"/>
                  </a:cubicBezTo>
                  <a:cubicBezTo>
                    <a:pt x="9400" y="7687"/>
                    <a:pt x="9313" y="7693"/>
                    <a:pt x="9214" y="7693"/>
                  </a:cubicBezTo>
                  <a:cubicBezTo>
                    <a:pt x="8988" y="7693"/>
                    <a:pt x="8701" y="7661"/>
                    <a:pt x="8477" y="7537"/>
                  </a:cubicBezTo>
                  <a:cubicBezTo>
                    <a:pt x="8454" y="6466"/>
                    <a:pt x="8084" y="5323"/>
                    <a:pt x="7501" y="4430"/>
                  </a:cubicBezTo>
                  <a:close/>
                  <a:moveTo>
                    <a:pt x="3727" y="10192"/>
                  </a:moveTo>
                  <a:cubicBezTo>
                    <a:pt x="3965" y="10192"/>
                    <a:pt x="4155" y="10335"/>
                    <a:pt x="4215" y="10549"/>
                  </a:cubicBezTo>
                  <a:lnTo>
                    <a:pt x="2548" y="10549"/>
                  </a:lnTo>
                  <a:cubicBezTo>
                    <a:pt x="2619" y="10335"/>
                    <a:pt x="2822" y="10192"/>
                    <a:pt x="3036" y="10192"/>
                  </a:cubicBezTo>
                  <a:close/>
                  <a:moveTo>
                    <a:pt x="6930" y="4132"/>
                  </a:moveTo>
                  <a:cubicBezTo>
                    <a:pt x="7692" y="5049"/>
                    <a:pt x="8192" y="6406"/>
                    <a:pt x="8192" y="7644"/>
                  </a:cubicBezTo>
                  <a:cubicBezTo>
                    <a:pt x="8156" y="8513"/>
                    <a:pt x="7799" y="9359"/>
                    <a:pt x="7180" y="9966"/>
                  </a:cubicBezTo>
                  <a:cubicBezTo>
                    <a:pt x="7060" y="9906"/>
                    <a:pt x="6930" y="9859"/>
                    <a:pt x="6787" y="9859"/>
                  </a:cubicBezTo>
                  <a:lnTo>
                    <a:pt x="6108" y="9859"/>
                  </a:lnTo>
                  <a:cubicBezTo>
                    <a:pt x="5703" y="9859"/>
                    <a:pt x="5358" y="10156"/>
                    <a:pt x="5286" y="10549"/>
                  </a:cubicBezTo>
                  <a:lnTo>
                    <a:pt x="4560" y="10549"/>
                  </a:lnTo>
                  <a:cubicBezTo>
                    <a:pt x="4489" y="10156"/>
                    <a:pt x="4143" y="9859"/>
                    <a:pt x="3739" y="9859"/>
                  </a:cubicBezTo>
                  <a:lnTo>
                    <a:pt x="3048" y="9859"/>
                  </a:lnTo>
                  <a:cubicBezTo>
                    <a:pt x="2905" y="9859"/>
                    <a:pt x="2774" y="9894"/>
                    <a:pt x="2667" y="9966"/>
                  </a:cubicBezTo>
                  <a:cubicBezTo>
                    <a:pt x="2036" y="9359"/>
                    <a:pt x="1679" y="8525"/>
                    <a:pt x="1679" y="7644"/>
                  </a:cubicBezTo>
                  <a:cubicBezTo>
                    <a:pt x="1679" y="6406"/>
                    <a:pt x="2179" y="5061"/>
                    <a:pt x="2953" y="4132"/>
                  </a:cubicBezTo>
                  <a:cubicBezTo>
                    <a:pt x="2989" y="4180"/>
                    <a:pt x="3036" y="4239"/>
                    <a:pt x="3084" y="4275"/>
                  </a:cubicBezTo>
                  <a:cubicBezTo>
                    <a:pt x="2655" y="5049"/>
                    <a:pt x="2393" y="6049"/>
                    <a:pt x="2393" y="6954"/>
                  </a:cubicBezTo>
                  <a:cubicBezTo>
                    <a:pt x="2393" y="8442"/>
                    <a:pt x="3548" y="9668"/>
                    <a:pt x="4941" y="9668"/>
                  </a:cubicBezTo>
                  <a:cubicBezTo>
                    <a:pt x="6346" y="9668"/>
                    <a:pt x="7489" y="8442"/>
                    <a:pt x="7489" y="6954"/>
                  </a:cubicBezTo>
                  <a:cubicBezTo>
                    <a:pt x="7489" y="6525"/>
                    <a:pt x="7430" y="6096"/>
                    <a:pt x="7322" y="5644"/>
                  </a:cubicBezTo>
                  <a:cubicBezTo>
                    <a:pt x="7312" y="5569"/>
                    <a:pt x="7234" y="5523"/>
                    <a:pt x="7158" y="5523"/>
                  </a:cubicBezTo>
                  <a:cubicBezTo>
                    <a:pt x="7149" y="5523"/>
                    <a:pt x="7140" y="5524"/>
                    <a:pt x="7132" y="5525"/>
                  </a:cubicBezTo>
                  <a:cubicBezTo>
                    <a:pt x="7037" y="5549"/>
                    <a:pt x="7001" y="5632"/>
                    <a:pt x="7013" y="5727"/>
                  </a:cubicBezTo>
                  <a:cubicBezTo>
                    <a:pt x="7120" y="6144"/>
                    <a:pt x="7156" y="6561"/>
                    <a:pt x="7156" y="6954"/>
                  </a:cubicBezTo>
                  <a:cubicBezTo>
                    <a:pt x="7156" y="8287"/>
                    <a:pt x="6168" y="9359"/>
                    <a:pt x="4941" y="9359"/>
                  </a:cubicBezTo>
                  <a:cubicBezTo>
                    <a:pt x="3727" y="9359"/>
                    <a:pt x="2727" y="8287"/>
                    <a:pt x="2727" y="6954"/>
                  </a:cubicBezTo>
                  <a:cubicBezTo>
                    <a:pt x="2727" y="6120"/>
                    <a:pt x="2953" y="5215"/>
                    <a:pt x="3334" y="4501"/>
                  </a:cubicBezTo>
                  <a:cubicBezTo>
                    <a:pt x="3762" y="4858"/>
                    <a:pt x="4334" y="5084"/>
                    <a:pt x="4941" y="5084"/>
                  </a:cubicBezTo>
                  <a:cubicBezTo>
                    <a:pt x="5548" y="5084"/>
                    <a:pt x="6120" y="4858"/>
                    <a:pt x="6549" y="4501"/>
                  </a:cubicBezTo>
                  <a:cubicBezTo>
                    <a:pt x="6644" y="4668"/>
                    <a:pt x="6727" y="4846"/>
                    <a:pt x="6787" y="5037"/>
                  </a:cubicBezTo>
                  <a:cubicBezTo>
                    <a:pt x="6822" y="5096"/>
                    <a:pt x="6882" y="5144"/>
                    <a:pt x="6941" y="5144"/>
                  </a:cubicBezTo>
                  <a:cubicBezTo>
                    <a:pt x="6953" y="5144"/>
                    <a:pt x="6989" y="5144"/>
                    <a:pt x="7001" y="5132"/>
                  </a:cubicBezTo>
                  <a:cubicBezTo>
                    <a:pt x="7084" y="5096"/>
                    <a:pt x="7120" y="5013"/>
                    <a:pt x="7084" y="4918"/>
                  </a:cubicBezTo>
                  <a:cubicBezTo>
                    <a:pt x="7001" y="4691"/>
                    <a:pt x="6894" y="4477"/>
                    <a:pt x="6787" y="4275"/>
                  </a:cubicBezTo>
                  <a:cubicBezTo>
                    <a:pt x="6834" y="4239"/>
                    <a:pt x="6882" y="4180"/>
                    <a:pt x="6930" y="4132"/>
                  </a:cubicBezTo>
                  <a:close/>
                  <a:moveTo>
                    <a:pt x="6787" y="10192"/>
                  </a:moveTo>
                  <a:cubicBezTo>
                    <a:pt x="7025" y="10192"/>
                    <a:pt x="7227" y="10335"/>
                    <a:pt x="7287" y="10549"/>
                  </a:cubicBezTo>
                  <a:lnTo>
                    <a:pt x="5620" y="10549"/>
                  </a:lnTo>
                  <a:cubicBezTo>
                    <a:pt x="5691" y="10335"/>
                    <a:pt x="5882" y="10192"/>
                    <a:pt x="6108" y="10192"/>
                  </a:cubicBezTo>
                  <a:close/>
                  <a:moveTo>
                    <a:pt x="4929" y="0"/>
                  </a:moveTo>
                  <a:cubicBezTo>
                    <a:pt x="3524" y="0"/>
                    <a:pt x="2381" y="1143"/>
                    <a:pt x="2381" y="2536"/>
                  </a:cubicBezTo>
                  <a:cubicBezTo>
                    <a:pt x="2381" y="3001"/>
                    <a:pt x="2500" y="3429"/>
                    <a:pt x="2727" y="3810"/>
                  </a:cubicBezTo>
                  <a:cubicBezTo>
                    <a:pt x="2548" y="3894"/>
                    <a:pt x="2131" y="4132"/>
                    <a:pt x="1667" y="4596"/>
                  </a:cubicBezTo>
                  <a:cubicBezTo>
                    <a:pt x="1107" y="5156"/>
                    <a:pt x="369" y="6156"/>
                    <a:pt x="12" y="7775"/>
                  </a:cubicBezTo>
                  <a:cubicBezTo>
                    <a:pt x="0" y="7823"/>
                    <a:pt x="12" y="7870"/>
                    <a:pt x="36" y="7894"/>
                  </a:cubicBezTo>
                  <a:cubicBezTo>
                    <a:pt x="60" y="7930"/>
                    <a:pt x="95" y="7954"/>
                    <a:pt x="131" y="7978"/>
                  </a:cubicBezTo>
                  <a:cubicBezTo>
                    <a:pt x="155" y="7978"/>
                    <a:pt x="369" y="8013"/>
                    <a:pt x="655" y="8013"/>
                  </a:cubicBezTo>
                  <a:cubicBezTo>
                    <a:pt x="881" y="8013"/>
                    <a:pt x="1143" y="7990"/>
                    <a:pt x="1381" y="7894"/>
                  </a:cubicBezTo>
                  <a:cubicBezTo>
                    <a:pt x="1441" y="8752"/>
                    <a:pt x="1822" y="9561"/>
                    <a:pt x="2429" y="10156"/>
                  </a:cubicBezTo>
                  <a:cubicBezTo>
                    <a:pt x="2310" y="10311"/>
                    <a:pt x="2238" y="10490"/>
                    <a:pt x="2238" y="10692"/>
                  </a:cubicBezTo>
                  <a:cubicBezTo>
                    <a:pt x="2238" y="10787"/>
                    <a:pt x="2310" y="10859"/>
                    <a:pt x="2393" y="10859"/>
                  </a:cubicBezTo>
                  <a:lnTo>
                    <a:pt x="7501" y="10859"/>
                  </a:lnTo>
                  <a:cubicBezTo>
                    <a:pt x="7596" y="10859"/>
                    <a:pt x="7668" y="10787"/>
                    <a:pt x="7668" y="10692"/>
                  </a:cubicBezTo>
                  <a:cubicBezTo>
                    <a:pt x="7668" y="10490"/>
                    <a:pt x="7596" y="10311"/>
                    <a:pt x="7477" y="10156"/>
                  </a:cubicBezTo>
                  <a:cubicBezTo>
                    <a:pt x="8084" y="9549"/>
                    <a:pt x="8454" y="8752"/>
                    <a:pt x="8513" y="7894"/>
                  </a:cubicBezTo>
                  <a:cubicBezTo>
                    <a:pt x="8751" y="7990"/>
                    <a:pt x="9025" y="8013"/>
                    <a:pt x="9239" y="8013"/>
                  </a:cubicBezTo>
                  <a:cubicBezTo>
                    <a:pt x="9525" y="8013"/>
                    <a:pt x="9751" y="7978"/>
                    <a:pt x="9763" y="7978"/>
                  </a:cubicBezTo>
                  <a:cubicBezTo>
                    <a:pt x="9811" y="7954"/>
                    <a:pt x="9835" y="7942"/>
                    <a:pt x="9870" y="7894"/>
                  </a:cubicBezTo>
                  <a:cubicBezTo>
                    <a:pt x="9847" y="7859"/>
                    <a:pt x="9847" y="7811"/>
                    <a:pt x="9847" y="7775"/>
                  </a:cubicBezTo>
                  <a:cubicBezTo>
                    <a:pt x="9489" y="6156"/>
                    <a:pt x="8739" y="5156"/>
                    <a:pt x="8192" y="4596"/>
                  </a:cubicBezTo>
                  <a:cubicBezTo>
                    <a:pt x="7727" y="4132"/>
                    <a:pt x="7311" y="3894"/>
                    <a:pt x="7132" y="3810"/>
                  </a:cubicBezTo>
                  <a:cubicBezTo>
                    <a:pt x="7334" y="3429"/>
                    <a:pt x="7477" y="3001"/>
                    <a:pt x="7477" y="2536"/>
                  </a:cubicBezTo>
                  <a:cubicBezTo>
                    <a:pt x="7477" y="1143"/>
                    <a:pt x="6334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1" name="Google Shape;12861;p63"/>
            <p:cNvSpPr/>
            <p:nvPr/>
          </p:nvSpPr>
          <p:spPr>
            <a:xfrm>
              <a:off x="1524045" y="1565810"/>
              <a:ext cx="32416" cy="37376"/>
            </a:xfrm>
            <a:custGeom>
              <a:avLst/>
              <a:gdLst/>
              <a:ahLst/>
              <a:cxnLst/>
              <a:rect l="l" t="t" r="r" b="b"/>
              <a:pathLst>
                <a:path w="1013" h="1168" extrusionOk="0">
                  <a:moveTo>
                    <a:pt x="524" y="322"/>
                  </a:moveTo>
                  <a:cubicBezTo>
                    <a:pt x="631" y="322"/>
                    <a:pt x="703" y="393"/>
                    <a:pt x="703" y="500"/>
                  </a:cubicBezTo>
                  <a:lnTo>
                    <a:pt x="703" y="667"/>
                  </a:lnTo>
                  <a:cubicBezTo>
                    <a:pt x="703" y="774"/>
                    <a:pt x="631" y="846"/>
                    <a:pt x="524" y="846"/>
                  </a:cubicBezTo>
                  <a:cubicBezTo>
                    <a:pt x="417" y="846"/>
                    <a:pt x="346" y="774"/>
                    <a:pt x="346" y="667"/>
                  </a:cubicBezTo>
                  <a:lnTo>
                    <a:pt x="346" y="500"/>
                  </a:lnTo>
                  <a:cubicBezTo>
                    <a:pt x="346" y="393"/>
                    <a:pt x="417" y="322"/>
                    <a:pt x="524" y="322"/>
                  </a:cubicBezTo>
                  <a:close/>
                  <a:moveTo>
                    <a:pt x="512" y="0"/>
                  </a:moveTo>
                  <a:cubicBezTo>
                    <a:pt x="227" y="0"/>
                    <a:pt x="0" y="227"/>
                    <a:pt x="0" y="500"/>
                  </a:cubicBezTo>
                  <a:lnTo>
                    <a:pt x="0" y="667"/>
                  </a:lnTo>
                  <a:cubicBezTo>
                    <a:pt x="0" y="953"/>
                    <a:pt x="227" y="1167"/>
                    <a:pt x="512" y="1167"/>
                  </a:cubicBezTo>
                  <a:cubicBezTo>
                    <a:pt x="786" y="1167"/>
                    <a:pt x="1012" y="953"/>
                    <a:pt x="1012" y="667"/>
                  </a:cubicBezTo>
                  <a:lnTo>
                    <a:pt x="1012" y="500"/>
                  </a:lnTo>
                  <a:cubicBezTo>
                    <a:pt x="1012" y="227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2" name="Google Shape;12862;p63"/>
            <p:cNvSpPr/>
            <p:nvPr/>
          </p:nvSpPr>
          <p:spPr>
            <a:xfrm>
              <a:off x="1589965" y="1565810"/>
              <a:ext cx="32416" cy="37376"/>
            </a:xfrm>
            <a:custGeom>
              <a:avLst/>
              <a:gdLst/>
              <a:ahLst/>
              <a:cxnLst/>
              <a:rect l="l" t="t" r="r" b="b"/>
              <a:pathLst>
                <a:path w="1013" h="1168" extrusionOk="0">
                  <a:moveTo>
                    <a:pt x="500" y="322"/>
                  </a:moveTo>
                  <a:cubicBezTo>
                    <a:pt x="607" y="322"/>
                    <a:pt x="679" y="393"/>
                    <a:pt x="679" y="500"/>
                  </a:cubicBezTo>
                  <a:lnTo>
                    <a:pt x="679" y="667"/>
                  </a:lnTo>
                  <a:cubicBezTo>
                    <a:pt x="679" y="774"/>
                    <a:pt x="607" y="846"/>
                    <a:pt x="500" y="846"/>
                  </a:cubicBezTo>
                  <a:cubicBezTo>
                    <a:pt x="393" y="846"/>
                    <a:pt x="322" y="774"/>
                    <a:pt x="322" y="667"/>
                  </a:cubicBezTo>
                  <a:lnTo>
                    <a:pt x="322" y="500"/>
                  </a:lnTo>
                  <a:cubicBezTo>
                    <a:pt x="322" y="393"/>
                    <a:pt x="393" y="322"/>
                    <a:pt x="500" y="322"/>
                  </a:cubicBezTo>
                  <a:close/>
                  <a:moveTo>
                    <a:pt x="500" y="0"/>
                  </a:moveTo>
                  <a:cubicBezTo>
                    <a:pt x="215" y="0"/>
                    <a:pt x="0" y="227"/>
                    <a:pt x="0" y="500"/>
                  </a:cubicBezTo>
                  <a:lnTo>
                    <a:pt x="0" y="667"/>
                  </a:lnTo>
                  <a:cubicBezTo>
                    <a:pt x="0" y="953"/>
                    <a:pt x="215" y="1167"/>
                    <a:pt x="500" y="1167"/>
                  </a:cubicBezTo>
                  <a:cubicBezTo>
                    <a:pt x="786" y="1167"/>
                    <a:pt x="1012" y="953"/>
                    <a:pt x="1012" y="667"/>
                  </a:cubicBezTo>
                  <a:lnTo>
                    <a:pt x="1012" y="500"/>
                  </a:lnTo>
                  <a:cubicBezTo>
                    <a:pt x="988" y="227"/>
                    <a:pt x="774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3" name="Google Shape;12863;p63"/>
            <p:cNvSpPr/>
            <p:nvPr/>
          </p:nvSpPr>
          <p:spPr>
            <a:xfrm>
              <a:off x="1551085" y="1598386"/>
              <a:ext cx="43488" cy="42496"/>
            </a:xfrm>
            <a:custGeom>
              <a:avLst/>
              <a:gdLst/>
              <a:ahLst/>
              <a:cxnLst/>
              <a:rect l="l" t="t" r="r" b="b"/>
              <a:pathLst>
                <a:path w="1359" h="1328" extrusionOk="0">
                  <a:moveTo>
                    <a:pt x="691" y="352"/>
                  </a:moveTo>
                  <a:lnTo>
                    <a:pt x="977" y="542"/>
                  </a:lnTo>
                  <a:lnTo>
                    <a:pt x="691" y="911"/>
                  </a:lnTo>
                  <a:lnTo>
                    <a:pt x="406" y="542"/>
                  </a:lnTo>
                  <a:lnTo>
                    <a:pt x="691" y="352"/>
                  </a:lnTo>
                  <a:close/>
                  <a:moveTo>
                    <a:pt x="685" y="0"/>
                  </a:moveTo>
                  <a:cubicBezTo>
                    <a:pt x="656" y="0"/>
                    <a:pt x="626" y="6"/>
                    <a:pt x="596" y="18"/>
                  </a:cubicBezTo>
                  <a:lnTo>
                    <a:pt x="96" y="364"/>
                  </a:lnTo>
                  <a:cubicBezTo>
                    <a:pt x="60" y="399"/>
                    <a:pt x="37" y="423"/>
                    <a:pt x="25" y="471"/>
                  </a:cubicBezTo>
                  <a:cubicBezTo>
                    <a:pt x="1" y="518"/>
                    <a:pt x="25" y="554"/>
                    <a:pt x="48" y="590"/>
                  </a:cubicBezTo>
                  <a:lnTo>
                    <a:pt x="560" y="1268"/>
                  </a:lnTo>
                  <a:cubicBezTo>
                    <a:pt x="584" y="1316"/>
                    <a:pt x="632" y="1328"/>
                    <a:pt x="691" y="1328"/>
                  </a:cubicBezTo>
                  <a:cubicBezTo>
                    <a:pt x="739" y="1328"/>
                    <a:pt x="799" y="1304"/>
                    <a:pt x="822" y="1268"/>
                  </a:cubicBezTo>
                  <a:lnTo>
                    <a:pt x="1322" y="590"/>
                  </a:lnTo>
                  <a:cubicBezTo>
                    <a:pt x="1358" y="554"/>
                    <a:pt x="1358" y="518"/>
                    <a:pt x="1358" y="471"/>
                  </a:cubicBezTo>
                  <a:cubicBezTo>
                    <a:pt x="1358" y="423"/>
                    <a:pt x="1334" y="399"/>
                    <a:pt x="1287" y="364"/>
                  </a:cubicBezTo>
                  <a:lnTo>
                    <a:pt x="775" y="18"/>
                  </a:lnTo>
                  <a:cubicBezTo>
                    <a:pt x="745" y="6"/>
                    <a:pt x="715" y="0"/>
                    <a:pt x="6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64" name="Google Shape;12864;p63"/>
          <p:cNvGrpSpPr/>
          <p:nvPr/>
        </p:nvGrpSpPr>
        <p:grpSpPr>
          <a:xfrm>
            <a:off x="4697389" y="1500658"/>
            <a:ext cx="347520" cy="347104"/>
            <a:chOff x="4697389" y="1500658"/>
            <a:chExt cx="347520" cy="347104"/>
          </a:xfrm>
        </p:grpSpPr>
        <p:sp>
          <p:nvSpPr>
            <p:cNvPr id="12865" name="Google Shape;12865;p63"/>
            <p:cNvSpPr/>
            <p:nvPr/>
          </p:nvSpPr>
          <p:spPr>
            <a:xfrm>
              <a:off x="4697389" y="1500658"/>
              <a:ext cx="347520" cy="347104"/>
            </a:xfrm>
            <a:custGeom>
              <a:avLst/>
              <a:gdLst/>
              <a:ahLst/>
              <a:cxnLst/>
              <a:rect l="l" t="t" r="r" b="b"/>
              <a:pathLst>
                <a:path w="10860" h="10847" extrusionOk="0">
                  <a:moveTo>
                    <a:pt x="2082" y="1011"/>
                  </a:moveTo>
                  <a:cubicBezTo>
                    <a:pt x="2474" y="1011"/>
                    <a:pt x="2807" y="1244"/>
                    <a:pt x="2977" y="1608"/>
                  </a:cubicBezTo>
                  <a:cubicBezTo>
                    <a:pt x="2560" y="1810"/>
                    <a:pt x="2191" y="2084"/>
                    <a:pt x="1846" y="2405"/>
                  </a:cubicBezTo>
                  <a:cubicBezTo>
                    <a:pt x="1691" y="2560"/>
                    <a:pt x="1548" y="2703"/>
                    <a:pt x="1417" y="2858"/>
                  </a:cubicBezTo>
                  <a:cubicBezTo>
                    <a:pt x="1156" y="2656"/>
                    <a:pt x="1001" y="2358"/>
                    <a:pt x="1001" y="2036"/>
                  </a:cubicBezTo>
                  <a:cubicBezTo>
                    <a:pt x="1001" y="1465"/>
                    <a:pt x="1453" y="1012"/>
                    <a:pt x="2025" y="1012"/>
                  </a:cubicBezTo>
                  <a:cubicBezTo>
                    <a:pt x="2044" y="1011"/>
                    <a:pt x="2063" y="1011"/>
                    <a:pt x="2082" y="1011"/>
                  </a:cubicBezTo>
                  <a:close/>
                  <a:moveTo>
                    <a:pt x="2025" y="310"/>
                  </a:moveTo>
                  <a:cubicBezTo>
                    <a:pt x="2703" y="310"/>
                    <a:pt x="3322" y="715"/>
                    <a:pt x="3584" y="1322"/>
                  </a:cubicBezTo>
                  <a:cubicBezTo>
                    <a:pt x="3465" y="1370"/>
                    <a:pt x="3358" y="1405"/>
                    <a:pt x="3239" y="1453"/>
                  </a:cubicBezTo>
                  <a:cubicBezTo>
                    <a:pt x="3025" y="977"/>
                    <a:pt x="2549" y="667"/>
                    <a:pt x="2013" y="667"/>
                  </a:cubicBezTo>
                  <a:cubicBezTo>
                    <a:pt x="1263" y="667"/>
                    <a:pt x="655" y="1274"/>
                    <a:pt x="655" y="2024"/>
                  </a:cubicBezTo>
                  <a:cubicBezTo>
                    <a:pt x="655" y="2453"/>
                    <a:pt x="858" y="2834"/>
                    <a:pt x="1191" y="3096"/>
                  </a:cubicBezTo>
                  <a:cubicBezTo>
                    <a:pt x="1120" y="3191"/>
                    <a:pt x="1060" y="3287"/>
                    <a:pt x="977" y="3394"/>
                  </a:cubicBezTo>
                  <a:cubicBezTo>
                    <a:pt x="584" y="3072"/>
                    <a:pt x="310" y="2572"/>
                    <a:pt x="310" y="2024"/>
                  </a:cubicBezTo>
                  <a:cubicBezTo>
                    <a:pt x="310" y="1084"/>
                    <a:pt x="1084" y="310"/>
                    <a:pt x="2025" y="310"/>
                  </a:cubicBezTo>
                  <a:close/>
                  <a:moveTo>
                    <a:pt x="8823" y="310"/>
                  </a:moveTo>
                  <a:cubicBezTo>
                    <a:pt x="9764" y="310"/>
                    <a:pt x="10538" y="1084"/>
                    <a:pt x="10538" y="2024"/>
                  </a:cubicBezTo>
                  <a:cubicBezTo>
                    <a:pt x="10538" y="2572"/>
                    <a:pt x="10264" y="3072"/>
                    <a:pt x="9835" y="3406"/>
                  </a:cubicBezTo>
                  <a:cubicBezTo>
                    <a:pt x="9776" y="3298"/>
                    <a:pt x="9704" y="3191"/>
                    <a:pt x="9633" y="3108"/>
                  </a:cubicBezTo>
                  <a:cubicBezTo>
                    <a:pt x="9954" y="2858"/>
                    <a:pt x="10157" y="2453"/>
                    <a:pt x="10157" y="2036"/>
                  </a:cubicBezTo>
                  <a:cubicBezTo>
                    <a:pt x="10157" y="1858"/>
                    <a:pt x="10133" y="1679"/>
                    <a:pt x="10061" y="1513"/>
                  </a:cubicBezTo>
                  <a:cubicBezTo>
                    <a:pt x="10034" y="1458"/>
                    <a:pt x="9965" y="1417"/>
                    <a:pt x="9902" y="1417"/>
                  </a:cubicBezTo>
                  <a:cubicBezTo>
                    <a:pt x="9882" y="1417"/>
                    <a:pt x="9864" y="1421"/>
                    <a:pt x="9847" y="1429"/>
                  </a:cubicBezTo>
                  <a:cubicBezTo>
                    <a:pt x="9776" y="1453"/>
                    <a:pt x="9728" y="1560"/>
                    <a:pt x="9764" y="1632"/>
                  </a:cubicBezTo>
                  <a:cubicBezTo>
                    <a:pt x="9823" y="1763"/>
                    <a:pt x="9835" y="1905"/>
                    <a:pt x="9835" y="2036"/>
                  </a:cubicBezTo>
                  <a:cubicBezTo>
                    <a:pt x="9835" y="2358"/>
                    <a:pt x="9680" y="2656"/>
                    <a:pt x="9418" y="2858"/>
                  </a:cubicBezTo>
                  <a:cubicBezTo>
                    <a:pt x="9287" y="2703"/>
                    <a:pt x="9145" y="2536"/>
                    <a:pt x="8990" y="2405"/>
                  </a:cubicBezTo>
                  <a:cubicBezTo>
                    <a:pt x="8645" y="2096"/>
                    <a:pt x="8252" y="1822"/>
                    <a:pt x="7859" y="1608"/>
                  </a:cubicBezTo>
                  <a:cubicBezTo>
                    <a:pt x="8014" y="1227"/>
                    <a:pt x="8395" y="989"/>
                    <a:pt x="8787" y="989"/>
                  </a:cubicBezTo>
                  <a:cubicBezTo>
                    <a:pt x="8966" y="989"/>
                    <a:pt x="9168" y="1036"/>
                    <a:pt x="9311" y="1143"/>
                  </a:cubicBezTo>
                  <a:cubicBezTo>
                    <a:pt x="9334" y="1158"/>
                    <a:pt x="9360" y="1165"/>
                    <a:pt x="9386" y="1165"/>
                  </a:cubicBezTo>
                  <a:cubicBezTo>
                    <a:pt x="9444" y="1165"/>
                    <a:pt x="9505" y="1133"/>
                    <a:pt x="9538" y="1084"/>
                  </a:cubicBezTo>
                  <a:cubicBezTo>
                    <a:pt x="9585" y="1012"/>
                    <a:pt x="9549" y="905"/>
                    <a:pt x="9478" y="858"/>
                  </a:cubicBezTo>
                  <a:cubicBezTo>
                    <a:pt x="9264" y="739"/>
                    <a:pt x="9026" y="667"/>
                    <a:pt x="8787" y="667"/>
                  </a:cubicBezTo>
                  <a:cubicBezTo>
                    <a:pt x="8252" y="667"/>
                    <a:pt x="7775" y="977"/>
                    <a:pt x="7561" y="1453"/>
                  </a:cubicBezTo>
                  <a:cubicBezTo>
                    <a:pt x="7454" y="1405"/>
                    <a:pt x="7335" y="1370"/>
                    <a:pt x="7216" y="1322"/>
                  </a:cubicBezTo>
                  <a:cubicBezTo>
                    <a:pt x="7525" y="727"/>
                    <a:pt x="8156" y="310"/>
                    <a:pt x="8823" y="310"/>
                  </a:cubicBezTo>
                  <a:close/>
                  <a:moveTo>
                    <a:pt x="5430" y="6775"/>
                  </a:moveTo>
                  <a:cubicBezTo>
                    <a:pt x="5692" y="6775"/>
                    <a:pt x="5954" y="6882"/>
                    <a:pt x="6144" y="7073"/>
                  </a:cubicBezTo>
                  <a:cubicBezTo>
                    <a:pt x="6323" y="7275"/>
                    <a:pt x="6430" y="7525"/>
                    <a:pt x="6418" y="7787"/>
                  </a:cubicBezTo>
                  <a:lnTo>
                    <a:pt x="6359" y="9204"/>
                  </a:lnTo>
                  <a:cubicBezTo>
                    <a:pt x="6097" y="9299"/>
                    <a:pt x="5775" y="9335"/>
                    <a:pt x="5430" y="9335"/>
                  </a:cubicBezTo>
                  <a:cubicBezTo>
                    <a:pt x="5085" y="9335"/>
                    <a:pt x="4763" y="9299"/>
                    <a:pt x="4513" y="9204"/>
                  </a:cubicBezTo>
                  <a:lnTo>
                    <a:pt x="4454" y="7787"/>
                  </a:lnTo>
                  <a:cubicBezTo>
                    <a:pt x="4430" y="7525"/>
                    <a:pt x="4537" y="7275"/>
                    <a:pt x="4715" y="7073"/>
                  </a:cubicBezTo>
                  <a:cubicBezTo>
                    <a:pt x="4906" y="6882"/>
                    <a:pt x="5168" y="6775"/>
                    <a:pt x="5430" y="6775"/>
                  </a:cubicBezTo>
                  <a:close/>
                  <a:moveTo>
                    <a:pt x="5430" y="1334"/>
                  </a:moveTo>
                  <a:cubicBezTo>
                    <a:pt x="8061" y="1334"/>
                    <a:pt x="10204" y="3322"/>
                    <a:pt x="10204" y="5775"/>
                  </a:cubicBezTo>
                  <a:cubicBezTo>
                    <a:pt x="10204" y="6823"/>
                    <a:pt x="9811" y="7835"/>
                    <a:pt x="9073" y="8644"/>
                  </a:cubicBezTo>
                  <a:cubicBezTo>
                    <a:pt x="8418" y="9359"/>
                    <a:pt x="7549" y="9859"/>
                    <a:pt x="6573" y="10085"/>
                  </a:cubicBezTo>
                  <a:cubicBezTo>
                    <a:pt x="6620" y="9966"/>
                    <a:pt x="6656" y="9835"/>
                    <a:pt x="6656" y="9704"/>
                  </a:cubicBezTo>
                  <a:lnTo>
                    <a:pt x="6668" y="9442"/>
                  </a:lnTo>
                  <a:cubicBezTo>
                    <a:pt x="6740" y="9406"/>
                    <a:pt x="6811" y="9371"/>
                    <a:pt x="6894" y="9311"/>
                  </a:cubicBezTo>
                  <a:cubicBezTo>
                    <a:pt x="6966" y="9263"/>
                    <a:pt x="6978" y="9168"/>
                    <a:pt x="6918" y="9085"/>
                  </a:cubicBezTo>
                  <a:cubicBezTo>
                    <a:pt x="6884" y="9044"/>
                    <a:pt x="6843" y="9023"/>
                    <a:pt x="6798" y="9023"/>
                  </a:cubicBezTo>
                  <a:cubicBezTo>
                    <a:pt x="6764" y="9023"/>
                    <a:pt x="6728" y="9035"/>
                    <a:pt x="6692" y="9061"/>
                  </a:cubicBezTo>
                  <a:lnTo>
                    <a:pt x="6680" y="9073"/>
                  </a:lnTo>
                  <a:lnTo>
                    <a:pt x="6728" y="7835"/>
                  </a:lnTo>
                  <a:cubicBezTo>
                    <a:pt x="6740" y="7478"/>
                    <a:pt x="6609" y="7144"/>
                    <a:pt x="6370" y="6882"/>
                  </a:cubicBezTo>
                  <a:cubicBezTo>
                    <a:pt x="6120" y="6632"/>
                    <a:pt x="5787" y="6489"/>
                    <a:pt x="5430" y="6489"/>
                  </a:cubicBezTo>
                  <a:cubicBezTo>
                    <a:pt x="5073" y="6489"/>
                    <a:pt x="4751" y="6632"/>
                    <a:pt x="4489" y="6882"/>
                  </a:cubicBezTo>
                  <a:cubicBezTo>
                    <a:pt x="4239" y="7144"/>
                    <a:pt x="4120" y="7478"/>
                    <a:pt x="4132" y="7835"/>
                  </a:cubicBezTo>
                  <a:lnTo>
                    <a:pt x="4180" y="9073"/>
                  </a:lnTo>
                  <a:lnTo>
                    <a:pt x="4168" y="9061"/>
                  </a:lnTo>
                  <a:cubicBezTo>
                    <a:pt x="4138" y="9041"/>
                    <a:pt x="4104" y="9032"/>
                    <a:pt x="4070" y="9032"/>
                  </a:cubicBezTo>
                  <a:cubicBezTo>
                    <a:pt x="4023" y="9032"/>
                    <a:pt x="3976" y="9050"/>
                    <a:pt x="3942" y="9085"/>
                  </a:cubicBezTo>
                  <a:cubicBezTo>
                    <a:pt x="3894" y="9168"/>
                    <a:pt x="3918" y="9252"/>
                    <a:pt x="3977" y="9311"/>
                  </a:cubicBezTo>
                  <a:cubicBezTo>
                    <a:pt x="4037" y="9359"/>
                    <a:pt x="4108" y="9406"/>
                    <a:pt x="4192" y="9442"/>
                  </a:cubicBezTo>
                  <a:lnTo>
                    <a:pt x="4215" y="9704"/>
                  </a:lnTo>
                  <a:cubicBezTo>
                    <a:pt x="4215" y="9835"/>
                    <a:pt x="4239" y="9966"/>
                    <a:pt x="4287" y="10085"/>
                  </a:cubicBezTo>
                  <a:cubicBezTo>
                    <a:pt x="3322" y="9859"/>
                    <a:pt x="2441" y="9359"/>
                    <a:pt x="1787" y="8644"/>
                  </a:cubicBezTo>
                  <a:cubicBezTo>
                    <a:pt x="1060" y="7835"/>
                    <a:pt x="655" y="6823"/>
                    <a:pt x="655" y="5775"/>
                  </a:cubicBezTo>
                  <a:cubicBezTo>
                    <a:pt x="655" y="3334"/>
                    <a:pt x="2799" y="1334"/>
                    <a:pt x="5430" y="1334"/>
                  </a:cubicBezTo>
                  <a:close/>
                  <a:moveTo>
                    <a:pt x="6335" y="9549"/>
                  </a:moveTo>
                  <a:lnTo>
                    <a:pt x="6335" y="9668"/>
                  </a:lnTo>
                  <a:cubicBezTo>
                    <a:pt x="6323" y="10156"/>
                    <a:pt x="5918" y="10537"/>
                    <a:pt x="5430" y="10537"/>
                  </a:cubicBezTo>
                  <a:cubicBezTo>
                    <a:pt x="4942" y="10537"/>
                    <a:pt x="4549" y="10145"/>
                    <a:pt x="4525" y="9668"/>
                  </a:cubicBezTo>
                  <a:lnTo>
                    <a:pt x="4525" y="9549"/>
                  </a:lnTo>
                  <a:cubicBezTo>
                    <a:pt x="4787" y="9621"/>
                    <a:pt x="5108" y="9668"/>
                    <a:pt x="5430" y="9668"/>
                  </a:cubicBezTo>
                  <a:cubicBezTo>
                    <a:pt x="5763" y="9668"/>
                    <a:pt x="6073" y="9621"/>
                    <a:pt x="6335" y="9549"/>
                  </a:cubicBezTo>
                  <a:close/>
                  <a:moveTo>
                    <a:pt x="2025" y="0"/>
                  </a:moveTo>
                  <a:cubicBezTo>
                    <a:pt x="905" y="0"/>
                    <a:pt x="1" y="905"/>
                    <a:pt x="1" y="2024"/>
                  </a:cubicBezTo>
                  <a:cubicBezTo>
                    <a:pt x="1" y="2679"/>
                    <a:pt x="322" y="3298"/>
                    <a:pt x="846" y="3668"/>
                  </a:cubicBezTo>
                  <a:cubicBezTo>
                    <a:pt x="501" y="4310"/>
                    <a:pt x="322" y="5025"/>
                    <a:pt x="322" y="5751"/>
                  </a:cubicBezTo>
                  <a:cubicBezTo>
                    <a:pt x="322" y="6882"/>
                    <a:pt x="763" y="7978"/>
                    <a:pt x="1548" y="8835"/>
                  </a:cubicBezTo>
                  <a:cubicBezTo>
                    <a:pt x="2310" y="9668"/>
                    <a:pt x="3358" y="10240"/>
                    <a:pt x="4513" y="10430"/>
                  </a:cubicBezTo>
                  <a:cubicBezTo>
                    <a:pt x="4727" y="10680"/>
                    <a:pt x="5061" y="10847"/>
                    <a:pt x="5430" y="10847"/>
                  </a:cubicBezTo>
                  <a:cubicBezTo>
                    <a:pt x="5799" y="10847"/>
                    <a:pt x="6132" y="10680"/>
                    <a:pt x="6359" y="10430"/>
                  </a:cubicBezTo>
                  <a:cubicBezTo>
                    <a:pt x="7502" y="10240"/>
                    <a:pt x="8537" y="9668"/>
                    <a:pt x="9299" y="8835"/>
                  </a:cubicBezTo>
                  <a:cubicBezTo>
                    <a:pt x="10085" y="7978"/>
                    <a:pt x="10526" y="6882"/>
                    <a:pt x="10526" y="5751"/>
                  </a:cubicBezTo>
                  <a:cubicBezTo>
                    <a:pt x="10526" y="5025"/>
                    <a:pt x="10347" y="4310"/>
                    <a:pt x="10002" y="3668"/>
                  </a:cubicBezTo>
                  <a:cubicBezTo>
                    <a:pt x="10538" y="3298"/>
                    <a:pt x="10859" y="2691"/>
                    <a:pt x="10859" y="2024"/>
                  </a:cubicBezTo>
                  <a:cubicBezTo>
                    <a:pt x="10859" y="905"/>
                    <a:pt x="9954" y="0"/>
                    <a:pt x="8835" y="0"/>
                  </a:cubicBezTo>
                  <a:cubicBezTo>
                    <a:pt x="8025" y="0"/>
                    <a:pt x="7287" y="489"/>
                    <a:pt x="6966" y="1227"/>
                  </a:cubicBezTo>
                  <a:cubicBezTo>
                    <a:pt x="6478" y="1084"/>
                    <a:pt x="5954" y="1012"/>
                    <a:pt x="5430" y="1012"/>
                  </a:cubicBezTo>
                  <a:cubicBezTo>
                    <a:pt x="4906" y="1012"/>
                    <a:pt x="4394" y="1084"/>
                    <a:pt x="3894" y="1227"/>
                  </a:cubicBezTo>
                  <a:cubicBezTo>
                    <a:pt x="3584" y="489"/>
                    <a:pt x="2846" y="0"/>
                    <a:pt x="2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6" name="Google Shape;12866;p63"/>
            <p:cNvSpPr/>
            <p:nvPr/>
          </p:nvSpPr>
          <p:spPr>
            <a:xfrm>
              <a:off x="4773581" y="1658002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63" y="1"/>
                  </a:moveTo>
                  <a:cubicBezTo>
                    <a:pt x="346" y="1"/>
                    <a:pt x="1" y="346"/>
                    <a:pt x="1" y="763"/>
                  </a:cubicBezTo>
                  <a:lnTo>
                    <a:pt x="1" y="1108"/>
                  </a:lnTo>
                  <a:cubicBezTo>
                    <a:pt x="1" y="1525"/>
                    <a:pt x="346" y="1870"/>
                    <a:pt x="763" y="1870"/>
                  </a:cubicBezTo>
                  <a:cubicBezTo>
                    <a:pt x="1180" y="1870"/>
                    <a:pt x="1513" y="1525"/>
                    <a:pt x="1513" y="1108"/>
                  </a:cubicBezTo>
                  <a:lnTo>
                    <a:pt x="1513" y="763"/>
                  </a:lnTo>
                  <a:cubicBezTo>
                    <a:pt x="1501" y="656"/>
                    <a:pt x="1489" y="536"/>
                    <a:pt x="1430" y="441"/>
                  </a:cubicBezTo>
                  <a:cubicBezTo>
                    <a:pt x="1394" y="380"/>
                    <a:pt x="1340" y="344"/>
                    <a:pt x="1280" y="344"/>
                  </a:cubicBezTo>
                  <a:cubicBezTo>
                    <a:pt x="1259" y="344"/>
                    <a:pt x="1237" y="349"/>
                    <a:pt x="1215" y="358"/>
                  </a:cubicBezTo>
                  <a:cubicBezTo>
                    <a:pt x="1144" y="406"/>
                    <a:pt x="1096" y="489"/>
                    <a:pt x="1144" y="572"/>
                  </a:cubicBezTo>
                  <a:cubicBezTo>
                    <a:pt x="1180" y="632"/>
                    <a:pt x="1191" y="691"/>
                    <a:pt x="1191" y="763"/>
                  </a:cubicBezTo>
                  <a:lnTo>
                    <a:pt x="1191" y="1108"/>
                  </a:lnTo>
                  <a:cubicBezTo>
                    <a:pt x="1191" y="1346"/>
                    <a:pt x="1001" y="1537"/>
                    <a:pt x="763" y="1537"/>
                  </a:cubicBezTo>
                  <a:cubicBezTo>
                    <a:pt x="525" y="1537"/>
                    <a:pt x="322" y="1346"/>
                    <a:pt x="322" y="1108"/>
                  </a:cubicBezTo>
                  <a:lnTo>
                    <a:pt x="322" y="763"/>
                  </a:lnTo>
                  <a:cubicBezTo>
                    <a:pt x="322" y="525"/>
                    <a:pt x="525" y="334"/>
                    <a:pt x="763" y="334"/>
                  </a:cubicBezTo>
                  <a:cubicBezTo>
                    <a:pt x="846" y="334"/>
                    <a:pt x="918" y="263"/>
                    <a:pt x="918" y="167"/>
                  </a:cubicBezTo>
                  <a:cubicBezTo>
                    <a:pt x="918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7" name="Google Shape;12867;p63"/>
            <p:cNvSpPr/>
            <p:nvPr/>
          </p:nvSpPr>
          <p:spPr>
            <a:xfrm>
              <a:off x="4920653" y="1658002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63" y="1"/>
                  </a:moveTo>
                  <a:cubicBezTo>
                    <a:pt x="346" y="1"/>
                    <a:pt x="1" y="346"/>
                    <a:pt x="1" y="763"/>
                  </a:cubicBezTo>
                  <a:lnTo>
                    <a:pt x="1" y="1108"/>
                  </a:lnTo>
                  <a:cubicBezTo>
                    <a:pt x="1" y="1525"/>
                    <a:pt x="346" y="1870"/>
                    <a:pt x="763" y="1870"/>
                  </a:cubicBezTo>
                  <a:cubicBezTo>
                    <a:pt x="1179" y="1870"/>
                    <a:pt x="1513" y="1525"/>
                    <a:pt x="1513" y="1108"/>
                  </a:cubicBezTo>
                  <a:lnTo>
                    <a:pt x="1513" y="763"/>
                  </a:lnTo>
                  <a:cubicBezTo>
                    <a:pt x="1501" y="656"/>
                    <a:pt x="1477" y="536"/>
                    <a:pt x="1429" y="441"/>
                  </a:cubicBezTo>
                  <a:cubicBezTo>
                    <a:pt x="1394" y="380"/>
                    <a:pt x="1340" y="344"/>
                    <a:pt x="1280" y="344"/>
                  </a:cubicBezTo>
                  <a:cubicBezTo>
                    <a:pt x="1259" y="344"/>
                    <a:pt x="1237" y="349"/>
                    <a:pt x="1215" y="358"/>
                  </a:cubicBezTo>
                  <a:cubicBezTo>
                    <a:pt x="1144" y="406"/>
                    <a:pt x="1096" y="489"/>
                    <a:pt x="1144" y="572"/>
                  </a:cubicBezTo>
                  <a:cubicBezTo>
                    <a:pt x="1179" y="632"/>
                    <a:pt x="1191" y="691"/>
                    <a:pt x="1191" y="763"/>
                  </a:cubicBezTo>
                  <a:lnTo>
                    <a:pt x="1191" y="1108"/>
                  </a:lnTo>
                  <a:cubicBezTo>
                    <a:pt x="1191" y="1346"/>
                    <a:pt x="1001" y="1537"/>
                    <a:pt x="763" y="1537"/>
                  </a:cubicBezTo>
                  <a:cubicBezTo>
                    <a:pt x="525" y="1537"/>
                    <a:pt x="322" y="1346"/>
                    <a:pt x="322" y="1108"/>
                  </a:cubicBezTo>
                  <a:lnTo>
                    <a:pt x="322" y="763"/>
                  </a:lnTo>
                  <a:cubicBezTo>
                    <a:pt x="322" y="525"/>
                    <a:pt x="525" y="334"/>
                    <a:pt x="763" y="334"/>
                  </a:cubicBezTo>
                  <a:cubicBezTo>
                    <a:pt x="846" y="334"/>
                    <a:pt x="917" y="263"/>
                    <a:pt x="917" y="167"/>
                  </a:cubicBezTo>
                  <a:cubicBezTo>
                    <a:pt x="917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68" name="Google Shape;12868;p63"/>
          <p:cNvGrpSpPr/>
          <p:nvPr/>
        </p:nvGrpSpPr>
        <p:grpSpPr>
          <a:xfrm>
            <a:off x="3603533" y="1964946"/>
            <a:ext cx="347520" cy="353760"/>
            <a:chOff x="3603533" y="1964946"/>
            <a:chExt cx="347520" cy="353760"/>
          </a:xfrm>
        </p:grpSpPr>
        <p:sp>
          <p:nvSpPr>
            <p:cNvPr id="12869" name="Google Shape;12869;p63"/>
            <p:cNvSpPr/>
            <p:nvPr/>
          </p:nvSpPr>
          <p:spPr>
            <a:xfrm>
              <a:off x="3603533" y="1964946"/>
              <a:ext cx="347520" cy="353760"/>
            </a:xfrm>
            <a:custGeom>
              <a:avLst/>
              <a:gdLst/>
              <a:ahLst/>
              <a:cxnLst/>
              <a:rect l="l" t="t" r="r" b="b"/>
              <a:pathLst>
                <a:path w="10860" h="11055" extrusionOk="0">
                  <a:moveTo>
                    <a:pt x="596" y="5672"/>
                  </a:moveTo>
                  <a:cubicBezTo>
                    <a:pt x="608" y="5672"/>
                    <a:pt x="632" y="5672"/>
                    <a:pt x="656" y="5684"/>
                  </a:cubicBezTo>
                  <a:cubicBezTo>
                    <a:pt x="537" y="5863"/>
                    <a:pt x="513" y="6065"/>
                    <a:pt x="548" y="6184"/>
                  </a:cubicBezTo>
                  <a:cubicBezTo>
                    <a:pt x="560" y="6292"/>
                    <a:pt x="668" y="6339"/>
                    <a:pt x="715" y="6351"/>
                  </a:cubicBezTo>
                  <a:cubicBezTo>
                    <a:pt x="679" y="6363"/>
                    <a:pt x="632" y="6387"/>
                    <a:pt x="596" y="6387"/>
                  </a:cubicBezTo>
                  <a:cubicBezTo>
                    <a:pt x="441" y="6387"/>
                    <a:pt x="322" y="6268"/>
                    <a:pt x="322" y="6113"/>
                  </a:cubicBezTo>
                  <a:lnTo>
                    <a:pt x="322" y="5934"/>
                  </a:lnTo>
                  <a:cubicBezTo>
                    <a:pt x="322" y="5792"/>
                    <a:pt x="441" y="5672"/>
                    <a:pt x="596" y="5672"/>
                  </a:cubicBezTo>
                  <a:close/>
                  <a:moveTo>
                    <a:pt x="4918" y="6857"/>
                  </a:moveTo>
                  <a:cubicBezTo>
                    <a:pt x="5037" y="6857"/>
                    <a:pt x="5130" y="6890"/>
                    <a:pt x="5180" y="6946"/>
                  </a:cubicBezTo>
                  <a:cubicBezTo>
                    <a:pt x="5228" y="7018"/>
                    <a:pt x="5204" y="7161"/>
                    <a:pt x="5085" y="7339"/>
                  </a:cubicBezTo>
                  <a:cubicBezTo>
                    <a:pt x="4918" y="7577"/>
                    <a:pt x="4799" y="7828"/>
                    <a:pt x="4739" y="8066"/>
                  </a:cubicBezTo>
                  <a:cubicBezTo>
                    <a:pt x="4478" y="7673"/>
                    <a:pt x="4287" y="7280"/>
                    <a:pt x="4192" y="7066"/>
                  </a:cubicBezTo>
                  <a:cubicBezTo>
                    <a:pt x="4358" y="7018"/>
                    <a:pt x="4466" y="6982"/>
                    <a:pt x="4537" y="6946"/>
                  </a:cubicBezTo>
                  <a:cubicBezTo>
                    <a:pt x="4678" y="6884"/>
                    <a:pt x="4809" y="6857"/>
                    <a:pt x="4918" y="6857"/>
                  </a:cubicBezTo>
                  <a:close/>
                  <a:moveTo>
                    <a:pt x="8464" y="324"/>
                  </a:moveTo>
                  <a:cubicBezTo>
                    <a:pt x="8714" y="324"/>
                    <a:pt x="8950" y="378"/>
                    <a:pt x="9169" y="481"/>
                  </a:cubicBezTo>
                  <a:cubicBezTo>
                    <a:pt x="9645" y="743"/>
                    <a:pt x="9942" y="1220"/>
                    <a:pt x="10097" y="1541"/>
                  </a:cubicBezTo>
                  <a:cubicBezTo>
                    <a:pt x="9938" y="1498"/>
                    <a:pt x="9780" y="1477"/>
                    <a:pt x="9628" y="1477"/>
                  </a:cubicBezTo>
                  <a:cubicBezTo>
                    <a:pt x="9361" y="1477"/>
                    <a:pt x="9112" y="1543"/>
                    <a:pt x="8907" y="1672"/>
                  </a:cubicBezTo>
                  <a:cubicBezTo>
                    <a:pt x="8585" y="1922"/>
                    <a:pt x="8418" y="2315"/>
                    <a:pt x="8466" y="2827"/>
                  </a:cubicBezTo>
                  <a:cubicBezTo>
                    <a:pt x="8526" y="3458"/>
                    <a:pt x="8942" y="4089"/>
                    <a:pt x="9371" y="4756"/>
                  </a:cubicBezTo>
                  <a:cubicBezTo>
                    <a:pt x="9942" y="5625"/>
                    <a:pt x="10538" y="6494"/>
                    <a:pt x="10538" y="7589"/>
                  </a:cubicBezTo>
                  <a:cubicBezTo>
                    <a:pt x="10514" y="8470"/>
                    <a:pt x="10240" y="9268"/>
                    <a:pt x="9728" y="9816"/>
                  </a:cubicBezTo>
                  <a:cubicBezTo>
                    <a:pt x="9192" y="10399"/>
                    <a:pt x="8454" y="10697"/>
                    <a:pt x="7585" y="10697"/>
                  </a:cubicBezTo>
                  <a:lnTo>
                    <a:pt x="4668" y="10697"/>
                  </a:lnTo>
                  <a:cubicBezTo>
                    <a:pt x="4739" y="10494"/>
                    <a:pt x="4930" y="10328"/>
                    <a:pt x="5180" y="10328"/>
                  </a:cubicBezTo>
                  <a:lnTo>
                    <a:pt x="6383" y="10328"/>
                  </a:lnTo>
                  <a:cubicBezTo>
                    <a:pt x="6466" y="10328"/>
                    <a:pt x="6549" y="10256"/>
                    <a:pt x="6549" y="10161"/>
                  </a:cubicBezTo>
                  <a:cubicBezTo>
                    <a:pt x="6549" y="10066"/>
                    <a:pt x="6466" y="9994"/>
                    <a:pt x="6383" y="9994"/>
                  </a:cubicBezTo>
                  <a:lnTo>
                    <a:pt x="5978" y="9994"/>
                  </a:lnTo>
                  <a:cubicBezTo>
                    <a:pt x="5621" y="9768"/>
                    <a:pt x="5180" y="9328"/>
                    <a:pt x="5049" y="8756"/>
                  </a:cubicBezTo>
                  <a:cubicBezTo>
                    <a:pt x="4966" y="8339"/>
                    <a:pt x="5073" y="7911"/>
                    <a:pt x="5370" y="7494"/>
                  </a:cubicBezTo>
                  <a:cubicBezTo>
                    <a:pt x="5668" y="7077"/>
                    <a:pt x="5513" y="6815"/>
                    <a:pt x="5430" y="6720"/>
                  </a:cubicBezTo>
                  <a:cubicBezTo>
                    <a:pt x="5318" y="6588"/>
                    <a:pt x="5135" y="6522"/>
                    <a:pt x="4926" y="6522"/>
                  </a:cubicBezTo>
                  <a:cubicBezTo>
                    <a:pt x="4759" y="6522"/>
                    <a:pt x="4574" y="6564"/>
                    <a:pt x="4394" y="6649"/>
                  </a:cubicBezTo>
                  <a:cubicBezTo>
                    <a:pt x="4281" y="6705"/>
                    <a:pt x="4082" y="6798"/>
                    <a:pt x="3745" y="6798"/>
                  </a:cubicBezTo>
                  <a:cubicBezTo>
                    <a:pt x="3445" y="6798"/>
                    <a:pt x="3034" y="6724"/>
                    <a:pt x="2477" y="6482"/>
                  </a:cubicBezTo>
                  <a:cubicBezTo>
                    <a:pt x="1882" y="6232"/>
                    <a:pt x="1310" y="6125"/>
                    <a:pt x="989" y="6065"/>
                  </a:cubicBezTo>
                  <a:cubicBezTo>
                    <a:pt x="953" y="6053"/>
                    <a:pt x="882" y="6053"/>
                    <a:pt x="846" y="6042"/>
                  </a:cubicBezTo>
                  <a:cubicBezTo>
                    <a:pt x="846" y="5946"/>
                    <a:pt x="870" y="5803"/>
                    <a:pt x="1060" y="5708"/>
                  </a:cubicBezTo>
                  <a:cubicBezTo>
                    <a:pt x="1092" y="5699"/>
                    <a:pt x="1141" y="5695"/>
                    <a:pt x="1201" y="5695"/>
                  </a:cubicBezTo>
                  <a:cubicBezTo>
                    <a:pt x="1298" y="5695"/>
                    <a:pt x="1423" y="5705"/>
                    <a:pt x="1549" y="5720"/>
                  </a:cubicBezTo>
                  <a:cubicBezTo>
                    <a:pt x="1739" y="5737"/>
                    <a:pt x="1967" y="5757"/>
                    <a:pt x="2218" y="5757"/>
                  </a:cubicBezTo>
                  <a:cubicBezTo>
                    <a:pt x="2877" y="5757"/>
                    <a:pt x="3697" y="5613"/>
                    <a:pt x="4430" y="4863"/>
                  </a:cubicBezTo>
                  <a:cubicBezTo>
                    <a:pt x="4489" y="4803"/>
                    <a:pt x="4489" y="4696"/>
                    <a:pt x="4430" y="4637"/>
                  </a:cubicBezTo>
                  <a:cubicBezTo>
                    <a:pt x="4400" y="4607"/>
                    <a:pt x="4358" y="4592"/>
                    <a:pt x="4317" y="4592"/>
                  </a:cubicBezTo>
                  <a:cubicBezTo>
                    <a:pt x="4275" y="4592"/>
                    <a:pt x="4233" y="4607"/>
                    <a:pt x="4204" y="4637"/>
                  </a:cubicBezTo>
                  <a:cubicBezTo>
                    <a:pt x="3608" y="5232"/>
                    <a:pt x="2977" y="5411"/>
                    <a:pt x="2406" y="5446"/>
                  </a:cubicBezTo>
                  <a:cubicBezTo>
                    <a:pt x="2227" y="5387"/>
                    <a:pt x="2072" y="5280"/>
                    <a:pt x="1977" y="5172"/>
                  </a:cubicBezTo>
                  <a:cubicBezTo>
                    <a:pt x="2120" y="5172"/>
                    <a:pt x="2287" y="5161"/>
                    <a:pt x="2465" y="5113"/>
                  </a:cubicBezTo>
                  <a:cubicBezTo>
                    <a:pt x="2549" y="5101"/>
                    <a:pt x="2596" y="5006"/>
                    <a:pt x="2584" y="4922"/>
                  </a:cubicBezTo>
                  <a:cubicBezTo>
                    <a:pt x="2574" y="4839"/>
                    <a:pt x="2499" y="4801"/>
                    <a:pt x="2425" y="4801"/>
                  </a:cubicBezTo>
                  <a:cubicBezTo>
                    <a:pt x="2415" y="4801"/>
                    <a:pt x="2404" y="4802"/>
                    <a:pt x="2394" y="4803"/>
                  </a:cubicBezTo>
                  <a:cubicBezTo>
                    <a:pt x="2241" y="4843"/>
                    <a:pt x="2103" y="4859"/>
                    <a:pt x="1981" y="4859"/>
                  </a:cubicBezTo>
                  <a:cubicBezTo>
                    <a:pt x="1552" y="4859"/>
                    <a:pt x="1310" y="4660"/>
                    <a:pt x="1227" y="4577"/>
                  </a:cubicBezTo>
                  <a:cubicBezTo>
                    <a:pt x="1275" y="4268"/>
                    <a:pt x="1584" y="3148"/>
                    <a:pt x="2703" y="2767"/>
                  </a:cubicBezTo>
                  <a:lnTo>
                    <a:pt x="2703" y="2827"/>
                  </a:lnTo>
                  <a:cubicBezTo>
                    <a:pt x="2703" y="2910"/>
                    <a:pt x="2775" y="2982"/>
                    <a:pt x="2870" y="2982"/>
                  </a:cubicBezTo>
                  <a:cubicBezTo>
                    <a:pt x="2954" y="2982"/>
                    <a:pt x="3037" y="2910"/>
                    <a:pt x="3037" y="2827"/>
                  </a:cubicBezTo>
                  <a:cubicBezTo>
                    <a:pt x="3049" y="2291"/>
                    <a:pt x="3346" y="2065"/>
                    <a:pt x="3489" y="1993"/>
                  </a:cubicBezTo>
                  <a:cubicBezTo>
                    <a:pt x="3823" y="2386"/>
                    <a:pt x="3727" y="2863"/>
                    <a:pt x="3727" y="2898"/>
                  </a:cubicBezTo>
                  <a:cubicBezTo>
                    <a:pt x="3716" y="2982"/>
                    <a:pt x="3775" y="3077"/>
                    <a:pt x="3846" y="3089"/>
                  </a:cubicBezTo>
                  <a:lnTo>
                    <a:pt x="3882" y="3089"/>
                  </a:lnTo>
                  <a:cubicBezTo>
                    <a:pt x="3930" y="3089"/>
                    <a:pt x="3966" y="3077"/>
                    <a:pt x="4001" y="3029"/>
                  </a:cubicBezTo>
                  <a:cubicBezTo>
                    <a:pt x="4132" y="3160"/>
                    <a:pt x="4311" y="3398"/>
                    <a:pt x="4370" y="3696"/>
                  </a:cubicBezTo>
                  <a:cubicBezTo>
                    <a:pt x="4382" y="3779"/>
                    <a:pt x="4442" y="3815"/>
                    <a:pt x="4525" y="3815"/>
                  </a:cubicBezTo>
                  <a:cubicBezTo>
                    <a:pt x="6037" y="3863"/>
                    <a:pt x="7418" y="4684"/>
                    <a:pt x="8192" y="5982"/>
                  </a:cubicBezTo>
                  <a:cubicBezTo>
                    <a:pt x="8538" y="6554"/>
                    <a:pt x="8752" y="7208"/>
                    <a:pt x="8788" y="7863"/>
                  </a:cubicBezTo>
                  <a:cubicBezTo>
                    <a:pt x="8835" y="8566"/>
                    <a:pt x="8704" y="9256"/>
                    <a:pt x="8371" y="9911"/>
                  </a:cubicBezTo>
                  <a:cubicBezTo>
                    <a:pt x="8335" y="9983"/>
                    <a:pt x="8371" y="10090"/>
                    <a:pt x="8454" y="10125"/>
                  </a:cubicBezTo>
                  <a:cubicBezTo>
                    <a:pt x="8478" y="10149"/>
                    <a:pt x="8490" y="10149"/>
                    <a:pt x="8526" y="10149"/>
                  </a:cubicBezTo>
                  <a:cubicBezTo>
                    <a:pt x="8585" y="10149"/>
                    <a:pt x="8645" y="10113"/>
                    <a:pt x="8669" y="10054"/>
                  </a:cubicBezTo>
                  <a:cubicBezTo>
                    <a:pt x="9014" y="9351"/>
                    <a:pt x="9169" y="8613"/>
                    <a:pt x="9121" y="7851"/>
                  </a:cubicBezTo>
                  <a:cubicBezTo>
                    <a:pt x="9073" y="7137"/>
                    <a:pt x="8847" y="6434"/>
                    <a:pt x="8478" y="5815"/>
                  </a:cubicBezTo>
                  <a:cubicBezTo>
                    <a:pt x="8121" y="5208"/>
                    <a:pt x="7633" y="4696"/>
                    <a:pt x="7061" y="4327"/>
                  </a:cubicBezTo>
                  <a:cubicBezTo>
                    <a:pt x="6787" y="3553"/>
                    <a:pt x="6394" y="2172"/>
                    <a:pt x="6847" y="1243"/>
                  </a:cubicBezTo>
                  <a:cubicBezTo>
                    <a:pt x="7025" y="862"/>
                    <a:pt x="7347" y="589"/>
                    <a:pt x="7799" y="446"/>
                  </a:cubicBezTo>
                  <a:cubicBezTo>
                    <a:pt x="8029" y="364"/>
                    <a:pt x="8252" y="324"/>
                    <a:pt x="8464" y="324"/>
                  </a:cubicBezTo>
                  <a:close/>
                  <a:moveTo>
                    <a:pt x="8449" y="0"/>
                  </a:moveTo>
                  <a:cubicBezTo>
                    <a:pt x="8203" y="0"/>
                    <a:pt x="7947" y="46"/>
                    <a:pt x="7680" y="136"/>
                  </a:cubicBezTo>
                  <a:cubicBezTo>
                    <a:pt x="7145" y="315"/>
                    <a:pt x="6752" y="636"/>
                    <a:pt x="6525" y="1112"/>
                  </a:cubicBezTo>
                  <a:cubicBezTo>
                    <a:pt x="6311" y="1577"/>
                    <a:pt x="6252" y="2172"/>
                    <a:pt x="6335" y="2875"/>
                  </a:cubicBezTo>
                  <a:cubicBezTo>
                    <a:pt x="6383" y="3244"/>
                    <a:pt x="6490" y="3660"/>
                    <a:pt x="6621" y="4077"/>
                  </a:cubicBezTo>
                  <a:cubicBezTo>
                    <a:pt x="6025" y="3744"/>
                    <a:pt x="5335" y="3565"/>
                    <a:pt x="4644" y="3529"/>
                  </a:cubicBezTo>
                  <a:cubicBezTo>
                    <a:pt x="4489" y="3065"/>
                    <a:pt x="4180" y="2767"/>
                    <a:pt x="4025" y="2660"/>
                  </a:cubicBezTo>
                  <a:cubicBezTo>
                    <a:pt x="4013" y="2422"/>
                    <a:pt x="3942" y="2065"/>
                    <a:pt x="3668" y="1767"/>
                  </a:cubicBezTo>
                  <a:lnTo>
                    <a:pt x="3704" y="1589"/>
                  </a:lnTo>
                  <a:cubicBezTo>
                    <a:pt x="3716" y="1505"/>
                    <a:pt x="3656" y="1422"/>
                    <a:pt x="3573" y="1410"/>
                  </a:cubicBezTo>
                  <a:cubicBezTo>
                    <a:pt x="3564" y="1409"/>
                    <a:pt x="3556" y="1409"/>
                    <a:pt x="3549" y="1409"/>
                  </a:cubicBezTo>
                  <a:cubicBezTo>
                    <a:pt x="3466" y="1409"/>
                    <a:pt x="3405" y="1465"/>
                    <a:pt x="3394" y="1541"/>
                  </a:cubicBezTo>
                  <a:lnTo>
                    <a:pt x="3358" y="1720"/>
                  </a:lnTo>
                  <a:cubicBezTo>
                    <a:pt x="3192" y="1803"/>
                    <a:pt x="2882" y="1993"/>
                    <a:pt x="2751" y="2434"/>
                  </a:cubicBezTo>
                  <a:cubicBezTo>
                    <a:pt x="1227" y="2839"/>
                    <a:pt x="894" y="4399"/>
                    <a:pt x="894" y="4672"/>
                  </a:cubicBezTo>
                  <a:cubicBezTo>
                    <a:pt x="894" y="4696"/>
                    <a:pt x="906" y="4744"/>
                    <a:pt x="918" y="4756"/>
                  </a:cubicBezTo>
                  <a:cubicBezTo>
                    <a:pt x="929" y="4780"/>
                    <a:pt x="1108" y="5018"/>
                    <a:pt x="1501" y="5149"/>
                  </a:cubicBezTo>
                  <a:cubicBezTo>
                    <a:pt x="1549" y="5208"/>
                    <a:pt x="1620" y="5339"/>
                    <a:pt x="1763" y="5458"/>
                  </a:cubicBezTo>
                  <a:cubicBezTo>
                    <a:pt x="1703" y="5458"/>
                    <a:pt x="1644" y="5446"/>
                    <a:pt x="1584" y="5446"/>
                  </a:cubicBezTo>
                  <a:cubicBezTo>
                    <a:pt x="1447" y="5428"/>
                    <a:pt x="1325" y="5416"/>
                    <a:pt x="1220" y="5416"/>
                  </a:cubicBezTo>
                  <a:cubicBezTo>
                    <a:pt x="1114" y="5416"/>
                    <a:pt x="1025" y="5428"/>
                    <a:pt x="953" y="5458"/>
                  </a:cubicBezTo>
                  <a:cubicBezTo>
                    <a:pt x="929" y="5458"/>
                    <a:pt x="929" y="5470"/>
                    <a:pt x="918" y="5470"/>
                  </a:cubicBezTo>
                  <a:cubicBezTo>
                    <a:pt x="870" y="5446"/>
                    <a:pt x="810" y="5411"/>
                    <a:pt x="751" y="5399"/>
                  </a:cubicBezTo>
                  <a:lnTo>
                    <a:pt x="751" y="5339"/>
                  </a:lnTo>
                  <a:cubicBezTo>
                    <a:pt x="751" y="5256"/>
                    <a:pt x="679" y="5172"/>
                    <a:pt x="596" y="5172"/>
                  </a:cubicBezTo>
                  <a:cubicBezTo>
                    <a:pt x="501" y="5172"/>
                    <a:pt x="429" y="5256"/>
                    <a:pt x="429" y="5339"/>
                  </a:cubicBezTo>
                  <a:lnTo>
                    <a:pt x="429" y="5399"/>
                  </a:lnTo>
                  <a:cubicBezTo>
                    <a:pt x="167" y="5470"/>
                    <a:pt x="1" y="5696"/>
                    <a:pt x="1" y="5970"/>
                  </a:cubicBezTo>
                  <a:lnTo>
                    <a:pt x="1" y="6149"/>
                  </a:lnTo>
                  <a:cubicBezTo>
                    <a:pt x="1" y="6470"/>
                    <a:pt x="263" y="6744"/>
                    <a:pt x="596" y="6744"/>
                  </a:cubicBezTo>
                  <a:cubicBezTo>
                    <a:pt x="798" y="6744"/>
                    <a:pt x="989" y="6637"/>
                    <a:pt x="1096" y="6458"/>
                  </a:cubicBezTo>
                  <a:cubicBezTo>
                    <a:pt x="1430" y="6518"/>
                    <a:pt x="1870" y="6625"/>
                    <a:pt x="2358" y="6827"/>
                  </a:cubicBezTo>
                  <a:cubicBezTo>
                    <a:pt x="2958" y="7080"/>
                    <a:pt x="3399" y="7165"/>
                    <a:pt x="3740" y="7165"/>
                  </a:cubicBezTo>
                  <a:cubicBezTo>
                    <a:pt x="3785" y="7165"/>
                    <a:pt x="3829" y="7164"/>
                    <a:pt x="3870" y="7161"/>
                  </a:cubicBezTo>
                  <a:cubicBezTo>
                    <a:pt x="3954" y="7375"/>
                    <a:pt x="4239" y="8018"/>
                    <a:pt x="4704" y="8542"/>
                  </a:cubicBezTo>
                  <a:cubicBezTo>
                    <a:pt x="4704" y="8661"/>
                    <a:pt x="4716" y="8768"/>
                    <a:pt x="4739" y="8887"/>
                  </a:cubicBezTo>
                  <a:cubicBezTo>
                    <a:pt x="4847" y="9363"/>
                    <a:pt x="5132" y="9756"/>
                    <a:pt x="5454" y="10042"/>
                  </a:cubicBezTo>
                  <a:lnTo>
                    <a:pt x="5180" y="10042"/>
                  </a:lnTo>
                  <a:cubicBezTo>
                    <a:pt x="4692" y="10042"/>
                    <a:pt x="4323" y="10435"/>
                    <a:pt x="4323" y="10887"/>
                  </a:cubicBezTo>
                  <a:cubicBezTo>
                    <a:pt x="4323" y="10983"/>
                    <a:pt x="4394" y="11054"/>
                    <a:pt x="4489" y="11054"/>
                  </a:cubicBezTo>
                  <a:lnTo>
                    <a:pt x="7597" y="11054"/>
                  </a:lnTo>
                  <a:cubicBezTo>
                    <a:pt x="8561" y="11054"/>
                    <a:pt x="9383" y="10709"/>
                    <a:pt x="9978" y="10078"/>
                  </a:cubicBezTo>
                  <a:cubicBezTo>
                    <a:pt x="10550" y="9459"/>
                    <a:pt x="10859" y="8590"/>
                    <a:pt x="10859" y="7613"/>
                  </a:cubicBezTo>
                  <a:cubicBezTo>
                    <a:pt x="10847" y="6399"/>
                    <a:pt x="10204" y="5434"/>
                    <a:pt x="9645" y="4577"/>
                  </a:cubicBezTo>
                  <a:cubicBezTo>
                    <a:pt x="9228" y="3958"/>
                    <a:pt x="8835" y="3363"/>
                    <a:pt x="8776" y="2791"/>
                  </a:cubicBezTo>
                  <a:cubicBezTo>
                    <a:pt x="8752" y="2410"/>
                    <a:pt x="8847" y="2113"/>
                    <a:pt x="9073" y="1946"/>
                  </a:cubicBezTo>
                  <a:cubicBezTo>
                    <a:pt x="9208" y="1850"/>
                    <a:pt x="9386" y="1802"/>
                    <a:pt x="9584" y="1802"/>
                  </a:cubicBezTo>
                  <a:cubicBezTo>
                    <a:pt x="9806" y="1802"/>
                    <a:pt x="10055" y="1862"/>
                    <a:pt x="10300" y="1982"/>
                  </a:cubicBezTo>
                  <a:cubicBezTo>
                    <a:pt x="10320" y="1989"/>
                    <a:pt x="10339" y="1993"/>
                    <a:pt x="10359" y="1993"/>
                  </a:cubicBezTo>
                  <a:cubicBezTo>
                    <a:pt x="10399" y="1993"/>
                    <a:pt x="10439" y="1978"/>
                    <a:pt x="10478" y="1946"/>
                  </a:cubicBezTo>
                  <a:cubicBezTo>
                    <a:pt x="10514" y="1898"/>
                    <a:pt x="10550" y="1839"/>
                    <a:pt x="10514" y="1779"/>
                  </a:cubicBezTo>
                  <a:cubicBezTo>
                    <a:pt x="10502" y="1743"/>
                    <a:pt x="10181" y="672"/>
                    <a:pt x="9300" y="208"/>
                  </a:cubicBezTo>
                  <a:cubicBezTo>
                    <a:pt x="9036" y="69"/>
                    <a:pt x="8751" y="0"/>
                    <a:pt x="84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0" name="Google Shape;12870;p63"/>
            <p:cNvSpPr/>
            <p:nvPr/>
          </p:nvSpPr>
          <p:spPr>
            <a:xfrm>
              <a:off x="3823757" y="2285522"/>
              <a:ext cx="16416" cy="10304"/>
            </a:xfrm>
            <a:custGeom>
              <a:avLst/>
              <a:gdLst/>
              <a:ahLst/>
              <a:cxnLst/>
              <a:rect l="l" t="t" r="r" b="b"/>
              <a:pathLst>
                <a:path w="513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346" y="322"/>
                  </a:lnTo>
                  <a:cubicBezTo>
                    <a:pt x="441" y="322"/>
                    <a:pt x="513" y="250"/>
                    <a:pt x="513" y="155"/>
                  </a:cubicBezTo>
                  <a:cubicBezTo>
                    <a:pt x="513" y="72"/>
                    <a:pt x="441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1" name="Google Shape;12871;p63"/>
            <p:cNvSpPr/>
            <p:nvPr/>
          </p:nvSpPr>
          <p:spPr>
            <a:xfrm>
              <a:off x="3664493" y="2075218"/>
              <a:ext cx="26720" cy="26688"/>
            </a:xfrm>
            <a:custGeom>
              <a:avLst/>
              <a:gdLst/>
              <a:ahLst/>
              <a:cxnLst/>
              <a:rect l="l" t="t" r="r" b="b"/>
              <a:pathLst>
                <a:path w="835" h="834" extrusionOk="0">
                  <a:moveTo>
                    <a:pt x="417" y="321"/>
                  </a:moveTo>
                  <a:cubicBezTo>
                    <a:pt x="477" y="321"/>
                    <a:pt x="513" y="357"/>
                    <a:pt x="513" y="417"/>
                  </a:cubicBezTo>
                  <a:cubicBezTo>
                    <a:pt x="513" y="476"/>
                    <a:pt x="453" y="524"/>
                    <a:pt x="417" y="524"/>
                  </a:cubicBezTo>
                  <a:cubicBezTo>
                    <a:pt x="358" y="524"/>
                    <a:pt x="310" y="476"/>
                    <a:pt x="310" y="417"/>
                  </a:cubicBezTo>
                  <a:cubicBezTo>
                    <a:pt x="310" y="357"/>
                    <a:pt x="346" y="321"/>
                    <a:pt x="417" y="321"/>
                  </a:cubicBezTo>
                  <a:close/>
                  <a:moveTo>
                    <a:pt x="417" y="0"/>
                  </a:moveTo>
                  <a:cubicBezTo>
                    <a:pt x="179" y="0"/>
                    <a:pt x="1" y="202"/>
                    <a:pt x="1" y="417"/>
                  </a:cubicBezTo>
                  <a:cubicBezTo>
                    <a:pt x="1" y="655"/>
                    <a:pt x="191" y="833"/>
                    <a:pt x="417" y="833"/>
                  </a:cubicBezTo>
                  <a:cubicBezTo>
                    <a:pt x="656" y="833"/>
                    <a:pt x="834" y="643"/>
                    <a:pt x="834" y="417"/>
                  </a:cubicBezTo>
                  <a:cubicBezTo>
                    <a:pt x="834" y="202"/>
                    <a:pt x="632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72" name="Google Shape;12872;p63"/>
          <p:cNvGrpSpPr/>
          <p:nvPr/>
        </p:nvGrpSpPr>
        <p:grpSpPr>
          <a:xfrm>
            <a:off x="1950765" y="1964338"/>
            <a:ext cx="357792" cy="352448"/>
            <a:chOff x="1950765" y="1964338"/>
            <a:chExt cx="357792" cy="352448"/>
          </a:xfrm>
        </p:grpSpPr>
        <p:sp>
          <p:nvSpPr>
            <p:cNvPr id="12873" name="Google Shape;12873;p63"/>
            <p:cNvSpPr/>
            <p:nvPr/>
          </p:nvSpPr>
          <p:spPr>
            <a:xfrm>
              <a:off x="2048301" y="2152530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2" y="1"/>
                  </a:moveTo>
                  <a:cubicBezTo>
                    <a:pt x="346" y="1"/>
                    <a:pt x="0" y="334"/>
                    <a:pt x="0" y="751"/>
                  </a:cubicBezTo>
                  <a:lnTo>
                    <a:pt x="0" y="1096"/>
                  </a:lnTo>
                  <a:cubicBezTo>
                    <a:pt x="0" y="1513"/>
                    <a:pt x="346" y="1858"/>
                    <a:pt x="762" y="1858"/>
                  </a:cubicBezTo>
                  <a:cubicBezTo>
                    <a:pt x="1179" y="1858"/>
                    <a:pt x="1524" y="1513"/>
                    <a:pt x="1524" y="1096"/>
                  </a:cubicBezTo>
                  <a:lnTo>
                    <a:pt x="1524" y="751"/>
                  </a:lnTo>
                  <a:cubicBezTo>
                    <a:pt x="1524" y="656"/>
                    <a:pt x="1489" y="549"/>
                    <a:pt x="1453" y="442"/>
                  </a:cubicBezTo>
                  <a:cubicBezTo>
                    <a:pt x="1419" y="390"/>
                    <a:pt x="1360" y="351"/>
                    <a:pt x="1303" y="351"/>
                  </a:cubicBezTo>
                  <a:cubicBezTo>
                    <a:pt x="1280" y="351"/>
                    <a:pt x="1259" y="357"/>
                    <a:pt x="1239" y="370"/>
                  </a:cubicBezTo>
                  <a:cubicBezTo>
                    <a:pt x="1167" y="418"/>
                    <a:pt x="1120" y="501"/>
                    <a:pt x="1167" y="572"/>
                  </a:cubicBezTo>
                  <a:cubicBezTo>
                    <a:pt x="1191" y="632"/>
                    <a:pt x="1215" y="703"/>
                    <a:pt x="1215" y="775"/>
                  </a:cubicBezTo>
                  <a:lnTo>
                    <a:pt x="1215" y="1120"/>
                  </a:lnTo>
                  <a:cubicBezTo>
                    <a:pt x="1215" y="1358"/>
                    <a:pt x="1012" y="1561"/>
                    <a:pt x="762" y="1561"/>
                  </a:cubicBezTo>
                  <a:cubicBezTo>
                    <a:pt x="524" y="1561"/>
                    <a:pt x="322" y="1370"/>
                    <a:pt x="322" y="1120"/>
                  </a:cubicBezTo>
                  <a:lnTo>
                    <a:pt x="322" y="775"/>
                  </a:lnTo>
                  <a:cubicBezTo>
                    <a:pt x="322" y="537"/>
                    <a:pt x="512" y="322"/>
                    <a:pt x="762" y="322"/>
                  </a:cubicBezTo>
                  <a:cubicBezTo>
                    <a:pt x="858" y="322"/>
                    <a:pt x="929" y="251"/>
                    <a:pt x="929" y="156"/>
                  </a:cubicBezTo>
                  <a:cubicBezTo>
                    <a:pt x="929" y="72"/>
                    <a:pt x="858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4" name="Google Shape;12874;p63"/>
            <p:cNvSpPr/>
            <p:nvPr/>
          </p:nvSpPr>
          <p:spPr>
            <a:xfrm>
              <a:off x="2164109" y="2152530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3" y="1"/>
                  </a:moveTo>
                  <a:cubicBezTo>
                    <a:pt x="346" y="1"/>
                    <a:pt x="1" y="334"/>
                    <a:pt x="1" y="751"/>
                  </a:cubicBezTo>
                  <a:lnTo>
                    <a:pt x="1" y="1096"/>
                  </a:lnTo>
                  <a:cubicBezTo>
                    <a:pt x="1" y="1513"/>
                    <a:pt x="346" y="1858"/>
                    <a:pt x="763" y="1858"/>
                  </a:cubicBezTo>
                  <a:cubicBezTo>
                    <a:pt x="1180" y="1858"/>
                    <a:pt x="1525" y="1513"/>
                    <a:pt x="1525" y="1096"/>
                  </a:cubicBezTo>
                  <a:lnTo>
                    <a:pt x="1525" y="751"/>
                  </a:lnTo>
                  <a:cubicBezTo>
                    <a:pt x="1525" y="656"/>
                    <a:pt x="1489" y="549"/>
                    <a:pt x="1442" y="442"/>
                  </a:cubicBezTo>
                  <a:cubicBezTo>
                    <a:pt x="1416" y="390"/>
                    <a:pt x="1359" y="351"/>
                    <a:pt x="1303" y="351"/>
                  </a:cubicBezTo>
                  <a:cubicBezTo>
                    <a:pt x="1281" y="351"/>
                    <a:pt x="1259" y="357"/>
                    <a:pt x="1239" y="370"/>
                  </a:cubicBezTo>
                  <a:cubicBezTo>
                    <a:pt x="1168" y="418"/>
                    <a:pt x="1120" y="501"/>
                    <a:pt x="1168" y="572"/>
                  </a:cubicBezTo>
                  <a:cubicBezTo>
                    <a:pt x="1192" y="632"/>
                    <a:pt x="1203" y="703"/>
                    <a:pt x="1203" y="775"/>
                  </a:cubicBezTo>
                  <a:lnTo>
                    <a:pt x="1203" y="1120"/>
                  </a:lnTo>
                  <a:cubicBezTo>
                    <a:pt x="1203" y="1358"/>
                    <a:pt x="1013" y="1561"/>
                    <a:pt x="763" y="1561"/>
                  </a:cubicBezTo>
                  <a:cubicBezTo>
                    <a:pt x="525" y="1561"/>
                    <a:pt x="311" y="1370"/>
                    <a:pt x="311" y="1120"/>
                  </a:cubicBezTo>
                  <a:lnTo>
                    <a:pt x="311" y="775"/>
                  </a:lnTo>
                  <a:cubicBezTo>
                    <a:pt x="311" y="537"/>
                    <a:pt x="513" y="322"/>
                    <a:pt x="763" y="322"/>
                  </a:cubicBezTo>
                  <a:cubicBezTo>
                    <a:pt x="846" y="322"/>
                    <a:pt x="930" y="251"/>
                    <a:pt x="930" y="156"/>
                  </a:cubicBezTo>
                  <a:cubicBezTo>
                    <a:pt x="930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5" name="Google Shape;12875;p63"/>
            <p:cNvSpPr/>
            <p:nvPr/>
          </p:nvSpPr>
          <p:spPr>
            <a:xfrm>
              <a:off x="2097453" y="2224562"/>
              <a:ext cx="65952" cy="56416"/>
            </a:xfrm>
            <a:custGeom>
              <a:avLst/>
              <a:gdLst/>
              <a:ahLst/>
              <a:cxnLst/>
              <a:rect l="l" t="t" r="r" b="b"/>
              <a:pathLst>
                <a:path w="2061" h="1763" extrusionOk="0">
                  <a:moveTo>
                    <a:pt x="1012" y="322"/>
                  </a:moveTo>
                  <a:cubicBezTo>
                    <a:pt x="1405" y="322"/>
                    <a:pt x="1715" y="560"/>
                    <a:pt x="1715" y="858"/>
                  </a:cubicBezTo>
                  <a:cubicBezTo>
                    <a:pt x="1727" y="1096"/>
                    <a:pt x="1489" y="1250"/>
                    <a:pt x="1191" y="1405"/>
                  </a:cubicBezTo>
                  <a:cubicBezTo>
                    <a:pt x="1131" y="1435"/>
                    <a:pt x="1075" y="1450"/>
                    <a:pt x="1021" y="1450"/>
                  </a:cubicBezTo>
                  <a:cubicBezTo>
                    <a:pt x="968" y="1450"/>
                    <a:pt x="917" y="1435"/>
                    <a:pt x="870" y="1405"/>
                  </a:cubicBezTo>
                  <a:lnTo>
                    <a:pt x="846" y="1405"/>
                  </a:lnTo>
                  <a:cubicBezTo>
                    <a:pt x="548" y="1250"/>
                    <a:pt x="310" y="1096"/>
                    <a:pt x="310" y="858"/>
                  </a:cubicBezTo>
                  <a:cubicBezTo>
                    <a:pt x="310" y="560"/>
                    <a:pt x="631" y="322"/>
                    <a:pt x="1012" y="322"/>
                  </a:cubicBezTo>
                  <a:close/>
                  <a:moveTo>
                    <a:pt x="1024" y="0"/>
                  </a:moveTo>
                  <a:cubicBezTo>
                    <a:pt x="465" y="0"/>
                    <a:pt x="0" y="381"/>
                    <a:pt x="0" y="846"/>
                  </a:cubicBezTo>
                  <a:cubicBezTo>
                    <a:pt x="0" y="1310"/>
                    <a:pt x="417" y="1524"/>
                    <a:pt x="703" y="1679"/>
                  </a:cubicBezTo>
                  <a:lnTo>
                    <a:pt x="715" y="1679"/>
                  </a:lnTo>
                  <a:cubicBezTo>
                    <a:pt x="822" y="1739"/>
                    <a:pt x="929" y="1762"/>
                    <a:pt x="1024" y="1762"/>
                  </a:cubicBezTo>
                  <a:cubicBezTo>
                    <a:pt x="1131" y="1762"/>
                    <a:pt x="1239" y="1739"/>
                    <a:pt x="1346" y="1679"/>
                  </a:cubicBezTo>
                  <a:lnTo>
                    <a:pt x="1358" y="1679"/>
                  </a:lnTo>
                  <a:cubicBezTo>
                    <a:pt x="1643" y="1524"/>
                    <a:pt x="2060" y="1286"/>
                    <a:pt x="2060" y="846"/>
                  </a:cubicBezTo>
                  <a:cubicBezTo>
                    <a:pt x="2060" y="381"/>
                    <a:pt x="1596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6" name="Google Shape;12876;p63"/>
            <p:cNvSpPr/>
            <p:nvPr/>
          </p:nvSpPr>
          <p:spPr>
            <a:xfrm>
              <a:off x="1950765" y="1964338"/>
              <a:ext cx="357792" cy="352448"/>
            </a:xfrm>
            <a:custGeom>
              <a:avLst/>
              <a:gdLst/>
              <a:ahLst/>
              <a:cxnLst/>
              <a:rect l="l" t="t" r="r" b="b"/>
              <a:pathLst>
                <a:path w="11181" h="11014" extrusionOk="0">
                  <a:moveTo>
                    <a:pt x="2155" y="346"/>
                  </a:moveTo>
                  <a:cubicBezTo>
                    <a:pt x="2429" y="357"/>
                    <a:pt x="2715" y="453"/>
                    <a:pt x="2977" y="608"/>
                  </a:cubicBezTo>
                  <a:cubicBezTo>
                    <a:pt x="3453" y="893"/>
                    <a:pt x="3822" y="1358"/>
                    <a:pt x="4025" y="1917"/>
                  </a:cubicBezTo>
                  <a:cubicBezTo>
                    <a:pt x="4049" y="2001"/>
                    <a:pt x="4060" y="2072"/>
                    <a:pt x="4072" y="2132"/>
                  </a:cubicBezTo>
                  <a:cubicBezTo>
                    <a:pt x="3930" y="2203"/>
                    <a:pt x="3763" y="2298"/>
                    <a:pt x="3620" y="2393"/>
                  </a:cubicBezTo>
                  <a:cubicBezTo>
                    <a:pt x="3584" y="2239"/>
                    <a:pt x="3537" y="2072"/>
                    <a:pt x="3477" y="1905"/>
                  </a:cubicBezTo>
                  <a:cubicBezTo>
                    <a:pt x="3275" y="1322"/>
                    <a:pt x="2929" y="846"/>
                    <a:pt x="2501" y="536"/>
                  </a:cubicBezTo>
                  <a:cubicBezTo>
                    <a:pt x="2382" y="453"/>
                    <a:pt x="2263" y="393"/>
                    <a:pt x="2155" y="346"/>
                  </a:cubicBezTo>
                  <a:close/>
                  <a:moveTo>
                    <a:pt x="1582" y="529"/>
                  </a:moveTo>
                  <a:cubicBezTo>
                    <a:pt x="2211" y="529"/>
                    <a:pt x="2889" y="1119"/>
                    <a:pt x="3203" y="2012"/>
                  </a:cubicBezTo>
                  <a:cubicBezTo>
                    <a:pt x="3275" y="2203"/>
                    <a:pt x="3322" y="2417"/>
                    <a:pt x="3346" y="2608"/>
                  </a:cubicBezTo>
                  <a:cubicBezTo>
                    <a:pt x="3048" y="2846"/>
                    <a:pt x="2775" y="3132"/>
                    <a:pt x="2501" y="3453"/>
                  </a:cubicBezTo>
                  <a:cubicBezTo>
                    <a:pt x="2239" y="3786"/>
                    <a:pt x="2001" y="4156"/>
                    <a:pt x="1798" y="4537"/>
                  </a:cubicBezTo>
                  <a:cubicBezTo>
                    <a:pt x="1251" y="4287"/>
                    <a:pt x="810" y="3786"/>
                    <a:pt x="584" y="3144"/>
                  </a:cubicBezTo>
                  <a:cubicBezTo>
                    <a:pt x="370" y="2572"/>
                    <a:pt x="370" y="1977"/>
                    <a:pt x="572" y="1465"/>
                  </a:cubicBezTo>
                  <a:cubicBezTo>
                    <a:pt x="703" y="1108"/>
                    <a:pt x="929" y="810"/>
                    <a:pt x="1203" y="608"/>
                  </a:cubicBezTo>
                  <a:cubicBezTo>
                    <a:pt x="1227" y="596"/>
                    <a:pt x="1251" y="596"/>
                    <a:pt x="1263" y="584"/>
                  </a:cubicBezTo>
                  <a:cubicBezTo>
                    <a:pt x="1366" y="547"/>
                    <a:pt x="1474" y="529"/>
                    <a:pt x="1582" y="529"/>
                  </a:cubicBezTo>
                  <a:close/>
                  <a:moveTo>
                    <a:pt x="9061" y="357"/>
                  </a:moveTo>
                  <a:lnTo>
                    <a:pt x="9061" y="357"/>
                  </a:lnTo>
                  <a:cubicBezTo>
                    <a:pt x="8930" y="417"/>
                    <a:pt x="8811" y="488"/>
                    <a:pt x="8680" y="584"/>
                  </a:cubicBezTo>
                  <a:cubicBezTo>
                    <a:pt x="8609" y="643"/>
                    <a:pt x="8585" y="727"/>
                    <a:pt x="8644" y="810"/>
                  </a:cubicBezTo>
                  <a:cubicBezTo>
                    <a:pt x="8680" y="846"/>
                    <a:pt x="8728" y="869"/>
                    <a:pt x="8787" y="869"/>
                  </a:cubicBezTo>
                  <a:cubicBezTo>
                    <a:pt x="8811" y="869"/>
                    <a:pt x="8859" y="846"/>
                    <a:pt x="8871" y="834"/>
                  </a:cubicBezTo>
                  <a:cubicBezTo>
                    <a:pt x="9134" y="647"/>
                    <a:pt x="9409" y="545"/>
                    <a:pt x="9662" y="545"/>
                  </a:cubicBezTo>
                  <a:cubicBezTo>
                    <a:pt x="9764" y="545"/>
                    <a:pt x="9862" y="561"/>
                    <a:pt x="9954" y="596"/>
                  </a:cubicBezTo>
                  <a:cubicBezTo>
                    <a:pt x="9978" y="596"/>
                    <a:pt x="10002" y="608"/>
                    <a:pt x="10037" y="631"/>
                  </a:cubicBezTo>
                  <a:cubicBezTo>
                    <a:pt x="10311" y="822"/>
                    <a:pt x="10526" y="1119"/>
                    <a:pt x="10657" y="1477"/>
                  </a:cubicBezTo>
                  <a:cubicBezTo>
                    <a:pt x="10847" y="1989"/>
                    <a:pt x="10835" y="2584"/>
                    <a:pt x="10645" y="3155"/>
                  </a:cubicBezTo>
                  <a:cubicBezTo>
                    <a:pt x="10418" y="3775"/>
                    <a:pt x="9978" y="4298"/>
                    <a:pt x="9418" y="4548"/>
                  </a:cubicBezTo>
                  <a:cubicBezTo>
                    <a:pt x="9228" y="4167"/>
                    <a:pt x="8990" y="3810"/>
                    <a:pt x="8728" y="3465"/>
                  </a:cubicBezTo>
                  <a:cubicBezTo>
                    <a:pt x="8454" y="3144"/>
                    <a:pt x="8168" y="2858"/>
                    <a:pt x="7870" y="2620"/>
                  </a:cubicBezTo>
                  <a:cubicBezTo>
                    <a:pt x="7906" y="2429"/>
                    <a:pt x="7954" y="2215"/>
                    <a:pt x="8025" y="2024"/>
                  </a:cubicBezTo>
                  <a:cubicBezTo>
                    <a:pt x="8109" y="1774"/>
                    <a:pt x="8251" y="1536"/>
                    <a:pt x="8394" y="1310"/>
                  </a:cubicBezTo>
                  <a:cubicBezTo>
                    <a:pt x="8454" y="1239"/>
                    <a:pt x="8430" y="1131"/>
                    <a:pt x="8371" y="1084"/>
                  </a:cubicBezTo>
                  <a:cubicBezTo>
                    <a:pt x="8340" y="1062"/>
                    <a:pt x="8309" y="1053"/>
                    <a:pt x="8278" y="1053"/>
                  </a:cubicBezTo>
                  <a:cubicBezTo>
                    <a:pt x="8225" y="1053"/>
                    <a:pt x="8175" y="1081"/>
                    <a:pt x="8144" y="1119"/>
                  </a:cubicBezTo>
                  <a:cubicBezTo>
                    <a:pt x="7966" y="1358"/>
                    <a:pt x="7835" y="1620"/>
                    <a:pt x="7728" y="1905"/>
                  </a:cubicBezTo>
                  <a:cubicBezTo>
                    <a:pt x="7668" y="2072"/>
                    <a:pt x="7620" y="2227"/>
                    <a:pt x="7597" y="2393"/>
                  </a:cubicBezTo>
                  <a:cubicBezTo>
                    <a:pt x="7442" y="2286"/>
                    <a:pt x="7299" y="2203"/>
                    <a:pt x="7132" y="2132"/>
                  </a:cubicBezTo>
                  <a:cubicBezTo>
                    <a:pt x="7156" y="2060"/>
                    <a:pt x="7180" y="1977"/>
                    <a:pt x="7204" y="1917"/>
                  </a:cubicBezTo>
                  <a:cubicBezTo>
                    <a:pt x="7418" y="1358"/>
                    <a:pt x="7787" y="893"/>
                    <a:pt x="8251" y="608"/>
                  </a:cubicBezTo>
                  <a:cubicBezTo>
                    <a:pt x="8513" y="465"/>
                    <a:pt x="8787" y="369"/>
                    <a:pt x="9061" y="357"/>
                  </a:cubicBezTo>
                  <a:close/>
                  <a:moveTo>
                    <a:pt x="5620" y="2072"/>
                  </a:moveTo>
                  <a:cubicBezTo>
                    <a:pt x="6632" y="2072"/>
                    <a:pt x="7680" y="2655"/>
                    <a:pt x="8502" y="3667"/>
                  </a:cubicBezTo>
                  <a:cubicBezTo>
                    <a:pt x="9311" y="4679"/>
                    <a:pt x="9775" y="5965"/>
                    <a:pt x="9775" y="7204"/>
                  </a:cubicBezTo>
                  <a:cubicBezTo>
                    <a:pt x="9764" y="7656"/>
                    <a:pt x="9645" y="8085"/>
                    <a:pt x="9418" y="8466"/>
                  </a:cubicBezTo>
                  <a:cubicBezTo>
                    <a:pt x="9121" y="8454"/>
                    <a:pt x="8834" y="8450"/>
                    <a:pt x="8581" y="8450"/>
                  </a:cubicBezTo>
                  <a:cubicBezTo>
                    <a:pt x="8076" y="8450"/>
                    <a:pt x="7708" y="8466"/>
                    <a:pt x="7668" y="8466"/>
                  </a:cubicBezTo>
                  <a:cubicBezTo>
                    <a:pt x="7573" y="8466"/>
                    <a:pt x="7501" y="8549"/>
                    <a:pt x="7513" y="8632"/>
                  </a:cubicBezTo>
                  <a:cubicBezTo>
                    <a:pt x="7513" y="8721"/>
                    <a:pt x="7585" y="8788"/>
                    <a:pt x="7662" y="8788"/>
                  </a:cubicBezTo>
                  <a:cubicBezTo>
                    <a:pt x="7668" y="8788"/>
                    <a:pt x="7674" y="8788"/>
                    <a:pt x="7680" y="8787"/>
                  </a:cubicBezTo>
                  <a:cubicBezTo>
                    <a:pt x="7688" y="8787"/>
                    <a:pt x="8003" y="8771"/>
                    <a:pt x="8455" y="8771"/>
                  </a:cubicBezTo>
                  <a:cubicBezTo>
                    <a:pt x="8681" y="8771"/>
                    <a:pt x="8942" y="8775"/>
                    <a:pt x="9216" y="8787"/>
                  </a:cubicBezTo>
                  <a:cubicBezTo>
                    <a:pt x="9144" y="8882"/>
                    <a:pt x="9061" y="8978"/>
                    <a:pt x="8978" y="9085"/>
                  </a:cubicBezTo>
                  <a:lnTo>
                    <a:pt x="8740" y="9323"/>
                  </a:lnTo>
                  <a:cubicBezTo>
                    <a:pt x="7990" y="9109"/>
                    <a:pt x="7394" y="9001"/>
                    <a:pt x="7370" y="8990"/>
                  </a:cubicBezTo>
                  <a:cubicBezTo>
                    <a:pt x="7362" y="8988"/>
                    <a:pt x="7354" y="8988"/>
                    <a:pt x="7346" y="8988"/>
                  </a:cubicBezTo>
                  <a:cubicBezTo>
                    <a:pt x="7261" y="8988"/>
                    <a:pt x="7191" y="9044"/>
                    <a:pt x="7180" y="9120"/>
                  </a:cubicBezTo>
                  <a:cubicBezTo>
                    <a:pt x="7156" y="9216"/>
                    <a:pt x="7216" y="9299"/>
                    <a:pt x="7311" y="9323"/>
                  </a:cubicBezTo>
                  <a:cubicBezTo>
                    <a:pt x="7323" y="9323"/>
                    <a:pt x="7799" y="9406"/>
                    <a:pt x="8418" y="9573"/>
                  </a:cubicBezTo>
                  <a:cubicBezTo>
                    <a:pt x="7990" y="9871"/>
                    <a:pt x="7478" y="10109"/>
                    <a:pt x="6894" y="10240"/>
                  </a:cubicBezTo>
                  <a:cubicBezTo>
                    <a:pt x="6918" y="10192"/>
                    <a:pt x="6966" y="10168"/>
                    <a:pt x="6989" y="10121"/>
                  </a:cubicBezTo>
                  <a:cubicBezTo>
                    <a:pt x="7037" y="10049"/>
                    <a:pt x="7025" y="9942"/>
                    <a:pt x="6954" y="9894"/>
                  </a:cubicBezTo>
                  <a:cubicBezTo>
                    <a:pt x="6924" y="9882"/>
                    <a:pt x="6892" y="9875"/>
                    <a:pt x="6862" y="9875"/>
                  </a:cubicBezTo>
                  <a:cubicBezTo>
                    <a:pt x="6808" y="9875"/>
                    <a:pt x="6758" y="9896"/>
                    <a:pt x="6727" y="9942"/>
                  </a:cubicBezTo>
                  <a:cubicBezTo>
                    <a:pt x="6608" y="10109"/>
                    <a:pt x="6430" y="10216"/>
                    <a:pt x="6216" y="10216"/>
                  </a:cubicBezTo>
                  <a:cubicBezTo>
                    <a:pt x="6096" y="10216"/>
                    <a:pt x="6001" y="10180"/>
                    <a:pt x="5894" y="10109"/>
                  </a:cubicBezTo>
                  <a:cubicBezTo>
                    <a:pt x="5811" y="10055"/>
                    <a:pt x="5712" y="10028"/>
                    <a:pt x="5616" y="10028"/>
                  </a:cubicBezTo>
                  <a:cubicBezTo>
                    <a:pt x="5519" y="10028"/>
                    <a:pt x="5424" y="10055"/>
                    <a:pt x="5346" y="10109"/>
                  </a:cubicBezTo>
                  <a:cubicBezTo>
                    <a:pt x="5239" y="10168"/>
                    <a:pt x="5132" y="10216"/>
                    <a:pt x="5013" y="10216"/>
                  </a:cubicBezTo>
                  <a:cubicBezTo>
                    <a:pt x="4811" y="10216"/>
                    <a:pt x="4632" y="10109"/>
                    <a:pt x="4513" y="9942"/>
                  </a:cubicBezTo>
                  <a:cubicBezTo>
                    <a:pt x="4482" y="9896"/>
                    <a:pt x="4427" y="9875"/>
                    <a:pt x="4373" y="9875"/>
                  </a:cubicBezTo>
                  <a:cubicBezTo>
                    <a:pt x="4343" y="9875"/>
                    <a:pt x="4312" y="9882"/>
                    <a:pt x="4287" y="9894"/>
                  </a:cubicBezTo>
                  <a:cubicBezTo>
                    <a:pt x="4215" y="9942"/>
                    <a:pt x="4203" y="10049"/>
                    <a:pt x="4239" y="10121"/>
                  </a:cubicBezTo>
                  <a:cubicBezTo>
                    <a:pt x="4275" y="10168"/>
                    <a:pt x="4299" y="10216"/>
                    <a:pt x="4346" y="10240"/>
                  </a:cubicBezTo>
                  <a:cubicBezTo>
                    <a:pt x="3763" y="10109"/>
                    <a:pt x="3263" y="9882"/>
                    <a:pt x="2810" y="9573"/>
                  </a:cubicBezTo>
                  <a:cubicBezTo>
                    <a:pt x="3441" y="9406"/>
                    <a:pt x="3918" y="9323"/>
                    <a:pt x="3930" y="9323"/>
                  </a:cubicBezTo>
                  <a:cubicBezTo>
                    <a:pt x="4025" y="9299"/>
                    <a:pt x="4072" y="9216"/>
                    <a:pt x="4060" y="9120"/>
                  </a:cubicBezTo>
                  <a:cubicBezTo>
                    <a:pt x="4050" y="9044"/>
                    <a:pt x="3969" y="8988"/>
                    <a:pt x="3892" y="8988"/>
                  </a:cubicBezTo>
                  <a:cubicBezTo>
                    <a:pt x="3884" y="8988"/>
                    <a:pt x="3877" y="8988"/>
                    <a:pt x="3870" y="8990"/>
                  </a:cubicBezTo>
                  <a:cubicBezTo>
                    <a:pt x="3822" y="8990"/>
                    <a:pt x="3227" y="9109"/>
                    <a:pt x="2501" y="9323"/>
                  </a:cubicBezTo>
                  <a:cubicBezTo>
                    <a:pt x="2406" y="9240"/>
                    <a:pt x="2334" y="9168"/>
                    <a:pt x="2263" y="9085"/>
                  </a:cubicBezTo>
                  <a:cubicBezTo>
                    <a:pt x="2167" y="8990"/>
                    <a:pt x="2096" y="8882"/>
                    <a:pt x="2025" y="8787"/>
                  </a:cubicBezTo>
                  <a:cubicBezTo>
                    <a:pt x="2298" y="8775"/>
                    <a:pt x="2558" y="8771"/>
                    <a:pt x="2783" y="8771"/>
                  </a:cubicBezTo>
                  <a:cubicBezTo>
                    <a:pt x="3232" y="8771"/>
                    <a:pt x="3545" y="8787"/>
                    <a:pt x="3560" y="8787"/>
                  </a:cubicBezTo>
                  <a:cubicBezTo>
                    <a:pt x="3644" y="8787"/>
                    <a:pt x="3715" y="8728"/>
                    <a:pt x="3715" y="8632"/>
                  </a:cubicBezTo>
                  <a:cubicBezTo>
                    <a:pt x="3715" y="8549"/>
                    <a:pt x="3656" y="8466"/>
                    <a:pt x="3572" y="8466"/>
                  </a:cubicBezTo>
                  <a:cubicBezTo>
                    <a:pt x="3533" y="8466"/>
                    <a:pt x="3160" y="8450"/>
                    <a:pt x="2651" y="8450"/>
                  </a:cubicBezTo>
                  <a:cubicBezTo>
                    <a:pt x="2396" y="8450"/>
                    <a:pt x="2108" y="8454"/>
                    <a:pt x="1810" y="8466"/>
                  </a:cubicBezTo>
                  <a:cubicBezTo>
                    <a:pt x="1596" y="8073"/>
                    <a:pt x="1477" y="7632"/>
                    <a:pt x="1477" y="7204"/>
                  </a:cubicBezTo>
                  <a:cubicBezTo>
                    <a:pt x="1477" y="5965"/>
                    <a:pt x="1929" y="4679"/>
                    <a:pt x="2751" y="3667"/>
                  </a:cubicBezTo>
                  <a:cubicBezTo>
                    <a:pt x="3572" y="2655"/>
                    <a:pt x="4608" y="2072"/>
                    <a:pt x="5620" y="2072"/>
                  </a:cubicBezTo>
                  <a:close/>
                  <a:moveTo>
                    <a:pt x="5605" y="10335"/>
                  </a:moveTo>
                  <a:cubicBezTo>
                    <a:pt x="5641" y="10335"/>
                    <a:pt x="5680" y="10347"/>
                    <a:pt x="5715" y="10371"/>
                  </a:cubicBezTo>
                  <a:cubicBezTo>
                    <a:pt x="5858" y="10478"/>
                    <a:pt x="6037" y="10525"/>
                    <a:pt x="6216" y="10525"/>
                  </a:cubicBezTo>
                  <a:cubicBezTo>
                    <a:pt x="6311" y="10525"/>
                    <a:pt x="6394" y="10502"/>
                    <a:pt x="6477" y="10478"/>
                  </a:cubicBezTo>
                  <a:lnTo>
                    <a:pt x="6477" y="10478"/>
                  </a:lnTo>
                  <a:cubicBezTo>
                    <a:pt x="6204" y="10644"/>
                    <a:pt x="5906" y="10716"/>
                    <a:pt x="5608" y="10716"/>
                  </a:cubicBezTo>
                  <a:cubicBezTo>
                    <a:pt x="5311" y="10716"/>
                    <a:pt x="5013" y="10644"/>
                    <a:pt x="4751" y="10478"/>
                  </a:cubicBezTo>
                  <a:lnTo>
                    <a:pt x="4751" y="10478"/>
                  </a:lnTo>
                  <a:cubicBezTo>
                    <a:pt x="4834" y="10502"/>
                    <a:pt x="4918" y="10525"/>
                    <a:pt x="5001" y="10525"/>
                  </a:cubicBezTo>
                  <a:cubicBezTo>
                    <a:pt x="5180" y="10525"/>
                    <a:pt x="5358" y="10478"/>
                    <a:pt x="5513" y="10371"/>
                  </a:cubicBezTo>
                  <a:cubicBezTo>
                    <a:pt x="5537" y="10347"/>
                    <a:pt x="5570" y="10335"/>
                    <a:pt x="5605" y="10335"/>
                  </a:cubicBezTo>
                  <a:close/>
                  <a:moveTo>
                    <a:pt x="2035" y="1"/>
                  </a:moveTo>
                  <a:cubicBezTo>
                    <a:pt x="1822" y="1"/>
                    <a:pt x="1610" y="39"/>
                    <a:pt x="1405" y="119"/>
                  </a:cubicBezTo>
                  <a:cubicBezTo>
                    <a:pt x="846" y="310"/>
                    <a:pt x="429" y="738"/>
                    <a:pt x="215" y="1358"/>
                  </a:cubicBezTo>
                  <a:cubicBezTo>
                    <a:pt x="0" y="1929"/>
                    <a:pt x="0" y="2620"/>
                    <a:pt x="227" y="3239"/>
                  </a:cubicBezTo>
                  <a:cubicBezTo>
                    <a:pt x="477" y="3953"/>
                    <a:pt x="989" y="4537"/>
                    <a:pt x="1608" y="4822"/>
                  </a:cubicBezTo>
                  <a:cubicBezTo>
                    <a:pt x="1263" y="5584"/>
                    <a:pt x="1084" y="6406"/>
                    <a:pt x="1084" y="7204"/>
                  </a:cubicBezTo>
                  <a:cubicBezTo>
                    <a:pt x="1084" y="7632"/>
                    <a:pt x="1191" y="8085"/>
                    <a:pt x="1382" y="8489"/>
                  </a:cubicBezTo>
                  <a:cubicBezTo>
                    <a:pt x="953" y="8513"/>
                    <a:pt x="524" y="8561"/>
                    <a:pt x="167" y="8644"/>
                  </a:cubicBezTo>
                  <a:cubicBezTo>
                    <a:pt x="72" y="8668"/>
                    <a:pt x="36" y="8751"/>
                    <a:pt x="48" y="8847"/>
                  </a:cubicBezTo>
                  <a:cubicBezTo>
                    <a:pt x="60" y="8918"/>
                    <a:pt x="131" y="8966"/>
                    <a:pt x="215" y="8966"/>
                  </a:cubicBezTo>
                  <a:lnTo>
                    <a:pt x="239" y="8966"/>
                  </a:lnTo>
                  <a:cubicBezTo>
                    <a:pt x="608" y="8870"/>
                    <a:pt x="1084" y="8823"/>
                    <a:pt x="1560" y="8799"/>
                  </a:cubicBezTo>
                  <a:cubicBezTo>
                    <a:pt x="1667" y="8978"/>
                    <a:pt x="1798" y="9144"/>
                    <a:pt x="1953" y="9287"/>
                  </a:cubicBezTo>
                  <a:lnTo>
                    <a:pt x="2072" y="9406"/>
                  </a:lnTo>
                  <a:cubicBezTo>
                    <a:pt x="1667" y="9525"/>
                    <a:pt x="1239" y="9680"/>
                    <a:pt x="834" y="9859"/>
                  </a:cubicBezTo>
                  <a:cubicBezTo>
                    <a:pt x="762" y="9882"/>
                    <a:pt x="715" y="9990"/>
                    <a:pt x="762" y="10061"/>
                  </a:cubicBezTo>
                  <a:cubicBezTo>
                    <a:pt x="786" y="10121"/>
                    <a:pt x="846" y="10156"/>
                    <a:pt x="905" y="10156"/>
                  </a:cubicBezTo>
                  <a:cubicBezTo>
                    <a:pt x="929" y="10156"/>
                    <a:pt x="953" y="10156"/>
                    <a:pt x="965" y="10132"/>
                  </a:cubicBezTo>
                  <a:cubicBezTo>
                    <a:pt x="1417" y="9942"/>
                    <a:pt x="1905" y="9775"/>
                    <a:pt x="2358" y="9644"/>
                  </a:cubicBezTo>
                  <a:cubicBezTo>
                    <a:pt x="2870" y="10061"/>
                    <a:pt x="3501" y="10359"/>
                    <a:pt x="4227" y="10525"/>
                  </a:cubicBezTo>
                  <a:cubicBezTo>
                    <a:pt x="4596" y="10835"/>
                    <a:pt x="5073" y="11014"/>
                    <a:pt x="5573" y="11014"/>
                  </a:cubicBezTo>
                  <a:cubicBezTo>
                    <a:pt x="6061" y="11014"/>
                    <a:pt x="6537" y="10835"/>
                    <a:pt x="6906" y="10525"/>
                  </a:cubicBezTo>
                  <a:cubicBezTo>
                    <a:pt x="7620" y="10359"/>
                    <a:pt x="8263" y="10061"/>
                    <a:pt x="8787" y="9644"/>
                  </a:cubicBezTo>
                  <a:cubicBezTo>
                    <a:pt x="9240" y="9775"/>
                    <a:pt x="9740" y="9942"/>
                    <a:pt x="10168" y="10132"/>
                  </a:cubicBezTo>
                  <a:cubicBezTo>
                    <a:pt x="10180" y="10156"/>
                    <a:pt x="10216" y="10156"/>
                    <a:pt x="10228" y="10156"/>
                  </a:cubicBezTo>
                  <a:cubicBezTo>
                    <a:pt x="10287" y="10156"/>
                    <a:pt x="10347" y="10121"/>
                    <a:pt x="10371" y="10061"/>
                  </a:cubicBezTo>
                  <a:cubicBezTo>
                    <a:pt x="10407" y="9990"/>
                    <a:pt x="10371" y="9882"/>
                    <a:pt x="10299" y="9859"/>
                  </a:cubicBezTo>
                  <a:cubicBezTo>
                    <a:pt x="9918" y="9680"/>
                    <a:pt x="9478" y="9525"/>
                    <a:pt x="9061" y="9406"/>
                  </a:cubicBezTo>
                  <a:lnTo>
                    <a:pt x="9180" y="9287"/>
                  </a:lnTo>
                  <a:cubicBezTo>
                    <a:pt x="9335" y="9144"/>
                    <a:pt x="9466" y="8966"/>
                    <a:pt x="9573" y="8799"/>
                  </a:cubicBezTo>
                  <a:cubicBezTo>
                    <a:pt x="10049" y="8823"/>
                    <a:pt x="10526" y="8870"/>
                    <a:pt x="10895" y="8966"/>
                  </a:cubicBezTo>
                  <a:lnTo>
                    <a:pt x="10930" y="8966"/>
                  </a:lnTo>
                  <a:cubicBezTo>
                    <a:pt x="11002" y="8966"/>
                    <a:pt x="11061" y="8918"/>
                    <a:pt x="11085" y="8847"/>
                  </a:cubicBezTo>
                  <a:cubicBezTo>
                    <a:pt x="11133" y="8751"/>
                    <a:pt x="11085" y="8680"/>
                    <a:pt x="11002" y="8644"/>
                  </a:cubicBezTo>
                  <a:cubicBezTo>
                    <a:pt x="10645" y="8573"/>
                    <a:pt x="10216" y="8513"/>
                    <a:pt x="9775" y="8489"/>
                  </a:cubicBezTo>
                  <a:cubicBezTo>
                    <a:pt x="9978" y="8085"/>
                    <a:pt x="10073" y="7644"/>
                    <a:pt x="10073" y="7204"/>
                  </a:cubicBezTo>
                  <a:cubicBezTo>
                    <a:pt x="10073" y="6406"/>
                    <a:pt x="9895" y="5584"/>
                    <a:pt x="9561" y="4822"/>
                  </a:cubicBezTo>
                  <a:cubicBezTo>
                    <a:pt x="10168" y="4525"/>
                    <a:pt x="10692" y="3941"/>
                    <a:pt x="10942" y="3239"/>
                  </a:cubicBezTo>
                  <a:cubicBezTo>
                    <a:pt x="11169" y="2608"/>
                    <a:pt x="11180" y="1929"/>
                    <a:pt x="10954" y="1358"/>
                  </a:cubicBezTo>
                  <a:cubicBezTo>
                    <a:pt x="10728" y="762"/>
                    <a:pt x="10311" y="334"/>
                    <a:pt x="9764" y="119"/>
                  </a:cubicBezTo>
                  <a:cubicBezTo>
                    <a:pt x="9561" y="49"/>
                    <a:pt x="9352" y="14"/>
                    <a:pt x="9141" y="14"/>
                  </a:cubicBezTo>
                  <a:cubicBezTo>
                    <a:pt x="8782" y="14"/>
                    <a:pt x="8418" y="115"/>
                    <a:pt x="8073" y="310"/>
                  </a:cubicBezTo>
                  <a:cubicBezTo>
                    <a:pt x="7537" y="631"/>
                    <a:pt x="7120" y="1155"/>
                    <a:pt x="6882" y="1786"/>
                  </a:cubicBezTo>
                  <a:cubicBezTo>
                    <a:pt x="6858" y="1846"/>
                    <a:pt x="6835" y="1905"/>
                    <a:pt x="6823" y="1977"/>
                  </a:cubicBezTo>
                  <a:cubicBezTo>
                    <a:pt x="6418" y="1810"/>
                    <a:pt x="6001" y="1727"/>
                    <a:pt x="5584" y="1727"/>
                  </a:cubicBezTo>
                  <a:cubicBezTo>
                    <a:pt x="5168" y="1727"/>
                    <a:pt x="4763" y="1822"/>
                    <a:pt x="4346" y="1977"/>
                  </a:cubicBezTo>
                  <a:cubicBezTo>
                    <a:pt x="4334" y="1917"/>
                    <a:pt x="4299" y="1858"/>
                    <a:pt x="4287" y="1786"/>
                  </a:cubicBezTo>
                  <a:cubicBezTo>
                    <a:pt x="4060" y="1143"/>
                    <a:pt x="3632" y="619"/>
                    <a:pt x="3096" y="310"/>
                  </a:cubicBezTo>
                  <a:cubicBezTo>
                    <a:pt x="2753" y="109"/>
                    <a:pt x="2392" y="1"/>
                    <a:pt x="20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77" name="Google Shape;12877;p63"/>
          <p:cNvGrpSpPr/>
          <p:nvPr/>
        </p:nvGrpSpPr>
        <p:grpSpPr>
          <a:xfrm>
            <a:off x="7435629" y="1964690"/>
            <a:ext cx="367712" cy="353248"/>
            <a:chOff x="7435629" y="1964690"/>
            <a:chExt cx="367712" cy="353248"/>
          </a:xfrm>
        </p:grpSpPr>
        <p:sp>
          <p:nvSpPr>
            <p:cNvPr id="12878" name="Google Shape;12878;p63"/>
            <p:cNvSpPr/>
            <p:nvPr/>
          </p:nvSpPr>
          <p:spPr>
            <a:xfrm>
              <a:off x="7586125" y="2054258"/>
              <a:ext cx="65952" cy="62880"/>
            </a:xfrm>
            <a:custGeom>
              <a:avLst/>
              <a:gdLst/>
              <a:ahLst/>
              <a:cxnLst/>
              <a:rect l="l" t="t" r="r" b="b"/>
              <a:pathLst>
                <a:path w="2061" h="1965" extrusionOk="0">
                  <a:moveTo>
                    <a:pt x="1037" y="334"/>
                  </a:moveTo>
                  <a:cubicBezTo>
                    <a:pt x="1120" y="334"/>
                    <a:pt x="1299" y="405"/>
                    <a:pt x="1465" y="560"/>
                  </a:cubicBezTo>
                  <a:cubicBezTo>
                    <a:pt x="1596" y="679"/>
                    <a:pt x="1691" y="798"/>
                    <a:pt x="1715" y="917"/>
                  </a:cubicBezTo>
                  <a:cubicBezTo>
                    <a:pt x="1489" y="774"/>
                    <a:pt x="1215" y="691"/>
                    <a:pt x="1037" y="691"/>
                  </a:cubicBezTo>
                  <a:cubicBezTo>
                    <a:pt x="858" y="691"/>
                    <a:pt x="572" y="774"/>
                    <a:pt x="346" y="917"/>
                  </a:cubicBezTo>
                  <a:cubicBezTo>
                    <a:pt x="382" y="810"/>
                    <a:pt x="465" y="667"/>
                    <a:pt x="596" y="560"/>
                  </a:cubicBezTo>
                  <a:cubicBezTo>
                    <a:pt x="763" y="405"/>
                    <a:pt x="941" y="334"/>
                    <a:pt x="1037" y="334"/>
                  </a:cubicBezTo>
                  <a:close/>
                  <a:moveTo>
                    <a:pt x="1025" y="1012"/>
                  </a:moveTo>
                  <a:cubicBezTo>
                    <a:pt x="1191" y="1012"/>
                    <a:pt x="1477" y="1119"/>
                    <a:pt x="1620" y="1238"/>
                  </a:cubicBezTo>
                  <a:cubicBezTo>
                    <a:pt x="1596" y="1298"/>
                    <a:pt x="1537" y="1369"/>
                    <a:pt x="1465" y="1429"/>
                  </a:cubicBezTo>
                  <a:cubicBezTo>
                    <a:pt x="1299" y="1584"/>
                    <a:pt x="1120" y="1655"/>
                    <a:pt x="1037" y="1655"/>
                  </a:cubicBezTo>
                  <a:cubicBezTo>
                    <a:pt x="941" y="1655"/>
                    <a:pt x="763" y="1584"/>
                    <a:pt x="596" y="1429"/>
                  </a:cubicBezTo>
                  <a:cubicBezTo>
                    <a:pt x="525" y="1369"/>
                    <a:pt x="465" y="1310"/>
                    <a:pt x="418" y="1238"/>
                  </a:cubicBezTo>
                  <a:cubicBezTo>
                    <a:pt x="584" y="1119"/>
                    <a:pt x="870" y="1012"/>
                    <a:pt x="1025" y="1012"/>
                  </a:cubicBezTo>
                  <a:close/>
                  <a:moveTo>
                    <a:pt x="1037" y="0"/>
                  </a:moveTo>
                  <a:cubicBezTo>
                    <a:pt x="668" y="0"/>
                    <a:pt x="1" y="512"/>
                    <a:pt x="1" y="988"/>
                  </a:cubicBezTo>
                  <a:cubicBezTo>
                    <a:pt x="1" y="1465"/>
                    <a:pt x="668" y="1965"/>
                    <a:pt x="1037" y="1965"/>
                  </a:cubicBezTo>
                  <a:cubicBezTo>
                    <a:pt x="1394" y="1965"/>
                    <a:pt x="2061" y="1465"/>
                    <a:pt x="2061" y="988"/>
                  </a:cubicBezTo>
                  <a:cubicBezTo>
                    <a:pt x="2061" y="512"/>
                    <a:pt x="1394" y="0"/>
                    <a:pt x="1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9" name="Google Shape;12879;p63"/>
            <p:cNvSpPr/>
            <p:nvPr/>
          </p:nvSpPr>
          <p:spPr>
            <a:xfrm>
              <a:off x="7553357" y="2030994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13" y="334"/>
                  </a:moveTo>
                  <a:cubicBezTo>
                    <a:pt x="608" y="334"/>
                    <a:pt x="691" y="418"/>
                    <a:pt x="691" y="513"/>
                  </a:cubicBezTo>
                  <a:lnTo>
                    <a:pt x="691" y="691"/>
                  </a:lnTo>
                  <a:cubicBezTo>
                    <a:pt x="691" y="787"/>
                    <a:pt x="596" y="870"/>
                    <a:pt x="513" y="870"/>
                  </a:cubicBezTo>
                  <a:cubicBezTo>
                    <a:pt x="406" y="870"/>
                    <a:pt x="334" y="775"/>
                    <a:pt x="334" y="691"/>
                  </a:cubicBezTo>
                  <a:lnTo>
                    <a:pt x="334" y="513"/>
                  </a:lnTo>
                  <a:cubicBezTo>
                    <a:pt x="334" y="406"/>
                    <a:pt x="418" y="334"/>
                    <a:pt x="513" y="334"/>
                  </a:cubicBezTo>
                  <a:close/>
                  <a:moveTo>
                    <a:pt x="513" y="1"/>
                  </a:moveTo>
                  <a:cubicBezTo>
                    <a:pt x="227" y="1"/>
                    <a:pt x="1" y="227"/>
                    <a:pt x="1" y="501"/>
                  </a:cubicBezTo>
                  <a:lnTo>
                    <a:pt x="1" y="680"/>
                  </a:lnTo>
                  <a:cubicBezTo>
                    <a:pt x="1" y="965"/>
                    <a:pt x="227" y="1192"/>
                    <a:pt x="513" y="1192"/>
                  </a:cubicBezTo>
                  <a:cubicBezTo>
                    <a:pt x="787" y="1192"/>
                    <a:pt x="1013" y="965"/>
                    <a:pt x="1013" y="680"/>
                  </a:cubicBezTo>
                  <a:lnTo>
                    <a:pt x="1013" y="501"/>
                  </a:lnTo>
                  <a:cubicBezTo>
                    <a:pt x="1013" y="239"/>
                    <a:pt x="775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0" name="Google Shape;12880;p63"/>
            <p:cNvSpPr/>
            <p:nvPr/>
          </p:nvSpPr>
          <p:spPr>
            <a:xfrm>
              <a:off x="7652429" y="2030994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24" y="334"/>
                  </a:moveTo>
                  <a:cubicBezTo>
                    <a:pt x="632" y="334"/>
                    <a:pt x="703" y="418"/>
                    <a:pt x="703" y="513"/>
                  </a:cubicBezTo>
                  <a:lnTo>
                    <a:pt x="703" y="691"/>
                  </a:lnTo>
                  <a:cubicBezTo>
                    <a:pt x="703" y="787"/>
                    <a:pt x="608" y="870"/>
                    <a:pt x="524" y="870"/>
                  </a:cubicBezTo>
                  <a:cubicBezTo>
                    <a:pt x="417" y="870"/>
                    <a:pt x="346" y="775"/>
                    <a:pt x="346" y="691"/>
                  </a:cubicBezTo>
                  <a:lnTo>
                    <a:pt x="346" y="513"/>
                  </a:lnTo>
                  <a:cubicBezTo>
                    <a:pt x="346" y="406"/>
                    <a:pt x="429" y="334"/>
                    <a:pt x="524" y="334"/>
                  </a:cubicBezTo>
                  <a:close/>
                  <a:moveTo>
                    <a:pt x="512" y="1"/>
                  </a:moveTo>
                  <a:cubicBezTo>
                    <a:pt x="227" y="1"/>
                    <a:pt x="0" y="227"/>
                    <a:pt x="0" y="501"/>
                  </a:cubicBezTo>
                  <a:lnTo>
                    <a:pt x="0" y="680"/>
                  </a:lnTo>
                  <a:cubicBezTo>
                    <a:pt x="0" y="965"/>
                    <a:pt x="227" y="1192"/>
                    <a:pt x="512" y="1192"/>
                  </a:cubicBezTo>
                  <a:cubicBezTo>
                    <a:pt x="786" y="1192"/>
                    <a:pt x="1013" y="965"/>
                    <a:pt x="1013" y="680"/>
                  </a:cubicBezTo>
                  <a:lnTo>
                    <a:pt x="1013" y="501"/>
                  </a:lnTo>
                  <a:cubicBezTo>
                    <a:pt x="1013" y="239"/>
                    <a:pt x="786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1" name="Google Shape;12881;p63"/>
            <p:cNvSpPr/>
            <p:nvPr/>
          </p:nvSpPr>
          <p:spPr>
            <a:xfrm>
              <a:off x="7435629" y="1964690"/>
              <a:ext cx="367712" cy="353248"/>
            </a:xfrm>
            <a:custGeom>
              <a:avLst/>
              <a:gdLst/>
              <a:ahLst/>
              <a:cxnLst/>
              <a:rect l="l" t="t" r="r" b="b"/>
              <a:pathLst>
                <a:path w="11491" h="11039" extrusionOk="0">
                  <a:moveTo>
                    <a:pt x="572" y="2549"/>
                  </a:moveTo>
                  <a:lnTo>
                    <a:pt x="572" y="2549"/>
                  </a:lnTo>
                  <a:cubicBezTo>
                    <a:pt x="1418" y="3275"/>
                    <a:pt x="2323" y="3692"/>
                    <a:pt x="2715" y="3847"/>
                  </a:cubicBezTo>
                  <a:cubicBezTo>
                    <a:pt x="2668" y="3990"/>
                    <a:pt x="2596" y="4121"/>
                    <a:pt x="2501" y="4240"/>
                  </a:cubicBezTo>
                  <a:cubicBezTo>
                    <a:pt x="2394" y="4395"/>
                    <a:pt x="2311" y="4537"/>
                    <a:pt x="2215" y="4704"/>
                  </a:cubicBezTo>
                  <a:cubicBezTo>
                    <a:pt x="2181" y="4706"/>
                    <a:pt x="2147" y="4706"/>
                    <a:pt x="2113" y="4706"/>
                  </a:cubicBezTo>
                  <a:cubicBezTo>
                    <a:pt x="1579" y="4706"/>
                    <a:pt x="1163" y="4529"/>
                    <a:pt x="894" y="4204"/>
                  </a:cubicBezTo>
                  <a:cubicBezTo>
                    <a:pt x="501" y="3692"/>
                    <a:pt x="525" y="2954"/>
                    <a:pt x="572" y="2549"/>
                  </a:cubicBezTo>
                  <a:close/>
                  <a:moveTo>
                    <a:pt x="5730" y="346"/>
                  </a:moveTo>
                  <a:cubicBezTo>
                    <a:pt x="5745" y="346"/>
                    <a:pt x="5760" y="346"/>
                    <a:pt x="5775" y="346"/>
                  </a:cubicBezTo>
                  <a:cubicBezTo>
                    <a:pt x="7037" y="382"/>
                    <a:pt x="8133" y="1347"/>
                    <a:pt x="8288" y="2597"/>
                  </a:cubicBezTo>
                  <a:cubicBezTo>
                    <a:pt x="8323" y="2787"/>
                    <a:pt x="8323" y="2978"/>
                    <a:pt x="8311" y="3180"/>
                  </a:cubicBezTo>
                  <a:cubicBezTo>
                    <a:pt x="8276" y="3514"/>
                    <a:pt x="8347" y="3859"/>
                    <a:pt x="8502" y="4192"/>
                  </a:cubicBezTo>
                  <a:cubicBezTo>
                    <a:pt x="8536" y="4244"/>
                    <a:pt x="8589" y="4283"/>
                    <a:pt x="8652" y="4283"/>
                  </a:cubicBezTo>
                  <a:cubicBezTo>
                    <a:pt x="8676" y="4283"/>
                    <a:pt x="8702" y="4277"/>
                    <a:pt x="8728" y="4264"/>
                  </a:cubicBezTo>
                  <a:cubicBezTo>
                    <a:pt x="8800" y="4216"/>
                    <a:pt x="8847" y="4133"/>
                    <a:pt x="8800" y="4037"/>
                  </a:cubicBezTo>
                  <a:cubicBezTo>
                    <a:pt x="8764" y="3978"/>
                    <a:pt x="8752" y="3930"/>
                    <a:pt x="8728" y="3871"/>
                  </a:cubicBezTo>
                  <a:cubicBezTo>
                    <a:pt x="9109" y="3716"/>
                    <a:pt x="10014" y="3299"/>
                    <a:pt x="10871" y="2585"/>
                  </a:cubicBezTo>
                  <a:lnTo>
                    <a:pt x="10871" y="2585"/>
                  </a:lnTo>
                  <a:cubicBezTo>
                    <a:pt x="10943" y="2954"/>
                    <a:pt x="10978" y="3692"/>
                    <a:pt x="10574" y="4204"/>
                  </a:cubicBezTo>
                  <a:cubicBezTo>
                    <a:pt x="10288" y="4549"/>
                    <a:pt x="9835" y="4728"/>
                    <a:pt x="9240" y="4728"/>
                  </a:cubicBezTo>
                  <a:cubicBezTo>
                    <a:pt x="9216" y="4680"/>
                    <a:pt x="9181" y="4621"/>
                    <a:pt x="9169" y="4573"/>
                  </a:cubicBezTo>
                  <a:cubicBezTo>
                    <a:pt x="9144" y="4524"/>
                    <a:pt x="9086" y="4492"/>
                    <a:pt x="9025" y="4492"/>
                  </a:cubicBezTo>
                  <a:cubicBezTo>
                    <a:pt x="8997" y="4492"/>
                    <a:pt x="8969" y="4499"/>
                    <a:pt x="8942" y="4514"/>
                  </a:cubicBezTo>
                  <a:cubicBezTo>
                    <a:pt x="8871" y="4561"/>
                    <a:pt x="8847" y="4668"/>
                    <a:pt x="8883" y="4740"/>
                  </a:cubicBezTo>
                  <a:cubicBezTo>
                    <a:pt x="9169" y="5228"/>
                    <a:pt x="9335" y="5800"/>
                    <a:pt x="9359" y="6371"/>
                  </a:cubicBezTo>
                  <a:lnTo>
                    <a:pt x="8680" y="6716"/>
                  </a:lnTo>
                  <a:lnTo>
                    <a:pt x="7728" y="6073"/>
                  </a:lnTo>
                  <a:cubicBezTo>
                    <a:pt x="7704" y="6059"/>
                    <a:pt x="7675" y="6053"/>
                    <a:pt x="7645" y="6053"/>
                  </a:cubicBezTo>
                  <a:cubicBezTo>
                    <a:pt x="7599" y="6053"/>
                    <a:pt x="7550" y="6068"/>
                    <a:pt x="7514" y="6097"/>
                  </a:cubicBezTo>
                  <a:lnTo>
                    <a:pt x="7335" y="6276"/>
                  </a:lnTo>
                  <a:cubicBezTo>
                    <a:pt x="7276" y="6335"/>
                    <a:pt x="7276" y="6431"/>
                    <a:pt x="7335" y="6490"/>
                  </a:cubicBezTo>
                  <a:cubicBezTo>
                    <a:pt x="7365" y="6520"/>
                    <a:pt x="7407" y="6535"/>
                    <a:pt x="7448" y="6535"/>
                  </a:cubicBezTo>
                  <a:cubicBezTo>
                    <a:pt x="7490" y="6535"/>
                    <a:pt x="7532" y="6520"/>
                    <a:pt x="7561" y="6490"/>
                  </a:cubicBezTo>
                  <a:lnTo>
                    <a:pt x="7633" y="6419"/>
                  </a:lnTo>
                  <a:lnTo>
                    <a:pt x="8561" y="7026"/>
                  </a:lnTo>
                  <a:cubicBezTo>
                    <a:pt x="8585" y="7050"/>
                    <a:pt x="8621" y="7062"/>
                    <a:pt x="8645" y="7062"/>
                  </a:cubicBezTo>
                  <a:cubicBezTo>
                    <a:pt x="8680" y="7062"/>
                    <a:pt x="8692" y="7062"/>
                    <a:pt x="8728" y="7050"/>
                  </a:cubicBezTo>
                  <a:lnTo>
                    <a:pt x="9871" y="6478"/>
                  </a:lnTo>
                  <a:lnTo>
                    <a:pt x="9871" y="6573"/>
                  </a:lnTo>
                  <a:cubicBezTo>
                    <a:pt x="9871" y="8859"/>
                    <a:pt x="8014" y="10717"/>
                    <a:pt x="5716" y="10717"/>
                  </a:cubicBezTo>
                  <a:cubicBezTo>
                    <a:pt x="3430" y="10717"/>
                    <a:pt x="1561" y="8859"/>
                    <a:pt x="1561" y="6573"/>
                  </a:cubicBezTo>
                  <a:cubicBezTo>
                    <a:pt x="1561" y="6454"/>
                    <a:pt x="1561" y="6335"/>
                    <a:pt x="1584" y="6216"/>
                  </a:cubicBezTo>
                  <a:lnTo>
                    <a:pt x="2180" y="6704"/>
                  </a:lnTo>
                  <a:cubicBezTo>
                    <a:pt x="2209" y="6728"/>
                    <a:pt x="2242" y="6740"/>
                    <a:pt x="2275" y="6740"/>
                  </a:cubicBezTo>
                  <a:cubicBezTo>
                    <a:pt x="2308" y="6740"/>
                    <a:pt x="2340" y="6728"/>
                    <a:pt x="2370" y="6704"/>
                  </a:cubicBezTo>
                  <a:lnTo>
                    <a:pt x="2954" y="6276"/>
                  </a:lnTo>
                  <a:lnTo>
                    <a:pt x="4263" y="7585"/>
                  </a:lnTo>
                  <a:cubicBezTo>
                    <a:pt x="4287" y="7609"/>
                    <a:pt x="4335" y="7621"/>
                    <a:pt x="4382" y="7621"/>
                  </a:cubicBezTo>
                  <a:cubicBezTo>
                    <a:pt x="4418" y="7621"/>
                    <a:pt x="4466" y="7609"/>
                    <a:pt x="4501" y="7585"/>
                  </a:cubicBezTo>
                  <a:lnTo>
                    <a:pt x="5394" y="6645"/>
                  </a:lnTo>
                  <a:lnTo>
                    <a:pt x="6311" y="7562"/>
                  </a:lnTo>
                  <a:cubicBezTo>
                    <a:pt x="6341" y="7591"/>
                    <a:pt x="6383" y="7606"/>
                    <a:pt x="6424" y="7606"/>
                  </a:cubicBezTo>
                  <a:cubicBezTo>
                    <a:pt x="6466" y="7606"/>
                    <a:pt x="6508" y="7591"/>
                    <a:pt x="6537" y="7562"/>
                  </a:cubicBezTo>
                  <a:lnTo>
                    <a:pt x="7061" y="7050"/>
                  </a:lnTo>
                  <a:cubicBezTo>
                    <a:pt x="7121" y="6990"/>
                    <a:pt x="7121" y="6883"/>
                    <a:pt x="7061" y="6823"/>
                  </a:cubicBezTo>
                  <a:cubicBezTo>
                    <a:pt x="7031" y="6794"/>
                    <a:pt x="6990" y="6779"/>
                    <a:pt x="6948" y="6779"/>
                  </a:cubicBezTo>
                  <a:cubicBezTo>
                    <a:pt x="6906" y="6779"/>
                    <a:pt x="6865" y="6794"/>
                    <a:pt x="6835" y="6823"/>
                  </a:cubicBezTo>
                  <a:lnTo>
                    <a:pt x="6430" y="7228"/>
                  </a:lnTo>
                  <a:lnTo>
                    <a:pt x="5513" y="6300"/>
                  </a:lnTo>
                  <a:cubicBezTo>
                    <a:pt x="5478" y="6276"/>
                    <a:pt x="5430" y="6252"/>
                    <a:pt x="5394" y="6252"/>
                  </a:cubicBezTo>
                  <a:cubicBezTo>
                    <a:pt x="5347" y="6252"/>
                    <a:pt x="5299" y="6276"/>
                    <a:pt x="5275" y="6300"/>
                  </a:cubicBezTo>
                  <a:lnTo>
                    <a:pt x="4382" y="7240"/>
                  </a:lnTo>
                  <a:lnTo>
                    <a:pt x="3085" y="5942"/>
                  </a:lnTo>
                  <a:cubicBezTo>
                    <a:pt x="3053" y="5911"/>
                    <a:pt x="3012" y="5896"/>
                    <a:pt x="2971" y="5896"/>
                  </a:cubicBezTo>
                  <a:cubicBezTo>
                    <a:pt x="2934" y="5896"/>
                    <a:pt x="2898" y="5908"/>
                    <a:pt x="2870" y="5931"/>
                  </a:cubicBezTo>
                  <a:lnTo>
                    <a:pt x="2275" y="6371"/>
                  </a:lnTo>
                  <a:lnTo>
                    <a:pt x="2096" y="6228"/>
                  </a:lnTo>
                  <a:cubicBezTo>
                    <a:pt x="2156" y="5585"/>
                    <a:pt x="2382" y="4990"/>
                    <a:pt x="2751" y="4466"/>
                  </a:cubicBezTo>
                  <a:cubicBezTo>
                    <a:pt x="3025" y="4085"/>
                    <a:pt x="3156" y="3621"/>
                    <a:pt x="3132" y="3133"/>
                  </a:cubicBezTo>
                  <a:lnTo>
                    <a:pt x="3132" y="2954"/>
                  </a:lnTo>
                  <a:cubicBezTo>
                    <a:pt x="3132" y="2251"/>
                    <a:pt x="3406" y="1585"/>
                    <a:pt x="3906" y="1097"/>
                  </a:cubicBezTo>
                  <a:cubicBezTo>
                    <a:pt x="4395" y="607"/>
                    <a:pt x="5044" y="346"/>
                    <a:pt x="5730" y="346"/>
                  </a:cubicBezTo>
                  <a:close/>
                  <a:moveTo>
                    <a:pt x="5778" y="1"/>
                  </a:moveTo>
                  <a:cubicBezTo>
                    <a:pt x="5008" y="1"/>
                    <a:pt x="4264" y="298"/>
                    <a:pt x="3716" y="835"/>
                  </a:cubicBezTo>
                  <a:cubicBezTo>
                    <a:pt x="3144" y="1394"/>
                    <a:pt x="2835" y="2132"/>
                    <a:pt x="2835" y="2918"/>
                  </a:cubicBezTo>
                  <a:lnTo>
                    <a:pt x="2835" y="3121"/>
                  </a:lnTo>
                  <a:cubicBezTo>
                    <a:pt x="2846" y="3252"/>
                    <a:pt x="2835" y="3394"/>
                    <a:pt x="2823" y="3537"/>
                  </a:cubicBezTo>
                  <a:cubicBezTo>
                    <a:pt x="2382" y="3359"/>
                    <a:pt x="1430" y="2906"/>
                    <a:pt x="584" y="2121"/>
                  </a:cubicBezTo>
                  <a:cubicBezTo>
                    <a:pt x="552" y="2089"/>
                    <a:pt x="515" y="2073"/>
                    <a:pt x="484" y="2073"/>
                  </a:cubicBezTo>
                  <a:cubicBezTo>
                    <a:pt x="468" y="2073"/>
                    <a:pt x="453" y="2077"/>
                    <a:pt x="441" y="2085"/>
                  </a:cubicBezTo>
                  <a:cubicBezTo>
                    <a:pt x="382" y="2109"/>
                    <a:pt x="334" y="2144"/>
                    <a:pt x="334" y="2204"/>
                  </a:cubicBezTo>
                  <a:cubicBezTo>
                    <a:pt x="322" y="2263"/>
                    <a:pt x="1" y="3573"/>
                    <a:pt x="679" y="4407"/>
                  </a:cubicBezTo>
                  <a:cubicBezTo>
                    <a:pt x="989" y="4811"/>
                    <a:pt x="1477" y="5026"/>
                    <a:pt x="2096" y="5049"/>
                  </a:cubicBezTo>
                  <a:cubicBezTo>
                    <a:pt x="1989" y="5347"/>
                    <a:pt x="1894" y="5657"/>
                    <a:pt x="1846" y="5978"/>
                  </a:cubicBezTo>
                  <a:lnTo>
                    <a:pt x="1584" y="5752"/>
                  </a:lnTo>
                  <a:cubicBezTo>
                    <a:pt x="1553" y="5720"/>
                    <a:pt x="1516" y="5710"/>
                    <a:pt x="1477" y="5710"/>
                  </a:cubicBezTo>
                  <a:cubicBezTo>
                    <a:pt x="1457" y="5710"/>
                    <a:pt x="1438" y="5712"/>
                    <a:pt x="1418" y="5716"/>
                  </a:cubicBezTo>
                  <a:cubicBezTo>
                    <a:pt x="1358" y="5752"/>
                    <a:pt x="1334" y="5800"/>
                    <a:pt x="1311" y="5859"/>
                  </a:cubicBezTo>
                  <a:cubicBezTo>
                    <a:pt x="1299" y="6097"/>
                    <a:pt x="1287" y="6335"/>
                    <a:pt x="1287" y="6550"/>
                  </a:cubicBezTo>
                  <a:cubicBezTo>
                    <a:pt x="1287" y="9026"/>
                    <a:pt x="3287" y="11038"/>
                    <a:pt x="5763" y="11038"/>
                  </a:cubicBezTo>
                  <a:cubicBezTo>
                    <a:pt x="8228" y="11038"/>
                    <a:pt x="10240" y="9026"/>
                    <a:pt x="10240" y="6550"/>
                  </a:cubicBezTo>
                  <a:lnTo>
                    <a:pt x="10240" y="6192"/>
                  </a:lnTo>
                  <a:cubicBezTo>
                    <a:pt x="10240" y="6115"/>
                    <a:pt x="10179" y="6048"/>
                    <a:pt x="10094" y="6048"/>
                  </a:cubicBezTo>
                  <a:cubicBezTo>
                    <a:pt x="10087" y="6048"/>
                    <a:pt x="10081" y="6049"/>
                    <a:pt x="10074" y="6050"/>
                  </a:cubicBezTo>
                  <a:cubicBezTo>
                    <a:pt x="10050" y="6050"/>
                    <a:pt x="10014" y="6061"/>
                    <a:pt x="9990" y="6073"/>
                  </a:cubicBezTo>
                  <a:lnTo>
                    <a:pt x="9728" y="6216"/>
                  </a:lnTo>
                  <a:cubicBezTo>
                    <a:pt x="9693" y="5811"/>
                    <a:pt x="9585" y="5407"/>
                    <a:pt x="9442" y="5038"/>
                  </a:cubicBezTo>
                  <a:cubicBezTo>
                    <a:pt x="10074" y="5002"/>
                    <a:pt x="10550" y="4799"/>
                    <a:pt x="10871" y="4395"/>
                  </a:cubicBezTo>
                  <a:cubicBezTo>
                    <a:pt x="11490" y="3573"/>
                    <a:pt x="11181" y="2251"/>
                    <a:pt x="11169" y="2204"/>
                  </a:cubicBezTo>
                  <a:cubicBezTo>
                    <a:pt x="11157" y="2144"/>
                    <a:pt x="11109" y="2109"/>
                    <a:pt x="11062" y="2085"/>
                  </a:cubicBezTo>
                  <a:cubicBezTo>
                    <a:pt x="11047" y="2082"/>
                    <a:pt x="11032" y="2080"/>
                    <a:pt x="11018" y="2080"/>
                  </a:cubicBezTo>
                  <a:cubicBezTo>
                    <a:pt x="10975" y="2080"/>
                    <a:pt x="10937" y="2094"/>
                    <a:pt x="10919" y="2121"/>
                  </a:cubicBezTo>
                  <a:cubicBezTo>
                    <a:pt x="10062" y="2906"/>
                    <a:pt x="9097" y="3359"/>
                    <a:pt x="8680" y="3537"/>
                  </a:cubicBezTo>
                  <a:cubicBezTo>
                    <a:pt x="8669" y="3418"/>
                    <a:pt x="8645" y="3299"/>
                    <a:pt x="8669" y="3180"/>
                  </a:cubicBezTo>
                  <a:cubicBezTo>
                    <a:pt x="8680" y="2966"/>
                    <a:pt x="8680" y="2740"/>
                    <a:pt x="8657" y="2537"/>
                  </a:cubicBezTo>
                  <a:cubicBezTo>
                    <a:pt x="8454" y="1120"/>
                    <a:pt x="7240" y="37"/>
                    <a:pt x="5823" y="1"/>
                  </a:cubicBezTo>
                  <a:cubicBezTo>
                    <a:pt x="5808" y="1"/>
                    <a:pt x="5793" y="1"/>
                    <a:pt x="5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82" name="Google Shape;12882;p63"/>
          <p:cNvGrpSpPr/>
          <p:nvPr/>
        </p:nvGrpSpPr>
        <p:grpSpPr>
          <a:xfrm>
            <a:off x="2512749" y="1965042"/>
            <a:ext cx="333024" cy="352896"/>
            <a:chOff x="2512749" y="1965042"/>
            <a:chExt cx="333024" cy="352896"/>
          </a:xfrm>
        </p:grpSpPr>
        <p:sp>
          <p:nvSpPr>
            <p:cNvPr id="12883" name="Google Shape;12883;p63"/>
            <p:cNvSpPr/>
            <p:nvPr/>
          </p:nvSpPr>
          <p:spPr>
            <a:xfrm>
              <a:off x="2590829" y="2129682"/>
              <a:ext cx="49568" cy="60224"/>
            </a:xfrm>
            <a:custGeom>
              <a:avLst/>
              <a:gdLst/>
              <a:ahLst/>
              <a:cxnLst/>
              <a:rect l="l" t="t" r="r" b="b"/>
              <a:pathLst>
                <a:path w="1549" h="1882" extrusionOk="0">
                  <a:moveTo>
                    <a:pt x="775" y="1"/>
                  </a:moveTo>
                  <a:cubicBezTo>
                    <a:pt x="358" y="1"/>
                    <a:pt x="1" y="346"/>
                    <a:pt x="1" y="775"/>
                  </a:cubicBezTo>
                  <a:lnTo>
                    <a:pt x="1" y="1120"/>
                  </a:lnTo>
                  <a:cubicBezTo>
                    <a:pt x="1" y="1537"/>
                    <a:pt x="346" y="1882"/>
                    <a:pt x="775" y="1882"/>
                  </a:cubicBezTo>
                  <a:cubicBezTo>
                    <a:pt x="1203" y="1882"/>
                    <a:pt x="1549" y="1548"/>
                    <a:pt x="1549" y="1120"/>
                  </a:cubicBezTo>
                  <a:lnTo>
                    <a:pt x="1549" y="775"/>
                  </a:lnTo>
                  <a:cubicBezTo>
                    <a:pt x="1537" y="667"/>
                    <a:pt x="1525" y="548"/>
                    <a:pt x="1465" y="441"/>
                  </a:cubicBezTo>
                  <a:cubicBezTo>
                    <a:pt x="1431" y="390"/>
                    <a:pt x="1372" y="351"/>
                    <a:pt x="1315" y="351"/>
                  </a:cubicBezTo>
                  <a:cubicBezTo>
                    <a:pt x="1293" y="351"/>
                    <a:pt x="1271" y="356"/>
                    <a:pt x="1251" y="370"/>
                  </a:cubicBezTo>
                  <a:cubicBezTo>
                    <a:pt x="1180" y="417"/>
                    <a:pt x="1132" y="501"/>
                    <a:pt x="1180" y="584"/>
                  </a:cubicBezTo>
                  <a:cubicBezTo>
                    <a:pt x="1203" y="644"/>
                    <a:pt x="1227" y="703"/>
                    <a:pt x="1227" y="775"/>
                  </a:cubicBezTo>
                  <a:lnTo>
                    <a:pt x="1227" y="1120"/>
                  </a:lnTo>
                  <a:cubicBezTo>
                    <a:pt x="1227" y="1358"/>
                    <a:pt x="1025" y="1560"/>
                    <a:pt x="775" y="1560"/>
                  </a:cubicBezTo>
                  <a:cubicBezTo>
                    <a:pt x="525" y="1560"/>
                    <a:pt x="334" y="1370"/>
                    <a:pt x="334" y="1120"/>
                  </a:cubicBezTo>
                  <a:lnTo>
                    <a:pt x="334" y="775"/>
                  </a:lnTo>
                  <a:cubicBezTo>
                    <a:pt x="334" y="536"/>
                    <a:pt x="525" y="322"/>
                    <a:pt x="775" y="322"/>
                  </a:cubicBezTo>
                  <a:cubicBezTo>
                    <a:pt x="870" y="322"/>
                    <a:pt x="942" y="251"/>
                    <a:pt x="942" y="167"/>
                  </a:cubicBezTo>
                  <a:cubicBezTo>
                    <a:pt x="942" y="72"/>
                    <a:pt x="870" y="1"/>
                    <a:pt x="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4" name="Google Shape;12884;p63"/>
            <p:cNvSpPr/>
            <p:nvPr/>
          </p:nvSpPr>
          <p:spPr>
            <a:xfrm>
              <a:off x="2718477" y="2129682"/>
              <a:ext cx="49568" cy="60224"/>
            </a:xfrm>
            <a:custGeom>
              <a:avLst/>
              <a:gdLst/>
              <a:ahLst/>
              <a:cxnLst/>
              <a:rect l="l" t="t" r="r" b="b"/>
              <a:pathLst>
                <a:path w="1549" h="1882" extrusionOk="0">
                  <a:moveTo>
                    <a:pt x="774" y="1"/>
                  </a:moveTo>
                  <a:cubicBezTo>
                    <a:pt x="358" y="1"/>
                    <a:pt x="1" y="346"/>
                    <a:pt x="1" y="775"/>
                  </a:cubicBezTo>
                  <a:lnTo>
                    <a:pt x="1" y="1120"/>
                  </a:lnTo>
                  <a:cubicBezTo>
                    <a:pt x="1" y="1537"/>
                    <a:pt x="346" y="1882"/>
                    <a:pt x="774" y="1882"/>
                  </a:cubicBezTo>
                  <a:cubicBezTo>
                    <a:pt x="1191" y="1882"/>
                    <a:pt x="1548" y="1548"/>
                    <a:pt x="1548" y="1120"/>
                  </a:cubicBezTo>
                  <a:lnTo>
                    <a:pt x="1548" y="775"/>
                  </a:lnTo>
                  <a:cubicBezTo>
                    <a:pt x="1536" y="667"/>
                    <a:pt x="1501" y="548"/>
                    <a:pt x="1465" y="441"/>
                  </a:cubicBezTo>
                  <a:cubicBezTo>
                    <a:pt x="1431" y="390"/>
                    <a:pt x="1372" y="351"/>
                    <a:pt x="1315" y="351"/>
                  </a:cubicBezTo>
                  <a:cubicBezTo>
                    <a:pt x="1292" y="351"/>
                    <a:pt x="1271" y="356"/>
                    <a:pt x="1251" y="370"/>
                  </a:cubicBezTo>
                  <a:cubicBezTo>
                    <a:pt x="1179" y="417"/>
                    <a:pt x="1132" y="501"/>
                    <a:pt x="1179" y="584"/>
                  </a:cubicBezTo>
                  <a:cubicBezTo>
                    <a:pt x="1203" y="644"/>
                    <a:pt x="1215" y="703"/>
                    <a:pt x="1215" y="775"/>
                  </a:cubicBezTo>
                  <a:lnTo>
                    <a:pt x="1215" y="1120"/>
                  </a:lnTo>
                  <a:cubicBezTo>
                    <a:pt x="1215" y="1358"/>
                    <a:pt x="1024" y="1560"/>
                    <a:pt x="774" y="1560"/>
                  </a:cubicBezTo>
                  <a:cubicBezTo>
                    <a:pt x="536" y="1560"/>
                    <a:pt x="322" y="1370"/>
                    <a:pt x="322" y="1120"/>
                  </a:cubicBezTo>
                  <a:lnTo>
                    <a:pt x="322" y="775"/>
                  </a:lnTo>
                  <a:cubicBezTo>
                    <a:pt x="322" y="536"/>
                    <a:pt x="524" y="322"/>
                    <a:pt x="774" y="322"/>
                  </a:cubicBez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5" name="Google Shape;12885;p63"/>
            <p:cNvSpPr/>
            <p:nvPr/>
          </p:nvSpPr>
          <p:spPr>
            <a:xfrm>
              <a:off x="2624365" y="2242994"/>
              <a:ext cx="110528" cy="52064"/>
            </a:xfrm>
            <a:custGeom>
              <a:avLst/>
              <a:gdLst/>
              <a:ahLst/>
              <a:cxnLst/>
              <a:rect l="l" t="t" r="r" b="b"/>
              <a:pathLst>
                <a:path w="3454" h="1627" extrusionOk="0">
                  <a:moveTo>
                    <a:pt x="1870" y="365"/>
                  </a:moveTo>
                  <a:cubicBezTo>
                    <a:pt x="1882" y="365"/>
                    <a:pt x="1882" y="389"/>
                    <a:pt x="1906" y="389"/>
                  </a:cubicBezTo>
                  <a:cubicBezTo>
                    <a:pt x="2001" y="460"/>
                    <a:pt x="2120" y="508"/>
                    <a:pt x="2239" y="555"/>
                  </a:cubicBezTo>
                  <a:lnTo>
                    <a:pt x="2239" y="793"/>
                  </a:lnTo>
                  <a:cubicBezTo>
                    <a:pt x="2239" y="1091"/>
                    <a:pt x="2001" y="1329"/>
                    <a:pt x="1703" y="1329"/>
                  </a:cubicBezTo>
                  <a:cubicBezTo>
                    <a:pt x="1406" y="1329"/>
                    <a:pt x="1168" y="1091"/>
                    <a:pt x="1168" y="793"/>
                  </a:cubicBezTo>
                  <a:lnTo>
                    <a:pt x="1168" y="555"/>
                  </a:lnTo>
                  <a:cubicBezTo>
                    <a:pt x="1287" y="520"/>
                    <a:pt x="1406" y="460"/>
                    <a:pt x="1513" y="389"/>
                  </a:cubicBezTo>
                  <a:cubicBezTo>
                    <a:pt x="1525" y="389"/>
                    <a:pt x="1525" y="365"/>
                    <a:pt x="1537" y="365"/>
                  </a:cubicBezTo>
                  <a:lnTo>
                    <a:pt x="1537" y="603"/>
                  </a:lnTo>
                  <a:cubicBezTo>
                    <a:pt x="1537" y="698"/>
                    <a:pt x="1620" y="770"/>
                    <a:pt x="1703" y="770"/>
                  </a:cubicBezTo>
                  <a:cubicBezTo>
                    <a:pt x="1799" y="770"/>
                    <a:pt x="1870" y="698"/>
                    <a:pt x="1870" y="603"/>
                  </a:cubicBezTo>
                  <a:lnTo>
                    <a:pt x="1870" y="365"/>
                  </a:lnTo>
                  <a:close/>
                  <a:moveTo>
                    <a:pt x="173" y="0"/>
                  </a:moveTo>
                  <a:cubicBezTo>
                    <a:pt x="132" y="0"/>
                    <a:pt x="91" y="18"/>
                    <a:pt x="60" y="55"/>
                  </a:cubicBezTo>
                  <a:cubicBezTo>
                    <a:pt x="1" y="115"/>
                    <a:pt x="1" y="222"/>
                    <a:pt x="72" y="282"/>
                  </a:cubicBezTo>
                  <a:cubicBezTo>
                    <a:pt x="298" y="472"/>
                    <a:pt x="572" y="591"/>
                    <a:pt x="870" y="591"/>
                  </a:cubicBezTo>
                  <a:lnTo>
                    <a:pt x="894" y="591"/>
                  </a:lnTo>
                  <a:lnTo>
                    <a:pt x="894" y="770"/>
                  </a:lnTo>
                  <a:cubicBezTo>
                    <a:pt x="894" y="1246"/>
                    <a:pt x="1275" y="1627"/>
                    <a:pt x="1739" y="1627"/>
                  </a:cubicBezTo>
                  <a:cubicBezTo>
                    <a:pt x="2203" y="1627"/>
                    <a:pt x="2584" y="1234"/>
                    <a:pt x="2584" y="770"/>
                  </a:cubicBezTo>
                  <a:lnTo>
                    <a:pt x="2584" y="591"/>
                  </a:lnTo>
                  <a:lnTo>
                    <a:pt x="2596" y="591"/>
                  </a:lnTo>
                  <a:cubicBezTo>
                    <a:pt x="2894" y="591"/>
                    <a:pt x="3180" y="496"/>
                    <a:pt x="3406" y="282"/>
                  </a:cubicBezTo>
                  <a:cubicBezTo>
                    <a:pt x="3454" y="234"/>
                    <a:pt x="3454" y="139"/>
                    <a:pt x="3394" y="55"/>
                  </a:cubicBezTo>
                  <a:cubicBezTo>
                    <a:pt x="3361" y="23"/>
                    <a:pt x="3314" y="4"/>
                    <a:pt x="3268" y="4"/>
                  </a:cubicBezTo>
                  <a:cubicBezTo>
                    <a:pt x="3231" y="4"/>
                    <a:pt x="3195" y="17"/>
                    <a:pt x="3168" y="43"/>
                  </a:cubicBezTo>
                  <a:cubicBezTo>
                    <a:pt x="3001" y="198"/>
                    <a:pt x="2799" y="270"/>
                    <a:pt x="2584" y="270"/>
                  </a:cubicBezTo>
                  <a:cubicBezTo>
                    <a:pt x="2406" y="270"/>
                    <a:pt x="2239" y="210"/>
                    <a:pt x="2096" y="115"/>
                  </a:cubicBezTo>
                  <a:cubicBezTo>
                    <a:pt x="1983" y="43"/>
                    <a:pt x="1852" y="8"/>
                    <a:pt x="1721" y="8"/>
                  </a:cubicBezTo>
                  <a:cubicBezTo>
                    <a:pt x="1590" y="8"/>
                    <a:pt x="1459" y="43"/>
                    <a:pt x="1346" y="115"/>
                  </a:cubicBezTo>
                  <a:cubicBezTo>
                    <a:pt x="1203" y="222"/>
                    <a:pt x="1037" y="270"/>
                    <a:pt x="858" y="270"/>
                  </a:cubicBezTo>
                  <a:cubicBezTo>
                    <a:pt x="656" y="270"/>
                    <a:pt x="441" y="198"/>
                    <a:pt x="275" y="43"/>
                  </a:cubicBezTo>
                  <a:cubicBezTo>
                    <a:pt x="246" y="15"/>
                    <a:pt x="210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6" name="Google Shape;12886;p63"/>
            <p:cNvSpPr/>
            <p:nvPr/>
          </p:nvSpPr>
          <p:spPr>
            <a:xfrm>
              <a:off x="2654477" y="2194834"/>
              <a:ext cx="49184" cy="38144"/>
            </a:xfrm>
            <a:custGeom>
              <a:avLst/>
              <a:gdLst/>
              <a:ahLst/>
              <a:cxnLst/>
              <a:rect l="l" t="t" r="r" b="b"/>
              <a:pathLst>
                <a:path w="1537" h="1192" extrusionOk="0">
                  <a:moveTo>
                    <a:pt x="1131" y="346"/>
                  </a:moveTo>
                  <a:cubicBezTo>
                    <a:pt x="1155" y="346"/>
                    <a:pt x="1167" y="346"/>
                    <a:pt x="1167" y="358"/>
                  </a:cubicBezTo>
                  <a:cubicBezTo>
                    <a:pt x="1203" y="358"/>
                    <a:pt x="1203" y="370"/>
                    <a:pt x="1179" y="393"/>
                  </a:cubicBezTo>
                  <a:lnTo>
                    <a:pt x="798" y="870"/>
                  </a:lnTo>
                  <a:cubicBezTo>
                    <a:pt x="786" y="882"/>
                    <a:pt x="786" y="882"/>
                    <a:pt x="762" y="882"/>
                  </a:cubicBezTo>
                  <a:cubicBezTo>
                    <a:pt x="750" y="882"/>
                    <a:pt x="750" y="882"/>
                    <a:pt x="738" y="870"/>
                  </a:cubicBezTo>
                  <a:lnTo>
                    <a:pt x="346" y="393"/>
                  </a:lnTo>
                  <a:cubicBezTo>
                    <a:pt x="334" y="370"/>
                    <a:pt x="334" y="358"/>
                    <a:pt x="346" y="358"/>
                  </a:cubicBezTo>
                  <a:cubicBezTo>
                    <a:pt x="357" y="358"/>
                    <a:pt x="357" y="346"/>
                    <a:pt x="381" y="346"/>
                  </a:cubicBezTo>
                  <a:close/>
                  <a:moveTo>
                    <a:pt x="393" y="1"/>
                  </a:moveTo>
                  <a:cubicBezTo>
                    <a:pt x="262" y="1"/>
                    <a:pt x="131" y="72"/>
                    <a:pt x="60" y="215"/>
                  </a:cubicBezTo>
                  <a:cubicBezTo>
                    <a:pt x="0" y="334"/>
                    <a:pt x="24" y="477"/>
                    <a:pt x="107" y="584"/>
                  </a:cubicBezTo>
                  <a:lnTo>
                    <a:pt x="500" y="1060"/>
                  </a:lnTo>
                  <a:cubicBezTo>
                    <a:pt x="572" y="1144"/>
                    <a:pt x="655" y="1191"/>
                    <a:pt x="774" y="1191"/>
                  </a:cubicBezTo>
                  <a:cubicBezTo>
                    <a:pt x="881" y="1191"/>
                    <a:pt x="989" y="1144"/>
                    <a:pt x="1060" y="1060"/>
                  </a:cubicBezTo>
                  <a:lnTo>
                    <a:pt x="1453" y="584"/>
                  </a:lnTo>
                  <a:cubicBezTo>
                    <a:pt x="1524" y="477"/>
                    <a:pt x="1536" y="334"/>
                    <a:pt x="1477" y="215"/>
                  </a:cubicBezTo>
                  <a:cubicBezTo>
                    <a:pt x="1417" y="96"/>
                    <a:pt x="1298" y="1"/>
                    <a:pt x="1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7" name="Google Shape;12887;p63"/>
            <p:cNvSpPr/>
            <p:nvPr/>
          </p:nvSpPr>
          <p:spPr>
            <a:xfrm>
              <a:off x="2512749" y="1965042"/>
              <a:ext cx="333024" cy="352896"/>
            </a:xfrm>
            <a:custGeom>
              <a:avLst/>
              <a:gdLst/>
              <a:ahLst/>
              <a:cxnLst/>
              <a:rect l="l" t="t" r="r" b="b"/>
              <a:pathLst>
                <a:path w="10407" h="11028" extrusionOk="0">
                  <a:moveTo>
                    <a:pt x="1038" y="321"/>
                  </a:moveTo>
                  <a:cubicBezTo>
                    <a:pt x="1078" y="321"/>
                    <a:pt x="1119" y="335"/>
                    <a:pt x="1155" y="371"/>
                  </a:cubicBezTo>
                  <a:lnTo>
                    <a:pt x="3108" y="1955"/>
                  </a:lnTo>
                  <a:cubicBezTo>
                    <a:pt x="2881" y="2062"/>
                    <a:pt x="2667" y="2181"/>
                    <a:pt x="2441" y="2300"/>
                  </a:cubicBezTo>
                  <a:lnTo>
                    <a:pt x="846" y="502"/>
                  </a:lnTo>
                  <a:cubicBezTo>
                    <a:pt x="869" y="431"/>
                    <a:pt x="905" y="371"/>
                    <a:pt x="965" y="335"/>
                  </a:cubicBezTo>
                  <a:cubicBezTo>
                    <a:pt x="988" y="326"/>
                    <a:pt x="1012" y="321"/>
                    <a:pt x="1038" y="321"/>
                  </a:cubicBezTo>
                  <a:close/>
                  <a:moveTo>
                    <a:pt x="869" y="990"/>
                  </a:moveTo>
                  <a:lnTo>
                    <a:pt x="2191" y="2479"/>
                  </a:lnTo>
                  <a:cubicBezTo>
                    <a:pt x="2012" y="2610"/>
                    <a:pt x="1834" y="2752"/>
                    <a:pt x="1667" y="2907"/>
                  </a:cubicBezTo>
                  <a:cubicBezTo>
                    <a:pt x="1357" y="3205"/>
                    <a:pt x="1084" y="3538"/>
                    <a:pt x="869" y="3895"/>
                  </a:cubicBezTo>
                  <a:lnTo>
                    <a:pt x="869" y="990"/>
                  </a:lnTo>
                  <a:close/>
                  <a:moveTo>
                    <a:pt x="9373" y="324"/>
                  </a:moveTo>
                  <a:cubicBezTo>
                    <a:pt x="9394" y="324"/>
                    <a:pt x="9414" y="328"/>
                    <a:pt x="9430" y="335"/>
                  </a:cubicBezTo>
                  <a:cubicBezTo>
                    <a:pt x="9489" y="371"/>
                    <a:pt x="9537" y="431"/>
                    <a:pt x="9537" y="502"/>
                  </a:cubicBezTo>
                  <a:lnTo>
                    <a:pt x="9228" y="859"/>
                  </a:lnTo>
                  <a:cubicBezTo>
                    <a:pt x="9168" y="919"/>
                    <a:pt x="9168" y="1026"/>
                    <a:pt x="9239" y="1086"/>
                  </a:cubicBezTo>
                  <a:cubicBezTo>
                    <a:pt x="9275" y="1109"/>
                    <a:pt x="9323" y="1121"/>
                    <a:pt x="9347" y="1121"/>
                  </a:cubicBezTo>
                  <a:cubicBezTo>
                    <a:pt x="9394" y="1121"/>
                    <a:pt x="9442" y="1109"/>
                    <a:pt x="9466" y="1062"/>
                  </a:cubicBezTo>
                  <a:lnTo>
                    <a:pt x="9537" y="990"/>
                  </a:lnTo>
                  <a:lnTo>
                    <a:pt x="9537" y="3895"/>
                  </a:lnTo>
                  <a:cubicBezTo>
                    <a:pt x="9323" y="3538"/>
                    <a:pt x="9049" y="3205"/>
                    <a:pt x="8739" y="2907"/>
                  </a:cubicBezTo>
                  <a:cubicBezTo>
                    <a:pt x="8573" y="2764"/>
                    <a:pt x="8394" y="2610"/>
                    <a:pt x="8215" y="2479"/>
                  </a:cubicBezTo>
                  <a:lnTo>
                    <a:pt x="9001" y="1586"/>
                  </a:lnTo>
                  <a:cubicBezTo>
                    <a:pt x="9061" y="1526"/>
                    <a:pt x="9061" y="1419"/>
                    <a:pt x="8989" y="1359"/>
                  </a:cubicBezTo>
                  <a:cubicBezTo>
                    <a:pt x="8962" y="1332"/>
                    <a:pt x="8925" y="1317"/>
                    <a:pt x="8887" y="1317"/>
                  </a:cubicBezTo>
                  <a:cubicBezTo>
                    <a:pt x="8842" y="1317"/>
                    <a:pt x="8795" y="1338"/>
                    <a:pt x="8763" y="1383"/>
                  </a:cubicBezTo>
                  <a:lnTo>
                    <a:pt x="7942" y="2300"/>
                  </a:lnTo>
                  <a:cubicBezTo>
                    <a:pt x="7739" y="2169"/>
                    <a:pt x="7513" y="2050"/>
                    <a:pt x="7275" y="1955"/>
                  </a:cubicBezTo>
                  <a:lnTo>
                    <a:pt x="9239" y="371"/>
                  </a:lnTo>
                  <a:cubicBezTo>
                    <a:pt x="9279" y="339"/>
                    <a:pt x="9329" y="324"/>
                    <a:pt x="9373" y="324"/>
                  </a:cubicBezTo>
                  <a:close/>
                  <a:moveTo>
                    <a:pt x="5191" y="1859"/>
                  </a:moveTo>
                  <a:cubicBezTo>
                    <a:pt x="7787" y="1859"/>
                    <a:pt x="9882" y="3836"/>
                    <a:pt x="9882" y="6277"/>
                  </a:cubicBezTo>
                  <a:cubicBezTo>
                    <a:pt x="9882" y="6753"/>
                    <a:pt x="9811" y="7217"/>
                    <a:pt x="9656" y="7646"/>
                  </a:cubicBezTo>
                  <a:cubicBezTo>
                    <a:pt x="8940" y="7550"/>
                    <a:pt x="8096" y="7537"/>
                    <a:pt x="7673" y="7537"/>
                  </a:cubicBezTo>
                  <a:cubicBezTo>
                    <a:pt x="7520" y="7537"/>
                    <a:pt x="7422" y="7539"/>
                    <a:pt x="7406" y="7539"/>
                  </a:cubicBezTo>
                  <a:cubicBezTo>
                    <a:pt x="7323" y="7539"/>
                    <a:pt x="7251" y="7610"/>
                    <a:pt x="7251" y="7705"/>
                  </a:cubicBezTo>
                  <a:cubicBezTo>
                    <a:pt x="7251" y="7789"/>
                    <a:pt x="7323" y="7872"/>
                    <a:pt x="7406" y="7872"/>
                  </a:cubicBezTo>
                  <a:cubicBezTo>
                    <a:pt x="7415" y="7872"/>
                    <a:pt x="7581" y="7867"/>
                    <a:pt x="7836" y="7867"/>
                  </a:cubicBezTo>
                  <a:cubicBezTo>
                    <a:pt x="8260" y="7867"/>
                    <a:pt x="8930" y="7881"/>
                    <a:pt x="9525" y="7955"/>
                  </a:cubicBezTo>
                  <a:cubicBezTo>
                    <a:pt x="9418" y="8194"/>
                    <a:pt x="9287" y="8432"/>
                    <a:pt x="9156" y="8646"/>
                  </a:cubicBezTo>
                  <a:cubicBezTo>
                    <a:pt x="8204" y="8289"/>
                    <a:pt x="7203" y="8086"/>
                    <a:pt x="7156" y="8075"/>
                  </a:cubicBezTo>
                  <a:cubicBezTo>
                    <a:pt x="7149" y="8074"/>
                    <a:pt x="7141" y="8073"/>
                    <a:pt x="7134" y="8073"/>
                  </a:cubicBezTo>
                  <a:cubicBezTo>
                    <a:pt x="7057" y="8073"/>
                    <a:pt x="6976" y="8129"/>
                    <a:pt x="6965" y="8206"/>
                  </a:cubicBezTo>
                  <a:cubicBezTo>
                    <a:pt x="6953" y="8301"/>
                    <a:pt x="7013" y="8384"/>
                    <a:pt x="7096" y="8408"/>
                  </a:cubicBezTo>
                  <a:cubicBezTo>
                    <a:pt x="7120" y="8408"/>
                    <a:pt x="8049" y="8598"/>
                    <a:pt x="8966" y="8920"/>
                  </a:cubicBezTo>
                  <a:cubicBezTo>
                    <a:pt x="8108" y="10015"/>
                    <a:pt x="6739" y="10706"/>
                    <a:pt x="5191" y="10706"/>
                  </a:cubicBezTo>
                  <a:cubicBezTo>
                    <a:pt x="3667" y="10706"/>
                    <a:pt x="2298" y="10015"/>
                    <a:pt x="1429" y="8920"/>
                  </a:cubicBezTo>
                  <a:cubicBezTo>
                    <a:pt x="2334" y="8598"/>
                    <a:pt x="3274" y="8420"/>
                    <a:pt x="3286" y="8408"/>
                  </a:cubicBezTo>
                  <a:cubicBezTo>
                    <a:pt x="3382" y="8384"/>
                    <a:pt x="3441" y="8301"/>
                    <a:pt x="3429" y="8206"/>
                  </a:cubicBezTo>
                  <a:cubicBezTo>
                    <a:pt x="3407" y="8129"/>
                    <a:pt x="3336" y="8073"/>
                    <a:pt x="3251" y="8073"/>
                  </a:cubicBezTo>
                  <a:cubicBezTo>
                    <a:pt x="3243" y="8073"/>
                    <a:pt x="3235" y="8074"/>
                    <a:pt x="3227" y="8075"/>
                  </a:cubicBezTo>
                  <a:cubicBezTo>
                    <a:pt x="3167" y="8086"/>
                    <a:pt x="2191" y="8289"/>
                    <a:pt x="1238" y="8646"/>
                  </a:cubicBezTo>
                  <a:cubicBezTo>
                    <a:pt x="1084" y="8420"/>
                    <a:pt x="965" y="8194"/>
                    <a:pt x="869" y="7955"/>
                  </a:cubicBezTo>
                  <a:cubicBezTo>
                    <a:pt x="1465" y="7881"/>
                    <a:pt x="2134" y="7867"/>
                    <a:pt x="2556" y="7867"/>
                  </a:cubicBezTo>
                  <a:cubicBezTo>
                    <a:pt x="2809" y="7867"/>
                    <a:pt x="2972" y="7872"/>
                    <a:pt x="2977" y="7872"/>
                  </a:cubicBezTo>
                  <a:cubicBezTo>
                    <a:pt x="3072" y="7872"/>
                    <a:pt x="3143" y="7789"/>
                    <a:pt x="3143" y="7705"/>
                  </a:cubicBezTo>
                  <a:cubicBezTo>
                    <a:pt x="3143" y="7610"/>
                    <a:pt x="3072" y="7539"/>
                    <a:pt x="2977" y="7539"/>
                  </a:cubicBezTo>
                  <a:cubicBezTo>
                    <a:pt x="2961" y="7539"/>
                    <a:pt x="2865" y="7537"/>
                    <a:pt x="2713" y="7537"/>
                  </a:cubicBezTo>
                  <a:cubicBezTo>
                    <a:pt x="2296" y="7537"/>
                    <a:pt x="1460" y="7550"/>
                    <a:pt x="726" y="7646"/>
                  </a:cubicBezTo>
                  <a:cubicBezTo>
                    <a:pt x="584" y="7217"/>
                    <a:pt x="512" y="6753"/>
                    <a:pt x="512" y="6277"/>
                  </a:cubicBezTo>
                  <a:cubicBezTo>
                    <a:pt x="512" y="3836"/>
                    <a:pt x="2608" y="1859"/>
                    <a:pt x="5191" y="1859"/>
                  </a:cubicBezTo>
                  <a:close/>
                  <a:moveTo>
                    <a:pt x="1042" y="0"/>
                  </a:moveTo>
                  <a:cubicBezTo>
                    <a:pt x="968" y="0"/>
                    <a:pt x="893" y="17"/>
                    <a:pt x="822" y="50"/>
                  </a:cubicBezTo>
                  <a:cubicBezTo>
                    <a:pt x="643" y="145"/>
                    <a:pt x="536" y="324"/>
                    <a:pt x="536" y="514"/>
                  </a:cubicBezTo>
                  <a:lnTo>
                    <a:pt x="536" y="4538"/>
                  </a:lnTo>
                  <a:cubicBezTo>
                    <a:pt x="310" y="5086"/>
                    <a:pt x="191" y="5669"/>
                    <a:pt x="191" y="6277"/>
                  </a:cubicBezTo>
                  <a:cubicBezTo>
                    <a:pt x="191" y="6765"/>
                    <a:pt x="262" y="7241"/>
                    <a:pt x="417" y="7705"/>
                  </a:cubicBezTo>
                  <a:cubicBezTo>
                    <a:pt x="310" y="7717"/>
                    <a:pt x="226" y="7753"/>
                    <a:pt x="131" y="7765"/>
                  </a:cubicBezTo>
                  <a:cubicBezTo>
                    <a:pt x="48" y="7789"/>
                    <a:pt x="0" y="7884"/>
                    <a:pt x="12" y="7955"/>
                  </a:cubicBezTo>
                  <a:cubicBezTo>
                    <a:pt x="36" y="8027"/>
                    <a:pt x="107" y="8075"/>
                    <a:pt x="167" y="8075"/>
                  </a:cubicBezTo>
                  <a:lnTo>
                    <a:pt x="203" y="8075"/>
                  </a:lnTo>
                  <a:cubicBezTo>
                    <a:pt x="310" y="8051"/>
                    <a:pt x="417" y="8027"/>
                    <a:pt x="524" y="8003"/>
                  </a:cubicBezTo>
                  <a:cubicBezTo>
                    <a:pt x="631" y="8265"/>
                    <a:pt x="762" y="8527"/>
                    <a:pt x="929" y="8765"/>
                  </a:cubicBezTo>
                  <a:cubicBezTo>
                    <a:pt x="762" y="8837"/>
                    <a:pt x="595" y="8908"/>
                    <a:pt x="453" y="8979"/>
                  </a:cubicBezTo>
                  <a:cubicBezTo>
                    <a:pt x="369" y="9027"/>
                    <a:pt x="345" y="9122"/>
                    <a:pt x="369" y="9206"/>
                  </a:cubicBezTo>
                  <a:cubicBezTo>
                    <a:pt x="405" y="9265"/>
                    <a:pt x="465" y="9301"/>
                    <a:pt x="524" y="9301"/>
                  </a:cubicBezTo>
                  <a:cubicBezTo>
                    <a:pt x="548" y="9301"/>
                    <a:pt x="560" y="9301"/>
                    <a:pt x="595" y="9277"/>
                  </a:cubicBezTo>
                  <a:cubicBezTo>
                    <a:pt x="762" y="9194"/>
                    <a:pt x="941" y="9122"/>
                    <a:pt x="1119" y="9039"/>
                  </a:cubicBezTo>
                  <a:cubicBezTo>
                    <a:pt x="1286" y="9253"/>
                    <a:pt x="1453" y="9456"/>
                    <a:pt x="1655" y="9634"/>
                  </a:cubicBezTo>
                  <a:cubicBezTo>
                    <a:pt x="2608" y="10527"/>
                    <a:pt x="3858" y="11027"/>
                    <a:pt x="5191" y="11027"/>
                  </a:cubicBezTo>
                  <a:cubicBezTo>
                    <a:pt x="6537" y="11027"/>
                    <a:pt x="7787" y="10527"/>
                    <a:pt x="8739" y="9634"/>
                  </a:cubicBezTo>
                  <a:cubicBezTo>
                    <a:pt x="8930" y="9444"/>
                    <a:pt x="9108" y="9253"/>
                    <a:pt x="9275" y="9039"/>
                  </a:cubicBezTo>
                  <a:cubicBezTo>
                    <a:pt x="9454" y="9122"/>
                    <a:pt x="9632" y="9194"/>
                    <a:pt x="9787" y="9277"/>
                  </a:cubicBezTo>
                  <a:cubicBezTo>
                    <a:pt x="9823" y="9301"/>
                    <a:pt x="9835" y="9301"/>
                    <a:pt x="9870" y="9301"/>
                  </a:cubicBezTo>
                  <a:cubicBezTo>
                    <a:pt x="9930" y="9301"/>
                    <a:pt x="9990" y="9265"/>
                    <a:pt x="10013" y="9206"/>
                  </a:cubicBezTo>
                  <a:cubicBezTo>
                    <a:pt x="10061" y="9134"/>
                    <a:pt x="10025" y="9027"/>
                    <a:pt x="9942" y="8979"/>
                  </a:cubicBezTo>
                  <a:cubicBezTo>
                    <a:pt x="9787" y="8908"/>
                    <a:pt x="9632" y="8837"/>
                    <a:pt x="9466" y="8765"/>
                  </a:cubicBezTo>
                  <a:cubicBezTo>
                    <a:pt x="9632" y="8527"/>
                    <a:pt x="9763" y="8265"/>
                    <a:pt x="9870" y="8003"/>
                  </a:cubicBezTo>
                  <a:cubicBezTo>
                    <a:pt x="9978" y="8015"/>
                    <a:pt x="10073" y="8051"/>
                    <a:pt x="10180" y="8075"/>
                  </a:cubicBezTo>
                  <a:lnTo>
                    <a:pt x="10228" y="8075"/>
                  </a:lnTo>
                  <a:cubicBezTo>
                    <a:pt x="10299" y="8075"/>
                    <a:pt x="10359" y="8027"/>
                    <a:pt x="10371" y="7955"/>
                  </a:cubicBezTo>
                  <a:cubicBezTo>
                    <a:pt x="10406" y="7872"/>
                    <a:pt x="10347" y="7777"/>
                    <a:pt x="10275" y="7765"/>
                  </a:cubicBezTo>
                  <a:cubicBezTo>
                    <a:pt x="10180" y="7729"/>
                    <a:pt x="10085" y="7717"/>
                    <a:pt x="9990" y="7705"/>
                  </a:cubicBezTo>
                  <a:cubicBezTo>
                    <a:pt x="10132" y="7241"/>
                    <a:pt x="10216" y="6765"/>
                    <a:pt x="10216" y="6277"/>
                  </a:cubicBezTo>
                  <a:cubicBezTo>
                    <a:pt x="10216" y="5669"/>
                    <a:pt x="10097" y="5086"/>
                    <a:pt x="9870" y="4538"/>
                  </a:cubicBezTo>
                  <a:lnTo>
                    <a:pt x="9870" y="514"/>
                  </a:lnTo>
                  <a:cubicBezTo>
                    <a:pt x="9870" y="324"/>
                    <a:pt x="9763" y="145"/>
                    <a:pt x="9585" y="50"/>
                  </a:cubicBezTo>
                  <a:cubicBezTo>
                    <a:pt x="9514" y="17"/>
                    <a:pt x="9439" y="0"/>
                    <a:pt x="9365" y="0"/>
                  </a:cubicBezTo>
                  <a:cubicBezTo>
                    <a:pt x="9253" y="0"/>
                    <a:pt x="9142" y="38"/>
                    <a:pt x="9049" y="109"/>
                  </a:cubicBezTo>
                  <a:lnTo>
                    <a:pt x="6942" y="1812"/>
                  </a:lnTo>
                  <a:cubicBezTo>
                    <a:pt x="6382" y="1621"/>
                    <a:pt x="5810" y="1514"/>
                    <a:pt x="5191" y="1514"/>
                  </a:cubicBezTo>
                  <a:cubicBezTo>
                    <a:pt x="4584" y="1514"/>
                    <a:pt x="4001" y="1621"/>
                    <a:pt x="3453" y="1812"/>
                  </a:cubicBezTo>
                  <a:lnTo>
                    <a:pt x="1357" y="109"/>
                  </a:lnTo>
                  <a:cubicBezTo>
                    <a:pt x="1264" y="38"/>
                    <a:pt x="1154" y="0"/>
                    <a:pt x="10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88" name="Google Shape;12888;p63"/>
          <p:cNvGrpSpPr/>
          <p:nvPr/>
        </p:nvGrpSpPr>
        <p:grpSpPr>
          <a:xfrm>
            <a:off x="1398317" y="1981778"/>
            <a:ext cx="365792" cy="335392"/>
            <a:chOff x="1398317" y="1981778"/>
            <a:chExt cx="365792" cy="335392"/>
          </a:xfrm>
        </p:grpSpPr>
        <p:sp>
          <p:nvSpPr>
            <p:cNvPr id="12889" name="Google Shape;12889;p63"/>
            <p:cNvSpPr/>
            <p:nvPr/>
          </p:nvSpPr>
          <p:spPr>
            <a:xfrm>
              <a:off x="1398317" y="1981778"/>
              <a:ext cx="365792" cy="335392"/>
            </a:xfrm>
            <a:custGeom>
              <a:avLst/>
              <a:gdLst/>
              <a:ahLst/>
              <a:cxnLst/>
              <a:rect l="l" t="t" r="r" b="b"/>
              <a:pathLst>
                <a:path w="11431" h="10481" extrusionOk="0">
                  <a:moveTo>
                    <a:pt x="1882" y="717"/>
                  </a:moveTo>
                  <a:cubicBezTo>
                    <a:pt x="1905" y="801"/>
                    <a:pt x="1929" y="848"/>
                    <a:pt x="1965" y="932"/>
                  </a:cubicBezTo>
                  <a:cubicBezTo>
                    <a:pt x="2132" y="1277"/>
                    <a:pt x="2441" y="1706"/>
                    <a:pt x="3084" y="1944"/>
                  </a:cubicBezTo>
                  <a:cubicBezTo>
                    <a:pt x="2917" y="2146"/>
                    <a:pt x="2775" y="2372"/>
                    <a:pt x="2655" y="2610"/>
                  </a:cubicBezTo>
                  <a:cubicBezTo>
                    <a:pt x="1739" y="2003"/>
                    <a:pt x="1739" y="1217"/>
                    <a:pt x="1882" y="717"/>
                  </a:cubicBezTo>
                  <a:close/>
                  <a:moveTo>
                    <a:pt x="9573" y="717"/>
                  </a:moveTo>
                  <a:cubicBezTo>
                    <a:pt x="9597" y="836"/>
                    <a:pt x="9633" y="955"/>
                    <a:pt x="9633" y="1110"/>
                  </a:cubicBezTo>
                  <a:cubicBezTo>
                    <a:pt x="9656" y="1717"/>
                    <a:pt x="9383" y="2229"/>
                    <a:pt x="8799" y="2610"/>
                  </a:cubicBezTo>
                  <a:cubicBezTo>
                    <a:pt x="8680" y="2372"/>
                    <a:pt x="8549" y="2146"/>
                    <a:pt x="8370" y="1944"/>
                  </a:cubicBezTo>
                  <a:cubicBezTo>
                    <a:pt x="9002" y="1694"/>
                    <a:pt x="9323" y="1277"/>
                    <a:pt x="9478" y="932"/>
                  </a:cubicBezTo>
                  <a:cubicBezTo>
                    <a:pt x="9513" y="860"/>
                    <a:pt x="9537" y="777"/>
                    <a:pt x="9573" y="717"/>
                  </a:cubicBezTo>
                  <a:close/>
                  <a:moveTo>
                    <a:pt x="548" y="2658"/>
                  </a:moveTo>
                  <a:lnTo>
                    <a:pt x="2358" y="3563"/>
                  </a:lnTo>
                  <a:cubicBezTo>
                    <a:pt x="2310" y="3837"/>
                    <a:pt x="2298" y="4134"/>
                    <a:pt x="2322" y="4432"/>
                  </a:cubicBezTo>
                  <a:cubicBezTo>
                    <a:pt x="2163" y="4457"/>
                    <a:pt x="2014" y="4470"/>
                    <a:pt x="1875" y="4470"/>
                  </a:cubicBezTo>
                  <a:cubicBezTo>
                    <a:pt x="1483" y="4470"/>
                    <a:pt x="1173" y="4369"/>
                    <a:pt x="953" y="4158"/>
                  </a:cubicBezTo>
                  <a:cubicBezTo>
                    <a:pt x="524" y="3742"/>
                    <a:pt x="524" y="3015"/>
                    <a:pt x="548" y="2658"/>
                  </a:cubicBezTo>
                  <a:close/>
                  <a:moveTo>
                    <a:pt x="10895" y="2646"/>
                  </a:moveTo>
                  <a:lnTo>
                    <a:pt x="10895" y="2646"/>
                  </a:lnTo>
                  <a:cubicBezTo>
                    <a:pt x="10930" y="3015"/>
                    <a:pt x="10930" y="3742"/>
                    <a:pt x="10490" y="4158"/>
                  </a:cubicBezTo>
                  <a:cubicBezTo>
                    <a:pt x="10270" y="4369"/>
                    <a:pt x="9960" y="4470"/>
                    <a:pt x="9568" y="4470"/>
                  </a:cubicBezTo>
                  <a:cubicBezTo>
                    <a:pt x="9429" y="4470"/>
                    <a:pt x="9280" y="4457"/>
                    <a:pt x="9121" y="4432"/>
                  </a:cubicBezTo>
                  <a:cubicBezTo>
                    <a:pt x="9156" y="4134"/>
                    <a:pt x="9144" y="3849"/>
                    <a:pt x="9097" y="3551"/>
                  </a:cubicBezTo>
                  <a:lnTo>
                    <a:pt x="10895" y="2646"/>
                  </a:lnTo>
                  <a:close/>
                  <a:moveTo>
                    <a:pt x="5727" y="1003"/>
                  </a:moveTo>
                  <a:cubicBezTo>
                    <a:pt x="6644" y="1003"/>
                    <a:pt x="7489" y="1396"/>
                    <a:pt x="8085" y="2087"/>
                  </a:cubicBezTo>
                  <a:cubicBezTo>
                    <a:pt x="8668" y="2777"/>
                    <a:pt x="8918" y="3682"/>
                    <a:pt x="8787" y="4575"/>
                  </a:cubicBezTo>
                  <a:lnTo>
                    <a:pt x="8347" y="7409"/>
                  </a:lnTo>
                  <a:cubicBezTo>
                    <a:pt x="8251" y="8064"/>
                    <a:pt x="7906" y="8635"/>
                    <a:pt x="7394" y="9052"/>
                  </a:cubicBezTo>
                  <a:cubicBezTo>
                    <a:pt x="7275" y="8504"/>
                    <a:pt x="6799" y="8099"/>
                    <a:pt x="6227" y="8099"/>
                  </a:cubicBezTo>
                  <a:lnTo>
                    <a:pt x="5215" y="8099"/>
                  </a:lnTo>
                  <a:cubicBezTo>
                    <a:pt x="4644" y="8099"/>
                    <a:pt x="4156" y="8504"/>
                    <a:pt x="4037" y="9052"/>
                  </a:cubicBezTo>
                  <a:cubicBezTo>
                    <a:pt x="3525" y="8635"/>
                    <a:pt x="3191" y="8064"/>
                    <a:pt x="3084" y="7409"/>
                  </a:cubicBezTo>
                  <a:lnTo>
                    <a:pt x="2655" y="4575"/>
                  </a:lnTo>
                  <a:cubicBezTo>
                    <a:pt x="2548" y="3932"/>
                    <a:pt x="2655" y="3301"/>
                    <a:pt x="2929" y="2730"/>
                  </a:cubicBezTo>
                  <a:cubicBezTo>
                    <a:pt x="2964" y="2730"/>
                    <a:pt x="3169" y="2755"/>
                    <a:pt x="3475" y="2755"/>
                  </a:cubicBezTo>
                  <a:cubicBezTo>
                    <a:pt x="3589" y="2755"/>
                    <a:pt x="3718" y="2751"/>
                    <a:pt x="3858" y="2741"/>
                  </a:cubicBezTo>
                  <a:cubicBezTo>
                    <a:pt x="4418" y="2718"/>
                    <a:pt x="4894" y="2646"/>
                    <a:pt x="5299" y="2491"/>
                  </a:cubicBezTo>
                  <a:lnTo>
                    <a:pt x="5299" y="2491"/>
                  </a:lnTo>
                  <a:lnTo>
                    <a:pt x="5215" y="2860"/>
                  </a:lnTo>
                  <a:cubicBezTo>
                    <a:pt x="5192" y="2920"/>
                    <a:pt x="5215" y="2968"/>
                    <a:pt x="5239" y="3015"/>
                  </a:cubicBezTo>
                  <a:cubicBezTo>
                    <a:pt x="5275" y="3039"/>
                    <a:pt x="5311" y="3075"/>
                    <a:pt x="5358" y="3075"/>
                  </a:cubicBezTo>
                  <a:lnTo>
                    <a:pt x="5394" y="3075"/>
                  </a:lnTo>
                  <a:cubicBezTo>
                    <a:pt x="5430" y="3075"/>
                    <a:pt x="6644" y="2896"/>
                    <a:pt x="7370" y="2360"/>
                  </a:cubicBezTo>
                  <a:cubicBezTo>
                    <a:pt x="7442" y="2301"/>
                    <a:pt x="7454" y="2206"/>
                    <a:pt x="7394" y="2134"/>
                  </a:cubicBezTo>
                  <a:cubicBezTo>
                    <a:pt x="7360" y="2094"/>
                    <a:pt x="7319" y="2072"/>
                    <a:pt x="7276" y="2072"/>
                  </a:cubicBezTo>
                  <a:cubicBezTo>
                    <a:pt x="7244" y="2072"/>
                    <a:pt x="7211" y="2085"/>
                    <a:pt x="7180" y="2110"/>
                  </a:cubicBezTo>
                  <a:cubicBezTo>
                    <a:pt x="6716" y="2468"/>
                    <a:pt x="5965" y="2646"/>
                    <a:pt x="5596" y="2718"/>
                  </a:cubicBezTo>
                  <a:lnTo>
                    <a:pt x="5715" y="2265"/>
                  </a:lnTo>
                  <a:cubicBezTo>
                    <a:pt x="5727" y="2206"/>
                    <a:pt x="5715" y="2146"/>
                    <a:pt x="5656" y="2110"/>
                  </a:cubicBezTo>
                  <a:cubicBezTo>
                    <a:pt x="5628" y="2082"/>
                    <a:pt x="5592" y="2071"/>
                    <a:pt x="5555" y="2071"/>
                  </a:cubicBezTo>
                  <a:cubicBezTo>
                    <a:pt x="5529" y="2071"/>
                    <a:pt x="5502" y="2077"/>
                    <a:pt x="5477" y="2087"/>
                  </a:cubicBezTo>
                  <a:cubicBezTo>
                    <a:pt x="4891" y="2384"/>
                    <a:pt x="4113" y="2450"/>
                    <a:pt x="3585" y="2450"/>
                  </a:cubicBezTo>
                  <a:cubicBezTo>
                    <a:pt x="3394" y="2450"/>
                    <a:pt x="3236" y="2441"/>
                    <a:pt x="3132" y="2432"/>
                  </a:cubicBezTo>
                  <a:cubicBezTo>
                    <a:pt x="3203" y="2313"/>
                    <a:pt x="3287" y="2206"/>
                    <a:pt x="3382" y="2087"/>
                  </a:cubicBezTo>
                  <a:cubicBezTo>
                    <a:pt x="3977" y="1408"/>
                    <a:pt x="4822" y="1003"/>
                    <a:pt x="5727" y="1003"/>
                  </a:cubicBezTo>
                  <a:close/>
                  <a:moveTo>
                    <a:pt x="6215" y="8421"/>
                  </a:moveTo>
                  <a:cubicBezTo>
                    <a:pt x="6656" y="8421"/>
                    <a:pt x="7013" y="8730"/>
                    <a:pt x="7085" y="9147"/>
                  </a:cubicBezTo>
                  <a:lnTo>
                    <a:pt x="7108" y="9349"/>
                  </a:lnTo>
                  <a:cubicBezTo>
                    <a:pt x="7156" y="9564"/>
                    <a:pt x="7097" y="9766"/>
                    <a:pt x="6966" y="9921"/>
                  </a:cubicBezTo>
                  <a:cubicBezTo>
                    <a:pt x="6835" y="10088"/>
                    <a:pt x="6644" y="10171"/>
                    <a:pt x="6430" y="10171"/>
                  </a:cubicBezTo>
                  <a:lnTo>
                    <a:pt x="5013" y="10171"/>
                  </a:lnTo>
                  <a:cubicBezTo>
                    <a:pt x="4811" y="10171"/>
                    <a:pt x="4608" y="10076"/>
                    <a:pt x="4477" y="9921"/>
                  </a:cubicBezTo>
                  <a:cubicBezTo>
                    <a:pt x="4346" y="9754"/>
                    <a:pt x="4287" y="9552"/>
                    <a:pt x="4310" y="9349"/>
                  </a:cubicBezTo>
                  <a:lnTo>
                    <a:pt x="4346" y="9147"/>
                  </a:lnTo>
                  <a:cubicBezTo>
                    <a:pt x="4418" y="8730"/>
                    <a:pt x="4775" y="8421"/>
                    <a:pt x="5203" y="8421"/>
                  </a:cubicBezTo>
                  <a:close/>
                  <a:moveTo>
                    <a:pt x="1937" y="1"/>
                  </a:moveTo>
                  <a:cubicBezTo>
                    <a:pt x="1876" y="1"/>
                    <a:pt x="1817" y="34"/>
                    <a:pt x="1786" y="86"/>
                  </a:cubicBezTo>
                  <a:cubicBezTo>
                    <a:pt x="1774" y="98"/>
                    <a:pt x="1524" y="527"/>
                    <a:pt x="1489" y="1098"/>
                  </a:cubicBezTo>
                  <a:cubicBezTo>
                    <a:pt x="1465" y="1610"/>
                    <a:pt x="1620" y="2337"/>
                    <a:pt x="2513" y="2908"/>
                  </a:cubicBezTo>
                  <a:cubicBezTo>
                    <a:pt x="2477" y="3015"/>
                    <a:pt x="2441" y="3111"/>
                    <a:pt x="2417" y="3218"/>
                  </a:cubicBezTo>
                  <a:lnTo>
                    <a:pt x="477" y="2253"/>
                  </a:lnTo>
                  <a:cubicBezTo>
                    <a:pt x="453" y="2241"/>
                    <a:pt x="426" y="2235"/>
                    <a:pt x="401" y="2235"/>
                  </a:cubicBezTo>
                  <a:cubicBezTo>
                    <a:pt x="375" y="2235"/>
                    <a:pt x="352" y="2241"/>
                    <a:pt x="334" y="2253"/>
                  </a:cubicBezTo>
                  <a:cubicBezTo>
                    <a:pt x="286" y="2289"/>
                    <a:pt x="250" y="2313"/>
                    <a:pt x="239" y="2372"/>
                  </a:cubicBezTo>
                  <a:cubicBezTo>
                    <a:pt x="227" y="2432"/>
                    <a:pt x="0" y="3694"/>
                    <a:pt x="715" y="4384"/>
                  </a:cubicBezTo>
                  <a:cubicBezTo>
                    <a:pt x="1001" y="4646"/>
                    <a:pt x="1370" y="4789"/>
                    <a:pt x="1846" y="4789"/>
                  </a:cubicBezTo>
                  <a:cubicBezTo>
                    <a:pt x="2013" y="4789"/>
                    <a:pt x="2179" y="4765"/>
                    <a:pt x="2370" y="4742"/>
                  </a:cubicBezTo>
                  <a:lnTo>
                    <a:pt x="2786" y="7444"/>
                  </a:lnTo>
                  <a:cubicBezTo>
                    <a:pt x="2906" y="8242"/>
                    <a:pt x="3346" y="8956"/>
                    <a:pt x="3989" y="9409"/>
                  </a:cubicBezTo>
                  <a:cubicBezTo>
                    <a:pt x="3977" y="9659"/>
                    <a:pt x="4060" y="9921"/>
                    <a:pt x="4227" y="10123"/>
                  </a:cubicBezTo>
                  <a:cubicBezTo>
                    <a:pt x="4418" y="10349"/>
                    <a:pt x="4703" y="10480"/>
                    <a:pt x="5013" y="10480"/>
                  </a:cubicBezTo>
                  <a:lnTo>
                    <a:pt x="6430" y="10480"/>
                  </a:lnTo>
                  <a:cubicBezTo>
                    <a:pt x="6727" y="10480"/>
                    <a:pt x="7013" y="10349"/>
                    <a:pt x="7216" y="10123"/>
                  </a:cubicBezTo>
                  <a:cubicBezTo>
                    <a:pt x="7382" y="9933"/>
                    <a:pt x="7478" y="9683"/>
                    <a:pt x="7454" y="9409"/>
                  </a:cubicBezTo>
                  <a:cubicBezTo>
                    <a:pt x="8109" y="8945"/>
                    <a:pt x="8549" y="8242"/>
                    <a:pt x="8668" y="7444"/>
                  </a:cubicBezTo>
                  <a:lnTo>
                    <a:pt x="9085" y="4742"/>
                  </a:lnTo>
                  <a:cubicBezTo>
                    <a:pt x="9263" y="4765"/>
                    <a:pt x="9442" y="4789"/>
                    <a:pt x="9597" y="4789"/>
                  </a:cubicBezTo>
                  <a:cubicBezTo>
                    <a:pt x="10073" y="4789"/>
                    <a:pt x="10454" y="4646"/>
                    <a:pt x="10728" y="4384"/>
                  </a:cubicBezTo>
                  <a:cubicBezTo>
                    <a:pt x="11430" y="3694"/>
                    <a:pt x="11204" y="2420"/>
                    <a:pt x="11192" y="2372"/>
                  </a:cubicBezTo>
                  <a:cubicBezTo>
                    <a:pt x="11180" y="2325"/>
                    <a:pt x="11145" y="2289"/>
                    <a:pt x="11109" y="2253"/>
                  </a:cubicBezTo>
                  <a:cubicBezTo>
                    <a:pt x="11085" y="2241"/>
                    <a:pt x="11058" y="2235"/>
                    <a:pt x="11032" y="2235"/>
                  </a:cubicBezTo>
                  <a:cubicBezTo>
                    <a:pt x="11005" y="2235"/>
                    <a:pt x="10978" y="2241"/>
                    <a:pt x="10954" y="2253"/>
                  </a:cubicBezTo>
                  <a:lnTo>
                    <a:pt x="9025" y="3218"/>
                  </a:lnTo>
                  <a:cubicBezTo>
                    <a:pt x="8990" y="3122"/>
                    <a:pt x="8966" y="3015"/>
                    <a:pt x="8918" y="2908"/>
                  </a:cubicBezTo>
                  <a:cubicBezTo>
                    <a:pt x="9811" y="2337"/>
                    <a:pt x="9978" y="1610"/>
                    <a:pt x="9942" y="1098"/>
                  </a:cubicBezTo>
                  <a:cubicBezTo>
                    <a:pt x="9918" y="527"/>
                    <a:pt x="9656" y="98"/>
                    <a:pt x="9644" y="86"/>
                  </a:cubicBezTo>
                  <a:cubicBezTo>
                    <a:pt x="9624" y="34"/>
                    <a:pt x="9558" y="1"/>
                    <a:pt x="9494" y="1"/>
                  </a:cubicBezTo>
                  <a:cubicBezTo>
                    <a:pt x="9484" y="1"/>
                    <a:pt x="9475" y="1"/>
                    <a:pt x="9466" y="3"/>
                  </a:cubicBezTo>
                  <a:cubicBezTo>
                    <a:pt x="9394" y="27"/>
                    <a:pt x="9347" y="86"/>
                    <a:pt x="9347" y="158"/>
                  </a:cubicBezTo>
                  <a:cubicBezTo>
                    <a:pt x="9347" y="158"/>
                    <a:pt x="9347" y="467"/>
                    <a:pt x="9168" y="813"/>
                  </a:cubicBezTo>
                  <a:cubicBezTo>
                    <a:pt x="8966" y="1241"/>
                    <a:pt x="8609" y="1527"/>
                    <a:pt x="8132" y="1682"/>
                  </a:cubicBezTo>
                  <a:cubicBezTo>
                    <a:pt x="7489" y="1051"/>
                    <a:pt x="6620" y="694"/>
                    <a:pt x="5715" y="694"/>
                  </a:cubicBezTo>
                  <a:cubicBezTo>
                    <a:pt x="4811" y="694"/>
                    <a:pt x="3941" y="1051"/>
                    <a:pt x="3310" y="1682"/>
                  </a:cubicBezTo>
                  <a:cubicBezTo>
                    <a:pt x="2810" y="1527"/>
                    <a:pt x="2453" y="1241"/>
                    <a:pt x="2263" y="813"/>
                  </a:cubicBezTo>
                  <a:cubicBezTo>
                    <a:pt x="2096" y="467"/>
                    <a:pt x="2084" y="170"/>
                    <a:pt x="2084" y="158"/>
                  </a:cubicBezTo>
                  <a:cubicBezTo>
                    <a:pt x="2084" y="86"/>
                    <a:pt x="2036" y="27"/>
                    <a:pt x="1965" y="3"/>
                  </a:cubicBezTo>
                  <a:cubicBezTo>
                    <a:pt x="1956" y="1"/>
                    <a:pt x="1946" y="1"/>
                    <a:pt x="19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0" name="Google Shape;12890;p63"/>
            <p:cNvSpPr/>
            <p:nvPr/>
          </p:nvSpPr>
          <p:spPr>
            <a:xfrm>
              <a:off x="1498893" y="2108338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9"/>
                    <a:pt x="1" y="680"/>
                  </a:cubicBezTo>
                  <a:lnTo>
                    <a:pt x="1" y="858"/>
                  </a:lnTo>
                  <a:cubicBezTo>
                    <a:pt x="1" y="1227"/>
                    <a:pt x="298" y="1549"/>
                    <a:pt x="679" y="1549"/>
                  </a:cubicBezTo>
                  <a:cubicBezTo>
                    <a:pt x="1072" y="1549"/>
                    <a:pt x="1370" y="1251"/>
                    <a:pt x="1370" y="858"/>
                  </a:cubicBezTo>
                  <a:lnTo>
                    <a:pt x="1370" y="680"/>
                  </a:lnTo>
                  <a:cubicBezTo>
                    <a:pt x="1370" y="596"/>
                    <a:pt x="1298" y="513"/>
                    <a:pt x="1203" y="513"/>
                  </a:cubicBezTo>
                  <a:cubicBezTo>
                    <a:pt x="1120" y="513"/>
                    <a:pt x="1036" y="596"/>
                    <a:pt x="1036" y="680"/>
                  </a:cubicBezTo>
                  <a:lnTo>
                    <a:pt x="1036" y="858"/>
                  </a:lnTo>
                  <a:cubicBezTo>
                    <a:pt x="1036" y="1049"/>
                    <a:pt x="870" y="1215"/>
                    <a:pt x="679" y="1215"/>
                  </a:cubicBezTo>
                  <a:cubicBezTo>
                    <a:pt x="489" y="1215"/>
                    <a:pt x="322" y="1049"/>
                    <a:pt x="322" y="858"/>
                  </a:cubicBezTo>
                  <a:lnTo>
                    <a:pt x="322" y="680"/>
                  </a:lnTo>
                  <a:cubicBezTo>
                    <a:pt x="322" y="489"/>
                    <a:pt x="489" y="322"/>
                    <a:pt x="679" y="322"/>
                  </a:cubicBezTo>
                  <a:cubicBezTo>
                    <a:pt x="775" y="322"/>
                    <a:pt x="846" y="251"/>
                    <a:pt x="846" y="156"/>
                  </a:cubicBezTo>
                  <a:cubicBezTo>
                    <a:pt x="846" y="72"/>
                    <a:pt x="775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1" name="Google Shape;12891;p63"/>
            <p:cNvSpPr/>
            <p:nvPr/>
          </p:nvSpPr>
          <p:spPr>
            <a:xfrm>
              <a:off x="1620429" y="2108338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9"/>
                    <a:pt x="1" y="680"/>
                  </a:cubicBezTo>
                  <a:lnTo>
                    <a:pt x="1" y="858"/>
                  </a:lnTo>
                  <a:cubicBezTo>
                    <a:pt x="1" y="1227"/>
                    <a:pt x="298" y="1549"/>
                    <a:pt x="679" y="1549"/>
                  </a:cubicBezTo>
                  <a:cubicBezTo>
                    <a:pt x="1048" y="1549"/>
                    <a:pt x="1370" y="1251"/>
                    <a:pt x="1370" y="858"/>
                  </a:cubicBezTo>
                  <a:lnTo>
                    <a:pt x="1370" y="680"/>
                  </a:lnTo>
                  <a:cubicBezTo>
                    <a:pt x="1370" y="596"/>
                    <a:pt x="1287" y="513"/>
                    <a:pt x="1203" y="513"/>
                  </a:cubicBezTo>
                  <a:cubicBezTo>
                    <a:pt x="1108" y="513"/>
                    <a:pt x="1037" y="596"/>
                    <a:pt x="1037" y="680"/>
                  </a:cubicBezTo>
                  <a:lnTo>
                    <a:pt x="1037" y="858"/>
                  </a:lnTo>
                  <a:cubicBezTo>
                    <a:pt x="1037" y="1049"/>
                    <a:pt x="870" y="1215"/>
                    <a:pt x="679" y="1215"/>
                  </a:cubicBezTo>
                  <a:cubicBezTo>
                    <a:pt x="489" y="1215"/>
                    <a:pt x="322" y="1049"/>
                    <a:pt x="322" y="858"/>
                  </a:cubicBezTo>
                  <a:lnTo>
                    <a:pt x="322" y="680"/>
                  </a:lnTo>
                  <a:cubicBezTo>
                    <a:pt x="322" y="489"/>
                    <a:pt x="489" y="322"/>
                    <a:pt x="679" y="322"/>
                  </a:cubicBezTo>
                  <a:cubicBezTo>
                    <a:pt x="775" y="322"/>
                    <a:pt x="846" y="251"/>
                    <a:pt x="846" y="156"/>
                  </a:cubicBezTo>
                  <a:cubicBezTo>
                    <a:pt x="846" y="72"/>
                    <a:pt x="775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2" name="Google Shape;12892;p63"/>
            <p:cNvSpPr/>
            <p:nvPr/>
          </p:nvSpPr>
          <p:spPr>
            <a:xfrm>
              <a:off x="1548813" y="2263314"/>
              <a:ext cx="15264" cy="21088"/>
            </a:xfrm>
            <a:custGeom>
              <a:avLst/>
              <a:gdLst/>
              <a:ahLst/>
              <a:cxnLst/>
              <a:rect l="l" t="t" r="r" b="b"/>
              <a:pathLst>
                <a:path w="477" h="659" extrusionOk="0">
                  <a:moveTo>
                    <a:pt x="283" y="0"/>
                  </a:moveTo>
                  <a:cubicBezTo>
                    <a:pt x="240" y="0"/>
                    <a:pt x="200" y="19"/>
                    <a:pt x="167" y="51"/>
                  </a:cubicBezTo>
                  <a:cubicBezTo>
                    <a:pt x="48" y="182"/>
                    <a:pt x="0" y="337"/>
                    <a:pt x="0" y="492"/>
                  </a:cubicBezTo>
                  <a:cubicBezTo>
                    <a:pt x="0" y="587"/>
                    <a:pt x="72" y="659"/>
                    <a:pt x="167" y="659"/>
                  </a:cubicBezTo>
                  <a:cubicBezTo>
                    <a:pt x="250" y="659"/>
                    <a:pt x="334" y="587"/>
                    <a:pt x="334" y="492"/>
                  </a:cubicBezTo>
                  <a:cubicBezTo>
                    <a:pt x="334" y="408"/>
                    <a:pt x="358" y="337"/>
                    <a:pt x="417" y="254"/>
                  </a:cubicBezTo>
                  <a:cubicBezTo>
                    <a:pt x="477" y="194"/>
                    <a:pt x="465" y="99"/>
                    <a:pt x="393" y="39"/>
                  </a:cubicBezTo>
                  <a:cubicBezTo>
                    <a:pt x="356" y="13"/>
                    <a:pt x="318" y="0"/>
                    <a:pt x="2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3" name="Google Shape;12893;p63"/>
            <p:cNvSpPr/>
            <p:nvPr/>
          </p:nvSpPr>
          <p:spPr>
            <a:xfrm>
              <a:off x="1599469" y="2263186"/>
              <a:ext cx="15296" cy="21216"/>
            </a:xfrm>
            <a:custGeom>
              <a:avLst/>
              <a:gdLst/>
              <a:ahLst/>
              <a:cxnLst/>
              <a:rect l="l" t="t" r="r" b="b"/>
              <a:pathLst>
                <a:path w="478" h="663" extrusionOk="0">
                  <a:moveTo>
                    <a:pt x="180" y="0"/>
                  </a:moveTo>
                  <a:cubicBezTo>
                    <a:pt x="140" y="0"/>
                    <a:pt x="101" y="15"/>
                    <a:pt x="72" y="43"/>
                  </a:cubicBezTo>
                  <a:cubicBezTo>
                    <a:pt x="1" y="91"/>
                    <a:pt x="1" y="198"/>
                    <a:pt x="60" y="258"/>
                  </a:cubicBezTo>
                  <a:cubicBezTo>
                    <a:pt x="120" y="341"/>
                    <a:pt x="144" y="412"/>
                    <a:pt x="144" y="496"/>
                  </a:cubicBezTo>
                  <a:cubicBezTo>
                    <a:pt x="144" y="591"/>
                    <a:pt x="215" y="663"/>
                    <a:pt x="310" y="663"/>
                  </a:cubicBezTo>
                  <a:cubicBezTo>
                    <a:pt x="394" y="663"/>
                    <a:pt x="477" y="591"/>
                    <a:pt x="477" y="496"/>
                  </a:cubicBezTo>
                  <a:cubicBezTo>
                    <a:pt x="453" y="353"/>
                    <a:pt x="394" y="186"/>
                    <a:pt x="299" y="55"/>
                  </a:cubicBezTo>
                  <a:cubicBezTo>
                    <a:pt x="267" y="18"/>
                    <a:pt x="223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4" name="Google Shape;12894;p63"/>
            <p:cNvSpPr/>
            <p:nvPr/>
          </p:nvSpPr>
          <p:spPr>
            <a:xfrm>
              <a:off x="1631117" y="2062130"/>
              <a:ext cx="22496" cy="23392"/>
            </a:xfrm>
            <a:custGeom>
              <a:avLst/>
              <a:gdLst/>
              <a:ahLst/>
              <a:cxnLst/>
              <a:rect l="l" t="t" r="r" b="b"/>
              <a:pathLst>
                <a:path w="703" h="731" extrusionOk="0">
                  <a:moveTo>
                    <a:pt x="521" y="0"/>
                  </a:moveTo>
                  <a:cubicBezTo>
                    <a:pt x="470" y="0"/>
                    <a:pt x="422" y="24"/>
                    <a:pt x="393" y="76"/>
                  </a:cubicBezTo>
                  <a:cubicBezTo>
                    <a:pt x="286" y="207"/>
                    <a:pt x="179" y="338"/>
                    <a:pt x="60" y="457"/>
                  </a:cubicBezTo>
                  <a:cubicBezTo>
                    <a:pt x="0" y="516"/>
                    <a:pt x="0" y="623"/>
                    <a:pt x="60" y="683"/>
                  </a:cubicBezTo>
                  <a:cubicBezTo>
                    <a:pt x="95" y="707"/>
                    <a:pt x="143" y="730"/>
                    <a:pt x="179" y="730"/>
                  </a:cubicBezTo>
                  <a:cubicBezTo>
                    <a:pt x="226" y="730"/>
                    <a:pt x="274" y="707"/>
                    <a:pt x="298" y="683"/>
                  </a:cubicBezTo>
                  <a:cubicBezTo>
                    <a:pt x="441" y="552"/>
                    <a:pt x="560" y="397"/>
                    <a:pt x="655" y="254"/>
                  </a:cubicBezTo>
                  <a:cubicBezTo>
                    <a:pt x="703" y="195"/>
                    <a:pt x="691" y="88"/>
                    <a:pt x="619" y="28"/>
                  </a:cubicBezTo>
                  <a:cubicBezTo>
                    <a:pt x="587" y="10"/>
                    <a:pt x="553" y="0"/>
                    <a:pt x="5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95" name="Google Shape;12895;p63"/>
          <p:cNvGrpSpPr/>
          <p:nvPr/>
        </p:nvGrpSpPr>
        <p:grpSpPr>
          <a:xfrm>
            <a:off x="3052237" y="2003570"/>
            <a:ext cx="353600" cy="314752"/>
            <a:chOff x="3052237" y="2003570"/>
            <a:chExt cx="353600" cy="314752"/>
          </a:xfrm>
        </p:grpSpPr>
        <p:sp>
          <p:nvSpPr>
            <p:cNvPr id="12896" name="Google Shape;12896;p63"/>
            <p:cNvSpPr/>
            <p:nvPr/>
          </p:nvSpPr>
          <p:spPr>
            <a:xfrm>
              <a:off x="3261773" y="2108338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3" y="1"/>
                  </a:moveTo>
                  <a:cubicBezTo>
                    <a:pt x="346" y="1"/>
                    <a:pt x="1" y="334"/>
                    <a:pt x="1" y="751"/>
                  </a:cubicBezTo>
                  <a:lnTo>
                    <a:pt x="1" y="1096"/>
                  </a:lnTo>
                  <a:cubicBezTo>
                    <a:pt x="1" y="1513"/>
                    <a:pt x="346" y="1858"/>
                    <a:pt x="763" y="1858"/>
                  </a:cubicBezTo>
                  <a:cubicBezTo>
                    <a:pt x="1180" y="1858"/>
                    <a:pt x="1525" y="1513"/>
                    <a:pt x="1525" y="1096"/>
                  </a:cubicBezTo>
                  <a:lnTo>
                    <a:pt x="1525" y="751"/>
                  </a:lnTo>
                  <a:cubicBezTo>
                    <a:pt x="1525" y="668"/>
                    <a:pt x="1489" y="549"/>
                    <a:pt x="1453" y="441"/>
                  </a:cubicBezTo>
                  <a:cubicBezTo>
                    <a:pt x="1419" y="390"/>
                    <a:pt x="1360" y="351"/>
                    <a:pt x="1303" y="351"/>
                  </a:cubicBezTo>
                  <a:cubicBezTo>
                    <a:pt x="1281" y="351"/>
                    <a:pt x="1259" y="357"/>
                    <a:pt x="1239" y="370"/>
                  </a:cubicBezTo>
                  <a:cubicBezTo>
                    <a:pt x="1168" y="418"/>
                    <a:pt x="1120" y="501"/>
                    <a:pt x="1168" y="572"/>
                  </a:cubicBezTo>
                  <a:cubicBezTo>
                    <a:pt x="1191" y="632"/>
                    <a:pt x="1215" y="691"/>
                    <a:pt x="1215" y="775"/>
                  </a:cubicBezTo>
                  <a:lnTo>
                    <a:pt x="1215" y="1108"/>
                  </a:lnTo>
                  <a:cubicBezTo>
                    <a:pt x="1215" y="1346"/>
                    <a:pt x="1013" y="1561"/>
                    <a:pt x="763" y="1561"/>
                  </a:cubicBezTo>
                  <a:cubicBezTo>
                    <a:pt x="525" y="1561"/>
                    <a:pt x="322" y="1370"/>
                    <a:pt x="322" y="1108"/>
                  </a:cubicBezTo>
                  <a:lnTo>
                    <a:pt x="322" y="775"/>
                  </a:lnTo>
                  <a:cubicBezTo>
                    <a:pt x="322" y="537"/>
                    <a:pt x="513" y="322"/>
                    <a:pt x="763" y="322"/>
                  </a:cubicBezTo>
                  <a:cubicBezTo>
                    <a:pt x="858" y="322"/>
                    <a:pt x="930" y="251"/>
                    <a:pt x="930" y="156"/>
                  </a:cubicBezTo>
                  <a:cubicBezTo>
                    <a:pt x="930" y="72"/>
                    <a:pt x="858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7" name="Google Shape;12897;p63"/>
            <p:cNvSpPr/>
            <p:nvPr/>
          </p:nvSpPr>
          <p:spPr>
            <a:xfrm>
              <a:off x="3146349" y="2108338"/>
              <a:ext cx="48416" cy="59488"/>
            </a:xfrm>
            <a:custGeom>
              <a:avLst/>
              <a:gdLst/>
              <a:ahLst/>
              <a:cxnLst/>
              <a:rect l="l" t="t" r="r" b="b"/>
              <a:pathLst>
                <a:path w="1513" h="1859" extrusionOk="0">
                  <a:moveTo>
                    <a:pt x="750" y="1"/>
                  </a:moveTo>
                  <a:cubicBezTo>
                    <a:pt x="334" y="1"/>
                    <a:pt x="0" y="334"/>
                    <a:pt x="0" y="751"/>
                  </a:cubicBezTo>
                  <a:lnTo>
                    <a:pt x="0" y="1096"/>
                  </a:lnTo>
                  <a:cubicBezTo>
                    <a:pt x="0" y="1513"/>
                    <a:pt x="334" y="1858"/>
                    <a:pt x="750" y="1858"/>
                  </a:cubicBezTo>
                  <a:cubicBezTo>
                    <a:pt x="1167" y="1858"/>
                    <a:pt x="1512" y="1513"/>
                    <a:pt x="1512" y="1096"/>
                  </a:cubicBezTo>
                  <a:lnTo>
                    <a:pt x="1512" y="751"/>
                  </a:lnTo>
                  <a:cubicBezTo>
                    <a:pt x="1512" y="668"/>
                    <a:pt x="1489" y="549"/>
                    <a:pt x="1441" y="441"/>
                  </a:cubicBezTo>
                  <a:cubicBezTo>
                    <a:pt x="1407" y="390"/>
                    <a:pt x="1354" y="351"/>
                    <a:pt x="1296" y="351"/>
                  </a:cubicBezTo>
                  <a:cubicBezTo>
                    <a:pt x="1273" y="351"/>
                    <a:pt x="1250" y="357"/>
                    <a:pt x="1227" y="370"/>
                  </a:cubicBezTo>
                  <a:cubicBezTo>
                    <a:pt x="1155" y="418"/>
                    <a:pt x="1108" y="501"/>
                    <a:pt x="1155" y="572"/>
                  </a:cubicBezTo>
                  <a:cubicBezTo>
                    <a:pt x="1191" y="632"/>
                    <a:pt x="1203" y="691"/>
                    <a:pt x="1203" y="775"/>
                  </a:cubicBezTo>
                  <a:lnTo>
                    <a:pt x="1203" y="1108"/>
                  </a:lnTo>
                  <a:cubicBezTo>
                    <a:pt x="1203" y="1346"/>
                    <a:pt x="1012" y="1561"/>
                    <a:pt x="750" y="1561"/>
                  </a:cubicBezTo>
                  <a:cubicBezTo>
                    <a:pt x="512" y="1561"/>
                    <a:pt x="310" y="1370"/>
                    <a:pt x="310" y="1108"/>
                  </a:cubicBezTo>
                  <a:lnTo>
                    <a:pt x="310" y="775"/>
                  </a:lnTo>
                  <a:cubicBezTo>
                    <a:pt x="310" y="537"/>
                    <a:pt x="500" y="322"/>
                    <a:pt x="750" y="322"/>
                  </a:cubicBezTo>
                  <a:cubicBezTo>
                    <a:pt x="846" y="322"/>
                    <a:pt x="917" y="251"/>
                    <a:pt x="917" y="156"/>
                  </a:cubicBezTo>
                  <a:cubicBezTo>
                    <a:pt x="917" y="72"/>
                    <a:pt x="846" y="1"/>
                    <a:pt x="7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8" name="Google Shape;12898;p63"/>
            <p:cNvSpPr/>
            <p:nvPr/>
          </p:nvSpPr>
          <p:spPr>
            <a:xfrm>
              <a:off x="3052237" y="2003570"/>
              <a:ext cx="353600" cy="314752"/>
            </a:xfrm>
            <a:custGeom>
              <a:avLst/>
              <a:gdLst/>
              <a:ahLst/>
              <a:cxnLst/>
              <a:rect l="l" t="t" r="r" b="b"/>
              <a:pathLst>
                <a:path w="11050" h="9836" extrusionOk="0">
                  <a:moveTo>
                    <a:pt x="2227" y="334"/>
                  </a:moveTo>
                  <a:cubicBezTo>
                    <a:pt x="2477" y="334"/>
                    <a:pt x="2786" y="429"/>
                    <a:pt x="3013" y="513"/>
                  </a:cubicBezTo>
                  <a:cubicBezTo>
                    <a:pt x="2144" y="989"/>
                    <a:pt x="2013" y="2049"/>
                    <a:pt x="1882" y="3061"/>
                  </a:cubicBezTo>
                  <a:cubicBezTo>
                    <a:pt x="1786" y="3894"/>
                    <a:pt x="1667" y="4763"/>
                    <a:pt x="1179" y="5275"/>
                  </a:cubicBezTo>
                  <a:cubicBezTo>
                    <a:pt x="1138" y="5316"/>
                    <a:pt x="1091" y="5329"/>
                    <a:pt x="1054" y="5329"/>
                  </a:cubicBezTo>
                  <a:cubicBezTo>
                    <a:pt x="1038" y="5329"/>
                    <a:pt x="1023" y="5326"/>
                    <a:pt x="1012" y="5323"/>
                  </a:cubicBezTo>
                  <a:cubicBezTo>
                    <a:pt x="953" y="5311"/>
                    <a:pt x="893" y="5263"/>
                    <a:pt x="881" y="5204"/>
                  </a:cubicBezTo>
                  <a:cubicBezTo>
                    <a:pt x="798" y="4906"/>
                    <a:pt x="691" y="4418"/>
                    <a:pt x="703" y="3668"/>
                  </a:cubicBezTo>
                  <a:cubicBezTo>
                    <a:pt x="715" y="2918"/>
                    <a:pt x="512" y="2620"/>
                    <a:pt x="346" y="2513"/>
                  </a:cubicBezTo>
                  <a:cubicBezTo>
                    <a:pt x="465" y="2037"/>
                    <a:pt x="1012" y="334"/>
                    <a:pt x="2227" y="334"/>
                  </a:cubicBezTo>
                  <a:close/>
                  <a:moveTo>
                    <a:pt x="5513" y="5847"/>
                  </a:moveTo>
                  <a:cubicBezTo>
                    <a:pt x="5977" y="5847"/>
                    <a:pt x="6370" y="6085"/>
                    <a:pt x="6370" y="6382"/>
                  </a:cubicBezTo>
                  <a:cubicBezTo>
                    <a:pt x="6370" y="6632"/>
                    <a:pt x="6001" y="6811"/>
                    <a:pt x="5739" y="6930"/>
                  </a:cubicBezTo>
                  <a:lnTo>
                    <a:pt x="5715" y="6930"/>
                  </a:lnTo>
                  <a:cubicBezTo>
                    <a:pt x="5650" y="6960"/>
                    <a:pt x="5576" y="6975"/>
                    <a:pt x="5501" y="6975"/>
                  </a:cubicBezTo>
                  <a:cubicBezTo>
                    <a:pt x="5427" y="6975"/>
                    <a:pt x="5352" y="6960"/>
                    <a:pt x="5287" y="6930"/>
                  </a:cubicBezTo>
                  <a:lnTo>
                    <a:pt x="5275" y="6930"/>
                  </a:lnTo>
                  <a:cubicBezTo>
                    <a:pt x="5001" y="6811"/>
                    <a:pt x="4632" y="6632"/>
                    <a:pt x="4632" y="6382"/>
                  </a:cubicBezTo>
                  <a:cubicBezTo>
                    <a:pt x="4632" y="6097"/>
                    <a:pt x="5037" y="5847"/>
                    <a:pt x="5513" y="5847"/>
                  </a:cubicBezTo>
                  <a:close/>
                  <a:moveTo>
                    <a:pt x="8847" y="298"/>
                  </a:moveTo>
                  <a:cubicBezTo>
                    <a:pt x="10061" y="298"/>
                    <a:pt x="10597" y="1989"/>
                    <a:pt x="10716" y="2465"/>
                  </a:cubicBezTo>
                  <a:cubicBezTo>
                    <a:pt x="10502" y="2620"/>
                    <a:pt x="10276" y="2918"/>
                    <a:pt x="10287" y="3656"/>
                  </a:cubicBezTo>
                  <a:cubicBezTo>
                    <a:pt x="10299" y="4406"/>
                    <a:pt x="10204" y="4894"/>
                    <a:pt x="10109" y="5192"/>
                  </a:cubicBezTo>
                  <a:cubicBezTo>
                    <a:pt x="10097" y="5251"/>
                    <a:pt x="10037" y="5299"/>
                    <a:pt x="9978" y="5311"/>
                  </a:cubicBezTo>
                  <a:cubicBezTo>
                    <a:pt x="9968" y="5311"/>
                    <a:pt x="9955" y="5312"/>
                    <a:pt x="9940" y="5312"/>
                  </a:cubicBezTo>
                  <a:cubicBezTo>
                    <a:pt x="9902" y="5312"/>
                    <a:pt x="9854" y="5306"/>
                    <a:pt x="9811" y="5263"/>
                  </a:cubicBezTo>
                  <a:cubicBezTo>
                    <a:pt x="9311" y="4739"/>
                    <a:pt x="9204" y="3882"/>
                    <a:pt x="9097" y="3049"/>
                  </a:cubicBezTo>
                  <a:cubicBezTo>
                    <a:pt x="9025" y="2501"/>
                    <a:pt x="8966" y="1918"/>
                    <a:pt x="8763" y="1441"/>
                  </a:cubicBezTo>
                  <a:cubicBezTo>
                    <a:pt x="8745" y="1369"/>
                    <a:pt x="8678" y="1337"/>
                    <a:pt x="8616" y="1337"/>
                  </a:cubicBezTo>
                  <a:cubicBezTo>
                    <a:pt x="8597" y="1337"/>
                    <a:pt x="8578" y="1340"/>
                    <a:pt x="8561" y="1346"/>
                  </a:cubicBezTo>
                  <a:cubicBezTo>
                    <a:pt x="8466" y="1382"/>
                    <a:pt x="8442" y="1489"/>
                    <a:pt x="8466" y="1560"/>
                  </a:cubicBezTo>
                  <a:cubicBezTo>
                    <a:pt x="8656" y="1989"/>
                    <a:pt x="8716" y="2525"/>
                    <a:pt x="8787" y="3072"/>
                  </a:cubicBezTo>
                  <a:cubicBezTo>
                    <a:pt x="8871" y="3787"/>
                    <a:pt x="8966" y="4513"/>
                    <a:pt x="9311" y="5097"/>
                  </a:cubicBezTo>
                  <a:cubicBezTo>
                    <a:pt x="9228" y="5739"/>
                    <a:pt x="8966" y="6251"/>
                    <a:pt x="8752" y="6561"/>
                  </a:cubicBezTo>
                  <a:cubicBezTo>
                    <a:pt x="8561" y="6847"/>
                    <a:pt x="8323" y="7085"/>
                    <a:pt x="8085" y="7263"/>
                  </a:cubicBezTo>
                  <a:cubicBezTo>
                    <a:pt x="8073" y="6978"/>
                    <a:pt x="7906" y="6704"/>
                    <a:pt x="7632" y="6513"/>
                  </a:cubicBezTo>
                  <a:cubicBezTo>
                    <a:pt x="7382" y="6323"/>
                    <a:pt x="7037" y="6216"/>
                    <a:pt x="6680" y="6204"/>
                  </a:cubicBezTo>
                  <a:cubicBezTo>
                    <a:pt x="6585" y="5799"/>
                    <a:pt x="6108" y="5513"/>
                    <a:pt x="5513" y="5513"/>
                  </a:cubicBezTo>
                  <a:cubicBezTo>
                    <a:pt x="4918" y="5513"/>
                    <a:pt x="4441" y="5811"/>
                    <a:pt x="4334" y="6204"/>
                  </a:cubicBezTo>
                  <a:cubicBezTo>
                    <a:pt x="4263" y="6204"/>
                    <a:pt x="4191" y="6216"/>
                    <a:pt x="4108" y="6216"/>
                  </a:cubicBezTo>
                  <a:cubicBezTo>
                    <a:pt x="4025" y="6228"/>
                    <a:pt x="3965" y="6311"/>
                    <a:pt x="3977" y="6394"/>
                  </a:cubicBezTo>
                  <a:cubicBezTo>
                    <a:pt x="3989" y="6466"/>
                    <a:pt x="4049" y="6525"/>
                    <a:pt x="4144" y="6525"/>
                  </a:cubicBezTo>
                  <a:lnTo>
                    <a:pt x="4168" y="6525"/>
                  </a:lnTo>
                  <a:cubicBezTo>
                    <a:pt x="4227" y="6513"/>
                    <a:pt x="4287" y="6513"/>
                    <a:pt x="4346" y="6513"/>
                  </a:cubicBezTo>
                  <a:cubicBezTo>
                    <a:pt x="4453" y="6871"/>
                    <a:pt x="4870" y="7061"/>
                    <a:pt x="5156" y="7192"/>
                  </a:cubicBezTo>
                  <a:lnTo>
                    <a:pt x="5168" y="7192"/>
                  </a:lnTo>
                  <a:cubicBezTo>
                    <a:pt x="5287" y="7240"/>
                    <a:pt x="5406" y="7275"/>
                    <a:pt x="5525" y="7275"/>
                  </a:cubicBezTo>
                  <a:cubicBezTo>
                    <a:pt x="5644" y="7275"/>
                    <a:pt x="5763" y="7240"/>
                    <a:pt x="5882" y="7192"/>
                  </a:cubicBezTo>
                  <a:lnTo>
                    <a:pt x="5894" y="7192"/>
                  </a:lnTo>
                  <a:cubicBezTo>
                    <a:pt x="6192" y="7061"/>
                    <a:pt x="6608" y="6871"/>
                    <a:pt x="6704" y="6513"/>
                  </a:cubicBezTo>
                  <a:cubicBezTo>
                    <a:pt x="7299" y="6525"/>
                    <a:pt x="7787" y="6882"/>
                    <a:pt x="7787" y="7299"/>
                  </a:cubicBezTo>
                  <a:cubicBezTo>
                    <a:pt x="7787" y="7728"/>
                    <a:pt x="7287" y="8085"/>
                    <a:pt x="6656" y="8085"/>
                  </a:cubicBezTo>
                  <a:cubicBezTo>
                    <a:pt x="6346" y="8085"/>
                    <a:pt x="6049" y="8002"/>
                    <a:pt x="5834" y="7835"/>
                  </a:cubicBezTo>
                  <a:cubicBezTo>
                    <a:pt x="5745" y="7769"/>
                    <a:pt x="5641" y="7737"/>
                    <a:pt x="5537" y="7737"/>
                  </a:cubicBezTo>
                  <a:cubicBezTo>
                    <a:pt x="5433" y="7737"/>
                    <a:pt x="5328" y="7769"/>
                    <a:pt x="5239" y="7835"/>
                  </a:cubicBezTo>
                  <a:cubicBezTo>
                    <a:pt x="5025" y="8002"/>
                    <a:pt x="4739" y="8085"/>
                    <a:pt x="4430" y="8085"/>
                  </a:cubicBezTo>
                  <a:cubicBezTo>
                    <a:pt x="3799" y="8085"/>
                    <a:pt x="3298" y="7740"/>
                    <a:pt x="3298" y="7299"/>
                  </a:cubicBezTo>
                  <a:cubicBezTo>
                    <a:pt x="3298" y="7109"/>
                    <a:pt x="3394" y="6930"/>
                    <a:pt x="3572" y="6775"/>
                  </a:cubicBezTo>
                  <a:cubicBezTo>
                    <a:pt x="3656" y="6716"/>
                    <a:pt x="3656" y="6621"/>
                    <a:pt x="3608" y="6561"/>
                  </a:cubicBezTo>
                  <a:cubicBezTo>
                    <a:pt x="3578" y="6523"/>
                    <a:pt x="3519" y="6500"/>
                    <a:pt x="3465" y="6500"/>
                  </a:cubicBezTo>
                  <a:cubicBezTo>
                    <a:pt x="3434" y="6500"/>
                    <a:pt x="3404" y="6508"/>
                    <a:pt x="3382" y="6525"/>
                  </a:cubicBezTo>
                  <a:cubicBezTo>
                    <a:pt x="3132" y="6716"/>
                    <a:pt x="2989" y="6978"/>
                    <a:pt x="2977" y="7240"/>
                  </a:cubicBezTo>
                  <a:cubicBezTo>
                    <a:pt x="2739" y="7061"/>
                    <a:pt x="2501" y="6823"/>
                    <a:pt x="2310" y="6549"/>
                  </a:cubicBezTo>
                  <a:cubicBezTo>
                    <a:pt x="2096" y="6228"/>
                    <a:pt x="1834" y="5739"/>
                    <a:pt x="1763" y="5085"/>
                  </a:cubicBezTo>
                  <a:cubicBezTo>
                    <a:pt x="2096" y="4513"/>
                    <a:pt x="2191" y="3775"/>
                    <a:pt x="2275" y="3061"/>
                  </a:cubicBezTo>
                  <a:cubicBezTo>
                    <a:pt x="2358" y="2489"/>
                    <a:pt x="2417" y="1953"/>
                    <a:pt x="2596" y="1513"/>
                  </a:cubicBezTo>
                  <a:cubicBezTo>
                    <a:pt x="2786" y="1048"/>
                    <a:pt x="3072" y="786"/>
                    <a:pt x="3489" y="632"/>
                  </a:cubicBezTo>
                  <a:cubicBezTo>
                    <a:pt x="3627" y="681"/>
                    <a:pt x="3748" y="700"/>
                    <a:pt x="3863" y="700"/>
                  </a:cubicBezTo>
                  <a:cubicBezTo>
                    <a:pt x="4027" y="700"/>
                    <a:pt x="4178" y="662"/>
                    <a:pt x="4346" y="620"/>
                  </a:cubicBezTo>
                  <a:cubicBezTo>
                    <a:pt x="4620" y="548"/>
                    <a:pt x="4953" y="453"/>
                    <a:pt x="5573" y="453"/>
                  </a:cubicBezTo>
                  <a:cubicBezTo>
                    <a:pt x="6180" y="453"/>
                    <a:pt x="6501" y="548"/>
                    <a:pt x="6787" y="620"/>
                  </a:cubicBezTo>
                  <a:cubicBezTo>
                    <a:pt x="6954" y="667"/>
                    <a:pt x="7120" y="715"/>
                    <a:pt x="7275" y="715"/>
                  </a:cubicBezTo>
                  <a:cubicBezTo>
                    <a:pt x="7394" y="715"/>
                    <a:pt x="7525" y="691"/>
                    <a:pt x="7656" y="632"/>
                  </a:cubicBezTo>
                  <a:cubicBezTo>
                    <a:pt x="7870" y="715"/>
                    <a:pt x="8073" y="834"/>
                    <a:pt x="8216" y="989"/>
                  </a:cubicBezTo>
                  <a:cubicBezTo>
                    <a:pt x="8245" y="1019"/>
                    <a:pt x="8287" y="1034"/>
                    <a:pt x="8329" y="1034"/>
                  </a:cubicBezTo>
                  <a:cubicBezTo>
                    <a:pt x="8371" y="1034"/>
                    <a:pt x="8412" y="1019"/>
                    <a:pt x="8442" y="989"/>
                  </a:cubicBezTo>
                  <a:cubicBezTo>
                    <a:pt x="8501" y="929"/>
                    <a:pt x="8501" y="822"/>
                    <a:pt x="8442" y="763"/>
                  </a:cubicBezTo>
                  <a:cubicBezTo>
                    <a:pt x="8323" y="644"/>
                    <a:pt x="8192" y="548"/>
                    <a:pt x="8049" y="465"/>
                  </a:cubicBezTo>
                  <a:cubicBezTo>
                    <a:pt x="8287" y="382"/>
                    <a:pt x="8585" y="298"/>
                    <a:pt x="8847" y="298"/>
                  </a:cubicBezTo>
                  <a:close/>
                  <a:moveTo>
                    <a:pt x="3929" y="8395"/>
                  </a:moveTo>
                  <a:lnTo>
                    <a:pt x="3929" y="8395"/>
                  </a:lnTo>
                  <a:cubicBezTo>
                    <a:pt x="4072" y="8418"/>
                    <a:pt x="4215" y="8430"/>
                    <a:pt x="4382" y="8430"/>
                  </a:cubicBezTo>
                  <a:lnTo>
                    <a:pt x="4489" y="8430"/>
                  </a:lnTo>
                  <a:lnTo>
                    <a:pt x="4489" y="8787"/>
                  </a:lnTo>
                  <a:lnTo>
                    <a:pt x="4489" y="8906"/>
                  </a:lnTo>
                  <a:cubicBezTo>
                    <a:pt x="4227" y="8764"/>
                    <a:pt x="4049" y="8585"/>
                    <a:pt x="3929" y="8395"/>
                  </a:cubicBezTo>
                  <a:close/>
                  <a:moveTo>
                    <a:pt x="7061" y="8395"/>
                  </a:moveTo>
                  <a:lnTo>
                    <a:pt x="7061" y="8395"/>
                  </a:lnTo>
                  <a:cubicBezTo>
                    <a:pt x="6942" y="8585"/>
                    <a:pt x="6763" y="8764"/>
                    <a:pt x="6513" y="8906"/>
                  </a:cubicBezTo>
                  <a:lnTo>
                    <a:pt x="6513" y="8787"/>
                  </a:lnTo>
                  <a:lnTo>
                    <a:pt x="6513" y="8430"/>
                  </a:lnTo>
                  <a:lnTo>
                    <a:pt x="6608" y="8430"/>
                  </a:lnTo>
                  <a:cubicBezTo>
                    <a:pt x="6763" y="8430"/>
                    <a:pt x="6906" y="8418"/>
                    <a:pt x="7061" y="8395"/>
                  </a:cubicBezTo>
                  <a:close/>
                  <a:moveTo>
                    <a:pt x="5656" y="8168"/>
                  </a:moveTo>
                  <a:cubicBezTo>
                    <a:pt x="5823" y="8275"/>
                    <a:pt x="6001" y="8347"/>
                    <a:pt x="6192" y="8395"/>
                  </a:cubicBezTo>
                  <a:lnTo>
                    <a:pt x="6192" y="8787"/>
                  </a:lnTo>
                  <a:cubicBezTo>
                    <a:pt x="6192" y="9180"/>
                    <a:pt x="5882" y="9490"/>
                    <a:pt x="5489" y="9490"/>
                  </a:cubicBezTo>
                  <a:cubicBezTo>
                    <a:pt x="5108" y="9490"/>
                    <a:pt x="4799" y="9180"/>
                    <a:pt x="4799" y="8787"/>
                  </a:cubicBezTo>
                  <a:lnTo>
                    <a:pt x="4799" y="8395"/>
                  </a:lnTo>
                  <a:cubicBezTo>
                    <a:pt x="4989" y="8347"/>
                    <a:pt x="5180" y="8275"/>
                    <a:pt x="5334" y="8168"/>
                  </a:cubicBezTo>
                  <a:lnTo>
                    <a:pt x="5334" y="8633"/>
                  </a:lnTo>
                  <a:cubicBezTo>
                    <a:pt x="5334" y="8716"/>
                    <a:pt x="5406" y="8787"/>
                    <a:pt x="5489" y="8787"/>
                  </a:cubicBezTo>
                  <a:cubicBezTo>
                    <a:pt x="5584" y="8787"/>
                    <a:pt x="5656" y="8716"/>
                    <a:pt x="5656" y="8633"/>
                  </a:cubicBezTo>
                  <a:lnTo>
                    <a:pt x="5656" y="8168"/>
                  </a:lnTo>
                  <a:close/>
                  <a:moveTo>
                    <a:pt x="2239" y="1"/>
                  </a:moveTo>
                  <a:cubicBezTo>
                    <a:pt x="1536" y="1"/>
                    <a:pt x="929" y="441"/>
                    <a:pt x="477" y="1287"/>
                  </a:cubicBezTo>
                  <a:cubicBezTo>
                    <a:pt x="155" y="1906"/>
                    <a:pt x="24" y="2513"/>
                    <a:pt x="24" y="2537"/>
                  </a:cubicBezTo>
                  <a:cubicBezTo>
                    <a:pt x="0" y="2584"/>
                    <a:pt x="0" y="2632"/>
                    <a:pt x="36" y="2680"/>
                  </a:cubicBezTo>
                  <a:cubicBezTo>
                    <a:pt x="60" y="2703"/>
                    <a:pt x="96" y="2727"/>
                    <a:pt x="143" y="2727"/>
                  </a:cubicBezTo>
                  <a:cubicBezTo>
                    <a:pt x="167" y="2751"/>
                    <a:pt x="405" y="2882"/>
                    <a:pt x="393" y="3656"/>
                  </a:cubicBezTo>
                  <a:cubicBezTo>
                    <a:pt x="381" y="4430"/>
                    <a:pt x="477" y="4977"/>
                    <a:pt x="584" y="5287"/>
                  </a:cubicBezTo>
                  <a:cubicBezTo>
                    <a:pt x="643" y="5466"/>
                    <a:pt x="774" y="5585"/>
                    <a:pt x="953" y="5632"/>
                  </a:cubicBezTo>
                  <a:cubicBezTo>
                    <a:pt x="1001" y="5656"/>
                    <a:pt x="1036" y="5656"/>
                    <a:pt x="1072" y="5656"/>
                  </a:cubicBezTo>
                  <a:cubicBezTo>
                    <a:pt x="1215" y="5656"/>
                    <a:pt x="1334" y="5597"/>
                    <a:pt x="1429" y="5501"/>
                  </a:cubicBezTo>
                  <a:lnTo>
                    <a:pt x="1453" y="5489"/>
                  </a:lnTo>
                  <a:cubicBezTo>
                    <a:pt x="1667" y="6549"/>
                    <a:pt x="2370" y="7371"/>
                    <a:pt x="3037" y="7716"/>
                  </a:cubicBezTo>
                  <a:cubicBezTo>
                    <a:pt x="3120" y="7871"/>
                    <a:pt x="3239" y="8014"/>
                    <a:pt x="3394" y="8133"/>
                  </a:cubicBezTo>
                  <a:lnTo>
                    <a:pt x="3537" y="8228"/>
                  </a:lnTo>
                  <a:cubicBezTo>
                    <a:pt x="3668" y="8633"/>
                    <a:pt x="4037" y="9121"/>
                    <a:pt x="4668" y="9347"/>
                  </a:cubicBezTo>
                  <a:cubicBezTo>
                    <a:pt x="4846" y="9645"/>
                    <a:pt x="5168" y="9835"/>
                    <a:pt x="5537" y="9835"/>
                  </a:cubicBezTo>
                  <a:cubicBezTo>
                    <a:pt x="5918" y="9835"/>
                    <a:pt x="6239" y="9645"/>
                    <a:pt x="6418" y="9347"/>
                  </a:cubicBezTo>
                  <a:cubicBezTo>
                    <a:pt x="7049" y="9121"/>
                    <a:pt x="7406" y="8633"/>
                    <a:pt x="7549" y="8228"/>
                  </a:cubicBezTo>
                  <a:lnTo>
                    <a:pt x="7680" y="8133"/>
                  </a:lnTo>
                  <a:cubicBezTo>
                    <a:pt x="7847" y="8014"/>
                    <a:pt x="7966" y="7883"/>
                    <a:pt x="8037" y="7716"/>
                  </a:cubicBezTo>
                  <a:cubicBezTo>
                    <a:pt x="8692" y="7371"/>
                    <a:pt x="9406" y="6549"/>
                    <a:pt x="9633" y="5489"/>
                  </a:cubicBezTo>
                  <a:lnTo>
                    <a:pt x="9644" y="5501"/>
                  </a:lnTo>
                  <a:cubicBezTo>
                    <a:pt x="9740" y="5608"/>
                    <a:pt x="9871" y="5656"/>
                    <a:pt x="10002" y="5656"/>
                  </a:cubicBezTo>
                  <a:cubicBezTo>
                    <a:pt x="10049" y="5656"/>
                    <a:pt x="10085" y="5656"/>
                    <a:pt x="10121" y="5632"/>
                  </a:cubicBezTo>
                  <a:cubicBezTo>
                    <a:pt x="10299" y="5585"/>
                    <a:pt x="10442" y="5454"/>
                    <a:pt x="10502" y="5287"/>
                  </a:cubicBezTo>
                  <a:cubicBezTo>
                    <a:pt x="10585" y="4977"/>
                    <a:pt x="10704" y="4442"/>
                    <a:pt x="10692" y="3656"/>
                  </a:cubicBezTo>
                  <a:cubicBezTo>
                    <a:pt x="10680" y="2882"/>
                    <a:pt x="10918" y="2751"/>
                    <a:pt x="10942" y="2727"/>
                  </a:cubicBezTo>
                  <a:cubicBezTo>
                    <a:pt x="10990" y="2727"/>
                    <a:pt x="11014" y="2703"/>
                    <a:pt x="11049" y="2680"/>
                  </a:cubicBezTo>
                  <a:cubicBezTo>
                    <a:pt x="11002" y="2644"/>
                    <a:pt x="11014" y="2596"/>
                    <a:pt x="11002" y="2537"/>
                  </a:cubicBezTo>
                  <a:cubicBezTo>
                    <a:pt x="11002" y="2513"/>
                    <a:pt x="10871" y="1906"/>
                    <a:pt x="10537" y="1287"/>
                  </a:cubicBezTo>
                  <a:cubicBezTo>
                    <a:pt x="10097" y="441"/>
                    <a:pt x="9490" y="1"/>
                    <a:pt x="8787" y="1"/>
                  </a:cubicBezTo>
                  <a:cubicBezTo>
                    <a:pt x="8263" y="1"/>
                    <a:pt x="7597" y="310"/>
                    <a:pt x="7525" y="358"/>
                  </a:cubicBezTo>
                  <a:cubicBezTo>
                    <a:pt x="7410" y="398"/>
                    <a:pt x="7314" y="415"/>
                    <a:pt x="7221" y="415"/>
                  </a:cubicBezTo>
                  <a:cubicBezTo>
                    <a:pt x="7093" y="415"/>
                    <a:pt x="6970" y="382"/>
                    <a:pt x="6811" y="334"/>
                  </a:cubicBezTo>
                  <a:cubicBezTo>
                    <a:pt x="6537" y="263"/>
                    <a:pt x="6156" y="155"/>
                    <a:pt x="5513" y="155"/>
                  </a:cubicBezTo>
                  <a:cubicBezTo>
                    <a:pt x="4870" y="155"/>
                    <a:pt x="4489" y="263"/>
                    <a:pt x="4215" y="334"/>
                  </a:cubicBezTo>
                  <a:cubicBezTo>
                    <a:pt x="4049" y="382"/>
                    <a:pt x="3932" y="415"/>
                    <a:pt x="3806" y="415"/>
                  </a:cubicBezTo>
                  <a:cubicBezTo>
                    <a:pt x="3716" y="415"/>
                    <a:pt x="3621" y="398"/>
                    <a:pt x="3501" y="358"/>
                  </a:cubicBezTo>
                  <a:cubicBezTo>
                    <a:pt x="3429" y="310"/>
                    <a:pt x="2763" y="1"/>
                    <a:pt x="2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99" name="Google Shape;12899;p63"/>
          <p:cNvGrpSpPr/>
          <p:nvPr/>
        </p:nvGrpSpPr>
        <p:grpSpPr>
          <a:xfrm>
            <a:off x="1404013" y="2958066"/>
            <a:ext cx="368096" cy="223968"/>
            <a:chOff x="1404013" y="2958066"/>
            <a:chExt cx="368096" cy="223968"/>
          </a:xfrm>
        </p:grpSpPr>
        <p:sp>
          <p:nvSpPr>
            <p:cNvPr id="12900" name="Google Shape;12900;p63"/>
            <p:cNvSpPr/>
            <p:nvPr/>
          </p:nvSpPr>
          <p:spPr>
            <a:xfrm>
              <a:off x="1426893" y="3073426"/>
              <a:ext cx="40032" cy="45760"/>
            </a:xfrm>
            <a:custGeom>
              <a:avLst/>
              <a:gdLst/>
              <a:ahLst/>
              <a:cxnLst/>
              <a:rect l="l" t="t" r="r" b="b"/>
              <a:pathLst>
                <a:path w="1251" h="1430" extrusionOk="0">
                  <a:moveTo>
                    <a:pt x="631" y="0"/>
                  </a:moveTo>
                  <a:cubicBezTo>
                    <a:pt x="286" y="0"/>
                    <a:pt x="0" y="286"/>
                    <a:pt x="0" y="631"/>
                  </a:cubicBezTo>
                  <a:lnTo>
                    <a:pt x="0" y="810"/>
                  </a:lnTo>
                  <a:cubicBezTo>
                    <a:pt x="0" y="1155"/>
                    <a:pt x="286" y="1429"/>
                    <a:pt x="631" y="1429"/>
                  </a:cubicBezTo>
                  <a:cubicBezTo>
                    <a:pt x="965" y="1429"/>
                    <a:pt x="1251" y="1155"/>
                    <a:pt x="1251" y="810"/>
                  </a:cubicBezTo>
                  <a:lnTo>
                    <a:pt x="1251" y="703"/>
                  </a:lnTo>
                  <a:cubicBezTo>
                    <a:pt x="1239" y="619"/>
                    <a:pt x="1167" y="536"/>
                    <a:pt x="1072" y="536"/>
                  </a:cubicBezTo>
                  <a:cubicBezTo>
                    <a:pt x="989" y="536"/>
                    <a:pt x="905" y="619"/>
                    <a:pt x="905" y="703"/>
                  </a:cubicBezTo>
                  <a:lnTo>
                    <a:pt x="905" y="798"/>
                  </a:lnTo>
                  <a:cubicBezTo>
                    <a:pt x="905" y="941"/>
                    <a:pt x="786" y="1072"/>
                    <a:pt x="631" y="1072"/>
                  </a:cubicBezTo>
                  <a:cubicBezTo>
                    <a:pt x="477" y="1072"/>
                    <a:pt x="346" y="953"/>
                    <a:pt x="346" y="798"/>
                  </a:cubicBezTo>
                  <a:lnTo>
                    <a:pt x="346" y="619"/>
                  </a:lnTo>
                  <a:cubicBezTo>
                    <a:pt x="346" y="465"/>
                    <a:pt x="465" y="334"/>
                    <a:pt x="631" y="334"/>
                  </a:cubicBezTo>
                  <a:cubicBezTo>
                    <a:pt x="715" y="334"/>
                    <a:pt x="786" y="262"/>
                    <a:pt x="786" y="167"/>
                  </a:cubicBezTo>
                  <a:cubicBezTo>
                    <a:pt x="786" y="72"/>
                    <a:pt x="715" y="0"/>
                    <a:pt x="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1" name="Google Shape;12901;p63"/>
            <p:cNvSpPr/>
            <p:nvPr/>
          </p:nvSpPr>
          <p:spPr>
            <a:xfrm>
              <a:off x="1404013" y="2958066"/>
              <a:ext cx="368096" cy="223968"/>
            </a:xfrm>
            <a:custGeom>
              <a:avLst/>
              <a:gdLst/>
              <a:ahLst/>
              <a:cxnLst/>
              <a:rect l="l" t="t" r="r" b="b"/>
              <a:pathLst>
                <a:path w="11503" h="6999" extrusionOk="0">
                  <a:moveTo>
                    <a:pt x="7800" y="2593"/>
                  </a:moveTo>
                  <a:lnTo>
                    <a:pt x="7895" y="2855"/>
                  </a:lnTo>
                  <a:cubicBezTo>
                    <a:pt x="7811" y="2831"/>
                    <a:pt x="7740" y="2820"/>
                    <a:pt x="7669" y="2796"/>
                  </a:cubicBezTo>
                  <a:cubicBezTo>
                    <a:pt x="7716" y="2712"/>
                    <a:pt x="7752" y="2653"/>
                    <a:pt x="7800" y="2593"/>
                  </a:cubicBezTo>
                  <a:close/>
                  <a:moveTo>
                    <a:pt x="4656" y="2820"/>
                  </a:moveTo>
                  <a:lnTo>
                    <a:pt x="4656" y="2820"/>
                  </a:lnTo>
                  <a:cubicBezTo>
                    <a:pt x="4347" y="3212"/>
                    <a:pt x="3263" y="3582"/>
                    <a:pt x="2430" y="3772"/>
                  </a:cubicBezTo>
                  <a:cubicBezTo>
                    <a:pt x="2370" y="3570"/>
                    <a:pt x="2263" y="3379"/>
                    <a:pt x="2132" y="3248"/>
                  </a:cubicBezTo>
                  <a:cubicBezTo>
                    <a:pt x="2096" y="3224"/>
                    <a:pt x="2049" y="3177"/>
                    <a:pt x="2013" y="3141"/>
                  </a:cubicBezTo>
                  <a:cubicBezTo>
                    <a:pt x="2537" y="3010"/>
                    <a:pt x="3466" y="2831"/>
                    <a:pt x="4656" y="2820"/>
                  </a:cubicBezTo>
                  <a:close/>
                  <a:moveTo>
                    <a:pt x="5049" y="2820"/>
                  </a:moveTo>
                  <a:cubicBezTo>
                    <a:pt x="5371" y="2820"/>
                    <a:pt x="5704" y="2855"/>
                    <a:pt x="6061" y="2879"/>
                  </a:cubicBezTo>
                  <a:lnTo>
                    <a:pt x="4883" y="4224"/>
                  </a:lnTo>
                  <a:cubicBezTo>
                    <a:pt x="4097" y="4129"/>
                    <a:pt x="3490" y="4022"/>
                    <a:pt x="3073" y="3951"/>
                  </a:cubicBezTo>
                  <a:cubicBezTo>
                    <a:pt x="3251" y="3903"/>
                    <a:pt x="3454" y="3832"/>
                    <a:pt x="3644" y="3760"/>
                  </a:cubicBezTo>
                  <a:cubicBezTo>
                    <a:pt x="4454" y="3462"/>
                    <a:pt x="4918" y="3165"/>
                    <a:pt x="5049" y="2820"/>
                  </a:cubicBezTo>
                  <a:close/>
                  <a:moveTo>
                    <a:pt x="8431" y="3355"/>
                  </a:moveTo>
                  <a:lnTo>
                    <a:pt x="8431" y="3355"/>
                  </a:lnTo>
                  <a:cubicBezTo>
                    <a:pt x="9240" y="3605"/>
                    <a:pt x="10014" y="3951"/>
                    <a:pt x="10764" y="4367"/>
                  </a:cubicBezTo>
                  <a:cubicBezTo>
                    <a:pt x="10109" y="4379"/>
                    <a:pt x="9455" y="4415"/>
                    <a:pt x="8812" y="4415"/>
                  </a:cubicBezTo>
                  <a:lnTo>
                    <a:pt x="8431" y="3355"/>
                  </a:lnTo>
                  <a:close/>
                  <a:moveTo>
                    <a:pt x="9586" y="4725"/>
                  </a:moveTo>
                  <a:lnTo>
                    <a:pt x="9990" y="5070"/>
                  </a:lnTo>
                  <a:cubicBezTo>
                    <a:pt x="9752" y="5201"/>
                    <a:pt x="9466" y="5320"/>
                    <a:pt x="9181" y="5427"/>
                  </a:cubicBezTo>
                  <a:lnTo>
                    <a:pt x="8931" y="4736"/>
                  </a:lnTo>
                  <a:cubicBezTo>
                    <a:pt x="9157" y="4736"/>
                    <a:pt x="9359" y="4736"/>
                    <a:pt x="9586" y="4725"/>
                  </a:cubicBezTo>
                  <a:close/>
                  <a:moveTo>
                    <a:pt x="2489" y="4177"/>
                  </a:moveTo>
                  <a:cubicBezTo>
                    <a:pt x="2668" y="4224"/>
                    <a:pt x="2954" y="4284"/>
                    <a:pt x="3347" y="4355"/>
                  </a:cubicBezTo>
                  <a:cubicBezTo>
                    <a:pt x="3239" y="4594"/>
                    <a:pt x="2978" y="5153"/>
                    <a:pt x="2489" y="5689"/>
                  </a:cubicBezTo>
                  <a:cubicBezTo>
                    <a:pt x="2335" y="5665"/>
                    <a:pt x="2216" y="5653"/>
                    <a:pt x="2132" y="5629"/>
                  </a:cubicBezTo>
                  <a:cubicBezTo>
                    <a:pt x="2358" y="5248"/>
                    <a:pt x="2489" y="4772"/>
                    <a:pt x="2489" y="4320"/>
                  </a:cubicBezTo>
                  <a:lnTo>
                    <a:pt x="2489" y="4177"/>
                  </a:lnTo>
                  <a:close/>
                  <a:moveTo>
                    <a:pt x="3704" y="4403"/>
                  </a:moveTo>
                  <a:cubicBezTo>
                    <a:pt x="3978" y="4439"/>
                    <a:pt x="4275" y="4486"/>
                    <a:pt x="4621" y="4522"/>
                  </a:cubicBezTo>
                  <a:cubicBezTo>
                    <a:pt x="4597" y="4522"/>
                    <a:pt x="3454" y="5832"/>
                    <a:pt x="3454" y="5832"/>
                  </a:cubicBezTo>
                  <a:cubicBezTo>
                    <a:pt x="3251" y="5796"/>
                    <a:pt x="3049" y="5784"/>
                    <a:pt x="2894" y="5748"/>
                  </a:cubicBezTo>
                  <a:cubicBezTo>
                    <a:pt x="3370" y="5177"/>
                    <a:pt x="3632" y="4594"/>
                    <a:pt x="3704" y="4403"/>
                  </a:cubicBezTo>
                  <a:close/>
                  <a:moveTo>
                    <a:pt x="1251" y="3224"/>
                  </a:moveTo>
                  <a:cubicBezTo>
                    <a:pt x="1835" y="3224"/>
                    <a:pt x="2156" y="3605"/>
                    <a:pt x="2156" y="4308"/>
                  </a:cubicBezTo>
                  <a:cubicBezTo>
                    <a:pt x="2156" y="4713"/>
                    <a:pt x="2037" y="5129"/>
                    <a:pt x="1846" y="5451"/>
                  </a:cubicBezTo>
                  <a:cubicBezTo>
                    <a:pt x="1668" y="5748"/>
                    <a:pt x="1442" y="5927"/>
                    <a:pt x="1251" y="5927"/>
                  </a:cubicBezTo>
                  <a:cubicBezTo>
                    <a:pt x="1061" y="5927"/>
                    <a:pt x="834" y="5748"/>
                    <a:pt x="656" y="5451"/>
                  </a:cubicBezTo>
                  <a:cubicBezTo>
                    <a:pt x="465" y="5129"/>
                    <a:pt x="346" y="4713"/>
                    <a:pt x="346" y="4308"/>
                  </a:cubicBezTo>
                  <a:cubicBezTo>
                    <a:pt x="346" y="3605"/>
                    <a:pt x="668" y="3224"/>
                    <a:pt x="1251" y="3224"/>
                  </a:cubicBezTo>
                  <a:close/>
                  <a:moveTo>
                    <a:pt x="7454" y="3081"/>
                  </a:moveTo>
                  <a:cubicBezTo>
                    <a:pt x="7657" y="3129"/>
                    <a:pt x="7835" y="3177"/>
                    <a:pt x="8026" y="3224"/>
                  </a:cubicBezTo>
                  <a:lnTo>
                    <a:pt x="8454" y="4391"/>
                  </a:lnTo>
                  <a:lnTo>
                    <a:pt x="8264" y="4391"/>
                  </a:lnTo>
                  <a:cubicBezTo>
                    <a:pt x="8169" y="4391"/>
                    <a:pt x="8097" y="4474"/>
                    <a:pt x="8097" y="4558"/>
                  </a:cubicBezTo>
                  <a:cubicBezTo>
                    <a:pt x="8097" y="4653"/>
                    <a:pt x="8169" y="4725"/>
                    <a:pt x="8264" y="4725"/>
                  </a:cubicBezTo>
                  <a:lnTo>
                    <a:pt x="8573" y="4725"/>
                  </a:lnTo>
                  <a:lnTo>
                    <a:pt x="8859" y="5510"/>
                  </a:lnTo>
                  <a:cubicBezTo>
                    <a:pt x="8526" y="5629"/>
                    <a:pt x="8157" y="5725"/>
                    <a:pt x="7776" y="5796"/>
                  </a:cubicBezTo>
                  <a:cubicBezTo>
                    <a:pt x="7085" y="5915"/>
                    <a:pt x="6347" y="5975"/>
                    <a:pt x="5537" y="5975"/>
                  </a:cubicBezTo>
                  <a:cubicBezTo>
                    <a:pt x="5752" y="5677"/>
                    <a:pt x="6073" y="5201"/>
                    <a:pt x="6418" y="4701"/>
                  </a:cubicBezTo>
                  <a:cubicBezTo>
                    <a:pt x="6788" y="4713"/>
                    <a:pt x="7157" y="4736"/>
                    <a:pt x="7538" y="4736"/>
                  </a:cubicBezTo>
                  <a:cubicBezTo>
                    <a:pt x="7621" y="4736"/>
                    <a:pt x="7692" y="4665"/>
                    <a:pt x="7692" y="4570"/>
                  </a:cubicBezTo>
                  <a:cubicBezTo>
                    <a:pt x="7692" y="4486"/>
                    <a:pt x="7621" y="4415"/>
                    <a:pt x="7538" y="4391"/>
                  </a:cubicBezTo>
                  <a:cubicBezTo>
                    <a:pt x="7216" y="4379"/>
                    <a:pt x="6919" y="4379"/>
                    <a:pt x="6621" y="4355"/>
                  </a:cubicBezTo>
                  <a:cubicBezTo>
                    <a:pt x="6919" y="3903"/>
                    <a:pt x="7216" y="3462"/>
                    <a:pt x="7454" y="3081"/>
                  </a:cubicBezTo>
                  <a:close/>
                  <a:moveTo>
                    <a:pt x="7406" y="1933"/>
                  </a:moveTo>
                  <a:cubicBezTo>
                    <a:pt x="7423" y="1933"/>
                    <a:pt x="7435" y="1935"/>
                    <a:pt x="7442" y="1938"/>
                  </a:cubicBezTo>
                  <a:cubicBezTo>
                    <a:pt x="7466" y="1938"/>
                    <a:pt x="7550" y="1974"/>
                    <a:pt x="7597" y="2058"/>
                  </a:cubicBezTo>
                  <a:lnTo>
                    <a:pt x="7645" y="2212"/>
                  </a:lnTo>
                  <a:cubicBezTo>
                    <a:pt x="6978" y="3224"/>
                    <a:pt x="5323" y="5737"/>
                    <a:pt x="5073" y="5987"/>
                  </a:cubicBezTo>
                  <a:cubicBezTo>
                    <a:pt x="4940" y="6127"/>
                    <a:pt x="4780" y="6199"/>
                    <a:pt x="4592" y="6199"/>
                  </a:cubicBezTo>
                  <a:cubicBezTo>
                    <a:pt x="4477" y="6199"/>
                    <a:pt x="4351" y="6172"/>
                    <a:pt x="4216" y="6118"/>
                  </a:cubicBezTo>
                  <a:cubicBezTo>
                    <a:pt x="4049" y="6058"/>
                    <a:pt x="3918" y="5975"/>
                    <a:pt x="3823" y="5915"/>
                  </a:cubicBezTo>
                  <a:lnTo>
                    <a:pt x="7264" y="1998"/>
                  </a:lnTo>
                  <a:cubicBezTo>
                    <a:pt x="7306" y="1947"/>
                    <a:pt x="7366" y="1933"/>
                    <a:pt x="7406" y="1933"/>
                  </a:cubicBezTo>
                  <a:close/>
                  <a:moveTo>
                    <a:pt x="525" y="1"/>
                  </a:moveTo>
                  <a:cubicBezTo>
                    <a:pt x="480" y="1"/>
                    <a:pt x="436" y="16"/>
                    <a:pt x="406" y="45"/>
                  </a:cubicBezTo>
                  <a:cubicBezTo>
                    <a:pt x="394" y="69"/>
                    <a:pt x="1" y="462"/>
                    <a:pt x="1" y="1438"/>
                  </a:cubicBezTo>
                  <a:cubicBezTo>
                    <a:pt x="1" y="2248"/>
                    <a:pt x="394" y="2784"/>
                    <a:pt x="632" y="3046"/>
                  </a:cubicBezTo>
                  <a:cubicBezTo>
                    <a:pt x="537" y="3105"/>
                    <a:pt x="453" y="3165"/>
                    <a:pt x="370" y="3236"/>
                  </a:cubicBezTo>
                  <a:cubicBezTo>
                    <a:pt x="132" y="3486"/>
                    <a:pt x="13" y="3843"/>
                    <a:pt x="13" y="4320"/>
                  </a:cubicBezTo>
                  <a:cubicBezTo>
                    <a:pt x="13" y="4784"/>
                    <a:pt x="156" y="5260"/>
                    <a:pt x="370" y="5641"/>
                  </a:cubicBezTo>
                  <a:cubicBezTo>
                    <a:pt x="632" y="6058"/>
                    <a:pt x="942" y="6284"/>
                    <a:pt x="1263" y="6284"/>
                  </a:cubicBezTo>
                  <a:cubicBezTo>
                    <a:pt x="1501" y="6284"/>
                    <a:pt x="1739" y="6153"/>
                    <a:pt x="1942" y="5927"/>
                  </a:cubicBezTo>
                  <a:cubicBezTo>
                    <a:pt x="1966" y="5939"/>
                    <a:pt x="2037" y="5939"/>
                    <a:pt x="2132" y="5975"/>
                  </a:cubicBezTo>
                  <a:lnTo>
                    <a:pt x="1715" y="6677"/>
                  </a:lnTo>
                  <a:lnTo>
                    <a:pt x="715" y="6677"/>
                  </a:lnTo>
                  <a:cubicBezTo>
                    <a:pt x="632" y="6677"/>
                    <a:pt x="549" y="6749"/>
                    <a:pt x="549" y="6832"/>
                  </a:cubicBezTo>
                  <a:cubicBezTo>
                    <a:pt x="549" y="6927"/>
                    <a:pt x="632" y="6999"/>
                    <a:pt x="715" y="6999"/>
                  </a:cubicBezTo>
                  <a:lnTo>
                    <a:pt x="1704" y="6999"/>
                  </a:lnTo>
                  <a:cubicBezTo>
                    <a:pt x="1823" y="6999"/>
                    <a:pt x="1942" y="6939"/>
                    <a:pt x="2001" y="6832"/>
                  </a:cubicBezTo>
                  <a:lnTo>
                    <a:pt x="2477" y="6034"/>
                  </a:lnTo>
                  <a:cubicBezTo>
                    <a:pt x="2597" y="6046"/>
                    <a:pt x="2728" y="6082"/>
                    <a:pt x="2894" y="6094"/>
                  </a:cubicBezTo>
                  <a:lnTo>
                    <a:pt x="2894" y="6653"/>
                  </a:lnTo>
                  <a:cubicBezTo>
                    <a:pt x="2894" y="6653"/>
                    <a:pt x="2894" y="6677"/>
                    <a:pt x="2870" y="6677"/>
                  </a:cubicBezTo>
                  <a:lnTo>
                    <a:pt x="2513" y="6677"/>
                  </a:lnTo>
                  <a:cubicBezTo>
                    <a:pt x="2430" y="6677"/>
                    <a:pt x="2358" y="6749"/>
                    <a:pt x="2358" y="6832"/>
                  </a:cubicBezTo>
                  <a:cubicBezTo>
                    <a:pt x="2358" y="6927"/>
                    <a:pt x="2430" y="6999"/>
                    <a:pt x="2513" y="6999"/>
                  </a:cubicBezTo>
                  <a:lnTo>
                    <a:pt x="2870" y="6999"/>
                  </a:lnTo>
                  <a:cubicBezTo>
                    <a:pt x="3073" y="6999"/>
                    <a:pt x="3216" y="6856"/>
                    <a:pt x="3216" y="6653"/>
                  </a:cubicBezTo>
                  <a:lnTo>
                    <a:pt x="3216" y="6153"/>
                  </a:lnTo>
                  <a:cubicBezTo>
                    <a:pt x="3347" y="6165"/>
                    <a:pt x="3501" y="6177"/>
                    <a:pt x="3644" y="6201"/>
                  </a:cubicBezTo>
                  <a:cubicBezTo>
                    <a:pt x="3751" y="6272"/>
                    <a:pt x="3918" y="6356"/>
                    <a:pt x="4097" y="6439"/>
                  </a:cubicBezTo>
                  <a:cubicBezTo>
                    <a:pt x="4275" y="6510"/>
                    <a:pt x="4454" y="6534"/>
                    <a:pt x="4621" y="6534"/>
                  </a:cubicBezTo>
                  <a:cubicBezTo>
                    <a:pt x="4859" y="6534"/>
                    <a:pt x="5073" y="6451"/>
                    <a:pt x="5275" y="6296"/>
                  </a:cubicBezTo>
                  <a:lnTo>
                    <a:pt x="5609" y="6296"/>
                  </a:lnTo>
                  <a:cubicBezTo>
                    <a:pt x="6895" y="6296"/>
                    <a:pt x="8026" y="6153"/>
                    <a:pt x="8990" y="5856"/>
                  </a:cubicBezTo>
                  <a:lnTo>
                    <a:pt x="9288" y="6653"/>
                  </a:lnTo>
                  <a:cubicBezTo>
                    <a:pt x="9359" y="6868"/>
                    <a:pt x="9562" y="6999"/>
                    <a:pt x="9776" y="6999"/>
                  </a:cubicBezTo>
                  <a:lnTo>
                    <a:pt x="10788" y="6999"/>
                  </a:lnTo>
                  <a:cubicBezTo>
                    <a:pt x="10883" y="6999"/>
                    <a:pt x="10955" y="6927"/>
                    <a:pt x="10955" y="6832"/>
                  </a:cubicBezTo>
                  <a:cubicBezTo>
                    <a:pt x="10955" y="6749"/>
                    <a:pt x="10883" y="6677"/>
                    <a:pt x="10788" y="6677"/>
                  </a:cubicBezTo>
                  <a:lnTo>
                    <a:pt x="9776" y="6677"/>
                  </a:lnTo>
                  <a:cubicBezTo>
                    <a:pt x="9705" y="6677"/>
                    <a:pt x="9633" y="6630"/>
                    <a:pt x="9597" y="6558"/>
                  </a:cubicBezTo>
                  <a:lnTo>
                    <a:pt x="9300" y="5760"/>
                  </a:lnTo>
                  <a:cubicBezTo>
                    <a:pt x="9693" y="5629"/>
                    <a:pt x="10050" y="5463"/>
                    <a:pt x="10371" y="5272"/>
                  </a:cubicBezTo>
                  <a:cubicBezTo>
                    <a:pt x="10419" y="5248"/>
                    <a:pt x="10455" y="5201"/>
                    <a:pt x="10467" y="5141"/>
                  </a:cubicBezTo>
                  <a:cubicBezTo>
                    <a:pt x="10478" y="5082"/>
                    <a:pt x="10455" y="5034"/>
                    <a:pt x="10407" y="4986"/>
                  </a:cubicBezTo>
                  <a:lnTo>
                    <a:pt x="10109" y="4736"/>
                  </a:lnTo>
                  <a:cubicBezTo>
                    <a:pt x="10514" y="4725"/>
                    <a:pt x="10931" y="4713"/>
                    <a:pt x="11348" y="4677"/>
                  </a:cubicBezTo>
                  <a:cubicBezTo>
                    <a:pt x="11419" y="4677"/>
                    <a:pt x="11479" y="4617"/>
                    <a:pt x="11491" y="4558"/>
                  </a:cubicBezTo>
                  <a:cubicBezTo>
                    <a:pt x="11502" y="4463"/>
                    <a:pt x="11479" y="4379"/>
                    <a:pt x="11419" y="4355"/>
                  </a:cubicBezTo>
                  <a:cubicBezTo>
                    <a:pt x="10431" y="3736"/>
                    <a:pt x="9395" y="3272"/>
                    <a:pt x="8288" y="2950"/>
                  </a:cubicBezTo>
                  <a:lnTo>
                    <a:pt x="7919" y="1938"/>
                  </a:lnTo>
                  <a:cubicBezTo>
                    <a:pt x="7859" y="1760"/>
                    <a:pt x="7716" y="1641"/>
                    <a:pt x="7514" y="1617"/>
                  </a:cubicBezTo>
                  <a:cubicBezTo>
                    <a:pt x="7480" y="1610"/>
                    <a:pt x="7446" y="1607"/>
                    <a:pt x="7411" y="1607"/>
                  </a:cubicBezTo>
                  <a:cubicBezTo>
                    <a:pt x="7265" y="1607"/>
                    <a:pt x="7122" y="1668"/>
                    <a:pt x="7026" y="1784"/>
                  </a:cubicBezTo>
                  <a:lnTo>
                    <a:pt x="6323" y="2569"/>
                  </a:lnTo>
                  <a:cubicBezTo>
                    <a:pt x="5785" y="2506"/>
                    <a:pt x="5273" y="2481"/>
                    <a:pt x="4799" y="2481"/>
                  </a:cubicBezTo>
                  <a:cubicBezTo>
                    <a:pt x="3040" y="2481"/>
                    <a:pt x="1788" y="2833"/>
                    <a:pt x="1525" y="2927"/>
                  </a:cubicBezTo>
                  <a:cubicBezTo>
                    <a:pt x="1430" y="2903"/>
                    <a:pt x="1346" y="2891"/>
                    <a:pt x="1239" y="2891"/>
                  </a:cubicBezTo>
                  <a:lnTo>
                    <a:pt x="1168" y="2891"/>
                  </a:lnTo>
                  <a:cubicBezTo>
                    <a:pt x="989" y="2462"/>
                    <a:pt x="823" y="1879"/>
                    <a:pt x="942" y="1343"/>
                  </a:cubicBezTo>
                  <a:cubicBezTo>
                    <a:pt x="1013" y="998"/>
                    <a:pt x="1168" y="843"/>
                    <a:pt x="1180" y="843"/>
                  </a:cubicBezTo>
                  <a:cubicBezTo>
                    <a:pt x="1239" y="784"/>
                    <a:pt x="1239" y="664"/>
                    <a:pt x="1180" y="605"/>
                  </a:cubicBezTo>
                  <a:cubicBezTo>
                    <a:pt x="1150" y="575"/>
                    <a:pt x="1105" y="560"/>
                    <a:pt x="1061" y="560"/>
                  </a:cubicBezTo>
                  <a:cubicBezTo>
                    <a:pt x="1016" y="560"/>
                    <a:pt x="971" y="575"/>
                    <a:pt x="942" y="605"/>
                  </a:cubicBezTo>
                  <a:cubicBezTo>
                    <a:pt x="906" y="629"/>
                    <a:pt x="287" y="1272"/>
                    <a:pt x="727" y="2653"/>
                  </a:cubicBezTo>
                  <a:cubicBezTo>
                    <a:pt x="549" y="2415"/>
                    <a:pt x="334" y="2010"/>
                    <a:pt x="334" y="1438"/>
                  </a:cubicBezTo>
                  <a:cubicBezTo>
                    <a:pt x="334" y="629"/>
                    <a:pt x="644" y="307"/>
                    <a:pt x="644" y="283"/>
                  </a:cubicBezTo>
                  <a:cubicBezTo>
                    <a:pt x="703" y="224"/>
                    <a:pt x="703" y="105"/>
                    <a:pt x="644" y="45"/>
                  </a:cubicBezTo>
                  <a:cubicBezTo>
                    <a:pt x="614" y="16"/>
                    <a:pt x="569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02" name="Google Shape;12902;p63"/>
          <p:cNvSpPr/>
          <p:nvPr/>
        </p:nvSpPr>
        <p:spPr>
          <a:xfrm>
            <a:off x="4147597" y="2886354"/>
            <a:ext cx="367712" cy="367680"/>
          </a:xfrm>
          <a:custGeom>
            <a:avLst/>
            <a:gdLst/>
            <a:ahLst/>
            <a:cxnLst/>
            <a:rect l="l" t="t" r="r" b="b"/>
            <a:pathLst>
              <a:path w="11491" h="11490" extrusionOk="0">
                <a:moveTo>
                  <a:pt x="5585" y="1643"/>
                </a:moveTo>
                <a:lnTo>
                  <a:pt x="5585" y="3013"/>
                </a:lnTo>
                <a:cubicBezTo>
                  <a:pt x="5322" y="3482"/>
                  <a:pt x="4845" y="3751"/>
                  <a:pt x="4340" y="3751"/>
                </a:cubicBezTo>
                <a:cubicBezTo>
                  <a:pt x="4204" y="3751"/>
                  <a:pt x="4066" y="3732"/>
                  <a:pt x="3930" y="3691"/>
                </a:cubicBezTo>
                <a:lnTo>
                  <a:pt x="2966" y="2727"/>
                </a:lnTo>
                <a:lnTo>
                  <a:pt x="2966" y="2727"/>
                </a:lnTo>
                <a:cubicBezTo>
                  <a:pt x="3070" y="2737"/>
                  <a:pt x="3176" y="2742"/>
                  <a:pt x="3281" y="2742"/>
                </a:cubicBezTo>
                <a:cubicBezTo>
                  <a:pt x="3666" y="2742"/>
                  <a:pt x="4051" y="2672"/>
                  <a:pt x="4406" y="2513"/>
                </a:cubicBezTo>
                <a:cubicBezTo>
                  <a:pt x="4871" y="2322"/>
                  <a:pt x="5275" y="2024"/>
                  <a:pt x="5585" y="1643"/>
                </a:cubicBezTo>
                <a:close/>
                <a:moveTo>
                  <a:pt x="5573" y="3560"/>
                </a:moveTo>
                <a:lnTo>
                  <a:pt x="5573" y="5322"/>
                </a:lnTo>
                <a:lnTo>
                  <a:pt x="4323" y="4084"/>
                </a:lnTo>
                <a:cubicBezTo>
                  <a:pt x="4799" y="4084"/>
                  <a:pt x="5240" y="3882"/>
                  <a:pt x="5573" y="3560"/>
                </a:cubicBezTo>
                <a:close/>
                <a:moveTo>
                  <a:pt x="5918" y="3560"/>
                </a:moveTo>
                <a:cubicBezTo>
                  <a:pt x="6240" y="3882"/>
                  <a:pt x="6692" y="4084"/>
                  <a:pt x="7168" y="4084"/>
                </a:cubicBezTo>
                <a:lnTo>
                  <a:pt x="5918" y="5322"/>
                </a:lnTo>
                <a:lnTo>
                  <a:pt x="5918" y="3560"/>
                </a:lnTo>
                <a:close/>
                <a:moveTo>
                  <a:pt x="2727" y="2965"/>
                </a:moveTo>
                <a:lnTo>
                  <a:pt x="3692" y="3929"/>
                </a:lnTo>
                <a:cubicBezTo>
                  <a:pt x="3894" y="4572"/>
                  <a:pt x="3608" y="5251"/>
                  <a:pt x="3013" y="5584"/>
                </a:cubicBezTo>
                <a:lnTo>
                  <a:pt x="1644" y="5584"/>
                </a:lnTo>
                <a:cubicBezTo>
                  <a:pt x="2025" y="5275"/>
                  <a:pt x="2323" y="4870"/>
                  <a:pt x="2525" y="4406"/>
                </a:cubicBezTo>
                <a:cubicBezTo>
                  <a:pt x="2716" y="3941"/>
                  <a:pt x="2775" y="3453"/>
                  <a:pt x="2727" y="2965"/>
                </a:cubicBezTo>
                <a:close/>
                <a:moveTo>
                  <a:pt x="4085" y="4334"/>
                </a:moveTo>
                <a:lnTo>
                  <a:pt x="5335" y="5584"/>
                </a:lnTo>
                <a:lnTo>
                  <a:pt x="3561" y="5584"/>
                </a:lnTo>
                <a:cubicBezTo>
                  <a:pt x="3894" y="5251"/>
                  <a:pt x="4085" y="4799"/>
                  <a:pt x="4085" y="4334"/>
                </a:cubicBezTo>
                <a:close/>
                <a:moveTo>
                  <a:pt x="7407" y="4334"/>
                </a:moveTo>
                <a:cubicBezTo>
                  <a:pt x="7407" y="4810"/>
                  <a:pt x="7585" y="5251"/>
                  <a:pt x="7919" y="5584"/>
                </a:cubicBezTo>
                <a:lnTo>
                  <a:pt x="6156" y="5584"/>
                </a:lnTo>
                <a:lnTo>
                  <a:pt x="7407" y="4334"/>
                </a:lnTo>
                <a:close/>
                <a:moveTo>
                  <a:pt x="5918" y="1643"/>
                </a:moveTo>
                <a:cubicBezTo>
                  <a:pt x="6228" y="2024"/>
                  <a:pt x="6633" y="2322"/>
                  <a:pt x="7085" y="2513"/>
                </a:cubicBezTo>
                <a:cubicBezTo>
                  <a:pt x="7457" y="2665"/>
                  <a:pt x="7843" y="2741"/>
                  <a:pt x="8239" y="2741"/>
                </a:cubicBezTo>
                <a:cubicBezTo>
                  <a:pt x="8338" y="2741"/>
                  <a:pt x="8438" y="2736"/>
                  <a:pt x="8538" y="2727"/>
                </a:cubicBezTo>
                <a:lnTo>
                  <a:pt x="8538" y="2727"/>
                </a:lnTo>
                <a:lnTo>
                  <a:pt x="8502" y="2751"/>
                </a:lnTo>
                <a:cubicBezTo>
                  <a:pt x="8442" y="2810"/>
                  <a:pt x="8442" y="2929"/>
                  <a:pt x="8502" y="2989"/>
                </a:cubicBezTo>
                <a:cubicBezTo>
                  <a:pt x="8538" y="3025"/>
                  <a:pt x="8573" y="3036"/>
                  <a:pt x="8621" y="3036"/>
                </a:cubicBezTo>
                <a:cubicBezTo>
                  <a:pt x="8669" y="3036"/>
                  <a:pt x="8716" y="3025"/>
                  <a:pt x="8740" y="2989"/>
                </a:cubicBezTo>
                <a:lnTo>
                  <a:pt x="8764" y="2965"/>
                </a:lnTo>
                <a:lnTo>
                  <a:pt x="8764" y="2965"/>
                </a:lnTo>
                <a:cubicBezTo>
                  <a:pt x="8716" y="3453"/>
                  <a:pt x="8788" y="3941"/>
                  <a:pt x="8978" y="4406"/>
                </a:cubicBezTo>
                <a:cubicBezTo>
                  <a:pt x="9169" y="4870"/>
                  <a:pt x="9466" y="5275"/>
                  <a:pt x="9859" y="5584"/>
                </a:cubicBezTo>
                <a:lnTo>
                  <a:pt x="8490" y="5584"/>
                </a:lnTo>
                <a:cubicBezTo>
                  <a:pt x="7895" y="5251"/>
                  <a:pt x="7609" y="4572"/>
                  <a:pt x="7799" y="3929"/>
                </a:cubicBezTo>
                <a:lnTo>
                  <a:pt x="8204" y="3525"/>
                </a:lnTo>
                <a:cubicBezTo>
                  <a:pt x="8264" y="3465"/>
                  <a:pt x="8264" y="3346"/>
                  <a:pt x="8204" y="3286"/>
                </a:cubicBezTo>
                <a:cubicBezTo>
                  <a:pt x="8175" y="3257"/>
                  <a:pt x="8130" y="3242"/>
                  <a:pt x="8085" y="3242"/>
                </a:cubicBezTo>
                <a:cubicBezTo>
                  <a:pt x="8041" y="3242"/>
                  <a:pt x="7996" y="3257"/>
                  <a:pt x="7966" y="3286"/>
                </a:cubicBezTo>
                <a:lnTo>
                  <a:pt x="7561" y="3691"/>
                </a:lnTo>
                <a:cubicBezTo>
                  <a:pt x="7428" y="3731"/>
                  <a:pt x="7293" y="3750"/>
                  <a:pt x="7160" y="3750"/>
                </a:cubicBezTo>
                <a:cubicBezTo>
                  <a:pt x="6652" y="3750"/>
                  <a:pt x="6171" y="3472"/>
                  <a:pt x="5906" y="3001"/>
                </a:cubicBezTo>
                <a:lnTo>
                  <a:pt x="5906" y="1643"/>
                </a:lnTo>
                <a:close/>
                <a:moveTo>
                  <a:pt x="5347" y="5906"/>
                </a:moveTo>
                <a:lnTo>
                  <a:pt x="4097" y="7156"/>
                </a:lnTo>
                <a:cubicBezTo>
                  <a:pt x="4097" y="6680"/>
                  <a:pt x="3918" y="6239"/>
                  <a:pt x="3573" y="5906"/>
                </a:cubicBezTo>
                <a:close/>
                <a:moveTo>
                  <a:pt x="7942" y="5906"/>
                </a:moveTo>
                <a:cubicBezTo>
                  <a:pt x="7609" y="6239"/>
                  <a:pt x="7418" y="6704"/>
                  <a:pt x="7418" y="7156"/>
                </a:cubicBezTo>
                <a:lnTo>
                  <a:pt x="6168" y="5906"/>
                </a:lnTo>
                <a:close/>
                <a:moveTo>
                  <a:pt x="5585" y="6144"/>
                </a:moveTo>
                <a:lnTo>
                  <a:pt x="5585" y="7918"/>
                </a:lnTo>
                <a:cubicBezTo>
                  <a:pt x="5263" y="7585"/>
                  <a:pt x="4811" y="7394"/>
                  <a:pt x="4335" y="7394"/>
                </a:cubicBezTo>
                <a:lnTo>
                  <a:pt x="5585" y="6144"/>
                </a:lnTo>
                <a:close/>
                <a:moveTo>
                  <a:pt x="5918" y="6144"/>
                </a:moveTo>
                <a:lnTo>
                  <a:pt x="7168" y="7394"/>
                </a:lnTo>
                <a:cubicBezTo>
                  <a:pt x="6680" y="7394"/>
                  <a:pt x="6240" y="7573"/>
                  <a:pt x="5918" y="7918"/>
                </a:cubicBezTo>
                <a:lnTo>
                  <a:pt x="5918" y="6144"/>
                </a:lnTo>
                <a:close/>
                <a:moveTo>
                  <a:pt x="9859" y="5906"/>
                </a:moveTo>
                <a:cubicBezTo>
                  <a:pt x="9466" y="6215"/>
                  <a:pt x="9169" y="6620"/>
                  <a:pt x="8978" y="7085"/>
                </a:cubicBezTo>
                <a:cubicBezTo>
                  <a:pt x="8788" y="7549"/>
                  <a:pt x="8728" y="8037"/>
                  <a:pt x="8776" y="8525"/>
                </a:cubicBezTo>
                <a:lnTo>
                  <a:pt x="7799" y="7561"/>
                </a:lnTo>
                <a:cubicBezTo>
                  <a:pt x="7609" y="6918"/>
                  <a:pt x="7895" y="6239"/>
                  <a:pt x="8490" y="5906"/>
                </a:cubicBezTo>
                <a:close/>
                <a:moveTo>
                  <a:pt x="3001" y="5906"/>
                </a:moveTo>
                <a:cubicBezTo>
                  <a:pt x="3597" y="6239"/>
                  <a:pt x="3870" y="6918"/>
                  <a:pt x="3680" y="7561"/>
                </a:cubicBezTo>
                <a:lnTo>
                  <a:pt x="3275" y="7966"/>
                </a:lnTo>
                <a:cubicBezTo>
                  <a:pt x="3216" y="8025"/>
                  <a:pt x="3216" y="8144"/>
                  <a:pt x="3275" y="8204"/>
                </a:cubicBezTo>
                <a:cubicBezTo>
                  <a:pt x="3311" y="8228"/>
                  <a:pt x="3358" y="8251"/>
                  <a:pt x="3394" y="8251"/>
                </a:cubicBezTo>
                <a:cubicBezTo>
                  <a:pt x="3442" y="8251"/>
                  <a:pt x="3489" y="8228"/>
                  <a:pt x="3513" y="8204"/>
                </a:cubicBezTo>
                <a:lnTo>
                  <a:pt x="3918" y="7799"/>
                </a:lnTo>
                <a:cubicBezTo>
                  <a:pt x="4051" y="7759"/>
                  <a:pt x="4186" y="7740"/>
                  <a:pt x="4320" y="7740"/>
                </a:cubicBezTo>
                <a:cubicBezTo>
                  <a:pt x="4828" y="7740"/>
                  <a:pt x="5309" y="8018"/>
                  <a:pt x="5573" y="8490"/>
                </a:cubicBezTo>
                <a:lnTo>
                  <a:pt x="5573" y="9844"/>
                </a:lnTo>
                <a:lnTo>
                  <a:pt x="5573" y="9844"/>
                </a:lnTo>
                <a:cubicBezTo>
                  <a:pt x="5265" y="9458"/>
                  <a:pt x="4865" y="9166"/>
                  <a:pt x="4406" y="8978"/>
                </a:cubicBezTo>
                <a:cubicBezTo>
                  <a:pt x="4049" y="8823"/>
                  <a:pt x="3668" y="8751"/>
                  <a:pt x="3275" y="8751"/>
                </a:cubicBezTo>
                <a:cubicBezTo>
                  <a:pt x="3180" y="8751"/>
                  <a:pt x="3061" y="8751"/>
                  <a:pt x="2954" y="8763"/>
                </a:cubicBezTo>
                <a:lnTo>
                  <a:pt x="2977" y="8740"/>
                </a:lnTo>
                <a:cubicBezTo>
                  <a:pt x="3037" y="8680"/>
                  <a:pt x="3037" y="8561"/>
                  <a:pt x="2977" y="8501"/>
                </a:cubicBezTo>
                <a:cubicBezTo>
                  <a:pt x="2948" y="8472"/>
                  <a:pt x="2903" y="8457"/>
                  <a:pt x="2858" y="8457"/>
                </a:cubicBezTo>
                <a:cubicBezTo>
                  <a:pt x="2814" y="8457"/>
                  <a:pt x="2769" y="8472"/>
                  <a:pt x="2739" y="8501"/>
                </a:cubicBezTo>
                <a:lnTo>
                  <a:pt x="2716" y="8525"/>
                </a:lnTo>
                <a:cubicBezTo>
                  <a:pt x="2775" y="8037"/>
                  <a:pt x="2704" y="7549"/>
                  <a:pt x="2501" y="7085"/>
                </a:cubicBezTo>
                <a:cubicBezTo>
                  <a:pt x="2311" y="6620"/>
                  <a:pt x="2013" y="6227"/>
                  <a:pt x="1632" y="5906"/>
                </a:cubicBezTo>
                <a:close/>
                <a:moveTo>
                  <a:pt x="7165" y="7740"/>
                </a:moveTo>
                <a:cubicBezTo>
                  <a:pt x="7297" y="7740"/>
                  <a:pt x="7430" y="7759"/>
                  <a:pt x="7561" y="7799"/>
                </a:cubicBezTo>
                <a:lnTo>
                  <a:pt x="8538" y="8763"/>
                </a:lnTo>
                <a:cubicBezTo>
                  <a:pt x="8447" y="8757"/>
                  <a:pt x="8357" y="8754"/>
                  <a:pt x="8267" y="8754"/>
                </a:cubicBezTo>
                <a:cubicBezTo>
                  <a:pt x="7861" y="8754"/>
                  <a:pt x="7465" y="8822"/>
                  <a:pt x="7085" y="8978"/>
                </a:cubicBezTo>
                <a:cubicBezTo>
                  <a:pt x="6633" y="9168"/>
                  <a:pt x="6228" y="9466"/>
                  <a:pt x="5918" y="9847"/>
                </a:cubicBezTo>
                <a:lnTo>
                  <a:pt x="5918" y="8490"/>
                </a:lnTo>
                <a:cubicBezTo>
                  <a:pt x="6173" y="8018"/>
                  <a:pt x="6660" y="7740"/>
                  <a:pt x="7165" y="7740"/>
                </a:cubicBezTo>
                <a:close/>
                <a:moveTo>
                  <a:pt x="5752" y="0"/>
                </a:moveTo>
                <a:cubicBezTo>
                  <a:pt x="5656" y="0"/>
                  <a:pt x="5585" y="72"/>
                  <a:pt x="5585" y="167"/>
                </a:cubicBezTo>
                <a:lnTo>
                  <a:pt x="5585" y="1024"/>
                </a:lnTo>
                <a:cubicBezTo>
                  <a:pt x="5299" y="1560"/>
                  <a:pt x="4847" y="1977"/>
                  <a:pt x="4287" y="2203"/>
                </a:cubicBezTo>
                <a:cubicBezTo>
                  <a:pt x="3970" y="2334"/>
                  <a:pt x="3626" y="2397"/>
                  <a:pt x="3281" y="2397"/>
                </a:cubicBezTo>
                <a:cubicBezTo>
                  <a:pt x="3029" y="2397"/>
                  <a:pt x="2778" y="2364"/>
                  <a:pt x="2537" y="2298"/>
                </a:cubicBezTo>
                <a:lnTo>
                  <a:pt x="1918" y="1679"/>
                </a:lnTo>
                <a:cubicBezTo>
                  <a:pt x="1894" y="1649"/>
                  <a:pt x="1849" y="1634"/>
                  <a:pt x="1803" y="1634"/>
                </a:cubicBezTo>
                <a:cubicBezTo>
                  <a:pt x="1757" y="1634"/>
                  <a:pt x="1709" y="1649"/>
                  <a:pt x="1680" y="1679"/>
                </a:cubicBezTo>
                <a:cubicBezTo>
                  <a:pt x="1620" y="1739"/>
                  <a:pt x="1620" y="1858"/>
                  <a:pt x="1680" y="1917"/>
                </a:cubicBezTo>
                <a:lnTo>
                  <a:pt x="2299" y="2536"/>
                </a:lnTo>
                <a:cubicBezTo>
                  <a:pt x="2477" y="3108"/>
                  <a:pt x="2442" y="3727"/>
                  <a:pt x="2204" y="4287"/>
                </a:cubicBezTo>
                <a:cubicBezTo>
                  <a:pt x="1977" y="4834"/>
                  <a:pt x="1549" y="5299"/>
                  <a:pt x="1025" y="5584"/>
                </a:cubicBezTo>
                <a:lnTo>
                  <a:pt x="168" y="5584"/>
                </a:lnTo>
                <a:cubicBezTo>
                  <a:pt x="84" y="5584"/>
                  <a:pt x="1" y="5656"/>
                  <a:pt x="1" y="5751"/>
                </a:cubicBezTo>
                <a:cubicBezTo>
                  <a:pt x="1" y="5834"/>
                  <a:pt x="84" y="5906"/>
                  <a:pt x="168" y="5906"/>
                </a:cubicBezTo>
                <a:lnTo>
                  <a:pt x="1025" y="5906"/>
                </a:lnTo>
                <a:cubicBezTo>
                  <a:pt x="1573" y="6192"/>
                  <a:pt x="1977" y="6656"/>
                  <a:pt x="2204" y="7204"/>
                </a:cubicBezTo>
                <a:cubicBezTo>
                  <a:pt x="2430" y="7751"/>
                  <a:pt x="2465" y="8382"/>
                  <a:pt x="2299" y="8966"/>
                </a:cubicBezTo>
                <a:lnTo>
                  <a:pt x="1680" y="9573"/>
                </a:lnTo>
                <a:cubicBezTo>
                  <a:pt x="1620" y="9632"/>
                  <a:pt x="1620" y="9752"/>
                  <a:pt x="1680" y="9811"/>
                </a:cubicBezTo>
                <a:cubicBezTo>
                  <a:pt x="1715" y="9835"/>
                  <a:pt x="1763" y="9859"/>
                  <a:pt x="1799" y="9859"/>
                </a:cubicBezTo>
                <a:cubicBezTo>
                  <a:pt x="1846" y="9859"/>
                  <a:pt x="1894" y="9835"/>
                  <a:pt x="1918" y="9811"/>
                </a:cubicBezTo>
                <a:lnTo>
                  <a:pt x="2537" y="9204"/>
                </a:lnTo>
                <a:cubicBezTo>
                  <a:pt x="2786" y="9126"/>
                  <a:pt x="3044" y="9087"/>
                  <a:pt x="3302" y="9087"/>
                </a:cubicBezTo>
                <a:cubicBezTo>
                  <a:pt x="3636" y="9087"/>
                  <a:pt x="3971" y="9153"/>
                  <a:pt x="4287" y="9287"/>
                </a:cubicBezTo>
                <a:cubicBezTo>
                  <a:pt x="4835" y="9513"/>
                  <a:pt x="5299" y="9942"/>
                  <a:pt x="5585" y="10466"/>
                </a:cubicBezTo>
                <a:lnTo>
                  <a:pt x="5585" y="11323"/>
                </a:lnTo>
                <a:cubicBezTo>
                  <a:pt x="5585" y="11418"/>
                  <a:pt x="5656" y="11490"/>
                  <a:pt x="5752" y="11490"/>
                </a:cubicBezTo>
                <a:cubicBezTo>
                  <a:pt x="5835" y="11490"/>
                  <a:pt x="5906" y="11418"/>
                  <a:pt x="5906" y="11323"/>
                </a:cubicBezTo>
                <a:lnTo>
                  <a:pt x="5906" y="10466"/>
                </a:lnTo>
                <a:cubicBezTo>
                  <a:pt x="6192" y="9930"/>
                  <a:pt x="6656" y="9513"/>
                  <a:pt x="7204" y="9287"/>
                </a:cubicBezTo>
                <a:cubicBezTo>
                  <a:pt x="7522" y="9159"/>
                  <a:pt x="7859" y="9095"/>
                  <a:pt x="8198" y="9095"/>
                </a:cubicBezTo>
                <a:cubicBezTo>
                  <a:pt x="8456" y="9095"/>
                  <a:pt x="8714" y="9132"/>
                  <a:pt x="8966" y="9204"/>
                </a:cubicBezTo>
                <a:lnTo>
                  <a:pt x="9574" y="9811"/>
                </a:lnTo>
                <a:cubicBezTo>
                  <a:pt x="9609" y="9835"/>
                  <a:pt x="9645" y="9859"/>
                  <a:pt x="9693" y="9859"/>
                </a:cubicBezTo>
                <a:cubicBezTo>
                  <a:pt x="9740" y="9859"/>
                  <a:pt x="9776" y="9835"/>
                  <a:pt x="9812" y="9811"/>
                </a:cubicBezTo>
                <a:cubicBezTo>
                  <a:pt x="9871" y="9752"/>
                  <a:pt x="9871" y="9632"/>
                  <a:pt x="9812" y="9573"/>
                </a:cubicBezTo>
                <a:lnTo>
                  <a:pt x="9204" y="8966"/>
                </a:lnTo>
                <a:cubicBezTo>
                  <a:pt x="9026" y="8382"/>
                  <a:pt x="9050" y="7775"/>
                  <a:pt x="9288" y="7204"/>
                </a:cubicBezTo>
                <a:cubicBezTo>
                  <a:pt x="9514" y="6656"/>
                  <a:pt x="9943" y="6192"/>
                  <a:pt x="10466" y="5906"/>
                </a:cubicBezTo>
                <a:lnTo>
                  <a:pt x="11324" y="5906"/>
                </a:lnTo>
                <a:cubicBezTo>
                  <a:pt x="11419" y="5906"/>
                  <a:pt x="11490" y="5834"/>
                  <a:pt x="11490" y="5751"/>
                </a:cubicBezTo>
                <a:cubicBezTo>
                  <a:pt x="11490" y="5656"/>
                  <a:pt x="11419" y="5584"/>
                  <a:pt x="11336" y="5584"/>
                </a:cubicBezTo>
                <a:lnTo>
                  <a:pt x="10466" y="5584"/>
                </a:lnTo>
                <a:cubicBezTo>
                  <a:pt x="9931" y="5299"/>
                  <a:pt x="9514" y="4834"/>
                  <a:pt x="9288" y="4287"/>
                </a:cubicBezTo>
                <a:cubicBezTo>
                  <a:pt x="9073" y="3739"/>
                  <a:pt x="9038" y="3108"/>
                  <a:pt x="9204" y="2536"/>
                </a:cubicBezTo>
                <a:lnTo>
                  <a:pt x="9812" y="1917"/>
                </a:lnTo>
                <a:cubicBezTo>
                  <a:pt x="9871" y="1858"/>
                  <a:pt x="9871" y="1739"/>
                  <a:pt x="9812" y="1679"/>
                </a:cubicBezTo>
                <a:cubicBezTo>
                  <a:pt x="9782" y="1649"/>
                  <a:pt x="9737" y="1634"/>
                  <a:pt x="9693" y="1634"/>
                </a:cubicBezTo>
                <a:cubicBezTo>
                  <a:pt x="9648" y="1634"/>
                  <a:pt x="9603" y="1649"/>
                  <a:pt x="9574" y="1679"/>
                </a:cubicBezTo>
                <a:lnTo>
                  <a:pt x="8966" y="2298"/>
                </a:lnTo>
                <a:cubicBezTo>
                  <a:pt x="8720" y="2374"/>
                  <a:pt x="8470" y="2411"/>
                  <a:pt x="8220" y="2411"/>
                </a:cubicBezTo>
                <a:cubicBezTo>
                  <a:pt x="7877" y="2411"/>
                  <a:pt x="7535" y="2341"/>
                  <a:pt x="7204" y="2203"/>
                </a:cubicBezTo>
                <a:cubicBezTo>
                  <a:pt x="6656" y="1977"/>
                  <a:pt x="6192" y="1548"/>
                  <a:pt x="5918" y="1024"/>
                </a:cubicBezTo>
                <a:lnTo>
                  <a:pt x="5918" y="167"/>
                </a:lnTo>
                <a:cubicBezTo>
                  <a:pt x="5918" y="72"/>
                  <a:pt x="5835" y="0"/>
                  <a:pt x="575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03" name="Google Shape;12903;p63"/>
          <p:cNvSpPr/>
          <p:nvPr/>
        </p:nvSpPr>
        <p:spPr>
          <a:xfrm>
            <a:off x="880141" y="2886290"/>
            <a:ext cx="323520" cy="367360"/>
          </a:xfrm>
          <a:custGeom>
            <a:avLst/>
            <a:gdLst/>
            <a:ahLst/>
            <a:cxnLst/>
            <a:rect l="l" t="t" r="r" b="b"/>
            <a:pathLst>
              <a:path w="10110" h="11480" extrusionOk="0">
                <a:moveTo>
                  <a:pt x="4240" y="2681"/>
                </a:moveTo>
                <a:cubicBezTo>
                  <a:pt x="4347" y="2681"/>
                  <a:pt x="4442" y="2777"/>
                  <a:pt x="4442" y="2872"/>
                </a:cubicBezTo>
                <a:cubicBezTo>
                  <a:pt x="4442" y="2979"/>
                  <a:pt x="4347" y="3062"/>
                  <a:pt x="4240" y="3062"/>
                </a:cubicBezTo>
                <a:cubicBezTo>
                  <a:pt x="4144" y="3050"/>
                  <a:pt x="4049" y="2979"/>
                  <a:pt x="4049" y="2872"/>
                </a:cubicBezTo>
                <a:cubicBezTo>
                  <a:pt x="4049" y="2765"/>
                  <a:pt x="4144" y="2681"/>
                  <a:pt x="4240" y="2681"/>
                </a:cubicBezTo>
                <a:close/>
                <a:moveTo>
                  <a:pt x="5692" y="2681"/>
                </a:moveTo>
                <a:cubicBezTo>
                  <a:pt x="5787" y="2681"/>
                  <a:pt x="5883" y="2777"/>
                  <a:pt x="5883" y="2872"/>
                </a:cubicBezTo>
                <a:cubicBezTo>
                  <a:pt x="5883" y="2979"/>
                  <a:pt x="5787" y="3062"/>
                  <a:pt x="5692" y="3062"/>
                </a:cubicBezTo>
                <a:cubicBezTo>
                  <a:pt x="5585" y="3062"/>
                  <a:pt x="5490" y="2979"/>
                  <a:pt x="5490" y="2872"/>
                </a:cubicBezTo>
                <a:cubicBezTo>
                  <a:pt x="5490" y="2777"/>
                  <a:pt x="5585" y="2681"/>
                  <a:pt x="5692" y="2681"/>
                </a:cubicBezTo>
                <a:close/>
                <a:moveTo>
                  <a:pt x="4978" y="1788"/>
                </a:moveTo>
                <a:cubicBezTo>
                  <a:pt x="5299" y="1788"/>
                  <a:pt x="5585" y="2038"/>
                  <a:pt x="5752" y="2348"/>
                </a:cubicBezTo>
                <a:lnTo>
                  <a:pt x="5692" y="2348"/>
                </a:lnTo>
                <a:cubicBezTo>
                  <a:pt x="5394" y="2348"/>
                  <a:pt x="5168" y="2598"/>
                  <a:pt x="5168" y="2872"/>
                </a:cubicBezTo>
                <a:cubicBezTo>
                  <a:pt x="5168" y="3158"/>
                  <a:pt x="5371" y="3384"/>
                  <a:pt x="5656" y="3396"/>
                </a:cubicBezTo>
                <a:cubicBezTo>
                  <a:pt x="5478" y="3539"/>
                  <a:pt x="5228" y="3598"/>
                  <a:pt x="4990" y="3598"/>
                </a:cubicBezTo>
                <a:cubicBezTo>
                  <a:pt x="4751" y="3598"/>
                  <a:pt x="4466" y="3539"/>
                  <a:pt x="4287" y="3396"/>
                </a:cubicBezTo>
                <a:cubicBezTo>
                  <a:pt x="4561" y="3384"/>
                  <a:pt x="4775" y="3146"/>
                  <a:pt x="4775" y="2872"/>
                </a:cubicBezTo>
                <a:cubicBezTo>
                  <a:pt x="4775" y="2574"/>
                  <a:pt x="4537" y="2348"/>
                  <a:pt x="4263" y="2348"/>
                </a:cubicBezTo>
                <a:lnTo>
                  <a:pt x="4204" y="2348"/>
                </a:lnTo>
                <a:cubicBezTo>
                  <a:pt x="4359" y="2038"/>
                  <a:pt x="4644" y="1788"/>
                  <a:pt x="4978" y="1788"/>
                </a:cubicBezTo>
                <a:close/>
                <a:moveTo>
                  <a:pt x="4978" y="3943"/>
                </a:moveTo>
                <a:cubicBezTo>
                  <a:pt x="5275" y="3943"/>
                  <a:pt x="5525" y="4455"/>
                  <a:pt x="5525" y="5039"/>
                </a:cubicBezTo>
                <a:cubicBezTo>
                  <a:pt x="5525" y="5610"/>
                  <a:pt x="5252" y="6122"/>
                  <a:pt x="4978" y="6122"/>
                </a:cubicBezTo>
                <a:cubicBezTo>
                  <a:pt x="4680" y="6122"/>
                  <a:pt x="4418" y="5610"/>
                  <a:pt x="4418" y="5039"/>
                </a:cubicBezTo>
                <a:cubicBezTo>
                  <a:pt x="4418" y="4455"/>
                  <a:pt x="4680" y="3943"/>
                  <a:pt x="4978" y="3943"/>
                </a:cubicBezTo>
                <a:close/>
                <a:moveTo>
                  <a:pt x="5064" y="6488"/>
                </a:moveTo>
                <a:cubicBezTo>
                  <a:pt x="5446" y="6488"/>
                  <a:pt x="5749" y="6618"/>
                  <a:pt x="6002" y="6848"/>
                </a:cubicBezTo>
                <a:cubicBezTo>
                  <a:pt x="6204" y="7063"/>
                  <a:pt x="6347" y="7360"/>
                  <a:pt x="6406" y="7706"/>
                </a:cubicBezTo>
                <a:cubicBezTo>
                  <a:pt x="6311" y="7789"/>
                  <a:pt x="6192" y="7860"/>
                  <a:pt x="6049" y="7920"/>
                </a:cubicBezTo>
                <a:cubicBezTo>
                  <a:pt x="5954" y="7956"/>
                  <a:pt x="5906" y="8051"/>
                  <a:pt x="5954" y="8146"/>
                </a:cubicBezTo>
                <a:cubicBezTo>
                  <a:pt x="5990" y="8206"/>
                  <a:pt x="6049" y="8253"/>
                  <a:pt x="6109" y="8253"/>
                </a:cubicBezTo>
                <a:cubicBezTo>
                  <a:pt x="6121" y="8253"/>
                  <a:pt x="6145" y="8253"/>
                  <a:pt x="6168" y="8230"/>
                </a:cubicBezTo>
                <a:cubicBezTo>
                  <a:pt x="6252" y="8194"/>
                  <a:pt x="6347" y="8158"/>
                  <a:pt x="6418" y="8111"/>
                </a:cubicBezTo>
                <a:lnTo>
                  <a:pt x="6418" y="8111"/>
                </a:lnTo>
                <a:cubicBezTo>
                  <a:pt x="6418" y="8408"/>
                  <a:pt x="6347" y="8753"/>
                  <a:pt x="6216" y="9063"/>
                </a:cubicBezTo>
                <a:cubicBezTo>
                  <a:pt x="6073" y="9158"/>
                  <a:pt x="5894" y="9230"/>
                  <a:pt x="5692" y="9289"/>
                </a:cubicBezTo>
                <a:cubicBezTo>
                  <a:pt x="5597" y="9325"/>
                  <a:pt x="5537" y="9408"/>
                  <a:pt x="5561" y="9492"/>
                </a:cubicBezTo>
                <a:cubicBezTo>
                  <a:pt x="5585" y="9575"/>
                  <a:pt x="5656" y="9611"/>
                  <a:pt x="5728" y="9611"/>
                </a:cubicBezTo>
                <a:lnTo>
                  <a:pt x="5775" y="9611"/>
                </a:lnTo>
                <a:cubicBezTo>
                  <a:pt x="5847" y="9599"/>
                  <a:pt x="5918" y="9575"/>
                  <a:pt x="6002" y="9539"/>
                </a:cubicBezTo>
                <a:lnTo>
                  <a:pt x="6002" y="9539"/>
                </a:lnTo>
                <a:cubicBezTo>
                  <a:pt x="5966" y="9599"/>
                  <a:pt x="5942" y="9646"/>
                  <a:pt x="5906" y="9706"/>
                </a:cubicBezTo>
                <a:cubicBezTo>
                  <a:pt x="5609" y="10170"/>
                  <a:pt x="5252" y="10444"/>
                  <a:pt x="4966" y="10444"/>
                </a:cubicBezTo>
                <a:cubicBezTo>
                  <a:pt x="4692" y="10444"/>
                  <a:pt x="4335" y="10170"/>
                  <a:pt x="4037" y="9706"/>
                </a:cubicBezTo>
                <a:cubicBezTo>
                  <a:pt x="4001" y="9646"/>
                  <a:pt x="3978" y="9599"/>
                  <a:pt x="3942" y="9539"/>
                </a:cubicBezTo>
                <a:lnTo>
                  <a:pt x="3942" y="9539"/>
                </a:lnTo>
                <a:cubicBezTo>
                  <a:pt x="4251" y="9646"/>
                  <a:pt x="4609" y="9706"/>
                  <a:pt x="4966" y="9706"/>
                </a:cubicBezTo>
                <a:cubicBezTo>
                  <a:pt x="5061" y="9706"/>
                  <a:pt x="5132" y="9634"/>
                  <a:pt x="5132" y="9539"/>
                </a:cubicBezTo>
                <a:cubicBezTo>
                  <a:pt x="5132" y="9456"/>
                  <a:pt x="5061" y="9373"/>
                  <a:pt x="4966" y="9373"/>
                </a:cubicBezTo>
                <a:cubicBezTo>
                  <a:pt x="4478" y="9373"/>
                  <a:pt x="4037" y="9277"/>
                  <a:pt x="3716" y="9063"/>
                </a:cubicBezTo>
                <a:cubicBezTo>
                  <a:pt x="3597" y="8753"/>
                  <a:pt x="3525" y="8408"/>
                  <a:pt x="3525" y="8111"/>
                </a:cubicBezTo>
                <a:lnTo>
                  <a:pt x="3525" y="8111"/>
                </a:lnTo>
                <a:cubicBezTo>
                  <a:pt x="3882" y="8325"/>
                  <a:pt x="4418" y="8456"/>
                  <a:pt x="4966" y="8456"/>
                </a:cubicBezTo>
                <a:cubicBezTo>
                  <a:pt x="5085" y="8456"/>
                  <a:pt x="5228" y="8456"/>
                  <a:pt x="5347" y="8444"/>
                </a:cubicBezTo>
                <a:cubicBezTo>
                  <a:pt x="5430" y="8420"/>
                  <a:pt x="5502" y="8349"/>
                  <a:pt x="5490" y="8265"/>
                </a:cubicBezTo>
                <a:cubicBezTo>
                  <a:pt x="5479" y="8177"/>
                  <a:pt x="5416" y="8109"/>
                  <a:pt x="5332" y="8109"/>
                </a:cubicBezTo>
                <a:cubicBezTo>
                  <a:pt x="5325" y="8109"/>
                  <a:pt x="5318" y="8110"/>
                  <a:pt x="5311" y="8111"/>
                </a:cubicBezTo>
                <a:cubicBezTo>
                  <a:pt x="5192" y="8122"/>
                  <a:pt x="5085" y="8122"/>
                  <a:pt x="4966" y="8122"/>
                </a:cubicBezTo>
                <a:cubicBezTo>
                  <a:pt x="4394" y="8122"/>
                  <a:pt x="3835" y="7980"/>
                  <a:pt x="3537" y="7741"/>
                </a:cubicBezTo>
                <a:cubicBezTo>
                  <a:pt x="3597" y="7384"/>
                  <a:pt x="3739" y="7087"/>
                  <a:pt x="3942" y="6872"/>
                </a:cubicBezTo>
                <a:cubicBezTo>
                  <a:pt x="4192" y="6622"/>
                  <a:pt x="4549" y="6491"/>
                  <a:pt x="4966" y="6491"/>
                </a:cubicBezTo>
                <a:cubicBezTo>
                  <a:pt x="4999" y="6489"/>
                  <a:pt x="5032" y="6488"/>
                  <a:pt x="5064" y="6488"/>
                </a:cubicBezTo>
                <a:close/>
                <a:moveTo>
                  <a:pt x="2134" y="1"/>
                </a:moveTo>
                <a:cubicBezTo>
                  <a:pt x="2057" y="1"/>
                  <a:pt x="1976" y="57"/>
                  <a:pt x="1965" y="133"/>
                </a:cubicBezTo>
                <a:cubicBezTo>
                  <a:pt x="1954" y="229"/>
                  <a:pt x="2013" y="312"/>
                  <a:pt x="2096" y="324"/>
                </a:cubicBezTo>
                <a:cubicBezTo>
                  <a:pt x="2644" y="431"/>
                  <a:pt x="3216" y="1145"/>
                  <a:pt x="3561" y="1776"/>
                </a:cubicBezTo>
                <a:cubicBezTo>
                  <a:pt x="3620" y="1884"/>
                  <a:pt x="3739" y="1955"/>
                  <a:pt x="3859" y="1955"/>
                </a:cubicBezTo>
                <a:lnTo>
                  <a:pt x="4085" y="1955"/>
                </a:lnTo>
                <a:cubicBezTo>
                  <a:pt x="3870" y="2217"/>
                  <a:pt x="3763" y="2550"/>
                  <a:pt x="3763" y="2860"/>
                </a:cubicBezTo>
                <a:cubicBezTo>
                  <a:pt x="3763" y="3205"/>
                  <a:pt x="3906" y="3467"/>
                  <a:pt x="4156" y="3669"/>
                </a:cubicBezTo>
                <a:cubicBezTo>
                  <a:pt x="4263" y="3741"/>
                  <a:pt x="4382" y="3800"/>
                  <a:pt x="4513" y="3848"/>
                </a:cubicBezTo>
                <a:cubicBezTo>
                  <a:pt x="4406" y="3967"/>
                  <a:pt x="4323" y="4110"/>
                  <a:pt x="4263" y="4289"/>
                </a:cubicBezTo>
                <a:lnTo>
                  <a:pt x="2513" y="3812"/>
                </a:lnTo>
                <a:cubicBezTo>
                  <a:pt x="2454" y="3800"/>
                  <a:pt x="2394" y="3765"/>
                  <a:pt x="2358" y="3729"/>
                </a:cubicBezTo>
                <a:lnTo>
                  <a:pt x="834" y="2205"/>
                </a:lnTo>
                <a:cubicBezTo>
                  <a:pt x="805" y="2175"/>
                  <a:pt x="760" y="2160"/>
                  <a:pt x="715" y="2160"/>
                </a:cubicBezTo>
                <a:cubicBezTo>
                  <a:pt x="671" y="2160"/>
                  <a:pt x="626" y="2175"/>
                  <a:pt x="596" y="2205"/>
                </a:cubicBezTo>
                <a:cubicBezTo>
                  <a:pt x="537" y="2265"/>
                  <a:pt x="537" y="2384"/>
                  <a:pt x="596" y="2443"/>
                </a:cubicBezTo>
                <a:lnTo>
                  <a:pt x="2120" y="3967"/>
                </a:lnTo>
                <a:cubicBezTo>
                  <a:pt x="2204" y="4050"/>
                  <a:pt x="2311" y="4110"/>
                  <a:pt x="2430" y="4146"/>
                </a:cubicBezTo>
                <a:lnTo>
                  <a:pt x="4180" y="4622"/>
                </a:lnTo>
                <a:cubicBezTo>
                  <a:pt x="4156" y="4753"/>
                  <a:pt x="4156" y="4884"/>
                  <a:pt x="4156" y="5015"/>
                </a:cubicBezTo>
                <a:cubicBezTo>
                  <a:pt x="4156" y="5074"/>
                  <a:pt x="4156" y="5158"/>
                  <a:pt x="4168" y="5217"/>
                </a:cubicBezTo>
                <a:lnTo>
                  <a:pt x="2501" y="5217"/>
                </a:lnTo>
                <a:cubicBezTo>
                  <a:pt x="2382" y="5217"/>
                  <a:pt x="2251" y="5241"/>
                  <a:pt x="2144" y="5301"/>
                </a:cubicBezTo>
                <a:lnTo>
                  <a:pt x="108" y="6491"/>
                </a:lnTo>
                <a:cubicBezTo>
                  <a:pt x="37" y="6539"/>
                  <a:pt x="1" y="6646"/>
                  <a:pt x="49" y="6717"/>
                </a:cubicBezTo>
                <a:cubicBezTo>
                  <a:pt x="72" y="6777"/>
                  <a:pt x="132" y="6801"/>
                  <a:pt x="191" y="6801"/>
                </a:cubicBezTo>
                <a:cubicBezTo>
                  <a:pt x="227" y="6801"/>
                  <a:pt x="251" y="6801"/>
                  <a:pt x="287" y="6777"/>
                </a:cubicBezTo>
                <a:lnTo>
                  <a:pt x="2323" y="5586"/>
                </a:lnTo>
                <a:cubicBezTo>
                  <a:pt x="2382" y="5551"/>
                  <a:pt x="2442" y="5539"/>
                  <a:pt x="2513" y="5539"/>
                </a:cubicBezTo>
                <a:lnTo>
                  <a:pt x="4240" y="5539"/>
                </a:lnTo>
                <a:cubicBezTo>
                  <a:pt x="4299" y="5789"/>
                  <a:pt x="4406" y="6015"/>
                  <a:pt x="4537" y="6170"/>
                </a:cubicBezTo>
                <a:cubicBezTo>
                  <a:pt x="4263" y="6241"/>
                  <a:pt x="4001" y="6384"/>
                  <a:pt x="3799" y="6587"/>
                </a:cubicBezTo>
                <a:cubicBezTo>
                  <a:pt x="3668" y="6717"/>
                  <a:pt x="3549" y="6884"/>
                  <a:pt x="3466" y="7075"/>
                </a:cubicBezTo>
                <a:lnTo>
                  <a:pt x="2418" y="7837"/>
                </a:lnTo>
                <a:cubicBezTo>
                  <a:pt x="2299" y="7920"/>
                  <a:pt x="2204" y="8039"/>
                  <a:pt x="2156" y="8194"/>
                </a:cubicBezTo>
                <a:lnTo>
                  <a:pt x="1132" y="11254"/>
                </a:lnTo>
                <a:cubicBezTo>
                  <a:pt x="1108" y="11349"/>
                  <a:pt x="1144" y="11432"/>
                  <a:pt x="1239" y="11468"/>
                </a:cubicBezTo>
                <a:cubicBezTo>
                  <a:pt x="1251" y="11468"/>
                  <a:pt x="1263" y="11480"/>
                  <a:pt x="1299" y="11480"/>
                </a:cubicBezTo>
                <a:cubicBezTo>
                  <a:pt x="1370" y="11480"/>
                  <a:pt x="1430" y="11432"/>
                  <a:pt x="1465" y="11361"/>
                </a:cubicBezTo>
                <a:lnTo>
                  <a:pt x="2489" y="8289"/>
                </a:lnTo>
                <a:cubicBezTo>
                  <a:pt x="2513" y="8218"/>
                  <a:pt x="2561" y="8158"/>
                  <a:pt x="2620" y="8111"/>
                </a:cubicBezTo>
                <a:lnTo>
                  <a:pt x="3323" y="7610"/>
                </a:lnTo>
                <a:lnTo>
                  <a:pt x="3323" y="7610"/>
                </a:lnTo>
                <a:cubicBezTo>
                  <a:pt x="3287" y="7741"/>
                  <a:pt x="3287" y="7896"/>
                  <a:pt x="3287" y="8039"/>
                </a:cubicBezTo>
                <a:cubicBezTo>
                  <a:pt x="3287" y="9301"/>
                  <a:pt x="4240" y="10766"/>
                  <a:pt x="5073" y="10766"/>
                </a:cubicBezTo>
                <a:cubicBezTo>
                  <a:pt x="5906" y="10766"/>
                  <a:pt x="6859" y="9325"/>
                  <a:pt x="6859" y="8039"/>
                </a:cubicBezTo>
                <a:cubicBezTo>
                  <a:pt x="6859" y="7896"/>
                  <a:pt x="6847" y="7741"/>
                  <a:pt x="6835" y="7610"/>
                </a:cubicBezTo>
                <a:lnTo>
                  <a:pt x="6835" y="7610"/>
                </a:lnTo>
                <a:lnTo>
                  <a:pt x="7538" y="8111"/>
                </a:lnTo>
                <a:cubicBezTo>
                  <a:pt x="7597" y="8158"/>
                  <a:pt x="7633" y="8218"/>
                  <a:pt x="7669" y="8289"/>
                </a:cubicBezTo>
                <a:lnTo>
                  <a:pt x="8692" y="11361"/>
                </a:lnTo>
                <a:cubicBezTo>
                  <a:pt x="8728" y="11432"/>
                  <a:pt x="8788" y="11480"/>
                  <a:pt x="8859" y="11480"/>
                </a:cubicBezTo>
                <a:cubicBezTo>
                  <a:pt x="8871" y="11480"/>
                  <a:pt x="8883" y="11480"/>
                  <a:pt x="8919" y="11468"/>
                </a:cubicBezTo>
                <a:cubicBezTo>
                  <a:pt x="9002" y="11432"/>
                  <a:pt x="9050" y="11349"/>
                  <a:pt x="9026" y="11254"/>
                </a:cubicBezTo>
                <a:lnTo>
                  <a:pt x="7990" y="8194"/>
                </a:lnTo>
                <a:cubicBezTo>
                  <a:pt x="7954" y="8039"/>
                  <a:pt x="7859" y="7920"/>
                  <a:pt x="7740" y="7837"/>
                </a:cubicBezTo>
                <a:lnTo>
                  <a:pt x="6680" y="7075"/>
                </a:lnTo>
                <a:cubicBezTo>
                  <a:pt x="6597" y="6884"/>
                  <a:pt x="6490" y="6717"/>
                  <a:pt x="6359" y="6587"/>
                </a:cubicBezTo>
                <a:cubicBezTo>
                  <a:pt x="6145" y="6372"/>
                  <a:pt x="5906" y="6241"/>
                  <a:pt x="5609" y="6170"/>
                </a:cubicBezTo>
                <a:cubicBezTo>
                  <a:pt x="5752" y="6003"/>
                  <a:pt x="5847" y="5789"/>
                  <a:pt x="5906" y="5539"/>
                </a:cubicBezTo>
                <a:lnTo>
                  <a:pt x="7633" y="5539"/>
                </a:lnTo>
                <a:cubicBezTo>
                  <a:pt x="7692" y="5539"/>
                  <a:pt x="7776" y="5551"/>
                  <a:pt x="7835" y="5586"/>
                </a:cubicBezTo>
                <a:lnTo>
                  <a:pt x="9871" y="6777"/>
                </a:lnTo>
                <a:cubicBezTo>
                  <a:pt x="9895" y="6789"/>
                  <a:pt x="9931" y="6801"/>
                  <a:pt x="9955" y="6801"/>
                </a:cubicBezTo>
                <a:cubicBezTo>
                  <a:pt x="10014" y="6801"/>
                  <a:pt x="10074" y="6777"/>
                  <a:pt x="10109" y="6717"/>
                </a:cubicBezTo>
                <a:cubicBezTo>
                  <a:pt x="10014" y="6658"/>
                  <a:pt x="9990" y="6551"/>
                  <a:pt x="9919" y="6503"/>
                </a:cubicBezTo>
                <a:lnTo>
                  <a:pt x="7871" y="5313"/>
                </a:lnTo>
                <a:cubicBezTo>
                  <a:pt x="7776" y="5253"/>
                  <a:pt x="7633" y="5229"/>
                  <a:pt x="7514" y="5229"/>
                </a:cubicBezTo>
                <a:lnTo>
                  <a:pt x="5847" y="5229"/>
                </a:lnTo>
                <a:cubicBezTo>
                  <a:pt x="5847" y="5170"/>
                  <a:pt x="5871" y="5110"/>
                  <a:pt x="5871" y="5039"/>
                </a:cubicBezTo>
                <a:cubicBezTo>
                  <a:pt x="5871" y="4896"/>
                  <a:pt x="5847" y="4765"/>
                  <a:pt x="5835" y="4634"/>
                </a:cubicBezTo>
                <a:lnTo>
                  <a:pt x="7597" y="4158"/>
                </a:lnTo>
                <a:cubicBezTo>
                  <a:pt x="7716" y="4122"/>
                  <a:pt x="7811" y="4062"/>
                  <a:pt x="7907" y="3979"/>
                </a:cubicBezTo>
                <a:lnTo>
                  <a:pt x="9419" y="2455"/>
                </a:lnTo>
                <a:cubicBezTo>
                  <a:pt x="9478" y="2396"/>
                  <a:pt x="9478" y="2276"/>
                  <a:pt x="9419" y="2217"/>
                </a:cubicBezTo>
                <a:cubicBezTo>
                  <a:pt x="9389" y="2187"/>
                  <a:pt x="9344" y="2172"/>
                  <a:pt x="9300" y="2172"/>
                </a:cubicBezTo>
                <a:cubicBezTo>
                  <a:pt x="9255" y="2172"/>
                  <a:pt x="9210" y="2187"/>
                  <a:pt x="9181" y="2217"/>
                </a:cubicBezTo>
                <a:lnTo>
                  <a:pt x="7657" y="3729"/>
                </a:lnTo>
                <a:cubicBezTo>
                  <a:pt x="7609" y="3765"/>
                  <a:pt x="7549" y="3800"/>
                  <a:pt x="7490" y="3812"/>
                </a:cubicBezTo>
                <a:lnTo>
                  <a:pt x="5752" y="4289"/>
                </a:lnTo>
                <a:cubicBezTo>
                  <a:pt x="5692" y="4110"/>
                  <a:pt x="5597" y="3967"/>
                  <a:pt x="5490" y="3848"/>
                </a:cubicBezTo>
                <a:cubicBezTo>
                  <a:pt x="5633" y="3800"/>
                  <a:pt x="5752" y="3741"/>
                  <a:pt x="5847" y="3669"/>
                </a:cubicBezTo>
                <a:cubicBezTo>
                  <a:pt x="6109" y="3467"/>
                  <a:pt x="6240" y="3193"/>
                  <a:pt x="6240" y="2860"/>
                </a:cubicBezTo>
                <a:cubicBezTo>
                  <a:pt x="6240" y="2550"/>
                  <a:pt x="6121" y="2217"/>
                  <a:pt x="5930" y="1955"/>
                </a:cubicBezTo>
                <a:lnTo>
                  <a:pt x="6145" y="1955"/>
                </a:lnTo>
                <a:cubicBezTo>
                  <a:pt x="6287" y="1955"/>
                  <a:pt x="6383" y="1884"/>
                  <a:pt x="6442" y="1776"/>
                </a:cubicBezTo>
                <a:cubicBezTo>
                  <a:pt x="6787" y="1145"/>
                  <a:pt x="7359" y="431"/>
                  <a:pt x="7907" y="324"/>
                </a:cubicBezTo>
                <a:cubicBezTo>
                  <a:pt x="7990" y="312"/>
                  <a:pt x="8050" y="229"/>
                  <a:pt x="8038" y="133"/>
                </a:cubicBezTo>
                <a:cubicBezTo>
                  <a:pt x="8027" y="57"/>
                  <a:pt x="7946" y="1"/>
                  <a:pt x="7869" y="1"/>
                </a:cubicBezTo>
                <a:cubicBezTo>
                  <a:pt x="7861" y="1"/>
                  <a:pt x="7854" y="1"/>
                  <a:pt x="7847" y="2"/>
                </a:cubicBezTo>
                <a:cubicBezTo>
                  <a:pt x="7490" y="74"/>
                  <a:pt x="7121" y="336"/>
                  <a:pt x="6740" y="764"/>
                </a:cubicBezTo>
                <a:cubicBezTo>
                  <a:pt x="6466" y="1086"/>
                  <a:pt x="6252" y="1431"/>
                  <a:pt x="6168" y="1610"/>
                </a:cubicBezTo>
                <a:lnTo>
                  <a:pt x="5585" y="1610"/>
                </a:lnTo>
                <a:cubicBezTo>
                  <a:pt x="5406" y="1491"/>
                  <a:pt x="5216" y="1431"/>
                  <a:pt x="5002" y="1431"/>
                </a:cubicBezTo>
                <a:cubicBezTo>
                  <a:pt x="4799" y="1431"/>
                  <a:pt x="4597" y="1491"/>
                  <a:pt x="4418" y="1610"/>
                </a:cubicBezTo>
                <a:lnTo>
                  <a:pt x="3847" y="1610"/>
                </a:lnTo>
                <a:cubicBezTo>
                  <a:pt x="3739" y="1431"/>
                  <a:pt x="3549" y="1086"/>
                  <a:pt x="3263" y="764"/>
                </a:cubicBezTo>
                <a:cubicBezTo>
                  <a:pt x="2894" y="336"/>
                  <a:pt x="2537" y="74"/>
                  <a:pt x="2156" y="2"/>
                </a:cubicBezTo>
                <a:cubicBezTo>
                  <a:pt x="2149" y="1"/>
                  <a:pt x="2142" y="1"/>
                  <a:pt x="2134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04" name="Google Shape;12904;p63"/>
          <p:cNvGrpSpPr/>
          <p:nvPr/>
        </p:nvGrpSpPr>
        <p:grpSpPr>
          <a:xfrm>
            <a:off x="1951149" y="2885202"/>
            <a:ext cx="370368" cy="367328"/>
            <a:chOff x="1951149" y="2885202"/>
            <a:chExt cx="370368" cy="367328"/>
          </a:xfrm>
        </p:grpSpPr>
        <p:sp>
          <p:nvSpPr>
            <p:cNvPr id="12905" name="Google Shape;12905;p63"/>
            <p:cNvSpPr/>
            <p:nvPr/>
          </p:nvSpPr>
          <p:spPr>
            <a:xfrm>
              <a:off x="1951149" y="2885202"/>
              <a:ext cx="370368" cy="367328"/>
            </a:xfrm>
            <a:custGeom>
              <a:avLst/>
              <a:gdLst/>
              <a:ahLst/>
              <a:cxnLst/>
              <a:rect l="l" t="t" r="r" b="b"/>
              <a:pathLst>
                <a:path w="11574" h="11479" extrusionOk="0">
                  <a:moveTo>
                    <a:pt x="4632" y="1287"/>
                  </a:moveTo>
                  <a:cubicBezTo>
                    <a:pt x="4691" y="1358"/>
                    <a:pt x="4727" y="1465"/>
                    <a:pt x="4727" y="1548"/>
                  </a:cubicBezTo>
                  <a:cubicBezTo>
                    <a:pt x="4727" y="1810"/>
                    <a:pt x="4513" y="2013"/>
                    <a:pt x="4263" y="2013"/>
                  </a:cubicBezTo>
                  <a:cubicBezTo>
                    <a:pt x="4072" y="2013"/>
                    <a:pt x="3906" y="1894"/>
                    <a:pt x="3834" y="1715"/>
                  </a:cubicBezTo>
                  <a:cubicBezTo>
                    <a:pt x="4048" y="1537"/>
                    <a:pt x="4334" y="1394"/>
                    <a:pt x="4632" y="1287"/>
                  </a:cubicBezTo>
                  <a:close/>
                  <a:moveTo>
                    <a:pt x="6954" y="1287"/>
                  </a:moveTo>
                  <a:cubicBezTo>
                    <a:pt x="7263" y="1394"/>
                    <a:pt x="7537" y="1537"/>
                    <a:pt x="7763" y="1739"/>
                  </a:cubicBezTo>
                  <a:cubicBezTo>
                    <a:pt x="7680" y="1918"/>
                    <a:pt x="7513" y="2037"/>
                    <a:pt x="7323" y="2037"/>
                  </a:cubicBezTo>
                  <a:cubicBezTo>
                    <a:pt x="7073" y="2037"/>
                    <a:pt x="6870" y="1822"/>
                    <a:pt x="6870" y="1572"/>
                  </a:cubicBezTo>
                  <a:cubicBezTo>
                    <a:pt x="6870" y="1453"/>
                    <a:pt x="6894" y="1358"/>
                    <a:pt x="6954" y="1287"/>
                  </a:cubicBezTo>
                  <a:close/>
                  <a:moveTo>
                    <a:pt x="2477" y="5049"/>
                  </a:moveTo>
                  <a:cubicBezTo>
                    <a:pt x="2620" y="5049"/>
                    <a:pt x="2751" y="5168"/>
                    <a:pt x="2751" y="5335"/>
                  </a:cubicBezTo>
                  <a:cubicBezTo>
                    <a:pt x="2751" y="5501"/>
                    <a:pt x="2632" y="5620"/>
                    <a:pt x="2477" y="5620"/>
                  </a:cubicBezTo>
                  <a:cubicBezTo>
                    <a:pt x="2310" y="5620"/>
                    <a:pt x="2191" y="5489"/>
                    <a:pt x="2191" y="5335"/>
                  </a:cubicBezTo>
                  <a:cubicBezTo>
                    <a:pt x="2191" y="5192"/>
                    <a:pt x="2310" y="5049"/>
                    <a:pt x="2477" y="5049"/>
                  </a:cubicBezTo>
                  <a:close/>
                  <a:moveTo>
                    <a:pt x="9132" y="5049"/>
                  </a:moveTo>
                  <a:cubicBezTo>
                    <a:pt x="9275" y="5049"/>
                    <a:pt x="9406" y="5168"/>
                    <a:pt x="9406" y="5335"/>
                  </a:cubicBezTo>
                  <a:cubicBezTo>
                    <a:pt x="9406" y="5489"/>
                    <a:pt x="9287" y="5620"/>
                    <a:pt x="9132" y="5620"/>
                  </a:cubicBezTo>
                  <a:cubicBezTo>
                    <a:pt x="8978" y="5620"/>
                    <a:pt x="8847" y="5501"/>
                    <a:pt x="8847" y="5335"/>
                  </a:cubicBezTo>
                  <a:cubicBezTo>
                    <a:pt x="8847" y="5192"/>
                    <a:pt x="8966" y="5049"/>
                    <a:pt x="9132" y="5049"/>
                  </a:cubicBezTo>
                  <a:close/>
                  <a:moveTo>
                    <a:pt x="3453" y="9549"/>
                  </a:moveTo>
                  <a:cubicBezTo>
                    <a:pt x="3667" y="9549"/>
                    <a:pt x="3834" y="9716"/>
                    <a:pt x="3834" y="9919"/>
                  </a:cubicBezTo>
                  <a:cubicBezTo>
                    <a:pt x="3834" y="10073"/>
                    <a:pt x="3739" y="10204"/>
                    <a:pt x="3596" y="10264"/>
                  </a:cubicBezTo>
                  <a:cubicBezTo>
                    <a:pt x="3429" y="10109"/>
                    <a:pt x="3263" y="9930"/>
                    <a:pt x="3132" y="9740"/>
                  </a:cubicBezTo>
                  <a:cubicBezTo>
                    <a:pt x="3191" y="9621"/>
                    <a:pt x="3322" y="9549"/>
                    <a:pt x="3453" y="9549"/>
                  </a:cubicBezTo>
                  <a:close/>
                  <a:moveTo>
                    <a:pt x="8132" y="9549"/>
                  </a:moveTo>
                  <a:cubicBezTo>
                    <a:pt x="8263" y="9549"/>
                    <a:pt x="8394" y="9621"/>
                    <a:pt x="8454" y="9740"/>
                  </a:cubicBezTo>
                  <a:cubicBezTo>
                    <a:pt x="8323" y="9930"/>
                    <a:pt x="8156" y="10109"/>
                    <a:pt x="8001" y="10264"/>
                  </a:cubicBezTo>
                  <a:cubicBezTo>
                    <a:pt x="7858" y="10204"/>
                    <a:pt x="7763" y="10073"/>
                    <a:pt x="7763" y="9919"/>
                  </a:cubicBezTo>
                  <a:cubicBezTo>
                    <a:pt x="7763" y="9716"/>
                    <a:pt x="7918" y="9549"/>
                    <a:pt x="8132" y="9549"/>
                  </a:cubicBezTo>
                  <a:close/>
                  <a:moveTo>
                    <a:pt x="5775" y="1072"/>
                  </a:moveTo>
                  <a:cubicBezTo>
                    <a:pt x="6061" y="1072"/>
                    <a:pt x="6346" y="1108"/>
                    <a:pt x="6596" y="1167"/>
                  </a:cubicBezTo>
                  <a:cubicBezTo>
                    <a:pt x="6537" y="1287"/>
                    <a:pt x="6501" y="1406"/>
                    <a:pt x="6501" y="1537"/>
                  </a:cubicBezTo>
                  <a:cubicBezTo>
                    <a:pt x="6501" y="1989"/>
                    <a:pt x="6858" y="2346"/>
                    <a:pt x="7311" y="2346"/>
                  </a:cubicBezTo>
                  <a:cubicBezTo>
                    <a:pt x="7597" y="2346"/>
                    <a:pt x="7847" y="2191"/>
                    <a:pt x="7989" y="1965"/>
                  </a:cubicBezTo>
                  <a:cubicBezTo>
                    <a:pt x="8204" y="2227"/>
                    <a:pt x="8323" y="2501"/>
                    <a:pt x="8323" y="2799"/>
                  </a:cubicBezTo>
                  <a:cubicBezTo>
                    <a:pt x="8323" y="3001"/>
                    <a:pt x="8228" y="3144"/>
                    <a:pt x="8037" y="3275"/>
                  </a:cubicBezTo>
                  <a:cubicBezTo>
                    <a:pt x="7966" y="3322"/>
                    <a:pt x="7930" y="3430"/>
                    <a:pt x="7989" y="3513"/>
                  </a:cubicBezTo>
                  <a:cubicBezTo>
                    <a:pt x="8019" y="3565"/>
                    <a:pt x="8072" y="3594"/>
                    <a:pt x="8127" y="3594"/>
                  </a:cubicBezTo>
                  <a:cubicBezTo>
                    <a:pt x="8161" y="3594"/>
                    <a:pt x="8196" y="3583"/>
                    <a:pt x="8228" y="3561"/>
                  </a:cubicBezTo>
                  <a:cubicBezTo>
                    <a:pt x="8370" y="3477"/>
                    <a:pt x="8466" y="3370"/>
                    <a:pt x="8549" y="3251"/>
                  </a:cubicBezTo>
                  <a:cubicBezTo>
                    <a:pt x="8740" y="3263"/>
                    <a:pt x="8906" y="3382"/>
                    <a:pt x="8990" y="3549"/>
                  </a:cubicBezTo>
                  <a:cubicBezTo>
                    <a:pt x="9180" y="3930"/>
                    <a:pt x="9335" y="4346"/>
                    <a:pt x="9442" y="4787"/>
                  </a:cubicBezTo>
                  <a:cubicBezTo>
                    <a:pt x="9347" y="4739"/>
                    <a:pt x="9240" y="4704"/>
                    <a:pt x="9144" y="4704"/>
                  </a:cubicBezTo>
                  <a:cubicBezTo>
                    <a:pt x="8799" y="4704"/>
                    <a:pt x="8513" y="4989"/>
                    <a:pt x="8513" y="5335"/>
                  </a:cubicBezTo>
                  <a:cubicBezTo>
                    <a:pt x="8513" y="5680"/>
                    <a:pt x="8799" y="5954"/>
                    <a:pt x="9144" y="5954"/>
                  </a:cubicBezTo>
                  <a:cubicBezTo>
                    <a:pt x="9323" y="5954"/>
                    <a:pt x="9466" y="5882"/>
                    <a:pt x="9585" y="5763"/>
                  </a:cubicBezTo>
                  <a:cubicBezTo>
                    <a:pt x="9597" y="5918"/>
                    <a:pt x="9597" y="6073"/>
                    <a:pt x="9597" y="6240"/>
                  </a:cubicBezTo>
                  <a:cubicBezTo>
                    <a:pt x="9585" y="7466"/>
                    <a:pt x="9228" y="8597"/>
                    <a:pt x="8668" y="9454"/>
                  </a:cubicBezTo>
                  <a:cubicBezTo>
                    <a:pt x="8537" y="9311"/>
                    <a:pt x="8335" y="9204"/>
                    <a:pt x="8132" y="9204"/>
                  </a:cubicBezTo>
                  <a:cubicBezTo>
                    <a:pt x="7739" y="9204"/>
                    <a:pt x="7418" y="9514"/>
                    <a:pt x="7418" y="9919"/>
                  </a:cubicBezTo>
                  <a:cubicBezTo>
                    <a:pt x="7418" y="10157"/>
                    <a:pt x="7537" y="10359"/>
                    <a:pt x="7716" y="10502"/>
                  </a:cubicBezTo>
                  <a:cubicBezTo>
                    <a:pt x="7144" y="10942"/>
                    <a:pt x="6489" y="11192"/>
                    <a:pt x="5775" y="11192"/>
                  </a:cubicBezTo>
                  <a:cubicBezTo>
                    <a:pt x="5084" y="11192"/>
                    <a:pt x="4406" y="10942"/>
                    <a:pt x="3846" y="10502"/>
                  </a:cubicBezTo>
                  <a:cubicBezTo>
                    <a:pt x="4025" y="10359"/>
                    <a:pt x="4144" y="10157"/>
                    <a:pt x="4144" y="9919"/>
                  </a:cubicBezTo>
                  <a:cubicBezTo>
                    <a:pt x="4144" y="9526"/>
                    <a:pt x="3822" y="9204"/>
                    <a:pt x="3429" y="9204"/>
                  </a:cubicBezTo>
                  <a:cubicBezTo>
                    <a:pt x="3215" y="9204"/>
                    <a:pt x="3025" y="9288"/>
                    <a:pt x="2894" y="9454"/>
                  </a:cubicBezTo>
                  <a:cubicBezTo>
                    <a:pt x="2322" y="8597"/>
                    <a:pt x="1977" y="7466"/>
                    <a:pt x="1977" y="6228"/>
                  </a:cubicBezTo>
                  <a:cubicBezTo>
                    <a:pt x="1977" y="6061"/>
                    <a:pt x="1977" y="5918"/>
                    <a:pt x="2001" y="5751"/>
                  </a:cubicBezTo>
                  <a:cubicBezTo>
                    <a:pt x="2120" y="5870"/>
                    <a:pt x="2263" y="5942"/>
                    <a:pt x="2441" y="5942"/>
                  </a:cubicBezTo>
                  <a:cubicBezTo>
                    <a:pt x="2786" y="5942"/>
                    <a:pt x="3072" y="5656"/>
                    <a:pt x="3072" y="5323"/>
                  </a:cubicBezTo>
                  <a:cubicBezTo>
                    <a:pt x="3072" y="4977"/>
                    <a:pt x="2786" y="4692"/>
                    <a:pt x="2441" y="4692"/>
                  </a:cubicBezTo>
                  <a:cubicBezTo>
                    <a:pt x="2334" y="4692"/>
                    <a:pt x="2239" y="4727"/>
                    <a:pt x="2143" y="4763"/>
                  </a:cubicBezTo>
                  <a:cubicBezTo>
                    <a:pt x="2251" y="4335"/>
                    <a:pt x="2394" y="3918"/>
                    <a:pt x="2596" y="3537"/>
                  </a:cubicBezTo>
                  <a:cubicBezTo>
                    <a:pt x="2679" y="3370"/>
                    <a:pt x="2846" y="3251"/>
                    <a:pt x="3025" y="3239"/>
                  </a:cubicBezTo>
                  <a:cubicBezTo>
                    <a:pt x="3156" y="3453"/>
                    <a:pt x="3429" y="3632"/>
                    <a:pt x="3810" y="3751"/>
                  </a:cubicBezTo>
                  <a:cubicBezTo>
                    <a:pt x="4227" y="3870"/>
                    <a:pt x="4810" y="3954"/>
                    <a:pt x="5596" y="3954"/>
                  </a:cubicBezTo>
                  <a:lnTo>
                    <a:pt x="5596" y="10621"/>
                  </a:lnTo>
                  <a:cubicBezTo>
                    <a:pt x="5596" y="10704"/>
                    <a:pt x="5668" y="10776"/>
                    <a:pt x="5763" y="10776"/>
                  </a:cubicBezTo>
                  <a:cubicBezTo>
                    <a:pt x="5846" y="10776"/>
                    <a:pt x="5930" y="10704"/>
                    <a:pt x="5930" y="10621"/>
                  </a:cubicBezTo>
                  <a:lnTo>
                    <a:pt x="5930" y="3954"/>
                  </a:lnTo>
                  <a:cubicBezTo>
                    <a:pt x="6537" y="3954"/>
                    <a:pt x="7025" y="3906"/>
                    <a:pt x="7418" y="3834"/>
                  </a:cubicBezTo>
                  <a:cubicBezTo>
                    <a:pt x="7501" y="3811"/>
                    <a:pt x="7561" y="3727"/>
                    <a:pt x="7549" y="3632"/>
                  </a:cubicBezTo>
                  <a:cubicBezTo>
                    <a:pt x="7538" y="3556"/>
                    <a:pt x="7457" y="3500"/>
                    <a:pt x="7380" y="3500"/>
                  </a:cubicBezTo>
                  <a:cubicBezTo>
                    <a:pt x="7373" y="3500"/>
                    <a:pt x="7366" y="3500"/>
                    <a:pt x="7358" y="3501"/>
                  </a:cubicBezTo>
                  <a:cubicBezTo>
                    <a:pt x="6966" y="3573"/>
                    <a:pt x="6442" y="3620"/>
                    <a:pt x="5763" y="3620"/>
                  </a:cubicBezTo>
                  <a:cubicBezTo>
                    <a:pt x="4037" y="3620"/>
                    <a:pt x="3227" y="3358"/>
                    <a:pt x="3227" y="2799"/>
                  </a:cubicBezTo>
                  <a:cubicBezTo>
                    <a:pt x="3227" y="2501"/>
                    <a:pt x="3346" y="2203"/>
                    <a:pt x="3560" y="1965"/>
                  </a:cubicBezTo>
                  <a:cubicBezTo>
                    <a:pt x="3703" y="2191"/>
                    <a:pt x="3965" y="2346"/>
                    <a:pt x="4239" y="2346"/>
                  </a:cubicBezTo>
                  <a:cubicBezTo>
                    <a:pt x="4691" y="2346"/>
                    <a:pt x="5049" y="1989"/>
                    <a:pt x="5049" y="1537"/>
                  </a:cubicBezTo>
                  <a:cubicBezTo>
                    <a:pt x="5049" y="1406"/>
                    <a:pt x="5013" y="1287"/>
                    <a:pt x="4953" y="1167"/>
                  </a:cubicBezTo>
                  <a:cubicBezTo>
                    <a:pt x="5215" y="1108"/>
                    <a:pt x="5489" y="1072"/>
                    <a:pt x="5775" y="1072"/>
                  </a:cubicBezTo>
                  <a:close/>
                  <a:moveTo>
                    <a:pt x="3632" y="1"/>
                  </a:moveTo>
                  <a:cubicBezTo>
                    <a:pt x="3548" y="1"/>
                    <a:pt x="3465" y="84"/>
                    <a:pt x="3465" y="167"/>
                  </a:cubicBezTo>
                  <a:cubicBezTo>
                    <a:pt x="3465" y="263"/>
                    <a:pt x="3548" y="334"/>
                    <a:pt x="3632" y="334"/>
                  </a:cubicBezTo>
                  <a:cubicBezTo>
                    <a:pt x="3834" y="334"/>
                    <a:pt x="3906" y="334"/>
                    <a:pt x="3977" y="370"/>
                  </a:cubicBezTo>
                  <a:cubicBezTo>
                    <a:pt x="4048" y="394"/>
                    <a:pt x="4132" y="465"/>
                    <a:pt x="4287" y="608"/>
                  </a:cubicBezTo>
                  <a:cubicBezTo>
                    <a:pt x="4382" y="679"/>
                    <a:pt x="4501" y="786"/>
                    <a:pt x="4632" y="906"/>
                  </a:cubicBezTo>
                  <a:cubicBezTo>
                    <a:pt x="4322" y="1001"/>
                    <a:pt x="4037" y="1144"/>
                    <a:pt x="3787" y="1322"/>
                  </a:cubicBezTo>
                  <a:cubicBezTo>
                    <a:pt x="3441" y="1560"/>
                    <a:pt x="3191" y="1858"/>
                    <a:pt x="3060" y="2168"/>
                  </a:cubicBezTo>
                  <a:lnTo>
                    <a:pt x="2382" y="2168"/>
                  </a:lnTo>
                  <a:cubicBezTo>
                    <a:pt x="2322" y="2168"/>
                    <a:pt x="2263" y="2132"/>
                    <a:pt x="2239" y="2096"/>
                  </a:cubicBezTo>
                  <a:lnTo>
                    <a:pt x="1453" y="989"/>
                  </a:lnTo>
                  <a:cubicBezTo>
                    <a:pt x="1415" y="943"/>
                    <a:pt x="1357" y="922"/>
                    <a:pt x="1302" y="922"/>
                  </a:cubicBezTo>
                  <a:cubicBezTo>
                    <a:pt x="1271" y="922"/>
                    <a:pt x="1240" y="928"/>
                    <a:pt x="1215" y="941"/>
                  </a:cubicBezTo>
                  <a:cubicBezTo>
                    <a:pt x="1131" y="1001"/>
                    <a:pt x="1120" y="1108"/>
                    <a:pt x="1167" y="1179"/>
                  </a:cubicBezTo>
                  <a:lnTo>
                    <a:pt x="1953" y="2287"/>
                  </a:lnTo>
                  <a:cubicBezTo>
                    <a:pt x="2060" y="2418"/>
                    <a:pt x="2203" y="2513"/>
                    <a:pt x="2382" y="2513"/>
                  </a:cubicBezTo>
                  <a:lnTo>
                    <a:pt x="2953" y="2513"/>
                  </a:lnTo>
                  <a:cubicBezTo>
                    <a:pt x="2941" y="2596"/>
                    <a:pt x="2917" y="2703"/>
                    <a:pt x="2917" y="2787"/>
                  </a:cubicBezTo>
                  <a:lnTo>
                    <a:pt x="2917" y="2906"/>
                  </a:lnTo>
                  <a:cubicBezTo>
                    <a:pt x="2655" y="2953"/>
                    <a:pt x="2417" y="3132"/>
                    <a:pt x="2298" y="3382"/>
                  </a:cubicBezTo>
                  <a:cubicBezTo>
                    <a:pt x="2072" y="3846"/>
                    <a:pt x="1893" y="4358"/>
                    <a:pt x="1786" y="4870"/>
                  </a:cubicBezTo>
                  <a:lnTo>
                    <a:pt x="1572" y="4870"/>
                  </a:lnTo>
                  <a:cubicBezTo>
                    <a:pt x="1310" y="4870"/>
                    <a:pt x="1108" y="5037"/>
                    <a:pt x="1048" y="5287"/>
                  </a:cubicBezTo>
                  <a:lnTo>
                    <a:pt x="798" y="6466"/>
                  </a:lnTo>
                  <a:cubicBezTo>
                    <a:pt x="774" y="6525"/>
                    <a:pt x="750" y="6573"/>
                    <a:pt x="691" y="6597"/>
                  </a:cubicBezTo>
                  <a:lnTo>
                    <a:pt x="119" y="6882"/>
                  </a:lnTo>
                  <a:cubicBezTo>
                    <a:pt x="36" y="6930"/>
                    <a:pt x="0" y="7037"/>
                    <a:pt x="48" y="7109"/>
                  </a:cubicBezTo>
                  <a:cubicBezTo>
                    <a:pt x="84" y="7168"/>
                    <a:pt x="143" y="7192"/>
                    <a:pt x="203" y="7192"/>
                  </a:cubicBezTo>
                  <a:cubicBezTo>
                    <a:pt x="227" y="7192"/>
                    <a:pt x="238" y="7192"/>
                    <a:pt x="274" y="7180"/>
                  </a:cubicBezTo>
                  <a:lnTo>
                    <a:pt x="834" y="6894"/>
                  </a:lnTo>
                  <a:cubicBezTo>
                    <a:pt x="989" y="6823"/>
                    <a:pt x="1072" y="6692"/>
                    <a:pt x="1120" y="6537"/>
                  </a:cubicBezTo>
                  <a:lnTo>
                    <a:pt x="1370" y="5370"/>
                  </a:lnTo>
                  <a:cubicBezTo>
                    <a:pt x="1393" y="5275"/>
                    <a:pt x="1465" y="5216"/>
                    <a:pt x="1572" y="5216"/>
                  </a:cubicBezTo>
                  <a:lnTo>
                    <a:pt x="1727" y="5216"/>
                  </a:lnTo>
                  <a:cubicBezTo>
                    <a:pt x="1691" y="5549"/>
                    <a:pt x="1655" y="5882"/>
                    <a:pt x="1655" y="6216"/>
                  </a:cubicBezTo>
                  <a:cubicBezTo>
                    <a:pt x="1655" y="6799"/>
                    <a:pt x="1727" y="7359"/>
                    <a:pt x="1870" y="7894"/>
                  </a:cubicBezTo>
                  <a:lnTo>
                    <a:pt x="1489" y="8204"/>
                  </a:lnTo>
                  <a:cubicBezTo>
                    <a:pt x="1358" y="8311"/>
                    <a:pt x="1298" y="8490"/>
                    <a:pt x="1310" y="8656"/>
                  </a:cubicBezTo>
                  <a:lnTo>
                    <a:pt x="1477" y="10442"/>
                  </a:lnTo>
                  <a:cubicBezTo>
                    <a:pt x="1489" y="10526"/>
                    <a:pt x="1548" y="10585"/>
                    <a:pt x="1643" y="10585"/>
                  </a:cubicBezTo>
                  <a:lnTo>
                    <a:pt x="1655" y="10585"/>
                  </a:lnTo>
                  <a:cubicBezTo>
                    <a:pt x="1751" y="10573"/>
                    <a:pt x="1822" y="10502"/>
                    <a:pt x="1810" y="10407"/>
                  </a:cubicBezTo>
                  <a:lnTo>
                    <a:pt x="1643" y="8621"/>
                  </a:lnTo>
                  <a:cubicBezTo>
                    <a:pt x="1643" y="8561"/>
                    <a:pt x="1655" y="8502"/>
                    <a:pt x="1715" y="8466"/>
                  </a:cubicBezTo>
                  <a:lnTo>
                    <a:pt x="1965" y="8240"/>
                  </a:lnTo>
                  <a:cubicBezTo>
                    <a:pt x="2179" y="8859"/>
                    <a:pt x="2465" y="9430"/>
                    <a:pt x="2846" y="9919"/>
                  </a:cubicBezTo>
                  <a:cubicBezTo>
                    <a:pt x="3620" y="10931"/>
                    <a:pt x="4668" y="11478"/>
                    <a:pt x="5775" y="11478"/>
                  </a:cubicBezTo>
                  <a:cubicBezTo>
                    <a:pt x="6894" y="11478"/>
                    <a:pt x="7942" y="10931"/>
                    <a:pt x="8716" y="9919"/>
                  </a:cubicBezTo>
                  <a:cubicBezTo>
                    <a:pt x="9097" y="9430"/>
                    <a:pt x="9382" y="8847"/>
                    <a:pt x="9585" y="8240"/>
                  </a:cubicBezTo>
                  <a:lnTo>
                    <a:pt x="9847" y="8466"/>
                  </a:lnTo>
                  <a:cubicBezTo>
                    <a:pt x="9883" y="8502"/>
                    <a:pt x="9918" y="8561"/>
                    <a:pt x="9918" y="8621"/>
                  </a:cubicBezTo>
                  <a:lnTo>
                    <a:pt x="9752" y="10407"/>
                  </a:lnTo>
                  <a:cubicBezTo>
                    <a:pt x="9740" y="10502"/>
                    <a:pt x="9811" y="10585"/>
                    <a:pt x="9906" y="10585"/>
                  </a:cubicBezTo>
                  <a:lnTo>
                    <a:pt x="9918" y="10585"/>
                  </a:lnTo>
                  <a:cubicBezTo>
                    <a:pt x="10002" y="10585"/>
                    <a:pt x="10085" y="10526"/>
                    <a:pt x="10085" y="10442"/>
                  </a:cubicBezTo>
                  <a:lnTo>
                    <a:pt x="10240" y="8656"/>
                  </a:lnTo>
                  <a:cubicBezTo>
                    <a:pt x="10264" y="8478"/>
                    <a:pt x="10180" y="8311"/>
                    <a:pt x="10061" y="8204"/>
                  </a:cubicBezTo>
                  <a:lnTo>
                    <a:pt x="9692" y="7894"/>
                  </a:lnTo>
                  <a:cubicBezTo>
                    <a:pt x="9823" y="7359"/>
                    <a:pt x="9906" y="6799"/>
                    <a:pt x="9906" y="6216"/>
                  </a:cubicBezTo>
                  <a:cubicBezTo>
                    <a:pt x="9906" y="5870"/>
                    <a:pt x="9871" y="5549"/>
                    <a:pt x="9823" y="5216"/>
                  </a:cubicBezTo>
                  <a:lnTo>
                    <a:pt x="9990" y="5216"/>
                  </a:lnTo>
                  <a:cubicBezTo>
                    <a:pt x="10085" y="5216"/>
                    <a:pt x="10156" y="5275"/>
                    <a:pt x="10180" y="5370"/>
                  </a:cubicBezTo>
                  <a:lnTo>
                    <a:pt x="10442" y="6537"/>
                  </a:lnTo>
                  <a:cubicBezTo>
                    <a:pt x="10466" y="6692"/>
                    <a:pt x="10573" y="6823"/>
                    <a:pt x="10716" y="6894"/>
                  </a:cubicBezTo>
                  <a:lnTo>
                    <a:pt x="11287" y="7180"/>
                  </a:lnTo>
                  <a:cubicBezTo>
                    <a:pt x="11311" y="7192"/>
                    <a:pt x="11335" y="7192"/>
                    <a:pt x="11359" y="7192"/>
                  </a:cubicBezTo>
                  <a:cubicBezTo>
                    <a:pt x="11418" y="7192"/>
                    <a:pt x="11478" y="7168"/>
                    <a:pt x="11514" y="7109"/>
                  </a:cubicBezTo>
                  <a:cubicBezTo>
                    <a:pt x="11573" y="7037"/>
                    <a:pt x="11526" y="6930"/>
                    <a:pt x="11454" y="6882"/>
                  </a:cubicBezTo>
                  <a:lnTo>
                    <a:pt x="10883" y="6597"/>
                  </a:lnTo>
                  <a:cubicBezTo>
                    <a:pt x="10835" y="6573"/>
                    <a:pt x="10787" y="6525"/>
                    <a:pt x="10776" y="6466"/>
                  </a:cubicBezTo>
                  <a:lnTo>
                    <a:pt x="10525" y="5287"/>
                  </a:lnTo>
                  <a:cubicBezTo>
                    <a:pt x="10466" y="5049"/>
                    <a:pt x="10264" y="4870"/>
                    <a:pt x="10002" y="4870"/>
                  </a:cubicBezTo>
                  <a:lnTo>
                    <a:pt x="9787" y="4870"/>
                  </a:lnTo>
                  <a:cubicBezTo>
                    <a:pt x="9680" y="4358"/>
                    <a:pt x="9502" y="3846"/>
                    <a:pt x="9275" y="3382"/>
                  </a:cubicBezTo>
                  <a:cubicBezTo>
                    <a:pt x="9156" y="3132"/>
                    <a:pt x="8918" y="2965"/>
                    <a:pt x="8656" y="2906"/>
                  </a:cubicBezTo>
                  <a:lnTo>
                    <a:pt x="8656" y="2787"/>
                  </a:lnTo>
                  <a:cubicBezTo>
                    <a:pt x="8656" y="2703"/>
                    <a:pt x="8632" y="2596"/>
                    <a:pt x="8620" y="2513"/>
                  </a:cubicBezTo>
                  <a:lnTo>
                    <a:pt x="9192" y="2513"/>
                  </a:lnTo>
                  <a:cubicBezTo>
                    <a:pt x="9347" y="2513"/>
                    <a:pt x="9513" y="2418"/>
                    <a:pt x="9621" y="2287"/>
                  </a:cubicBezTo>
                  <a:lnTo>
                    <a:pt x="10406" y="1179"/>
                  </a:lnTo>
                  <a:cubicBezTo>
                    <a:pt x="10466" y="1108"/>
                    <a:pt x="10442" y="1001"/>
                    <a:pt x="10359" y="941"/>
                  </a:cubicBezTo>
                  <a:cubicBezTo>
                    <a:pt x="10334" y="920"/>
                    <a:pt x="10304" y="911"/>
                    <a:pt x="10274" y="911"/>
                  </a:cubicBezTo>
                  <a:cubicBezTo>
                    <a:pt x="10218" y="911"/>
                    <a:pt x="10159" y="942"/>
                    <a:pt x="10121" y="989"/>
                  </a:cubicBezTo>
                  <a:lnTo>
                    <a:pt x="9335" y="2096"/>
                  </a:lnTo>
                  <a:cubicBezTo>
                    <a:pt x="9311" y="2132"/>
                    <a:pt x="9252" y="2168"/>
                    <a:pt x="9192" y="2168"/>
                  </a:cubicBezTo>
                  <a:lnTo>
                    <a:pt x="8513" y="2168"/>
                  </a:lnTo>
                  <a:cubicBezTo>
                    <a:pt x="8382" y="1834"/>
                    <a:pt x="8132" y="1560"/>
                    <a:pt x="7787" y="1322"/>
                  </a:cubicBezTo>
                  <a:cubicBezTo>
                    <a:pt x="7537" y="1144"/>
                    <a:pt x="7251" y="1001"/>
                    <a:pt x="6942" y="906"/>
                  </a:cubicBezTo>
                  <a:cubicBezTo>
                    <a:pt x="7085" y="786"/>
                    <a:pt x="7204" y="679"/>
                    <a:pt x="7287" y="608"/>
                  </a:cubicBezTo>
                  <a:cubicBezTo>
                    <a:pt x="7442" y="465"/>
                    <a:pt x="7525" y="394"/>
                    <a:pt x="7597" y="370"/>
                  </a:cubicBezTo>
                  <a:cubicBezTo>
                    <a:pt x="7656" y="334"/>
                    <a:pt x="7739" y="334"/>
                    <a:pt x="7942" y="334"/>
                  </a:cubicBezTo>
                  <a:cubicBezTo>
                    <a:pt x="8025" y="334"/>
                    <a:pt x="8097" y="263"/>
                    <a:pt x="8097" y="167"/>
                  </a:cubicBezTo>
                  <a:cubicBezTo>
                    <a:pt x="8097" y="84"/>
                    <a:pt x="8025" y="1"/>
                    <a:pt x="7942" y="1"/>
                  </a:cubicBezTo>
                  <a:cubicBezTo>
                    <a:pt x="7489" y="1"/>
                    <a:pt x="7442" y="24"/>
                    <a:pt x="7073" y="346"/>
                  </a:cubicBezTo>
                  <a:cubicBezTo>
                    <a:pt x="6966" y="441"/>
                    <a:pt x="6751" y="632"/>
                    <a:pt x="6537" y="798"/>
                  </a:cubicBezTo>
                  <a:cubicBezTo>
                    <a:pt x="6299" y="751"/>
                    <a:pt x="6049" y="715"/>
                    <a:pt x="5775" y="715"/>
                  </a:cubicBezTo>
                  <a:cubicBezTo>
                    <a:pt x="5525" y="715"/>
                    <a:pt x="5275" y="751"/>
                    <a:pt x="5037" y="798"/>
                  </a:cubicBezTo>
                  <a:cubicBezTo>
                    <a:pt x="4822" y="632"/>
                    <a:pt x="4608" y="441"/>
                    <a:pt x="4501" y="346"/>
                  </a:cubicBezTo>
                  <a:cubicBezTo>
                    <a:pt x="4108" y="24"/>
                    <a:pt x="4084" y="1"/>
                    <a:pt x="3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6" name="Google Shape;12906;p63"/>
            <p:cNvSpPr/>
            <p:nvPr/>
          </p:nvSpPr>
          <p:spPr>
            <a:xfrm>
              <a:off x="2061645" y="3093618"/>
              <a:ext cx="51456" cy="51456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0"/>
                  </a:moveTo>
                  <a:cubicBezTo>
                    <a:pt x="357" y="0"/>
                    <a:pt x="0" y="358"/>
                    <a:pt x="0" y="798"/>
                  </a:cubicBezTo>
                  <a:cubicBezTo>
                    <a:pt x="0" y="1251"/>
                    <a:pt x="357" y="1608"/>
                    <a:pt x="810" y="1608"/>
                  </a:cubicBezTo>
                  <a:cubicBezTo>
                    <a:pt x="1250" y="1608"/>
                    <a:pt x="1608" y="1251"/>
                    <a:pt x="1608" y="798"/>
                  </a:cubicBezTo>
                  <a:cubicBezTo>
                    <a:pt x="1608" y="727"/>
                    <a:pt x="1596" y="655"/>
                    <a:pt x="1584" y="584"/>
                  </a:cubicBezTo>
                  <a:cubicBezTo>
                    <a:pt x="1555" y="508"/>
                    <a:pt x="1496" y="454"/>
                    <a:pt x="1425" y="454"/>
                  </a:cubicBezTo>
                  <a:cubicBezTo>
                    <a:pt x="1407" y="454"/>
                    <a:pt x="1388" y="458"/>
                    <a:pt x="1369" y="465"/>
                  </a:cubicBezTo>
                  <a:cubicBezTo>
                    <a:pt x="1286" y="489"/>
                    <a:pt x="1227" y="584"/>
                    <a:pt x="1250" y="667"/>
                  </a:cubicBezTo>
                  <a:cubicBezTo>
                    <a:pt x="1274" y="715"/>
                    <a:pt x="1274" y="739"/>
                    <a:pt x="1274" y="786"/>
                  </a:cubicBezTo>
                  <a:cubicBezTo>
                    <a:pt x="1274" y="1036"/>
                    <a:pt x="1060" y="1251"/>
                    <a:pt x="810" y="1251"/>
                  </a:cubicBezTo>
                  <a:cubicBezTo>
                    <a:pt x="560" y="1251"/>
                    <a:pt x="345" y="1036"/>
                    <a:pt x="345" y="786"/>
                  </a:cubicBezTo>
                  <a:cubicBezTo>
                    <a:pt x="345" y="536"/>
                    <a:pt x="560" y="322"/>
                    <a:pt x="810" y="322"/>
                  </a:cubicBezTo>
                  <a:cubicBezTo>
                    <a:pt x="893" y="322"/>
                    <a:pt x="976" y="250"/>
                    <a:pt x="976" y="155"/>
                  </a:cubicBezTo>
                  <a:cubicBezTo>
                    <a:pt x="976" y="72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7" name="Google Shape;12907;p63"/>
            <p:cNvSpPr/>
            <p:nvPr/>
          </p:nvSpPr>
          <p:spPr>
            <a:xfrm>
              <a:off x="2159565" y="3093618"/>
              <a:ext cx="51456" cy="51456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798" y="0"/>
                  </a:moveTo>
                  <a:cubicBezTo>
                    <a:pt x="357" y="0"/>
                    <a:pt x="0" y="358"/>
                    <a:pt x="0" y="798"/>
                  </a:cubicBezTo>
                  <a:cubicBezTo>
                    <a:pt x="0" y="1251"/>
                    <a:pt x="357" y="1608"/>
                    <a:pt x="798" y="1608"/>
                  </a:cubicBezTo>
                  <a:cubicBezTo>
                    <a:pt x="1250" y="1608"/>
                    <a:pt x="1607" y="1251"/>
                    <a:pt x="1607" y="798"/>
                  </a:cubicBezTo>
                  <a:cubicBezTo>
                    <a:pt x="1607" y="727"/>
                    <a:pt x="1607" y="655"/>
                    <a:pt x="1572" y="584"/>
                  </a:cubicBezTo>
                  <a:cubicBezTo>
                    <a:pt x="1553" y="508"/>
                    <a:pt x="1488" y="454"/>
                    <a:pt x="1420" y="454"/>
                  </a:cubicBezTo>
                  <a:cubicBezTo>
                    <a:pt x="1403" y="454"/>
                    <a:pt x="1386" y="458"/>
                    <a:pt x="1369" y="465"/>
                  </a:cubicBezTo>
                  <a:cubicBezTo>
                    <a:pt x="1274" y="489"/>
                    <a:pt x="1215" y="584"/>
                    <a:pt x="1250" y="667"/>
                  </a:cubicBezTo>
                  <a:cubicBezTo>
                    <a:pt x="1262" y="715"/>
                    <a:pt x="1262" y="739"/>
                    <a:pt x="1262" y="786"/>
                  </a:cubicBezTo>
                  <a:cubicBezTo>
                    <a:pt x="1262" y="1036"/>
                    <a:pt x="1048" y="1251"/>
                    <a:pt x="798" y="1251"/>
                  </a:cubicBezTo>
                  <a:cubicBezTo>
                    <a:pt x="548" y="1251"/>
                    <a:pt x="333" y="1036"/>
                    <a:pt x="333" y="786"/>
                  </a:cubicBezTo>
                  <a:cubicBezTo>
                    <a:pt x="333" y="536"/>
                    <a:pt x="548" y="322"/>
                    <a:pt x="798" y="322"/>
                  </a:cubicBezTo>
                  <a:cubicBezTo>
                    <a:pt x="893" y="322"/>
                    <a:pt x="964" y="250"/>
                    <a:pt x="964" y="155"/>
                  </a:cubicBezTo>
                  <a:cubicBezTo>
                    <a:pt x="964" y="72"/>
                    <a:pt x="893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08" name="Google Shape;12908;p63"/>
          <p:cNvGrpSpPr/>
          <p:nvPr/>
        </p:nvGrpSpPr>
        <p:grpSpPr>
          <a:xfrm>
            <a:off x="2501677" y="2906162"/>
            <a:ext cx="367328" cy="327296"/>
            <a:chOff x="2501677" y="2906162"/>
            <a:chExt cx="367328" cy="327296"/>
          </a:xfrm>
        </p:grpSpPr>
        <p:sp>
          <p:nvSpPr>
            <p:cNvPr id="12909" name="Google Shape;12909;p63"/>
            <p:cNvSpPr/>
            <p:nvPr/>
          </p:nvSpPr>
          <p:spPr>
            <a:xfrm>
              <a:off x="2670093" y="3049810"/>
              <a:ext cx="131488" cy="107456"/>
            </a:xfrm>
            <a:custGeom>
              <a:avLst/>
              <a:gdLst/>
              <a:ahLst/>
              <a:cxnLst/>
              <a:rect l="l" t="t" r="r" b="b"/>
              <a:pathLst>
                <a:path w="4109" h="3358" extrusionOk="0">
                  <a:moveTo>
                    <a:pt x="2263" y="0"/>
                  </a:moveTo>
                  <a:cubicBezTo>
                    <a:pt x="1012" y="0"/>
                    <a:pt x="0" y="1012"/>
                    <a:pt x="0" y="2262"/>
                  </a:cubicBezTo>
                  <a:cubicBezTo>
                    <a:pt x="0" y="2346"/>
                    <a:pt x="72" y="2429"/>
                    <a:pt x="155" y="2429"/>
                  </a:cubicBezTo>
                  <a:cubicBezTo>
                    <a:pt x="250" y="2429"/>
                    <a:pt x="322" y="2346"/>
                    <a:pt x="322" y="2262"/>
                  </a:cubicBezTo>
                  <a:cubicBezTo>
                    <a:pt x="322" y="1203"/>
                    <a:pt x="1191" y="345"/>
                    <a:pt x="2239" y="345"/>
                  </a:cubicBezTo>
                  <a:cubicBezTo>
                    <a:pt x="3072" y="345"/>
                    <a:pt x="3751" y="1012"/>
                    <a:pt x="3751" y="1846"/>
                  </a:cubicBezTo>
                  <a:cubicBezTo>
                    <a:pt x="3751" y="2489"/>
                    <a:pt x="3227" y="3024"/>
                    <a:pt x="2572" y="3024"/>
                  </a:cubicBezTo>
                  <a:cubicBezTo>
                    <a:pt x="2084" y="3024"/>
                    <a:pt x="1667" y="2620"/>
                    <a:pt x="1667" y="2108"/>
                  </a:cubicBezTo>
                  <a:cubicBezTo>
                    <a:pt x="1667" y="1727"/>
                    <a:pt x="1977" y="1429"/>
                    <a:pt x="2346" y="1429"/>
                  </a:cubicBezTo>
                  <a:cubicBezTo>
                    <a:pt x="2441" y="1429"/>
                    <a:pt x="2513" y="1357"/>
                    <a:pt x="2513" y="1262"/>
                  </a:cubicBezTo>
                  <a:cubicBezTo>
                    <a:pt x="2513" y="1167"/>
                    <a:pt x="2441" y="1096"/>
                    <a:pt x="2346" y="1096"/>
                  </a:cubicBezTo>
                  <a:cubicBezTo>
                    <a:pt x="1786" y="1096"/>
                    <a:pt x="1322" y="1560"/>
                    <a:pt x="1322" y="2119"/>
                  </a:cubicBezTo>
                  <a:cubicBezTo>
                    <a:pt x="1322" y="2810"/>
                    <a:pt x="1870" y="3358"/>
                    <a:pt x="2560" y="3358"/>
                  </a:cubicBezTo>
                  <a:cubicBezTo>
                    <a:pt x="3394" y="3358"/>
                    <a:pt x="4060" y="2691"/>
                    <a:pt x="4060" y="1858"/>
                  </a:cubicBezTo>
                  <a:cubicBezTo>
                    <a:pt x="4108" y="810"/>
                    <a:pt x="3287" y="0"/>
                    <a:pt x="2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0" name="Google Shape;12910;p63"/>
            <p:cNvSpPr/>
            <p:nvPr/>
          </p:nvSpPr>
          <p:spPr>
            <a:xfrm>
              <a:off x="2760397" y="3097522"/>
              <a:ext cx="13344" cy="19360"/>
            </a:xfrm>
            <a:custGeom>
              <a:avLst/>
              <a:gdLst/>
              <a:ahLst/>
              <a:cxnLst/>
              <a:rect l="l" t="t" r="r" b="b"/>
              <a:pathLst>
                <a:path w="417" h="605" extrusionOk="0">
                  <a:moveTo>
                    <a:pt x="186" y="1"/>
                  </a:moveTo>
                  <a:cubicBezTo>
                    <a:pt x="164" y="1"/>
                    <a:pt x="142" y="4"/>
                    <a:pt x="119" y="9"/>
                  </a:cubicBezTo>
                  <a:cubicBezTo>
                    <a:pt x="36" y="45"/>
                    <a:pt x="0" y="140"/>
                    <a:pt x="36" y="236"/>
                  </a:cubicBezTo>
                  <a:cubicBezTo>
                    <a:pt x="60" y="295"/>
                    <a:pt x="72" y="367"/>
                    <a:pt x="72" y="438"/>
                  </a:cubicBezTo>
                  <a:cubicBezTo>
                    <a:pt x="72" y="533"/>
                    <a:pt x="155" y="605"/>
                    <a:pt x="238" y="605"/>
                  </a:cubicBezTo>
                  <a:cubicBezTo>
                    <a:pt x="334" y="605"/>
                    <a:pt x="405" y="533"/>
                    <a:pt x="405" y="438"/>
                  </a:cubicBezTo>
                  <a:cubicBezTo>
                    <a:pt x="417" y="319"/>
                    <a:pt x="393" y="200"/>
                    <a:pt x="346" y="105"/>
                  </a:cubicBezTo>
                  <a:cubicBezTo>
                    <a:pt x="318" y="32"/>
                    <a:pt x="25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1" name="Google Shape;12911;p63"/>
            <p:cNvSpPr/>
            <p:nvPr/>
          </p:nvSpPr>
          <p:spPr>
            <a:xfrm>
              <a:off x="2501677" y="2906162"/>
              <a:ext cx="367328" cy="327296"/>
            </a:xfrm>
            <a:custGeom>
              <a:avLst/>
              <a:gdLst/>
              <a:ahLst/>
              <a:cxnLst/>
              <a:rect l="l" t="t" r="r" b="b"/>
              <a:pathLst>
                <a:path w="11479" h="10228" extrusionOk="0">
                  <a:moveTo>
                    <a:pt x="703" y="346"/>
                  </a:moveTo>
                  <a:cubicBezTo>
                    <a:pt x="811" y="346"/>
                    <a:pt x="894" y="441"/>
                    <a:pt x="894" y="548"/>
                  </a:cubicBezTo>
                  <a:cubicBezTo>
                    <a:pt x="894" y="643"/>
                    <a:pt x="811" y="739"/>
                    <a:pt x="703" y="739"/>
                  </a:cubicBezTo>
                  <a:cubicBezTo>
                    <a:pt x="596" y="739"/>
                    <a:pt x="513" y="643"/>
                    <a:pt x="513" y="548"/>
                  </a:cubicBezTo>
                  <a:cubicBezTo>
                    <a:pt x="513" y="441"/>
                    <a:pt x="596" y="346"/>
                    <a:pt x="703" y="346"/>
                  </a:cubicBezTo>
                  <a:close/>
                  <a:moveTo>
                    <a:pt x="2144" y="346"/>
                  </a:moveTo>
                  <a:cubicBezTo>
                    <a:pt x="2251" y="346"/>
                    <a:pt x="2335" y="441"/>
                    <a:pt x="2335" y="536"/>
                  </a:cubicBezTo>
                  <a:cubicBezTo>
                    <a:pt x="2335" y="643"/>
                    <a:pt x="2251" y="739"/>
                    <a:pt x="2144" y="739"/>
                  </a:cubicBezTo>
                  <a:cubicBezTo>
                    <a:pt x="2049" y="739"/>
                    <a:pt x="1954" y="643"/>
                    <a:pt x="1954" y="536"/>
                  </a:cubicBezTo>
                  <a:cubicBezTo>
                    <a:pt x="1954" y="441"/>
                    <a:pt x="2037" y="346"/>
                    <a:pt x="2144" y="346"/>
                  </a:cubicBezTo>
                  <a:close/>
                  <a:moveTo>
                    <a:pt x="7240" y="2167"/>
                  </a:moveTo>
                  <a:cubicBezTo>
                    <a:pt x="9395" y="2167"/>
                    <a:pt x="11145" y="3918"/>
                    <a:pt x="11145" y="6085"/>
                  </a:cubicBezTo>
                  <a:cubicBezTo>
                    <a:pt x="11145" y="7787"/>
                    <a:pt x="9764" y="9168"/>
                    <a:pt x="8050" y="9168"/>
                  </a:cubicBezTo>
                  <a:cubicBezTo>
                    <a:pt x="7514" y="9168"/>
                    <a:pt x="7014" y="9013"/>
                    <a:pt x="6597" y="8680"/>
                  </a:cubicBezTo>
                  <a:cubicBezTo>
                    <a:pt x="6180" y="8371"/>
                    <a:pt x="5883" y="7942"/>
                    <a:pt x="5716" y="7454"/>
                  </a:cubicBezTo>
                  <a:cubicBezTo>
                    <a:pt x="5692" y="7370"/>
                    <a:pt x="5633" y="7335"/>
                    <a:pt x="5561" y="7335"/>
                  </a:cubicBezTo>
                  <a:cubicBezTo>
                    <a:pt x="5537" y="7335"/>
                    <a:pt x="5525" y="7335"/>
                    <a:pt x="5513" y="7347"/>
                  </a:cubicBezTo>
                  <a:cubicBezTo>
                    <a:pt x="5418" y="7370"/>
                    <a:pt x="5383" y="7466"/>
                    <a:pt x="5406" y="7549"/>
                  </a:cubicBezTo>
                  <a:cubicBezTo>
                    <a:pt x="5454" y="7692"/>
                    <a:pt x="5502" y="7823"/>
                    <a:pt x="5561" y="7942"/>
                  </a:cubicBezTo>
                  <a:cubicBezTo>
                    <a:pt x="5190" y="8141"/>
                    <a:pt x="4851" y="8237"/>
                    <a:pt x="4541" y="8237"/>
                  </a:cubicBezTo>
                  <a:cubicBezTo>
                    <a:pt x="4314" y="8237"/>
                    <a:pt x="4103" y="8186"/>
                    <a:pt x="3906" y="8085"/>
                  </a:cubicBezTo>
                  <a:cubicBezTo>
                    <a:pt x="3347" y="7787"/>
                    <a:pt x="3097" y="7168"/>
                    <a:pt x="3073" y="6823"/>
                  </a:cubicBezTo>
                  <a:cubicBezTo>
                    <a:pt x="2930" y="5573"/>
                    <a:pt x="3323" y="4358"/>
                    <a:pt x="4120" y="3477"/>
                  </a:cubicBezTo>
                  <a:cubicBezTo>
                    <a:pt x="4906" y="2620"/>
                    <a:pt x="6002" y="2167"/>
                    <a:pt x="7240" y="2167"/>
                  </a:cubicBezTo>
                  <a:close/>
                  <a:moveTo>
                    <a:pt x="1430" y="2703"/>
                  </a:moveTo>
                  <a:cubicBezTo>
                    <a:pt x="1834" y="2703"/>
                    <a:pt x="2156" y="3025"/>
                    <a:pt x="2156" y="3429"/>
                  </a:cubicBezTo>
                  <a:lnTo>
                    <a:pt x="2156" y="5763"/>
                  </a:lnTo>
                  <a:cubicBezTo>
                    <a:pt x="2156" y="6180"/>
                    <a:pt x="2370" y="6573"/>
                    <a:pt x="2716" y="6811"/>
                  </a:cubicBezTo>
                  <a:lnTo>
                    <a:pt x="2716" y="6882"/>
                  </a:lnTo>
                  <a:cubicBezTo>
                    <a:pt x="2751" y="7299"/>
                    <a:pt x="3049" y="8061"/>
                    <a:pt x="3728" y="8418"/>
                  </a:cubicBezTo>
                  <a:cubicBezTo>
                    <a:pt x="3978" y="8549"/>
                    <a:pt x="4240" y="8609"/>
                    <a:pt x="4501" y="8609"/>
                  </a:cubicBezTo>
                  <a:cubicBezTo>
                    <a:pt x="4942" y="8609"/>
                    <a:pt x="5359" y="8442"/>
                    <a:pt x="5704" y="8263"/>
                  </a:cubicBezTo>
                  <a:cubicBezTo>
                    <a:pt x="5883" y="8549"/>
                    <a:pt x="6109" y="8787"/>
                    <a:pt x="6371" y="8990"/>
                  </a:cubicBezTo>
                  <a:cubicBezTo>
                    <a:pt x="6859" y="9347"/>
                    <a:pt x="7430" y="9549"/>
                    <a:pt x="8038" y="9549"/>
                  </a:cubicBezTo>
                  <a:cubicBezTo>
                    <a:pt x="8704" y="9549"/>
                    <a:pt x="9323" y="9359"/>
                    <a:pt x="9859" y="9025"/>
                  </a:cubicBezTo>
                  <a:lnTo>
                    <a:pt x="10705" y="9585"/>
                  </a:lnTo>
                  <a:cubicBezTo>
                    <a:pt x="10752" y="9621"/>
                    <a:pt x="10776" y="9680"/>
                    <a:pt x="10776" y="9740"/>
                  </a:cubicBezTo>
                  <a:cubicBezTo>
                    <a:pt x="10800" y="9811"/>
                    <a:pt x="10705" y="9906"/>
                    <a:pt x="10597" y="9906"/>
                  </a:cubicBezTo>
                  <a:lnTo>
                    <a:pt x="4478" y="9906"/>
                  </a:lnTo>
                  <a:cubicBezTo>
                    <a:pt x="2596" y="9906"/>
                    <a:pt x="1061" y="8371"/>
                    <a:pt x="1061" y="6477"/>
                  </a:cubicBezTo>
                  <a:lnTo>
                    <a:pt x="1061" y="4477"/>
                  </a:lnTo>
                  <a:cubicBezTo>
                    <a:pt x="1120" y="4489"/>
                    <a:pt x="1180" y="4489"/>
                    <a:pt x="1251" y="4489"/>
                  </a:cubicBezTo>
                  <a:cubicBezTo>
                    <a:pt x="1346" y="4489"/>
                    <a:pt x="1418" y="4418"/>
                    <a:pt x="1418" y="4322"/>
                  </a:cubicBezTo>
                  <a:cubicBezTo>
                    <a:pt x="1418" y="4239"/>
                    <a:pt x="1346" y="4156"/>
                    <a:pt x="1251" y="4156"/>
                  </a:cubicBezTo>
                  <a:cubicBezTo>
                    <a:pt x="751" y="4156"/>
                    <a:pt x="346" y="3763"/>
                    <a:pt x="346" y="3251"/>
                  </a:cubicBezTo>
                  <a:lnTo>
                    <a:pt x="346" y="3072"/>
                  </a:lnTo>
                  <a:cubicBezTo>
                    <a:pt x="346" y="2870"/>
                    <a:pt x="513" y="2703"/>
                    <a:pt x="715" y="2703"/>
                  </a:cubicBezTo>
                  <a:close/>
                  <a:moveTo>
                    <a:pt x="715" y="0"/>
                  </a:moveTo>
                  <a:cubicBezTo>
                    <a:pt x="418" y="0"/>
                    <a:pt x="203" y="239"/>
                    <a:pt x="203" y="524"/>
                  </a:cubicBezTo>
                  <a:cubicBezTo>
                    <a:pt x="203" y="810"/>
                    <a:pt x="418" y="1036"/>
                    <a:pt x="691" y="1048"/>
                  </a:cubicBezTo>
                  <a:lnTo>
                    <a:pt x="953" y="2322"/>
                  </a:lnTo>
                  <a:lnTo>
                    <a:pt x="715" y="2322"/>
                  </a:lnTo>
                  <a:cubicBezTo>
                    <a:pt x="334" y="2322"/>
                    <a:pt x="1" y="2644"/>
                    <a:pt x="1" y="3037"/>
                  </a:cubicBezTo>
                  <a:lnTo>
                    <a:pt x="1" y="3215"/>
                  </a:lnTo>
                  <a:cubicBezTo>
                    <a:pt x="1" y="3727"/>
                    <a:pt x="299" y="4156"/>
                    <a:pt x="715" y="4358"/>
                  </a:cubicBezTo>
                  <a:lnTo>
                    <a:pt x="715" y="6466"/>
                  </a:lnTo>
                  <a:cubicBezTo>
                    <a:pt x="715" y="8549"/>
                    <a:pt x="2418" y="10228"/>
                    <a:pt x="4478" y="10228"/>
                  </a:cubicBezTo>
                  <a:lnTo>
                    <a:pt x="10597" y="10228"/>
                  </a:lnTo>
                  <a:cubicBezTo>
                    <a:pt x="10883" y="10228"/>
                    <a:pt x="11121" y="9990"/>
                    <a:pt x="11121" y="9716"/>
                  </a:cubicBezTo>
                  <a:cubicBezTo>
                    <a:pt x="11121" y="9549"/>
                    <a:pt x="11038" y="9383"/>
                    <a:pt x="10895" y="9299"/>
                  </a:cubicBezTo>
                  <a:lnTo>
                    <a:pt x="10157" y="8799"/>
                  </a:lnTo>
                  <a:cubicBezTo>
                    <a:pt x="10955" y="8180"/>
                    <a:pt x="11479" y="7192"/>
                    <a:pt x="11479" y="6096"/>
                  </a:cubicBezTo>
                  <a:cubicBezTo>
                    <a:pt x="11479" y="3739"/>
                    <a:pt x="9574" y="1834"/>
                    <a:pt x="7216" y="1834"/>
                  </a:cubicBezTo>
                  <a:cubicBezTo>
                    <a:pt x="5894" y="1834"/>
                    <a:pt x="4704" y="2346"/>
                    <a:pt x="3859" y="3251"/>
                  </a:cubicBezTo>
                  <a:cubicBezTo>
                    <a:pt x="3108" y="4072"/>
                    <a:pt x="2692" y="5168"/>
                    <a:pt x="2680" y="6335"/>
                  </a:cubicBezTo>
                  <a:cubicBezTo>
                    <a:pt x="2549" y="6168"/>
                    <a:pt x="2477" y="5977"/>
                    <a:pt x="2477" y="5751"/>
                  </a:cubicBezTo>
                  <a:lnTo>
                    <a:pt x="2477" y="3418"/>
                  </a:lnTo>
                  <a:cubicBezTo>
                    <a:pt x="2477" y="3001"/>
                    <a:pt x="2215" y="2632"/>
                    <a:pt x="1882" y="2453"/>
                  </a:cubicBezTo>
                  <a:lnTo>
                    <a:pt x="2156" y="1060"/>
                  </a:lnTo>
                  <a:cubicBezTo>
                    <a:pt x="2442" y="1048"/>
                    <a:pt x="2656" y="810"/>
                    <a:pt x="2656" y="548"/>
                  </a:cubicBezTo>
                  <a:cubicBezTo>
                    <a:pt x="2656" y="251"/>
                    <a:pt x="2418" y="24"/>
                    <a:pt x="2132" y="24"/>
                  </a:cubicBezTo>
                  <a:cubicBezTo>
                    <a:pt x="1834" y="24"/>
                    <a:pt x="1608" y="262"/>
                    <a:pt x="1608" y="548"/>
                  </a:cubicBezTo>
                  <a:cubicBezTo>
                    <a:pt x="1608" y="727"/>
                    <a:pt x="1703" y="882"/>
                    <a:pt x="1846" y="977"/>
                  </a:cubicBezTo>
                  <a:lnTo>
                    <a:pt x="1561" y="2358"/>
                  </a:lnTo>
                  <a:cubicBezTo>
                    <a:pt x="1525" y="2358"/>
                    <a:pt x="1477" y="2346"/>
                    <a:pt x="1418" y="2346"/>
                  </a:cubicBezTo>
                  <a:lnTo>
                    <a:pt x="1287" y="2346"/>
                  </a:lnTo>
                  <a:lnTo>
                    <a:pt x="1001" y="977"/>
                  </a:lnTo>
                  <a:cubicBezTo>
                    <a:pt x="1144" y="882"/>
                    <a:pt x="1239" y="715"/>
                    <a:pt x="1239" y="524"/>
                  </a:cubicBezTo>
                  <a:cubicBezTo>
                    <a:pt x="1239" y="227"/>
                    <a:pt x="1001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12" name="Google Shape;12912;p63"/>
          <p:cNvSpPr/>
          <p:nvPr/>
        </p:nvSpPr>
        <p:spPr>
          <a:xfrm>
            <a:off x="3597837" y="2929394"/>
            <a:ext cx="368832" cy="281600"/>
          </a:xfrm>
          <a:custGeom>
            <a:avLst/>
            <a:gdLst/>
            <a:ahLst/>
            <a:cxnLst/>
            <a:rect l="l" t="t" r="r" b="b"/>
            <a:pathLst>
              <a:path w="11526" h="8800" extrusionOk="0">
                <a:moveTo>
                  <a:pt x="5787" y="3215"/>
                </a:moveTo>
                <a:cubicBezTo>
                  <a:pt x="5894" y="3215"/>
                  <a:pt x="5977" y="3299"/>
                  <a:pt x="5977" y="3406"/>
                </a:cubicBezTo>
                <a:cubicBezTo>
                  <a:pt x="5977" y="3501"/>
                  <a:pt x="5894" y="3596"/>
                  <a:pt x="5787" y="3596"/>
                </a:cubicBezTo>
                <a:cubicBezTo>
                  <a:pt x="5679" y="3596"/>
                  <a:pt x="5596" y="3501"/>
                  <a:pt x="5596" y="3406"/>
                </a:cubicBezTo>
                <a:cubicBezTo>
                  <a:pt x="5596" y="3299"/>
                  <a:pt x="5679" y="3215"/>
                  <a:pt x="5787" y="3215"/>
                </a:cubicBezTo>
                <a:close/>
                <a:moveTo>
                  <a:pt x="10632" y="346"/>
                </a:moveTo>
                <a:cubicBezTo>
                  <a:pt x="10894" y="346"/>
                  <a:pt x="11049" y="394"/>
                  <a:pt x="11133" y="489"/>
                </a:cubicBezTo>
                <a:cubicBezTo>
                  <a:pt x="11192" y="537"/>
                  <a:pt x="11192" y="620"/>
                  <a:pt x="11192" y="703"/>
                </a:cubicBezTo>
                <a:cubicBezTo>
                  <a:pt x="11192" y="858"/>
                  <a:pt x="11049" y="1084"/>
                  <a:pt x="10918" y="1334"/>
                </a:cubicBezTo>
                <a:lnTo>
                  <a:pt x="10787" y="1560"/>
                </a:lnTo>
                <a:cubicBezTo>
                  <a:pt x="10656" y="1346"/>
                  <a:pt x="10394" y="1096"/>
                  <a:pt x="9942" y="953"/>
                </a:cubicBezTo>
                <a:cubicBezTo>
                  <a:pt x="9922" y="945"/>
                  <a:pt x="9902" y="941"/>
                  <a:pt x="9882" y="941"/>
                </a:cubicBezTo>
                <a:cubicBezTo>
                  <a:pt x="9817" y="941"/>
                  <a:pt x="9755" y="982"/>
                  <a:pt x="9728" y="1037"/>
                </a:cubicBezTo>
                <a:cubicBezTo>
                  <a:pt x="9680" y="1132"/>
                  <a:pt x="9728" y="1227"/>
                  <a:pt x="9835" y="1275"/>
                </a:cubicBezTo>
                <a:cubicBezTo>
                  <a:pt x="10442" y="1489"/>
                  <a:pt x="10597" y="1882"/>
                  <a:pt x="10609" y="1941"/>
                </a:cubicBezTo>
                <a:cubicBezTo>
                  <a:pt x="10418" y="2394"/>
                  <a:pt x="10299" y="2894"/>
                  <a:pt x="10490" y="3477"/>
                </a:cubicBezTo>
                <a:cubicBezTo>
                  <a:pt x="10501" y="3537"/>
                  <a:pt x="10501" y="3585"/>
                  <a:pt x="10454" y="3632"/>
                </a:cubicBezTo>
                <a:cubicBezTo>
                  <a:pt x="10192" y="3977"/>
                  <a:pt x="8823" y="4108"/>
                  <a:pt x="8239" y="4132"/>
                </a:cubicBezTo>
                <a:cubicBezTo>
                  <a:pt x="7799" y="4156"/>
                  <a:pt x="7376" y="4165"/>
                  <a:pt x="7041" y="4165"/>
                </a:cubicBezTo>
                <a:cubicBezTo>
                  <a:pt x="6706" y="4165"/>
                  <a:pt x="6459" y="4156"/>
                  <a:pt x="6370" y="4144"/>
                </a:cubicBezTo>
                <a:cubicBezTo>
                  <a:pt x="6346" y="4108"/>
                  <a:pt x="6334" y="4073"/>
                  <a:pt x="6322" y="4037"/>
                </a:cubicBezTo>
                <a:cubicBezTo>
                  <a:pt x="6310" y="4025"/>
                  <a:pt x="6322" y="3966"/>
                  <a:pt x="6322" y="3966"/>
                </a:cubicBezTo>
                <a:cubicBezTo>
                  <a:pt x="6346" y="3835"/>
                  <a:pt x="6763" y="2906"/>
                  <a:pt x="7525" y="2037"/>
                </a:cubicBezTo>
                <a:cubicBezTo>
                  <a:pt x="7763" y="1751"/>
                  <a:pt x="8061" y="1465"/>
                  <a:pt x="8406" y="1203"/>
                </a:cubicBezTo>
                <a:cubicBezTo>
                  <a:pt x="8692" y="1156"/>
                  <a:pt x="8954" y="1156"/>
                  <a:pt x="9192" y="1156"/>
                </a:cubicBezTo>
                <a:cubicBezTo>
                  <a:pt x="9287" y="1156"/>
                  <a:pt x="9370" y="1096"/>
                  <a:pt x="9370" y="1001"/>
                </a:cubicBezTo>
                <a:cubicBezTo>
                  <a:pt x="9382" y="918"/>
                  <a:pt x="9311" y="822"/>
                  <a:pt x="9204" y="822"/>
                </a:cubicBezTo>
                <a:lnTo>
                  <a:pt x="8954" y="822"/>
                </a:lnTo>
                <a:cubicBezTo>
                  <a:pt x="9442" y="548"/>
                  <a:pt x="10013" y="346"/>
                  <a:pt x="10632" y="346"/>
                </a:cubicBezTo>
                <a:close/>
                <a:moveTo>
                  <a:pt x="917" y="334"/>
                </a:moveTo>
                <a:cubicBezTo>
                  <a:pt x="1548" y="334"/>
                  <a:pt x="2108" y="537"/>
                  <a:pt x="2596" y="810"/>
                </a:cubicBezTo>
                <a:lnTo>
                  <a:pt x="2358" y="810"/>
                </a:lnTo>
                <a:cubicBezTo>
                  <a:pt x="2274" y="810"/>
                  <a:pt x="2191" y="894"/>
                  <a:pt x="2191" y="989"/>
                </a:cubicBezTo>
                <a:cubicBezTo>
                  <a:pt x="2191" y="1084"/>
                  <a:pt x="2286" y="1156"/>
                  <a:pt x="2381" y="1156"/>
                </a:cubicBezTo>
                <a:cubicBezTo>
                  <a:pt x="2438" y="1153"/>
                  <a:pt x="2495" y="1151"/>
                  <a:pt x="2554" y="1151"/>
                </a:cubicBezTo>
                <a:cubicBezTo>
                  <a:pt x="2745" y="1151"/>
                  <a:pt x="2949" y="1167"/>
                  <a:pt x="3167" y="1203"/>
                </a:cubicBezTo>
                <a:cubicBezTo>
                  <a:pt x="3501" y="1465"/>
                  <a:pt x="3798" y="1763"/>
                  <a:pt x="4036" y="2037"/>
                </a:cubicBezTo>
                <a:cubicBezTo>
                  <a:pt x="4798" y="2918"/>
                  <a:pt x="5227" y="3823"/>
                  <a:pt x="5251" y="3966"/>
                </a:cubicBezTo>
                <a:lnTo>
                  <a:pt x="5251" y="4061"/>
                </a:lnTo>
                <a:cubicBezTo>
                  <a:pt x="5227" y="4085"/>
                  <a:pt x="5215" y="4120"/>
                  <a:pt x="5203" y="4168"/>
                </a:cubicBezTo>
                <a:cubicBezTo>
                  <a:pt x="5120" y="4168"/>
                  <a:pt x="4867" y="4174"/>
                  <a:pt x="4525" y="4174"/>
                </a:cubicBezTo>
                <a:cubicBezTo>
                  <a:pt x="4182" y="4174"/>
                  <a:pt x="3751" y="4168"/>
                  <a:pt x="3310" y="4144"/>
                </a:cubicBezTo>
                <a:cubicBezTo>
                  <a:pt x="2751" y="4085"/>
                  <a:pt x="1369" y="3966"/>
                  <a:pt x="1096" y="3608"/>
                </a:cubicBezTo>
                <a:cubicBezTo>
                  <a:pt x="1072" y="3573"/>
                  <a:pt x="1048" y="3525"/>
                  <a:pt x="1072" y="3465"/>
                </a:cubicBezTo>
                <a:cubicBezTo>
                  <a:pt x="1262" y="2894"/>
                  <a:pt x="1143" y="2382"/>
                  <a:pt x="953" y="1930"/>
                </a:cubicBezTo>
                <a:cubicBezTo>
                  <a:pt x="965" y="1870"/>
                  <a:pt x="1096" y="1465"/>
                  <a:pt x="1727" y="1263"/>
                </a:cubicBezTo>
                <a:cubicBezTo>
                  <a:pt x="1798" y="1227"/>
                  <a:pt x="1858" y="1156"/>
                  <a:pt x="1846" y="1072"/>
                </a:cubicBezTo>
                <a:cubicBezTo>
                  <a:pt x="1825" y="981"/>
                  <a:pt x="1753" y="924"/>
                  <a:pt x="1666" y="924"/>
                </a:cubicBezTo>
                <a:cubicBezTo>
                  <a:pt x="1651" y="924"/>
                  <a:pt x="1635" y="926"/>
                  <a:pt x="1619" y="929"/>
                </a:cubicBezTo>
                <a:cubicBezTo>
                  <a:pt x="1155" y="1084"/>
                  <a:pt x="905" y="1346"/>
                  <a:pt x="774" y="1549"/>
                </a:cubicBezTo>
                <a:lnTo>
                  <a:pt x="631" y="1322"/>
                </a:lnTo>
                <a:cubicBezTo>
                  <a:pt x="500" y="1072"/>
                  <a:pt x="369" y="846"/>
                  <a:pt x="369" y="691"/>
                </a:cubicBezTo>
                <a:cubicBezTo>
                  <a:pt x="369" y="620"/>
                  <a:pt x="369" y="537"/>
                  <a:pt x="429" y="477"/>
                </a:cubicBezTo>
                <a:cubicBezTo>
                  <a:pt x="500" y="382"/>
                  <a:pt x="667" y="334"/>
                  <a:pt x="917" y="334"/>
                </a:cubicBezTo>
                <a:close/>
                <a:moveTo>
                  <a:pt x="6680" y="4478"/>
                </a:moveTo>
                <a:lnTo>
                  <a:pt x="8751" y="5716"/>
                </a:lnTo>
                <a:lnTo>
                  <a:pt x="8751" y="5716"/>
                </a:lnTo>
                <a:lnTo>
                  <a:pt x="7108" y="5609"/>
                </a:lnTo>
                <a:lnTo>
                  <a:pt x="6501" y="4870"/>
                </a:lnTo>
                <a:lnTo>
                  <a:pt x="6453" y="4478"/>
                </a:lnTo>
                <a:close/>
                <a:moveTo>
                  <a:pt x="5120" y="4478"/>
                </a:moveTo>
                <a:cubicBezTo>
                  <a:pt x="5096" y="4597"/>
                  <a:pt x="5084" y="4728"/>
                  <a:pt x="5072" y="4882"/>
                </a:cubicBezTo>
                <a:lnTo>
                  <a:pt x="4441" y="5609"/>
                </a:lnTo>
                <a:lnTo>
                  <a:pt x="2810" y="5716"/>
                </a:lnTo>
                <a:lnTo>
                  <a:pt x="4882" y="4478"/>
                </a:lnTo>
                <a:close/>
                <a:moveTo>
                  <a:pt x="2322" y="4358"/>
                </a:moveTo>
                <a:cubicBezTo>
                  <a:pt x="2596" y="4394"/>
                  <a:pt x="2929" y="4430"/>
                  <a:pt x="3298" y="4442"/>
                </a:cubicBezTo>
                <a:cubicBezTo>
                  <a:pt x="3632" y="4466"/>
                  <a:pt x="3941" y="4478"/>
                  <a:pt x="4227" y="4478"/>
                </a:cubicBezTo>
                <a:lnTo>
                  <a:pt x="2060" y="5751"/>
                </a:lnTo>
                <a:lnTo>
                  <a:pt x="1381" y="5799"/>
                </a:lnTo>
                <a:cubicBezTo>
                  <a:pt x="1453" y="5275"/>
                  <a:pt x="1786" y="4775"/>
                  <a:pt x="2322" y="4358"/>
                </a:cubicBezTo>
                <a:close/>
                <a:moveTo>
                  <a:pt x="9239" y="4370"/>
                </a:moveTo>
                <a:cubicBezTo>
                  <a:pt x="9787" y="4775"/>
                  <a:pt x="10097" y="5275"/>
                  <a:pt x="10180" y="5811"/>
                </a:cubicBezTo>
                <a:lnTo>
                  <a:pt x="9489" y="5775"/>
                </a:lnTo>
                <a:lnTo>
                  <a:pt x="7334" y="4489"/>
                </a:lnTo>
                <a:cubicBezTo>
                  <a:pt x="7620" y="4489"/>
                  <a:pt x="7930" y="4478"/>
                  <a:pt x="8251" y="4466"/>
                </a:cubicBezTo>
                <a:cubicBezTo>
                  <a:pt x="8632" y="4442"/>
                  <a:pt x="8954" y="4418"/>
                  <a:pt x="9239" y="4370"/>
                </a:cubicBezTo>
                <a:close/>
                <a:moveTo>
                  <a:pt x="5787" y="3942"/>
                </a:moveTo>
                <a:cubicBezTo>
                  <a:pt x="5846" y="3942"/>
                  <a:pt x="5953" y="4025"/>
                  <a:pt x="6013" y="4180"/>
                </a:cubicBezTo>
                <a:cubicBezTo>
                  <a:pt x="6096" y="4370"/>
                  <a:pt x="6156" y="4656"/>
                  <a:pt x="6156" y="4930"/>
                </a:cubicBezTo>
                <a:cubicBezTo>
                  <a:pt x="6156" y="5216"/>
                  <a:pt x="6108" y="5501"/>
                  <a:pt x="6013" y="5692"/>
                </a:cubicBezTo>
                <a:cubicBezTo>
                  <a:pt x="5953" y="5847"/>
                  <a:pt x="5858" y="5930"/>
                  <a:pt x="5787" y="5930"/>
                </a:cubicBezTo>
                <a:cubicBezTo>
                  <a:pt x="5715" y="5930"/>
                  <a:pt x="5620" y="5847"/>
                  <a:pt x="5560" y="5692"/>
                </a:cubicBezTo>
                <a:cubicBezTo>
                  <a:pt x="5477" y="5501"/>
                  <a:pt x="5418" y="5216"/>
                  <a:pt x="5418" y="4930"/>
                </a:cubicBezTo>
                <a:cubicBezTo>
                  <a:pt x="5418" y="4656"/>
                  <a:pt x="5453" y="4370"/>
                  <a:pt x="5560" y="4180"/>
                </a:cubicBezTo>
                <a:cubicBezTo>
                  <a:pt x="5632" y="4025"/>
                  <a:pt x="5727" y="3942"/>
                  <a:pt x="5787" y="3942"/>
                </a:cubicBezTo>
                <a:close/>
                <a:moveTo>
                  <a:pt x="5096" y="5370"/>
                </a:moveTo>
                <a:cubicBezTo>
                  <a:pt x="5179" y="5787"/>
                  <a:pt x="5334" y="6097"/>
                  <a:pt x="5548" y="6216"/>
                </a:cubicBezTo>
                <a:cubicBezTo>
                  <a:pt x="5477" y="6442"/>
                  <a:pt x="5298" y="6859"/>
                  <a:pt x="5084" y="7275"/>
                </a:cubicBezTo>
                <a:cubicBezTo>
                  <a:pt x="4906" y="7633"/>
                  <a:pt x="4739" y="7895"/>
                  <a:pt x="4584" y="8109"/>
                </a:cubicBezTo>
                <a:cubicBezTo>
                  <a:pt x="4358" y="8407"/>
                  <a:pt x="4203" y="8442"/>
                  <a:pt x="4144" y="8466"/>
                </a:cubicBezTo>
                <a:cubicBezTo>
                  <a:pt x="4068" y="8471"/>
                  <a:pt x="3994" y="8474"/>
                  <a:pt x="3920" y="8474"/>
                </a:cubicBezTo>
                <a:cubicBezTo>
                  <a:pt x="3493" y="8474"/>
                  <a:pt x="3094" y="8384"/>
                  <a:pt x="2739" y="8180"/>
                </a:cubicBezTo>
                <a:lnTo>
                  <a:pt x="2977" y="7895"/>
                </a:lnTo>
                <a:cubicBezTo>
                  <a:pt x="3036" y="7823"/>
                  <a:pt x="3012" y="7716"/>
                  <a:pt x="2953" y="7656"/>
                </a:cubicBezTo>
                <a:cubicBezTo>
                  <a:pt x="2924" y="7632"/>
                  <a:pt x="2889" y="7622"/>
                  <a:pt x="2854" y="7622"/>
                </a:cubicBezTo>
                <a:cubicBezTo>
                  <a:pt x="2803" y="7622"/>
                  <a:pt x="2750" y="7645"/>
                  <a:pt x="2715" y="7680"/>
                </a:cubicBezTo>
                <a:lnTo>
                  <a:pt x="2453" y="7990"/>
                </a:lnTo>
                <a:cubicBezTo>
                  <a:pt x="2215" y="7811"/>
                  <a:pt x="1989" y="7573"/>
                  <a:pt x="1786" y="7275"/>
                </a:cubicBezTo>
                <a:cubicBezTo>
                  <a:pt x="1524" y="6918"/>
                  <a:pt x="1393" y="6525"/>
                  <a:pt x="1369" y="6156"/>
                </a:cubicBezTo>
                <a:lnTo>
                  <a:pt x="4144" y="5978"/>
                </a:lnTo>
                <a:lnTo>
                  <a:pt x="3179" y="7121"/>
                </a:lnTo>
                <a:cubicBezTo>
                  <a:pt x="3120" y="7204"/>
                  <a:pt x="3132" y="7299"/>
                  <a:pt x="3191" y="7359"/>
                </a:cubicBezTo>
                <a:cubicBezTo>
                  <a:pt x="3227" y="7395"/>
                  <a:pt x="3274" y="7406"/>
                  <a:pt x="3298" y="7406"/>
                </a:cubicBezTo>
                <a:cubicBezTo>
                  <a:pt x="3346" y="7406"/>
                  <a:pt x="3393" y="7395"/>
                  <a:pt x="3429" y="7347"/>
                </a:cubicBezTo>
                <a:lnTo>
                  <a:pt x="5096" y="5370"/>
                </a:lnTo>
                <a:close/>
                <a:moveTo>
                  <a:pt x="6465" y="5370"/>
                </a:moveTo>
                <a:lnTo>
                  <a:pt x="8132" y="7335"/>
                </a:lnTo>
                <a:cubicBezTo>
                  <a:pt x="8168" y="7371"/>
                  <a:pt x="8215" y="7395"/>
                  <a:pt x="8275" y="7395"/>
                </a:cubicBezTo>
                <a:cubicBezTo>
                  <a:pt x="8311" y="7395"/>
                  <a:pt x="8346" y="7371"/>
                  <a:pt x="8370" y="7347"/>
                </a:cubicBezTo>
                <a:cubicBezTo>
                  <a:pt x="8454" y="7287"/>
                  <a:pt x="8454" y="7180"/>
                  <a:pt x="8394" y="7109"/>
                </a:cubicBezTo>
                <a:lnTo>
                  <a:pt x="7418" y="5966"/>
                </a:lnTo>
                <a:lnTo>
                  <a:pt x="10204" y="6144"/>
                </a:lnTo>
                <a:cubicBezTo>
                  <a:pt x="10180" y="6513"/>
                  <a:pt x="10037" y="6906"/>
                  <a:pt x="9787" y="7275"/>
                </a:cubicBezTo>
                <a:cubicBezTo>
                  <a:pt x="9585" y="7573"/>
                  <a:pt x="9358" y="7811"/>
                  <a:pt x="9120" y="7990"/>
                </a:cubicBezTo>
                <a:lnTo>
                  <a:pt x="8847" y="7668"/>
                </a:lnTo>
                <a:cubicBezTo>
                  <a:pt x="8815" y="7631"/>
                  <a:pt x="8774" y="7613"/>
                  <a:pt x="8731" y="7613"/>
                </a:cubicBezTo>
                <a:cubicBezTo>
                  <a:pt x="8691" y="7613"/>
                  <a:pt x="8648" y="7628"/>
                  <a:pt x="8608" y="7656"/>
                </a:cubicBezTo>
                <a:cubicBezTo>
                  <a:pt x="8537" y="7716"/>
                  <a:pt x="8537" y="7823"/>
                  <a:pt x="8596" y="7895"/>
                </a:cubicBezTo>
                <a:lnTo>
                  <a:pt x="8835" y="8180"/>
                </a:lnTo>
                <a:cubicBezTo>
                  <a:pt x="8479" y="8384"/>
                  <a:pt x="8080" y="8474"/>
                  <a:pt x="7645" y="8474"/>
                </a:cubicBezTo>
                <a:cubicBezTo>
                  <a:pt x="7571" y="8474"/>
                  <a:pt x="7495" y="8471"/>
                  <a:pt x="7418" y="8466"/>
                </a:cubicBezTo>
                <a:cubicBezTo>
                  <a:pt x="7358" y="8466"/>
                  <a:pt x="7215" y="8407"/>
                  <a:pt x="6989" y="8109"/>
                </a:cubicBezTo>
                <a:cubicBezTo>
                  <a:pt x="6822" y="7895"/>
                  <a:pt x="6668" y="7609"/>
                  <a:pt x="6489" y="7275"/>
                </a:cubicBezTo>
                <a:cubicBezTo>
                  <a:pt x="6275" y="6859"/>
                  <a:pt x="6096" y="6442"/>
                  <a:pt x="6013" y="6216"/>
                </a:cubicBezTo>
                <a:cubicBezTo>
                  <a:pt x="6227" y="6097"/>
                  <a:pt x="6394" y="5763"/>
                  <a:pt x="6465" y="5370"/>
                </a:cubicBezTo>
                <a:close/>
                <a:moveTo>
                  <a:pt x="869" y="1"/>
                </a:moveTo>
                <a:cubicBezTo>
                  <a:pt x="500" y="1"/>
                  <a:pt x="262" y="84"/>
                  <a:pt x="119" y="263"/>
                </a:cubicBezTo>
                <a:cubicBezTo>
                  <a:pt x="0" y="429"/>
                  <a:pt x="0" y="608"/>
                  <a:pt x="0" y="703"/>
                </a:cubicBezTo>
                <a:cubicBezTo>
                  <a:pt x="0" y="953"/>
                  <a:pt x="143" y="1203"/>
                  <a:pt x="310" y="1501"/>
                </a:cubicBezTo>
                <a:cubicBezTo>
                  <a:pt x="595" y="2001"/>
                  <a:pt x="965" y="2644"/>
                  <a:pt x="715" y="3358"/>
                </a:cubicBezTo>
                <a:cubicBezTo>
                  <a:pt x="655" y="3525"/>
                  <a:pt x="679" y="3680"/>
                  <a:pt x="786" y="3823"/>
                </a:cubicBezTo>
                <a:cubicBezTo>
                  <a:pt x="929" y="4025"/>
                  <a:pt x="1286" y="4192"/>
                  <a:pt x="1822" y="4299"/>
                </a:cubicBezTo>
                <a:cubicBezTo>
                  <a:pt x="857" y="5156"/>
                  <a:pt x="715" y="6394"/>
                  <a:pt x="1453" y="7466"/>
                </a:cubicBezTo>
                <a:cubicBezTo>
                  <a:pt x="1858" y="8026"/>
                  <a:pt x="2322" y="8418"/>
                  <a:pt x="2834" y="8621"/>
                </a:cubicBezTo>
                <a:cubicBezTo>
                  <a:pt x="3155" y="8740"/>
                  <a:pt x="3477" y="8799"/>
                  <a:pt x="3834" y="8799"/>
                </a:cubicBezTo>
                <a:cubicBezTo>
                  <a:pt x="3929" y="8799"/>
                  <a:pt x="4024" y="8799"/>
                  <a:pt x="4120" y="8788"/>
                </a:cubicBezTo>
                <a:cubicBezTo>
                  <a:pt x="4322" y="8776"/>
                  <a:pt x="4548" y="8609"/>
                  <a:pt x="4786" y="8311"/>
                </a:cubicBezTo>
                <a:cubicBezTo>
                  <a:pt x="4953" y="8085"/>
                  <a:pt x="5144" y="7787"/>
                  <a:pt x="5322" y="7418"/>
                </a:cubicBezTo>
                <a:cubicBezTo>
                  <a:pt x="5418" y="7252"/>
                  <a:pt x="5489" y="7097"/>
                  <a:pt x="5548" y="6942"/>
                </a:cubicBezTo>
                <a:lnTo>
                  <a:pt x="5548" y="7537"/>
                </a:lnTo>
                <a:cubicBezTo>
                  <a:pt x="5548" y="7633"/>
                  <a:pt x="5620" y="7704"/>
                  <a:pt x="5715" y="7704"/>
                </a:cubicBezTo>
                <a:cubicBezTo>
                  <a:pt x="5799" y="7704"/>
                  <a:pt x="5870" y="7633"/>
                  <a:pt x="5870" y="7537"/>
                </a:cubicBezTo>
                <a:lnTo>
                  <a:pt x="5870" y="6954"/>
                </a:lnTo>
                <a:cubicBezTo>
                  <a:pt x="5929" y="7109"/>
                  <a:pt x="6013" y="7252"/>
                  <a:pt x="6096" y="7418"/>
                </a:cubicBezTo>
                <a:cubicBezTo>
                  <a:pt x="6287" y="7787"/>
                  <a:pt x="6465" y="8085"/>
                  <a:pt x="6632" y="8311"/>
                </a:cubicBezTo>
                <a:cubicBezTo>
                  <a:pt x="6870" y="8621"/>
                  <a:pt x="7096" y="8776"/>
                  <a:pt x="7299" y="8788"/>
                </a:cubicBezTo>
                <a:cubicBezTo>
                  <a:pt x="7406" y="8799"/>
                  <a:pt x="7501" y="8799"/>
                  <a:pt x="7584" y="8799"/>
                </a:cubicBezTo>
                <a:cubicBezTo>
                  <a:pt x="7942" y="8799"/>
                  <a:pt x="8275" y="8740"/>
                  <a:pt x="8585" y="8621"/>
                </a:cubicBezTo>
                <a:cubicBezTo>
                  <a:pt x="9108" y="8418"/>
                  <a:pt x="9585" y="8026"/>
                  <a:pt x="9966" y="7466"/>
                </a:cubicBezTo>
                <a:cubicBezTo>
                  <a:pt x="10728" y="6394"/>
                  <a:pt x="10561" y="5156"/>
                  <a:pt x="9597" y="4299"/>
                </a:cubicBezTo>
                <a:cubicBezTo>
                  <a:pt x="10144" y="4192"/>
                  <a:pt x="10490" y="4025"/>
                  <a:pt x="10632" y="3823"/>
                </a:cubicBezTo>
                <a:cubicBezTo>
                  <a:pt x="10740" y="3680"/>
                  <a:pt x="10775" y="3525"/>
                  <a:pt x="10716" y="3358"/>
                </a:cubicBezTo>
                <a:cubicBezTo>
                  <a:pt x="10478" y="2644"/>
                  <a:pt x="10835" y="2001"/>
                  <a:pt x="11109" y="1501"/>
                </a:cubicBezTo>
                <a:cubicBezTo>
                  <a:pt x="11275" y="1203"/>
                  <a:pt x="11430" y="941"/>
                  <a:pt x="11430" y="703"/>
                </a:cubicBezTo>
                <a:cubicBezTo>
                  <a:pt x="11525" y="608"/>
                  <a:pt x="11525" y="406"/>
                  <a:pt x="11394" y="263"/>
                </a:cubicBezTo>
                <a:cubicBezTo>
                  <a:pt x="11252" y="84"/>
                  <a:pt x="11013" y="1"/>
                  <a:pt x="10632" y="1"/>
                </a:cubicBezTo>
                <a:cubicBezTo>
                  <a:pt x="9120" y="1"/>
                  <a:pt x="7942" y="989"/>
                  <a:pt x="7215" y="1846"/>
                </a:cubicBezTo>
                <a:cubicBezTo>
                  <a:pt x="6787" y="2346"/>
                  <a:pt x="6465" y="2834"/>
                  <a:pt x="6287" y="3144"/>
                </a:cubicBezTo>
                <a:cubicBezTo>
                  <a:pt x="6275" y="3168"/>
                  <a:pt x="6275" y="3180"/>
                  <a:pt x="6263" y="3204"/>
                </a:cubicBezTo>
                <a:cubicBezTo>
                  <a:pt x="6227" y="3132"/>
                  <a:pt x="6180" y="3061"/>
                  <a:pt x="6120" y="3013"/>
                </a:cubicBezTo>
                <a:cubicBezTo>
                  <a:pt x="6168" y="2846"/>
                  <a:pt x="6287" y="2442"/>
                  <a:pt x="6441" y="2013"/>
                </a:cubicBezTo>
                <a:cubicBezTo>
                  <a:pt x="6775" y="1084"/>
                  <a:pt x="6977" y="1049"/>
                  <a:pt x="6977" y="1049"/>
                </a:cubicBezTo>
                <a:cubicBezTo>
                  <a:pt x="6977" y="1049"/>
                  <a:pt x="7001" y="1060"/>
                  <a:pt x="7049" y="1144"/>
                </a:cubicBezTo>
                <a:cubicBezTo>
                  <a:pt x="7081" y="1193"/>
                  <a:pt x="7136" y="1225"/>
                  <a:pt x="7195" y="1225"/>
                </a:cubicBezTo>
                <a:cubicBezTo>
                  <a:pt x="7221" y="1225"/>
                  <a:pt x="7249" y="1218"/>
                  <a:pt x="7275" y="1203"/>
                </a:cubicBezTo>
                <a:cubicBezTo>
                  <a:pt x="7346" y="1156"/>
                  <a:pt x="7382" y="1049"/>
                  <a:pt x="7334" y="977"/>
                </a:cubicBezTo>
                <a:cubicBezTo>
                  <a:pt x="7205" y="779"/>
                  <a:pt x="7068" y="721"/>
                  <a:pt x="6971" y="721"/>
                </a:cubicBezTo>
                <a:cubicBezTo>
                  <a:pt x="6951" y="721"/>
                  <a:pt x="6934" y="723"/>
                  <a:pt x="6918" y="727"/>
                </a:cubicBezTo>
                <a:cubicBezTo>
                  <a:pt x="6561" y="763"/>
                  <a:pt x="6287" y="1394"/>
                  <a:pt x="6096" y="1930"/>
                </a:cubicBezTo>
                <a:cubicBezTo>
                  <a:pt x="5965" y="2311"/>
                  <a:pt x="5858" y="2692"/>
                  <a:pt x="5799" y="2870"/>
                </a:cubicBezTo>
                <a:lnTo>
                  <a:pt x="5715" y="2870"/>
                </a:lnTo>
                <a:cubicBezTo>
                  <a:pt x="5668" y="2668"/>
                  <a:pt x="5548" y="2299"/>
                  <a:pt x="5418" y="1930"/>
                </a:cubicBezTo>
                <a:cubicBezTo>
                  <a:pt x="5215" y="1394"/>
                  <a:pt x="4953" y="763"/>
                  <a:pt x="4596" y="727"/>
                </a:cubicBezTo>
                <a:cubicBezTo>
                  <a:pt x="4576" y="723"/>
                  <a:pt x="4555" y="721"/>
                  <a:pt x="4533" y="721"/>
                </a:cubicBezTo>
                <a:cubicBezTo>
                  <a:pt x="4422" y="721"/>
                  <a:pt x="4288" y="779"/>
                  <a:pt x="4179" y="977"/>
                </a:cubicBezTo>
                <a:cubicBezTo>
                  <a:pt x="4132" y="1049"/>
                  <a:pt x="4167" y="1156"/>
                  <a:pt x="4239" y="1203"/>
                </a:cubicBezTo>
                <a:cubicBezTo>
                  <a:pt x="4261" y="1214"/>
                  <a:pt x="4286" y="1220"/>
                  <a:pt x="4313" y="1220"/>
                </a:cubicBezTo>
                <a:cubicBezTo>
                  <a:pt x="4371" y="1220"/>
                  <a:pt x="4432" y="1193"/>
                  <a:pt x="4465" y="1144"/>
                </a:cubicBezTo>
                <a:cubicBezTo>
                  <a:pt x="4501" y="1049"/>
                  <a:pt x="4536" y="1049"/>
                  <a:pt x="4536" y="1049"/>
                </a:cubicBezTo>
                <a:cubicBezTo>
                  <a:pt x="4536" y="1049"/>
                  <a:pt x="4727" y="1084"/>
                  <a:pt x="5072" y="2013"/>
                </a:cubicBezTo>
                <a:cubicBezTo>
                  <a:pt x="5215" y="2430"/>
                  <a:pt x="5334" y="2846"/>
                  <a:pt x="5382" y="3013"/>
                </a:cubicBezTo>
                <a:cubicBezTo>
                  <a:pt x="5322" y="3073"/>
                  <a:pt x="5275" y="3132"/>
                  <a:pt x="5251" y="3204"/>
                </a:cubicBezTo>
                <a:cubicBezTo>
                  <a:pt x="5239" y="3180"/>
                  <a:pt x="5215" y="3168"/>
                  <a:pt x="5215" y="3144"/>
                </a:cubicBezTo>
                <a:cubicBezTo>
                  <a:pt x="5037" y="2834"/>
                  <a:pt x="4727" y="2346"/>
                  <a:pt x="4298" y="1846"/>
                </a:cubicBezTo>
                <a:cubicBezTo>
                  <a:pt x="3584" y="989"/>
                  <a:pt x="2393" y="1"/>
                  <a:pt x="86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13" name="Google Shape;12913;p63"/>
          <p:cNvGrpSpPr/>
          <p:nvPr/>
        </p:nvGrpSpPr>
        <p:grpSpPr>
          <a:xfrm>
            <a:off x="3050317" y="2893714"/>
            <a:ext cx="367712" cy="354240"/>
            <a:chOff x="3050317" y="2893714"/>
            <a:chExt cx="367712" cy="354240"/>
          </a:xfrm>
        </p:grpSpPr>
        <p:sp>
          <p:nvSpPr>
            <p:cNvPr id="12914" name="Google Shape;12914;p63"/>
            <p:cNvSpPr/>
            <p:nvPr/>
          </p:nvSpPr>
          <p:spPr>
            <a:xfrm>
              <a:off x="3079661" y="2945010"/>
              <a:ext cx="33184" cy="33184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46"/>
                  </a:moveTo>
                  <a:cubicBezTo>
                    <a:pt x="620" y="346"/>
                    <a:pt x="703" y="430"/>
                    <a:pt x="703" y="537"/>
                  </a:cubicBezTo>
                  <a:cubicBezTo>
                    <a:pt x="691" y="644"/>
                    <a:pt x="620" y="727"/>
                    <a:pt x="513" y="727"/>
                  </a:cubicBezTo>
                  <a:cubicBezTo>
                    <a:pt x="405" y="727"/>
                    <a:pt x="322" y="644"/>
                    <a:pt x="322" y="537"/>
                  </a:cubicBezTo>
                  <a:cubicBezTo>
                    <a:pt x="322" y="430"/>
                    <a:pt x="417" y="346"/>
                    <a:pt x="513" y="346"/>
                  </a:cubicBezTo>
                  <a:close/>
                  <a:moveTo>
                    <a:pt x="513" y="1"/>
                  </a:moveTo>
                  <a:cubicBezTo>
                    <a:pt x="215" y="1"/>
                    <a:pt x="1" y="239"/>
                    <a:pt x="1" y="513"/>
                  </a:cubicBezTo>
                  <a:cubicBezTo>
                    <a:pt x="1" y="811"/>
                    <a:pt x="239" y="1037"/>
                    <a:pt x="513" y="1037"/>
                  </a:cubicBezTo>
                  <a:cubicBezTo>
                    <a:pt x="810" y="1037"/>
                    <a:pt x="1037" y="799"/>
                    <a:pt x="1037" y="513"/>
                  </a:cubicBezTo>
                  <a:cubicBezTo>
                    <a:pt x="1037" y="239"/>
                    <a:pt x="798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5" name="Google Shape;12915;p63"/>
            <p:cNvSpPr/>
            <p:nvPr/>
          </p:nvSpPr>
          <p:spPr>
            <a:xfrm>
              <a:off x="3050317" y="2893714"/>
              <a:ext cx="367712" cy="354240"/>
            </a:xfrm>
            <a:custGeom>
              <a:avLst/>
              <a:gdLst/>
              <a:ahLst/>
              <a:cxnLst/>
              <a:rect l="l" t="t" r="r" b="b"/>
              <a:pathLst>
                <a:path w="11491" h="11070" extrusionOk="0">
                  <a:moveTo>
                    <a:pt x="4156" y="5604"/>
                  </a:moveTo>
                  <a:lnTo>
                    <a:pt x="4156" y="5676"/>
                  </a:lnTo>
                  <a:cubicBezTo>
                    <a:pt x="4156" y="5795"/>
                    <a:pt x="4168" y="5902"/>
                    <a:pt x="4192" y="6021"/>
                  </a:cubicBezTo>
                  <a:lnTo>
                    <a:pt x="3847" y="5914"/>
                  </a:lnTo>
                  <a:cubicBezTo>
                    <a:pt x="3799" y="5902"/>
                    <a:pt x="3787" y="5854"/>
                    <a:pt x="3787" y="5843"/>
                  </a:cubicBezTo>
                  <a:cubicBezTo>
                    <a:pt x="3787" y="5831"/>
                    <a:pt x="3787" y="5783"/>
                    <a:pt x="3835" y="5771"/>
                  </a:cubicBezTo>
                  <a:lnTo>
                    <a:pt x="4156" y="5604"/>
                  </a:lnTo>
                  <a:close/>
                  <a:moveTo>
                    <a:pt x="4430" y="8748"/>
                  </a:moveTo>
                  <a:cubicBezTo>
                    <a:pt x="4501" y="8867"/>
                    <a:pt x="4585" y="8986"/>
                    <a:pt x="4692" y="9069"/>
                  </a:cubicBezTo>
                  <a:lnTo>
                    <a:pt x="4335" y="9188"/>
                  </a:lnTo>
                  <a:cubicBezTo>
                    <a:pt x="4323" y="9194"/>
                    <a:pt x="4313" y="9196"/>
                    <a:pt x="4304" y="9196"/>
                  </a:cubicBezTo>
                  <a:cubicBezTo>
                    <a:pt x="4276" y="9196"/>
                    <a:pt x="4260" y="9173"/>
                    <a:pt x="4251" y="9164"/>
                  </a:cubicBezTo>
                  <a:cubicBezTo>
                    <a:pt x="4228" y="9141"/>
                    <a:pt x="4216" y="9117"/>
                    <a:pt x="4251" y="9069"/>
                  </a:cubicBezTo>
                  <a:lnTo>
                    <a:pt x="4430" y="8748"/>
                  </a:lnTo>
                  <a:close/>
                  <a:moveTo>
                    <a:pt x="10657" y="9295"/>
                  </a:moveTo>
                  <a:lnTo>
                    <a:pt x="10681" y="9545"/>
                  </a:lnTo>
                  <a:cubicBezTo>
                    <a:pt x="10693" y="9593"/>
                    <a:pt x="10645" y="9605"/>
                    <a:pt x="10633" y="9629"/>
                  </a:cubicBezTo>
                  <a:cubicBezTo>
                    <a:pt x="10628" y="9629"/>
                    <a:pt x="10618" y="9631"/>
                    <a:pt x="10605" y="9631"/>
                  </a:cubicBezTo>
                  <a:cubicBezTo>
                    <a:pt x="10585" y="9631"/>
                    <a:pt x="10559" y="9626"/>
                    <a:pt x="10538" y="9605"/>
                  </a:cubicBezTo>
                  <a:lnTo>
                    <a:pt x="10347" y="9426"/>
                  </a:lnTo>
                  <a:cubicBezTo>
                    <a:pt x="10455" y="9402"/>
                    <a:pt x="10562" y="9355"/>
                    <a:pt x="10657" y="9295"/>
                  </a:cubicBezTo>
                  <a:close/>
                  <a:moveTo>
                    <a:pt x="3847" y="1128"/>
                  </a:moveTo>
                  <a:cubicBezTo>
                    <a:pt x="4454" y="1128"/>
                    <a:pt x="4978" y="1556"/>
                    <a:pt x="5097" y="2152"/>
                  </a:cubicBezTo>
                  <a:cubicBezTo>
                    <a:pt x="5097" y="2175"/>
                    <a:pt x="5097" y="2235"/>
                    <a:pt x="5073" y="2330"/>
                  </a:cubicBezTo>
                  <a:cubicBezTo>
                    <a:pt x="5061" y="2414"/>
                    <a:pt x="5121" y="2509"/>
                    <a:pt x="5216" y="2521"/>
                  </a:cubicBezTo>
                  <a:lnTo>
                    <a:pt x="5240" y="2521"/>
                  </a:lnTo>
                  <a:cubicBezTo>
                    <a:pt x="5311" y="2521"/>
                    <a:pt x="5394" y="2461"/>
                    <a:pt x="5406" y="2390"/>
                  </a:cubicBezTo>
                  <a:cubicBezTo>
                    <a:pt x="5418" y="2330"/>
                    <a:pt x="5418" y="2283"/>
                    <a:pt x="5418" y="2259"/>
                  </a:cubicBezTo>
                  <a:cubicBezTo>
                    <a:pt x="5549" y="2211"/>
                    <a:pt x="5692" y="2199"/>
                    <a:pt x="5823" y="2199"/>
                  </a:cubicBezTo>
                  <a:cubicBezTo>
                    <a:pt x="6526" y="2199"/>
                    <a:pt x="7085" y="2759"/>
                    <a:pt x="7085" y="3461"/>
                  </a:cubicBezTo>
                  <a:cubicBezTo>
                    <a:pt x="7085" y="3854"/>
                    <a:pt x="6907" y="4223"/>
                    <a:pt x="6597" y="4461"/>
                  </a:cubicBezTo>
                  <a:cubicBezTo>
                    <a:pt x="6537" y="4473"/>
                    <a:pt x="6490" y="4497"/>
                    <a:pt x="6430" y="4521"/>
                  </a:cubicBezTo>
                  <a:cubicBezTo>
                    <a:pt x="6347" y="4545"/>
                    <a:pt x="6299" y="4640"/>
                    <a:pt x="6311" y="4723"/>
                  </a:cubicBezTo>
                  <a:cubicBezTo>
                    <a:pt x="6335" y="4795"/>
                    <a:pt x="6406" y="4842"/>
                    <a:pt x="6478" y="4842"/>
                  </a:cubicBezTo>
                  <a:lnTo>
                    <a:pt x="6526" y="4842"/>
                  </a:lnTo>
                  <a:cubicBezTo>
                    <a:pt x="6573" y="4831"/>
                    <a:pt x="6597" y="4819"/>
                    <a:pt x="6645" y="4795"/>
                  </a:cubicBezTo>
                  <a:cubicBezTo>
                    <a:pt x="6895" y="5045"/>
                    <a:pt x="7049" y="5366"/>
                    <a:pt x="7049" y="5723"/>
                  </a:cubicBezTo>
                  <a:cubicBezTo>
                    <a:pt x="7049" y="6081"/>
                    <a:pt x="6895" y="6426"/>
                    <a:pt x="6609" y="6676"/>
                  </a:cubicBezTo>
                  <a:lnTo>
                    <a:pt x="6478" y="6724"/>
                  </a:lnTo>
                  <a:cubicBezTo>
                    <a:pt x="6395" y="6747"/>
                    <a:pt x="6347" y="6843"/>
                    <a:pt x="6371" y="6926"/>
                  </a:cubicBezTo>
                  <a:cubicBezTo>
                    <a:pt x="6406" y="6997"/>
                    <a:pt x="6466" y="7045"/>
                    <a:pt x="6537" y="7045"/>
                  </a:cubicBezTo>
                  <a:cubicBezTo>
                    <a:pt x="6549" y="7045"/>
                    <a:pt x="6573" y="7045"/>
                    <a:pt x="6597" y="7033"/>
                  </a:cubicBezTo>
                  <a:cubicBezTo>
                    <a:pt x="6633" y="7021"/>
                    <a:pt x="6656" y="7021"/>
                    <a:pt x="6692" y="6997"/>
                  </a:cubicBezTo>
                  <a:cubicBezTo>
                    <a:pt x="6847" y="7164"/>
                    <a:pt x="6966" y="7355"/>
                    <a:pt x="7026" y="7581"/>
                  </a:cubicBezTo>
                  <a:lnTo>
                    <a:pt x="7026" y="7759"/>
                  </a:lnTo>
                  <a:cubicBezTo>
                    <a:pt x="7026" y="7855"/>
                    <a:pt x="7109" y="7938"/>
                    <a:pt x="7192" y="7938"/>
                  </a:cubicBezTo>
                  <a:lnTo>
                    <a:pt x="7204" y="7938"/>
                  </a:lnTo>
                  <a:cubicBezTo>
                    <a:pt x="7299" y="7938"/>
                    <a:pt x="7371" y="7867"/>
                    <a:pt x="7371" y="7771"/>
                  </a:cubicBezTo>
                  <a:lnTo>
                    <a:pt x="7371" y="7652"/>
                  </a:lnTo>
                  <a:cubicBezTo>
                    <a:pt x="7538" y="7581"/>
                    <a:pt x="7704" y="7557"/>
                    <a:pt x="7883" y="7557"/>
                  </a:cubicBezTo>
                  <a:cubicBezTo>
                    <a:pt x="8073" y="7557"/>
                    <a:pt x="8264" y="7593"/>
                    <a:pt x="8442" y="7688"/>
                  </a:cubicBezTo>
                  <a:cubicBezTo>
                    <a:pt x="8442" y="7688"/>
                    <a:pt x="8550" y="7736"/>
                    <a:pt x="8681" y="7855"/>
                  </a:cubicBezTo>
                  <a:cubicBezTo>
                    <a:pt x="8716" y="7879"/>
                    <a:pt x="8752" y="7890"/>
                    <a:pt x="8800" y="7890"/>
                  </a:cubicBezTo>
                  <a:cubicBezTo>
                    <a:pt x="8847" y="7890"/>
                    <a:pt x="8895" y="7879"/>
                    <a:pt x="8919" y="7831"/>
                  </a:cubicBezTo>
                  <a:cubicBezTo>
                    <a:pt x="8978" y="7759"/>
                    <a:pt x="8978" y="7652"/>
                    <a:pt x="8907" y="7593"/>
                  </a:cubicBezTo>
                  <a:cubicBezTo>
                    <a:pt x="8823" y="7533"/>
                    <a:pt x="8776" y="7474"/>
                    <a:pt x="8716" y="7450"/>
                  </a:cubicBezTo>
                  <a:cubicBezTo>
                    <a:pt x="8907" y="6974"/>
                    <a:pt x="9371" y="6640"/>
                    <a:pt x="9883" y="6640"/>
                  </a:cubicBezTo>
                  <a:cubicBezTo>
                    <a:pt x="10586" y="6640"/>
                    <a:pt x="11157" y="7212"/>
                    <a:pt x="11157" y="7914"/>
                  </a:cubicBezTo>
                  <a:cubicBezTo>
                    <a:pt x="11157" y="8605"/>
                    <a:pt x="10586" y="9164"/>
                    <a:pt x="9883" y="9164"/>
                  </a:cubicBezTo>
                  <a:cubicBezTo>
                    <a:pt x="9728" y="9164"/>
                    <a:pt x="9574" y="9129"/>
                    <a:pt x="9431" y="9069"/>
                  </a:cubicBezTo>
                  <a:cubicBezTo>
                    <a:pt x="9454" y="8807"/>
                    <a:pt x="9431" y="8533"/>
                    <a:pt x="9371" y="8319"/>
                  </a:cubicBezTo>
                  <a:cubicBezTo>
                    <a:pt x="9342" y="8240"/>
                    <a:pt x="9279" y="8194"/>
                    <a:pt x="9205" y="8194"/>
                  </a:cubicBezTo>
                  <a:cubicBezTo>
                    <a:pt x="9189" y="8194"/>
                    <a:pt x="9173" y="8196"/>
                    <a:pt x="9157" y="8200"/>
                  </a:cubicBezTo>
                  <a:cubicBezTo>
                    <a:pt x="9073" y="8224"/>
                    <a:pt x="9026" y="8319"/>
                    <a:pt x="9038" y="8402"/>
                  </a:cubicBezTo>
                  <a:cubicBezTo>
                    <a:pt x="9097" y="8629"/>
                    <a:pt x="9109" y="8867"/>
                    <a:pt x="9085" y="9129"/>
                  </a:cubicBezTo>
                  <a:cubicBezTo>
                    <a:pt x="8931" y="9664"/>
                    <a:pt x="8431" y="10057"/>
                    <a:pt x="7859" y="10057"/>
                  </a:cubicBezTo>
                  <a:cubicBezTo>
                    <a:pt x="7323" y="10057"/>
                    <a:pt x="6847" y="9712"/>
                    <a:pt x="6668" y="9212"/>
                  </a:cubicBezTo>
                  <a:cubicBezTo>
                    <a:pt x="6811" y="9093"/>
                    <a:pt x="7026" y="8867"/>
                    <a:pt x="7180" y="8510"/>
                  </a:cubicBezTo>
                  <a:cubicBezTo>
                    <a:pt x="7204" y="8414"/>
                    <a:pt x="7180" y="8331"/>
                    <a:pt x="7085" y="8283"/>
                  </a:cubicBezTo>
                  <a:cubicBezTo>
                    <a:pt x="7063" y="8274"/>
                    <a:pt x="7041" y="8270"/>
                    <a:pt x="7019" y="8270"/>
                  </a:cubicBezTo>
                  <a:cubicBezTo>
                    <a:pt x="6956" y="8270"/>
                    <a:pt x="6897" y="8305"/>
                    <a:pt x="6871" y="8367"/>
                  </a:cubicBezTo>
                  <a:cubicBezTo>
                    <a:pt x="6704" y="8760"/>
                    <a:pt x="6430" y="8962"/>
                    <a:pt x="6395" y="9010"/>
                  </a:cubicBezTo>
                  <a:cubicBezTo>
                    <a:pt x="6204" y="9105"/>
                    <a:pt x="6002" y="9164"/>
                    <a:pt x="5799" y="9164"/>
                  </a:cubicBezTo>
                  <a:cubicBezTo>
                    <a:pt x="5097" y="9164"/>
                    <a:pt x="4525" y="8593"/>
                    <a:pt x="4525" y="7890"/>
                  </a:cubicBezTo>
                  <a:cubicBezTo>
                    <a:pt x="4525" y="7557"/>
                    <a:pt x="4656" y="7236"/>
                    <a:pt x="4906" y="6997"/>
                  </a:cubicBezTo>
                  <a:cubicBezTo>
                    <a:pt x="5049" y="7057"/>
                    <a:pt x="5347" y="7152"/>
                    <a:pt x="5740" y="7152"/>
                  </a:cubicBezTo>
                  <a:lnTo>
                    <a:pt x="5847" y="7152"/>
                  </a:lnTo>
                  <a:cubicBezTo>
                    <a:pt x="5942" y="7152"/>
                    <a:pt x="6014" y="7057"/>
                    <a:pt x="6014" y="6974"/>
                  </a:cubicBezTo>
                  <a:cubicBezTo>
                    <a:pt x="6014" y="6878"/>
                    <a:pt x="5930" y="6807"/>
                    <a:pt x="5835" y="6807"/>
                  </a:cubicBezTo>
                  <a:cubicBezTo>
                    <a:pt x="5814" y="6807"/>
                    <a:pt x="5794" y="6808"/>
                    <a:pt x="5774" y="6808"/>
                  </a:cubicBezTo>
                  <a:cubicBezTo>
                    <a:pt x="5331" y="6808"/>
                    <a:pt x="5034" y="6687"/>
                    <a:pt x="4954" y="6664"/>
                  </a:cubicBezTo>
                  <a:cubicBezTo>
                    <a:pt x="4680" y="6426"/>
                    <a:pt x="4513" y="6069"/>
                    <a:pt x="4513" y="5688"/>
                  </a:cubicBezTo>
                  <a:cubicBezTo>
                    <a:pt x="4513" y="5319"/>
                    <a:pt x="4680" y="4973"/>
                    <a:pt x="4942" y="4735"/>
                  </a:cubicBezTo>
                  <a:cubicBezTo>
                    <a:pt x="5097" y="4795"/>
                    <a:pt x="5371" y="4878"/>
                    <a:pt x="5752" y="4902"/>
                  </a:cubicBezTo>
                  <a:lnTo>
                    <a:pt x="5764" y="4902"/>
                  </a:lnTo>
                  <a:cubicBezTo>
                    <a:pt x="5847" y="4902"/>
                    <a:pt x="5930" y="4831"/>
                    <a:pt x="5930" y="4735"/>
                  </a:cubicBezTo>
                  <a:cubicBezTo>
                    <a:pt x="5930" y="4652"/>
                    <a:pt x="5847" y="4557"/>
                    <a:pt x="5764" y="4557"/>
                  </a:cubicBezTo>
                  <a:cubicBezTo>
                    <a:pt x="5371" y="4545"/>
                    <a:pt x="5073" y="4426"/>
                    <a:pt x="5002" y="4402"/>
                  </a:cubicBezTo>
                  <a:cubicBezTo>
                    <a:pt x="4799" y="4223"/>
                    <a:pt x="4656" y="3997"/>
                    <a:pt x="4585" y="3747"/>
                  </a:cubicBezTo>
                  <a:cubicBezTo>
                    <a:pt x="4811" y="3545"/>
                    <a:pt x="4990" y="3330"/>
                    <a:pt x="5121" y="3092"/>
                  </a:cubicBezTo>
                  <a:cubicBezTo>
                    <a:pt x="5168" y="3009"/>
                    <a:pt x="5144" y="2914"/>
                    <a:pt x="5061" y="2866"/>
                  </a:cubicBezTo>
                  <a:cubicBezTo>
                    <a:pt x="5039" y="2851"/>
                    <a:pt x="5013" y="2844"/>
                    <a:pt x="4987" y="2844"/>
                  </a:cubicBezTo>
                  <a:cubicBezTo>
                    <a:pt x="4929" y="2844"/>
                    <a:pt x="4871" y="2876"/>
                    <a:pt x="4847" y="2926"/>
                  </a:cubicBezTo>
                  <a:cubicBezTo>
                    <a:pt x="4704" y="3152"/>
                    <a:pt x="4549" y="3354"/>
                    <a:pt x="4323" y="3545"/>
                  </a:cubicBezTo>
                  <a:cubicBezTo>
                    <a:pt x="4168" y="3604"/>
                    <a:pt x="4013" y="3640"/>
                    <a:pt x="3847" y="3640"/>
                  </a:cubicBezTo>
                  <a:cubicBezTo>
                    <a:pt x="3513" y="3640"/>
                    <a:pt x="3204" y="3521"/>
                    <a:pt x="2966" y="3295"/>
                  </a:cubicBezTo>
                  <a:cubicBezTo>
                    <a:pt x="3013" y="3033"/>
                    <a:pt x="3025" y="2771"/>
                    <a:pt x="3025" y="2556"/>
                  </a:cubicBezTo>
                  <a:cubicBezTo>
                    <a:pt x="3025" y="2461"/>
                    <a:pt x="2954" y="2390"/>
                    <a:pt x="2858" y="2390"/>
                  </a:cubicBezTo>
                  <a:cubicBezTo>
                    <a:pt x="2775" y="2390"/>
                    <a:pt x="2692" y="2461"/>
                    <a:pt x="2692" y="2556"/>
                  </a:cubicBezTo>
                  <a:cubicBezTo>
                    <a:pt x="2692" y="2771"/>
                    <a:pt x="2668" y="3033"/>
                    <a:pt x="2632" y="3295"/>
                  </a:cubicBezTo>
                  <a:cubicBezTo>
                    <a:pt x="2394" y="3604"/>
                    <a:pt x="2025" y="3807"/>
                    <a:pt x="1620" y="3807"/>
                  </a:cubicBezTo>
                  <a:cubicBezTo>
                    <a:pt x="930" y="3807"/>
                    <a:pt x="358" y="3235"/>
                    <a:pt x="358" y="2533"/>
                  </a:cubicBezTo>
                  <a:cubicBezTo>
                    <a:pt x="358" y="1842"/>
                    <a:pt x="930" y="1271"/>
                    <a:pt x="1620" y="1271"/>
                  </a:cubicBezTo>
                  <a:cubicBezTo>
                    <a:pt x="1965" y="1271"/>
                    <a:pt x="2299" y="1402"/>
                    <a:pt x="2549" y="1663"/>
                  </a:cubicBezTo>
                  <a:cubicBezTo>
                    <a:pt x="2561" y="1675"/>
                    <a:pt x="2596" y="1747"/>
                    <a:pt x="2620" y="1854"/>
                  </a:cubicBezTo>
                  <a:cubicBezTo>
                    <a:pt x="2644" y="1925"/>
                    <a:pt x="2716" y="1973"/>
                    <a:pt x="2787" y="1973"/>
                  </a:cubicBezTo>
                  <a:lnTo>
                    <a:pt x="2835" y="1973"/>
                  </a:lnTo>
                  <a:cubicBezTo>
                    <a:pt x="2918" y="1937"/>
                    <a:pt x="2977" y="1854"/>
                    <a:pt x="2954" y="1759"/>
                  </a:cubicBezTo>
                  <a:cubicBezTo>
                    <a:pt x="2918" y="1675"/>
                    <a:pt x="2906" y="1616"/>
                    <a:pt x="2870" y="1568"/>
                  </a:cubicBezTo>
                  <a:cubicBezTo>
                    <a:pt x="3108" y="1282"/>
                    <a:pt x="3466" y="1128"/>
                    <a:pt x="3847" y="1128"/>
                  </a:cubicBezTo>
                  <a:close/>
                  <a:moveTo>
                    <a:pt x="7490" y="10367"/>
                  </a:moveTo>
                  <a:lnTo>
                    <a:pt x="7490" y="10367"/>
                  </a:lnTo>
                  <a:cubicBezTo>
                    <a:pt x="7609" y="10403"/>
                    <a:pt x="7728" y="10415"/>
                    <a:pt x="7859" y="10415"/>
                  </a:cubicBezTo>
                  <a:lnTo>
                    <a:pt x="7716" y="10665"/>
                  </a:lnTo>
                  <a:cubicBezTo>
                    <a:pt x="7680" y="10712"/>
                    <a:pt x="7657" y="10712"/>
                    <a:pt x="7645" y="10712"/>
                  </a:cubicBezTo>
                  <a:cubicBezTo>
                    <a:pt x="7621" y="10712"/>
                    <a:pt x="7585" y="10700"/>
                    <a:pt x="7561" y="10653"/>
                  </a:cubicBezTo>
                  <a:lnTo>
                    <a:pt x="7490" y="10367"/>
                  </a:lnTo>
                  <a:close/>
                  <a:moveTo>
                    <a:pt x="1449" y="1"/>
                  </a:moveTo>
                  <a:cubicBezTo>
                    <a:pt x="1407" y="1"/>
                    <a:pt x="1362" y="16"/>
                    <a:pt x="1322" y="44"/>
                  </a:cubicBezTo>
                  <a:cubicBezTo>
                    <a:pt x="1251" y="104"/>
                    <a:pt x="1251" y="199"/>
                    <a:pt x="1311" y="282"/>
                  </a:cubicBezTo>
                  <a:cubicBezTo>
                    <a:pt x="1489" y="485"/>
                    <a:pt x="1561" y="735"/>
                    <a:pt x="1608" y="901"/>
                  </a:cubicBezTo>
                  <a:cubicBezTo>
                    <a:pt x="1549" y="901"/>
                    <a:pt x="1477" y="901"/>
                    <a:pt x="1418" y="913"/>
                  </a:cubicBezTo>
                  <a:cubicBezTo>
                    <a:pt x="1156" y="532"/>
                    <a:pt x="787" y="378"/>
                    <a:pt x="775" y="378"/>
                  </a:cubicBezTo>
                  <a:cubicBezTo>
                    <a:pt x="760" y="373"/>
                    <a:pt x="745" y="371"/>
                    <a:pt x="730" y="371"/>
                  </a:cubicBezTo>
                  <a:cubicBezTo>
                    <a:pt x="660" y="371"/>
                    <a:pt x="590" y="414"/>
                    <a:pt x="560" y="473"/>
                  </a:cubicBezTo>
                  <a:cubicBezTo>
                    <a:pt x="525" y="556"/>
                    <a:pt x="572" y="651"/>
                    <a:pt x="644" y="699"/>
                  </a:cubicBezTo>
                  <a:cubicBezTo>
                    <a:pt x="644" y="699"/>
                    <a:pt x="858" y="782"/>
                    <a:pt x="1049" y="1009"/>
                  </a:cubicBezTo>
                  <a:cubicBezTo>
                    <a:pt x="441" y="1235"/>
                    <a:pt x="1" y="1830"/>
                    <a:pt x="1" y="2509"/>
                  </a:cubicBezTo>
                  <a:cubicBezTo>
                    <a:pt x="1" y="3402"/>
                    <a:pt x="715" y="4116"/>
                    <a:pt x="1608" y="4116"/>
                  </a:cubicBezTo>
                  <a:cubicBezTo>
                    <a:pt x="2061" y="4116"/>
                    <a:pt x="2489" y="3926"/>
                    <a:pt x="2799" y="3592"/>
                  </a:cubicBezTo>
                  <a:cubicBezTo>
                    <a:pt x="3085" y="3830"/>
                    <a:pt x="3454" y="3985"/>
                    <a:pt x="3847" y="3985"/>
                  </a:cubicBezTo>
                  <a:cubicBezTo>
                    <a:pt x="3989" y="3985"/>
                    <a:pt x="4144" y="3973"/>
                    <a:pt x="4287" y="3926"/>
                  </a:cubicBezTo>
                  <a:cubicBezTo>
                    <a:pt x="4370" y="4164"/>
                    <a:pt x="4501" y="4390"/>
                    <a:pt x="4668" y="4569"/>
                  </a:cubicBezTo>
                  <a:cubicBezTo>
                    <a:pt x="4466" y="4747"/>
                    <a:pt x="4335" y="4985"/>
                    <a:pt x="4251" y="5223"/>
                  </a:cubicBezTo>
                  <a:lnTo>
                    <a:pt x="3692" y="5485"/>
                  </a:lnTo>
                  <a:cubicBezTo>
                    <a:pt x="3549" y="5557"/>
                    <a:pt x="3442" y="5723"/>
                    <a:pt x="3454" y="5890"/>
                  </a:cubicBezTo>
                  <a:cubicBezTo>
                    <a:pt x="3478" y="6069"/>
                    <a:pt x="3573" y="6200"/>
                    <a:pt x="3751" y="6259"/>
                  </a:cubicBezTo>
                  <a:lnTo>
                    <a:pt x="4347" y="6450"/>
                  </a:lnTo>
                  <a:cubicBezTo>
                    <a:pt x="4430" y="6593"/>
                    <a:pt x="4513" y="6724"/>
                    <a:pt x="4621" y="6843"/>
                  </a:cubicBezTo>
                  <a:cubicBezTo>
                    <a:pt x="4347" y="7140"/>
                    <a:pt x="4192" y="7521"/>
                    <a:pt x="4192" y="7926"/>
                  </a:cubicBezTo>
                  <a:cubicBezTo>
                    <a:pt x="4192" y="8093"/>
                    <a:pt x="4216" y="8260"/>
                    <a:pt x="4263" y="8402"/>
                  </a:cubicBezTo>
                  <a:lnTo>
                    <a:pt x="3966" y="8938"/>
                  </a:lnTo>
                  <a:cubicBezTo>
                    <a:pt x="3870" y="9093"/>
                    <a:pt x="3894" y="9272"/>
                    <a:pt x="4013" y="9402"/>
                  </a:cubicBezTo>
                  <a:cubicBezTo>
                    <a:pt x="4085" y="9510"/>
                    <a:pt x="4204" y="9545"/>
                    <a:pt x="4335" y="9545"/>
                  </a:cubicBezTo>
                  <a:cubicBezTo>
                    <a:pt x="4382" y="9545"/>
                    <a:pt x="4430" y="9545"/>
                    <a:pt x="4454" y="9533"/>
                  </a:cubicBezTo>
                  <a:lnTo>
                    <a:pt x="5061" y="9343"/>
                  </a:lnTo>
                  <a:cubicBezTo>
                    <a:pt x="5287" y="9462"/>
                    <a:pt x="5537" y="9522"/>
                    <a:pt x="5811" y="9522"/>
                  </a:cubicBezTo>
                  <a:cubicBezTo>
                    <a:pt x="6002" y="9522"/>
                    <a:pt x="6216" y="9486"/>
                    <a:pt x="6395" y="9414"/>
                  </a:cubicBezTo>
                  <a:cubicBezTo>
                    <a:pt x="6537" y="9772"/>
                    <a:pt x="6787" y="10057"/>
                    <a:pt x="7121" y="10236"/>
                  </a:cubicBezTo>
                  <a:lnTo>
                    <a:pt x="7252" y="10760"/>
                  </a:lnTo>
                  <a:cubicBezTo>
                    <a:pt x="7299" y="10915"/>
                    <a:pt x="7430" y="11034"/>
                    <a:pt x="7609" y="11069"/>
                  </a:cubicBezTo>
                  <a:lnTo>
                    <a:pt x="7657" y="11069"/>
                  </a:lnTo>
                  <a:cubicBezTo>
                    <a:pt x="7799" y="11069"/>
                    <a:pt x="7954" y="10974"/>
                    <a:pt x="8026" y="10843"/>
                  </a:cubicBezTo>
                  <a:lnTo>
                    <a:pt x="8276" y="10367"/>
                  </a:lnTo>
                  <a:cubicBezTo>
                    <a:pt x="8752" y="10236"/>
                    <a:pt x="9157" y="9891"/>
                    <a:pt x="9347" y="9426"/>
                  </a:cubicBezTo>
                  <a:cubicBezTo>
                    <a:pt x="9526" y="9486"/>
                    <a:pt x="9704" y="9522"/>
                    <a:pt x="9883" y="9522"/>
                  </a:cubicBezTo>
                  <a:lnTo>
                    <a:pt x="9931" y="9522"/>
                  </a:lnTo>
                  <a:lnTo>
                    <a:pt x="10312" y="9879"/>
                  </a:lnTo>
                  <a:cubicBezTo>
                    <a:pt x="10395" y="9950"/>
                    <a:pt x="10502" y="9986"/>
                    <a:pt x="10597" y="9986"/>
                  </a:cubicBezTo>
                  <a:cubicBezTo>
                    <a:pt x="10657" y="9986"/>
                    <a:pt x="10717" y="9962"/>
                    <a:pt x="10776" y="9938"/>
                  </a:cubicBezTo>
                  <a:cubicBezTo>
                    <a:pt x="10931" y="9867"/>
                    <a:pt x="11038" y="9700"/>
                    <a:pt x="11014" y="9533"/>
                  </a:cubicBezTo>
                  <a:lnTo>
                    <a:pt x="10990" y="9069"/>
                  </a:lnTo>
                  <a:cubicBezTo>
                    <a:pt x="11300" y="8760"/>
                    <a:pt x="11490" y="8343"/>
                    <a:pt x="11490" y="7902"/>
                  </a:cubicBezTo>
                  <a:cubicBezTo>
                    <a:pt x="11490" y="7009"/>
                    <a:pt x="10776" y="6295"/>
                    <a:pt x="9883" y="6295"/>
                  </a:cubicBezTo>
                  <a:cubicBezTo>
                    <a:pt x="9228" y="6295"/>
                    <a:pt x="8657" y="6688"/>
                    <a:pt x="8395" y="7283"/>
                  </a:cubicBezTo>
                  <a:cubicBezTo>
                    <a:pt x="8216" y="7224"/>
                    <a:pt x="8038" y="7200"/>
                    <a:pt x="7859" y="7200"/>
                  </a:cubicBezTo>
                  <a:cubicBezTo>
                    <a:pt x="7669" y="7200"/>
                    <a:pt x="7466" y="7224"/>
                    <a:pt x="7288" y="7307"/>
                  </a:cubicBezTo>
                  <a:cubicBezTo>
                    <a:pt x="7204" y="7105"/>
                    <a:pt x="7085" y="6926"/>
                    <a:pt x="6954" y="6783"/>
                  </a:cubicBezTo>
                  <a:cubicBezTo>
                    <a:pt x="7228" y="6485"/>
                    <a:pt x="7383" y="6093"/>
                    <a:pt x="7383" y="5700"/>
                  </a:cubicBezTo>
                  <a:cubicBezTo>
                    <a:pt x="7383" y="5283"/>
                    <a:pt x="7228" y="4878"/>
                    <a:pt x="6942" y="4580"/>
                  </a:cubicBezTo>
                  <a:cubicBezTo>
                    <a:pt x="7252" y="4283"/>
                    <a:pt x="7430" y="3866"/>
                    <a:pt x="7430" y="3437"/>
                  </a:cubicBezTo>
                  <a:cubicBezTo>
                    <a:pt x="7430" y="2545"/>
                    <a:pt x="6716" y="1830"/>
                    <a:pt x="5823" y="1830"/>
                  </a:cubicBezTo>
                  <a:cubicBezTo>
                    <a:pt x="5680" y="1830"/>
                    <a:pt x="5525" y="1842"/>
                    <a:pt x="5383" y="1890"/>
                  </a:cubicBezTo>
                  <a:cubicBezTo>
                    <a:pt x="5168" y="1211"/>
                    <a:pt x="4561" y="759"/>
                    <a:pt x="3847" y="759"/>
                  </a:cubicBezTo>
                  <a:cubicBezTo>
                    <a:pt x="3394" y="759"/>
                    <a:pt x="2966" y="949"/>
                    <a:pt x="2656" y="1271"/>
                  </a:cubicBezTo>
                  <a:cubicBezTo>
                    <a:pt x="2442" y="1116"/>
                    <a:pt x="2204" y="997"/>
                    <a:pt x="1954" y="937"/>
                  </a:cubicBezTo>
                  <a:cubicBezTo>
                    <a:pt x="1918" y="735"/>
                    <a:pt x="1834" y="366"/>
                    <a:pt x="1561" y="56"/>
                  </a:cubicBezTo>
                  <a:cubicBezTo>
                    <a:pt x="1536" y="19"/>
                    <a:pt x="1495" y="1"/>
                    <a:pt x="14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16" name="Google Shape;12916;p63"/>
          <p:cNvSpPr/>
          <p:nvPr/>
        </p:nvSpPr>
        <p:spPr>
          <a:xfrm>
            <a:off x="4694733" y="2884434"/>
            <a:ext cx="370368" cy="368096"/>
          </a:xfrm>
          <a:custGeom>
            <a:avLst/>
            <a:gdLst/>
            <a:ahLst/>
            <a:cxnLst/>
            <a:rect l="l" t="t" r="r" b="b"/>
            <a:pathLst>
              <a:path w="11574" h="11503" extrusionOk="0">
                <a:moveTo>
                  <a:pt x="5799" y="4168"/>
                </a:moveTo>
                <a:cubicBezTo>
                  <a:pt x="6001" y="4168"/>
                  <a:pt x="6168" y="4335"/>
                  <a:pt x="6168" y="4537"/>
                </a:cubicBezTo>
                <a:cubicBezTo>
                  <a:pt x="6168" y="4632"/>
                  <a:pt x="6144" y="4704"/>
                  <a:pt x="6096" y="4775"/>
                </a:cubicBezTo>
                <a:cubicBezTo>
                  <a:pt x="6001" y="4751"/>
                  <a:pt x="5906" y="4740"/>
                  <a:pt x="5811" y="4740"/>
                </a:cubicBezTo>
                <a:cubicBezTo>
                  <a:pt x="5703" y="4740"/>
                  <a:pt x="5620" y="4751"/>
                  <a:pt x="5525" y="4775"/>
                </a:cubicBezTo>
                <a:cubicBezTo>
                  <a:pt x="5465" y="4716"/>
                  <a:pt x="5453" y="4632"/>
                  <a:pt x="5453" y="4537"/>
                </a:cubicBezTo>
                <a:cubicBezTo>
                  <a:pt x="5430" y="4347"/>
                  <a:pt x="5608" y="4168"/>
                  <a:pt x="5799" y="4168"/>
                </a:cubicBezTo>
                <a:close/>
                <a:moveTo>
                  <a:pt x="5822" y="5085"/>
                </a:moveTo>
                <a:cubicBezTo>
                  <a:pt x="6227" y="5085"/>
                  <a:pt x="6549" y="5418"/>
                  <a:pt x="6549" y="5823"/>
                </a:cubicBezTo>
                <a:cubicBezTo>
                  <a:pt x="6549" y="5942"/>
                  <a:pt x="6525" y="6037"/>
                  <a:pt x="6477" y="6144"/>
                </a:cubicBezTo>
                <a:cubicBezTo>
                  <a:pt x="6430" y="6168"/>
                  <a:pt x="6406" y="6192"/>
                  <a:pt x="6394" y="6240"/>
                </a:cubicBezTo>
                <a:cubicBezTo>
                  <a:pt x="6358" y="6323"/>
                  <a:pt x="6406" y="6418"/>
                  <a:pt x="6489" y="6466"/>
                </a:cubicBezTo>
                <a:cubicBezTo>
                  <a:pt x="6977" y="6645"/>
                  <a:pt x="7251" y="7026"/>
                  <a:pt x="7251" y="7549"/>
                </a:cubicBezTo>
                <a:cubicBezTo>
                  <a:pt x="7251" y="8323"/>
                  <a:pt x="6620" y="9228"/>
                  <a:pt x="5811" y="9228"/>
                </a:cubicBezTo>
                <a:cubicBezTo>
                  <a:pt x="5001" y="9228"/>
                  <a:pt x="4370" y="8323"/>
                  <a:pt x="4370" y="7549"/>
                </a:cubicBezTo>
                <a:cubicBezTo>
                  <a:pt x="4370" y="7168"/>
                  <a:pt x="4513" y="6859"/>
                  <a:pt x="4787" y="6656"/>
                </a:cubicBezTo>
                <a:cubicBezTo>
                  <a:pt x="5037" y="6442"/>
                  <a:pt x="5406" y="6323"/>
                  <a:pt x="5822" y="6323"/>
                </a:cubicBezTo>
                <a:cubicBezTo>
                  <a:pt x="5918" y="6323"/>
                  <a:pt x="5989" y="6252"/>
                  <a:pt x="5989" y="6156"/>
                </a:cubicBezTo>
                <a:cubicBezTo>
                  <a:pt x="5989" y="6073"/>
                  <a:pt x="5918" y="6002"/>
                  <a:pt x="5822" y="6002"/>
                </a:cubicBezTo>
                <a:cubicBezTo>
                  <a:pt x="5584" y="6002"/>
                  <a:pt x="5358" y="6025"/>
                  <a:pt x="5156" y="6097"/>
                </a:cubicBezTo>
                <a:cubicBezTo>
                  <a:pt x="5108" y="6013"/>
                  <a:pt x="5096" y="5906"/>
                  <a:pt x="5096" y="5823"/>
                </a:cubicBezTo>
                <a:cubicBezTo>
                  <a:pt x="5096" y="5418"/>
                  <a:pt x="5418" y="5085"/>
                  <a:pt x="5822" y="5085"/>
                </a:cubicBezTo>
                <a:close/>
                <a:moveTo>
                  <a:pt x="3798" y="1"/>
                </a:moveTo>
                <a:cubicBezTo>
                  <a:pt x="3715" y="1"/>
                  <a:pt x="3620" y="72"/>
                  <a:pt x="3620" y="168"/>
                </a:cubicBezTo>
                <a:lnTo>
                  <a:pt x="3620" y="2930"/>
                </a:lnTo>
                <a:cubicBezTo>
                  <a:pt x="3620" y="3037"/>
                  <a:pt x="3655" y="3120"/>
                  <a:pt x="3715" y="3216"/>
                </a:cubicBezTo>
                <a:lnTo>
                  <a:pt x="4918" y="5109"/>
                </a:lnTo>
                <a:cubicBezTo>
                  <a:pt x="4906" y="5121"/>
                  <a:pt x="4894" y="5132"/>
                  <a:pt x="4870" y="5168"/>
                </a:cubicBezTo>
                <a:lnTo>
                  <a:pt x="2536" y="3335"/>
                </a:lnTo>
                <a:cubicBezTo>
                  <a:pt x="2512" y="3323"/>
                  <a:pt x="2489" y="3287"/>
                  <a:pt x="2477" y="3263"/>
                </a:cubicBezTo>
                <a:lnTo>
                  <a:pt x="1620" y="1013"/>
                </a:lnTo>
                <a:cubicBezTo>
                  <a:pt x="1593" y="942"/>
                  <a:pt x="1527" y="904"/>
                  <a:pt x="1460" y="904"/>
                </a:cubicBezTo>
                <a:cubicBezTo>
                  <a:pt x="1437" y="904"/>
                  <a:pt x="1415" y="908"/>
                  <a:pt x="1393" y="918"/>
                </a:cubicBezTo>
                <a:cubicBezTo>
                  <a:pt x="1298" y="965"/>
                  <a:pt x="1262" y="1060"/>
                  <a:pt x="1298" y="1144"/>
                </a:cubicBezTo>
                <a:lnTo>
                  <a:pt x="2167" y="3394"/>
                </a:lnTo>
                <a:cubicBezTo>
                  <a:pt x="2191" y="3489"/>
                  <a:pt x="2251" y="3561"/>
                  <a:pt x="2334" y="3620"/>
                </a:cubicBezTo>
                <a:lnTo>
                  <a:pt x="4739" y="5513"/>
                </a:lnTo>
                <a:cubicBezTo>
                  <a:pt x="4739" y="5525"/>
                  <a:pt x="4727" y="5537"/>
                  <a:pt x="4727" y="5549"/>
                </a:cubicBezTo>
                <a:lnTo>
                  <a:pt x="3429" y="5275"/>
                </a:lnTo>
                <a:cubicBezTo>
                  <a:pt x="3384" y="5263"/>
                  <a:pt x="3339" y="5256"/>
                  <a:pt x="3294" y="5256"/>
                </a:cubicBezTo>
                <a:cubicBezTo>
                  <a:pt x="3209" y="5256"/>
                  <a:pt x="3126" y="5280"/>
                  <a:pt x="3048" y="5335"/>
                </a:cubicBezTo>
                <a:lnTo>
                  <a:pt x="1108" y="6466"/>
                </a:lnTo>
                <a:cubicBezTo>
                  <a:pt x="1000" y="6525"/>
                  <a:pt x="929" y="6609"/>
                  <a:pt x="881" y="6716"/>
                </a:cubicBezTo>
                <a:lnTo>
                  <a:pt x="36" y="8764"/>
                </a:lnTo>
                <a:cubicBezTo>
                  <a:pt x="0" y="8859"/>
                  <a:pt x="36" y="8942"/>
                  <a:pt x="131" y="8990"/>
                </a:cubicBezTo>
                <a:cubicBezTo>
                  <a:pt x="143" y="9002"/>
                  <a:pt x="167" y="9002"/>
                  <a:pt x="191" y="9002"/>
                </a:cubicBezTo>
                <a:cubicBezTo>
                  <a:pt x="250" y="9002"/>
                  <a:pt x="322" y="8966"/>
                  <a:pt x="334" y="8907"/>
                </a:cubicBezTo>
                <a:lnTo>
                  <a:pt x="1179" y="6847"/>
                </a:lnTo>
                <a:cubicBezTo>
                  <a:pt x="1203" y="6799"/>
                  <a:pt x="1227" y="6775"/>
                  <a:pt x="1262" y="6764"/>
                </a:cubicBezTo>
                <a:lnTo>
                  <a:pt x="3191" y="5632"/>
                </a:lnTo>
                <a:cubicBezTo>
                  <a:pt x="3221" y="5610"/>
                  <a:pt x="3252" y="5602"/>
                  <a:pt x="3279" y="5602"/>
                </a:cubicBezTo>
                <a:cubicBezTo>
                  <a:pt x="3294" y="5602"/>
                  <a:pt x="3309" y="5604"/>
                  <a:pt x="3322" y="5609"/>
                </a:cubicBezTo>
                <a:lnTo>
                  <a:pt x="4679" y="5906"/>
                </a:lnTo>
                <a:cubicBezTo>
                  <a:pt x="4679" y="5942"/>
                  <a:pt x="4691" y="5966"/>
                  <a:pt x="4691" y="6002"/>
                </a:cubicBezTo>
                <a:lnTo>
                  <a:pt x="3882" y="6264"/>
                </a:lnTo>
                <a:cubicBezTo>
                  <a:pt x="3727" y="6311"/>
                  <a:pt x="3596" y="6430"/>
                  <a:pt x="3548" y="6597"/>
                </a:cubicBezTo>
                <a:lnTo>
                  <a:pt x="2727" y="8871"/>
                </a:lnTo>
                <a:cubicBezTo>
                  <a:pt x="2703" y="8942"/>
                  <a:pt x="2703" y="9014"/>
                  <a:pt x="2703" y="9097"/>
                </a:cubicBezTo>
                <a:lnTo>
                  <a:pt x="2882" y="11359"/>
                </a:lnTo>
                <a:cubicBezTo>
                  <a:pt x="2882" y="11443"/>
                  <a:pt x="2953" y="11502"/>
                  <a:pt x="3048" y="11502"/>
                </a:cubicBezTo>
                <a:lnTo>
                  <a:pt x="3060" y="11502"/>
                </a:lnTo>
                <a:cubicBezTo>
                  <a:pt x="3144" y="11502"/>
                  <a:pt x="3227" y="11419"/>
                  <a:pt x="3203" y="11324"/>
                </a:cubicBezTo>
                <a:lnTo>
                  <a:pt x="3024" y="9061"/>
                </a:lnTo>
                <a:cubicBezTo>
                  <a:pt x="3024" y="9038"/>
                  <a:pt x="3024" y="9002"/>
                  <a:pt x="3048" y="8990"/>
                </a:cubicBezTo>
                <a:lnTo>
                  <a:pt x="3858" y="6716"/>
                </a:lnTo>
                <a:cubicBezTo>
                  <a:pt x="3882" y="6656"/>
                  <a:pt x="3917" y="6609"/>
                  <a:pt x="3977" y="6597"/>
                </a:cubicBezTo>
                <a:lnTo>
                  <a:pt x="4370" y="6466"/>
                </a:lnTo>
                <a:lnTo>
                  <a:pt x="4370" y="6466"/>
                </a:lnTo>
                <a:cubicBezTo>
                  <a:pt x="4096" y="6728"/>
                  <a:pt x="3953" y="7097"/>
                  <a:pt x="3953" y="7514"/>
                </a:cubicBezTo>
                <a:cubicBezTo>
                  <a:pt x="3953" y="7990"/>
                  <a:pt x="4144" y="8502"/>
                  <a:pt x="4453" y="8883"/>
                </a:cubicBezTo>
                <a:cubicBezTo>
                  <a:pt x="4810" y="9300"/>
                  <a:pt x="5263" y="9538"/>
                  <a:pt x="5739" y="9538"/>
                </a:cubicBezTo>
                <a:cubicBezTo>
                  <a:pt x="6215" y="9538"/>
                  <a:pt x="6656" y="9300"/>
                  <a:pt x="7013" y="8883"/>
                </a:cubicBezTo>
                <a:cubicBezTo>
                  <a:pt x="7346" y="8502"/>
                  <a:pt x="7525" y="7990"/>
                  <a:pt x="7525" y="7514"/>
                </a:cubicBezTo>
                <a:cubicBezTo>
                  <a:pt x="7525" y="7097"/>
                  <a:pt x="7370" y="6728"/>
                  <a:pt x="7108" y="6466"/>
                </a:cubicBezTo>
                <a:lnTo>
                  <a:pt x="7108" y="6466"/>
                </a:lnTo>
                <a:lnTo>
                  <a:pt x="7489" y="6597"/>
                </a:lnTo>
                <a:cubicBezTo>
                  <a:pt x="7549" y="6609"/>
                  <a:pt x="7596" y="6656"/>
                  <a:pt x="7608" y="6716"/>
                </a:cubicBezTo>
                <a:lnTo>
                  <a:pt x="8430" y="8990"/>
                </a:lnTo>
                <a:cubicBezTo>
                  <a:pt x="8442" y="9014"/>
                  <a:pt x="8442" y="9038"/>
                  <a:pt x="8442" y="9061"/>
                </a:cubicBezTo>
                <a:lnTo>
                  <a:pt x="8263" y="11324"/>
                </a:lnTo>
                <a:cubicBezTo>
                  <a:pt x="8263" y="11419"/>
                  <a:pt x="8323" y="11502"/>
                  <a:pt x="8418" y="11502"/>
                </a:cubicBezTo>
                <a:lnTo>
                  <a:pt x="8430" y="11502"/>
                </a:lnTo>
                <a:cubicBezTo>
                  <a:pt x="8513" y="11502"/>
                  <a:pt x="8597" y="11431"/>
                  <a:pt x="8597" y="11359"/>
                </a:cubicBezTo>
                <a:lnTo>
                  <a:pt x="8775" y="9097"/>
                </a:lnTo>
                <a:cubicBezTo>
                  <a:pt x="8775" y="9014"/>
                  <a:pt x="8775" y="8942"/>
                  <a:pt x="8739" y="8871"/>
                </a:cubicBezTo>
                <a:lnTo>
                  <a:pt x="7918" y="6597"/>
                </a:lnTo>
                <a:cubicBezTo>
                  <a:pt x="7858" y="6442"/>
                  <a:pt x="7739" y="6323"/>
                  <a:pt x="7596" y="6264"/>
                </a:cubicBezTo>
                <a:lnTo>
                  <a:pt x="6775" y="6002"/>
                </a:lnTo>
                <a:cubicBezTo>
                  <a:pt x="6775" y="5966"/>
                  <a:pt x="6787" y="5942"/>
                  <a:pt x="6787" y="5906"/>
                </a:cubicBezTo>
                <a:lnTo>
                  <a:pt x="8144" y="5609"/>
                </a:lnTo>
                <a:cubicBezTo>
                  <a:pt x="8157" y="5605"/>
                  <a:pt x="8170" y="5604"/>
                  <a:pt x="8182" y="5604"/>
                </a:cubicBezTo>
                <a:cubicBezTo>
                  <a:pt x="8216" y="5604"/>
                  <a:pt x="8249" y="5615"/>
                  <a:pt x="8275" y="5632"/>
                </a:cubicBezTo>
                <a:lnTo>
                  <a:pt x="10216" y="6764"/>
                </a:lnTo>
                <a:cubicBezTo>
                  <a:pt x="10240" y="6775"/>
                  <a:pt x="10275" y="6823"/>
                  <a:pt x="10287" y="6847"/>
                </a:cubicBezTo>
                <a:lnTo>
                  <a:pt x="11133" y="8907"/>
                </a:lnTo>
                <a:cubicBezTo>
                  <a:pt x="11168" y="8954"/>
                  <a:pt x="11228" y="9002"/>
                  <a:pt x="11287" y="9002"/>
                </a:cubicBezTo>
                <a:cubicBezTo>
                  <a:pt x="11299" y="9002"/>
                  <a:pt x="11335" y="9002"/>
                  <a:pt x="11347" y="8990"/>
                </a:cubicBezTo>
                <a:cubicBezTo>
                  <a:pt x="11526" y="8978"/>
                  <a:pt x="11573" y="8883"/>
                  <a:pt x="11526" y="8800"/>
                </a:cubicBezTo>
                <a:lnTo>
                  <a:pt x="10680" y="6740"/>
                </a:lnTo>
                <a:cubicBezTo>
                  <a:pt x="10633" y="6645"/>
                  <a:pt x="10561" y="6549"/>
                  <a:pt x="10454" y="6490"/>
                </a:cubicBezTo>
                <a:lnTo>
                  <a:pt x="8525" y="5359"/>
                </a:lnTo>
                <a:cubicBezTo>
                  <a:pt x="8442" y="5309"/>
                  <a:pt x="8348" y="5288"/>
                  <a:pt x="8253" y="5288"/>
                </a:cubicBezTo>
                <a:cubicBezTo>
                  <a:pt x="8213" y="5288"/>
                  <a:pt x="8172" y="5292"/>
                  <a:pt x="8132" y="5299"/>
                </a:cubicBezTo>
                <a:lnTo>
                  <a:pt x="6834" y="5585"/>
                </a:lnTo>
                <a:cubicBezTo>
                  <a:pt x="6834" y="5573"/>
                  <a:pt x="6834" y="5549"/>
                  <a:pt x="6823" y="5537"/>
                </a:cubicBezTo>
                <a:lnTo>
                  <a:pt x="9240" y="3644"/>
                </a:lnTo>
                <a:cubicBezTo>
                  <a:pt x="9311" y="3585"/>
                  <a:pt x="9370" y="3513"/>
                  <a:pt x="9394" y="3430"/>
                </a:cubicBezTo>
                <a:lnTo>
                  <a:pt x="10263" y="1180"/>
                </a:lnTo>
                <a:cubicBezTo>
                  <a:pt x="10287" y="1084"/>
                  <a:pt x="10252" y="1001"/>
                  <a:pt x="10168" y="953"/>
                </a:cubicBezTo>
                <a:cubicBezTo>
                  <a:pt x="10149" y="945"/>
                  <a:pt x="10129" y="941"/>
                  <a:pt x="10110" y="941"/>
                </a:cubicBezTo>
                <a:cubicBezTo>
                  <a:pt x="10044" y="941"/>
                  <a:pt x="9981" y="984"/>
                  <a:pt x="9954" y="1049"/>
                </a:cubicBezTo>
                <a:lnTo>
                  <a:pt x="9085" y="3287"/>
                </a:lnTo>
                <a:cubicBezTo>
                  <a:pt x="9073" y="3323"/>
                  <a:pt x="9061" y="3346"/>
                  <a:pt x="9025" y="3370"/>
                </a:cubicBezTo>
                <a:lnTo>
                  <a:pt x="6692" y="5192"/>
                </a:lnTo>
                <a:cubicBezTo>
                  <a:pt x="6680" y="5180"/>
                  <a:pt x="6656" y="5156"/>
                  <a:pt x="6644" y="5132"/>
                </a:cubicBezTo>
                <a:lnTo>
                  <a:pt x="7846" y="3251"/>
                </a:lnTo>
                <a:cubicBezTo>
                  <a:pt x="7906" y="3156"/>
                  <a:pt x="7942" y="3061"/>
                  <a:pt x="7942" y="2965"/>
                </a:cubicBezTo>
                <a:lnTo>
                  <a:pt x="7942" y="191"/>
                </a:lnTo>
                <a:cubicBezTo>
                  <a:pt x="7942" y="108"/>
                  <a:pt x="7858" y="13"/>
                  <a:pt x="7775" y="13"/>
                </a:cubicBezTo>
                <a:cubicBezTo>
                  <a:pt x="7692" y="13"/>
                  <a:pt x="7596" y="84"/>
                  <a:pt x="7596" y="179"/>
                </a:cubicBezTo>
                <a:lnTo>
                  <a:pt x="7596" y="2954"/>
                </a:lnTo>
                <a:cubicBezTo>
                  <a:pt x="7596" y="2977"/>
                  <a:pt x="7585" y="3025"/>
                  <a:pt x="7561" y="3049"/>
                </a:cubicBezTo>
                <a:lnTo>
                  <a:pt x="6406" y="4882"/>
                </a:lnTo>
                <a:lnTo>
                  <a:pt x="6394" y="4870"/>
                </a:lnTo>
                <a:cubicBezTo>
                  <a:pt x="6465" y="4751"/>
                  <a:pt x="6501" y="4632"/>
                  <a:pt x="6501" y="4489"/>
                </a:cubicBezTo>
                <a:lnTo>
                  <a:pt x="6501" y="3597"/>
                </a:lnTo>
                <a:cubicBezTo>
                  <a:pt x="6501" y="3466"/>
                  <a:pt x="6453" y="3346"/>
                  <a:pt x="6406" y="3275"/>
                </a:cubicBezTo>
                <a:cubicBezTo>
                  <a:pt x="6377" y="3223"/>
                  <a:pt x="6322" y="3196"/>
                  <a:pt x="6267" y="3196"/>
                </a:cubicBezTo>
                <a:cubicBezTo>
                  <a:pt x="6209" y="3196"/>
                  <a:pt x="6151" y="3226"/>
                  <a:pt x="6120" y="3287"/>
                </a:cubicBezTo>
                <a:cubicBezTo>
                  <a:pt x="6096" y="3335"/>
                  <a:pt x="6096" y="3406"/>
                  <a:pt x="6120" y="3454"/>
                </a:cubicBezTo>
                <a:cubicBezTo>
                  <a:pt x="6144" y="3489"/>
                  <a:pt x="6156" y="3525"/>
                  <a:pt x="6156" y="3597"/>
                </a:cubicBezTo>
                <a:lnTo>
                  <a:pt x="6156" y="3894"/>
                </a:lnTo>
                <a:cubicBezTo>
                  <a:pt x="6049" y="3847"/>
                  <a:pt x="5918" y="3799"/>
                  <a:pt x="5787" y="3799"/>
                </a:cubicBezTo>
                <a:cubicBezTo>
                  <a:pt x="5644" y="3799"/>
                  <a:pt x="5513" y="3835"/>
                  <a:pt x="5406" y="3894"/>
                </a:cubicBezTo>
                <a:lnTo>
                  <a:pt x="5406" y="3597"/>
                </a:lnTo>
                <a:cubicBezTo>
                  <a:pt x="5406" y="3525"/>
                  <a:pt x="5430" y="3489"/>
                  <a:pt x="5441" y="3454"/>
                </a:cubicBezTo>
                <a:cubicBezTo>
                  <a:pt x="5465" y="3406"/>
                  <a:pt x="5465" y="3346"/>
                  <a:pt x="5441" y="3287"/>
                </a:cubicBezTo>
                <a:cubicBezTo>
                  <a:pt x="5411" y="3226"/>
                  <a:pt x="5352" y="3196"/>
                  <a:pt x="5294" y="3196"/>
                </a:cubicBezTo>
                <a:cubicBezTo>
                  <a:pt x="5239" y="3196"/>
                  <a:pt x="5185" y="3223"/>
                  <a:pt x="5156" y="3275"/>
                </a:cubicBezTo>
                <a:cubicBezTo>
                  <a:pt x="5108" y="3358"/>
                  <a:pt x="5072" y="3466"/>
                  <a:pt x="5072" y="3597"/>
                </a:cubicBezTo>
                <a:lnTo>
                  <a:pt x="5072" y="4489"/>
                </a:lnTo>
                <a:cubicBezTo>
                  <a:pt x="5072" y="4632"/>
                  <a:pt x="5108" y="4763"/>
                  <a:pt x="5168" y="4870"/>
                </a:cubicBezTo>
                <a:lnTo>
                  <a:pt x="5156" y="4882"/>
                </a:lnTo>
                <a:lnTo>
                  <a:pt x="4001" y="3049"/>
                </a:lnTo>
                <a:cubicBezTo>
                  <a:pt x="3977" y="3025"/>
                  <a:pt x="3965" y="2989"/>
                  <a:pt x="3965" y="2954"/>
                </a:cubicBezTo>
                <a:lnTo>
                  <a:pt x="3965" y="179"/>
                </a:lnTo>
                <a:cubicBezTo>
                  <a:pt x="3965" y="84"/>
                  <a:pt x="3894" y="1"/>
                  <a:pt x="3798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17" name="Google Shape;12917;p63"/>
          <p:cNvSpPr/>
          <p:nvPr/>
        </p:nvSpPr>
        <p:spPr>
          <a:xfrm>
            <a:off x="8046381" y="2886290"/>
            <a:ext cx="253408" cy="366240"/>
          </a:xfrm>
          <a:custGeom>
            <a:avLst/>
            <a:gdLst/>
            <a:ahLst/>
            <a:cxnLst/>
            <a:rect l="l" t="t" r="r" b="b"/>
            <a:pathLst>
              <a:path w="7919" h="11445" extrusionOk="0">
                <a:moveTo>
                  <a:pt x="3644" y="443"/>
                </a:moveTo>
                <a:lnTo>
                  <a:pt x="3644" y="443"/>
                </a:lnTo>
                <a:cubicBezTo>
                  <a:pt x="4001" y="586"/>
                  <a:pt x="4513" y="860"/>
                  <a:pt x="4787" y="1443"/>
                </a:cubicBezTo>
                <a:cubicBezTo>
                  <a:pt x="4823" y="1514"/>
                  <a:pt x="4846" y="1598"/>
                  <a:pt x="4870" y="1669"/>
                </a:cubicBezTo>
                <a:cubicBezTo>
                  <a:pt x="4727" y="1788"/>
                  <a:pt x="4608" y="1919"/>
                  <a:pt x="4513" y="2074"/>
                </a:cubicBezTo>
                <a:cubicBezTo>
                  <a:pt x="4346" y="2324"/>
                  <a:pt x="4227" y="2634"/>
                  <a:pt x="4168" y="2943"/>
                </a:cubicBezTo>
                <a:cubicBezTo>
                  <a:pt x="3180" y="1824"/>
                  <a:pt x="2025" y="1122"/>
                  <a:pt x="1417" y="812"/>
                </a:cubicBezTo>
                <a:cubicBezTo>
                  <a:pt x="1594" y="775"/>
                  <a:pt x="1818" y="743"/>
                  <a:pt x="2064" y="743"/>
                </a:cubicBezTo>
                <a:cubicBezTo>
                  <a:pt x="2446" y="743"/>
                  <a:pt x="2879" y="820"/>
                  <a:pt x="3263" y="1074"/>
                </a:cubicBezTo>
                <a:cubicBezTo>
                  <a:pt x="3525" y="1253"/>
                  <a:pt x="3799" y="1514"/>
                  <a:pt x="3953" y="1788"/>
                </a:cubicBezTo>
                <a:cubicBezTo>
                  <a:pt x="3986" y="1837"/>
                  <a:pt x="4047" y="1870"/>
                  <a:pt x="4109" y="1870"/>
                </a:cubicBezTo>
                <a:cubicBezTo>
                  <a:pt x="4137" y="1870"/>
                  <a:pt x="4165" y="1863"/>
                  <a:pt x="4192" y="1848"/>
                </a:cubicBezTo>
                <a:cubicBezTo>
                  <a:pt x="4275" y="1800"/>
                  <a:pt x="4299" y="1693"/>
                  <a:pt x="4251" y="1610"/>
                </a:cubicBezTo>
                <a:cubicBezTo>
                  <a:pt x="4192" y="1514"/>
                  <a:pt x="4120" y="1419"/>
                  <a:pt x="4049" y="1324"/>
                </a:cubicBezTo>
                <a:cubicBezTo>
                  <a:pt x="3918" y="955"/>
                  <a:pt x="3763" y="657"/>
                  <a:pt x="3644" y="443"/>
                </a:cubicBezTo>
                <a:close/>
                <a:moveTo>
                  <a:pt x="6120" y="1562"/>
                </a:moveTo>
                <a:cubicBezTo>
                  <a:pt x="6597" y="1562"/>
                  <a:pt x="7013" y="1741"/>
                  <a:pt x="7287" y="1895"/>
                </a:cubicBezTo>
                <a:cubicBezTo>
                  <a:pt x="6716" y="2015"/>
                  <a:pt x="5620" y="2336"/>
                  <a:pt x="4489" y="3038"/>
                </a:cubicBezTo>
                <a:cubicBezTo>
                  <a:pt x="4608" y="2241"/>
                  <a:pt x="5144" y="1753"/>
                  <a:pt x="5656" y="1622"/>
                </a:cubicBezTo>
                <a:cubicBezTo>
                  <a:pt x="5799" y="1586"/>
                  <a:pt x="5966" y="1562"/>
                  <a:pt x="6120" y="1562"/>
                </a:cubicBezTo>
                <a:close/>
                <a:moveTo>
                  <a:pt x="2565" y="2490"/>
                </a:moveTo>
                <a:cubicBezTo>
                  <a:pt x="2926" y="2490"/>
                  <a:pt x="3255" y="2578"/>
                  <a:pt x="3513" y="2753"/>
                </a:cubicBezTo>
                <a:cubicBezTo>
                  <a:pt x="3513" y="2753"/>
                  <a:pt x="3525" y="2753"/>
                  <a:pt x="3525" y="2777"/>
                </a:cubicBezTo>
                <a:cubicBezTo>
                  <a:pt x="3656" y="2907"/>
                  <a:pt x="3799" y="3050"/>
                  <a:pt x="3930" y="3205"/>
                </a:cubicBezTo>
                <a:cubicBezTo>
                  <a:pt x="3683" y="3183"/>
                  <a:pt x="3444" y="3173"/>
                  <a:pt x="3214" y="3173"/>
                </a:cubicBezTo>
                <a:cubicBezTo>
                  <a:pt x="2468" y="3173"/>
                  <a:pt x="1822" y="3277"/>
                  <a:pt x="1358" y="3396"/>
                </a:cubicBezTo>
                <a:cubicBezTo>
                  <a:pt x="1036" y="3467"/>
                  <a:pt x="774" y="3539"/>
                  <a:pt x="560" y="3622"/>
                </a:cubicBezTo>
                <a:cubicBezTo>
                  <a:pt x="834" y="3229"/>
                  <a:pt x="1334" y="2681"/>
                  <a:pt x="2084" y="2538"/>
                </a:cubicBezTo>
                <a:cubicBezTo>
                  <a:pt x="2248" y="2506"/>
                  <a:pt x="2410" y="2490"/>
                  <a:pt x="2565" y="2490"/>
                </a:cubicBezTo>
                <a:close/>
                <a:moveTo>
                  <a:pt x="3418" y="3515"/>
                </a:moveTo>
                <a:cubicBezTo>
                  <a:pt x="3691" y="3515"/>
                  <a:pt x="3989" y="3539"/>
                  <a:pt x="4275" y="3574"/>
                </a:cubicBezTo>
                <a:cubicBezTo>
                  <a:pt x="4477" y="3646"/>
                  <a:pt x="4668" y="3741"/>
                  <a:pt x="4846" y="3836"/>
                </a:cubicBezTo>
                <a:cubicBezTo>
                  <a:pt x="4704" y="4027"/>
                  <a:pt x="4465" y="4134"/>
                  <a:pt x="4227" y="4134"/>
                </a:cubicBezTo>
                <a:cubicBezTo>
                  <a:pt x="3834" y="4134"/>
                  <a:pt x="3513" y="3872"/>
                  <a:pt x="3418" y="3515"/>
                </a:cubicBezTo>
                <a:close/>
                <a:moveTo>
                  <a:pt x="5379" y="3205"/>
                </a:moveTo>
                <a:cubicBezTo>
                  <a:pt x="5749" y="3205"/>
                  <a:pt x="6090" y="3348"/>
                  <a:pt x="6394" y="3634"/>
                </a:cubicBezTo>
                <a:cubicBezTo>
                  <a:pt x="6859" y="4062"/>
                  <a:pt x="6966" y="4729"/>
                  <a:pt x="6978" y="5193"/>
                </a:cubicBezTo>
                <a:cubicBezTo>
                  <a:pt x="6597" y="4705"/>
                  <a:pt x="5835" y="3896"/>
                  <a:pt x="4692" y="3384"/>
                </a:cubicBezTo>
                <a:cubicBezTo>
                  <a:pt x="4787" y="3336"/>
                  <a:pt x="4906" y="3277"/>
                  <a:pt x="5049" y="3241"/>
                </a:cubicBezTo>
                <a:cubicBezTo>
                  <a:pt x="5161" y="3217"/>
                  <a:pt x="5271" y="3205"/>
                  <a:pt x="5379" y="3205"/>
                </a:cubicBezTo>
                <a:close/>
                <a:moveTo>
                  <a:pt x="3751" y="4360"/>
                </a:moveTo>
                <a:cubicBezTo>
                  <a:pt x="3834" y="4408"/>
                  <a:pt x="3942" y="4431"/>
                  <a:pt x="4049" y="4455"/>
                </a:cubicBezTo>
                <a:cubicBezTo>
                  <a:pt x="3691" y="5586"/>
                  <a:pt x="3537" y="7063"/>
                  <a:pt x="3584" y="8849"/>
                </a:cubicBezTo>
                <a:cubicBezTo>
                  <a:pt x="3620" y="9896"/>
                  <a:pt x="3703" y="10777"/>
                  <a:pt x="3763" y="11147"/>
                </a:cubicBezTo>
                <a:lnTo>
                  <a:pt x="3037" y="11147"/>
                </a:lnTo>
                <a:cubicBezTo>
                  <a:pt x="2989" y="10349"/>
                  <a:pt x="2858" y="6658"/>
                  <a:pt x="3751" y="4360"/>
                </a:cubicBezTo>
                <a:close/>
                <a:moveTo>
                  <a:pt x="3294" y="0"/>
                </a:moveTo>
                <a:cubicBezTo>
                  <a:pt x="3233" y="0"/>
                  <a:pt x="3176" y="32"/>
                  <a:pt x="3156" y="74"/>
                </a:cubicBezTo>
                <a:cubicBezTo>
                  <a:pt x="3120" y="133"/>
                  <a:pt x="3120" y="205"/>
                  <a:pt x="3156" y="252"/>
                </a:cubicBezTo>
                <a:cubicBezTo>
                  <a:pt x="3156" y="252"/>
                  <a:pt x="3287" y="443"/>
                  <a:pt x="3453" y="764"/>
                </a:cubicBezTo>
                <a:cubicBezTo>
                  <a:pt x="3001" y="466"/>
                  <a:pt x="2506" y="376"/>
                  <a:pt x="2072" y="376"/>
                </a:cubicBezTo>
                <a:cubicBezTo>
                  <a:pt x="1433" y="376"/>
                  <a:pt x="929" y="572"/>
                  <a:pt x="894" y="586"/>
                </a:cubicBezTo>
                <a:cubicBezTo>
                  <a:pt x="834" y="610"/>
                  <a:pt x="786" y="669"/>
                  <a:pt x="786" y="729"/>
                </a:cubicBezTo>
                <a:cubicBezTo>
                  <a:pt x="786" y="800"/>
                  <a:pt x="834" y="860"/>
                  <a:pt x="894" y="895"/>
                </a:cubicBezTo>
                <a:cubicBezTo>
                  <a:pt x="905" y="895"/>
                  <a:pt x="1858" y="1312"/>
                  <a:pt x="2882" y="2145"/>
                </a:cubicBezTo>
                <a:cubicBezTo>
                  <a:pt x="2768" y="2130"/>
                  <a:pt x="2646" y="2121"/>
                  <a:pt x="2521" y="2121"/>
                </a:cubicBezTo>
                <a:cubicBezTo>
                  <a:pt x="2360" y="2121"/>
                  <a:pt x="2192" y="2136"/>
                  <a:pt x="2025" y="2169"/>
                </a:cubicBezTo>
                <a:cubicBezTo>
                  <a:pt x="679" y="2443"/>
                  <a:pt x="60" y="3800"/>
                  <a:pt x="24" y="3860"/>
                </a:cubicBezTo>
                <a:cubicBezTo>
                  <a:pt x="1" y="3920"/>
                  <a:pt x="12" y="3991"/>
                  <a:pt x="60" y="4050"/>
                </a:cubicBezTo>
                <a:cubicBezTo>
                  <a:pt x="84" y="4074"/>
                  <a:pt x="132" y="4098"/>
                  <a:pt x="179" y="4098"/>
                </a:cubicBezTo>
                <a:cubicBezTo>
                  <a:pt x="203" y="4098"/>
                  <a:pt x="227" y="4098"/>
                  <a:pt x="251" y="4074"/>
                </a:cubicBezTo>
                <a:cubicBezTo>
                  <a:pt x="262" y="4074"/>
                  <a:pt x="1453" y="3527"/>
                  <a:pt x="3084" y="3479"/>
                </a:cubicBezTo>
                <a:cubicBezTo>
                  <a:pt x="3120" y="3753"/>
                  <a:pt x="3263" y="3991"/>
                  <a:pt x="3453" y="4158"/>
                </a:cubicBezTo>
                <a:cubicBezTo>
                  <a:pt x="3001" y="5253"/>
                  <a:pt x="2751" y="6777"/>
                  <a:pt x="2679" y="8682"/>
                </a:cubicBezTo>
                <a:cubicBezTo>
                  <a:pt x="2632" y="9789"/>
                  <a:pt x="2679" y="10742"/>
                  <a:pt x="2691" y="11123"/>
                </a:cubicBezTo>
                <a:lnTo>
                  <a:pt x="2513" y="11123"/>
                </a:lnTo>
                <a:cubicBezTo>
                  <a:pt x="2429" y="11123"/>
                  <a:pt x="2346" y="11194"/>
                  <a:pt x="2346" y="11278"/>
                </a:cubicBezTo>
                <a:cubicBezTo>
                  <a:pt x="2346" y="11373"/>
                  <a:pt x="2429" y="11444"/>
                  <a:pt x="2513" y="11444"/>
                </a:cubicBezTo>
                <a:lnTo>
                  <a:pt x="4311" y="11444"/>
                </a:lnTo>
                <a:cubicBezTo>
                  <a:pt x="4406" y="11444"/>
                  <a:pt x="4477" y="11373"/>
                  <a:pt x="4477" y="11278"/>
                </a:cubicBezTo>
                <a:cubicBezTo>
                  <a:pt x="4477" y="11194"/>
                  <a:pt x="4406" y="11123"/>
                  <a:pt x="4311" y="11123"/>
                </a:cubicBezTo>
                <a:lnTo>
                  <a:pt x="4108" y="11123"/>
                </a:lnTo>
                <a:cubicBezTo>
                  <a:pt x="4013" y="10361"/>
                  <a:pt x="3608" y="6801"/>
                  <a:pt x="4406" y="4420"/>
                </a:cubicBezTo>
                <a:cubicBezTo>
                  <a:pt x="4704" y="4372"/>
                  <a:pt x="4977" y="4217"/>
                  <a:pt x="5156" y="3979"/>
                </a:cubicBezTo>
                <a:cubicBezTo>
                  <a:pt x="6347" y="4717"/>
                  <a:pt x="6978" y="5717"/>
                  <a:pt x="6990" y="5729"/>
                </a:cubicBezTo>
                <a:cubicBezTo>
                  <a:pt x="7025" y="5777"/>
                  <a:pt x="7085" y="5801"/>
                  <a:pt x="7144" y="5801"/>
                </a:cubicBezTo>
                <a:lnTo>
                  <a:pt x="7168" y="5801"/>
                </a:lnTo>
                <a:cubicBezTo>
                  <a:pt x="7240" y="5789"/>
                  <a:pt x="7287" y="5729"/>
                  <a:pt x="7299" y="5670"/>
                </a:cubicBezTo>
                <a:cubicBezTo>
                  <a:pt x="7299" y="5658"/>
                  <a:pt x="7359" y="5289"/>
                  <a:pt x="7299" y="4824"/>
                </a:cubicBezTo>
                <a:cubicBezTo>
                  <a:pt x="7228" y="4193"/>
                  <a:pt x="7001" y="3693"/>
                  <a:pt x="6632" y="3348"/>
                </a:cubicBezTo>
                <a:cubicBezTo>
                  <a:pt x="6251" y="2991"/>
                  <a:pt x="5847" y="2860"/>
                  <a:pt x="5501" y="2848"/>
                </a:cubicBezTo>
                <a:cubicBezTo>
                  <a:pt x="6739" y="2253"/>
                  <a:pt x="7752" y="2098"/>
                  <a:pt x="7763" y="2098"/>
                </a:cubicBezTo>
                <a:cubicBezTo>
                  <a:pt x="7823" y="2086"/>
                  <a:pt x="7882" y="2038"/>
                  <a:pt x="7906" y="1979"/>
                </a:cubicBezTo>
                <a:cubicBezTo>
                  <a:pt x="7918" y="1955"/>
                  <a:pt x="7882" y="1884"/>
                  <a:pt x="7847" y="1836"/>
                </a:cubicBezTo>
                <a:cubicBezTo>
                  <a:pt x="7807" y="1806"/>
                  <a:pt x="7083" y="1226"/>
                  <a:pt x="6150" y="1226"/>
                </a:cubicBezTo>
                <a:cubicBezTo>
                  <a:pt x="5968" y="1226"/>
                  <a:pt x="5779" y="1248"/>
                  <a:pt x="5585" y="1300"/>
                </a:cubicBezTo>
                <a:cubicBezTo>
                  <a:pt x="5430" y="1336"/>
                  <a:pt x="5299" y="1383"/>
                  <a:pt x="5168" y="1455"/>
                </a:cubicBezTo>
                <a:cubicBezTo>
                  <a:pt x="5144" y="1407"/>
                  <a:pt x="5132" y="1360"/>
                  <a:pt x="5108" y="1300"/>
                </a:cubicBezTo>
                <a:cubicBezTo>
                  <a:pt x="4584" y="181"/>
                  <a:pt x="3382" y="2"/>
                  <a:pt x="3322" y="2"/>
                </a:cubicBezTo>
                <a:cubicBezTo>
                  <a:pt x="3313" y="1"/>
                  <a:pt x="3304" y="0"/>
                  <a:pt x="329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18" name="Google Shape;12918;p63"/>
          <p:cNvGrpSpPr/>
          <p:nvPr/>
        </p:nvGrpSpPr>
        <p:grpSpPr>
          <a:xfrm>
            <a:off x="7531277" y="2886354"/>
            <a:ext cx="185184" cy="367296"/>
            <a:chOff x="7531277" y="2886354"/>
            <a:chExt cx="185184" cy="367296"/>
          </a:xfrm>
        </p:grpSpPr>
        <p:sp>
          <p:nvSpPr>
            <p:cNvPr id="12919" name="Google Shape;12919;p63"/>
            <p:cNvSpPr/>
            <p:nvPr/>
          </p:nvSpPr>
          <p:spPr>
            <a:xfrm>
              <a:off x="7531277" y="2886354"/>
              <a:ext cx="185184" cy="367296"/>
            </a:xfrm>
            <a:custGeom>
              <a:avLst/>
              <a:gdLst/>
              <a:ahLst/>
              <a:cxnLst/>
              <a:rect l="l" t="t" r="r" b="b"/>
              <a:pathLst>
                <a:path w="5787" h="11478" extrusionOk="0">
                  <a:moveTo>
                    <a:pt x="2894" y="667"/>
                  </a:moveTo>
                  <a:lnTo>
                    <a:pt x="4810" y="5775"/>
                  </a:lnTo>
                  <a:lnTo>
                    <a:pt x="3977" y="5775"/>
                  </a:lnTo>
                  <a:cubicBezTo>
                    <a:pt x="3894" y="5775"/>
                    <a:pt x="3822" y="5846"/>
                    <a:pt x="3822" y="5942"/>
                  </a:cubicBezTo>
                  <a:cubicBezTo>
                    <a:pt x="3822" y="6025"/>
                    <a:pt x="3894" y="6096"/>
                    <a:pt x="3977" y="6096"/>
                  </a:cubicBezTo>
                  <a:lnTo>
                    <a:pt x="4179" y="6096"/>
                  </a:lnTo>
                  <a:lnTo>
                    <a:pt x="5156" y="8287"/>
                  </a:lnTo>
                  <a:lnTo>
                    <a:pt x="4513" y="8287"/>
                  </a:lnTo>
                  <a:cubicBezTo>
                    <a:pt x="4429" y="8287"/>
                    <a:pt x="4358" y="8359"/>
                    <a:pt x="4358" y="8454"/>
                  </a:cubicBezTo>
                  <a:cubicBezTo>
                    <a:pt x="4358" y="8549"/>
                    <a:pt x="4429" y="8620"/>
                    <a:pt x="4513" y="8620"/>
                  </a:cubicBezTo>
                  <a:lnTo>
                    <a:pt x="4632" y="8620"/>
                  </a:lnTo>
                  <a:lnTo>
                    <a:pt x="5310" y="9716"/>
                  </a:lnTo>
                  <a:lnTo>
                    <a:pt x="500" y="9716"/>
                  </a:lnTo>
                  <a:lnTo>
                    <a:pt x="1167" y="8620"/>
                  </a:lnTo>
                  <a:lnTo>
                    <a:pt x="2894" y="8620"/>
                  </a:lnTo>
                  <a:cubicBezTo>
                    <a:pt x="2977" y="8620"/>
                    <a:pt x="3060" y="8549"/>
                    <a:pt x="3060" y="8454"/>
                  </a:cubicBezTo>
                  <a:cubicBezTo>
                    <a:pt x="3060" y="8359"/>
                    <a:pt x="2977" y="8287"/>
                    <a:pt x="2894" y="8287"/>
                  </a:cubicBezTo>
                  <a:lnTo>
                    <a:pt x="631" y="8287"/>
                  </a:lnTo>
                  <a:lnTo>
                    <a:pt x="1608" y="6096"/>
                  </a:lnTo>
                  <a:lnTo>
                    <a:pt x="2346" y="6096"/>
                  </a:lnTo>
                  <a:cubicBezTo>
                    <a:pt x="2429" y="6096"/>
                    <a:pt x="2501" y="6025"/>
                    <a:pt x="2501" y="5942"/>
                  </a:cubicBezTo>
                  <a:cubicBezTo>
                    <a:pt x="2501" y="5846"/>
                    <a:pt x="2429" y="5775"/>
                    <a:pt x="2346" y="5775"/>
                  </a:cubicBezTo>
                  <a:lnTo>
                    <a:pt x="977" y="5775"/>
                  </a:lnTo>
                  <a:lnTo>
                    <a:pt x="2894" y="667"/>
                  </a:lnTo>
                  <a:close/>
                  <a:moveTo>
                    <a:pt x="3263" y="10049"/>
                  </a:moveTo>
                  <a:lnTo>
                    <a:pt x="3263" y="11145"/>
                  </a:lnTo>
                  <a:lnTo>
                    <a:pt x="2524" y="11145"/>
                  </a:lnTo>
                  <a:lnTo>
                    <a:pt x="2524" y="10049"/>
                  </a:lnTo>
                  <a:close/>
                  <a:moveTo>
                    <a:pt x="2882" y="0"/>
                  </a:moveTo>
                  <a:cubicBezTo>
                    <a:pt x="2810" y="0"/>
                    <a:pt x="2751" y="48"/>
                    <a:pt x="2715" y="108"/>
                  </a:cubicBezTo>
                  <a:lnTo>
                    <a:pt x="560" y="5870"/>
                  </a:lnTo>
                  <a:cubicBezTo>
                    <a:pt x="548" y="5906"/>
                    <a:pt x="548" y="5965"/>
                    <a:pt x="572" y="6013"/>
                  </a:cubicBezTo>
                  <a:cubicBezTo>
                    <a:pt x="596" y="6061"/>
                    <a:pt x="667" y="6084"/>
                    <a:pt x="703" y="6084"/>
                  </a:cubicBezTo>
                  <a:lnTo>
                    <a:pt x="1227" y="6084"/>
                  </a:lnTo>
                  <a:lnTo>
                    <a:pt x="203" y="8359"/>
                  </a:lnTo>
                  <a:cubicBezTo>
                    <a:pt x="167" y="8406"/>
                    <a:pt x="191" y="8478"/>
                    <a:pt x="215" y="8525"/>
                  </a:cubicBezTo>
                  <a:cubicBezTo>
                    <a:pt x="250" y="8573"/>
                    <a:pt x="298" y="8597"/>
                    <a:pt x="369" y="8597"/>
                  </a:cubicBezTo>
                  <a:lnTo>
                    <a:pt x="750" y="8597"/>
                  </a:lnTo>
                  <a:lnTo>
                    <a:pt x="36" y="9787"/>
                  </a:lnTo>
                  <a:cubicBezTo>
                    <a:pt x="0" y="9835"/>
                    <a:pt x="0" y="9906"/>
                    <a:pt x="36" y="9954"/>
                  </a:cubicBezTo>
                  <a:cubicBezTo>
                    <a:pt x="72" y="10013"/>
                    <a:pt x="119" y="10049"/>
                    <a:pt x="191" y="10049"/>
                  </a:cubicBezTo>
                  <a:lnTo>
                    <a:pt x="2179" y="10049"/>
                  </a:lnTo>
                  <a:lnTo>
                    <a:pt x="2179" y="11145"/>
                  </a:lnTo>
                  <a:lnTo>
                    <a:pt x="1989" y="11145"/>
                  </a:lnTo>
                  <a:cubicBezTo>
                    <a:pt x="1893" y="11145"/>
                    <a:pt x="1822" y="11228"/>
                    <a:pt x="1822" y="11311"/>
                  </a:cubicBezTo>
                  <a:cubicBezTo>
                    <a:pt x="1822" y="11407"/>
                    <a:pt x="1893" y="11478"/>
                    <a:pt x="1989" y="11478"/>
                  </a:cubicBezTo>
                  <a:lnTo>
                    <a:pt x="3786" y="11478"/>
                  </a:lnTo>
                  <a:cubicBezTo>
                    <a:pt x="3870" y="11478"/>
                    <a:pt x="3953" y="11407"/>
                    <a:pt x="3953" y="11311"/>
                  </a:cubicBezTo>
                  <a:cubicBezTo>
                    <a:pt x="3953" y="11228"/>
                    <a:pt x="3870" y="11145"/>
                    <a:pt x="3786" y="11145"/>
                  </a:cubicBezTo>
                  <a:lnTo>
                    <a:pt x="3596" y="11145"/>
                  </a:lnTo>
                  <a:lnTo>
                    <a:pt x="3596" y="10049"/>
                  </a:lnTo>
                  <a:lnTo>
                    <a:pt x="5584" y="10049"/>
                  </a:lnTo>
                  <a:cubicBezTo>
                    <a:pt x="5644" y="10049"/>
                    <a:pt x="5703" y="10013"/>
                    <a:pt x="5739" y="9954"/>
                  </a:cubicBezTo>
                  <a:cubicBezTo>
                    <a:pt x="5787" y="9918"/>
                    <a:pt x="5787" y="9859"/>
                    <a:pt x="5739" y="9787"/>
                  </a:cubicBezTo>
                  <a:lnTo>
                    <a:pt x="5025" y="8597"/>
                  </a:lnTo>
                  <a:lnTo>
                    <a:pt x="5406" y="8597"/>
                  </a:lnTo>
                  <a:cubicBezTo>
                    <a:pt x="5465" y="8597"/>
                    <a:pt x="5513" y="8573"/>
                    <a:pt x="5549" y="8525"/>
                  </a:cubicBezTo>
                  <a:cubicBezTo>
                    <a:pt x="5572" y="8490"/>
                    <a:pt x="5572" y="8418"/>
                    <a:pt x="5561" y="8359"/>
                  </a:cubicBezTo>
                  <a:lnTo>
                    <a:pt x="4537" y="6084"/>
                  </a:lnTo>
                  <a:lnTo>
                    <a:pt x="5049" y="6084"/>
                  </a:lnTo>
                  <a:cubicBezTo>
                    <a:pt x="5108" y="6084"/>
                    <a:pt x="5156" y="6061"/>
                    <a:pt x="5191" y="6013"/>
                  </a:cubicBezTo>
                  <a:cubicBezTo>
                    <a:pt x="5215" y="5965"/>
                    <a:pt x="5227" y="5906"/>
                    <a:pt x="5203" y="5870"/>
                  </a:cubicBezTo>
                  <a:lnTo>
                    <a:pt x="3048" y="108"/>
                  </a:lnTo>
                  <a:cubicBezTo>
                    <a:pt x="3013" y="48"/>
                    <a:pt x="2953" y="0"/>
                    <a:pt x="2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0" name="Google Shape;12920;p63"/>
            <p:cNvSpPr/>
            <p:nvPr/>
          </p:nvSpPr>
          <p:spPr>
            <a:xfrm>
              <a:off x="7642157" y="3151154"/>
              <a:ext cx="16032" cy="10688"/>
            </a:xfrm>
            <a:custGeom>
              <a:avLst/>
              <a:gdLst/>
              <a:ahLst/>
              <a:cxnLst/>
              <a:rect l="l" t="t" r="r" b="b"/>
              <a:pathLst>
                <a:path w="501" h="334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250"/>
                    <a:pt x="71" y="334"/>
                    <a:pt x="155" y="334"/>
                  </a:cubicBezTo>
                  <a:lnTo>
                    <a:pt x="333" y="334"/>
                  </a:lnTo>
                  <a:cubicBezTo>
                    <a:pt x="429" y="334"/>
                    <a:pt x="500" y="250"/>
                    <a:pt x="500" y="167"/>
                  </a:cubicBezTo>
                  <a:cubicBezTo>
                    <a:pt x="500" y="72"/>
                    <a:pt x="429" y="0"/>
                    <a:pt x="3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1" name="Google Shape;12921;p63"/>
            <p:cNvSpPr/>
            <p:nvPr/>
          </p:nvSpPr>
          <p:spPr>
            <a:xfrm>
              <a:off x="7625005" y="3070738"/>
              <a:ext cx="16032" cy="10336"/>
            </a:xfrm>
            <a:custGeom>
              <a:avLst/>
              <a:gdLst/>
              <a:ahLst/>
              <a:cxnLst/>
              <a:rect l="l" t="t" r="r" b="b"/>
              <a:pathLst>
                <a:path w="501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334" y="322"/>
                  </a:lnTo>
                  <a:cubicBezTo>
                    <a:pt x="429" y="322"/>
                    <a:pt x="500" y="251"/>
                    <a:pt x="500" y="168"/>
                  </a:cubicBezTo>
                  <a:cubicBezTo>
                    <a:pt x="500" y="72"/>
                    <a:pt x="429" y="1"/>
                    <a:pt x="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22" name="Google Shape;12922;p63"/>
          <p:cNvGrpSpPr/>
          <p:nvPr/>
        </p:nvGrpSpPr>
        <p:grpSpPr>
          <a:xfrm>
            <a:off x="6926637" y="2886738"/>
            <a:ext cx="297184" cy="367296"/>
            <a:chOff x="6926637" y="2886738"/>
            <a:chExt cx="297184" cy="367296"/>
          </a:xfrm>
        </p:grpSpPr>
        <p:sp>
          <p:nvSpPr>
            <p:cNvPr id="12923" name="Google Shape;12923;p63"/>
            <p:cNvSpPr/>
            <p:nvPr/>
          </p:nvSpPr>
          <p:spPr>
            <a:xfrm>
              <a:off x="7006637" y="2961202"/>
              <a:ext cx="106720" cy="100064"/>
            </a:xfrm>
            <a:custGeom>
              <a:avLst/>
              <a:gdLst/>
              <a:ahLst/>
              <a:cxnLst/>
              <a:rect l="l" t="t" r="r" b="b"/>
              <a:pathLst>
                <a:path w="3335" h="3127" extrusionOk="0">
                  <a:moveTo>
                    <a:pt x="2155" y="1"/>
                  </a:moveTo>
                  <a:cubicBezTo>
                    <a:pt x="1646" y="1"/>
                    <a:pt x="1141" y="200"/>
                    <a:pt x="762" y="578"/>
                  </a:cubicBezTo>
                  <a:cubicBezTo>
                    <a:pt x="108" y="1233"/>
                    <a:pt x="0" y="2281"/>
                    <a:pt x="512" y="3055"/>
                  </a:cubicBezTo>
                  <a:cubicBezTo>
                    <a:pt x="536" y="3091"/>
                    <a:pt x="596" y="3126"/>
                    <a:pt x="643" y="3126"/>
                  </a:cubicBezTo>
                  <a:cubicBezTo>
                    <a:pt x="667" y="3126"/>
                    <a:pt x="703" y="3114"/>
                    <a:pt x="727" y="3091"/>
                  </a:cubicBezTo>
                  <a:cubicBezTo>
                    <a:pt x="810" y="3055"/>
                    <a:pt x="834" y="2948"/>
                    <a:pt x="774" y="2852"/>
                  </a:cubicBezTo>
                  <a:cubicBezTo>
                    <a:pt x="346" y="2221"/>
                    <a:pt x="429" y="1352"/>
                    <a:pt x="989" y="805"/>
                  </a:cubicBezTo>
                  <a:cubicBezTo>
                    <a:pt x="1306" y="488"/>
                    <a:pt x="1726" y="322"/>
                    <a:pt x="2149" y="322"/>
                  </a:cubicBezTo>
                  <a:cubicBezTo>
                    <a:pt x="2457" y="322"/>
                    <a:pt x="2766" y="410"/>
                    <a:pt x="3036" y="590"/>
                  </a:cubicBezTo>
                  <a:cubicBezTo>
                    <a:pt x="3065" y="609"/>
                    <a:pt x="3099" y="619"/>
                    <a:pt x="3134" y="619"/>
                  </a:cubicBezTo>
                  <a:cubicBezTo>
                    <a:pt x="3186" y="619"/>
                    <a:pt x="3239" y="597"/>
                    <a:pt x="3275" y="555"/>
                  </a:cubicBezTo>
                  <a:cubicBezTo>
                    <a:pt x="3334" y="471"/>
                    <a:pt x="3310" y="376"/>
                    <a:pt x="3227" y="328"/>
                  </a:cubicBezTo>
                  <a:cubicBezTo>
                    <a:pt x="2900" y="107"/>
                    <a:pt x="2527" y="1"/>
                    <a:pt x="2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4" name="Google Shape;12924;p63"/>
            <p:cNvSpPr/>
            <p:nvPr/>
          </p:nvSpPr>
          <p:spPr>
            <a:xfrm>
              <a:off x="7037485" y="2986738"/>
              <a:ext cx="106720" cy="100800"/>
            </a:xfrm>
            <a:custGeom>
              <a:avLst/>
              <a:gdLst/>
              <a:ahLst/>
              <a:cxnLst/>
              <a:rect l="l" t="t" r="r" b="b"/>
              <a:pathLst>
                <a:path w="3335" h="3150" extrusionOk="0">
                  <a:moveTo>
                    <a:pt x="2689" y="0"/>
                  </a:moveTo>
                  <a:cubicBezTo>
                    <a:pt x="2658" y="0"/>
                    <a:pt x="2626" y="10"/>
                    <a:pt x="2596" y="30"/>
                  </a:cubicBezTo>
                  <a:cubicBezTo>
                    <a:pt x="2525" y="78"/>
                    <a:pt x="2489" y="185"/>
                    <a:pt x="2549" y="269"/>
                  </a:cubicBezTo>
                  <a:cubicBezTo>
                    <a:pt x="2977" y="911"/>
                    <a:pt x="2894" y="1781"/>
                    <a:pt x="2346" y="2328"/>
                  </a:cubicBezTo>
                  <a:cubicBezTo>
                    <a:pt x="2025" y="2643"/>
                    <a:pt x="1605" y="2808"/>
                    <a:pt x="1183" y="2808"/>
                  </a:cubicBezTo>
                  <a:cubicBezTo>
                    <a:pt x="872" y="2808"/>
                    <a:pt x="560" y="2718"/>
                    <a:pt x="287" y="2531"/>
                  </a:cubicBezTo>
                  <a:cubicBezTo>
                    <a:pt x="261" y="2518"/>
                    <a:pt x="231" y="2511"/>
                    <a:pt x="200" y="2511"/>
                  </a:cubicBezTo>
                  <a:cubicBezTo>
                    <a:pt x="144" y="2511"/>
                    <a:pt x="87" y="2533"/>
                    <a:pt x="48" y="2578"/>
                  </a:cubicBezTo>
                  <a:cubicBezTo>
                    <a:pt x="1" y="2650"/>
                    <a:pt x="25" y="2757"/>
                    <a:pt x="96" y="2816"/>
                  </a:cubicBezTo>
                  <a:cubicBezTo>
                    <a:pt x="418" y="3043"/>
                    <a:pt x="799" y="3150"/>
                    <a:pt x="1180" y="3150"/>
                  </a:cubicBezTo>
                  <a:cubicBezTo>
                    <a:pt x="1691" y="3150"/>
                    <a:pt x="2192" y="2947"/>
                    <a:pt x="2584" y="2566"/>
                  </a:cubicBezTo>
                  <a:cubicBezTo>
                    <a:pt x="3239" y="1888"/>
                    <a:pt x="3335" y="852"/>
                    <a:pt x="2834" y="78"/>
                  </a:cubicBezTo>
                  <a:cubicBezTo>
                    <a:pt x="2804" y="32"/>
                    <a:pt x="2748" y="0"/>
                    <a:pt x="26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5" name="Google Shape;12925;p63"/>
            <p:cNvSpPr/>
            <p:nvPr/>
          </p:nvSpPr>
          <p:spPr>
            <a:xfrm>
              <a:off x="6926637" y="2886738"/>
              <a:ext cx="297184" cy="367296"/>
            </a:xfrm>
            <a:custGeom>
              <a:avLst/>
              <a:gdLst/>
              <a:ahLst/>
              <a:cxnLst/>
              <a:rect l="l" t="t" r="r" b="b"/>
              <a:pathLst>
                <a:path w="9287" h="11478" extrusionOk="0">
                  <a:moveTo>
                    <a:pt x="4644" y="441"/>
                  </a:moveTo>
                  <a:cubicBezTo>
                    <a:pt x="4822" y="691"/>
                    <a:pt x="5108" y="1191"/>
                    <a:pt x="4989" y="1631"/>
                  </a:cubicBezTo>
                  <a:cubicBezTo>
                    <a:pt x="4882" y="1608"/>
                    <a:pt x="4763" y="1608"/>
                    <a:pt x="4644" y="1608"/>
                  </a:cubicBezTo>
                  <a:cubicBezTo>
                    <a:pt x="4524" y="1608"/>
                    <a:pt x="4417" y="1608"/>
                    <a:pt x="4298" y="1631"/>
                  </a:cubicBezTo>
                  <a:cubicBezTo>
                    <a:pt x="4179" y="1191"/>
                    <a:pt x="4465" y="691"/>
                    <a:pt x="4644" y="441"/>
                  </a:cubicBezTo>
                  <a:close/>
                  <a:moveTo>
                    <a:pt x="3167" y="738"/>
                  </a:moveTo>
                  <a:lnTo>
                    <a:pt x="3167" y="738"/>
                  </a:lnTo>
                  <a:cubicBezTo>
                    <a:pt x="3441" y="893"/>
                    <a:pt x="3905" y="1250"/>
                    <a:pt x="3941" y="1703"/>
                  </a:cubicBezTo>
                  <a:cubicBezTo>
                    <a:pt x="3727" y="1762"/>
                    <a:pt x="3512" y="1846"/>
                    <a:pt x="3322" y="1965"/>
                  </a:cubicBezTo>
                  <a:cubicBezTo>
                    <a:pt x="3036" y="1608"/>
                    <a:pt x="3108" y="1036"/>
                    <a:pt x="3167" y="738"/>
                  </a:cubicBezTo>
                  <a:close/>
                  <a:moveTo>
                    <a:pt x="6120" y="738"/>
                  </a:moveTo>
                  <a:lnTo>
                    <a:pt x="6120" y="738"/>
                  </a:lnTo>
                  <a:cubicBezTo>
                    <a:pt x="6179" y="1048"/>
                    <a:pt x="6251" y="1608"/>
                    <a:pt x="5965" y="1965"/>
                  </a:cubicBezTo>
                  <a:cubicBezTo>
                    <a:pt x="5775" y="1846"/>
                    <a:pt x="5572" y="1774"/>
                    <a:pt x="5346" y="1703"/>
                  </a:cubicBezTo>
                  <a:cubicBezTo>
                    <a:pt x="5406" y="1250"/>
                    <a:pt x="5870" y="893"/>
                    <a:pt x="6120" y="738"/>
                  </a:cubicBezTo>
                  <a:close/>
                  <a:moveTo>
                    <a:pt x="1917" y="1572"/>
                  </a:moveTo>
                  <a:lnTo>
                    <a:pt x="1917" y="1572"/>
                  </a:lnTo>
                  <a:cubicBezTo>
                    <a:pt x="2024" y="1584"/>
                    <a:pt x="2155" y="1608"/>
                    <a:pt x="2310" y="1667"/>
                  </a:cubicBezTo>
                  <a:cubicBezTo>
                    <a:pt x="2548" y="1762"/>
                    <a:pt x="2858" y="1905"/>
                    <a:pt x="3012" y="2179"/>
                  </a:cubicBezTo>
                  <a:cubicBezTo>
                    <a:pt x="2834" y="2310"/>
                    <a:pt x="2667" y="2477"/>
                    <a:pt x="2536" y="2655"/>
                  </a:cubicBezTo>
                  <a:cubicBezTo>
                    <a:pt x="2143" y="2441"/>
                    <a:pt x="1977" y="1881"/>
                    <a:pt x="1917" y="1572"/>
                  </a:cubicBezTo>
                  <a:close/>
                  <a:moveTo>
                    <a:pt x="7382" y="1572"/>
                  </a:moveTo>
                  <a:cubicBezTo>
                    <a:pt x="7370" y="1667"/>
                    <a:pt x="7334" y="1810"/>
                    <a:pt x="7275" y="1953"/>
                  </a:cubicBezTo>
                  <a:cubicBezTo>
                    <a:pt x="7191" y="2191"/>
                    <a:pt x="7037" y="2501"/>
                    <a:pt x="6775" y="2655"/>
                  </a:cubicBezTo>
                  <a:cubicBezTo>
                    <a:pt x="6632" y="2477"/>
                    <a:pt x="6477" y="2310"/>
                    <a:pt x="6298" y="2179"/>
                  </a:cubicBezTo>
                  <a:cubicBezTo>
                    <a:pt x="6501" y="1774"/>
                    <a:pt x="7072" y="1631"/>
                    <a:pt x="7382" y="1572"/>
                  </a:cubicBezTo>
                  <a:close/>
                  <a:moveTo>
                    <a:pt x="1642" y="2755"/>
                  </a:moveTo>
                  <a:cubicBezTo>
                    <a:pt x="1872" y="2755"/>
                    <a:pt x="2131" y="2801"/>
                    <a:pt x="2322" y="2953"/>
                  </a:cubicBezTo>
                  <a:cubicBezTo>
                    <a:pt x="2203" y="3144"/>
                    <a:pt x="2131" y="3358"/>
                    <a:pt x="2060" y="3572"/>
                  </a:cubicBezTo>
                  <a:cubicBezTo>
                    <a:pt x="1607" y="3548"/>
                    <a:pt x="1250" y="3084"/>
                    <a:pt x="1084" y="2822"/>
                  </a:cubicBezTo>
                  <a:cubicBezTo>
                    <a:pt x="1191" y="2786"/>
                    <a:pt x="1322" y="2774"/>
                    <a:pt x="1476" y="2763"/>
                  </a:cubicBezTo>
                  <a:cubicBezTo>
                    <a:pt x="1529" y="2758"/>
                    <a:pt x="1585" y="2755"/>
                    <a:pt x="1642" y="2755"/>
                  </a:cubicBezTo>
                  <a:close/>
                  <a:moveTo>
                    <a:pt x="7670" y="2763"/>
                  </a:moveTo>
                  <a:cubicBezTo>
                    <a:pt x="7877" y="2763"/>
                    <a:pt x="8075" y="2795"/>
                    <a:pt x="8215" y="2822"/>
                  </a:cubicBezTo>
                  <a:cubicBezTo>
                    <a:pt x="8156" y="2905"/>
                    <a:pt x="8084" y="3013"/>
                    <a:pt x="7977" y="3132"/>
                  </a:cubicBezTo>
                  <a:cubicBezTo>
                    <a:pt x="7799" y="3322"/>
                    <a:pt x="7549" y="3560"/>
                    <a:pt x="7239" y="3596"/>
                  </a:cubicBezTo>
                  <a:cubicBezTo>
                    <a:pt x="7180" y="3370"/>
                    <a:pt x="7084" y="3155"/>
                    <a:pt x="6965" y="2965"/>
                  </a:cubicBezTo>
                  <a:cubicBezTo>
                    <a:pt x="7160" y="2809"/>
                    <a:pt x="7422" y="2763"/>
                    <a:pt x="7670" y="2763"/>
                  </a:cubicBezTo>
                  <a:close/>
                  <a:moveTo>
                    <a:pt x="7544" y="3920"/>
                  </a:moveTo>
                  <a:cubicBezTo>
                    <a:pt x="7912" y="3920"/>
                    <a:pt x="8297" y="4139"/>
                    <a:pt x="8513" y="4287"/>
                  </a:cubicBezTo>
                  <a:cubicBezTo>
                    <a:pt x="8430" y="4346"/>
                    <a:pt x="8311" y="4417"/>
                    <a:pt x="8168" y="4477"/>
                  </a:cubicBezTo>
                  <a:cubicBezTo>
                    <a:pt x="7983" y="4569"/>
                    <a:pt x="7748" y="4655"/>
                    <a:pt x="7512" y="4655"/>
                  </a:cubicBezTo>
                  <a:cubicBezTo>
                    <a:pt x="7445" y="4655"/>
                    <a:pt x="7377" y="4648"/>
                    <a:pt x="7311" y="4632"/>
                  </a:cubicBezTo>
                  <a:cubicBezTo>
                    <a:pt x="7322" y="4525"/>
                    <a:pt x="7322" y="4406"/>
                    <a:pt x="7322" y="4287"/>
                  </a:cubicBezTo>
                  <a:cubicBezTo>
                    <a:pt x="7322" y="4167"/>
                    <a:pt x="7322" y="4072"/>
                    <a:pt x="7311" y="3953"/>
                  </a:cubicBezTo>
                  <a:cubicBezTo>
                    <a:pt x="7386" y="3930"/>
                    <a:pt x="7465" y="3920"/>
                    <a:pt x="7544" y="3920"/>
                  </a:cubicBezTo>
                  <a:close/>
                  <a:moveTo>
                    <a:pt x="1744" y="3920"/>
                  </a:moveTo>
                  <a:cubicBezTo>
                    <a:pt x="1823" y="3920"/>
                    <a:pt x="1901" y="3930"/>
                    <a:pt x="1977" y="3953"/>
                  </a:cubicBezTo>
                  <a:cubicBezTo>
                    <a:pt x="1965" y="4048"/>
                    <a:pt x="1965" y="4167"/>
                    <a:pt x="1965" y="4287"/>
                  </a:cubicBezTo>
                  <a:cubicBezTo>
                    <a:pt x="1965" y="4406"/>
                    <a:pt x="1965" y="4513"/>
                    <a:pt x="1977" y="4632"/>
                  </a:cubicBezTo>
                  <a:cubicBezTo>
                    <a:pt x="1903" y="4654"/>
                    <a:pt x="1827" y="4664"/>
                    <a:pt x="1751" y="4664"/>
                  </a:cubicBezTo>
                  <a:cubicBezTo>
                    <a:pt x="1383" y="4664"/>
                    <a:pt x="1003" y="4434"/>
                    <a:pt x="786" y="4287"/>
                  </a:cubicBezTo>
                  <a:cubicBezTo>
                    <a:pt x="1002" y="4139"/>
                    <a:pt x="1379" y="3920"/>
                    <a:pt x="1744" y="3920"/>
                  </a:cubicBezTo>
                  <a:close/>
                  <a:moveTo>
                    <a:pt x="7251" y="5001"/>
                  </a:moveTo>
                  <a:cubicBezTo>
                    <a:pt x="7680" y="5049"/>
                    <a:pt x="8037" y="5513"/>
                    <a:pt x="8215" y="5763"/>
                  </a:cubicBezTo>
                  <a:cubicBezTo>
                    <a:pt x="8108" y="5799"/>
                    <a:pt x="7977" y="5811"/>
                    <a:pt x="7834" y="5822"/>
                  </a:cubicBezTo>
                  <a:cubicBezTo>
                    <a:pt x="7790" y="5824"/>
                    <a:pt x="7743" y="5826"/>
                    <a:pt x="7695" y="5826"/>
                  </a:cubicBezTo>
                  <a:cubicBezTo>
                    <a:pt x="7451" y="5826"/>
                    <a:pt x="7176" y="5791"/>
                    <a:pt x="6977" y="5632"/>
                  </a:cubicBezTo>
                  <a:cubicBezTo>
                    <a:pt x="7096" y="5441"/>
                    <a:pt x="7180" y="5227"/>
                    <a:pt x="7251" y="5001"/>
                  </a:cubicBezTo>
                  <a:close/>
                  <a:moveTo>
                    <a:pt x="2072" y="4989"/>
                  </a:moveTo>
                  <a:cubicBezTo>
                    <a:pt x="2131" y="5215"/>
                    <a:pt x="2215" y="5418"/>
                    <a:pt x="2334" y="5608"/>
                  </a:cubicBezTo>
                  <a:cubicBezTo>
                    <a:pt x="2127" y="5775"/>
                    <a:pt x="1853" y="5826"/>
                    <a:pt x="1600" y="5826"/>
                  </a:cubicBezTo>
                  <a:cubicBezTo>
                    <a:pt x="1401" y="5826"/>
                    <a:pt x="1214" y="5794"/>
                    <a:pt x="1084" y="5763"/>
                  </a:cubicBezTo>
                  <a:cubicBezTo>
                    <a:pt x="1143" y="5668"/>
                    <a:pt x="1226" y="5572"/>
                    <a:pt x="1322" y="5453"/>
                  </a:cubicBezTo>
                  <a:cubicBezTo>
                    <a:pt x="1500" y="5263"/>
                    <a:pt x="1762" y="5013"/>
                    <a:pt x="2072" y="4989"/>
                  </a:cubicBezTo>
                  <a:close/>
                  <a:moveTo>
                    <a:pt x="4644" y="1941"/>
                  </a:moveTo>
                  <a:cubicBezTo>
                    <a:pt x="5941" y="1941"/>
                    <a:pt x="6989" y="3001"/>
                    <a:pt x="6989" y="4287"/>
                  </a:cubicBezTo>
                  <a:cubicBezTo>
                    <a:pt x="6989" y="5584"/>
                    <a:pt x="5941" y="6644"/>
                    <a:pt x="4644" y="6644"/>
                  </a:cubicBezTo>
                  <a:cubicBezTo>
                    <a:pt x="3346" y="6644"/>
                    <a:pt x="2298" y="5584"/>
                    <a:pt x="2298" y="4287"/>
                  </a:cubicBezTo>
                  <a:cubicBezTo>
                    <a:pt x="2298" y="2989"/>
                    <a:pt x="3346" y="1941"/>
                    <a:pt x="4644" y="1941"/>
                  </a:cubicBezTo>
                  <a:close/>
                  <a:moveTo>
                    <a:pt x="2512" y="5941"/>
                  </a:moveTo>
                  <a:cubicBezTo>
                    <a:pt x="2655" y="6120"/>
                    <a:pt x="2810" y="6287"/>
                    <a:pt x="2989" y="6418"/>
                  </a:cubicBezTo>
                  <a:cubicBezTo>
                    <a:pt x="2798" y="6799"/>
                    <a:pt x="2238" y="6965"/>
                    <a:pt x="1917" y="7025"/>
                  </a:cubicBezTo>
                  <a:cubicBezTo>
                    <a:pt x="1929" y="6918"/>
                    <a:pt x="1965" y="6787"/>
                    <a:pt x="2012" y="6656"/>
                  </a:cubicBezTo>
                  <a:cubicBezTo>
                    <a:pt x="2096" y="6406"/>
                    <a:pt x="2250" y="6096"/>
                    <a:pt x="2512" y="5941"/>
                  </a:cubicBezTo>
                  <a:close/>
                  <a:moveTo>
                    <a:pt x="6763" y="5941"/>
                  </a:moveTo>
                  <a:cubicBezTo>
                    <a:pt x="7144" y="6156"/>
                    <a:pt x="7311" y="6715"/>
                    <a:pt x="7370" y="7025"/>
                  </a:cubicBezTo>
                  <a:cubicBezTo>
                    <a:pt x="7275" y="7001"/>
                    <a:pt x="7144" y="6965"/>
                    <a:pt x="7001" y="6930"/>
                  </a:cubicBezTo>
                  <a:cubicBezTo>
                    <a:pt x="6739" y="6834"/>
                    <a:pt x="6429" y="6692"/>
                    <a:pt x="6287" y="6418"/>
                  </a:cubicBezTo>
                  <a:cubicBezTo>
                    <a:pt x="6465" y="6287"/>
                    <a:pt x="6620" y="6120"/>
                    <a:pt x="6763" y="5941"/>
                  </a:cubicBezTo>
                  <a:close/>
                  <a:moveTo>
                    <a:pt x="3322" y="6632"/>
                  </a:moveTo>
                  <a:cubicBezTo>
                    <a:pt x="3512" y="6751"/>
                    <a:pt x="3727" y="6823"/>
                    <a:pt x="3941" y="6894"/>
                  </a:cubicBezTo>
                  <a:cubicBezTo>
                    <a:pt x="3905" y="7323"/>
                    <a:pt x="3441" y="7680"/>
                    <a:pt x="3167" y="7858"/>
                  </a:cubicBezTo>
                  <a:cubicBezTo>
                    <a:pt x="3108" y="7549"/>
                    <a:pt x="3036" y="6989"/>
                    <a:pt x="3322" y="6632"/>
                  </a:cubicBezTo>
                  <a:close/>
                  <a:moveTo>
                    <a:pt x="5965" y="6608"/>
                  </a:moveTo>
                  <a:cubicBezTo>
                    <a:pt x="6263" y="6965"/>
                    <a:pt x="6191" y="7549"/>
                    <a:pt x="6120" y="7858"/>
                  </a:cubicBezTo>
                  <a:cubicBezTo>
                    <a:pt x="6025" y="7799"/>
                    <a:pt x="5929" y="7727"/>
                    <a:pt x="5810" y="7620"/>
                  </a:cubicBezTo>
                  <a:cubicBezTo>
                    <a:pt x="5608" y="7442"/>
                    <a:pt x="5370" y="7192"/>
                    <a:pt x="5346" y="6882"/>
                  </a:cubicBezTo>
                  <a:cubicBezTo>
                    <a:pt x="5572" y="6823"/>
                    <a:pt x="5775" y="6727"/>
                    <a:pt x="5965" y="6608"/>
                  </a:cubicBezTo>
                  <a:close/>
                  <a:moveTo>
                    <a:pt x="4989" y="6954"/>
                  </a:moveTo>
                  <a:cubicBezTo>
                    <a:pt x="5120" y="7382"/>
                    <a:pt x="4822" y="7894"/>
                    <a:pt x="4644" y="8156"/>
                  </a:cubicBezTo>
                  <a:cubicBezTo>
                    <a:pt x="4584" y="8073"/>
                    <a:pt x="4513" y="7954"/>
                    <a:pt x="4453" y="7823"/>
                  </a:cubicBezTo>
                  <a:cubicBezTo>
                    <a:pt x="4334" y="7585"/>
                    <a:pt x="4227" y="7251"/>
                    <a:pt x="4298" y="6954"/>
                  </a:cubicBezTo>
                  <a:lnTo>
                    <a:pt x="4298" y="6954"/>
                  </a:lnTo>
                  <a:cubicBezTo>
                    <a:pt x="4405" y="6965"/>
                    <a:pt x="4524" y="6965"/>
                    <a:pt x="4644" y="6965"/>
                  </a:cubicBezTo>
                  <a:cubicBezTo>
                    <a:pt x="4763" y="6965"/>
                    <a:pt x="4870" y="6965"/>
                    <a:pt x="4989" y="6954"/>
                  </a:cubicBezTo>
                  <a:close/>
                  <a:moveTo>
                    <a:pt x="488" y="7787"/>
                  </a:moveTo>
                  <a:lnTo>
                    <a:pt x="488" y="7787"/>
                  </a:lnTo>
                  <a:cubicBezTo>
                    <a:pt x="1774" y="8132"/>
                    <a:pt x="2608" y="8728"/>
                    <a:pt x="3084" y="9204"/>
                  </a:cubicBezTo>
                  <a:cubicBezTo>
                    <a:pt x="3370" y="9490"/>
                    <a:pt x="3572" y="9751"/>
                    <a:pt x="3691" y="9930"/>
                  </a:cubicBezTo>
                  <a:cubicBezTo>
                    <a:pt x="2322" y="9668"/>
                    <a:pt x="1500" y="9049"/>
                    <a:pt x="1060" y="8573"/>
                  </a:cubicBezTo>
                  <a:cubicBezTo>
                    <a:pt x="774" y="8275"/>
                    <a:pt x="595" y="8001"/>
                    <a:pt x="488" y="7787"/>
                  </a:cubicBezTo>
                  <a:close/>
                  <a:moveTo>
                    <a:pt x="8811" y="7787"/>
                  </a:moveTo>
                  <a:lnTo>
                    <a:pt x="8811" y="7787"/>
                  </a:lnTo>
                  <a:cubicBezTo>
                    <a:pt x="8704" y="7989"/>
                    <a:pt x="8525" y="8275"/>
                    <a:pt x="8251" y="8573"/>
                  </a:cubicBezTo>
                  <a:cubicBezTo>
                    <a:pt x="7787" y="9049"/>
                    <a:pt x="6977" y="9668"/>
                    <a:pt x="5632" y="9930"/>
                  </a:cubicBezTo>
                  <a:cubicBezTo>
                    <a:pt x="5965" y="9394"/>
                    <a:pt x="6894" y="8299"/>
                    <a:pt x="8811" y="7787"/>
                  </a:cubicBezTo>
                  <a:close/>
                  <a:moveTo>
                    <a:pt x="4644" y="0"/>
                  </a:moveTo>
                  <a:cubicBezTo>
                    <a:pt x="4584" y="0"/>
                    <a:pt x="4548" y="24"/>
                    <a:pt x="4513" y="60"/>
                  </a:cubicBezTo>
                  <a:cubicBezTo>
                    <a:pt x="4477" y="96"/>
                    <a:pt x="4120" y="512"/>
                    <a:pt x="3989" y="1036"/>
                  </a:cubicBezTo>
                  <a:cubicBezTo>
                    <a:pt x="3655" y="596"/>
                    <a:pt x="3167" y="346"/>
                    <a:pt x="3143" y="334"/>
                  </a:cubicBezTo>
                  <a:cubicBezTo>
                    <a:pt x="3114" y="326"/>
                    <a:pt x="3085" y="315"/>
                    <a:pt x="3057" y="315"/>
                  </a:cubicBezTo>
                  <a:cubicBezTo>
                    <a:pt x="3038" y="315"/>
                    <a:pt x="3019" y="320"/>
                    <a:pt x="3000" y="334"/>
                  </a:cubicBezTo>
                  <a:cubicBezTo>
                    <a:pt x="2965" y="346"/>
                    <a:pt x="2929" y="393"/>
                    <a:pt x="2917" y="441"/>
                  </a:cubicBezTo>
                  <a:cubicBezTo>
                    <a:pt x="2905" y="465"/>
                    <a:pt x="2739" y="1000"/>
                    <a:pt x="2798" y="1536"/>
                  </a:cubicBezTo>
                  <a:cubicBezTo>
                    <a:pt x="2334" y="1274"/>
                    <a:pt x="1774" y="1227"/>
                    <a:pt x="1738" y="1227"/>
                  </a:cubicBezTo>
                  <a:cubicBezTo>
                    <a:pt x="1691" y="1227"/>
                    <a:pt x="1655" y="1239"/>
                    <a:pt x="1607" y="1274"/>
                  </a:cubicBezTo>
                  <a:cubicBezTo>
                    <a:pt x="1572" y="1298"/>
                    <a:pt x="1548" y="1358"/>
                    <a:pt x="1560" y="1405"/>
                  </a:cubicBezTo>
                  <a:cubicBezTo>
                    <a:pt x="1560" y="1429"/>
                    <a:pt x="1607" y="2001"/>
                    <a:pt x="1869" y="2465"/>
                  </a:cubicBezTo>
                  <a:cubicBezTo>
                    <a:pt x="1769" y="2449"/>
                    <a:pt x="1670" y="2443"/>
                    <a:pt x="1574" y="2443"/>
                  </a:cubicBezTo>
                  <a:cubicBezTo>
                    <a:pt x="1158" y="2443"/>
                    <a:pt x="813" y="2565"/>
                    <a:pt x="774" y="2584"/>
                  </a:cubicBezTo>
                  <a:cubicBezTo>
                    <a:pt x="726" y="2596"/>
                    <a:pt x="679" y="2620"/>
                    <a:pt x="667" y="2667"/>
                  </a:cubicBezTo>
                  <a:cubicBezTo>
                    <a:pt x="655" y="2715"/>
                    <a:pt x="655" y="2763"/>
                    <a:pt x="667" y="2798"/>
                  </a:cubicBezTo>
                  <a:cubicBezTo>
                    <a:pt x="679" y="2834"/>
                    <a:pt x="941" y="3322"/>
                    <a:pt x="1369" y="3655"/>
                  </a:cubicBezTo>
                  <a:cubicBezTo>
                    <a:pt x="845" y="3786"/>
                    <a:pt x="429" y="4156"/>
                    <a:pt x="405" y="4167"/>
                  </a:cubicBezTo>
                  <a:cubicBezTo>
                    <a:pt x="369" y="4203"/>
                    <a:pt x="345" y="4251"/>
                    <a:pt x="345" y="4310"/>
                  </a:cubicBezTo>
                  <a:cubicBezTo>
                    <a:pt x="345" y="4346"/>
                    <a:pt x="357" y="4394"/>
                    <a:pt x="405" y="4441"/>
                  </a:cubicBezTo>
                  <a:cubicBezTo>
                    <a:pt x="429" y="4465"/>
                    <a:pt x="845" y="4822"/>
                    <a:pt x="1369" y="4965"/>
                  </a:cubicBezTo>
                  <a:cubicBezTo>
                    <a:pt x="941" y="5287"/>
                    <a:pt x="679" y="5775"/>
                    <a:pt x="667" y="5811"/>
                  </a:cubicBezTo>
                  <a:cubicBezTo>
                    <a:pt x="655" y="5858"/>
                    <a:pt x="643" y="5894"/>
                    <a:pt x="667" y="5941"/>
                  </a:cubicBezTo>
                  <a:cubicBezTo>
                    <a:pt x="679" y="5989"/>
                    <a:pt x="726" y="6013"/>
                    <a:pt x="774" y="6037"/>
                  </a:cubicBezTo>
                  <a:cubicBezTo>
                    <a:pt x="798" y="6049"/>
                    <a:pt x="1179" y="6168"/>
                    <a:pt x="1607" y="6168"/>
                  </a:cubicBezTo>
                  <a:cubicBezTo>
                    <a:pt x="1691" y="6168"/>
                    <a:pt x="1786" y="6168"/>
                    <a:pt x="1869" y="6156"/>
                  </a:cubicBezTo>
                  <a:lnTo>
                    <a:pt x="1869" y="6156"/>
                  </a:lnTo>
                  <a:cubicBezTo>
                    <a:pt x="1607" y="6608"/>
                    <a:pt x="1560" y="7180"/>
                    <a:pt x="1560" y="7204"/>
                  </a:cubicBezTo>
                  <a:cubicBezTo>
                    <a:pt x="1560" y="7251"/>
                    <a:pt x="1572" y="7299"/>
                    <a:pt x="1607" y="7346"/>
                  </a:cubicBezTo>
                  <a:cubicBezTo>
                    <a:pt x="1631" y="7370"/>
                    <a:pt x="1679" y="7382"/>
                    <a:pt x="1726" y="7382"/>
                  </a:cubicBezTo>
                  <a:lnTo>
                    <a:pt x="1738" y="7382"/>
                  </a:lnTo>
                  <a:cubicBezTo>
                    <a:pt x="1774" y="7382"/>
                    <a:pt x="2334" y="7346"/>
                    <a:pt x="2798" y="7073"/>
                  </a:cubicBezTo>
                  <a:lnTo>
                    <a:pt x="2798" y="7073"/>
                  </a:lnTo>
                  <a:cubicBezTo>
                    <a:pt x="2727" y="7608"/>
                    <a:pt x="2905" y="8132"/>
                    <a:pt x="2917" y="8180"/>
                  </a:cubicBezTo>
                  <a:cubicBezTo>
                    <a:pt x="2929" y="8216"/>
                    <a:pt x="2965" y="8263"/>
                    <a:pt x="3000" y="8275"/>
                  </a:cubicBezTo>
                  <a:cubicBezTo>
                    <a:pt x="3024" y="8299"/>
                    <a:pt x="3048" y="8299"/>
                    <a:pt x="3060" y="8299"/>
                  </a:cubicBezTo>
                  <a:cubicBezTo>
                    <a:pt x="3096" y="8299"/>
                    <a:pt x="3108" y="8299"/>
                    <a:pt x="3143" y="8275"/>
                  </a:cubicBezTo>
                  <a:cubicBezTo>
                    <a:pt x="3167" y="8263"/>
                    <a:pt x="3655" y="8013"/>
                    <a:pt x="3989" y="7585"/>
                  </a:cubicBezTo>
                  <a:cubicBezTo>
                    <a:pt x="4108" y="8013"/>
                    <a:pt x="4370" y="8370"/>
                    <a:pt x="4477" y="8501"/>
                  </a:cubicBezTo>
                  <a:lnTo>
                    <a:pt x="4477" y="10466"/>
                  </a:lnTo>
                  <a:cubicBezTo>
                    <a:pt x="4334" y="10287"/>
                    <a:pt x="4179" y="10121"/>
                    <a:pt x="4132" y="10085"/>
                  </a:cubicBezTo>
                  <a:cubicBezTo>
                    <a:pt x="4072" y="9966"/>
                    <a:pt x="3834" y="9501"/>
                    <a:pt x="3322" y="8978"/>
                  </a:cubicBezTo>
                  <a:cubicBezTo>
                    <a:pt x="2762" y="8442"/>
                    <a:pt x="1786" y="7727"/>
                    <a:pt x="226" y="7382"/>
                  </a:cubicBezTo>
                  <a:cubicBezTo>
                    <a:pt x="212" y="7379"/>
                    <a:pt x="198" y="7378"/>
                    <a:pt x="184" y="7378"/>
                  </a:cubicBezTo>
                  <a:cubicBezTo>
                    <a:pt x="139" y="7378"/>
                    <a:pt x="96" y="7393"/>
                    <a:pt x="60" y="7430"/>
                  </a:cubicBezTo>
                  <a:cubicBezTo>
                    <a:pt x="12" y="7477"/>
                    <a:pt x="0" y="7537"/>
                    <a:pt x="24" y="7596"/>
                  </a:cubicBezTo>
                  <a:cubicBezTo>
                    <a:pt x="24" y="7620"/>
                    <a:pt x="202" y="8180"/>
                    <a:pt x="786" y="8799"/>
                  </a:cubicBezTo>
                  <a:cubicBezTo>
                    <a:pt x="1310" y="9347"/>
                    <a:pt x="2274" y="10061"/>
                    <a:pt x="3893" y="10323"/>
                  </a:cubicBezTo>
                  <a:cubicBezTo>
                    <a:pt x="4001" y="10442"/>
                    <a:pt x="4334" y="10799"/>
                    <a:pt x="4465" y="11014"/>
                  </a:cubicBezTo>
                  <a:lnTo>
                    <a:pt x="4465" y="11311"/>
                  </a:lnTo>
                  <a:cubicBezTo>
                    <a:pt x="4465" y="11406"/>
                    <a:pt x="4536" y="11478"/>
                    <a:pt x="4632" y="11478"/>
                  </a:cubicBezTo>
                  <a:cubicBezTo>
                    <a:pt x="4715" y="11478"/>
                    <a:pt x="4786" y="11406"/>
                    <a:pt x="4786" y="11311"/>
                  </a:cubicBezTo>
                  <a:lnTo>
                    <a:pt x="4786" y="11014"/>
                  </a:lnTo>
                  <a:cubicBezTo>
                    <a:pt x="4941" y="10799"/>
                    <a:pt x="5251" y="10442"/>
                    <a:pt x="5358" y="10323"/>
                  </a:cubicBezTo>
                  <a:cubicBezTo>
                    <a:pt x="6989" y="10061"/>
                    <a:pt x="7942" y="9347"/>
                    <a:pt x="8465" y="8799"/>
                  </a:cubicBezTo>
                  <a:cubicBezTo>
                    <a:pt x="9049" y="8192"/>
                    <a:pt x="9227" y="7620"/>
                    <a:pt x="9227" y="7596"/>
                  </a:cubicBezTo>
                  <a:cubicBezTo>
                    <a:pt x="9287" y="7537"/>
                    <a:pt x="9275" y="7477"/>
                    <a:pt x="9227" y="7430"/>
                  </a:cubicBezTo>
                  <a:cubicBezTo>
                    <a:pt x="9191" y="7393"/>
                    <a:pt x="9148" y="7378"/>
                    <a:pt x="9103" y="7378"/>
                  </a:cubicBezTo>
                  <a:cubicBezTo>
                    <a:pt x="9089" y="7378"/>
                    <a:pt x="9075" y="7379"/>
                    <a:pt x="9061" y="7382"/>
                  </a:cubicBezTo>
                  <a:cubicBezTo>
                    <a:pt x="7501" y="7716"/>
                    <a:pt x="6525" y="8430"/>
                    <a:pt x="5965" y="8978"/>
                  </a:cubicBezTo>
                  <a:cubicBezTo>
                    <a:pt x="5453" y="9501"/>
                    <a:pt x="5215" y="9966"/>
                    <a:pt x="5155" y="10085"/>
                  </a:cubicBezTo>
                  <a:cubicBezTo>
                    <a:pt x="5108" y="10144"/>
                    <a:pt x="4953" y="10287"/>
                    <a:pt x="4810" y="10466"/>
                  </a:cubicBezTo>
                  <a:lnTo>
                    <a:pt x="4810" y="8501"/>
                  </a:lnTo>
                  <a:cubicBezTo>
                    <a:pt x="4917" y="8370"/>
                    <a:pt x="5179" y="8013"/>
                    <a:pt x="5298" y="7585"/>
                  </a:cubicBezTo>
                  <a:cubicBezTo>
                    <a:pt x="5632" y="8013"/>
                    <a:pt x="6120" y="8263"/>
                    <a:pt x="6144" y="8275"/>
                  </a:cubicBezTo>
                  <a:cubicBezTo>
                    <a:pt x="6179" y="8299"/>
                    <a:pt x="6191" y="8299"/>
                    <a:pt x="6227" y="8299"/>
                  </a:cubicBezTo>
                  <a:cubicBezTo>
                    <a:pt x="6239" y="8299"/>
                    <a:pt x="6263" y="8299"/>
                    <a:pt x="6287" y="8275"/>
                  </a:cubicBezTo>
                  <a:cubicBezTo>
                    <a:pt x="6322" y="8263"/>
                    <a:pt x="6358" y="8216"/>
                    <a:pt x="6370" y="8180"/>
                  </a:cubicBezTo>
                  <a:cubicBezTo>
                    <a:pt x="6382" y="8144"/>
                    <a:pt x="6549" y="7608"/>
                    <a:pt x="6489" y="7073"/>
                  </a:cubicBezTo>
                  <a:lnTo>
                    <a:pt x="6489" y="7073"/>
                  </a:lnTo>
                  <a:cubicBezTo>
                    <a:pt x="6953" y="7346"/>
                    <a:pt x="7513" y="7382"/>
                    <a:pt x="7549" y="7382"/>
                  </a:cubicBezTo>
                  <a:lnTo>
                    <a:pt x="7561" y="7382"/>
                  </a:lnTo>
                  <a:cubicBezTo>
                    <a:pt x="7608" y="7382"/>
                    <a:pt x="7656" y="7370"/>
                    <a:pt x="7680" y="7346"/>
                  </a:cubicBezTo>
                  <a:cubicBezTo>
                    <a:pt x="7715" y="7311"/>
                    <a:pt x="7739" y="7251"/>
                    <a:pt x="7727" y="7204"/>
                  </a:cubicBezTo>
                  <a:cubicBezTo>
                    <a:pt x="7727" y="7180"/>
                    <a:pt x="7680" y="6608"/>
                    <a:pt x="7418" y="6156"/>
                  </a:cubicBezTo>
                  <a:lnTo>
                    <a:pt x="7418" y="6156"/>
                  </a:lnTo>
                  <a:cubicBezTo>
                    <a:pt x="7501" y="6168"/>
                    <a:pt x="7596" y="6168"/>
                    <a:pt x="7680" y="6168"/>
                  </a:cubicBezTo>
                  <a:cubicBezTo>
                    <a:pt x="8108" y="6168"/>
                    <a:pt x="8489" y="6049"/>
                    <a:pt x="8513" y="6037"/>
                  </a:cubicBezTo>
                  <a:cubicBezTo>
                    <a:pt x="8561" y="6013"/>
                    <a:pt x="8596" y="5989"/>
                    <a:pt x="8620" y="5941"/>
                  </a:cubicBezTo>
                  <a:cubicBezTo>
                    <a:pt x="8632" y="5894"/>
                    <a:pt x="8632" y="5858"/>
                    <a:pt x="8620" y="5811"/>
                  </a:cubicBezTo>
                  <a:cubicBezTo>
                    <a:pt x="8608" y="5775"/>
                    <a:pt x="8346" y="5287"/>
                    <a:pt x="7918" y="4965"/>
                  </a:cubicBezTo>
                  <a:cubicBezTo>
                    <a:pt x="8442" y="4822"/>
                    <a:pt x="8858" y="4453"/>
                    <a:pt x="8882" y="4441"/>
                  </a:cubicBezTo>
                  <a:cubicBezTo>
                    <a:pt x="8918" y="4406"/>
                    <a:pt x="8942" y="4370"/>
                    <a:pt x="8942" y="4310"/>
                  </a:cubicBezTo>
                  <a:cubicBezTo>
                    <a:pt x="8942" y="4263"/>
                    <a:pt x="8930" y="4215"/>
                    <a:pt x="8882" y="4167"/>
                  </a:cubicBezTo>
                  <a:cubicBezTo>
                    <a:pt x="8858" y="4144"/>
                    <a:pt x="8442" y="3786"/>
                    <a:pt x="7918" y="3655"/>
                  </a:cubicBezTo>
                  <a:cubicBezTo>
                    <a:pt x="8346" y="3322"/>
                    <a:pt x="8596" y="2834"/>
                    <a:pt x="8620" y="2798"/>
                  </a:cubicBezTo>
                  <a:cubicBezTo>
                    <a:pt x="8632" y="2763"/>
                    <a:pt x="8644" y="2715"/>
                    <a:pt x="8620" y="2667"/>
                  </a:cubicBezTo>
                  <a:cubicBezTo>
                    <a:pt x="8608" y="2620"/>
                    <a:pt x="8561" y="2596"/>
                    <a:pt x="8513" y="2584"/>
                  </a:cubicBezTo>
                  <a:cubicBezTo>
                    <a:pt x="8483" y="2564"/>
                    <a:pt x="8108" y="2451"/>
                    <a:pt x="7664" y="2451"/>
                  </a:cubicBezTo>
                  <a:cubicBezTo>
                    <a:pt x="7580" y="2451"/>
                    <a:pt x="7493" y="2455"/>
                    <a:pt x="7406" y="2465"/>
                  </a:cubicBezTo>
                  <a:cubicBezTo>
                    <a:pt x="7680" y="2001"/>
                    <a:pt x="7727" y="1429"/>
                    <a:pt x="7727" y="1405"/>
                  </a:cubicBezTo>
                  <a:cubicBezTo>
                    <a:pt x="7727" y="1358"/>
                    <a:pt x="7703" y="1310"/>
                    <a:pt x="7680" y="1274"/>
                  </a:cubicBezTo>
                  <a:cubicBezTo>
                    <a:pt x="7650" y="1245"/>
                    <a:pt x="7605" y="1224"/>
                    <a:pt x="7570" y="1224"/>
                  </a:cubicBezTo>
                  <a:cubicBezTo>
                    <a:pt x="7562" y="1224"/>
                    <a:pt x="7555" y="1225"/>
                    <a:pt x="7549" y="1227"/>
                  </a:cubicBezTo>
                  <a:cubicBezTo>
                    <a:pt x="7513" y="1227"/>
                    <a:pt x="6953" y="1274"/>
                    <a:pt x="6489" y="1536"/>
                  </a:cubicBezTo>
                  <a:cubicBezTo>
                    <a:pt x="6560" y="1000"/>
                    <a:pt x="6382" y="477"/>
                    <a:pt x="6370" y="441"/>
                  </a:cubicBezTo>
                  <a:cubicBezTo>
                    <a:pt x="6358" y="393"/>
                    <a:pt x="6322" y="346"/>
                    <a:pt x="6287" y="334"/>
                  </a:cubicBezTo>
                  <a:cubicBezTo>
                    <a:pt x="6263" y="328"/>
                    <a:pt x="6239" y="325"/>
                    <a:pt x="6215" y="325"/>
                  </a:cubicBezTo>
                  <a:cubicBezTo>
                    <a:pt x="6191" y="325"/>
                    <a:pt x="6168" y="328"/>
                    <a:pt x="6144" y="334"/>
                  </a:cubicBezTo>
                  <a:cubicBezTo>
                    <a:pt x="6120" y="346"/>
                    <a:pt x="5620" y="596"/>
                    <a:pt x="5298" y="1036"/>
                  </a:cubicBezTo>
                  <a:cubicBezTo>
                    <a:pt x="5167" y="512"/>
                    <a:pt x="4786" y="96"/>
                    <a:pt x="4774" y="60"/>
                  </a:cubicBezTo>
                  <a:cubicBezTo>
                    <a:pt x="4751" y="36"/>
                    <a:pt x="4703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26" name="Google Shape;12926;p63"/>
          <p:cNvSpPr/>
          <p:nvPr/>
        </p:nvSpPr>
        <p:spPr>
          <a:xfrm>
            <a:off x="5255565" y="2885970"/>
            <a:ext cx="346368" cy="368064"/>
          </a:xfrm>
          <a:custGeom>
            <a:avLst/>
            <a:gdLst/>
            <a:ahLst/>
            <a:cxnLst/>
            <a:rect l="l" t="t" r="r" b="b"/>
            <a:pathLst>
              <a:path w="10824" h="11502" extrusionOk="0">
                <a:moveTo>
                  <a:pt x="5430" y="441"/>
                </a:moveTo>
                <a:cubicBezTo>
                  <a:pt x="5584" y="620"/>
                  <a:pt x="5846" y="977"/>
                  <a:pt x="6192" y="1453"/>
                </a:cubicBezTo>
                <a:cubicBezTo>
                  <a:pt x="5906" y="1727"/>
                  <a:pt x="5656" y="2013"/>
                  <a:pt x="5430" y="2275"/>
                </a:cubicBezTo>
                <a:cubicBezTo>
                  <a:pt x="5203" y="2013"/>
                  <a:pt x="4953" y="1727"/>
                  <a:pt x="4668" y="1453"/>
                </a:cubicBezTo>
                <a:cubicBezTo>
                  <a:pt x="5001" y="977"/>
                  <a:pt x="5287" y="643"/>
                  <a:pt x="5430" y="441"/>
                </a:cubicBezTo>
                <a:close/>
                <a:moveTo>
                  <a:pt x="6906" y="1274"/>
                </a:moveTo>
                <a:cubicBezTo>
                  <a:pt x="7204" y="1846"/>
                  <a:pt x="8061" y="3596"/>
                  <a:pt x="8061" y="4775"/>
                </a:cubicBezTo>
                <a:cubicBezTo>
                  <a:pt x="8061" y="5811"/>
                  <a:pt x="7454" y="6704"/>
                  <a:pt x="6596" y="7120"/>
                </a:cubicBezTo>
                <a:cubicBezTo>
                  <a:pt x="6632" y="7061"/>
                  <a:pt x="6680" y="7001"/>
                  <a:pt x="6715" y="6930"/>
                </a:cubicBezTo>
                <a:cubicBezTo>
                  <a:pt x="6954" y="6513"/>
                  <a:pt x="7037" y="5989"/>
                  <a:pt x="6977" y="5394"/>
                </a:cubicBezTo>
                <a:cubicBezTo>
                  <a:pt x="6906" y="4739"/>
                  <a:pt x="6656" y="4049"/>
                  <a:pt x="6215" y="3334"/>
                </a:cubicBezTo>
                <a:cubicBezTo>
                  <a:pt x="6192" y="3279"/>
                  <a:pt x="6138" y="3250"/>
                  <a:pt x="6076" y="3250"/>
                </a:cubicBezTo>
                <a:cubicBezTo>
                  <a:pt x="6044" y="3250"/>
                  <a:pt x="6010" y="3258"/>
                  <a:pt x="5977" y="3275"/>
                </a:cubicBezTo>
                <a:cubicBezTo>
                  <a:pt x="5906" y="3310"/>
                  <a:pt x="5882" y="3418"/>
                  <a:pt x="5918" y="3513"/>
                </a:cubicBezTo>
                <a:cubicBezTo>
                  <a:pt x="6680" y="4763"/>
                  <a:pt x="6858" y="5965"/>
                  <a:pt x="6418" y="6775"/>
                </a:cubicBezTo>
                <a:cubicBezTo>
                  <a:pt x="6180" y="7156"/>
                  <a:pt x="5822" y="7394"/>
                  <a:pt x="5430" y="7394"/>
                </a:cubicBezTo>
                <a:cubicBezTo>
                  <a:pt x="3989" y="7394"/>
                  <a:pt x="2810" y="6216"/>
                  <a:pt x="2810" y="4775"/>
                </a:cubicBezTo>
                <a:cubicBezTo>
                  <a:pt x="2810" y="3596"/>
                  <a:pt x="3679" y="1846"/>
                  <a:pt x="3977" y="1274"/>
                </a:cubicBezTo>
                <a:cubicBezTo>
                  <a:pt x="4584" y="1834"/>
                  <a:pt x="5096" y="2394"/>
                  <a:pt x="5525" y="2941"/>
                </a:cubicBezTo>
                <a:cubicBezTo>
                  <a:pt x="5549" y="2989"/>
                  <a:pt x="5608" y="3025"/>
                  <a:pt x="5656" y="3025"/>
                </a:cubicBezTo>
                <a:cubicBezTo>
                  <a:pt x="5680" y="3025"/>
                  <a:pt x="5727" y="3001"/>
                  <a:pt x="5763" y="2989"/>
                </a:cubicBezTo>
                <a:cubicBezTo>
                  <a:pt x="5834" y="2929"/>
                  <a:pt x="5846" y="2822"/>
                  <a:pt x="5787" y="2751"/>
                </a:cubicBezTo>
                <a:lnTo>
                  <a:pt x="5656" y="2572"/>
                </a:lnTo>
                <a:cubicBezTo>
                  <a:pt x="6013" y="2144"/>
                  <a:pt x="6430" y="1715"/>
                  <a:pt x="6906" y="1274"/>
                </a:cubicBezTo>
                <a:close/>
                <a:moveTo>
                  <a:pt x="5608" y="7716"/>
                </a:moveTo>
                <a:lnTo>
                  <a:pt x="5608" y="10061"/>
                </a:lnTo>
                <a:cubicBezTo>
                  <a:pt x="5501" y="9883"/>
                  <a:pt x="5382" y="9668"/>
                  <a:pt x="5227" y="9454"/>
                </a:cubicBezTo>
                <a:lnTo>
                  <a:pt x="5227" y="7716"/>
                </a:lnTo>
                <a:close/>
                <a:moveTo>
                  <a:pt x="10347" y="5906"/>
                </a:moveTo>
                <a:cubicBezTo>
                  <a:pt x="10228" y="6204"/>
                  <a:pt x="9990" y="6680"/>
                  <a:pt x="9597" y="7228"/>
                </a:cubicBezTo>
                <a:cubicBezTo>
                  <a:pt x="8989" y="8085"/>
                  <a:pt x="7870" y="9275"/>
                  <a:pt x="5953" y="10228"/>
                </a:cubicBezTo>
                <a:lnTo>
                  <a:pt x="5953" y="9549"/>
                </a:lnTo>
                <a:cubicBezTo>
                  <a:pt x="6680" y="8513"/>
                  <a:pt x="8037" y="7049"/>
                  <a:pt x="10347" y="5906"/>
                </a:cubicBezTo>
                <a:close/>
                <a:moveTo>
                  <a:pt x="488" y="5906"/>
                </a:moveTo>
                <a:lnTo>
                  <a:pt x="488" y="5906"/>
                </a:lnTo>
                <a:cubicBezTo>
                  <a:pt x="2512" y="6906"/>
                  <a:pt x="3775" y="8156"/>
                  <a:pt x="4489" y="9049"/>
                </a:cubicBezTo>
                <a:cubicBezTo>
                  <a:pt x="4941" y="9609"/>
                  <a:pt x="5251" y="10133"/>
                  <a:pt x="5441" y="10490"/>
                </a:cubicBezTo>
                <a:cubicBezTo>
                  <a:pt x="4548" y="10085"/>
                  <a:pt x="3751" y="9609"/>
                  <a:pt x="3036" y="9073"/>
                </a:cubicBezTo>
                <a:cubicBezTo>
                  <a:pt x="2393" y="8585"/>
                  <a:pt x="1834" y="8013"/>
                  <a:pt x="1369" y="7406"/>
                </a:cubicBezTo>
                <a:cubicBezTo>
                  <a:pt x="905" y="6799"/>
                  <a:pt x="631" y="6251"/>
                  <a:pt x="488" y="5906"/>
                </a:cubicBezTo>
                <a:close/>
                <a:moveTo>
                  <a:pt x="5418" y="0"/>
                </a:moveTo>
                <a:cubicBezTo>
                  <a:pt x="5358" y="0"/>
                  <a:pt x="5322" y="12"/>
                  <a:pt x="5275" y="60"/>
                </a:cubicBezTo>
                <a:cubicBezTo>
                  <a:pt x="5263" y="72"/>
                  <a:pt x="4918" y="477"/>
                  <a:pt x="4406" y="1215"/>
                </a:cubicBezTo>
                <a:cubicBezTo>
                  <a:pt x="4263" y="1096"/>
                  <a:pt x="4144" y="977"/>
                  <a:pt x="4001" y="858"/>
                </a:cubicBezTo>
                <a:cubicBezTo>
                  <a:pt x="3989" y="846"/>
                  <a:pt x="3989" y="846"/>
                  <a:pt x="3965" y="846"/>
                </a:cubicBezTo>
                <a:cubicBezTo>
                  <a:pt x="3943" y="831"/>
                  <a:pt x="3917" y="824"/>
                  <a:pt x="3891" y="824"/>
                </a:cubicBezTo>
                <a:cubicBezTo>
                  <a:pt x="3833" y="824"/>
                  <a:pt x="3775" y="856"/>
                  <a:pt x="3751" y="905"/>
                </a:cubicBezTo>
                <a:cubicBezTo>
                  <a:pt x="3727" y="941"/>
                  <a:pt x="3417" y="1501"/>
                  <a:pt x="3108" y="2263"/>
                </a:cubicBezTo>
                <a:cubicBezTo>
                  <a:pt x="2679" y="3287"/>
                  <a:pt x="2453" y="4132"/>
                  <a:pt x="2453" y="4763"/>
                </a:cubicBezTo>
                <a:cubicBezTo>
                  <a:pt x="2453" y="6204"/>
                  <a:pt x="3489" y="7418"/>
                  <a:pt x="4882" y="7668"/>
                </a:cubicBezTo>
                <a:lnTo>
                  <a:pt x="4882" y="8966"/>
                </a:lnTo>
                <a:cubicBezTo>
                  <a:pt x="4846" y="8930"/>
                  <a:pt x="4798" y="8883"/>
                  <a:pt x="4763" y="8823"/>
                </a:cubicBezTo>
                <a:cubicBezTo>
                  <a:pt x="3989" y="7859"/>
                  <a:pt x="2572" y="6477"/>
                  <a:pt x="250" y="5394"/>
                </a:cubicBezTo>
                <a:cubicBezTo>
                  <a:pt x="230" y="5386"/>
                  <a:pt x="209" y="5382"/>
                  <a:pt x="188" y="5382"/>
                </a:cubicBezTo>
                <a:cubicBezTo>
                  <a:pt x="146" y="5382"/>
                  <a:pt x="103" y="5398"/>
                  <a:pt x="72" y="5430"/>
                </a:cubicBezTo>
                <a:cubicBezTo>
                  <a:pt x="24" y="5477"/>
                  <a:pt x="0" y="5537"/>
                  <a:pt x="12" y="5608"/>
                </a:cubicBezTo>
                <a:cubicBezTo>
                  <a:pt x="24" y="5644"/>
                  <a:pt x="250" y="6489"/>
                  <a:pt x="1072" y="7573"/>
                </a:cubicBezTo>
                <a:cubicBezTo>
                  <a:pt x="1548" y="8216"/>
                  <a:pt x="2120" y="8799"/>
                  <a:pt x="2798" y="9311"/>
                </a:cubicBezTo>
                <a:cubicBezTo>
                  <a:pt x="3405" y="9787"/>
                  <a:pt x="4108" y="10228"/>
                  <a:pt x="4858" y="10585"/>
                </a:cubicBezTo>
                <a:lnTo>
                  <a:pt x="4858" y="11323"/>
                </a:lnTo>
                <a:cubicBezTo>
                  <a:pt x="4858" y="11419"/>
                  <a:pt x="4941" y="11490"/>
                  <a:pt x="5025" y="11490"/>
                </a:cubicBezTo>
                <a:cubicBezTo>
                  <a:pt x="5120" y="11490"/>
                  <a:pt x="5191" y="11419"/>
                  <a:pt x="5191" y="11323"/>
                </a:cubicBezTo>
                <a:lnTo>
                  <a:pt x="5191" y="10740"/>
                </a:lnTo>
                <a:cubicBezTo>
                  <a:pt x="5310" y="10799"/>
                  <a:pt x="5441" y="10847"/>
                  <a:pt x="5572" y="10907"/>
                </a:cubicBezTo>
                <a:lnTo>
                  <a:pt x="5572" y="11335"/>
                </a:lnTo>
                <a:cubicBezTo>
                  <a:pt x="5572" y="11430"/>
                  <a:pt x="5656" y="11502"/>
                  <a:pt x="5739" y="11502"/>
                </a:cubicBezTo>
                <a:cubicBezTo>
                  <a:pt x="5834" y="11502"/>
                  <a:pt x="5906" y="11430"/>
                  <a:pt x="5906" y="11335"/>
                </a:cubicBezTo>
                <a:lnTo>
                  <a:pt x="5906" y="10597"/>
                </a:lnTo>
                <a:cubicBezTo>
                  <a:pt x="7989" y="9597"/>
                  <a:pt x="9192" y="8323"/>
                  <a:pt x="9835" y="7406"/>
                </a:cubicBezTo>
                <a:cubicBezTo>
                  <a:pt x="10549" y="6418"/>
                  <a:pt x="10740" y="5656"/>
                  <a:pt x="10752" y="5620"/>
                </a:cubicBezTo>
                <a:cubicBezTo>
                  <a:pt x="10823" y="5549"/>
                  <a:pt x="10799" y="5489"/>
                  <a:pt x="10740" y="5442"/>
                </a:cubicBezTo>
                <a:cubicBezTo>
                  <a:pt x="10717" y="5419"/>
                  <a:pt x="10675" y="5411"/>
                  <a:pt x="10633" y="5411"/>
                </a:cubicBezTo>
                <a:cubicBezTo>
                  <a:pt x="10608" y="5411"/>
                  <a:pt x="10583" y="5413"/>
                  <a:pt x="10561" y="5418"/>
                </a:cubicBezTo>
                <a:cubicBezTo>
                  <a:pt x="8227" y="6489"/>
                  <a:pt x="6799" y="7882"/>
                  <a:pt x="5953" y="8966"/>
                </a:cubicBezTo>
                <a:lnTo>
                  <a:pt x="5953" y="7668"/>
                </a:lnTo>
                <a:cubicBezTo>
                  <a:pt x="7335" y="7406"/>
                  <a:pt x="8370" y="6204"/>
                  <a:pt x="8370" y="4763"/>
                </a:cubicBezTo>
                <a:cubicBezTo>
                  <a:pt x="8370" y="4120"/>
                  <a:pt x="8156" y="3287"/>
                  <a:pt x="7716" y="2263"/>
                </a:cubicBezTo>
                <a:cubicBezTo>
                  <a:pt x="7406" y="1501"/>
                  <a:pt x="7084" y="941"/>
                  <a:pt x="7084" y="905"/>
                </a:cubicBezTo>
                <a:cubicBezTo>
                  <a:pt x="7052" y="856"/>
                  <a:pt x="6991" y="824"/>
                  <a:pt x="6933" y="824"/>
                </a:cubicBezTo>
                <a:cubicBezTo>
                  <a:pt x="6907" y="824"/>
                  <a:pt x="6881" y="831"/>
                  <a:pt x="6858" y="846"/>
                </a:cubicBezTo>
                <a:cubicBezTo>
                  <a:pt x="6846" y="846"/>
                  <a:pt x="6846" y="858"/>
                  <a:pt x="6823" y="858"/>
                </a:cubicBezTo>
                <a:lnTo>
                  <a:pt x="6430" y="1215"/>
                </a:lnTo>
                <a:cubicBezTo>
                  <a:pt x="5906" y="477"/>
                  <a:pt x="5560" y="72"/>
                  <a:pt x="5549" y="60"/>
                </a:cubicBezTo>
                <a:cubicBezTo>
                  <a:pt x="5513" y="12"/>
                  <a:pt x="5477" y="0"/>
                  <a:pt x="541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27" name="Google Shape;12927;p63"/>
          <p:cNvSpPr/>
          <p:nvPr/>
        </p:nvSpPr>
        <p:spPr>
          <a:xfrm>
            <a:off x="5834285" y="2886674"/>
            <a:ext cx="289216" cy="368512"/>
          </a:xfrm>
          <a:custGeom>
            <a:avLst/>
            <a:gdLst/>
            <a:ahLst/>
            <a:cxnLst/>
            <a:rect l="l" t="t" r="r" b="b"/>
            <a:pathLst>
              <a:path w="9038" h="11516" extrusionOk="0">
                <a:moveTo>
                  <a:pt x="6103" y="573"/>
                </a:moveTo>
                <a:cubicBezTo>
                  <a:pt x="6692" y="573"/>
                  <a:pt x="7223" y="753"/>
                  <a:pt x="7645" y="1110"/>
                </a:cubicBezTo>
                <a:cubicBezTo>
                  <a:pt x="8252" y="1633"/>
                  <a:pt x="8585" y="2479"/>
                  <a:pt x="8597" y="3515"/>
                </a:cubicBezTo>
                <a:cubicBezTo>
                  <a:pt x="8192" y="2788"/>
                  <a:pt x="7585" y="2122"/>
                  <a:pt x="6847" y="1633"/>
                </a:cubicBezTo>
                <a:cubicBezTo>
                  <a:pt x="6144" y="1169"/>
                  <a:pt x="5382" y="919"/>
                  <a:pt x="4728" y="895"/>
                </a:cubicBezTo>
                <a:cubicBezTo>
                  <a:pt x="4894" y="812"/>
                  <a:pt x="5061" y="752"/>
                  <a:pt x="5240" y="693"/>
                </a:cubicBezTo>
                <a:cubicBezTo>
                  <a:pt x="5537" y="613"/>
                  <a:pt x="5826" y="573"/>
                  <a:pt x="6103" y="573"/>
                </a:cubicBezTo>
                <a:close/>
                <a:moveTo>
                  <a:pt x="1394" y="1205"/>
                </a:moveTo>
                <a:cubicBezTo>
                  <a:pt x="1465" y="2598"/>
                  <a:pt x="1680" y="5098"/>
                  <a:pt x="2263" y="7063"/>
                </a:cubicBezTo>
                <a:cubicBezTo>
                  <a:pt x="2144" y="7360"/>
                  <a:pt x="2084" y="7670"/>
                  <a:pt x="2037" y="7944"/>
                </a:cubicBezTo>
                <a:cubicBezTo>
                  <a:pt x="1739" y="7051"/>
                  <a:pt x="1465" y="6194"/>
                  <a:pt x="1263" y="5455"/>
                </a:cubicBezTo>
                <a:cubicBezTo>
                  <a:pt x="1049" y="3705"/>
                  <a:pt x="1168" y="2384"/>
                  <a:pt x="1322" y="1586"/>
                </a:cubicBezTo>
                <a:cubicBezTo>
                  <a:pt x="1346" y="1443"/>
                  <a:pt x="1370" y="1324"/>
                  <a:pt x="1394" y="1205"/>
                </a:cubicBezTo>
                <a:close/>
                <a:moveTo>
                  <a:pt x="1503" y="0"/>
                </a:moveTo>
                <a:cubicBezTo>
                  <a:pt x="1439" y="0"/>
                  <a:pt x="1377" y="45"/>
                  <a:pt x="1334" y="109"/>
                </a:cubicBezTo>
                <a:cubicBezTo>
                  <a:pt x="1322" y="121"/>
                  <a:pt x="1108" y="598"/>
                  <a:pt x="965" y="1526"/>
                </a:cubicBezTo>
                <a:cubicBezTo>
                  <a:pt x="870" y="2074"/>
                  <a:pt x="787" y="2848"/>
                  <a:pt x="799" y="3836"/>
                </a:cubicBezTo>
                <a:cubicBezTo>
                  <a:pt x="537" y="2788"/>
                  <a:pt x="418" y="2145"/>
                  <a:pt x="394" y="2133"/>
                </a:cubicBezTo>
                <a:cubicBezTo>
                  <a:pt x="382" y="2050"/>
                  <a:pt x="310" y="2003"/>
                  <a:pt x="215" y="2003"/>
                </a:cubicBezTo>
                <a:cubicBezTo>
                  <a:pt x="132" y="2003"/>
                  <a:pt x="72" y="2074"/>
                  <a:pt x="60" y="2169"/>
                </a:cubicBezTo>
                <a:cubicBezTo>
                  <a:pt x="60" y="2181"/>
                  <a:pt x="1" y="3324"/>
                  <a:pt x="144" y="5039"/>
                </a:cubicBezTo>
                <a:cubicBezTo>
                  <a:pt x="299" y="6610"/>
                  <a:pt x="668" y="8991"/>
                  <a:pt x="1608" y="11408"/>
                </a:cubicBezTo>
                <a:cubicBezTo>
                  <a:pt x="1632" y="11468"/>
                  <a:pt x="1692" y="11516"/>
                  <a:pt x="1763" y="11516"/>
                </a:cubicBezTo>
                <a:cubicBezTo>
                  <a:pt x="1787" y="11516"/>
                  <a:pt x="1811" y="11516"/>
                  <a:pt x="1823" y="11492"/>
                </a:cubicBezTo>
                <a:cubicBezTo>
                  <a:pt x="1918" y="11468"/>
                  <a:pt x="1965" y="11361"/>
                  <a:pt x="1918" y="11277"/>
                </a:cubicBezTo>
                <a:cubicBezTo>
                  <a:pt x="989" y="8908"/>
                  <a:pt x="620" y="6551"/>
                  <a:pt x="477" y="5003"/>
                </a:cubicBezTo>
                <a:cubicBezTo>
                  <a:pt x="429" y="4503"/>
                  <a:pt x="394" y="4050"/>
                  <a:pt x="382" y="3669"/>
                </a:cubicBezTo>
                <a:lnTo>
                  <a:pt x="382" y="3669"/>
                </a:lnTo>
                <a:cubicBezTo>
                  <a:pt x="691" y="4931"/>
                  <a:pt x="1227" y="6896"/>
                  <a:pt x="2037" y="9099"/>
                </a:cubicBezTo>
                <a:cubicBezTo>
                  <a:pt x="2056" y="9175"/>
                  <a:pt x="2128" y="9213"/>
                  <a:pt x="2193" y="9213"/>
                </a:cubicBezTo>
                <a:cubicBezTo>
                  <a:pt x="2209" y="9213"/>
                  <a:pt x="2225" y="9211"/>
                  <a:pt x="2239" y="9206"/>
                </a:cubicBezTo>
                <a:cubicBezTo>
                  <a:pt x="2334" y="9170"/>
                  <a:pt x="2382" y="9075"/>
                  <a:pt x="2346" y="8991"/>
                </a:cubicBezTo>
                <a:lnTo>
                  <a:pt x="2263" y="8730"/>
                </a:lnTo>
                <a:cubicBezTo>
                  <a:pt x="2263" y="8670"/>
                  <a:pt x="2287" y="8075"/>
                  <a:pt x="2454" y="7467"/>
                </a:cubicBezTo>
                <a:cubicBezTo>
                  <a:pt x="2596" y="6896"/>
                  <a:pt x="2894" y="6194"/>
                  <a:pt x="3466" y="6098"/>
                </a:cubicBezTo>
                <a:cubicBezTo>
                  <a:pt x="3510" y="6089"/>
                  <a:pt x="3557" y="6084"/>
                  <a:pt x="3607" y="6084"/>
                </a:cubicBezTo>
                <a:cubicBezTo>
                  <a:pt x="4169" y="6084"/>
                  <a:pt x="5061" y="6699"/>
                  <a:pt x="6144" y="7837"/>
                </a:cubicBezTo>
                <a:cubicBezTo>
                  <a:pt x="6430" y="8134"/>
                  <a:pt x="6680" y="8432"/>
                  <a:pt x="6918" y="8694"/>
                </a:cubicBezTo>
                <a:cubicBezTo>
                  <a:pt x="6692" y="8539"/>
                  <a:pt x="6454" y="8337"/>
                  <a:pt x="6216" y="8158"/>
                </a:cubicBezTo>
                <a:cubicBezTo>
                  <a:pt x="5656" y="7741"/>
                  <a:pt x="5180" y="7420"/>
                  <a:pt x="4787" y="7194"/>
                </a:cubicBezTo>
                <a:cubicBezTo>
                  <a:pt x="4227" y="6854"/>
                  <a:pt x="3961" y="6782"/>
                  <a:pt x="3806" y="6782"/>
                </a:cubicBezTo>
                <a:cubicBezTo>
                  <a:pt x="3776" y="6782"/>
                  <a:pt x="3750" y="6785"/>
                  <a:pt x="3728" y="6789"/>
                </a:cubicBezTo>
                <a:cubicBezTo>
                  <a:pt x="3489" y="6836"/>
                  <a:pt x="3239" y="7122"/>
                  <a:pt x="2954" y="8872"/>
                </a:cubicBezTo>
                <a:cubicBezTo>
                  <a:pt x="2882" y="9325"/>
                  <a:pt x="2823" y="9765"/>
                  <a:pt x="2775" y="10111"/>
                </a:cubicBezTo>
                <a:cubicBezTo>
                  <a:pt x="2715" y="9968"/>
                  <a:pt x="2680" y="9825"/>
                  <a:pt x="2620" y="9682"/>
                </a:cubicBezTo>
                <a:cubicBezTo>
                  <a:pt x="2592" y="9606"/>
                  <a:pt x="2517" y="9568"/>
                  <a:pt x="2446" y="9568"/>
                </a:cubicBezTo>
                <a:cubicBezTo>
                  <a:pt x="2428" y="9568"/>
                  <a:pt x="2411" y="9570"/>
                  <a:pt x="2394" y="9575"/>
                </a:cubicBezTo>
                <a:cubicBezTo>
                  <a:pt x="2299" y="9611"/>
                  <a:pt x="2263" y="9706"/>
                  <a:pt x="2287" y="9801"/>
                </a:cubicBezTo>
                <a:cubicBezTo>
                  <a:pt x="2501" y="10349"/>
                  <a:pt x="2715" y="10885"/>
                  <a:pt x="2930" y="11408"/>
                </a:cubicBezTo>
                <a:cubicBezTo>
                  <a:pt x="2954" y="11468"/>
                  <a:pt x="3013" y="11516"/>
                  <a:pt x="3073" y="11516"/>
                </a:cubicBezTo>
                <a:cubicBezTo>
                  <a:pt x="3096" y="11516"/>
                  <a:pt x="3120" y="11516"/>
                  <a:pt x="3132" y="11492"/>
                </a:cubicBezTo>
                <a:cubicBezTo>
                  <a:pt x="3227" y="11468"/>
                  <a:pt x="3251" y="11361"/>
                  <a:pt x="3227" y="11277"/>
                </a:cubicBezTo>
                <a:cubicBezTo>
                  <a:pt x="3156" y="11111"/>
                  <a:pt x="3096" y="10932"/>
                  <a:pt x="3013" y="10765"/>
                </a:cubicBezTo>
                <a:cubicBezTo>
                  <a:pt x="3037" y="10646"/>
                  <a:pt x="3108" y="9825"/>
                  <a:pt x="3239" y="8980"/>
                </a:cubicBezTo>
                <a:cubicBezTo>
                  <a:pt x="3513" y="7325"/>
                  <a:pt x="3728" y="7122"/>
                  <a:pt x="3763" y="7086"/>
                </a:cubicBezTo>
                <a:cubicBezTo>
                  <a:pt x="3811" y="7086"/>
                  <a:pt x="3989" y="7110"/>
                  <a:pt x="4585" y="7444"/>
                </a:cubicBezTo>
                <a:cubicBezTo>
                  <a:pt x="4954" y="7670"/>
                  <a:pt x="5430" y="8003"/>
                  <a:pt x="5978" y="8396"/>
                </a:cubicBezTo>
                <a:cubicBezTo>
                  <a:pt x="6930" y="9099"/>
                  <a:pt x="7811" y="9825"/>
                  <a:pt x="7823" y="9825"/>
                </a:cubicBezTo>
                <a:cubicBezTo>
                  <a:pt x="7851" y="9853"/>
                  <a:pt x="7890" y="9865"/>
                  <a:pt x="7929" y="9865"/>
                </a:cubicBezTo>
                <a:cubicBezTo>
                  <a:pt x="7973" y="9865"/>
                  <a:pt x="8018" y="9850"/>
                  <a:pt x="8049" y="9825"/>
                </a:cubicBezTo>
                <a:cubicBezTo>
                  <a:pt x="8109" y="9765"/>
                  <a:pt x="8121" y="9682"/>
                  <a:pt x="8061" y="9611"/>
                </a:cubicBezTo>
                <a:cubicBezTo>
                  <a:pt x="8049" y="9587"/>
                  <a:pt x="7287" y="8551"/>
                  <a:pt x="6371" y="7563"/>
                </a:cubicBezTo>
                <a:cubicBezTo>
                  <a:pt x="5203" y="6341"/>
                  <a:pt x="4276" y="5718"/>
                  <a:pt x="3591" y="5718"/>
                </a:cubicBezTo>
                <a:cubicBezTo>
                  <a:pt x="3514" y="5718"/>
                  <a:pt x="3441" y="5726"/>
                  <a:pt x="3370" y="5741"/>
                </a:cubicBezTo>
                <a:cubicBezTo>
                  <a:pt x="3013" y="5813"/>
                  <a:pt x="2751" y="6051"/>
                  <a:pt x="2537" y="6348"/>
                </a:cubicBezTo>
                <a:cubicBezTo>
                  <a:pt x="2537" y="6253"/>
                  <a:pt x="2537" y="6170"/>
                  <a:pt x="2561" y="6063"/>
                </a:cubicBezTo>
                <a:cubicBezTo>
                  <a:pt x="2680" y="5693"/>
                  <a:pt x="3108" y="4527"/>
                  <a:pt x="3835" y="3753"/>
                </a:cubicBezTo>
                <a:cubicBezTo>
                  <a:pt x="4035" y="3686"/>
                  <a:pt x="4236" y="3648"/>
                  <a:pt x="4428" y="3648"/>
                </a:cubicBezTo>
                <a:cubicBezTo>
                  <a:pt x="4510" y="3648"/>
                  <a:pt x="4590" y="3655"/>
                  <a:pt x="4668" y="3669"/>
                </a:cubicBezTo>
                <a:cubicBezTo>
                  <a:pt x="4676" y="3670"/>
                  <a:pt x="4684" y="3671"/>
                  <a:pt x="4692" y="3671"/>
                </a:cubicBezTo>
                <a:cubicBezTo>
                  <a:pt x="4777" y="3671"/>
                  <a:pt x="4848" y="3613"/>
                  <a:pt x="4859" y="3515"/>
                </a:cubicBezTo>
                <a:cubicBezTo>
                  <a:pt x="4871" y="3431"/>
                  <a:pt x="4823" y="3336"/>
                  <a:pt x="4716" y="3324"/>
                </a:cubicBezTo>
                <a:cubicBezTo>
                  <a:pt x="4632" y="3316"/>
                  <a:pt x="4547" y="3307"/>
                  <a:pt x="4463" y="3307"/>
                </a:cubicBezTo>
                <a:cubicBezTo>
                  <a:pt x="4428" y="3307"/>
                  <a:pt x="4393" y="3309"/>
                  <a:pt x="4359" y="3312"/>
                </a:cubicBezTo>
                <a:cubicBezTo>
                  <a:pt x="4597" y="3157"/>
                  <a:pt x="4847" y="3074"/>
                  <a:pt x="5109" y="3038"/>
                </a:cubicBezTo>
                <a:cubicBezTo>
                  <a:pt x="5184" y="3031"/>
                  <a:pt x="5258" y="3027"/>
                  <a:pt x="5330" y="3027"/>
                </a:cubicBezTo>
                <a:cubicBezTo>
                  <a:pt x="5831" y="3027"/>
                  <a:pt x="6264" y="3205"/>
                  <a:pt x="6597" y="3538"/>
                </a:cubicBezTo>
                <a:cubicBezTo>
                  <a:pt x="7335" y="4265"/>
                  <a:pt x="7538" y="5622"/>
                  <a:pt x="7585" y="6551"/>
                </a:cubicBezTo>
                <a:cubicBezTo>
                  <a:pt x="7514" y="6348"/>
                  <a:pt x="7407" y="6122"/>
                  <a:pt x="7299" y="5896"/>
                </a:cubicBezTo>
                <a:cubicBezTo>
                  <a:pt x="6752" y="4741"/>
                  <a:pt x="6121" y="3967"/>
                  <a:pt x="5430" y="3574"/>
                </a:cubicBezTo>
                <a:cubicBezTo>
                  <a:pt x="5404" y="3563"/>
                  <a:pt x="5377" y="3558"/>
                  <a:pt x="5351" y="3558"/>
                </a:cubicBezTo>
                <a:cubicBezTo>
                  <a:pt x="5292" y="3558"/>
                  <a:pt x="5237" y="3584"/>
                  <a:pt x="5204" y="3634"/>
                </a:cubicBezTo>
                <a:cubicBezTo>
                  <a:pt x="5156" y="3717"/>
                  <a:pt x="5192" y="3812"/>
                  <a:pt x="5263" y="3860"/>
                </a:cubicBezTo>
                <a:cubicBezTo>
                  <a:pt x="6776" y="4693"/>
                  <a:pt x="7585" y="7563"/>
                  <a:pt x="7597" y="7598"/>
                </a:cubicBezTo>
                <a:cubicBezTo>
                  <a:pt x="7609" y="7670"/>
                  <a:pt x="7692" y="7718"/>
                  <a:pt x="7764" y="7718"/>
                </a:cubicBezTo>
                <a:lnTo>
                  <a:pt x="7776" y="7718"/>
                </a:lnTo>
                <a:cubicBezTo>
                  <a:pt x="7847" y="7694"/>
                  <a:pt x="7930" y="7646"/>
                  <a:pt x="7930" y="7563"/>
                </a:cubicBezTo>
                <a:cubicBezTo>
                  <a:pt x="7930" y="7539"/>
                  <a:pt x="7990" y="6825"/>
                  <a:pt x="7883" y="5932"/>
                </a:cubicBezTo>
                <a:cubicBezTo>
                  <a:pt x="7752" y="4717"/>
                  <a:pt x="7395" y="3824"/>
                  <a:pt x="6835" y="3288"/>
                </a:cubicBezTo>
                <a:cubicBezTo>
                  <a:pt x="6432" y="2896"/>
                  <a:pt x="5926" y="2683"/>
                  <a:pt x="5315" y="2683"/>
                </a:cubicBezTo>
                <a:cubicBezTo>
                  <a:pt x="5240" y="2683"/>
                  <a:pt x="5163" y="2687"/>
                  <a:pt x="5085" y="2693"/>
                </a:cubicBezTo>
                <a:cubicBezTo>
                  <a:pt x="4620" y="2741"/>
                  <a:pt x="4192" y="2955"/>
                  <a:pt x="3787" y="3324"/>
                </a:cubicBezTo>
                <a:cubicBezTo>
                  <a:pt x="3477" y="3610"/>
                  <a:pt x="3180" y="3991"/>
                  <a:pt x="2894" y="4467"/>
                </a:cubicBezTo>
                <a:cubicBezTo>
                  <a:pt x="2811" y="4622"/>
                  <a:pt x="2727" y="4765"/>
                  <a:pt x="2656" y="4920"/>
                </a:cubicBezTo>
                <a:cubicBezTo>
                  <a:pt x="2692" y="4670"/>
                  <a:pt x="2727" y="4408"/>
                  <a:pt x="2787" y="4146"/>
                </a:cubicBezTo>
                <a:cubicBezTo>
                  <a:pt x="2977" y="3276"/>
                  <a:pt x="3239" y="2562"/>
                  <a:pt x="3585" y="2014"/>
                </a:cubicBezTo>
                <a:cubicBezTo>
                  <a:pt x="3739" y="1752"/>
                  <a:pt x="3918" y="1526"/>
                  <a:pt x="4132" y="1336"/>
                </a:cubicBezTo>
                <a:cubicBezTo>
                  <a:pt x="4291" y="1291"/>
                  <a:pt x="4463" y="1270"/>
                  <a:pt x="4645" y="1270"/>
                </a:cubicBezTo>
                <a:cubicBezTo>
                  <a:pt x="5245" y="1270"/>
                  <a:pt x="5949" y="1505"/>
                  <a:pt x="6597" y="1943"/>
                </a:cubicBezTo>
                <a:cubicBezTo>
                  <a:pt x="7526" y="2550"/>
                  <a:pt x="8204" y="3431"/>
                  <a:pt x="8490" y="4372"/>
                </a:cubicBezTo>
                <a:cubicBezTo>
                  <a:pt x="8520" y="4432"/>
                  <a:pt x="8568" y="4484"/>
                  <a:pt x="8632" y="4484"/>
                </a:cubicBezTo>
                <a:cubicBezTo>
                  <a:pt x="8644" y="4484"/>
                  <a:pt x="8656" y="4483"/>
                  <a:pt x="8669" y="4479"/>
                </a:cubicBezTo>
                <a:cubicBezTo>
                  <a:pt x="8740" y="4479"/>
                  <a:pt x="8823" y="4408"/>
                  <a:pt x="8823" y="4336"/>
                </a:cubicBezTo>
                <a:cubicBezTo>
                  <a:pt x="9038" y="2824"/>
                  <a:pt x="8669" y="1586"/>
                  <a:pt x="7835" y="871"/>
                </a:cubicBezTo>
                <a:cubicBezTo>
                  <a:pt x="7351" y="452"/>
                  <a:pt x="6757" y="240"/>
                  <a:pt x="6102" y="240"/>
                </a:cubicBezTo>
                <a:cubicBezTo>
                  <a:pt x="5791" y="240"/>
                  <a:pt x="5466" y="287"/>
                  <a:pt x="5132" y="383"/>
                </a:cubicBezTo>
                <a:cubicBezTo>
                  <a:pt x="4394" y="574"/>
                  <a:pt x="3799" y="1062"/>
                  <a:pt x="3347" y="1824"/>
                </a:cubicBezTo>
                <a:cubicBezTo>
                  <a:pt x="2989" y="2419"/>
                  <a:pt x="2704" y="3157"/>
                  <a:pt x="2513" y="4074"/>
                </a:cubicBezTo>
                <a:cubicBezTo>
                  <a:pt x="2382" y="4693"/>
                  <a:pt x="2323" y="5301"/>
                  <a:pt x="2275" y="5801"/>
                </a:cubicBezTo>
                <a:cubicBezTo>
                  <a:pt x="1727" y="3181"/>
                  <a:pt x="1668" y="205"/>
                  <a:pt x="1668" y="169"/>
                </a:cubicBezTo>
                <a:cubicBezTo>
                  <a:pt x="1668" y="98"/>
                  <a:pt x="1608" y="26"/>
                  <a:pt x="1525" y="2"/>
                </a:cubicBezTo>
                <a:cubicBezTo>
                  <a:pt x="1517" y="1"/>
                  <a:pt x="1510" y="0"/>
                  <a:pt x="150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28" name="Google Shape;12928;p63"/>
          <p:cNvGrpSpPr/>
          <p:nvPr/>
        </p:nvGrpSpPr>
        <p:grpSpPr>
          <a:xfrm>
            <a:off x="6340653" y="2886354"/>
            <a:ext cx="370368" cy="368064"/>
            <a:chOff x="6340653" y="2886354"/>
            <a:chExt cx="370368" cy="368064"/>
          </a:xfrm>
        </p:grpSpPr>
        <p:sp>
          <p:nvSpPr>
            <p:cNvPr id="12929" name="Google Shape;12929;p63"/>
            <p:cNvSpPr/>
            <p:nvPr/>
          </p:nvSpPr>
          <p:spPr>
            <a:xfrm>
              <a:off x="6521229" y="2938162"/>
              <a:ext cx="10720" cy="16416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84" y="513"/>
                    <a:pt x="168" y="513"/>
                  </a:cubicBezTo>
                  <a:cubicBezTo>
                    <a:pt x="263" y="513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0" name="Google Shape;12930;p63"/>
            <p:cNvSpPr/>
            <p:nvPr/>
          </p:nvSpPr>
          <p:spPr>
            <a:xfrm>
              <a:off x="6647725" y="3010258"/>
              <a:ext cx="17568" cy="16704"/>
            </a:xfrm>
            <a:custGeom>
              <a:avLst/>
              <a:gdLst/>
              <a:ahLst/>
              <a:cxnLst/>
              <a:rect l="l" t="t" r="r" b="b"/>
              <a:pathLst>
                <a:path w="549" h="522" extrusionOk="0">
                  <a:moveTo>
                    <a:pt x="349" y="1"/>
                  </a:moveTo>
                  <a:cubicBezTo>
                    <a:pt x="307" y="1"/>
                    <a:pt x="269" y="16"/>
                    <a:pt x="239" y="46"/>
                  </a:cubicBezTo>
                  <a:lnTo>
                    <a:pt x="60" y="236"/>
                  </a:lnTo>
                  <a:cubicBezTo>
                    <a:pt x="1" y="307"/>
                    <a:pt x="1" y="415"/>
                    <a:pt x="60" y="474"/>
                  </a:cubicBezTo>
                  <a:cubicBezTo>
                    <a:pt x="84" y="510"/>
                    <a:pt x="132" y="522"/>
                    <a:pt x="179" y="522"/>
                  </a:cubicBezTo>
                  <a:cubicBezTo>
                    <a:pt x="215" y="522"/>
                    <a:pt x="263" y="498"/>
                    <a:pt x="298" y="462"/>
                  </a:cubicBezTo>
                  <a:lnTo>
                    <a:pt x="477" y="260"/>
                  </a:lnTo>
                  <a:cubicBezTo>
                    <a:pt x="548" y="224"/>
                    <a:pt x="536" y="105"/>
                    <a:pt x="477" y="46"/>
                  </a:cubicBezTo>
                  <a:cubicBezTo>
                    <a:pt x="435" y="16"/>
                    <a:pt x="391" y="1"/>
                    <a:pt x="3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1" name="Google Shape;12931;p63"/>
            <p:cNvSpPr/>
            <p:nvPr/>
          </p:nvSpPr>
          <p:spPr>
            <a:xfrm>
              <a:off x="6635533" y="3166354"/>
              <a:ext cx="17952" cy="11872"/>
            </a:xfrm>
            <a:custGeom>
              <a:avLst/>
              <a:gdLst/>
              <a:ahLst/>
              <a:cxnLst/>
              <a:rect l="l" t="t" r="r" b="b"/>
              <a:pathLst>
                <a:path w="561" h="371" extrusionOk="0">
                  <a:moveTo>
                    <a:pt x="194" y="0"/>
                  </a:moveTo>
                  <a:cubicBezTo>
                    <a:pt x="108" y="0"/>
                    <a:pt x="36" y="67"/>
                    <a:pt x="25" y="144"/>
                  </a:cubicBezTo>
                  <a:cubicBezTo>
                    <a:pt x="1" y="240"/>
                    <a:pt x="84" y="335"/>
                    <a:pt x="167" y="347"/>
                  </a:cubicBezTo>
                  <a:lnTo>
                    <a:pt x="358" y="371"/>
                  </a:lnTo>
                  <a:lnTo>
                    <a:pt x="394" y="371"/>
                  </a:lnTo>
                  <a:cubicBezTo>
                    <a:pt x="477" y="371"/>
                    <a:pt x="536" y="311"/>
                    <a:pt x="560" y="228"/>
                  </a:cubicBezTo>
                  <a:cubicBezTo>
                    <a:pt x="560" y="121"/>
                    <a:pt x="501" y="37"/>
                    <a:pt x="406" y="37"/>
                  </a:cubicBezTo>
                  <a:lnTo>
                    <a:pt x="215" y="1"/>
                  </a:lnTo>
                  <a:cubicBezTo>
                    <a:pt x="208" y="1"/>
                    <a:pt x="201" y="0"/>
                    <a:pt x="1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2" name="Google Shape;12932;p63"/>
            <p:cNvSpPr/>
            <p:nvPr/>
          </p:nvSpPr>
          <p:spPr>
            <a:xfrm>
              <a:off x="6387885" y="3009970"/>
              <a:ext cx="18336" cy="17376"/>
            </a:xfrm>
            <a:custGeom>
              <a:avLst/>
              <a:gdLst/>
              <a:ahLst/>
              <a:cxnLst/>
              <a:rect l="l" t="t" r="r" b="b"/>
              <a:pathLst>
                <a:path w="573" h="543" extrusionOk="0">
                  <a:moveTo>
                    <a:pt x="208" y="1"/>
                  </a:moveTo>
                  <a:cubicBezTo>
                    <a:pt x="164" y="1"/>
                    <a:pt x="120" y="19"/>
                    <a:pt x="84" y="55"/>
                  </a:cubicBezTo>
                  <a:cubicBezTo>
                    <a:pt x="1" y="114"/>
                    <a:pt x="1" y="221"/>
                    <a:pt x="84" y="293"/>
                  </a:cubicBezTo>
                  <a:lnTo>
                    <a:pt x="263" y="483"/>
                  </a:lnTo>
                  <a:cubicBezTo>
                    <a:pt x="286" y="519"/>
                    <a:pt x="334" y="543"/>
                    <a:pt x="382" y="543"/>
                  </a:cubicBezTo>
                  <a:cubicBezTo>
                    <a:pt x="417" y="543"/>
                    <a:pt x="465" y="531"/>
                    <a:pt x="501" y="495"/>
                  </a:cubicBezTo>
                  <a:cubicBezTo>
                    <a:pt x="560" y="424"/>
                    <a:pt x="572" y="316"/>
                    <a:pt x="501" y="245"/>
                  </a:cubicBezTo>
                  <a:lnTo>
                    <a:pt x="322" y="55"/>
                  </a:lnTo>
                  <a:cubicBezTo>
                    <a:pt x="292" y="19"/>
                    <a:pt x="251" y="1"/>
                    <a:pt x="2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3" name="Google Shape;12933;p63"/>
            <p:cNvSpPr/>
            <p:nvPr/>
          </p:nvSpPr>
          <p:spPr>
            <a:xfrm>
              <a:off x="6398925" y="3166354"/>
              <a:ext cx="18336" cy="11872"/>
            </a:xfrm>
            <a:custGeom>
              <a:avLst/>
              <a:gdLst/>
              <a:ahLst/>
              <a:cxnLst/>
              <a:rect l="l" t="t" r="r" b="b"/>
              <a:pathLst>
                <a:path w="573" h="371" extrusionOk="0">
                  <a:moveTo>
                    <a:pt x="379" y="0"/>
                  </a:moveTo>
                  <a:cubicBezTo>
                    <a:pt x="372" y="0"/>
                    <a:pt x="365" y="1"/>
                    <a:pt x="358" y="1"/>
                  </a:cubicBezTo>
                  <a:lnTo>
                    <a:pt x="168" y="37"/>
                  </a:lnTo>
                  <a:cubicBezTo>
                    <a:pt x="72" y="49"/>
                    <a:pt x="1" y="132"/>
                    <a:pt x="13" y="228"/>
                  </a:cubicBezTo>
                  <a:cubicBezTo>
                    <a:pt x="37" y="311"/>
                    <a:pt x="108" y="371"/>
                    <a:pt x="180" y="371"/>
                  </a:cubicBezTo>
                  <a:lnTo>
                    <a:pt x="215" y="371"/>
                  </a:lnTo>
                  <a:lnTo>
                    <a:pt x="406" y="347"/>
                  </a:lnTo>
                  <a:cubicBezTo>
                    <a:pt x="513" y="311"/>
                    <a:pt x="572" y="240"/>
                    <a:pt x="549" y="144"/>
                  </a:cubicBezTo>
                  <a:cubicBezTo>
                    <a:pt x="538" y="67"/>
                    <a:pt x="465" y="0"/>
                    <a:pt x="3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4" name="Google Shape;12934;p63"/>
            <p:cNvSpPr/>
            <p:nvPr/>
          </p:nvSpPr>
          <p:spPr>
            <a:xfrm>
              <a:off x="6340653" y="2886354"/>
              <a:ext cx="370368" cy="368064"/>
            </a:xfrm>
            <a:custGeom>
              <a:avLst/>
              <a:gdLst/>
              <a:ahLst/>
              <a:cxnLst/>
              <a:rect l="l" t="t" r="r" b="b"/>
              <a:pathLst>
                <a:path w="11574" h="11502" extrusionOk="0">
                  <a:moveTo>
                    <a:pt x="5811" y="489"/>
                  </a:moveTo>
                  <a:lnTo>
                    <a:pt x="6751" y="2060"/>
                  </a:lnTo>
                  <a:cubicBezTo>
                    <a:pt x="6775" y="2096"/>
                    <a:pt x="6823" y="2132"/>
                    <a:pt x="6870" y="2132"/>
                  </a:cubicBezTo>
                  <a:lnTo>
                    <a:pt x="7644" y="2263"/>
                  </a:lnTo>
                  <a:lnTo>
                    <a:pt x="5989" y="4048"/>
                  </a:lnTo>
                  <a:lnTo>
                    <a:pt x="5989" y="2679"/>
                  </a:lnTo>
                  <a:cubicBezTo>
                    <a:pt x="5977" y="2596"/>
                    <a:pt x="5906" y="2513"/>
                    <a:pt x="5811" y="2513"/>
                  </a:cubicBezTo>
                  <a:cubicBezTo>
                    <a:pt x="5727" y="2513"/>
                    <a:pt x="5644" y="2596"/>
                    <a:pt x="5644" y="2679"/>
                  </a:cubicBezTo>
                  <a:lnTo>
                    <a:pt x="5644" y="4025"/>
                  </a:lnTo>
                  <a:lnTo>
                    <a:pt x="4144" y="2251"/>
                  </a:lnTo>
                  <a:lnTo>
                    <a:pt x="4775" y="2132"/>
                  </a:lnTo>
                  <a:cubicBezTo>
                    <a:pt x="4810" y="2120"/>
                    <a:pt x="4858" y="2084"/>
                    <a:pt x="4870" y="2060"/>
                  </a:cubicBezTo>
                  <a:lnTo>
                    <a:pt x="5811" y="489"/>
                  </a:lnTo>
                  <a:close/>
                  <a:moveTo>
                    <a:pt x="4096" y="2727"/>
                  </a:moveTo>
                  <a:lnTo>
                    <a:pt x="5644" y="4549"/>
                  </a:lnTo>
                  <a:lnTo>
                    <a:pt x="5644" y="6192"/>
                  </a:lnTo>
                  <a:lnTo>
                    <a:pt x="4429" y="4763"/>
                  </a:lnTo>
                  <a:lnTo>
                    <a:pt x="4096" y="2727"/>
                  </a:lnTo>
                  <a:close/>
                  <a:moveTo>
                    <a:pt x="7668" y="2727"/>
                  </a:moveTo>
                  <a:lnTo>
                    <a:pt x="7215" y="4751"/>
                  </a:lnTo>
                  <a:lnTo>
                    <a:pt x="5989" y="6192"/>
                  </a:lnTo>
                  <a:lnTo>
                    <a:pt x="5989" y="4560"/>
                  </a:lnTo>
                  <a:lnTo>
                    <a:pt x="7668" y="2727"/>
                  </a:lnTo>
                  <a:close/>
                  <a:moveTo>
                    <a:pt x="11025" y="2858"/>
                  </a:moveTo>
                  <a:lnTo>
                    <a:pt x="10335" y="4596"/>
                  </a:lnTo>
                  <a:cubicBezTo>
                    <a:pt x="10311" y="4656"/>
                    <a:pt x="10323" y="4727"/>
                    <a:pt x="10371" y="4775"/>
                  </a:cubicBezTo>
                  <a:lnTo>
                    <a:pt x="10906" y="5311"/>
                  </a:lnTo>
                  <a:lnTo>
                    <a:pt x="10228" y="5584"/>
                  </a:lnTo>
                  <a:cubicBezTo>
                    <a:pt x="10144" y="5608"/>
                    <a:pt x="10109" y="5703"/>
                    <a:pt x="10121" y="5787"/>
                  </a:cubicBezTo>
                  <a:lnTo>
                    <a:pt x="10263" y="6192"/>
                  </a:lnTo>
                  <a:lnTo>
                    <a:pt x="8537" y="7096"/>
                  </a:lnTo>
                  <a:cubicBezTo>
                    <a:pt x="8489" y="7132"/>
                    <a:pt x="8442" y="7180"/>
                    <a:pt x="8442" y="7239"/>
                  </a:cubicBezTo>
                  <a:cubicBezTo>
                    <a:pt x="8442" y="7299"/>
                    <a:pt x="8466" y="7335"/>
                    <a:pt x="8501" y="7382"/>
                  </a:cubicBezTo>
                  <a:lnTo>
                    <a:pt x="10502" y="9097"/>
                  </a:lnTo>
                  <a:lnTo>
                    <a:pt x="7811" y="10049"/>
                  </a:lnTo>
                  <a:lnTo>
                    <a:pt x="6299" y="8680"/>
                  </a:lnTo>
                  <a:lnTo>
                    <a:pt x="8644" y="8990"/>
                  </a:lnTo>
                  <a:lnTo>
                    <a:pt x="8668" y="8990"/>
                  </a:lnTo>
                  <a:cubicBezTo>
                    <a:pt x="8763" y="8990"/>
                    <a:pt x="8823" y="8930"/>
                    <a:pt x="8835" y="8847"/>
                  </a:cubicBezTo>
                  <a:cubicBezTo>
                    <a:pt x="8847" y="8751"/>
                    <a:pt x="8775" y="8656"/>
                    <a:pt x="8680" y="8644"/>
                  </a:cubicBezTo>
                  <a:lnTo>
                    <a:pt x="6120" y="8311"/>
                  </a:lnTo>
                  <a:lnTo>
                    <a:pt x="9323" y="4918"/>
                  </a:lnTo>
                  <a:cubicBezTo>
                    <a:pt x="9382" y="4834"/>
                    <a:pt x="9382" y="4739"/>
                    <a:pt x="9311" y="4680"/>
                  </a:cubicBezTo>
                  <a:cubicBezTo>
                    <a:pt x="9275" y="4650"/>
                    <a:pt x="9231" y="4635"/>
                    <a:pt x="9187" y="4635"/>
                  </a:cubicBezTo>
                  <a:cubicBezTo>
                    <a:pt x="9144" y="4635"/>
                    <a:pt x="9103" y="4650"/>
                    <a:pt x="9073" y="4680"/>
                  </a:cubicBezTo>
                  <a:lnTo>
                    <a:pt x="5941" y="8013"/>
                  </a:lnTo>
                  <a:lnTo>
                    <a:pt x="5941" y="6704"/>
                  </a:lnTo>
                  <a:lnTo>
                    <a:pt x="8823" y="3322"/>
                  </a:lnTo>
                  <a:lnTo>
                    <a:pt x="9061" y="3679"/>
                  </a:lnTo>
                  <a:cubicBezTo>
                    <a:pt x="9086" y="3729"/>
                    <a:pt x="9140" y="3750"/>
                    <a:pt x="9194" y="3750"/>
                  </a:cubicBezTo>
                  <a:cubicBezTo>
                    <a:pt x="9218" y="3750"/>
                    <a:pt x="9242" y="3746"/>
                    <a:pt x="9263" y="3739"/>
                  </a:cubicBezTo>
                  <a:lnTo>
                    <a:pt x="11025" y="2858"/>
                  </a:lnTo>
                  <a:close/>
                  <a:moveTo>
                    <a:pt x="524" y="2870"/>
                  </a:moveTo>
                  <a:lnTo>
                    <a:pt x="2286" y="3751"/>
                  </a:lnTo>
                  <a:cubicBezTo>
                    <a:pt x="2309" y="3766"/>
                    <a:pt x="2333" y="3773"/>
                    <a:pt x="2358" y="3773"/>
                  </a:cubicBezTo>
                  <a:cubicBezTo>
                    <a:pt x="2412" y="3773"/>
                    <a:pt x="2464" y="3740"/>
                    <a:pt x="2489" y="3691"/>
                  </a:cubicBezTo>
                  <a:lnTo>
                    <a:pt x="2727" y="3334"/>
                  </a:lnTo>
                  <a:lnTo>
                    <a:pt x="5608" y="6715"/>
                  </a:lnTo>
                  <a:lnTo>
                    <a:pt x="5608" y="7987"/>
                  </a:lnTo>
                  <a:lnTo>
                    <a:pt x="2524" y="4691"/>
                  </a:lnTo>
                  <a:cubicBezTo>
                    <a:pt x="2495" y="4656"/>
                    <a:pt x="2453" y="4638"/>
                    <a:pt x="2410" y="4638"/>
                  </a:cubicBezTo>
                  <a:cubicBezTo>
                    <a:pt x="2367" y="4638"/>
                    <a:pt x="2322" y="4656"/>
                    <a:pt x="2286" y="4691"/>
                  </a:cubicBezTo>
                  <a:cubicBezTo>
                    <a:pt x="2215" y="4751"/>
                    <a:pt x="2215" y="4858"/>
                    <a:pt x="2274" y="4930"/>
                  </a:cubicBezTo>
                  <a:lnTo>
                    <a:pt x="5465" y="8323"/>
                  </a:lnTo>
                  <a:lnTo>
                    <a:pt x="2905" y="8656"/>
                  </a:lnTo>
                  <a:cubicBezTo>
                    <a:pt x="2822" y="8680"/>
                    <a:pt x="2751" y="8763"/>
                    <a:pt x="2763" y="8859"/>
                  </a:cubicBezTo>
                  <a:cubicBezTo>
                    <a:pt x="2774" y="8942"/>
                    <a:pt x="2846" y="9001"/>
                    <a:pt x="2929" y="9001"/>
                  </a:cubicBezTo>
                  <a:lnTo>
                    <a:pt x="2953" y="9001"/>
                  </a:lnTo>
                  <a:lnTo>
                    <a:pt x="5287" y="8692"/>
                  </a:lnTo>
                  <a:lnTo>
                    <a:pt x="3786" y="10061"/>
                  </a:lnTo>
                  <a:lnTo>
                    <a:pt x="1096" y="9109"/>
                  </a:lnTo>
                  <a:lnTo>
                    <a:pt x="3084" y="7394"/>
                  </a:lnTo>
                  <a:cubicBezTo>
                    <a:pt x="3132" y="7370"/>
                    <a:pt x="3144" y="7311"/>
                    <a:pt x="3144" y="7251"/>
                  </a:cubicBezTo>
                  <a:cubicBezTo>
                    <a:pt x="3144" y="7192"/>
                    <a:pt x="3108" y="7144"/>
                    <a:pt x="3060" y="7108"/>
                  </a:cubicBezTo>
                  <a:lnTo>
                    <a:pt x="1334" y="6204"/>
                  </a:lnTo>
                  <a:lnTo>
                    <a:pt x="1465" y="5799"/>
                  </a:lnTo>
                  <a:cubicBezTo>
                    <a:pt x="1500" y="5715"/>
                    <a:pt x="1453" y="5620"/>
                    <a:pt x="1358" y="5596"/>
                  </a:cubicBezTo>
                  <a:lnTo>
                    <a:pt x="691" y="5322"/>
                  </a:lnTo>
                  <a:lnTo>
                    <a:pt x="1227" y="4787"/>
                  </a:lnTo>
                  <a:cubicBezTo>
                    <a:pt x="1274" y="4751"/>
                    <a:pt x="1286" y="4680"/>
                    <a:pt x="1262" y="4608"/>
                  </a:cubicBezTo>
                  <a:lnTo>
                    <a:pt x="524" y="2870"/>
                  </a:lnTo>
                  <a:close/>
                  <a:moveTo>
                    <a:pt x="5775" y="0"/>
                  </a:moveTo>
                  <a:cubicBezTo>
                    <a:pt x="5715" y="0"/>
                    <a:pt x="5656" y="24"/>
                    <a:pt x="5632" y="72"/>
                  </a:cubicBezTo>
                  <a:lnTo>
                    <a:pt x="4584" y="1810"/>
                  </a:lnTo>
                  <a:lnTo>
                    <a:pt x="3763" y="1977"/>
                  </a:lnTo>
                  <a:cubicBezTo>
                    <a:pt x="3667" y="2001"/>
                    <a:pt x="3608" y="2084"/>
                    <a:pt x="3620" y="2167"/>
                  </a:cubicBezTo>
                  <a:lnTo>
                    <a:pt x="3965" y="4251"/>
                  </a:lnTo>
                  <a:lnTo>
                    <a:pt x="2846" y="2929"/>
                  </a:lnTo>
                  <a:cubicBezTo>
                    <a:pt x="2822" y="2894"/>
                    <a:pt x="2763" y="2870"/>
                    <a:pt x="2715" y="2870"/>
                  </a:cubicBezTo>
                  <a:cubicBezTo>
                    <a:pt x="2655" y="2870"/>
                    <a:pt x="2608" y="2905"/>
                    <a:pt x="2584" y="2941"/>
                  </a:cubicBezTo>
                  <a:lnTo>
                    <a:pt x="2298" y="3358"/>
                  </a:lnTo>
                  <a:lnTo>
                    <a:pt x="274" y="2346"/>
                  </a:lnTo>
                  <a:cubicBezTo>
                    <a:pt x="254" y="2338"/>
                    <a:pt x="233" y="2334"/>
                    <a:pt x="211" y="2334"/>
                  </a:cubicBezTo>
                  <a:cubicBezTo>
                    <a:pt x="168" y="2334"/>
                    <a:pt x="123" y="2350"/>
                    <a:pt x="84" y="2382"/>
                  </a:cubicBezTo>
                  <a:cubicBezTo>
                    <a:pt x="36" y="2429"/>
                    <a:pt x="0" y="2501"/>
                    <a:pt x="36" y="2572"/>
                  </a:cubicBezTo>
                  <a:lnTo>
                    <a:pt x="893" y="4632"/>
                  </a:lnTo>
                  <a:lnTo>
                    <a:pt x="262" y="5263"/>
                  </a:lnTo>
                  <a:cubicBezTo>
                    <a:pt x="215" y="5311"/>
                    <a:pt x="203" y="5370"/>
                    <a:pt x="215" y="5418"/>
                  </a:cubicBezTo>
                  <a:cubicBezTo>
                    <a:pt x="226" y="5477"/>
                    <a:pt x="262" y="5525"/>
                    <a:pt x="322" y="5537"/>
                  </a:cubicBezTo>
                  <a:lnTo>
                    <a:pt x="1072" y="5834"/>
                  </a:lnTo>
                  <a:lnTo>
                    <a:pt x="941" y="6215"/>
                  </a:lnTo>
                  <a:cubicBezTo>
                    <a:pt x="917" y="6299"/>
                    <a:pt x="953" y="6382"/>
                    <a:pt x="1012" y="6430"/>
                  </a:cubicBezTo>
                  <a:lnTo>
                    <a:pt x="2655" y="7287"/>
                  </a:lnTo>
                  <a:lnTo>
                    <a:pt x="631" y="9037"/>
                  </a:lnTo>
                  <a:cubicBezTo>
                    <a:pt x="584" y="9073"/>
                    <a:pt x="572" y="9132"/>
                    <a:pt x="572" y="9192"/>
                  </a:cubicBezTo>
                  <a:cubicBezTo>
                    <a:pt x="584" y="9252"/>
                    <a:pt x="631" y="9299"/>
                    <a:pt x="679" y="9335"/>
                  </a:cubicBezTo>
                  <a:lnTo>
                    <a:pt x="3727" y="10418"/>
                  </a:lnTo>
                  <a:cubicBezTo>
                    <a:pt x="3747" y="10422"/>
                    <a:pt x="3767" y="10425"/>
                    <a:pt x="3786" y="10425"/>
                  </a:cubicBezTo>
                  <a:cubicBezTo>
                    <a:pt x="3825" y="10425"/>
                    <a:pt x="3862" y="10414"/>
                    <a:pt x="3894" y="10383"/>
                  </a:cubicBezTo>
                  <a:lnTo>
                    <a:pt x="5584" y="8835"/>
                  </a:lnTo>
                  <a:lnTo>
                    <a:pt x="5584" y="11335"/>
                  </a:lnTo>
                  <a:cubicBezTo>
                    <a:pt x="5584" y="11430"/>
                    <a:pt x="5656" y="11502"/>
                    <a:pt x="5751" y="11502"/>
                  </a:cubicBezTo>
                  <a:cubicBezTo>
                    <a:pt x="5834" y="11502"/>
                    <a:pt x="5918" y="11430"/>
                    <a:pt x="5918" y="11335"/>
                  </a:cubicBezTo>
                  <a:lnTo>
                    <a:pt x="5918" y="8835"/>
                  </a:lnTo>
                  <a:lnTo>
                    <a:pt x="7608" y="10383"/>
                  </a:lnTo>
                  <a:cubicBezTo>
                    <a:pt x="7644" y="10418"/>
                    <a:pt x="7680" y="10430"/>
                    <a:pt x="7727" y="10430"/>
                  </a:cubicBezTo>
                  <a:cubicBezTo>
                    <a:pt x="7739" y="10430"/>
                    <a:pt x="7775" y="10430"/>
                    <a:pt x="7787" y="10418"/>
                  </a:cubicBezTo>
                  <a:lnTo>
                    <a:pt x="10835" y="9335"/>
                  </a:lnTo>
                  <a:cubicBezTo>
                    <a:pt x="10894" y="9311"/>
                    <a:pt x="10942" y="9252"/>
                    <a:pt x="10942" y="9192"/>
                  </a:cubicBezTo>
                  <a:cubicBezTo>
                    <a:pt x="10954" y="9132"/>
                    <a:pt x="10930" y="9073"/>
                    <a:pt x="10883" y="9037"/>
                  </a:cubicBezTo>
                  <a:lnTo>
                    <a:pt x="8859" y="7287"/>
                  </a:lnTo>
                  <a:lnTo>
                    <a:pt x="10502" y="6430"/>
                  </a:lnTo>
                  <a:cubicBezTo>
                    <a:pt x="10573" y="6382"/>
                    <a:pt x="10597" y="6311"/>
                    <a:pt x="10573" y="6215"/>
                  </a:cubicBezTo>
                  <a:lnTo>
                    <a:pt x="10442" y="5834"/>
                  </a:lnTo>
                  <a:lnTo>
                    <a:pt x="11192" y="5537"/>
                  </a:lnTo>
                  <a:cubicBezTo>
                    <a:pt x="11252" y="5525"/>
                    <a:pt x="11287" y="5465"/>
                    <a:pt x="11299" y="5418"/>
                  </a:cubicBezTo>
                  <a:cubicBezTo>
                    <a:pt x="11311" y="5358"/>
                    <a:pt x="11299" y="5299"/>
                    <a:pt x="11252" y="5263"/>
                  </a:cubicBezTo>
                  <a:lnTo>
                    <a:pt x="10621" y="4632"/>
                  </a:lnTo>
                  <a:lnTo>
                    <a:pt x="11478" y="2572"/>
                  </a:lnTo>
                  <a:cubicBezTo>
                    <a:pt x="11573" y="2501"/>
                    <a:pt x="11561" y="2429"/>
                    <a:pt x="11502" y="2382"/>
                  </a:cubicBezTo>
                  <a:cubicBezTo>
                    <a:pt x="11470" y="2350"/>
                    <a:pt x="11417" y="2334"/>
                    <a:pt x="11368" y="2334"/>
                  </a:cubicBezTo>
                  <a:cubicBezTo>
                    <a:pt x="11343" y="2334"/>
                    <a:pt x="11319" y="2338"/>
                    <a:pt x="11299" y="2346"/>
                  </a:cubicBezTo>
                  <a:lnTo>
                    <a:pt x="9275" y="3358"/>
                  </a:lnTo>
                  <a:lnTo>
                    <a:pt x="9001" y="2941"/>
                  </a:lnTo>
                  <a:cubicBezTo>
                    <a:pt x="8966" y="2905"/>
                    <a:pt x="8918" y="2870"/>
                    <a:pt x="8859" y="2870"/>
                  </a:cubicBezTo>
                  <a:cubicBezTo>
                    <a:pt x="8799" y="2870"/>
                    <a:pt x="8763" y="2894"/>
                    <a:pt x="8728" y="2929"/>
                  </a:cubicBezTo>
                  <a:lnTo>
                    <a:pt x="7656" y="4179"/>
                  </a:lnTo>
                  <a:lnTo>
                    <a:pt x="7656" y="4179"/>
                  </a:lnTo>
                  <a:lnTo>
                    <a:pt x="8120" y="2167"/>
                  </a:lnTo>
                  <a:cubicBezTo>
                    <a:pt x="8132" y="2132"/>
                    <a:pt x="8120" y="2084"/>
                    <a:pt x="8085" y="2036"/>
                  </a:cubicBezTo>
                  <a:cubicBezTo>
                    <a:pt x="8061" y="2001"/>
                    <a:pt x="8025" y="1977"/>
                    <a:pt x="7966" y="1965"/>
                  </a:cubicBezTo>
                  <a:lnTo>
                    <a:pt x="6965" y="1798"/>
                  </a:lnTo>
                  <a:lnTo>
                    <a:pt x="5930" y="72"/>
                  </a:lnTo>
                  <a:cubicBezTo>
                    <a:pt x="5894" y="24"/>
                    <a:pt x="5846" y="0"/>
                    <a:pt x="5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35" name="Google Shape;12935;p63"/>
          <p:cNvGrpSpPr/>
          <p:nvPr/>
        </p:nvGrpSpPr>
        <p:grpSpPr>
          <a:xfrm>
            <a:off x="5246797" y="1981426"/>
            <a:ext cx="354752" cy="336512"/>
            <a:chOff x="5246797" y="1981426"/>
            <a:chExt cx="354752" cy="336512"/>
          </a:xfrm>
        </p:grpSpPr>
        <p:sp>
          <p:nvSpPr>
            <p:cNvPr id="12936" name="Google Shape;12936;p63"/>
            <p:cNvSpPr/>
            <p:nvPr/>
          </p:nvSpPr>
          <p:spPr>
            <a:xfrm>
              <a:off x="5246797" y="1981426"/>
              <a:ext cx="354752" cy="336512"/>
            </a:xfrm>
            <a:custGeom>
              <a:avLst/>
              <a:gdLst/>
              <a:ahLst/>
              <a:cxnLst/>
              <a:rect l="l" t="t" r="r" b="b"/>
              <a:pathLst>
                <a:path w="11086" h="10516" extrusionOk="0">
                  <a:moveTo>
                    <a:pt x="3239" y="312"/>
                  </a:moveTo>
                  <a:cubicBezTo>
                    <a:pt x="3352" y="312"/>
                    <a:pt x="3467" y="328"/>
                    <a:pt x="3584" y="359"/>
                  </a:cubicBezTo>
                  <a:cubicBezTo>
                    <a:pt x="4120" y="490"/>
                    <a:pt x="4322" y="955"/>
                    <a:pt x="4275" y="1324"/>
                  </a:cubicBezTo>
                  <a:cubicBezTo>
                    <a:pt x="4215" y="1776"/>
                    <a:pt x="3906" y="1979"/>
                    <a:pt x="3584" y="2038"/>
                  </a:cubicBezTo>
                  <a:lnTo>
                    <a:pt x="3679" y="1955"/>
                  </a:lnTo>
                  <a:cubicBezTo>
                    <a:pt x="3799" y="1824"/>
                    <a:pt x="3846" y="1633"/>
                    <a:pt x="3810" y="1443"/>
                  </a:cubicBezTo>
                  <a:cubicBezTo>
                    <a:pt x="3787" y="1193"/>
                    <a:pt x="3572" y="1014"/>
                    <a:pt x="3310" y="990"/>
                  </a:cubicBezTo>
                  <a:lnTo>
                    <a:pt x="3263" y="990"/>
                  </a:lnTo>
                  <a:cubicBezTo>
                    <a:pt x="3013" y="990"/>
                    <a:pt x="2798" y="1133"/>
                    <a:pt x="2679" y="1383"/>
                  </a:cubicBezTo>
                  <a:cubicBezTo>
                    <a:pt x="2620" y="1383"/>
                    <a:pt x="2560" y="1383"/>
                    <a:pt x="2477" y="1371"/>
                  </a:cubicBezTo>
                  <a:cubicBezTo>
                    <a:pt x="2275" y="1324"/>
                    <a:pt x="2120" y="1252"/>
                    <a:pt x="1977" y="1097"/>
                  </a:cubicBezTo>
                  <a:cubicBezTo>
                    <a:pt x="2060" y="1002"/>
                    <a:pt x="2179" y="836"/>
                    <a:pt x="2358" y="669"/>
                  </a:cubicBezTo>
                  <a:cubicBezTo>
                    <a:pt x="2629" y="433"/>
                    <a:pt x="2926" y="312"/>
                    <a:pt x="3239" y="312"/>
                  </a:cubicBezTo>
                  <a:close/>
                  <a:moveTo>
                    <a:pt x="4549" y="9837"/>
                  </a:moveTo>
                  <a:lnTo>
                    <a:pt x="4870" y="9944"/>
                  </a:lnTo>
                  <a:lnTo>
                    <a:pt x="4858" y="10182"/>
                  </a:lnTo>
                  <a:lnTo>
                    <a:pt x="4394" y="10182"/>
                  </a:lnTo>
                  <a:lnTo>
                    <a:pt x="4549" y="9837"/>
                  </a:lnTo>
                  <a:close/>
                  <a:moveTo>
                    <a:pt x="10025" y="9837"/>
                  </a:moveTo>
                  <a:lnTo>
                    <a:pt x="10383" y="9956"/>
                  </a:lnTo>
                  <a:lnTo>
                    <a:pt x="10347" y="10182"/>
                  </a:lnTo>
                  <a:lnTo>
                    <a:pt x="9871" y="10182"/>
                  </a:lnTo>
                  <a:lnTo>
                    <a:pt x="10025" y="9837"/>
                  </a:lnTo>
                  <a:close/>
                  <a:moveTo>
                    <a:pt x="3258" y="0"/>
                  </a:moveTo>
                  <a:cubicBezTo>
                    <a:pt x="2856" y="0"/>
                    <a:pt x="2470" y="146"/>
                    <a:pt x="2132" y="431"/>
                  </a:cubicBezTo>
                  <a:cubicBezTo>
                    <a:pt x="1846" y="669"/>
                    <a:pt x="1691" y="943"/>
                    <a:pt x="1643" y="1026"/>
                  </a:cubicBezTo>
                  <a:cubicBezTo>
                    <a:pt x="691" y="1836"/>
                    <a:pt x="60" y="2848"/>
                    <a:pt x="36" y="2895"/>
                  </a:cubicBezTo>
                  <a:cubicBezTo>
                    <a:pt x="0" y="2931"/>
                    <a:pt x="0" y="2979"/>
                    <a:pt x="24" y="3026"/>
                  </a:cubicBezTo>
                  <a:lnTo>
                    <a:pt x="119" y="3324"/>
                  </a:lnTo>
                  <a:cubicBezTo>
                    <a:pt x="203" y="3526"/>
                    <a:pt x="393" y="3669"/>
                    <a:pt x="596" y="3669"/>
                  </a:cubicBezTo>
                  <a:cubicBezTo>
                    <a:pt x="631" y="3669"/>
                    <a:pt x="679" y="3669"/>
                    <a:pt x="703" y="3645"/>
                  </a:cubicBezTo>
                  <a:cubicBezTo>
                    <a:pt x="953" y="3598"/>
                    <a:pt x="1191" y="3586"/>
                    <a:pt x="1417" y="3574"/>
                  </a:cubicBezTo>
                  <a:cubicBezTo>
                    <a:pt x="1703" y="3562"/>
                    <a:pt x="1989" y="3538"/>
                    <a:pt x="2239" y="3443"/>
                  </a:cubicBezTo>
                  <a:cubicBezTo>
                    <a:pt x="2322" y="3622"/>
                    <a:pt x="2405" y="3884"/>
                    <a:pt x="2489" y="4217"/>
                  </a:cubicBezTo>
                  <a:cubicBezTo>
                    <a:pt x="2727" y="5062"/>
                    <a:pt x="3037" y="6217"/>
                    <a:pt x="4072" y="6741"/>
                  </a:cubicBezTo>
                  <a:lnTo>
                    <a:pt x="4370" y="7979"/>
                  </a:lnTo>
                  <a:lnTo>
                    <a:pt x="4370" y="9456"/>
                  </a:lnTo>
                  <a:lnTo>
                    <a:pt x="4013" y="10289"/>
                  </a:lnTo>
                  <a:cubicBezTo>
                    <a:pt x="3989" y="10337"/>
                    <a:pt x="3989" y="10384"/>
                    <a:pt x="4025" y="10432"/>
                  </a:cubicBezTo>
                  <a:cubicBezTo>
                    <a:pt x="4049" y="10480"/>
                    <a:pt x="4096" y="10515"/>
                    <a:pt x="4156" y="10515"/>
                  </a:cubicBezTo>
                  <a:lnTo>
                    <a:pt x="5025" y="10515"/>
                  </a:lnTo>
                  <a:cubicBezTo>
                    <a:pt x="5108" y="10515"/>
                    <a:pt x="5168" y="10456"/>
                    <a:pt x="5180" y="10360"/>
                  </a:cubicBezTo>
                  <a:lnTo>
                    <a:pt x="5382" y="7134"/>
                  </a:lnTo>
                  <a:cubicBezTo>
                    <a:pt x="5465" y="7134"/>
                    <a:pt x="5561" y="7146"/>
                    <a:pt x="5644" y="7146"/>
                  </a:cubicBezTo>
                  <a:cubicBezTo>
                    <a:pt x="5739" y="7146"/>
                    <a:pt x="5811" y="7074"/>
                    <a:pt x="5811" y="7003"/>
                  </a:cubicBezTo>
                  <a:cubicBezTo>
                    <a:pt x="5811" y="6908"/>
                    <a:pt x="5751" y="6836"/>
                    <a:pt x="5656" y="6836"/>
                  </a:cubicBezTo>
                  <a:cubicBezTo>
                    <a:pt x="5573" y="6836"/>
                    <a:pt x="5477" y="6812"/>
                    <a:pt x="5406" y="6812"/>
                  </a:cubicBezTo>
                  <a:lnTo>
                    <a:pt x="5418" y="6551"/>
                  </a:lnTo>
                  <a:cubicBezTo>
                    <a:pt x="5418" y="6455"/>
                    <a:pt x="5358" y="6384"/>
                    <a:pt x="5275" y="6384"/>
                  </a:cubicBezTo>
                  <a:cubicBezTo>
                    <a:pt x="5180" y="6384"/>
                    <a:pt x="5108" y="6443"/>
                    <a:pt x="5108" y="6539"/>
                  </a:cubicBezTo>
                  <a:lnTo>
                    <a:pt x="4918" y="9646"/>
                  </a:lnTo>
                  <a:lnTo>
                    <a:pt x="4691" y="9575"/>
                  </a:lnTo>
                  <a:cubicBezTo>
                    <a:pt x="4703" y="9551"/>
                    <a:pt x="4703" y="9527"/>
                    <a:pt x="4703" y="9515"/>
                  </a:cubicBezTo>
                  <a:lnTo>
                    <a:pt x="4703" y="7991"/>
                  </a:lnTo>
                  <a:lnTo>
                    <a:pt x="4703" y="7944"/>
                  </a:lnTo>
                  <a:lnTo>
                    <a:pt x="4394" y="6622"/>
                  </a:lnTo>
                  <a:cubicBezTo>
                    <a:pt x="4382" y="6574"/>
                    <a:pt x="4346" y="6539"/>
                    <a:pt x="4310" y="6515"/>
                  </a:cubicBezTo>
                  <a:cubicBezTo>
                    <a:pt x="3370" y="6086"/>
                    <a:pt x="3072" y="5027"/>
                    <a:pt x="2846" y="4169"/>
                  </a:cubicBezTo>
                  <a:cubicBezTo>
                    <a:pt x="2763" y="3836"/>
                    <a:pt x="2667" y="3538"/>
                    <a:pt x="2560" y="3336"/>
                  </a:cubicBezTo>
                  <a:cubicBezTo>
                    <a:pt x="2667" y="3264"/>
                    <a:pt x="2775" y="3157"/>
                    <a:pt x="2858" y="3026"/>
                  </a:cubicBezTo>
                  <a:cubicBezTo>
                    <a:pt x="2906" y="2943"/>
                    <a:pt x="2894" y="2848"/>
                    <a:pt x="2822" y="2800"/>
                  </a:cubicBezTo>
                  <a:cubicBezTo>
                    <a:pt x="2790" y="2782"/>
                    <a:pt x="2756" y="2772"/>
                    <a:pt x="2724" y="2772"/>
                  </a:cubicBezTo>
                  <a:cubicBezTo>
                    <a:pt x="2673" y="2772"/>
                    <a:pt x="2625" y="2796"/>
                    <a:pt x="2596" y="2848"/>
                  </a:cubicBezTo>
                  <a:cubicBezTo>
                    <a:pt x="2322" y="3241"/>
                    <a:pt x="1953" y="3264"/>
                    <a:pt x="1429" y="3300"/>
                  </a:cubicBezTo>
                  <a:cubicBezTo>
                    <a:pt x="1215" y="3324"/>
                    <a:pt x="953" y="3336"/>
                    <a:pt x="679" y="3395"/>
                  </a:cubicBezTo>
                  <a:cubicBezTo>
                    <a:pt x="667" y="3397"/>
                    <a:pt x="656" y="3398"/>
                    <a:pt x="645" y="3398"/>
                  </a:cubicBezTo>
                  <a:cubicBezTo>
                    <a:pt x="564" y="3398"/>
                    <a:pt x="496" y="3360"/>
                    <a:pt x="465" y="3276"/>
                  </a:cubicBezTo>
                  <a:lnTo>
                    <a:pt x="393" y="3050"/>
                  </a:lnTo>
                  <a:cubicBezTo>
                    <a:pt x="536" y="2824"/>
                    <a:pt x="1060" y="2050"/>
                    <a:pt x="1810" y="1419"/>
                  </a:cubicBezTo>
                  <a:cubicBezTo>
                    <a:pt x="2138" y="1715"/>
                    <a:pt x="2493" y="1774"/>
                    <a:pt x="2701" y="1774"/>
                  </a:cubicBezTo>
                  <a:cubicBezTo>
                    <a:pt x="2803" y="1774"/>
                    <a:pt x="2870" y="1760"/>
                    <a:pt x="2882" y="1752"/>
                  </a:cubicBezTo>
                  <a:cubicBezTo>
                    <a:pt x="2941" y="1740"/>
                    <a:pt x="2977" y="1705"/>
                    <a:pt x="3001" y="1657"/>
                  </a:cubicBezTo>
                  <a:cubicBezTo>
                    <a:pt x="3084" y="1371"/>
                    <a:pt x="3275" y="1371"/>
                    <a:pt x="3322" y="1371"/>
                  </a:cubicBezTo>
                  <a:cubicBezTo>
                    <a:pt x="3418" y="1383"/>
                    <a:pt x="3513" y="1431"/>
                    <a:pt x="3537" y="1550"/>
                  </a:cubicBezTo>
                  <a:cubicBezTo>
                    <a:pt x="3548" y="1657"/>
                    <a:pt x="3537" y="1728"/>
                    <a:pt x="3477" y="1800"/>
                  </a:cubicBezTo>
                  <a:cubicBezTo>
                    <a:pt x="3334" y="1955"/>
                    <a:pt x="3037" y="2002"/>
                    <a:pt x="2941" y="2002"/>
                  </a:cubicBezTo>
                  <a:cubicBezTo>
                    <a:pt x="2858" y="2002"/>
                    <a:pt x="2798" y="2038"/>
                    <a:pt x="2786" y="2098"/>
                  </a:cubicBezTo>
                  <a:cubicBezTo>
                    <a:pt x="2775" y="2157"/>
                    <a:pt x="2786" y="2229"/>
                    <a:pt x="2846" y="2276"/>
                  </a:cubicBezTo>
                  <a:cubicBezTo>
                    <a:pt x="2858" y="2300"/>
                    <a:pt x="3060" y="2443"/>
                    <a:pt x="3358" y="2443"/>
                  </a:cubicBezTo>
                  <a:lnTo>
                    <a:pt x="3394" y="2443"/>
                  </a:lnTo>
                  <a:cubicBezTo>
                    <a:pt x="3489" y="2443"/>
                    <a:pt x="3560" y="2443"/>
                    <a:pt x="3632" y="2431"/>
                  </a:cubicBezTo>
                  <a:cubicBezTo>
                    <a:pt x="3727" y="2705"/>
                    <a:pt x="3810" y="2979"/>
                    <a:pt x="4025" y="3098"/>
                  </a:cubicBezTo>
                  <a:cubicBezTo>
                    <a:pt x="4522" y="3413"/>
                    <a:pt x="5457" y="3460"/>
                    <a:pt x="6454" y="3460"/>
                  </a:cubicBezTo>
                  <a:cubicBezTo>
                    <a:pt x="6698" y="3460"/>
                    <a:pt x="6946" y="3457"/>
                    <a:pt x="7192" y="3455"/>
                  </a:cubicBezTo>
                  <a:cubicBezTo>
                    <a:pt x="7402" y="3452"/>
                    <a:pt x="7611" y="3450"/>
                    <a:pt x="7813" y="3450"/>
                  </a:cubicBezTo>
                  <a:cubicBezTo>
                    <a:pt x="8512" y="3450"/>
                    <a:pt x="9135" y="3475"/>
                    <a:pt x="9514" y="3586"/>
                  </a:cubicBezTo>
                  <a:cubicBezTo>
                    <a:pt x="10406" y="3884"/>
                    <a:pt x="10585" y="4491"/>
                    <a:pt x="10585" y="4955"/>
                  </a:cubicBezTo>
                  <a:cubicBezTo>
                    <a:pt x="10585" y="5265"/>
                    <a:pt x="10514" y="5538"/>
                    <a:pt x="10442" y="5800"/>
                  </a:cubicBezTo>
                  <a:cubicBezTo>
                    <a:pt x="10347" y="6146"/>
                    <a:pt x="10240" y="6503"/>
                    <a:pt x="10323" y="6920"/>
                  </a:cubicBezTo>
                  <a:cubicBezTo>
                    <a:pt x="10395" y="7324"/>
                    <a:pt x="10657" y="7670"/>
                    <a:pt x="10764" y="7801"/>
                  </a:cubicBezTo>
                  <a:lnTo>
                    <a:pt x="10478" y="9670"/>
                  </a:lnTo>
                  <a:lnTo>
                    <a:pt x="10204" y="9587"/>
                  </a:lnTo>
                  <a:cubicBezTo>
                    <a:pt x="10204" y="9575"/>
                    <a:pt x="10216" y="9551"/>
                    <a:pt x="10216" y="9539"/>
                  </a:cubicBezTo>
                  <a:lnTo>
                    <a:pt x="10430" y="7872"/>
                  </a:lnTo>
                  <a:cubicBezTo>
                    <a:pt x="10454" y="7813"/>
                    <a:pt x="10418" y="7753"/>
                    <a:pt x="10359" y="7705"/>
                  </a:cubicBezTo>
                  <a:cubicBezTo>
                    <a:pt x="9216" y="6967"/>
                    <a:pt x="8811" y="6253"/>
                    <a:pt x="8692" y="5979"/>
                  </a:cubicBezTo>
                  <a:cubicBezTo>
                    <a:pt x="8674" y="5924"/>
                    <a:pt x="8607" y="5884"/>
                    <a:pt x="8544" y="5884"/>
                  </a:cubicBezTo>
                  <a:cubicBezTo>
                    <a:pt x="8525" y="5884"/>
                    <a:pt x="8506" y="5887"/>
                    <a:pt x="8490" y="5896"/>
                  </a:cubicBezTo>
                  <a:cubicBezTo>
                    <a:pt x="8406" y="5919"/>
                    <a:pt x="8371" y="6027"/>
                    <a:pt x="8394" y="6098"/>
                  </a:cubicBezTo>
                  <a:lnTo>
                    <a:pt x="8501" y="6312"/>
                  </a:lnTo>
                  <a:cubicBezTo>
                    <a:pt x="8168" y="6431"/>
                    <a:pt x="7239" y="6753"/>
                    <a:pt x="6346" y="6812"/>
                  </a:cubicBezTo>
                  <a:cubicBezTo>
                    <a:pt x="6251" y="6812"/>
                    <a:pt x="6180" y="6896"/>
                    <a:pt x="6192" y="6979"/>
                  </a:cubicBezTo>
                  <a:cubicBezTo>
                    <a:pt x="6192" y="7074"/>
                    <a:pt x="6263" y="7134"/>
                    <a:pt x="6358" y="7134"/>
                  </a:cubicBezTo>
                  <a:lnTo>
                    <a:pt x="6370" y="7134"/>
                  </a:lnTo>
                  <a:cubicBezTo>
                    <a:pt x="7382" y="7074"/>
                    <a:pt x="8430" y="6681"/>
                    <a:pt x="8692" y="6574"/>
                  </a:cubicBezTo>
                  <a:cubicBezTo>
                    <a:pt x="8942" y="6932"/>
                    <a:pt x="9383" y="7408"/>
                    <a:pt x="10109" y="7908"/>
                  </a:cubicBezTo>
                  <a:lnTo>
                    <a:pt x="9895" y="9432"/>
                  </a:lnTo>
                  <a:lnTo>
                    <a:pt x="9525" y="10289"/>
                  </a:lnTo>
                  <a:cubicBezTo>
                    <a:pt x="9514" y="10325"/>
                    <a:pt x="9514" y="10384"/>
                    <a:pt x="9537" y="10432"/>
                  </a:cubicBezTo>
                  <a:cubicBezTo>
                    <a:pt x="9573" y="10480"/>
                    <a:pt x="9621" y="10503"/>
                    <a:pt x="9680" y="10503"/>
                  </a:cubicBezTo>
                  <a:lnTo>
                    <a:pt x="10537" y="10503"/>
                  </a:lnTo>
                  <a:cubicBezTo>
                    <a:pt x="10609" y="10503"/>
                    <a:pt x="10692" y="10444"/>
                    <a:pt x="10704" y="10372"/>
                  </a:cubicBezTo>
                  <a:lnTo>
                    <a:pt x="11085" y="7741"/>
                  </a:lnTo>
                  <a:cubicBezTo>
                    <a:pt x="11049" y="7682"/>
                    <a:pt x="11026" y="7634"/>
                    <a:pt x="10990" y="7610"/>
                  </a:cubicBezTo>
                  <a:cubicBezTo>
                    <a:pt x="10990" y="7610"/>
                    <a:pt x="10645" y="7241"/>
                    <a:pt x="10573" y="6824"/>
                  </a:cubicBezTo>
                  <a:cubicBezTo>
                    <a:pt x="10514" y="6479"/>
                    <a:pt x="10585" y="6181"/>
                    <a:pt x="10680" y="5848"/>
                  </a:cubicBezTo>
                  <a:cubicBezTo>
                    <a:pt x="10752" y="5574"/>
                    <a:pt x="10835" y="5277"/>
                    <a:pt x="10835" y="4919"/>
                  </a:cubicBezTo>
                  <a:cubicBezTo>
                    <a:pt x="10835" y="4110"/>
                    <a:pt x="10383" y="3514"/>
                    <a:pt x="9537" y="3252"/>
                  </a:cubicBezTo>
                  <a:cubicBezTo>
                    <a:pt x="9075" y="3095"/>
                    <a:pt x="8298" y="3086"/>
                    <a:pt x="7459" y="3086"/>
                  </a:cubicBezTo>
                  <a:cubicBezTo>
                    <a:pt x="7347" y="3086"/>
                    <a:pt x="7234" y="3086"/>
                    <a:pt x="7120" y="3086"/>
                  </a:cubicBezTo>
                  <a:cubicBezTo>
                    <a:pt x="6906" y="3088"/>
                    <a:pt x="6687" y="3090"/>
                    <a:pt x="6469" y="3090"/>
                  </a:cubicBezTo>
                  <a:cubicBezTo>
                    <a:pt x="5513" y="3090"/>
                    <a:pt x="4578" y="3048"/>
                    <a:pt x="4132" y="2776"/>
                  </a:cubicBezTo>
                  <a:cubicBezTo>
                    <a:pt x="4025" y="2717"/>
                    <a:pt x="3953" y="2490"/>
                    <a:pt x="3894" y="2276"/>
                  </a:cubicBezTo>
                  <a:cubicBezTo>
                    <a:pt x="4310" y="2098"/>
                    <a:pt x="4549" y="1740"/>
                    <a:pt x="4584" y="1371"/>
                  </a:cubicBezTo>
                  <a:cubicBezTo>
                    <a:pt x="4620" y="1086"/>
                    <a:pt x="4561" y="800"/>
                    <a:pt x="4406" y="562"/>
                  </a:cubicBezTo>
                  <a:cubicBezTo>
                    <a:pt x="4251" y="312"/>
                    <a:pt x="3989" y="133"/>
                    <a:pt x="3668" y="50"/>
                  </a:cubicBezTo>
                  <a:cubicBezTo>
                    <a:pt x="3530" y="17"/>
                    <a:pt x="3393" y="0"/>
                    <a:pt x="32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7" name="Google Shape;12937;p63"/>
            <p:cNvSpPr/>
            <p:nvPr/>
          </p:nvSpPr>
          <p:spPr>
            <a:xfrm>
              <a:off x="5295565" y="2044338"/>
              <a:ext cx="10304" cy="10688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38" name="Google Shape;12938;p63"/>
          <p:cNvGrpSpPr/>
          <p:nvPr/>
        </p:nvGrpSpPr>
        <p:grpSpPr>
          <a:xfrm>
            <a:off x="4148749" y="2102066"/>
            <a:ext cx="355136" cy="216256"/>
            <a:chOff x="4148749" y="2102066"/>
            <a:chExt cx="355136" cy="216256"/>
          </a:xfrm>
        </p:grpSpPr>
        <p:sp>
          <p:nvSpPr>
            <p:cNvPr id="12939" name="Google Shape;12939;p63"/>
            <p:cNvSpPr/>
            <p:nvPr/>
          </p:nvSpPr>
          <p:spPr>
            <a:xfrm>
              <a:off x="4148749" y="2102066"/>
              <a:ext cx="355136" cy="216256"/>
            </a:xfrm>
            <a:custGeom>
              <a:avLst/>
              <a:gdLst/>
              <a:ahLst/>
              <a:cxnLst/>
              <a:rect l="l" t="t" r="r" b="b"/>
              <a:pathLst>
                <a:path w="11098" h="6758" extrusionOk="0">
                  <a:moveTo>
                    <a:pt x="10395" y="340"/>
                  </a:moveTo>
                  <a:cubicBezTo>
                    <a:pt x="10442" y="340"/>
                    <a:pt x="10490" y="352"/>
                    <a:pt x="10514" y="387"/>
                  </a:cubicBezTo>
                  <a:cubicBezTo>
                    <a:pt x="10561" y="435"/>
                    <a:pt x="10561" y="495"/>
                    <a:pt x="10550" y="530"/>
                  </a:cubicBezTo>
                  <a:cubicBezTo>
                    <a:pt x="10538" y="578"/>
                    <a:pt x="10478" y="637"/>
                    <a:pt x="10383" y="709"/>
                  </a:cubicBezTo>
                  <a:cubicBezTo>
                    <a:pt x="10383" y="709"/>
                    <a:pt x="10383" y="697"/>
                    <a:pt x="10371" y="697"/>
                  </a:cubicBezTo>
                  <a:cubicBezTo>
                    <a:pt x="10300" y="602"/>
                    <a:pt x="10252" y="471"/>
                    <a:pt x="10264" y="399"/>
                  </a:cubicBezTo>
                  <a:cubicBezTo>
                    <a:pt x="10264" y="387"/>
                    <a:pt x="10276" y="352"/>
                    <a:pt x="10359" y="340"/>
                  </a:cubicBezTo>
                  <a:close/>
                  <a:moveTo>
                    <a:pt x="10435" y="0"/>
                  </a:moveTo>
                  <a:cubicBezTo>
                    <a:pt x="10390" y="0"/>
                    <a:pt x="10345" y="6"/>
                    <a:pt x="10300" y="18"/>
                  </a:cubicBezTo>
                  <a:cubicBezTo>
                    <a:pt x="10133" y="42"/>
                    <a:pt x="10026" y="149"/>
                    <a:pt x="9966" y="280"/>
                  </a:cubicBezTo>
                  <a:cubicBezTo>
                    <a:pt x="9895" y="495"/>
                    <a:pt x="10002" y="745"/>
                    <a:pt x="10121" y="887"/>
                  </a:cubicBezTo>
                  <a:cubicBezTo>
                    <a:pt x="10026" y="947"/>
                    <a:pt x="9930" y="1006"/>
                    <a:pt x="9823" y="1054"/>
                  </a:cubicBezTo>
                  <a:cubicBezTo>
                    <a:pt x="9478" y="804"/>
                    <a:pt x="9061" y="625"/>
                    <a:pt x="8573" y="506"/>
                  </a:cubicBezTo>
                  <a:cubicBezTo>
                    <a:pt x="8134" y="404"/>
                    <a:pt x="7632" y="355"/>
                    <a:pt x="7072" y="355"/>
                  </a:cubicBezTo>
                  <a:cubicBezTo>
                    <a:pt x="6721" y="355"/>
                    <a:pt x="6348" y="374"/>
                    <a:pt x="5954" y="411"/>
                  </a:cubicBezTo>
                  <a:cubicBezTo>
                    <a:pt x="4489" y="566"/>
                    <a:pt x="3144" y="971"/>
                    <a:pt x="2751" y="1090"/>
                  </a:cubicBezTo>
                  <a:cubicBezTo>
                    <a:pt x="2644" y="935"/>
                    <a:pt x="2549" y="816"/>
                    <a:pt x="2429" y="733"/>
                  </a:cubicBezTo>
                  <a:cubicBezTo>
                    <a:pt x="2263" y="590"/>
                    <a:pt x="2144" y="554"/>
                    <a:pt x="2132" y="554"/>
                  </a:cubicBezTo>
                  <a:cubicBezTo>
                    <a:pt x="2112" y="546"/>
                    <a:pt x="2092" y="542"/>
                    <a:pt x="2073" y="542"/>
                  </a:cubicBezTo>
                  <a:cubicBezTo>
                    <a:pt x="2011" y="542"/>
                    <a:pt x="1957" y="580"/>
                    <a:pt x="1929" y="625"/>
                  </a:cubicBezTo>
                  <a:cubicBezTo>
                    <a:pt x="1787" y="911"/>
                    <a:pt x="1727" y="1173"/>
                    <a:pt x="1715" y="1387"/>
                  </a:cubicBezTo>
                  <a:lnTo>
                    <a:pt x="1429" y="1483"/>
                  </a:lnTo>
                  <a:cubicBezTo>
                    <a:pt x="1382" y="1507"/>
                    <a:pt x="1334" y="1542"/>
                    <a:pt x="1322" y="1602"/>
                  </a:cubicBezTo>
                  <a:cubicBezTo>
                    <a:pt x="1203" y="2114"/>
                    <a:pt x="394" y="2519"/>
                    <a:pt x="120" y="2638"/>
                  </a:cubicBezTo>
                  <a:cubicBezTo>
                    <a:pt x="48" y="2661"/>
                    <a:pt x="1" y="2733"/>
                    <a:pt x="13" y="2828"/>
                  </a:cubicBezTo>
                  <a:lnTo>
                    <a:pt x="155" y="3412"/>
                  </a:lnTo>
                  <a:cubicBezTo>
                    <a:pt x="191" y="3543"/>
                    <a:pt x="310" y="3626"/>
                    <a:pt x="441" y="3662"/>
                  </a:cubicBezTo>
                  <a:cubicBezTo>
                    <a:pt x="477" y="3662"/>
                    <a:pt x="501" y="3662"/>
                    <a:pt x="536" y="3673"/>
                  </a:cubicBezTo>
                  <a:cubicBezTo>
                    <a:pt x="727" y="4102"/>
                    <a:pt x="1632" y="4281"/>
                    <a:pt x="2751" y="4507"/>
                  </a:cubicBezTo>
                  <a:cubicBezTo>
                    <a:pt x="2822" y="4519"/>
                    <a:pt x="2882" y="4543"/>
                    <a:pt x="2953" y="4555"/>
                  </a:cubicBezTo>
                  <a:lnTo>
                    <a:pt x="3346" y="5852"/>
                  </a:lnTo>
                  <a:lnTo>
                    <a:pt x="3132" y="6567"/>
                  </a:lnTo>
                  <a:cubicBezTo>
                    <a:pt x="3120" y="6602"/>
                    <a:pt x="3132" y="6662"/>
                    <a:pt x="3168" y="6698"/>
                  </a:cubicBezTo>
                  <a:cubicBezTo>
                    <a:pt x="3203" y="6745"/>
                    <a:pt x="3239" y="6757"/>
                    <a:pt x="3299" y="6757"/>
                  </a:cubicBezTo>
                  <a:lnTo>
                    <a:pt x="3989" y="6757"/>
                  </a:lnTo>
                  <a:cubicBezTo>
                    <a:pt x="4073" y="6757"/>
                    <a:pt x="4132" y="6698"/>
                    <a:pt x="4156" y="6602"/>
                  </a:cubicBezTo>
                  <a:lnTo>
                    <a:pt x="4299" y="5197"/>
                  </a:lnTo>
                  <a:cubicBezTo>
                    <a:pt x="4311" y="5078"/>
                    <a:pt x="4311" y="4959"/>
                    <a:pt x="4311" y="4816"/>
                  </a:cubicBezTo>
                  <a:cubicBezTo>
                    <a:pt x="5049" y="4983"/>
                    <a:pt x="5858" y="5078"/>
                    <a:pt x="6692" y="5078"/>
                  </a:cubicBezTo>
                  <a:cubicBezTo>
                    <a:pt x="7073" y="5078"/>
                    <a:pt x="7442" y="5055"/>
                    <a:pt x="7811" y="5019"/>
                  </a:cubicBezTo>
                  <a:cubicBezTo>
                    <a:pt x="7906" y="4995"/>
                    <a:pt x="7966" y="4924"/>
                    <a:pt x="7966" y="4840"/>
                  </a:cubicBezTo>
                  <a:cubicBezTo>
                    <a:pt x="7942" y="4745"/>
                    <a:pt x="7871" y="4686"/>
                    <a:pt x="7787" y="4686"/>
                  </a:cubicBezTo>
                  <a:cubicBezTo>
                    <a:pt x="7401" y="4725"/>
                    <a:pt x="7033" y="4741"/>
                    <a:pt x="6688" y="4741"/>
                  </a:cubicBezTo>
                  <a:cubicBezTo>
                    <a:pt x="5578" y="4741"/>
                    <a:pt x="4717" y="4574"/>
                    <a:pt x="4299" y="4483"/>
                  </a:cubicBezTo>
                  <a:cubicBezTo>
                    <a:pt x="4287" y="4340"/>
                    <a:pt x="4251" y="4209"/>
                    <a:pt x="4215" y="4090"/>
                  </a:cubicBezTo>
                  <a:lnTo>
                    <a:pt x="4120" y="3828"/>
                  </a:lnTo>
                  <a:cubicBezTo>
                    <a:pt x="4092" y="3754"/>
                    <a:pt x="4036" y="3709"/>
                    <a:pt x="3974" y="3709"/>
                  </a:cubicBezTo>
                  <a:cubicBezTo>
                    <a:pt x="3955" y="3709"/>
                    <a:pt x="3937" y="3713"/>
                    <a:pt x="3918" y="3721"/>
                  </a:cubicBezTo>
                  <a:cubicBezTo>
                    <a:pt x="3823" y="3745"/>
                    <a:pt x="3775" y="3840"/>
                    <a:pt x="3811" y="3924"/>
                  </a:cubicBezTo>
                  <a:lnTo>
                    <a:pt x="3894" y="4197"/>
                  </a:lnTo>
                  <a:cubicBezTo>
                    <a:pt x="3989" y="4507"/>
                    <a:pt x="4025" y="4840"/>
                    <a:pt x="3989" y="5162"/>
                  </a:cubicBezTo>
                  <a:lnTo>
                    <a:pt x="3858" y="6424"/>
                  </a:lnTo>
                  <a:lnTo>
                    <a:pt x="3525" y="6424"/>
                  </a:lnTo>
                  <a:lnTo>
                    <a:pt x="3692" y="5876"/>
                  </a:lnTo>
                  <a:cubicBezTo>
                    <a:pt x="3703" y="5852"/>
                    <a:pt x="3703" y="5817"/>
                    <a:pt x="3692" y="5793"/>
                  </a:cubicBezTo>
                  <a:lnTo>
                    <a:pt x="3275" y="4364"/>
                  </a:lnTo>
                  <a:cubicBezTo>
                    <a:pt x="3263" y="4305"/>
                    <a:pt x="3215" y="4257"/>
                    <a:pt x="3156" y="4245"/>
                  </a:cubicBezTo>
                  <a:cubicBezTo>
                    <a:pt x="3049" y="4221"/>
                    <a:pt x="2941" y="4197"/>
                    <a:pt x="2858" y="4185"/>
                  </a:cubicBezTo>
                  <a:cubicBezTo>
                    <a:pt x="2322" y="4078"/>
                    <a:pt x="1798" y="3971"/>
                    <a:pt x="1429" y="3852"/>
                  </a:cubicBezTo>
                  <a:cubicBezTo>
                    <a:pt x="1239" y="3793"/>
                    <a:pt x="1096" y="3733"/>
                    <a:pt x="1013" y="3673"/>
                  </a:cubicBezTo>
                  <a:cubicBezTo>
                    <a:pt x="1239" y="3662"/>
                    <a:pt x="1453" y="3590"/>
                    <a:pt x="1608" y="3423"/>
                  </a:cubicBezTo>
                  <a:cubicBezTo>
                    <a:pt x="1667" y="3364"/>
                    <a:pt x="1667" y="3257"/>
                    <a:pt x="1608" y="3197"/>
                  </a:cubicBezTo>
                  <a:cubicBezTo>
                    <a:pt x="1578" y="3167"/>
                    <a:pt x="1537" y="3153"/>
                    <a:pt x="1495" y="3153"/>
                  </a:cubicBezTo>
                  <a:cubicBezTo>
                    <a:pt x="1453" y="3153"/>
                    <a:pt x="1411" y="3167"/>
                    <a:pt x="1382" y="3197"/>
                  </a:cubicBezTo>
                  <a:cubicBezTo>
                    <a:pt x="1285" y="3294"/>
                    <a:pt x="1092" y="3351"/>
                    <a:pt x="835" y="3351"/>
                  </a:cubicBezTo>
                  <a:cubicBezTo>
                    <a:pt x="743" y="3351"/>
                    <a:pt x="643" y="3344"/>
                    <a:pt x="536" y="3328"/>
                  </a:cubicBezTo>
                  <a:lnTo>
                    <a:pt x="524" y="3316"/>
                  </a:lnTo>
                  <a:lnTo>
                    <a:pt x="405" y="2876"/>
                  </a:lnTo>
                  <a:cubicBezTo>
                    <a:pt x="524" y="2816"/>
                    <a:pt x="703" y="2721"/>
                    <a:pt x="894" y="2602"/>
                  </a:cubicBezTo>
                  <a:cubicBezTo>
                    <a:pt x="1298" y="2340"/>
                    <a:pt x="1548" y="2066"/>
                    <a:pt x="1656" y="1768"/>
                  </a:cubicBezTo>
                  <a:lnTo>
                    <a:pt x="1775" y="1721"/>
                  </a:lnTo>
                  <a:cubicBezTo>
                    <a:pt x="1798" y="1888"/>
                    <a:pt x="1846" y="1983"/>
                    <a:pt x="1858" y="1995"/>
                  </a:cubicBezTo>
                  <a:cubicBezTo>
                    <a:pt x="1894" y="2054"/>
                    <a:pt x="1953" y="2078"/>
                    <a:pt x="2013" y="2078"/>
                  </a:cubicBezTo>
                  <a:cubicBezTo>
                    <a:pt x="2037" y="2078"/>
                    <a:pt x="2072" y="2078"/>
                    <a:pt x="2084" y="2066"/>
                  </a:cubicBezTo>
                  <a:cubicBezTo>
                    <a:pt x="2156" y="2019"/>
                    <a:pt x="2191" y="1935"/>
                    <a:pt x="2144" y="1840"/>
                  </a:cubicBezTo>
                  <a:cubicBezTo>
                    <a:pt x="2132" y="1828"/>
                    <a:pt x="1965" y="1483"/>
                    <a:pt x="2179" y="935"/>
                  </a:cubicBezTo>
                  <a:cubicBezTo>
                    <a:pt x="2322" y="1030"/>
                    <a:pt x="2525" y="1221"/>
                    <a:pt x="2727" y="1602"/>
                  </a:cubicBezTo>
                  <a:cubicBezTo>
                    <a:pt x="2754" y="1663"/>
                    <a:pt x="2812" y="1699"/>
                    <a:pt x="2875" y="1699"/>
                  </a:cubicBezTo>
                  <a:cubicBezTo>
                    <a:pt x="2897" y="1699"/>
                    <a:pt x="2920" y="1694"/>
                    <a:pt x="2941" y="1685"/>
                  </a:cubicBezTo>
                  <a:cubicBezTo>
                    <a:pt x="3025" y="1638"/>
                    <a:pt x="3061" y="1542"/>
                    <a:pt x="3025" y="1459"/>
                  </a:cubicBezTo>
                  <a:cubicBezTo>
                    <a:pt x="3001" y="1423"/>
                    <a:pt x="2989" y="1411"/>
                    <a:pt x="2977" y="1387"/>
                  </a:cubicBezTo>
                  <a:cubicBezTo>
                    <a:pt x="3442" y="1245"/>
                    <a:pt x="4692" y="887"/>
                    <a:pt x="6025" y="756"/>
                  </a:cubicBezTo>
                  <a:cubicBezTo>
                    <a:pt x="6402" y="716"/>
                    <a:pt x="6758" y="696"/>
                    <a:pt x="7091" y="696"/>
                  </a:cubicBezTo>
                  <a:cubicBezTo>
                    <a:pt x="7633" y="696"/>
                    <a:pt x="8117" y="749"/>
                    <a:pt x="8537" y="852"/>
                  </a:cubicBezTo>
                  <a:cubicBezTo>
                    <a:pt x="9359" y="1042"/>
                    <a:pt x="9942" y="1423"/>
                    <a:pt x="10264" y="2007"/>
                  </a:cubicBezTo>
                  <a:cubicBezTo>
                    <a:pt x="10847" y="3054"/>
                    <a:pt x="10192" y="4007"/>
                    <a:pt x="9895" y="4281"/>
                  </a:cubicBezTo>
                  <a:cubicBezTo>
                    <a:pt x="9835" y="4340"/>
                    <a:pt x="9823" y="4447"/>
                    <a:pt x="9883" y="4507"/>
                  </a:cubicBezTo>
                  <a:cubicBezTo>
                    <a:pt x="9907" y="4543"/>
                    <a:pt x="9954" y="4555"/>
                    <a:pt x="10002" y="4555"/>
                  </a:cubicBezTo>
                  <a:cubicBezTo>
                    <a:pt x="10038" y="4555"/>
                    <a:pt x="10073" y="4543"/>
                    <a:pt x="10109" y="4507"/>
                  </a:cubicBezTo>
                  <a:lnTo>
                    <a:pt x="10121" y="4495"/>
                  </a:lnTo>
                  <a:lnTo>
                    <a:pt x="10180" y="4614"/>
                  </a:lnTo>
                  <a:cubicBezTo>
                    <a:pt x="10204" y="4686"/>
                    <a:pt x="10216" y="4781"/>
                    <a:pt x="10192" y="4864"/>
                  </a:cubicBezTo>
                  <a:lnTo>
                    <a:pt x="9752" y="6412"/>
                  </a:lnTo>
                  <a:lnTo>
                    <a:pt x="9454" y="6412"/>
                  </a:lnTo>
                  <a:lnTo>
                    <a:pt x="9728" y="5995"/>
                  </a:lnTo>
                  <a:cubicBezTo>
                    <a:pt x="9764" y="5971"/>
                    <a:pt x="9764" y="5924"/>
                    <a:pt x="9764" y="5876"/>
                  </a:cubicBezTo>
                  <a:lnTo>
                    <a:pt x="9633" y="4995"/>
                  </a:lnTo>
                  <a:cubicBezTo>
                    <a:pt x="9633" y="4971"/>
                    <a:pt x="9597" y="4924"/>
                    <a:pt x="9585" y="4912"/>
                  </a:cubicBezTo>
                  <a:lnTo>
                    <a:pt x="8883" y="4245"/>
                  </a:lnTo>
                  <a:cubicBezTo>
                    <a:pt x="8853" y="4215"/>
                    <a:pt x="8811" y="4200"/>
                    <a:pt x="8770" y="4200"/>
                  </a:cubicBezTo>
                  <a:cubicBezTo>
                    <a:pt x="8728" y="4200"/>
                    <a:pt x="8686" y="4215"/>
                    <a:pt x="8656" y="4245"/>
                  </a:cubicBezTo>
                  <a:cubicBezTo>
                    <a:pt x="8597" y="4305"/>
                    <a:pt x="8597" y="4400"/>
                    <a:pt x="8656" y="4459"/>
                  </a:cubicBezTo>
                  <a:lnTo>
                    <a:pt x="8716" y="4519"/>
                  </a:lnTo>
                  <a:cubicBezTo>
                    <a:pt x="8645" y="4543"/>
                    <a:pt x="8561" y="4555"/>
                    <a:pt x="8478" y="4566"/>
                  </a:cubicBezTo>
                  <a:cubicBezTo>
                    <a:pt x="8395" y="4578"/>
                    <a:pt x="8335" y="4674"/>
                    <a:pt x="8347" y="4757"/>
                  </a:cubicBezTo>
                  <a:cubicBezTo>
                    <a:pt x="8359" y="4840"/>
                    <a:pt x="8442" y="4900"/>
                    <a:pt x="8514" y="4900"/>
                  </a:cubicBezTo>
                  <a:lnTo>
                    <a:pt x="8537" y="4900"/>
                  </a:lnTo>
                  <a:cubicBezTo>
                    <a:pt x="8692" y="4864"/>
                    <a:pt x="8859" y="4840"/>
                    <a:pt x="9002" y="4793"/>
                  </a:cubicBezTo>
                  <a:lnTo>
                    <a:pt x="9335" y="5102"/>
                  </a:lnTo>
                  <a:lnTo>
                    <a:pt x="9454" y="5864"/>
                  </a:lnTo>
                  <a:lnTo>
                    <a:pt x="9037" y="6471"/>
                  </a:lnTo>
                  <a:cubicBezTo>
                    <a:pt x="9002" y="6519"/>
                    <a:pt x="8990" y="6590"/>
                    <a:pt x="9014" y="6638"/>
                  </a:cubicBezTo>
                  <a:cubicBezTo>
                    <a:pt x="9049" y="6698"/>
                    <a:pt x="9109" y="6721"/>
                    <a:pt x="9168" y="6721"/>
                  </a:cubicBezTo>
                  <a:lnTo>
                    <a:pt x="9895" y="6721"/>
                  </a:lnTo>
                  <a:cubicBezTo>
                    <a:pt x="9966" y="6721"/>
                    <a:pt x="10026" y="6686"/>
                    <a:pt x="10049" y="6602"/>
                  </a:cubicBezTo>
                  <a:lnTo>
                    <a:pt x="10538" y="4936"/>
                  </a:lnTo>
                  <a:cubicBezTo>
                    <a:pt x="10585" y="4781"/>
                    <a:pt x="10561" y="4614"/>
                    <a:pt x="10502" y="4459"/>
                  </a:cubicBezTo>
                  <a:lnTo>
                    <a:pt x="10383" y="4209"/>
                  </a:lnTo>
                  <a:cubicBezTo>
                    <a:pt x="10526" y="4019"/>
                    <a:pt x="10669" y="3769"/>
                    <a:pt x="10764" y="3483"/>
                  </a:cubicBezTo>
                  <a:cubicBezTo>
                    <a:pt x="10942" y="2911"/>
                    <a:pt x="10859" y="2340"/>
                    <a:pt x="10585" y="1816"/>
                  </a:cubicBezTo>
                  <a:cubicBezTo>
                    <a:pt x="10466" y="1626"/>
                    <a:pt x="10323" y="1423"/>
                    <a:pt x="10169" y="1280"/>
                  </a:cubicBezTo>
                  <a:cubicBezTo>
                    <a:pt x="10252" y="1233"/>
                    <a:pt x="10347" y="1173"/>
                    <a:pt x="10430" y="1114"/>
                  </a:cubicBezTo>
                  <a:cubicBezTo>
                    <a:pt x="10645" y="1304"/>
                    <a:pt x="10835" y="1459"/>
                    <a:pt x="10883" y="1483"/>
                  </a:cubicBezTo>
                  <a:cubicBezTo>
                    <a:pt x="10907" y="1507"/>
                    <a:pt x="10919" y="1507"/>
                    <a:pt x="10954" y="1507"/>
                  </a:cubicBezTo>
                  <a:cubicBezTo>
                    <a:pt x="11014" y="1507"/>
                    <a:pt x="11073" y="1471"/>
                    <a:pt x="11097" y="1411"/>
                  </a:cubicBezTo>
                  <a:cubicBezTo>
                    <a:pt x="11073" y="1364"/>
                    <a:pt x="11038" y="1268"/>
                    <a:pt x="10966" y="1221"/>
                  </a:cubicBezTo>
                  <a:cubicBezTo>
                    <a:pt x="10942" y="1209"/>
                    <a:pt x="10788" y="1090"/>
                    <a:pt x="10621" y="935"/>
                  </a:cubicBezTo>
                  <a:cubicBezTo>
                    <a:pt x="10764" y="828"/>
                    <a:pt x="10835" y="733"/>
                    <a:pt x="10859" y="625"/>
                  </a:cubicBezTo>
                  <a:cubicBezTo>
                    <a:pt x="10919" y="447"/>
                    <a:pt x="10895" y="280"/>
                    <a:pt x="10776" y="149"/>
                  </a:cubicBezTo>
                  <a:cubicBezTo>
                    <a:pt x="10687" y="52"/>
                    <a:pt x="10565" y="0"/>
                    <a:pt x="104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0" name="Google Shape;12940;p63"/>
            <p:cNvSpPr/>
            <p:nvPr/>
          </p:nvSpPr>
          <p:spPr>
            <a:xfrm>
              <a:off x="4195981" y="2177682"/>
              <a:ext cx="10336" cy="10720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cubicBezTo>
                    <a:pt x="251" y="334"/>
                    <a:pt x="322" y="251"/>
                    <a:pt x="322" y="167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1" name="Google Shape;12941;p63"/>
          <p:cNvGrpSpPr/>
          <p:nvPr/>
        </p:nvGrpSpPr>
        <p:grpSpPr>
          <a:xfrm>
            <a:off x="5794669" y="2001426"/>
            <a:ext cx="354752" cy="315360"/>
            <a:chOff x="5794669" y="2001426"/>
            <a:chExt cx="354752" cy="315360"/>
          </a:xfrm>
        </p:grpSpPr>
        <p:sp>
          <p:nvSpPr>
            <p:cNvPr id="12942" name="Google Shape;12942;p63"/>
            <p:cNvSpPr/>
            <p:nvPr/>
          </p:nvSpPr>
          <p:spPr>
            <a:xfrm>
              <a:off x="5841165" y="2051186"/>
              <a:ext cx="10688" cy="10336"/>
            </a:xfrm>
            <a:custGeom>
              <a:avLst/>
              <a:gdLst/>
              <a:ahLst/>
              <a:cxnLst/>
              <a:rect l="l" t="t" r="r" b="b"/>
              <a:pathLst>
                <a:path w="334" h="323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cubicBezTo>
                    <a:pt x="0" y="251"/>
                    <a:pt x="84" y="322"/>
                    <a:pt x="167" y="322"/>
                  </a:cubicBezTo>
                  <a:cubicBezTo>
                    <a:pt x="262" y="322"/>
                    <a:pt x="334" y="251"/>
                    <a:pt x="334" y="156"/>
                  </a:cubicBezTo>
                  <a:cubicBezTo>
                    <a:pt x="334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3" name="Google Shape;12943;p63"/>
            <p:cNvSpPr/>
            <p:nvPr/>
          </p:nvSpPr>
          <p:spPr>
            <a:xfrm>
              <a:off x="5794669" y="2001426"/>
              <a:ext cx="354752" cy="315360"/>
            </a:xfrm>
            <a:custGeom>
              <a:avLst/>
              <a:gdLst/>
              <a:ahLst/>
              <a:cxnLst/>
              <a:rect l="l" t="t" r="r" b="b"/>
              <a:pathLst>
                <a:path w="11086" h="9855" extrusionOk="0">
                  <a:moveTo>
                    <a:pt x="1179" y="568"/>
                  </a:moveTo>
                  <a:lnTo>
                    <a:pt x="1298" y="877"/>
                  </a:lnTo>
                  <a:lnTo>
                    <a:pt x="1215" y="925"/>
                  </a:lnTo>
                  <a:lnTo>
                    <a:pt x="1203" y="937"/>
                  </a:lnTo>
                  <a:lnTo>
                    <a:pt x="894" y="782"/>
                  </a:lnTo>
                  <a:cubicBezTo>
                    <a:pt x="965" y="722"/>
                    <a:pt x="1048" y="639"/>
                    <a:pt x="1179" y="568"/>
                  </a:cubicBezTo>
                  <a:close/>
                  <a:moveTo>
                    <a:pt x="10028" y="3376"/>
                  </a:moveTo>
                  <a:cubicBezTo>
                    <a:pt x="10073" y="3406"/>
                    <a:pt x="10123" y="3430"/>
                    <a:pt x="10145" y="3473"/>
                  </a:cubicBezTo>
                  <a:cubicBezTo>
                    <a:pt x="10502" y="3794"/>
                    <a:pt x="10621" y="4592"/>
                    <a:pt x="10490" y="5699"/>
                  </a:cubicBezTo>
                  <a:cubicBezTo>
                    <a:pt x="10430" y="6199"/>
                    <a:pt x="10490" y="6521"/>
                    <a:pt x="10561" y="6735"/>
                  </a:cubicBezTo>
                  <a:cubicBezTo>
                    <a:pt x="10502" y="6688"/>
                    <a:pt x="10430" y="6628"/>
                    <a:pt x="10371" y="6568"/>
                  </a:cubicBezTo>
                  <a:cubicBezTo>
                    <a:pt x="10240" y="6402"/>
                    <a:pt x="10192" y="6176"/>
                    <a:pt x="10228" y="5902"/>
                  </a:cubicBezTo>
                  <a:cubicBezTo>
                    <a:pt x="10359" y="5080"/>
                    <a:pt x="10478" y="3937"/>
                    <a:pt x="10049" y="3401"/>
                  </a:cubicBezTo>
                  <a:cubicBezTo>
                    <a:pt x="10038" y="3390"/>
                    <a:pt x="10032" y="3382"/>
                    <a:pt x="10028" y="3376"/>
                  </a:cubicBezTo>
                  <a:close/>
                  <a:moveTo>
                    <a:pt x="3942" y="9212"/>
                  </a:moveTo>
                  <a:lnTo>
                    <a:pt x="3918" y="9557"/>
                  </a:lnTo>
                  <a:lnTo>
                    <a:pt x="3692" y="9557"/>
                  </a:lnTo>
                  <a:lnTo>
                    <a:pt x="3942" y="9212"/>
                  </a:lnTo>
                  <a:close/>
                  <a:moveTo>
                    <a:pt x="2035" y="334"/>
                  </a:moveTo>
                  <a:cubicBezTo>
                    <a:pt x="2129" y="334"/>
                    <a:pt x="2230" y="339"/>
                    <a:pt x="2334" y="353"/>
                  </a:cubicBezTo>
                  <a:cubicBezTo>
                    <a:pt x="2918" y="461"/>
                    <a:pt x="3453" y="889"/>
                    <a:pt x="3894" y="1365"/>
                  </a:cubicBezTo>
                  <a:cubicBezTo>
                    <a:pt x="3644" y="1187"/>
                    <a:pt x="3370" y="1056"/>
                    <a:pt x="3120" y="937"/>
                  </a:cubicBezTo>
                  <a:cubicBezTo>
                    <a:pt x="3100" y="931"/>
                    <a:pt x="3080" y="928"/>
                    <a:pt x="3060" y="928"/>
                  </a:cubicBezTo>
                  <a:cubicBezTo>
                    <a:pt x="2996" y="928"/>
                    <a:pt x="2936" y="959"/>
                    <a:pt x="2918" y="1032"/>
                  </a:cubicBezTo>
                  <a:cubicBezTo>
                    <a:pt x="2882" y="1115"/>
                    <a:pt x="2918" y="1211"/>
                    <a:pt x="3001" y="1234"/>
                  </a:cubicBezTo>
                  <a:cubicBezTo>
                    <a:pt x="3763" y="1568"/>
                    <a:pt x="4406" y="2127"/>
                    <a:pt x="4823" y="2544"/>
                  </a:cubicBezTo>
                  <a:cubicBezTo>
                    <a:pt x="4882" y="2604"/>
                    <a:pt x="4918" y="2663"/>
                    <a:pt x="4966" y="2711"/>
                  </a:cubicBezTo>
                  <a:cubicBezTo>
                    <a:pt x="5164" y="2947"/>
                    <a:pt x="5332" y="3115"/>
                    <a:pt x="5777" y="3115"/>
                  </a:cubicBezTo>
                  <a:cubicBezTo>
                    <a:pt x="6028" y="3115"/>
                    <a:pt x="6366" y="3061"/>
                    <a:pt x="6847" y="2937"/>
                  </a:cubicBezTo>
                  <a:cubicBezTo>
                    <a:pt x="7304" y="2816"/>
                    <a:pt x="7698" y="2755"/>
                    <a:pt x="8035" y="2755"/>
                  </a:cubicBezTo>
                  <a:cubicBezTo>
                    <a:pt x="8497" y="2755"/>
                    <a:pt x="8852" y="2870"/>
                    <a:pt x="9121" y="3104"/>
                  </a:cubicBezTo>
                  <a:cubicBezTo>
                    <a:pt x="9454" y="3437"/>
                    <a:pt x="9514" y="4175"/>
                    <a:pt x="9216" y="4806"/>
                  </a:cubicBezTo>
                  <a:cubicBezTo>
                    <a:pt x="9037" y="5187"/>
                    <a:pt x="8954" y="5640"/>
                    <a:pt x="8990" y="6045"/>
                  </a:cubicBezTo>
                  <a:cubicBezTo>
                    <a:pt x="9037" y="6509"/>
                    <a:pt x="9228" y="6854"/>
                    <a:pt x="9538" y="7045"/>
                  </a:cubicBezTo>
                  <a:lnTo>
                    <a:pt x="9538" y="9557"/>
                  </a:lnTo>
                  <a:lnTo>
                    <a:pt x="9287" y="9557"/>
                  </a:lnTo>
                  <a:lnTo>
                    <a:pt x="9514" y="9164"/>
                  </a:lnTo>
                  <a:cubicBezTo>
                    <a:pt x="9526" y="9140"/>
                    <a:pt x="9538" y="9093"/>
                    <a:pt x="9526" y="9069"/>
                  </a:cubicBezTo>
                  <a:lnTo>
                    <a:pt x="9240" y="7366"/>
                  </a:lnTo>
                  <a:cubicBezTo>
                    <a:pt x="9240" y="7342"/>
                    <a:pt x="9204" y="7295"/>
                    <a:pt x="9180" y="7283"/>
                  </a:cubicBezTo>
                  <a:cubicBezTo>
                    <a:pt x="7918" y="6176"/>
                    <a:pt x="7418" y="4532"/>
                    <a:pt x="7406" y="4509"/>
                  </a:cubicBezTo>
                  <a:cubicBezTo>
                    <a:pt x="7387" y="4440"/>
                    <a:pt x="7318" y="4395"/>
                    <a:pt x="7255" y="4395"/>
                  </a:cubicBezTo>
                  <a:cubicBezTo>
                    <a:pt x="7241" y="4395"/>
                    <a:pt x="7228" y="4397"/>
                    <a:pt x="7216" y="4402"/>
                  </a:cubicBezTo>
                  <a:cubicBezTo>
                    <a:pt x="7121" y="4437"/>
                    <a:pt x="7085" y="4532"/>
                    <a:pt x="7109" y="4604"/>
                  </a:cubicBezTo>
                  <a:cubicBezTo>
                    <a:pt x="7109" y="4616"/>
                    <a:pt x="7156" y="4771"/>
                    <a:pt x="7240" y="4985"/>
                  </a:cubicBezTo>
                  <a:cubicBezTo>
                    <a:pt x="7144" y="5080"/>
                    <a:pt x="6859" y="5283"/>
                    <a:pt x="6466" y="5461"/>
                  </a:cubicBezTo>
                  <a:cubicBezTo>
                    <a:pt x="6070" y="5641"/>
                    <a:pt x="5688" y="5729"/>
                    <a:pt x="5316" y="5729"/>
                  </a:cubicBezTo>
                  <a:cubicBezTo>
                    <a:pt x="5072" y="5729"/>
                    <a:pt x="4832" y="5691"/>
                    <a:pt x="4596" y="5616"/>
                  </a:cubicBezTo>
                  <a:lnTo>
                    <a:pt x="4668" y="5128"/>
                  </a:lnTo>
                  <a:cubicBezTo>
                    <a:pt x="4680" y="5033"/>
                    <a:pt x="4620" y="4961"/>
                    <a:pt x="4537" y="4949"/>
                  </a:cubicBezTo>
                  <a:cubicBezTo>
                    <a:pt x="4523" y="4946"/>
                    <a:pt x="4509" y="4944"/>
                    <a:pt x="4496" y="4944"/>
                  </a:cubicBezTo>
                  <a:cubicBezTo>
                    <a:pt x="4422" y="4944"/>
                    <a:pt x="4368" y="4999"/>
                    <a:pt x="4358" y="5080"/>
                  </a:cubicBezTo>
                  <a:lnTo>
                    <a:pt x="4192" y="6187"/>
                  </a:lnTo>
                  <a:cubicBezTo>
                    <a:pt x="4120" y="6735"/>
                    <a:pt x="4061" y="7283"/>
                    <a:pt x="4025" y="7819"/>
                  </a:cubicBezTo>
                  <a:lnTo>
                    <a:pt x="3953" y="8962"/>
                  </a:lnTo>
                  <a:lnTo>
                    <a:pt x="3632" y="5056"/>
                  </a:lnTo>
                  <a:cubicBezTo>
                    <a:pt x="3632" y="5044"/>
                    <a:pt x="3632" y="5021"/>
                    <a:pt x="3620" y="4997"/>
                  </a:cubicBezTo>
                  <a:lnTo>
                    <a:pt x="2334" y="2401"/>
                  </a:lnTo>
                  <a:cubicBezTo>
                    <a:pt x="2370" y="2354"/>
                    <a:pt x="2382" y="2306"/>
                    <a:pt x="2394" y="2270"/>
                  </a:cubicBezTo>
                  <a:lnTo>
                    <a:pt x="2513" y="1889"/>
                  </a:lnTo>
                  <a:cubicBezTo>
                    <a:pt x="2549" y="1806"/>
                    <a:pt x="2501" y="1711"/>
                    <a:pt x="2406" y="1687"/>
                  </a:cubicBezTo>
                  <a:cubicBezTo>
                    <a:pt x="2387" y="1679"/>
                    <a:pt x="2368" y="1675"/>
                    <a:pt x="2349" y="1675"/>
                  </a:cubicBezTo>
                  <a:cubicBezTo>
                    <a:pt x="2283" y="1675"/>
                    <a:pt x="2222" y="1720"/>
                    <a:pt x="2203" y="1794"/>
                  </a:cubicBezTo>
                  <a:lnTo>
                    <a:pt x="2084" y="2163"/>
                  </a:lnTo>
                  <a:cubicBezTo>
                    <a:pt x="2072" y="2211"/>
                    <a:pt x="2025" y="2246"/>
                    <a:pt x="1977" y="2270"/>
                  </a:cubicBezTo>
                  <a:lnTo>
                    <a:pt x="739" y="2866"/>
                  </a:lnTo>
                  <a:cubicBezTo>
                    <a:pt x="716" y="2873"/>
                    <a:pt x="694" y="2877"/>
                    <a:pt x="671" y="2877"/>
                  </a:cubicBezTo>
                  <a:cubicBezTo>
                    <a:pt x="623" y="2877"/>
                    <a:pt x="577" y="2859"/>
                    <a:pt x="536" y="2818"/>
                  </a:cubicBezTo>
                  <a:lnTo>
                    <a:pt x="524" y="2794"/>
                  </a:lnTo>
                  <a:lnTo>
                    <a:pt x="370" y="2675"/>
                  </a:lnTo>
                  <a:lnTo>
                    <a:pt x="370" y="2663"/>
                  </a:lnTo>
                  <a:lnTo>
                    <a:pt x="1048" y="1830"/>
                  </a:lnTo>
                  <a:cubicBezTo>
                    <a:pt x="1096" y="1770"/>
                    <a:pt x="1144" y="1699"/>
                    <a:pt x="1167" y="1627"/>
                  </a:cubicBezTo>
                  <a:lnTo>
                    <a:pt x="1263" y="1389"/>
                  </a:lnTo>
                  <a:cubicBezTo>
                    <a:pt x="1286" y="1306"/>
                    <a:pt x="1334" y="1246"/>
                    <a:pt x="1406" y="1211"/>
                  </a:cubicBezTo>
                  <a:lnTo>
                    <a:pt x="1429" y="1187"/>
                  </a:lnTo>
                  <a:cubicBezTo>
                    <a:pt x="1453" y="1246"/>
                    <a:pt x="1513" y="1294"/>
                    <a:pt x="1572" y="1294"/>
                  </a:cubicBezTo>
                  <a:cubicBezTo>
                    <a:pt x="1584" y="1294"/>
                    <a:pt x="1608" y="1294"/>
                    <a:pt x="1632" y="1282"/>
                  </a:cubicBezTo>
                  <a:cubicBezTo>
                    <a:pt x="1727" y="1246"/>
                    <a:pt x="1763" y="1163"/>
                    <a:pt x="1727" y="1068"/>
                  </a:cubicBezTo>
                  <a:lnTo>
                    <a:pt x="1548" y="568"/>
                  </a:lnTo>
                  <a:lnTo>
                    <a:pt x="1548" y="568"/>
                  </a:lnTo>
                  <a:cubicBezTo>
                    <a:pt x="1918" y="699"/>
                    <a:pt x="2144" y="949"/>
                    <a:pt x="2144" y="973"/>
                  </a:cubicBezTo>
                  <a:cubicBezTo>
                    <a:pt x="2168" y="996"/>
                    <a:pt x="2215" y="1032"/>
                    <a:pt x="2263" y="1032"/>
                  </a:cubicBezTo>
                  <a:cubicBezTo>
                    <a:pt x="2263" y="1032"/>
                    <a:pt x="2299" y="1032"/>
                    <a:pt x="2382" y="1044"/>
                  </a:cubicBezTo>
                  <a:cubicBezTo>
                    <a:pt x="2389" y="1045"/>
                    <a:pt x="2396" y="1045"/>
                    <a:pt x="2404" y="1045"/>
                  </a:cubicBezTo>
                  <a:cubicBezTo>
                    <a:pt x="2481" y="1045"/>
                    <a:pt x="2561" y="989"/>
                    <a:pt x="2572" y="913"/>
                  </a:cubicBezTo>
                  <a:cubicBezTo>
                    <a:pt x="2584" y="818"/>
                    <a:pt x="2525" y="734"/>
                    <a:pt x="2441" y="711"/>
                  </a:cubicBezTo>
                  <a:cubicBezTo>
                    <a:pt x="2406" y="711"/>
                    <a:pt x="2382" y="699"/>
                    <a:pt x="2346" y="699"/>
                  </a:cubicBezTo>
                  <a:cubicBezTo>
                    <a:pt x="2275" y="627"/>
                    <a:pt x="2096" y="461"/>
                    <a:pt x="1846" y="341"/>
                  </a:cubicBezTo>
                  <a:cubicBezTo>
                    <a:pt x="1905" y="337"/>
                    <a:pt x="1969" y="334"/>
                    <a:pt x="2035" y="334"/>
                  </a:cubicBezTo>
                  <a:close/>
                  <a:moveTo>
                    <a:pt x="1997" y="1"/>
                  </a:moveTo>
                  <a:cubicBezTo>
                    <a:pt x="1066" y="1"/>
                    <a:pt x="522" y="680"/>
                    <a:pt x="501" y="722"/>
                  </a:cubicBezTo>
                  <a:cubicBezTo>
                    <a:pt x="477" y="758"/>
                    <a:pt x="453" y="806"/>
                    <a:pt x="477" y="853"/>
                  </a:cubicBezTo>
                  <a:cubicBezTo>
                    <a:pt x="489" y="901"/>
                    <a:pt x="513" y="937"/>
                    <a:pt x="548" y="961"/>
                  </a:cubicBezTo>
                  <a:lnTo>
                    <a:pt x="965" y="1199"/>
                  </a:lnTo>
                  <a:cubicBezTo>
                    <a:pt x="953" y="1223"/>
                    <a:pt x="929" y="1258"/>
                    <a:pt x="929" y="1282"/>
                  </a:cubicBezTo>
                  <a:lnTo>
                    <a:pt x="846" y="1520"/>
                  </a:lnTo>
                  <a:cubicBezTo>
                    <a:pt x="834" y="1568"/>
                    <a:pt x="810" y="1592"/>
                    <a:pt x="786" y="1627"/>
                  </a:cubicBezTo>
                  <a:lnTo>
                    <a:pt x="96" y="2461"/>
                  </a:lnTo>
                  <a:cubicBezTo>
                    <a:pt x="1" y="2592"/>
                    <a:pt x="1" y="2782"/>
                    <a:pt x="132" y="2901"/>
                  </a:cubicBezTo>
                  <a:lnTo>
                    <a:pt x="143" y="2925"/>
                  </a:lnTo>
                  <a:lnTo>
                    <a:pt x="298" y="3044"/>
                  </a:lnTo>
                  <a:cubicBezTo>
                    <a:pt x="382" y="3128"/>
                    <a:pt x="513" y="3175"/>
                    <a:pt x="655" y="3175"/>
                  </a:cubicBezTo>
                  <a:cubicBezTo>
                    <a:pt x="727" y="3175"/>
                    <a:pt x="786" y="3163"/>
                    <a:pt x="858" y="3128"/>
                  </a:cubicBezTo>
                  <a:lnTo>
                    <a:pt x="2048" y="2568"/>
                  </a:lnTo>
                  <a:lnTo>
                    <a:pt x="3287" y="5080"/>
                  </a:lnTo>
                  <a:lnTo>
                    <a:pt x="3632" y="9057"/>
                  </a:lnTo>
                  <a:lnTo>
                    <a:pt x="3227" y="9605"/>
                  </a:lnTo>
                  <a:cubicBezTo>
                    <a:pt x="3191" y="9652"/>
                    <a:pt x="3180" y="9724"/>
                    <a:pt x="3215" y="9771"/>
                  </a:cubicBezTo>
                  <a:cubicBezTo>
                    <a:pt x="3239" y="9831"/>
                    <a:pt x="3299" y="9855"/>
                    <a:pt x="3358" y="9855"/>
                  </a:cubicBezTo>
                  <a:lnTo>
                    <a:pt x="4049" y="9855"/>
                  </a:lnTo>
                  <a:cubicBezTo>
                    <a:pt x="4132" y="9855"/>
                    <a:pt x="4192" y="9795"/>
                    <a:pt x="4204" y="9712"/>
                  </a:cubicBezTo>
                  <a:lnTo>
                    <a:pt x="4323" y="7807"/>
                  </a:lnTo>
                  <a:cubicBezTo>
                    <a:pt x="4358" y="7271"/>
                    <a:pt x="4418" y="6735"/>
                    <a:pt x="4489" y="6199"/>
                  </a:cubicBezTo>
                  <a:lnTo>
                    <a:pt x="4537" y="5902"/>
                  </a:lnTo>
                  <a:cubicBezTo>
                    <a:pt x="4787" y="5973"/>
                    <a:pt x="5037" y="6021"/>
                    <a:pt x="5311" y="6021"/>
                  </a:cubicBezTo>
                  <a:cubicBezTo>
                    <a:pt x="5739" y="6021"/>
                    <a:pt x="6168" y="5914"/>
                    <a:pt x="6609" y="5723"/>
                  </a:cubicBezTo>
                  <a:cubicBezTo>
                    <a:pt x="6966" y="5556"/>
                    <a:pt x="7228" y="5378"/>
                    <a:pt x="7382" y="5259"/>
                  </a:cubicBezTo>
                  <a:cubicBezTo>
                    <a:pt x="7644" y="5866"/>
                    <a:pt x="8133" y="6747"/>
                    <a:pt x="8930" y="7450"/>
                  </a:cubicBezTo>
                  <a:lnTo>
                    <a:pt x="9192" y="9033"/>
                  </a:lnTo>
                  <a:lnTo>
                    <a:pt x="8847" y="9616"/>
                  </a:lnTo>
                  <a:cubicBezTo>
                    <a:pt x="8823" y="9664"/>
                    <a:pt x="8823" y="9724"/>
                    <a:pt x="8847" y="9783"/>
                  </a:cubicBezTo>
                  <a:cubicBezTo>
                    <a:pt x="8883" y="9831"/>
                    <a:pt x="8942" y="9855"/>
                    <a:pt x="8990" y="9855"/>
                  </a:cubicBezTo>
                  <a:lnTo>
                    <a:pt x="9668" y="9855"/>
                  </a:lnTo>
                  <a:cubicBezTo>
                    <a:pt x="9764" y="9855"/>
                    <a:pt x="9835" y="9783"/>
                    <a:pt x="9835" y="9688"/>
                  </a:cubicBezTo>
                  <a:lnTo>
                    <a:pt x="9835" y="6926"/>
                  </a:lnTo>
                  <a:cubicBezTo>
                    <a:pt x="9835" y="6866"/>
                    <a:pt x="9799" y="6807"/>
                    <a:pt x="9740" y="6771"/>
                  </a:cubicBezTo>
                  <a:cubicBezTo>
                    <a:pt x="9418" y="6616"/>
                    <a:pt x="9311" y="6259"/>
                    <a:pt x="9287" y="5973"/>
                  </a:cubicBezTo>
                  <a:cubicBezTo>
                    <a:pt x="9252" y="5628"/>
                    <a:pt x="9323" y="5211"/>
                    <a:pt x="9478" y="4913"/>
                  </a:cubicBezTo>
                  <a:cubicBezTo>
                    <a:pt x="9645" y="4556"/>
                    <a:pt x="9728" y="4151"/>
                    <a:pt x="9704" y="3782"/>
                  </a:cubicBezTo>
                  <a:cubicBezTo>
                    <a:pt x="9680" y="3663"/>
                    <a:pt x="9668" y="3544"/>
                    <a:pt x="9645" y="3437"/>
                  </a:cubicBezTo>
                  <a:lnTo>
                    <a:pt x="9645" y="3437"/>
                  </a:lnTo>
                  <a:cubicBezTo>
                    <a:pt x="9704" y="3473"/>
                    <a:pt x="9740" y="3497"/>
                    <a:pt x="9776" y="3556"/>
                  </a:cubicBezTo>
                  <a:cubicBezTo>
                    <a:pt x="10026" y="3890"/>
                    <a:pt x="10073" y="4652"/>
                    <a:pt x="9895" y="5806"/>
                  </a:cubicBezTo>
                  <a:cubicBezTo>
                    <a:pt x="9823" y="6271"/>
                    <a:pt x="9966" y="6568"/>
                    <a:pt x="10097" y="6735"/>
                  </a:cubicBezTo>
                  <a:cubicBezTo>
                    <a:pt x="10276" y="6949"/>
                    <a:pt x="10573" y="7069"/>
                    <a:pt x="10871" y="7069"/>
                  </a:cubicBezTo>
                  <a:cubicBezTo>
                    <a:pt x="10954" y="7069"/>
                    <a:pt x="11014" y="7033"/>
                    <a:pt x="11026" y="6973"/>
                  </a:cubicBezTo>
                  <a:cubicBezTo>
                    <a:pt x="11085" y="6938"/>
                    <a:pt x="11062" y="6878"/>
                    <a:pt x="11014" y="6830"/>
                  </a:cubicBezTo>
                  <a:cubicBezTo>
                    <a:pt x="11014" y="6830"/>
                    <a:pt x="10728" y="6568"/>
                    <a:pt x="10835" y="5735"/>
                  </a:cubicBezTo>
                  <a:cubicBezTo>
                    <a:pt x="10978" y="4473"/>
                    <a:pt x="10835" y="3616"/>
                    <a:pt x="10383" y="3223"/>
                  </a:cubicBezTo>
                  <a:cubicBezTo>
                    <a:pt x="10193" y="3051"/>
                    <a:pt x="9955" y="2955"/>
                    <a:pt x="9680" y="2955"/>
                  </a:cubicBezTo>
                  <a:cubicBezTo>
                    <a:pt x="9593" y="2955"/>
                    <a:pt x="9501" y="2965"/>
                    <a:pt x="9407" y="2985"/>
                  </a:cubicBezTo>
                  <a:cubicBezTo>
                    <a:pt x="9371" y="2937"/>
                    <a:pt x="9335" y="2889"/>
                    <a:pt x="9287" y="2866"/>
                  </a:cubicBezTo>
                  <a:cubicBezTo>
                    <a:pt x="8959" y="2580"/>
                    <a:pt x="8531" y="2435"/>
                    <a:pt x="7984" y="2435"/>
                  </a:cubicBezTo>
                  <a:cubicBezTo>
                    <a:pt x="7620" y="2435"/>
                    <a:pt x="7203" y="2499"/>
                    <a:pt x="6728" y="2627"/>
                  </a:cubicBezTo>
                  <a:cubicBezTo>
                    <a:pt x="6277" y="2738"/>
                    <a:pt x="5955" y="2798"/>
                    <a:pt x="5727" y="2798"/>
                  </a:cubicBezTo>
                  <a:cubicBezTo>
                    <a:pt x="5659" y="2798"/>
                    <a:pt x="5600" y="2793"/>
                    <a:pt x="5549" y="2782"/>
                  </a:cubicBezTo>
                  <a:cubicBezTo>
                    <a:pt x="5477" y="2770"/>
                    <a:pt x="5418" y="2747"/>
                    <a:pt x="5370" y="2711"/>
                  </a:cubicBezTo>
                  <a:cubicBezTo>
                    <a:pt x="5299" y="2651"/>
                    <a:pt x="5156" y="2461"/>
                    <a:pt x="5001" y="2246"/>
                  </a:cubicBezTo>
                  <a:cubicBezTo>
                    <a:pt x="4442" y="1508"/>
                    <a:pt x="3513" y="258"/>
                    <a:pt x="2346" y="32"/>
                  </a:cubicBezTo>
                  <a:cubicBezTo>
                    <a:pt x="2224" y="10"/>
                    <a:pt x="2108" y="1"/>
                    <a:pt x="19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4" name="Google Shape;12944;p63"/>
          <p:cNvGrpSpPr/>
          <p:nvPr/>
        </p:nvGrpSpPr>
        <p:grpSpPr>
          <a:xfrm>
            <a:off x="6345229" y="2029842"/>
            <a:ext cx="352832" cy="289216"/>
            <a:chOff x="6345229" y="2029842"/>
            <a:chExt cx="352832" cy="289216"/>
          </a:xfrm>
        </p:grpSpPr>
        <p:sp>
          <p:nvSpPr>
            <p:cNvPr id="12945" name="Google Shape;12945;p63"/>
            <p:cNvSpPr/>
            <p:nvPr/>
          </p:nvSpPr>
          <p:spPr>
            <a:xfrm>
              <a:off x="6392845" y="2048146"/>
              <a:ext cx="12992" cy="10720"/>
            </a:xfrm>
            <a:custGeom>
              <a:avLst/>
              <a:gdLst/>
              <a:ahLst/>
              <a:cxnLst/>
              <a:rect l="l" t="t" r="r" b="b"/>
              <a:pathLst>
                <a:path w="406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39" y="334"/>
                  </a:lnTo>
                  <a:cubicBezTo>
                    <a:pt x="322" y="334"/>
                    <a:pt x="405" y="251"/>
                    <a:pt x="405" y="167"/>
                  </a:cubicBezTo>
                  <a:cubicBezTo>
                    <a:pt x="405" y="72"/>
                    <a:pt x="322" y="1"/>
                    <a:pt x="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6" name="Google Shape;12946;p63"/>
            <p:cNvSpPr/>
            <p:nvPr/>
          </p:nvSpPr>
          <p:spPr>
            <a:xfrm>
              <a:off x="6345229" y="2029842"/>
              <a:ext cx="352832" cy="289216"/>
            </a:xfrm>
            <a:custGeom>
              <a:avLst/>
              <a:gdLst/>
              <a:ahLst/>
              <a:cxnLst/>
              <a:rect l="l" t="t" r="r" b="b"/>
              <a:pathLst>
                <a:path w="11026" h="9038" extrusionOk="0">
                  <a:moveTo>
                    <a:pt x="5620" y="5168"/>
                  </a:moveTo>
                  <a:lnTo>
                    <a:pt x="6037" y="6752"/>
                  </a:lnTo>
                  <a:lnTo>
                    <a:pt x="6203" y="8669"/>
                  </a:lnTo>
                  <a:lnTo>
                    <a:pt x="5560" y="8669"/>
                  </a:lnTo>
                  <a:lnTo>
                    <a:pt x="5596" y="8597"/>
                  </a:lnTo>
                  <a:cubicBezTo>
                    <a:pt x="5620" y="8526"/>
                    <a:pt x="5679" y="8478"/>
                    <a:pt x="5775" y="8478"/>
                  </a:cubicBezTo>
                  <a:lnTo>
                    <a:pt x="5858" y="8478"/>
                  </a:lnTo>
                  <a:cubicBezTo>
                    <a:pt x="5906" y="8478"/>
                    <a:pt x="5953" y="8455"/>
                    <a:pt x="5977" y="8419"/>
                  </a:cubicBezTo>
                  <a:cubicBezTo>
                    <a:pt x="6013" y="8383"/>
                    <a:pt x="6025" y="8347"/>
                    <a:pt x="6025" y="8288"/>
                  </a:cubicBezTo>
                  <a:cubicBezTo>
                    <a:pt x="6013" y="8228"/>
                    <a:pt x="5810" y="6716"/>
                    <a:pt x="5239" y="5323"/>
                  </a:cubicBezTo>
                  <a:lnTo>
                    <a:pt x="5239" y="5192"/>
                  </a:lnTo>
                  <a:cubicBezTo>
                    <a:pt x="5370" y="5192"/>
                    <a:pt x="5489" y="5192"/>
                    <a:pt x="5620" y="5168"/>
                  </a:cubicBezTo>
                  <a:close/>
                  <a:moveTo>
                    <a:pt x="8513" y="4335"/>
                  </a:moveTo>
                  <a:lnTo>
                    <a:pt x="8573" y="4573"/>
                  </a:lnTo>
                  <a:cubicBezTo>
                    <a:pt x="8632" y="4811"/>
                    <a:pt x="8704" y="5038"/>
                    <a:pt x="8823" y="5240"/>
                  </a:cubicBezTo>
                  <a:lnTo>
                    <a:pt x="9120" y="5776"/>
                  </a:lnTo>
                  <a:lnTo>
                    <a:pt x="9168" y="6728"/>
                  </a:lnTo>
                  <a:lnTo>
                    <a:pt x="8335" y="8669"/>
                  </a:lnTo>
                  <a:lnTo>
                    <a:pt x="7799" y="8669"/>
                  </a:lnTo>
                  <a:lnTo>
                    <a:pt x="7823" y="8597"/>
                  </a:lnTo>
                  <a:cubicBezTo>
                    <a:pt x="7858" y="8526"/>
                    <a:pt x="7918" y="8478"/>
                    <a:pt x="8001" y="8478"/>
                  </a:cubicBezTo>
                  <a:lnTo>
                    <a:pt x="8096" y="8478"/>
                  </a:lnTo>
                  <a:cubicBezTo>
                    <a:pt x="8156" y="8478"/>
                    <a:pt x="8215" y="8431"/>
                    <a:pt x="8239" y="8383"/>
                  </a:cubicBezTo>
                  <a:cubicBezTo>
                    <a:pt x="8263" y="8336"/>
                    <a:pt x="8716" y="7312"/>
                    <a:pt x="8775" y="6431"/>
                  </a:cubicBezTo>
                  <a:cubicBezTo>
                    <a:pt x="8787" y="6157"/>
                    <a:pt x="8704" y="5716"/>
                    <a:pt x="8513" y="5157"/>
                  </a:cubicBezTo>
                  <a:cubicBezTo>
                    <a:pt x="8406" y="4859"/>
                    <a:pt x="8299" y="4621"/>
                    <a:pt x="8263" y="4490"/>
                  </a:cubicBezTo>
                  <a:cubicBezTo>
                    <a:pt x="8358" y="4430"/>
                    <a:pt x="8442" y="4383"/>
                    <a:pt x="8513" y="4335"/>
                  </a:cubicBezTo>
                  <a:close/>
                  <a:moveTo>
                    <a:pt x="2509" y="0"/>
                  </a:moveTo>
                  <a:cubicBezTo>
                    <a:pt x="2469" y="0"/>
                    <a:pt x="2426" y="4"/>
                    <a:pt x="2381" y="13"/>
                  </a:cubicBezTo>
                  <a:lnTo>
                    <a:pt x="1750" y="13"/>
                  </a:lnTo>
                  <a:cubicBezTo>
                    <a:pt x="1572" y="13"/>
                    <a:pt x="1393" y="85"/>
                    <a:pt x="1274" y="204"/>
                  </a:cubicBezTo>
                  <a:lnTo>
                    <a:pt x="1119" y="370"/>
                  </a:lnTo>
                  <a:lnTo>
                    <a:pt x="560" y="454"/>
                  </a:lnTo>
                  <a:cubicBezTo>
                    <a:pt x="238" y="513"/>
                    <a:pt x="0" y="799"/>
                    <a:pt x="0" y="1120"/>
                  </a:cubicBezTo>
                  <a:lnTo>
                    <a:pt x="0" y="1204"/>
                  </a:lnTo>
                  <a:cubicBezTo>
                    <a:pt x="0" y="1382"/>
                    <a:pt x="143" y="1525"/>
                    <a:pt x="322" y="1525"/>
                  </a:cubicBezTo>
                  <a:lnTo>
                    <a:pt x="1536" y="1525"/>
                  </a:lnTo>
                  <a:lnTo>
                    <a:pt x="1536" y="2871"/>
                  </a:lnTo>
                  <a:cubicBezTo>
                    <a:pt x="1536" y="3383"/>
                    <a:pt x="1798" y="3906"/>
                    <a:pt x="2262" y="4276"/>
                  </a:cubicBezTo>
                  <a:cubicBezTo>
                    <a:pt x="2739" y="4668"/>
                    <a:pt x="3405" y="4895"/>
                    <a:pt x="4120" y="4895"/>
                  </a:cubicBezTo>
                  <a:cubicBezTo>
                    <a:pt x="4132" y="4895"/>
                    <a:pt x="4132" y="4895"/>
                    <a:pt x="4132" y="4907"/>
                  </a:cubicBezTo>
                  <a:lnTo>
                    <a:pt x="4132" y="8169"/>
                  </a:lnTo>
                  <a:cubicBezTo>
                    <a:pt x="3941" y="8193"/>
                    <a:pt x="3774" y="8312"/>
                    <a:pt x="3715" y="8502"/>
                  </a:cubicBezTo>
                  <a:lnTo>
                    <a:pt x="3632" y="8788"/>
                  </a:lnTo>
                  <a:cubicBezTo>
                    <a:pt x="3620" y="8836"/>
                    <a:pt x="3620" y="8895"/>
                    <a:pt x="3643" y="8943"/>
                  </a:cubicBezTo>
                  <a:cubicBezTo>
                    <a:pt x="3679" y="8978"/>
                    <a:pt x="3715" y="9014"/>
                    <a:pt x="3774" y="9014"/>
                  </a:cubicBezTo>
                  <a:lnTo>
                    <a:pt x="4822" y="9014"/>
                  </a:lnTo>
                  <a:cubicBezTo>
                    <a:pt x="4906" y="9014"/>
                    <a:pt x="4965" y="8955"/>
                    <a:pt x="4989" y="8859"/>
                  </a:cubicBezTo>
                  <a:lnTo>
                    <a:pt x="5179" y="6145"/>
                  </a:lnTo>
                  <a:cubicBezTo>
                    <a:pt x="5465" y="7014"/>
                    <a:pt x="5608" y="7835"/>
                    <a:pt x="5668" y="8181"/>
                  </a:cubicBezTo>
                  <a:cubicBezTo>
                    <a:pt x="5489" y="8205"/>
                    <a:pt x="5346" y="8347"/>
                    <a:pt x="5287" y="8526"/>
                  </a:cubicBezTo>
                  <a:lnTo>
                    <a:pt x="5191" y="8800"/>
                  </a:lnTo>
                  <a:cubicBezTo>
                    <a:pt x="5179" y="8847"/>
                    <a:pt x="5179" y="8907"/>
                    <a:pt x="5203" y="8955"/>
                  </a:cubicBezTo>
                  <a:cubicBezTo>
                    <a:pt x="5239" y="9002"/>
                    <a:pt x="5287" y="9026"/>
                    <a:pt x="5346" y="9026"/>
                  </a:cubicBezTo>
                  <a:lnTo>
                    <a:pt x="6382" y="9026"/>
                  </a:lnTo>
                  <a:cubicBezTo>
                    <a:pt x="6430" y="9026"/>
                    <a:pt x="6477" y="9014"/>
                    <a:pt x="6501" y="8978"/>
                  </a:cubicBezTo>
                  <a:cubicBezTo>
                    <a:pt x="6537" y="8955"/>
                    <a:pt x="6549" y="8907"/>
                    <a:pt x="6549" y="8859"/>
                  </a:cubicBezTo>
                  <a:lnTo>
                    <a:pt x="6370" y="6764"/>
                  </a:lnTo>
                  <a:lnTo>
                    <a:pt x="6370" y="6728"/>
                  </a:lnTo>
                  <a:lnTo>
                    <a:pt x="5965" y="5204"/>
                  </a:lnTo>
                  <a:cubicBezTo>
                    <a:pt x="6394" y="5157"/>
                    <a:pt x="6799" y="5085"/>
                    <a:pt x="7192" y="4978"/>
                  </a:cubicBezTo>
                  <a:cubicBezTo>
                    <a:pt x="7275" y="4942"/>
                    <a:pt x="7322" y="4859"/>
                    <a:pt x="7287" y="4787"/>
                  </a:cubicBezTo>
                  <a:cubicBezTo>
                    <a:pt x="7268" y="4714"/>
                    <a:pt x="7207" y="4668"/>
                    <a:pt x="7147" y="4668"/>
                  </a:cubicBezTo>
                  <a:cubicBezTo>
                    <a:pt x="7130" y="4668"/>
                    <a:pt x="7112" y="4672"/>
                    <a:pt x="7096" y="4680"/>
                  </a:cubicBezTo>
                  <a:cubicBezTo>
                    <a:pt x="6549" y="4847"/>
                    <a:pt x="5918" y="4918"/>
                    <a:pt x="5287" y="4930"/>
                  </a:cubicBezTo>
                  <a:lnTo>
                    <a:pt x="5310" y="4490"/>
                  </a:lnTo>
                  <a:cubicBezTo>
                    <a:pt x="5310" y="4395"/>
                    <a:pt x="5251" y="4323"/>
                    <a:pt x="5167" y="4311"/>
                  </a:cubicBezTo>
                  <a:cubicBezTo>
                    <a:pt x="5072" y="4311"/>
                    <a:pt x="5001" y="4371"/>
                    <a:pt x="4989" y="4454"/>
                  </a:cubicBezTo>
                  <a:lnTo>
                    <a:pt x="4667" y="8728"/>
                  </a:lnTo>
                  <a:lnTo>
                    <a:pt x="4013" y="8728"/>
                  </a:lnTo>
                  <a:lnTo>
                    <a:pt x="4048" y="8657"/>
                  </a:lnTo>
                  <a:cubicBezTo>
                    <a:pt x="4072" y="8574"/>
                    <a:pt x="4132" y="8538"/>
                    <a:pt x="4227" y="8538"/>
                  </a:cubicBezTo>
                  <a:lnTo>
                    <a:pt x="4310" y="8538"/>
                  </a:lnTo>
                  <a:cubicBezTo>
                    <a:pt x="4405" y="8538"/>
                    <a:pt x="4477" y="8455"/>
                    <a:pt x="4477" y="8371"/>
                  </a:cubicBezTo>
                  <a:lnTo>
                    <a:pt x="4477" y="4990"/>
                  </a:lnTo>
                  <a:cubicBezTo>
                    <a:pt x="4477" y="4811"/>
                    <a:pt x="4334" y="4668"/>
                    <a:pt x="4132" y="4668"/>
                  </a:cubicBezTo>
                  <a:cubicBezTo>
                    <a:pt x="2727" y="4668"/>
                    <a:pt x="1869" y="3799"/>
                    <a:pt x="1869" y="2966"/>
                  </a:cubicBezTo>
                  <a:lnTo>
                    <a:pt x="1869" y="1478"/>
                  </a:lnTo>
                  <a:cubicBezTo>
                    <a:pt x="1869" y="1394"/>
                    <a:pt x="1798" y="1311"/>
                    <a:pt x="1715" y="1311"/>
                  </a:cubicBezTo>
                  <a:lnTo>
                    <a:pt x="345" y="1311"/>
                  </a:lnTo>
                  <a:cubicBezTo>
                    <a:pt x="345" y="1311"/>
                    <a:pt x="322" y="1311"/>
                    <a:pt x="322" y="1299"/>
                  </a:cubicBezTo>
                  <a:lnTo>
                    <a:pt x="322" y="1228"/>
                  </a:lnTo>
                  <a:cubicBezTo>
                    <a:pt x="322" y="1049"/>
                    <a:pt x="441" y="894"/>
                    <a:pt x="619" y="870"/>
                  </a:cubicBezTo>
                  <a:lnTo>
                    <a:pt x="1238" y="763"/>
                  </a:lnTo>
                  <a:cubicBezTo>
                    <a:pt x="1262" y="763"/>
                    <a:pt x="1298" y="751"/>
                    <a:pt x="1322" y="716"/>
                  </a:cubicBezTo>
                  <a:lnTo>
                    <a:pt x="1512" y="525"/>
                  </a:lnTo>
                  <a:cubicBezTo>
                    <a:pt x="1596" y="454"/>
                    <a:pt x="1679" y="418"/>
                    <a:pt x="1774" y="418"/>
                  </a:cubicBezTo>
                  <a:lnTo>
                    <a:pt x="1977" y="418"/>
                  </a:lnTo>
                  <a:cubicBezTo>
                    <a:pt x="1977" y="442"/>
                    <a:pt x="1988" y="454"/>
                    <a:pt x="1988" y="454"/>
                  </a:cubicBezTo>
                  <a:cubicBezTo>
                    <a:pt x="2021" y="503"/>
                    <a:pt x="2082" y="535"/>
                    <a:pt x="2140" y="535"/>
                  </a:cubicBezTo>
                  <a:cubicBezTo>
                    <a:pt x="2166" y="535"/>
                    <a:pt x="2192" y="528"/>
                    <a:pt x="2215" y="513"/>
                  </a:cubicBezTo>
                  <a:cubicBezTo>
                    <a:pt x="2346" y="441"/>
                    <a:pt x="2452" y="416"/>
                    <a:pt x="2535" y="416"/>
                  </a:cubicBezTo>
                  <a:cubicBezTo>
                    <a:pt x="2602" y="416"/>
                    <a:pt x="2654" y="432"/>
                    <a:pt x="2691" y="454"/>
                  </a:cubicBezTo>
                  <a:lnTo>
                    <a:pt x="2346" y="739"/>
                  </a:lnTo>
                  <a:cubicBezTo>
                    <a:pt x="2274" y="799"/>
                    <a:pt x="2274" y="894"/>
                    <a:pt x="2334" y="954"/>
                  </a:cubicBezTo>
                  <a:cubicBezTo>
                    <a:pt x="2369" y="989"/>
                    <a:pt x="2393" y="1001"/>
                    <a:pt x="2441" y="1013"/>
                  </a:cubicBezTo>
                  <a:lnTo>
                    <a:pt x="2441" y="2668"/>
                  </a:lnTo>
                  <a:cubicBezTo>
                    <a:pt x="2441" y="3144"/>
                    <a:pt x="2822" y="3514"/>
                    <a:pt x="3286" y="3514"/>
                  </a:cubicBezTo>
                  <a:lnTo>
                    <a:pt x="3382" y="3514"/>
                  </a:lnTo>
                  <a:cubicBezTo>
                    <a:pt x="3858" y="3514"/>
                    <a:pt x="4191" y="3144"/>
                    <a:pt x="4310" y="2978"/>
                  </a:cubicBezTo>
                  <a:cubicBezTo>
                    <a:pt x="4548" y="2668"/>
                    <a:pt x="4727" y="2204"/>
                    <a:pt x="4906" y="1763"/>
                  </a:cubicBezTo>
                  <a:cubicBezTo>
                    <a:pt x="5084" y="1287"/>
                    <a:pt x="5298" y="739"/>
                    <a:pt x="5525" y="680"/>
                  </a:cubicBezTo>
                  <a:cubicBezTo>
                    <a:pt x="5567" y="667"/>
                    <a:pt x="5603" y="660"/>
                    <a:pt x="5635" y="660"/>
                  </a:cubicBezTo>
                  <a:cubicBezTo>
                    <a:pt x="5745" y="660"/>
                    <a:pt x="5804" y="742"/>
                    <a:pt x="5906" y="918"/>
                  </a:cubicBezTo>
                  <a:cubicBezTo>
                    <a:pt x="6025" y="1108"/>
                    <a:pt x="6179" y="1370"/>
                    <a:pt x="6549" y="1370"/>
                  </a:cubicBezTo>
                  <a:cubicBezTo>
                    <a:pt x="6989" y="1370"/>
                    <a:pt x="7132" y="1120"/>
                    <a:pt x="7251" y="942"/>
                  </a:cubicBezTo>
                  <a:cubicBezTo>
                    <a:pt x="7334" y="775"/>
                    <a:pt x="7382" y="716"/>
                    <a:pt x="7549" y="716"/>
                  </a:cubicBezTo>
                  <a:cubicBezTo>
                    <a:pt x="7799" y="716"/>
                    <a:pt x="7930" y="870"/>
                    <a:pt x="8204" y="1168"/>
                  </a:cubicBezTo>
                  <a:cubicBezTo>
                    <a:pt x="8382" y="1370"/>
                    <a:pt x="8596" y="1609"/>
                    <a:pt x="8930" y="1870"/>
                  </a:cubicBezTo>
                  <a:cubicBezTo>
                    <a:pt x="9466" y="2251"/>
                    <a:pt x="10049" y="2763"/>
                    <a:pt x="10049" y="3692"/>
                  </a:cubicBezTo>
                  <a:lnTo>
                    <a:pt x="10049" y="5561"/>
                  </a:lnTo>
                  <a:cubicBezTo>
                    <a:pt x="10049" y="5716"/>
                    <a:pt x="10085" y="5883"/>
                    <a:pt x="10192" y="6038"/>
                  </a:cubicBezTo>
                  <a:lnTo>
                    <a:pt x="10382" y="6335"/>
                  </a:lnTo>
                  <a:lnTo>
                    <a:pt x="10228" y="8717"/>
                  </a:lnTo>
                  <a:lnTo>
                    <a:pt x="9573" y="8717"/>
                  </a:lnTo>
                  <a:lnTo>
                    <a:pt x="9597" y="8633"/>
                  </a:lnTo>
                  <a:cubicBezTo>
                    <a:pt x="9632" y="8562"/>
                    <a:pt x="9692" y="8514"/>
                    <a:pt x="9775" y="8514"/>
                  </a:cubicBezTo>
                  <a:lnTo>
                    <a:pt x="9870" y="8514"/>
                  </a:lnTo>
                  <a:cubicBezTo>
                    <a:pt x="9954" y="8514"/>
                    <a:pt x="10025" y="8443"/>
                    <a:pt x="10025" y="8359"/>
                  </a:cubicBezTo>
                  <a:lnTo>
                    <a:pt x="10025" y="6812"/>
                  </a:lnTo>
                  <a:cubicBezTo>
                    <a:pt x="10025" y="6776"/>
                    <a:pt x="10025" y="6752"/>
                    <a:pt x="10013" y="6728"/>
                  </a:cubicBezTo>
                  <a:lnTo>
                    <a:pt x="9132" y="5145"/>
                  </a:lnTo>
                  <a:cubicBezTo>
                    <a:pt x="9037" y="4966"/>
                    <a:pt x="8954" y="4752"/>
                    <a:pt x="8918" y="4549"/>
                  </a:cubicBezTo>
                  <a:lnTo>
                    <a:pt x="8704" y="3609"/>
                  </a:lnTo>
                  <a:cubicBezTo>
                    <a:pt x="8694" y="3533"/>
                    <a:pt x="8631" y="3479"/>
                    <a:pt x="8564" y="3479"/>
                  </a:cubicBezTo>
                  <a:cubicBezTo>
                    <a:pt x="8547" y="3479"/>
                    <a:pt x="8530" y="3483"/>
                    <a:pt x="8513" y="3490"/>
                  </a:cubicBezTo>
                  <a:cubicBezTo>
                    <a:pt x="8418" y="3502"/>
                    <a:pt x="8358" y="3597"/>
                    <a:pt x="8394" y="3680"/>
                  </a:cubicBezTo>
                  <a:lnTo>
                    <a:pt x="8465" y="4037"/>
                  </a:lnTo>
                  <a:cubicBezTo>
                    <a:pt x="8358" y="4109"/>
                    <a:pt x="8144" y="4276"/>
                    <a:pt x="7787" y="4430"/>
                  </a:cubicBezTo>
                  <a:cubicBezTo>
                    <a:pt x="7703" y="4454"/>
                    <a:pt x="7668" y="4561"/>
                    <a:pt x="7703" y="4633"/>
                  </a:cubicBezTo>
                  <a:cubicBezTo>
                    <a:pt x="7739" y="4692"/>
                    <a:pt x="7799" y="4728"/>
                    <a:pt x="7858" y="4728"/>
                  </a:cubicBezTo>
                  <a:cubicBezTo>
                    <a:pt x="7870" y="4728"/>
                    <a:pt x="7906" y="4728"/>
                    <a:pt x="7918" y="4704"/>
                  </a:cubicBezTo>
                  <a:lnTo>
                    <a:pt x="8001" y="4668"/>
                  </a:lnTo>
                  <a:cubicBezTo>
                    <a:pt x="8180" y="5097"/>
                    <a:pt x="8525" y="6002"/>
                    <a:pt x="8501" y="6454"/>
                  </a:cubicBezTo>
                  <a:cubicBezTo>
                    <a:pt x="8454" y="7121"/>
                    <a:pt x="8144" y="7919"/>
                    <a:pt x="8037" y="8193"/>
                  </a:cubicBezTo>
                  <a:cubicBezTo>
                    <a:pt x="7823" y="8193"/>
                    <a:pt x="7632" y="8336"/>
                    <a:pt x="7561" y="8538"/>
                  </a:cubicBezTo>
                  <a:lnTo>
                    <a:pt x="7465" y="8812"/>
                  </a:lnTo>
                  <a:cubicBezTo>
                    <a:pt x="7453" y="8859"/>
                    <a:pt x="7453" y="8919"/>
                    <a:pt x="7489" y="8967"/>
                  </a:cubicBezTo>
                  <a:cubicBezTo>
                    <a:pt x="7513" y="9014"/>
                    <a:pt x="7561" y="9038"/>
                    <a:pt x="7620" y="9038"/>
                  </a:cubicBezTo>
                  <a:lnTo>
                    <a:pt x="8477" y="9038"/>
                  </a:lnTo>
                  <a:cubicBezTo>
                    <a:pt x="8537" y="9038"/>
                    <a:pt x="8596" y="8990"/>
                    <a:pt x="8632" y="8931"/>
                  </a:cubicBezTo>
                  <a:lnTo>
                    <a:pt x="9489" y="6871"/>
                  </a:lnTo>
                  <a:cubicBezTo>
                    <a:pt x="9513" y="6847"/>
                    <a:pt x="9513" y="6823"/>
                    <a:pt x="9513" y="6788"/>
                  </a:cubicBezTo>
                  <a:lnTo>
                    <a:pt x="9489" y="6454"/>
                  </a:lnTo>
                  <a:lnTo>
                    <a:pt x="9704" y="6835"/>
                  </a:lnTo>
                  <a:lnTo>
                    <a:pt x="9704" y="8193"/>
                  </a:lnTo>
                  <a:cubicBezTo>
                    <a:pt x="9513" y="8216"/>
                    <a:pt x="9347" y="8336"/>
                    <a:pt x="9287" y="8538"/>
                  </a:cubicBezTo>
                  <a:lnTo>
                    <a:pt x="9192" y="8812"/>
                  </a:lnTo>
                  <a:cubicBezTo>
                    <a:pt x="9180" y="8859"/>
                    <a:pt x="9180" y="8919"/>
                    <a:pt x="9216" y="8967"/>
                  </a:cubicBezTo>
                  <a:cubicBezTo>
                    <a:pt x="9239" y="9014"/>
                    <a:pt x="9287" y="9038"/>
                    <a:pt x="9347" y="9038"/>
                  </a:cubicBezTo>
                  <a:lnTo>
                    <a:pt x="10382" y="9038"/>
                  </a:lnTo>
                  <a:cubicBezTo>
                    <a:pt x="10478" y="9038"/>
                    <a:pt x="10537" y="8978"/>
                    <a:pt x="10549" y="8895"/>
                  </a:cubicBezTo>
                  <a:lnTo>
                    <a:pt x="10728" y="6300"/>
                  </a:lnTo>
                  <a:cubicBezTo>
                    <a:pt x="10728" y="6276"/>
                    <a:pt x="10728" y="6228"/>
                    <a:pt x="10704" y="6192"/>
                  </a:cubicBezTo>
                  <a:lnTo>
                    <a:pt x="10478" y="5859"/>
                  </a:lnTo>
                  <a:cubicBezTo>
                    <a:pt x="10418" y="5764"/>
                    <a:pt x="10382" y="5657"/>
                    <a:pt x="10382" y="5561"/>
                  </a:cubicBezTo>
                  <a:lnTo>
                    <a:pt x="10382" y="3835"/>
                  </a:lnTo>
                  <a:cubicBezTo>
                    <a:pt x="10501" y="3930"/>
                    <a:pt x="10585" y="4085"/>
                    <a:pt x="10585" y="4252"/>
                  </a:cubicBezTo>
                  <a:lnTo>
                    <a:pt x="10585" y="5049"/>
                  </a:lnTo>
                  <a:cubicBezTo>
                    <a:pt x="10585" y="5228"/>
                    <a:pt x="10656" y="5407"/>
                    <a:pt x="10775" y="5526"/>
                  </a:cubicBezTo>
                  <a:lnTo>
                    <a:pt x="10787" y="5538"/>
                  </a:lnTo>
                  <a:cubicBezTo>
                    <a:pt x="10823" y="5573"/>
                    <a:pt x="10859" y="5585"/>
                    <a:pt x="10906" y="5585"/>
                  </a:cubicBezTo>
                  <a:cubicBezTo>
                    <a:pt x="10954" y="5585"/>
                    <a:pt x="11002" y="5573"/>
                    <a:pt x="11025" y="5538"/>
                  </a:cubicBezTo>
                  <a:cubicBezTo>
                    <a:pt x="11025" y="5430"/>
                    <a:pt x="11025" y="5335"/>
                    <a:pt x="10966" y="5264"/>
                  </a:cubicBezTo>
                  <a:lnTo>
                    <a:pt x="10954" y="5252"/>
                  </a:lnTo>
                  <a:cubicBezTo>
                    <a:pt x="10882" y="5168"/>
                    <a:pt x="10847" y="5085"/>
                    <a:pt x="10847" y="4990"/>
                  </a:cubicBezTo>
                  <a:lnTo>
                    <a:pt x="10847" y="4192"/>
                  </a:lnTo>
                  <a:cubicBezTo>
                    <a:pt x="10847" y="3906"/>
                    <a:pt x="10704" y="3644"/>
                    <a:pt x="10478" y="3478"/>
                  </a:cubicBezTo>
                  <a:lnTo>
                    <a:pt x="10323" y="3371"/>
                  </a:lnTo>
                  <a:cubicBezTo>
                    <a:pt x="10240" y="2490"/>
                    <a:pt x="9692" y="1978"/>
                    <a:pt x="9097" y="1537"/>
                  </a:cubicBezTo>
                  <a:cubicBezTo>
                    <a:pt x="8799" y="1323"/>
                    <a:pt x="8585" y="1097"/>
                    <a:pt x="8406" y="882"/>
                  </a:cubicBezTo>
                  <a:cubicBezTo>
                    <a:pt x="8144" y="585"/>
                    <a:pt x="7918" y="335"/>
                    <a:pt x="7513" y="335"/>
                  </a:cubicBezTo>
                  <a:cubicBezTo>
                    <a:pt x="7156" y="335"/>
                    <a:pt x="7037" y="561"/>
                    <a:pt x="6930" y="727"/>
                  </a:cubicBezTo>
                  <a:cubicBezTo>
                    <a:pt x="6846" y="882"/>
                    <a:pt x="6787" y="989"/>
                    <a:pt x="6537" y="989"/>
                  </a:cubicBezTo>
                  <a:cubicBezTo>
                    <a:pt x="6358" y="989"/>
                    <a:pt x="6275" y="870"/>
                    <a:pt x="6156" y="680"/>
                  </a:cubicBezTo>
                  <a:cubicBezTo>
                    <a:pt x="6047" y="492"/>
                    <a:pt x="5905" y="255"/>
                    <a:pt x="5608" y="255"/>
                  </a:cubicBezTo>
                  <a:cubicBezTo>
                    <a:pt x="5547" y="255"/>
                    <a:pt x="5480" y="265"/>
                    <a:pt x="5406" y="287"/>
                  </a:cubicBezTo>
                  <a:cubicBezTo>
                    <a:pt x="5025" y="394"/>
                    <a:pt x="4822" y="942"/>
                    <a:pt x="4584" y="1573"/>
                  </a:cubicBezTo>
                  <a:cubicBezTo>
                    <a:pt x="4417" y="1990"/>
                    <a:pt x="4251" y="2430"/>
                    <a:pt x="4048" y="2704"/>
                  </a:cubicBezTo>
                  <a:cubicBezTo>
                    <a:pt x="3977" y="2787"/>
                    <a:pt x="3703" y="3121"/>
                    <a:pt x="3358" y="3121"/>
                  </a:cubicBezTo>
                  <a:lnTo>
                    <a:pt x="3274" y="3121"/>
                  </a:lnTo>
                  <a:cubicBezTo>
                    <a:pt x="2977" y="3121"/>
                    <a:pt x="2739" y="2882"/>
                    <a:pt x="2739" y="2585"/>
                  </a:cubicBezTo>
                  <a:lnTo>
                    <a:pt x="2739" y="739"/>
                  </a:lnTo>
                  <a:lnTo>
                    <a:pt x="3024" y="501"/>
                  </a:lnTo>
                  <a:cubicBezTo>
                    <a:pt x="3084" y="454"/>
                    <a:pt x="3096" y="346"/>
                    <a:pt x="3048" y="287"/>
                  </a:cubicBezTo>
                  <a:cubicBezTo>
                    <a:pt x="3048" y="287"/>
                    <a:pt x="2857" y="0"/>
                    <a:pt x="25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7" name="Google Shape;12947;p63"/>
          <p:cNvGrpSpPr/>
          <p:nvPr/>
        </p:nvGrpSpPr>
        <p:grpSpPr>
          <a:xfrm>
            <a:off x="4697389" y="2036338"/>
            <a:ext cx="354752" cy="281984"/>
            <a:chOff x="4697389" y="2036338"/>
            <a:chExt cx="354752" cy="281984"/>
          </a:xfrm>
        </p:grpSpPr>
        <p:sp>
          <p:nvSpPr>
            <p:cNvPr id="12948" name="Google Shape;12948;p63"/>
            <p:cNvSpPr/>
            <p:nvPr/>
          </p:nvSpPr>
          <p:spPr>
            <a:xfrm>
              <a:off x="4697389" y="2036338"/>
              <a:ext cx="354752" cy="281984"/>
            </a:xfrm>
            <a:custGeom>
              <a:avLst/>
              <a:gdLst/>
              <a:ahLst/>
              <a:cxnLst/>
              <a:rect l="l" t="t" r="r" b="b"/>
              <a:pathLst>
                <a:path w="11086" h="8812" extrusionOk="0">
                  <a:moveTo>
                    <a:pt x="1322" y="822"/>
                  </a:moveTo>
                  <a:cubicBezTo>
                    <a:pt x="1596" y="1203"/>
                    <a:pt x="2025" y="1417"/>
                    <a:pt x="2394" y="1489"/>
                  </a:cubicBezTo>
                  <a:cubicBezTo>
                    <a:pt x="2334" y="1656"/>
                    <a:pt x="2215" y="1751"/>
                    <a:pt x="2156" y="1810"/>
                  </a:cubicBezTo>
                  <a:cubicBezTo>
                    <a:pt x="1834" y="1715"/>
                    <a:pt x="1596" y="1536"/>
                    <a:pt x="1453" y="1275"/>
                  </a:cubicBezTo>
                  <a:cubicBezTo>
                    <a:pt x="1370" y="1132"/>
                    <a:pt x="1322" y="965"/>
                    <a:pt x="1322" y="822"/>
                  </a:cubicBezTo>
                  <a:close/>
                  <a:moveTo>
                    <a:pt x="2703" y="1513"/>
                  </a:moveTo>
                  <a:cubicBezTo>
                    <a:pt x="3191" y="1513"/>
                    <a:pt x="3465" y="1584"/>
                    <a:pt x="3584" y="1644"/>
                  </a:cubicBezTo>
                  <a:cubicBezTo>
                    <a:pt x="3358" y="2001"/>
                    <a:pt x="2894" y="2025"/>
                    <a:pt x="2870" y="2025"/>
                  </a:cubicBezTo>
                  <a:cubicBezTo>
                    <a:pt x="2775" y="2025"/>
                    <a:pt x="2703" y="2096"/>
                    <a:pt x="2703" y="2179"/>
                  </a:cubicBezTo>
                  <a:cubicBezTo>
                    <a:pt x="2703" y="2275"/>
                    <a:pt x="2775" y="2346"/>
                    <a:pt x="2870" y="2346"/>
                  </a:cubicBezTo>
                  <a:cubicBezTo>
                    <a:pt x="2930" y="2346"/>
                    <a:pt x="3465" y="2334"/>
                    <a:pt x="3787" y="1929"/>
                  </a:cubicBezTo>
                  <a:cubicBezTo>
                    <a:pt x="4407" y="2054"/>
                    <a:pt x="4966" y="2098"/>
                    <a:pt x="5472" y="2098"/>
                  </a:cubicBezTo>
                  <a:cubicBezTo>
                    <a:pt x="6171" y="2098"/>
                    <a:pt x="6769" y="2015"/>
                    <a:pt x="7287" y="1953"/>
                  </a:cubicBezTo>
                  <a:cubicBezTo>
                    <a:pt x="7708" y="1896"/>
                    <a:pt x="8072" y="1843"/>
                    <a:pt x="8405" y="1843"/>
                  </a:cubicBezTo>
                  <a:cubicBezTo>
                    <a:pt x="8628" y="1843"/>
                    <a:pt x="8837" y="1867"/>
                    <a:pt x="9037" y="1929"/>
                  </a:cubicBezTo>
                  <a:cubicBezTo>
                    <a:pt x="9788" y="2179"/>
                    <a:pt x="10014" y="3108"/>
                    <a:pt x="10014" y="3334"/>
                  </a:cubicBezTo>
                  <a:cubicBezTo>
                    <a:pt x="10061" y="3739"/>
                    <a:pt x="9966" y="3953"/>
                    <a:pt x="9871" y="4192"/>
                  </a:cubicBezTo>
                  <a:cubicBezTo>
                    <a:pt x="9776" y="4406"/>
                    <a:pt x="9692" y="4608"/>
                    <a:pt x="9692" y="4930"/>
                  </a:cubicBezTo>
                  <a:cubicBezTo>
                    <a:pt x="9692" y="5561"/>
                    <a:pt x="9966" y="6251"/>
                    <a:pt x="10026" y="6418"/>
                  </a:cubicBezTo>
                  <a:lnTo>
                    <a:pt x="10026" y="7644"/>
                  </a:lnTo>
                  <a:cubicBezTo>
                    <a:pt x="10026" y="7740"/>
                    <a:pt x="10014" y="7847"/>
                    <a:pt x="9966" y="7930"/>
                  </a:cubicBezTo>
                  <a:lnTo>
                    <a:pt x="9728" y="8466"/>
                  </a:lnTo>
                  <a:lnTo>
                    <a:pt x="9037" y="8466"/>
                  </a:lnTo>
                  <a:lnTo>
                    <a:pt x="9073" y="8323"/>
                  </a:lnTo>
                  <a:cubicBezTo>
                    <a:pt x="9085" y="8263"/>
                    <a:pt x="9133" y="8216"/>
                    <a:pt x="9192" y="8204"/>
                  </a:cubicBezTo>
                  <a:lnTo>
                    <a:pt x="9609" y="8049"/>
                  </a:lnTo>
                  <a:cubicBezTo>
                    <a:pt x="9668" y="8025"/>
                    <a:pt x="9716" y="7954"/>
                    <a:pt x="9716" y="7906"/>
                  </a:cubicBezTo>
                  <a:lnTo>
                    <a:pt x="9716" y="6906"/>
                  </a:lnTo>
                  <a:cubicBezTo>
                    <a:pt x="9716" y="6870"/>
                    <a:pt x="9716" y="6859"/>
                    <a:pt x="9704" y="6835"/>
                  </a:cubicBezTo>
                  <a:lnTo>
                    <a:pt x="8585" y="4715"/>
                  </a:lnTo>
                  <a:cubicBezTo>
                    <a:pt x="8550" y="4663"/>
                    <a:pt x="8496" y="4630"/>
                    <a:pt x="8432" y="4630"/>
                  </a:cubicBezTo>
                  <a:cubicBezTo>
                    <a:pt x="8409" y="4630"/>
                    <a:pt x="8384" y="4634"/>
                    <a:pt x="8359" y="4644"/>
                  </a:cubicBezTo>
                  <a:cubicBezTo>
                    <a:pt x="8287" y="4692"/>
                    <a:pt x="8252" y="4775"/>
                    <a:pt x="8287" y="4870"/>
                  </a:cubicBezTo>
                  <a:lnTo>
                    <a:pt x="8621" y="5489"/>
                  </a:lnTo>
                  <a:cubicBezTo>
                    <a:pt x="7990" y="5787"/>
                    <a:pt x="7323" y="5978"/>
                    <a:pt x="6680" y="6037"/>
                  </a:cubicBezTo>
                  <a:cubicBezTo>
                    <a:pt x="6482" y="6061"/>
                    <a:pt x="6287" y="6073"/>
                    <a:pt x="6097" y="6073"/>
                  </a:cubicBezTo>
                  <a:cubicBezTo>
                    <a:pt x="5635" y="6073"/>
                    <a:pt x="5202" y="6002"/>
                    <a:pt x="4823" y="5858"/>
                  </a:cubicBezTo>
                  <a:lnTo>
                    <a:pt x="4894" y="5442"/>
                  </a:lnTo>
                  <a:cubicBezTo>
                    <a:pt x="4906" y="5358"/>
                    <a:pt x="4846" y="5263"/>
                    <a:pt x="4763" y="5251"/>
                  </a:cubicBezTo>
                  <a:cubicBezTo>
                    <a:pt x="4755" y="5250"/>
                    <a:pt x="4747" y="5250"/>
                    <a:pt x="4739" y="5250"/>
                  </a:cubicBezTo>
                  <a:cubicBezTo>
                    <a:pt x="4654" y="5250"/>
                    <a:pt x="4583" y="5306"/>
                    <a:pt x="4573" y="5382"/>
                  </a:cubicBezTo>
                  <a:lnTo>
                    <a:pt x="4120" y="7954"/>
                  </a:lnTo>
                  <a:cubicBezTo>
                    <a:pt x="4108" y="8002"/>
                    <a:pt x="4096" y="8061"/>
                    <a:pt x="4061" y="8109"/>
                  </a:cubicBezTo>
                  <a:lnTo>
                    <a:pt x="3823" y="8454"/>
                  </a:lnTo>
                  <a:lnTo>
                    <a:pt x="3096" y="8454"/>
                  </a:lnTo>
                  <a:lnTo>
                    <a:pt x="3144" y="8335"/>
                  </a:lnTo>
                  <a:cubicBezTo>
                    <a:pt x="3156" y="8275"/>
                    <a:pt x="3215" y="8228"/>
                    <a:pt x="3275" y="8216"/>
                  </a:cubicBezTo>
                  <a:lnTo>
                    <a:pt x="3775" y="8073"/>
                  </a:lnTo>
                  <a:cubicBezTo>
                    <a:pt x="3858" y="8061"/>
                    <a:pt x="3894" y="7990"/>
                    <a:pt x="3894" y="7918"/>
                  </a:cubicBezTo>
                  <a:lnTo>
                    <a:pt x="3882" y="5656"/>
                  </a:lnTo>
                  <a:cubicBezTo>
                    <a:pt x="3882" y="5597"/>
                    <a:pt x="3846" y="5549"/>
                    <a:pt x="3811" y="5525"/>
                  </a:cubicBezTo>
                  <a:cubicBezTo>
                    <a:pt x="3787" y="5525"/>
                    <a:pt x="2810" y="4930"/>
                    <a:pt x="2096" y="3953"/>
                  </a:cubicBezTo>
                  <a:cubicBezTo>
                    <a:pt x="2382" y="3870"/>
                    <a:pt x="2584" y="3739"/>
                    <a:pt x="2727" y="3584"/>
                  </a:cubicBezTo>
                  <a:cubicBezTo>
                    <a:pt x="2882" y="3382"/>
                    <a:pt x="2858" y="3191"/>
                    <a:pt x="2846" y="3180"/>
                  </a:cubicBezTo>
                  <a:cubicBezTo>
                    <a:pt x="2826" y="3109"/>
                    <a:pt x="2763" y="3055"/>
                    <a:pt x="2686" y="3055"/>
                  </a:cubicBezTo>
                  <a:cubicBezTo>
                    <a:pt x="2672" y="3055"/>
                    <a:pt x="2658" y="3057"/>
                    <a:pt x="2644" y="3060"/>
                  </a:cubicBezTo>
                  <a:cubicBezTo>
                    <a:pt x="2560" y="3084"/>
                    <a:pt x="2501" y="3168"/>
                    <a:pt x="2525" y="3263"/>
                  </a:cubicBezTo>
                  <a:cubicBezTo>
                    <a:pt x="2525" y="3263"/>
                    <a:pt x="2525" y="3311"/>
                    <a:pt x="2465" y="3394"/>
                  </a:cubicBezTo>
                  <a:cubicBezTo>
                    <a:pt x="2334" y="3561"/>
                    <a:pt x="1929" y="3822"/>
                    <a:pt x="608" y="3858"/>
                  </a:cubicBezTo>
                  <a:cubicBezTo>
                    <a:pt x="524" y="3858"/>
                    <a:pt x="441" y="3799"/>
                    <a:pt x="429" y="3715"/>
                  </a:cubicBezTo>
                  <a:lnTo>
                    <a:pt x="358" y="3418"/>
                  </a:lnTo>
                  <a:cubicBezTo>
                    <a:pt x="346" y="3358"/>
                    <a:pt x="358" y="3299"/>
                    <a:pt x="405" y="3239"/>
                  </a:cubicBezTo>
                  <a:lnTo>
                    <a:pt x="1632" y="1929"/>
                  </a:lnTo>
                  <a:cubicBezTo>
                    <a:pt x="1787" y="2025"/>
                    <a:pt x="1953" y="2096"/>
                    <a:pt x="2120" y="2144"/>
                  </a:cubicBezTo>
                  <a:cubicBezTo>
                    <a:pt x="2133" y="2147"/>
                    <a:pt x="2145" y="2148"/>
                    <a:pt x="2158" y="2148"/>
                  </a:cubicBezTo>
                  <a:cubicBezTo>
                    <a:pt x="2191" y="2148"/>
                    <a:pt x="2222" y="2137"/>
                    <a:pt x="2239" y="2120"/>
                  </a:cubicBezTo>
                  <a:cubicBezTo>
                    <a:pt x="2263" y="2108"/>
                    <a:pt x="2584" y="1929"/>
                    <a:pt x="2703" y="1513"/>
                  </a:cubicBezTo>
                  <a:close/>
                  <a:moveTo>
                    <a:pt x="1239" y="1"/>
                  </a:moveTo>
                  <a:cubicBezTo>
                    <a:pt x="1156" y="1"/>
                    <a:pt x="1084" y="48"/>
                    <a:pt x="1072" y="108"/>
                  </a:cubicBezTo>
                  <a:cubicBezTo>
                    <a:pt x="1060" y="132"/>
                    <a:pt x="834" y="822"/>
                    <a:pt x="1156" y="1417"/>
                  </a:cubicBezTo>
                  <a:cubicBezTo>
                    <a:pt x="1215" y="1536"/>
                    <a:pt x="1298" y="1620"/>
                    <a:pt x="1382" y="1715"/>
                  </a:cubicBezTo>
                  <a:lnTo>
                    <a:pt x="167" y="3001"/>
                  </a:lnTo>
                  <a:cubicBezTo>
                    <a:pt x="48" y="3144"/>
                    <a:pt x="1" y="3322"/>
                    <a:pt x="48" y="3477"/>
                  </a:cubicBezTo>
                  <a:lnTo>
                    <a:pt x="120" y="3775"/>
                  </a:lnTo>
                  <a:cubicBezTo>
                    <a:pt x="179" y="4001"/>
                    <a:pt x="370" y="4156"/>
                    <a:pt x="608" y="4156"/>
                  </a:cubicBezTo>
                  <a:lnTo>
                    <a:pt x="620" y="4156"/>
                  </a:lnTo>
                  <a:cubicBezTo>
                    <a:pt x="1072" y="4132"/>
                    <a:pt x="1453" y="4108"/>
                    <a:pt x="1787" y="4049"/>
                  </a:cubicBezTo>
                  <a:cubicBezTo>
                    <a:pt x="2441" y="4989"/>
                    <a:pt x="3322" y="5585"/>
                    <a:pt x="3584" y="5739"/>
                  </a:cubicBezTo>
                  <a:lnTo>
                    <a:pt x="3596" y="7799"/>
                  </a:lnTo>
                  <a:lnTo>
                    <a:pt x="3215" y="7882"/>
                  </a:lnTo>
                  <a:cubicBezTo>
                    <a:pt x="3049" y="7930"/>
                    <a:pt x="2918" y="8049"/>
                    <a:pt x="2858" y="8216"/>
                  </a:cubicBezTo>
                  <a:lnTo>
                    <a:pt x="2739" y="8561"/>
                  </a:lnTo>
                  <a:cubicBezTo>
                    <a:pt x="2727" y="8597"/>
                    <a:pt x="2727" y="8656"/>
                    <a:pt x="2751" y="8704"/>
                  </a:cubicBezTo>
                  <a:cubicBezTo>
                    <a:pt x="2787" y="8752"/>
                    <a:pt x="2822" y="8775"/>
                    <a:pt x="2882" y="8775"/>
                  </a:cubicBezTo>
                  <a:lnTo>
                    <a:pt x="3930" y="8775"/>
                  </a:lnTo>
                  <a:cubicBezTo>
                    <a:pt x="3989" y="8775"/>
                    <a:pt x="4037" y="8752"/>
                    <a:pt x="4061" y="8704"/>
                  </a:cubicBezTo>
                  <a:lnTo>
                    <a:pt x="4346" y="8287"/>
                  </a:lnTo>
                  <a:cubicBezTo>
                    <a:pt x="4406" y="8204"/>
                    <a:pt x="4430" y="8109"/>
                    <a:pt x="4454" y="8025"/>
                  </a:cubicBezTo>
                  <a:lnTo>
                    <a:pt x="4763" y="6180"/>
                  </a:lnTo>
                  <a:cubicBezTo>
                    <a:pt x="5192" y="6323"/>
                    <a:pt x="5656" y="6394"/>
                    <a:pt x="6144" y="6394"/>
                  </a:cubicBezTo>
                  <a:cubicBezTo>
                    <a:pt x="6990" y="6394"/>
                    <a:pt x="7906" y="6192"/>
                    <a:pt x="8764" y="5775"/>
                  </a:cubicBezTo>
                  <a:lnTo>
                    <a:pt x="9395" y="6954"/>
                  </a:lnTo>
                  <a:lnTo>
                    <a:pt x="9395" y="7799"/>
                  </a:lnTo>
                  <a:lnTo>
                    <a:pt x="9073" y="7918"/>
                  </a:lnTo>
                  <a:cubicBezTo>
                    <a:pt x="8930" y="7966"/>
                    <a:pt x="8811" y="8085"/>
                    <a:pt x="8764" y="8228"/>
                  </a:cubicBezTo>
                  <a:lnTo>
                    <a:pt x="8645" y="8585"/>
                  </a:lnTo>
                  <a:cubicBezTo>
                    <a:pt x="8633" y="8633"/>
                    <a:pt x="8633" y="8692"/>
                    <a:pt x="8656" y="8740"/>
                  </a:cubicBezTo>
                  <a:cubicBezTo>
                    <a:pt x="8692" y="8775"/>
                    <a:pt x="8740" y="8811"/>
                    <a:pt x="8799" y="8811"/>
                  </a:cubicBezTo>
                  <a:lnTo>
                    <a:pt x="9835" y="8811"/>
                  </a:lnTo>
                  <a:cubicBezTo>
                    <a:pt x="9895" y="8811"/>
                    <a:pt x="9954" y="8764"/>
                    <a:pt x="9990" y="8704"/>
                  </a:cubicBezTo>
                  <a:lnTo>
                    <a:pt x="10252" y="8061"/>
                  </a:lnTo>
                  <a:cubicBezTo>
                    <a:pt x="10311" y="7930"/>
                    <a:pt x="10347" y="7799"/>
                    <a:pt x="10347" y="7668"/>
                  </a:cubicBezTo>
                  <a:lnTo>
                    <a:pt x="10347" y="6394"/>
                  </a:lnTo>
                  <a:cubicBezTo>
                    <a:pt x="10347" y="6370"/>
                    <a:pt x="10347" y="6359"/>
                    <a:pt x="10323" y="6335"/>
                  </a:cubicBezTo>
                  <a:cubicBezTo>
                    <a:pt x="10323" y="6335"/>
                    <a:pt x="10002" y="5597"/>
                    <a:pt x="10002" y="4954"/>
                  </a:cubicBezTo>
                  <a:cubicBezTo>
                    <a:pt x="10002" y="4704"/>
                    <a:pt x="10073" y="4537"/>
                    <a:pt x="10145" y="4346"/>
                  </a:cubicBezTo>
                  <a:cubicBezTo>
                    <a:pt x="10252" y="4096"/>
                    <a:pt x="10371" y="3811"/>
                    <a:pt x="10347" y="3322"/>
                  </a:cubicBezTo>
                  <a:cubicBezTo>
                    <a:pt x="10323" y="3096"/>
                    <a:pt x="10240" y="2739"/>
                    <a:pt x="10026" y="2394"/>
                  </a:cubicBezTo>
                  <a:lnTo>
                    <a:pt x="10026" y="2394"/>
                  </a:lnTo>
                  <a:cubicBezTo>
                    <a:pt x="10109" y="2441"/>
                    <a:pt x="10192" y="2501"/>
                    <a:pt x="10264" y="2584"/>
                  </a:cubicBezTo>
                  <a:cubicBezTo>
                    <a:pt x="10645" y="2989"/>
                    <a:pt x="10716" y="3656"/>
                    <a:pt x="10466" y="4394"/>
                  </a:cubicBezTo>
                  <a:cubicBezTo>
                    <a:pt x="10133" y="5346"/>
                    <a:pt x="10716" y="6132"/>
                    <a:pt x="10740" y="6156"/>
                  </a:cubicBezTo>
                  <a:cubicBezTo>
                    <a:pt x="10776" y="6204"/>
                    <a:pt x="10823" y="6216"/>
                    <a:pt x="10883" y="6216"/>
                  </a:cubicBezTo>
                  <a:cubicBezTo>
                    <a:pt x="10907" y="6216"/>
                    <a:pt x="10954" y="6204"/>
                    <a:pt x="10978" y="6192"/>
                  </a:cubicBezTo>
                  <a:cubicBezTo>
                    <a:pt x="11062" y="6120"/>
                    <a:pt x="11073" y="6013"/>
                    <a:pt x="11026" y="5942"/>
                  </a:cubicBezTo>
                  <a:cubicBezTo>
                    <a:pt x="11026" y="5942"/>
                    <a:pt x="10526" y="5263"/>
                    <a:pt x="10788" y="4465"/>
                  </a:cubicBezTo>
                  <a:cubicBezTo>
                    <a:pt x="11085" y="3620"/>
                    <a:pt x="10978" y="2846"/>
                    <a:pt x="10538" y="2334"/>
                  </a:cubicBezTo>
                  <a:cubicBezTo>
                    <a:pt x="10322" y="2108"/>
                    <a:pt x="10058" y="1960"/>
                    <a:pt x="9825" y="1960"/>
                  </a:cubicBezTo>
                  <a:cubicBezTo>
                    <a:pt x="9800" y="1960"/>
                    <a:pt x="9776" y="1962"/>
                    <a:pt x="9752" y="1965"/>
                  </a:cubicBezTo>
                  <a:cubicBezTo>
                    <a:pt x="9585" y="1810"/>
                    <a:pt x="9395" y="1679"/>
                    <a:pt x="9157" y="1608"/>
                  </a:cubicBezTo>
                  <a:cubicBezTo>
                    <a:pt x="8917" y="1531"/>
                    <a:pt x="8666" y="1503"/>
                    <a:pt x="8402" y="1503"/>
                  </a:cubicBezTo>
                  <a:cubicBezTo>
                    <a:pt x="8051" y="1503"/>
                    <a:pt x="7677" y="1553"/>
                    <a:pt x="7275" y="1608"/>
                  </a:cubicBezTo>
                  <a:cubicBezTo>
                    <a:pt x="6773" y="1678"/>
                    <a:pt x="6202" y="1756"/>
                    <a:pt x="5537" y="1756"/>
                  </a:cubicBezTo>
                  <a:cubicBezTo>
                    <a:pt x="5067" y="1756"/>
                    <a:pt x="4550" y="1716"/>
                    <a:pt x="3977" y="1608"/>
                  </a:cubicBezTo>
                  <a:cubicBezTo>
                    <a:pt x="3989" y="1548"/>
                    <a:pt x="3977" y="1489"/>
                    <a:pt x="3930" y="1453"/>
                  </a:cubicBezTo>
                  <a:cubicBezTo>
                    <a:pt x="3882" y="1417"/>
                    <a:pt x="3620" y="1191"/>
                    <a:pt x="2703" y="1191"/>
                  </a:cubicBezTo>
                  <a:cubicBezTo>
                    <a:pt x="2251" y="1191"/>
                    <a:pt x="1501" y="905"/>
                    <a:pt x="1382" y="132"/>
                  </a:cubicBezTo>
                  <a:cubicBezTo>
                    <a:pt x="1370" y="60"/>
                    <a:pt x="1310" y="1"/>
                    <a:pt x="1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9" name="Google Shape;12949;p63"/>
            <p:cNvSpPr/>
            <p:nvPr/>
          </p:nvSpPr>
          <p:spPr>
            <a:xfrm>
              <a:off x="4747693" y="2113682"/>
              <a:ext cx="10688" cy="10688"/>
            </a:xfrm>
            <a:custGeom>
              <a:avLst/>
              <a:gdLst/>
              <a:ahLst/>
              <a:cxnLst/>
              <a:rect l="l" t="t" r="r" b="b"/>
              <a:pathLst>
                <a:path w="334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262" y="334"/>
                    <a:pt x="334" y="262"/>
                    <a:pt x="334" y="167"/>
                  </a:cubicBez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0" name="Google Shape;12950;p63"/>
          <p:cNvGrpSpPr/>
          <p:nvPr/>
        </p:nvGrpSpPr>
        <p:grpSpPr>
          <a:xfrm>
            <a:off x="1404013" y="2424754"/>
            <a:ext cx="353600" cy="354944"/>
            <a:chOff x="1404013" y="2424754"/>
            <a:chExt cx="353600" cy="354944"/>
          </a:xfrm>
        </p:grpSpPr>
        <p:sp>
          <p:nvSpPr>
            <p:cNvPr id="12951" name="Google Shape;12951;p63"/>
            <p:cNvSpPr/>
            <p:nvPr/>
          </p:nvSpPr>
          <p:spPr>
            <a:xfrm>
              <a:off x="1404013" y="2424754"/>
              <a:ext cx="353600" cy="354944"/>
            </a:xfrm>
            <a:custGeom>
              <a:avLst/>
              <a:gdLst/>
              <a:ahLst/>
              <a:cxnLst/>
              <a:rect l="l" t="t" r="r" b="b"/>
              <a:pathLst>
                <a:path w="11050" h="11092" extrusionOk="0">
                  <a:moveTo>
                    <a:pt x="5514" y="316"/>
                  </a:moveTo>
                  <a:cubicBezTo>
                    <a:pt x="6061" y="316"/>
                    <a:pt x="6597" y="412"/>
                    <a:pt x="7121" y="567"/>
                  </a:cubicBezTo>
                  <a:cubicBezTo>
                    <a:pt x="7038" y="602"/>
                    <a:pt x="6978" y="614"/>
                    <a:pt x="6907" y="650"/>
                  </a:cubicBezTo>
                  <a:cubicBezTo>
                    <a:pt x="6299" y="900"/>
                    <a:pt x="5835" y="1329"/>
                    <a:pt x="5514" y="1936"/>
                  </a:cubicBezTo>
                  <a:cubicBezTo>
                    <a:pt x="5180" y="1317"/>
                    <a:pt x="4716" y="900"/>
                    <a:pt x="4109" y="650"/>
                  </a:cubicBezTo>
                  <a:cubicBezTo>
                    <a:pt x="4037" y="614"/>
                    <a:pt x="3978" y="590"/>
                    <a:pt x="3906" y="567"/>
                  </a:cubicBezTo>
                  <a:cubicBezTo>
                    <a:pt x="4418" y="412"/>
                    <a:pt x="4954" y="316"/>
                    <a:pt x="5514" y="316"/>
                  </a:cubicBezTo>
                  <a:close/>
                  <a:moveTo>
                    <a:pt x="3263" y="2043"/>
                  </a:moveTo>
                  <a:cubicBezTo>
                    <a:pt x="4121" y="2043"/>
                    <a:pt x="4835" y="2745"/>
                    <a:pt x="4835" y="3626"/>
                  </a:cubicBezTo>
                  <a:cubicBezTo>
                    <a:pt x="4835" y="4484"/>
                    <a:pt x="4144" y="5198"/>
                    <a:pt x="3263" y="5198"/>
                  </a:cubicBezTo>
                  <a:cubicBezTo>
                    <a:pt x="2382" y="5198"/>
                    <a:pt x="1680" y="4496"/>
                    <a:pt x="1680" y="3626"/>
                  </a:cubicBezTo>
                  <a:cubicBezTo>
                    <a:pt x="1680" y="2757"/>
                    <a:pt x="2394" y="2043"/>
                    <a:pt x="3263" y="2043"/>
                  </a:cubicBezTo>
                  <a:close/>
                  <a:moveTo>
                    <a:pt x="692" y="424"/>
                  </a:moveTo>
                  <a:lnTo>
                    <a:pt x="692" y="424"/>
                  </a:lnTo>
                  <a:cubicBezTo>
                    <a:pt x="1120" y="567"/>
                    <a:pt x="1620" y="602"/>
                    <a:pt x="2144" y="626"/>
                  </a:cubicBezTo>
                  <a:cubicBezTo>
                    <a:pt x="3394" y="721"/>
                    <a:pt x="4704" y="793"/>
                    <a:pt x="5359" y="2388"/>
                  </a:cubicBezTo>
                  <a:cubicBezTo>
                    <a:pt x="5395" y="2448"/>
                    <a:pt x="5454" y="2495"/>
                    <a:pt x="5514" y="2495"/>
                  </a:cubicBezTo>
                  <a:cubicBezTo>
                    <a:pt x="5525" y="2495"/>
                    <a:pt x="5549" y="2495"/>
                    <a:pt x="5573" y="2472"/>
                  </a:cubicBezTo>
                  <a:cubicBezTo>
                    <a:pt x="5609" y="2460"/>
                    <a:pt x="5645" y="2436"/>
                    <a:pt x="5656" y="2388"/>
                  </a:cubicBezTo>
                  <a:cubicBezTo>
                    <a:pt x="6311" y="793"/>
                    <a:pt x="7609" y="697"/>
                    <a:pt x="8871" y="626"/>
                  </a:cubicBezTo>
                  <a:cubicBezTo>
                    <a:pt x="9395" y="602"/>
                    <a:pt x="9895" y="555"/>
                    <a:pt x="10336" y="424"/>
                  </a:cubicBezTo>
                  <a:lnTo>
                    <a:pt x="10336" y="424"/>
                  </a:lnTo>
                  <a:cubicBezTo>
                    <a:pt x="10288" y="567"/>
                    <a:pt x="10217" y="745"/>
                    <a:pt x="10050" y="948"/>
                  </a:cubicBezTo>
                  <a:cubicBezTo>
                    <a:pt x="9621" y="1459"/>
                    <a:pt x="8824" y="1733"/>
                    <a:pt x="7752" y="1733"/>
                  </a:cubicBezTo>
                  <a:cubicBezTo>
                    <a:pt x="6716" y="1733"/>
                    <a:pt x="5871" y="2579"/>
                    <a:pt x="5871" y="3626"/>
                  </a:cubicBezTo>
                  <a:cubicBezTo>
                    <a:pt x="5871" y="4662"/>
                    <a:pt x="6716" y="5508"/>
                    <a:pt x="7752" y="5508"/>
                  </a:cubicBezTo>
                  <a:cubicBezTo>
                    <a:pt x="8800" y="5508"/>
                    <a:pt x="9645" y="4662"/>
                    <a:pt x="9645" y="3626"/>
                  </a:cubicBezTo>
                  <a:cubicBezTo>
                    <a:pt x="9645" y="3341"/>
                    <a:pt x="9586" y="3055"/>
                    <a:pt x="9455" y="2781"/>
                  </a:cubicBezTo>
                  <a:cubicBezTo>
                    <a:pt x="9420" y="2730"/>
                    <a:pt x="9367" y="2690"/>
                    <a:pt x="9305" y="2690"/>
                  </a:cubicBezTo>
                  <a:cubicBezTo>
                    <a:pt x="9281" y="2690"/>
                    <a:pt x="9255" y="2696"/>
                    <a:pt x="9228" y="2710"/>
                  </a:cubicBezTo>
                  <a:cubicBezTo>
                    <a:pt x="9157" y="2757"/>
                    <a:pt x="9109" y="2841"/>
                    <a:pt x="9157" y="2936"/>
                  </a:cubicBezTo>
                  <a:cubicBezTo>
                    <a:pt x="9264" y="3138"/>
                    <a:pt x="9324" y="3376"/>
                    <a:pt x="9324" y="3626"/>
                  </a:cubicBezTo>
                  <a:cubicBezTo>
                    <a:pt x="9324" y="4484"/>
                    <a:pt x="8621" y="5198"/>
                    <a:pt x="7740" y="5198"/>
                  </a:cubicBezTo>
                  <a:cubicBezTo>
                    <a:pt x="6883" y="5198"/>
                    <a:pt x="6168" y="4496"/>
                    <a:pt x="6168" y="3626"/>
                  </a:cubicBezTo>
                  <a:cubicBezTo>
                    <a:pt x="6168" y="2757"/>
                    <a:pt x="6859" y="2043"/>
                    <a:pt x="7740" y="2043"/>
                  </a:cubicBezTo>
                  <a:cubicBezTo>
                    <a:pt x="8085" y="2043"/>
                    <a:pt x="8407" y="2150"/>
                    <a:pt x="8681" y="2352"/>
                  </a:cubicBezTo>
                  <a:cubicBezTo>
                    <a:pt x="8712" y="2378"/>
                    <a:pt x="8749" y="2391"/>
                    <a:pt x="8786" y="2391"/>
                  </a:cubicBezTo>
                  <a:cubicBezTo>
                    <a:pt x="8834" y="2391"/>
                    <a:pt x="8880" y="2369"/>
                    <a:pt x="8907" y="2329"/>
                  </a:cubicBezTo>
                  <a:cubicBezTo>
                    <a:pt x="8966" y="2257"/>
                    <a:pt x="8943" y="2150"/>
                    <a:pt x="8871" y="2102"/>
                  </a:cubicBezTo>
                  <a:cubicBezTo>
                    <a:pt x="8812" y="2055"/>
                    <a:pt x="8740" y="2019"/>
                    <a:pt x="8681" y="1971"/>
                  </a:cubicBezTo>
                  <a:cubicBezTo>
                    <a:pt x="8919" y="1924"/>
                    <a:pt x="9145" y="1864"/>
                    <a:pt x="9347" y="1793"/>
                  </a:cubicBezTo>
                  <a:cubicBezTo>
                    <a:pt x="9871" y="2257"/>
                    <a:pt x="10181" y="2924"/>
                    <a:pt x="10181" y="3626"/>
                  </a:cubicBezTo>
                  <a:cubicBezTo>
                    <a:pt x="10181" y="4960"/>
                    <a:pt x="9097" y="6067"/>
                    <a:pt x="7740" y="6067"/>
                  </a:cubicBezTo>
                  <a:cubicBezTo>
                    <a:pt x="7133" y="6067"/>
                    <a:pt x="6549" y="5841"/>
                    <a:pt x="6085" y="5424"/>
                  </a:cubicBezTo>
                  <a:lnTo>
                    <a:pt x="6145" y="5246"/>
                  </a:lnTo>
                  <a:cubicBezTo>
                    <a:pt x="6168" y="5186"/>
                    <a:pt x="6168" y="5115"/>
                    <a:pt x="6121" y="5067"/>
                  </a:cubicBezTo>
                  <a:lnTo>
                    <a:pt x="5847" y="4793"/>
                  </a:lnTo>
                  <a:cubicBezTo>
                    <a:pt x="5752" y="4698"/>
                    <a:pt x="5624" y="4650"/>
                    <a:pt x="5494" y="4650"/>
                  </a:cubicBezTo>
                  <a:cubicBezTo>
                    <a:pt x="5365" y="4650"/>
                    <a:pt x="5234" y="4698"/>
                    <a:pt x="5133" y="4793"/>
                  </a:cubicBezTo>
                  <a:lnTo>
                    <a:pt x="4871" y="5067"/>
                  </a:lnTo>
                  <a:cubicBezTo>
                    <a:pt x="4823" y="5115"/>
                    <a:pt x="4811" y="5186"/>
                    <a:pt x="4835" y="5246"/>
                  </a:cubicBezTo>
                  <a:lnTo>
                    <a:pt x="4894" y="5424"/>
                  </a:lnTo>
                  <a:cubicBezTo>
                    <a:pt x="4454" y="5841"/>
                    <a:pt x="3871" y="6067"/>
                    <a:pt x="3251" y="6067"/>
                  </a:cubicBezTo>
                  <a:cubicBezTo>
                    <a:pt x="1906" y="6067"/>
                    <a:pt x="811" y="4972"/>
                    <a:pt x="811" y="3626"/>
                  </a:cubicBezTo>
                  <a:cubicBezTo>
                    <a:pt x="823" y="2912"/>
                    <a:pt x="1120" y="2257"/>
                    <a:pt x="1656" y="1793"/>
                  </a:cubicBezTo>
                  <a:cubicBezTo>
                    <a:pt x="1858" y="1864"/>
                    <a:pt x="2085" y="1924"/>
                    <a:pt x="2323" y="1971"/>
                  </a:cubicBezTo>
                  <a:cubicBezTo>
                    <a:pt x="1751" y="2293"/>
                    <a:pt x="1370" y="2912"/>
                    <a:pt x="1370" y="3626"/>
                  </a:cubicBezTo>
                  <a:cubicBezTo>
                    <a:pt x="1370" y="4662"/>
                    <a:pt x="2216" y="5508"/>
                    <a:pt x="3263" y="5508"/>
                  </a:cubicBezTo>
                  <a:cubicBezTo>
                    <a:pt x="4299" y="5508"/>
                    <a:pt x="5156" y="4662"/>
                    <a:pt x="5156" y="3626"/>
                  </a:cubicBezTo>
                  <a:cubicBezTo>
                    <a:pt x="5156" y="2579"/>
                    <a:pt x="4299" y="1733"/>
                    <a:pt x="3263" y="1733"/>
                  </a:cubicBezTo>
                  <a:cubicBezTo>
                    <a:pt x="2192" y="1733"/>
                    <a:pt x="1406" y="1459"/>
                    <a:pt x="965" y="948"/>
                  </a:cubicBezTo>
                  <a:cubicBezTo>
                    <a:pt x="823" y="745"/>
                    <a:pt x="727" y="567"/>
                    <a:pt x="692" y="424"/>
                  </a:cubicBezTo>
                  <a:close/>
                  <a:moveTo>
                    <a:pt x="5537" y="4954"/>
                  </a:moveTo>
                  <a:cubicBezTo>
                    <a:pt x="5585" y="4954"/>
                    <a:pt x="5633" y="4972"/>
                    <a:pt x="5668" y="5008"/>
                  </a:cubicBezTo>
                  <a:lnTo>
                    <a:pt x="5847" y="5210"/>
                  </a:lnTo>
                  <a:lnTo>
                    <a:pt x="5525" y="6091"/>
                  </a:lnTo>
                  <a:lnTo>
                    <a:pt x="5192" y="5210"/>
                  </a:lnTo>
                  <a:lnTo>
                    <a:pt x="5406" y="5008"/>
                  </a:lnTo>
                  <a:cubicBezTo>
                    <a:pt x="5442" y="4972"/>
                    <a:pt x="5490" y="4954"/>
                    <a:pt x="5537" y="4954"/>
                  </a:cubicBezTo>
                  <a:close/>
                  <a:moveTo>
                    <a:pt x="10431" y="4317"/>
                  </a:moveTo>
                  <a:cubicBezTo>
                    <a:pt x="10550" y="4781"/>
                    <a:pt x="10669" y="5329"/>
                    <a:pt x="10717" y="5710"/>
                  </a:cubicBezTo>
                  <a:lnTo>
                    <a:pt x="10359" y="5710"/>
                  </a:lnTo>
                  <a:cubicBezTo>
                    <a:pt x="10276" y="5710"/>
                    <a:pt x="10193" y="5781"/>
                    <a:pt x="10193" y="5865"/>
                  </a:cubicBezTo>
                  <a:lnTo>
                    <a:pt x="10193" y="6258"/>
                  </a:lnTo>
                  <a:cubicBezTo>
                    <a:pt x="10024" y="6288"/>
                    <a:pt x="9681" y="6339"/>
                    <a:pt x="9255" y="6339"/>
                  </a:cubicBezTo>
                  <a:cubicBezTo>
                    <a:pt x="9020" y="6339"/>
                    <a:pt x="8760" y="6324"/>
                    <a:pt x="8490" y="6282"/>
                  </a:cubicBezTo>
                  <a:cubicBezTo>
                    <a:pt x="9431" y="6031"/>
                    <a:pt x="10181" y="5269"/>
                    <a:pt x="10431" y="4317"/>
                  </a:cubicBezTo>
                  <a:close/>
                  <a:moveTo>
                    <a:pt x="584" y="4317"/>
                  </a:moveTo>
                  <a:cubicBezTo>
                    <a:pt x="834" y="5269"/>
                    <a:pt x="1585" y="6031"/>
                    <a:pt x="2537" y="6282"/>
                  </a:cubicBezTo>
                  <a:cubicBezTo>
                    <a:pt x="2245" y="6326"/>
                    <a:pt x="1970" y="6342"/>
                    <a:pt x="1726" y="6342"/>
                  </a:cubicBezTo>
                  <a:cubicBezTo>
                    <a:pt x="1312" y="6342"/>
                    <a:pt x="987" y="6295"/>
                    <a:pt x="823" y="6258"/>
                  </a:cubicBezTo>
                  <a:lnTo>
                    <a:pt x="823" y="5865"/>
                  </a:lnTo>
                  <a:cubicBezTo>
                    <a:pt x="823" y="5781"/>
                    <a:pt x="751" y="5710"/>
                    <a:pt x="656" y="5710"/>
                  </a:cubicBezTo>
                  <a:lnTo>
                    <a:pt x="299" y="5710"/>
                  </a:lnTo>
                  <a:cubicBezTo>
                    <a:pt x="334" y="5329"/>
                    <a:pt x="465" y="4781"/>
                    <a:pt x="584" y="4317"/>
                  </a:cubicBezTo>
                  <a:close/>
                  <a:moveTo>
                    <a:pt x="8454" y="6615"/>
                  </a:moveTo>
                  <a:cubicBezTo>
                    <a:pt x="8752" y="6663"/>
                    <a:pt x="9026" y="6674"/>
                    <a:pt x="9276" y="6674"/>
                  </a:cubicBezTo>
                  <a:lnTo>
                    <a:pt x="9502" y="6674"/>
                  </a:lnTo>
                  <a:cubicBezTo>
                    <a:pt x="9383" y="7627"/>
                    <a:pt x="8931" y="8508"/>
                    <a:pt x="8228" y="9163"/>
                  </a:cubicBezTo>
                  <a:cubicBezTo>
                    <a:pt x="7907" y="9460"/>
                    <a:pt x="7550" y="9699"/>
                    <a:pt x="7157" y="9877"/>
                  </a:cubicBezTo>
                  <a:cubicBezTo>
                    <a:pt x="7323" y="9722"/>
                    <a:pt x="7478" y="9556"/>
                    <a:pt x="7609" y="9365"/>
                  </a:cubicBezTo>
                  <a:cubicBezTo>
                    <a:pt x="8145" y="8627"/>
                    <a:pt x="8443" y="7651"/>
                    <a:pt x="8454" y="6615"/>
                  </a:cubicBezTo>
                  <a:close/>
                  <a:moveTo>
                    <a:pt x="6002" y="5734"/>
                  </a:moveTo>
                  <a:cubicBezTo>
                    <a:pt x="6430" y="6103"/>
                    <a:pt x="6966" y="6317"/>
                    <a:pt x="7550" y="6377"/>
                  </a:cubicBezTo>
                  <a:cubicBezTo>
                    <a:pt x="7740" y="6448"/>
                    <a:pt x="7931" y="6508"/>
                    <a:pt x="8121" y="6555"/>
                  </a:cubicBezTo>
                  <a:lnTo>
                    <a:pt x="8121" y="6567"/>
                  </a:lnTo>
                  <a:cubicBezTo>
                    <a:pt x="8133" y="8579"/>
                    <a:pt x="6954" y="10211"/>
                    <a:pt x="5514" y="10211"/>
                  </a:cubicBezTo>
                  <a:cubicBezTo>
                    <a:pt x="4942" y="10211"/>
                    <a:pt x="4394" y="9961"/>
                    <a:pt x="3942" y="9484"/>
                  </a:cubicBezTo>
                  <a:cubicBezTo>
                    <a:pt x="3501" y="9008"/>
                    <a:pt x="3156" y="8329"/>
                    <a:pt x="3013" y="7579"/>
                  </a:cubicBezTo>
                  <a:cubicBezTo>
                    <a:pt x="2993" y="7509"/>
                    <a:pt x="2930" y="7455"/>
                    <a:pt x="2853" y="7455"/>
                  </a:cubicBezTo>
                  <a:cubicBezTo>
                    <a:pt x="2839" y="7455"/>
                    <a:pt x="2825" y="7457"/>
                    <a:pt x="2811" y="7460"/>
                  </a:cubicBezTo>
                  <a:cubicBezTo>
                    <a:pt x="2728" y="7472"/>
                    <a:pt x="2668" y="7567"/>
                    <a:pt x="2692" y="7651"/>
                  </a:cubicBezTo>
                  <a:cubicBezTo>
                    <a:pt x="2858" y="8472"/>
                    <a:pt x="3228" y="9199"/>
                    <a:pt x="3716" y="9722"/>
                  </a:cubicBezTo>
                  <a:lnTo>
                    <a:pt x="3882" y="9889"/>
                  </a:lnTo>
                  <a:cubicBezTo>
                    <a:pt x="3501" y="9710"/>
                    <a:pt x="3120" y="9472"/>
                    <a:pt x="2811" y="9175"/>
                  </a:cubicBezTo>
                  <a:cubicBezTo>
                    <a:pt x="2096" y="8520"/>
                    <a:pt x="1668" y="7639"/>
                    <a:pt x="1549" y="6686"/>
                  </a:cubicBezTo>
                  <a:lnTo>
                    <a:pt x="1775" y="6686"/>
                  </a:lnTo>
                  <a:cubicBezTo>
                    <a:pt x="2025" y="6686"/>
                    <a:pt x="2299" y="6674"/>
                    <a:pt x="2597" y="6627"/>
                  </a:cubicBezTo>
                  <a:cubicBezTo>
                    <a:pt x="2597" y="6734"/>
                    <a:pt x="2597" y="6841"/>
                    <a:pt x="2608" y="6936"/>
                  </a:cubicBezTo>
                  <a:cubicBezTo>
                    <a:pt x="2608" y="7032"/>
                    <a:pt x="2680" y="7091"/>
                    <a:pt x="2775" y="7091"/>
                  </a:cubicBezTo>
                  <a:lnTo>
                    <a:pt x="2787" y="7091"/>
                  </a:lnTo>
                  <a:cubicBezTo>
                    <a:pt x="2870" y="7091"/>
                    <a:pt x="2954" y="6996"/>
                    <a:pt x="2930" y="6913"/>
                  </a:cubicBezTo>
                  <a:cubicBezTo>
                    <a:pt x="2930" y="6805"/>
                    <a:pt x="2918" y="6686"/>
                    <a:pt x="2918" y="6567"/>
                  </a:cubicBezTo>
                  <a:lnTo>
                    <a:pt x="2918" y="6555"/>
                  </a:lnTo>
                  <a:cubicBezTo>
                    <a:pt x="3109" y="6508"/>
                    <a:pt x="3311" y="6448"/>
                    <a:pt x="3501" y="6377"/>
                  </a:cubicBezTo>
                  <a:cubicBezTo>
                    <a:pt x="4061" y="6329"/>
                    <a:pt x="4597" y="6103"/>
                    <a:pt x="5049" y="5734"/>
                  </a:cubicBezTo>
                  <a:lnTo>
                    <a:pt x="5371" y="6615"/>
                  </a:lnTo>
                  <a:cubicBezTo>
                    <a:pt x="5406" y="6674"/>
                    <a:pt x="5466" y="6722"/>
                    <a:pt x="5525" y="6722"/>
                  </a:cubicBezTo>
                  <a:cubicBezTo>
                    <a:pt x="5597" y="6722"/>
                    <a:pt x="5656" y="6674"/>
                    <a:pt x="5668" y="6615"/>
                  </a:cubicBezTo>
                  <a:lnTo>
                    <a:pt x="6002" y="5734"/>
                  </a:lnTo>
                  <a:close/>
                  <a:moveTo>
                    <a:pt x="505" y="1"/>
                  </a:moveTo>
                  <a:cubicBezTo>
                    <a:pt x="477" y="1"/>
                    <a:pt x="447" y="7"/>
                    <a:pt x="418" y="19"/>
                  </a:cubicBezTo>
                  <a:cubicBezTo>
                    <a:pt x="370" y="55"/>
                    <a:pt x="346" y="90"/>
                    <a:pt x="346" y="150"/>
                  </a:cubicBezTo>
                  <a:cubicBezTo>
                    <a:pt x="346" y="174"/>
                    <a:pt x="346" y="650"/>
                    <a:pt x="727" y="1126"/>
                  </a:cubicBezTo>
                  <a:cubicBezTo>
                    <a:pt x="894" y="1329"/>
                    <a:pt x="1108" y="1507"/>
                    <a:pt x="1358" y="1638"/>
                  </a:cubicBezTo>
                  <a:cubicBezTo>
                    <a:pt x="882" y="2102"/>
                    <a:pt x="584" y="2733"/>
                    <a:pt x="525" y="3400"/>
                  </a:cubicBezTo>
                  <a:cubicBezTo>
                    <a:pt x="501" y="3472"/>
                    <a:pt x="1" y="5162"/>
                    <a:pt x="1" y="5865"/>
                  </a:cubicBezTo>
                  <a:cubicBezTo>
                    <a:pt x="1" y="5960"/>
                    <a:pt x="72" y="6031"/>
                    <a:pt x="168" y="6031"/>
                  </a:cubicBezTo>
                  <a:lnTo>
                    <a:pt x="525" y="6031"/>
                  </a:lnTo>
                  <a:lnTo>
                    <a:pt x="525" y="6389"/>
                  </a:lnTo>
                  <a:cubicBezTo>
                    <a:pt x="525" y="6460"/>
                    <a:pt x="561" y="6520"/>
                    <a:pt x="644" y="6555"/>
                  </a:cubicBezTo>
                  <a:cubicBezTo>
                    <a:pt x="668" y="6555"/>
                    <a:pt x="882" y="6615"/>
                    <a:pt x="1239" y="6639"/>
                  </a:cubicBezTo>
                  <a:cubicBezTo>
                    <a:pt x="1334" y="7698"/>
                    <a:pt x="1811" y="8663"/>
                    <a:pt x="2608" y="9401"/>
                  </a:cubicBezTo>
                  <a:cubicBezTo>
                    <a:pt x="2918" y="9675"/>
                    <a:pt x="3263" y="9913"/>
                    <a:pt x="3632" y="10115"/>
                  </a:cubicBezTo>
                  <a:lnTo>
                    <a:pt x="2454" y="10211"/>
                  </a:lnTo>
                  <a:cubicBezTo>
                    <a:pt x="2251" y="10234"/>
                    <a:pt x="2085" y="10365"/>
                    <a:pt x="2013" y="10556"/>
                  </a:cubicBezTo>
                  <a:lnTo>
                    <a:pt x="1906" y="10853"/>
                  </a:lnTo>
                  <a:cubicBezTo>
                    <a:pt x="1882" y="10949"/>
                    <a:pt x="1918" y="11032"/>
                    <a:pt x="2013" y="11068"/>
                  </a:cubicBezTo>
                  <a:cubicBezTo>
                    <a:pt x="2025" y="11068"/>
                    <a:pt x="2037" y="11080"/>
                    <a:pt x="2049" y="11080"/>
                  </a:cubicBezTo>
                  <a:cubicBezTo>
                    <a:pt x="2132" y="11080"/>
                    <a:pt x="2192" y="11032"/>
                    <a:pt x="2204" y="10973"/>
                  </a:cubicBezTo>
                  <a:lnTo>
                    <a:pt x="2311" y="10675"/>
                  </a:lnTo>
                  <a:cubicBezTo>
                    <a:pt x="2335" y="10603"/>
                    <a:pt x="2394" y="10556"/>
                    <a:pt x="2477" y="10556"/>
                  </a:cubicBezTo>
                  <a:lnTo>
                    <a:pt x="2597" y="10544"/>
                  </a:lnTo>
                  <a:lnTo>
                    <a:pt x="2597" y="10925"/>
                  </a:lnTo>
                  <a:cubicBezTo>
                    <a:pt x="2597" y="11020"/>
                    <a:pt x="2668" y="11092"/>
                    <a:pt x="2751" y="11092"/>
                  </a:cubicBezTo>
                  <a:cubicBezTo>
                    <a:pt x="2847" y="11092"/>
                    <a:pt x="2918" y="11020"/>
                    <a:pt x="2918" y="10925"/>
                  </a:cubicBezTo>
                  <a:lnTo>
                    <a:pt x="2918" y="10508"/>
                  </a:lnTo>
                  <a:lnTo>
                    <a:pt x="3144" y="10496"/>
                  </a:lnTo>
                  <a:lnTo>
                    <a:pt x="3311" y="10973"/>
                  </a:lnTo>
                  <a:cubicBezTo>
                    <a:pt x="3335" y="11044"/>
                    <a:pt x="3394" y="11080"/>
                    <a:pt x="3454" y="11080"/>
                  </a:cubicBezTo>
                  <a:cubicBezTo>
                    <a:pt x="3466" y="11080"/>
                    <a:pt x="3490" y="11080"/>
                    <a:pt x="3501" y="11056"/>
                  </a:cubicBezTo>
                  <a:cubicBezTo>
                    <a:pt x="3585" y="11032"/>
                    <a:pt x="3632" y="10937"/>
                    <a:pt x="3609" y="10853"/>
                  </a:cubicBezTo>
                  <a:lnTo>
                    <a:pt x="3466" y="10449"/>
                  </a:lnTo>
                  <a:lnTo>
                    <a:pt x="4323" y="10377"/>
                  </a:lnTo>
                  <a:cubicBezTo>
                    <a:pt x="4704" y="10496"/>
                    <a:pt x="5121" y="10556"/>
                    <a:pt x="5525" y="10556"/>
                  </a:cubicBezTo>
                  <a:cubicBezTo>
                    <a:pt x="5942" y="10556"/>
                    <a:pt x="6347" y="10496"/>
                    <a:pt x="6728" y="10377"/>
                  </a:cubicBezTo>
                  <a:lnTo>
                    <a:pt x="7573" y="10449"/>
                  </a:lnTo>
                  <a:lnTo>
                    <a:pt x="7442" y="10853"/>
                  </a:lnTo>
                  <a:cubicBezTo>
                    <a:pt x="7419" y="10937"/>
                    <a:pt x="7454" y="11032"/>
                    <a:pt x="7550" y="11056"/>
                  </a:cubicBezTo>
                  <a:cubicBezTo>
                    <a:pt x="7561" y="11056"/>
                    <a:pt x="7573" y="11080"/>
                    <a:pt x="7597" y="11080"/>
                  </a:cubicBezTo>
                  <a:cubicBezTo>
                    <a:pt x="7669" y="11080"/>
                    <a:pt x="7728" y="11032"/>
                    <a:pt x="7740" y="10973"/>
                  </a:cubicBezTo>
                  <a:lnTo>
                    <a:pt x="7907" y="10496"/>
                  </a:lnTo>
                  <a:lnTo>
                    <a:pt x="8133" y="10508"/>
                  </a:lnTo>
                  <a:lnTo>
                    <a:pt x="8133" y="10925"/>
                  </a:lnTo>
                  <a:cubicBezTo>
                    <a:pt x="8133" y="11020"/>
                    <a:pt x="8204" y="11092"/>
                    <a:pt x="8288" y="11092"/>
                  </a:cubicBezTo>
                  <a:cubicBezTo>
                    <a:pt x="8383" y="11092"/>
                    <a:pt x="8454" y="11020"/>
                    <a:pt x="8454" y="10925"/>
                  </a:cubicBezTo>
                  <a:lnTo>
                    <a:pt x="8454" y="10544"/>
                  </a:lnTo>
                  <a:lnTo>
                    <a:pt x="8573" y="10556"/>
                  </a:lnTo>
                  <a:cubicBezTo>
                    <a:pt x="8645" y="10556"/>
                    <a:pt x="8704" y="10615"/>
                    <a:pt x="8740" y="10675"/>
                  </a:cubicBezTo>
                  <a:lnTo>
                    <a:pt x="8847" y="10973"/>
                  </a:lnTo>
                  <a:cubicBezTo>
                    <a:pt x="8871" y="11044"/>
                    <a:pt x="8931" y="11080"/>
                    <a:pt x="8990" y="11080"/>
                  </a:cubicBezTo>
                  <a:cubicBezTo>
                    <a:pt x="9002" y="11080"/>
                    <a:pt x="9026" y="11080"/>
                    <a:pt x="9038" y="11056"/>
                  </a:cubicBezTo>
                  <a:cubicBezTo>
                    <a:pt x="9121" y="11032"/>
                    <a:pt x="9169" y="10937"/>
                    <a:pt x="9145" y="10853"/>
                  </a:cubicBezTo>
                  <a:lnTo>
                    <a:pt x="9038" y="10556"/>
                  </a:lnTo>
                  <a:cubicBezTo>
                    <a:pt x="8978" y="10365"/>
                    <a:pt x="8800" y="10222"/>
                    <a:pt x="8585" y="10211"/>
                  </a:cubicBezTo>
                  <a:lnTo>
                    <a:pt x="7419" y="10103"/>
                  </a:lnTo>
                  <a:cubicBezTo>
                    <a:pt x="7788" y="9925"/>
                    <a:pt x="8133" y="9687"/>
                    <a:pt x="8443" y="9389"/>
                  </a:cubicBezTo>
                  <a:cubicBezTo>
                    <a:pt x="9216" y="8663"/>
                    <a:pt x="9705" y="7698"/>
                    <a:pt x="9812" y="6639"/>
                  </a:cubicBezTo>
                  <a:cubicBezTo>
                    <a:pt x="10157" y="6615"/>
                    <a:pt x="10371" y="6555"/>
                    <a:pt x="10407" y="6555"/>
                  </a:cubicBezTo>
                  <a:cubicBezTo>
                    <a:pt x="10478" y="6532"/>
                    <a:pt x="10526" y="6460"/>
                    <a:pt x="10526" y="6389"/>
                  </a:cubicBezTo>
                  <a:lnTo>
                    <a:pt x="10526" y="6031"/>
                  </a:lnTo>
                  <a:lnTo>
                    <a:pt x="10883" y="6031"/>
                  </a:lnTo>
                  <a:cubicBezTo>
                    <a:pt x="10967" y="6031"/>
                    <a:pt x="11050" y="5960"/>
                    <a:pt x="11050" y="5865"/>
                  </a:cubicBezTo>
                  <a:cubicBezTo>
                    <a:pt x="11050" y="5174"/>
                    <a:pt x="10538" y="3472"/>
                    <a:pt x="10526" y="3400"/>
                  </a:cubicBezTo>
                  <a:cubicBezTo>
                    <a:pt x="10467" y="2733"/>
                    <a:pt x="10181" y="2102"/>
                    <a:pt x="9693" y="1638"/>
                  </a:cubicBezTo>
                  <a:cubicBezTo>
                    <a:pt x="9943" y="1507"/>
                    <a:pt x="10157" y="1329"/>
                    <a:pt x="10312" y="1126"/>
                  </a:cubicBezTo>
                  <a:cubicBezTo>
                    <a:pt x="10693" y="650"/>
                    <a:pt x="10705" y="174"/>
                    <a:pt x="10705" y="150"/>
                  </a:cubicBezTo>
                  <a:cubicBezTo>
                    <a:pt x="10705" y="90"/>
                    <a:pt x="10669" y="55"/>
                    <a:pt x="10633" y="19"/>
                  </a:cubicBezTo>
                  <a:cubicBezTo>
                    <a:pt x="10609" y="7"/>
                    <a:pt x="10583" y="1"/>
                    <a:pt x="10554" y="1"/>
                  </a:cubicBezTo>
                  <a:cubicBezTo>
                    <a:pt x="10526" y="1"/>
                    <a:pt x="10496" y="7"/>
                    <a:pt x="10467" y="19"/>
                  </a:cubicBezTo>
                  <a:cubicBezTo>
                    <a:pt x="10038" y="233"/>
                    <a:pt x="9455" y="269"/>
                    <a:pt x="8859" y="316"/>
                  </a:cubicBezTo>
                  <a:cubicBezTo>
                    <a:pt x="8466" y="352"/>
                    <a:pt x="8062" y="376"/>
                    <a:pt x="7681" y="436"/>
                  </a:cubicBezTo>
                  <a:cubicBezTo>
                    <a:pt x="7002" y="150"/>
                    <a:pt x="6264" y="7"/>
                    <a:pt x="5525" y="7"/>
                  </a:cubicBezTo>
                  <a:cubicBezTo>
                    <a:pt x="4775" y="7"/>
                    <a:pt x="4049" y="150"/>
                    <a:pt x="3370" y="436"/>
                  </a:cubicBezTo>
                  <a:cubicBezTo>
                    <a:pt x="2978" y="364"/>
                    <a:pt x="2573" y="328"/>
                    <a:pt x="2192" y="316"/>
                  </a:cubicBezTo>
                  <a:cubicBezTo>
                    <a:pt x="1585" y="269"/>
                    <a:pt x="1001" y="245"/>
                    <a:pt x="584" y="19"/>
                  </a:cubicBezTo>
                  <a:cubicBezTo>
                    <a:pt x="561" y="7"/>
                    <a:pt x="534" y="1"/>
                    <a:pt x="5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2" name="Google Shape;12952;p63"/>
            <p:cNvSpPr/>
            <p:nvPr/>
          </p:nvSpPr>
          <p:spPr>
            <a:xfrm>
              <a:off x="1481357" y="2507634"/>
              <a:ext cx="54144" cy="65568"/>
            </a:xfrm>
            <a:custGeom>
              <a:avLst/>
              <a:gdLst/>
              <a:ahLst/>
              <a:cxnLst/>
              <a:rect l="l" t="t" r="r" b="b"/>
              <a:pathLst>
                <a:path w="1692" h="2049" extrusionOk="0">
                  <a:moveTo>
                    <a:pt x="846" y="322"/>
                  </a:moveTo>
                  <a:cubicBezTo>
                    <a:pt x="1144" y="322"/>
                    <a:pt x="1382" y="560"/>
                    <a:pt x="1382" y="858"/>
                  </a:cubicBezTo>
                  <a:lnTo>
                    <a:pt x="1382" y="1191"/>
                  </a:lnTo>
                  <a:cubicBezTo>
                    <a:pt x="1382" y="1489"/>
                    <a:pt x="1144" y="1727"/>
                    <a:pt x="846" y="1727"/>
                  </a:cubicBezTo>
                  <a:cubicBezTo>
                    <a:pt x="549" y="1727"/>
                    <a:pt x="311" y="1489"/>
                    <a:pt x="311" y="1191"/>
                  </a:cubicBezTo>
                  <a:lnTo>
                    <a:pt x="311" y="858"/>
                  </a:lnTo>
                  <a:cubicBezTo>
                    <a:pt x="311" y="560"/>
                    <a:pt x="549" y="322"/>
                    <a:pt x="846" y="322"/>
                  </a:cubicBezTo>
                  <a:close/>
                  <a:moveTo>
                    <a:pt x="846" y="1"/>
                  </a:moveTo>
                  <a:cubicBezTo>
                    <a:pt x="370" y="1"/>
                    <a:pt x="1" y="393"/>
                    <a:pt x="1" y="858"/>
                  </a:cubicBezTo>
                  <a:lnTo>
                    <a:pt x="1" y="1191"/>
                  </a:lnTo>
                  <a:cubicBezTo>
                    <a:pt x="1" y="1667"/>
                    <a:pt x="382" y="2048"/>
                    <a:pt x="846" y="2048"/>
                  </a:cubicBezTo>
                  <a:cubicBezTo>
                    <a:pt x="1323" y="2048"/>
                    <a:pt x="1692" y="1656"/>
                    <a:pt x="1692" y="1191"/>
                  </a:cubicBezTo>
                  <a:lnTo>
                    <a:pt x="1692" y="858"/>
                  </a:lnTo>
                  <a:cubicBezTo>
                    <a:pt x="1692" y="382"/>
                    <a:pt x="1323" y="1"/>
                    <a:pt x="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3" name="Google Shape;12953;p63"/>
            <p:cNvSpPr/>
            <p:nvPr/>
          </p:nvSpPr>
          <p:spPr>
            <a:xfrm>
              <a:off x="1625389" y="2507634"/>
              <a:ext cx="54528" cy="65568"/>
            </a:xfrm>
            <a:custGeom>
              <a:avLst/>
              <a:gdLst/>
              <a:ahLst/>
              <a:cxnLst/>
              <a:rect l="l" t="t" r="r" b="b"/>
              <a:pathLst>
                <a:path w="1704" h="2049" extrusionOk="0">
                  <a:moveTo>
                    <a:pt x="834" y="322"/>
                  </a:moveTo>
                  <a:cubicBezTo>
                    <a:pt x="1132" y="322"/>
                    <a:pt x="1370" y="560"/>
                    <a:pt x="1370" y="858"/>
                  </a:cubicBezTo>
                  <a:lnTo>
                    <a:pt x="1370" y="1191"/>
                  </a:lnTo>
                  <a:cubicBezTo>
                    <a:pt x="1370" y="1489"/>
                    <a:pt x="1132" y="1727"/>
                    <a:pt x="834" y="1727"/>
                  </a:cubicBezTo>
                  <a:cubicBezTo>
                    <a:pt x="536" y="1727"/>
                    <a:pt x="298" y="1489"/>
                    <a:pt x="298" y="1191"/>
                  </a:cubicBezTo>
                  <a:lnTo>
                    <a:pt x="298" y="858"/>
                  </a:lnTo>
                  <a:cubicBezTo>
                    <a:pt x="298" y="560"/>
                    <a:pt x="536" y="322"/>
                    <a:pt x="834" y="322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3"/>
                    <a:pt x="1" y="858"/>
                  </a:cubicBezTo>
                  <a:lnTo>
                    <a:pt x="1" y="1191"/>
                  </a:lnTo>
                  <a:cubicBezTo>
                    <a:pt x="1" y="1667"/>
                    <a:pt x="393" y="2048"/>
                    <a:pt x="858" y="2048"/>
                  </a:cubicBezTo>
                  <a:cubicBezTo>
                    <a:pt x="1334" y="2048"/>
                    <a:pt x="1703" y="1656"/>
                    <a:pt x="1703" y="1191"/>
                  </a:cubicBezTo>
                  <a:lnTo>
                    <a:pt x="1703" y="858"/>
                  </a:lnTo>
                  <a:cubicBezTo>
                    <a:pt x="1703" y="382"/>
                    <a:pt x="1310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4" name="Google Shape;12954;p63"/>
            <p:cNvSpPr/>
            <p:nvPr/>
          </p:nvSpPr>
          <p:spPr>
            <a:xfrm>
              <a:off x="1503085" y="2529746"/>
              <a:ext cx="10688" cy="21344"/>
            </a:xfrm>
            <a:custGeom>
              <a:avLst/>
              <a:gdLst/>
              <a:ahLst/>
              <a:cxnLst/>
              <a:rect l="l" t="t" r="r" b="b"/>
              <a:pathLst>
                <a:path w="334" h="667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5"/>
                    <a:pt x="72" y="667"/>
                    <a:pt x="167" y="667"/>
                  </a:cubicBezTo>
                  <a:cubicBezTo>
                    <a:pt x="251" y="667"/>
                    <a:pt x="334" y="595"/>
                    <a:pt x="334" y="500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5" name="Google Shape;12955;p63"/>
            <p:cNvSpPr/>
            <p:nvPr/>
          </p:nvSpPr>
          <p:spPr>
            <a:xfrm>
              <a:off x="1647501" y="2529746"/>
              <a:ext cx="10304" cy="21344"/>
            </a:xfrm>
            <a:custGeom>
              <a:avLst/>
              <a:gdLst/>
              <a:ahLst/>
              <a:cxnLst/>
              <a:rect l="l" t="t" r="r" b="b"/>
              <a:pathLst>
                <a:path w="322" h="667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500"/>
                  </a:lnTo>
                  <a:cubicBezTo>
                    <a:pt x="0" y="595"/>
                    <a:pt x="72" y="667"/>
                    <a:pt x="167" y="667"/>
                  </a:cubicBezTo>
                  <a:cubicBezTo>
                    <a:pt x="250" y="667"/>
                    <a:pt x="322" y="595"/>
                    <a:pt x="322" y="500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6" name="Google Shape;12956;p63"/>
          <p:cNvGrpSpPr/>
          <p:nvPr/>
        </p:nvGrpSpPr>
        <p:grpSpPr>
          <a:xfrm>
            <a:off x="854253" y="2428274"/>
            <a:ext cx="355104" cy="351040"/>
            <a:chOff x="854253" y="2428274"/>
            <a:chExt cx="355104" cy="351040"/>
          </a:xfrm>
        </p:grpSpPr>
        <p:sp>
          <p:nvSpPr>
            <p:cNvPr id="12957" name="Google Shape;12957;p63"/>
            <p:cNvSpPr/>
            <p:nvPr/>
          </p:nvSpPr>
          <p:spPr>
            <a:xfrm>
              <a:off x="854253" y="2428274"/>
              <a:ext cx="355104" cy="351040"/>
            </a:xfrm>
            <a:custGeom>
              <a:avLst/>
              <a:gdLst/>
              <a:ahLst/>
              <a:cxnLst/>
              <a:rect l="l" t="t" r="r" b="b"/>
              <a:pathLst>
                <a:path w="11097" h="10970" extrusionOk="0">
                  <a:moveTo>
                    <a:pt x="2584" y="7660"/>
                  </a:moveTo>
                  <a:cubicBezTo>
                    <a:pt x="2870" y="7660"/>
                    <a:pt x="3132" y="7803"/>
                    <a:pt x="3286" y="8017"/>
                  </a:cubicBezTo>
                  <a:cubicBezTo>
                    <a:pt x="3179" y="8934"/>
                    <a:pt x="2417" y="9124"/>
                    <a:pt x="2370" y="9124"/>
                  </a:cubicBezTo>
                  <a:cubicBezTo>
                    <a:pt x="2286" y="9136"/>
                    <a:pt x="2239" y="9219"/>
                    <a:pt x="2251" y="9315"/>
                  </a:cubicBezTo>
                  <a:cubicBezTo>
                    <a:pt x="2262" y="9386"/>
                    <a:pt x="2346" y="9434"/>
                    <a:pt x="2417" y="9434"/>
                  </a:cubicBezTo>
                  <a:lnTo>
                    <a:pt x="2465" y="9434"/>
                  </a:lnTo>
                  <a:cubicBezTo>
                    <a:pt x="2477" y="9434"/>
                    <a:pt x="2727" y="9374"/>
                    <a:pt x="3001" y="9172"/>
                  </a:cubicBezTo>
                  <a:cubicBezTo>
                    <a:pt x="3144" y="9053"/>
                    <a:pt x="3346" y="8874"/>
                    <a:pt x="3453" y="8600"/>
                  </a:cubicBezTo>
                  <a:lnTo>
                    <a:pt x="3453" y="8600"/>
                  </a:lnTo>
                  <a:cubicBezTo>
                    <a:pt x="3394" y="9350"/>
                    <a:pt x="2774" y="9946"/>
                    <a:pt x="2001" y="9946"/>
                  </a:cubicBezTo>
                  <a:cubicBezTo>
                    <a:pt x="1548" y="9946"/>
                    <a:pt x="1179" y="9565"/>
                    <a:pt x="1179" y="9124"/>
                  </a:cubicBezTo>
                  <a:cubicBezTo>
                    <a:pt x="1179" y="8898"/>
                    <a:pt x="1274" y="8708"/>
                    <a:pt x="1417" y="8541"/>
                  </a:cubicBezTo>
                  <a:lnTo>
                    <a:pt x="2298" y="7660"/>
                  </a:lnTo>
                  <a:close/>
                  <a:moveTo>
                    <a:pt x="6251" y="0"/>
                  </a:moveTo>
                  <a:cubicBezTo>
                    <a:pt x="6168" y="0"/>
                    <a:pt x="6086" y="24"/>
                    <a:pt x="6013" y="76"/>
                  </a:cubicBezTo>
                  <a:cubicBezTo>
                    <a:pt x="5203" y="516"/>
                    <a:pt x="4644" y="1230"/>
                    <a:pt x="4453" y="1504"/>
                  </a:cubicBezTo>
                  <a:lnTo>
                    <a:pt x="4370" y="1457"/>
                  </a:lnTo>
                  <a:cubicBezTo>
                    <a:pt x="4300" y="1423"/>
                    <a:pt x="4225" y="1407"/>
                    <a:pt x="4152" y="1407"/>
                  </a:cubicBezTo>
                  <a:cubicBezTo>
                    <a:pt x="3988" y="1407"/>
                    <a:pt x="3829" y="1487"/>
                    <a:pt x="3739" y="1635"/>
                  </a:cubicBezTo>
                  <a:cubicBezTo>
                    <a:pt x="3132" y="2552"/>
                    <a:pt x="3084" y="3981"/>
                    <a:pt x="3084" y="4207"/>
                  </a:cubicBezTo>
                  <a:cubicBezTo>
                    <a:pt x="3013" y="4397"/>
                    <a:pt x="2941" y="4600"/>
                    <a:pt x="2893" y="4802"/>
                  </a:cubicBezTo>
                  <a:cubicBezTo>
                    <a:pt x="2465" y="4862"/>
                    <a:pt x="1929" y="4993"/>
                    <a:pt x="1417" y="5267"/>
                  </a:cubicBezTo>
                  <a:cubicBezTo>
                    <a:pt x="1000" y="5493"/>
                    <a:pt x="679" y="5755"/>
                    <a:pt x="441" y="6088"/>
                  </a:cubicBezTo>
                  <a:cubicBezTo>
                    <a:pt x="155" y="6481"/>
                    <a:pt x="0" y="6957"/>
                    <a:pt x="0" y="7493"/>
                  </a:cubicBezTo>
                  <a:cubicBezTo>
                    <a:pt x="0" y="7588"/>
                    <a:pt x="84" y="7660"/>
                    <a:pt x="167" y="7660"/>
                  </a:cubicBezTo>
                  <a:lnTo>
                    <a:pt x="1846" y="7660"/>
                  </a:lnTo>
                  <a:lnTo>
                    <a:pt x="1191" y="8315"/>
                  </a:lnTo>
                  <a:cubicBezTo>
                    <a:pt x="977" y="8541"/>
                    <a:pt x="869" y="8827"/>
                    <a:pt x="869" y="9124"/>
                  </a:cubicBezTo>
                  <a:cubicBezTo>
                    <a:pt x="869" y="9743"/>
                    <a:pt x="1369" y="10267"/>
                    <a:pt x="2012" y="10267"/>
                  </a:cubicBezTo>
                  <a:cubicBezTo>
                    <a:pt x="2608" y="10267"/>
                    <a:pt x="3144" y="9970"/>
                    <a:pt x="3477" y="9505"/>
                  </a:cubicBezTo>
                  <a:lnTo>
                    <a:pt x="3477" y="10803"/>
                  </a:lnTo>
                  <a:cubicBezTo>
                    <a:pt x="3477" y="10886"/>
                    <a:pt x="3548" y="10970"/>
                    <a:pt x="3632" y="10970"/>
                  </a:cubicBezTo>
                  <a:cubicBezTo>
                    <a:pt x="3727" y="10970"/>
                    <a:pt x="3798" y="10886"/>
                    <a:pt x="3798" y="10803"/>
                  </a:cubicBezTo>
                  <a:lnTo>
                    <a:pt x="3798" y="8553"/>
                  </a:lnTo>
                  <a:lnTo>
                    <a:pt x="3798" y="8469"/>
                  </a:lnTo>
                  <a:cubicBezTo>
                    <a:pt x="3751" y="7838"/>
                    <a:pt x="3239" y="7362"/>
                    <a:pt x="2608" y="7362"/>
                  </a:cubicBezTo>
                  <a:lnTo>
                    <a:pt x="774" y="7362"/>
                  </a:lnTo>
                  <a:cubicBezTo>
                    <a:pt x="1239" y="7184"/>
                    <a:pt x="2084" y="6993"/>
                    <a:pt x="3655" y="6993"/>
                  </a:cubicBezTo>
                  <a:cubicBezTo>
                    <a:pt x="3739" y="6993"/>
                    <a:pt x="3810" y="6922"/>
                    <a:pt x="3810" y="6826"/>
                  </a:cubicBezTo>
                  <a:cubicBezTo>
                    <a:pt x="3810" y="6743"/>
                    <a:pt x="3739" y="6660"/>
                    <a:pt x="3655" y="6660"/>
                  </a:cubicBezTo>
                  <a:cubicBezTo>
                    <a:pt x="1703" y="6660"/>
                    <a:pt x="774" y="6957"/>
                    <a:pt x="357" y="7184"/>
                  </a:cubicBezTo>
                  <a:cubicBezTo>
                    <a:pt x="453" y="6481"/>
                    <a:pt x="869" y="5933"/>
                    <a:pt x="1572" y="5564"/>
                  </a:cubicBezTo>
                  <a:cubicBezTo>
                    <a:pt x="2239" y="5207"/>
                    <a:pt x="3013" y="5112"/>
                    <a:pt x="3417" y="5088"/>
                  </a:cubicBezTo>
                  <a:cubicBezTo>
                    <a:pt x="3489" y="5088"/>
                    <a:pt x="3560" y="5112"/>
                    <a:pt x="3596" y="5195"/>
                  </a:cubicBezTo>
                  <a:cubicBezTo>
                    <a:pt x="3691" y="5410"/>
                    <a:pt x="3894" y="5826"/>
                    <a:pt x="4013" y="6172"/>
                  </a:cubicBezTo>
                  <a:cubicBezTo>
                    <a:pt x="4032" y="6248"/>
                    <a:pt x="4096" y="6286"/>
                    <a:pt x="4164" y="6286"/>
                  </a:cubicBezTo>
                  <a:cubicBezTo>
                    <a:pt x="4181" y="6286"/>
                    <a:pt x="4198" y="6283"/>
                    <a:pt x="4215" y="6279"/>
                  </a:cubicBezTo>
                  <a:cubicBezTo>
                    <a:pt x="4310" y="6243"/>
                    <a:pt x="4346" y="6160"/>
                    <a:pt x="4322" y="6064"/>
                  </a:cubicBezTo>
                  <a:cubicBezTo>
                    <a:pt x="4203" y="5731"/>
                    <a:pt x="4025" y="5326"/>
                    <a:pt x="3894" y="5040"/>
                  </a:cubicBezTo>
                  <a:cubicBezTo>
                    <a:pt x="3803" y="4860"/>
                    <a:pt x="3627" y="4754"/>
                    <a:pt x="3426" y="4754"/>
                  </a:cubicBezTo>
                  <a:cubicBezTo>
                    <a:pt x="3415" y="4754"/>
                    <a:pt x="3404" y="4754"/>
                    <a:pt x="3394" y="4755"/>
                  </a:cubicBezTo>
                  <a:cubicBezTo>
                    <a:pt x="3358" y="4755"/>
                    <a:pt x="3310" y="4755"/>
                    <a:pt x="3251" y="4778"/>
                  </a:cubicBezTo>
                  <a:cubicBezTo>
                    <a:pt x="3453" y="4005"/>
                    <a:pt x="3906" y="3314"/>
                    <a:pt x="4525" y="2814"/>
                  </a:cubicBezTo>
                  <a:cubicBezTo>
                    <a:pt x="5215" y="2254"/>
                    <a:pt x="6061" y="1957"/>
                    <a:pt x="6942" y="1957"/>
                  </a:cubicBezTo>
                  <a:cubicBezTo>
                    <a:pt x="7585" y="1957"/>
                    <a:pt x="8204" y="2123"/>
                    <a:pt x="8775" y="2421"/>
                  </a:cubicBezTo>
                  <a:cubicBezTo>
                    <a:pt x="8800" y="2437"/>
                    <a:pt x="8828" y="2445"/>
                    <a:pt x="8857" y="2445"/>
                  </a:cubicBezTo>
                  <a:cubicBezTo>
                    <a:pt x="8912" y="2445"/>
                    <a:pt x="8966" y="2416"/>
                    <a:pt x="8989" y="2362"/>
                  </a:cubicBezTo>
                  <a:cubicBezTo>
                    <a:pt x="9037" y="2290"/>
                    <a:pt x="9013" y="2183"/>
                    <a:pt x="8930" y="2147"/>
                  </a:cubicBezTo>
                  <a:cubicBezTo>
                    <a:pt x="8323" y="1814"/>
                    <a:pt x="7644" y="1635"/>
                    <a:pt x="6954" y="1635"/>
                  </a:cubicBezTo>
                  <a:cubicBezTo>
                    <a:pt x="6001" y="1635"/>
                    <a:pt x="5084" y="1969"/>
                    <a:pt x="4334" y="2564"/>
                  </a:cubicBezTo>
                  <a:cubicBezTo>
                    <a:pt x="4013" y="2826"/>
                    <a:pt x="3727" y="3135"/>
                    <a:pt x="3501" y="3481"/>
                  </a:cubicBezTo>
                  <a:cubicBezTo>
                    <a:pt x="3572" y="2981"/>
                    <a:pt x="3727" y="2302"/>
                    <a:pt x="4036" y="1814"/>
                  </a:cubicBezTo>
                  <a:cubicBezTo>
                    <a:pt x="4070" y="1764"/>
                    <a:pt x="4132" y="1743"/>
                    <a:pt x="4191" y="1743"/>
                  </a:cubicBezTo>
                  <a:cubicBezTo>
                    <a:pt x="4216" y="1743"/>
                    <a:pt x="4241" y="1747"/>
                    <a:pt x="4263" y="1754"/>
                  </a:cubicBezTo>
                  <a:lnTo>
                    <a:pt x="4465" y="1850"/>
                  </a:lnTo>
                  <a:cubicBezTo>
                    <a:pt x="4487" y="1856"/>
                    <a:pt x="4508" y="1859"/>
                    <a:pt x="4529" y="1859"/>
                  </a:cubicBezTo>
                  <a:cubicBezTo>
                    <a:pt x="4589" y="1859"/>
                    <a:pt x="4644" y="1834"/>
                    <a:pt x="4679" y="1790"/>
                  </a:cubicBezTo>
                  <a:cubicBezTo>
                    <a:pt x="4679" y="1766"/>
                    <a:pt x="5275" y="861"/>
                    <a:pt x="6215" y="337"/>
                  </a:cubicBezTo>
                  <a:cubicBezTo>
                    <a:pt x="6236" y="324"/>
                    <a:pt x="6261" y="318"/>
                    <a:pt x="6288" y="318"/>
                  </a:cubicBezTo>
                  <a:cubicBezTo>
                    <a:pt x="6307" y="318"/>
                    <a:pt x="6327" y="321"/>
                    <a:pt x="6346" y="326"/>
                  </a:cubicBezTo>
                  <a:cubicBezTo>
                    <a:pt x="6394" y="337"/>
                    <a:pt x="6430" y="373"/>
                    <a:pt x="6465" y="421"/>
                  </a:cubicBezTo>
                  <a:lnTo>
                    <a:pt x="6656" y="802"/>
                  </a:lnTo>
                  <a:cubicBezTo>
                    <a:pt x="6668" y="849"/>
                    <a:pt x="6715" y="873"/>
                    <a:pt x="6751" y="897"/>
                  </a:cubicBezTo>
                  <a:cubicBezTo>
                    <a:pt x="6769" y="901"/>
                    <a:pt x="6784" y="904"/>
                    <a:pt x="6799" y="904"/>
                  </a:cubicBezTo>
                  <a:cubicBezTo>
                    <a:pt x="6825" y="904"/>
                    <a:pt x="6848" y="896"/>
                    <a:pt x="6870" y="873"/>
                  </a:cubicBezTo>
                  <a:cubicBezTo>
                    <a:pt x="6870" y="873"/>
                    <a:pt x="7585" y="504"/>
                    <a:pt x="8513" y="397"/>
                  </a:cubicBezTo>
                  <a:cubicBezTo>
                    <a:pt x="8585" y="397"/>
                    <a:pt x="8644" y="421"/>
                    <a:pt x="8668" y="457"/>
                  </a:cubicBezTo>
                  <a:cubicBezTo>
                    <a:pt x="8716" y="504"/>
                    <a:pt x="8728" y="564"/>
                    <a:pt x="8716" y="623"/>
                  </a:cubicBezTo>
                  <a:lnTo>
                    <a:pt x="8620" y="1052"/>
                  </a:lnTo>
                  <a:cubicBezTo>
                    <a:pt x="8608" y="1099"/>
                    <a:pt x="8620" y="1147"/>
                    <a:pt x="8656" y="1171"/>
                  </a:cubicBezTo>
                  <a:cubicBezTo>
                    <a:pt x="8680" y="1207"/>
                    <a:pt x="8716" y="1230"/>
                    <a:pt x="8751" y="1254"/>
                  </a:cubicBezTo>
                  <a:cubicBezTo>
                    <a:pt x="8775" y="1254"/>
                    <a:pt x="9740" y="1397"/>
                    <a:pt x="10466" y="1933"/>
                  </a:cubicBezTo>
                  <a:cubicBezTo>
                    <a:pt x="10513" y="1969"/>
                    <a:pt x="10537" y="2028"/>
                    <a:pt x="10537" y="2088"/>
                  </a:cubicBezTo>
                  <a:cubicBezTo>
                    <a:pt x="10537" y="2147"/>
                    <a:pt x="10513" y="2207"/>
                    <a:pt x="10466" y="2231"/>
                  </a:cubicBezTo>
                  <a:lnTo>
                    <a:pt x="9751" y="2719"/>
                  </a:lnTo>
                  <a:cubicBezTo>
                    <a:pt x="9680" y="2647"/>
                    <a:pt x="9585" y="2588"/>
                    <a:pt x="9513" y="2516"/>
                  </a:cubicBezTo>
                  <a:cubicBezTo>
                    <a:pt x="9482" y="2491"/>
                    <a:pt x="9445" y="2478"/>
                    <a:pt x="9408" y="2478"/>
                  </a:cubicBezTo>
                  <a:cubicBezTo>
                    <a:pt x="9360" y="2478"/>
                    <a:pt x="9314" y="2500"/>
                    <a:pt x="9287" y="2540"/>
                  </a:cubicBezTo>
                  <a:cubicBezTo>
                    <a:pt x="9228" y="2623"/>
                    <a:pt x="9251" y="2719"/>
                    <a:pt x="9323" y="2766"/>
                  </a:cubicBezTo>
                  <a:cubicBezTo>
                    <a:pt x="10240" y="3493"/>
                    <a:pt x="10764" y="4588"/>
                    <a:pt x="10764" y="5755"/>
                  </a:cubicBezTo>
                  <a:lnTo>
                    <a:pt x="10764" y="10791"/>
                  </a:lnTo>
                  <a:cubicBezTo>
                    <a:pt x="10764" y="10874"/>
                    <a:pt x="10835" y="10958"/>
                    <a:pt x="10930" y="10958"/>
                  </a:cubicBezTo>
                  <a:cubicBezTo>
                    <a:pt x="11014" y="10958"/>
                    <a:pt x="11097" y="10874"/>
                    <a:pt x="11097" y="10791"/>
                  </a:cubicBezTo>
                  <a:lnTo>
                    <a:pt x="11097" y="5755"/>
                  </a:lnTo>
                  <a:cubicBezTo>
                    <a:pt x="11061" y="4707"/>
                    <a:pt x="10668" y="3719"/>
                    <a:pt x="9966" y="2957"/>
                  </a:cubicBezTo>
                  <a:lnTo>
                    <a:pt x="10621" y="2504"/>
                  </a:lnTo>
                  <a:cubicBezTo>
                    <a:pt x="10752" y="2409"/>
                    <a:pt x="10847" y="2242"/>
                    <a:pt x="10847" y="2076"/>
                  </a:cubicBezTo>
                  <a:cubicBezTo>
                    <a:pt x="10847" y="1921"/>
                    <a:pt x="10764" y="1766"/>
                    <a:pt x="10633" y="1659"/>
                  </a:cubicBezTo>
                  <a:cubicBezTo>
                    <a:pt x="10013" y="1219"/>
                    <a:pt x="9275" y="1028"/>
                    <a:pt x="8954" y="945"/>
                  </a:cubicBezTo>
                  <a:lnTo>
                    <a:pt x="9013" y="683"/>
                  </a:lnTo>
                  <a:cubicBezTo>
                    <a:pt x="9037" y="516"/>
                    <a:pt x="9001" y="349"/>
                    <a:pt x="8894" y="230"/>
                  </a:cubicBezTo>
                  <a:cubicBezTo>
                    <a:pt x="8803" y="129"/>
                    <a:pt x="8668" y="70"/>
                    <a:pt x="8526" y="70"/>
                  </a:cubicBezTo>
                  <a:cubicBezTo>
                    <a:pt x="8502" y="70"/>
                    <a:pt x="8478" y="72"/>
                    <a:pt x="8454" y="76"/>
                  </a:cubicBezTo>
                  <a:cubicBezTo>
                    <a:pt x="7704" y="147"/>
                    <a:pt x="7108" y="385"/>
                    <a:pt x="6834" y="516"/>
                  </a:cubicBezTo>
                  <a:lnTo>
                    <a:pt x="6715" y="278"/>
                  </a:lnTo>
                  <a:cubicBezTo>
                    <a:pt x="6656" y="159"/>
                    <a:pt x="6537" y="52"/>
                    <a:pt x="6406" y="28"/>
                  </a:cubicBezTo>
                  <a:cubicBezTo>
                    <a:pt x="6355" y="10"/>
                    <a:pt x="6303" y="0"/>
                    <a:pt x="6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8" name="Google Shape;12958;p63"/>
            <p:cNvSpPr/>
            <p:nvPr/>
          </p:nvSpPr>
          <p:spPr>
            <a:xfrm>
              <a:off x="1003597" y="2557554"/>
              <a:ext cx="49568" cy="60608"/>
            </a:xfrm>
            <a:custGeom>
              <a:avLst/>
              <a:gdLst/>
              <a:ahLst/>
              <a:cxnLst/>
              <a:rect l="l" t="t" r="r" b="b"/>
              <a:pathLst>
                <a:path w="1549" h="1894" extrusionOk="0">
                  <a:moveTo>
                    <a:pt x="774" y="0"/>
                  </a:moveTo>
                  <a:cubicBezTo>
                    <a:pt x="358" y="0"/>
                    <a:pt x="1" y="346"/>
                    <a:pt x="1" y="774"/>
                  </a:cubicBezTo>
                  <a:lnTo>
                    <a:pt x="1" y="1119"/>
                  </a:lnTo>
                  <a:cubicBezTo>
                    <a:pt x="1" y="1536"/>
                    <a:pt x="346" y="1893"/>
                    <a:pt x="774" y="1893"/>
                  </a:cubicBezTo>
                  <a:cubicBezTo>
                    <a:pt x="1203" y="1893"/>
                    <a:pt x="1548" y="1548"/>
                    <a:pt x="1548" y="1119"/>
                  </a:cubicBezTo>
                  <a:lnTo>
                    <a:pt x="1548" y="774"/>
                  </a:lnTo>
                  <a:cubicBezTo>
                    <a:pt x="1548" y="643"/>
                    <a:pt x="1513" y="548"/>
                    <a:pt x="1477" y="441"/>
                  </a:cubicBezTo>
                  <a:cubicBezTo>
                    <a:pt x="1443" y="389"/>
                    <a:pt x="1383" y="350"/>
                    <a:pt x="1322" y="350"/>
                  </a:cubicBezTo>
                  <a:cubicBezTo>
                    <a:pt x="1298" y="350"/>
                    <a:pt x="1274" y="356"/>
                    <a:pt x="1251" y="369"/>
                  </a:cubicBezTo>
                  <a:cubicBezTo>
                    <a:pt x="1179" y="405"/>
                    <a:pt x="1132" y="500"/>
                    <a:pt x="1179" y="584"/>
                  </a:cubicBezTo>
                  <a:cubicBezTo>
                    <a:pt x="1203" y="643"/>
                    <a:pt x="1215" y="703"/>
                    <a:pt x="1215" y="786"/>
                  </a:cubicBezTo>
                  <a:lnTo>
                    <a:pt x="1215" y="1119"/>
                  </a:lnTo>
                  <a:cubicBezTo>
                    <a:pt x="1215" y="1358"/>
                    <a:pt x="1024" y="1572"/>
                    <a:pt x="774" y="1572"/>
                  </a:cubicBezTo>
                  <a:cubicBezTo>
                    <a:pt x="536" y="1572"/>
                    <a:pt x="322" y="1381"/>
                    <a:pt x="322" y="1119"/>
                  </a:cubicBezTo>
                  <a:lnTo>
                    <a:pt x="322" y="786"/>
                  </a:lnTo>
                  <a:cubicBezTo>
                    <a:pt x="322" y="548"/>
                    <a:pt x="524" y="334"/>
                    <a:pt x="774" y="334"/>
                  </a:cubicBezTo>
                  <a:cubicBezTo>
                    <a:pt x="858" y="334"/>
                    <a:pt x="941" y="262"/>
                    <a:pt x="941" y="167"/>
                  </a:cubicBezTo>
                  <a:cubicBezTo>
                    <a:pt x="941" y="84"/>
                    <a:pt x="858" y="0"/>
                    <a:pt x="7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9" name="Google Shape;12959;p63"/>
          <p:cNvGrpSpPr/>
          <p:nvPr/>
        </p:nvGrpSpPr>
        <p:grpSpPr>
          <a:xfrm>
            <a:off x="6896909" y="2440946"/>
            <a:ext cx="354752" cy="275904"/>
            <a:chOff x="6896909" y="2440946"/>
            <a:chExt cx="354752" cy="275904"/>
          </a:xfrm>
        </p:grpSpPr>
        <p:sp>
          <p:nvSpPr>
            <p:cNvPr id="12960" name="Google Shape;12960;p63"/>
            <p:cNvSpPr/>
            <p:nvPr/>
          </p:nvSpPr>
          <p:spPr>
            <a:xfrm>
              <a:off x="7052365" y="2573938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12" y="346"/>
                  </a:moveTo>
                  <a:cubicBezTo>
                    <a:pt x="607" y="346"/>
                    <a:pt x="691" y="429"/>
                    <a:pt x="691" y="524"/>
                  </a:cubicBezTo>
                  <a:cubicBezTo>
                    <a:pt x="691" y="607"/>
                    <a:pt x="607" y="703"/>
                    <a:pt x="512" y="703"/>
                  </a:cubicBezTo>
                  <a:cubicBezTo>
                    <a:pt x="405" y="703"/>
                    <a:pt x="334" y="607"/>
                    <a:pt x="334" y="524"/>
                  </a:cubicBezTo>
                  <a:cubicBezTo>
                    <a:pt x="334" y="429"/>
                    <a:pt x="417" y="346"/>
                    <a:pt x="512" y="346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6"/>
                    <a:pt x="0" y="500"/>
                  </a:cubicBezTo>
                  <a:cubicBezTo>
                    <a:pt x="0" y="786"/>
                    <a:pt x="226" y="1012"/>
                    <a:pt x="512" y="1012"/>
                  </a:cubicBezTo>
                  <a:cubicBezTo>
                    <a:pt x="786" y="1012"/>
                    <a:pt x="1012" y="786"/>
                    <a:pt x="1012" y="500"/>
                  </a:cubicBezTo>
                  <a:cubicBezTo>
                    <a:pt x="1012" y="226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1" name="Google Shape;12961;p63"/>
            <p:cNvSpPr/>
            <p:nvPr/>
          </p:nvSpPr>
          <p:spPr>
            <a:xfrm>
              <a:off x="6896909" y="2440946"/>
              <a:ext cx="354752" cy="275904"/>
            </a:xfrm>
            <a:custGeom>
              <a:avLst/>
              <a:gdLst/>
              <a:ahLst/>
              <a:cxnLst/>
              <a:rect l="l" t="t" r="r" b="b"/>
              <a:pathLst>
                <a:path w="11086" h="8622" extrusionOk="0">
                  <a:moveTo>
                    <a:pt x="3882" y="4847"/>
                  </a:moveTo>
                  <a:cubicBezTo>
                    <a:pt x="3894" y="5049"/>
                    <a:pt x="3953" y="5454"/>
                    <a:pt x="4132" y="5883"/>
                  </a:cubicBezTo>
                  <a:cubicBezTo>
                    <a:pt x="4370" y="6466"/>
                    <a:pt x="4870" y="7192"/>
                    <a:pt x="5930" y="7502"/>
                  </a:cubicBezTo>
                  <a:cubicBezTo>
                    <a:pt x="5942" y="7538"/>
                    <a:pt x="5965" y="7550"/>
                    <a:pt x="5977" y="7585"/>
                  </a:cubicBezTo>
                  <a:cubicBezTo>
                    <a:pt x="4668" y="7585"/>
                    <a:pt x="3441" y="6823"/>
                    <a:pt x="2846" y="5645"/>
                  </a:cubicBezTo>
                  <a:cubicBezTo>
                    <a:pt x="2820" y="5592"/>
                    <a:pt x="2762" y="5559"/>
                    <a:pt x="2700" y="5559"/>
                  </a:cubicBezTo>
                  <a:cubicBezTo>
                    <a:pt x="2677" y="5559"/>
                    <a:pt x="2654" y="5564"/>
                    <a:pt x="2632" y="5573"/>
                  </a:cubicBezTo>
                  <a:cubicBezTo>
                    <a:pt x="2489" y="5597"/>
                    <a:pt x="2465" y="5704"/>
                    <a:pt x="2513" y="5776"/>
                  </a:cubicBezTo>
                  <a:cubicBezTo>
                    <a:pt x="2834" y="6418"/>
                    <a:pt x="3322" y="6942"/>
                    <a:pt x="3941" y="7323"/>
                  </a:cubicBezTo>
                  <a:cubicBezTo>
                    <a:pt x="4275" y="7538"/>
                    <a:pt x="4644" y="7681"/>
                    <a:pt x="5037" y="7788"/>
                  </a:cubicBezTo>
                  <a:cubicBezTo>
                    <a:pt x="4967" y="7792"/>
                    <a:pt x="4898" y="7794"/>
                    <a:pt x="4829" y="7794"/>
                  </a:cubicBezTo>
                  <a:cubicBezTo>
                    <a:pt x="4067" y="7794"/>
                    <a:pt x="3326" y="7554"/>
                    <a:pt x="2715" y="7073"/>
                  </a:cubicBezTo>
                  <a:cubicBezTo>
                    <a:pt x="1989" y="6526"/>
                    <a:pt x="1512" y="5740"/>
                    <a:pt x="1358" y="4847"/>
                  </a:cubicBezTo>
                  <a:lnTo>
                    <a:pt x="2191" y="4847"/>
                  </a:lnTo>
                  <a:cubicBezTo>
                    <a:pt x="2215" y="4918"/>
                    <a:pt x="2227" y="4990"/>
                    <a:pt x="2251" y="5061"/>
                  </a:cubicBezTo>
                  <a:cubicBezTo>
                    <a:pt x="2274" y="5144"/>
                    <a:pt x="2346" y="5180"/>
                    <a:pt x="2417" y="5180"/>
                  </a:cubicBezTo>
                  <a:lnTo>
                    <a:pt x="2465" y="5180"/>
                  </a:lnTo>
                  <a:cubicBezTo>
                    <a:pt x="2548" y="5156"/>
                    <a:pt x="2596" y="5061"/>
                    <a:pt x="2584" y="4990"/>
                  </a:cubicBezTo>
                  <a:cubicBezTo>
                    <a:pt x="2572" y="4942"/>
                    <a:pt x="2548" y="4906"/>
                    <a:pt x="2548" y="4847"/>
                  </a:cubicBezTo>
                  <a:close/>
                  <a:moveTo>
                    <a:pt x="1001" y="4823"/>
                  </a:moveTo>
                  <a:cubicBezTo>
                    <a:pt x="1155" y="5823"/>
                    <a:pt x="1679" y="6704"/>
                    <a:pt x="2489" y="7323"/>
                  </a:cubicBezTo>
                  <a:cubicBezTo>
                    <a:pt x="2953" y="7681"/>
                    <a:pt x="3477" y="7919"/>
                    <a:pt x="4025" y="8026"/>
                  </a:cubicBezTo>
                  <a:cubicBezTo>
                    <a:pt x="3959" y="8030"/>
                    <a:pt x="3893" y="8032"/>
                    <a:pt x="3827" y="8032"/>
                  </a:cubicBezTo>
                  <a:cubicBezTo>
                    <a:pt x="3076" y="8032"/>
                    <a:pt x="2350" y="7782"/>
                    <a:pt x="1715" y="7311"/>
                  </a:cubicBezTo>
                  <a:cubicBezTo>
                    <a:pt x="929" y="6704"/>
                    <a:pt x="441" y="5811"/>
                    <a:pt x="334" y="4823"/>
                  </a:cubicBezTo>
                  <a:close/>
                  <a:moveTo>
                    <a:pt x="6858" y="370"/>
                  </a:moveTo>
                  <a:lnTo>
                    <a:pt x="6858" y="370"/>
                  </a:lnTo>
                  <a:cubicBezTo>
                    <a:pt x="7585" y="572"/>
                    <a:pt x="7823" y="1227"/>
                    <a:pt x="7835" y="1251"/>
                  </a:cubicBezTo>
                  <a:cubicBezTo>
                    <a:pt x="7847" y="1311"/>
                    <a:pt x="7930" y="1358"/>
                    <a:pt x="7989" y="1358"/>
                  </a:cubicBezTo>
                  <a:lnTo>
                    <a:pt x="8168" y="1358"/>
                  </a:lnTo>
                  <a:cubicBezTo>
                    <a:pt x="9609" y="1358"/>
                    <a:pt x="10764" y="2537"/>
                    <a:pt x="10764" y="3966"/>
                  </a:cubicBezTo>
                  <a:cubicBezTo>
                    <a:pt x="10752" y="5335"/>
                    <a:pt x="9835" y="6526"/>
                    <a:pt x="8537" y="6883"/>
                  </a:cubicBezTo>
                  <a:lnTo>
                    <a:pt x="7525" y="7169"/>
                  </a:lnTo>
                  <a:lnTo>
                    <a:pt x="7454" y="6716"/>
                  </a:lnTo>
                  <a:cubicBezTo>
                    <a:pt x="7432" y="6630"/>
                    <a:pt x="7363" y="6583"/>
                    <a:pt x="7280" y="6583"/>
                  </a:cubicBezTo>
                  <a:cubicBezTo>
                    <a:pt x="7270" y="6583"/>
                    <a:pt x="7261" y="6584"/>
                    <a:pt x="7251" y="6585"/>
                  </a:cubicBezTo>
                  <a:cubicBezTo>
                    <a:pt x="7168" y="6597"/>
                    <a:pt x="7108" y="6692"/>
                    <a:pt x="7120" y="6776"/>
                  </a:cubicBezTo>
                  <a:lnTo>
                    <a:pt x="7358" y="8073"/>
                  </a:lnTo>
                  <a:cubicBezTo>
                    <a:pt x="7370" y="8145"/>
                    <a:pt x="7347" y="8204"/>
                    <a:pt x="7287" y="8252"/>
                  </a:cubicBezTo>
                  <a:cubicBezTo>
                    <a:pt x="7255" y="8278"/>
                    <a:pt x="7216" y="8289"/>
                    <a:pt x="7180" y="8289"/>
                  </a:cubicBezTo>
                  <a:cubicBezTo>
                    <a:pt x="7148" y="8289"/>
                    <a:pt x="7119" y="8280"/>
                    <a:pt x="7097" y="8264"/>
                  </a:cubicBezTo>
                  <a:cubicBezTo>
                    <a:pt x="6287" y="7823"/>
                    <a:pt x="6049" y="7061"/>
                    <a:pt x="6049" y="7049"/>
                  </a:cubicBezTo>
                  <a:cubicBezTo>
                    <a:pt x="6030" y="6976"/>
                    <a:pt x="5969" y="6930"/>
                    <a:pt x="5909" y="6930"/>
                  </a:cubicBezTo>
                  <a:cubicBezTo>
                    <a:pt x="5892" y="6930"/>
                    <a:pt x="5874" y="6934"/>
                    <a:pt x="5858" y="6942"/>
                  </a:cubicBezTo>
                  <a:cubicBezTo>
                    <a:pt x="5787" y="6954"/>
                    <a:pt x="5739" y="7026"/>
                    <a:pt x="5739" y="7109"/>
                  </a:cubicBezTo>
                  <a:cubicBezTo>
                    <a:pt x="5108" y="6847"/>
                    <a:pt x="4668" y="6407"/>
                    <a:pt x="4394" y="5764"/>
                  </a:cubicBezTo>
                  <a:cubicBezTo>
                    <a:pt x="4239" y="5395"/>
                    <a:pt x="4191" y="5037"/>
                    <a:pt x="4156" y="4847"/>
                  </a:cubicBezTo>
                  <a:lnTo>
                    <a:pt x="4334" y="4847"/>
                  </a:lnTo>
                  <a:cubicBezTo>
                    <a:pt x="4430" y="4847"/>
                    <a:pt x="4501" y="4763"/>
                    <a:pt x="4501" y="4680"/>
                  </a:cubicBezTo>
                  <a:cubicBezTo>
                    <a:pt x="4501" y="4585"/>
                    <a:pt x="4430" y="4513"/>
                    <a:pt x="4334" y="4513"/>
                  </a:cubicBezTo>
                  <a:lnTo>
                    <a:pt x="334" y="4513"/>
                  </a:lnTo>
                  <a:lnTo>
                    <a:pt x="334" y="4502"/>
                  </a:lnTo>
                  <a:cubicBezTo>
                    <a:pt x="334" y="4204"/>
                    <a:pt x="572" y="3966"/>
                    <a:pt x="870" y="3966"/>
                  </a:cubicBezTo>
                  <a:lnTo>
                    <a:pt x="8418" y="3966"/>
                  </a:lnTo>
                  <a:cubicBezTo>
                    <a:pt x="9025" y="3966"/>
                    <a:pt x="9537" y="3454"/>
                    <a:pt x="9537" y="2847"/>
                  </a:cubicBezTo>
                  <a:cubicBezTo>
                    <a:pt x="9537" y="2239"/>
                    <a:pt x="9025" y="1727"/>
                    <a:pt x="8418" y="1727"/>
                  </a:cubicBezTo>
                  <a:lnTo>
                    <a:pt x="7989" y="1727"/>
                  </a:lnTo>
                  <a:cubicBezTo>
                    <a:pt x="7906" y="1727"/>
                    <a:pt x="7847" y="1775"/>
                    <a:pt x="7835" y="1835"/>
                  </a:cubicBezTo>
                  <a:cubicBezTo>
                    <a:pt x="7835" y="1846"/>
                    <a:pt x="7597" y="2525"/>
                    <a:pt x="6858" y="2716"/>
                  </a:cubicBezTo>
                  <a:cubicBezTo>
                    <a:pt x="6894" y="2573"/>
                    <a:pt x="6930" y="2394"/>
                    <a:pt x="6930" y="2156"/>
                  </a:cubicBezTo>
                  <a:cubicBezTo>
                    <a:pt x="6930" y="1823"/>
                    <a:pt x="7168" y="1704"/>
                    <a:pt x="7180" y="1704"/>
                  </a:cubicBezTo>
                  <a:cubicBezTo>
                    <a:pt x="7239" y="1668"/>
                    <a:pt x="7287" y="1608"/>
                    <a:pt x="7287" y="1549"/>
                  </a:cubicBezTo>
                  <a:cubicBezTo>
                    <a:pt x="7287" y="1489"/>
                    <a:pt x="7251" y="1430"/>
                    <a:pt x="7192" y="1406"/>
                  </a:cubicBezTo>
                  <a:cubicBezTo>
                    <a:pt x="7180" y="1406"/>
                    <a:pt x="6942" y="1287"/>
                    <a:pt x="6942" y="930"/>
                  </a:cubicBezTo>
                  <a:cubicBezTo>
                    <a:pt x="6942" y="692"/>
                    <a:pt x="6918" y="513"/>
                    <a:pt x="6858" y="370"/>
                  </a:cubicBezTo>
                  <a:close/>
                  <a:moveTo>
                    <a:pt x="6406" y="1"/>
                  </a:moveTo>
                  <a:cubicBezTo>
                    <a:pt x="6323" y="1"/>
                    <a:pt x="6239" y="72"/>
                    <a:pt x="6239" y="168"/>
                  </a:cubicBezTo>
                  <a:cubicBezTo>
                    <a:pt x="6239" y="263"/>
                    <a:pt x="6323" y="334"/>
                    <a:pt x="6394" y="334"/>
                  </a:cubicBezTo>
                  <a:cubicBezTo>
                    <a:pt x="6454" y="346"/>
                    <a:pt x="6585" y="465"/>
                    <a:pt x="6585" y="942"/>
                  </a:cubicBezTo>
                  <a:cubicBezTo>
                    <a:pt x="6585" y="1239"/>
                    <a:pt x="6704" y="1430"/>
                    <a:pt x="6823" y="1549"/>
                  </a:cubicBezTo>
                  <a:cubicBezTo>
                    <a:pt x="6704" y="1668"/>
                    <a:pt x="6585" y="1870"/>
                    <a:pt x="6585" y="2168"/>
                  </a:cubicBezTo>
                  <a:cubicBezTo>
                    <a:pt x="6585" y="2644"/>
                    <a:pt x="6454" y="2763"/>
                    <a:pt x="6394" y="2775"/>
                  </a:cubicBezTo>
                  <a:cubicBezTo>
                    <a:pt x="6299" y="2775"/>
                    <a:pt x="6239" y="2847"/>
                    <a:pt x="6239" y="2942"/>
                  </a:cubicBezTo>
                  <a:cubicBezTo>
                    <a:pt x="6239" y="3025"/>
                    <a:pt x="6323" y="3097"/>
                    <a:pt x="6406" y="3097"/>
                  </a:cubicBezTo>
                  <a:cubicBezTo>
                    <a:pt x="7097" y="3097"/>
                    <a:pt x="7525" y="2787"/>
                    <a:pt x="7763" y="2537"/>
                  </a:cubicBezTo>
                  <a:cubicBezTo>
                    <a:pt x="7918" y="2358"/>
                    <a:pt x="8025" y="2180"/>
                    <a:pt x="8073" y="2073"/>
                  </a:cubicBezTo>
                  <a:lnTo>
                    <a:pt x="8406" y="2073"/>
                  </a:lnTo>
                  <a:cubicBezTo>
                    <a:pt x="8835" y="2073"/>
                    <a:pt x="9192" y="2430"/>
                    <a:pt x="9192" y="2858"/>
                  </a:cubicBezTo>
                  <a:cubicBezTo>
                    <a:pt x="9192" y="3299"/>
                    <a:pt x="8835" y="3656"/>
                    <a:pt x="8406" y="3656"/>
                  </a:cubicBezTo>
                  <a:lnTo>
                    <a:pt x="858" y="3656"/>
                  </a:lnTo>
                  <a:cubicBezTo>
                    <a:pt x="381" y="3656"/>
                    <a:pt x="0" y="4037"/>
                    <a:pt x="0" y="4502"/>
                  </a:cubicBezTo>
                  <a:cubicBezTo>
                    <a:pt x="0" y="5716"/>
                    <a:pt x="560" y="6835"/>
                    <a:pt x="1524" y="7561"/>
                  </a:cubicBezTo>
                  <a:cubicBezTo>
                    <a:pt x="2203" y="8085"/>
                    <a:pt x="3025" y="8359"/>
                    <a:pt x="3858" y="8359"/>
                  </a:cubicBezTo>
                  <a:cubicBezTo>
                    <a:pt x="4203" y="8359"/>
                    <a:pt x="4549" y="8312"/>
                    <a:pt x="4894" y="8216"/>
                  </a:cubicBezTo>
                  <a:lnTo>
                    <a:pt x="6120" y="7883"/>
                  </a:lnTo>
                  <a:cubicBezTo>
                    <a:pt x="6299" y="8121"/>
                    <a:pt x="6573" y="8359"/>
                    <a:pt x="6918" y="8562"/>
                  </a:cubicBezTo>
                  <a:cubicBezTo>
                    <a:pt x="6989" y="8609"/>
                    <a:pt x="7073" y="8621"/>
                    <a:pt x="7144" y="8621"/>
                  </a:cubicBezTo>
                  <a:cubicBezTo>
                    <a:pt x="7251" y="8621"/>
                    <a:pt x="7358" y="8597"/>
                    <a:pt x="7442" y="8538"/>
                  </a:cubicBezTo>
                  <a:cubicBezTo>
                    <a:pt x="7608" y="8419"/>
                    <a:pt x="7680" y="8216"/>
                    <a:pt x="7656" y="8026"/>
                  </a:cubicBezTo>
                  <a:lnTo>
                    <a:pt x="7549" y="7490"/>
                  </a:lnTo>
                  <a:lnTo>
                    <a:pt x="8597" y="7204"/>
                  </a:lnTo>
                  <a:cubicBezTo>
                    <a:pt x="10037" y="6811"/>
                    <a:pt x="11049" y="5478"/>
                    <a:pt x="11049" y="3978"/>
                  </a:cubicBezTo>
                  <a:cubicBezTo>
                    <a:pt x="11085" y="2358"/>
                    <a:pt x="9752" y="1037"/>
                    <a:pt x="8132" y="1037"/>
                  </a:cubicBezTo>
                  <a:lnTo>
                    <a:pt x="8073" y="1037"/>
                  </a:lnTo>
                  <a:cubicBezTo>
                    <a:pt x="8025" y="930"/>
                    <a:pt x="7918" y="751"/>
                    <a:pt x="7763" y="572"/>
                  </a:cubicBezTo>
                  <a:cubicBezTo>
                    <a:pt x="7525" y="299"/>
                    <a:pt x="7097" y="1"/>
                    <a:pt x="6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62" name="Google Shape;12962;p63"/>
          <p:cNvSpPr/>
          <p:nvPr/>
        </p:nvSpPr>
        <p:spPr>
          <a:xfrm>
            <a:off x="6347501" y="2448754"/>
            <a:ext cx="354752" cy="330176"/>
          </a:xfrm>
          <a:custGeom>
            <a:avLst/>
            <a:gdLst/>
            <a:ahLst/>
            <a:cxnLst/>
            <a:rect l="l" t="t" r="r" b="b"/>
            <a:pathLst>
              <a:path w="11086" h="10318" extrusionOk="0">
                <a:moveTo>
                  <a:pt x="3811" y="745"/>
                </a:moveTo>
                <a:cubicBezTo>
                  <a:pt x="3906" y="745"/>
                  <a:pt x="3989" y="829"/>
                  <a:pt x="3989" y="924"/>
                </a:cubicBezTo>
                <a:cubicBezTo>
                  <a:pt x="3989" y="1031"/>
                  <a:pt x="3906" y="1102"/>
                  <a:pt x="3811" y="1102"/>
                </a:cubicBezTo>
                <a:cubicBezTo>
                  <a:pt x="3727" y="1102"/>
                  <a:pt x="3632" y="1031"/>
                  <a:pt x="3632" y="924"/>
                </a:cubicBezTo>
                <a:cubicBezTo>
                  <a:pt x="3632" y="817"/>
                  <a:pt x="3727" y="745"/>
                  <a:pt x="3811" y="745"/>
                </a:cubicBezTo>
                <a:close/>
                <a:moveTo>
                  <a:pt x="8742" y="532"/>
                </a:moveTo>
                <a:cubicBezTo>
                  <a:pt x="9296" y="532"/>
                  <a:pt x="9880" y="576"/>
                  <a:pt x="10347" y="709"/>
                </a:cubicBezTo>
                <a:cubicBezTo>
                  <a:pt x="10073" y="924"/>
                  <a:pt x="9657" y="1269"/>
                  <a:pt x="9335" y="1686"/>
                </a:cubicBezTo>
                <a:cubicBezTo>
                  <a:pt x="8847" y="1245"/>
                  <a:pt x="8252" y="876"/>
                  <a:pt x="7561" y="590"/>
                </a:cubicBezTo>
                <a:cubicBezTo>
                  <a:pt x="7890" y="559"/>
                  <a:pt x="8307" y="532"/>
                  <a:pt x="8742" y="532"/>
                </a:cubicBezTo>
                <a:close/>
                <a:moveTo>
                  <a:pt x="4519" y="339"/>
                </a:moveTo>
                <a:cubicBezTo>
                  <a:pt x="5432" y="339"/>
                  <a:pt x="6383" y="508"/>
                  <a:pt x="7240" y="829"/>
                </a:cubicBezTo>
                <a:cubicBezTo>
                  <a:pt x="8252" y="1221"/>
                  <a:pt x="9085" y="1781"/>
                  <a:pt x="9692" y="2507"/>
                </a:cubicBezTo>
                <a:cubicBezTo>
                  <a:pt x="9323" y="2305"/>
                  <a:pt x="8859" y="2114"/>
                  <a:pt x="8335" y="1995"/>
                </a:cubicBezTo>
                <a:cubicBezTo>
                  <a:pt x="8013" y="1722"/>
                  <a:pt x="7668" y="1495"/>
                  <a:pt x="7323" y="1317"/>
                </a:cubicBezTo>
                <a:cubicBezTo>
                  <a:pt x="6740" y="1043"/>
                  <a:pt x="6073" y="817"/>
                  <a:pt x="5311" y="686"/>
                </a:cubicBezTo>
                <a:cubicBezTo>
                  <a:pt x="5298" y="682"/>
                  <a:pt x="5286" y="680"/>
                  <a:pt x="5273" y="680"/>
                </a:cubicBezTo>
                <a:cubicBezTo>
                  <a:pt x="5201" y="680"/>
                  <a:pt x="5130" y="736"/>
                  <a:pt x="5120" y="817"/>
                </a:cubicBezTo>
                <a:cubicBezTo>
                  <a:pt x="5108" y="900"/>
                  <a:pt x="5168" y="995"/>
                  <a:pt x="5251" y="1007"/>
                </a:cubicBezTo>
                <a:cubicBezTo>
                  <a:pt x="5537" y="1055"/>
                  <a:pt x="5787" y="1114"/>
                  <a:pt x="6049" y="1186"/>
                </a:cubicBezTo>
                <a:cubicBezTo>
                  <a:pt x="5966" y="1531"/>
                  <a:pt x="5656" y="1757"/>
                  <a:pt x="5656" y="1757"/>
                </a:cubicBezTo>
                <a:cubicBezTo>
                  <a:pt x="5585" y="1793"/>
                  <a:pt x="5573" y="1900"/>
                  <a:pt x="5608" y="1972"/>
                </a:cubicBezTo>
                <a:cubicBezTo>
                  <a:pt x="5644" y="2019"/>
                  <a:pt x="5704" y="2055"/>
                  <a:pt x="5751" y="2055"/>
                </a:cubicBezTo>
                <a:cubicBezTo>
                  <a:pt x="5775" y="2055"/>
                  <a:pt x="5811" y="2031"/>
                  <a:pt x="5835" y="2019"/>
                </a:cubicBezTo>
                <a:cubicBezTo>
                  <a:pt x="5847" y="2007"/>
                  <a:pt x="6239" y="1733"/>
                  <a:pt x="6359" y="1281"/>
                </a:cubicBezTo>
                <a:cubicBezTo>
                  <a:pt x="6466" y="1305"/>
                  <a:pt x="6561" y="1352"/>
                  <a:pt x="6656" y="1376"/>
                </a:cubicBezTo>
                <a:cubicBezTo>
                  <a:pt x="6644" y="1662"/>
                  <a:pt x="6406" y="1876"/>
                  <a:pt x="6406" y="1888"/>
                </a:cubicBezTo>
                <a:cubicBezTo>
                  <a:pt x="6347" y="1948"/>
                  <a:pt x="6323" y="2055"/>
                  <a:pt x="6382" y="2114"/>
                </a:cubicBezTo>
                <a:cubicBezTo>
                  <a:pt x="6418" y="2138"/>
                  <a:pt x="6466" y="2174"/>
                  <a:pt x="6501" y="2174"/>
                </a:cubicBezTo>
                <a:cubicBezTo>
                  <a:pt x="6549" y="2174"/>
                  <a:pt x="6585" y="2150"/>
                  <a:pt x="6609" y="2126"/>
                </a:cubicBezTo>
                <a:cubicBezTo>
                  <a:pt x="6620" y="2114"/>
                  <a:pt x="6894" y="1876"/>
                  <a:pt x="6954" y="1519"/>
                </a:cubicBezTo>
                <a:cubicBezTo>
                  <a:pt x="7025" y="1543"/>
                  <a:pt x="7085" y="1579"/>
                  <a:pt x="7156" y="1602"/>
                </a:cubicBezTo>
                <a:cubicBezTo>
                  <a:pt x="7192" y="1614"/>
                  <a:pt x="7216" y="1638"/>
                  <a:pt x="7263" y="1650"/>
                </a:cubicBezTo>
                <a:cubicBezTo>
                  <a:pt x="7240" y="1829"/>
                  <a:pt x="7085" y="1972"/>
                  <a:pt x="7085" y="1972"/>
                </a:cubicBezTo>
                <a:cubicBezTo>
                  <a:pt x="7025" y="2031"/>
                  <a:pt x="7013" y="2138"/>
                  <a:pt x="7073" y="2198"/>
                </a:cubicBezTo>
                <a:cubicBezTo>
                  <a:pt x="7097" y="2233"/>
                  <a:pt x="7144" y="2257"/>
                  <a:pt x="7192" y="2257"/>
                </a:cubicBezTo>
                <a:cubicBezTo>
                  <a:pt x="7240" y="2257"/>
                  <a:pt x="7263" y="2245"/>
                  <a:pt x="7299" y="2210"/>
                </a:cubicBezTo>
                <a:cubicBezTo>
                  <a:pt x="7311" y="2198"/>
                  <a:pt x="7478" y="2055"/>
                  <a:pt x="7549" y="1817"/>
                </a:cubicBezTo>
                <a:cubicBezTo>
                  <a:pt x="7740" y="1936"/>
                  <a:pt x="7930" y="2079"/>
                  <a:pt x="8133" y="2245"/>
                </a:cubicBezTo>
                <a:cubicBezTo>
                  <a:pt x="8144" y="2257"/>
                  <a:pt x="8168" y="2269"/>
                  <a:pt x="8204" y="2269"/>
                </a:cubicBezTo>
                <a:cubicBezTo>
                  <a:pt x="9395" y="2543"/>
                  <a:pt x="10216" y="3198"/>
                  <a:pt x="10573" y="3555"/>
                </a:cubicBezTo>
                <a:lnTo>
                  <a:pt x="9621" y="3615"/>
                </a:lnTo>
                <a:cubicBezTo>
                  <a:pt x="9561" y="3615"/>
                  <a:pt x="9514" y="3638"/>
                  <a:pt x="9478" y="3698"/>
                </a:cubicBezTo>
                <a:cubicBezTo>
                  <a:pt x="9454" y="3746"/>
                  <a:pt x="9454" y="3805"/>
                  <a:pt x="9478" y="3865"/>
                </a:cubicBezTo>
                <a:cubicBezTo>
                  <a:pt x="9537" y="3960"/>
                  <a:pt x="9585" y="4055"/>
                  <a:pt x="9645" y="4150"/>
                </a:cubicBezTo>
                <a:cubicBezTo>
                  <a:pt x="9680" y="4210"/>
                  <a:pt x="9740" y="4234"/>
                  <a:pt x="9799" y="4234"/>
                </a:cubicBezTo>
                <a:cubicBezTo>
                  <a:pt x="9823" y="4234"/>
                  <a:pt x="9835" y="4234"/>
                  <a:pt x="9871" y="4222"/>
                </a:cubicBezTo>
                <a:cubicBezTo>
                  <a:pt x="9942" y="4174"/>
                  <a:pt x="9978" y="4091"/>
                  <a:pt x="9942" y="3996"/>
                </a:cubicBezTo>
                <a:cubicBezTo>
                  <a:pt x="9930" y="3972"/>
                  <a:pt x="9918" y="3960"/>
                  <a:pt x="9895" y="3924"/>
                </a:cubicBezTo>
                <a:lnTo>
                  <a:pt x="10466" y="3900"/>
                </a:lnTo>
                <a:cubicBezTo>
                  <a:pt x="10657" y="4436"/>
                  <a:pt x="10752" y="4996"/>
                  <a:pt x="10752" y="5603"/>
                </a:cubicBezTo>
                <a:cubicBezTo>
                  <a:pt x="10752" y="6329"/>
                  <a:pt x="10597" y="6960"/>
                  <a:pt x="10299" y="7484"/>
                </a:cubicBezTo>
                <a:cubicBezTo>
                  <a:pt x="10359" y="7317"/>
                  <a:pt x="10419" y="7163"/>
                  <a:pt x="10454" y="6996"/>
                </a:cubicBezTo>
                <a:cubicBezTo>
                  <a:pt x="10597" y="6282"/>
                  <a:pt x="10526" y="5472"/>
                  <a:pt x="10228" y="4674"/>
                </a:cubicBezTo>
                <a:cubicBezTo>
                  <a:pt x="10201" y="4603"/>
                  <a:pt x="10148" y="4565"/>
                  <a:pt x="10084" y="4565"/>
                </a:cubicBezTo>
                <a:cubicBezTo>
                  <a:pt x="10062" y="4565"/>
                  <a:pt x="10038" y="4570"/>
                  <a:pt x="10014" y="4579"/>
                </a:cubicBezTo>
                <a:cubicBezTo>
                  <a:pt x="9930" y="4615"/>
                  <a:pt x="9883" y="4698"/>
                  <a:pt x="9930" y="4793"/>
                </a:cubicBezTo>
                <a:cubicBezTo>
                  <a:pt x="10216" y="5532"/>
                  <a:pt x="10276" y="6282"/>
                  <a:pt x="10133" y="6936"/>
                </a:cubicBezTo>
                <a:cubicBezTo>
                  <a:pt x="9978" y="7663"/>
                  <a:pt x="9573" y="8270"/>
                  <a:pt x="8906" y="8746"/>
                </a:cubicBezTo>
                <a:cubicBezTo>
                  <a:pt x="8454" y="8972"/>
                  <a:pt x="7966" y="9103"/>
                  <a:pt x="7502" y="9199"/>
                </a:cubicBezTo>
                <a:cubicBezTo>
                  <a:pt x="7621" y="9139"/>
                  <a:pt x="7740" y="9056"/>
                  <a:pt x="7859" y="8996"/>
                </a:cubicBezTo>
                <a:cubicBezTo>
                  <a:pt x="8990" y="8318"/>
                  <a:pt x="9478" y="7353"/>
                  <a:pt x="9287" y="6234"/>
                </a:cubicBezTo>
                <a:cubicBezTo>
                  <a:pt x="9276" y="6055"/>
                  <a:pt x="9228" y="5877"/>
                  <a:pt x="9156" y="5698"/>
                </a:cubicBezTo>
                <a:cubicBezTo>
                  <a:pt x="8930" y="5091"/>
                  <a:pt x="8454" y="4555"/>
                  <a:pt x="7799" y="4138"/>
                </a:cubicBezTo>
                <a:cubicBezTo>
                  <a:pt x="7097" y="3686"/>
                  <a:pt x="6192" y="3400"/>
                  <a:pt x="5192" y="3305"/>
                </a:cubicBezTo>
                <a:cubicBezTo>
                  <a:pt x="3977" y="3186"/>
                  <a:pt x="2572" y="2984"/>
                  <a:pt x="2179" y="2543"/>
                </a:cubicBezTo>
                <a:cubicBezTo>
                  <a:pt x="2509" y="2503"/>
                  <a:pt x="2897" y="2463"/>
                  <a:pt x="3382" y="2463"/>
                </a:cubicBezTo>
                <a:cubicBezTo>
                  <a:pt x="3616" y="2463"/>
                  <a:pt x="3873" y="2472"/>
                  <a:pt x="4156" y="2495"/>
                </a:cubicBezTo>
                <a:cubicBezTo>
                  <a:pt x="4162" y="2496"/>
                  <a:pt x="4168" y="2497"/>
                  <a:pt x="4174" y="2497"/>
                </a:cubicBezTo>
                <a:cubicBezTo>
                  <a:pt x="4251" y="2497"/>
                  <a:pt x="4323" y="2430"/>
                  <a:pt x="4334" y="2353"/>
                </a:cubicBezTo>
                <a:cubicBezTo>
                  <a:pt x="4346" y="2257"/>
                  <a:pt x="4275" y="2186"/>
                  <a:pt x="4180" y="2174"/>
                </a:cubicBezTo>
                <a:cubicBezTo>
                  <a:pt x="3861" y="2140"/>
                  <a:pt x="3573" y="2128"/>
                  <a:pt x="3313" y="2128"/>
                </a:cubicBezTo>
                <a:cubicBezTo>
                  <a:pt x="2834" y="2128"/>
                  <a:pt x="2448" y="2171"/>
                  <a:pt x="2132" y="2210"/>
                </a:cubicBezTo>
                <a:cubicBezTo>
                  <a:pt x="1890" y="2235"/>
                  <a:pt x="1689" y="2261"/>
                  <a:pt x="1516" y="2261"/>
                </a:cubicBezTo>
                <a:cubicBezTo>
                  <a:pt x="1365" y="2261"/>
                  <a:pt x="1236" y="2241"/>
                  <a:pt x="1120" y="2186"/>
                </a:cubicBezTo>
                <a:cubicBezTo>
                  <a:pt x="632" y="1960"/>
                  <a:pt x="346" y="1650"/>
                  <a:pt x="346" y="1471"/>
                </a:cubicBezTo>
                <a:cubicBezTo>
                  <a:pt x="346" y="1436"/>
                  <a:pt x="370" y="1400"/>
                  <a:pt x="417" y="1341"/>
                </a:cubicBezTo>
                <a:cubicBezTo>
                  <a:pt x="644" y="1138"/>
                  <a:pt x="1763" y="829"/>
                  <a:pt x="3334" y="829"/>
                </a:cubicBezTo>
                <a:cubicBezTo>
                  <a:pt x="3322" y="864"/>
                  <a:pt x="3322" y="900"/>
                  <a:pt x="3322" y="936"/>
                </a:cubicBezTo>
                <a:cubicBezTo>
                  <a:pt x="3322" y="1221"/>
                  <a:pt x="3549" y="1436"/>
                  <a:pt x="3822" y="1436"/>
                </a:cubicBezTo>
                <a:cubicBezTo>
                  <a:pt x="4108" y="1436"/>
                  <a:pt x="4334" y="1221"/>
                  <a:pt x="4334" y="936"/>
                </a:cubicBezTo>
                <a:lnTo>
                  <a:pt x="4334" y="876"/>
                </a:lnTo>
                <a:cubicBezTo>
                  <a:pt x="4418" y="876"/>
                  <a:pt x="4501" y="888"/>
                  <a:pt x="4584" y="900"/>
                </a:cubicBezTo>
                <a:lnTo>
                  <a:pt x="4596" y="900"/>
                </a:lnTo>
                <a:cubicBezTo>
                  <a:pt x="4680" y="900"/>
                  <a:pt x="4751" y="840"/>
                  <a:pt x="4763" y="757"/>
                </a:cubicBezTo>
                <a:cubicBezTo>
                  <a:pt x="4775" y="662"/>
                  <a:pt x="4704" y="590"/>
                  <a:pt x="4620" y="579"/>
                </a:cubicBezTo>
                <a:cubicBezTo>
                  <a:pt x="4454" y="567"/>
                  <a:pt x="4299" y="543"/>
                  <a:pt x="4144" y="531"/>
                </a:cubicBezTo>
                <a:cubicBezTo>
                  <a:pt x="4049" y="471"/>
                  <a:pt x="3942" y="424"/>
                  <a:pt x="3822" y="424"/>
                </a:cubicBezTo>
                <a:cubicBezTo>
                  <a:pt x="3727" y="424"/>
                  <a:pt x="3632" y="459"/>
                  <a:pt x="3561" y="507"/>
                </a:cubicBezTo>
                <a:cubicBezTo>
                  <a:pt x="3322" y="507"/>
                  <a:pt x="3084" y="507"/>
                  <a:pt x="2858" y="519"/>
                </a:cubicBezTo>
                <a:cubicBezTo>
                  <a:pt x="3072" y="471"/>
                  <a:pt x="3287" y="448"/>
                  <a:pt x="3513" y="412"/>
                </a:cubicBezTo>
                <a:cubicBezTo>
                  <a:pt x="3838" y="363"/>
                  <a:pt x="4176" y="339"/>
                  <a:pt x="4519" y="339"/>
                </a:cubicBezTo>
                <a:close/>
                <a:moveTo>
                  <a:pt x="8228" y="8306"/>
                </a:moveTo>
                <a:lnTo>
                  <a:pt x="8228" y="8306"/>
                </a:lnTo>
                <a:cubicBezTo>
                  <a:pt x="8085" y="8437"/>
                  <a:pt x="7906" y="8568"/>
                  <a:pt x="7692" y="8687"/>
                </a:cubicBezTo>
                <a:cubicBezTo>
                  <a:pt x="6906" y="9187"/>
                  <a:pt x="6049" y="9365"/>
                  <a:pt x="6025" y="9365"/>
                </a:cubicBezTo>
                <a:cubicBezTo>
                  <a:pt x="6013" y="9365"/>
                  <a:pt x="6001" y="9365"/>
                  <a:pt x="5989" y="9377"/>
                </a:cubicBezTo>
                <a:cubicBezTo>
                  <a:pt x="4977" y="9865"/>
                  <a:pt x="3727" y="9973"/>
                  <a:pt x="2953" y="9984"/>
                </a:cubicBezTo>
                <a:lnTo>
                  <a:pt x="4215" y="9401"/>
                </a:lnTo>
                <a:cubicBezTo>
                  <a:pt x="4275" y="9377"/>
                  <a:pt x="4299" y="9318"/>
                  <a:pt x="4299" y="9258"/>
                </a:cubicBezTo>
                <a:cubicBezTo>
                  <a:pt x="4299" y="9199"/>
                  <a:pt x="4251" y="9139"/>
                  <a:pt x="4215" y="9103"/>
                </a:cubicBezTo>
                <a:lnTo>
                  <a:pt x="2930" y="8532"/>
                </a:lnTo>
                <a:lnTo>
                  <a:pt x="2953" y="8532"/>
                </a:lnTo>
                <a:cubicBezTo>
                  <a:pt x="3692" y="8532"/>
                  <a:pt x="4894" y="8603"/>
                  <a:pt x="5966" y="9020"/>
                </a:cubicBezTo>
                <a:cubicBezTo>
                  <a:pt x="6001" y="9032"/>
                  <a:pt x="6025" y="9032"/>
                  <a:pt x="6061" y="9032"/>
                </a:cubicBezTo>
                <a:cubicBezTo>
                  <a:pt x="7144" y="8853"/>
                  <a:pt x="7811" y="8568"/>
                  <a:pt x="8228" y="8306"/>
                </a:cubicBezTo>
                <a:close/>
                <a:moveTo>
                  <a:pt x="4495" y="1"/>
                </a:moveTo>
                <a:cubicBezTo>
                  <a:pt x="4135" y="1"/>
                  <a:pt x="3780" y="26"/>
                  <a:pt x="3441" y="78"/>
                </a:cubicBezTo>
                <a:cubicBezTo>
                  <a:pt x="2549" y="209"/>
                  <a:pt x="1739" y="388"/>
                  <a:pt x="1167" y="579"/>
                </a:cubicBezTo>
                <a:cubicBezTo>
                  <a:pt x="370" y="852"/>
                  <a:pt x="1" y="1114"/>
                  <a:pt x="1" y="1448"/>
                </a:cubicBezTo>
                <a:cubicBezTo>
                  <a:pt x="1" y="1781"/>
                  <a:pt x="393" y="2186"/>
                  <a:pt x="965" y="2460"/>
                </a:cubicBezTo>
                <a:cubicBezTo>
                  <a:pt x="1151" y="2527"/>
                  <a:pt x="1330" y="2559"/>
                  <a:pt x="1533" y="2559"/>
                </a:cubicBezTo>
                <a:cubicBezTo>
                  <a:pt x="1617" y="2559"/>
                  <a:pt x="1705" y="2553"/>
                  <a:pt x="1798" y="2543"/>
                </a:cubicBezTo>
                <a:cubicBezTo>
                  <a:pt x="1953" y="2829"/>
                  <a:pt x="2275" y="3031"/>
                  <a:pt x="2846" y="3210"/>
                </a:cubicBezTo>
                <a:cubicBezTo>
                  <a:pt x="3382" y="3376"/>
                  <a:pt x="4108" y="3496"/>
                  <a:pt x="5168" y="3603"/>
                </a:cubicBezTo>
                <a:cubicBezTo>
                  <a:pt x="6120" y="3686"/>
                  <a:pt x="6966" y="3972"/>
                  <a:pt x="7632" y="4389"/>
                </a:cubicBezTo>
                <a:cubicBezTo>
                  <a:pt x="8252" y="4781"/>
                  <a:pt x="8668" y="5258"/>
                  <a:pt x="8871" y="5793"/>
                </a:cubicBezTo>
                <a:cubicBezTo>
                  <a:pt x="9121" y="6484"/>
                  <a:pt x="8978" y="7186"/>
                  <a:pt x="8430" y="7770"/>
                </a:cubicBezTo>
                <a:cubicBezTo>
                  <a:pt x="7894" y="8329"/>
                  <a:pt x="6728" y="8603"/>
                  <a:pt x="6061" y="8722"/>
                </a:cubicBezTo>
                <a:cubicBezTo>
                  <a:pt x="4959" y="8297"/>
                  <a:pt x="3741" y="8216"/>
                  <a:pt x="2985" y="8216"/>
                </a:cubicBezTo>
                <a:cubicBezTo>
                  <a:pt x="2557" y="8216"/>
                  <a:pt x="2277" y="8242"/>
                  <a:pt x="2251" y="8246"/>
                </a:cubicBezTo>
                <a:cubicBezTo>
                  <a:pt x="2179" y="8246"/>
                  <a:pt x="2120" y="8306"/>
                  <a:pt x="2096" y="8377"/>
                </a:cubicBezTo>
                <a:cubicBezTo>
                  <a:pt x="2084" y="8449"/>
                  <a:pt x="2132" y="8532"/>
                  <a:pt x="2191" y="8556"/>
                </a:cubicBezTo>
                <a:lnTo>
                  <a:pt x="3763" y="9270"/>
                </a:lnTo>
                <a:lnTo>
                  <a:pt x="2191" y="9984"/>
                </a:lnTo>
                <a:cubicBezTo>
                  <a:pt x="2120" y="10020"/>
                  <a:pt x="2084" y="10092"/>
                  <a:pt x="2096" y="10163"/>
                </a:cubicBezTo>
                <a:cubicBezTo>
                  <a:pt x="2120" y="10234"/>
                  <a:pt x="2179" y="10294"/>
                  <a:pt x="2251" y="10294"/>
                </a:cubicBezTo>
                <a:cubicBezTo>
                  <a:pt x="2275" y="10294"/>
                  <a:pt x="2513" y="10318"/>
                  <a:pt x="2870" y="10318"/>
                </a:cubicBezTo>
                <a:cubicBezTo>
                  <a:pt x="3644" y="10318"/>
                  <a:pt x="5001" y="10223"/>
                  <a:pt x="6120" y="9687"/>
                </a:cubicBezTo>
                <a:cubicBezTo>
                  <a:pt x="6847" y="9627"/>
                  <a:pt x="8073" y="9544"/>
                  <a:pt x="9109" y="9008"/>
                </a:cubicBezTo>
                <a:cubicBezTo>
                  <a:pt x="10419" y="8329"/>
                  <a:pt x="11085" y="7186"/>
                  <a:pt x="11085" y="5615"/>
                </a:cubicBezTo>
                <a:cubicBezTo>
                  <a:pt x="11085" y="4996"/>
                  <a:pt x="11002" y="4424"/>
                  <a:pt x="10823" y="3865"/>
                </a:cubicBezTo>
                <a:lnTo>
                  <a:pt x="10931" y="3853"/>
                </a:lnTo>
                <a:cubicBezTo>
                  <a:pt x="10990" y="3853"/>
                  <a:pt x="11050" y="3805"/>
                  <a:pt x="11061" y="3769"/>
                </a:cubicBezTo>
                <a:cubicBezTo>
                  <a:pt x="11085" y="3710"/>
                  <a:pt x="11073" y="3650"/>
                  <a:pt x="11050" y="3603"/>
                </a:cubicBezTo>
                <a:cubicBezTo>
                  <a:pt x="11026" y="3567"/>
                  <a:pt x="10811" y="3305"/>
                  <a:pt x="10407" y="2972"/>
                </a:cubicBezTo>
                <a:cubicBezTo>
                  <a:pt x="10180" y="2591"/>
                  <a:pt x="9895" y="2233"/>
                  <a:pt x="9573" y="1900"/>
                </a:cubicBezTo>
                <a:cubicBezTo>
                  <a:pt x="10038" y="1293"/>
                  <a:pt x="10764" y="805"/>
                  <a:pt x="10776" y="805"/>
                </a:cubicBezTo>
                <a:cubicBezTo>
                  <a:pt x="10823" y="769"/>
                  <a:pt x="10847" y="709"/>
                  <a:pt x="10847" y="650"/>
                </a:cubicBezTo>
                <a:cubicBezTo>
                  <a:pt x="10847" y="590"/>
                  <a:pt x="10811" y="555"/>
                  <a:pt x="10752" y="519"/>
                </a:cubicBezTo>
                <a:cubicBezTo>
                  <a:pt x="10279" y="318"/>
                  <a:pt x="9629" y="210"/>
                  <a:pt x="8778" y="210"/>
                </a:cubicBezTo>
                <a:cubicBezTo>
                  <a:pt x="8622" y="210"/>
                  <a:pt x="8458" y="214"/>
                  <a:pt x="8287" y="221"/>
                </a:cubicBezTo>
                <a:cubicBezTo>
                  <a:pt x="7597" y="257"/>
                  <a:pt x="7025" y="328"/>
                  <a:pt x="6882" y="352"/>
                </a:cubicBezTo>
                <a:cubicBezTo>
                  <a:pt x="6113" y="123"/>
                  <a:pt x="5288" y="1"/>
                  <a:pt x="44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63" name="Google Shape;12963;p63"/>
          <p:cNvGrpSpPr/>
          <p:nvPr/>
        </p:nvGrpSpPr>
        <p:grpSpPr>
          <a:xfrm>
            <a:off x="5265069" y="2424754"/>
            <a:ext cx="321984" cy="354560"/>
            <a:chOff x="5265069" y="2424754"/>
            <a:chExt cx="321984" cy="354560"/>
          </a:xfrm>
        </p:grpSpPr>
        <p:sp>
          <p:nvSpPr>
            <p:cNvPr id="12964" name="Google Shape;12964;p63"/>
            <p:cNvSpPr/>
            <p:nvPr/>
          </p:nvSpPr>
          <p:spPr>
            <a:xfrm>
              <a:off x="5265069" y="2424754"/>
              <a:ext cx="321984" cy="354560"/>
            </a:xfrm>
            <a:custGeom>
              <a:avLst/>
              <a:gdLst/>
              <a:ahLst/>
              <a:cxnLst/>
              <a:rect l="l" t="t" r="r" b="b"/>
              <a:pathLst>
                <a:path w="10062" h="11080" extrusionOk="0">
                  <a:moveTo>
                    <a:pt x="8199" y="510"/>
                  </a:moveTo>
                  <a:cubicBezTo>
                    <a:pt x="8465" y="510"/>
                    <a:pt x="8769" y="527"/>
                    <a:pt x="9109" y="567"/>
                  </a:cubicBezTo>
                  <a:cubicBezTo>
                    <a:pt x="9169" y="590"/>
                    <a:pt x="9228" y="614"/>
                    <a:pt x="9252" y="674"/>
                  </a:cubicBezTo>
                  <a:cubicBezTo>
                    <a:pt x="9288" y="733"/>
                    <a:pt x="9288" y="793"/>
                    <a:pt x="9240" y="852"/>
                  </a:cubicBezTo>
                  <a:lnTo>
                    <a:pt x="8752" y="1686"/>
                  </a:lnTo>
                  <a:lnTo>
                    <a:pt x="8526" y="1459"/>
                  </a:lnTo>
                  <a:cubicBezTo>
                    <a:pt x="8169" y="1102"/>
                    <a:pt x="7752" y="805"/>
                    <a:pt x="7323" y="590"/>
                  </a:cubicBezTo>
                  <a:cubicBezTo>
                    <a:pt x="7537" y="542"/>
                    <a:pt x="7832" y="510"/>
                    <a:pt x="8199" y="510"/>
                  </a:cubicBezTo>
                  <a:close/>
                  <a:moveTo>
                    <a:pt x="3692" y="3460"/>
                  </a:moveTo>
                  <a:cubicBezTo>
                    <a:pt x="3728" y="3472"/>
                    <a:pt x="3775" y="3484"/>
                    <a:pt x="3811" y="3531"/>
                  </a:cubicBezTo>
                  <a:cubicBezTo>
                    <a:pt x="3906" y="3698"/>
                    <a:pt x="4025" y="3841"/>
                    <a:pt x="4168" y="3996"/>
                  </a:cubicBezTo>
                  <a:cubicBezTo>
                    <a:pt x="3870" y="4079"/>
                    <a:pt x="3585" y="4234"/>
                    <a:pt x="3204" y="4436"/>
                  </a:cubicBezTo>
                  <a:cubicBezTo>
                    <a:pt x="2803" y="4659"/>
                    <a:pt x="2283" y="4835"/>
                    <a:pt x="1777" y="4835"/>
                  </a:cubicBezTo>
                  <a:cubicBezTo>
                    <a:pt x="1606" y="4835"/>
                    <a:pt x="1437" y="4814"/>
                    <a:pt x="1275" y="4769"/>
                  </a:cubicBezTo>
                  <a:cubicBezTo>
                    <a:pt x="2335" y="4377"/>
                    <a:pt x="3120" y="3829"/>
                    <a:pt x="3537" y="3507"/>
                  </a:cubicBezTo>
                  <a:cubicBezTo>
                    <a:pt x="3585" y="3472"/>
                    <a:pt x="3632" y="3460"/>
                    <a:pt x="3692" y="3460"/>
                  </a:cubicBezTo>
                  <a:close/>
                  <a:moveTo>
                    <a:pt x="5123" y="300"/>
                  </a:moveTo>
                  <a:cubicBezTo>
                    <a:pt x="5187" y="300"/>
                    <a:pt x="5250" y="301"/>
                    <a:pt x="5311" y="305"/>
                  </a:cubicBezTo>
                  <a:cubicBezTo>
                    <a:pt x="6442" y="364"/>
                    <a:pt x="7514" y="852"/>
                    <a:pt x="8335" y="1650"/>
                  </a:cubicBezTo>
                  <a:cubicBezTo>
                    <a:pt x="9157" y="2460"/>
                    <a:pt x="9645" y="3531"/>
                    <a:pt x="9716" y="4662"/>
                  </a:cubicBezTo>
                  <a:cubicBezTo>
                    <a:pt x="9728" y="5365"/>
                    <a:pt x="9645" y="6020"/>
                    <a:pt x="9419" y="6639"/>
                  </a:cubicBezTo>
                  <a:cubicBezTo>
                    <a:pt x="9193" y="7234"/>
                    <a:pt x="8871" y="7770"/>
                    <a:pt x="8442" y="8246"/>
                  </a:cubicBezTo>
                  <a:cubicBezTo>
                    <a:pt x="8002" y="8710"/>
                    <a:pt x="7478" y="9079"/>
                    <a:pt x="6907" y="9353"/>
                  </a:cubicBezTo>
                  <a:cubicBezTo>
                    <a:pt x="6299" y="9615"/>
                    <a:pt x="5656" y="9758"/>
                    <a:pt x="5002" y="9758"/>
                  </a:cubicBezTo>
                  <a:cubicBezTo>
                    <a:pt x="4763" y="9758"/>
                    <a:pt x="4275" y="9734"/>
                    <a:pt x="3835" y="9710"/>
                  </a:cubicBezTo>
                  <a:cubicBezTo>
                    <a:pt x="3811" y="9710"/>
                    <a:pt x="3775" y="9710"/>
                    <a:pt x="3751" y="9722"/>
                  </a:cubicBezTo>
                  <a:lnTo>
                    <a:pt x="2287" y="10520"/>
                  </a:lnTo>
                  <a:cubicBezTo>
                    <a:pt x="2406" y="10306"/>
                    <a:pt x="2608" y="10032"/>
                    <a:pt x="2858" y="9770"/>
                  </a:cubicBezTo>
                  <a:cubicBezTo>
                    <a:pt x="2918" y="9710"/>
                    <a:pt x="2966" y="9603"/>
                    <a:pt x="2966" y="9508"/>
                  </a:cubicBezTo>
                  <a:cubicBezTo>
                    <a:pt x="2966" y="9425"/>
                    <a:pt x="2918" y="9329"/>
                    <a:pt x="2847" y="9270"/>
                  </a:cubicBezTo>
                  <a:cubicBezTo>
                    <a:pt x="2573" y="9056"/>
                    <a:pt x="2382" y="8734"/>
                    <a:pt x="2263" y="8484"/>
                  </a:cubicBezTo>
                  <a:lnTo>
                    <a:pt x="2263" y="8484"/>
                  </a:lnTo>
                  <a:lnTo>
                    <a:pt x="3585" y="9210"/>
                  </a:lnTo>
                  <a:cubicBezTo>
                    <a:pt x="3597" y="9234"/>
                    <a:pt x="3620" y="9234"/>
                    <a:pt x="3644" y="9234"/>
                  </a:cubicBezTo>
                  <a:cubicBezTo>
                    <a:pt x="4037" y="9294"/>
                    <a:pt x="4406" y="9306"/>
                    <a:pt x="4752" y="9306"/>
                  </a:cubicBezTo>
                  <a:cubicBezTo>
                    <a:pt x="5490" y="9306"/>
                    <a:pt x="6145" y="9187"/>
                    <a:pt x="6692" y="8937"/>
                  </a:cubicBezTo>
                  <a:cubicBezTo>
                    <a:pt x="7407" y="8603"/>
                    <a:pt x="7930" y="8067"/>
                    <a:pt x="8228" y="7389"/>
                  </a:cubicBezTo>
                  <a:cubicBezTo>
                    <a:pt x="8538" y="6651"/>
                    <a:pt x="8585" y="5781"/>
                    <a:pt x="8359" y="4900"/>
                  </a:cubicBezTo>
                  <a:cubicBezTo>
                    <a:pt x="8145" y="4067"/>
                    <a:pt x="7680" y="3317"/>
                    <a:pt x="7085" y="2841"/>
                  </a:cubicBezTo>
                  <a:cubicBezTo>
                    <a:pt x="7057" y="2817"/>
                    <a:pt x="7024" y="2807"/>
                    <a:pt x="6991" y="2807"/>
                  </a:cubicBezTo>
                  <a:cubicBezTo>
                    <a:pt x="6939" y="2807"/>
                    <a:pt x="6888" y="2833"/>
                    <a:pt x="6859" y="2876"/>
                  </a:cubicBezTo>
                  <a:cubicBezTo>
                    <a:pt x="6799" y="2948"/>
                    <a:pt x="6811" y="3055"/>
                    <a:pt x="6895" y="3103"/>
                  </a:cubicBezTo>
                  <a:cubicBezTo>
                    <a:pt x="7430" y="3519"/>
                    <a:pt x="7847" y="4210"/>
                    <a:pt x="8050" y="4972"/>
                  </a:cubicBezTo>
                  <a:cubicBezTo>
                    <a:pt x="8264" y="5781"/>
                    <a:pt x="8228" y="6579"/>
                    <a:pt x="7930" y="7246"/>
                  </a:cubicBezTo>
                  <a:cubicBezTo>
                    <a:pt x="7633" y="7948"/>
                    <a:pt x="7085" y="8460"/>
                    <a:pt x="6323" y="8722"/>
                  </a:cubicBezTo>
                  <a:cubicBezTo>
                    <a:pt x="6502" y="8591"/>
                    <a:pt x="6668" y="8425"/>
                    <a:pt x="6811" y="8234"/>
                  </a:cubicBezTo>
                  <a:cubicBezTo>
                    <a:pt x="7323" y="7579"/>
                    <a:pt x="7502" y="6734"/>
                    <a:pt x="7311" y="5912"/>
                  </a:cubicBezTo>
                  <a:cubicBezTo>
                    <a:pt x="7252" y="5698"/>
                    <a:pt x="7168" y="5496"/>
                    <a:pt x="7073" y="5305"/>
                  </a:cubicBezTo>
                  <a:lnTo>
                    <a:pt x="7073" y="5305"/>
                  </a:lnTo>
                  <a:cubicBezTo>
                    <a:pt x="7264" y="5329"/>
                    <a:pt x="7383" y="5329"/>
                    <a:pt x="7395" y="5329"/>
                  </a:cubicBezTo>
                  <a:cubicBezTo>
                    <a:pt x="7466" y="5329"/>
                    <a:pt x="7549" y="5269"/>
                    <a:pt x="7561" y="5198"/>
                  </a:cubicBezTo>
                  <a:cubicBezTo>
                    <a:pt x="7704" y="4436"/>
                    <a:pt x="7264" y="4031"/>
                    <a:pt x="6835" y="3650"/>
                  </a:cubicBezTo>
                  <a:cubicBezTo>
                    <a:pt x="6514" y="3364"/>
                    <a:pt x="6216" y="3103"/>
                    <a:pt x="6097" y="2686"/>
                  </a:cubicBezTo>
                  <a:lnTo>
                    <a:pt x="6097" y="2686"/>
                  </a:lnTo>
                  <a:cubicBezTo>
                    <a:pt x="6180" y="2698"/>
                    <a:pt x="6240" y="2722"/>
                    <a:pt x="6299" y="2757"/>
                  </a:cubicBezTo>
                  <a:cubicBezTo>
                    <a:pt x="6319" y="2763"/>
                    <a:pt x="6339" y="2766"/>
                    <a:pt x="6359" y="2766"/>
                  </a:cubicBezTo>
                  <a:cubicBezTo>
                    <a:pt x="6424" y="2766"/>
                    <a:pt x="6484" y="2735"/>
                    <a:pt x="6502" y="2662"/>
                  </a:cubicBezTo>
                  <a:cubicBezTo>
                    <a:pt x="6537" y="2579"/>
                    <a:pt x="6502" y="2483"/>
                    <a:pt x="6418" y="2460"/>
                  </a:cubicBezTo>
                  <a:cubicBezTo>
                    <a:pt x="6252" y="2400"/>
                    <a:pt x="6085" y="2352"/>
                    <a:pt x="5918" y="2329"/>
                  </a:cubicBezTo>
                  <a:cubicBezTo>
                    <a:pt x="5910" y="2323"/>
                    <a:pt x="5900" y="2321"/>
                    <a:pt x="5890" y="2321"/>
                  </a:cubicBezTo>
                  <a:cubicBezTo>
                    <a:pt x="5856" y="2321"/>
                    <a:pt x="5815" y="2346"/>
                    <a:pt x="5787" y="2364"/>
                  </a:cubicBezTo>
                  <a:cubicBezTo>
                    <a:pt x="5764" y="2400"/>
                    <a:pt x="5728" y="2460"/>
                    <a:pt x="5740" y="2507"/>
                  </a:cubicBezTo>
                  <a:cubicBezTo>
                    <a:pt x="5823" y="3174"/>
                    <a:pt x="6240" y="3555"/>
                    <a:pt x="6621" y="3900"/>
                  </a:cubicBezTo>
                  <a:cubicBezTo>
                    <a:pt x="6990" y="4246"/>
                    <a:pt x="7311" y="4507"/>
                    <a:pt x="7264" y="5008"/>
                  </a:cubicBezTo>
                  <a:cubicBezTo>
                    <a:pt x="6752" y="4960"/>
                    <a:pt x="4990" y="4710"/>
                    <a:pt x="4109" y="3353"/>
                  </a:cubicBezTo>
                  <a:cubicBezTo>
                    <a:pt x="4037" y="3234"/>
                    <a:pt x="3918" y="3162"/>
                    <a:pt x="3763" y="3126"/>
                  </a:cubicBezTo>
                  <a:cubicBezTo>
                    <a:pt x="3735" y="3122"/>
                    <a:pt x="3706" y="3119"/>
                    <a:pt x="3678" y="3119"/>
                  </a:cubicBezTo>
                  <a:cubicBezTo>
                    <a:pt x="3564" y="3119"/>
                    <a:pt x="3454" y="3157"/>
                    <a:pt x="3358" y="3234"/>
                  </a:cubicBezTo>
                  <a:cubicBezTo>
                    <a:pt x="2906" y="3603"/>
                    <a:pt x="1918" y="4293"/>
                    <a:pt x="620" y="4627"/>
                  </a:cubicBezTo>
                  <a:cubicBezTo>
                    <a:pt x="603" y="4633"/>
                    <a:pt x="587" y="4636"/>
                    <a:pt x="571" y="4636"/>
                  </a:cubicBezTo>
                  <a:cubicBezTo>
                    <a:pt x="529" y="4636"/>
                    <a:pt x="491" y="4617"/>
                    <a:pt x="465" y="4591"/>
                  </a:cubicBezTo>
                  <a:cubicBezTo>
                    <a:pt x="418" y="4555"/>
                    <a:pt x="382" y="4496"/>
                    <a:pt x="406" y="4436"/>
                  </a:cubicBezTo>
                  <a:cubicBezTo>
                    <a:pt x="418" y="4174"/>
                    <a:pt x="596" y="3734"/>
                    <a:pt x="1358" y="3174"/>
                  </a:cubicBezTo>
                  <a:cubicBezTo>
                    <a:pt x="1513" y="3055"/>
                    <a:pt x="1620" y="2864"/>
                    <a:pt x="1620" y="2662"/>
                  </a:cubicBezTo>
                  <a:cubicBezTo>
                    <a:pt x="1632" y="2352"/>
                    <a:pt x="1787" y="1745"/>
                    <a:pt x="2692" y="1019"/>
                  </a:cubicBezTo>
                  <a:cubicBezTo>
                    <a:pt x="3224" y="597"/>
                    <a:pt x="4253" y="300"/>
                    <a:pt x="5123" y="300"/>
                  </a:cubicBezTo>
                  <a:close/>
                  <a:moveTo>
                    <a:pt x="5036" y="0"/>
                  </a:moveTo>
                  <a:cubicBezTo>
                    <a:pt x="4094" y="0"/>
                    <a:pt x="3002" y="329"/>
                    <a:pt x="2430" y="781"/>
                  </a:cubicBezTo>
                  <a:cubicBezTo>
                    <a:pt x="1430" y="1579"/>
                    <a:pt x="1251" y="2317"/>
                    <a:pt x="1239" y="2674"/>
                  </a:cubicBezTo>
                  <a:cubicBezTo>
                    <a:pt x="1239" y="2769"/>
                    <a:pt x="1180" y="2864"/>
                    <a:pt x="1084" y="2936"/>
                  </a:cubicBezTo>
                  <a:cubicBezTo>
                    <a:pt x="418" y="3448"/>
                    <a:pt x="49" y="3948"/>
                    <a:pt x="13" y="4436"/>
                  </a:cubicBezTo>
                  <a:cubicBezTo>
                    <a:pt x="1" y="4603"/>
                    <a:pt x="72" y="4758"/>
                    <a:pt x="191" y="4853"/>
                  </a:cubicBezTo>
                  <a:cubicBezTo>
                    <a:pt x="288" y="4932"/>
                    <a:pt x="404" y="4978"/>
                    <a:pt x="525" y="4978"/>
                  </a:cubicBezTo>
                  <a:cubicBezTo>
                    <a:pt x="568" y="4978"/>
                    <a:pt x="612" y="4972"/>
                    <a:pt x="656" y="4960"/>
                  </a:cubicBezTo>
                  <a:cubicBezTo>
                    <a:pt x="703" y="4948"/>
                    <a:pt x="727" y="4948"/>
                    <a:pt x="775" y="4936"/>
                  </a:cubicBezTo>
                  <a:cubicBezTo>
                    <a:pt x="1084" y="5091"/>
                    <a:pt x="1430" y="5174"/>
                    <a:pt x="1775" y="5174"/>
                  </a:cubicBezTo>
                  <a:cubicBezTo>
                    <a:pt x="2335" y="5174"/>
                    <a:pt x="2906" y="4972"/>
                    <a:pt x="3335" y="4734"/>
                  </a:cubicBezTo>
                  <a:cubicBezTo>
                    <a:pt x="3775" y="4484"/>
                    <a:pt x="4073" y="4341"/>
                    <a:pt x="4418" y="4281"/>
                  </a:cubicBezTo>
                  <a:cubicBezTo>
                    <a:pt x="4835" y="4638"/>
                    <a:pt x="5371" y="4912"/>
                    <a:pt x="5978" y="5115"/>
                  </a:cubicBezTo>
                  <a:cubicBezTo>
                    <a:pt x="6204" y="5186"/>
                    <a:pt x="6395" y="5234"/>
                    <a:pt x="6585" y="5258"/>
                  </a:cubicBezTo>
                  <a:cubicBezTo>
                    <a:pt x="6752" y="5484"/>
                    <a:pt x="6859" y="5734"/>
                    <a:pt x="6930" y="6008"/>
                  </a:cubicBezTo>
                  <a:cubicBezTo>
                    <a:pt x="7109" y="6734"/>
                    <a:pt x="6966" y="7472"/>
                    <a:pt x="6502" y="8056"/>
                  </a:cubicBezTo>
                  <a:cubicBezTo>
                    <a:pt x="6049" y="8639"/>
                    <a:pt x="5371" y="8960"/>
                    <a:pt x="4644" y="8960"/>
                  </a:cubicBezTo>
                  <a:cubicBezTo>
                    <a:pt x="4323" y="8960"/>
                    <a:pt x="3954" y="8949"/>
                    <a:pt x="3644" y="8925"/>
                  </a:cubicBezTo>
                  <a:lnTo>
                    <a:pt x="1965" y="7996"/>
                  </a:lnTo>
                  <a:cubicBezTo>
                    <a:pt x="1939" y="7985"/>
                    <a:pt x="1907" y="7979"/>
                    <a:pt x="1877" y="7979"/>
                  </a:cubicBezTo>
                  <a:cubicBezTo>
                    <a:pt x="1841" y="7979"/>
                    <a:pt x="1807" y="7988"/>
                    <a:pt x="1787" y="8008"/>
                  </a:cubicBezTo>
                  <a:cubicBezTo>
                    <a:pt x="1739" y="8056"/>
                    <a:pt x="1704" y="8115"/>
                    <a:pt x="1727" y="8175"/>
                  </a:cubicBezTo>
                  <a:cubicBezTo>
                    <a:pt x="1739" y="8210"/>
                    <a:pt x="1965" y="9044"/>
                    <a:pt x="2573" y="9532"/>
                  </a:cubicBezTo>
                  <a:lnTo>
                    <a:pt x="2573" y="9544"/>
                  </a:lnTo>
                  <a:cubicBezTo>
                    <a:pt x="1965" y="10139"/>
                    <a:pt x="1739" y="10830"/>
                    <a:pt x="1727" y="10853"/>
                  </a:cubicBezTo>
                  <a:cubicBezTo>
                    <a:pt x="1704" y="10913"/>
                    <a:pt x="1727" y="10984"/>
                    <a:pt x="1763" y="11032"/>
                  </a:cubicBezTo>
                  <a:cubicBezTo>
                    <a:pt x="1799" y="11068"/>
                    <a:pt x="1823" y="11080"/>
                    <a:pt x="1870" y="11080"/>
                  </a:cubicBezTo>
                  <a:cubicBezTo>
                    <a:pt x="1906" y="11080"/>
                    <a:pt x="1930" y="11080"/>
                    <a:pt x="1942" y="11068"/>
                  </a:cubicBezTo>
                  <a:lnTo>
                    <a:pt x="3787" y="10032"/>
                  </a:lnTo>
                  <a:cubicBezTo>
                    <a:pt x="4204" y="10068"/>
                    <a:pt x="4704" y="10080"/>
                    <a:pt x="4918" y="10080"/>
                  </a:cubicBezTo>
                  <a:cubicBezTo>
                    <a:pt x="5633" y="10080"/>
                    <a:pt x="6323" y="9937"/>
                    <a:pt x="6966" y="9651"/>
                  </a:cubicBezTo>
                  <a:cubicBezTo>
                    <a:pt x="7585" y="9365"/>
                    <a:pt x="8133" y="8984"/>
                    <a:pt x="8597" y="8472"/>
                  </a:cubicBezTo>
                  <a:cubicBezTo>
                    <a:pt x="9062" y="7972"/>
                    <a:pt x="9419" y="7401"/>
                    <a:pt x="9657" y="6758"/>
                  </a:cubicBezTo>
                  <a:cubicBezTo>
                    <a:pt x="9966" y="6079"/>
                    <a:pt x="10062" y="5377"/>
                    <a:pt x="10014" y="4662"/>
                  </a:cubicBezTo>
                  <a:cubicBezTo>
                    <a:pt x="9943" y="3662"/>
                    <a:pt x="9585" y="2733"/>
                    <a:pt x="8954" y="1936"/>
                  </a:cubicBezTo>
                  <a:lnTo>
                    <a:pt x="9514" y="1019"/>
                  </a:lnTo>
                  <a:cubicBezTo>
                    <a:pt x="9597" y="864"/>
                    <a:pt x="9597" y="686"/>
                    <a:pt x="9526" y="543"/>
                  </a:cubicBezTo>
                  <a:cubicBezTo>
                    <a:pt x="9454" y="388"/>
                    <a:pt x="9300" y="269"/>
                    <a:pt x="9133" y="257"/>
                  </a:cubicBezTo>
                  <a:cubicBezTo>
                    <a:pt x="8763" y="208"/>
                    <a:pt x="8430" y="189"/>
                    <a:pt x="8139" y="189"/>
                  </a:cubicBezTo>
                  <a:cubicBezTo>
                    <a:pt x="7372" y="189"/>
                    <a:pt x="6898" y="318"/>
                    <a:pt x="6811" y="352"/>
                  </a:cubicBezTo>
                  <a:cubicBezTo>
                    <a:pt x="6323" y="150"/>
                    <a:pt x="5799" y="31"/>
                    <a:pt x="5263" y="7"/>
                  </a:cubicBezTo>
                  <a:cubicBezTo>
                    <a:pt x="5189" y="2"/>
                    <a:pt x="5113" y="0"/>
                    <a:pt x="50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5" name="Google Shape;12965;p63"/>
            <p:cNvSpPr/>
            <p:nvPr/>
          </p:nvSpPr>
          <p:spPr>
            <a:xfrm>
              <a:off x="5360717" y="2479826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12" y="322"/>
                  </a:moveTo>
                  <a:cubicBezTo>
                    <a:pt x="596" y="322"/>
                    <a:pt x="691" y="417"/>
                    <a:pt x="691" y="500"/>
                  </a:cubicBezTo>
                  <a:lnTo>
                    <a:pt x="691" y="679"/>
                  </a:lnTo>
                  <a:cubicBezTo>
                    <a:pt x="691" y="786"/>
                    <a:pt x="596" y="858"/>
                    <a:pt x="512" y="858"/>
                  </a:cubicBezTo>
                  <a:cubicBezTo>
                    <a:pt x="417" y="858"/>
                    <a:pt x="322" y="762"/>
                    <a:pt x="322" y="679"/>
                  </a:cubicBezTo>
                  <a:lnTo>
                    <a:pt x="322" y="500"/>
                  </a:lnTo>
                  <a:cubicBezTo>
                    <a:pt x="322" y="393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27" y="0"/>
                    <a:pt x="0" y="215"/>
                    <a:pt x="0" y="500"/>
                  </a:cubicBezTo>
                  <a:lnTo>
                    <a:pt x="0" y="679"/>
                  </a:lnTo>
                  <a:cubicBezTo>
                    <a:pt x="0" y="965"/>
                    <a:pt x="227" y="1191"/>
                    <a:pt x="512" y="1191"/>
                  </a:cubicBezTo>
                  <a:cubicBezTo>
                    <a:pt x="786" y="1191"/>
                    <a:pt x="1012" y="965"/>
                    <a:pt x="1012" y="679"/>
                  </a:cubicBezTo>
                  <a:lnTo>
                    <a:pt x="1012" y="500"/>
                  </a:lnTo>
                  <a:cubicBezTo>
                    <a:pt x="1012" y="239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66" name="Google Shape;12966;p63"/>
          <p:cNvGrpSpPr/>
          <p:nvPr/>
        </p:nvGrpSpPr>
        <p:grpSpPr>
          <a:xfrm>
            <a:off x="4150669" y="2466770"/>
            <a:ext cx="355104" cy="259584"/>
            <a:chOff x="4150669" y="2466770"/>
            <a:chExt cx="355104" cy="259584"/>
          </a:xfrm>
        </p:grpSpPr>
        <p:sp>
          <p:nvSpPr>
            <p:cNvPr id="12967" name="Google Shape;12967;p63"/>
            <p:cNvSpPr/>
            <p:nvPr/>
          </p:nvSpPr>
          <p:spPr>
            <a:xfrm>
              <a:off x="4150669" y="2466770"/>
              <a:ext cx="355104" cy="259584"/>
            </a:xfrm>
            <a:custGeom>
              <a:avLst/>
              <a:gdLst/>
              <a:ahLst/>
              <a:cxnLst/>
              <a:rect l="l" t="t" r="r" b="b"/>
              <a:pathLst>
                <a:path w="11097" h="8112" extrusionOk="0">
                  <a:moveTo>
                    <a:pt x="4060" y="349"/>
                  </a:moveTo>
                  <a:cubicBezTo>
                    <a:pt x="5489" y="718"/>
                    <a:pt x="6632" y="1504"/>
                    <a:pt x="7382" y="2266"/>
                  </a:cubicBezTo>
                  <a:cubicBezTo>
                    <a:pt x="6965" y="2051"/>
                    <a:pt x="6560" y="1897"/>
                    <a:pt x="6263" y="1766"/>
                  </a:cubicBezTo>
                  <a:cubicBezTo>
                    <a:pt x="5322" y="1420"/>
                    <a:pt x="4298" y="1170"/>
                    <a:pt x="3560" y="1123"/>
                  </a:cubicBezTo>
                  <a:lnTo>
                    <a:pt x="4060" y="349"/>
                  </a:lnTo>
                  <a:close/>
                  <a:moveTo>
                    <a:pt x="3322" y="1397"/>
                  </a:moveTo>
                  <a:cubicBezTo>
                    <a:pt x="4036" y="1409"/>
                    <a:pt x="5144" y="1647"/>
                    <a:pt x="6144" y="2040"/>
                  </a:cubicBezTo>
                  <a:cubicBezTo>
                    <a:pt x="7370" y="2504"/>
                    <a:pt x="8275" y="3052"/>
                    <a:pt x="8704" y="3635"/>
                  </a:cubicBezTo>
                  <a:cubicBezTo>
                    <a:pt x="8737" y="3676"/>
                    <a:pt x="8783" y="3697"/>
                    <a:pt x="8829" y="3697"/>
                  </a:cubicBezTo>
                  <a:cubicBezTo>
                    <a:pt x="8864" y="3697"/>
                    <a:pt x="8899" y="3685"/>
                    <a:pt x="8930" y="3659"/>
                  </a:cubicBezTo>
                  <a:cubicBezTo>
                    <a:pt x="9001" y="3599"/>
                    <a:pt x="9013" y="3516"/>
                    <a:pt x="8954" y="3433"/>
                  </a:cubicBezTo>
                  <a:cubicBezTo>
                    <a:pt x="8930" y="3397"/>
                    <a:pt x="8882" y="3349"/>
                    <a:pt x="8858" y="3314"/>
                  </a:cubicBezTo>
                  <a:cubicBezTo>
                    <a:pt x="9668" y="3004"/>
                    <a:pt x="10240" y="2480"/>
                    <a:pt x="10597" y="2087"/>
                  </a:cubicBezTo>
                  <a:lnTo>
                    <a:pt x="10597" y="2087"/>
                  </a:lnTo>
                  <a:lnTo>
                    <a:pt x="10251" y="3956"/>
                  </a:lnTo>
                  <a:cubicBezTo>
                    <a:pt x="10204" y="4230"/>
                    <a:pt x="10204" y="4504"/>
                    <a:pt x="10251" y="4778"/>
                  </a:cubicBezTo>
                  <a:lnTo>
                    <a:pt x="10597" y="6647"/>
                  </a:lnTo>
                  <a:cubicBezTo>
                    <a:pt x="10251" y="6266"/>
                    <a:pt x="9692" y="5742"/>
                    <a:pt x="8870" y="5433"/>
                  </a:cubicBezTo>
                  <a:cubicBezTo>
                    <a:pt x="9132" y="5123"/>
                    <a:pt x="9335" y="4766"/>
                    <a:pt x="9335" y="4373"/>
                  </a:cubicBezTo>
                  <a:cubicBezTo>
                    <a:pt x="9335" y="4302"/>
                    <a:pt x="9311" y="4207"/>
                    <a:pt x="9299" y="4135"/>
                  </a:cubicBezTo>
                  <a:cubicBezTo>
                    <a:pt x="9288" y="4059"/>
                    <a:pt x="9207" y="4003"/>
                    <a:pt x="9130" y="4003"/>
                  </a:cubicBezTo>
                  <a:cubicBezTo>
                    <a:pt x="9123" y="4003"/>
                    <a:pt x="9116" y="4003"/>
                    <a:pt x="9108" y="4004"/>
                  </a:cubicBezTo>
                  <a:cubicBezTo>
                    <a:pt x="9013" y="4016"/>
                    <a:pt x="8954" y="4111"/>
                    <a:pt x="8977" y="4195"/>
                  </a:cubicBezTo>
                  <a:cubicBezTo>
                    <a:pt x="8989" y="4254"/>
                    <a:pt x="8989" y="4314"/>
                    <a:pt x="8989" y="4373"/>
                  </a:cubicBezTo>
                  <a:cubicBezTo>
                    <a:pt x="8989" y="4730"/>
                    <a:pt x="8775" y="5099"/>
                    <a:pt x="8358" y="5469"/>
                  </a:cubicBezTo>
                  <a:cubicBezTo>
                    <a:pt x="7989" y="5802"/>
                    <a:pt x="7442" y="6135"/>
                    <a:pt x="6787" y="6433"/>
                  </a:cubicBezTo>
                  <a:cubicBezTo>
                    <a:pt x="5620" y="6957"/>
                    <a:pt x="4215" y="7302"/>
                    <a:pt x="3322" y="7326"/>
                  </a:cubicBezTo>
                  <a:cubicBezTo>
                    <a:pt x="4155" y="6576"/>
                    <a:pt x="4644" y="5492"/>
                    <a:pt x="4644" y="4361"/>
                  </a:cubicBezTo>
                  <a:cubicBezTo>
                    <a:pt x="4644" y="4004"/>
                    <a:pt x="4596" y="3647"/>
                    <a:pt x="4513" y="3302"/>
                  </a:cubicBezTo>
                  <a:cubicBezTo>
                    <a:pt x="4481" y="3227"/>
                    <a:pt x="4410" y="3181"/>
                    <a:pt x="4336" y="3181"/>
                  </a:cubicBezTo>
                  <a:cubicBezTo>
                    <a:pt x="4327" y="3181"/>
                    <a:pt x="4319" y="3181"/>
                    <a:pt x="4310" y="3183"/>
                  </a:cubicBezTo>
                  <a:cubicBezTo>
                    <a:pt x="4227" y="3218"/>
                    <a:pt x="4179" y="3302"/>
                    <a:pt x="4191" y="3385"/>
                  </a:cubicBezTo>
                  <a:cubicBezTo>
                    <a:pt x="4286" y="3695"/>
                    <a:pt x="4334" y="4016"/>
                    <a:pt x="4334" y="4349"/>
                  </a:cubicBezTo>
                  <a:cubicBezTo>
                    <a:pt x="4334" y="5504"/>
                    <a:pt x="3774" y="6600"/>
                    <a:pt x="2858" y="7278"/>
                  </a:cubicBezTo>
                  <a:cubicBezTo>
                    <a:pt x="2096" y="7183"/>
                    <a:pt x="1512" y="6862"/>
                    <a:pt x="1096" y="6290"/>
                  </a:cubicBezTo>
                  <a:cubicBezTo>
                    <a:pt x="857" y="5957"/>
                    <a:pt x="738" y="5623"/>
                    <a:pt x="679" y="5433"/>
                  </a:cubicBezTo>
                  <a:cubicBezTo>
                    <a:pt x="1072" y="5338"/>
                    <a:pt x="1500" y="5099"/>
                    <a:pt x="1727" y="4718"/>
                  </a:cubicBezTo>
                  <a:cubicBezTo>
                    <a:pt x="1750" y="4718"/>
                    <a:pt x="1786" y="4707"/>
                    <a:pt x="1810" y="4707"/>
                  </a:cubicBezTo>
                  <a:cubicBezTo>
                    <a:pt x="1905" y="4683"/>
                    <a:pt x="1965" y="4599"/>
                    <a:pt x="1953" y="4504"/>
                  </a:cubicBezTo>
                  <a:cubicBezTo>
                    <a:pt x="1931" y="4428"/>
                    <a:pt x="1859" y="4372"/>
                    <a:pt x="1775" y="4372"/>
                  </a:cubicBezTo>
                  <a:cubicBezTo>
                    <a:pt x="1767" y="4372"/>
                    <a:pt x="1759" y="4372"/>
                    <a:pt x="1750" y="4373"/>
                  </a:cubicBezTo>
                  <a:cubicBezTo>
                    <a:pt x="1571" y="4402"/>
                    <a:pt x="1406" y="4413"/>
                    <a:pt x="1255" y="4413"/>
                  </a:cubicBezTo>
                  <a:cubicBezTo>
                    <a:pt x="775" y="4413"/>
                    <a:pt x="446" y="4297"/>
                    <a:pt x="310" y="4242"/>
                  </a:cubicBezTo>
                  <a:cubicBezTo>
                    <a:pt x="357" y="2802"/>
                    <a:pt x="1441" y="1611"/>
                    <a:pt x="2846" y="1409"/>
                  </a:cubicBezTo>
                  <a:cubicBezTo>
                    <a:pt x="3036" y="1551"/>
                    <a:pt x="3203" y="1706"/>
                    <a:pt x="3358" y="1885"/>
                  </a:cubicBezTo>
                  <a:cubicBezTo>
                    <a:pt x="3393" y="1921"/>
                    <a:pt x="3441" y="1944"/>
                    <a:pt x="3477" y="1944"/>
                  </a:cubicBezTo>
                  <a:cubicBezTo>
                    <a:pt x="3524" y="1944"/>
                    <a:pt x="3560" y="1932"/>
                    <a:pt x="3584" y="1909"/>
                  </a:cubicBezTo>
                  <a:cubicBezTo>
                    <a:pt x="3643" y="1849"/>
                    <a:pt x="3655" y="1742"/>
                    <a:pt x="3596" y="1682"/>
                  </a:cubicBezTo>
                  <a:cubicBezTo>
                    <a:pt x="3512" y="1575"/>
                    <a:pt x="3417" y="1492"/>
                    <a:pt x="3322" y="1397"/>
                  </a:cubicBezTo>
                  <a:close/>
                  <a:moveTo>
                    <a:pt x="6489" y="6933"/>
                  </a:moveTo>
                  <a:cubicBezTo>
                    <a:pt x="6489" y="7278"/>
                    <a:pt x="6608" y="7576"/>
                    <a:pt x="6691" y="7766"/>
                  </a:cubicBezTo>
                  <a:cubicBezTo>
                    <a:pt x="6546" y="7784"/>
                    <a:pt x="6400" y="7792"/>
                    <a:pt x="6256" y="7792"/>
                  </a:cubicBezTo>
                  <a:cubicBezTo>
                    <a:pt x="5624" y="7792"/>
                    <a:pt x="5025" y="7640"/>
                    <a:pt x="4608" y="7505"/>
                  </a:cubicBezTo>
                  <a:cubicBezTo>
                    <a:pt x="5227" y="7374"/>
                    <a:pt x="5882" y="7171"/>
                    <a:pt x="6489" y="6933"/>
                  </a:cubicBezTo>
                  <a:close/>
                  <a:moveTo>
                    <a:pt x="4030" y="1"/>
                  </a:moveTo>
                  <a:cubicBezTo>
                    <a:pt x="3977" y="1"/>
                    <a:pt x="3921" y="25"/>
                    <a:pt x="3882" y="75"/>
                  </a:cubicBezTo>
                  <a:lnTo>
                    <a:pt x="3203" y="1123"/>
                  </a:lnTo>
                  <a:cubicBezTo>
                    <a:pt x="1429" y="1159"/>
                    <a:pt x="0" y="2623"/>
                    <a:pt x="0" y="4397"/>
                  </a:cubicBezTo>
                  <a:cubicBezTo>
                    <a:pt x="0" y="4457"/>
                    <a:pt x="24" y="4492"/>
                    <a:pt x="72" y="4528"/>
                  </a:cubicBezTo>
                  <a:cubicBezTo>
                    <a:pt x="83" y="4540"/>
                    <a:pt x="524" y="4790"/>
                    <a:pt x="1250" y="4790"/>
                  </a:cubicBezTo>
                  <a:lnTo>
                    <a:pt x="1274" y="4790"/>
                  </a:lnTo>
                  <a:cubicBezTo>
                    <a:pt x="1060" y="5016"/>
                    <a:pt x="726" y="5147"/>
                    <a:pt x="464" y="5183"/>
                  </a:cubicBezTo>
                  <a:cubicBezTo>
                    <a:pt x="417" y="5183"/>
                    <a:pt x="369" y="5207"/>
                    <a:pt x="357" y="5242"/>
                  </a:cubicBezTo>
                  <a:cubicBezTo>
                    <a:pt x="322" y="5266"/>
                    <a:pt x="310" y="5314"/>
                    <a:pt x="322" y="5361"/>
                  </a:cubicBezTo>
                  <a:cubicBezTo>
                    <a:pt x="322" y="5385"/>
                    <a:pt x="417" y="5945"/>
                    <a:pt x="834" y="6516"/>
                  </a:cubicBezTo>
                  <a:cubicBezTo>
                    <a:pt x="1203" y="7040"/>
                    <a:pt x="1953" y="7671"/>
                    <a:pt x="3286" y="7671"/>
                  </a:cubicBezTo>
                  <a:cubicBezTo>
                    <a:pt x="3512" y="7671"/>
                    <a:pt x="3751" y="7647"/>
                    <a:pt x="4013" y="7612"/>
                  </a:cubicBezTo>
                  <a:cubicBezTo>
                    <a:pt x="4203" y="7695"/>
                    <a:pt x="5179" y="8112"/>
                    <a:pt x="6251" y="8112"/>
                  </a:cubicBezTo>
                  <a:cubicBezTo>
                    <a:pt x="6489" y="8112"/>
                    <a:pt x="6739" y="8100"/>
                    <a:pt x="6977" y="8040"/>
                  </a:cubicBezTo>
                  <a:cubicBezTo>
                    <a:pt x="7025" y="8028"/>
                    <a:pt x="7072" y="7993"/>
                    <a:pt x="7096" y="7945"/>
                  </a:cubicBezTo>
                  <a:cubicBezTo>
                    <a:pt x="7108" y="7909"/>
                    <a:pt x="7108" y="7850"/>
                    <a:pt x="7084" y="7802"/>
                  </a:cubicBezTo>
                  <a:cubicBezTo>
                    <a:pt x="7084" y="7802"/>
                    <a:pt x="6787" y="7314"/>
                    <a:pt x="6822" y="6790"/>
                  </a:cubicBezTo>
                  <a:cubicBezTo>
                    <a:pt x="6870" y="6778"/>
                    <a:pt x="6906" y="6754"/>
                    <a:pt x="6941" y="6743"/>
                  </a:cubicBezTo>
                  <a:cubicBezTo>
                    <a:pt x="7442" y="6516"/>
                    <a:pt x="8120" y="6159"/>
                    <a:pt x="8632" y="5707"/>
                  </a:cubicBezTo>
                  <a:cubicBezTo>
                    <a:pt x="10073" y="6183"/>
                    <a:pt x="10751" y="7433"/>
                    <a:pt x="10775" y="7445"/>
                  </a:cubicBezTo>
                  <a:cubicBezTo>
                    <a:pt x="10799" y="7505"/>
                    <a:pt x="10859" y="7528"/>
                    <a:pt x="10918" y="7528"/>
                  </a:cubicBezTo>
                  <a:cubicBezTo>
                    <a:pt x="10930" y="7528"/>
                    <a:pt x="10954" y="7528"/>
                    <a:pt x="10978" y="7516"/>
                  </a:cubicBezTo>
                  <a:cubicBezTo>
                    <a:pt x="11049" y="7493"/>
                    <a:pt x="11097" y="7409"/>
                    <a:pt x="11085" y="7338"/>
                  </a:cubicBezTo>
                  <a:lnTo>
                    <a:pt x="10597" y="4754"/>
                  </a:lnTo>
                  <a:cubicBezTo>
                    <a:pt x="10561" y="4516"/>
                    <a:pt x="10561" y="4278"/>
                    <a:pt x="10597" y="4040"/>
                  </a:cubicBezTo>
                  <a:lnTo>
                    <a:pt x="11061" y="1444"/>
                  </a:lnTo>
                  <a:cubicBezTo>
                    <a:pt x="11073" y="1373"/>
                    <a:pt x="11025" y="1301"/>
                    <a:pt x="10954" y="1266"/>
                  </a:cubicBezTo>
                  <a:cubicBezTo>
                    <a:pt x="10936" y="1260"/>
                    <a:pt x="10917" y="1257"/>
                    <a:pt x="10897" y="1257"/>
                  </a:cubicBezTo>
                  <a:cubicBezTo>
                    <a:pt x="10839" y="1257"/>
                    <a:pt x="10781" y="1284"/>
                    <a:pt x="10763" y="1337"/>
                  </a:cubicBezTo>
                  <a:cubicBezTo>
                    <a:pt x="10763" y="1361"/>
                    <a:pt x="10073" y="2611"/>
                    <a:pt x="8632" y="3087"/>
                  </a:cubicBezTo>
                  <a:cubicBezTo>
                    <a:pt x="8525" y="2980"/>
                    <a:pt x="8406" y="2885"/>
                    <a:pt x="8287" y="2802"/>
                  </a:cubicBezTo>
                  <a:cubicBezTo>
                    <a:pt x="8120" y="2563"/>
                    <a:pt x="7644" y="1956"/>
                    <a:pt x="6834" y="1325"/>
                  </a:cubicBezTo>
                  <a:cubicBezTo>
                    <a:pt x="6001" y="682"/>
                    <a:pt x="5060" y="242"/>
                    <a:pt x="4060" y="4"/>
                  </a:cubicBezTo>
                  <a:cubicBezTo>
                    <a:pt x="4050" y="2"/>
                    <a:pt x="4040" y="1"/>
                    <a:pt x="40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8" name="Google Shape;12968;p63"/>
            <p:cNvSpPr/>
            <p:nvPr/>
          </p:nvSpPr>
          <p:spPr>
            <a:xfrm>
              <a:off x="4270285" y="2538098"/>
              <a:ext cx="17184" cy="19872"/>
            </a:xfrm>
            <a:custGeom>
              <a:avLst/>
              <a:gdLst/>
              <a:ahLst/>
              <a:cxnLst/>
              <a:rect l="l" t="t" r="r" b="b"/>
              <a:pathLst>
                <a:path w="537" h="621" extrusionOk="0">
                  <a:moveTo>
                    <a:pt x="184" y="1"/>
                  </a:moveTo>
                  <a:cubicBezTo>
                    <a:pt x="155" y="1"/>
                    <a:pt x="125" y="9"/>
                    <a:pt x="96" y="25"/>
                  </a:cubicBezTo>
                  <a:cubicBezTo>
                    <a:pt x="25" y="61"/>
                    <a:pt x="1" y="168"/>
                    <a:pt x="36" y="239"/>
                  </a:cubicBezTo>
                  <a:cubicBezTo>
                    <a:pt x="96" y="334"/>
                    <a:pt x="144" y="418"/>
                    <a:pt x="191" y="525"/>
                  </a:cubicBezTo>
                  <a:cubicBezTo>
                    <a:pt x="215" y="584"/>
                    <a:pt x="275" y="620"/>
                    <a:pt x="334" y="620"/>
                  </a:cubicBezTo>
                  <a:cubicBezTo>
                    <a:pt x="370" y="620"/>
                    <a:pt x="382" y="620"/>
                    <a:pt x="417" y="596"/>
                  </a:cubicBezTo>
                  <a:cubicBezTo>
                    <a:pt x="489" y="561"/>
                    <a:pt x="536" y="454"/>
                    <a:pt x="489" y="382"/>
                  </a:cubicBezTo>
                  <a:cubicBezTo>
                    <a:pt x="441" y="275"/>
                    <a:pt x="382" y="168"/>
                    <a:pt x="322" y="84"/>
                  </a:cubicBezTo>
                  <a:cubicBezTo>
                    <a:pt x="291" y="30"/>
                    <a:pt x="239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9" name="Google Shape;12969;p63"/>
            <p:cNvSpPr/>
            <p:nvPr/>
          </p:nvSpPr>
          <p:spPr>
            <a:xfrm>
              <a:off x="4183437" y="2557170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00" y="334"/>
                  </a:moveTo>
                  <a:cubicBezTo>
                    <a:pt x="607" y="334"/>
                    <a:pt x="691" y="417"/>
                    <a:pt x="691" y="512"/>
                  </a:cubicBezTo>
                  <a:lnTo>
                    <a:pt x="691" y="691"/>
                  </a:lnTo>
                  <a:cubicBezTo>
                    <a:pt x="691" y="798"/>
                    <a:pt x="595" y="870"/>
                    <a:pt x="500" y="870"/>
                  </a:cubicBezTo>
                  <a:cubicBezTo>
                    <a:pt x="405" y="870"/>
                    <a:pt x="322" y="774"/>
                    <a:pt x="322" y="691"/>
                  </a:cubicBezTo>
                  <a:lnTo>
                    <a:pt x="322" y="512"/>
                  </a:lnTo>
                  <a:cubicBezTo>
                    <a:pt x="322" y="405"/>
                    <a:pt x="417" y="334"/>
                    <a:pt x="500" y="334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7"/>
                    <a:pt x="0" y="512"/>
                  </a:cubicBezTo>
                  <a:lnTo>
                    <a:pt x="0" y="691"/>
                  </a:lnTo>
                  <a:cubicBezTo>
                    <a:pt x="0" y="965"/>
                    <a:pt x="226" y="1191"/>
                    <a:pt x="512" y="1191"/>
                  </a:cubicBezTo>
                  <a:cubicBezTo>
                    <a:pt x="786" y="1191"/>
                    <a:pt x="1012" y="965"/>
                    <a:pt x="1012" y="691"/>
                  </a:cubicBezTo>
                  <a:lnTo>
                    <a:pt x="1012" y="512"/>
                  </a:lnTo>
                  <a:cubicBezTo>
                    <a:pt x="1012" y="239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0" name="Google Shape;12970;p63"/>
            <p:cNvSpPr/>
            <p:nvPr/>
          </p:nvSpPr>
          <p:spPr>
            <a:xfrm>
              <a:off x="4309901" y="2589490"/>
              <a:ext cx="82720" cy="60672"/>
            </a:xfrm>
            <a:custGeom>
              <a:avLst/>
              <a:gdLst/>
              <a:ahLst/>
              <a:cxnLst/>
              <a:rect l="l" t="t" r="r" b="b"/>
              <a:pathLst>
                <a:path w="2585" h="1896" extrusionOk="0">
                  <a:moveTo>
                    <a:pt x="1005" y="1"/>
                  </a:moveTo>
                  <a:cubicBezTo>
                    <a:pt x="911" y="1"/>
                    <a:pt x="851" y="2"/>
                    <a:pt x="846" y="2"/>
                  </a:cubicBezTo>
                  <a:cubicBezTo>
                    <a:pt x="751" y="2"/>
                    <a:pt x="680" y="86"/>
                    <a:pt x="680" y="169"/>
                  </a:cubicBezTo>
                  <a:cubicBezTo>
                    <a:pt x="680" y="264"/>
                    <a:pt x="751" y="336"/>
                    <a:pt x="846" y="336"/>
                  </a:cubicBezTo>
                  <a:cubicBezTo>
                    <a:pt x="899" y="335"/>
                    <a:pt x="953" y="334"/>
                    <a:pt x="1006" y="334"/>
                  </a:cubicBezTo>
                  <a:cubicBezTo>
                    <a:pt x="1570" y="334"/>
                    <a:pt x="2108" y="391"/>
                    <a:pt x="2227" y="467"/>
                  </a:cubicBezTo>
                  <a:cubicBezTo>
                    <a:pt x="2204" y="514"/>
                    <a:pt x="2180" y="633"/>
                    <a:pt x="2120" y="764"/>
                  </a:cubicBezTo>
                  <a:lnTo>
                    <a:pt x="1465" y="657"/>
                  </a:lnTo>
                  <a:cubicBezTo>
                    <a:pt x="1457" y="656"/>
                    <a:pt x="1449" y="656"/>
                    <a:pt x="1441" y="656"/>
                  </a:cubicBezTo>
                  <a:cubicBezTo>
                    <a:pt x="1357" y="656"/>
                    <a:pt x="1287" y="713"/>
                    <a:pt x="1287" y="800"/>
                  </a:cubicBezTo>
                  <a:cubicBezTo>
                    <a:pt x="1275" y="883"/>
                    <a:pt x="1334" y="979"/>
                    <a:pt x="1418" y="979"/>
                  </a:cubicBezTo>
                  <a:lnTo>
                    <a:pt x="1954" y="1062"/>
                  </a:lnTo>
                  <a:cubicBezTo>
                    <a:pt x="1763" y="1372"/>
                    <a:pt x="1584" y="1550"/>
                    <a:pt x="1489" y="1574"/>
                  </a:cubicBezTo>
                  <a:cubicBezTo>
                    <a:pt x="1476" y="1578"/>
                    <a:pt x="1462" y="1580"/>
                    <a:pt x="1445" y="1580"/>
                  </a:cubicBezTo>
                  <a:cubicBezTo>
                    <a:pt x="1220" y="1580"/>
                    <a:pt x="687" y="1209"/>
                    <a:pt x="299" y="776"/>
                  </a:cubicBezTo>
                  <a:cubicBezTo>
                    <a:pt x="267" y="739"/>
                    <a:pt x="227" y="721"/>
                    <a:pt x="186" y="721"/>
                  </a:cubicBezTo>
                  <a:cubicBezTo>
                    <a:pt x="149" y="721"/>
                    <a:pt x="113" y="736"/>
                    <a:pt x="84" y="764"/>
                  </a:cubicBezTo>
                  <a:cubicBezTo>
                    <a:pt x="25" y="824"/>
                    <a:pt x="1" y="931"/>
                    <a:pt x="60" y="991"/>
                  </a:cubicBezTo>
                  <a:cubicBezTo>
                    <a:pt x="275" y="1205"/>
                    <a:pt x="537" y="1455"/>
                    <a:pt x="775" y="1634"/>
                  </a:cubicBezTo>
                  <a:cubicBezTo>
                    <a:pt x="1049" y="1800"/>
                    <a:pt x="1275" y="1896"/>
                    <a:pt x="1454" y="1896"/>
                  </a:cubicBezTo>
                  <a:cubicBezTo>
                    <a:pt x="1489" y="1896"/>
                    <a:pt x="1549" y="1896"/>
                    <a:pt x="1596" y="1884"/>
                  </a:cubicBezTo>
                  <a:cubicBezTo>
                    <a:pt x="1751" y="1836"/>
                    <a:pt x="1930" y="1669"/>
                    <a:pt x="2108" y="1407"/>
                  </a:cubicBezTo>
                  <a:cubicBezTo>
                    <a:pt x="2251" y="1193"/>
                    <a:pt x="2382" y="943"/>
                    <a:pt x="2477" y="741"/>
                  </a:cubicBezTo>
                  <a:cubicBezTo>
                    <a:pt x="2573" y="526"/>
                    <a:pt x="2585" y="395"/>
                    <a:pt x="2537" y="300"/>
                  </a:cubicBezTo>
                  <a:cubicBezTo>
                    <a:pt x="2454" y="145"/>
                    <a:pt x="2180" y="50"/>
                    <a:pt x="1584" y="26"/>
                  </a:cubicBezTo>
                  <a:cubicBezTo>
                    <a:pt x="1363" y="5"/>
                    <a:pt x="1146" y="1"/>
                    <a:pt x="10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71" name="Google Shape;12971;p63"/>
          <p:cNvGrpSpPr/>
          <p:nvPr/>
        </p:nvGrpSpPr>
        <p:grpSpPr>
          <a:xfrm>
            <a:off x="4699693" y="2424946"/>
            <a:ext cx="354336" cy="353984"/>
            <a:chOff x="4699693" y="2424946"/>
            <a:chExt cx="354336" cy="353984"/>
          </a:xfrm>
        </p:grpSpPr>
        <p:sp>
          <p:nvSpPr>
            <p:cNvPr id="12972" name="Google Shape;12972;p63"/>
            <p:cNvSpPr/>
            <p:nvPr/>
          </p:nvSpPr>
          <p:spPr>
            <a:xfrm>
              <a:off x="4699693" y="2424946"/>
              <a:ext cx="354336" cy="353984"/>
            </a:xfrm>
            <a:custGeom>
              <a:avLst/>
              <a:gdLst/>
              <a:ahLst/>
              <a:cxnLst/>
              <a:rect l="l" t="t" r="r" b="b"/>
              <a:pathLst>
                <a:path w="11073" h="11062" extrusionOk="0">
                  <a:moveTo>
                    <a:pt x="8144" y="358"/>
                  </a:moveTo>
                  <a:lnTo>
                    <a:pt x="8144" y="358"/>
                  </a:lnTo>
                  <a:cubicBezTo>
                    <a:pt x="7751" y="715"/>
                    <a:pt x="7191" y="1311"/>
                    <a:pt x="6977" y="1965"/>
                  </a:cubicBezTo>
                  <a:cubicBezTo>
                    <a:pt x="6429" y="1680"/>
                    <a:pt x="5822" y="1537"/>
                    <a:pt x="5179" y="1537"/>
                  </a:cubicBezTo>
                  <a:cubicBezTo>
                    <a:pt x="4917" y="1537"/>
                    <a:pt x="4643" y="1549"/>
                    <a:pt x="4393" y="1573"/>
                  </a:cubicBezTo>
                  <a:cubicBezTo>
                    <a:pt x="5286" y="1084"/>
                    <a:pt x="6239" y="775"/>
                    <a:pt x="6941" y="596"/>
                  </a:cubicBezTo>
                  <a:cubicBezTo>
                    <a:pt x="7418" y="477"/>
                    <a:pt x="7834" y="406"/>
                    <a:pt x="8144" y="358"/>
                  </a:cubicBezTo>
                  <a:close/>
                  <a:moveTo>
                    <a:pt x="8263" y="3585"/>
                  </a:moveTo>
                  <a:cubicBezTo>
                    <a:pt x="8442" y="3870"/>
                    <a:pt x="8573" y="4168"/>
                    <a:pt x="8680" y="4478"/>
                  </a:cubicBezTo>
                  <a:cubicBezTo>
                    <a:pt x="8727" y="4609"/>
                    <a:pt x="8811" y="4728"/>
                    <a:pt x="8942" y="4787"/>
                  </a:cubicBezTo>
                  <a:cubicBezTo>
                    <a:pt x="9013" y="4817"/>
                    <a:pt x="9085" y="4832"/>
                    <a:pt x="9154" y="4832"/>
                  </a:cubicBezTo>
                  <a:cubicBezTo>
                    <a:pt x="9224" y="4832"/>
                    <a:pt x="9293" y="4817"/>
                    <a:pt x="9358" y="4787"/>
                  </a:cubicBezTo>
                  <a:lnTo>
                    <a:pt x="10632" y="4251"/>
                  </a:lnTo>
                  <a:lnTo>
                    <a:pt x="10632" y="4251"/>
                  </a:lnTo>
                  <a:lnTo>
                    <a:pt x="10311" y="5192"/>
                  </a:lnTo>
                  <a:cubicBezTo>
                    <a:pt x="10239" y="5406"/>
                    <a:pt x="10239" y="5644"/>
                    <a:pt x="10311" y="5847"/>
                  </a:cubicBezTo>
                  <a:lnTo>
                    <a:pt x="10632" y="6787"/>
                  </a:lnTo>
                  <a:lnTo>
                    <a:pt x="9358" y="6252"/>
                  </a:lnTo>
                  <a:cubicBezTo>
                    <a:pt x="9293" y="6222"/>
                    <a:pt x="9221" y="6207"/>
                    <a:pt x="9150" y="6207"/>
                  </a:cubicBezTo>
                  <a:cubicBezTo>
                    <a:pt x="9079" y="6207"/>
                    <a:pt x="9007" y="6222"/>
                    <a:pt x="8942" y="6252"/>
                  </a:cubicBezTo>
                  <a:cubicBezTo>
                    <a:pt x="8811" y="6311"/>
                    <a:pt x="8727" y="6430"/>
                    <a:pt x="8680" y="6561"/>
                  </a:cubicBezTo>
                  <a:cubicBezTo>
                    <a:pt x="8584" y="6871"/>
                    <a:pt x="8442" y="7192"/>
                    <a:pt x="8263" y="7454"/>
                  </a:cubicBezTo>
                  <a:cubicBezTo>
                    <a:pt x="8144" y="6871"/>
                    <a:pt x="8084" y="6204"/>
                    <a:pt x="8084" y="5525"/>
                  </a:cubicBezTo>
                  <a:cubicBezTo>
                    <a:pt x="8084" y="4835"/>
                    <a:pt x="8144" y="4168"/>
                    <a:pt x="8263" y="3585"/>
                  </a:cubicBezTo>
                  <a:close/>
                  <a:moveTo>
                    <a:pt x="3084" y="2382"/>
                  </a:moveTo>
                  <a:cubicBezTo>
                    <a:pt x="2774" y="3323"/>
                    <a:pt x="2608" y="4406"/>
                    <a:pt x="2608" y="5549"/>
                  </a:cubicBezTo>
                  <a:cubicBezTo>
                    <a:pt x="2608" y="6680"/>
                    <a:pt x="2774" y="7764"/>
                    <a:pt x="3084" y="8716"/>
                  </a:cubicBezTo>
                  <a:cubicBezTo>
                    <a:pt x="2917" y="8597"/>
                    <a:pt x="2774" y="8502"/>
                    <a:pt x="2631" y="8395"/>
                  </a:cubicBezTo>
                  <a:cubicBezTo>
                    <a:pt x="2024" y="7919"/>
                    <a:pt x="1607" y="7276"/>
                    <a:pt x="1191" y="6657"/>
                  </a:cubicBezTo>
                  <a:cubicBezTo>
                    <a:pt x="941" y="6264"/>
                    <a:pt x="691" y="5883"/>
                    <a:pt x="393" y="5537"/>
                  </a:cubicBezTo>
                  <a:cubicBezTo>
                    <a:pt x="691" y="5180"/>
                    <a:pt x="953" y="4787"/>
                    <a:pt x="1191" y="4418"/>
                  </a:cubicBezTo>
                  <a:cubicBezTo>
                    <a:pt x="1607" y="3799"/>
                    <a:pt x="2036" y="3156"/>
                    <a:pt x="2631" y="2680"/>
                  </a:cubicBezTo>
                  <a:cubicBezTo>
                    <a:pt x="2786" y="2573"/>
                    <a:pt x="2929" y="2466"/>
                    <a:pt x="3084" y="2382"/>
                  </a:cubicBezTo>
                  <a:close/>
                  <a:moveTo>
                    <a:pt x="6370" y="2073"/>
                  </a:moveTo>
                  <a:cubicBezTo>
                    <a:pt x="6668" y="2168"/>
                    <a:pt x="6965" y="2323"/>
                    <a:pt x="7239" y="2501"/>
                  </a:cubicBezTo>
                  <a:cubicBezTo>
                    <a:pt x="7180" y="2680"/>
                    <a:pt x="7132" y="2858"/>
                    <a:pt x="7084" y="3049"/>
                  </a:cubicBezTo>
                  <a:cubicBezTo>
                    <a:pt x="7072" y="3144"/>
                    <a:pt x="7120" y="3228"/>
                    <a:pt x="7203" y="3239"/>
                  </a:cubicBezTo>
                  <a:lnTo>
                    <a:pt x="7251" y="3239"/>
                  </a:lnTo>
                  <a:cubicBezTo>
                    <a:pt x="7322" y="3239"/>
                    <a:pt x="7382" y="3204"/>
                    <a:pt x="7406" y="3120"/>
                  </a:cubicBezTo>
                  <a:cubicBezTo>
                    <a:pt x="7441" y="2977"/>
                    <a:pt x="7489" y="2847"/>
                    <a:pt x="7525" y="2704"/>
                  </a:cubicBezTo>
                  <a:cubicBezTo>
                    <a:pt x="7727" y="2858"/>
                    <a:pt x="7882" y="3037"/>
                    <a:pt x="8037" y="3228"/>
                  </a:cubicBezTo>
                  <a:cubicBezTo>
                    <a:pt x="7870" y="3894"/>
                    <a:pt x="7787" y="4704"/>
                    <a:pt x="7787" y="5525"/>
                  </a:cubicBezTo>
                  <a:cubicBezTo>
                    <a:pt x="7787" y="6335"/>
                    <a:pt x="7870" y="7145"/>
                    <a:pt x="8037" y="7811"/>
                  </a:cubicBezTo>
                  <a:cubicBezTo>
                    <a:pt x="7870" y="7990"/>
                    <a:pt x="7691" y="8169"/>
                    <a:pt x="7501" y="8335"/>
                  </a:cubicBezTo>
                  <a:cubicBezTo>
                    <a:pt x="7263" y="7526"/>
                    <a:pt x="7120" y="6549"/>
                    <a:pt x="7120" y="5525"/>
                  </a:cubicBezTo>
                  <a:cubicBezTo>
                    <a:pt x="7120" y="4930"/>
                    <a:pt x="7156" y="4359"/>
                    <a:pt x="7251" y="3811"/>
                  </a:cubicBezTo>
                  <a:cubicBezTo>
                    <a:pt x="7263" y="3716"/>
                    <a:pt x="7203" y="3632"/>
                    <a:pt x="7120" y="3632"/>
                  </a:cubicBezTo>
                  <a:cubicBezTo>
                    <a:pt x="7112" y="3631"/>
                    <a:pt x="7104" y="3631"/>
                    <a:pt x="7096" y="3631"/>
                  </a:cubicBezTo>
                  <a:cubicBezTo>
                    <a:pt x="7011" y="3631"/>
                    <a:pt x="6941" y="3687"/>
                    <a:pt x="6941" y="3763"/>
                  </a:cubicBezTo>
                  <a:cubicBezTo>
                    <a:pt x="6846" y="4335"/>
                    <a:pt x="6799" y="4906"/>
                    <a:pt x="6799" y="5525"/>
                  </a:cubicBezTo>
                  <a:cubicBezTo>
                    <a:pt x="6799" y="6621"/>
                    <a:pt x="6953" y="7680"/>
                    <a:pt x="7239" y="8538"/>
                  </a:cubicBezTo>
                  <a:cubicBezTo>
                    <a:pt x="6965" y="8716"/>
                    <a:pt x="6668" y="8871"/>
                    <a:pt x="6370" y="8978"/>
                  </a:cubicBezTo>
                  <a:cubicBezTo>
                    <a:pt x="6167" y="8002"/>
                    <a:pt x="6060" y="6787"/>
                    <a:pt x="6060" y="5525"/>
                  </a:cubicBezTo>
                  <a:cubicBezTo>
                    <a:pt x="6060" y="4251"/>
                    <a:pt x="6179" y="3037"/>
                    <a:pt x="6370" y="2073"/>
                  </a:cubicBezTo>
                  <a:close/>
                  <a:moveTo>
                    <a:pt x="5429" y="1870"/>
                  </a:moveTo>
                  <a:cubicBezTo>
                    <a:pt x="5644" y="1894"/>
                    <a:pt x="5846" y="1930"/>
                    <a:pt x="6060" y="1977"/>
                  </a:cubicBezTo>
                  <a:cubicBezTo>
                    <a:pt x="5846" y="2977"/>
                    <a:pt x="5727" y="4228"/>
                    <a:pt x="5727" y="5525"/>
                  </a:cubicBezTo>
                  <a:cubicBezTo>
                    <a:pt x="5727" y="6811"/>
                    <a:pt x="5846" y="8061"/>
                    <a:pt x="6060" y="9062"/>
                  </a:cubicBezTo>
                  <a:cubicBezTo>
                    <a:pt x="5846" y="9109"/>
                    <a:pt x="5644" y="9157"/>
                    <a:pt x="5429" y="9169"/>
                  </a:cubicBezTo>
                  <a:cubicBezTo>
                    <a:pt x="5179" y="8157"/>
                    <a:pt x="5048" y="6859"/>
                    <a:pt x="5048" y="5525"/>
                  </a:cubicBezTo>
                  <a:cubicBezTo>
                    <a:pt x="5048" y="4180"/>
                    <a:pt x="5179" y="2906"/>
                    <a:pt x="5429" y="1870"/>
                  </a:cubicBezTo>
                  <a:close/>
                  <a:moveTo>
                    <a:pt x="5108" y="1894"/>
                  </a:moveTo>
                  <a:cubicBezTo>
                    <a:pt x="4870" y="2918"/>
                    <a:pt x="4739" y="4216"/>
                    <a:pt x="4739" y="5537"/>
                  </a:cubicBezTo>
                  <a:cubicBezTo>
                    <a:pt x="4739" y="6859"/>
                    <a:pt x="4870" y="8157"/>
                    <a:pt x="5108" y="9181"/>
                  </a:cubicBezTo>
                  <a:cubicBezTo>
                    <a:pt x="4834" y="9181"/>
                    <a:pt x="4572" y="9157"/>
                    <a:pt x="4334" y="9121"/>
                  </a:cubicBezTo>
                  <a:cubicBezTo>
                    <a:pt x="4096" y="8109"/>
                    <a:pt x="3965" y="6847"/>
                    <a:pt x="3965" y="5537"/>
                  </a:cubicBezTo>
                  <a:cubicBezTo>
                    <a:pt x="3965" y="4692"/>
                    <a:pt x="4001" y="3882"/>
                    <a:pt x="4108" y="3120"/>
                  </a:cubicBezTo>
                  <a:cubicBezTo>
                    <a:pt x="4120" y="3025"/>
                    <a:pt x="4060" y="2942"/>
                    <a:pt x="3977" y="2930"/>
                  </a:cubicBezTo>
                  <a:cubicBezTo>
                    <a:pt x="3969" y="2929"/>
                    <a:pt x="3961" y="2928"/>
                    <a:pt x="3953" y="2928"/>
                  </a:cubicBezTo>
                  <a:cubicBezTo>
                    <a:pt x="3870" y="2928"/>
                    <a:pt x="3809" y="2985"/>
                    <a:pt x="3798" y="3061"/>
                  </a:cubicBezTo>
                  <a:cubicBezTo>
                    <a:pt x="3691" y="3835"/>
                    <a:pt x="3631" y="4656"/>
                    <a:pt x="3631" y="5525"/>
                  </a:cubicBezTo>
                  <a:cubicBezTo>
                    <a:pt x="3631" y="6799"/>
                    <a:pt x="3751" y="8038"/>
                    <a:pt x="3977" y="9038"/>
                  </a:cubicBezTo>
                  <a:cubicBezTo>
                    <a:pt x="3810" y="8990"/>
                    <a:pt x="3643" y="8943"/>
                    <a:pt x="3477" y="8883"/>
                  </a:cubicBezTo>
                  <a:cubicBezTo>
                    <a:pt x="3108" y="7907"/>
                    <a:pt x="2905" y="6740"/>
                    <a:pt x="2905" y="5525"/>
                  </a:cubicBezTo>
                  <a:cubicBezTo>
                    <a:pt x="2905" y="4299"/>
                    <a:pt x="3096" y="3144"/>
                    <a:pt x="3477" y="2156"/>
                  </a:cubicBezTo>
                  <a:cubicBezTo>
                    <a:pt x="3631" y="2096"/>
                    <a:pt x="3798" y="2037"/>
                    <a:pt x="3977" y="2013"/>
                  </a:cubicBezTo>
                  <a:lnTo>
                    <a:pt x="3977" y="2013"/>
                  </a:lnTo>
                  <a:cubicBezTo>
                    <a:pt x="3941" y="2132"/>
                    <a:pt x="3929" y="2251"/>
                    <a:pt x="3893" y="2382"/>
                  </a:cubicBezTo>
                  <a:cubicBezTo>
                    <a:pt x="3881" y="2466"/>
                    <a:pt x="3941" y="2561"/>
                    <a:pt x="4036" y="2573"/>
                  </a:cubicBezTo>
                  <a:lnTo>
                    <a:pt x="4060" y="2573"/>
                  </a:lnTo>
                  <a:cubicBezTo>
                    <a:pt x="4132" y="2573"/>
                    <a:pt x="4215" y="2513"/>
                    <a:pt x="4227" y="2442"/>
                  </a:cubicBezTo>
                  <a:cubicBezTo>
                    <a:pt x="4262" y="2263"/>
                    <a:pt x="4298" y="2096"/>
                    <a:pt x="4334" y="1954"/>
                  </a:cubicBezTo>
                  <a:cubicBezTo>
                    <a:pt x="4572" y="1906"/>
                    <a:pt x="4834" y="1894"/>
                    <a:pt x="5108" y="1894"/>
                  </a:cubicBezTo>
                  <a:close/>
                  <a:moveTo>
                    <a:pt x="6953" y="9050"/>
                  </a:moveTo>
                  <a:cubicBezTo>
                    <a:pt x="7180" y="9716"/>
                    <a:pt x="7739" y="10312"/>
                    <a:pt x="8132" y="10669"/>
                  </a:cubicBezTo>
                  <a:cubicBezTo>
                    <a:pt x="7811" y="10621"/>
                    <a:pt x="7394" y="10550"/>
                    <a:pt x="6918" y="10431"/>
                  </a:cubicBezTo>
                  <a:cubicBezTo>
                    <a:pt x="6227" y="10252"/>
                    <a:pt x="5286" y="9955"/>
                    <a:pt x="4358" y="9431"/>
                  </a:cubicBezTo>
                  <a:lnTo>
                    <a:pt x="4358" y="9431"/>
                  </a:lnTo>
                  <a:cubicBezTo>
                    <a:pt x="4620" y="9466"/>
                    <a:pt x="4870" y="9478"/>
                    <a:pt x="5155" y="9478"/>
                  </a:cubicBezTo>
                  <a:cubicBezTo>
                    <a:pt x="5786" y="9478"/>
                    <a:pt x="6406" y="9323"/>
                    <a:pt x="6953" y="9050"/>
                  </a:cubicBezTo>
                  <a:close/>
                  <a:moveTo>
                    <a:pt x="8668" y="1"/>
                  </a:moveTo>
                  <a:cubicBezTo>
                    <a:pt x="8632" y="1"/>
                    <a:pt x="7906" y="49"/>
                    <a:pt x="6882" y="299"/>
                  </a:cubicBezTo>
                  <a:cubicBezTo>
                    <a:pt x="5941" y="537"/>
                    <a:pt x="4584" y="1001"/>
                    <a:pt x="3405" y="1858"/>
                  </a:cubicBezTo>
                  <a:cubicBezTo>
                    <a:pt x="3072" y="1989"/>
                    <a:pt x="2738" y="2168"/>
                    <a:pt x="2453" y="2406"/>
                  </a:cubicBezTo>
                  <a:cubicBezTo>
                    <a:pt x="1822" y="2918"/>
                    <a:pt x="1369" y="3585"/>
                    <a:pt x="941" y="4228"/>
                  </a:cubicBezTo>
                  <a:cubicBezTo>
                    <a:pt x="655" y="4656"/>
                    <a:pt x="393" y="5061"/>
                    <a:pt x="60" y="5418"/>
                  </a:cubicBezTo>
                  <a:cubicBezTo>
                    <a:pt x="0" y="5478"/>
                    <a:pt x="0" y="5561"/>
                    <a:pt x="60" y="5644"/>
                  </a:cubicBezTo>
                  <a:cubicBezTo>
                    <a:pt x="393" y="6002"/>
                    <a:pt x="655" y="6395"/>
                    <a:pt x="941" y="6835"/>
                  </a:cubicBezTo>
                  <a:cubicBezTo>
                    <a:pt x="1369" y="7466"/>
                    <a:pt x="1822" y="8145"/>
                    <a:pt x="2453" y="8645"/>
                  </a:cubicBezTo>
                  <a:cubicBezTo>
                    <a:pt x="2750" y="8871"/>
                    <a:pt x="3072" y="9062"/>
                    <a:pt x="3405" y="9193"/>
                  </a:cubicBezTo>
                  <a:cubicBezTo>
                    <a:pt x="4584" y="10062"/>
                    <a:pt x="5941" y="10538"/>
                    <a:pt x="6882" y="10764"/>
                  </a:cubicBezTo>
                  <a:cubicBezTo>
                    <a:pt x="7894" y="11014"/>
                    <a:pt x="8632" y="11062"/>
                    <a:pt x="8668" y="11062"/>
                  </a:cubicBezTo>
                  <a:lnTo>
                    <a:pt x="8680" y="11062"/>
                  </a:lnTo>
                  <a:cubicBezTo>
                    <a:pt x="8751" y="11062"/>
                    <a:pt x="8811" y="11014"/>
                    <a:pt x="8823" y="10955"/>
                  </a:cubicBezTo>
                  <a:cubicBezTo>
                    <a:pt x="8858" y="10871"/>
                    <a:pt x="8823" y="10800"/>
                    <a:pt x="8763" y="10776"/>
                  </a:cubicBezTo>
                  <a:cubicBezTo>
                    <a:pt x="8751" y="10752"/>
                    <a:pt x="7549" y="9883"/>
                    <a:pt x="7275" y="8907"/>
                  </a:cubicBezTo>
                  <a:cubicBezTo>
                    <a:pt x="7382" y="8847"/>
                    <a:pt x="7489" y="8776"/>
                    <a:pt x="7596" y="8692"/>
                  </a:cubicBezTo>
                  <a:cubicBezTo>
                    <a:pt x="8263" y="8181"/>
                    <a:pt x="8763" y="7454"/>
                    <a:pt x="9001" y="6645"/>
                  </a:cubicBezTo>
                  <a:cubicBezTo>
                    <a:pt x="9025" y="6609"/>
                    <a:pt x="9049" y="6561"/>
                    <a:pt x="9096" y="6549"/>
                  </a:cubicBezTo>
                  <a:cubicBezTo>
                    <a:pt x="9120" y="6531"/>
                    <a:pt x="9147" y="6523"/>
                    <a:pt x="9172" y="6523"/>
                  </a:cubicBezTo>
                  <a:cubicBezTo>
                    <a:pt x="9198" y="6523"/>
                    <a:pt x="9221" y="6531"/>
                    <a:pt x="9239" y="6549"/>
                  </a:cubicBezTo>
                  <a:lnTo>
                    <a:pt x="10835" y="7228"/>
                  </a:lnTo>
                  <a:cubicBezTo>
                    <a:pt x="10855" y="7240"/>
                    <a:pt x="10878" y="7246"/>
                    <a:pt x="10900" y="7246"/>
                  </a:cubicBezTo>
                  <a:cubicBezTo>
                    <a:pt x="10941" y="7246"/>
                    <a:pt x="10982" y="7227"/>
                    <a:pt x="11013" y="7204"/>
                  </a:cubicBezTo>
                  <a:cubicBezTo>
                    <a:pt x="11061" y="7157"/>
                    <a:pt x="11073" y="7097"/>
                    <a:pt x="11061" y="7038"/>
                  </a:cubicBezTo>
                  <a:lnTo>
                    <a:pt x="10632" y="5740"/>
                  </a:lnTo>
                  <a:cubicBezTo>
                    <a:pt x="10585" y="5597"/>
                    <a:pt x="10585" y="5442"/>
                    <a:pt x="10632" y="5299"/>
                  </a:cubicBezTo>
                  <a:lnTo>
                    <a:pt x="11061" y="4013"/>
                  </a:lnTo>
                  <a:cubicBezTo>
                    <a:pt x="11073" y="3954"/>
                    <a:pt x="11061" y="3882"/>
                    <a:pt x="11013" y="3847"/>
                  </a:cubicBezTo>
                  <a:cubicBezTo>
                    <a:pt x="10983" y="3824"/>
                    <a:pt x="10942" y="3810"/>
                    <a:pt x="10901" y="3810"/>
                  </a:cubicBezTo>
                  <a:cubicBezTo>
                    <a:pt x="10878" y="3810"/>
                    <a:pt x="10856" y="3814"/>
                    <a:pt x="10835" y="3823"/>
                  </a:cubicBezTo>
                  <a:lnTo>
                    <a:pt x="9239" y="4513"/>
                  </a:lnTo>
                  <a:cubicBezTo>
                    <a:pt x="9221" y="4519"/>
                    <a:pt x="9198" y="4522"/>
                    <a:pt x="9172" y="4522"/>
                  </a:cubicBezTo>
                  <a:cubicBezTo>
                    <a:pt x="9147" y="4522"/>
                    <a:pt x="9120" y="4519"/>
                    <a:pt x="9096" y="4513"/>
                  </a:cubicBezTo>
                  <a:cubicBezTo>
                    <a:pt x="9049" y="4490"/>
                    <a:pt x="9025" y="4454"/>
                    <a:pt x="9001" y="4406"/>
                  </a:cubicBezTo>
                  <a:cubicBezTo>
                    <a:pt x="8763" y="3597"/>
                    <a:pt x="8263" y="2870"/>
                    <a:pt x="7596" y="2370"/>
                  </a:cubicBezTo>
                  <a:lnTo>
                    <a:pt x="7275" y="2144"/>
                  </a:lnTo>
                  <a:cubicBezTo>
                    <a:pt x="7561" y="1192"/>
                    <a:pt x="8751" y="299"/>
                    <a:pt x="8763" y="287"/>
                  </a:cubicBezTo>
                  <a:cubicBezTo>
                    <a:pt x="8823" y="239"/>
                    <a:pt x="8846" y="168"/>
                    <a:pt x="8823" y="108"/>
                  </a:cubicBezTo>
                  <a:cubicBezTo>
                    <a:pt x="8799" y="25"/>
                    <a:pt x="8739" y="1"/>
                    <a:pt x="8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3" name="Google Shape;12973;p63"/>
            <p:cNvSpPr/>
            <p:nvPr/>
          </p:nvSpPr>
          <p:spPr>
            <a:xfrm>
              <a:off x="4738157" y="2573938"/>
              <a:ext cx="38144" cy="38112"/>
            </a:xfrm>
            <a:custGeom>
              <a:avLst/>
              <a:gdLst/>
              <a:ahLst/>
              <a:cxnLst/>
              <a:rect l="l" t="t" r="r" b="b"/>
              <a:pathLst>
                <a:path w="1192" h="1191" extrusionOk="0">
                  <a:moveTo>
                    <a:pt x="596" y="346"/>
                  </a:moveTo>
                  <a:cubicBezTo>
                    <a:pt x="751" y="346"/>
                    <a:pt x="870" y="465"/>
                    <a:pt x="870" y="607"/>
                  </a:cubicBezTo>
                  <a:cubicBezTo>
                    <a:pt x="870" y="762"/>
                    <a:pt x="751" y="881"/>
                    <a:pt x="596" y="881"/>
                  </a:cubicBezTo>
                  <a:cubicBezTo>
                    <a:pt x="453" y="881"/>
                    <a:pt x="334" y="762"/>
                    <a:pt x="334" y="607"/>
                  </a:cubicBezTo>
                  <a:cubicBezTo>
                    <a:pt x="334" y="465"/>
                    <a:pt x="453" y="346"/>
                    <a:pt x="596" y="346"/>
                  </a:cubicBezTo>
                  <a:close/>
                  <a:moveTo>
                    <a:pt x="596" y="0"/>
                  </a:moveTo>
                  <a:cubicBezTo>
                    <a:pt x="274" y="0"/>
                    <a:pt x="1" y="274"/>
                    <a:pt x="1" y="596"/>
                  </a:cubicBezTo>
                  <a:cubicBezTo>
                    <a:pt x="1" y="929"/>
                    <a:pt x="274" y="1191"/>
                    <a:pt x="596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74" name="Google Shape;12974;p63"/>
          <p:cNvSpPr/>
          <p:nvPr/>
        </p:nvSpPr>
        <p:spPr>
          <a:xfrm>
            <a:off x="5809901" y="2424594"/>
            <a:ext cx="331520" cy="354720"/>
          </a:xfrm>
          <a:custGeom>
            <a:avLst/>
            <a:gdLst/>
            <a:ahLst/>
            <a:cxnLst/>
            <a:rect l="l" t="t" r="r" b="b"/>
            <a:pathLst>
              <a:path w="10360" h="11085" extrusionOk="0">
                <a:moveTo>
                  <a:pt x="6395" y="5179"/>
                </a:moveTo>
                <a:cubicBezTo>
                  <a:pt x="6490" y="5179"/>
                  <a:pt x="6573" y="5251"/>
                  <a:pt x="6573" y="5358"/>
                </a:cubicBezTo>
                <a:cubicBezTo>
                  <a:pt x="6573" y="5453"/>
                  <a:pt x="6490" y="5536"/>
                  <a:pt x="6395" y="5536"/>
                </a:cubicBezTo>
                <a:lnTo>
                  <a:pt x="6216" y="5536"/>
                </a:lnTo>
                <a:cubicBezTo>
                  <a:pt x="6121" y="5536"/>
                  <a:pt x="6037" y="5441"/>
                  <a:pt x="6037" y="5358"/>
                </a:cubicBezTo>
                <a:cubicBezTo>
                  <a:pt x="6037" y="5263"/>
                  <a:pt x="6133" y="5179"/>
                  <a:pt x="6216" y="5179"/>
                </a:cubicBezTo>
                <a:close/>
                <a:moveTo>
                  <a:pt x="4132" y="5191"/>
                </a:moveTo>
                <a:cubicBezTo>
                  <a:pt x="4239" y="5191"/>
                  <a:pt x="4311" y="5274"/>
                  <a:pt x="4311" y="5370"/>
                </a:cubicBezTo>
                <a:cubicBezTo>
                  <a:pt x="4311" y="5477"/>
                  <a:pt x="4228" y="5548"/>
                  <a:pt x="4132" y="5548"/>
                </a:cubicBezTo>
                <a:lnTo>
                  <a:pt x="3954" y="5548"/>
                </a:lnTo>
                <a:cubicBezTo>
                  <a:pt x="3847" y="5548"/>
                  <a:pt x="3775" y="5453"/>
                  <a:pt x="3775" y="5370"/>
                </a:cubicBezTo>
                <a:cubicBezTo>
                  <a:pt x="3775" y="5274"/>
                  <a:pt x="3870" y="5191"/>
                  <a:pt x="3954" y="5191"/>
                </a:cubicBezTo>
                <a:close/>
                <a:moveTo>
                  <a:pt x="9776" y="4727"/>
                </a:moveTo>
                <a:lnTo>
                  <a:pt x="9776" y="4727"/>
                </a:lnTo>
                <a:cubicBezTo>
                  <a:pt x="9943" y="4917"/>
                  <a:pt x="10038" y="5179"/>
                  <a:pt x="10038" y="5453"/>
                </a:cubicBezTo>
                <a:cubicBezTo>
                  <a:pt x="10038" y="6084"/>
                  <a:pt x="9538" y="6584"/>
                  <a:pt x="8907" y="6584"/>
                </a:cubicBezTo>
                <a:lnTo>
                  <a:pt x="6633" y="6584"/>
                </a:lnTo>
                <a:cubicBezTo>
                  <a:pt x="6525" y="6441"/>
                  <a:pt x="6454" y="6263"/>
                  <a:pt x="6418" y="6072"/>
                </a:cubicBezTo>
                <a:lnTo>
                  <a:pt x="6418" y="6072"/>
                </a:lnTo>
                <a:lnTo>
                  <a:pt x="8716" y="6167"/>
                </a:lnTo>
                <a:cubicBezTo>
                  <a:pt x="8744" y="6170"/>
                  <a:pt x="8771" y="6171"/>
                  <a:pt x="8798" y="6171"/>
                </a:cubicBezTo>
                <a:cubicBezTo>
                  <a:pt x="9066" y="6171"/>
                  <a:pt x="9318" y="6064"/>
                  <a:pt x="9502" y="5870"/>
                </a:cubicBezTo>
                <a:cubicBezTo>
                  <a:pt x="9716" y="5667"/>
                  <a:pt x="9835" y="5394"/>
                  <a:pt x="9835" y="5096"/>
                </a:cubicBezTo>
                <a:cubicBezTo>
                  <a:pt x="9835" y="4965"/>
                  <a:pt x="9800" y="4846"/>
                  <a:pt x="9776" y="4727"/>
                </a:cubicBezTo>
                <a:close/>
                <a:moveTo>
                  <a:pt x="3966" y="6763"/>
                </a:moveTo>
                <a:lnTo>
                  <a:pt x="3966" y="7441"/>
                </a:lnTo>
                <a:lnTo>
                  <a:pt x="3978" y="7441"/>
                </a:lnTo>
                <a:cubicBezTo>
                  <a:pt x="3585" y="7775"/>
                  <a:pt x="3096" y="7977"/>
                  <a:pt x="2573" y="7977"/>
                </a:cubicBezTo>
                <a:lnTo>
                  <a:pt x="2049" y="7977"/>
                </a:lnTo>
                <a:cubicBezTo>
                  <a:pt x="1846" y="7977"/>
                  <a:pt x="1632" y="8037"/>
                  <a:pt x="1465" y="8156"/>
                </a:cubicBezTo>
                <a:cubicBezTo>
                  <a:pt x="1656" y="7822"/>
                  <a:pt x="1989" y="7596"/>
                  <a:pt x="2394" y="7596"/>
                </a:cubicBezTo>
                <a:cubicBezTo>
                  <a:pt x="3049" y="7596"/>
                  <a:pt x="3632" y="7275"/>
                  <a:pt x="3966" y="6763"/>
                </a:cubicBezTo>
                <a:close/>
                <a:moveTo>
                  <a:pt x="5132" y="357"/>
                </a:moveTo>
                <a:cubicBezTo>
                  <a:pt x="5621" y="357"/>
                  <a:pt x="6085" y="560"/>
                  <a:pt x="6406" y="917"/>
                </a:cubicBezTo>
                <a:cubicBezTo>
                  <a:pt x="6740" y="1274"/>
                  <a:pt x="6906" y="1762"/>
                  <a:pt x="6847" y="2238"/>
                </a:cubicBezTo>
                <a:lnTo>
                  <a:pt x="6573" y="4941"/>
                </a:lnTo>
                <a:cubicBezTo>
                  <a:pt x="6502" y="4905"/>
                  <a:pt x="6430" y="4882"/>
                  <a:pt x="6347" y="4882"/>
                </a:cubicBezTo>
                <a:lnTo>
                  <a:pt x="6168" y="4882"/>
                </a:lnTo>
                <a:cubicBezTo>
                  <a:pt x="5894" y="4882"/>
                  <a:pt x="5668" y="5096"/>
                  <a:pt x="5668" y="5382"/>
                </a:cubicBezTo>
                <a:cubicBezTo>
                  <a:pt x="5668" y="5608"/>
                  <a:pt x="5811" y="5798"/>
                  <a:pt x="6025" y="5870"/>
                </a:cubicBezTo>
                <a:cubicBezTo>
                  <a:pt x="6133" y="6822"/>
                  <a:pt x="6954" y="7596"/>
                  <a:pt x="7942" y="7596"/>
                </a:cubicBezTo>
                <a:cubicBezTo>
                  <a:pt x="8347" y="7596"/>
                  <a:pt x="8692" y="7822"/>
                  <a:pt x="8871" y="8156"/>
                </a:cubicBezTo>
                <a:cubicBezTo>
                  <a:pt x="8704" y="8049"/>
                  <a:pt x="8514" y="7977"/>
                  <a:pt x="8288" y="7977"/>
                </a:cubicBezTo>
                <a:lnTo>
                  <a:pt x="7764" y="7977"/>
                </a:lnTo>
                <a:cubicBezTo>
                  <a:pt x="7240" y="7977"/>
                  <a:pt x="6752" y="7775"/>
                  <a:pt x="6371" y="7441"/>
                </a:cubicBezTo>
                <a:lnTo>
                  <a:pt x="6371" y="7275"/>
                </a:lnTo>
                <a:cubicBezTo>
                  <a:pt x="6371" y="7179"/>
                  <a:pt x="6287" y="7108"/>
                  <a:pt x="6204" y="7108"/>
                </a:cubicBezTo>
                <a:cubicBezTo>
                  <a:pt x="6121" y="7108"/>
                  <a:pt x="6037" y="7179"/>
                  <a:pt x="6037" y="7275"/>
                </a:cubicBezTo>
                <a:lnTo>
                  <a:pt x="6037" y="9704"/>
                </a:lnTo>
                <a:cubicBezTo>
                  <a:pt x="6037" y="10180"/>
                  <a:pt x="6395" y="10573"/>
                  <a:pt x="6871" y="10632"/>
                </a:cubicBezTo>
                <a:cubicBezTo>
                  <a:pt x="6906" y="10644"/>
                  <a:pt x="6945" y="10650"/>
                  <a:pt x="6984" y="10650"/>
                </a:cubicBezTo>
                <a:cubicBezTo>
                  <a:pt x="7023" y="10650"/>
                  <a:pt x="7061" y="10644"/>
                  <a:pt x="7097" y="10632"/>
                </a:cubicBezTo>
                <a:lnTo>
                  <a:pt x="7097" y="10632"/>
                </a:lnTo>
                <a:cubicBezTo>
                  <a:pt x="6966" y="10716"/>
                  <a:pt x="6799" y="10751"/>
                  <a:pt x="6621" y="10751"/>
                </a:cubicBezTo>
                <a:cubicBezTo>
                  <a:pt x="6085" y="10751"/>
                  <a:pt x="5656" y="10323"/>
                  <a:pt x="5656" y="9787"/>
                </a:cubicBezTo>
                <a:lnTo>
                  <a:pt x="5656" y="7608"/>
                </a:lnTo>
                <a:cubicBezTo>
                  <a:pt x="5656" y="7334"/>
                  <a:pt x="5430" y="7108"/>
                  <a:pt x="5144" y="7108"/>
                </a:cubicBezTo>
                <a:cubicBezTo>
                  <a:pt x="4859" y="7108"/>
                  <a:pt x="4644" y="7334"/>
                  <a:pt x="4644" y="7608"/>
                </a:cubicBezTo>
                <a:lnTo>
                  <a:pt x="4644" y="9787"/>
                </a:lnTo>
                <a:cubicBezTo>
                  <a:pt x="4644" y="10323"/>
                  <a:pt x="4204" y="10751"/>
                  <a:pt x="3668" y="10751"/>
                </a:cubicBezTo>
                <a:cubicBezTo>
                  <a:pt x="3513" y="10751"/>
                  <a:pt x="3347" y="10716"/>
                  <a:pt x="3192" y="10632"/>
                </a:cubicBezTo>
                <a:lnTo>
                  <a:pt x="3192" y="10632"/>
                </a:lnTo>
                <a:cubicBezTo>
                  <a:pt x="3233" y="10644"/>
                  <a:pt x="3272" y="10650"/>
                  <a:pt x="3309" y="10650"/>
                </a:cubicBezTo>
                <a:cubicBezTo>
                  <a:pt x="3347" y="10650"/>
                  <a:pt x="3382" y="10644"/>
                  <a:pt x="3418" y="10632"/>
                </a:cubicBezTo>
                <a:cubicBezTo>
                  <a:pt x="3894" y="10573"/>
                  <a:pt x="4251" y="10180"/>
                  <a:pt x="4251" y="9704"/>
                </a:cubicBezTo>
                <a:lnTo>
                  <a:pt x="4251" y="5858"/>
                </a:lnTo>
                <a:cubicBezTo>
                  <a:pt x="4466" y="5786"/>
                  <a:pt x="4597" y="5608"/>
                  <a:pt x="4597" y="5382"/>
                </a:cubicBezTo>
                <a:cubicBezTo>
                  <a:pt x="4597" y="5096"/>
                  <a:pt x="4370" y="4882"/>
                  <a:pt x="4085" y="4882"/>
                </a:cubicBezTo>
                <a:lnTo>
                  <a:pt x="3906" y="4882"/>
                </a:lnTo>
                <a:cubicBezTo>
                  <a:pt x="3823" y="4882"/>
                  <a:pt x="3751" y="4893"/>
                  <a:pt x="3692" y="4941"/>
                </a:cubicBezTo>
                <a:lnTo>
                  <a:pt x="3418" y="2238"/>
                </a:lnTo>
                <a:cubicBezTo>
                  <a:pt x="3370" y="1762"/>
                  <a:pt x="3525" y="1274"/>
                  <a:pt x="3847" y="917"/>
                </a:cubicBezTo>
                <a:cubicBezTo>
                  <a:pt x="4180" y="560"/>
                  <a:pt x="4644" y="357"/>
                  <a:pt x="5132" y="357"/>
                </a:cubicBezTo>
                <a:close/>
                <a:moveTo>
                  <a:pt x="5180" y="0"/>
                </a:moveTo>
                <a:cubicBezTo>
                  <a:pt x="4597" y="0"/>
                  <a:pt x="4049" y="238"/>
                  <a:pt x="3656" y="667"/>
                </a:cubicBezTo>
                <a:cubicBezTo>
                  <a:pt x="3275" y="1095"/>
                  <a:pt x="3073" y="1667"/>
                  <a:pt x="3132" y="2238"/>
                </a:cubicBezTo>
                <a:lnTo>
                  <a:pt x="3454" y="5370"/>
                </a:lnTo>
                <a:cubicBezTo>
                  <a:pt x="3454" y="5513"/>
                  <a:pt x="3525" y="5667"/>
                  <a:pt x="3644" y="5751"/>
                </a:cubicBezTo>
                <a:lnTo>
                  <a:pt x="1620" y="5846"/>
                </a:lnTo>
                <a:cubicBezTo>
                  <a:pt x="1605" y="5847"/>
                  <a:pt x="1590" y="5847"/>
                  <a:pt x="1575" y="5847"/>
                </a:cubicBezTo>
                <a:cubicBezTo>
                  <a:pt x="1379" y="5847"/>
                  <a:pt x="1205" y="5775"/>
                  <a:pt x="1072" y="5632"/>
                </a:cubicBezTo>
                <a:cubicBezTo>
                  <a:pt x="918" y="5489"/>
                  <a:pt x="834" y="5298"/>
                  <a:pt x="834" y="5096"/>
                </a:cubicBezTo>
                <a:cubicBezTo>
                  <a:pt x="834" y="4667"/>
                  <a:pt x="1191" y="4310"/>
                  <a:pt x="1620" y="4310"/>
                </a:cubicBezTo>
                <a:lnTo>
                  <a:pt x="1703" y="4310"/>
                </a:lnTo>
                <a:cubicBezTo>
                  <a:pt x="2084" y="4310"/>
                  <a:pt x="2394" y="4001"/>
                  <a:pt x="2394" y="3631"/>
                </a:cubicBezTo>
                <a:cubicBezTo>
                  <a:pt x="2394" y="3536"/>
                  <a:pt x="2323" y="3465"/>
                  <a:pt x="2227" y="3465"/>
                </a:cubicBezTo>
                <a:cubicBezTo>
                  <a:pt x="2144" y="3465"/>
                  <a:pt x="2061" y="3536"/>
                  <a:pt x="2061" y="3631"/>
                </a:cubicBezTo>
                <a:cubicBezTo>
                  <a:pt x="2061" y="3822"/>
                  <a:pt x="1906" y="3989"/>
                  <a:pt x="1703" y="3989"/>
                </a:cubicBezTo>
                <a:lnTo>
                  <a:pt x="1453" y="3989"/>
                </a:lnTo>
                <a:cubicBezTo>
                  <a:pt x="656" y="3989"/>
                  <a:pt x="1" y="4643"/>
                  <a:pt x="1" y="5441"/>
                </a:cubicBezTo>
                <a:cubicBezTo>
                  <a:pt x="1" y="6251"/>
                  <a:pt x="656" y="6906"/>
                  <a:pt x="1453" y="6906"/>
                </a:cubicBezTo>
                <a:lnTo>
                  <a:pt x="2585" y="6906"/>
                </a:lnTo>
                <a:cubicBezTo>
                  <a:pt x="2680" y="6906"/>
                  <a:pt x="2751" y="6822"/>
                  <a:pt x="2751" y="6739"/>
                </a:cubicBezTo>
                <a:cubicBezTo>
                  <a:pt x="2751" y="6644"/>
                  <a:pt x="2680" y="6572"/>
                  <a:pt x="2585" y="6572"/>
                </a:cubicBezTo>
                <a:lnTo>
                  <a:pt x="1453" y="6572"/>
                </a:lnTo>
                <a:cubicBezTo>
                  <a:pt x="834" y="6572"/>
                  <a:pt x="322" y="6072"/>
                  <a:pt x="322" y="5441"/>
                </a:cubicBezTo>
                <a:cubicBezTo>
                  <a:pt x="322" y="5155"/>
                  <a:pt x="429" y="4917"/>
                  <a:pt x="596" y="4715"/>
                </a:cubicBezTo>
                <a:lnTo>
                  <a:pt x="596" y="4715"/>
                </a:lnTo>
                <a:cubicBezTo>
                  <a:pt x="549" y="4834"/>
                  <a:pt x="537" y="4965"/>
                  <a:pt x="537" y="5084"/>
                </a:cubicBezTo>
                <a:cubicBezTo>
                  <a:pt x="537" y="5382"/>
                  <a:pt x="656" y="5655"/>
                  <a:pt x="858" y="5858"/>
                </a:cubicBezTo>
                <a:cubicBezTo>
                  <a:pt x="1062" y="6050"/>
                  <a:pt x="1319" y="6156"/>
                  <a:pt x="1599" y="6156"/>
                </a:cubicBezTo>
                <a:cubicBezTo>
                  <a:pt x="1614" y="6156"/>
                  <a:pt x="1629" y="6156"/>
                  <a:pt x="1644" y="6156"/>
                </a:cubicBezTo>
                <a:lnTo>
                  <a:pt x="3954" y="6048"/>
                </a:lnTo>
                <a:lnTo>
                  <a:pt x="3954" y="6048"/>
                </a:lnTo>
                <a:cubicBezTo>
                  <a:pt x="3906" y="6251"/>
                  <a:pt x="3835" y="6406"/>
                  <a:pt x="3728" y="6572"/>
                </a:cubicBezTo>
                <a:lnTo>
                  <a:pt x="3299" y="6572"/>
                </a:lnTo>
                <a:cubicBezTo>
                  <a:pt x="3216" y="6572"/>
                  <a:pt x="3132" y="6644"/>
                  <a:pt x="3132" y="6739"/>
                </a:cubicBezTo>
                <a:cubicBezTo>
                  <a:pt x="3132" y="6822"/>
                  <a:pt x="3216" y="6906"/>
                  <a:pt x="3299" y="6906"/>
                </a:cubicBezTo>
                <a:lnTo>
                  <a:pt x="3454" y="6906"/>
                </a:lnTo>
                <a:cubicBezTo>
                  <a:pt x="3180" y="7120"/>
                  <a:pt x="2823" y="7275"/>
                  <a:pt x="2442" y="7275"/>
                </a:cubicBezTo>
                <a:cubicBezTo>
                  <a:pt x="1680" y="7275"/>
                  <a:pt x="1072" y="7882"/>
                  <a:pt x="1072" y="8644"/>
                </a:cubicBezTo>
                <a:lnTo>
                  <a:pt x="1072" y="8989"/>
                </a:lnTo>
                <a:cubicBezTo>
                  <a:pt x="1072" y="9180"/>
                  <a:pt x="906" y="9346"/>
                  <a:pt x="715" y="9346"/>
                </a:cubicBezTo>
                <a:cubicBezTo>
                  <a:pt x="620" y="9346"/>
                  <a:pt x="549" y="9418"/>
                  <a:pt x="549" y="9501"/>
                </a:cubicBezTo>
                <a:cubicBezTo>
                  <a:pt x="549" y="9596"/>
                  <a:pt x="620" y="9668"/>
                  <a:pt x="715" y="9668"/>
                </a:cubicBezTo>
                <a:cubicBezTo>
                  <a:pt x="1084" y="9668"/>
                  <a:pt x="1394" y="9358"/>
                  <a:pt x="1394" y="8989"/>
                </a:cubicBezTo>
                <a:cubicBezTo>
                  <a:pt x="1394" y="8596"/>
                  <a:pt x="1703" y="8287"/>
                  <a:pt x="2096" y="8287"/>
                </a:cubicBezTo>
                <a:lnTo>
                  <a:pt x="2620" y="8287"/>
                </a:lnTo>
                <a:cubicBezTo>
                  <a:pt x="3120" y="8287"/>
                  <a:pt x="3608" y="8132"/>
                  <a:pt x="4013" y="7834"/>
                </a:cubicBezTo>
                <a:lnTo>
                  <a:pt x="4013" y="9680"/>
                </a:lnTo>
                <a:cubicBezTo>
                  <a:pt x="4013" y="10001"/>
                  <a:pt x="3775" y="10263"/>
                  <a:pt x="3466" y="10299"/>
                </a:cubicBezTo>
                <a:cubicBezTo>
                  <a:pt x="3448" y="10300"/>
                  <a:pt x="3430" y="10301"/>
                  <a:pt x="3413" y="10301"/>
                </a:cubicBezTo>
                <a:cubicBezTo>
                  <a:pt x="3254" y="10301"/>
                  <a:pt x="3107" y="10251"/>
                  <a:pt x="2989" y="10144"/>
                </a:cubicBezTo>
                <a:cubicBezTo>
                  <a:pt x="2858" y="10025"/>
                  <a:pt x="2775" y="9858"/>
                  <a:pt x="2775" y="9680"/>
                </a:cubicBezTo>
                <a:lnTo>
                  <a:pt x="2775" y="9525"/>
                </a:lnTo>
                <a:cubicBezTo>
                  <a:pt x="2775" y="9049"/>
                  <a:pt x="2394" y="8668"/>
                  <a:pt x="1930" y="8668"/>
                </a:cubicBezTo>
                <a:cubicBezTo>
                  <a:pt x="1846" y="8668"/>
                  <a:pt x="1763" y="8751"/>
                  <a:pt x="1763" y="8834"/>
                </a:cubicBezTo>
                <a:cubicBezTo>
                  <a:pt x="1763" y="8930"/>
                  <a:pt x="1846" y="9001"/>
                  <a:pt x="1930" y="9001"/>
                </a:cubicBezTo>
                <a:cubicBezTo>
                  <a:pt x="2227" y="9001"/>
                  <a:pt x="2465" y="9239"/>
                  <a:pt x="2465" y="9537"/>
                </a:cubicBezTo>
                <a:lnTo>
                  <a:pt x="2465" y="9787"/>
                </a:lnTo>
                <a:cubicBezTo>
                  <a:pt x="2465" y="10501"/>
                  <a:pt x="3049" y="11085"/>
                  <a:pt x="3763" y="11085"/>
                </a:cubicBezTo>
                <a:cubicBezTo>
                  <a:pt x="4478" y="11085"/>
                  <a:pt x="5061" y="10501"/>
                  <a:pt x="5061" y="9787"/>
                </a:cubicBezTo>
                <a:lnTo>
                  <a:pt x="5061" y="7620"/>
                </a:lnTo>
                <a:cubicBezTo>
                  <a:pt x="5061" y="7513"/>
                  <a:pt x="5144" y="7441"/>
                  <a:pt x="5240" y="7441"/>
                </a:cubicBezTo>
                <a:cubicBezTo>
                  <a:pt x="5323" y="7441"/>
                  <a:pt x="5418" y="7525"/>
                  <a:pt x="5418" y="7620"/>
                </a:cubicBezTo>
                <a:lnTo>
                  <a:pt x="5418" y="9787"/>
                </a:lnTo>
                <a:cubicBezTo>
                  <a:pt x="5418" y="10501"/>
                  <a:pt x="5990" y="11085"/>
                  <a:pt x="6704" y="11085"/>
                </a:cubicBezTo>
                <a:cubicBezTo>
                  <a:pt x="7418" y="11085"/>
                  <a:pt x="8002" y="10501"/>
                  <a:pt x="8002" y="9787"/>
                </a:cubicBezTo>
                <a:lnTo>
                  <a:pt x="8002" y="9525"/>
                </a:lnTo>
                <a:cubicBezTo>
                  <a:pt x="8002" y="9227"/>
                  <a:pt x="8240" y="8989"/>
                  <a:pt x="8538" y="8989"/>
                </a:cubicBezTo>
                <a:cubicBezTo>
                  <a:pt x="8633" y="8989"/>
                  <a:pt x="8704" y="8906"/>
                  <a:pt x="8704" y="8823"/>
                </a:cubicBezTo>
                <a:cubicBezTo>
                  <a:pt x="8704" y="8727"/>
                  <a:pt x="8633" y="8656"/>
                  <a:pt x="8538" y="8656"/>
                </a:cubicBezTo>
                <a:cubicBezTo>
                  <a:pt x="8061" y="8656"/>
                  <a:pt x="7692" y="9037"/>
                  <a:pt x="7692" y="9501"/>
                </a:cubicBezTo>
                <a:lnTo>
                  <a:pt x="7692" y="9668"/>
                </a:lnTo>
                <a:cubicBezTo>
                  <a:pt x="7692" y="9846"/>
                  <a:pt x="7621" y="10013"/>
                  <a:pt x="7478" y="10132"/>
                </a:cubicBezTo>
                <a:cubicBezTo>
                  <a:pt x="7372" y="10228"/>
                  <a:pt x="7236" y="10285"/>
                  <a:pt x="7100" y="10285"/>
                </a:cubicBezTo>
                <a:cubicBezTo>
                  <a:pt x="7067" y="10285"/>
                  <a:pt x="7034" y="10282"/>
                  <a:pt x="7002" y="10275"/>
                </a:cubicBezTo>
                <a:cubicBezTo>
                  <a:pt x="6692" y="10251"/>
                  <a:pt x="6454" y="9977"/>
                  <a:pt x="6454" y="9668"/>
                </a:cubicBezTo>
                <a:lnTo>
                  <a:pt x="6454" y="7822"/>
                </a:lnTo>
                <a:cubicBezTo>
                  <a:pt x="6859" y="8108"/>
                  <a:pt x="7347" y="8275"/>
                  <a:pt x="7859" y="8275"/>
                </a:cubicBezTo>
                <a:lnTo>
                  <a:pt x="8371" y="8275"/>
                </a:lnTo>
                <a:cubicBezTo>
                  <a:pt x="8764" y="8275"/>
                  <a:pt x="9073" y="8584"/>
                  <a:pt x="9073" y="8965"/>
                </a:cubicBezTo>
                <a:cubicBezTo>
                  <a:pt x="9073" y="9334"/>
                  <a:pt x="9383" y="9656"/>
                  <a:pt x="9764" y="9656"/>
                </a:cubicBezTo>
                <a:cubicBezTo>
                  <a:pt x="9847" y="9656"/>
                  <a:pt x="9919" y="9585"/>
                  <a:pt x="9919" y="9489"/>
                </a:cubicBezTo>
                <a:cubicBezTo>
                  <a:pt x="9919" y="9394"/>
                  <a:pt x="9847" y="9323"/>
                  <a:pt x="9764" y="9323"/>
                </a:cubicBezTo>
                <a:cubicBezTo>
                  <a:pt x="9562" y="9323"/>
                  <a:pt x="9407" y="9156"/>
                  <a:pt x="9407" y="8965"/>
                </a:cubicBezTo>
                <a:lnTo>
                  <a:pt x="9407" y="8620"/>
                </a:lnTo>
                <a:cubicBezTo>
                  <a:pt x="9407" y="7870"/>
                  <a:pt x="8788" y="7251"/>
                  <a:pt x="8038" y="7251"/>
                </a:cubicBezTo>
                <a:cubicBezTo>
                  <a:pt x="7645" y="7251"/>
                  <a:pt x="7287" y="7120"/>
                  <a:pt x="7026" y="6882"/>
                </a:cubicBezTo>
                <a:lnTo>
                  <a:pt x="8990" y="6882"/>
                </a:lnTo>
                <a:cubicBezTo>
                  <a:pt x="9003" y="6882"/>
                  <a:pt x="9015" y="6882"/>
                  <a:pt x="9028" y="6882"/>
                </a:cubicBezTo>
                <a:cubicBezTo>
                  <a:pt x="9727" y="6882"/>
                  <a:pt x="10359" y="6236"/>
                  <a:pt x="10359" y="5441"/>
                </a:cubicBezTo>
                <a:cubicBezTo>
                  <a:pt x="10359" y="4643"/>
                  <a:pt x="9704" y="3989"/>
                  <a:pt x="8895" y="3989"/>
                </a:cubicBezTo>
                <a:lnTo>
                  <a:pt x="8645" y="3989"/>
                </a:lnTo>
                <a:cubicBezTo>
                  <a:pt x="8454" y="3989"/>
                  <a:pt x="8288" y="3822"/>
                  <a:pt x="8288" y="3631"/>
                </a:cubicBezTo>
                <a:cubicBezTo>
                  <a:pt x="8288" y="3536"/>
                  <a:pt x="8216" y="3465"/>
                  <a:pt x="8121" y="3465"/>
                </a:cubicBezTo>
                <a:cubicBezTo>
                  <a:pt x="8038" y="3465"/>
                  <a:pt x="7966" y="3536"/>
                  <a:pt x="7966" y="3631"/>
                </a:cubicBezTo>
                <a:cubicBezTo>
                  <a:pt x="7966" y="4001"/>
                  <a:pt x="8276" y="4310"/>
                  <a:pt x="8645" y="4310"/>
                </a:cubicBezTo>
                <a:lnTo>
                  <a:pt x="8728" y="4310"/>
                </a:lnTo>
                <a:cubicBezTo>
                  <a:pt x="9169" y="4310"/>
                  <a:pt x="9526" y="4667"/>
                  <a:pt x="9526" y="5096"/>
                </a:cubicBezTo>
                <a:cubicBezTo>
                  <a:pt x="9526" y="5310"/>
                  <a:pt x="9431" y="5501"/>
                  <a:pt x="9288" y="5632"/>
                </a:cubicBezTo>
                <a:cubicBezTo>
                  <a:pt x="9144" y="5775"/>
                  <a:pt x="8969" y="5847"/>
                  <a:pt x="8774" y="5847"/>
                </a:cubicBezTo>
                <a:cubicBezTo>
                  <a:pt x="8759" y="5847"/>
                  <a:pt x="8743" y="5847"/>
                  <a:pt x="8728" y="5846"/>
                </a:cubicBezTo>
                <a:lnTo>
                  <a:pt x="6716" y="5751"/>
                </a:lnTo>
                <a:cubicBezTo>
                  <a:pt x="6823" y="5667"/>
                  <a:pt x="6895" y="5536"/>
                  <a:pt x="6906" y="5370"/>
                </a:cubicBezTo>
                <a:lnTo>
                  <a:pt x="7216" y="2238"/>
                </a:lnTo>
                <a:cubicBezTo>
                  <a:pt x="7276" y="1667"/>
                  <a:pt x="7085" y="1095"/>
                  <a:pt x="6692" y="667"/>
                </a:cubicBezTo>
                <a:cubicBezTo>
                  <a:pt x="6311" y="238"/>
                  <a:pt x="5752" y="0"/>
                  <a:pt x="518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75" name="Google Shape;12975;p63"/>
          <p:cNvSpPr/>
          <p:nvPr/>
        </p:nvSpPr>
        <p:spPr>
          <a:xfrm>
            <a:off x="3051853" y="2463538"/>
            <a:ext cx="355520" cy="315776"/>
          </a:xfrm>
          <a:custGeom>
            <a:avLst/>
            <a:gdLst/>
            <a:ahLst/>
            <a:cxnLst/>
            <a:rect l="l" t="t" r="r" b="b"/>
            <a:pathLst>
              <a:path w="11110" h="9868" extrusionOk="0">
                <a:moveTo>
                  <a:pt x="3096" y="1307"/>
                </a:moveTo>
                <a:cubicBezTo>
                  <a:pt x="3144" y="1367"/>
                  <a:pt x="3191" y="1426"/>
                  <a:pt x="3263" y="1474"/>
                </a:cubicBezTo>
                <a:cubicBezTo>
                  <a:pt x="3334" y="1521"/>
                  <a:pt x="3430" y="1533"/>
                  <a:pt x="3525" y="1533"/>
                </a:cubicBezTo>
                <a:cubicBezTo>
                  <a:pt x="3668" y="1533"/>
                  <a:pt x="3811" y="1498"/>
                  <a:pt x="3989" y="1426"/>
                </a:cubicBezTo>
                <a:lnTo>
                  <a:pt x="3989" y="1426"/>
                </a:lnTo>
                <a:cubicBezTo>
                  <a:pt x="3739" y="2319"/>
                  <a:pt x="2834" y="2914"/>
                  <a:pt x="2441" y="3129"/>
                </a:cubicBezTo>
                <a:cubicBezTo>
                  <a:pt x="2453" y="2950"/>
                  <a:pt x="2477" y="2748"/>
                  <a:pt x="2501" y="2557"/>
                </a:cubicBezTo>
                <a:cubicBezTo>
                  <a:pt x="2596" y="2117"/>
                  <a:pt x="2810" y="1676"/>
                  <a:pt x="3096" y="1307"/>
                </a:cubicBezTo>
                <a:close/>
                <a:moveTo>
                  <a:pt x="7930" y="1307"/>
                </a:moveTo>
                <a:cubicBezTo>
                  <a:pt x="8228" y="1676"/>
                  <a:pt x="8442" y="2129"/>
                  <a:pt x="8525" y="2557"/>
                </a:cubicBezTo>
                <a:cubicBezTo>
                  <a:pt x="8573" y="2748"/>
                  <a:pt x="8585" y="2926"/>
                  <a:pt x="8585" y="3129"/>
                </a:cubicBezTo>
                <a:cubicBezTo>
                  <a:pt x="8204" y="2914"/>
                  <a:pt x="7275" y="2319"/>
                  <a:pt x="7037" y="1426"/>
                </a:cubicBezTo>
                <a:lnTo>
                  <a:pt x="7037" y="1426"/>
                </a:lnTo>
                <a:cubicBezTo>
                  <a:pt x="7216" y="1498"/>
                  <a:pt x="7370" y="1533"/>
                  <a:pt x="7501" y="1533"/>
                </a:cubicBezTo>
                <a:cubicBezTo>
                  <a:pt x="7609" y="1533"/>
                  <a:pt x="7692" y="1521"/>
                  <a:pt x="7775" y="1474"/>
                </a:cubicBezTo>
                <a:cubicBezTo>
                  <a:pt x="7847" y="1426"/>
                  <a:pt x="7906" y="1367"/>
                  <a:pt x="7930" y="1307"/>
                </a:cubicBezTo>
                <a:close/>
                <a:moveTo>
                  <a:pt x="6728" y="2914"/>
                </a:moveTo>
                <a:cubicBezTo>
                  <a:pt x="6835" y="2914"/>
                  <a:pt x="6906" y="3010"/>
                  <a:pt x="6906" y="3093"/>
                </a:cubicBezTo>
                <a:cubicBezTo>
                  <a:pt x="6906" y="3200"/>
                  <a:pt x="6823" y="3272"/>
                  <a:pt x="6728" y="3272"/>
                </a:cubicBezTo>
                <a:cubicBezTo>
                  <a:pt x="6620" y="3272"/>
                  <a:pt x="6549" y="3188"/>
                  <a:pt x="6549" y="3093"/>
                </a:cubicBezTo>
                <a:cubicBezTo>
                  <a:pt x="6549" y="3010"/>
                  <a:pt x="6644" y="2914"/>
                  <a:pt x="6728" y="2914"/>
                </a:cubicBezTo>
                <a:close/>
                <a:moveTo>
                  <a:pt x="4299" y="2914"/>
                </a:moveTo>
                <a:cubicBezTo>
                  <a:pt x="4406" y="2914"/>
                  <a:pt x="4477" y="3010"/>
                  <a:pt x="4477" y="3093"/>
                </a:cubicBezTo>
                <a:cubicBezTo>
                  <a:pt x="4477" y="3200"/>
                  <a:pt x="4394" y="3272"/>
                  <a:pt x="4299" y="3272"/>
                </a:cubicBezTo>
                <a:cubicBezTo>
                  <a:pt x="4293" y="3272"/>
                  <a:pt x="4288" y="3273"/>
                  <a:pt x="4283" y="3273"/>
                </a:cubicBezTo>
                <a:cubicBezTo>
                  <a:pt x="4204" y="3273"/>
                  <a:pt x="4120" y="3193"/>
                  <a:pt x="4120" y="3093"/>
                </a:cubicBezTo>
                <a:cubicBezTo>
                  <a:pt x="4120" y="2986"/>
                  <a:pt x="4215" y="2914"/>
                  <a:pt x="4299" y="2914"/>
                </a:cubicBezTo>
                <a:close/>
                <a:moveTo>
                  <a:pt x="6732" y="1"/>
                </a:moveTo>
                <a:cubicBezTo>
                  <a:pt x="6670" y="1"/>
                  <a:pt x="6603" y="32"/>
                  <a:pt x="6585" y="105"/>
                </a:cubicBezTo>
                <a:cubicBezTo>
                  <a:pt x="6549" y="176"/>
                  <a:pt x="6585" y="283"/>
                  <a:pt x="6668" y="307"/>
                </a:cubicBezTo>
                <a:cubicBezTo>
                  <a:pt x="7037" y="474"/>
                  <a:pt x="7394" y="724"/>
                  <a:pt x="7680" y="1021"/>
                </a:cubicBezTo>
                <a:cubicBezTo>
                  <a:pt x="7680" y="1057"/>
                  <a:pt x="7668" y="1152"/>
                  <a:pt x="7609" y="1188"/>
                </a:cubicBezTo>
                <a:cubicBezTo>
                  <a:pt x="7593" y="1194"/>
                  <a:pt x="7560" y="1205"/>
                  <a:pt x="7505" y="1205"/>
                </a:cubicBezTo>
                <a:cubicBezTo>
                  <a:pt x="7353" y="1205"/>
                  <a:pt x="7027" y="1126"/>
                  <a:pt x="6382" y="664"/>
                </a:cubicBezTo>
                <a:cubicBezTo>
                  <a:pt x="6356" y="643"/>
                  <a:pt x="6326" y="634"/>
                  <a:pt x="6295" y="634"/>
                </a:cubicBezTo>
                <a:cubicBezTo>
                  <a:pt x="6241" y="634"/>
                  <a:pt x="6186" y="662"/>
                  <a:pt x="6156" y="700"/>
                </a:cubicBezTo>
                <a:cubicBezTo>
                  <a:pt x="6097" y="771"/>
                  <a:pt x="6132" y="879"/>
                  <a:pt x="6192" y="914"/>
                </a:cubicBezTo>
                <a:cubicBezTo>
                  <a:pt x="6358" y="1033"/>
                  <a:pt x="6525" y="1140"/>
                  <a:pt x="6668" y="1236"/>
                </a:cubicBezTo>
                <a:cubicBezTo>
                  <a:pt x="6739" y="1831"/>
                  <a:pt x="7120" y="2403"/>
                  <a:pt x="7716" y="2914"/>
                </a:cubicBezTo>
                <a:cubicBezTo>
                  <a:pt x="8073" y="3212"/>
                  <a:pt x="8406" y="3391"/>
                  <a:pt x="8561" y="3462"/>
                </a:cubicBezTo>
                <a:cubicBezTo>
                  <a:pt x="8490" y="3938"/>
                  <a:pt x="8263" y="4391"/>
                  <a:pt x="7906" y="4808"/>
                </a:cubicBezTo>
                <a:cubicBezTo>
                  <a:pt x="7894" y="4772"/>
                  <a:pt x="7871" y="4760"/>
                  <a:pt x="7859" y="4724"/>
                </a:cubicBezTo>
                <a:cubicBezTo>
                  <a:pt x="7830" y="4681"/>
                  <a:pt x="7783" y="4655"/>
                  <a:pt x="7732" y="4655"/>
                </a:cubicBezTo>
                <a:cubicBezTo>
                  <a:pt x="7699" y="4655"/>
                  <a:pt x="7665" y="4665"/>
                  <a:pt x="7632" y="4689"/>
                </a:cubicBezTo>
                <a:cubicBezTo>
                  <a:pt x="7561" y="4724"/>
                  <a:pt x="7537" y="4831"/>
                  <a:pt x="7597" y="4903"/>
                </a:cubicBezTo>
                <a:cubicBezTo>
                  <a:pt x="7728" y="5129"/>
                  <a:pt x="7799" y="5355"/>
                  <a:pt x="7799" y="5605"/>
                </a:cubicBezTo>
                <a:cubicBezTo>
                  <a:pt x="7799" y="5832"/>
                  <a:pt x="7680" y="6272"/>
                  <a:pt x="6918" y="6748"/>
                </a:cubicBezTo>
                <a:cubicBezTo>
                  <a:pt x="6406" y="7082"/>
                  <a:pt x="5823" y="7260"/>
                  <a:pt x="5537" y="7260"/>
                </a:cubicBezTo>
                <a:cubicBezTo>
                  <a:pt x="5239" y="7260"/>
                  <a:pt x="4680" y="7082"/>
                  <a:pt x="4156" y="6748"/>
                </a:cubicBezTo>
                <a:cubicBezTo>
                  <a:pt x="3394" y="6260"/>
                  <a:pt x="3275" y="5832"/>
                  <a:pt x="3275" y="5605"/>
                </a:cubicBezTo>
                <a:cubicBezTo>
                  <a:pt x="3275" y="4700"/>
                  <a:pt x="4287" y="3950"/>
                  <a:pt x="5537" y="3950"/>
                </a:cubicBezTo>
                <a:cubicBezTo>
                  <a:pt x="6144" y="3950"/>
                  <a:pt x="6716" y="4129"/>
                  <a:pt x="7144" y="4450"/>
                </a:cubicBezTo>
                <a:cubicBezTo>
                  <a:pt x="7172" y="4474"/>
                  <a:pt x="7205" y="4484"/>
                  <a:pt x="7238" y="4484"/>
                </a:cubicBezTo>
                <a:cubicBezTo>
                  <a:pt x="7290" y="4484"/>
                  <a:pt x="7341" y="4458"/>
                  <a:pt x="7370" y="4415"/>
                </a:cubicBezTo>
                <a:cubicBezTo>
                  <a:pt x="7430" y="4343"/>
                  <a:pt x="7418" y="4236"/>
                  <a:pt x="7335" y="4188"/>
                </a:cubicBezTo>
                <a:cubicBezTo>
                  <a:pt x="7156" y="4057"/>
                  <a:pt x="6966" y="3950"/>
                  <a:pt x="6775" y="3879"/>
                </a:cubicBezTo>
                <a:lnTo>
                  <a:pt x="6823" y="3629"/>
                </a:lnTo>
                <a:cubicBezTo>
                  <a:pt x="7073" y="3593"/>
                  <a:pt x="7263" y="3391"/>
                  <a:pt x="7263" y="3117"/>
                </a:cubicBezTo>
                <a:cubicBezTo>
                  <a:pt x="7263" y="2843"/>
                  <a:pt x="7037" y="2617"/>
                  <a:pt x="6763" y="2617"/>
                </a:cubicBezTo>
                <a:cubicBezTo>
                  <a:pt x="6478" y="2617"/>
                  <a:pt x="6251" y="2843"/>
                  <a:pt x="6251" y="3117"/>
                </a:cubicBezTo>
                <a:cubicBezTo>
                  <a:pt x="6251" y="3319"/>
                  <a:pt x="6358" y="3474"/>
                  <a:pt x="6501" y="3569"/>
                </a:cubicBezTo>
                <a:lnTo>
                  <a:pt x="6466" y="3796"/>
                </a:lnTo>
                <a:cubicBezTo>
                  <a:pt x="6180" y="3700"/>
                  <a:pt x="5870" y="3653"/>
                  <a:pt x="5549" y="3653"/>
                </a:cubicBezTo>
                <a:cubicBezTo>
                  <a:pt x="5239" y="3653"/>
                  <a:pt x="4930" y="3700"/>
                  <a:pt x="4644" y="3796"/>
                </a:cubicBezTo>
                <a:lnTo>
                  <a:pt x="4596" y="3569"/>
                </a:lnTo>
                <a:cubicBezTo>
                  <a:pt x="4751" y="3474"/>
                  <a:pt x="4858" y="3319"/>
                  <a:pt x="4858" y="3117"/>
                </a:cubicBezTo>
                <a:cubicBezTo>
                  <a:pt x="4858" y="2843"/>
                  <a:pt x="4632" y="2617"/>
                  <a:pt x="4346" y="2617"/>
                </a:cubicBezTo>
                <a:cubicBezTo>
                  <a:pt x="4061" y="2617"/>
                  <a:pt x="3846" y="2843"/>
                  <a:pt x="3846" y="3117"/>
                </a:cubicBezTo>
                <a:cubicBezTo>
                  <a:pt x="3846" y="3379"/>
                  <a:pt x="4037" y="3593"/>
                  <a:pt x="4287" y="3629"/>
                </a:cubicBezTo>
                <a:lnTo>
                  <a:pt x="4334" y="3879"/>
                </a:lnTo>
                <a:cubicBezTo>
                  <a:pt x="4120" y="3974"/>
                  <a:pt x="3918" y="4069"/>
                  <a:pt x="3739" y="4212"/>
                </a:cubicBezTo>
                <a:cubicBezTo>
                  <a:pt x="3501" y="4391"/>
                  <a:pt x="3310" y="4593"/>
                  <a:pt x="3168" y="4831"/>
                </a:cubicBezTo>
                <a:cubicBezTo>
                  <a:pt x="2810" y="4415"/>
                  <a:pt x="2596" y="3950"/>
                  <a:pt x="2513" y="3498"/>
                </a:cubicBezTo>
                <a:cubicBezTo>
                  <a:pt x="2668" y="3415"/>
                  <a:pt x="3013" y="3236"/>
                  <a:pt x="3370" y="2938"/>
                </a:cubicBezTo>
                <a:cubicBezTo>
                  <a:pt x="3977" y="2438"/>
                  <a:pt x="4334" y="1855"/>
                  <a:pt x="4406" y="1260"/>
                </a:cubicBezTo>
                <a:cubicBezTo>
                  <a:pt x="4561" y="1176"/>
                  <a:pt x="4703" y="1069"/>
                  <a:pt x="4882" y="950"/>
                </a:cubicBezTo>
                <a:cubicBezTo>
                  <a:pt x="4954" y="890"/>
                  <a:pt x="4977" y="795"/>
                  <a:pt x="4918" y="724"/>
                </a:cubicBezTo>
                <a:cubicBezTo>
                  <a:pt x="4884" y="683"/>
                  <a:pt x="4839" y="662"/>
                  <a:pt x="4793" y="662"/>
                </a:cubicBezTo>
                <a:cubicBezTo>
                  <a:pt x="4758" y="662"/>
                  <a:pt x="4722" y="674"/>
                  <a:pt x="4692" y="700"/>
                </a:cubicBezTo>
                <a:cubicBezTo>
                  <a:pt x="4058" y="1145"/>
                  <a:pt x="3732" y="1240"/>
                  <a:pt x="3577" y="1240"/>
                </a:cubicBezTo>
                <a:cubicBezTo>
                  <a:pt x="3516" y="1240"/>
                  <a:pt x="3482" y="1225"/>
                  <a:pt x="3465" y="1212"/>
                </a:cubicBezTo>
                <a:cubicBezTo>
                  <a:pt x="3394" y="1176"/>
                  <a:pt x="3394" y="1081"/>
                  <a:pt x="3394" y="1057"/>
                </a:cubicBezTo>
                <a:cubicBezTo>
                  <a:pt x="3691" y="759"/>
                  <a:pt x="4037" y="498"/>
                  <a:pt x="4406" y="343"/>
                </a:cubicBezTo>
                <a:cubicBezTo>
                  <a:pt x="4477" y="307"/>
                  <a:pt x="4525" y="200"/>
                  <a:pt x="4501" y="128"/>
                </a:cubicBezTo>
                <a:cubicBezTo>
                  <a:pt x="4474" y="74"/>
                  <a:pt x="4404" y="33"/>
                  <a:pt x="4341" y="33"/>
                </a:cubicBezTo>
                <a:cubicBezTo>
                  <a:pt x="4322" y="33"/>
                  <a:pt x="4303" y="37"/>
                  <a:pt x="4287" y="45"/>
                </a:cubicBezTo>
                <a:cubicBezTo>
                  <a:pt x="3811" y="247"/>
                  <a:pt x="3370" y="593"/>
                  <a:pt x="2989" y="1021"/>
                </a:cubicBezTo>
                <a:cubicBezTo>
                  <a:pt x="2608" y="1486"/>
                  <a:pt x="2334" y="2010"/>
                  <a:pt x="2239" y="2522"/>
                </a:cubicBezTo>
                <a:cubicBezTo>
                  <a:pt x="2096" y="3176"/>
                  <a:pt x="2120" y="4165"/>
                  <a:pt x="3025" y="5141"/>
                </a:cubicBezTo>
                <a:lnTo>
                  <a:pt x="3049" y="5177"/>
                </a:lnTo>
                <a:cubicBezTo>
                  <a:pt x="3037" y="5248"/>
                  <a:pt x="3013" y="5320"/>
                  <a:pt x="3013" y="5403"/>
                </a:cubicBezTo>
                <a:lnTo>
                  <a:pt x="1715" y="5403"/>
                </a:lnTo>
                <a:cubicBezTo>
                  <a:pt x="1596" y="5403"/>
                  <a:pt x="1477" y="5439"/>
                  <a:pt x="1370" y="5522"/>
                </a:cubicBezTo>
                <a:lnTo>
                  <a:pt x="72" y="6653"/>
                </a:lnTo>
                <a:cubicBezTo>
                  <a:pt x="1" y="6713"/>
                  <a:pt x="1" y="6808"/>
                  <a:pt x="60" y="6867"/>
                </a:cubicBezTo>
                <a:cubicBezTo>
                  <a:pt x="96" y="6903"/>
                  <a:pt x="131" y="6927"/>
                  <a:pt x="179" y="6927"/>
                </a:cubicBezTo>
                <a:cubicBezTo>
                  <a:pt x="227" y="6927"/>
                  <a:pt x="251" y="6915"/>
                  <a:pt x="286" y="6891"/>
                </a:cubicBezTo>
                <a:lnTo>
                  <a:pt x="1584" y="5760"/>
                </a:lnTo>
                <a:cubicBezTo>
                  <a:pt x="1608" y="5724"/>
                  <a:pt x="1655" y="5712"/>
                  <a:pt x="1703" y="5712"/>
                </a:cubicBezTo>
                <a:lnTo>
                  <a:pt x="2965" y="5712"/>
                </a:lnTo>
                <a:cubicBezTo>
                  <a:pt x="2965" y="5796"/>
                  <a:pt x="2989" y="5891"/>
                  <a:pt x="3013" y="5962"/>
                </a:cubicBezTo>
                <a:lnTo>
                  <a:pt x="1858" y="6332"/>
                </a:lnTo>
                <a:cubicBezTo>
                  <a:pt x="1763" y="6367"/>
                  <a:pt x="1679" y="6427"/>
                  <a:pt x="1608" y="6510"/>
                </a:cubicBezTo>
                <a:lnTo>
                  <a:pt x="632" y="7808"/>
                </a:lnTo>
                <a:cubicBezTo>
                  <a:pt x="572" y="7879"/>
                  <a:pt x="584" y="7987"/>
                  <a:pt x="655" y="8034"/>
                </a:cubicBezTo>
                <a:cubicBezTo>
                  <a:pt x="691" y="8046"/>
                  <a:pt x="715" y="8058"/>
                  <a:pt x="763" y="8058"/>
                </a:cubicBezTo>
                <a:cubicBezTo>
                  <a:pt x="810" y="8058"/>
                  <a:pt x="870" y="8046"/>
                  <a:pt x="893" y="7998"/>
                </a:cubicBezTo>
                <a:lnTo>
                  <a:pt x="1882" y="6713"/>
                </a:lnTo>
                <a:cubicBezTo>
                  <a:pt x="1906" y="6677"/>
                  <a:pt x="1941" y="6653"/>
                  <a:pt x="1965" y="6653"/>
                </a:cubicBezTo>
                <a:lnTo>
                  <a:pt x="3156" y="6260"/>
                </a:lnTo>
                <a:cubicBezTo>
                  <a:pt x="3203" y="6332"/>
                  <a:pt x="3251" y="6415"/>
                  <a:pt x="3310" y="6474"/>
                </a:cubicBezTo>
                <a:lnTo>
                  <a:pt x="2156" y="7308"/>
                </a:lnTo>
                <a:cubicBezTo>
                  <a:pt x="2096" y="7344"/>
                  <a:pt x="2036" y="7403"/>
                  <a:pt x="2013" y="7486"/>
                </a:cubicBezTo>
                <a:lnTo>
                  <a:pt x="1358" y="8749"/>
                </a:lnTo>
                <a:cubicBezTo>
                  <a:pt x="1310" y="8820"/>
                  <a:pt x="1346" y="8927"/>
                  <a:pt x="1429" y="8975"/>
                </a:cubicBezTo>
                <a:cubicBezTo>
                  <a:pt x="1465" y="8987"/>
                  <a:pt x="1477" y="8987"/>
                  <a:pt x="1501" y="8987"/>
                </a:cubicBezTo>
                <a:cubicBezTo>
                  <a:pt x="1560" y="8987"/>
                  <a:pt x="1620" y="8951"/>
                  <a:pt x="1655" y="8891"/>
                </a:cubicBezTo>
                <a:lnTo>
                  <a:pt x="2310" y="7629"/>
                </a:lnTo>
                <a:cubicBezTo>
                  <a:pt x="2322" y="7606"/>
                  <a:pt x="2334" y="7582"/>
                  <a:pt x="2370" y="7570"/>
                </a:cubicBezTo>
                <a:lnTo>
                  <a:pt x="3560" y="6724"/>
                </a:lnTo>
                <a:cubicBezTo>
                  <a:pt x="3632" y="6796"/>
                  <a:pt x="3727" y="6855"/>
                  <a:pt x="3799" y="6915"/>
                </a:cubicBezTo>
                <a:lnTo>
                  <a:pt x="2846" y="7784"/>
                </a:lnTo>
                <a:cubicBezTo>
                  <a:pt x="2775" y="7856"/>
                  <a:pt x="2715" y="7939"/>
                  <a:pt x="2691" y="8046"/>
                </a:cubicBezTo>
                <a:lnTo>
                  <a:pt x="2322" y="9665"/>
                </a:lnTo>
                <a:cubicBezTo>
                  <a:pt x="2310" y="9761"/>
                  <a:pt x="2358" y="9856"/>
                  <a:pt x="2441" y="9868"/>
                </a:cubicBezTo>
                <a:lnTo>
                  <a:pt x="2477" y="9868"/>
                </a:lnTo>
                <a:cubicBezTo>
                  <a:pt x="2548" y="9868"/>
                  <a:pt x="2608" y="9820"/>
                  <a:pt x="2632" y="9725"/>
                </a:cubicBezTo>
                <a:lnTo>
                  <a:pt x="3013" y="8106"/>
                </a:lnTo>
                <a:cubicBezTo>
                  <a:pt x="3025" y="8082"/>
                  <a:pt x="3037" y="8034"/>
                  <a:pt x="3072" y="8022"/>
                </a:cubicBezTo>
                <a:lnTo>
                  <a:pt x="4084" y="7094"/>
                </a:lnTo>
                <a:cubicBezTo>
                  <a:pt x="4620" y="7427"/>
                  <a:pt x="5227" y="7617"/>
                  <a:pt x="5585" y="7617"/>
                </a:cubicBezTo>
                <a:cubicBezTo>
                  <a:pt x="5942" y="7617"/>
                  <a:pt x="6549" y="7427"/>
                  <a:pt x="7085" y="7094"/>
                </a:cubicBezTo>
                <a:lnTo>
                  <a:pt x="8097" y="8022"/>
                </a:lnTo>
                <a:cubicBezTo>
                  <a:pt x="8132" y="8046"/>
                  <a:pt x="8144" y="8082"/>
                  <a:pt x="8156" y="8106"/>
                </a:cubicBezTo>
                <a:lnTo>
                  <a:pt x="8525" y="9725"/>
                </a:lnTo>
                <a:cubicBezTo>
                  <a:pt x="8549" y="9808"/>
                  <a:pt x="8621" y="9868"/>
                  <a:pt x="8692" y="9868"/>
                </a:cubicBezTo>
                <a:lnTo>
                  <a:pt x="8728" y="9868"/>
                </a:lnTo>
                <a:cubicBezTo>
                  <a:pt x="8811" y="9844"/>
                  <a:pt x="8871" y="9761"/>
                  <a:pt x="8847" y="9665"/>
                </a:cubicBezTo>
                <a:lnTo>
                  <a:pt x="8466" y="8046"/>
                </a:lnTo>
                <a:cubicBezTo>
                  <a:pt x="8442" y="7951"/>
                  <a:pt x="8394" y="7856"/>
                  <a:pt x="8323" y="7784"/>
                </a:cubicBezTo>
                <a:lnTo>
                  <a:pt x="7370" y="6915"/>
                </a:lnTo>
                <a:cubicBezTo>
                  <a:pt x="7454" y="6855"/>
                  <a:pt x="7537" y="6784"/>
                  <a:pt x="7609" y="6724"/>
                </a:cubicBezTo>
                <a:lnTo>
                  <a:pt x="8799" y="7570"/>
                </a:lnTo>
                <a:cubicBezTo>
                  <a:pt x="8823" y="7582"/>
                  <a:pt x="8847" y="7617"/>
                  <a:pt x="8859" y="7629"/>
                </a:cubicBezTo>
                <a:lnTo>
                  <a:pt x="9514" y="8891"/>
                </a:lnTo>
                <a:cubicBezTo>
                  <a:pt x="9537" y="8951"/>
                  <a:pt x="9597" y="8987"/>
                  <a:pt x="9656" y="8987"/>
                </a:cubicBezTo>
                <a:cubicBezTo>
                  <a:pt x="9692" y="8987"/>
                  <a:pt x="9704" y="8987"/>
                  <a:pt x="9740" y="8975"/>
                </a:cubicBezTo>
                <a:cubicBezTo>
                  <a:pt x="9811" y="8927"/>
                  <a:pt x="9835" y="8832"/>
                  <a:pt x="9811" y="8749"/>
                </a:cubicBezTo>
                <a:lnTo>
                  <a:pt x="9156" y="7486"/>
                </a:lnTo>
                <a:cubicBezTo>
                  <a:pt x="9121" y="7403"/>
                  <a:pt x="9061" y="7344"/>
                  <a:pt x="9002" y="7308"/>
                </a:cubicBezTo>
                <a:lnTo>
                  <a:pt x="7859" y="6474"/>
                </a:lnTo>
                <a:cubicBezTo>
                  <a:pt x="7918" y="6391"/>
                  <a:pt x="7966" y="6332"/>
                  <a:pt x="8013" y="6260"/>
                </a:cubicBezTo>
                <a:lnTo>
                  <a:pt x="9204" y="6653"/>
                </a:lnTo>
                <a:cubicBezTo>
                  <a:pt x="9228" y="6665"/>
                  <a:pt x="9275" y="6677"/>
                  <a:pt x="9287" y="6713"/>
                </a:cubicBezTo>
                <a:lnTo>
                  <a:pt x="10276" y="7998"/>
                </a:lnTo>
                <a:cubicBezTo>
                  <a:pt x="10299" y="8046"/>
                  <a:pt x="10347" y="8058"/>
                  <a:pt x="10407" y="8058"/>
                </a:cubicBezTo>
                <a:cubicBezTo>
                  <a:pt x="10430" y="8058"/>
                  <a:pt x="10478" y="8046"/>
                  <a:pt x="10514" y="8034"/>
                </a:cubicBezTo>
                <a:cubicBezTo>
                  <a:pt x="10585" y="7975"/>
                  <a:pt x="10597" y="7879"/>
                  <a:pt x="10538" y="7808"/>
                </a:cubicBezTo>
                <a:lnTo>
                  <a:pt x="9561" y="6510"/>
                </a:lnTo>
                <a:cubicBezTo>
                  <a:pt x="9502" y="6427"/>
                  <a:pt x="9406" y="6367"/>
                  <a:pt x="9299" y="6332"/>
                </a:cubicBezTo>
                <a:lnTo>
                  <a:pt x="8156" y="5962"/>
                </a:lnTo>
                <a:cubicBezTo>
                  <a:pt x="8192" y="5879"/>
                  <a:pt x="8204" y="5784"/>
                  <a:pt x="8204" y="5712"/>
                </a:cubicBezTo>
                <a:lnTo>
                  <a:pt x="9466" y="5712"/>
                </a:lnTo>
                <a:cubicBezTo>
                  <a:pt x="9514" y="5712"/>
                  <a:pt x="9561" y="5724"/>
                  <a:pt x="9585" y="5760"/>
                </a:cubicBezTo>
                <a:lnTo>
                  <a:pt x="10883" y="6891"/>
                </a:lnTo>
                <a:cubicBezTo>
                  <a:pt x="10907" y="6915"/>
                  <a:pt x="10954" y="6927"/>
                  <a:pt x="10990" y="6927"/>
                </a:cubicBezTo>
                <a:cubicBezTo>
                  <a:pt x="11026" y="6927"/>
                  <a:pt x="11073" y="6915"/>
                  <a:pt x="11109" y="6879"/>
                </a:cubicBezTo>
                <a:cubicBezTo>
                  <a:pt x="11073" y="6784"/>
                  <a:pt x="11073" y="6677"/>
                  <a:pt x="11002" y="6617"/>
                </a:cubicBezTo>
                <a:lnTo>
                  <a:pt x="9704" y="5486"/>
                </a:lnTo>
                <a:cubicBezTo>
                  <a:pt x="9621" y="5415"/>
                  <a:pt x="9502" y="5367"/>
                  <a:pt x="9359" y="5367"/>
                </a:cubicBezTo>
                <a:lnTo>
                  <a:pt x="8073" y="5367"/>
                </a:lnTo>
                <a:lnTo>
                  <a:pt x="8025" y="5141"/>
                </a:lnTo>
                <a:lnTo>
                  <a:pt x="8049" y="5117"/>
                </a:lnTo>
                <a:cubicBezTo>
                  <a:pt x="8942" y="4129"/>
                  <a:pt x="8978" y="3153"/>
                  <a:pt x="8847" y="2498"/>
                </a:cubicBezTo>
                <a:cubicBezTo>
                  <a:pt x="8728" y="1962"/>
                  <a:pt x="8466" y="1438"/>
                  <a:pt x="8085" y="998"/>
                </a:cubicBezTo>
                <a:cubicBezTo>
                  <a:pt x="7728" y="581"/>
                  <a:pt x="7263" y="224"/>
                  <a:pt x="6787" y="9"/>
                </a:cubicBezTo>
                <a:cubicBezTo>
                  <a:pt x="6770" y="4"/>
                  <a:pt x="6751" y="1"/>
                  <a:pt x="673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76" name="Google Shape;12976;p63"/>
          <p:cNvGrpSpPr/>
          <p:nvPr/>
        </p:nvGrpSpPr>
        <p:grpSpPr>
          <a:xfrm>
            <a:off x="1953037" y="2552242"/>
            <a:ext cx="355136" cy="227072"/>
            <a:chOff x="1953037" y="2552242"/>
            <a:chExt cx="355136" cy="227072"/>
          </a:xfrm>
        </p:grpSpPr>
        <p:sp>
          <p:nvSpPr>
            <p:cNvPr id="12977" name="Google Shape;12977;p63"/>
            <p:cNvSpPr/>
            <p:nvPr/>
          </p:nvSpPr>
          <p:spPr>
            <a:xfrm>
              <a:off x="1953037" y="2552242"/>
              <a:ext cx="355136" cy="227072"/>
            </a:xfrm>
            <a:custGeom>
              <a:avLst/>
              <a:gdLst/>
              <a:ahLst/>
              <a:cxnLst/>
              <a:rect l="l" t="t" r="r" b="b"/>
              <a:pathLst>
                <a:path w="11098" h="7096" extrusionOk="0">
                  <a:moveTo>
                    <a:pt x="6198" y="1414"/>
                  </a:moveTo>
                  <a:cubicBezTo>
                    <a:pt x="6408" y="1414"/>
                    <a:pt x="6616" y="1431"/>
                    <a:pt x="6823" y="1464"/>
                  </a:cubicBezTo>
                  <a:cubicBezTo>
                    <a:pt x="6895" y="1488"/>
                    <a:pt x="6990" y="1500"/>
                    <a:pt x="7073" y="1512"/>
                  </a:cubicBezTo>
                  <a:lnTo>
                    <a:pt x="6907" y="2464"/>
                  </a:lnTo>
                  <a:lnTo>
                    <a:pt x="5573" y="2929"/>
                  </a:lnTo>
                  <a:lnTo>
                    <a:pt x="4978" y="1607"/>
                  </a:lnTo>
                  <a:cubicBezTo>
                    <a:pt x="5397" y="1475"/>
                    <a:pt x="5802" y="1414"/>
                    <a:pt x="6198" y="1414"/>
                  </a:cubicBezTo>
                  <a:close/>
                  <a:moveTo>
                    <a:pt x="7407" y="1607"/>
                  </a:moveTo>
                  <a:cubicBezTo>
                    <a:pt x="7883" y="1750"/>
                    <a:pt x="8478" y="2036"/>
                    <a:pt x="9097" y="2524"/>
                  </a:cubicBezTo>
                  <a:lnTo>
                    <a:pt x="9038" y="2571"/>
                  </a:lnTo>
                  <a:cubicBezTo>
                    <a:pt x="8966" y="2619"/>
                    <a:pt x="8954" y="2714"/>
                    <a:pt x="8990" y="2798"/>
                  </a:cubicBezTo>
                  <a:cubicBezTo>
                    <a:pt x="9026" y="2833"/>
                    <a:pt x="9085" y="2869"/>
                    <a:pt x="9133" y="2869"/>
                  </a:cubicBezTo>
                  <a:cubicBezTo>
                    <a:pt x="9157" y="2869"/>
                    <a:pt x="9193" y="2857"/>
                    <a:pt x="9216" y="2833"/>
                  </a:cubicBezTo>
                  <a:lnTo>
                    <a:pt x="9335" y="2750"/>
                  </a:lnTo>
                  <a:cubicBezTo>
                    <a:pt x="9740" y="3119"/>
                    <a:pt x="10157" y="3583"/>
                    <a:pt x="10574" y="4179"/>
                  </a:cubicBezTo>
                  <a:cubicBezTo>
                    <a:pt x="9883" y="4357"/>
                    <a:pt x="9228" y="4488"/>
                    <a:pt x="8633" y="4584"/>
                  </a:cubicBezTo>
                  <a:lnTo>
                    <a:pt x="8395" y="3417"/>
                  </a:lnTo>
                  <a:lnTo>
                    <a:pt x="8692" y="3214"/>
                  </a:lnTo>
                  <a:cubicBezTo>
                    <a:pt x="8776" y="3167"/>
                    <a:pt x="8788" y="3060"/>
                    <a:pt x="8740" y="2988"/>
                  </a:cubicBezTo>
                  <a:cubicBezTo>
                    <a:pt x="8709" y="2942"/>
                    <a:pt x="8659" y="2916"/>
                    <a:pt x="8604" y="2916"/>
                  </a:cubicBezTo>
                  <a:cubicBezTo>
                    <a:pt x="8574" y="2916"/>
                    <a:pt x="8543" y="2924"/>
                    <a:pt x="8514" y="2940"/>
                  </a:cubicBezTo>
                  <a:lnTo>
                    <a:pt x="8216" y="3155"/>
                  </a:lnTo>
                  <a:lnTo>
                    <a:pt x="7252" y="2512"/>
                  </a:lnTo>
                  <a:lnTo>
                    <a:pt x="7407" y="1607"/>
                  </a:lnTo>
                  <a:close/>
                  <a:moveTo>
                    <a:pt x="7049" y="2750"/>
                  </a:moveTo>
                  <a:lnTo>
                    <a:pt x="8073" y="3429"/>
                  </a:lnTo>
                  <a:lnTo>
                    <a:pt x="8311" y="4607"/>
                  </a:lnTo>
                  <a:cubicBezTo>
                    <a:pt x="7883" y="4661"/>
                    <a:pt x="7474" y="4688"/>
                    <a:pt x="7096" y="4688"/>
                  </a:cubicBezTo>
                  <a:cubicBezTo>
                    <a:pt x="6970" y="4688"/>
                    <a:pt x="6847" y="4685"/>
                    <a:pt x="6728" y="4679"/>
                  </a:cubicBezTo>
                  <a:cubicBezTo>
                    <a:pt x="6073" y="4655"/>
                    <a:pt x="5490" y="4548"/>
                    <a:pt x="5025" y="4345"/>
                  </a:cubicBezTo>
                  <a:lnTo>
                    <a:pt x="5621" y="3250"/>
                  </a:lnTo>
                  <a:lnTo>
                    <a:pt x="7049" y="2750"/>
                  </a:lnTo>
                  <a:close/>
                  <a:moveTo>
                    <a:pt x="1561" y="300"/>
                  </a:moveTo>
                  <a:cubicBezTo>
                    <a:pt x="1774" y="300"/>
                    <a:pt x="1974" y="373"/>
                    <a:pt x="2132" y="512"/>
                  </a:cubicBezTo>
                  <a:cubicBezTo>
                    <a:pt x="2323" y="678"/>
                    <a:pt x="2430" y="916"/>
                    <a:pt x="2430" y="1178"/>
                  </a:cubicBezTo>
                  <a:lnTo>
                    <a:pt x="2430" y="2762"/>
                  </a:lnTo>
                  <a:cubicBezTo>
                    <a:pt x="2430" y="2786"/>
                    <a:pt x="2465" y="3381"/>
                    <a:pt x="2906" y="4036"/>
                  </a:cubicBezTo>
                  <a:lnTo>
                    <a:pt x="2858" y="4060"/>
                  </a:lnTo>
                  <a:cubicBezTo>
                    <a:pt x="2608" y="4143"/>
                    <a:pt x="2430" y="4369"/>
                    <a:pt x="2394" y="4631"/>
                  </a:cubicBezTo>
                  <a:lnTo>
                    <a:pt x="2358" y="5084"/>
                  </a:lnTo>
                  <a:cubicBezTo>
                    <a:pt x="1358" y="4024"/>
                    <a:pt x="1192" y="2583"/>
                    <a:pt x="1192" y="2512"/>
                  </a:cubicBezTo>
                  <a:cubicBezTo>
                    <a:pt x="1180" y="2381"/>
                    <a:pt x="1072" y="2262"/>
                    <a:pt x="941" y="2214"/>
                  </a:cubicBezTo>
                  <a:lnTo>
                    <a:pt x="632" y="2143"/>
                  </a:lnTo>
                  <a:cubicBezTo>
                    <a:pt x="537" y="2119"/>
                    <a:pt x="501" y="2047"/>
                    <a:pt x="501" y="1964"/>
                  </a:cubicBezTo>
                  <a:lnTo>
                    <a:pt x="501" y="1869"/>
                  </a:lnTo>
                  <a:cubicBezTo>
                    <a:pt x="822" y="1857"/>
                    <a:pt x="1227" y="1809"/>
                    <a:pt x="1453" y="1690"/>
                  </a:cubicBezTo>
                  <a:cubicBezTo>
                    <a:pt x="1525" y="1643"/>
                    <a:pt x="1573" y="1559"/>
                    <a:pt x="1525" y="1464"/>
                  </a:cubicBezTo>
                  <a:cubicBezTo>
                    <a:pt x="1491" y="1413"/>
                    <a:pt x="1438" y="1373"/>
                    <a:pt x="1375" y="1373"/>
                  </a:cubicBezTo>
                  <a:cubicBezTo>
                    <a:pt x="1351" y="1373"/>
                    <a:pt x="1325" y="1379"/>
                    <a:pt x="1299" y="1393"/>
                  </a:cubicBezTo>
                  <a:cubicBezTo>
                    <a:pt x="1132" y="1464"/>
                    <a:pt x="799" y="1524"/>
                    <a:pt x="334" y="1547"/>
                  </a:cubicBezTo>
                  <a:lnTo>
                    <a:pt x="334" y="1524"/>
                  </a:lnTo>
                  <a:lnTo>
                    <a:pt x="334" y="916"/>
                  </a:lnTo>
                  <a:cubicBezTo>
                    <a:pt x="334" y="643"/>
                    <a:pt x="525" y="428"/>
                    <a:pt x="799" y="393"/>
                  </a:cubicBezTo>
                  <a:lnTo>
                    <a:pt x="1430" y="309"/>
                  </a:lnTo>
                  <a:cubicBezTo>
                    <a:pt x="1474" y="303"/>
                    <a:pt x="1517" y="300"/>
                    <a:pt x="1561" y="300"/>
                  </a:cubicBezTo>
                  <a:close/>
                  <a:moveTo>
                    <a:pt x="4692" y="1726"/>
                  </a:moveTo>
                  <a:lnTo>
                    <a:pt x="5335" y="3155"/>
                  </a:lnTo>
                  <a:lnTo>
                    <a:pt x="4740" y="4238"/>
                  </a:lnTo>
                  <a:cubicBezTo>
                    <a:pt x="4680" y="4203"/>
                    <a:pt x="4609" y="4167"/>
                    <a:pt x="4549" y="4131"/>
                  </a:cubicBezTo>
                  <a:cubicBezTo>
                    <a:pt x="4520" y="4115"/>
                    <a:pt x="4490" y="4107"/>
                    <a:pt x="4461" y="4107"/>
                  </a:cubicBezTo>
                  <a:cubicBezTo>
                    <a:pt x="4406" y="4107"/>
                    <a:pt x="4354" y="4136"/>
                    <a:pt x="4323" y="4191"/>
                  </a:cubicBezTo>
                  <a:cubicBezTo>
                    <a:pt x="4275" y="4262"/>
                    <a:pt x="4287" y="4369"/>
                    <a:pt x="4382" y="4417"/>
                  </a:cubicBezTo>
                  <a:cubicBezTo>
                    <a:pt x="5061" y="4845"/>
                    <a:pt x="5978" y="5060"/>
                    <a:pt x="7109" y="5060"/>
                  </a:cubicBezTo>
                  <a:cubicBezTo>
                    <a:pt x="8145" y="5060"/>
                    <a:pt x="9371" y="4881"/>
                    <a:pt x="10764" y="4500"/>
                  </a:cubicBezTo>
                  <a:lnTo>
                    <a:pt x="10764" y="4500"/>
                  </a:lnTo>
                  <a:cubicBezTo>
                    <a:pt x="10740" y="4536"/>
                    <a:pt x="10740" y="4595"/>
                    <a:pt x="10705" y="4655"/>
                  </a:cubicBezTo>
                  <a:cubicBezTo>
                    <a:pt x="10657" y="4774"/>
                    <a:pt x="10574" y="4845"/>
                    <a:pt x="10455" y="4881"/>
                  </a:cubicBezTo>
                  <a:cubicBezTo>
                    <a:pt x="9128" y="5204"/>
                    <a:pt x="7958" y="5362"/>
                    <a:pt x="6945" y="5362"/>
                  </a:cubicBezTo>
                  <a:cubicBezTo>
                    <a:pt x="6649" y="5362"/>
                    <a:pt x="6366" y="5349"/>
                    <a:pt x="6097" y="5322"/>
                  </a:cubicBezTo>
                  <a:cubicBezTo>
                    <a:pt x="5156" y="5238"/>
                    <a:pt x="4382" y="4965"/>
                    <a:pt x="3811" y="4536"/>
                  </a:cubicBezTo>
                  <a:cubicBezTo>
                    <a:pt x="2966" y="3905"/>
                    <a:pt x="2787" y="3095"/>
                    <a:pt x="2763" y="2833"/>
                  </a:cubicBezTo>
                  <a:cubicBezTo>
                    <a:pt x="2882" y="2750"/>
                    <a:pt x="2977" y="2655"/>
                    <a:pt x="3097" y="2583"/>
                  </a:cubicBezTo>
                  <a:cubicBezTo>
                    <a:pt x="3180" y="2952"/>
                    <a:pt x="3358" y="3476"/>
                    <a:pt x="3811" y="3952"/>
                  </a:cubicBezTo>
                  <a:cubicBezTo>
                    <a:pt x="3847" y="3988"/>
                    <a:pt x="3894" y="4000"/>
                    <a:pt x="3930" y="4000"/>
                  </a:cubicBezTo>
                  <a:cubicBezTo>
                    <a:pt x="3978" y="4000"/>
                    <a:pt x="4025" y="3988"/>
                    <a:pt x="4049" y="3952"/>
                  </a:cubicBezTo>
                  <a:cubicBezTo>
                    <a:pt x="4109" y="3893"/>
                    <a:pt x="4109" y="3786"/>
                    <a:pt x="4049" y="3726"/>
                  </a:cubicBezTo>
                  <a:cubicBezTo>
                    <a:pt x="3573" y="3250"/>
                    <a:pt x="3442" y="2714"/>
                    <a:pt x="3394" y="2393"/>
                  </a:cubicBezTo>
                  <a:cubicBezTo>
                    <a:pt x="3835" y="2107"/>
                    <a:pt x="4263" y="1881"/>
                    <a:pt x="4692" y="1726"/>
                  </a:cubicBezTo>
                  <a:close/>
                  <a:moveTo>
                    <a:pt x="9609" y="5417"/>
                  </a:moveTo>
                  <a:cubicBezTo>
                    <a:pt x="9490" y="5548"/>
                    <a:pt x="9371" y="5667"/>
                    <a:pt x="9252" y="5738"/>
                  </a:cubicBezTo>
                  <a:cubicBezTo>
                    <a:pt x="9216" y="5750"/>
                    <a:pt x="9157" y="5798"/>
                    <a:pt x="8978" y="5857"/>
                  </a:cubicBezTo>
                  <a:lnTo>
                    <a:pt x="8978" y="5512"/>
                  </a:lnTo>
                  <a:cubicBezTo>
                    <a:pt x="9193" y="5488"/>
                    <a:pt x="9383" y="5441"/>
                    <a:pt x="9609" y="5417"/>
                  </a:cubicBezTo>
                  <a:close/>
                  <a:moveTo>
                    <a:pt x="4668" y="5334"/>
                  </a:moveTo>
                  <a:cubicBezTo>
                    <a:pt x="5085" y="5488"/>
                    <a:pt x="5537" y="5596"/>
                    <a:pt x="6049" y="5631"/>
                  </a:cubicBezTo>
                  <a:cubicBezTo>
                    <a:pt x="6335" y="5667"/>
                    <a:pt x="6633" y="5679"/>
                    <a:pt x="6942" y="5679"/>
                  </a:cubicBezTo>
                  <a:cubicBezTo>
                    <a:pt x="7204" y="5679"/>
                    <a:pt x="7502" y="5667"/>
                    <a:pt x="7788" y="5655"/>
                  </a:cubicBezTo>
                  <a:lnTo>
                    <a:pt x="7788" y="5893"/>
                  </a:lnTo>
                  <a:cubicBezTo>
                    <a:pt x="7561" y="5893"/>
                    <a:pt x="7359" y="6012"/>
                    <a:pt x="7240" y="6203"/>
                  </a:cubicBezTo>
                  <a:cubicBezTo>
                    <a:pt x="6758" y="6257"/>
                    <a:pt x="6324" y="6280"/>
                    <a:pt x="5934" y="6280"/>
                  </a:cubicBezTo>
                  <a:cubicBezTo>
                    <a:pt x="4698" y="6280"/>
                    <a:pt x="3912" y="6050"/>
                    <a:pt x="3478" y="5869"/>
                  </a:cubicBezTo>
                  <a:lnTo>
                    <a:pt x="3501" y="5738"/>
                  </a:lnTo>
                  <a:cubicBezTo>
                    <a:pt x="3739" y="5738"/>
                    <a:pt x="4299" y="5691"/>
                    <a:pt x="4668" y="5334"/>
                  </a:cubicBezTo>
                  <a:close/>
                  <a:moveTo>
                    <a:pt x="3097" y="4322"/>
                  </a:moveTo>
                  <a:cubicBezTo>
                    <a:pt x="3239" y="4488"/>
                    <a:pt x="3394" y="4655"/>
                    <a:pt x="3608" y="4798"/>
                  </a:cubicBezTo>
                  <a:cubicBezTo>
                    <a:pt x="3811" y="4965"/>
                    <a:pt x="4049" y="5095"/>
                    <a:pt x="4323" y="5215"/>
                  </a:cubicBezTo>
                  <a:cubicBezTo>
                    <a:pt x="4073" y="5381"/>
                    <a:pt x="3751" y="5417"/>
                    <a:pt x="3573" y="5429"/>
                  </a:cubicBezTo>
                  <a:lnTo>
                    <a:pt x="3573" y="5393"/>
                  </a:lnTo>
                  <a:cubicBezTo>
                    <a:pt x="3597" y="5310"/>
                    <a:pt x="3537" y="5215"/>
                    <a:pt x="3442" y="5203"/>
                  </a:cubicBezTo>
                  <a:cubicBezTo>
                    <a:pt x="3429" y="5199"/>
                    <a:pt x="3416" y="5197"/>
                    <a:pt x="3404" y="5197"/>
                  </a:cubicBezTo>
                  <a:cubicBezTo>
                    <a:pt x="3332" y="5197"/>
                    <a:pt x="3261" y="5251"/>
                    <a:pt x="3251" y="5322"/>
                  </a:cubicBezTo>
                  <a:lnTo>
                    <a:pt x="3025" y="6465"/>
                  </a:lnTo>
                  <a:cubicBezTo>
                    <a:pt x="3001" y="6631"/>
                    <a:pt x="2846" y="6750"/>
                    <a:pt x="2668" y="6750"/>
                  </a:cubicBezTo>
                  <a:lnTo>
                    <a:pt x="1775" y="6750"/>
                  </a:lnTo>
                  <a:lnTo>
                    <a:pt x="1906" y="6441"/>
                  </a:lnTo>
                  <a:cubicBezTo>
                    <a:pt x="1965" y="6310"/>
                    <a:pt x="2084" y="6215"/>
                    <a:pt x="2239" y="6215"/>
                  </a:cubicBezTo>
                  <a:lnTo>
                    <a:pt x="2418" y="6215"/>
                  </a:lnTo>
                  <a:cubicBezTo>
                    <a:pt x="2501" y="6215"/>
                    <a:pt x="2561" y="6155"/>
                    <a:pt x="2585" y="6072"/>
                  </a:cubicBezTo>
                  <a:lnTo>
                    <a:pt x="2716" y="4667"/>
                  </a:lnTo>
                  <a:cubicBezTo>
                    <a:pt x="2727" y="4536"/>
                    <a:pt x="2811" y="4417"/>
                    <a:pt x="2954" y="4369"/>
                  </a:cubicBezTo>
                  <a:lnTo>
                    <a:pt x="3097" y="4322"/>
                  </a:lnTo>
                  <a:close/>
                  <a:moveTo>
                    <a:pt x="8657" y="5560"/>
                  </a:moveTo>
                  <a:lnTo>
                    <a:pt x="8657" y="6572"/>
                  </a:lnTo>
                  <a:cubicBezTo>
                    <a:pt x="8657" y="6679"/>
                    <a:pt x="8561" y="6750"/>
                    <a:pt x="8478" y="6750"/>
                  </a:cubicBezTo>
                  <a:lnTo>
                    <a:pt x="7347" y="6750"/>
                  </a:lnTo>
                  <a:lnTo>
                    <a:pt x="7490" y="6429"/>
                  </a:lnTo>
                  <a:cubicBezTo>
                    <a:pt x="7549" y="6286"/>
                    <a:pt x="7669" y="6215"/>
                    <a:pt x="7823" y="6215"/>
                  </a:cubicBezTo>
                  <a:lnTo>
                    <a:pt x="7954" y="6215"/>
                  </a:lnTo>
                  <a:cubicBezTo>
                    <a:pt x="8038" y="6215"/>
                    <a:pt x="8121" y="6143"/>
                    <a:pt x="8121" y="6048"/>
                  </a:cubicBezTo>
                  <a:lnTo>
                    <a:pt x="8121" y="5619"/>
                  </a:lnTo>
                  <a:cubicBezTo>
                    <a:pt x="8300" y="5607"/>
                    <a:pt x="8466" y="5572"/>
                    <a:pt x="8657" y="5560"/>
                  </a:cubicBezTo>
                  <a:close/>
                  <a:moveTo>
                    <a:pt x="1533" y="0"/>
                  </a:moveTo>
                  <a:cubicBezTo>
                    <a:pt x="1479" y="0"/>
                    <a:pt x="1425" y="4"/>
                    <a:pt x="1370" y="12"/>
                  </a:cubicBezTo>
                  <a:lnTo>
                    <a:pt x="727" y="95"/>
                  </a:lnTo>
                  <a:cubicBezTo>
                    <a:pt x="310" y="154"/>
                    <a:pt x="1" y="512"/>
                    <a:pt x="1" y="952"/>
                  </a:cubicBezTo>
                  <a:lnTo>
                    <a:pt x="1" y="1559"/>
                  </a:lnTo>
                  <a:cubicBezTo>
                    <a:pt x="1" y="1643"/>
                    <a:pt x="49" y="1738"/>
                    <a:pt x="108" y="1797"/>
                  </a:cubicBezTo>
                  <a:cubicBezTo>
                    <a:pt x="132" y="1809"/>
                    <a:pt x="156" y="1845"/>
                    <a:pt x="179" y="1857"/>
                  </a:cubicBezTo>
                  <a:lnTo>
                    <a:pt x="179" y="1976"/>
                  </a:lnTo>
                  <a:cubicBezTo>
                    <a:pt x="179" y="2214"/>
                    <a:pt x="334" y="2417"/>
                    <a:pt x="572" y="2476"/>
                  </a:cubicBezTo>
                  <a:lnTo>
                    <a:pt x="882" y="2559"/>
                  </a:lnTo>
                  <a:cubicBezTo>
                    <a:pt x="882" y="2559"/>
                    <a:pt x="894" y="2559"/>
                    <a:pt x="894" y="2571"/>
                  </a:cubicBezTo>
                  <a:cubicBezTo>
                    <a:pt x="930" y="2869"/>
                    <a:pt x="1037" y="3357"/>
                    <a:pt x="1239" y="3869"/>
                  </a:cubicBezTo>
                  <a:cubicBezTo>
                    <a:pt x="1513" y="4536"/>
                    <a:pt x="1870" y="5084"/>
                    <a:pt x="2323" y="5512"/>
                  </a:cubicBezTo>
                  <a:lnTo>
                    <a:pt x="2287" y="5905"/>
                  </a:lnTo>
                  <a:lnTo>
                    <a:pt x="2251" y="5905"/>
                  </a:lnTo>
                  <a:cubicBezTo>
                    <a:pt x="1965" y="5905"/>
                    <a:pt x="1715" y="6072"/>
                    <a:pt x="1608" y="6334"/>
                  </a:cubicBezTo>
                  <a:lnTo>
                    <a:pt x="1394" y="6869"/>
                  </a:lnTo>
                  <a:cubicBezTo>
                    <a:pt x="1370" y="6917"/>
                    <a:pt x="1370" y="6977"/>
                    <a:pt x="1406" y="7024"/>
                  </a:cubicBezTo>
                  <a:cubicBezTo>
                    <a:pt x="1430" y="7060"/>
                    <a:pt x="1477" y="7096"/>
                    <a:pt x="1537" y="7096"/>
                  </a:cubicBezTo>
                  <a:lnTo>
                    <a:pt x="2680" y="7096"/>
                  </a:lnTo>
                  <a:cubicBezTo>
                    <a:pt x="3013" y="7096"/>
                    <a:pt x="3299" y="6869"/>
                    <a:pt x="3358" y="6548"/>
                  </a:cubicBezTo>
                  <a:lnTo>
                    <a:pt x="3418" y="6215"/>
                  </a:lnTo>
                  <a:cubicBezTo>
                    <a:pt x="3894" y="6405"/>
                    <a:pt x="4704" y="6619"/>
                    <a:pt x="5942" y="6619"/>
                  </a:cubicBezTo>
                  <a:cubicBezTo>
                    <a:pt x="6287" y="6619"/>
                    <a:pt x="6668" y="6608"/>
                    <a:pt x="7085" y="6560"/>
                  </a:cubicBezTo>
                  <a:lnTo>
                    <a:pt x="7085" y="6560"/>
                  </a:lnTo>
                  <a:lnTo>
                    <a:pt x="6954" y="6869"/>
                  </a:lnTo>
                  <a:cubicBezTo>
                    <a:pt x="6930" y="6917"/>
                    <a:pt x="6942" y="6977"/>
                    <a:pt x="6966" y="7024"/>
                  </a:cubicBezTo>
                  <a:cubicBezTo>
                    <a:pt x="7002" y="7060"/>
                    <a:pt x="7049" y="7096"/>
                    <a:pt x="7109" y="7096"/>
                  </a:cubicBezTo>
                  <a:lnTo>
                    <a:pt x="8490" y="7096"/>
                  </a:lnTo>
                  <a:cubicBezTo>
                    <a:pt x="8776" y="7096"/>
                    <a:pt x="8990" y="6869"/>
                    <a:pt x="8990" y="6584"/>
                  </a:cubicBezTo>
                  <a:lnTo>
                    <a:pt x="8990" y="6215"/>
                  </a:lnTo>
                  <a:cubicBezTo>
                    <a:pt x="9204" y="6155"/>
                    <a:pt x="9347" y="6096"/>
                    <a:pt x="9443" y="6036"/>
                  </a:cubicBezTo>
                  <a:cubicBezTo>
                    <a:pt x="9669" y="5893"/>
                    <a:pt x="9871" y="5655"/>
                    <a:pt x="10062" y="5334"/>
                  </a:cubicBezTo>
                  <a:cubicBezTo>
                    <a:pt x="10216" y="5310"/>
                    <a:pt x="10383" y="5262"/>
                    <a:pt x="10538" y="5238"/>
                  </a:cubicBezTo>
                  <a:cubicBezTo>
                    <a:pt x="10764" y="5179"/>
                    <a:pt x="10943" y="5024"/>
                    <a:pt x="11014" y="4822"/>
                  </a:cubicBezTo>
                  <a:cubicBezTo>
                    <a:pt x="11098" y="4560"/>
                    <a:pt x="11062" y="4322"/>
                    <a:pt x="10943" y="4143"/>
                  </a:cubicBezTo>
                  <a:cubicBezTo>
                    <a:pt x="10645" y="3691"/>
                    <a:pt x="10145" y="3012"/>
                    <a:pt x="9454" y="2417"/>
                  </a:cubicBezTo>
                  <a:cubicBezTo>
                    <a:pt x="8657" y="1726"/>
                    <a:pt x="7776" y="1285"/>
                    <a:pt x="6883" y="1155"/>
                  </a:cubicBezTo>
                  <a:cubicBezTo>
                    <a:pt x="6667" y="1122"/>
                    <a:pt x="6450" y="1106"/>
                    <a:pt x="6233" y="1106"/>
                  </a:cubicBezTo>
                  <a:cubicBezTo>
                    <a:pt x="5093" y="1106"/>
                    <a:pt x="3929" y="1551"/>
                    <a:pt x="2739" y="2440"/>
                  </a:cubicBezTo>
                  <a:lnTo>
                    <a:pt x="2739" y="1202"/>
                  </a:lnTo>
                  <a:cubicBezTo>
                    <a:pt x="2739" y="857"/>
                    <a:pt x="2596" y="512"/>
                    <a:pt x="2323" y="285"/>
                  </a:cubicBezTo>
                  <a:cubicBezTo>
                    <a:pt x="2102" y="105"/>
                    <a:pt x="1822" y="0"/>
                    <a:pt x="15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8" name="Google Shape;12978;p63"/>
            <p:cNvSpPr/>
            <p:nvPr/>
          </p:nvSpPr>
          <p:spPr>
            <a:xfrm>
              <a:off x="1985805" y="2573938"/>
              <a:ext cx="10720" cy="16416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8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79" name="Google Shape;12979;p63"/>
          <p:cNvSpPr/>
          <p:nvPr/>
        </p:nvSpPr>
        <p:spPr>
          <a:xfrm>
            <a:off x="3603917" y="2424146"/>
            <a:ext cx="348256" cy="354016"/>
          </a:xfrm>
          <a:custGeom>
            <a:avLst/>
            <a:gdLst/>
            <a:ahLst/>
            <a:cxnLst/>
            <a:rect l="l" t="t" r="r" b="b"/>
            <a:pathLst>
              <a:path w="10883" h="11063" extrusionOk="0">
                <a:moveTo>
                  <a:pt x="932" y="329"/>
                </a:moveTo>
                <a:cubicBezTo>
                  <a:pt x="1012" y="329"/>
                  <a:pt x="1098" y="346"/>
                  <a:pt x="1191" y="383"/>
                </a:cubicBezTo>
                <a:lnTo>
                  <a:pt x="1275" y="431"/>
                </a:lnTo>
                <a:cubicBezTo>
                  <a:pt x="1144" y="502"/>
                  <a:pt x="1013" y="586"/>
                  <a:pt x="894" y="693"/>
                </a:cubicBezTo>
                <a:cubicBezTo>
                  <a:pt x="703" y="859"/>
                  <a:pt x="560" y="1026"/>
                  <a:pt x="465" y="1205"/>
                </a:cubicBezTo>
                <a:cubicBezTo>
                  <a:pt x="441" y="1157"/>
                  <a:pt x="429" y="1097"/>
                  <a:pt x="417" y="1050"/>
                </a:cubicBezTo>
                <a:cubicBezTo>
                  <a:pt x="346" y="788"/>
                  <a:pt x="405" y="586"/>
                  <a:pt x="596" y="443"/>
                </a:cubicBezTo>
                <a:cubicBezTo>
                  <a:pt x="697" y="370"/>
                  <a:pt x="808" y="329"/>
                  <a:pt x="932" y="329"/>
                </a:cubicBezTo>
                <a:close/>
                <a:moveTo>
                  <a:pt x="1947" y="630"/>
                </a:moveTo>
                <a:cubicBezTo>
                  <a:pt x="1973" y="630"/>
                  <a:pt x="1999" y="631"/>
                  <a:pt x="2025" y="633"/>
                </a:cubicBezTo>
                <a:cubicBezTo>
                  <a:pt x="2334" y="669"/>
                  <a:pt x="2608" y="847"/>
                  <a:pt x="2763" y="978"/>
                </a:cubicBezTo>
                <a:cubicBezTo>
                  <a:pt x="2703" y="990"/>
                  <a:pt x="2644" y="1026"/>
                  <a:pt x="2584" y="1050"/>
                </a:cubicBezTo>
                <a:cubicBezTo>
                  <a:pt x="2513" y="1097"/>
                  <a:pt x="2465" y="1181"/>
                  <a:pt x="2513" y="1264"/>
                </a:cubicBezTo>
                <a:cubicBezTo>
                  <a:pt x="2547" y="1316"/>
                  <a:pt x="2600" y="1355"/>
                  <a:pt x="2658" y="1355"/>
                </a:cubicBezTo>
                <a:cubicBezTo>
                  <a:pt x="2681" y="1355"/>
                  <a:pt x="2704" y="1349"/>
                  <a:pt x="2727" y="1336"/>
                </a:cubicBezTo>
                <a:cubicBezTo>
                  <a:pt x="2931" y="1234"/>
                  <a:pt x="3137" y="1185"/>
                  <a:pt x="3341" y="1185"/>
                </a:cubicBezTo>
                <a:cubicBezTo>
                  <a:pt x="3591" y="1185"/>
                  <a:pt x="3837" y="1258"/>
                  <a:pt x="4073" y="1395"/>
                </a:cubicBezTo>
                <a:cubicBezTo>
                  <a:pt x="4239" y="1478"/>
                  <a:pt x="4370" y="1598"/>
                  <a:pt x="4466" y="1693"/>
                </a:cubicBezTo>
                <a:cubicBezTo>
                  <a:pt x="4370" y="1717"/>
                  <a:pt x="4275" y="1752"/>
                  <a:pt x="4180" y="1800"/>
                </a:cubicBezTo>
                <a:cubicBezTo>
                  <a:pt x="4096" y="1824"/>
                  <a:pt x="4061" y="1931"/>
                  <a:pt x="4096" y="2002"/>
                </a:cubicBezTo>
                <a:cubicBezTo>
                  <a:pt x="4115" y="2075"/>
                  <a:pt x="4181" y="2106"/>
                  <a:pt x="4244" y="2106"/>
                </a:cubicBezTo>
                <a:cubicBezTo>
                  <a:pt x="4263" y="2106"/>
                  <a:pt x="4282" y="2103"/>
                  <a:pt x="4299" y="2098"/>
                </a:cubicBezTo>
                <a:cubicBezTo>
                  <a:pt x="4531" y="1998"/>
                  <a:pt x="4780" y="1950"/>
                  <a:pt x="5034" y="1950"/>
                </a:cubicBezTo>
                <a:cubicBezTo>
                  <a:pt x="5601" y="1950"/>
                  <a:pt x="6191" y="2189"/>
                  <a:pt x="6668" y="2633"/>
                </a:cubicBezTo>
                <a:cubicBezTo>
                  <a:pt x="7025" y="2967"/>
                  <a:pt x="7275" y="3407"/>
                  <a:pt x="7394" y="3884"/>
                </a:cubicBezTo>
                <a:cubicBezTo>
                  <a:pt x="7525" y="4431"/>
                  <a:pt x="7466" y="5015"/>
                  <a:pt x="7252" y="5610"/>
                </a:cubicBezTo>
                <a:cubicBezTo>
                  <a:pt x="6537" y="7527"/>
                  <a:pt x="6406" y="8944"/>
                  <a:pt x="6859" y="9837"/>
                </a:cubicBezTo>
                <a:cubicBezTo>
                  <a:pt x="6894" y="9896"/>
                  <a:pt x="6954" y="9920"/>
                  <a:pt x="7002" y="9920"/>
                </a:cubicBezTo>
                <a:cubicBezTo>
                  <a:pt x="7037" y="9920"/>
                  <a:pt x="7049" y="9920"/>
                  <a:pt x="7085" y="9908"/>
                </a:cubicBezTo>
                <a:cubicBezTo>
                  <a:pt x="7156" y="9860"/>
                  <a:pt x="7204" y="9777"/>
                  <a:pt x="7156" y="9682"/>
                </a:cubicBezTo>
                <a:cubicBezTo>
                  <a:pt x="6930" y="9241"/>
                  <a:pt x="6871" y="8622"/>
                  <a:pt x="6978" y="7848"/>
                </a:cubicBezTo>
                <a:cubicBezTo>
                  <a:pt x="7061" y="7229"/>
                  <a:pt x="7263" y="6515"/>
                  <a:pt x="7561" y="5705"/>
                </a:cubicBezTo>
                <a:cubicBezTo>
                  <a:pt x="7716" y="5265"/>
                  <a:pt x="7799" y="4812"/>
                  <a:pt x="7799" y="4384"/>
                </a:cubicBezTo>
                <a:cubicBezTo>
                  <a:pt x="7874" y="4375"/>
                  <a:pt x="7953" y="4371"/>
                  <a:pt x="8035" y="4371"/>
                </a:cubicBezTo>
                <a:cubicBezTo>
                  <a:pt x="8746" y="4371"/>
                  <a:pt x="9716" y="4698"/>
                  <a:pt x="10121" y="5455"/>
                </a:cubicBezTo>
                <a:cubicBezTo>
                  <a:pt x="10776" y="6741"/>
                  <a:pt x="10562" y="8884"/>
                  <a:pt x="9657" y="9956"/>
                </a:cubicBezTo>
                <a:cubicBezTo>
                  <a:pt x="9418" y="10241"/>
                  <a:pt x="9044" y="10526"/>
                  <a:pt x="8530" y="10526"/>
                </a:cubicBezTo>
                <a:cubicBezTo>
                  <a:pt x="8378" y="10526"/>
                  <a:pt x="8214" y="10501"/>
                  <a:pt x="8037" y="10444"/>
                </a:cubicBezTo>
                <a:cubicBezTo>
                  <a:pt x="7823" y="10372"/>
                  <a:pt x="7668" y="10277"/>
                  <a:pt x="7514" y="10158"/>
                </a:cubicBezTo>
                <a:cubicBezTo>
                  <a:pt x="7484" y="10133"/>
                  <a:pt x="7448" y="10121"/>
                  <a:pt x="7412" y="10121"/>
                </a:cubicBezTo>
                <a:cubicBezTo>
                  <a:pt x="7363" y="10121"/>
                  <a:pt x="7315" y="10145"/>
                  <a:pt x="7287" y="10194"/>
                </a:cubicBezTo>
                <a:cubicBezTo>
                  <a:pt x="7228" y="10265"/>
                  <a:pt x="7252" y="10372"/>
                  <a:pt x="7323" y="10408"/>
                </a:cubicBezTo>
                <a:cubicBezTo>
                  <a:pt x="7394" y="10468"/>
                  <a:pt x="7466" y="10527"/>
                  <a:pt x="7561" y="10575"/>
                </a:cubicBezTo>
                <a:cubicBezTo>
                  <a:pt x="7212" y="10675"/>
                  <a:pt x="6764" y="10762"/>
                  <a:pt x="6251" y="10762"/>
                </a:cubicBezTo>
                <a:cubicBezTo>
                  <a:pt x="5908" y="10762"/>
                  <a:pt x="5536" y="10723"/>
                  <a:pt x="5144" y="10622"/>
                </a:cubicBezTo>
                <a:cubicBezTo>
                  <a:pt x="4001" y="10325"/>
                  <a:pt x="3049" y="9563"/>
                  <a:pt x="2287" y="8384"/>
                </a:cubicBezTo>
                <a:cubicBezTo>
                  <a:pt x="1394" y="6955"/>
                  <a:pt x="1548" y="5658"/>
                  <a:pt x="1846" y="4836"/>
                </a:cubicBezTo>
                <a:cubicBezTo>
                  <a:pt x="2168" y="3860"/>
                  <a:pt x="2882" y="2943"/>
                  <a:pt x="3739" y="2371"/>
                </a:cubicBezTo>
                <a:cubicBezTo>
                  <a:pt x="3811" y="2336"/>
                  <a:pt x="3823" y="2229"/>
                  <a:pt x="3775" y="2157"/>
                </a:cubicBezTo>
                <a:cubicBezTo>
                  <a:pt x="3753" y="2106"/>
                  <a:pt x="3704" y="2082"/>
                  <a:pt x="3653" y="2082"/>
                </a:cubicBezTo>
                <a:cubicBezTo>
                  <a:pt x="3621" y="2082"/>
                  <a:pt x="3588" y="2091"/>
                  <a:pt x="3561" y="2110"/>
                </a:cubicBezTo>
                <a:cubicBezTo>
                  <a:pt x="2644" y="2717"/>
                  <a:pt x="1894" y="3693"/>
                  <a:pt x="1537" y="4729"/>
                </a:cubicBezTo>
                <a:cubicBezTo>
                  <a:pt x="1453" y="4955"/>
                  <a:pt x="1382" y="5205"/>
                  <a:pt x="1334" y="5491"/>
                </a:cubicBezTo>
                <a:cubicBezTo>
                  <a:pt x="1215" y="5265"/>
                  <a:pt x="1096" y="4967"/>
                  <a:pt x="1025" y="4610"/>
                </a:cubicBezTo>
                <a:cubicBezTo>
                  <a:pt x="834" y="3645"/>
                  <a:pt x="1120" y="2752"/>
                  <a:pt x="1870" y="1943"/>
                </a:cubicBezTo>
                <a:cubicBezTo>
                  <a:pt x="1977" y="1836"/>
                  <a:pt x="2084" y="1740"/>
                  <a:pt x="2191" y="1657"/>
                </a:cubicBezTo>
                <a:cubicBezTo>
                  <a:pt x="2263" y="1598"/>
                  <a:pt x="2263" y="1502"/>
                  <a:pt x="2203" y="1443"/>
                </a:cubicBezTo>
                <a:cubicBezTo>
                  <a:pt x="2171" y="1398"/>
                  <a:pt x="2125" y="1377"/>
                  <a:pt x="2080" y="1377"/>
                </a:cubicBezTo>
                <a:cubicBezTo>
                  <a:pt x="2042" y="1377"/>
                  <a:pt x="2004" y="1392"/>
                  <a:pt x="1977" y="1419"/>
                </a:cubicBezTo>
                <a:cubicBezTo>
                  <a:pt x="1858" y="1514"/>
                  <a:pt x="1751" y="1621"/>
                  <a:pt x="1656" y="1740"/>
                </a:cubicBezTo>
                <a:cubicBezTo>
                  <a:pt x="1215" y="2193"/>
                  <a:pt x="953" y="2657"/>
                  <a:pt x="822" y="3086"/>
                </a:cubicBezTo>
                <a:cubicBezTo>
                  <a:pt x="739" y="2943"/>
                  <a:pt x="656" y="2752"/>
                  <a:pt x="608" y="2526"/>
                </a:cubicBezTo>
                <a:cubicBezTo>
                  <a:pt x="477" y="1919"/>
                  <a:pt x="656" y="1395"/>
                  <a:pt x="1132" y="978"/>
                </a:cubicBezTo>
                <a:cubicBezTo>
                  <a:pt x="1394" y="749"/>
                  <a:pt x="1665" y="630"/>
                  <a:pt x="1947" y="630"/>
                </a:cubicBezTo>
                <a:close/>
                <a:moveTo>
                  <a:pt x="912" y="1"/>
                </a:moveTo>
                <a:cubicBezTo>
                  <a:pt x="725" y="1"/>
                  <a:pt x="555" y="55"/>
                  <a:pt x="405" y="169"/>
                </a:cubicBezTo>
                <a:cubicBezTo>
                  <a:pt x="108" y="395"/>
                  <a:pt x="1" y="740"/>
                  <a:pt x="108" y="1121"/>
                </a:cubicBezTo>
                <a:cubicBezTo>
                  <a:pt x="144" y="1312"/>
                  <a:pt x="251" y="1478"/>
                  <a:pt x="298" y="1550"/>
                </a:cubicBezTo>
                <a:cubicBezTo>
                  <a:pt x="179" y="1931"/>
                  <a:pt x="203" y="2264"/>
                  <a:pt x="263" y="2550"/>
                </a:cubicBezTo>
                <a:cubicBezTo>
                  <a:pt x="370" y="3038"/>
                  <a:pt x="620" y="3419"/>
                  <a:pt x="679" y="3479"/>
                </a:cubicBezTo>
                <a:cubicBezTo>
                  <a:pt x="608" y="3919"/>
                  <a:pt x="644" y="4324"/>
                  <a:pt x="715" y="4646"/>
                </a:cubicBezTo>
                <a:cubicBezTo>
                  <a:pt x="858" y="5384"/>
                  <a:pt x="1215" y="5884"/>
                  <a:pt x="1298" y="5991"/>
                </a:cubicBezTo>
                <a:cubicBezTo>
                  <a:pt x="1263" y="6729"/>
                  <a:pt x="1441" y="7610"/>
                  <a:pt x="2025" y="8539"/>
                </a:cubicBezTo>
                <a:cubicBezTo>
                  <a:pt x="3192" y="10396"/>
                  <a:pt x="4775" y="11063"/>
                  <a:pt x="6251" y="11063"/>
                </a:cubicBezTo>
                <a:cubicBezTo>
                  <a:pt x="6871" y="11063"/>
                  <a:pt x="7466" y="10944"/>
                  <a:pt x="8002" y="10742"/>
                </a:cubicBezTo>
                <a:cubicBezTo>
                  <a:pt x="8180" y="10801"/>
                  <a:pt x="8371" y="10825"/>
                  <a:pt x="8549" y="10825"/>
                </a:cubicBezTo>
                <a:cubicBezTo>
                  <a:pt x="9061" y="10825"/>
                  <a:pt x="9538" y="10587"/>
                  <a:pt x="9930" y="10146"/>
                </a:cubicBezTo>
                <a:cubicBezTo>
                  <a:pt x="10383" y="9587"/>
                  <a:pt x="10716" y="8753"/>
                  <a:pt x="10800" y="7825"/>
                </a:cubicBezTo>
                <a:cubicBezTo>
                  <a:pt x="10883" y="6884"/>
                  <a:pt x="10728" y="5979"/>
                  <a:pt x="10371" y="5277"/>
                </a:cubicBezTo>
                <a:cubicBezTo>
                  <a:pt x="10061" y="4681"/>
                  <a:pt x="9490" y="4372"/>
                  <a:pt x="9097" y="4217"/>
                </a:cubicBezTo>
                <a:cubicBezTo>
                  <a:pt x="8737" y="4084"/>
                  <a:pt x="8354" y="4012"/>
                  <a:pt x="8003" y="4012"/>
                </a:cubicBezTo>
                <a:cubicBezTo>
                  <a:pt x="7913" y="4012"/>
                  <a:pt x="7825" y="4017"/>
                  <a:pt x="7740" y="4026"/>
                </a:cubicBezTo>
                <a:lnTo>
                  <a:pt x="7692" y="3753"/>
                </a:lnTo>
                <a:cubicBezTo>
                  <a:pt x="7561" y="3217"/>
                  <a:pt x="7275" y="2729"/>
                  <a:pt x="6871" y="2348"/>
                </a:cubicBezTo>
                <a:cubicBezTo>
                  <a:pt x="6352" y="1840"/>
                  <a:pt x="5667" y="1577"/>
                  <a:pt x="5020" y="1577"/>
                </a:cubicBezTo>
                <a:cubicBezTo>
                  <a:pt x="4954" y="1577"/>
                  <a:pt x="4888" y="1580"/>
                  <a:pt x="4823" y="1586"/>
                </a:cubicBezTo>
                <a:cubicBezTo>
                  <a:pt x="4751" y="1490"/>
                  <a:pt x="4537" y="1252"/>
                  <a:pt x="4227" y="1074"/>
                </a:cubicBezTo>
                <a:cubicBezTo>
                  <a:pt x="3929" y="904"/>
                  <a:pt x="3622" y="827"/>
                  <a:pt x="3299" y="827"/>
                </a:cubicBezTo>
                <a:cubicBezTo>
                  <a:pt x="3236" y="827"/>
                  <a:pt x="3173" y="830"/>
                  <a:pt x="3108" y="836"/>
                </a:cubicBezTo>
                <a:cubicBezTo>
                  <a:pt x="2989" y="705"/>
                  <a:pt x="2584" y="324"/>
                  <a:pt x="2025" y="264"/>
                </a:cubicBezTo>
                <a:cubicBezTo>
                  <a:pt x="1988" y="257"/>
                  <a:pt x="1952" y="254"/>
                  <a:pt x="1917" y="254"/>
                </a:cubicBezTo>
                <a:cubicBezTo>
                  <a:pt x="1839" y="254"/>
                  <a:pt x="1765" y="268"/>
                  <a:pt x="1691" y="276"/>
                </a:cubicBezTo>
                <a:cubicBezTo>
                  <a:pt x="1632" y="228"/>
                  <a:pt x="1489" y="145"/>
                  <a:pt x="1310" y="74"/>
                </a:cubicBezTo>
                <a:cubicBezTo>
                  <a:pt x="1171" y="26"/>
                  <a:pt x="1038" y="1"/>
                  <a:pt x="91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80" name="Google Shape;12980;p63"/>
          <p:cNvGrpSpPr/>
          <p:nvPr/>
        </p:nvGrpSpPr>
        <p:grpSpPr>
          <a:xfrm>
            <a:off x="2500941" y="2527218"/>
            <a:ext cx="355104" cy="250944"/>
            <a:chOff x="2500941" y="2527218"/>
            <a:chExt cx="355104" cy="250944"/>
          </a:xfrm>
        </p:grpSpPr>
        <p:sp>
          <p:nvSpPr>
            <p:cNvPr id="12981" name="Google Shape;12981;p63"/>
            <p:cNvSpPr/>
            <p:nvPr/>
          </p:nvSpPr>
          <p:spPr>
            <a:xfrm>
              <a:off x="2500941" y="2527218"/>
              <a:ext cx="355104" cy="250944"/>
            </a:xfrm>
            <a:custGeom>
              <a:avLst/>
              <a:gdLst/>
              <a:ahLst/>
              <a:cxnLst/>
              <a:rect l="l" t="t" r="r" b="b"/>
              <a:pathLst>
                <a:path w="11097" h="7842" extrusionOk="0">
                  <a:moveTo>
                    <a:pt x="9204" y="579"/>
                  </a:moveTo>
                  <a:cubicBezTo>
                    <a:pt x="9882" y="579"/>
                    <a:pt x="10430" y="1139"/>
                    <a:pt x="10430" y="1806"/>
                  </a:cubicBezTo>
                  <a:cubicBezTo>
                    <a:pt x="10430" y="2472"/>
                    <a:pt x="9882" y="3020"/>
                    <a:pt x="9204" y="3020"/>
                  </a:cubicBezTo>
                  <a:cubicBezTo>
                    <a:pt x="8537" y="3020"/>
                    <a:pt x="7989" y="2472"/>
                    <a:pt x="7989" y="1806"/>
                  </a:cubicBezTo>
                  <a:cubicBezTo>
                    <a:pt x="7989" y="1139"/>
                    <a:pt x="8537" y="579"/>
                    <a:pt x="9204" y="579"/>
                  </a:cubicBezTo>
                  <a:close/>
                  <a:moveTo>
                    <a:pt x="8647" y="361"/>
                  </a:moveTo>
                  <a:cubicBezTo>
                    <a:pt x="8681" y="361"/>
                    <a:pt x="8716" y="362"/>
                    <a:pt x="8751" y="365"/>
                  </a:cubicBezTo>
                  <a:cubicBezTo>
                    <a:pt x="8120" y="555"/>
                    <a:pt x="7668" y="1151"/>
                    <a:pt x="7668" y="1829"/>
                  </a:cubicBezTo>
                  <a:cubicBezTo>
                    <a:pt x="7668" y="2687"/>
                    <a:pt x="8358" y="3377"/>
                    <a:pt x="9216" y="3377"/>
                  </a:cubicBezTo>
                  <a:cubicBezTo>
                    <a:pt x="9727" y="3377"/>
                    <a:pt x="10180" y="3127"/>
                    <a:pt x="10466" y="2734"/>
                  </a:cubicBezTo>
                  <a:cubicBezTo>
                    <a:pt x="10609" y="2949"/>
                    <a:pt x="10763" y="3199"/>
                    <a:pt x="10775" y="3365"/>
                  </a:cubicBezTo>
                  <a:cubicBezTo>
                    <a:pt x="10668" y="3472"/>
                    <a:pt x="9989" y="3782"/>
                    <a:pt x="8680" y="4068"/>
                  </a:cubicBezTo>
                  <a:cubicBezTo>
                    <a:pt x="8584" y="4080"/>
                    <a:pt x="8525" y="4175"/>
                    <a:pt x="8561" y="4258"/>
                  </a:cubicBezTo>
                  <a:cubicBezTo>
                    <a:pt x="8573" y="4330"/>
                    <a:pt x="8644" y="4389"/>
                    <a:pt x="8715" y="4389"/>
                  </a:cubicBezTo>
                  <a:lnTo>
                    <a:pt x="8751" y="4389"/>
                  </a:lnTo>
                  <a:cubicBezTo>
                    <a:pt x="9370" y="4258"/>
                    <a:pt x="9954" y="4092"/>
                    <a:pt x="10370" y="3925"/>
                  </a:cubicBezTo>
                  <a:lnTo>
                    <a:pt x="10370" y="3925"/>
                  </a:lnTo>
                  <a:cubicBezTo>
                    <a:pt x="10323" y="3961"/>
                    <a:pt x="10299" y="4008"/>
                    <a:pt x="10251" y="4032"/>
                  </a:cubicBezTo>
                  <a:cubicBezTo>
                    <a:pt x="9894" y="4330"/>
                    <a:pt x="9394" y="4675"/>
                    <a:pt x="8835" y="4985"/>
                  </a:cubicBezTo>
                  <a:cubicBezTo>
                    <a:pt x="8418" y="5223"/>
                    <a:pt x="8001" y="5437"/>
                    <a:pt x="7608" y="5592"/>
                  </a:cubicBezTo>
                  <a:cubicBezTo>
                    <a:pt x="7049" y="5270"/>
                    <a:pt x="6334" y="5104"/>
                    <a:pt x="5584" y="5104"/>
                  </a:cubicBezTo>
                  <a:cubicBezTo>
                    <a:pt x="4822" y="5104"/>
                    <a:pt x="4108" y="5282"/>
                    <a:pt x="3560" y="5592"/>
                  </a:cubicBezTo>
                  <a:cubicBezTo>
                    <a:pt x="3155" y="5437"/>
                    <a:pt x="2739" y="5223"/>
                    <a:pt x="2322" y="4985"/>
                  </a:cubicBezTo>
                  <a:cubicBezTo>
                    <a:pt x="1774" y="4675"/>
                    <a:pt x="1262" y="4330"/>
                    <a:pt x="905" y="4032"/>
                  </a:cubicBezTo>
                  <a:cubicBezTo>
                    <a:pt x="857" y="3984"/>
                    <a:pt x="822" y="3961"/>
                    <a:pt x="786" y="3925"/>
                  </a:cubicBezTo>
                  <a:lnTo>
                    <a:pt x="786" y="3925"/>
                  </a:lnTo>
                  <a:cubicBezTo>
                    <a:pt x="1084" y="4044"/>
                    <a:pt x="1441" y="4151"/>
                    <a:pt x="1857" y="4270"/>
                  </a:cubicBezTo>
                  <a:cubicBezTo>
                    <a:pt x="3048" y="4592"/>
                    <a:pt x="4405" y="4746"/>
                    <a:pt x="5596" y="4746"/>
                  </a:cubicBezTo>
                  <a:cubicBezTo>
                    <a:pt x="6370" y="4746"/>
                    <a:pt x="7215" y="4675"/>
                    <a:pt x="8049" y="4544"/>
                  </a:cubicBezTo>
                  <a:cubicBezTo>
                    <a:pt x="8144" y="4520"/>
                    <a:pt x="8203" y="4437"/>
                    <a:pt x="8180" y="4342"/>
                  </a:cubicBezTo>
                  <a:cubicBezTo>
                    <a:pt x="8169" y="4265"/>
                    <a:pt x="8098" y="4209"/>
                    <a:pt x="8013" y="4209"/>
                  </a:cubicBezTo>
                  <a:cubicBezTo>
                    <a:pt x="8005" y="4209"/>
                    <a:pt x="7997" y="4210"/>
                    <a:pt x="7989" y="4211"/>
                  </a:cubicBezTo>
                  <a:cubicBezTo>
                    <a:pt x="7168" y="4342"/>
                    <a:pt x="6334" y="4425"/>
                    <a:pt x="5596" y="4425"/>
                  </a:cubicBezTo>
                  <a:cubicBezTo>
                    <a:pt x="4096" y="4425"/>
                    <a:pt x="2750" y="4151"/>
                    <a:pt x="2084" y="3996"/>
                  </a:cubicBezTo>
                  <a:cubicBezTo>
                    <a:pt x="1072" y="3734"/>
                    <a:pt x="476" y="3472"/>
                    <a:pt x="381" y="3353"/>
                  </a:cubicBezTo>
                  <a:cubicBezTo>
                    <a:pt x="405" y="3187"/>
                    <a:pt x="548" y="2925"/>
                    <a:pt x="703" y="2722"/>
                  </a:cubicBezTo>
                  <a:cubicBezTo>
                    <a:pt x="976" y="3115"/>
                    <a:pt x="1441" y="3365"/>
                    <a:pt x="1953" y="3365"/>
                  </a:cubicBezTo>
                  <a:cubicBezTo>
                    <a:pt x="2798" y="3365"/>
                    <a:pt x="3501" y="2663"/>
                    <a:pt x="3501" y="1817"/>
                  </a:cubicBezTo>
                  <a:cubicBezTo>
                    <a:pt x="3501" y="1639"/>
                    <a:pt x="3465" y="1460"/>
                    <a:pt x="3405" y="1294"/>
                  </a:cubicBezTo>
                  <a:cubicBezTo>
                    <a:pt x="3387" y="1229"/>
                    <a:pt x="3326" y="1186"/>
                    <a:pt x="3261" y="1186"/>
                  </a:cubicBezTo>
                  <a:cubicBezTo>
                    <a:pt x="3242" y="1186"/>
                    <a:pt x="3222" y="1190"/>
                    <a:pt x="3203" y="1198"/>
                  </a:cubicBezTo>
                  <a:cubicBezTo>
                    <a:pt x="3108" y="1222"/>
                    <a:pt x="3060" y="1317"/>
                    <a:pt x="3096" y="1401"/>
                  </a:cubicBezTo>
                  <a:cubicBezTo>
                    <a:pt x="3143" y="1532"/>
                    <a:pt x="3167" y="1675"/>
                    <a:pt x="3167" y="1817"/>
                  </a:cubicBezTo>
                  <a:cubicBezTo>
                    <a:pt x="3167" y="2484"/>
                    <a:pt x="2619" y="3044"/>
                    <a:pt x="1953" y="3044"/>
                  </a:cubicBezTo>
                  <a:cubicBezTo>
                    <a:pt x="1274" y="3044"/>
                    <a:pt x="726" y="2484"/>
                    <a:pt x="726" y="1817"/>
                  </a:cubicBezTo>
                  <a:cubicBezTo>
                    <a:pt x="726" y="1151"/>
                    <a:pt x="1274" y="603"/>
                    <a:pt x="1953" y="603"/>
                  </a:cubicBezTo>
                  <a:cubicBezTo>
                    <a:pt x="2250" y="603"/>
                    <a:pt x="2524" y="698"/>
                    <a:pt x="2750" y="913"/>
                  </a:cubicBezTo>
                  <a:cubicBezTo>
                    <a:pt x="2785" y="941"/>
                    <a:pt x="2824" y="956"/>
                    <a:pt x="2862" y="956"/>
                  </a:cubicBezTo>
                  <a:cubicBezTo>
                    <a:pt x="2905" y="956"/>
                    <a:pt x="2946" y="938"/>
                    <a:pt x="2977" y="901"/>
                  </a:cubicBezTo>
                  <a:cubicBezTo>
                    <a:pt x="3036" y="817"/>
                    <a:pt x="3036" y="734"/>
                    <a:pt x="2965" y="674"/>
                  </a:cubicBezTo>
                  <a:cubicBezTo>
                    <a:pt x="2798" y="520"/>
                    <a:pt x="2608" y="424"/>
                    <a:pt x="2405" y="365"/>
                  </a:cubicBezTo>
                  <a:cubicBezTo>
                    <a:pt x="2442" y="362"/>
                    <a:pt x="2478" y="361"/>
                    <a:pt x="2513" y="361"/>
                  </a:cubicBezTo>
                  <a:cubicBezTo>
                    <a:pt x="2793" y="361"/>
                    <a:pt x="3047" y="442"/>
                    <a:pt x="3227" y="579"/>
                  </a:cubicBezTo>
                  <a:cubicBezTo>
                    <a:pt x="4036" y="1222"/>
                    <a:pt x="4715" y="1496"/>
                    <a:pt x="5584" y="1496"/>
                  </a:cubicBezTo>
                  <a:cubicBezTo>
                    <a:pt x="6441" y="1496"/>
                    <a:pt x="7132" y="1222"/>
                    <a:pt x="7930" y="579"/>
                  </a:cubicBezTo>
                  <a:cubicBezTo>
                    <a:pt x="8120" y="442"/>
                    <a:pt x="8375" y="361"/>
                    <a:pt x="8647" y="361"/>
                  </a:cubicBezTo>
                  <a:close/>
                  <a:moveTo>
                    <a:pt x="5584" y="5437"/>
                  </a:moveTo>
                  <a:cubicBezTo>
                    <a:pt x="6179" y="5437"/>
                    <a:pt x="6751" y="5556"/>
                    <a:pt x="7215" y="5758"/>
                  </a:cubicBezTo>
                  <a:cubicBezTo>
                    <a:pt x="6572" y="6020"/>
                    <a:pt x="5989" y="6151"/>
                    <a:pt x="5584" y="6151"/>
                  </a:cubicBezTo>
                  <a:cubicBezTo>
                    <a:pt x="5144" y="6151"/>
                    <a:pt x="4584" y="6020"/>
                    <a:pt x="3941" y="5758"/>
                  </a:cubicBezTo>
                  <a:cubicBezTo>
                    <a:pt x="4405" y="5556"/>
                    <a:pt x="4989" y="5437"/>
                    <a:pt x="5584" y="5437"/>
                  </a:cubicBezTo>
                  <a:close/>
                  <a:moveTo>
                    <a:pt x="607" y="4234"/>
                  </a:moveTo>
                  <a:lnTo>
                    <a:pt x="607" y="4234"/>
                  </a:lnTo>
                  <a:cubicBezTo>
                    <a:pt x="643" y="4246"/>
                    <a:pt x="655" y="4270"/>
                    <a:pt x="679" y="4294"/>
                  </a:cubicBezTo>
                  <a:cubicBezTo>
                    <a:pt x="1060" y="4604"/>
                    <a:pt x="1572" y="4961"/>
                    <a:pt x="2143" y="5282"/>
                  </a:cubicBezTo>
                  <a:cubicBezTo>
                    <a:pt x="2739" y="5627"/>
                    <a:pt x="3358" y="5913"/>
                    <a:pt x="3929" y="6116"/>
                  </a:cubicBezTo>
                  <a:cubicBezTo>
                    <a:pt x="4584" y="6354"/>
                    <a:pt x="5120" y="6473"/>
                    <a:pt x="5548" y="6473"/>
                  </a:cubicBezTo>
                  <a:cubicBezTo>
                    <a:pt x="5977" y="6473"/>
                    <a:pt x="6525" y="6354"/>
                    <a:pt x="7168" y="6116"/>
                  </a:cubicBezTo>
                  <a:cubicBezTo>
                    <a:pt x="7739" y="5913"/>
                    <a:pt x="8358" y="5616"/>
                    <a:pt x="8954" y="5282"/>
                  </a:cubicBezTo>
                  <a:cubicBezTo>
                    <a:pt x="9537" y="4961"/>
                    <a:pt x="10061" y="4604"/>
                    <a:pt x="10418" y="4294"/>
                  </a:cubicBezTo>
                  <a:cubicBezTo>
                    <a:pt x="10442" y="4270"/>
                    <a:pt x="10454" y="4246"/>
                    <a:pt x="10489" y="4234"/>
                  </a:cubicBezTo>
                  <a:lnTo>
                    <a:pt x="10489" y="4234"/>
                  </a:lnTo>
                  <a:cubicBezTo>
                    <a:pt x="10239" y="4770"/>
                    <a:pt x="9716" y="5401"/>
                    <a:pt x="9061" y="5973"/>
                  </a:cubicBezTo>
                  <a:cubicBezTo>
                    <a:pt x="8525" y="6437"/>
                    <a:pt x="7942" y="6818"/>
                    <a:pt x="7370" y="7092"/>
                  </a:cubicBezTo>
                  <a:cubicBezTo>
                    <a:pt x="6727" y="7390"/>
                    <a:pt x="6120" y="7532"/>
                    <a:pt x="5560" y="7532"/>
                  </a:cubicBezTo>
                  <a:cubicBezTo>
                    <a:pt x="5013" y="7532"/>
                    <a:pt x="4405" y="7390"/>
                    <a:pt x="3762" y="7092"/>
                  </a:cubicBezTo>
                  <a:cubicBezTo>
                    <a:pt x="3179" y="6818"/>
                    <a:pt x="2608" y="6437"/>
                    <a:pt x="2060" y="5973"/>
                  </a:cubicBezTo>
                  <a:cubicBezTo>
                    <a:pt x="1417" y="5401"/>
                    <a:pt x="893" y="4782"/>
                    <a:pt x="607" y="4234"/>
                  </a:cubicBezTo>
                  <a:close/>
                  <a:moveTo>
                    <a:pt x="2503" y="1"/>
                  </a:moveTo>
                  <a:cubicBezTo>
                    <a:pt x="2451" y="1"/>
                    <a:pt x="2399" y="3"/>
                    <a:pt x="2346" y="8"/>
                  </a:cubicBezTo>
                  <a:cubicBezTo>
                    <a:pt x="1965" y="20"/>
                    <a:pt x="1584" y="151"/>
                    <a:pt x="1334" y="365"/>
                  </a:cubicBezTo>
                  <a:cubicBezTo>
                    <a:pt x="762" y="579"/>
                    <a:pt x="333" y="1151"/>
                    <a:pt x="333" y="1806"/>
                  </a:cubicBezTo>
                  <a:cubicBezTo>
                    <a:pt x="333" y="2008"/>
                    <a:pt x="381" y="2222"/>
                    <a:pt x="453" y="2401"/>
                  </a:cubicBezTo>
                  <a:cubicBezTo>
                    <a:pt x="322" y="2568"/>
                    <a:pt x="0" y="3020"/>
                    <a:pt x="0" y="3365"/>
                  </a:cubicBezTo>
                  <a:cubicBezTo>
                    <a:pt x="0" y="4139"/>
                    <a:pt x="714" y="5258"/>
                    <a:pt x="1822" y="6211"/>
                  </a:cubicBezTo>
                  <a:cubicBezTo>
                    <a:pt x="2381" y="6687"/>
                    <a:pt x="2989" y="7092"/>
                    <a:pt x="3596" y="7366"/>
                  </a:cubicBezTo>
                  <a:cubicBezTo>
                    <a:pt x="4286" y="7699"/>
                    <a:pt x="4941" y="7842"/>
                    <a:pt x="5536" y="7842"/>
                  </a:cubicBezTo>
                  <a:cubicBezTo>
                    <a:pt x="6132" y="7842"/>
                    <a:pt x="6787" y="7687"/>
                    <a:pt x="7465" y="7366"/>
                  </a:cubicBezTo>
                  <a:cubicBezTo>
                    <a:pt x="8073" y="7092"/>
                    <a:pt x="8692" y="6687"/>
                    <a:pt x="9239" y="6211"/>
                  </a:cubicBezTo>
                  <a:cubicBezTo>
                    <a:pt x="10335" y="5258"/>
                    <a:pt x="11073" y="4139"/>
                    <a:pt x="11073" y="3377"/>
                  </a:cubicBezTo>
                  <a:lnTo>
                    <a:pt x="11073" y="3365"/>
                  </a:lnTo>
                  <a:cubicBezTo>
                    <a:pt x="11097" y="3020"/>
                    <a:pt x="10775" y="2568"/>
                    <a:pt x="10644" y="2401"/>
                  </a:cubicBezTo>
                  <a:cubicBezTo>
                    <a:pt x="10716" y="2222"/>
                    <a:pt x="10751" y="2008"/>
                    <a:pt x="10751" y="1806"/>
                  </a:cubicBezTo>
                  <a:cubicBezTo>
                    <a:pt x="10751" y="1151"/>
                    <a:pt x="10347" y="579"/>
                    <a:pt x="9763" y="365"/>
                  </a:cubicBezTo>
                  <a:cubicBezTo>
                    <a:pt x="9501" y="151"/>
                    <a:pt x="9132" y="20"/>
                    <a:pt x="8751" y="8"/>
                  </a:cubicBezTo>
                  <a:cubicBezTo>
                    <a:pt x="8714" y="5"/>
                    <a:pt x="8677" y="4"/>
                    <a:pt x="8640" y="4"/>
                  </a:cubicBezTo>
                  <a:cubicBezTo>
                    <a:pt x="8277" y="4"/>
                    <a:pt x="7941" y="109"/>
                    <a:pt x="7703" y="282"/>
                  </a:cubicBezTo>
                  <a:cubicBezTo>
                    <a:pt x="6965" y="877"/>
                    <a:pt x="6346" y="1115"/>
                    <a:pt x="5548" y="1115"/>
                  </a:cubicBezTo>
                  <a:cubicBezTo>
                    <a:pt x="4739" y="1115"/>
                    <a:pt x="4143" y="877"/>
                    <a:pt x="3393" y="282"/>
                  </a:cubicBezTo>
                  <a:cubicBezTo>
                    <a:pt x="3165" y="105"/>
                    <a:pt x="2855" y="1"/>
                    <a:pt x="25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2" name="Google Shape;12982;p63"/>
            <p:cNvSpPr/>
            <p:nvPr/>
          </p:nvSpPr>
          <p:spPr>
            <a:xfrm>
              <a:off x="2651437" y="2623922"/>
              <a:ext cx="16768" cy="15968"/>
            </a:xfrm>
            <a:custGeom>
              <a:avLst/>
              <a:gdLst/>
              <a:ahLst/>
              <a:cxnLst/>
              <a:rect l="l" t="t" r="r" b="b"/>
              <a:pathLst>
                <a:path w="524" h="499" extrusionOk="0">
                  <a:moveTo>
                    <a:pt x="351" y="1"/>
                  </a:moveTo>
                  <a:cubicBezTo>
                    <a:pt x="310" y="1"/>
                    <a:pt x="268" y="16"/>
                    <a:pt x="238" y="46"/>
                  </a:cubicBezTo>
                  <a:lnTo>
                    <a:pt x="60" y="224"/>
                  </a:lnTo>
                  <a:cubicBezTo>
                    <a:pt x="0" y="284"/>
                    <a:pt x="0" y="391"/>
                    <a:pt x="60" y="450"/>
                  </a:cubicBezTo>
                  <a:cubicBezTo>
                    <a:pt x="83" y="474"/>
                    <a:pt x="131" y="498"/>
                    <a:pt x="179" y="498"/>
                  </a:cubicBezTo>
                  <a:cubicBezTo>
                    <a:pt x="214" y="498"/>
                    <a:pt x="262" y="474"/>
                    <a:pt x="298" y="450"/>
                  </a:cubicBezTo>
                  <a:lnTo>
                    <a:pt x="476" y="272"/>
                  </a:lnTo>
                  <a:cubicBezTo>
                    <a:pt x="524" y="224"/>
                    <a:pt x="524" y="117"/>
                    <a:pt x="464" y="46"/>
                  </a:cubicBezTo>
                  <a:cubicBezTo>
                    <a:pt x="435" y="16"/>
                    <a:pt x="393" y="1"/>
                    <a:pt x="3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3" name="Google Shape;12983;p63"/>
            <p:cNvSpPr/>
            <p:nvPr/>
          </p:nvSpPr>
          <p:spPr>
            <a:xfrm>
              <a:off x="2690285" y="2623922"/>
              <a:ext cx="16800" cy="15968"/>
            </a:xfrm>
            <a:custGeom>
              <a:avLst/>
              <a:gdLst/>
              <a:ahLst/>
              <a:cxnLst/>
              <a:rect l="l" t="t" r="r" b="b"/>
              <a:pathLst>
                <a:path w="525" h="499" extrusionOk="0">
                  <a:moveTo>
                    <a:pt x="173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239" y="450"/>
                  </a:lnTo>
                  <a:cubicBezTo>
                    <a:pt x="274" y="474"/>
                    <a:pt x="310" y="498"/>
                    <a:pt x="358" y="498"/>
                  </a:cubicBezTo>
                  <a:cubicBezTo>
                    <a:pt x="405" y="498"/>
                    <a:pt x="453" y="474"/>
                    <a:pt x="477" y="450"/>
                  </a:cubicBezTo>
                  <a:cubicBezTo>
                    <a:pt x="524" y="391"/>
                    <a:pt x="524" y="284"/>
                    <a:pt x="465" y="224"/>
                  </a:cubicBezTo>
                  <a:lnTo>
                    <a:pt x="286" y="46"/>
                  </a:ln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4" name="Google Shape;12984;p63"/>
            <p:cNvSpPr/>
            <p:nvPr/>
          </p:nvSpPr>
          <p:spPr>
            <a:xfrm>
              <a:off x="2535597" y="2557170"/>
              <a:ext cx="32416" cy="49184"/>
            </a:xfrm>
            <a:custGeom>
              <a:avLst/>
              <a:gdLst/>
              <a:ahLst/>
              <a:cxnLst/>
              <a:rect l="l" t="t" r="r" b="b"/>
              <a:pathLst>
                <a:path w="1013" h="1537" extrusionOk="0">
                  <a:moveTo>
                    <a:pt x="501" y="0"/>
                  </a:moveTo>
                  <a:cubicBezTo>
                    <a:pt x="227" y="0"/>
                    <a:pt x="1" y="227"/>
                    <a:pt x="1" y="512"/>
                  </a:cubicBezTo>
                  <a:lnTo>
                    <a:pt x="1" y="1024"/>
                  </a:lnTo>
                  <a:cubicBezTo>
                    <a:pt x="1" y="1310"/>
                    <a:pt x="227" y="1536"/>
                    <a:pt x="501" y="1536"/>
                  </a:cubicBezTo>
                  <a:cubicBezTo>
                    <a:pt x="786" y="1536"/>
                    <a:pt x="1013" y="1310"/>
                    <a:pt x="1013" y="1024"/>
                  </a:cubicBezTo>
                  <a:lnTo>
                    <a:pt x="1013" y="691"/>
                  </a:lnTo>
                  <a:cubicBezTo>
                    <a:pt x="1013" y="596"/>
                    <a:pt x="941" y="524"/>
                    <a:pt x="846" y="524"/>
                  </a:cubicBezTo>
                  <a:cubicBezTo>
                    <a:pt x="763" y="524"/>
                    <a:pt x="679" y="596"/>
                    <a:pt x="679" y="691"/>
                  </a:cubicBezTo>
                  <a:lnTo>
                    <a:pt x="679" y="1036"/>
                  </a:lnTo>
                  <a:cubicBezTo>
                    <a:pt x="679" y="1131"/>
                    <a:pt x="596" y="1215"/>
                    <a:pt x="501" y="1215"/>
                  </a:cubicBezTo>
                  <a:cubicBezTo>
                    <a:pt x="405" y="1215"/>
                    <a:pt x="322" y="1120"/>
                    <a:pt x="322" y="1036"/>
                  </a:cubicBezTo>
                  <a:lnTo>
                    <a:pt x="322" y="512"/>
                  </a:lnTo>
                  <a:cubicBezTo>
                    <a:pt x="322" y="405"/>
                    <a:pt x="417" y="334"/>
                    <a:pt x="501" y="334"/>
                  </a:cubicBezTo>
                  <a:cubicBezTo>
                    <a:pt x="596" y="334"/>
                    <a:pt x="667" y="262"/>
                    <a:pt x="667" y="167"/>
                  </a:cubicBezTo>
                  <a:cubicBezTo>
                    <a:pt x="667" y="84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5" name="Google Shape;12985;p63"/>
            <p:cNvSpPr/>
            <p:nvPr/>
          </p:nvSpPr>
          <p:spPr>
            <a:xfrm>
              <a:off x="2790477" y="2557938"/>
              <a:ext cx="32416" cy="48800"/>
            </a:xfrm>
            <a:custGeom>
              <a:avLst/>
              <a:gdLst/>
              <a:ahLst/>
              <a:cxnLst/>
              <a:rect l="l" t="t" r="r" b="b"/>
              <a:pathLst>
                <a:path w="1013" h="1525" extrusionOk="0">
                  <a:moveTo>
                    <a:pt x="501" y="0"/>
                  </a:moveTo>
                  <a:cubicBezTo>
                    <a:pt x="418" y="0"/>
                    <a:pt x="346" y="72"/>
                    <a:pt x="346" y="155"/>
                  </a:cubicBezTo>
                  <a:cubicBezTo>
                    <a:pt x="346" y="250"/>
                    <a:pt x="418" y="322"/>
                    <a:pt x="501" y="322"/>
                  </a:cubicBezTo>
                  <a:cubicBezTo>
                    <a:pt x="608" y="322"/>
                    <a:pt x="679" y="417"/>
                    <a:pt x="679" y="500"/>
                  </a:cubicBezTo>
                  <a:lnTo>
                    <a:pt x="679" y="1024"/>
                  </a:lnTo>
                  <a:cubicBezTo>
                    <a:pt x="679" y="1131"/>
                    <a:pt x="596" y="1203"/>
                    <a:pt x="501" y="1203"/>
                  </a:cubicBezTo>
                  <a:cubicBezTo>
                    <a:pt x="418" y="1203"/>
                    <a:pt x="322" y="1107"/>
                    <a:pt x="322" y="1024"/>
                  </a:cubicBezTo>
                  <a:lnTo>
                    <a:pt x="322" y="679"/>
                  </a:lnTo>
                  <a:cubicBezTo>
                    <a:pt x="322" y="596"/>
                    <a:pt x="251" y="512"/>
                    <a:pt x="156" y="512"/>
                  </a:cubicBezTo>
                  <a:cubicBezTo>
                    <a:pt x="72" y="512"/>
                    <a:pt x="1" y="596"/>
                    <a:pt x="1" y="679"/>
                  </a:cubicBezTo>
                  <a:lnTo>
                    <a:pt x="1" y="1024"/>
                  </a:lnTo>
                  <a:cubicBezTo>
                    <a:pt x="1" y="1310"/>
                    <a:pt x="215" y="1524"/>
                    <a:pt x="501" y="1524"/>
                  </a:cubicBezTo>
                  <a:cubicBezTo>
                    <a:pt x="787" y="1524"/>
                    <a:pt x="1013" y="1310"/>
                    <a:pt x="1013" y="1024"/>
                  </a:cubicBezTo>
                  <a:lnTo>
                    <a:pt x="1013" y="500"/>
                  </a:lnTo>
                  <a:cubicBezTo>
                    <a:pt x="1013" y="215"/>
                    <a:pt x="787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86" name="Google Shape;12986;p63"/>
          <p:cNvSpPr/>
          <p:nvPr/>
        </p:nvSpPr>
        <p:spPr>
          <a:xfrm>
            <a:off x="7447437" y="2499282"/>
            <a:ext cx="355136" cy="281952"/>
          </a:xfrm>
          <a:custGeom>
            <a:avLst/>
            <a:gdLst/>
            <a:ahLst/>
            <a:cxnLst/>
            <a:rect l="l" t="t" r="r" b="b"/>
            <a:pathLst>
              <a:path w="11098" h="8811" extrusionOk="0">
                <a:moveTo>
                  <a:pt x="4955" y="0"/>
                </a:moveTo>
                <a:cubicBezTo>
                  <a:pt x="4754" y="0"/>
                  <a:pt x="4539" y="24"/>
                  <a:pt x="4311" y="71"/>
                </a:cubicBezTo>
                <a:cubicBezTo>
                  <a:pt x="3358" y="262"/>
                  <a:pt x="2406" y="833"/>
                  <a:pt x="1418" y="1786"/>
                </a:cubicBezTo>
                <a:cubicBezTo>
                  <a:pt x="1358" y="1845"/>
                  <a:pt x="1358" y="1952"/>
                  <a:pt x="1418" y="2012"/>
                </a:cubicBezTo>
                <a:cubicBezTo>
                  <a:pt x="1453" y="2036"/>
                  <a:pt x="1489" y="2048"/>
                  <a:pt x="1537" y="2048"/>
                </a:cubicBezTo>
                <a:cubicBezTo>
                  <a:pt x="1584" y="2048"/>
                  <a:pt x="1608" y="2036"/>
                  <a:pt x="1656" y="2012"/>
                </a:cubicBezTo>
                <a:cubicBezTo>
                  <a:pt x="2596" y="1095"/>
                  <a:pt x="3489" y="559"/>
                  <a:pt x="4382" y="381"/>
                </a:cubicBezTo>
                <a:cubicBezTo>
                  <a:pt x="4594" y="339"/>
                  <a:pt x="4791" y="318"/>
                  <a:pt x="4972" y="318"/>
                </a:cubicBezTo>
                <a:cubicBezTo>
                  <a:pt x="5311" y="318"/>
                  <a:pt x="5594" y="392"/>
                  <a:pt x="5811" y="547"/>
                </a:cubicBezTo>
                <a:cubicBezTo>
                  <a:pt x="6002" y="678"/>
                  <a:pt x="6109" y="845"/>
                  <a:pt x="6180" y="1000"/>
                </a:cubicBezTo>
                <a:cubicBezTo>
                  <a:pt x="6121" y="976"/>
                  <a:pt x="6061" y="952"/>
                  <a:pt x="6002" y="940"/>
                </a:cubicBezTo>
                <a:cubicBezTo>
                  <a:pt x="5984" y="933"/>
                  <a:pt x="5967" y="930"/>
                  <a:pt x="5949" y="930"/>
                </a:cubicBezTo>
                <a:cubicBezTo>
                  <a:pt x="5882" y="930"/>
                  <a:pt x="5818" y="979"/>
                  <a:pt x="5799" y="1035"/>
                </a:cubicBezTo>
                <a:cubicBezTo>
                  <a:pt x="5764" y="1131"/>
                  <a:pt x="5823" y="1214"/>
                  <a:pt x="5895" y="1250"/>
                </a:cubicBezTo>
                <a:cubicBezTo>
                  <a:pt x="6121" y="1309"/>
                  <a:pt x="6335" y="1416"/>
                  <a:pt x="6537" y="1512"/>
                </a:cubicBezTo>
                <a:cubicBezTo>
                  <a:pt x="6787" y="1667"/>
                  <a:pt x="6907" y="1845"/>
                  <a:pt x="6883" y="2048"/>
                </a:cubicBezTo>
                <a:cubicBezTo>
                  <a:pt x="6847" y="2250"/>
                  <a:pt x="6692" y="2429"/>
                  <a:pt x="6514" y="2464"/>
                </a:cubicBezTo>
                <a:cubicBezTo>
                  <a:pt x="6483" y="2472"/>
                  <a:pt x="6453" y="2476"/>
                  <a:pt x="6425" y="2476"/>
                </a:cubicBezTo>
                <a:cubicBezTo>
                  <a:pt x="6321" y="2476"/>
                  <a:pt x="6234" y="2424"/>
                  <a:pt x="6168" y="2321"/>
                </a:cubicBezTo>
                <a:cubicBezTo>
                  <a:pt x="5871" y="1857"/>
                  <a:pt x="5442" y="1500"/>
                  <a:pt x="4990" y="1297"/>
                </a:cubicBezTo>
                <a:cubicBezTo>
                  <a:pt x="4882" y="1250"/>
                  <a:pt x="4763" y="1202"/>
                  <a:pt x="4668" y="1178"/>
                </a:cubicBezTo>
                <a:cubicBezTo>
                  <a:pt x="4811" y="1152"/>
                  <a:pt x="4954" y="1138"/>
                  <a:pt x="5097" y="1138"/>
                </a:cubicBezTo>
                <a:cubicBezTo>
                  <a:pt x="5144" y="1138"/>
                  <a:pt x="5192" y="1140"/>
                  <a:pt x="5240" y="1143"/>
                </a:cubicBezTo>
                <a:cubicBezTo>
                  <a:pt x="5335" y="1143"/>
                  <a:pt x="5406" y="1083"/>
                  <a:pt x="5406" y="1000"/>
                </a:cubicBezTo>
                <a:cubicBezTo>
                  <a:pt x="5406" y="905"/>
                  <a:pt x="5347" y="833"/>
                  <a:pt x="5263" y="833"/>
                </a:cubicBezTo>
                <a:cubicBezTo>
                  <a:pt x="5208" y="830"/>
                  <a:pt x="5151" y="829"/>
                  <a:pt x="5095" y="829"/>
                </a:cubicBezTo>
                <a:cubicBezTo>
                  <a:pt x="4253" y="829"/>
                  <a:pt x="3373" y="1161"/>
                  <a:pt x="2525" y="1797"/>
                </a:cubicBezTo>
                <a:cubicBezTo>
                  <a:pt x="1954" y="2226"/>
                  <a:pt x="1573" y="2667"/>
                  <a:pt x="1453" y="2810"/>
                </a:cubicBezTo>
                <a:cubicBezTo>
                  <a:pt x="1215" y="2869"/>
                  <a:pt x="977" y="2964"/>
                  <a:pt x="739" y="3083"/>
                </a:cubicBezTo>
                <a:cubicBezTo>
                  <a:pt x="870" y="2917"/>
                  <a:pt x="1013" y="2726"/>
                  <a:pt x="1215" y="2512"/>
                </a:cubicBezTo>
                <a:cubicBezTo>
                  <a:pt x="1275" y="2452"/>
                  <a:pt x="1275" y="2345"/>
                  <a:pt x="1192" y="2286"/>
                </a:cubicBezTo>
                <a:cubicBezTo>
                  <a:pt x="1164" y="2258"/>
                  <a:pt x="1130" y="2244"/>
                  <a:pt x="1094" y="2244"/>
                </a:cubicBezTo>
                <a:cubicBezTo>
                  <a:pt x="1052" y="2244"/>
                  <a:pt x="1009" y="2264"/>
                  <a:pt x="977" y="2309"/>
                </a:cubicBezTo>
                <a:cubicBezTo>
                  <a:pt x="394" y="2964"/>
                  <a:pt x="60" y="3500"/>
                  <a:pt x="37" y="3524"/>
                </a:cubicBezTo>
                <a:cubicBezTo>
                  <a:pt x="1" y="3583"/>
                  <a:pt x="1" y="3643"/>
                  <a:pt x="37" y="3702"/>
                </a:cubicBezTo>
                <a:cubicBezTo>
                  <a:pt x="75" y="3749"/>
                  <a:pt x="123" y="3775"/>
                  <a:pt x="175" y="3775"/>
                </a:cubicBezTo>
                <a:cubicBezTo>
                  <a:pt x="204" y="3775"/>
                  <a:pt x="233" y="3767"/>
                  <a:pt x="263" y="3750"/>
                </a:cubicBezTo>
                <a:cubicBezTo>
                  <a:pt x="691" y="3441"/>
                  <a:pt x="1215" y="3214"/>
                  <a:pt x="1715" y="3107"/>
                </a:cubicBezTo>
                <a:cubicBezTo>
                  <a:pt x="1860" y="3079"/>
                  <a:pt x="2037" y="3059"/>
                  <a:pt x="2203" y="3059"/>
                </a:cubicBezTo>
                <a:cubicBezTo>
                  <a:pt x="2391" y="3059"/>
                  <a:pt x="2567" y="3085"/>
                  <a:pt x="2668" y="3155"/>
                </a:cubicBezTo>
                <a:cubicBezTo>
                  <a:pt x="2799" y="3238"/>
                  <a:pt x="2858" y="3357"/>
                  <a:pt x="2799" y="3476"/>
                </a:cubicBezTo>
                <a:cubicBezTo>
                  <a:pt x="2747" y="3588"/>
                  <a:pt x="2610" y="3674"/>
                  <a:pt x="2395" y="3674"/>
                </a:cubicBezTo>
                <a:cubicBezTo>
                  <a:pt x="2311" y="3674"/>
                  <a:pt x="2215" y="3661"/>
                  <a:pt x="2108" y="3631"/>
                </a:cubicBezTo>
                <a:cubicBezTo>
                  <a:pt x="1912" y="3572"/>
                  <a:pt x="1724" y="3542"/>
                  <a:pt x="1549" y="3542"/>
                </a:cubicBezTo>
                <a:cubicBezTo>
                  <a:pt x="1373" y="3542"/>
                  <a:pt x="1209" y="3572"/>
                  <a:pt x="1061" y="3631"/>
                </a:cubicBezTo>
                <a:cubicBezTo>
                  <a:pt x="799" y="3738"/>
                  <a:pt x="584" y="3929"/>
                  <a:pt x="453" y="4179"/>
                </a:cubicBezTo>
                <a:cubicBezTo>
                  <a:pt x="322" y="4429"/>
                  <a:pt x="275" y="4750"/>
                  <a:pt x="334" y="5048"/>
                </a:cubicBezTo>
                <a:cubicBezTo>
                  <a:pt x="382" y="5310"/>
                  <a:pt x="513" y="5548"/>
                  <a:pt x="703" y="5727"/>
                </a:cubicBezTo>
                <a:cubicBezTo>
                  <a:pt x="632" y="5858"/>
                  <a:pt x="572" y="6012"/>
                  <a:pt x="537" y="6179"/>
                </a:cubicBezTo>
                <a:cubicBezTo>
                  <a:pt x="441" y="6631"/>
                  <a:pt x="525" y="7143"/>
                  <a:pt x="811" y="7632"/>
                </a:cubicBezTo>
                <a:cubicBezTo>
                  <a:pt x="1013" y="8001"/>
                  <a:pt x="1251" y="8239"/>
                  <a:pt x="1275" y="8239"/>
                </a:cubicBezTo>
                <a:cubicBezTo>
                  <a:pt x="1299" y="8274"/>
                  <a:pt x="1346" y="8286"/>
                  <a:pt x="1394" y="8286"/>
                </a:cubicBezTo>
                <a:cubicBezTo>
                  <a:pt x="1430" y="8286"/>
                  <a:pt x="1477" y="8274"/>
                  <a:pt x="1513" y="8239"/>
                </a:cubicBezTo>
                <a:cubicBezTo>
                  <a:pt x="1573" y="8179"/>
                  <a:pt x="1573" y="8084"/>
                  <a:pt x="1513" y="8024"/>
                </a:cubicBezTo>
                <a:cubicBezTo>
                  <a:pt x="1489" y="8001"/>
                  <a:pt x="644" y="7167"/>
                  <a:pt x="870" y="6250"/>
                </a:cubicBezTo>
                <a:cubicBezTo>
                  <a:pt x="977" y="5798"/>
                  <a:pt x="1239" y="5477"/>
                  <a:pt x="1656" y="5298"/>
                </a:cubicBezTo>
                <a:cubicBezTo>
                  <a:pt x="1896" y="5194"/>
                  <a:pt x="2169" y="5144"/>
                  <a:pt x="2455" y="5144"/>
                </a:cubicBezTo>
                <a:cubicBezTo>
                  <a:pt x="2595" y="5144"/>
                  <a:pt x="2738" y="5155"/>
                  <a:pt x="2882" y="5179"/>
                </a:cubicBezTo>
                <a:cubicBezTo>
                  <a:pt x="3382" y="5262"/>
                  <a:pt x="3775" y="5536"/>
                  <a:pt x="3739" y="5762"/>
                </a:cubicBezTo>
                <a:cubicBezTo>
                  <a:pt x="3728" y="5822"/>
                  <a:pt x="3716" y="5858"/>
                  <a:pt x="3668" y="5893"/>
                </a:cubicBezTo>
                <a:cubicBezTo>
                  <a:pt x="3634" y="5910"/>
                  <a:pt x="3589" y="5927"/>
                  <a:pt x="3540" y="5927"/>
                </a:cubicBezTo>
                <a:cubicBezTo>
                  <a:pt x="3519" y="5927"/>
                  <a:pt x="3498" y="5924"/>
                  <a:pt x="3478" y="5917"/>
                </a:cubicBezTo>
                <a:lnTo>
                  <a:pt x="3454" y="5917"/>
                </a:lnTo>
                <a:cubicBezTo>
                  <a:pt x="3394" y="5846"/>
                  <a:pt x="3323" y="5774"/>
                  <a:pt x="3239" y="5715"/>
                </a:cubicBezTo>
                <a:cubicBezTo>
                  <a:pt x="3207" y="5696"/>
                  <a:pt x="3173" y="5687"/>
                  <a:pt x="3141" y="5687"/>
                </a:cubicBezTo>
                <a:cubicBezTo>
                  <a:pt x="3090" y="5687"/>
                  <a:pt x="3042" y="5711"/>
                  <a:pt x="3013" y="5762"/>
                </a:cubicBezTo>
                <a:cubicBezTo>
                  <a:pt x="2966" y="5834"/>
                  <a:pt x="2977" y="5941"/>
                  <a:pt x="3061" y="5977"/>
                </a:cubicBezTo>
                <a:cubicBezTo>
                  <a:pt x="3263" y="6119"/>
                  <a:pt x="3275" y="6274"/>
                  <a:pt x="3263" y="6381"/>
                </a:cubicBezTo>
                <a:cubicBezTo>
                  <a:pt x="3251" y="6536"/>
                  <a:pt x="3132" y="6679"/>
                  <a:pt x="3001" y="6727"/>
                </a:cubicBezTo>
                <a:cubicBezTo>
                  <a:pt x="2976" y="6732"/>
                  <a:pt x="2951" y="6735"/>
                  <a:pt x="2927" y="6735"/>
                </a:cubicBezTo>
                <a:cubicBezTo>
                  <a:pt x="2850" y="6735"/>
                  <a:pt x="2779" y="6704"/>
                  <a:pt x="2716" y="6631"/>
                </a:cubicBezTo>
                <a:cubicBezTo>
                  <a:pt x="2435" y="6342"/>
                  <a:pt x="2096" y="6177"/>
                  <a:pt x="1791" y="6177"/>
                </a:cubicBezTo>
                <a:cubicBezTo>
                  <a:pt x="1707" y="6177"/>
                  <a:pt x="1626" y="6189"/>
                  <a:pt x="1549" y="6215"/>
                </a:cubicBezTo>
                <a:cubicBezTo>
                  <a:pt x="1311" y="6298"/>
                  <a:pt x="1168" y="6477"/>
                  <a:pt x="1120" y="6727"/>
                </a:cubicBezTo>
                <a:cubicBezTo>
                  <a:pt x="1108" y="6810"/>
                  <a:pt x="1168" y="6905"/>
                  <a:pt x="1251" y="6905"/>
                </a:cubicBezTo>
                <a:cubicBezTo>
                  <a:pt x="1259" y="6906"/>
                  <a:pt x="1267" y="6907"/>
                  <a:pt x="1275" y="6907"/>
                </a:cubicBezTo>
                <a:cubicBezTo>
                  <a:pt x="1360" y="6907"/>
                  <a:pt x="1430" y="6850"/>
                  <a:pt x="1430" y="6774"/>
                </a:cubicBezTo>
                <a:cubicBezTo>
                  <a:pt x="1465" y="6620"/>
                  <a:pt x="1549" y="6548"/>
                  <a:pt x="1644" y="6536"/>
                </a:cubicBezTo>
                <a:cubicBezTo>
                  <a:pt x="1690" y="6521"/>
                  <a:pt x="1738" y="6514"/>
                  <a:pt x="1786" y="6514"/>
                </a:cubicBezTo>
                <a:cubicBezTo>
                  <a:pt x="2035" y="6514"/>
                  <a:pt x="2298" y="6700"/>
                  <a:pt x="2477" y="6870"/>
                </a:cubicBezTo>
                <a:cubicBezTo>
                  <a:pt x="2608" y="7012"/>
                  <a:pt x="2763" y="7084"/>
                  <a:pt x="2918" y="7084"/>
                </a:cubicBezTo>
                <a:cubicBezTo>
                  <a:pt x="2977" y="7084"/>
                  <a:pt x="3037" y="7072"/>
                  <a:pt x="3097" y="7048"/>
                </a:cubicBezTo>
                <a:cubicBezTo>
                  <a:pt x="3263" y="6989"/>
                  <a:pt x="3418" y="6870"/>
                  <a:pt x="3501" y="6715"/>
                </a:cubicBezTo>
                <a:cubicBezTo>
                  <a:pt x="3656" y="6870"/>
                  <a:pt x="3918" y="7108"/>
                  <a:pt x="4323" y="7381"/>
                </a:cubicBezTo>
                <a:cubicBezTo>
                  <a:pt x="4966" y="7810"/>
                  <a:pt x="6109" y="8405"/>
                  <a:pt x="7919" y="8810"/>
                </a:cubicBezTo>
                <a:lnTo>
                  <a:pt x="7954" y="8810"/>
                </a:lnTo>
                <a:cubicBezTo>
                  <a:pt x="8026" y="8810"/>
                  <a:pt x="8097" y="8763"/>
                  <a:pt x="8121" y="8679"/>
                </a:cubicBezTo>
                <a:cubicBezTo>
                  <a:pt x="8133" y="8584"/>
                  <a:pt x="8085" y="8501"/>
                  <a:pt x="8002" y="8477"/>
                </a:cubicBezTo>
                <a:cubicBezTo>
                  <a:pt x="6240" y="8096"/>
                  <a:pt x="5144" y="7524"/>
                  <a:pt x="4525" y="7131"/>
                </a:cubicBezTo>
                <a:cubicBezTo>
                  <a:pt x="3870" y="6679"/>
                  <a:pt x="3620" y="6322"/>
                  <a:pt x="3609" y="6322"/>
                </a:cubicBezTo>
                <a:lnTo>
                  <a:pt x="3609" y="6274"/>
                </a:lnTo>
                <a:cubicBezTo>
                  <a:pt x="3716" y="6274"/>
                  <a:pt x="3799" y="6250"/>
                  <a:pt x="3870" y="6191"/>
                </a:cubicBezTo>
                <a:cubicBezTo>
                  <a:pt x="3990" y="6119"/>
                  <a:pt x="4049" y="6000"/>
                  <a:pt x="4085" y="5834"/>
                </a:cubicBezTo>
                <a:cubicBezTo>
                  <a:pt x="4109" y="5607"/>
                  <a:pt x="4001" y="5381"/>
                  <a:pt x="3751" y="5203"/>
                </a:cubicBezTo>
                <a:cubicBezTo>
                  <a:pt x="3561" y="5060"/>
                  <a:pt x="3275" y="4941"/>
                  <a:pt x="2954" y="4881"/>
                </a:cubicBezTo>
                <a:cubicBezTo>
                  <a:pt x="2794" y="4852"/>
                  <a:pt x="2628" y="4836"/>
                  <a:pt x="2461" y="4836"/>
                </a:cubicBezTo>
                <a:cubicBezTo>
                  <a:pt x="1883" y="4836"/>
                  <a:pt x="1297" y="5024"/>
                  <a:pt x="918" y="5477"/>
                </a:cubicBezTo>
                <a:cubicBezTo>
                  <a:pt x="644" y="5191"/>
                  <a:pt x="572" y="4715"/>
                  <a:pt x="763" y="4345"/>
                </a:cubicBezTo>
                <a:cubicBezTo>
                  <a:pt x="848" y="4194"/>
                  <a:pt x="1067" y="3879"/>
                  <a:pt x="1581" y="3879"/>
                </a:cubicBezTo>
                <a:cubicBezTo>
                  <a:pt x="1716" y="3879"/>
                  <a:pt x="1871" y="3901"/>
                  <a:pt x="2049" y="3953"/>
                </a:cubicBezTo>
                <a:cubicBezTo>
                  <a:pt x="2189" y="3994"/>
                  <a:pt x="2318" y="4013"/>
                  <a:pt x="2436" y="4013"/>
                </a:cubicBezTo>
                <a:cubicBezTo>
                  <a:pt x="2788" y="4013"/>
                  <a:pt x="3034" y="3845"/>
                  <a:pt x="3132" y="3631"/>
                </a:cubicBezTo>
                <a:cubicBezTo>
                  <a:pt x="3251" y="3357"/>
                  <a:pt x="3144" y="3083"/>
                  <a:pt x="2882" y="2905"/>
                </a:cubicBezTo>
                <a:cubicBezTo>
                  <a:pt x="2714" y="2806"/>
                  <a:pt x="2470" y="2756"/>
                  <a:pt x="2181" y="2756"/>
                </a:cubicBezTo>
                <a:cubicBezTo>
                  <a:pt x="2123" y="2756"/>
                  <a:pt x="2063" y="2758"/>
                  <a:pt x="2001" y="2762"/>
                </a:cubicBezTo>
                <a:cubicBezTo>
                  <a:pt x="2180" y="2583"/>
                  <a:pt x="2430" y="2333"/>
                  <a:pt x="2739" y="2107"/>
                </a:cubicBezTo>
                <a:cubicBezTo>
                  <a:pt x="2966" y="1928"/>
                  <a:pt x="3251" y="1750"/>
                  <a:pt x="3561" y="1607"/>
                </a:cubicBezTo>
                <a:cubicBezTo>
                  <a:pt x="3742" y="1535"/>
                  <a:pt x="3929" y="1500"/>
                  <a:pt x="4120" y="1500"/>
                </a:cubicBezTo>
                <a:cubicBezTo>
                  <a:pt x="4368" y="1500"/>
                  <a:pt x="4621" y="1559"/>
                  <a:pt x="4871" y="1667"/>
                </a:cubicBezTo>
                <a:cubicBezTo>
                  <a:pt x="5156" y="1786"/>
                  <a:pt x="5406" y="1976"/>
                  <a:pt x="5633" y="2214"/>
                </a:cubicBezTo>
                <a:cubicBezTo>
                  <a:pt x="5299" y="2274"/>
                  <a:pt x="4799" y="2452"/>
                  <a:pt x="4549" y="3000"/>
                </a:cubicBezTo>
                <a:cubicBezTo>
                  <a:pt x="4323" y="3512"/>
                  <a:pt x="4347" y="4048"/>
                  <a:pt x="4668" y="4595"/>
                </a:cubicBezTo>
                <a:cubicBezTo>
                  <a:pt x="5573" y="6239"/>
                  <a:pt x="8681" y="7691"/>
                  <a:pt x="10919" y="7977"/>
                </a:cubicBezTo>
                <a:lnTo>
                  <a:pt x="10931" y="7977"/>
                </a:lnTo>
                <a:cubicBezTo>
                  <a:pt x="11002" y="7977"/>
                  <a:pt x="11074" y="7917"/>
                  <a:pt x="11098" y="7846"/>
                </a:cubicBezTo>
                <a:cubicBezTo>
                  <a:pt x="11050" y="7643"/>
                  <a:pt x="10990" y="7572"/>
                  <a:pt x="10907" y="7560"/>
                </a:cubicBezTo>
                <a:cubicBezTo>
                  <a:pt x="9835" y="7429"/>
                  <a:pt x="8538" y="6989"/>
                  <a:pt x="7407" y="6417"/>
                </a:cubicBezTo>
                <a:cubicBezTo>
                  <a:pt x="6180" y="5786"/>
                  <a:pt x="5287" y="5048"/>
                  <a:pt x="4906" y="4345"/>
                </a:cubicBezTo>
                <a:cubicBezTo>
                  <a:pt x="4656" y="3881"/>
                  <a:pt x="4609" y="3452"/>
                  <a:pt x="4799" y="3048"/>
                </a:cubicBezTo>
                <a:cubicBezTo>
                  <a:pt x="4918" y="2798"/>
                  <a:pt x="5133" y="2607"/>
                  <a:pt x="5442" y="2500"/>
                </a:cubicBezTo>
                <a:cubicBezTo>
                  <a:pt x="5597" y="2440"/>
                  <a:pt x="5752" y="2429"/>
                  <a:pt x="5847" y="2429"/>
                </a:cubicBezTo>
                <a:cubicBezTo>
                  <a:pt x="5859" y="2440"/>
                  <a:pt x="5871" y="2464"/>
                  <a:pt x="5883" y="2488"/>
                </a:cubicBezTo>
                <a:cubicBezTo>
                  <a:pt x="6025" y="2679"/>
                  <a:pt x="6216" y="2798"/>
                  <a:pt x="6418" y="2798"/>
                </a:cubicBezTo>
                <a:cubicBezTo>
                  <a:pt x="6466" y="2798"/>
                  <a:pt x="6526" y="2798"/>
                  <a:pt x="6573" y="2786"/>
                </a:cubicBezTo>
                <a:cubicBezTo>
                  <a:pt x="6883" y="2702"/>
                  <a:pt x="7157" y="2429"/>
                  <a:pt x="7192" y="2095"/>
                </a:cubicBezTo>
                <a:cubicBezTo>
                  <a:pt x="7240" y="1750"/>
                  <a:pt x="7061" y="1440"/>
                  <a:pt x="6692" y="1238"/>
                </a:cubicBezTo>
                <a:cubicBezTo>
                  <a:pt x="6645" y="1202"/>
                  <a:pt x="6597" y="1190"/>
                  <a:pt x="6573" y="1178"/>
                </a:cubicBezTo>
                <a:cubicBezTo>
                  <a:pt x="6537" y="1035"/>
                  <a:pt x="6418" y="595"/>
                  <a:pt x="5990" y="297"/>
                </a:cubicBezTo>
                <a:cubicBezTo>
                  <a:pt x="5711" y="98"/>
                  <a:pt x="5362" y="0"/>
                  <a:pt x="495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87" name="Google Shape;12987;p63"/>
          <p:cNvGrpSpPr/>
          <p:nvPr/>
        </p:nvGrpSpPr>
        <p:grpSpPr>
          <a:xfrm>
            <a:off x="7993805" y="2427122"/>
            <a:ext cx="356256" cy="351808"/>
            <a:chOff x="7993805" y="2427122"/>
            <a:chExt cx="356256" cy="351808"/>
          </a:xfrm>
        </p:grpSpPr>
        <p:sp>
          <p:nvSpPr>
            <p:cNvPr id="12988" name="Google Shape;12988;p63"/>
            <p:cNvSpPr/>
            <p:nvPr/>
          </p:nvSpPr>
          <p:spPr>
            <a:xfrm>
              <a:off x="8154957" y="2427122"/>
              <a:ext cx="195104" cy="194464"/>
            </a:xfrm>
            <a:custGeom>
              <a:avLst/>
              <a:gdLst/>
              <a:ahLst/>
              <a:cxnLst/>
              <a:rect l="l" t="t" r="r" b="b"/>
              <a:pathLst>
                <a:path w="6097" h="6077" extrusionOk="0">
                  <a:moveTo>
                    <a:pt x="299" y="0"/>
                  </a:moveTo>
                  <a:cubicBezTo>
                    <a:pt x="228" y="0"/>
                    <a:pt x="159" y="25"/>
                    <a:pt x="108" y="76"/>
                  </a:cubicBezTo>
                  <a:cubicBezTo>
                    <a:pt x="13" y="171"/>
                    <a:pt x="1" y="290"/>
                    <a:pt x="60" y="409"/>
                  </a:cubicBezTo>
                  <a:cubicBezTo>
                    <a:pt x="406" y="1028"/>
                    <a:pt x="644" y="1790"/>
                    <a:pt x="858" y="2517"/>
                  </a:cubicBezTo>
                  <a:cubicBezTo>
                    <a:pt x="1191" y="3588"/>
                    <a:pt x="1537" y="4695"/>
                    <a:pt x="2227" y="5410"/>
                  </a:cubicBezTo>
                  <a:cubicBezTo>
                    <a:pt x="2644" y="5838"/>
                    <a:pt x="3227" y="6077"/>
                    <a:pt x="3835" y="6077"/>
                  </a:cubicBezTo>
                  <a:lnTo>
                    <a:pt x="3858" y="6077"/>
                  </a:lnTo>
                  <a:cubicBezTo>
                    <a:pt x="4466" y="6077"/>
                    <a:pt x="5025" y="5850"/>
                    <a:pt x="5442" y="5422"/>
                  </a:cubicBezTo>
                  <a:cubicBezTo>
                    <a:pt x="5859" y="4993"/>
                    <a:pt x="6097" y="4422"/>
                    <a:pt x="6097" y="3814"/>
                  </a:cubicBezTo>
                  <a:cubicBezTo>
                    <a:pt x="6085" y="3219"/>
                    <a:pt x="5859" y="2659"/>
                    <a:pt x="5430" y="2243"/>
                  </a:cubicBezTo>
                  <a:cubicBezTo>
                    <a:pt x="4728" y="1540"/>
                    <a:pt x="3620" y="1195"/>
                    <a:pt x="2537" y="874"/>
                  </a:cubicBezTo>
                  <a:cubicBezTo>
                    <a:pt x="2287" y="790"/>
                    <a:pt x="2025" y="707"/>
                    <a:pt x="1751" y="612"/>
                  </a:cubicBezTo>
                  <a:cubicBezTo>
                    <a:pt x="1737" y="607"/>
                    <a:pt x="1722" y="605"/>
                    <a:pt x="1707" y="605"/>
                  </a:cubicBezTo>
                  <a:cubicBezTo>
                    <a:pt x="1637" y="605"/>
                    <a:pt x="1568" y="650"/>
                    <a:pt x="1549" y="719"/>
                  </a:cubicBezTo>
                  <a:cubicBezTo>
                    <a:pt x="1513" y="814"/>
                    <a:pt x="1561" y="897"/>
                    <a:pt x="1644" y="933"/>
                  </a:cubicBezTo>
                  <a:cubicBezTo>
                    <a:pt x="1918" y="1016"/>
                    <a:pt x="2180" y="1088"/>
                    <a:pt x="2442" y="1183"/>
                  </a:cubicBezTo>
                  <a:cubicBezTo>
                    <a:pt x="3525" y="1505"/>
                    <a:pt x="4537" y="1838"/>
                    <a:pt x="5192" y="2481"/>
                  </a:cubicBezTo>
                  <a:cubicBezTo>
                    <a:pt x="5561" y="2838"/>
                    <a:pt x="5752" y="3326"/>
                    <a:pt x="5775" y="3850"/>
                  </a:cubicBezTo>
                  <a:cubicBezTo>
                    <a:pt x="5775" y="4362"/>
                    <a:pt x="5585" y="4862"/>
                    <a:pt x="5216" y="5219"/>
                  </a:cubicBezTo>
                  <a:cubicBezTo>
                    <a:pt x="4859" y="5565"/>
                    <a:pt x="4370" y="5767"/>
                    <a:pt x="3847" y="5767"/>
                  </a:cubicBezTo>
                  <a:lnTo>
                    <a:pt x="3835" y="5767"/>
                  </a:lnTo>
                  <a:cubicBezTo>
                    <a:pt x="3323" y="5767"/>
                    <a:pt x="2823" y="5553"/>
                    <a:pt x="2465" y="5184"/>
                  </a:cubicBezTo>
                  <a:cubicBezTo>
                    <a:pt x="1834" y="4529"/>
                    <a:pt x="1513" y="3517"/>
                    <a:pt x="1168" y="2433"/>
                  </a:cubicBezTo>
                  <a:cubicBezTo>
                    <a:pt x="965" y="1743"/>
                    <a:pt x="739" y="1028"/>
                    <a:pt x="429" y="409"/>
                  </a:cubicBezTo>
                  <a:lnTo>
                    <a:pt x="429" y="409"/>
                  </a:lnTo>
                  <a:cubicBezTo>
                    <a:pt x="608" y="493"/>
                    <a:pt x="799" y="588"/>
                    <a:pt x="1013" y="659"/>
                  </a:cubicBezTo>
                  <a:cubicBezTo>
                    <a:pt x="1033" y="665"/>
                    <a:pt x="1053" y="668"/>
                    <a:pt x="1073" y="668"/>
                  </a:cubicBezTo>
                  <a:cubicBezTo>
                    <a:pt x="1137" y="668"/>
                    <a:pt x="1197" y="637"/>
                    <a:pt x="1215" y="564"/>
                  </a:cubicBezTo>
                  <a:cubicBezTo>
                    <a:pt x="1251" y="481"/>
                    <a:pt x="1215" y="385"/>
                    <a:pt x="1132" y="362"/>
                  </a:cubicBezTo>
                  <a:cubicBezTo>
                    <a:pt x="858" y="254"/>
                    <a:pt x="644" y="159"/>
                    <a:pt x="429" y="28"/>
                  </a:cubicBezTo>
                  <a:cubicBezTo>
                    <a:pt x="388" y="10"/>
                    <a:pt x="343" y="0"/>
                    <a:pt x="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9" name="Google Shape;12989;p63"/>
            <p:cNvSpPr/>
            <p:nvPr/>
          </p:nvSpPr>
          <p:spPr>
            <a:xfrm>
              <a:off x="7993805" y="2477170"/>
              <a:ext cx="136032" cy="222144"/>
            </a:xfrm>
            <a:custGeom>
              <a:avLst/>
              <a:gdLst/>
              <a:ahLst/>
              <a:cxnLst/>
              <a:rect l="l" t="t" r="r" b="b"/>
              <a:pathLst>
                <a:path w="4251" h="6942" extrusionOk="0">
                  <a:moveTo>
                    <a:pt x="1834" y="0"/>
                  </a:moveTo>
                  <a:cubicBezTo>
                    <a:pt x="1715" y="0"/>
                    <a:pt x="1632" y="95"/>
                    <a:pt x="1596" y="214"/>
                  </a:cubicBezTo>
                  <a:cubicBezTo>
                    <a:pt x="1453" y="857"/>
                    <a:pt x="1155" y="1512"/>
                    <a:pt x="870" y="2143"/>
                  </a:cubicBezTo>
                  <a:cubicBezTo>
                    <a:pt x="453" y="3084"/>
                    <a:pt x="0" y="4048"/>
                    <a:pt x="60" y="4965"/>
                  </a:cubicBezTo>
                  <a:cubicBezTo>
                    <a:pt x="96" y="5513"/>
                    <a:pt x="346" y="6013"/>
                    <a:pt x="762" y="6406"/>
                  </a:cubicBezTo>
                  <a:cubicBezTo>
                    <a:pt x="1155" y="6751"/>
                    <a:pt x="1644" y="6941"/>
                    <a:pt x="2144" y="6941"/>
                  </a:cubicBezTo>
                  <a:lnTo>
                    <a:pt x="2286" y="6941"/>
                  </a:lnTo>
                  <a:cubicBezTo>
                    <a:pt x="2834" y="6906"/>
                    <a:pt x="3334" y="6656"/>
                    <a:pt x="3703" y="6227"/>
                  </a:cubicBezTo>
                  <a:cubicBezTo>
                    <a:pt x="4072" y="5810"/>
                    <a:pt x="4251" y="5275"/>
                    <a:pt x="4215" y="4703"/>
                  </a:cubicBezTo>
                  <a:cubicBezTo>
                    <a:pt x="4156" y="3798"/>
                    <a:pt x="3608" y="2893"/>
                    <a:pt x="3072" y="2012"/>
                  </a:cubicBezTo>
                  <a:cubicBezTo>
                    <a:pt x="2953" y="1822"/>
                    <a:pt x="2846" y="1643"/>
                    <a:pt x="2727" y="1441"/>
                  </a:cubicBezTo>
                  <a:cubicBezTo>
                    <a:pt x="2696" y="1395"/>
                    <a:pt x="2646" y="1368"/>
                    <a:pt x="2591" y="1368"/>
                  </a:cubicBezTo>
                  <a:cubicBezTo>
                    <a:pt x="2561" y="1368"/>
                    <a:pt x="2530" y="1376"/>
                    <a:pt x="2501" y="1393"/>
                  </a:cubicBezTo>
                  <a:cubicBezTo>
                    <a:pt x="2429" y="1429"/>
                    <a:pt x="2406" y="1536"/>
                    <a:pt x="2441" y="1607"/>
                  </a:cubicBezTo>
                  <a:cubicBezTo>
                    <a:pt x="2560" y="1810"/>
                    <a:pt x="2667" y="2000"/>
                    <a:pt x="2787" y="2191"/>
                  </a:cubicBezTo>
                  <a:cubicBezTo>
                    <a:pt x="3322" y="3072"/>
                    <a:pt x="3822" y="3905"/>
                    <a:pt x="3894" y="4739"/>
                  </a:cubicBezTo>
                  <a:cubicBezTo>
                    <a:pt x="3918" y="5203"/>
                    <a:pt x="3775" y="5656"/>
                    <a:pt x="3453" y="6013"/>
                  </a:cubicBezTo>
                  <a:cubicBezTo>
                    <a:pt x="3144" y="6370"/>
                    <a:pt x="2715" y="6584"/>
                    <a:pt x="2251" y="6608"/>
                  </a:cubicBezTo>
                  <a:cubicBezTo>
                    <a:pt x="2209" y="6611"/>
                    <a:pt x="2168" y="6613"/>
                    <a:pt x="2127" y="6613"/>
                  </a:cubicBezTo>
                  <a:cubicBezTo>
                    <a:pt x="1708" y="6613"/>
                    <a:pt x="1314" y="6449"/>
                    <a:pt x="989" y="6168"/>
                  </a:cubicBezTo>
                  <a:cubicBezTo>
                    <a:pt x="632" y="5858"/>
                    <a:pt x="417" y="5417"/>
                    <a:pt x="393" y="4941"/>
                  </a:cubicBezTo>
                  <a:cubicBezTo>
                    <a:pt x="346" y="4108"/>
                    <a:pt x="751" y="3239"/>
                    <a:pt x="1167" y="2286"/>
                  </a:cubicBezTo>
                  <a:cubicBezTo>
                    <a:pt x="1429" y="1691"/>
                    <a:pt x="1703" y="1095"/>
                    <a:pt x="1870" y="476"/>
                  </a:cubicBezTo>
                  <a:cubicBezTo>
                    <a:pt x="1929" y="631"/>
                    <a:pt x="2001" y="774"/>
                    <a:pt x="2072" y="941"/>
                  </a:cubicBezTo>
                  <a:cubicBezTo>
                    <a:pt x="2106" y="992"/>
                    <a:pt x="2159" y="1031"/>
                    <a:pt x="2222" y="1031"/>
                  </a:cubicBezTo>
                  <a:cubicBezTo>
                    <a:pt x="2246" y="1031"/>
                    <a:pt x="2272" y="1025"/>
                    <a:pt x="2298" y="1012"/>
                  </a:cubicBezTo>
                  <a:cubicBezTo>
                    <a:pt x="2370" y="976"/>
                    <a:pt x="2417" y="881"/>
                    <a:pt x="2370" y="798"/>
                  </a:cubicBezTo>
                  <a:cubicBezTo>
                    <a:pt x="2263" y="572"/>
                    <a:pt x="2179" y="381"/>
                    <a:pt x="2108" y="179"/>
                  </a:cubicBezTo>
                  <a:cubicBezTo>
                    <a:pt x="2060" y="83"/>
                    <a:pt x="1953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0" name="Google Shape;12990;p63"/>
            <p:cNvSpPr/>
            <p:nvPr/>
          </p:nvSpPr>
          <p:spPr>
            <a:xfrm>
              <a:off x="8170573" y="2617042"/>
              <a:ext cx="110528" cy="161888"/>
            </a:xfrm>
            <a:custGeom>
              <a:avLst/>
              <a:gdLst/>
              <a:ahLst/>
              <a:cxnLst/>
              <a:rect l="l" t="t" r="r" b="b"/>
              <a:pathLst>
                <a:path w="3454" h="5059" extrusionOk="0">
                  <a:moveTo>
                    <a:pt x="307" y="1"/>
                  </a:moveTo>
                  <a:cubicBezTo>
                    <a:pt x="276" y="1"/>
                    <a:pt x="245" y="8"/>
                    <a:pt x="215" y="22"/>
                  </a:cubicBezTo>
                  <a:cubicBezTo>
                    <a:pt x="108" y="70"/>
                    <a:pt x="61" y="177"/>
                    <a:pt x="72" y="273"/>
                  </a:cubicBezTo>
                  <a:cubicBezTo>
                    <a:pt x="156" y="773"/>
                    <a:pt x="120" y="1320"/>
                    <a:pt x="84" y="1856"/>
                  </a:cubicBezTo>
                  <a:cubicBezTo>
                    <a:pt x="49" y="2642"/>
                    <a:pt x="1" y="3463"/>
                    <a:pt x="299" y="4106"/>
                  </a:cubicBezTo>
                  <a:cubicBezTo>
                    <a:pt x="477" y="4499"/>
                    <a:pt x="811" y="4797"/>
                    <a:pt x="1204" y="4952"/>
                  </a:cubicBezTo>
                  <a:cubicBezTo>
                    <a:pt x="1394" y="5023"/>
                    <a:pt x="1596" y="5059"/>
                    <a:pt x="1787" y="5059"/>
                  </a:cubicBezTo>
                  <a:cubicBezTo>
                    <a:pt x="2013" y="5059"/>
                    <a:pt x="2251" y="5011"/>
                    <a:pt x="2454" y="4904"/>
                  </a:cubicBezTo>
                  <a:cubicBezTo>
                    <a:pt x="2847" y="4725"/>
                    <a:pt x="3144" y="4404"/>
                    <a:pt x="3287" y="3987"/>
                  </a:cubicBezTo>
                  <a:cubicBezTo>
                    <a:pt x="3454" y="3571"/>
                    <a:pt x="3442" y="3118"/>
                    <a:pt x="3251" y="2737"/>
                  </a:cubicBezTo>
                  <a:cubicBezTo>
                    <a:pt x="2954" y="2094"/>
                    <a:pt x="2299" y="1606"/>
                    <a:pt x="1668" y="1130"/>
                  </a:cubicBezTo>
                  <a:lnTo>
                    <a:pt x="1585" y="1046"/>
                  </a:lnTo>
                  <a:cubicBezTo>
                    <a:pt x="1552" y="1023"/>
                    <a:pt x="1518" y="1013"/>
                    <a:pt x="1485" y="1013"/>
                  </a:cubicBezTo>
                  <a:cubicBezTo>
                    <a:pt x="1434" y="1013"/>
                    <a:pt x="1387" y="1039"/>
                    <a:pt x="1358" y="1082"/>
                  </a:cubicBezTo>
                  <a:cubicBezTo>
                    <a:pt x="1299" y="1154"/>
                    <a:pt x="1311" y="1261"/>
                    <a:pt x="1382" y="1308"/>
                  </a:cubicBezTo>
                  <a:lnTo>
                    <a:pt x="1477" y="1380"/>
                  </a:lnTo>
                  <a:cubicBezTo>
                    <a:pt x="2096" y="1856"/>
                    <a:pt x="2680" y="2297"/>
                    <a:pt x="2954" y="2868"/>
                  </a:cubicBezTo>
                  <a:cubicBezTo>
                    <a:pt x="3097" y="3178"/>
                    <a:pt x="3109" y="3535"/>
                    <a:pt x="2989" y="3868"/>
                  </a:cubicBezTo>
                  <a:cubicBezTo>
                    <a:pt x="2870" y="4190"/>
                    <a:pt x="2632" y="4463"/>
                    <a:pt x="2323" y="4606"/>
                  </a:cubicBezTo>
                  <a:cubicBezTo>
                    <a:pt x="2158" y="4689"/>
                    <a:pt x="1979" y="4727"/>
                    <a:pt x="1798" y="4727"/>
                  </a:cubicBezTo>
                  <a:cubicBezTo>
                    <a:pt x="1639" y="4727"/>
                    <a:pt x="1478" y="4698"/>
                    <a:pt x="1323" y="4642"/>
                  </a:cubicBezTo>
                  <a:cubicBezTo>
                    <a:pt x="1001" y="4523"/>
                    <a:pt x="727" y="4261"/>
                    <a:pt x="596" y="3952"/>
                  </a:cubicBezTo>
                  <a:cubicBezTo>
                    <a:pt x="346" y="3392"/>
                    <a:pt x="370" y="2642"/>
                    <a:pt x="418" y="1856"/>
                  </a:cubicBezTo>
                  <a:cubicBezTo>
                    <a:pt x="453" y="1392"/>
                    <a:pt x="465" y="927"/>
                    <a:pt x="430" y="487"/>
                  </a:cubicBezTo>
                  <a:lnTo>
                    <a:pt x="430" y="487"/>
                  </a:lnTo>
                  <a:cubicBezTo>
                    <a:pt x="537" y="594"/>
                    <a:pt x="656" y="689"/>
                    <a:pt x="787" y="808"/>
                  </a:cubicBezTo>
                  <a:cubicBezTo>
                    <a:pt x="824" y="835"/>
                    <a:pt x="862" y="847"/>
                    <a:pt x="897" y="847"/>
                  </a:cubicBezTo>
                  <a:cubicBezTo>
                    <a:pt x="940" y="847"/>
                    <a:pt x="980" y="829"/>
                    <a:pt x="1013" y="796"/>
                  </a:cubicBezTo>
                  <a:cubicBezTo>
                    <a:pt x="1073" y="725"/>
                    <a:pt x="1061" y="630"/>
                    <a:pt x="1001" y="570"/>
                  </a:cubicBezTo>
                  <a:cubicBezTo>
                    <a:pt x="787" y="392"/>
                    <a:pt x="632" y="225"/>
                    <a:pt x="489" y="82"/>
                  </a:cubicBezTo>
                  <a:cubicBezTo>
                    <a:pt x="440" y="33"/>
                    <a:pt x="374" y="1"/>
                    <a:pt x="3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1" name="Google Shape;12991;p63"/>
          <p:cNvGrpSpPr/>
          <p:nvPr/>
        </p:nvGrpSpPr>
        <p:grpSpPr>
          <a:xfrm>
            <a:off x="878637" y="1965010"/>
            <a:ext cx="308640" cy="353312"/>
            <a:chOff x="878637" y="1965010"/>
            <a:chExt cx="308640" cy="353312"/>
          </a:xfrm>
        </p:grpSpPr>
        <p:sp>
          <p:nvSpPr>
            <p:cNvPr id="12992" name="Google Shape;12992;p63"/>
            <p:cNvSpPr/>
            <p:nvPr/>
          </p:nvSpPr>
          <p:spPr>
            <a:xfrm>
              <a:off x="878637" y="1965010"/>
              <a:ext cx="308640" cy="353312"/>
            </a:xfrm>
            <a:custGeom>
              <a:avLst/>
              <a:gdLst/>
              <a:ahLst/>
              <a:cxnLst/>
              <a:rect l="l" t="t" r="r" b="b"/>
              <a:pathLst>
                <a:path w="9645" h="11041" extrusionOk="0">
                  <a:moveTo>
                    <a:pt x="1167" y="1122"/>
                  </a:moveTo>
                  <a:cubicBezTo>
                    <a:pt x="1905" y="1777"/>
                    <a:pt x="2893" y="2837"/>
                    <a:pt x="3632" y="4361"/>
                  </a:cubicBezTo>
                  <a:cubicBezTo>
                    <a:pt x="3477" y="4420"/>
                    <a:pt x="3322" y="4492"/>
                    <a:pt x="3191" y="4563"/>
                  </a:cubicBezTo>
                  <a:cubicBezTo>
                    <a:pt x="2882" y="3861"/>
                    <a:pt x="2203" y="2492"/>
                    <a:pt x="1167" y="1122"/>
                  </a:cubicBezTo>
                  <a:close/>
                  <a:moveTo>
                    <a:pt x="334" y="610"/>
                  </a:moveTo>
                  <a:lnTo>
                    <a:pt x="334" y="610"/>
                  </a:lnTo>
                  <a:cubicBezTo>
                    <a:pt x="1691" y="2182"/>
                    <a:pt x="2548" y="3956"/>
                    <a:pt x="2905" y="4730"/>
                  </a:cubicBezTo>
                  <a:cubicBezTo>
                    <a:pt x="2643" y="4920"/>
                    <a:pt x="2405" y="5159"/>
                    <a:pt x="2239" y="5444"/>
                  </a:cubicBezTo>
                  <a:cubicBezTo>
                    <a:pt x="1274" y="4563"/>
                    <a:pt x="798" y="3230"/>
                    <a:pt x="572" y="2241"/>
                  </a:cubicBezTo>
                  <a:cubicBezTo>
                    <a:pt x="417" y="1587"/>
                    <a:pt x="357" y="991"/>
                    <a:pt x="334" y="610"/>
                  </a:cubicBezTo>
                  <a:close/>
                  <a:moveTo>
                    <a:pt x="9311" y="587"/>
                  </a:moveTo>
                  <a:lnTo>
                    <a:pt x="9311" y="587"/>
                  </a:lnTo>
                  <a:cubicBezTo>
                    <a:pt x="9263" y="979"/>
                    <a:pt x="9204" y="1563"/>
                    <a:pt x="9049" y="2218"/>
                  </a:cubicBezTo>
                  <a:cubicBezTo>
                    <a:pt x="8835" y="3206"/>
                    <a:pt x="8358" y="4551"/>
                    <a:pt x="7382" y="5444"/>
                  </a:cubicBezTo>
                  <a:cubicBezTo>
                    <a:pt x="7204" y="5170"/>
                    <a:pt x="6989" y="4932"/>
                    <a:pt x="6715" y="4730"/>
                  </a:cubicBezTo>
                  <a:cubicBezTo>
                    <a:pt x="6775" y="4611"/>
                    <a:pt x="6823" y="4492"/>
                    <a:pt x="6882" y="4349"/>
                  </a:cubicBezTo>
                  <a:cubicBezTo>
                    <a:pt x="6930" y="4277"/>
                    <a:pt x="6882" y="4182"/>
                    <a:pt x="6811" y="4146"/>
                  </a:cubicBezTo>
                  <a:cubicBezTo>
                    <a:pt x="6787" y="4133"/>
                    <a:pt x="6763" y="4127"/>
                    <a:pt x="6740" y="4127"/>
                  </a:cubicBezTo>
                  <a:cubicBezTo>
                    <a:pt x="6679" y="4127"/>
                    <a:pt x="6622" y="4166"/>
                    <a:pt x="6596" y="4218"/>
                  </a:cubicBezTo>
                  <a:cubicBezTo>
                    <a:pt x="6537" y="4325"/>
                    <a:pt x="6489" y="4444"/>
                    <a:pt x="6453" y="4551"/>
                  </a:cubicBezTo>
                  <a:cubicBezTo>
                    <a:pt x="6299" y="4480"/>
                    <a:pt x="6156" y="4397"/>
                    <a:pt x="6001" y="4337"/>
                  </a:cubicBezTo>
                  <a:cubicBezTo>
                    <a:pt x="6703" y="2908"/>
                    <a:pt x="7620" y="1896"/>
                    <a:pt x="8263" y="1289"/>
                  </a:cubicBezTo>
                  <a:cubicBezTo>
                    <a:pt x="8335" y="1218"/>
                    <a:pt x="8418" y="1158"/>
                    <a:pt x="8478" y="1098"/>
                  </a:cubicBezTo>
                  <a:lnTo>
                    <a:pt x="8478" y="1098"/>
                  </a:lnTo>
                  <a:cubicBezTo>
                    <a:pt x="7787" y="2003"/>
                    <a:pt x="7263" y="2896"/>
                    <a:pt x="6906" y="3587"/>
                  </a:cubicBezTo>
                  <a:cubicBezTo>
                    <a:pt x="6858" y="3658"/>
                    <a:pt x="6894" y="3754"/>
                    <a:pt x="6989" y="3801"/>
                  </a:cubicBezTo>
                  <a:cubicBezTo>
                    <a:pt x="7013" y="3825"/>
                    <a:pt x="7025" y="3825"/>
                    <a:pt x="7061" y="3825"/>
                  </a:cubicBezTo>
                  <a:cubicBezTo>
                    <a:pt x="7120" y="3825"/>
                    <a:pt x="7180" y="3789"/>
                    <a:pt x="7204" y="3730"/>
                  </a:cubicBezTo>
                  <a:cubicBezTo>
                    <a:pt x="7644" y="2896"/>
                    <a:pt x="8347" y="1706"/>
                    <a:pt x="9311" y="587"/>
                  </a:cubicBezTo>
                  <a:close/>
                  <a:moveTo>
                    <a:pt x="4810" y="8945"/>
                  </a:moveTo>
                  <a:cubicBezTo>
                    <a:pt x="5156" y="8945"/>
                    <a:pt x="5441" y="9135"/>
                    <a:pt x="5441" y="9361"/>
                  </a:cubicBezTo>
                  <a:cubicBezTo>
                    <a:pt x="5441" y="9540"/>
                    <a:pt x="5227" y="9671"/>
                    <a:pt x="4965" y="9790"/>
                  </a:cubicBezTo>
                  <a:lnTo>
                    <a:pt x="4941" y="9790"/>
                  </a:lnTo>
                  <a:cubicBezTo>
                    <a:pt x="4897" y="9821"/>
                    <a:pt x="4847" y="9836"/>
                    <a:pt x="4796" y="9836"/>
                  </a:cubicBezTo>
                  <a:cubicBezTo>
                    <a:pt x="4752" y="9836"/>
                    <a:pt x="4707" y="9824"/>
                    <a:pt x="4668" y="9802"/>
                  </a:cubicBezTo>
                  <a:cubicBezTo>
                    <a:pt x="4394" y="9671"/>
                    <a:pt x="4191" y="9552"/>
                    <a:pt x="4191" y="9361"/>
                  </a:cubicBezTo>
                  <a:cubicBezTo>
                    <a:pt x="4191" y="9135"/>
                    <a:pt x="4465" y="8945"/>
                    <a:pt x="4810" y="8945"/>
                  </a:cubicBezTo>
                  <a:close/>
                  <a:moveTo>
                    <a:pt x="4775" y="4480"/>
                  </a:moveTo>
                  <a:cubicBezTo>
                    <a:pt x="6227" y="4480"/>
                    <a:pt x="7382" y="5420"/>
                    <a:pt x="7382" y="6599"/>
                  </a:cubicBezTo>
                  <a:lnTo>
                    <a:pt x="7382" y="6659"/>
                  </a:lnTo>
                  <a:cubicBezTo>
                    <a:pt x="7406" y="7040"/>
                    <a:pt x="7501" y="7421"/>
                    <a:pt x="7716" y="7790"/>
                  </a:cubicBezTo>
                  <a:cubicBezTo>
                    <a:pt x="7858" y="8052"/>
                    <a:pt x="7918" y="8302"/>
                    <a:pt x="7918" y="8564"/>
                  </a:cubicBezTo>
                  <a:cubicBezTo>
                    <a:pt x="7918" y="9516"/>
                    <a:pt x="7013" y="10326"/>
                    <a:pt x="5751" y="10600"/>
                  </a:cubicBezTo>
                  <a:cubicBezTo>
                    <a:pt x="5918" y="10528"/>
                    <a:pt x="6049" y="10409"/>
                    <a:pt x="6132" y="10266"/>
                  </a:cubicBezTo>
                  <a:cubicBezTo>
                    <a:pt x="6180" y="10183"/>
                    <a:pt x="6168" y="10088"/>
                    <a:pt x="6096" y="10040"/>
                  </a:cubicBezTo>
                  <a:cubicBezTo>
                    <a:pt x="6064" y="10022"/>
                    <a:pt x="6030" y="10012"/>
                    <a:pt x="5998" y="10012"/>
                  </a:cubicBezTo>
                  <a:cubicBezTo>
                    <a:pt x="5947" y="10012"/>
                    <a:pt x="5899" y="10036"/>
                    <a:pt x="5870" y="10088"/>
                  </a:cubicBezTo>
                  <a:cubicBezTo>
                    <a:pt x="5763" y="10254"/>
                    <a:pt x="5572" y="10350"/>
                    <a:pt x="5370" y="10350"/>
                  </a:cubicBezTo>
                  <a:cubicBezTo>
                    <a:pt x="5227" y="10350"/>
                    <a:pt x="5072" y="10290"/>
                    <a:pt x="4953" y="10171"/>
                  </a:cubicBezTo>
                  <a:lnTo>
                    <a:pt x="4929" y="10147"/>
                  </a:lnTo>
                  <a:cubicBezTo>
                    <a:pt x="4977" y="10135"/>
                    <a:pt x="5037" y="10111"/>
                    <a:pt x="5072" y="10088"/>
                  </a:cubicBezTo>
                  <a:lnTo>
                    <a:pt x="5096" y="10088"/>
                  </a:lnTo>
                  <a:cubicBezTo>
                    <a:pt x="5346" y="9957"/>
                    <a:pt x="5751" y="9754"/>
                    <a:pt x="5751" y="9361"/>
                  </a:cubicBezTo>
                  <a:cubicBezTo>
                    <a:pt x="5751" y="8957"/>
                    <a:pt x="5310" y="8623"/>
                    <a:pt x="4798" y="8623"/>
                  </a:cubicBezTo>
                  <a:cubicBezTo>
                    <a:pt x="4275" y="8623"/>
                    <a:pt x="3846" y="8957"/>
                    <a:pt x="3846" y="9361"/>
                  </a:cubicBezTo>
                  <a:cubicBezTo>
                    <a:pt x="3846" y="9754"/>
                    <a:pt x="4227" y="9957"/>
                    <a:pt x="4501" y="10088"/>
                  </a:cubicBezTo>
                  <a:lnTo>
                    <a:pt x="4513" y="10088"/>
                  </a:lnTo>
                  <a:cubicBezTo>
                    <a:pt x="4560" y="10111"/>
                    <a:pt x="4620" y="10135"/>
                    <a:pt x="4656" y="10147"/>
                  </a:cubicBezTo>
                  <a:lnTo>
                    <a:pt x="4632" y="10171"/>
                  </a:lnTo>
                  <a:cubicBezTo>
                    <a:pt x="4513" y="10290"/>
                    <a:pt x="4382" y="10350"/>
                    <a:pt x="4215" y="10350"/>
                  </a:cubicBezTo>
                  <a:cubicBezTo>
                    <a:pt x="4025" y="10350"/>
                    <a:pt x="3846" y="10254"/>
                    <a:pt x="3727" y="10088"/>
                  </a:cubicBezTo>
                  <a:cubicBezTo>
                    <a:pt x="3698" y="10036"/>
                    <a:pt x="3646" y="10012"/>
                    <a:pt x="3594" y="10012"/>
                  </a:cubicBezTo>
                  <a:cubicBezTo>
                    <a:pt x="3561" y="10012"/>
                    <a:pt x="3528" y="10022"/>
                    <a:pt x="3501" y="10040"/>
                  </a:cubicBezTo>
                  <a:cubicBezTo>
                    <a:pt x="3429" y="10088"/>
                    <a:pt x="3405" y="10183"/>
                    <a:pt x="3453" y="10266"/>
                  </a:cubicBezTo>
                  <a:cubicBezTo>
                    <a:pt x="3560" y="10409"/>
                    <a:pt x="3691" y="10528"/>
                    <a:pt x="3846" y="10600"/>
                  </a:cubicBezTo>
                  <a:cubicBezTo>
                    <a:pt x="2596" y="10326"/>
                    <a:pt x="1667" y="9516"/>
                    <a:pt x="1667" y="8564"/>
                  </a:cubicBezTo>
                  <a:cubicBezTo>
                    <a:pt x="1667" y="8302"/>
                    <a:pt x="1739" y="8052"/>
                    <a:pt x="1881" y="7790"/>
                  </a:cubicBezTo>
                  <a:cubicBezTo>
                    <a:pt x="2096" y="7421"/>
                    <a:pt x="2191" y="7028"/>
                    <a:pt x="2179" y="6659"/>
                  </a:cubicBezTo>
                  <a:lnTo>
                    <a:pt x="2179" y="6599"/>
                  </a:lnTo>
                  <a:cubicBezTo>
                    <a:pt x="2179" y="5432"/>
                    <a:pt x="3334" y="4480"/>
                    <a:pt x="4775" y="4480"/>
                  </a:cubicBezTo>
                  <a:close/>
                  <a:moveTo>
                    <a:pt x="4810" y="10445"/>
                  </a:moveTo>
                  <a:cubicBezTo>
                    <a:pt x="4941" y="10564"/>
                    <a:pt x="5120" y="10635"/>
                    <a:pt x="5299" y="10671"/>
                  </a:cubicBezTo>
                  <a:cubicBezTo>
                    <a:pt x="5144" y="10683"/>
                    <a:pt x="4977" y="10695"/>
                    <a:pt x="4810" y="10695"/>
                  </a:cubicBezTo>
                  <a:cubicBezTo>
                    <a:pt x="4644" y="10695"/>
                    <a:pt x="4489" y="10683"/>
                    <a:pt x="4322" y="10671"/>
                  </a:cubicBezTo>
                  <a:cubicBezTo>
                    <a:pt x="4501" y="10647"/>
                    <a:pt x="4679" y="10576"/>
                    <a:pt x="4810" y="10445"/>
                  </a:cubicBezTo>
                  <a:close/>
                  <a:moveTo>
                    <a:pt x="165" y="0"/>
                  </a:moveTo>
                  <a:cubicBezTo>
                    <a:pt x="140" y="0"/>
                    <a:pt x="113" y="9"/>
                    <a:pt x="84" y="27"/>
                  </a:cubicBezTo>
                  <a:cubicBezTo>
                    <a:pt x="36" y="51"/>
                    <a:pt x="0" y="110"/>
                    <a:pt x="0" y="158"/>
                  </a:cubicBezTo>
                  <a:cubicBezTo>
                    <a:pt x="0" y="206"/>
                    <a:pt x="0" y="1146"/>
                    <a:pt x="274" y="2301"/>
                  </a:cubicBezTo>
                  <a:cubicBezTo>
                    <a:pt x="441" y="2992"/>
                    <a:pt x="643" y="3611"/>
                    <a:pt x="917" y="4158"/>
                  </a:cubicBezTo>
                  <a:cubicBezTo>
                    <a:pt x="1227" y="4801"/>
                    <a:pt x="1631" y="5337"/>
                    <a:pt x="2084" y="5742"/>
                  </a:cubicBezTo>
                  <a:cubicBezTo>
                    <a:pt x="1965" y="6004"/>
                    <a:pt x="1905" y="6290"/>
                    <a:pt x="1905" y="6599"/>
                  </a:cubicBezTo>
                  <a:lnTo>
                    <a:pt x="1905" y="6683"/>
                  </a:lnTo>
                  <a:cubicBezTo>
                    <a:pt x="1929" y="6992"/>
                    <a:pt x="1834" y="7314"/>
                    <a:pt x="1643" y="7647"/>
                  </a:cubicBezTo>
                  <a:cubicBezTo>
                    <a:pt x="1477" y="7945"/>
                    <a:pt x="1393" y="8254"/>
                    <a:pt x="1393" y="8588"/>
                  </a:cubicBezTo>
                  <a:cubicBezTo>
                    <a:pt x="1393" y="9254"/>
                    <a:pt x="1762" y="9873"/>
                    <a:pt x="2417" y="10338"/>
                  </a:cubicBezTo>
                  <a:cubicBezTo>
                    <a:pt x="3060" y="10790"/>
                    <a:pt x="3917" y="11040"/>
                    <a:pt x="4822" y="11040"/>
                  </a:cubicBezTo>
                  <a:cubicBezTo>
                    <a:pt x="5739" y="11040"/>
                    <a:pt x="6596" y="10790"/>
                    <a:pt x="7239" y="10338"/>
                  </a:cubicBezTo>
                  <a:cubicBezTo>
                    <a:pt x="7906" y="9873"/>
                    <a:pt x="8263" y="9254"/>
                    <a:pt x="8263" y="8588"/>
                  </a:cubicBezTo>
                  <a:cubicBezTo>
                    <a:pt x="8263" y="8254"/>
                    <a:pt x="8180" y="7945"/>
                    <a:pt x="8013" y="7647"/>
                  </a:cubicBezTo>
                  <a:cubicBezTo>
                    <a:pt x="7835" y="7314"/>
                    <a:pt x="7739" y="7004"/>
                    <a:pt x="7739" y="6683"/>
                  </a:cubicBezTo>
                  <a:lnTo>
                    <a:pt x="7739" y="6599"/>
                  </a:lnTo>
                  <a:cubicBezTo>
                    <a:pt x="7739" y="6302"/>
                    <a:pt x="7680" y="6004"/>
                    <a:pt x="7561" y="5742"/>
                  </a:cubicBezTo>
                  <a:cubicBezTo>
                    <a:pt x="8025" y="5325"/>
                    <a:pt x="8430" y="4789"/>
                    <a:pt x="8751" y="4135"/>
                  </a:cubicBezTo>
                  <a:cubicBezTo>
                    <a:pt x="9025" y="3599"/>
                    <a:pt x="9228" y="2968"/>
                    <a:pt x="9382" y="2289"/>
                  </a:cubicBezTo>
                  <a:cubicBezTo>
                    <a:pt x="9644" y="1122"/>
                    <a:pt x="9644" y="206"/>
                    <a:pt x="9644" y="158"/>
                  </a:cubicBezTo>
                  <a:cubicBezTo>
                    <a:pt x="9632" y="98"/>
                    <a:pt x="9609" y="51"/>
                    <a:pt x="9549" y="27"/>
                  </a:cubicBezTo>
                  <a:cubicBezTo>
                    <a:pt x="9525" y="9"/>
                    <a:pt x="9498" y="0"/>
                    <a:pt x="9470" y="0"/>
                  </a:cubicBezTo>
                  <a:cubicBezTo>
                    <a:pt x="9442" y="0"/>
                    <a:pt x="9412" y="9"/>
                    <a:pt x="9382" y="27"/>
                  </a:cubicBezTo>
                  <a:cubicBezTo>
                    <a:pt x="9347" y="39"/>
                    <a:pt x="8787" y="372"/>
                    <a:pt x="8037" y="1063"/>
                  </a:cubicBezTo>
                  <a:cubicBezTo>
                    <a:pt x="7358" y="1694"/>
                    <a:pt x="6406" y="2765"/>
                    <a:pt x="5680" y="4254"/>
                  </a:cubicBezTo>
                  <a:cubicBezTo>
                    <a:pt x="5406" y="4182"/>
                    <a:pt x="5108" y="4146"/>
                    <a:pt x="4810" y="4146"/>
                  </a:cubicBezTo>
                  <a:cubicBezTo>
                    <a:pt x="4513" y="4146"/>
                    <a:pt x="4215" y="4194"/>
                    <a:pt x="3953" y="4254"/>
                  </a:cubicBezTo>
                  <a:cubicBezTo>
                    <a:pt x="3215" y="2765"/>
                    <a:pt x="2262" y="1706"/>
                    <a:pt x="1596" y="1063"/>
                  </a:cubicBezTo>
                  <a:cubicBezTo>
                    <a:pt x="834" y="372"/>
                    <a:pt x="274" y="27"/>
                    <a:pt x="238" y="27"/>
                  </a:cubicBezTo>
                  <a:cubicBezTo>
                    <a:pt x="215" y="9"/>
                    <a:pt x="191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3" name="Google Shape;12993;p63"/>
            <p:cNvSpPr/>
            <p:nvPr/>
          </p:nvSpPr>
          <p:spPr>
            <a:xfrm>
              <a:off x="960557" y="2185682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91" y="1"/>
                  </a:moveTo>
                  <a:cubicBezTo>
                    <a:pt x="322" y="1"/>
                    <a:pt x="0" y="298"/>
                    <a:pt x="0" y="691"/>
                  </a:cubicBezTo>
                  <a:lnTo>
                    <a:pt x="0" y="870"/>
                  </a:lnTo>
                  <a:cubicBezTo>
                    <a:pt x="0" y="1239"/>
                    <a:pt x="298" y="1549"/>
                    <a:pt x="691" y="1549"/>
                  </a:cubicBezTo>
                  <a:cubicBezTo>
                    <a:pt x="1060" y="1549"/>
                    <a:pt x="1369" y="1251"/>
                    <a:pt x="1369" y="870"/>
                  </a:cubicBezTo>
                  <a:lnTo>
                    <a:pt x="1369" y="691"/>
                  </a:lnTo>
                  <a:cubicBezTo>
                    <a:pt x="1369" y="596"/>
                    <a:pt x="1298" y="525"/>
                    <a:pt x="1215" y="525"/>
                  </a:cubicBezTo>
                  <a:cubicBezTo>
                    <a:pt x="1119" y="525"/>
                    <a:pt x="1048" y="596"/>
                    <a:pt x="1048" y="691"/>
                  </a:cubicBezTo>
                  <a:lnTo>
                    <a:pt x="1048" y="870"/>
                  </a:lnTo>
                  <a:cubicBezTo>
                    <a:pt x="1048" y="1060"/>
                    <a:pt x="881" y="1227"/>
                    <a:pt x="691" y="1227"/>
                  </a:cubicBezTo>
                  <a:cubicBezTo>
                    <a:pt x="500" y="1227"/>
                    <a:pt x="333" y="1060"/>
                    <a:pt x="333" y="870"/>
                  </a:cubicBezTo>
                  <a:lnTo>
                    <a:pt x="333" y="691"/>
                  </a:lnTo>
                  <a:cubicBezTo>
                    <a:pt x="333" y="501"/>
                    <a:pt x="500" y="334"/>
                    <a:pt x="691" y="334"/>
                  </a:cubicBezTo>
                  <a:cubicBezTo>
                    <a:pt x="774" y="334"/>
                    <a:pt x="857" y="263"/>
                    <a:pt x="857" y="168"/>
                  </a:cubicBezTo>
                  <a:cubicBezTo>
                    <a:pt x="857" y="84"/>
                    <a:pt x="774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4" name="Google Shape;12994;p63"/>
            <p:cNvSpPr/>
            <p:nvPr/>
          </p:nvSpPr>
          <p:spPr>
            <a:xfrm>
              <a:off x="1060365" y="2185682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8"/>
                    <a:pt x="1" y="691"/>
                  </a:cubicBezTo>
                  <a:lnTo>
                    <a:pt x="1" y="870"/>
                  </a:lnTo>
                  <a:cubicBezTo>
                    <a:pt x="1" y="1239"/>
                    <a:pt x="298" y="1549"/>
                    <a:pt x="679" y="1549"/>
                  </a:cubicBezTo>
                  <a:cubicBezTo>
                    <a:pt x="1048" y="1549"/>
                    <a:pt x="1370" y="1251"/>
                    <a:pt x="1370" y="870"/>
                  </a:cubicBezTo>
                  <a:lnTo>
                    <a:pt x="1370" y="691"/>
                  </a:lnTo>
                  <a:cubicBezTo>
                    <a:pt x="1370" y="596"/>
                    <a:pt x="1286" y="525"/>
                    <a:pt x="1203" y="525"/>
                  </a:cubicBezTo>
                  <a:cubicBezTo>
                    <a:pt x="1108" y="525"/>
                    <a:pt x="1036" y="596"/>
                    <a:pt x="1036" y="691"/>
                  </a:cubicBezTo>
                  <a:lnTo>
                    <a:pt x="1036" y="870"/>
                  </a:lnTo>
                  <a:cubicBezTo>
                    <a:pt x="1036" y="1060"/>
                    <a:pt x="870" y="1227"/>
                    <a:pt x="679" y="1227"/>
                  </a:cubicBezTo>
                  <a:cubicBezTo>
                    <a:pt x="489" y="1227"/>
                    <a:pt x="322" y="1060"/>
                    <a:pt x="322" y="870"/>
                  </a:cubicBezTo>
                  <a:lnTo>
                    <a:pt x="322" y="691"/>
                  </a:lnTo>
                  <a:cubicBezTo>
                    <a:pt x="322" y="501"/>
                    <a:pt x="489" y="334"/>
                    <a:pt x="679" y="334"/>
                  </a:cubicBezTo>
                  <a:cubicBezTo>
                    <a:pt x="774" y="334"/>
                    <a:pt x="846" y="263"/>
                    <a:pt x="846" y="168"/>
                  </a:cubicBezTo>
                  <a:cubicBezTo>
                    <a:pt x="846" y="84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5" name="Google Shape;12995;p63"/>
          <p:cNvGrpSpPr/>
          <p:nvPr/>
        </p:nvGrpSpPr>
        <p:grpSpPr>
          <a:xfrm>
            <a:off x="6896141" y="1964722"/>
            <a:ext cx="348256" cy="352448"/>
            <a:chOff x="6896141" y="1964722"/>
            <a:chExt cx="348256" cy="352448"/>
          </a:xfrm>
        </p:grpSpPr>
        <p:sp>
          <p:nvSpPr>
            <p:cNvPr id="12996" name="Google Shape;12996;p63"/>
            <p:cNvSpPr/>
            <p:nvPr/>
          </p:nvSpPr>
          <p:spPr>
            <a:xfrm>
              <a:off x="6896141" y="1964722"/>
              <a:ext cx="348256" cy="352448"/>
            </a:xfrm>
            <a:custGeom>
              <a:avLst/>
              <a:gdLst/>
              <a:ahLst/>
              <a:cxnLst/>
              <a:rect l="l" t="t" r="r" b="b"/>
              <a:pathLst>
                <a:path w="10883" h="11014" extrusionOk="0">
                  <a:moveTo>
                    <a:pt x="1406" y="1417"/>
                  </a:moveTo>
                  <a:cubicBezTo>
                    <a:pt x="1406" y="1596"/>
                    <a:pt x="1441" y="1762"/>
                    <a:pt x="1525" y="1905"/>
                  </a:cubicBezTo>
                  <a:lnTo>
                    <a:pt x="465" y="1905"/>
                  </a:lnTo>
                  <a:cubicBezTo>
                    <a:pt x="393" y="1905"/>
                    <a:pt x="334" y="1846"/>
                    <a:pt x="334" y="1774"/>
                  </a:cubicBezTo>
                  <a:cubicBezTo>
                    <a:pt x="334" y="1715"/>
                    <a:pt x="370" y="1667"/>
                    <a:pt x="429" y="1655"/>
                  </a:cubicBezTo>
                  <a:lnTo>
                    <a:pt x="1406" y="1417"/>
                  </a:lnTo>
                  <a:close/>
                  <a:moveTo>
                    <a:pt x="2751" y="334"/>
                  </a:moveTo>
                  <a:cubicBezTo>
                    <a:pt x="3334" y="334"/>
                    <a:pt x="3799" y="810"/>
                    <a:pt x="3799" y="1369"/>
                  </a:cubicBezTo>
                  <a:lnTo>
                    <a:pt x="3799" y="3453"/>
                  </a:lnTo>
                  <a:cubicBezTo>
                    <a:pt x="3287" y="3429"/>
                    <a:pt x="2953" y="3274"/>
                    <a:pt x="2799" y="3203"/>
                  </a:cubicBezTo>
                  <a:cubicBezTo>
                    <a:pt x="2870" y="2965"/>
                    <a:pt x="2918" y="2715"/>
                    <a:pt x="2918" y="2417"/>
                  </a:cubicBezTo>
                  <a:cubicBezTo>
                    <a:pt x="2918" y="2322"/>
                    <a:pt x="2846" y="2250"/>
                    <a:pt x="2751" y="2250"/>
                  </a:cubicBezTo>
                  <a:lnTo>
                    <a:pt x="2596" y="2250"/>
                  </a:lnTo>
                  <a:cubicBezTo>
                    <a:pt x="2120" y="2250"/>
                    <a:pt x="1715" y="1869"/>
                    <a:pt x="1715" y="1369"/>
                  </a:cubicBezTo>
                  <a:cubicBezTo>
                    <a:pt x="1715" y="798"/>
                    <a:pt x="2191" y="334"/>
                    <a:pt x="2751" y="334"/>
                  </a:cubicBezTo>
                  <a:close/>
                  <a:moveTo>
                    <a:pt x="2691" y="3501"/>
                  </a:moveTo>
                  <a:cubicBezTo>
                    <a:pt x="2882" y="3608"/>
                    <a:pt x="3275" y="3751"/>
                    <a:pt x="3811" y="3774"/>
                  </a:cubicBezTo>
                  <a:lnTo>
                    <a:pt x="3811" y="4310"/>
                  </a:lnTo>
                  <a:cubicBezTo>
                    <a:pt x="3811" y="4394"/>
                    <a:pt x="3870" y="4453"/>
                    <a:pt x="3965" y="4465"/>
                  </a:cubicBezTo>
                  <a:cubicBezTo>
                    <a:pt x="5156" y="4548"/>
                    <a:pt x="6251" y="4822"/>
                    <a:pt x="7204" y="5287"/>
                  </a:cubicBezTo>
                  <a:cubicBezTo>
                    <a:pt x="7966" y="5656"/>
                    <a:pt x="8645" y="6168"/>
                    <a:pt x="9216" y="6775"/>
                  </a:cubicBezTo>
                  <a:cubicBezTo>
                    <a:pt x="9930" y="7537"/>
                    <a:pt x="10299" y="8275"/>
                    <a:pt x="10466" y="8620"/>
                  </a:cubicBezTo>
                  <a:cubicBezTo>
                    <a:pt x="6025" y="8608"/>
                    <a:pt x="4203" y="7584"/>
                    <a:pt x="3453" y="6727"/>
                  </a:cubicBezTo>
                  <a:cubicBezTo>
                    <a:pt x="3156" y="6394"/>
                    <a:pt x="3025" y="6060"/>
                    <a:pt x="2965" y="5834"/>
                  </a:cubicBezTo>
                  <a:lnTo>
                    <a:pt x="2965" y="5834"/>
                  </a:lnTo>
                  <a:cubicBezTo>
                    <a:pt x="4061" y="6989"/>
                    <a:pt x="5549" y="7251"/>
                    <a:pt x="6716" y="7251"/>
                  </a:cubicBezTo>
                  <a:cubicBezTo>
                    <a:pt x="7037" y="7251"/>
                    <a:pt x="7359" y="7239"/>
                    <a:pt x="7609" y="7203"/>
                  </a:cubicBezTo>
                  <a:cubicBezTo>
                    <a:pt x="7692" y="7192"/>
                    <a:pt x="7752" y="7120"/>
                    <a:pt x="7752" y="7025"/>
                  </a:cubicBezTo>
                  <a:cubicBezTo>
                    <a:pt x="7752" y="6942"/>
                    <a:pt x="7668" y="6882"/>
                    <a:pt x="7573" y="6882"/>
                  </a:cubicBezTo>
                  <a:cubicBezTo>
                    <a:pt x="7327" y="6909"/>
                    <a:pt x="7039" y="6929"/>
                    <a:pt x="6725" y="6929"/>
                  </a:cubicBezTo>
                  <a:cubicBezTo>
                    <a:pt x="5519" y="6929"/>
                    <a:pt x="3933" y="6628"/>
                    <a:pt x="2894" y="5239"/>
                  </a:cubicBezTo>
                  <a:cubicBezTo>
                    <a:pt x="2858" y="5215"/>
                    <a:pt x="2834" y="5179"/>
                    <a:pt x="2787" y="5179"/>
                  </a:cubicBezTo>
                  <a:cubicBezTo>
                    <a:pt x="2779" y="5178"/>
                    <a:pt x="2771" y="5178"/>
                    <a:pt x="2763" y="5178"/>
                  </a:cubicBezTo>
                  <a:cubicBezTo>
                    <a:pt x="2680" y="5178"/>
                    <a:pt x="2619" y="5235"/>
                    <a:pt x="2608" y="5322"/>
                  </a:cubicBezTo>
                  <a:cubicBezTo>
                    <a:pt x="2608" y="5346"/>
                    <a:pt x="2501" y="6108"/>
                    <a:pt x="3203" y="6930"/>
                  </a:cubicBezTo>
                  <a:cubicBezTo>
                    <a:pt x="3703" y="7501"/>
                    <a:pt x="4477" y="7977"/>
                    <a:pt x="5525" y="8311"/>
                  </a:cubicBezTo>
                  <a:cubicBezTo>
                    <a:pt x="6716" y="8692"/>
                    <a:pt x="8228" y="8906"/>
                    <a:pt x="10049" y="8954"/>
                  </a:cubicBezTo>
                  <a:cubicBezTo>
                    <a:pt x="10097" y="9097"/>
                    <a:pt x="10133" y="9228"/>
                    <a:pt x="10157" y="9323"/>
                  </a:cubicBezTo>
                  <a:lnTo>
                    <a:pt x="7418" y="9323"/>
                  </a:lnTo>
                  <a:cubicBezTo>
                    <a:pt x="5299" y="9323"/>
                    <a:pt x="3703" y="8918"/>
                    <a:pt x="2679" y="8144"/>
                  </a:cubicBezTo>
                  <a:cubicBezTo>
                    <a:pt x="1679" y="7382"/>
                    <a:pt x="1536" y="6489"/>
                    <a:pt x="1536" y="6037"/>
                  </a:cubicBezTo>
                  <a:cubicBezTo>
                    <a:pt x="1536" y="5406"/>
                    <a:pt x="1846" y="4929"/>
                    <a:pt x="2179" y="4429"/>
                  </a:cubicBezTo>
                  <a:cubicBezTo>
                    <a:pt x="2370" y="4132"/>
                    <a:pt x="2549" y="3846"/>
                    <a:pt x="2691" y="3501"/>
                  </a:cubicBezTo>
                  <a:close/>
                  <a:moveTo>
                    <a:pt x="4989" y="9442"/>
                  </a:moveTo>
                  <a:cubicBezTo>
                    <a:pt x="5108" y="9466"/>
                    <a:pt x="5227" y="9489"/>
                    <a:pt x="5358" y="9501"/>
                  </a:cubicBezTo>
                  <a:lnTo>
                    <a:pt x="5358" y="10704"/>
                  </a:lnTo>
                  <a:lnTo>
                    <a:pt x="4989" y="10704"/>
                  </a:lnTo>
                  <a:lnTo>
                    <a:pt x="4989" y="9442"/>
                  </a:lnTo>
                  <a:close/>
                  <a:moveTo>
                    <a:pt x="2751" y="0"/>
                  </a:moveTo>
                  <a:cubicBezTo>
                    <a:pt x="2096" y="0"/>
                    <a:pt x="1560" y="465"/>
                    <a:pt x="1417" y="1060"/>
                  </a:cubicBezTo>
                  <a:lnTo>
                    <a:pt x="346" y="1334"/>
                  </a:lnTo>
                  <a:cubicBezTo>
                    <a:pt x="132" y="1369"/>
                    <a:pt x="1" y="1572"/>
                    <a:pt x="1" y="1762"/>
                  </a:cubicBezTo>
                  <a:cubicBezTo>
                    <a:pt x="1" y="2012"/>
                    <a:pt x="215" y="2203"/>
                    <a:pt x="453" y="2203"/>
                  </a:cubicBezTo>
                  <a:lnTo>
                    <a:pt x="1727" y="2203"/>
                  </a:lnTo>
                  <a:cubicBezTo>
                    <a:pt x="1953" y="2417"/>
                    <a:pt x="2239" y="2548"/>
                    <a:pt x="2560" y="2548"/>
                  </a:cubicBezTo>
                  <a:cubicBezTo>
                    <a:pt x="2513" y="3215"/>
                    <a:pt x="2191" y="3727"/>
                    <a:pt x="1882" y="4227"/>
                  </a:cubicBezTo>
                  <a:cubicBezTo>
                    <a:pt x="1536" y="4751"/>
                    <a:pt x="1191" y="5298"/>
                    <a:pt x="1191" y="6013"/>
                  </a:cubicBezTo>
                  <a:cubicBezTo>
                    <a:pt x="1191" y="6418"/>
                    <a:pt x="1298" y="6834"/>
                    <a:pt x="1477" y="7203"/>
                  </a:cubicBezTo>
                  <a:cubicBezTo>
                    <a:pt x="1703" y="7656"/>
                    <a:pt x="2025" y="8061"/>
                    <a:pt x="2477" y="8382"/>
                  </a:cubicBezTo>
                  <a:cubicBezTo>
                    <a:pt x="3037" y="8811"/>
                    <a:pt x="3763" y="9144"/>
                    <a:pt x="4644" y="9347"/>
                  </a:cubicBezTo>
                  <a:lnTo>
                    <a:pt x="4644" y="10692"/>
                  </a:lnTo>
                  <a:lnTo>
                    <a:pt x="3608" y="10692"/>
                  </a:lnTo>
                  <a:cubicBezTo>
                    <a:pt x="3513" y="10692"/>
                    <a:pt x="3441" y="10763"/>
                    <a:pt x="3441" y="10859"/>
                  </a:cubicBezTo>
                  <a:cubicBezTo>
                    <a:pt x="3441" y="10942"/>
                    <a:pt x="3513" y="11013"/>
                    <a:pt x="3608" y="11013"/>
                  </a:cubicBezTo>
                  <a:lnTo>
                    <a:pt x="5847" y="11013"/>
                  </a:lnTo>
                  <a:cubicBezTo>
                    <a:pt x="5942" y="11013"/>
                    <a:pt x="6013" y="10942"/>
                    <a:pt x="6013" y="10859"/>
                  </a:cubicBezTo>
                  <a:cubicBezTo>
                    <a:pt x="6013" y="10763"/>
                    <a:pt x="5942" y="10692"/>
                    <a:pt x="5847" y="10692"/>
                  </a:cubicBezTo>
                  <a:lnTo>
                    <a:pt x="5668" y="10692"/>
                  </a:lnTo>
                  <a:lnTo>
                    <a:pt x="5668" y="9525"/>
                  </a:lnTo>
                  <a:cubicBezTo>
                    <a:pt x="6204" y="9609"/>
                    <a:pt x="6787" y="9632"/>
                    <a:pt x="7418" y="9632"/>
                  </a:cubicBezTo>
                  <a:lnTo>
                    <a:pt x="10347" y="9632"/>
                  </a:lnTo>
                  <a:cubicBezTo>
                    <a:pt x="10395" y="9632"/>
                    <a:pt x="10430" y="9620"/>
                    <a:pt x="10466" y="9573"/>
                  </a:cubicBezTo>
                  <a:cubicBezTo>
                    <a:pt x="10490" y="9549"/>
                    <a:pt x="10514" y="9501"/>
                    <a:pt x="10514" y="9442"/>
                  </a:cubicBezTo>
                  <a:cubicBezTo>
                    <a:pt x="10514" y="9430"/>
                    <a:pt x="10478" y="9251"/>
                    <a:pt x="10395" y="8930"/>
                  </a:cubicBezTo>
                  <a:lnTo>
                    <a:pt x="10704" y="8930"/>
                  </a:lnTo>
                  <a:cubicBezTo>
                    <a:pt x="10740" y="8930"/>
                    <a:pt x="10811" y="8906"/>
                    <a:pt x="10835" y="8858"/>
                  </a:cubicBezTo>
                  <a:cubicBezTo>
                    <a:pt x="10871" y="8847"/>
                    <a:pt x="10883" y="8799"/>
                    <a:pt x="10847" y="8739"/>
                  </a:cubicBezTo>
                  <a:cubicBezTo>
                    <a:pt x="10835" y="8692"/>
                    <a:pt x="10478" y="7656"/>
                    <a:pt x="9454" y="6572"/>
                  </a:cubicBezTo>
                  <a:cubicBezTo>
                    <a:pt x="8859" y="5930"/>
                    <a:pt x="8144" y="5406"/>
                    <a:pt x="7335" y="5001"/>
                  </a:cubicBezTo>
                  <a:cubicBezTo>
                    <a:pt x="6382" y="4525"/>
                    <a:pt x="5299" y="4239"/>
                    <a:pt x="4120" y="4155"/>
                  </a:cubicBezTo>
                  <a:lnTo>
                    <a:pt x="4120" y="1369"/>
                  </a:lnTo>
                  <a:cubicBezTo>
                    <a:pt x="4120" y="619"/>
                    <a:pt x="3513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7" name="Google Shape;12997;p63"/>
            <p:cNvSpPr/>
            <p:nvPr/>
          </p:nvSpPr>
          <p:spPr>
            <a:xfrm>
              <a:off x="7155597" y="2179538"/>
              <a:ext cx="18336" cy="11904"/>
            </a:xfrm>
            <a:custGeom>
              <a:avLst/>
              <a:gdLst/>
              <a:ahLst/>
              <a:cxnLst/>
              <a:rect l="l" t="t" r="r" b="b"/>
              <a:pathLst>
                <a:path w="573" h="372" extrusionOk="0">
                  <a:moveTo>
                    <a:pt x="389" y="0"/>
                  </a:moveTo>
                  <a:cubicBezTo>
                    <a:pt x="378" y="0"/>
                    <a:pt x="368" y="1"/>
                    <a:pt x="358" y="2"/>
                  </a:cubicBezTo>
                  <a:cubicBezTo>
                    <a:pt x="358" y="2"/>
                    <a:pt x="286" y="14"/>
                    <a:pt x="156" y="50"/>
                  </a:cubicBezTo>
                  <a:cubicBezTo>
                    <a:pt x="60" y="62"/>
                    <a:pt x="1" y="157"/>
                    <a:pt x="36" y="240"/>
                  </a:cubicBezTo>
                  <a:cubicBezTo>
                    <a:pt x="48" y="312"/>
                    <a:pt x="120" y="371"/>
                    <a:pt x="203" y="371"/>
                  </a:cubicBezTo>
                  <a:lnTo>
                    <a:pt x="227" y="371"/>
                  </a:lnTo>
                  <a:cubicBezTo>
                    <a:pt x="382" y="348"/>
                    <a:pt x="453" y="312"/>
                    <a:pt x="453" y="312"/>
                  </a:cubicBezTo>
                  <a:cubicBezTo>
                    <a:pt x="525" y="300"/>
                    <a:pt x="572" y="217"/>
                    <a:pt x="560" y="121"/>
                  </a:cubicBezTo>
                  <a:cubicBezTo>
                    <a:pt x="529" y="38"/>
                    <a:pt x="461" y="0"/>
                    <a:pt x="3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8" name="Google Shape;12998;p63"/>
            <p:cNvSpPr/>
            <p:nvPr/>
          </p:nvSpPr>
          <p:spPr>
            <a:xfrm>
              <a:off x="6962829" y="1987186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12" y="334"/>
                  </a:moveTo>
                  <a:cubicBezTo>
                    <a:pt x="607" y="334"/>
                    <a:pt x="691" y="417"/>
                    <a:pt x="691" y="513"/>
                  </a:cubicBezTo>
                  <a:cubicBezTo>
                    <a:pt x="691" y="596"/>
                    <a:pt x="607" y="691"/>
                    <a:pt x="512" y="691"/>
                  </a:cubicBezTo>
                  <a:cubicBezTo>
                    <a:pt x="405" y="691"/>
                    <a:pt x="334" y="596"/>
                    <a:pt x="334" y="513"/>
                  </a:cubicBezTo>
                  <a:cubicBezTo>
                    <a:pt x="334" y="417"/>
                    <a:pt x="417" y="334"/>
                    <a:pt x="512" y="334"/>
                  </a:cubicBezTo>
                  <a:close/>
                  <a:moveTo>
                    <a:pt x="512" y="1"/>
                  </a:moveTo>
                  <a:cubicBezTo>
                    <a:pt x="226" y="1"/>
                    <a:pt x="0" y="227"/>
                    <a:pt x="0" y="513"/>
                  </a:cubicBezTo>
                  <a:cubicBezTo>
                    <a:pt x="0" y="786"/>
                    <a:pt x="226" y="1013"/>
                    <a:pt x="512" y="1013"/>
                  </a:cubicBezTo>
                  <a:cubicBezTo>
                    <a:pt x="786" y="1013"/>
                    <a:pt x="1012" y="786"/>
                    <a:pt x="1012" y="513"/>
                  </a:cubicBezTo>
                  <a:cubicBezTo>
                    <a:pt x="1012" y="227"/>
                    <a:pt x="786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9" name="Google Shape;12999;p63"/>
          <p:cNvGrpSpPr/>
          <p:nvPr/>
        </p:nvGrpSpPr>
        <p:grpSpPr>
          <a:xfrm>
            <a:off x="7989997" y="2015378"/>
            <a:ext cx="355136" cy="303328"/>
            <a:chOff x="7989997" y="2015378"/>
            <a:chExt cx="355136" cy="303328"/>
          </a:xfrm>
        </p:grpSpPr>
        <p:sp>
          <p:nvSpPr>
            <p:cNvPr id="13000" name="Google Shape;13000;p63"/>
            <p:cNvSpPr/>
            <p:nvPr/>
          </p:nvSpPr>
          <p:spPr>
            <a:xfrm>
              <a:off x="8052109" y="2080530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0" y="298"/>
                    <a:pt x="0" y="691"/>
                  </a:cubicBezTo>
                  <a:lnTo>
                    <a:pt x="0" y="870"/>
                  </a:lnTo>
                  <a:cubicBezTo>
                    <a:pt x="0" y="1239"/>
                    <a:pt x="298" y="1549"/>
                    <a:pt x="679" y="1549"/>
                  </a:cubicBezTo>
                  <a:cubicBezTo>
                    <a:pt x="1072" y="1549"/>
                    <a:pt x="1369" y="1251"/>
                    <a:pt x="1369" y="870"/>
                  </a:cubicBezTo>
                  <a:lnTo>
                    <a:pt x="1369" y="691"/>
                  </a:lnTo>
                  <a:cubicBezTo>
                    <a:pt x="1369" y="596"/>
                    <a:pt x="1298" y="525"/>
                    <a:pt x="1203" y="525"/>
                  </a:cubicBezTo>
                  <a:cubicBezTo>
                    <a:pt x="1119" y="525"/>
                    <a:pt x="1036" y="596"/>
                    <a:pt x="1036" y="691"/>
                  </a:cubicBezTo>
                  <a:lnTo>
                    <a:pt x="1036" y="870"/>
                  </a:lnTo>
                  <a:cubicBezTo>
                    <a:pt x="1036" y="1060"/>
                    <a:pt x="881" y="1227"/>
                    <a:pt x="679" y="1227"/>
                  </a:cubicBezTo>
                  <a:cubicBezTo>
                    <a:pt x="488" y="1227"/>
                    <a:pt x="322" y="1060"/>
                    <a:pt x="322" y="870"/>
                  </a:cubicBezTo>
                  <a:lnTo>
                    <a:pt x="322" y="691"/>
                  </a:lnTo>
                  <a:cubicBezTo>
                    <a:pt x="322" y="489"/>
                    <a:pt x="488" y="334"/>
                    <a:pt x="679" y="334"/>
                  </a:cubicBezTo>
                  <a:cubicBezTo>
                    <a:pt x="774" y="334"/>
                    <a:pt x="845" y="251"/>
                    <a:pt x="845" y="167"/>
                  </a:cubicBezTo>
                  <a:cubicBezTo>
                    <a:pt x="845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1" name="Google Shape;13001;p63"/>
            <p:cNvSpPr/>
            <p:nvPr/>
          </p:nvSpPr>
          <p:spPr>
            <a:xfrm>
              <a:off x="7989997" y="2015378"/>
              <a:ext cx="355136" cy="303328"/>
            </a:xfrm>
            <a:custGeom>
              <a:avLst/>
              <a:gdLst/>
              <a:ahLst/>
              <a:cxnLst/>
              <a:rect l="l" t="t" r="r" b="b"/>
              <a:pathLst>
                <a:path w="11098" h="9479" extrusionOk="0">
                  <a:moveTo>
                    <a:pt x="1001" y="3096"/>
                  </a:moveTo>
                  <a:cubicBezTo>
                    <a:pt x="977" y="3180"/>
                    <a:pt x="953" y="3287"/>
                    <a:pt x="941" y="3394"/>
                  </a:cubicBezTo>
                  <a:cubicBezTo>
                    <a:pt x="929" y="3465"/>
                    <a:pt x="929" y="3525"/>
                    <a:pt x="929" y="3596"/>
                  </a:cubicBezTo>
                  <a:lnTo>
                    <a:pt x="536" y="3287"/>
                  </a:lnTo>
                  <a:lnTo>
                    <a:pt x="1001" y="3096"/>
                  </a:lnTo>
                  <a:close/>
                  <a:moveTo>
                    <a:pt x="4430" y="322"/>
                  </a:moveTo>
                  <a:lnTo>
                    <a:pt x="4132" y="703"/>
                  </a:lnTo>
                  <a:cubicBezTo>
                    <a:pt x="4096" y="739"/>
                    <a:pt x="4084" y="798"/>
                    <a:pt x="4096" y="846"/>
                  </a:cubicBezTo>
                  <a:cubicBezTo>
                    <a:pt x="4108" y="894"/>
                    <a:pt x="4156" y="941"/>
                    <a:pt x="4215" y="953"/>
                  </a:cubicBezTo>
                  <a:cubicBezTo>
                    <a:pt x="4906" y="1120"/>
                    <a:pt x="5501" y="1549"/>
                    <a:pt x="5882" y="2191"/>
                  </a:cubicBezTo>
                  <a:cubicBezTo>
                    <a:pt x="6335" y="2906"/>
                    <a:pt x="6811" y="3465"/>
                    <a:pt x="7311" y="3870"/>
                  </a:cubicBezTo>
                  <a:cubicBezTo>
                    <a:pt x="7728" y="4192"/>
                    <a:pt x="8144" y="4406"/>
                    <a:pt x="8573" y="4513"/>
                  </a:cubicBezTo>
                  <a:cubicBezTo>
                    <a:pt x="8785" y="4559"/>
                    <a:pt x="8969" y="4577"/>
                    <a:pt x="9129" y="4577"/>
                  </a:cubicBezTo>
                  <a:cubicBezTo>
                    <a:pt x="9176" y="4577"/>
                    <a:pt x="9221" y="4575"/>
                    <a:pt x="9263" y="4573"/>
                  </a:cubicBezTo>
                  <a:lnTo>
                    <a:pt x="9263" y="4573"/>
                  </a:lnTo>
                  <a:cubicBezTo>
                    <a:pt x="8656" y="5120"/>
                    <a:pt x="8061" y="5501"/>
                    <a:pt x="7478" y="5704"/>
                  </a:cubicBezTo>
                  <a:cubicBezTo>
                    <a:pt x="7161" y="5811"/>
                    <a:pt x="6852" y="5865"/>
                    <a:pt x="6558" y="5865"/>
                  </a:cubicBezTo>
                  <a:cubicBezTo>
                    <a:pt x="6299" y="5865"/>
                    <a:pt x="6051" y="5823"/>
                    <a:pt x="5823" y="5740"/>
                  </a:cubicBezTo>
                  <a:cubicBezTo>
                    <a:pt x="5537" y="5644"/>
                    <a:pt x="5287" y="5490"/>
                    <a:pt x="5096" y="5287"/>
                  </a:cubicBezTo>
                  <a:lnTo>
                    <a:pt x="5096" y="5287"/>
                  </a:lnTo>
                  <a:cubicBezTo>
                    <a:pt x="5346" y="5418"/>
                    <a:pt x="5632" y="5490"/>
                    <a:pt x="5977" y="5525"/>
                  </a:cubicBezTo>
                  <a:cubicBezTo>
                    <a:pt x="6049" y="5525"/>
                    <a:pt x="6120" y="5537"/>
                    <a:pt x="6192" y="5537"/>
                  </a:cubicBezTo>
                  <a:cubicBezTo>
                    <a:pt x="6477" y="5537"/>
                    <a:pt x="6775" y="5501"/>
                    <a:pt x="7061" y="5430"/>
                  </a:cubicBezTo>
                  <a:cubicBezTo>
                    <a:pt x="7144" y="5418"/>
                    <a:pt x="7192" y="5323"/>
                    <a:pt x="7180" y="5239"/>
                  </a:cubicBezTo>
                  <a:cubicBezTo>
                    <a:pt x="7169" y="5156"/>
                    <a:pt x="7095" y="5118"/>
                    <a:pt x="7021" y="5118"/>
                  </a:cubicBezTo>
                  <a:cubicBezTo>
                    <a:pt x="7010" y="5118"/>
                    <a:pt x="7000" y="5119"/>
                    <a:pt x="6989" y="5120"/>
                  </a:cubicBezTo>
                  <a:cubicBezTo>
                    <a:pt x="6717" y="5185"/>
                    <a:pt x="6450" y="5217"/>
                    <a:pt x="6201" y="5217"/>
                  </a:cubicBezTo>
                  <a:cubicBezTo>
                    <a:pt x="5763" y="5217"/>
                    <a:pt x="5377" y="5119"/>
                    <a:pt x="5096" y="4930"/>
                  </a:cubicBezTo>
                  <a:cubicBezTo>
                    <a:pt x="4763" y="4692"/>
                    <a:pt x="4584" y="4335"/>
                    <a:pt x="4537" y="3835"/>
                  </a:cubicBezTo>
                  <a:cubicBezTo>
                    <a:pt x="4584" y="3334"/>
                    <a:pt x="4870" y="2918"/>
                    <a:pt x="5346" y="2644"/>
                  </a:cubicBezTo>
                  <a:cubicBezTo>
                    <a:pt x="5418" y="2608"/>
                    <a:pt x="5453" y="2501"/>
                    <a:pt x="5406" y="2430"/>
                  </a:cubicBezTo>
                  <a:cubicBezTo>
                    <a:pt x="5375" y="2375"/>
                    <a:pt x="5323" y="2346"/>
                    <a:pt x="5267" y="2346"/>
                  </a:cubicBezTo>
                  <a:cubicBezTo>
                    <a:pt x="5238" y="2346"/>
                    <a:pt x="5208" y="2354"/>
                    <a:pt x="5180" y="2370"/>
                  </a:cubicBezTo>
                  <a:cubicBezTo>
                    <a:pt x="4513" y="2751"/>
                    <a:pt x="4156" y="3418"/>
                    <a:pt x="4215" y="4168"/>
                  </a:cubicBezTo>
                  <a:cubicBezTo>
                    <a:pt x="4287" y="5013"/>
                    <a:pt x="4870" y="5763"/>
                    <a:pt x="5704" y="6061"/>
                  </a:cubicBezTo>
                  <a:cubicBezTo>
                    <a:pt x="5969" y="6149"/>
                    <a:pt x="6247" y="6194"/>
                    <a:pt x="6537" y="6194"/>
                  </a:cubicBezTo>
                  <a:cubicBezTo>
                    <a:pt x="6871" y="6194"/>
                    <a:pt x="7221" y="6135"/>
                    <a:pt x="7585" y="6013"/>
                  </a:cubicBezTo>
                  <a:cubicBezTo>
                    <a:pt x="8061" y="5847"/>
                    <a:pt x="8537" y="5585"/>
                    <a:pt x="9025" y="5192"/>
                  </a:cubicBezTo>
                  <a:lnTo>
                    <a:pt x="9049" y="5192"/>
                  </a:lnTo>
                  <a:cubicBezTo>
                    <a:pt x="9197" y="5214"/>
                    <a:pt x="9338" y="5224"/>
                    <a:pt x="9472" y="5224"/>
                  </a:cubicBezTo>
                  <a:cubicBezTo>
                    <a:pt x="9973" y="5224"/>
                    <a:pt x="10372" y="5085"/>
                    <a:pt x="10645" y="4954"/>
                  </a:cubicBezTo>
                  <a:lnTo>
                    <a:pt x="10645" y="4954"/>
                  </a:lnTo>
                  <a:cubicBezTo>
                    <a:pt x="9990" y="6799"/>
                    <a:pt x="8061" y="8097"/>
                    <a:pt x="5918" y="8097"/>
                  </a:cubicBezTo>
                  <a:cubicBezTo>
                    <a:pt x="4430" y="8097"/>
                    <a:pt x="3072" y="7549"/>
                    <a:pt x="2203" y="6561"/>
                  </a:cubicBezTo>
                  <a:cubicBezTo>
                    <a:pt x="1453" y="5716"/>
                    <a:pt x="1132" y="4644"/>
                    <a:pt x="1274" y="3442"/>
                  </a:cubicBezTo>
                  <a:cubicBezTo>
                    <a:pt x="1370" y="2703"/>
                    <a:pt x="1632" y="2096"/>
                    <a:pt x="2013" y="1608"/>
                  </a:cubicBezTo>
                  <a:cubicBezTo>
                    <a:pt x="2322" y="1215"/>
                    <a:pt x="2715" y="906"/>
                    <a:pt x="3191" y="679"/>
                  </a:cubicBezTo>
                  <a:cubicBezTo>
                    <a:pt x="3668" y="465"/>
                    <a:pt x="4132" y="370"/>
                    <a:pt x="4430" y="322"/>
                  </a:cubicBezTo>
                  <a:close/>
                  <a:moveTo>
                    <a:pt x="5989" y="8407"/>
                  </a:moveTo>
                  <a:lnTo>
                    <a:pt x="5632" y="9121"/>
                  </a:lnTo>
                  <a:lnTo>
                    <a:pt x="5299" y="9121"/>
                  </a:lnTo>
                  <a:lnTo>
                    <a:pt x="5656" y="8407"/>
                  </a:lnTo>
                  <a:close/>
                  <a:moveTo>
                    <a:pt x="4715" y="1"/>
                  </a:moveTo>
                  <a:cubicBezTo>
                    <a:pt x="4605" y="1"/>
                    <a:pt x="3846" y="11"/>
                    <a:pt x="3013" y="406"/>
                  </a:cubicBezTo>
                  <a:cubicBezTo>
                    <a:pt x="2489" y="644"/>
                    <a:pt x="2060" y="977"/>
                    <a:pt x="1715" y="1418"/>
                  </a:cubicBezTo>
                  <a:cubicBezTo>
                    <a:pt x="1417" y="1787"/>
                    <a:pt x="1191" y="2215"/>
                    <a:pt x="1060" y="2727"/>
                  </a:cubicBezTo>
                  <a:lnTo>
                    <a:pt x="119" y="3120"/>
                  </a:lnTo>
                  <a:cubicBezTo>
                    <a:pt x="60" y="3144"/>
                    <a:pt x="36" y="3204"/>
                    <a:pt x="24" y="3263"/>
                  </a:cubicBezTo>
                  <a:cubicBezTo>
                    <a:pt x="0" y="3323"/>
                    <a:pt x="36" y="3382"/>
                    <a:pt x="84" y="3406"/>
                  </a:cubicBezTo>
                  <a:lnTo>
                    <a:pt x="870" y="4037"/>
                  </a:lnTo>
                  <a:cubicBezTo>
                    <a:pt x="881" y="5085"/>
                    <a:pt x="1239" y="6037"/>
                    <a:pt x="1929" y="6799"/>
                  </a:cubicBezTo>
                  <a:cubicBezTo>
                    <a:pt x="2739" y="7704"/>
                    <a:pt x="3929" y="8276"/>
                    <a:pt x="5275" y="8407"/>
                  </a:cubicBezTo>
                  <a:lnTo>
                    <a:pt x="4906" y="9157"/>
                  </a:lnTo>
                  <a:lnTo>
                    <a:pt x="3965" y="9157"/>
                  </a:lnTo>
                  <a:cubicBezTo>
                    <a:pt x="3870" y="9157"/>
                    <a:pt x="3799" y="9228"/>
                    <a:pt x="3799" y="9311"/>
                  </a:cubicBezTo>
                  <a:cubicBezTo>
                    <a:pt x="3799" y="9407"/>
                    <a:pt x="3870" y="9478"/>
                    <a:pt x="3965" y="9478"/>
                  </a:cubicBezTo>
                  <a:lnTo>
                    <a:pt x="6370" y="9478"/>
                  </a:lnTo>
                  <a:cubicBezTo>
                    <a:pt x="6466" y="9478"/>
                    <a:pt x="6537" y="9407"/>
                    <a:pt x="6537" y="9311"/>
                  </a:cubicBezTo>
                  <a:cubicBezTo>
                    <a:pt x="6537" y="9228"/>
                    <a:pt x="6466" y="9157"/>
                    <a:pt x="6370" y="9157"/>
                  </a:cubicBezTo>
                  <a:lnTo>
                    <a:pt x="5942" y="9157"/>
                  </a:lnTo>
                  <a:lnTo>
                    <a:pt x="6311" y="8418"/>
                  </a:lnTo>
                  <a:cubicBezTo>
                    <a:pt x="7358" y="8335"/>
                    <a:pt x="8359" y="7978"/>
                    <a:pt x="9168" y="7383"/>
                  </a:cubicBezTo>
                  <a:cubicBezTo>
                    <a:pt x="10109" y="6692"/>
                    <a:pt x="10764" y="5740"/>
                    <a:pt x="11014" y="4704"/>
                  </a:cubicBezTo>
                  <a:cubicBezTo>
                    <a:pt x="11097" y="4597"/>
                    <a:pt x="11061" y="4525"/>
                    <a:pt x="11002" y="4489"/>
                  </a:cubicBezTo>
                  <a:cubicBezTo>
                    <a:pt x="10978" y="4475"/>
                    <a:pt x="10953" y="4469"/>
                    <a:pt x="10927" y="4469"/>
                  </a:cubicBezTo>
                  <a:cubicBezTo>
                    <a:pt x="10888" y="4469"/>
                    <a:pt x="10847" y="4484"/>
                    <a:pt x="10811" y="4513"/>
                  </a:cubicBezTo>
                  <a:cubicBezTo>
                    <a:pt x="10811" y="4513"/>
                    <a:pt x="10258" y="4931"/>
                    <a:pt x="9416" y="4931"/>
                  </a:cubicBezTo>
                  <a:cubicBezTo>
                    <a:pt x="9393" y="4931"/>
                    <a:pt x="9370" y="4931"/>
                    <a:pt x="9347" y="4930"/>
                  </a:cubicBezTo>
                  <a:cubicBezTo>
                    <a:pt x="9525" y="4775"/>
                    <a:pt x="9692" y="4608"/>
                    <a:pt x="9871" y="4430"/>
                  </a:cubicBezTo>
                  <a:cubicBezTo>
                    <a:pt x="9930" y="4370"/>
                    <a:pt x="9930" y="4287"/>
                    <a:pt x="9883" y="4227"/>
                  </a:cubicBezTo>
                  <a:cubicBezTo>
                    <a:pt x="9857" y="4184"/>
                    <a:pt x="9800" y="4154"/>
                    <a:pt x="9747" y="4154"/>
                  </a:cubicBezTo>
                  <a:cubicBezTo>
                    <a:pt x="9728" y="4154"/>
                    <a:pt x="9708" y="4158"/>
                    <a:pt x="9692" y="4168"/>
                  </a:cubicBezTo>
                  <a:cubicBezTo>
                    <a:pt x="9692" y="4168"/>
                    <a:pt x="9472" y="4269"/>
                    <a:pt x="9104" y="4269"/>
                  </a:cubicBezTo>
                  <a:cubicBezTo>
                    <a:pt x="8966" y="4269"/>
                    <a:pt x="8808" y="4255"/>
                    <a:pt x="8632" y="4216"/>
                  </a:cubicBezTo>
                  <a:cubicBezTo>
                    <a:pt x="7537" y="3942"/>
                    <a:pt x="6668" y="2882"/>
                    <a:pt x="6132" y="2037"/>
                  </a:cubicBezTo>
                  <a:cubicBezTo>
                    <a:pt x="5751" y="1418"/>
                    <a:pt x="5168" y="953"/>
                    <a:pt x="4501" y="727"/>
                  </a:cubicBezTo>
                  <a:lnTo>
                    <a:pt x="4858" y="251"/>
                  </a:lnTo>
                  <a:cubicBezTo>
                    <a:pt x="4882" y="203"/>
                    <a:pt x="4906" y="132"/>
                    <a:pt x="4870" y="84"/>
                  </a:cubicBezTo>
                  <a:cubicBezTo>
                    <a:pt x="4846" y="25"/>
                    <a:pt x="4799" y="1"/>
                    <a:pt x="4727" y="1"/>
                  </a:cubicBezTo>
                  <a:cubicBezTo>
                    <a:pt x="4725" y="1"/>
                    <a:pt x="4721" y="1"/>
                    <a:pt x="4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2" name="Google Shape;13002;p63"/>
            <p:cNvSpPr/>
            <p:nvPr/>
          </p:nvSpPr>
          <p:spPr>
            <a:xfrm>
              <a:off x="8229645" y="2166034"/>
              <a:ext cx="19456" cy="15872"/>
            </a:xfrm>
            <a:custGeom>
              <a:avLst/>
              <a:gdLst/>
              <a:ahLst/>
              <a:cxnLst/>
              <a:rect l="l" t="t" r="r" b="b"/>
              <a:pathLst>
                <a:path w="608" h="496" extrusionOk="0">
                  <a:moveTo>
                    <a:pt x="436" y="0"/>
                  </a:moveTo>
                  <a:cubicBezTo>
                    <a:pt x="399" y="0"/>
                    <a:pt x="362" y="15"/>
                    <a:pt x="334" y="43"/>
                  </a:cubicBezTo>
                  <a:cubicBezTo>
                    <a:pt x="274" y="79"/>
                    <a:pt x="191" y="139"/>
                    <a:pt x="108" y="186"/>
                  </a:cubicBezTo>
                  <a:cubicBezTo>
                    <a:pt x="36" y="234"/>
                    <a:pt x="0" y="317"/>
                    <a:pt x="36" y="412"/>
                  </a:cubicBezTo>
                  <a:cubicBezTo>
                    <a:pt x="60" y="472"/>
                    <a:pt x="120" y="496"/>
                    <a:pt x="179" y="496"/>
                  </a:cubicBezTo>
                  <a:cubicBezTo>
                    <a:pt x="215" y="496"/>
                    <a:pt x="227" y="496"/>
                    <a:pt x="250" y="484"/>
                  </a:cubicBezTo>
                  <a:cubicBezTo>
                    <a:pt x="370" y="424"/>
                    <a:pt x="477" y="365"/>
                    <a:pt x="548" y="293"/>
                  </a:cubicBezTo>
                  <a:cubicBezTo>
                    <a:pt x="596" y="222"/>
                    <a:pt x="608" y="115"/>
                    <a:pt x="548" y="55"/>
                  </a:cubicBezTo>
                  <a:cubicBezTo>
                    <a:pt x="517" y="18"/>
                    <a:pt x="476" y="0"/>
                    <a:pt x="4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03" name="Google Shape;13003;p63"/>
          <p:cNvGrpSpPr/>
          <p:nvPr/>
        </p:nvGrpSpPr>
        <p:grpSpPr>
          <a:xfrm>
            <a:off x="3598221" y="1509362"/>
            <a:ext cx="348640" cy="330784"/>
            <a:chOff x="3598221" y="1509362"/>
            <a:chExt cx="348640" cy="330784"/>
          </a:xfrm>
        </p:grpSpPr>
        <p:sp>
          <p:nvSpPr>
            <p:cNvPr id="13004" name="Google Shape;13004;p63"/>
            <p:cNvSpPr/>
            <p:nvPr/>
          </p:nvSpPr>
          <p:spPr>
            <a:xfrm>
              <a:off x="3739181" y="160353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0"/>
                    <a:pt x="667" y="1500"/>
                  </a:cubicBezTo>
                  <a:cubicBezTo>
                    <a:pt x="1036" y="1500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8" y="595"/>
                    <a:pt x="1274" y="512"/>
                    <a:pt x="1191" y="512"/>
                  </a:cubicBezTo>
                  <a:cubicBezTo>
                    <a:pt x="1096" y="512"/>
                    <a:pt x="1024" y="595"/>
                    <a:pt x="1024" y="679"/>
                  </a:cubicBezTo>
                  <a:lnTo>
                    <a:pt x="1024" y="845"/>
                  </a:lnTo>
                  <a:cubicBezTo>
                    <a:pt x="1024" y="1036"/>
                    <a:pt x="858" y="1203"/>
                    <a:pt x="667" y="1203"/>
                  </a:cubicBezTo>
                  <a:cubicBezTo>
                    <a:pt x="477" y="1203"/>
                    <a:pt x="310" y="1036"/>
                    <a:pt x="310" y="845"/>
                  </a:cubicBezTo>
                  <a:lnTo>
                    <a:pt x="310" y="679"/>
                  </a:lnTo>
                  <a:cubicBezTo>
                    <a:pt x="310" y="488"/>
                    <a:pt x="477" y="322"/>
                    <a:pt x="667" y="322"/>
                  </a:cubicBezTo>
                  <a:cubicBezTo>
                    <a:pt x="762" y="322"/>
                    <a:pt x="834" y="250"/>
                    <a:pt x="834" y="155"/>
                  </a:cubicBezTo>
                  <a:cubicBezTo>
                    <a:pt x="834" y="72"/>
                    <a:pt x="762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5" name="Google Shape;13005;p63"/>
            <p:cNvSpPr/>
            <p:nvPr/>
          </p:nvSpPr>
          <p:spPr>
            <a:xfrm>
              <a:off x="3619533" y="1709906"/>
              <a:ext cx="16416" cy="15584"/>
            </a:xfrm>
            <a:custGeom>
              <a:avLst/>
              <a:gdLst/>
              <a:ahLst/>
              <a:cxnLst/>
              <a:rect l="l" t="t" r="r" b="b"/>
              <a:pathLst>
                <a:path w="513" h="487" extrusionOk="0">
                  <a:moveTo>
                    <a:pt x="340" y="1"/>
                  </a:moveTo>
                  <a:cubicBezTo>
                    <a:pt x="298" y="1"/>
                    <a:pt x="257" y="16"/>
                    <a:pt x="227" y="46"/>
                  </a:cubicBezTo>
                  <a:lnTo>
                    <a:pt x="60" y="212"/>
                  </a:lnTo>
                  <a:cubicBezTo>
                    <a:pt x="1" y="272"/>
                    <a:pt x="1" y="379"/>
                    <a:pt x="60" y="438"/>
                  </a:cubicBezTo>
                  <a:cubicBezTo>
                    <a:pt x="96" y="462"/>
                    <a:pt x="132" y="486"/>
                    <a:pt x="179" y="486"/>
                  </a:cubicBezTo>
                  <a:cubicBezTo>
                    <a:pt x="227" y="486"/>
                    <a:pt x="251" y="462"/>
                    <a:pt x="298" y="438"/>
                  </a:cubicBezTo>
                  <a:lnTo>
                    <a:pt x="465" y="272"/>
                  </a:lnTo>
                  <a:cubicBezTo>
                    <a:pt x="513" y="212"/>
                    <a:pt x="513" y="105"/>
                    <a:pt x="453" y="46"/>
                  </a:cubicBezTo>
                  <a:cubicBezTo>
                    <a:pt x="423" y="16"/>
                    <a:pt x="382" y="1"/>
                    <a:pt x="3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6" name="Google Shape;13006;p63"/>
            <p:cNvSpPr/>
            <p:nvPr/>
          </p:nvSpPr>
          <p:spPr>
            <a:xfrm>
              <a:off x="3598221" y="1509362"/>
              <a:ext cx="348640" cy="330784"/>
            </a:xfrm>
            <a:custGeom>
              <a:avLst/>
              <a:gdLst/>
              <a:ahLst/>
              <a:cxnLst/>
              <a:rect l="l" t="t" r="r" b="b"/>
              <a:pathLst>
                <a:path w="10895" h="10337" extrusionOk="0">
                  <a:moveTo>
                    <a:pt x="5489" y="586"/>
                  </a:moveTo>
                  <a:lnTo>
                    <a:pt x="5489" y="586"/>
                  </a:lnTo>
                  <a:cubicBezTo>
                    <a:pt x="5429" y="955"/>
                    <a:pt x="5441" y="1288"/>
                    <a:pt x="5477" y="1538"/>
                  </a:cubicBezTo>
                  <a:cubicBezTo>
                    <a:pt x="5382" y="1550"/>
                    <a:pt x="5239" y="1610"/>
                    <a:pt x="5013" y="1729"/>
                  </a:cubicBezTo>
                  <a:lnTo>
                    <a:pt x="4465" y="883"/>
                  </a:lnTo>
                  <a:cubicBezTo>
                    <a:pt x="4655" y="800"/>
                    <a:pt x="5013" y="657"/>
                    <a:pt x="5489" y="586"/>
                  </a:cubicBezTo>
                  <a:close/>
                  <a:moveTo>
                    <a:pt x="6560" y="538"/>
                  </a:moveTo>
                  <a:lnTo>
                    <a:pt x="6560" y="538"/>
                  </a:lnTo>
                  <a:cubicBezTo>
                    <a:pt x="7108" y="598"/>
                    <a:pt x="7680" y="776"/>
                    <a:pt x="8215" y="1062"/>
                  </a:cubicBezTo>
                  <a:cubicBezTo>
                    <a:pt x="8382" y="1157"/>
                    <a:pt x="8537" y="1241"/>
                    <a:pt x="8704" y="1348"/>
                  </a:cubicBezTo>
                  <a:cubicBezTo>
                    <a:pt x="8715" y="1407"/>
                    <a:pt x="8858" y="1967"/>
                    <a:pt x="8882" y="2729"/>
                  </a:cubicBezTo>
                  <a:cubicBezTo>
                    <a:pt x="8620" y="2479"/>
                    <a:pt x="8358" y="2264"/>
                    <a:pt x="8144" y="2122"/>
                  </a:cubicBezTo>
                  <a:cubicBezTo>
                    <a:pt x="7549" y="1705"/>
                    <a:pt x="7084" y="1550"/>
                    <a:pt x="6906" y="1502"/>
                  </a:cubicBezTo>
                  <a:cubicBezTo>
                    <a:pt x="6834" y="1074"/>
                    <a:pt x="6715" y="764"/>
                    <a:pt x="6560" y="538"/>
                  </a:cubicBezTo>
                  <a:close/>
                  <a:moveTo>
                    <a:pt x="9073" y="1610"/>
                  </a:moveTo>
                  <a:cubicBezTo>
                    <a:pt x="9466" y="1907"/>
                    <a:pt x="9835" y="2253"/>
                    <a:pt x="10192" y="2669"/>
                  </a:cubicBezTo>
                  <a:cubicBezTo>
                    <a:pt x="10180" y="3146"/>
                    <a:pt x="10120" y="3610"/>
                    <a:pt x="10025" y="4038"/>
                  </a:cubicBezTo>
                  <a:cubicBezTo>
                    <a:pt x="9751" y="3646"/>
                    <a:pt x="9466" y="3324"/>
                    <a:pt x="9192" y="3038"/>
                  </a:cubicBezTo>
                  <a:cubicBezTo>
                    <a:pt x="9216" y="2443"/>
                    <a:pt x="9132" y="1943"/>
                    <a:pt x="9073" y="1610"/>
                  </a:cubicBezTo>
                  <a:close/>
                  <a:moveTo>
                    <a:pt x="2465" y="4205"/>
                  </a:moveTo>
                  <a:cubicBezTo>
                    <a:pt x="2608" y="4396"/>
                    <a:pt x="3024" y="4812"/>
                    <a:pt x="4179" y="4943"/>
                  </a:cubicBezTo>
                  <a:cubicBezTo>
                    <a:pt x="5644" y="5122"/>
                    <a:pt x="5846" y="6003"/>
                    <a:pt x="5858" y="6420"/>
                  </a:cubicBezTo>
                  <a:cubicBezTo>
                    <a:pt x="5679" y="6479"/>
                    <a:pt x="5489" y="6551"/>
                    <a:pt x="5286" y="6646"/>
                  </a:cubicBezTo>
                  <a:cubicBezTo>
                    <a:pt x="5251" y="6527"/>
                    <a:pt x="5191" y="6313"/>
                    <a:pt x="5060" y="6110"/>
                  </a:cubicBezTo>
                  <a:cubicBezTo>
                    <a:pt x="4667" y="5539"/>
                    <a:pt x="4012" y="5301"/>
                    <a:pt x="3524" y="5193"/>
                  </a:cubicBezTo>
                  <a:cubicBezTo>
                    <a:pt x="3405" y="5170"/>
                    <a:pt x="3286" y="5134"/>
                    <a:pt x="3167" y="5098"/>
                  </a:cubicBezTo>
                  <a:cubicBezTo>
                    <a:pt x="3148" y="5090"/>
                    <a:pt x="3128" y="5086"/>
                    <a:pt x="3109" y="5086"/>
                  </a:cubicBezTo>
                  <a:cubicBezTo>
                    <a:pt x="3044" y="5086"/>
                    <a:pt x="2983" y="5129"/>
                    <a:pt x="2965" y="5193"/>
                  </a:cubicBezTo>
                  <a:cubicBezTo>
                    <a:pt x="2929" y="5289"/>
                    <a:pt x="2977" y="5372"/>
                    <a:pt x="3060" y="5408"/>
                  </a:cubicBezTo>
                  <a:cubicBezTo>
                    <a:pt x="3179" y="5455"/>
                    <a:pt x="3322" y="5479"/>
                    <a:pt x="3453" y="5515"/>
                  </a:cubicBezTo>
                  <a:cubicBezTo>
                    <a:pt x="4774" y="5789"/>
                    <a:pt x="4953" y="6586"/>
                    <a:pt x="4989" y="6765"/>
                  </a:cubicBezTo>
                  <a:cubicBezTo>
                    <a:pt x="4774" y="6836"/>
                    <a:pt x="4572" y="6920"/>
                    <a:pt x="4358" y="7015"/>
                  </a:cubicBezTo>
                  <a:cubicBezTo>
                    <a:pt x="4274" y="6682"/>
                    <a:pt x="3917" y="6051"/>
                    <a:pt x="2560" y="5658"/>
                  </a:cubicBezTo>
                  <a:cubicBezTo>
                    <a:pt x="1869" y="5467"/>
                    <a:pt x="1715" y="5003"/>
                    <a:pt x="1679" y="4896"/>
                  </a:cubicBezTo>
                  <a:lnTo>
                    <a:pt x="2036" y="4586"/>
                  </a:lnTo>
                  <a:cubicBezTo>
                    <a:pt x="2096" y="4705"/>
                    <a:pt x="2203" y="4884"/>
                    <a:pt x="2405" y="5051"/>
                  </a:cubicBezTo>
                  <a:cubicBezTo>
                    <a:pt x="2441" y="5074"/>
                    <a:pt x="2465" y="5074"/>
                    <a:pt x="2512" y="5074"/>
                  </a:cubicBezTo>
                  <a:cubicBezTo>
                    <a:pt x="2560" y="5074"/>
                    <a:pt x="2608" y="5062"/>
                    <a:pt x="2631" y="5015"/>
                  </a:cubicBezTo>
                  <a:cubicBezTo>
                    <a:pt x="2691" y="4943"/>
                    <a:pt x="2679" y="4860"/>
                    <a:pt x="2619" y="4800"/>
                  </a:cubicBezTo>
                  <a:cubicBezTo>
                    <a:pt x="2369" y="4586"/>
                    <a:pt x="2310" y="4384"/>
                    <a:pt x="2286" y="4360"/>
                  </a:cubicBezTo>
                  <a:cubicBezTo>
                    <a:pt x="2346" y="4300"/>
                    <a:pt x="2405" y="4265"/>
                    <a:pt x="2465" y="4205"/>
                  </a:cubicBezTo>
                  <a:close/>
                  <a:moveTo>
                    <a:pt x="5882" y="312"/>
                  </a:moveTo>
                  <a:cubicBezTo>
                    <a:pt x="5965" y="359"/>
                    <a:pt x="6072" y="431"/>
                    <a:pt x="6191" y="550"/>
                  </a:cubicBezTo>
                  <a:cubicBezTo>
                    <a:pt x="6489" y="883"/>
                    <a:pt x="6632" y="1443"/>
                    <a:pt x="6632" y="2145"/>
                  </a:cubicBezTo>
                  <a:cubicBezTo>
                    <a:pt x="6632" y="2241"/>
                    <a:pt x="6715" y="2312"/>
                    <a:pt x="6799" y="2312"/>
                  </a:cubicBezTo>
                  <a:cubicBezTo>
                    <a:pt x="6894" y="2312"/>
                    <a:pt x="6965" y="2241"/>
                    <a:pt x="6965" y="2145"/>
                  </a:cubicBezTo>
                  <a:cubicBezTo>
                    <a:pt x="6965" y="2026"/>
                    <a:pt x="6965" y="1919"/>
                    <a:pt x="6953" y="1824"/>
                  </a:cubicBezTo>
                  <a:lnTo>
                    <a:pt x="6953" y="1824"/>
                  </a:lnTo>
                  <a:cubicBezTo>
                    <a:pt x="7156" y="1895"/>
                    <a:pt x="7525" y="2038"/>
                    <a:pt x="7989" y="2372"/>
                  </a:cubicBezTo>
                  <a:cubicBezTo>
                    <a:pt x="8323" y="2598"/>
                    <a:pt x="8620" y="2860"/>
                    <a:pt x="8894" y="3146"/>
                  </a:cubicBezTo>
                  <a:cubicBezTo>
                    <a:pt x="8882" y="3396"/>
                    <a:pt x="8870" y="3681"/>
                    <a:pt x="8811" y="3967"/>
                  </a:cubicBezTo>
                  <a:cubicBezTo>
                    <a:pt x="8799" y="4050"/>
                    <a:pt x="8858" y="4122"/>
                    <a:pt x="8942" y="4146"/>
                  </a:cubicBezTo>
                  <a:lnTo>
                    <a:pt x="8977" y="4146"/>
                  </a:lnTo>
                  <a:cubicBezTo>
                    <a:pt x="9049" y="4146"/>
                    <a:pt x="9120" y="4086"/>
                    <a:pt x="9132" y="4003"/>
                  </a:cubicBezTo>
                  <a:cubicBezTo>
                    <a:pt x="9168" y="3824"/>
                    <a:pt x="9192" y="3634"/>
                    <a:pt x="9216" y="3455"/>
                  </a:cubicBezTo>
                  <a:cubicBezTo>
                    <a:pt x="9489" y="3777"/>
                    <a:pt x="9727" y="4098"/>
                    <a:pt x="9954" y="4408"/>
                  </a:cubicBezTo>
                  <a:cubicBezTo>
                    <a:pt x="9847" y="4693"/>
                    <a:pt x="9763" y="4920"/>
                    <a:pt x="9656" y="5134"/>
                  </a:cubicBezTo>
                  <a:cubicBezTo>
                    <a:pt x="9394" y="5729"/>
                    <a:pt x="9037" y="6253"/>
                    <a:pt x="8584" y="6705"/>
                  </a:cubicBezTo>
                  <a:cubicBezTo>
                    <a:pt x="7977" y="7313"/>
                    <a:pt x="7382" y="7598"/>
                    <a:pt x="7156" y="7682"/>
                  </a:cubicBezTo>
                  <a:cubicBezTo>
                    <a:pt x="7072" y="7479"/>
                    <a:pt x="6989" y="7301"/>
                    <a:pt x="6918" y="7134"/>
                  </a:cubicBezTo>
                  <a:cubicBezTo>
                    <a:pt x="7906" y="6610"/>
                    <a:pt x="8573" y="5824"/>
                    <a:pt x="8918" y="4753"/>
                  </a:cubicBezTo>
                  <a:cubicBezTo>
                    <a:pt x="8942" y="4670"/>
                    <a:pt x="8894" y="4574"/>
                    <a:pt x="8811" y="4562"/>
                  </a:cubicBezTo>
                  <a:cubicBezTo>
                    <a:pt x="8789" y="4554"/>
                    <a:pt x="8768" y="4550"/>
                    <a:pt x="8749" y="4550"/>
                  </a:cubicBezTo>
                  <a:cubicBezTo>
                    <a:pt x="8682" y="4550"/>
                    <a:pt x="8629" y="4596"/>
                    <a:pt x="8620" y="4670"/>
                  </a:cubicBezTo>
                  <a:cubicBezTo>
                    <a:pt x="8299" y="5646"/>
                    <a:pt x="7680" y="6372"/>
                    <a:pt x="6799" y="6848"/>
                  </a:cubicBezTo>
                  <a:cubicBezTo>
                    <a:pt x="6727" y="6682"/>
                    <a:pt x="6679" y="6575"/>
                    <a:pt x="6632" y="6479"/>
                  </a:cubicBezTo>
                  <a:cubicBezTo>
                    <a:pt x="7120" y="6277"/>
                    <a:pt x="7453" y="5943"/>
                    <a:pt x="7584" y="5515"/>
                  </a:cubicBezTo>
                  <a:cubicBezTo>
                    <a:pt x="7953" y="4396"/>
                    <a:pt x="6941" y="2955"/>
                    <a:pt x="6906" y="2895"/>
                  </a:cubicBezTo>
                  <a:cubicBezTo>
                    <a:pt x="6876" y="2844"/>
                    <a:pt x="6825" y="2820"/>
                    <a:pt x="6772" y="2820"/>
                  </a:cubicBezTo>
                  <a:cubicBezTo>
                    <a:pt x="6740" y="2820"/>
                    <a:pt x="6707" y="2830"/>
                    <a:pt x="6679" y="2848"/>
                  </a:cubicBezTo>
                  <a:cubicBezTo>
                    <a:pt x="6608" y="2895"/>
                    <a:pt x="6584" y="2991"/>
                    <a:pt x="6632" y="3074"/>
                  </a:cubicBezTo>
                  <a:cubicBezTo>
                    <a:pt x="6644" y="3086"/>
                    <a:pt x="7584" y="4443"/>
                    <a:pt x="7275" y="5408"/>
                  </a:cubicBezTo>
                  <a:cubicBezTo>
                    <a:pt x="7215" y="5586"/>
                    <a:pt x="7108" y="5753"/>
                    <a:pt x="6977" y="5884"/>
                  </a:cubicBezTo>
                  <a:cubicBezTo>
                    <a:pt x="7060" y="5467"/>
                    <a:pt x="7060" y="4765"/>
                    <a:pt x="6620" y="3765"/>
                  </a:cubicBezTo>
                  <a:cubicBezTo>
                    <a:pt x="6594" y="3713"/>
                    <a:pt x="6538" y="3674"/>
                    <a:pt x="6477" y="3674"/>
                  </a:cubicBezTo>
                  <a:cubicBezTo>
                    <a:pt x="6453" y="3674"/>
                    <a:pt x="6429" y="3680"/>
                    <a:pt x="6406" y="3693"/>
                  </a:cubicBezTo>
                  <a:cubicBezTo>
                    <a:pt x="6334" y="3729"/>
                    <a:pt x="6287" y="3824"/>
                    <a:pt x="6334" y="3908"/>
                  </a:cubicBezTo>
                  <a:cubicBezTo>
                    <a:pt x="6549" y="4348"/>
                    <a:pt x="6763" y="5015"/>
                    <a:pt x="6703" y="5634"/>
                  </a:cubicBezTo>
                  <a:cubicBezTo>
                    <a:pt x="6668" y="5991"/>
                    <a:pt x="6549" y="6146"/>
                    <a:pt x="6549" y="6170"/>
                  </a:cubicBezTo>
                  <a:cubicBezTo>
                    <a:pt x="6489" y="6194"/>
                    <a:pt x="6227" y="6289"/>
                    <a:pt x="6191" y="6301"/>
                  </a:cubicBezTo>
                  <a:cubicBezTo>
                    <a:pt x="6156" y="6015"/>
                    <a:pt x="6072" y="5658"/>
                    <a:pt x="5775" y="5336"/>
                  </a:cubicBezTo>
                  <a:cubicBezTo>
                    <a:pt x="5429" y="4943"/>
                    <a:pt x="4905" y="4705"/>
                    <a:pt x="4227" y="4622"/>
                  </a:cubicBezTo>
                  <a:cubicBezTo>
                    <a:pt x="3060" y="4479"/>
                    <a:pt x="2762" y="4062"/>
                    <a:pt x="2715" y="3979"/>
                  </a:cubicBezTo>
                  <a:cubicBezTo>
                    <a:pt x="3477" y="3324"/>
                    <a:pt x="4191" y="2717"/>
                    <a:pt x="4501" y="2455"/>
                  </a:cubicBezTo>
                  <a:cubicBezTo>
                    <a:pt x="5096" y="1979"/>
                    <a:pt x="5429" y="1860"/>
                    <a:pt x="5548" y="1824"/>
                  </a:cubicBezTo>
                  <a:cubicBezTo>
                    <a:pt x="5584" y="1955"/>
                    <a:pt x="5608" y="2038"/>
                    <a:pt x="5620" y="2038"/>
                  </a:cubicBezTo>
                  <a:cubicBezTo>
                    <a:pt x="5648" y="2105"/>
                    <a:pt x="5707" y="2141"/>
                    <a:pt x="5778" y="2141"/>
                  </a:cubicBezTo>
                  <a:cubicBezTo>
                    <a:pt x="5796" y="2141"/>
                    <a:pt x="5815" y="2138"/>
                    <a:pt x="5834" y="2133"/>
                  </a:cubicBezTo>
                  <a:cubicBezTo>
                    <a:pt x="5906" y="2098"/>
                    <a:pt x="5953" y="2014"/>
                    <a:pt x="5917" y="1919"/>
                  </a:cubicBezTo>
                  <a:cubicBezTo>
                    <a:pt x="5917" y="1907"/>
                    <a:pt x="5644" y="1193"/>
                    <a:pt x="5882" y="312"/>
                  </a:cubicBezTo>
                  <a:close/>
                  <a:moveTo>
                    <a:pt x="1417" y="5098"/>
                  </a:moveTo>
                  <a:cubicBezTo>
                    <a:pt x="1512" y="5336"/>
                    <a:pt x="1786" y="5753"/>
                    <a:pt x="2453" y="5943"/>
                  </a:cubicBezTo>
                  <a:cubicBezTo>
                    <a:pt x="2917" y="6074"/>
                    <a:pt x="3536" y="6313"/>
                    <a:pt x="3870" y="6753"/>
                  </a:cubicBezTo>
                  <a:cubicBezTo>
                    <a:pt x="3989" y="6896"/>
                    <a:pt x="4036" y="7027"/>
                    <a:pt x="4048" y="7110"/>
                  </a:cubicBezTo>
                  <a:cubicBezTo>
                    <a:pt x="4048" y="7134"/>
                    <a:pt x="4036" y="7134"/>
                    <a:pt x="4036" y="7134"/>
                  </a:cubicBezTo>
                  <a:cubicBezTo>
                    <a:pt x="3381" y="7408"/>
                    <a:pt x="2750" y="7658"/>
                    <a:pt x="2346" y="7789"/>
                  </a:cubicBezTo>
                  <a:cubicBezTo>
                    <a:pt x="2324" y="7793"/>
                    <a:pt x="2302" y="7796"/>
                    <a:pt x="2281" y="7796"/>
                  </a:cubicBezTo>
                  <a:cubicBezTo>
                    <a:pt x="2246" y="7796"/>
                    <a:pt x="2213" y="7788"/>
                    <a:pt x="2191" y="7765"/>
                  </a:cubicBezTo>
                  <a:lnTo>
                    <a:pt x="1834" y="7503"/>
                  </a:lnTo>
                  <a:cubicBezTo>
                    <a:pt x="1917" y="7444"/>
                    <a:pt x="2036" y="7384"/>
                    <a:pt x="2155" y="7313"/>
                  </a:cubicBezTo>
                  <a:cubicBezTo>
                    <a:pt x="2488" y="7110"/>
                    <a:pt x="2786" y="6896"/>
                    <a:pt x="2798" y="6884"/>
                  </a:cubicBezTo>
                  <a:cubicBezTo>
                    <a:pt x="2869" y="6836"/>
                    <a:pt x="2881" y="6729"/>
                    <a:pt x="2822" y="6658"/>
                  </a:cubicBezTo>
                  <a:cubicBezTo>
                    <a:pt x="2802" y="6617"/>
                    <a:pt x="2758" y="6596"/>
                    <a:pt x="2712" y="6596"/>
                  </a:cubicBezTo>
                  <a:cubicBezTo>
                    <a:pt x="2676" y="6596"/>
                    <a:pt x="2638" y="6608"/>
                    <a:pt x="2608" y="6634"/>
                  </a:cubicBezTo>
                  <a:cubicBezTo>
                    <a:pt x="2072" y="7015"/>
                    <a:pt x="1393" y="7420"/>
                    <a:pt x="1250" y="7420"/>
                  </a:cubicBezTo>
                  <a:cubicBezTo>
                    <a:pt x="643" y="7360"/>
                    <a:pt x="357" y="6313"/>
                    <a:pt x="310" y="6194"/>
                  </a:cubicBezTo>
                  <a:cubicBezTo>
                    <a:pt x="298" y="6134"/>
                    <a:pt x="310" y="6063"/>
                    <a:pt x="369" y="6015"/>
                  </a:cubicBezTo>
                  <a:cubicBezTo>
                    <a:pt x="583" y="5836"/>
                    <a:pt x="953" y="5503"/>
                    <a:pt x="1417" y="5098"/>
                  </a:cubicBezTo>
                  <a:close/>
                  <a:moveTo>
                    <a:pt x="5797" y="0"/>
                  </a:moveTo>
                  <a:cubicBezTo>
                    <a:pt x="5725" y="0"/>
                    <a:pt x="5665" y="45"/>
                    <a:pt x="5644" y="109"/>
                  </a:cubicBezTo>
                  <a:cubicBezTo>
                    <a:pt x="5620" y="169"/>
                    <a:pt x="5608" y="217"/>
                    <a:pt x="5596" y="276"/>
                  </a:cubicBezTo>
                  <a:cubicBezTo>
                    <a:pt x="4751" y="371"/>
                    <a:pt x="4215" y="693"/>
                    <a:pt x="4179" y="705"/>
                  </a:cubicBezTo>
                  <a:cubicBezTo>
                    <a:pt x="4132" y="729"/>
                    <a:pt x="4120" y="764"/>
                    <a:pt x="4108" y="812"/>
                  </a:cubicBezTo>
                  <a:cubicBezTo>
                    <a:pt x="4096" y="848"/>
                    <a:pt x="4108" y="895"/>
                    <a:pt x="4132" y="931"/>
                  </a:cubicBezTo>
                  <a:lnTo>
                    <a:pt x="4786" y="1907"/>
                  </a:lnTo>
                  <a:cubicBezTo>
                    <a:pt x="4655" y="2003"/>
                    <a:pt x="4513" y="2098"/>
                    <a:pt x="4346" y="2241"/>
                  </a:cubicBezTo>
                  <a:cubicBezTo>
                    <a:pt x="3620" y="2812"/>
                    <a:pt x="893" y="5193"/>
                    <a:pt x="191" y="5813"/>
                  </a:cubicBezTo>
                  <a:cubicBezTo>
                    <a:pt x="60" y="5932"/>
                    <a:pt x="0" y="6122"/>
                    <a:pt x="48" y="6313"/>
                  </a:cubicBezTo>
                  <a:cubicBezTo>
                    <a:pt x="83" y="6467"/>
                    <a:pt x="191" y="6825"/>
                    <a:pt x="405" y="7146"/>
                  </a:cubicBezTo>
                  <a:cubicBezTo>
                    <a:pt x="643" y="7515"/>
                    <a:pt x="917" y="7729"/>
                    <a:pt x="1250" y="7753"/>
                  </a:cubicBezTo>
                  <a:lnTo>
                    <a:pt x="1274" y="7753"/>
                  </a:lnTo>
                  <a:cubicBezTo>
                    <a:pt x="1334" y="7753"/>
                    <a:pt x="1417" y="7741"/>
                    <a:pt x="1536" y="7694"/>
                  </a:cubicBezTo>
                  <a:lnTo>
                    <a:pt x="2024" y="8039"/>
                  </a:lnTo>
                  <a:cubicBezTo>
                    <a:pt x="2107" y="8099"/>
                    <a:pt x="2215" y="8134"/>
                    <a:pt x="2310" y="8134"/>
                  </a:cubicBezTo>
                  <a:cubicBezTo>
                    <a:pt x="2369" y="8134"/>
                    <a:pt x="2405" y="8110"/>
                    <a:pt x="2465" y="8099"/>
                  </a:cubicBezTo>
                  <a:cubicBezTo>
                    <a:pt x="2881" y="7956"/>
                    <a:pt x="3512" y="7694"/>
                    <a:pt x="4167" y="7432"/>
                  </a:cubicBezTo>
                  <a:cubicBezTo>
                    <a:pt x="4953" y="7122"/>
                    <a:pt x="5775" y="6777"/>
                    <a:pt x="6358" y="6586"/>
                  </a:cubicBezTo>
                  <a:cubicBezTo>
                    <a:pt x="6537" y="6979"/>
                    <a:pt x="7251" y="8610"/>
                    <a:pt x="7846" y="10230"/>
                  </a:cubicBezTo>
                  <a:cubicBezTo>
                    <a:pt x="7870" y="10289"/>
                    <a:pt x="7930" y="10337"/>
                    <a:pt x="7989" y="10337"/>
                  </a:cubicBezTo>
                  <a:cubicBezTo>
                    <a:pt x="8001" y="10337"/>
                    <a:pt x="8025" y="10337"/>
                    <a:pt x="8049" y="10313"/>
                  </a:cubicBezTo>
                  <a:cubicBezTo>
                    <a:pt x="8144" y="10289"/>
                    <a:pt x="8168" y="10194"/>
                    <a:pt x="8144" y="10111"/>
                  </a:cubicBezTo>
                  <a:lnTo>
                    <a:pt x="7965" y="9622"/>
                  </a:lnTo>
                  <a:cubicBezTo>
                    <a:pt x="8215" y="9480"/>
                    <a:pt x="9275" y="8944"/>
                    <a:pt x="10120" y="8170"/>
                  </a:cubicBezTo>
                  <a:cubicBezTo>
                    <a:pt x="10180" y="8110"/>
                    <a:pt x="10192" y="8015"/>
                    <a:pt x="10132" y="7956"/>
                  </a:cubicBezTo>
                  <a:cubicBezTo>
                    <a:pt x="10097" y="7920"/>
                    <a:pt x="10044" y="7897"/>
                    <a:pt x="9995" y="7897"/>
                  </a:cubicBezTo>
                  <a:cubicBezTo>
                    <a:pt x="9962" y="7897"/>
                    <a:pt x="9930" y="7908"/>
                    <a:pt x="9906" y="7932"/>
                  </a:cubicBezTo>
                  <a:cubicBezTo>
                    <a:pt x="9120" y="8646"/>
                    <a:pt x="8144" y="9170"/>
                    <a:pt x="7858" y="9301"/>
                  </a:cubicBezTo>
                  <a:cubicBezTo>
                    <a:pt x="7787" y="9122"/>
                    <a:pt x="7727" y="8944"/>
                    <a:pt x="7644" y="8765"/>
                  </a:cubicBezTo>
                  <a:cubicBezTo>
                    <a:pt x="8025" y="8587"/>
                    <a:pt x="9180" y="7991"/>
                    <a:pt x="10049" y="6944"/>
                  </a:cubicBezTo>
                  <a:cubicBezTo>
                    <a:pt x="10108" y="6860"/>
                    <a:pt x="10085" y="6777"/>
                    <a:pt x="10025" y="6717"/>
                  </a:cubicBezTo>
                  <a:cubicBezTo>
                    <a:pt x="9993" y="6691"/>
                    <a:pt x="9958" y="6678"/>
                    <a:pt x="9925" y="6678"/>
                  </a:cubicBezTo>
                  <a:cubicBezTo>
                    <a:pt x="9883" y="6678"/>
                    <a:pt x="9844" y="6697"/>
                    <a:pt x="9811" y="6729"/>
                  </a:cubicBezTo>
                  <a:cubicBezTo>
                    <a:pt x="9001" y="7718"/>
                    <a:pt x="7906" y="8289"/>
                    <a:pt x="7525" y="8468"/>
                  </a:cubicBezTo>
                  <a:cubicBezTo>
                    <a:pt x="7453" y="8289"/>
                    <a:pt x="7382" y="8110"/>
                    <a:pt x="7322" y="7956"/>
                  </a:cubicBezTo>
                  <a:cubicBezTo>
                    <a:pt x="7572" y="7848"/>
                    <a:pt x="8203" y="7551"/>
                    <a:pt x="8835" y="6908"/>
                  </a:cubicBezTo>
                  <a:cubicBezTo>
                    <a:pt x="9311" y="6432"/>
                    <a:pt x="9704" y="5884"/>
                    <a:pt x="9989" y="5253"/>
                  </a:cubicBezTo>
                  <a:cubicBezTo>
                    <a:pt x="10061" y="5098"/>
                    <a:pt x="10120" y="4931"/>
                    <a:pt x="10180" y="4765"/>
                  </a:cubicBezTo>
                  <a:cubicBezTo>
                    <a:pt x="10323" y="4991"/>
                    <a:pt x="10442" y="5193"/>
                    <a:pt x="10561" y="5408"/>
                  </a:cubicBezTo>
                  <a:cubicBezTo>
                    <a:pt x="10478" y="5658"/>
                    <a:pt x="10370" y="5908"/>
                    <a:pt x="10239" y="6146"/>
                  </a:cubicBezTo>
                  <a:cubicBezTo>
                    <a:pt x="10192" y="6229"/>
                    <a:pt x="10228" y="6324"/>
                    <a:pt x="10299" y="6372"/>
                  </a:cubicBezTo>
                  <a:cubicBezTo>
                    <a:pt x="10323" y="6384"/>
                    <a:pt x="10359" y="6384"/>
                    <a:pt x="10370" y="6384"/>
                  </a:cubicBezTo>
                  <a:cubicBezTo>
                    <a:pt x="10430" y="6384"/>
                    <a:pt x="10478" y="6360"/>
                    <a:pt x="10501" y="6313"/>
                  </a:cubicBezTo>
                  <a:cubicBezTo>
                    <a:pt x="10668" y="6027"/>
                    <a:pt x="10799" y="5729"/>
                    <a:pt x="10894" y="5455"/>
                  </a:cubicBezTo>
                  <a:lnTo>
                    <a:pt x="10894" y="5432"/>
                  </a:lnTo>
                  <a:lnTo>
                    <a:pt x="10894" y="5420"/>
                  </a:lnTo>
                  <a:lnTo>
                    <a:pt x="10859" y="5408"/>
                  </a:lnTo>
                  <a:lnTo>
                    <a:pt x="10859" y="5396"/>
                  </a:lnTo>
                  <a:lnTo>
                    <a:pt x="10859" y="5372"/>
                  </a:lnTo>
                  <a:lnTo>
                    <a:pt x="10859" y="5360"/>
                  </a:lnTo>
                  <a:lnTo>
                    <a:pt x="10859" y="5348"/>
                  </a:lnTo>
                  <a:cubicBezTo>
                    <a:pt x="10668" y="5003"/>
                    <a:pt x="10478" y="4693"/>
                    <a:pt x="10299" y="4408"/>
                  </a:cubicBezTo>
                  <a:cubicBezTo>
                    <a:pt x="10418" y="3979"/>
                    <a:pt x="10489" y="3527"/>
                    <a:pt x="10525" y="3050"/>
                  </a:cubicBezTo>
                  <a:cubicBezTo>
                    <a:pt x="10549" y="3086"/>
                    <a:pt x="10561" y="3110"/>
                    <a:pt x="10597" y="3157"/>
                  </a:cubicBezTo>
                  <a:cubicBezTo>
                    <a:pt x="10620" y="3205"/>
                    <a:pt x="10668" y="3217"/>
                    <a:pt x="10716" y="3217"/>
                  </a:cubicBezTo>
                  <a:cubicBezTo>
                    <a:pt x="10740" y="3217"/>
                    <a:pt x="10787" y="3205"/>
                    <a:pt x="10823" y="3193"/>
                  </a:cubicBezTo>
                  <a:cubicBezTo>
                    <a:pt x="10894" y="3134"/>
                    <a:pt x="10894" y="3038"/>
                    <a:pt x="10847" y="2967"/>
                  </a:cubicBezTo>
                  <a:cubicBezTo>
                    <a:pt x="10085" y="1979"/>
                    <a:pt x="9251" y="1264"/>
                    <a:pt x="8394" y="812"/>
                  </a:cubicBezTo>
                  <a:cubicBezTo>
                    <a:pt x="7703" y="455"/>
                    <a:pt x="6989" y="252"/>
                    <a:pt x="6275" y="240"/>
                  </a:cubicBezTo>
                  <a:cubicBezTo>
                    <a:pt x="6037" y="50"/>
                    <a:pt x="5834" y="14"/>
                    <a:pt x="5822" y="2"/>
                  </a:cubicBezTo>
                  <a:cubicBezTo>
                    <a:pt x="5814" y="1"/>
                    <a:pt x="5805" y="0"/>
                    <a:pt x="57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7" name="Google Shape;13007;p63"/>
            <p:cNvSpPr/>
            <p:nvPr/>
          </p:nvSpPr>
          <p:spPr>
            <a:xfrm>
              <a:off x="3927757" y="1737234"/>
              <a:ext cx="18720" cy="19104"/>
            </a:xfrm>
            <a:custGeom>
              <a:avLst/>
              <a:gdLst/>
              <a:ahLst/>
              <a:cxnLst/>
              <a:rect l="l" t="t" r="r" b="b"/>
              <a:pathLst>
                <a:path w="585" h="597" extrusionOk="0">
                  <a:moveTo>
                    <a:pt x="404" y="0"/>
                  </a:moveTo>
                  <a:cubicBezTo>
                    <a:pt x="349" y="0"/>
                    <a:pt x="294" y="26"/>
                    <a:pt x="263" y="73"/>
                  </a:cubicBezTo>
                  <a:cubicBezTo>
                    <a:pt x="203" y="168"/>
                    <a:pt x="132" y="251"/>
                    <a:pt x="61" y="346"/>
                  </a:cubicBezTo>
                  <a:cubicBezTo>
                    <a:pt x="1" y="418"/>
                    <a:pt x="13" y="501"/>
                    <a:pt x="72" y="561"/>
                  </a:cubicBezTo>
                  <a:cubicBezTo>
                    <a:pt x="108" y="597"/>
                    <a:pt x="132" y="597"/>
                    <a:pt x="180" y="597"/>
                  </a:cubicBezTo>
                  <a:cubicBezTo>
                    <a:pt x="227" y="597"/>
                    <a:pt x="263" y="573"/>
                    <a:pt x="299" y="537"/>
                  </a:cubicBezTo>
                  <a:cubicBezTo>
                    <a:pt x="382" y="430"/>
                    <a:pt x="465" y="346"/>
                    <a:pt x="525" y="239"/>
                  </a:cubicBezTo>
                  <a:cubicBezTo>
                    <a:pt x="584" y="180"/>
                    <a:pt x="561" y="73"/>
                    <a:pt x="489" y="25"/>
                  </a:cubicBezTo>
                  <a:cubicBezTo>
                    <a:pt x="464" y="8"/>
                    <a:pt x="434" y="0"/>
                    <a:pt x="4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08" name="Google Shape;13008;p63"/>
          <p:cNvGrpSpPr/>
          <p:nvPr/>
        </p:nvGrpSpPr>
        <p:grpSpPr>
          <a:xfrm>
            <a:off x="5246797" y="1500658"/>
            <a:ext cx="347872" cy="347488"/>
            <a:chOff x="5246797" y="1500658"/>
            <a:chExt cx="347872" cy="347488"/>
          </a:xfrm>
        </p:grpSpPr>
        <p:sp>
          <p:nvSpPr>
            <p:cNvPr id="13009" name="Google Shape;13009;p63"/>
            <p:cNvSpPr/>
            <p:nvPr/>
          </p:nvSpPr>
          <p:spPr>
            <a:xfrm>
              <a:off x="5246797" y="1500658"/>
              <a:ext cx="347872" cy="347488"/>
            </a:xfrm>
            <a:custGeom>
              <a:avLst/>
              <a:gdLst/>
              <a:ahLst/>
              <a:cxnLst/>
              <a:rect l="l" t="t" r="r" b="b"/>
              <a:pathLst>
                <a:path w="10871" h="10859" extrusionOk="0">
                  <a:moveTo>
                    <a:pt x="2024" y="989"/>
                  </a:moveTo>
                  <a:cubicBezTo>
                    <a:pt x="2441" y="989"/>
                    <a:pt x="2822" y="1251"/>
                    <a:pt x="2977" y="1620"/>
                  </a:cubicBezTo>
                  <a:cubicBezTo>
                    <a:pt x="2560" y="1834"/>
                    <a:pt x="2179" y="2120"/>
                    <a:pt x="1834" y="2453"/>
                  </a:cubicBezTo>
                  <a:cubicBezTo>
                    <a:pt x="1703" y="2584"/>
                    <a:pt x="1572" y="2715"/>
                    <a:pt x="1453" y="2870"/>
                  </a:cubicBezTo>
                  <a:cubicBezTo>
                    <a:pt x="1167" y="2679"/>
                    <a:pt x="1001" y="2358"/>
                    <a:pt x="1001" y="2024"/>
                  </a:cubicBezTo>
                  <a:cubicBezTo>
                    <a:pt x="1001" y="1453"/>
                    <a:pt x="1465" y="989"/>
                    <a:pt x="2024" y="989"/>
                  </a:cubicBezTo>
                  <a:close/>
                  <a:moveTo>
                    <a:pt x="2024" y="310"/>
                  </a:moveTo>
                  <a:cubicBezTo>
                    <a:pt x="2715" y="310"/>
                    <a:pt x="3322" y="715"/>
                    <a:pt x="3608" y="1334"/>
                  </a:cubicBezTo>
                  <a:cubicBezTo>
                    <a:pt x="3489" y="1382"/>
                    <a:pt x="3382" y="1429"/>
                    <a:pt x="3275" y="1465"/>
                  </a:cubicBezTo>
                  <a:cubicBezTo>
                    <a:pt x="3072" y="977"/>
                    <a:pt x="2572" y="667"/>
                    <a:pt x="2036" y="667"/>
                  </a:cubicBezTo>
                  <a:cubicBezTo>
                    <a:pt x="1298" y="667"/>
                    <a:pt x="691" y="1274"/>
                    <a:pt x="691" y="2013"/>
                  </a:cubicBezTo>
                  <a:cubicBezTo>
                    <a:pt x="691" y="2465"/>
                    <a:pt x="893" y="2870"/>
                    <a:pt x="1251" y="3120"/>
                  </a:cubicBezTo>
                  <a:cubicBezTo>
                    <a:pt x="1179" y="3227"/>
                    <a:pt x="1120" y="3310"/>
                    <a:pt x="1048" y="3418"/>
                  </a:cubicBezTo>
                  <a:cubicBezTo>
                    <a:pt x="596" y="3108"/>
                    <a:pt x="310" y="2584"/>
                    <a:pt x="310" y="2024"/>
                  </a:cubicBezTo>
                  <a:cubicBezTo>
                    <a:pt x="310" y="1084"/>
                    <a:pt x="1096" y="310"/>
                    <a:pt x="2024" y="310"/>
                  </a:cubicBezTo>
                  <a:close/>
                  <a:moveTo>
                    <a:pt x="8847" y="310"/>
                  </a:moveTo>
                  <a:cubicBezTo>
                    <a:pt x="9787" y="310"/>
                    <a:pt x="10561" y="1084"/>
                    <a:pt x="10561" y="2024"/>
                  </a:cubicBezTo>
                  <a:cubicBezTo>
                    <a:pt x="10561" y="2584"/>
                    <a:pt x="10276" y="3108"/>
                    <a:pt x="9823" y="3418"/>
                  </a:cubicBezTo>
                  <a:cubicBezTo>
                    <a:pt x="9764" y="3310"/>
                    <a:pt x="9692" y="3215"/>
                    <a:pt x="9621" y="3120"/>
                  </a:cubicBezTo>
                  <a:cubicBezTo>
                    <a:pt x="9978" y="2870"/>
                    <a:pt x="10180" y="2465"/>
                    <a:pt x="10180" y="2024"/>
                  </a:cubicBezTo>
                  <a:cubicBezTo>
                    <a:pt x="10180" y="1846"/>
                    <a:pt x="10156" y="1667"/>
                    <a:pt x="10073" y="1501"/>
                  </a:cubicBezTo>
                  <a:cubicBezTo>
                    <a:pt x="10054" y="1442"/>
                    <a:pt x="9977" y="1399"/>
                    <a:pt x="9911" y="1399"/>
                  </a:cubicBezTo>
                  <a:cubicBezTo>
                    <a:pt x="9897" y="1399"/>
                    <a:pt x="9883" y="1401"/>
                    <a:pt x="9871" y="1405"/>
                  </a:cubicBezTo>
                  <a:cubicBezTo>
                    <a:pt x="9799" y="1441"/>
                    <a:pt x="9752" y="1536"/>
                    <a:pt x="9775" y="1620"/>
                  </a:cubicBezTo>
                  <a:cubicBezTo>
                    <a:pt x="9835" y="1751"/>
                    <a:pt x="9859" y="1882"/>
                    <a:pt x="9859" y="2013"/>
                  </a:cubicBezTo>
                  <a:cubicBezTo>
                    <a:pt x="9859" y="2358"/>
                    <a:pt x="9692" y="2667"/>
                    <a:pt x="9406" y="2870"/>
                  </a:cubicBezTo>
                  <a:cubicBezTo>
                    <a:pt x="9287" y="2715"/>
                    <a:pt x="9156" y="2584"/>
                    <a:pt x="9025" y="2453"/>
                  </a:cubicBezTo>
                  <a:cubicBezTo>
                    <a:pt x="8680" y="2120"/>
                    <a:pt x="8287" y="1834"/>
                    <a:pt x="7870" y="1620"/>
                  </a:cubicBezTo>
                  <a:cubicBezTo>
                    <a:pt x="8037" y="1239"/>
                    <a:pt x="8406" y="989"/>
                    <a:pt x="8835" y="989"/>
                  </a:cubicBezTo>
                  <a:cubicBezTo>
                    <a:pt x="9013" y="989"/>
                    <a:pt x="9204" y="1036"/>
                    <a:pt x="9347" y="1143"/>
                  </a:cubicBezTo>
                  <a:cubicBezTo>
                    <a:pt x="9373" y="1154"/>
                    <a:pt x="9400" y="1160"/>
                    <a:pt x="9426" y="1160"/>
                  </a:cubicBezTo>
                  <a:cubicBezTo>
                    <a:pt x="9485" y="1160"/>
                    <a:pt x="9540" y="1133"/>
                    <a:pt x="9573" y="1084"/>
                  </a:cubicBezTo>
                  <a:cubicBezTo>
                    <a:pt x="9621" y="1001"/>
                    <a:pt x="9585" y="905"/>
                    <a:pt x="9514" y="858"/>
                  </a:cubicBezTo>
                  <a:cubicBezTo>
                    <a:pt x="9299" y="739"/>
                    <a:pt x="9061" y="667"/>
                    <a:pt x="8835" y="667"/>
                  </a:cubicBezTo>
                  <a:cubicBezTo>
                    <a:pt x="8299" y="667"/>
                    <a:pt x="7799" y="977"/>
                    <a:pt x="7597" y="1465"/>
                  </a:cubicBezTo>
                  <a:cubicBezTo>
                    <a:pt x="7489" y="1417"/>
                    <a:pt x="7370" y="1382"/>
                    <a:pt x="7263" y="1334"/>
                  </a:cubicBezTo>
                  <a:cubicBezTo>
                    <a:pt x="7537" y="727"/>
                    <a:pt x="8156" y="310"/>
                    <a:pt x="8847" y="310"/>
                  </a:cubicBezTo>
                  <a:close/>
                  <a:moveTo>
                    <a:pt x="5430" y="1322"/>
                  </a:moveTo>
                  <a:cubicBezTo>
                    <a:pt x="6716" y="1322"/>
                    <a:pt x="7906" y="1798"/>
                    <a:pt x="8811" y="2679"/>
                  </a:cubicBezTo>
                  <a:cubicBezTo>
                    <a:pt x="9704" y="3548"/>
                    <a:pt x="10216" y="4715"/>
                    <a:pt x="10216" y="5930"/>
                  </a:cubicBezTo>
                  <a:cubicBezTo>
                    <a:pt x="10216" y="7168"/>
                    <a:pt x="9728" y="8311"/>
                    <a:pt x="8811" y="9192"/>
                  </a:cubicBezTo>
                  <a:cubicBezTo>
                    <a:pt x="7906" y="10073"/>
                    <a:pt x="6716" y="10549"/>
                    <a:pt x="5430" y="10549"/>
                  </a:cubicBezTo>
                  <a:cubicBezTo>
                    <a:pt x="4156" y="10549"/>
                    <a:pt x="2965" y="10073"/>
                    <a:pt x="2060" y="9192"/>
                  </a:cubicBezTo>
                  <a:cubicBezTo>
                    <a:pt x="1167" y="8323"/>
                    <a:pt x="655" y="7168"/>
                    <a:pt x="655" y="5930"/>
                  </a:cubicBezTo>
                  <a:cubicBezTo>
                    <a:pt x="655" y="4703"/>
                    <a:pt x="1143" y="3548"/>
                    <a:pt x="2060" y="2679"/>
                  </a:cubicBezTo>
                  <a:cubicBezTo>
                    <a:pt x="2965" y="1798"/>
                    <a:pt x="4156" y="1322"/>
                    <a:pt x="5430" y="1322"/>
                  </a:cubicBezTo>
                  <a:close/>
                  <a:moveTo>
                    <a:pt x="2024" y="0"/>
                  </a:moveTo>
                  <a:cubicBezTo>
                    <a:pt x="917" y="0"/>
                    <a:pt x="0" y="905"/>
                    <a:pt x="0" y="2024"/>
                  </a:cubicBezTo>
                  <a:cubicBezTo>
                    <a:pt x="0" y="2691"/>
                    <a:pt x="346" y="3334"/>
                    <a:pt x="893" y="3703"/>
                  </a:cubicBezTo>
                  <a:cubicBezTo>
                    <a:pt x="536" y="4382"/>
                    <a:pt x="346" y="5144"/>
                    <a:pt x="346" y="5930"/>
                  </a:cubicBezTo>
                  <a:cubicBezTo>
                    <a:pt x="346" y="7239"/>
                    <a:pt x="881" y="8490"/>
                    <a:pt x="1834" y="9418"/>
                  </a:cubicBezTo>
                  <a:cubicBezTo>
                    <a:pt x="2798" y="10335"/>
                    <a:pt x="4072" y="10859"/>
                    <a:pt x="5442" y="10859"/>
                  </a:cubicBezTo>
                  <a:cubicBezTo>
                    <a:pt x="6811" y="10859"/>
                    <a:pt x="8073" y="10359"/>
                    <a:pt x="9037" y="9418"/>
                  </a:cubicBezTo>
                  <a:cubicBezTo>
                    <a:pt x="10002" y="8490"/>
                    <a:pt x="10526" y="7239"/>
                    <a:pt x="10526" y="5930"/>
                  </a:cubicBezTo>
                  <a:cubicBezTo>
                    <a:pt x="10526" y="5144"/>
                    <a:pt x="10335" y="4382"/>
                    <a:pt x="9978" y="3703"/>
                  </a:cubicBezTo>
                  <a:cubicBezTo>
                    <a:pt x="10526" y="3322"/>
                    <a:pt x="10871" y="2703"/>
                    <a:pt x="10871" y="2024"/>
                  </a:cubicBezTo>
                  <a:cubicBezTo>
                    <a:pt x="10871" y="905"/>
                    <a:pt x="9966" y="0"/>
                    <a:pt x="8847" y="0"/>
                  </a:cubicBezTo>
                  <a:cubicBezTo>
                    <a:pt x="8025" y="0"/>
                    <a:pt x="7287" y="489"/>
                    <a:pt x="6966" y="1251"/>
                  </a:cubicBezTo>
                  <a:cubicBezTo>
                    <a:pt x="6477" y="1096"/>
                    <a:pt x="5977" y="1024"/>
                    <a:pt x="5442" y="1024"/>
                  </a:cubicBezTo>
                  <a:cubicBezTo>
                    <a:pt x="4918" y="1024"/>
                    <a:pt x="4394" y="1096"/>
                    <a:pt x="3906" y="1251"/>
                  </a:cubicBezTo>
                  <a:cubicBezTo>
                    <a:pt x="3596" y="500"/>
                    <a:pt x="2846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0" name="Google Shape;13010;p63"/>
            <p:cNvSpPr/>
            <p:nvPr/>
          </p:nvSpPr>
          <p:spPr>
            <a:xfrm>
              <a:off x="5333677" y="1663346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7" y="596"/>
                    <a:pt x="1274" y="524"/>
                    <a:pt x="1191" y="524"/>
                  </a:cubicBezTo>
                  <a:cubicBezTo>
                    <a:pt x="1095" y="524"/>
                    <a:pt x="1024" y="596"/>
                    <a:pt x="1024" y="691"/>
                  </a:cubicBezTo>
                  <a:lnTo>
                    <a:pt x="1024" y="846"/>
                  </a:lnTo>
                  <a:cubicBezTo>
                    <a:pt x="1024" y="1048"/>
                    <a:pt x="857" y="1203"/>
                    <a:pt x="667" y="1203"/>
                  </a:cubicBezTo>
                  <a:cubicBezTo>
                    <a:pt x="476" y="1203"/>
                    <a:pt x="310" y="1048"/>
                    <a:pt x="310" y="846"/>
                  </a:cubicBezTo>
                  <a:lnTo>
                    <a:pt x="310" y="691"/>
                  </a:lnTo>
                  <a:cubicBezTo>
                    <a:pt x="310" y="489"/>
                    <a:pt x="476" y="334"/>
                    <a:pt x="667" y="334"/>
                  </a:cubicBezTo>
                  <a:cubicBezTo>
                    <a:pt x="762" y="334"/>
                    <a:pt x="833" y="250"/>
                    <a:pt x="833" y="167"/>
                  </a:cubicBezTo>
                  <a:cubicBezTo>
                    <a:pt x="833" y="72"/>
                    <a:pt x="762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1" name="Google Shape;13011;p63"/>
            <p:cNvSpPr/>
            <p:nvPr/>
          </p:nvSpPr>
          <p:spPr>
            <a:xfrm>
              <a:off x="5463949" y="1663346"/>
              <a:ext cx="43488" cy="48032"/>
            </a:xfrm>
            <a:custGeom>
              <a:avLst/>
              <a:gdLst/>
              <a:ahLst/>
              <a:cxnLst/>
              <a:rect l="l" t="t" r="r" b="b"/>
              <a:pathLst>
                <a:path w="1359" h="150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9" y="1501"/>
                    <a:pt x="668" y="1501"/>
                  </a:cubicBezTo>
                  <a:cubicBezTo>
                    <a:pt x="1049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7" y="524"/>
                    <a:pt x="1192" y="524"/>
                  </a:cubicBezTo>
                  <a:cubicBezTo>
                    <a:pt x="1108" y="524"/>
                    <a:pt x="1037" y="596"/>
                    <a:pt x="1037" y="691"/>
                  </a:cubicBezTo>
                  <a:lnTo>
                    <a:pt x="1037" y="846"/>
                  </a:lnTo>
                  <a:cubicBezTo>
                    <a:pt x="1037" y="1048"/>
                    <a:pt x="870" y="1203"/>
                    <a:pt x="668" y="1203"/>
                  </a:cubicBezTo>
                  <a:cubicBezTo>
                    <a:pt x="477" y="1203"/>
                    <a:pt x="311" y="1048"/>
                    <a:pt x="311" y="846"/>
                  </a:cubicBezTo>
                  <a:lnTo>
                    <a:pt x="311" y="691"/>
                  </a:lnTo>
                  <a:cubicBezTo>
                    <a:pt x="311" y="489"/>
                    <a:pt x="477" y="334"/>
                    <a:pt x="668" y="334"/>
                  </a:cubicBezTo>
                  <a:cubicBezTo>
                    <a:pt x="763" y="334"/>
                    <a:pt x="834" y="250"/>
                    <a:pt x="834" y="167"/>
                  </a:cubicBezTo>
                  <a:cubicBezTo>
                    <a:pt x="834" y="72"/>
                    <a:pt x="763" y="0"/>
                    <a:pt x="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2" name="Google Shape;13012;p63"/>
            <p:cNvSpPr/>
            <p:nvPr/>
          </p:nvSpPr>
          <p:spPr>
            <a:xfrm>
              <a:off x="5365677" y="1730002"/>
              <a:ext cx="109760" cy="96064"/>
            </a:xfrm>
            <a:custGeom>
              <a:avLst/>
              <a:gdLst/>
              <a:ahLst/>
              <a:cxnLst/>
              <a:rect l="l" t="t" r="r" b="b"/>
              <a:pathLst>
                <a:path w="3430" h="3002" extrusionOk="0">
                  <a:moveTo>
                    <a:pt x="1703" y="287"/>
                  </a:moveTo>
                  <a:cubicBezTo>
                    <a:pt x="2012" y="287"/>
                    <a:pt x="2393" y="430"/>
                    <a:pt x="2393" y="644"/>
                  </a:cubicBezTo>
                  <a:cubicBezTo>
                    <a:pt x="2393" y="823"/>
                    <a:pt x="2096" y="1168"/>
                    <a:pt x="1703" y="1168"/>
                  </a:cubicBezTo>
                  <a:cubicBezTo>
                    <a:pt x="1322" y="1168"/>
                    <a:pt x="1024" y="823"/>
                    <a:pt x="1024" y="644"/>
                  </a:cubicBezTo>
                  <a:cubicBezTo>
                    <a:pt x="1024" y="430"/>
                    <a:pt x="1393" y="287"/>
                    <a:pt x="1703" y="287"/>
                  </a:cubicBezTo>
                  <a:close/>
                  <a:moveTo>
                    <a:pt x="1727" y="2025"/>
                  </a:moveTo>
                  <a:cubicBezTo>
                    <a:pt x="1822" y="2025"/>
                    <a:pt x="1917" y="2025"/>
                    <a:pt x="2024" y="2037"/>
                  </a:cubicBezTo>
                  <a:cubicBezTo>
                    <a:pt x="2179" y="2061"/>
                    <a:pt x="2319" y="2073"/>
                    <a:pt x="2447" y="2073"/>
                  </a:cubicBezTo>
                  <a:cubicBezTo>
                    <a:pt x="2575" y="2073"/>
                    <a:pt x="2691" y="2061"/>
                    <a:pt x="2798" y="2037"/>
                  </a:cubicBezTo>
                  <a:lnTo>
                    <a:pt x="2798" y="2037"/>
                  </a:lnTo>
                  <a:cubicBezTo>
                    <a:pt x="2679" y="2406"/>
                    <a:pt x="2239" y="2692"/>
                    <a:pt x="1727" y="2692"/>
                  </a:cubicBezTo>
                  <a:cubicBezTo>
                    <a:pt x="1203" y="2692"/>
                    <a:pt x="762" y="2418"/>
                    <a:pt x="655" y="2037"/>
                  </a:cubicBezTo>
                  <a:lnTo>
                    <a:pt x="655" y="2037"/>
                  </a:lnTo>
                  <a:cubicBezTo>
                    <a:pt x="756" y="2061"/>
                    <a:pt x="869" y="2073"/>
                    <a:pt x="997" y="2073"/>
                  </a:cubicBezTo>
                  <a:cubicBezTo>
                    <a:pt x="1125" y="2073"/>
                    <a:pt x="1268" y="2061"/>
                    <a:pt x="1429" y="2037"/>
                  </a:cubicBezTo>
                  <a:cubicBezTo>
                    <a:pt x="1524" y="2025"/>
                    <a:pt x="1619" y="2025"/>
                    <a:pt x="1727" y="2025"/>
                  </a:cubicBezTo>
                  <a:close/>
                  <a:moveTo>
                    <a:pt x="1703" y="1"/>
                  </a:moveTo>
                  <a:cubicBezTo>
                    <a:pt x="1143" y="1"/>
                    <a:pt x="691" y="299"/>
                    <a:pt x="691" y="668"/>
                  </a:cubicBezTo>
                  <a:cubicBezTo>
                    <a:pt x="691" y="858"/>
                    <a:pt x="810" y="1073"/>
                    <a:pt x="988" y="1239"/>
                  </a:cubicBezTo>
                  <a:cubicBezTo>
                    <a:pt x="1155" y="1370"/>
                    <a:pt x="1334" y="1454"/>
                    <a:pt x="1548" y="1501"/>
                  </a:cubicBezTo>
                  <a:lnTo>
                    <a:pt x="1548" y="1739"/>
                  </a:lnTo>
                  <a:cubicBezTo>
                    <a:pt x="1488" y="1739"/>
                    <a:pt x="1429" y="1763"/>
                    <a:pt x="1369" y="1763"/>
                  </a:cubicBezTo>
                  <a:cubicBezTo>
                    <a:pt x="1243" y="1776"/>
                    <a:pt x="1126" y="1783"/>
                    <a:pt x="1019" y="1783"/>
                  </a:cubicBezTo>
                  <a:cubicBezTo>
                    <a:pt x="723" y="1783"/>
                    <a:pt x="507" y="1731"/>
                    <a:pt x="393" y="1608"/>
                  </a:cubicBezTo>
                  <a:cubicBezTo>
                    <a:pt x="298" y="1501"/>
                    <a:pt x="322" y="1382"/>
                    <a:pt x="322" y="1370"/>
                  </a:cubicBezTo>
                  <a:cubicBezTo>
                    <a:pt x="334" y="1275"/>
                    <a:pt x="274" y="1204"/>
                    <a:pt x="203" y="1180"/>
                  </a:cubicBezTo>
                  <a:cubicBezTo>
                    <a:pt x="190" y="1176"/>
                    <a:pt x="177" y="1174"/>
                    <a:pt x="165" y="1174"/>
                  </a:cubicBezTo>
                  <a:cubicBezTo>
                    <a:pt x="95" y="1174"/>
                    <a:pt x="32" y="1228"/>
                    <a:pt x="12" y="1299"/>
                  </a:cubicBezTo>
                  <a:cubicBezTo>
                    <a:pt x="0" y="1394"/>
                    <a:pt x="0" y="1620"/>
                    <a:pt x="155" y="1799"/>
                  </a:cubicBezTo>
                  <a:cubicBezTo>
                    <a:pt x="191" y="1835"/>
                    <a:pt x="238" y="1858"/>
                    <a:pt x="262" y="1894"/>
                  </a:cubicBezTo>
                  <a:cubicBezTo>
                    <a:pt x="310" y="2513"/>
                    <a:pt x="929" y="3001"/>
                    <a:pt x="1691" y="3001"/>
                  </a:cubicBezTo>
                  <a:cubicBezTo>
                    <a:pt x="2453" y="3001"/>
                    <a:pt x="3072" y="2513"/>
                    <a:pt x="3120" y="1894"/>
                  </a:cubicBezTo>
                  <a:cubicBezTo>
                    <a:pt x="3167" y="1858"/>
                    <a:pt x="3191" y="1835"/>
                    <a:pt x="3227" y="1799"/>
                  </a:cubicBezTo>
                  <a:cubicBezTo>
                    <a:pt x="3417" y="1620"/>
                    <a:pt x="3429" y="1406"/>
                    <a:pt x="3405" y="1299"/>
                  </a:cubicBezTo>
                  <a:cubicBezTo>
                    <a:pt x="3396" y="1223"/>
                    <a:pt x="3333" y="1169"/>
                    <a:pt x="3266" y="1169"/>
                  </a:cubicBezTo>
                  <a:cubicBezTo>
                    <a:pt x="3249" y="1169"/>
                    <a:pt x="3232" y="1173"/>
                    <a:pt x="3215" y="1180"/>
                  </a:cubicBezTo>
                  <a:cubicBezTo>
                    <a:pt x="3120" y="1192"/>
                    <a:pt x="3060" y="1275"/>
                    <a:pt x="3096" y="1370"/>
                  </a:cubicBezTo>
                  <a:cubicBezTo>
                    <a:pt x="3096" y="1370"/>
                    <a:pt x="3108" y="1501"/>
                    <a:pt x="3012" y="1608"/>
                  </a:cubicBezTo>
                  <a:cubicBezTo>
                    <a:pt x="2905" y="1725"/>
                    <a:pt x="2682" y="1781"/>
                    <a:pt x="2375" y="1781"/>
                  </a:cubicBezTo>
                  <a:cubicBezTo>
                    <a:pt x="2275" y="1781"/>
                    <a:pt x="2165" y="1775"/>
                    <a:pt x="2048" y="1763"/>
                  </a:cubicBezTo>
                  <a:cubicBezTo>
                    <a:pt x="1989" y="1739"/>
                    <a:pt x="1929" y="1739"/>
                    <a:pt x="1869" y="1739"/>
                  </a:cubicBezTo>
                  <a:lnTo>
                    <a:pt x="1869" y="1501"/>
                  </a:lnTo>
                  <a:cubicBezTo>
                    <a:pt x="2060" y="1477"/>
                    <a:pt x="2250" y="1382"/>
                    <a:pt x="2417" y="1239"/>
                  </a:cubicBezTo>
                  <a:cubicBezTo>
                    <a:pt x="2620" y="1073"/>
                    <a:pt x="2715" y="858"/>
                    <a:pt x="2715" y="668"/>
                  </a:cubicBezTo>
                  <a:cubicBezTo>
                    <a:pt x="2715" y="299"/>
                    <a:pt x="2274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13" name="Google Shape;13013;p63"/>
          <p:cNvGrpSpPr/>
          <p:nvPr/>
        </p:nvGrpSpPr>
        <p:grpSpPr>
          <a:xfrm>
            <a:off x="5796589" y="1500658"/>
            <a:ext cx="349024" cy="346752"/>
            <a:chOff x="5796589" y="1500658"/>
            <a:chExt cx="349024" cy="346752"/>
          </a:xfrm>
        </p:grpSpPr>
        <p:sp>
          <p:nvSpPr>
            <p:cNvPr id="13014" name="Google Shape;13014;p63"/>
            <p:cNvSpPr/>
            <p:nvPr/>
          </p:nvSpPr>
          <p:spPr>
            <a:xfrm>
              <a:off x="6089933" y="1500658"/>
              <a:ext cx="11104" cy="20992"/>
            </a:xfrm>
            <a:custGeom>
              <a:avLst/>
              <a:gdLst/>
              <a:ahLst/>
              <a:cxnLst/>
              <a:rect l="l" t="t" r="r" b="b"/>
              <a:pathLst>
                <a:path w="347" h="656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155"/>
                    <a:pt x="1" y="310"/>
                    <a:pt x="13" y="500"/>
                  </a:cubicBezTo>
                  <a:cubicBezTo>
                    <a:pt x="13" y="596"/>
                    <a:pt x="84" y="655"/>
                    <a:pt x="180" y="655"/>
                  </a:cubicBezTo>
                  <a:lnTo>
                    <a:pt x="191" y="655"/>
                  </a:lnTo>
                  <a:cubicBezTo>
                    <a:pt x="287" y="655"/>
                    <a:pt x="346" y="572"/>
                    <a:pt x="346" y="489"/>
                  </a:cubicBezTo>
                  <a:cubicBezTo>
                    <a:pt x="322" y="298"/>
                    <a:pt x="322" y="155"/>
                    <a:pt x="322" y="155"/>
                  </a:cubicBez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015" name="Google Shape;13015;p63"/>
            <p:cNvGrpSpPr/>
            <p:nvPr/>
          </p:nvGrpSpPr>
          <p:grpSpPr>
            <a:xfrm>
              <a:off x="5796589" y="1500658"/>
              <a:ext cx="349024" cy="346752"/>
              <a:chOff x="5796589" y="1500658"/>
              <a:chExt cx="349024" cy="346752"/>
            </a:xfrm>
          </p:grpSpPr>
          <p:sp>
            <p:nvSpPr>
              <p:cNvPr id="13016" name="Google Shape;13016;p63"/>
              <p:cNvSpPr/>
              <p:nvPr/>
            </p:nvSpPr>
            <p:spPr>
              <a:xfrm>
                <a:off x="5893357" y="1544018"/>
                <a:ext cx="14496" cy="15328"/>
              </a:xfrm>
              <a:custGeom>
                <a:avLst/>
                <a:gdLst/>
                <a:ahLst/>
                <a:cxnLst/>
                <a:rect l="l" t="t" r="r" b="b"/>
                <a:pathLst>
                  <a:path w="453" h="479" extrusionOk="0">
                    <a:moveTo>
                      <a:pt x="271" y="1"/>
                    </a:moveTo>
                    <a:cubicBezTo>
                      <a:pt x="211" y="1"/>
                      <a:pt x="149" y="34"/>
                      <a:pt x="131" y="86"/>
                    </a:cubicBezTo>
                    <a:cubicBezTo>
                      <a:pt x="131" y="86"/>
                      <a:pt x="96" y="146"/>
                      <a:pt x="36" y="229"/>
                    </a:cubicBezTo>
                    <a:cubicBezTo>
                      <a:pt x="0" y="312"/>
                      <a:pt x="12" y="408"/>
                      <a:pt x="84" y="455"/>
                    </a:cubicBezTo>
                    <a:cubicBezTo>
                      <a:pt x="119" y="467"/>
                      <a:pt x="143" y="479"/>
                      <a:pt x="167" y="479"/>
                    </a:cubicBezTo>
                    <a:cubicBezTo>
                      <a:pt x="238" y="479"/>
                      <a:pt x="274" y="455"/>
                      <a:pt x="310" y="408"/>
                    </a:cubicBezTo>
                    <a:cubicBezTo>
                      <a:pt x="381" y="312"/>
                      <a:pt x="417" y="229"/>
                      <a:pt x="417" y="217"/>
                    </a:cubicBezTo>
                    <a:cubicBezTo>
                      <a:pt x="453" y="146"/>
                      <a:pt x="417" y="50"/>
                      <a:pt x="334" y="15"/>
                    </a:cubicBezTo>
                    <a:cubicBezTo>
                      <a:pt x="315" y="5"/>
                      <a:pt x="293" y="1"/>
                      <a:pt x="271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7" name="Google Shape;13017;p63"/>
              <p:cNvSpPr/>
              <p:nvPr/>
            </p:nvSpPr>
            <p:spPr>
              <a:xfrm>
                <a:off x="5905165" y="1696114"/>
                <a:ext cx="32416" cy="37760"/>
              </a:xfrm>
              <a:custGeom>
                <a:avLst/>
                <a:gdLst/>
                <a:ahLst/>
                <a:cxnLst/>
                <a:rect l="l" t="t" r="r" b="b"/>
                <a:pathLst>
                  <a:path w="1013" h="1180" extrusionOk="0">
                    <a:moveTo>
                      <a:pt x="524" y="334"/>
                    </a:moveTo>
                    <a:cubicBezTo>
                      <a:pt x="620" y="334"/>
                      <a:pt x="703" y="405"/>
                      <a:pt x="703" y="512"/>
                    </a:cubicBezTo>
                    <a:lnTo>
                      <a:pt x="703" y="679"/>
                    </a:lnTo>
                    <a:cubicBezTo>
                      <a:pt x="703" y="774"/>
                      <a:pt x="620" y="858"/>
                      <a:pt x="524" y="858"/>
                    </a:cubicBezTo>
                    <a:cubicBezTo>
                      <a:pt x="417" y="858"/>
                      <a:pt x="346" y="774"/>
                      <a:pt x="346" y="679"/>
                    </a:cubicBezTo>
                    <a:lnTo>
                      <a:pt x="346" y="512"/>
                    </a:lnTo>
                    <a:cubicBezTo>
                      <a:pt x="346" y="405"/>
                      <a:pt x="417" y="334"/>
                      <a:pt x="524" y="334"/>
                    </a:cubicBezTo>
                    <a:close/>
                    <a:moveTo>
                      <a:pt x="500" y="0"/>
                    </a:moveTo>
                    <a:cubicBezTo>
                      <a:pt x="239" y="0"/>
                      <a:pt x="0" y="227"/>
                      <a:pt x="0" y="512"/>
                    </a:cubicBezTo>
                    <a:lnTo>
                      <a:pt x="0" y="679"/>
                    </a:lnTo>
                    <a:cubicBezTo>
                      <a:pt x="0" y="941"/>
                      <a:pt x="215" y="1179"/>
                      <a:pt x="500" y="1179"/>
                    </a:cubicBezTo>
                    <a:cubicBezTo>
                      <a:pt x="774" y="1179"/>
                      <a:pt x="1012" y="953"/>
                      <a:pt x="1012" y="679"/>
                    </a:cubicBezTo>
                    <a:lnTo>
                      <a:pt x="1012" y="512"/>
                    </a:lnTo>
                    <a:cubicBezTo>
                      <a:pt x="1012" y="227"/>
                      <a:pt x="786" y="0"/>
                      <a:pt x="50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8" name="Google Shape;13018;p63"/>
              <p:cNvSpPr/>
              <p:nvPr/>
            </p:nvSpPr>
            <p:spPr>
              <a:xfrm>
                <a:off x="6003085" y="1696114"/>
                <a:ext cx="32416" cy="37760"/>
              </a:xfrm>
              <a:custGeom>
                <a:avLst/>
                <a:gdLst/>
                <a:ahLst/>
                <a:cxnLst/>
                <a:rect l="l" t="t" r="r" b="b"/>
                <a:pathLst>
                  <a:path w="1013" h="1180" extrusionOk="0">
                    <a:moveTo>
                      <a:pt x="512" y="334"/>
                    </a:moveTo>
                    <a:cubicBezTo>
                      <a:pt x="619" y="334"/>
                      <a:pt x="691" y="405"/>
                      <a:pt x="691" y="512"/>
                    </a:cubicBezTo>
                    <a:lnTo>
                      <a:pt x="691" y="679"/>
                    </a:lnTo>
                    <a:cubicBezTo>
                      <a:pt x="691" y="774"/>
                      <a:pt x="619" y="858"/>
                      <a:pt x="512" y="858"/>
                    </a:cubicBezTo>
                    <a:cubicBezTo>
                      <a:pt x="405" y="858"/>
                      <a:pt x="334" y="774"/>
                      <a:pt x="334" y="679"/>
                    </a:cubicBezTo>
                    <a:lnTo>
                      <a:pt x="334" y="512"/>
                    </a:lnTo>
                    <a:cubicBezTo>
                      <a:pt x="334" y="405"/>
                      <a:pt x="405" y="334"/>
                      <a:pt x="512" y="334"/>
                    </a:cubicBezTo>
                    <a:close/>
                    <a:moveTo>
                      <a:pt x="512" y="0"/>
                    </a:moveTo>
                    <a:cubicBezTo>
                      <a:pt x="238" y="0"/>
                      <a:pt x="0" y="227"/>
                      <a:pt x="0" y="512"/>
                    </a:cubicBezTo>
                    <a:lnTo>
                      <a:pt x="0" y="679"/>
                    </a:lnTo>
                    <a:cubicBezTo>
                      <a:pt x="0" y="941"/>
                      <a:pt x="227" y="1179"/>
                      <a:pt x="512" y="1179"/>
                    </a:cubicBezTo>
                    <a:cubicBezTo>
                      <a:pt x="798" y="1179"/>
                      <a:pt x="1012" y="953"/>
                      <a:pt x="1012" y="679"/>
                    </a:cubicBezTo>
                    <a:lnTo>
                      <a:pt x="1012" y="512"/>
                    </a:lnTo>
                    <a:cubicBezTo>
                      <a:pt x="1012" y="227"/>
                      <a:pt x="786" y="0"/>
                      <a:pt x="512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9" name="Google Shape;13019;p63"/>
              <p:cNvSpPr/>
              <p:nvPr/>
            </p:nvSpPr>
            <p:spPr>
              <a:xfrm>
                <a:off x="5796589" y="1500658"/>
                <a:ext cx="349024" cy="346752"/>
              </a:xfrm>
              <a:custGeom>
                <a:avLst/>
                <a:gdLst/>
                <a:ahLst/>
                <a:cxnLst/>
                <a:rect l="l" t="t" r="r" b="b"/>
                <a:pathLst>
                  <a:path w="10907" h="10836" extrusionOk="0">
                    <a:moveTo>
                      <a:pt x="8215" y="4060"/>
                    </a:moveTo>
                    <a:lnTo>
                      <a:pt x="8215" y="4060"/>
                    </a:lnTo>
                    <a:cubicBezTo>
                      <a:pt x="7977" y="4227"/>
                      <a:pt x="7739" y="4430"/>
                      <a:pt x="7525" y="4668"/>
                    </a:cubicBezTo>
                    <a:cubicBezTo>
                      <a:pt x="7453" y="4596"/>
                      <a:pt x="7382" y="4525"/>
                      <a:pt x="7287" y="4441"/>
                    </a:cubicBezTo>
                    <a:cubicBezTo>
                      <a:pt x="7513" y="4358"/>
                      <a:pt x="7823" y="4203"/>
                      <a:pt x="8215" y="4060"/>
                    </a:cubicBezTo>
                    <a:close/>
                    <a:moveTo>
                      <a:pt x="2631" y="4072"/>
                    </a:moveTo>
                    <a:lnTo>
                      <a:pt x="2631" y="4072"/>
                    </a:lnTo>
                    <a:cubicBezTo>
                      <a:pt x="3036" y="4203"/>
                      <a:pt x="3358" y="4358"/>
                      <a:pt x="3560" y="4465"/>
                    </a:cubicBezTo>
                    <a:cubicBezTo>
                      <a:pt x="3465" y="4537"/>
                      <a:pt x="3393" y="4608"/>
                      <a:pt x="3322" y="4680"/>
                    </a:cubicBezTo>
                    <a:cubicBezTo>
                      <a:pt x="3108" y="4430"/>
                      <a:pt x="2870" y="4239"/>
                      <a:pt x="2631" y="4072"/>
                    </a:cubicBezTo>
                    <a:close/>
                    <a:moveTo>
                      <a:pt x="1357" y="3775"/>
                    </a:moveTo>
                    <a:lnTo>
                      <a:pt x="1357" y="3775"/>
                    </a:lnTo>
                    <a:cubicBezTo>
                      <a:pt x="1738" y="3906"/>
                      <a:pt x="2608" y="4263"/>
                      <a:pt x="3120" y="4953"/>
                    </a:cubicBezTo>
                    <a:cubicBezTo>
                      <a:pt x="3060" y="5049"/>
                      <a:pt x="3001" y="5168"/>
                      <a:pt x="2941" y="5287"/>
                    </a:cubicBezTo>
                    <a:cubicBezTo>
                      <a:pt x="1655" y="5192"/>
                      <a:pt x="1393" y="4215"/>
                      <a:pt x="1357" y="3775"/>
                    </a:cubicBezTo>
                    <a:close/>
                    <a:moveTo>
                      <a:pt x="9513" y="3775"/>
                    </a:moveTo>
                    <a:cubicBezTo>
                      <a:pt x="9466" y="4215"/>
                      <a:pt x="9216" y="5192"/>
                      <a:pt x="7918" y="5299"/>
                    </a:cubicBezTo>
                    <a:cubicBezTo>
                      <a:pt x="7870" y="5180"/>
                      <a:pt x="7811" y="5061"/>
                      <a:pt x="7739" y="4953"/>
                    </a:cubicBezTo>
                    <a:cubicBezTo>
                      <a:pt x="8275" y="4263"/>
                      <a:pt x="9120" y="3906"/>
                      <a:pt x="9513" y="3775"/>
                    </a:cubicBezTo>
                    <a:close/>
                    <a:moveTo>
                      <a:pt x="5429" y="8823"/>
                    </a:moveTo>
                    <a:cubicBezTo>
                      <a:pt x="5775" y="8823"/>
                      <a:pt x="5953" y="8966"/>
                      <a:pt x="5953" y="9025"/>
                    </a:cubicBezTo>
                    <a:cubicBezTo>
                      <a:pt x="5953" y="9132"/>
                      <a:pt x="5727" y="9359"/>
                      <a:pt x="5429" y="9359"/>
                    </a:cubicBezTo>
                    <a:cubicBezTo>
                      <a:pt x="5132" y="9347"/>
                      <a:pt x="4906" y="9121"/>
                      <a:pt x="4906" y="9025"/>
                    </a:cubicBezTo>
                    <a:cubicBezTo>
                      <a:pt x="4906" y="8966"/>
                      <a:pt x="5084" y="8823"/>
                      <a:pt x="5429" y="8823"/>
                    </a:cubicBezTo>
                    <a:close/>
                    <a:moveTo>
                      <a:pt x="5429" y="4251"/>
                    </a:moveTo>
                    <a:cubicBezTo>
                      <a:pt x="6287" y="4251"/>
                      <a:pt x="6930" y="4465"/>
                      <a:pt x="7322" y="4918"/>
                    </a:cubicBezTo>
                    <a:cubicBezTo>
                      <a:pt x="7644" y="5311"/>
                      <a:pt x="7811" y="5894"/>
                      <a:pt x="7811" y="6620"/>
                    </a:cubicBezTo>
                    <a:cubicBezTo>
                      <a:pt x="7811" y="7442"/>
                      <a:pt x="7644" y="7644"/>
                      <a:pt x="7215" y="8168"/>
                    </a:cubicBezTo>
                    <a:cubicBezTo>
                      <a:pt x="7132" y="8287"/>
                      <a:pt x="7001" y="8418"/>
                      <a:pt x="6882" y="8585"/>
                    </a:cubicBezTo>
                    <a:cubicBezTo>
                      <a:pt x="6870" y="8537"/>
                      <a:pt x="6858" y="8478"/>
                      <a:pt x="6822" y="8430"/>
                    </a:cubicBezTo>
                    <a:cubicBezTo>
                      <a:pt x="6797" y="8379"/>
                      <a:pt x="6740" y="8339"/>
                      <a:pt x="6684" y="8339"/>
                    </a:cubicBezTo>
                    <a:cubicBezTo>
                      <a:pt x="6662" y="8339"/>
                      <a:pt x="6640" y="8345"/>
                      <a:pt x="6620" y="8359"/>
                    </a:cubicBezTo>
                    <a:cubicBezTo>
                      <a:pt x="6549" y="8406"/>
                      <a:pt x="6501" y="8490"/>
                      <a:pt x="6549" y="8561"/>
                    </a:cubicBezTo>
                    <a:cubicBezTo>
                      <a:pt x="6608" y="8668"/>
                      <a:pt x="6620" y="8787"/>
                      <a:pt x="6620" y="8906"/>
                    </a:cubicBezTo>
                    <a:cubicBezTo>
                      <a:pt x="6620" y="9502"/>
                      <a:pt x="6275" y="9823"/>
                      <a:pt x="5572" y="9847"/>
                    </a:cubicBezTo>
                    <a:lnTo>
                      <a:pt x="5572" y="9644"/>
                    </a:lnTo>
                    <a:cubicBezTo>
                      <a:pt x="5965" y="9561"/>
                      <a:pt x="6263" y="9263"/>
                      <a:pt x="6263" y="9013"/>
                    </a:cubicBezTo>
                    <a:cubicBezTo>
                      <a:pt x="6263" y="8716"/>
                      <a:pt x="5906" y="8490"/>
                      <a:pt x="5429" y="8490"/>
                    </a:cubicBezTo>
                    <a:cubicBezTo>
                      <a:pt x="4953" y="8490"/>
                      <a:pt x="4596" y="8716"/>
                      <a:pt x="4596" y="9013"/>
                    </a:cubicBezTo>
                    <a:cubicBezTo>
                      <a:pt x="4596" y="9263"/>
                      <a:pt x="4894" y="9585"/>
                      <a:pt x="5275" y="9644"/>
                    </a:cubicBezTo>
                    <a:lnTo>
                      <a:pt x="5275" y="9847"/>
                    </a:lnTo>
                    <a:cubicBezTo>
                      <a:pt x="4584" y="9799"/>
                      <a:pt x="4239" y="9502"/>
                      <a:pt x="4239" y="8906"/>
                    </a:cubicBezTo>
                    <a:cubicBezTo>
                      <a:pt x="4239" y="8382"/>
                      <a:pt x="4775" y="7954"/>
                      <a:pt x="5441" y="7954"/>
                    </a:cubicBezTo>
                    <a:cubicBezTo>
                      <a:pt x="5679" y="7954"/>
                      <a:pt x="5906" y="8013"/>
                      <a:pt x="6108" y="8120"/>
                    </a:cubicBezTo>
                    <a:cubicBezTo>
                      <a:pt x="6134" y="8135"/>
                      <a:pt x="6162" y="8142"/>
                      <a:pt x="6188" y="8142"/>
                    </a:cubicBezTo>
                    <a:cubicBezTo>
                      <a:pt x="6245" y="8142"/>
                      <a:pt x="6298" y="8110"/>
                      <a:pt x="6322" y="8061"/>
                    </a:cubicBezTo>
                    <a:cubicBezTo>
                      <a:pt x="6370" y="7990"/>
                      <a:pt x="6334" y="7882"/>
                      <a:pt x="6263" y="7859"/>
                    </a:cubicBezTo>
                    <a:cubicBezTo>
                      <a:pt x="6025" y="7716"/>
                      <a:pt x="5739" y="7656"/>
                      <a:pt x="5441" y="7656"/>
                    </a:cubicBezTo>
                    <a:cubicBezTo>
                      <a:pt x="4739" y="7656"/>
                      <a:pt x="4144" y="8061"/>
                      <a:pt x="3965" y="8597"/>
                    </a:cubicBezTo>
                    <a:cubicBezTo>
                      <a:pt x="3846" y="8430"/>
                      <a:pt x="3727" y="8299"/>
                      <a:pt x="3643" y="8180"/>
                    </a:cubicBezTo>
                    <a:cubicBezTo>
                      <a:pt x="3215" y="7644"/>
                      <a:pt x="3048" y="7454"/>
                      <a:pt x="3048" y="6632"/>
                    </a:cubicBezTo>
                    <a:cubicBezTo>
                      <a:pt x="3048" y="5894"/>
                      <a:pt x="3215" y="5323"/>
                      <a:pt x="3536" y="4942"/>
                    </a:cubicBezTo>
                    <a:cubicBezTo>
                      <a:pt x="3929" y="4477"/>
                      <a:pt x="4560" y="4251"/>
                      <a:pt x="5429" y="4251"/>
                    </a:cubicBezTo>
                    <a:close/>
                    <a:moveTo>
                      <a:pt x="4596" y="10025"/>
                    </a:moveTo>
                    <a:cubicBezTo>
                      <a:pt x="4822" y="10121"/>
                      <a:pt x="5108" y="10180"/>
                      <a:pt x="5429" y="10180"/>
                    </a:cubicBezTo>
                    <a:cubicBezTo>
                      <a:pt x="5751" y="10180"/>
                      <a:pt x="6037" y="10133"/>
                      <a:pt x="6263" y="10025"/>
                    </a:cubicBezTo>
                    <a:lnTo>
                      <a:pt x="6263" y="10025"/>
                    </a:lnTo>
                    <a:cubicBezTo>
                      <a:pt x="6179" y="10383"/>
                      <a:pt x="5906" y="10537"/>
                      <a:pt x="5429" y="10537"/>
                    </a:cubicBezTo>
                    <a:cubicBezTo>
                      <a:pt x="4953" y="10537"/>
                      <a:pt x="4691" y="10371"/>
                      <a:pt x="4596" y="10025"/>
                    </a:cubicBezTo>
                    <a:close/>
                    <a:moveTo>
                      <a:pt x="1560" y="0"/>
                    </a:moveTo>
                    <a:cubicBezTo>
                      <a:pt x="1465" y="0"/>
                      <a:pt x="1393" y="72"/>
                      <a:pt x="1393" y="155"/>
                    </a:cubicBezTo>
                    <a:cubicBezTo>
                      <a:pt x="1393" y="512"/>
                      <a:pt x="1334" y="1524"/>
                      <a:pt x="1096" y="1917"/>
                    </a:cubicBezTo>
                    <a:cubicBezTo>
                      <a:pt x="834" y="1691"/>
                      <a:pt x="619" y="1441"/>
                      <a:pt x="500" y="1120"/>
                    </a:cubicBezTo>
                    <a:cubicBezTo>
                      <a:pt x="322" y="691"/>
                      <a:pt x="357" y="346"/>
                      <a:pt x="357" y="334"/>
                    </a:cubicBezTo>
                    <a:cubicBezTo>
                      <a:pt x="369" y="250"/>
                      <a:pt x="298" y="167"/>
                      <a:pt x="214" y="155"/>
                    </a:cubicBezTo>
                    <a:cubicBezTo>
                      <a:pt x="208" y="154"/>
                      <a:pt x="202" y="154"/>
                      <a:pt x="196" y="154"/>
                    </a:cubicBezTo>
                    <a:cubicBezTo>
                      <a:pt x="121" y="154"/>
                      <a:pt x="58" y="220"/>
                      <a:pt x="36" y="286"/>
                    </a:cubicBezTo>
                    <a:cubicBezTo>
                      <a:pt x="36" y="310"/>
                      <a:pt x="0" y="727"/>
                      <a:pt x="203" y="1215"/>
                    </a:cubicBezTo>
                    <a:cubicBezTo>
                      <a:pt x="393" y="1679"/>
                      <a:pt x="834" y="2286"/>
                      <a:pt x="1858" y="2656"/>
                    </a:cubicBezTo>
                    <a:cubicBezTo>
                      <a:pt x="3286" y="3179"/>
                      <a:pt x="4084" y="3775"/>
                      <a:pt x="4382" y="4025"/>
                    </a:cubicBezTo>
                    <a:cubicBezTo>
                      <a:pt x="4227" y="4084"/>
                      <a:pt x="4060" y="4144"/>
                      <a:pt x="3905" y="4215"/>
                    </a:cubicBezTo>
                    <a:cubicBezTo>
                      <a:pt x="3596" y="4060"/>
                      <a:pt x="2417" y="3465"/>
                      <a:pt x="1250" y="3370"/>
                    </a:cubicBezTo>
                    <a:cubicBezTo>
                      <a:pt x="1203" y="3370"/>
                      <a:pt x="1155" y="3394"/>
                      <a:pt x="1131" y="3418"/>
                    </a:cubicBezTo>
                    <a:cubicBezTo>
                      <a:pt x="1096" y="3453"/>
                      <a:pt x="1084" y="3489"/>
                      <a:pt x="1072" y="3537"/>
                    </a:cubicBezTo>
                    <a:cubicBezTo>
                      <a:pt x="1072" y="3548"/>
                      <a:pt x="1048" y="4025"/>
                      <a:pt x="1286" y="4537"/>
                    </a:cubicBezTo>
                    <a:cubicBezTo>
                      <a:pt x="1500" y="4965"/>
                      <a:pt x="1941" y="5501"/>
                      <a:pt x="2893" y="5596"/>
                    </a:cubicBezTo>
                    <a:cubicBezTo>
                      <a:pt x="2822" y="5894"/>
                      <a:pt x="2774" y="6227"/>
                      <a:pt x="2774" y="6608"/>
                    </a:cubicBezTo>
                    <a:cubicBezTo>
                      <a:pt x="2774" y="7537"/>
                      <a:pt x="2989" y="7799"/>
                      <a:pt x="3453" y="8359"/>
                    </a:cubicBezTo>
                    <a:cubicBezTo>
                      <a:pt x="3596" y="8537"/>
                      <a:pt x="3774" y="8763"/>
                      <a:pt x="3989" y="9049"/>
                    </a:cubicBezTo>
                    <a:cubicBezTo>
                      <a:pt x="4013" y="9359"/>
                      <a:pt x="4120" y="9609"/>
                      <a:pt x="4322" y="9787"/>
                    </a:cubicBezTo>
                    <a:cubicBezTo>
                      <a:pt x="4346" y="10454"/>
                      <a:pt x="4763" y="10835"/>
                      <a:pt x="5501" y="10835"/>
                    </a:cubicBezTo>
                    <a:cubicBezTo>
                      <a:pt x="6251" y="10835"/>
                      <a:pt x="6668" y="10454"/>
                      <a:pt x="6680" y="9787"/>
                    </a:cubicBezTo>
                    <a:cubicBezTo>
                      <a:pt x="6870" y="9597"/>
                      <a:pt x="6989" y="9347"/>
                      <a:pt x="7025" y="9049"/>
                    </a:cubicBezTo>
                    <a:cubicBezTo>
                      <a:pt x="7227" y="8763"/>
                      <a:pt x="7406" y="8537"/>
                      <a:pt x="7561" y="8359"/>
                    </a:cubicBezTo>
                    <a:cubicBezTo>
                      <a:pt x="8013" y="7799"/>
                      <a:pt x="8227" y="7537"/>
                      <a:pt x="8227" y="6608"/>
                    </a:cubicBezTo>
                    <a:cubicBezTo>
                      <a:pt x="8227" y="6227"/>
                      <a:pt x="8180" y="5894"/>
                      <a:pt x="8108" y="5596"/>
                    </a:cubicBezTo>
                    <a:cubicBezTo>
                      <a:pt x="9061" y="5489"/>
                      <a:pt x="9501" y="4965"/>
                      <a:pt x="9716" y="4537"/>
                    </a:cubicBezTo>
                    <a:cubicBezTo>
                      <a:pt x="9954" y="4049"/>
                      <a:pt x="9942" y="3572"/>
                      <a:pt x="9942" y="3537"/>
                    </a:cubicBezTo>
                    <a:cubicBezTo>
                      <a:pt x="9942" y="3489"/>
                      <a:pt x="9918" y="3453"/>
                      <a:pt x="9882" y="3418"/>
                    </a:cubicBezTo>
                    <a:cubicBezTo>
                      <a:pt x="9847" y="3394"/>
                      <a:pt x="9799" y="3370"/>
                      <a:pt x="9763" y="3370"/>
                    </a:cubicBezTo>
                    <a:cubicBezTo>
                      <a:pt x="8585" y="3477"/>
                      <a:pt x="7406" y="4060"/>
                      <a:pt x="7096" y="4215"/>
                    </a:cubicBezTo>
                    <a:cubicBezTo>
                      <a:pt x="6941" y="4144"/>
                      <a:pt x="6799" y="4072"/>
                      <a:pt x="6620" y="4025"/>
                    </a:cubicBezTo>
                    <a:cubicBezTo>
                      <a:pt x="6918" y="3775"/>
                      <a:pt x="7703" y="3179"/>
                      <a:pt x="9144" y="2656"/>
                    </a:cubicBezTo>
                    <a:cubicBezTo>
                      <a:pt x="10180" y="2286"/>
                      <a:pt x="10609" y="1667"/>
                      <a:pt x="10799" y="1215"/>
                    </a:cubicBezTo>
                    <a:cubicBezTo>
                      <a:pt x="10906" y="739"/>
                      <a:pt x="10859" y="322"/>
                      <a:pt x="10859" y="310"/>
                    </a:cubicBezTo>
                    <a:cubicBezTo>
                      <a:pt x="10849" y="229"/>
                      <a:pt x="10795" y="174"/>
                      <a:pt x="10721" y="174"/>
                    </a:cubicBezTo>
                    <a:cubicBezTo>
                      <a:pt x="10708" y="174"/>
                      <a:pt x="10694" y="175"/>
                      <a:pt x="10680" y="179"/>
                    </a:cubicBezTo>
                    <a:cubicBezTo>
                      <a:pt x="10597" y="191"/>
                      <a:pt x="10537" y="262"/>
                      <a:pt x="10549" y="346"/>
                    </a:cubicBezTo>
                    <a:cubicBezTo>
                      <a:pt x="10549" y="346"/>
                      <a:pt x="10585" y="715"/>
                      <a:pt x="10406" y="1143"/>
                    </a:cubicBezTo>
                    <a:cubicBezTo>
                      <a:pt x="10263" y="1453"/>
                      <a:pt x="10073" y="1703"/>
                      <a:pt x="9811" y="1929"/>
                    </a:cubicBezTo>
                    <a:cubicBezTo>
                      <a:pt x="9716" y="1786"/>
                      <a:pt x="9620" y="1513"/>
                      <a:pt x="9585" y="1167"/>
                    </a:cubicBezTo>
                    <a:cubicBezTo>
                      <a:pt x="9574" y="1091"/>
                      <a:pt x="9503" y="1035"/>
                      <a:pt x="9427" y="1035"/>
                    </a:cubicBezTo>
                    <a:cubicBezTo>
                      <a:pt x="9420" y="1035"/>
                      <a:pt x="9413" y="1035"/>
                      <a:pt x="9406" y="1036"/>
                    </a:cubicBezTo>
                    <a:cubicBezTo>
                      <a:pt x="9311" y="1048"/>
                      <a:pt x="9251" y="1132"/>
                      <a:pt x="9263" y="1215"/>
                    </a:cubicBezTo>
                    <a:cubicBezTo>
                      <a:pt x="9323" y="1620"/>
                      <a:pt x="9418" y="1929"/>
                      <a:pt x="9549" y="2120"/>
                    </a:cubicBezTo>
                    <a:cubicBezTo>
                      <a:pt x="9370" y="2227"/>
                      <a:pt x="9180" y="2334"/>
                      <a:pt x="8954" y="2405"/>
                    </a:cubicBezTo>
                    <a:cubicBezTo>
                      <a:pt x="8704" y="2501"/>
                      <a:pt x="8465" y="2596"/>
                      <a:pt x="8239" y="2691"/>
                    </a:cubicBezTo>
                    <a:cubicBezTo>
                      <a:pt x="8573" y="2191"/>
                      <a:pt x="8763" y="1739"/>
                      <a:pt x="8549" y="1060"/>
                    </a:cubicBezTo>
                    <a:cubicBezTo>
                      <a:pt x="8530" y="996"/>
                      <a:pt x="8470" y="953"/>
                      <a:pt x="8410" y="953"/>
                    </a:cubicBezTo>
                    <a:cubicBezTo>
                      <a:pt x="8392" y="953"/>
                      <a:pt x="8375" y="957"/>
                      <a:pt x="8358" y="965"/>
                    </a:cubicBezTo>
                    <a:cubicBezTo>
                      <a:pt x="8275" y="989"/>
                      <a:pt x="8227" y="1084"/>
                      <a:pt x="8251" y="1155"/>
                    </a:cubicBezTo>
                    <a:cubicBezTo>
                      <a:pt x="8358" y="1513"/>
                      <a:pt x="8346" y="1798"/>
                      <a:pt x="8239" y="2060"/>
                    </a:cubicBezTo>
                    <a:cubicBezTo>
                      <a:pt x="7918" y="1870"/>
                      <a:pt x="7739" y="1489"/>
                      <a:pt x="7739" y="1465"/>
                    </a:cubicBezTo>
                    <a:cubicBezTo>
                      <a:pt x="7713" y="1413"/>
                      <a:pt x="7651" y="1374"/>
                      <a:pt x="7591" y="1374"/>
                    </a:cubicBezTo>
                    <a:cubicBezTo>
                      <a:pt x="7568" y="1374"/>
                      <a:pt x="7545" y="1380"/>
                      <a:pt x="7525" y="1393"/>
                    </a:cubicBezTo>
                    <a:cubicBezTo>
                      <a:pt x="7453" y="1417"/>
                      <a:pt x="7406" y="1524"/>
                      <a:pt x="7453" y="1596"/>
                    </a:cubicBezTo>
                    <a:cubicBezTo>
                      <a:pt x="7465" y="1620"/>
                      <a:pt x="7692" y="2096"/>
                      <a:pt x="8108" y="2346"/>
                    </a:cubicBezTo>
                    <a:cubicBezTo>
                      <a:pt x="8001" y="2525"/>
                      <a:pt x="7858" y="2715"/>
                      <a:pt x="7703" y="2929"/>
                    </a:cubicBezTo>
                    <a:lnTo>
                      <a:pt x="7656" y="2989"/>
                    </a:lnTo>
                    <a:cubicBezTo>
                      <a:pt x="6703" y="3477"/>
                      <a:pt x="6263" y="3918"/>
                      <a:pt x="6191" y="3977"/>
                    </a:cubicBezTo>
                    <a:cubicBezTo>
                      <a:pt x="5965" y="3941"/>
                      <a:pt x="5727" y="3918"/>
                      <a:pt x="5453" y="3918"/>
                    </a:cubicBezTo>
                    <a:cubicBezTo>
                      <a:pt x="5191" y="3918"/>
                      <a:pt x="4953" y="3941"/>
                      <a:pt x="4727" y="3977"/>
                    </a:cubicBezTo>
                    <a:cubicBezTo>
                      <a:pt x="4667" y="3906"/>
                      <a:pt x="4203" y="3477"/>
                      <a:pt x="3251" y="2989"/>
                    </a:cubicBezTo>
                    <a:lnTo>
                      <a:pt x="3215" y="2929"/>
                    </a:lnTo>
                    <a:cubicBezTo>
                      <a:pt x="3048" y="2715"/>
                      <a:pt x="2917" y="2536"/>
                      <a:pt x="2810" y="2346"/>
                    </a:cubicBezTo>
                    <a:cubicBezTo>
                      <a:pt x="2834" y="2334"/>
                      <a:pt x="2870" y="2310"/>
                      <a:pt x="2893" y="2286"/>
                    </a:cubicBezTo>
                    <a:cubicBezTo>
                      <a:pt x="2977" y="2239"/>
                      <a:pt x="2989" y="2132"/>
                      <a:pt x="2941" y="2060"/>
                    </a:cubicBezTo>
                    <a:cubicBezTo>
                      <a:pt x="2910" y="2014"/>
                      <a:pt x="2860" y="1993"/>
                      <a:pt x="2806" y="1993"/>
                    </a:cubicBezTo>
                    <a:cubicBezTo>
                      <a:pt x="2776" y="1993"/>
                      <a:pt x="2745" y="2000"/>
                      <a:pt x="2715" y="2013"/>
                    </a:cubicBezTo>
                    <a:cubicBezTo>
                      <a:pt x="2703" y="2036"/>
                      <a:pt x="2691" y="2036"/>
                      <a:pt x="2679" y="2048"/>
                    </a:cubicBezTo>
                    <a:cubicBezTo>
                      <a:pt x="2572" y="1774"/>
                      <a:pt x="2536" y="1501"/>
                      <a:pt x="2655" y="1143"/>
                    </a:cubicBezTo>
                    <a:cubicBezTo>
                      <a:pt x="2691" y="1048"/>
                      <a:pt x="2643" y="965"/>
                      <a:pt x="2560" y="941"/>
                    </a:cubicBezTo>
                    <a:cubicBezTo>
                      <a:pt x="2543" y="937"/>
                      <a:pt x="2527" y="935"/>
                      <a:pt x="2512" y="935"/>
                    </a:cubicBezTo>
                    <a:cubicBezTo>
                      <a:pt x="2437" y="935"/>
                      <a:pt x="2377" y="979"/>
                      <a:pt x="2358" y="1048"/>
                    </a:cubicBezTo>
                    <a:cubicBezTo>
                      <a:pt x="2155" y="1739"/>
                      <a:pt x="2346" y="2191"/>
                      <a:pt x="2679" y="2667"/>
                    </a:cubicBezTo>
                    <a:cubicBezTo>
                      <a:pt x="2453" y="2584"/>
                      <a:pt x="2215" y="2477"/>
                      <a:pt x="1965" y="2394"/>
                    </a:cubicBezTo>
                    <a:cubicBezTo>
                      <a:pt x="1738" y="2310"/>
                      <a:pt x="1548" y="2215"/>
                      <a:pt x="1369" y="2108"/>
                    </a:cubicBezTo>
                    <a:cubicBezTo>
                      <a:pt x="1727" y="1560"/>
                      <a:pt x="1727" y="215"/>
                      <a:pt x="1727" y="155"/>
                    </a:cubicBezTo>
                    <a:cubicBezTo>
                      <a:pt x="1727" y="72"/>
                      <a:pt x="1643" y="0"/>
                      <a:pt x="156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020" name="Google Shape;13020;p63"/>
          <p:cNvGrpSpPr/>
          <p:nvPr/>
        </p:nvGrpSpPr>
        <p:grpSpPr>
          <a:xfrm>
            <a:off x="6895373" y="1502578"/>
            <a:ext cx="348640" cy="343296"/>
            <a:chOff x="6895373" y="1502578"/>
            <a:chExt cx="348640" cy="343296"/>
          </a:xfrm>
        </p:grpSpPr>
        <p:sp>
          <p:nvSpPr>
            <p:cNvPr id="13021" name="Google Shape;13021;p63"/>
            <p:cNvSpPr/>
            <p:nvPr/>
          </p:nvSpPr>
          <p:spPr>
            <a:xfrm>
              <a:off x="6895373" y="1502578"/>
              <a:ext cx="348640" cy="343296"/>
            </a:xfrm>
            <a:custGeom>
              <a:avLst/>
              <a:gdLst/>
              <a:ahLst/>
              <a:cxnLst/>
              <a:rect l="l" t="t" r="r" b="b"/>
              <a:pathLst>
                <a:path w="10895" h="10728" extrusionOk="0">
                  <a:moveTo>
                    <a:pt x="1263" y="321"/>
                  </a:moveTo>
                  <a:cubicBezTo>
                    <a:pt x="1799" y="536"/>
                    <a:pt x="2834" y="1036"/>
                    <a:pt x="3823" y="2179"/>
                  </a:cubicBezTo>
                  <a:cubicBezTo>
                    <a:pt x="3596" y="2262"/>
                    <a:pt x="3370" y="2345"/>
                    <a:pt x="3168" y="2465"/>
                  </a:cubicBezTo>
                  <a:cubicBezTo>
                    <a:pt x="2334" y="1214"/>
                    <a:pt x="1501" y="548"/>
                    <a:pt x="1215" y="321"/>
                  </a:cubicBezTo>
                  <a:close/>
                  <a:moveTo>
                    <a:pt x="9681" y="310"/>
                  </a:moveTo>
                  <a:lnTo>
                    <a:pt x="9681" y="310"/>
                  </a:lnTo>
                  <a:cubicBezTo>
                    <a:pt x="9585" y="381"/>
                    <a:pt x="9419" y="512"/>
                    <a:pt x="9228" y="691"/>
                  </a:cubicBezTo>
                  <a:cubicBezTo>
                    <a:pt x="9169" y="750"/>
                    <a:pt x="9145" y="857"/>
                    <a:pt x="9204" y="917"/>
                  </a:cubicBezTo>
                  <a:cubicBezTo>
                    <a:pt x="9240" y="952"/>
                    <a:pt x="9288" y="964"/>
                    <a:pt x="9323" y="964"/>
                  </a:cubicBezTo>
                  <a:cubicBezTo>
                    <a:pt x="9371" y="964"/>
                    <a:pt x="9407" y="952"/>
                    <a:pt x="9431" y="917"/>
                  </a:cubicBezTo>
                  <a:cubicBezTo>
                    <a:pt x="9621" y="738"/>
                    <a:pt x="9788" y="619"/>
                    <a:pt x="9883" y="548"/>
                  </a:cubicBezTo>
                  <a:lnTo>
                    <a:pt x="9883" y="548"/>
                  </a:lnTo>
                  <a:cubicBezTo>
                    <a:pt x="9800" y="2036"/>
                    <a:pt x="9442" y="3238"/>
                    <a:pt x="9288" y="3667"/>
                  </a:cubicBezTo>
                  <a:cubicBezTo>
                    <a:pt x="9145" y="3524"/>
                    <a:pt x="9014" y="3393"/>
                    <a:pt x="8883" y="3250"/>
                  </a:cubicBezTo>
                  <a:cubicBezTo>
                    <a:pt x="8609" y="3000"/>
                    <a:pt x="8311" y="2774"/>
                    <a:pt x="8002" y="2596"/>
                  </a:cubicBezTo>
                  <a:cubicBezTo>
                    <a:pt x="8288" y="2179"/>
                    <a:pt x="8597" y="1798"/>
                    <a:pt x="8907" y="1441"/>
                  </a:cubicBezTo>
                  <a:cubicBezTo>
                    <a:pt x="8966" y="1381"/>
                    <a:pt x="8966" y="1274"/>
                    <a:pt x="8895" y="1214"/>
                  </a:cubicBezTo>
                  <a:cubicBezTo>
                    <a:pt x="8866" y="1186"/>
                    <a:pt x="8827" y="1171"/>
                    <a:pt x="8787" y="1171"/>
                  </a:cubicBezTo>
                  <a:cubicBezTo>
                    <a:pt x="8744" y="1171"/>
                    <a:pt x="8700" y="1189"/>
                    <a:pt x="8669" y="1226"/>
                  </a:cubicBezTo>
                  <a:cubicBezTo>
                    <a:pt x="8335" y="1607"/>
                    <a:pt x="8002" y="2024"/>
                    <a:pt x="7716" y="2453"/>
                  </a:cubicBezTo>
                  <a:cubicBezTo>
                    <a:pt x="7514" y="2345"/>
                    <a:pt x="7287" y="2238"/>
                    <a:pt x="7061" y="2167"/>
                  </a:cubicBezTo>
                  <a:cubicBezTo>
                    <a:pt x="8061" y="1048"/>
                    <a:pt x="9085" y="536"/>
                    <a:pt x="9645" y="321"/>
                  </a:cubicBezTo>
                  <a:cubicBezTo>
                    <a:pt x="9657" y="321"/>
                    <a:pt x="9669" y="310"/>
                    <a:pt x="9681" y="310"/>
                  </a:cubicBezTo>
                  <a:close/>
                  <a:moveTo>
                    <a:pt x="1025" y="571"/>
                  </a:moveTo>
                  <a:cubicBezTo>
                    <a:pt x="1287" y="774"/>
                    <a:pt x="2084" y="1429"/>
                    <a:pt x="2894" y="2631"/>
                  </a:cubicBezTo>
                  <a:cubicBezTo>
                    <a:pt x="2584" y="2810"/>
                    <a:pt x="2299" y="3036"/>
                    <a:pt x="2013" y="3286"/>
                  </a:cubicBezTo>
                  <a:cubicBezTo>
                    <a:pt x="1870" y="3417"/>
                    <a:pt x="1739" y="3548"/>
                    <a:pt x="1620" y="3703"/>
                  </a:cubicBezTo>
                  <a:cubicBezTo>
                    <a:pt x="1453" y="3250"/>
                    <a:pt x="1096" y="2060"/>
                    <a:pt x="1025" y="571"/>
                  </a:cubicBezTo>
                  <a:close/>
                  <a:moveTo>
                    <a:pt x="3291" y="4769"/>
                  </a:moveTo>
                  <a:cubicBezTo>
                    <a:pt x="3574" y="4769"/>
                    <a:pt x="3813" y="4862"/>
                    <a:pt x="4013" y="5024"/>
                  </a:cubicBezTo>
                  <a:cubicBezTo>
                    <a:pt x="4287" y="5251"/>
                    <a:pt x="4430" y="5608"/>
                    <a:pt x="4430" y="5989"/>
                  </a:cubicBezTo>
                  <a:cubicBezTo>
                    <a:pt x="4430" y="6465"/>
                    <a:pt x="4227" y="6989"/>
                    <a:pt x="4013" y="7477"/>
                  </a:cubicBezTo>
                  <a:cubicBezTo>
                    <a:pt x="3811" y="8001"/>
                    <a:pt x="3585" y="8525"/>
                    <a:pt x="3585" y="9061"/>
                  </a:cubicBezTo>
                  <a:lnTo>
                    <a:pt x="3585" y="9108"/>
                  </a:lnTo>
                  <a:cubicBezTo>
                    <a:pt x="2715" y="8668"/>
                    <a:pt x="1668" y="8334"/>
                    <a:pt x="1275" y="8191"/>
                  </a:cubicBezTo>
                  <a:lnTo>
                    <a:pt x="1430" y="7560"/>
                  </a:lnTo>
                  <a:cubicBezTo>
                    <a:pt x="1441" y="7477"/>
                    <a:pt x="1406" y="7406"/>
                    <a:pt x="1334" y="7382"/>
                  </a:cubicBezTo>
                  <a:cubicBezTo>
                    <a:pt x="1227" y="7334"/>
                    <a:pt x="715" y="7168"/>
                    <a:pt x="394" y="7084"/>
                  </a:cubicBezTo>
                  <a:cubicBezTo>
                    <a:pt x="953" y="6096"/>
                    <a:pt x="1846" y="4965"/>
                    <a:pt x="3073" y="4786"/>
                  </a:cubicBezTo>
                  <a:cubicBezTo>
                    <a:pt x="3148" y="4774"/>
                    <a:pt x="3221" y="4769"/>
                    <a:pt x="3291" y="4769"/>
                  </a:cubicBezTo>
                  <a:close/>
                  <a:moveTo>
                    <a:pt x="7599" y="4760"/>
                  </a:moveTo>
                  <a:cubicBezTo>
                    <a:pt x="7668" y="4760"/>
                    <a:pt x="7739" y="4765"/>
                    <a:pt x="7811" y="4774"/>
                  </a:cubicBezTo>
                  <a:cubicBezTo>
                    <a:pt x="9050" y="4953"/>
                    <a:pt x="9942" y="6084"/>
                    <a:pt x="10490" y="7060"/>
                  </a:cubicBezTo>
                  <a:cubicBezTo>
                    <a:pt x="10181" y="7168"/>
                    <a:pt x="9645" y="7334"/>
                    <a:pt x="9550" y="7382"/>
                  </a:cubicBezTo>
                  <a:cubicBezTo>
                    <a:pt x="9478" y="7406"/>
                    <a:pt x="9442" y="7477"/>
                    <a:pt x="9466" y="7560"/>
                  </a:cubicBezTo>
                  <a:lnTo>
                    <a:pt x="9609" y="8191"/>
                  </a:lnTo>
                  <a:cubicBezTo>
                    <a:pt x="9228" y="8311"/>
                    <a:pt x="8168" y="8668"/>
                    <a:pt x="7299" y="9108"/>
                  </a:cubicBezTo>
                  <a:lnTo>
                    <a:pt x="7299" y="9049"/>
                  </a:lnTo>
                  <a:cubicBezTo>
                    <a:pt x="7299" y="8525"/>
                    <a:pt x="7085" y="7989"/>
                    <a:pt x="6871" y="7465"/>
                  </a:cubicBezTo>
                  <a:cubicBezTo>
                    <a:pt x="6668" y="6977"/>
                    <a:pt x="6454" y="6453"/>
                    <a:pt x="6454" y="5977"/>
                  </a:cubicBezTo>
                  <a:cubicBezTo>
                    <a:pt x="6454" y="5596"/>
                    <a:pt x="6609" y="5239"/>
                    <a:pt x="6871" y="5012"/>
                  </a:cubicBezTo>
                  <a:cubicBezTo>
                    <a:pt x="7062" y="4840"/>
                    <a:pt x="7315" y="4760"/>
                    <a:pt x="7599" y="4760"/>
                  </a:cubicBezTo>
                  <a:close/>
                  <a:moveTo>
                    <a:pt x="5430" y="8358"/>
                  </a:moveTo>
                  <a:cubicBezTo>
                    <a:pt x="5799" y="8358"/>
                    <a:pt x="6132" y="8549"/>
                    <a:pt x="6132" y="8763"/>
                  </a:cubicBezTo>
                  <a:cubicBezTo>
                    <a:pt x="6132" y="8953"/>
                    <a:pt x="5835" y="9084"/>
                    <a:pt x="5609" y="9192"/>
                  </a:cubicBezTo>
                  <a:lnTo>
                    <a:pt x="5597" y="9192"/>
                  </a:lnTo>
                  <a:cubicBezTo>
                    <a:pt x="5549" y="9215"/>
                    <a:pt x="5493" y="9227"/>
                    <a:pt x="5434" y="9227"/>
                  </a:cubicBezTo>
                  <a:cubicBezTo>
                    <a:pt x="5376" y="9227"/>
                    <a:pt x="5317" y="9215"/>
                    <a:pt x="5263" y="9192"/>
                  </a:cubicBezTo>
                  <a:cubicBezTo>
                    <a:pt x="5037" y="9084"/>
                    <a:pt x="4728" y="8953"/>
                    <a:pt x="4728" y="8763"/>
                  </a:cubicBezTo>
                  <a:cubicBezTo>
                    <a:pt x="4728" y="8549"/>
                    <a:pt x="5061" y="8358"/>
                    <a:pt x="5430" y="8358"/>
                  </a:cubicBezTo>
                  <a:close/>
                  <a:moveTo>
                    <a:pt x="5430" y="2226"/>
                  </a:moveTo>
                  <a:cubicBezTo>
                    <a:pt x="6633" y="2226"/>
                    <a:pt x="7752" y="2667"/>
                    <a:pt x="8645" y="3500"/>
                  </a:cubicBezTo>
                  <a:cubicBezTo>
                    <a:pt x="9371" y="4179"/>
                    <a:pt x="9919" y="5096"/>
                    <a:pt x="10276" y="6179"/>
                  </a:cubicBezTo>
                  <a:cubicBezTo>
                    <a:pt x="9966" y="5751"/>
                    <a:pt x="9645" y="5393"/>
                    <a:pt x="9300" y="5132"/>
                  </a:cubicBezTo>
                  <a:cubicBezTo>
                    <a:pt x="8835" y="4751"/>
                    <a:pt x="8347" y="4536"/>
                    <a:pt x="7823" y="4453"/>
                  </a:cubicBezTo>
                  <a:cubicBezTo>
                    <a:pt x="7735" y="4439"/>
                    <a:pt x="7648" y="4433"/>
                    <a:pt x="7563" y="4433"/>
                  </a:cubicBezTo>
                  <a:cubicBezTo>
                    <a:pt x="7204" y="4433"/>
                    <a:pt x="6883" y="4553"/>
                    <a:pt x="6633" y="4774"/>
                  </a:cubicBezTo>
                  <a:cubicBezTo>
                    <a:pt x="6299" y="5048"/>
                    <a:pt x="6109" y="5501"/>
                    <a:pt x="6109" y="5977"/>
                  </a:cubicBezTo>
                  <a:cubicBezTo>
                    <a:pt x="6109" y="6525"/>
                    <a:pt x="6335" y="7060"/>
                    <a:pt x="6561" y="7584"/>
                  </a:cubicBezTo>
                  <a:cubicBezTo>
                    <a:pt x="6764" y="8084"/>
                    <a:pt x="6978" y="8572"/>
                    <a:pt x="6978" y="9049"/>
                  </a:cubicBezTo>
                  <a:cubicBezTo>
                    <a:pt x="6990" y="9239"/>
                    <a:pt x="6859" y="9501"/>
                    <a:pt x="6585" y="9680"/>
                  </a:cubicBezTo>
                  <a:cubicBezTo>
                    <a:pt x="6424" y="9783"/>
                    <a:pt x="6258" y="9823"/>
                    <a:pt x="6097" y="9823"/>
                  </a:cubicBezTo>
                  <a:cubicBezTo>
                    <a:pt x="5924" y="9823"/>
                    <a:pt x="5757" y="9777"/>
                    <a:pt x="5609" y="9715"/>
                  </a:cubicBezTo>
                  <a:lnTo>
                    <a:pt x="5609" y="9513"/>
                  </a:lnTo>
                  <a:lnTo>
                    <a:pt x="5740" y="9477"/>
                  </a:lnTo>
                  <a:lnTo>
                    <a:pt x="5751" y="9477"/>
                  </a:lnTo>
                  <a:cubicBezTo>
                    <a:pt x="6037" y="9358"/>
                    <a:pt x="6454" y="9156"/>
                    <a:pt x="6454" y="8763"/>
                  </a:cubicBezTo>
                  <a:cubicBezTo>
                    <a:pt x="6454" y="8358"/>
                    <a:pt x="6013" y="8025"/>
                    <a:pt x="5430" y="8025"/>
                  </a:cubicBezTo>
                  <a:cubicBezTo>
                    <a:pt x="4859" y="8025"/>
                    <a:pt x="4406" y="8346"/>
                    <a:pt x="4406" y="8763"/>
                  </a:cubicBezTo>
                  <a:cubicBezTo>
                    <a:pt x="4406" y="9156"/>
                    <a:pt x="4835" y="9358"/>
                    <a:pt x="5097" y="9477"/>
                  </a:cubicBezTo>
                  <a:lnTo>
                    <a:pt x="5120" y="9477"/>
                  </a:lnTo>
                  <a:cubicBezTo>
                    <a:pt x="5156" y="9489"/>
                    <a:pt x="5216" y="9513"/>
                    <a:pt x="5263" y="9513"/>
                  </a:cubicBezTo>
                  <a:lnTo>
                    <a:pt x="5263" y="9715"/>
                  </a:lnTo>
                  <a:cubicBezTo>
                    <a:pt x="5128" y="9777"/>
                    <a:pt x="4960" y="9823"/>
                    <a:pt x="4784" y="9823"/>
                  </a:cubicBezTo>
                  <a:cubicBezTo>
                    <a:pt x="4620" y="9823"/>
                    <a:pt x="4448" y="9783"/>
                    <a:pt x="4287" y="9680"/>
                  </a:cubicBezTo>
                  <a:cubicBezTo>
                    <a:pt x="4001" y="9501"/>
                    <a:pt x="3882" y="9239"/>
                    <a:pt x="3882" y="9049"/>
                  </a:cubicBezTo>
                  <a:cubicBezTo>
                    <a:pt x="3882" y="8584"/>
                    <a:pt x="4073" y="8096"/>
                    <a:pt x="4299" y="7584"/>
                  </a:cubicBezTo>
                  <a:cubicBezTo>
                    <a:pt x="4525" y="7060"/>
                    <a:pt x="4739" y="6525"/>
                    <a:pt x="4739" y="5977"/>
                  </a:cubicBezTo>
                  <a:cubicBezTo>
                    <a:pt x="4739" y="5501"/>
                    <a:pt x="4549" y="5048"/>
                    <a:pt x="4227" y="4774"/>
                  </a:cubicBezTo>
                  <a:cubicBezTo>
                    <a:pt x="3963" y="4549"/>
                    <a:pt x="3635" y="4437"/>
                    <a:pt x="3275" y="4437"/>
                  </a:cubicBezTo>
                  <a:cubicBezTo>
                    <a:pt x="3197" y="4437"/>
                    <a:pt x="3118" y="4442"/>
                    <a:pt x="3037" y="4453"/>
                  </a:cubicBezTo>
                  <a:cubicBezTo>
                    <a:pt x="2525" y="4536"/>
                    <a:pt x="2025" y="4751"/>
                    <a:pt x="1560" y="5132"/>
                  </a:cubicBezTo>
                  <a:cubicBezTo>
                    <a:pt x="1215" y="5393"/>
                    <a:pt x="894" y="5751"/>
                    <a:pt x="572" y="6179"/>
                  </a:cubicBezTo>
                  <a:cubicBezTo>
                    <a:pt x="929" y="5096"/>
                    <a:pt x="1489" y="4179"/>
                    <a:pt x="2215" y="3500"/>
                  </a:cubicBezTo>
                  <a:cubicBezTo>
                    <a:pt x="3108" y="2667"/>
                    <a:pt x="4227" y="2226"/>
                    <a:pt x="5430" y="2226"/>
                  </a:cubicBezTo>
                  <a:close/>
                  <a:moveTo>
                    <a:pt x="5454" y="10001"/>
                  </a:moveTo>
                  <a:cubicBezTo>
                    <a:pt x="5692" y="10096"/>
                    <a:pt x="5918" y="10144"/>
                    <a:pt x="6097" y="10144"/>
                  </a:cubicBezTo>
                  <a:cubicBezTo>
                    <a:pt x="6156" y="10144"/>
                    <a:pt x="6216" y="10144"/>
                    <a:pt x="6275" y="10132"/>
                  </a:cubicBezTo>
                  <a:lnTo>
                    <a:pt x="6275" y="10132"/>
                  </a:lnTo>
                  <a:cubicBezTo>
                    <a:pt x="6228" y="10180"/>
                    <a:pt x="6168" y="10239"/>
                    <a:pt x="6097" y="10275"/>
                  </a:cubicBezTo>
                  <a:cubicBezTo>
                    <a:pt x="5930" y="10370"/>
                    <a:pt x="5692" y="10430"/>
                    <a:pt x="5454" y="10430"/>
                  </a:cubicBezTo>
                  <a:cubicBezTo>
                    <a:pt x="5216" y="10430"/>
                    <a:pt x="4978" y="10370"/>
                    <a:pt x="4823" y="10275"/>
                  </a:cubicBezTo>
                  <a:cubicBezTo>
                    <a:pt x="4739" y="10239"/>
                    <a:pt x="4680" y="10192"/>
                    <a:pt x="4644" y="10132"/>
                  </a:cubicBezTo>
                  <a:lnTo>
                    <a:pt x="4644" y="10132"/>
                  </a:lnTo>
                  <a:cubicBezTo>
                    <a:pt x="4704" y="10144"/>
                    <a:pt x="4763" y="10144"/>
                    <a:pt x="4823" y="10144"/>
                  </a:cubicBezTo>
                  <a:cubicBezTo>
                    <a:pt x="5013" y="10144"/>
                    <a:pt x="5216" y="10096"/>
                    <a:pt x="5454" y="10001"/>
                  </a:cubicBezTo>
                  <a:close/>
                  <a:moveTo>
                    <a:pt x="1184" y="0"/>
                  </a:moveTo>
                  <a:cubicBezTo>
                    <a:pt x="1083" y="0"/>
                    <a:pt x="985" y="30"/>
                    <a:pt x="906" y="95"/>
                  </a:cubicBezTo>
                  <a:cubicBezTo>
                    <a:pt x="775" y="202"/>
                    <a:pt x="691" y="345"/>
                    <a:pt x="691" y="512"/>
                  </a:cubicBezTo>
                  <a:cubicBezTo>
                    <a:pt x="787" y="2417"/>
                    <a:pt x="1310" y="3822"/>
                    <a:pt x="1370" y="3977"/>
                  </a:cubicBezTo>
                  <a:cubicBezTo>
                    <a:pt x="727" y="4834"/>
                    <a:pt x="251" y="5905"/>
                    <a:pt x="13" y="7132"/>
                  </a:cubicBezTo>
                  <a:cubicBezTo>
                    <a:pt x="1" y="7215"/>
                    <a:pt x="36" y="7298"/>
                    <a:pt x="132" y="7310"/>
                  </a:cubicBezTo>
                  <a:cubicBezTo>
                    <a:pt x="501" y="7418"/>
                    <a:pt x="894" y="7537"/>
                    <a:pt x="1096" y="7596"/>
                  </a:cubicBezTo>
                  <a:lnTo>
                    <a:pt x="953" y="8251"/>
                  </a:lnTo>
                  <a:cubicBezTo>
                    <a:pt x="929" y="8322"/>
                    <a:pt x="977" y="8418"/>
                    <a:pt x="1049" y="8441"/>
                  </a:cubicBezTo>
                  <a:cubicBezTo>
                    <a:pt x="1072" y="8441"/>
                    <a:pt x="2703" y="8953"/>
                    <a:pt x="3727" y="9513"/>
                  </a:cubicBezTo>
                  <a:cubicBezTo>
                    <a:pt x="3835" y="9680"/>
                    <a:pt x="3966" y="9834"/>
                    <a:pt x="4144" y="9930"/>
                  </a:cubicBezTo>
                  <a:cubicBezTo>
                    <a:pt x="4180" y="9965"/>
                    <a:pt x="4227" y="9977"/>
                    <a:pt x="4287" y="10013"/>
                  </a:cubicBezTo>
                  <a:cubicBezTo>
                    <a:pt x="4299" y="10406"/>
                    <a:pt x="4799" y="10727"/>
                    <a:pt x="5454" y="10727"/>
                  </a:cubicBezTo>
                  <a:cubicBezTo>
                    <a:pt x="6109" y="10727"/>
                    <a:pt x="6621" y="10406"/>
                    <a:pt x="6633" y="10013"/>
                  </a:cubicBezTo>
                  <a:cubicBezTo>
                    <a:pt x="6680" y="9977"/>
                    <a:pt x="6728" y="9965"/>
                    <a:pt x="6764" y="9930"/>
                  </a:cubicBezTo>
                  <a:cubicBezTo>
                    <a:pt x="6942" y="9834"/>
                    <a:pt x="7085" y="9680"/>
                    <a:pt x="7180" y="9513"/>
                  </a:cubicBezTo>
                  <a:cubicBezTo>
                    <a:pt x="8228" y="8953"/>
                    <a:pt x="9847" y="8441"/>
                    <a:pt x="9859" y="8441"/>
                  </a:cubicBezTo>
                  <a:cubicBezTo>
                    <a:pt x="9942" y="8418"/>
                    <a:pt x="10002" y="8346"/>
                    <a:pt x="9966" y="8251"/>
                  </a:cubicBezTo>
                  <a:lnTo>
                    <a:pt x="9823" y="7596"/>
                  </a:lnTo>
                  <a:cubicBezTo>
                    <a:pt x="10014" y="7537"/>
                    <a:pt x="10419" y="7418"/>
                    <a:pt x="10788" y="7310"/>
                  </a:cubicBezTo>
                  <a:cubicBezTo>
                    <a:pt x="10847" y="7298"/>
                    <a:pt x="10895" y="7227"/>
                    <a:pt x="10871" y="7132"/>
                  </a:cubicBezTo>
                  <a:cubicBezTo>
                    <a:pt x="10633" y="5905"/>
                    <a:pt x="10181" y="4834"/>
                    <a:pt x="9526" y="3989"/>
                  </a:cubicBezTo>
                  <a:cubicBezTo>
                    <a:pt x="9585" y="3822"/>
                    <a:pt x="10121" y="2405"/>
                    <a:pt x="10193" y="512"/>
                  </a:cubicBezTo>
                  <a:cubicBezTo>
                    <a:pt x="10193" y="357"/>
                    <a:pt x="10121" y="190"/>
                    <a:pt x="9978" y="95"/>
                  </a:cubicBezTo>
                  <a:cubicBezTo>
                    <a:pt x="9898" y="30"/>
                    <a:pt x="9801" y="0"/>
                    <a:pt x="9699" y="0"/>
                  </a:cubicBezTo>
                  <a:cubicBezTo>
                    <a:pt x="9634" y="0"/>
                    <a:pt x="9567" y="12"/>
                    <a:pt x="9502" y="36"/>
                  </a:cubicBezTo>
                  <a:cubicBezTo>
                    <a:pt x="8930" y="262"/>
                    <a:pt x="7799" y="821"/>
                    <a:pt x="6740" y="2095"/>
                  </a:cubicBezTo>
                  <a:cubicBezTo>
                    <a:pt x="6323" y="1988"/>
                    <a:pt x="5894" y="1929"/>
                    <a:pt x="5442" y="1929"/>
                  </a:cubicBezTo>
                  <a:cubicBezTo>
                    <a:pt x="5001" y="1929"/>
                    <a:pt x="4561" y="1988"/>
                    <a:pt x="4144" y="2095"/>
                  </a:cubicBezTo>
                  <a:cubicBezTo>
                    <a:pt x="3096" y="821"/>
                    <a:pt x="1965" y="262"/>
                    <a:pt x="1382" y="36"/>
                  </a:cubicBezTo>
                  <a:cubicBezTo>
                    <a:pt x="1317" y="12"/>
                    <a:pt x="1250" y="0"/>
                    <a:pt x="1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2" name="Google Shape;13022;p63"/>
            <p:cNvSpPr/>
            <p:nvPr/>
          </p:nvSpPr>
          <p:spPr>
            <a:xfrm>
              <a:off x="6977677" y="1667154"/>
              <a:ext cx="48416" cy="59456"/>
            </a:xfrm>
            <a:custGeom>
              <a:avLst/>
              <a:gdLst/>
              <a:ahLst/>
              <a:cxnLst/>
              <a:rect l="l" t="t" r="r" b="b"/>
              <a:pathLst>
                <a:path w="1513" h="1858" extrusionOk="0">
                  <a:moveTo>
                    <a:pt x="751" y="0"/>
                  </a:moveTo>
                  <a:cubicBezTo>
                    <a:pt x="334" y="0"/>
                    <a:pt x="1" y="346"/>
                    <a:pt x="1" y="762"/>
                  </a:cubicBezTo>
                  <a:lnTo>
                    <a:pt x="1" y="1096"/>
                  </a:lnTo>
                  <a:cubicBezTo>
                    <a:pt x="1" y="1524"/>
                    <a:pt x="334" y="1858"/>
                    <a:pt x="751" y="1858"/>
                  </a:cubicBezTo>
                  <a:cubicBezTo>
                    <a:pt x="1167" y="1858"/>
                    <a:pt x="1513" y="1524"/>
                    <a:pt x="1513" y="1096"/>
                  </a:cubicBezTo>
                  <a:lnTo>
                    <a:pt x="1513" y="762"/>
                  </a:lnTo>
                  <a:cubicBezTo>
                    <a:pt x="1501" y="643"/>
                    <a:pt x="1489" y="536"/>
                    <a:pt x="1429" y="429"/>
                  </a:cubicBezTo>
                  <a:cubicBezTo>
                    <a:pt x="1395" y="378"/>
                    <a:pt x="1342" y="338"/>
                    <a:pt x="1284" y="338"/>
                  </a:cubicBezTo>
                  <a:cubicBezTo>
                    <a:pt x="1261" y="338"/>
                    <a:pt x="1238" y="344"/>
                    <a:pt x="1215" y="358"/>
                  </a:cubicBezTo>
                  <a:cubicBezTo>
                    <a:pt x="1144" y="405"/>
                    <a:pt x="1096" y="489"/>
                    <a:pt x="1144" y="560"/>
                  </a:cubicBezTo>
                  <a:cubicBezTo>
                    <a:pt x="1179" y="620"/>
                    <a:pt x="1191" y="679"/>
                    <a:pt x="1191" y="762"/>
                  </a:cubicBezTo>
                  <a:lnTo>
                    <a:pt x="1191" y="1096"/>
                  </a:lnTo>
                  <a:cubicBezTo>
                    <a:pt x="1191" y="1346"/>
                    <a:pt x="1001" y="1536"/>
                    <a:pt x="751" y="1536"/>
                  </a:cubicBezTo>
                  <a:cubicBezTo>
                    <a:pt x="524" y="1536"/>
                    <a:pt x="322" y="1334"/>
                    <a:pt x="322" y="1096"/>
                  </a:cubicBezTo>
                  <a:lnTo>
                    <a:pt x="322" y="762"/>
                  </a:lnTo>
                  <a:cubicBezTo>
                    <a:pt x="322" y="524"/>
                    <a:pt x="512" y="334"/>
                    <a:pt x="751" y="334"/>
                  </a:cubicBezTo>
                  <a:cubicBezTo>
                    <a:pt x="846" y="334"/>
                    <a:pt x="917" y="250"/>
                    <a:pt x="917" y="167"/>
                  </a:cubicBezTo>
                  <a:cubicBezTo>
                    <a:pt x="917" y="72"/>
                    <a:pt x="846" y="0"/>
                    <a:pt x="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3" name="Google Shape;13023;p63"/>
            <p:cNvSpPr/>
            <p:nvPr/>
          </p:nvSpPr>
          <p:spPr>
            <a:xfrm>
              <a:off x="7113709" y="1667154"/>
              <a:ext cx="48800" cy="59456"/>
            </a:xfrm>
            <a:custGeom>
              <a:avLst/>
              <a:gdLst/>
              <a:ahLst/>
              <a:cxnLst/>
              <a:rect l="l" t="t" r="r" b="b"/>
              <a:pathLst>
                <a:path w="1525" h="1858" extrusionOk="0">
                  <a:moveTo>
                    <a:pt x="762" y="0"/>
                  </a:moveTo>
                  <a:cubicBezTo>
                    <a:pt x="345" y="0"/>
                    <a:pt x="0" y="346"/>
                    <a:pt x="0" y="762"/>
                  </a:cubicBezTo>
                  <a:lnTo>
                    <a:pt x="0" y="1096"/>
                  </a:lnTo>
                  <a:cubicBezTo>
                    <a:pt x="0" y="1524"/>
                    <a:pt x="345" y="1858"/>
                    <a:pt x="762" y="1858"/>
                  </a:cubicBezTo>
                  <a:cubicBezTo>
                    <a:pt x="1179" y="1858"/>
                    <a:pt x="1524" y="1524"/>
                    <a:pt x="1524" y="1096"/>
                  </a:cubicBezTo>
                  <a:lnTo>
                    <a:pt x="1524" y="762"/>
                  </a:lnTo>
                  <a:cubicBezTo>
                    <a:pt x="1512" y="643"/>
                    <a:pt x="1476" y="536"/>
                    <a:pt x="1429" y="429"/>
                  </a:cubicBezTo>
                  <a:cubicBezTo>
                    <a:pt x="1403" y="378"/>
                    <a:pt x="1346" y="338"/>
                    <a:pt x="1290" y="338"/>
                  </a:cubicBezTo>
                  <a:cubicBezTo>
                    <a:pt x="1268" y="338"/>
                    <a:pt x="1246" y="344"/>
                    <a:pt x="1226" y="358"/>
                  </a:cubicBezTo>
                  <a:cubicBezTo>
                    <a:pt x="1143" y="405"/>
                    <a:pt x="1107" y="489"/>
                    <a:pt x="1143" y="560"/>
                  </a:cubicBezTo>
                  <a:cubicBezTo>
                    <a:pt x="1179" y="620"/>
                    <a:pt x="1191" y="679"/>
                    <a:pt x="1191" y="762"/>
                  </a:cubicBezTo>
                  <a:lnTo>
                    <a:pt x="1191" y="1096"/>
                  </a:lnTo>
                  <a:cubicBezTo>
                    <a:pt x="1191" y="1346"/>
                    <a:pt x="1000" y="1536"/>
                    <a:pt x="762" y="1536"/>
                  </a:cubicBezTo>
                  <a:cubicBezTo>
                    <a:pt x="524" y="1536"/>
                    <a:pt x="333" y="1334"/>
                    <a:pt x="333" y="1096"/>
                  </a:cubicBezTo>
                  <a:lnTo>
                    <a:pt x="333" y="762"/>
                  </a:lnTo>
                  <a:cubicBezTo>
                    <a:pt x="333" y="524"/>
                    <a:pt x="524" y="334"/>
                    <a:pt x="762" y="334"/>
                  </a:cubicBezTo>
                  <a:cubicBezTo>
                    <a:pt x="845" y="334"/>
                    <a:pt x="929" y="250"/>
                    <a:pt x="929" y="167"/>
                  </a:cubicBezTo>
                  <a:cubicBezTo>
                    <a:pt x="929" y="72"/>
                    <a:pt x="845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24" name="Google Shape;13024;p63"/>
          <p:cNvGrpSpPr/>
          <p:nvPr/>
        </p:nvGrpSpPr>
        <p:grpSpPr>
          <a:xfrm>
            <a:off x="4147597" y="1505458"/>
            <a:ext cx="347904" cy="336992"/>
            <a:chOff x="4147597" y="1505458"/>
            <a:chExt cx="347904" cy="336992"/>
          </a:xfrm>
        </p:grpSpPr>
        <p:sp>
          <p:nvSpPr>
            <p:cNvPr id="13025" name="Google Shape;13025;p63"/>
            <p:cNvSpPr/>
            <p:nvPr/>
          </p:nvSpPr>
          <p:spPr>
            <a:xfrm>
              <a:off x="4293901" y="1707410"/>
              <a:ext cx="22528" cy="15392"/>
            </a:xfrm>
            <a:custGeom>
              <a:avLst/>
              <a:gdLst/>
              <a:ahLst/>
              <a:cxnLst/>
              <a:rect l="l" t="t" r="r" b="b"/>
              <a:pathLst>
                <a:path w="704" h="481" extrusionOk="0">
                  <a:moveTo>
                    <a:pt x="182" y="1"/>
                  </a:moveTo>
                  <a:cubicBezTo>
                    <a:pt x="124" y="1"/>
                    <a:pt x="65" y="32"/>
                    <a:pt x="49" y="100"/>
                  </a:cubicBezTo>
                  <a:cubicBezTo>
                    <a:pt x="1" y="171"/>
                    <a:pt x="37" y="278"/>
                    <a:pt x="120" y="302"/>
                  </a:cubicBezTo>
                  <a:lnTo>
                    <a:pt x="465" y="469"/>
                  </a:lnTo>
                  <a:cubicBezTo>
                    <a:pt x="489" y="481"/>
                    <a:pt x="513" y="481"/>
                    <a:pt x="537" y="481"/>
                  </a:cubicBezTo>
                  <a:cubicBezTo>
                    <a:pt x="596" y="481"/>
                    <a:pt x="656" y="457"/>
                    <a:pt x="691" y="397"/>
                  </a:cubicBezTo>
                  <a:cubicBezTo>
                    <a:pt x="703" y="326"/>
                    <a:pt x="668" y="219"/>
                    <a:pt x="596" y="183"/>
                  </a:cubicBezTo>
                  <a:lnTo>
                    <a:pt x="251" y="16"/>
                  </a:lnTo>
                  <a:cubicBezTo>
                    <a:pt x="230" y="6"/>
                    <a:pt x="206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6" name="Google Shape;13026;p63"/>
            <p:cNvSpPr/>
            <p:nvPr/>
          </p:nvSpPr>
          <p:spPr>
            <a:xfrm>
              <a:off x="4326669" y="1707250"/>
              <a:ext cx="22528" cy="15168"/>
            </a:xfrm>
            <a:custGeom>
              <a:avLst/>
              <a:gdLst/>
              <a:ahLst/>
              <a:cxnLst/>
              <a:rect l="l" t="t" r="r" b="b"/>
              <a:pathLst>
                <a:path w="704" h="474" extrusionOk="0">
                  <a:moveTo>
                    <a:pt x="508" y="1"/>
                  </a:moveTo>
                  <a:cubicBezTo>
                    <a:pt x="489" y="1"/>
                    <a:pt x="471" y="4"/>
                    <a:pt x="453" y="10"/>
                  </a:cubicBezTo>
                  <a:lnTo>
                    <a:pt x="108" y="176"/>
                  </a:lnTo>
                  <a:cubicBezTo>
                    <a:pt x="37" y="224"/>
                    <a:pt x="1" y="307"/>
                    <a:pt x="37" y="391"/>
                  </a:cubicBezTo>
                  <a:cubicBezTo>
                    <a:pt x="60" y="438"/>
                    <a:pt x="120" y="474"/>
                    <a:pt x="179" y="474"/>
                  </a:cubicBezTo>
                  <a:cubicBezTo>
                    <a:pt x="215" y="474"/>
                    <a:pt x="227" y="474"/>
                    <a:pt x="263" y="462"/>
                  </a:cubicBezTo>
                  <a:lnTo>
                    <a:pt x="596" y="295"/>
                  </a:lnTo>
                  <a:cubicBezTo>
                    <a:pt x="656" y="271"/>
                    <a:pt x="703" y="164"/>
                    <a:pt x="656" y="93"/>
                  </a:cubicBezTo>
                  <a:cubicBezTo>
                    <a:pt x="629" y="30"/>
                    <a:pt x="567" y="1"/>
                    <a:pt x="5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7" name="Google Shape;13027;p63"/>
            <p:cNvSpPr/>
            <p:nvPr/>
          </p:nvSpPr>
          <p:spPr>
            <a:xfrm>
              <a:off x="4147597" y="1505458"/>
              <a:ext cx="347904" cy="336992"/>
            </a:xfrm>
            <a:custGeom>
              <a:avLst/>
              <a:gdLst/>
              <a:ahLst/>
              <a:cxnLst/>
              <a:rect l="l" t="t" r="r" b="b"/>
              <a:pathLst>
                <a:path w="10872" h="10531" extrusionOk="0">
                  <a:moveTo>
                    <a:pt x="1525" y="3387"/>
                  </a:moveTo>
                  <a:cubicBezTo>
                    <a:pt x="1632" y="3387"/>
                    <a:pt x="1727" y="3398"/>
                    <a:pt x="1834" y="3434"/>
                  </a:cubicBezTo>
                  <a:cubicBezTo>
                    <a:pt x="1751" y="3756"/>
                    <a:pt x="1703" y="4089"/>
                    <a:pt x="1703" y="4422"/>
                  </a:cubicBezTo>
                  <a:cubicBezTo>
                    <a:pt x="1703" y="4720"/>
                    <a:pt x="1608" y="5042"/>
                    <a:pt x="1453" y="5315"/>
                  </a:cubicBezTo>
                  <a:cubicBezTo>
                    <a:pt x="1358" y="5470"/>
                    <a:pt x="1299" y="5613"/>
                    <a:pt x="1239" y="5768"/>
                  </a:cubicBezTo>
                  <a:cubicBezTo>
                    <a:pt x="703" y="5637"/>
                    <a:pt x="322" y="5161"/>
                    <a:pt x="322" y="4589"/>
                  </a:cubicBezTo>
                  <a:cubicBezTo>
                    <a:pt x="322" y="3922"/>
                    <a:pt x="858" y="3387"/>
                    <a:pt x="1525" y="3387"/>
                  </a:cubicBezTo>
                  <a:close/>
                  <a:moveTo>
                    <a:pt x="9347" y="3387"/>
                  </a:moveTo>
                  <a:cubicBezTo>
                    <a:pt x="10026" y="3387"/>
                    <a:pt x="10562" y="3922"/>
                    <a:pt x="10562" y="4589"/>
                  </a:cubicBezTo>
                  <a:cubicBezTo>
                    <a:pt x="10538" y="5161"/>
                    <a:pt x="10157" y="5637"/>
                    <a:pt x="9633" y="5768"/>
                  </a:cubicBezTo>
                  <a:cubicBezTo>
                    <a:pt x="9574" y="5625"/>
                    <a:pt x="9502" y="5470"/>
                    <a:pt x="9431" y="5327"/>
                  </a:cubicBezTo>
                  <a:cubicBezTo>
                    <a:pt x="9264" y="5042"/>
                    <a:pt x="9169" y="4732"/>
                    <a:pt x="9169" y="4434"/>
                  </a:cubicBezTo>
                  <a:cubicBezTo>
                    <a:pt x="9169" y="4089"/>
                    <a:pt x="9133" y="3756"/>
                    <a:pt x="9038" y="3434"/>
                  </a:cubicBezTo>
                  <a:cubicBezTo>
                    <a:pt x="9145" y="3398"/>
                    <a:pt x="9252" y="3387"/>
                    <a:pt x="9347" y="3387"/>
                  </a:cubicBezTo>
                  <a:close/>
                  <a:moveTo>
                    <a:pt x="5656" y="386"/>
                  </a:moveTo>
                  <a:lnTo>
                    <a:pt x="5775" y="886"/>
                  </a:lnTo>
                  <a:cubicBezTo>
                    <a:pt x="5799" y="934"/>
                    <a:pt x="5823" y="982"/>
                    <a:pt x="5871" y="993"/>
                  </a:cubicBezTo>
                  <a:cubicBezTo>
                    <a:pt x="5898" y="1000"/>
                    <a:pt x="5922" y="1007"/>
                    <a:pt x="5946" y="1007"/>
                  </a:cubicBezTo>
                  <a:cubicBezTo>
                    <a:pt x="5964" y="1007"/>
                    <a:pt x="5982" y="1003"/>
                    <a:pt x="6002" y="993"/>
                  </a:cubicBezTo>
                  <a:lnTo>
                    <a:pt x="6633" y="743"/>
                  </a:lnTo>
                  <a:lnTo>
                    <a:pt x="6633" y="1112"/>
                  </a:lnTo>
                  <a:cubicBezTo>
                    <a:pt x="6633" y="1172"/>
                    <a:pt x="6668" y="1232"/>
                    <a:pt x="6728" y="1255"/>
                  </a:cubicBezTo>
                  <a:cubicBezTo>
                    <a:pt x="8014" y="1791"/>
                    <a:pt x="8847" y="3029"/>
                    <a:pt x="8847" y="4411"/>
                  </a:cubicBezTo>
                  <a:cubicBezTo>
                    <a:pt x="8847" y="4768"/>
                    <a:pt x="8954" y="5137"/>
                    <a:pt x="9145" y="5470"/>
                  </a:cubicBezTo>
                  <a:cubicBezTo>
                    <a:pt x="9395" y="5923"/>
                    <a:pt x="9526" y="6399"/>
                    <a:pt x="9526" y="6887"/>
                  </a:cubicBezTo>
                  <a:cubicBezTo>
                    <a:pt x="9526" y="8732"/>
                    <a:pt x="7680" y="10221"/>
                    <a:pt x="5442" y="10221"/>
                  </a:cubicBezTo>
                  <a:cubicBezTo>
                    <a:pt x="3180" y="10221"/>
                    <a:pt x="1346" y="8732"/>
                    <a:pt x="1346" y="6887"/>
                  </a:cubicBezTo>
                  <a:cubicBezTo>
                    <a:pt x="1346" y="6399"/>
                    <a:pt x="1477" y="5923"/>
                    <a:pt x="1727" y="5470"/>
                  </a:cubicBezTo>
                  <a:cubicBezTo>
                    <a:pt x="1930" y="5149"/>
                    <a:pt x="2025" y="4768"/>
                    <a:pt x="2025" y="4411"/>
                  </a:cubicBezTo>
                  <a:cubicBezTo>
                    <a:pt x="2025" y="3637"/>
                    <a:pt x="2299" y="2863"/>
                    <a:pt x="2787" y="2267"/>
                  </a:cubicBezTo>
                  <a:cubicBezTo>
                    <a:pt x="3275" y="1672"/>
                    <a:pt x="3954" y="1255"/>
                    <a:pt x="4692" y="1101"/>
                  </a:cubicBezTo>
                  <a:cubicBezTo>
                    <a:pt x="4728" y="1101"/>
                    <a:pt x="4751" y="1065"/>
                    <a:pt x="4763" y="1053"/>
                  </a:cubicBezTo>
                  <a:cubicBezTo>
                    <a:pt x="5061" y="743"/>
                    <a:pt x="5359" y="517"/>
                    <a:pt x="5656" y="386"/>
                  </a:cubicBezTo>
                  <a:close/>
                  <a:moveTo>
                    <a:pt x="5754" y="1"/>
                  </a:moveTo>
                  <a:cubicBezTo>
                    <a:pt x="5741" y="1"/>
                    <a:pt x="5729" y="2"/>
                    <a:pt x="5716" y="5"/>
                  </a:cubicBezTo>
                  <a:cubicBezTo>
                    <a:pt x="5335" y="148"/>
                    <a:pt x="4930" y="398"/>
                    <a:pt x="4573" y="779"/>
                  </a:cubicBezTo>
                  <a:cubicBezTo>
                    <a:pt x="3775" y="982"/>
                    <a:pt x="3061" y="1422"/>
                    <a:pt x="2537" y="2065"/>
                  </a:cubicBezTo>
                  <a:cubicBezTo>
                    <a:pt x="2287" y="2375"/>
                    <a:pt x="2073" y="2732"/>
                    <a:pt x="1942" y="3125"/>
                  </a:cubicBezTo>
                  <a:cubicBezTo>
                    <a:pt x="1811" y="3077"/>
                    <a:pt x="1668" y="3065"/>
                    <a:pt x="1525" y="3065"/>
                  </a:cubicBezTo>
                  <a:cubicBezTo>
                    <a:pt x="691" y="3065"/>
                    <a:pt x="1" y="3744"/>
                    <a:pt x="1" y="4577"/>
                  </a:cubicBezTo>
                  <a:cubicBezTo>
                    <a:pt x="1" y="5280"/>
                    <a:pt x="477" y="5875"/>
                    <a:pt x="1132" y="6054"/>
                  </a:cubicBezTo>
                  <a:cubicBezTo>
                    <a:pt x="1061" y="6316"/>
                    <a:pt x="1013" y="6601"/>
                    <a:pt x="1013" y="6887"/>
                  </a:cubicBezTo>
                  <a:cubicBezTo>
                    <a:pt x="1013" y="7863"/>
                    <a:pt x="1477" y="8792"/>
                    <a:pt x="2323" y="9471"/>
                  </a:cubicBezTo>
                  <a:cubicBezTo>
                    <a:pt x="3156" y="10161"/>
                    <a:pt x="4263" y="10530"/>
                    <a:pt x="5442" y="10530"/>
                  </a:cubicBezTo>
                  <a:cubicBezTo>
                    <a:pt x="6609" y="10530"/>
                    <a:pt x="7716" y="10161"/>
                    <a:pt x="8550" y="9471"/>
                  </a:cubicBezTo>
                  <a:cubicBezTo>
                    <a:pt x="9383" y="8792"/>
                    <a:pt x="9859" y="7863"/>
                    <a:pt x="9859" y="6887"/>
                  </a:cubicBezTo>
                  <a:cubicBezTo>
                    <a:pt x="9859" y="6601"/>
                    <a:pt x="9812" y="6339"/>
                    <a:pt x="9740" y="6054"/>
                  </a:cubicBezTo>
                  <a:cubicBezTo>
                    <a:pt x="10395" y="5887"/>
                    <a:pt x="10871" y="5292"/>
                    <a:pt x="10871" y="4589"/>
                  </a:cubicBezTo>
                  <a:cubicBezTo>
                    <a:pt x="10871" y="3756"/>
                    <a:pt x="10181" y="3077"/>
                    <a:pt x="9347" y="3077"/>
                  </a:cubicBezTo>
                  <a:cubicBezTo>
                    <a:pt x="9216" y="3077"/>
                    <a:pt x="9073" y="3089"/>
                    <a:pt x="8931" y="3137"/>
                  </a:cubicBezTo>
                  <a:cubicBezTo>
                    <a:pt x="8835" y="2851"/>
                    <a:pt x="8692" y="2577"/>
                    <a:pt x="8514" y="2327"/>
                  </a:cubicBezTo>
                  <a:cubicBezTo>
                    <a:pt x="8133" y="1755"/>
                    <a:pt x="7585" y="1303"/>
                    <a:pt x="6954" y="1017"/>
                  </a:cubicBezTo>
                  <a:lnTo>
                    <a:pt x="6954" y="517"/>
                  </a:lnTo>
                  <a:cubicBezTo>
                    <a:pt x="6954" y="458"/>
                    <a:pt x="6930" y="410"/>
                    <a:pt x="6883" y="374"/>
                  </a:cubicBezTo>
                  <a:cubicBezTo>
                    <a:pt x="6855" y="360"/>
                    <a:pt x="6823" y="355"/>
                    <a:pt x="6792" y="355"/>
                  </a:cubicBezTo>
                  <a:cubicBezTo>
                    <a:pt x="6769" y="355"/>
                    <a:pt x="6748" y="357"/>
                    <a:pt x="6728" y="362"/>
                  </a:cubicBezTo>
                  <a:lnTo>
                    <a:pt x="6049" y="636"/>
                  </a:lnTo>
                  <a:lnTo>
                    <a:pt x="5930" y="124"/>
                  </a:lnTo>
                  <a:cubicBezTo>
                    <a:pt x="5918" y="77"/>
                    <a:pt x="5883" y="53"/>
                    <a:pt x="5859" y="29"/>
                  </a:cubicBezTo>
                  <a:cubicBezTo>
                    <a:pt x="5824" y="12"/>
                    <a:pt x="5789" y="1"/>
                    <a:pt x="57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8" name="Google Shape;13028;p63"/>
            <p:cNvSpPr/>
            <p:nvPr/>
          </p:nvSpPr>
          <p:spPr>
            <a:xfrm>
              <a:off x="4250477" y="164161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79" y="1"/>
                  </a:moveTo>
                  <a:cubicBezTo>
                    <a:pt x="298" y="1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8" y="1501"/>
                    <a:pt x="679" y="1501"/>
                  </a:cubicBezTo>
                  <a:cubicBezTo>
                    <a:pt x="1048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6" y="513"/>
                    <a:pt x="1191" y="513"/>
                  </a:cubicBezTo>
                  <a:cubicBezTo>
                    <a:pt x="1108" y="513"/>
                    <a:pt x="1036" y="596"/>
                    <a:pt x="1036" y="679"/>
                  </a:cubicBezTo>
                  <a:lnTo>
                    <a:pt x="1036" y="846"/>
                  </a:lnTo>
                  <a:cubicBezTo>
                    <a:pt x="1036" y="1037"/>
                    <a:pt x="870" y="1203"/>
                    <a:pt x="679" y="1203"/>
                  </a:cubicBezTo>
                  <a:cubicBezTo>
                    <a:pt x="477" y="1203"/>
                    <a:pt x="322" y="1037"/>
                    <a:pt x="322" y="846"/>
                  </a:cubicBezTo>
                  <a:lnTo>
                    <a:pt x="322" y="679"/>
                  </a:lnTo>
                  <a:cubicBezTo>
                    <a:pt x="322" y="489"/>
                    <a:pt x="477" y="322"/>
                    <a:pt x="679" y="322"/>
                  </a:cubicBezTo>
                  <a:cubicBezTo>
                    <a:pt x="763" y="322"/>
                    <a:pt x="834" y="251"/>
                    <a:pt x="834" y="156"/>
                  </a:cubicBezTo>
                  <a:cubicBezTo>
                    <a:pt x="834" y="72"/>
                    <a:pt x="763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9" name="Google Shape;13029;p63"/>
            <p:cNvSpPr/>
            <p:nvPr/>
          </p:nvSpPr>
          <p:spPr>
            <a:xfrm>
              <a:off x="4348781" y="164161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1"/>
                  </a:moveTo>
                  <a:cubicBezTo>
                    <a:pt x="298" y="1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8" y="596"/>
                    <a:pt x="1274" y="513"/>
                    <a:pt x="1191" y="513"/>
                  </a:cubicBezTo>
                  <a:cubicBezTo>
                    <a:pt x="1096" y="513"/>
                    <a:pt x="1024" y="596"/>
                    <a:pt x="1024" y="679"/>
                  </a:cubicBezTo>
                  <a:lnTo>
                    <a:pt x="1024" y="846"/>
                  </a:lnTo>
                  <a:cubicBezTo>
                    <a:pt x="1024" y="1037"/>
                    <a:pt x="858" y="1203"/>
                    <a:pt x="667" y="1203"/>
                  </a:cubicBezTo>
                  <a:cubicBezTo>
                    <a:pt x="477" y="1203"/>
                    <a:pt x="310" y="1037"/>
                    <a:pt x="310" y="846"/>
                  </a:cubicBezTo>
                  <a:lnTo>
                    <a:pt x="310" y="679"/>
                  </a:lnTo>
                  <a:cubicBezTo>
                    <a:pt x="310" y="489"/>
                    <a:pt x="477" y="322"/>
                    <a:pt x="667" y="322"/>
                  </a:cubicBezTo>
                  <a:cubicBezTo>
                    <a:pt x="762" y="322"/>
                    <a:pt x="834" y="251"/>
                    <a:pt x="834" y="156"/>
                  </a:cubicBezTo>
                  <a:cubicBezTo>
                    <a:pt x="834" y="72"/>
                    <a:pt x="762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0" name="Google Shape;13030;p63"/>
            <p:cNvSpPr/>
            <p:nvPr/>
          </p:nvSpPr>
          <p:spPr>
            <a:xfrm>
              <a:off x="4261517" y="1739922"/>
              <a:ext cx="119680" cy="59840"/>
            </a:xfrm>
            <a:custGeom>
              <a:avLst/>
              <a:gdLst/>
              <a:ahLst/>
              <a:cxnLst/>
              <a:rect l="l" t="t" r="r" b="b"/>
              <a:pathLst>
                <a:path w="3740" h="1870" extrusionOk="0">
                  <a:moveTo>
                    <a:pt x="3394" y="322"/>
                  </a:moveTo>
                  <a:cubicBezTo>
                    <a:pt x="3370" y="643"/>
                    <a:pt x="3192" y="941"/>
                    <a:pt x="2918" y="1167"/>
                  </a:cubicBezTo>
                  <a:cubicBezTo>
                    <a:pt x="2727" y="774"/>
                    <a:pt x="2323" y="513"/>
                    <a:pt x="1858" y="513"/>
                  </a:cubicBezTo>
                  <a:cubicBezTo>
                    <a:pt x="1418" y="513"/>
                    <a:pt x="1013" y="763"/>
                    <a:pt x="810" y="1167"/>
                  </a:cubicBezTo>
                  <a:cubicBezTo>
                    <a:pt x="549" y="941"/>
                    <a:pt x="370" y="655"/>
                    <a:pt x="334" y="322"/>
                  </a:cubicBezTo>
                  <a:close/>
                  <a:moveTo>
                    <a:pt x="1858" y="834"/>
                  </a:moveTo>
                  <a:cubicBezTo>
                    <a:pt x="2204" y="834"/>
                    <a:pt x="2513" y="1048"/>
                    <a:pt x="2644" y="1346"/>
                  </a:cubicBezTo>
                  <a:cubicBezTo>
                    <a:pt x="2477" y="1429"/>
                    <a:pt x="2263" y="1501"/>
                    <a:pt x="2025" y="1525"/>
                  </a:cubicBezTo>
                  <a:lnTo>
                    <a:pt x="2025" y="1346"/>
                  </a:lnTo>
                  <a:cubicBezTo>
                    <a:pt x="2025" y="1251"/>
                    <a:pt x="1953" y="1179"/>
                    <a:pt x="1858" y="1179"/>
                  </a:cubicBezTo>
                  <a:cubicBezTo>
                    <a:pt x="1775" y="1179"/>
                    <a:pt x="1703" y="1251"/>
                    <a:pt x="1703" y="1346"/>
                  </a:cubicBezTo>
                  <a:lnTo>
                    <a:pt x="1703" y="1525"/>
                  </a:lnTo>
                  <a:cubicBezTo>
                    <a:pt x="1477" y="1501"/>
                    <a:pt x="1251" y="1429"/>
                    <a:pt x="1072" y="1346"/>
                  </a:cubicBezTo>
                  <a:cubicBezTo>
                    <a:pt x="1203" y="1036"/>
                    <a:pt x="1525" y="834"/>
                    <a:pt x="1858" y="834"/>
                  </a:cubicBezTo>
                  <a:close/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1108"/>
                    <a:pt x="834" y="1870"/>
                    <a:pt x="1858" y="1870"/>
                  </a:cubicBezTo>
                  <a:cubicBezTo>
                    <a:pt x="2894" y="1870"/>
                    <a:pt x="3728" y="1108"/>
                    <a:pt x="3728" y="167"/>
                  </a:cubicBezTo>
                  <a:cubicBezTo>
                    <a:pt x="3739" y="84"/>
                    <a:pt x="3668" y="1"/>
                    <a:pt x="3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1" name="Google Shape;13031;p63"/>
            <p:cNvSpPr/>
            <p:nvPr/>
          </p:nvSpPr>
          <p:spPr>
            <a:xfrm>
              <a:off x="4221517" y="1614482"/>
              <a:ext cx="199296" cy="206624"/>
            </a:xfrm>
            <a:custGeom>
              <a:avLst/>
              <a:gdLst/>
              <a:ahLst/>
              <a:cxnLst/>
              <a:rect l="l" t="t" r="r" b="b"/>
              <a:pathLst>
                <a:path w="6228" h="6457" extrusionOk="0">
                  <a:moveTo>
                    <a:pt x="1764" y="1"/>
                  </a:moveTo>
                  <a:cubicBezTo>
                    <a:pt x="1669" y="1"/>
                    <a:pt x="1573" y="9"/>
                    <a:pt x="1477" y="27"/>
                  </a:cubicBezTo>
                  <a:cubicBezTo>
                    <a:pt x="763" y="134"/>
                    <a:pt x="191" y="706"/>
                    <a:pt x="72" y="1420"/>
                  </a:cubicBezTo>
                  <a:cubicBezTo>
                    <a:pt x="1" y="1920"/>
                    <a:pt x="132" y="2408"/>
                    <a:pt x="453" y="2778"/>
                  </a:cubicBezTo>
                  <a:cubicBezTo>
                    <a:pt x="632" y="2992"/>
                    <a:pt x="656" y="3266"/>
                    <a:pt x="548" y="3528"/>
                  </a:cubicBezTo>
                  <a:cubicBezTo>
                    <a:pt x="453" y="3766"/>
                    <a:pt x="406" y="4004"/>
                    <a:pt x="406" y="4254"/>
                  </a:cubicBezTo>
                  <a:cubicBezTo>
                    <a:pt x="406" y="5468"/>
                    <a:pt x="1620" y="6457"/>
                    <a:pt x="3108" y="6457"/>
                  </a:cubicBezTo>
                  <a:cubicBezTo>
                    <a:pt x="4597" y="6457"/>
                    <a:pt x="5823" y="5468"/>
                    <a:pt x="5823" y="4254"/>
                  </a:cubicBezTo>
                  <a:cubicBezTo>
                    <a:pt x="5823" y="4004"/>
                    <a:pt x="5775" y="3766"/>
                    <a:pt x="5668" y="3528"/>
                  </a:cubicBezTo>
                  <a:cubicBezTo>
                    <a:pt x="5573" y="3266"/>
                    <a:pt x="5609" y="2992"/>
                    <a:pt x="5775" y="2778"/>
                  </a:cubicBezTo>
                  <a:cubicBezTo>
                    <a:pt x="6085" y="2408"/>
                    <a:pt x="6228" y="1920"/>
                    <a:pt x="6144" y="1420"/>
                  </a:cubicBezTo>
                  <a:cubicBezTo>
                    <a:pt x="6109" y="1146"/>
                    <a:pt x="5990" y="861"/>
                    <a:pt x="5787" y="634"/>
                  </a:cubicBezTo>
                  <a:cubicBezTo>
                    <a:pt x="5754" y="595"/>
                    <a:pt x="5714" y="577"/>
                    <a:pt x="5673" y="577"/>
                  </a:cubicBezTo>
                  <a:cubicBezTo>
                    <a:pt x="5639" y="577"/>
                    <a:pt x="5605" y="589"/>
                    <a:pt x="5573" y="611"/>
                  </a:cubicBezTo>
                  <a:cubicBezTo>
                    <a:pt x="5489" y="658"/>
                    <a:pt x="5489" y="753"/>
                    <a:pt x="5537" y="825"/>
                  </a:cubicBezTo>
                  <a:cubicBezTo>
                    <a:pt x="5692" y="1027"/>
                    <a:pt x="5787" y="1230"/>
                    <a:pt x="5823" y="1468"/>
                  </a:cubicBezTo>
                  <a:cubicBezTo>
                    <a:pt x="5882" y="1873"/>
                    <a:pt x="5775" y="2254"/>
                    <a:pt x="5525" y="2575"/>
                  </a:cubicBezTo>
                  <a:cubicBezTo>
                    <a:pt x="5263" y="2873"/>
                    <a:pt x="5216" y="3290"/>
                    <a:pt x="5370" y="3635"/>
                  </a:cubicBezTo>
                  <a:cubicBezTo>
                    <a:pt x="5466" y="3837"/>
                    <a:pt x="5513" y="4040"/>
                    <a:pt x="5513" y="4254"/>
                  </a:cubicBezTo>
                  <a:cubicBezTo>
                    <a:pt x="5513" y="5290"/>
                    <a:pt x="4430" y="6123"/>
                    <a:pt x="3108" y="6123"/>
                  </a:cubicBezTo>
                  <a:cubicBezTo>
                    <a:pt x="1787" y="6123"/>
                    <a:pt x="715" y="5278"/>
                    <a:pt x="715" y="4254"/>
                  </a:cubicBezTo>
                  <a:cubicBezTo>
                    <a:pt x="715" y="4040"/>
                    <a:pt x="763" y="3837"/>
                    <a:pt x="846" y="3635"/>
                  </a:cubicBezTo>
                  <a:cubicBezTo>
                    <a:pt x="1013" y="3290"/>
                    <a:pt x="953" y="2873"/>
                    <a:pt x="703" y="2575"/>
                  </a:cubicBezTo>
                  <a:cubicBezTo>
                    <a:pt x="441" y="2254"/>
                    <a:pt x="346" y="1873"/>
                    <a:pt x="406" y="1468"/>
                  </a:cubicBezTo>
                  <a:cubicBezTo>
                    <a:pt x="489" y="884"/>
                    <a:pt x="953" y="432"/>
                    <a:pt x="1537" y="337"/>
                  </a:cubicBezTo>
                  <a:cubicBezTo>
                    <a:pt x="1606" y="327"/>
                    <a:pt x="1676" y="322"/>
                    <a:pt x="1746" y="322"/>
                  </a:cubicBezTo>
                  <a:cubicBezTo>
                    <a:pt x="2090" y="322"/>
                    <a:pt x="2422" y="444"/>
                    <a:pt x="2680" y="682"/>
                  </a:cubicBezTo>
                  <a:cubicBezTo>
                    <a:pt x="2805" y="795"/>
                    <a:pt x="2962" y="852"/>
                    <a:pt x="3120" y="852"/>
                  </a:cubicBezTo>
                  <a:cubicBezTo>
                    <a:pt x="3278" y="852"/>
                    <a:pt x="3436" y="795"/>
                    <a:pt x="3561" y="682"/>
                  </a:cubicBezTo>
                  <a:cubicBezTo>
                    <a:pt x="3818" y="444"/>
                    <a:pt x="4150" y="322"/>
                    <a:pt x="4495" y="322"/>
                  </a:cubicBezTo>
                  <a:cubicBezTo>
                    <a:pt x="4564" y="322"/>
                    <a:pt x="4634" y="327"/>
                    <a:pt x="4704" y="337"/>
                  </a:cubicBezTo>
                  <a:cubicBezTo>
                    <a:pt x="4835" y="349"/>
                    <a:pt x="4966" y="396"/>
                    <a:pt x="5097" y="456"/>
                  </a:cubicBezTo>
                  <a:cubicBezTo>
                    <a:pt x="5117" y="469"/>
                    <a:pt x="5139" y="475"/>
                    <a:pt x="5162" y="475"/>
                  </a:cubicBezTo>
                  <a:cubicBezTo>
                    <a:pt x="5221" y="475"/>
                    <a:pt x="5282" y="436"/>
                    <a:pt x="5299" y="384"/>
                  </a:cubicBezTo>
                  <a:cubicBezTo>
                    <a:pt x="5323" y="313"/>
                    <a:pt x="5299" y="206"/>
                    <a:pt x="5228" y="170"/>
                  </a:cubicBezTo>
                  <a:cubicBezTo>
                    <a:pt x="5073" y="99"/>
                    <a:pt x="4918" y="39"/>
                    <a:pt x="4751" y="27"/>
                  </a:cubicBezTo>
                  <a:cubicBezTo>
                    <a:pt x="4664" y="15"/>
                    <a:pt x="4577" y="9"/>
                    <a:pt x="4491" y="9"/>
                  </a:cubicBezTo>
                  <a:cubicBezTo>
                    <a:pt x="4063" y="9"/>
                    <a:pt x="3662" y="156"/>
                    <a:pt x="3334" y="444"/>
                  </a:cubicBezTo>
                  <a:cubicBezTo>
                    <a:pt x="3275" y="503"/>
                    <a:pt x="3192" y="533"/>
                    <a:pt x="3108" y="533"/>
                  </a:cubicBezTo>
                  <a:cubicBezTo>
                    <a:pt x="3025" y="533"/>
                    <a:pt x="2942" y="503"/>
                    <a:pt x="2882" y="444"/>
                  </a:cubicBezTo>
                  <a:cubicBezTo>
                    <a:pt x="2572" y="163"/>
                    <a:pt x="2176" y="1"/>
                    <a:pt x="17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32" name="Google Shape;13032;p63"/>
          <p:cNvGrpSpPr/>
          <p:nvPr/>
        </p:nvGrpSpPr>
        <p:grpSpPr>
          <a:xfrm>
            <a:off x="2499405" y="1499890"/>
            <a:ext cx="347488" cy="348256"/>
            <a:chOff x="2499405" y="1499890"/>
            <a:chExt cx="347488" cy="348256"/>
          </a:xfrm>
        </p:grpSpPr>
        <p:sp>
          <p:nvSpPr>
            <p:cNvPr id="13033" name="Google Shape;13033;p63"/>
            <p:cNvSpPr/>
            <p:nvPr/>
          </p:nvSpPr>
          <p:spPr>
            <a:xfrm>
              <a:off x="2634669" y="1725842"/>
              <a:ext cx="75840" cy="38496"/>
            </a:xfrm>
            <a:custGeom>
              <a:avLst/>
              <a:gdLst/>
              <a:ahLst/>
              <a:cxnLst/>
              <a:rect l="l" t="t" r="r" b="b"/>
              <a:pathLst>
                <a:path w="2370" h="1203" extrusionOk="0">
                  <a:moveTo>
                    <a:pt x="1965" y="310"/>
                  </a:moveTo>
                  <a:cubicBezTo>
                    <a:pt x="2012" y="310"/>
                    <a:pt x="2024" y="333"/>
                    <a:pt x="2024" y="357"/>
                  </a:cubicBezTo>
                  <a:cubicBezTo>
                    <a:pt x="2024" y="381"/>
                    <a:pt x="2024" y="417"/>
                    <a:pt x="2000" y="429"/>
                  </a:cubicBezTo>
                  <a:lnTo>
                    <a:pt x="1643" y="726"/>
                  </a:lnTo>
                  <a:cubicBezTo>
                    <a:pt x="1506" y="839"/>
                    <a:pt x="1346" y="896"/>
                    <a:pt x="1185" y="896"/>
                  </a:cubicBezTo>
                  <a:cubicBezTo>
                    <a:pt x="1024" y="896"/>
                    <a:pt x="863" y="839"/>
                    <a:pt x="726" y="726"/>
                  </a:cubicBezTo>
                  <a:lnTo>
                    <a:pt x="369" y="429"/>
                  </a:lnTo>
                  <a:cubicBezTo>
                    <a:pt x="345" y="405"/>
                    <a:pt x="345" y="369"/>
                    <a:pt x="357" y="357"/>
                  </a:cubicBezTo>
                  <a:cubicBezTo>
                    <a:pt x="357" y="333"/>
                    <a:pt x="369" y="310"/>
                    <a:pt x="417" y="310"/>
                  </a:cubicBezTo>
                  <a:close/>
                  <a:moveTo>
                    <a:pt x="417" y="0"/>
                  </a:moveTo>
                  <a:cubicBezTo>
                    <a:pt x="250" y="0"/>
                    <a:pt x="119" y="107"/>
                    <a:pt x="60" y="250"/>
                  </a:cubicBezTo>
                  <a:cubicBezTo>
                    <a:pt x="0" y="405"/>
                    <a:pt x="48" y="560"/>
                    <a:pt x="179" y="667"/>
                  </a:cubicBezTo>
                  <a:lnTo>
                    <a:pt x="536" y="964"/>
                  </a:lnTo>
                  <a:cubicBezTo>
                    <a:pt x="726" y="1131"/>
                    <a:pt x="965" y="1203"/>
                    <a:pt x="1191" y="1203"/>
                  </a:cubicBezTo>
                  <a:cubicBezTo>
                    <a:pt x="1429" y="1203"/>
                    <a:pt x="1655" y="1131"/>
                    <a:pt x="1846" y="964"/>
                  </a:cubicBezTo>
                  <a:lnTo>
                    <a:pt x="2203" y="667"/>
                  </a:lnTo>
                  <a:cubicBezTo>
                    <a:pt x="2322" y="583"/>
                    <a:pt x="2370" y="417"/>
                    <a:pt x="2322" y="250"/>
                  </a:cubicBezTo>
                  <a:cubicBezTo>
                    <a:pt x="2262" y="107"/>
                    <a:pt x="2131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4" name="Google Shape;13034;p63"/>
            <p:cNvSpPr/>
            <p:nvPr/>
          </p:nvSpPr>
          <p:spPr>
            <a:xfrm>
              <a:off x="2596173" y="1658002"/>
              <a:ext cx="43456" cy="48416"/>
            </a:xfrm>
            <a:custGeom>
              <a:avLst/>
              <a:gdLst/>
              <a:ahLst/>
              <a:cxnLst/>
              <a:rect l="l" t="t" r="r" b="b"/>
              <a:pathLst>
                <a:path w="1358" h="1513" extrusionOk="0">
                  <a:moveTo>
                    <a:pt x="667" y="1"/>
                  </a:moveTo>
                  <a:cubicBezTo>
                    <a:pt x="298" y="1"/>
                    <a:pt x="1" y="298"/>
                    <a:pt x="1" y="679"/>
                  </a:cubicBezTo>
                  <a:lnTo>
                    <a:pt x="1" y="834"/>
                  </a:lnTo>
                  <a:cubicBezTo>
                    <a:pt x="1" y="1215"/>
                    <a:pt x="298" y="1513"/>
                    <a:pt x="667" y="1513"/>
                  </a:cubicBezTo>
                  <a:cubicBezTo>
                    <a:pt x="1036" y="1513"/>
                    <a:pt x="1334" y="1215"/>
                    <a:pt x="1334" y="834"/>
                  </a:cubicBezTo>
                  <a:lnTo>
                    <a:pt x="1334" y="679"/>
                  </a:lnTo>
                  <a:cubicBezTo>
                    <a:pt x="1358" y="584"/>
                    <a:pt x="1275" y="525"/>
                    <a:pt x="1191" y="525"/>
                  </a:cubicBezTo>
                  <a:cubicBezTo>
                    <a:pt x="1096" y="525"/>
                    <a:pt x="1025" y="596"/>
                    <a:pt x="1025" y="691"/>
                  </a:cubicBezTo>
                  <a:lnTo>
                    <a:pt x="1025" y="858"/>
                  </a:lnTo>
                  <a:cubicBezTo>
                    <a:pt x="1025" y="1048"/>
                    <a:pt x="858" y="1215"/>
                    <a:pt x="667" y="1215"/>
                  </a:cubicBezTo>
                  <a:cubicBezTo>
                    <a:pt x="477" y="1215"/>
                    <a:pt x="310" y="1048"/>
                    <a:pt x="310" y="858"/>
                  </a:cubicBezTo>
                  <a:lnTo>
                    <a:pt x="310" y="691"/>
                  </a:lnTo>
                  <a:cubicBezTo>
                    <a:pt x="310" y="501"/>
                    <a:pt x="477" y="334"/>
                    <a:pt x="667" y="334"/>
                  </a:cubicBezTo>
                  <a:cubicBezTo>
                    <a:pt x="763" y="334"/>
                    <a:pt x="834" y="263"/>
                    <a:pt x="834" y="167"/>
                  </a:cubicBezTo>
                  <a:cubicBezTo>
                    <a:pt x="834" y="84"/>
                    <a:pt x="763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5" name="Google Shape;13035;p63"/>
            <p:cNvSpPr/>
            <p:nvPr/>
          </p:nvSpPr>
          <p:spPr>
            <a:xfrm>
              <a:off x="2705133" y="1658002"/>
              <a:ext cx="43488" cy="48416"/>
            </a:xfrm>
            <a:custGeom>
              <a:avLst/>
              <a:gdLst/>
              <a:ahLst/>
              <a:cxnLst/>
              <a:rect l="l" t="t" r="r" b="b"/>
              <a:pathLst>
                <a:path w="1359" h="1513" extrusionOk="0">
                  <a:moveTo>
                    <a:pt x="668" y="1"/>
                  </a:moveTo>
                  <a:cubicBezTo>
                    <a:pt x="298" y="1"/>
                    <a:pt x="1" y="298"/>
                    <a:pt x="1" y="679"/>
                  </a:cubicBezTo>
                  <a:lnTo>
                    <a:pt x="1" y="834"/>
                  </a:lnTo>
                  <a:cubicBezTo>
                    <a:pt x="1" y="1215"/>
                    <a:pt x="298" y="1513"/>
                    <a:pt x="668" y="1513"/>
                  </a:cubicBezTo>
                  <a:cubicBezTo>
                    <a:pt x="1037" y="1513"/>
                    <a:pt x="1334" y="1215"/>
                    <a:pt x="1334" y="834"/>
                  </a:cubicBezTo>
                  <a:lnTo>
                    <a:pt x="1334" y="679"/>
                  </a:lnTo>
                  <a:cubicBezTo>
                    <a:pt x="1358" y="584"/>
                    <a:pt x="1287" y="525"/>
                    <a:pt x="1191" y="525"/>
                  </a:cubicBezTo>
                  <a:cubicBezTo>
                    <a:pt x="1096" y="525"/>
                    <a:pt x="1025" y="596"/>
                    <a:pt x="1025" y="691"/>
                  </a:cubicBezTo>
                  <a:lnTo>
                    <a:pt x="1025" y="858"/>
                  </a:lnTo>
                  <a:cubicBezTo>
                    <a:pt x="1025" y="1048"/>
                    <a:pt x="858" y="1215"/>
                    <a:pt x="668" y="1215"/>
                  </a:cubicBezTo>
                  <a:cubicBezTo>
                    <a:pt x="477" y="1215"/>
                    <a:pt x="310" y="1048"/>
                    <a:pt x="310" y="858"/>
                  </a:cubicBezTo>
                  <a:lnTo>
                    <a:pt x="310" y="691"/>
                  </a:lnTo>
                  <a:cubicBezTo>
                    <a:pt x="310" y="501"/>
                    <a:pt x="477" y="334"/>
                    <a:pt x="668" y="334"/>
                  </a:cubicBezTo>
                  <a:cubicBezTo>
                    <a:pt x="763" y="334"/>
                    <a:pt x="834" y="263"/>
                    <a:pt x="834" y="167"/>
                  </a:cubicBezTo>
                  <a:cubicBezTo>
                    <a:pt x="834" y="84"/>
                    <a:pt x="763" y="1"/>
                    <a:pt x="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6" name="Google Shape;13036;p63"/>
            <p:cNvSpPr/>
            <p:nvPr/>
          </p:nvSpPr>
          <p:spPr>
            <a:xfrm>
              <a:off x="2499405" y="1499890"/>
              <a:ext cx="347488" cy="348256"/>
            </a:xfrm>
            <a:custGeom>
              <a:avLst/>
              <a:gdLst/>
              <a:ahLst/>
              <a:cxnLst/>
              <a:rect l="l" t="t" r="r" b="b"/>
              <a:pathLst>
                <a:path w="10859" h="10883" extrusionOk="0">
                  <a:moveTo>
                    <a:pt x="2102" y="1361"/>
                  </a:moveTo>
                  <a:cubicBezTo>
                    <a:pt x="2136" y="1361"/>
                    <a:pt x="2169" y="1364"/>
                    <a:pt x="2203" y="1370"/>
                  </a:cubicBezTo>
                  <a:cubicBezTo>
                    <a:pt x="2382" y="1406"/>
                    <a:pt x="2917" y="1537"/>
                    <a:pt x="3549" y="1953"/>
                  </a:cubicBezTo>
                  <a:cubicBezTo>
                    <a:pt x="3441" y="1989"/>
                    <a:pt x="3346" y="2048"/>
                    <a:pt x="3263" y="2108"/>
                  </a:cubicBezTo>
                  <a:cubicBezTo>
                    <a:pt x="3227" y="2132"/>
                    <a:pt x="3191" y="2156"/>
                    <a:pt x="3144" y="2191"/>
                  </a:cubicBezTo>
                  <a:cubicBezTo>
                    <a:pt x="2715" y="1763"/>
                    <a:pt x="2239" y="1525"/>
                    <a:pt x="1965" y="1477"/>
                  </a:cubicBezTo>
                  <a:cubicBezTo>
                    <a:pt x="1905" y="1465"/>
                    <a:pt x="1846" y="1465"/>
                    <a:pt x="1798" y="1465"/>
                  </a:cubicBezTo>
                  <a:cubicBezTo>
                    <a:pt x="1889" y="1392"/>
                    <a:pt x="1994" y="1361"/>
                    <a:pt x="2102" y="1361"/>
                  </a:cubicBezTo>
                  <a:close/>
                  <a:moveTo>
                    <a:pt x="6442" y="346"/>
                  </a:moveTo>
                  <a:cubicBezTo>
                    <a:pt x="6906" y="346"/>
                    <a:pt x="7311" y="477"/>
                    <a:pt x="7525" y="572"/>
                  </a:cubicBezTo>
                  <a:lnTo>
                    <a:pt x="7347" y="751"/>
                  </a:lnTo>
                  <a:cubicBezTo>
                    <a:pt x="7311" y="798"/>
                    <a:pt x="7287" y="846"/>
                    <a:pt x="7311" y="894"/>
                  </a:cubicBezTo>
                  <a:cubicBezTo>
                    <a:pt x="7323" y="953"/>
                    <a:pt x="7370" y="1001"/>
                    <a:pt x="7430" y="1013"/>
                  </a:cubicBezTo>
                  <a:cubicBezTo>
                    <a:pt x="7632" y="1072"/>
                    <a:pt x="7847" y="1132"/>
                    <a:pt x="8025" y="1215"/>
                  </a:cubicBezTo>
                  <a:cubicBezTo>
                    <a:pt x="7692" y="1334"/>
                    <a:pt x="7263" y="1537"/>
                    <a:pt x="6811" y="1894"/>
                  </a:cubicBezTo>
                  <a:cubicBezTo>
                    <a:pt x="6608" y="1906"/>
                    <a:pt x="6382" y="1953"/>
                    <a:pt x="6144" y="2048"/>
                  </a:cubicBezTo>
                  <a:cubicBezTo>
                    <a:pt x="5835" y="2144"/>
                    <a:pt x="5561" y="2299"/>
                    <a:pt x="5430" y="2370"/>
                  </a:cubicBezTo>
                  <a:cubicBezTo>
                    <a:pt x="5299" y="2299"/>
                    <a:pt x="5025" y="2144"/>
                    <a:pt x="4715" y="2048"/>
                  </a:cubicBezTo>
                  <a:cubicBezTo>
                    <a:pt x="4465" y="1953"/>
                    <a:pt x="4239" y="1906"/>
                    <a:pt x="4049" y="1894"/>
                  </a:cubicBezTo>
                  <a:cubicBezTo>
                    <a:pt x="3596" y="1548"/>
                    <a:pt x="3168" y="1346"/>
                    <a:pt x="2846" y="1215"/>
                  </a:cubicBezTo>
                  <a:cubicBezTo>
                    <a:pt x="2989" y="1132"/>
                    <a:pt x="3203" y="1060"/>
                    <a:pt x="3406" y="1013"/>
                  </a:cubicBezTo>
                  <a:cubicBezTo>
                    <a:pt x="3465" y="1001"/>
                    <a:pt x="3513" y="953"/>
                    <a:pt x="3525" y="894"/>
                  </a:cubicBezTo>
                  <a:cubicBezTo>
                    <a:pt x="3537" y="834"/>
                    <a:pt x="3525" y="775"/>
                    <a:pt x="3489" y="751"/>
                  </a:cubicBezTo>
                  <a:lnTo>
                    <a:pt x="3298" y="572"/>
                  </a:lnTo>
                  <a:cubicBezTo>
                    <a:pt x="3525" y="477"/>
                    <a:pt x="3930" y="346"/>
                    <a:pt x="4394" y="346"/>
                  </a:cubicBezTo>
                  <a:cubicBezTo>
                    <a:pt x="4751" y="346"/>
                    <a:pt x="5013" y="453"/>
                    <a:pt x="5168" y="536"/>
                  </a:cubicBezTo>
                  <a:cubicBezTo>
                    <a:pt x="5239" y="584"/>
                    <a:pt x="5328" y="608"/>
                    <a:pt x="5418" y="608"/>
                  </a:cubicBezTo>
                  <a:cubicBezTo>
                    <a:pt x="5507" y="608"/>
                    <a:pt x="5596" y="584"/>
                    <a:pt x="5668" y="536"/>
                  </a:cubicBezTo>
                  <a:cubicBezTo>
                    <a:pt x="5823" y="453"/>
                    <a:pt x="6073" y="346"/>
                    <a:pt x="6442" y="346"/>
                  </a:cubicBezTo>
                  <a:close/>
                  <a:moveTo>
                    <a:pt x="1840" y="1782"/>
                  </a:moveTo>
                  <a:cubicBezTo>
                    <a:pt x="1869" y="1782"/>
                    <a:pt x="1902" y="1784"/>
                    <a:pt x="1941" y="1787"/>
                  </a:cubicBezTo>
                  <a:cubicBezTo>
                    <a:pt x="2120" y="1822"/>
                    <a:pt x="2513" y="2013"/>
                    <a:pt x="2929" y="2406"/>
                  </a:cubicBezTo>
                  <a:cubicBezTo>
                    <a:pt x="2727" y="2644"/>
                    <a:pt x="2489" y="2953"/>
                    <a:pt x="2275" y="3394"/>
                  </a:cubicBezTo>
                  <a:cubicBezTo>
                    <a:pt x="1917" y="2953"/>
                    <a:pt x="1727" y="2358"/>
                    <a:pt x="1667" y="1894"/>
                  </a:cubicBezTo>
                  <a:cubicBezTo>
                    <a:pt x="1667" y="1882"/>
                    <a:pt x="1667" y="1834"/>
                    <a:pt x="1679" y="1822"/>
                  </a:cubicBezTo>
                  <a:cubicBezTo>
                    <a:pt x="1706" y="1795"/>
                    <a:pt x="1753" y="1782"/>
                    <a:pt x="1840" y="1782"/>
                  </a:cubicBezTo>
                  <a:close/>
                  <a:moveTo>
                    <a:pt x="8691" y="1364"/>
                  </a:moveTo>
                  <a:cubicBezTo>
                    <a:pt x="8804" y="1364"/>
                    <a:pt x="8923" y="1408"/>
                    <a:pt x="9002" y="1477"/>
                  </a:cubicBezTo>
                  <a:cubicBezTo>
                    <a:pt x="8942" y="1477"/>
                    <a:pt x="8906" y="1477"/>
                    <a:pt x="8847" y="1489"/>
                  </a:cubicBezTo>
                  <a:cubicBezTo>
                    <a:pt x="8704" y="1513"/>
                    <a:pt x="8513" y="1584"/>
                    <a:pt x="8335" y="1703"/>
                  </a:cubicBezTo>
                  <a:cubicBezTo>
                    <a:pt x="8263" y="1751"/>
                    <a:pt x="8228" y="1834"/>
                    <a:pt x="8275" y="1929"/>
                  </a:cubicBezTo>
                  <a:cubicBezTo>
                    <a:pt x="8308" y="1979"/>
                    <a:pt x="8358" y="2005"/>
                    <a:pt x="8417" y="2005"/>
                  </a:cubicBezTo>
                  <a:cubicBezTo>
                    <a:pt x="8444" y="2005"/>
                    <a:pt x="8472" y="2000"/>
                    <a:pt x="8502" y="1989"/>
                  </a:cubicBezTo>
                  <a:cubicBezTo>
                    <a:pt x="8644" y="1894"/>
                    <a:pt x="8799" y="1834"/>
                    <a:pt x="8906" y="1822"/>
                  </a:cubicBezTo>
                  <a:cubicBezTo>
                    <a:pt x="8948" y="1815"/>
                    <a:pt x="8984" y="1812"/>
                    <a:pt x="9014" y="1812"/>
                  </a:cubicBezTo>
                  <a:cubicBezTo>
                    <a:pt x="9088" y="1812"/>
                    <a:pt x="9131" y="1829"/>
                    <a:pt x="9156" y="1846"/>
                  </a:cubicBezTo>
                  <a:cubicBezTo>
                    <a:pt x="9168" y="1858"/>
                    <a:pt x="9180" y="1906"/>
                    <a:pt x="9168" y="1941"/>
                  </a:cubicBezTo>
                  <a:cubicBezTo>
                    <a:pt x="9109" y="2382"/>
                    <a:pt x="8918" y="2977"/>
                    <a:pt x="8561" y="3442"/>
                  </a:cubicBezTo>
                  <a:cubicBezTo>
                    <a:pt x="8347" y="3013"/>
                    <a:pt x="8109" y="2680"/>
                    <a:pt x="7906" y="2441"/>
                  </a:cubicBezTo>
                  <a:cubicBezTo>
                    <a:pt x="7930" y="2418"/>
                    <a:pt x="7966" y="2406"/>
                    <a:pt x="7978" y="2370"/>
                  </a:cubicBezTo>
                  <a:cubicBezTo>
                    <a:pt x="8037" y="2310"/>
                    <a:pt x="8049" y="2203"/>
                    <a:pt x="7990" y="2144"/>
                  </a:cubicBezTo>
                  <a:cubicBezTo>
                    <a:pt x="7957" y="2111"/>
                    <a:pt x="7913" y="2093"/>
                    <a:pt x="7871" y="2093"/>
                  </a:cubicBezTo>
                  <a:cubicBezTo>
                    <a:pt x="7836" y="2093"/>
                    <a:pt x="7802" y="2105"/>
                    <a:pt x="7775" y="2132"/>
                  </a:cubicBezTo>
                  <a:lnTo>
                    <a:pt x="7680" y="2227"/>
                  </a:lnTo>
                  <a:cubicBezTo>
                    <a:pt x="7632" y="2191"/>
                    <a:pt x="7609" y="2168"/>
                    <a:pt x="7561" y="2132"/>
                  </a:cubicBezTo>
                  <a:cubicBezTo>
                    <a:pt x="7478" y="2072"/>
                    <a:pt x="7382" y="2013"/>
                    <a:pt x="7275" y="1989"/>
                  </a:cubicBezTo>
                  <a:cubicBezTo>
                    <a:pt x="7894" y="1537"/>
                    <a:pt x="8442" y="1406"/>
                    <a:pt x="8621" y="1370"/>
                  </a:cubicBezTo>
                  <a:cubicBezTo>
                    <a:pt x="8643" y="1366"/>
                    <a:pt x="8667" y="1364"/>
                    <a:pt x="8691" y="1364"/>
                  </a:cubicBezTo>
                  <a:close/>
                  <a:moveTo>
                    <a:pt x="6873" y="2207"/>
                  </a:moveTo>
                  <a:cubicBezTo>
                    <a:pt x="7051" y="2207"/>
                    <a:pt x="7212" y="2247"/>
                    <a:pt x="7335" y="2346"/>
                  </a:cubicBezTo>
                  <a:cubicBezTo>
                    <a:pt x="8168" y="3001"/>
                    <a:pt x="8585" y="4334"/>
                    <a:pt x="8763" y="5085"/>
                  </a:cubicBezTo>
                  <a:cubicBezTo>
                    <a:pt x="9013" y="6168"/>
                    <a:pt x="9049" y="7144"/>
                    <a:pt x="8978" y="7442"/>
                  </a:cubicBezTo>
                  <a:cubicBezTo>
                    <a:pt x="8930" y="7656"/>
                    <a:pt x="8632" y="7966"/>
                    <a:pt x="8240" y="8264"/>
                  </a:cubicBezTo>
                  <a:cubicBezTo>
                    <a:pt x="7859" y="8549"/>
                    <a:pt x="7430" y="8787"/>
                    <a:pt x="6978" y="8954"/>
                  </a:cubicBezTo>
                  <a:cubicBezTo>
                    <a:pt x="7323" y="8704"/>
                    <a:pt x="7549" y="8323"/>
                    <a:pt x="7549" y="7883"/>
                  </a:cubicBezTo>
                  <a:cubicBezTo>
                    <a:pt x="7561" y="7787"/>
                    <a:pt x="7489" y="7716"/>
                    <a:pt x="7394" y="7716"/>
                  </a:cubicBezTo>
                  <a:cubicBezTo>
                    <a:pt x="7311" y="7716"/>
                    <a:pt x="7228" y="7787"/>
                    <a:pt x="7228" y="7883"/>
                  </a:cubicBezTo>
                  <a:cubicBezTo>
                    <a:pt x="7228" y="8418"/>
                    <a:pt x="6799" y="8859"/>
                    <a:pt x="6263" y="8859"/>
                  </a:cubicBezTo>
                  <a:cubicBezTo>
                    <a:pt x="6037" y="8859"/>
                    <a:pt x="5835" y="8787"/>
                    <a:pt x="5656" y="8656"/>
                  </a:cubicBezTo>
                  <a:cubicBezTo>
                    <a:pt x="5579" y="8597"/>
                    <a:pt x="5486" y="8567"/>
                    <a:pt x="5394" y="8567"/>
                  </a:cubicBezTo>
                  <a:cubicBezTo>
                    <a:pt x="5302" y="8567"/>
                    <a:pt x="5209" y="8597"/>
                    <a:pt x="5132" y="8656"/>
                  </a:cubicBezTo>
                  <a:cubicBezTo>
                    <a:pt x="4953" y="8787"/>
                    <a:pt x="4751" y="8859"/>
                    <a:pt x="4525" y="8859"/>
                  </a:cubicBezTo>
                  <a:cubicBezTo>
                    <a:pt x="3989" y="8859"/>
                    <a:pt x="3560" y="8418"/>
                    <a:pt x="3560" y="7883"/>
                  </a:cubicBezTo>
                  <a:cubicBezTo>
                    <a:pt x="3560" y="7787"/>
                    <a:pt x="3477" y="7716"/>
                    <a:pt x="3394" y="7716"/>
                  </a:cubicBezTo>
                  <a:cubicBezTo>
                    <a:pt x="3298" y="7716"/>
                    <a:pt x="3227" y="7787"/>
                    <a:pt x="3227" y="7883"/>
                  </a:cubicBezTo>
                  <a:cubicBezTo>
                    <a:pt x="3227" y="8323"/>
                    <a:pt x="3453" y="8728"/>
                    <a:pt x="3799" y="8954"/>
                  </a:cubicBezTo>
                  <a:cubicBezTo>
                    <a:pt x="3346" y="8787"/>
                    <a:pt x="2917" y="8549"/>
                    <a:pt x="2525" y="8264"/>
                  </a:cubicBezTo>
                  <a:cubicBezTo>
                    <a:pt x="2144" y="7966"/>
                    <a:pt x="1846" y="7656"/>
                    <a:pt x="1798" y="7442"/>
                  </a:cubicBezTo>
                  <a:cubicBezTo>
                    <a:pt x="1727" y="7144"/>
                    <a:pt x="1751" y="6168"/>
                    <a:pt x="2013" y="5085"/>
                  </a:cubicBezTo>
                  <a:cubicBezTo>
                    <a:pt x="2191" y="4334"/>
                    <a:pt x="2608" y="3001"/>
                    <a:pt x="3441" y="2346"/>
                  </a:cubicBezTo>
                  <a:cubicBezTo>
                    <a:pt x="3562" y="2252"/>
                    <a:pt x="3719" y="2214"/>
                    <a:pt x="3893" y="2214"/>
                  </a:cubicBezTo>
                  <a:cubicBezTo>
                    <a:pt x="4356" y="2214"/>
                    <a:pt x="4933" y="2479"/>
                    <a:pt x="5227" y="2644"/>
                  </a:cubicBezTo>
                  <a:lnTo>
                    <a:pt x="5227" y="2894"/>
                  </a:lnTo>
                  <a:cubicBezTo>
                    <a:pt x="5227" y="2977"/>
                    <a:pt x="5299" y="3061"/>
                    <a:pt x="5382" y="3061"/>
                  </a:cubicBezTo>
                  <a:cubicBezTo>
                    <a:pt x="5477" y="3061"/>
                    <a:pt x="5549" y="2977"/>
                    <a:pt x="5549" y="2894"/>
                  </a:cubicBezTo>
                  <a:lnTo>
                    <a:pt x="5549" y="2644"/>
                  </a:lnTo>
                  <a:cubicBezTo>
                    <a:pt x="5841" y="2472"/>
                    <a:pt x="6412" y="2207"/>
                    <a:pt x="6873" y="2207"/>
                  </a:cubicBezTo>
                  <a:close/>
                  <a:moveTo>
                    <a:pt x="5401" y="8880"/>
                  </a:moveTo>
                  <a:cubicBezTo>
                    <a:pt x="5424" y="8880"/>
                    <a:pt x="5448" y="8889"/>
                    <a:pt x="5465" y="8906"/>
                  </a:cubicBezTo>
                  <a:cubicBezTo>
                    <a:pt x="5680" y="9085"/>
                    <a:pt x="5965" y="9192"/>
                    <a:pt x="6263" y="9192"/>
                  </a:cubicBezTo>
                  <a:cubicBezTo>
                    <a:pt x="6382" y="9168"/>
                    <a:pt x="6489" y="9156"/>
                    <a:pt x="6597" y="9145"/>
                  </a:cubicBezTo>
                  <a:lnTo>
                    <a:pt x="6597" y="9145"/>
                  </a:lnTo>
                  <a:cubicBezTo>
                    <a:pt x="6442" y="9490"/>
                    <a:pt x="6085" y="9728"/>
                    <a:pt x="5704" y="9728"/>
                  </a:cubicBezTo>
                  <a:lnTo>
                    <a:pt x="5120" y="9728"/>
                  </a:lnTo>
                  <a:cubicBezTo>
                    <a:pt x="4715" y="9728"/>
                    <a:pt x="4382" y="9478"/>
                    <a:pt x="4227" y="9145"/>
                  </a:cubicBezTo>
                  <a:lnTo>
                    <a:pt x="4227" y="9145"/>
                  </a:lnTo>
                  <a:cubicBezTo>
                    <a:pt x="4334" y="9168"/>
                    <a:pt x="4441" y="9192"/>
                    <a:pt x="4537" y="9192"/>
                  </a:cubicBezTo>
                  <a:cubicBezTo>
                    <a:pt x="4834" y="9192"/>
                    <a:pt x="5108" y="9085"/>
                    <a:pt x="5346" y="8906"/>
                  </a:cubicBezTo>
                  <a:cubicBezTo>
                    <a:pt x="5358" y="8889"/>
                    <a:pt x="5379" y="8880"/>
                    <a:pt x="5401" y="8880"/>
                  </a:cubicBezTo>
                  <a:close/>
                  <a:moveTo>
                    <a:pt x="9418" y="2144"/>
                  </a:moveTo>
                  <a:cubicBezTo>
                    <a:pt x="9918" y="2632"/>
                    <a:pt x="10168" y="3156"/>
                    <a:pt x="10276" y="3430"/>
                  </a:cubicBezTo>
                  <a:lnTo>
                    <a:pt x="9811" y="3430"/>
                  </a:lnTo>
                  <a:cubicBezTo>
                    <a:pt x="9752" y="3430"/>
                    <a:pt x="9704" y="3453"/>
                    <a:pt x="9680" y="3513"/>
                  </a:cubicBezTo>
                  <a:cubicBezTo>
                    <a:pt x="9645" y="3561"/>
                    <a:pt x="9645" y="3632"/>
                    <a:pt x="9680" y="3680"/>
                  </a:cubicBezTo>
                  <a:cubicBezTo>
                    <a:pt x="10311" y="4704"/>
                    <a:pt x="10466" y="6073"/>
                    <a:pt x="10490" y="6597"/>
                  </a:cubicBezTo>
                  <a:lnTo>
                    <a:pt x="10228" y="6490"/>
                  </a:lnTo>
                  <a:cubicBezTo>
                    <a:pt x="10210" y="6485"/>
                    <a:pt x="10191" y="6482"/>
                    <a:pt x="10172" y="6482"/>
                  </a:cubicBezTo>
                  <a:cubicBezTo>
                    <a:pt x="10138" y="6482"/>
                    <a:pt x="10103" y="6491"/>
                    <a:pt x="10073" y="6513"/>
                  </a:cubicBezTo>
                  <a:cubicBezTo>
                    <a:pt x="10037" y="6537"/>
                    <a:pt x="10014" y="6585"/>
                    <a:pt x="10014" y="6644"/>
                  </a:cubicBezTo>
                  <a:cubicBezTo>
                    <a:pt x="10014" y="6656"/>
                    <a:pt x="10014" y="8014"/>
                    <a:pt x="9454" y="8966"/>
                  </a:cubicBezTo>
                  <a:lnTo>
                    <a:pt x="9085" y="8716"/>
                  </a:lnTo>
                  <a:cubicBezTo>
                    <a:pt x="9049" y="8680"/>
                    <a:pt x="9002" y="8680"/>
                    <a:pt x="8966" y="8680"/>
                  </a:cubicBezTo>
                  <a:cubicBezTo>
                    <a:pt x="8918" y="8692"/>
                    <a:pt x="8883" y="8716"/>
                    <a:pt x="8859" y="8752"/>
                  </a:cubicBezTo>
                  <a:cubicBezTo>
                    <a:pt x="8859" y="8776"/>
                    <a:pt x="8394" y="9514"/>
                    <a:pt x="7656" y="9990"/>
                  </a:cubicBezTo>
                  <a:lnTo>
                    <a:pt x="7394" y="9740"/>
                  </a:lnTo>
                  <a:cubicBezTo>
                    <a:pt x="7363" y="9708"/>
                    <a:pt x="7325" y="9694"/>
                    <a:pt x="7287" y="9694"/>
                  </a:cubicBezTo>
                  <a:cubicBezTo>
                    <a:pt x="7253" y="9694"/>
                    <a:pt x="7220" y="9706"/>
                    <a:pt x="7192" y="9728"/>
                  </a:cubicBezTo>
                  <a:cubicBezTo>
                    <a:pt x="7168" y="9728"/>
                    <a:pt x="6370" y="10359"/>
                    <a:pt x="5418" y="10538"/>
                  </a:cubicBezTo>
                  <a:cubicBezTo>
                    <a:pt x="4465" y="10383"/>
                    <a:pt x="3644" y="9740"/>
                    <a:pt x="3644" y="9728"/>
                  </a:cubicBezTo>
                  <a:cubicBezTo>
                    <a:pt x="3616" y="9706"/>
                    <a:pt x="3582" y="9694"/>
                    <a:pt x="3549" y="9694"/>
                  </a:cubicBezTo>
                  <a:cubicBezTo>
                    <a:pt x="3511" y="9694"/>
                    <a:pt x="3473" y="9708"/>
                    <a:pt x="3441" y="9740"/>
                  </a:cubicBezTo>
                  <a:lnTo>
                    <a:pt x="3191" y="9990"/>
                  </a:lnTo>
                  <a:cubicBezTo>
                    <a:pt x="2441" y="9502"/>
                    <a:pt x="2001" y="8752"/>
                    <a:pt x="1977" y="8752"/>
                  </a:cubicBezTo>
                  <a:cubicBezTo>
                    <a:pt x="1953" y="8716"/>
                    <a:pt x="1917" y="8692"/>
                    <a:pt x="1870" y="8680"/>
                  </a:cubicBezTo>
                  <a:cubicBezTo>
                    <a:pt x="1861" y="8677"/>
                    <a:pt x="1851" y="8676"/>
                    <a:pt x="1841" y="8676"/>
                  </a:cubicBezTo>
                  <a:cubicBezTo>
                    <a:pt x="1812" y="8676"/>
                    <a:pt x="1780" y="8689"/>
                    <a:pt x="1763" y="8716"/>
                  </a:cubicBezTo>
                  <a:lnTo>
                    <a:pt x="1382" y="8966"/>
                  </a:lnTo>
                  <a:cubicBezTo>
                    <a:pt x="822" y="8002"/>
                    <a:pt x="822" y="6656"/>
                    <a:pt x="822" y="6644"/>
                  </a:cubicBezTo>
                  <a:cubicBezTo>
                    <a:pt x="822" y="6597"/>
                    <a:pt x="786" y="6537"/>
                    <a:pt x="762" y="6513"/>
                  </a:cubicBezTo>
                  <a:cubicBezTo>
                    <a:pt x="732" y="6490"/>
                    <a:pt x="701" y="6477"/>
                    <a:pt x="667" y="6477"/>
                  </a:cubicBezTo>
                  <a:cubicBezTo>
                    <a:pt x="648" y="6477"/>
                    <a:pt x="629" y="6481"/>
                    <a:pt x="608" y="6490"/>
                  </a:cubicBezTo>
                  <a:lnTo>
                    <a:pt x="310" y="6597"/>
                  </a:lnTo>
                  <a:cubicBezTo>
                    <a:pt x="346" y="6061"/>
                    <a:pt x="489" y="4704"/>
                    <a:pt x="1132" y="3680"/>
                  </a:cubicBezTo>
                  <a:cubicBezTo>
                    <a:pt x="1167" y="3632"/>
                    <a:pt x="1167" y="3572"/>
                    <a:pt x="1132" y="3513"/>
                  </a:cubicBezTo>
                  <a:cubicBezTo>
                    <a:pt x="1108" y="3465"/>
                    <a:pt x="1060" y="3430"/>
                    <a:pt x="1001" y="3430"/>
                  </a:cubicBezTo>
                  <a:lnTo>
                    <a:pt x="536" y="3430"/>
                  </a:lnTo>
                  <a:cubicBezTo>
                    <a:pt x="643" y="3156"/>
                    <a:pt x="893" y="2632"/>
                    <a:pt x="1382" y="2144"/>
                  </a:cubicBezTo>
                  <a:cubicBezTo>
                    <a:pt x="1489" y="2668"/>
                    <a:pt x="1727" y="3275"/>
                    <a:pt x="2132" y="3739"/>
                  </a:cubicBezTo>
                  <a:cubicBezTo>
                    <a:pt x="1977" y="4096"/>
                    <a:pt x="1846" y="4513"/>
                    <a:pt x="1727" y="5013"/>
                  </a:cubicBezTo>
                  <a:cubicBezTo>
                    <a:pt x="1477" y="6109"/>
                    <a:pt x="1417" y="7144"/>
                    <a:pt x="1524" y="7537"/>
                  </a:cubicBezTo>
                  <a:cubicBezTo>
                    <a:pt x="1596" y="7811"/>
                    <a:pt x="1905" y="8192"/>
                    <a:pt x="2370" y="8525"/>
                  </a:cubicBezTo>
                  <a:cubicBezTo>
                    <a:pt x="2846" y="8883"/>
                    <a:pt x="3429" y="9168"/>
                    <a:pt x="3977" y="9335"/>
                  </a:cubicBezTo>
                  <a:cubicBezTo>
                    <a:pt x="4203" y="9752"/>
                    <a:pt x="4632" y="10038"/>
                    <a:pt x="5120" y="10038"/>
                  </a:cubicBezTo>
                  <a:lnTo>
                    <a:pt x="5692" y="10038"/>
                  </a:lnTo>
                  <a:cubicBezTo>
                    <a:pt x="6180" y="10038"/>
                    <a:pt x="6620" y="9752"/>
                    <a:pt x="6835" y="9335"/>
                  </a:cubicBezTo>
                  <a:cubicBezTo>
                    <a:pt x="7382" y="9168"/>
                    <a:pt x="7966" y="8883"/>
                    <a:pt x="8442" y="8525"/>
                  </a:cubicBezTo>
                  <a:cubicBezTo>
                    <a:pt x="8918" y="8192"/>
                    <a:pt x="9216" y="7811"/>
                    <a:pt x="9287" y="7537"/>
                  </a:cubicBezTo>
                  <a:cubicBezTo>
                    <a:pt x="9383" y="7144"/>
                    <a:pt x="9335" y="6109"/>
                    <a:pt x="9085" y="5013"/>
                  </a:cubicBezTo>
                  <a:cubicBezTo>
                    <a:pt x="8966" y="4513"/>
                    <a:pt x="8823" y="4096"/>
                    <a:pt x="8680" y="3739"/>
                  </a:cubicBezTo>
                  <a:cubicBezTo>
                    <a:pt x="9085" y="3287"/>
                    <a:pt x="9335" y="2668"/>
                    <a:pt x="9418" y="2144"/>
                  </a:cubicBezTo>
                  <a:close/>
                  <a:moveTo>
                    <a:pt x="4406" y="1"/>
                  </a:moveTo>
                  <a:cubicBezTo>
                    <a:pt x="3596" y="1"/>
                    <a:pt x="2989" y="346"/>
                    <a:pt x="2965" y="358"/>
                  </a:cubicBezTo>
                  <a:cubicBezTo>
                    <a:pt x="2917" y="394"/>
                    <a:pt x="2882" y="441"/>
                    <a:pt x="2882" y="477"/>
                  </a:cubicBezTo>
                  <a:cubicBezTo>
                    <a:pt x="2882" y="524"/>
                    <a:pt x="2906" y="584"/>
                    <a:pt x="2929" y="620"/>
                  </a:cubicBezTo>
                  <a:lnTo>
                    <a:pt x="3084" y="763"/>
                  </a:lnTo>
                  <a:cubicBezTo>
                    <a:pt x="2822" y="834"/>
                    <a:pt x="2584" y="941"/>
                    <a:pt x="2370" y="1060"/>
                  </a:cubicBezTo>
                  <a:cubicBezTo>
                    <a:pt x="2334" y="1060"/>
                    <a:pt x="2310" y="1048"/>
                    <a:pt x="2286" y="1048"/>
                  </a:cubicBezTo>
                  <a:cubicBezTo>
                    <a:pt x="2234" y="1038"/>
                    <a:pt x="2181" y="1033"/>
                    <a:pt x="2129" y="1033"/>
                  </a:cubicBezTo>
                  <a:cubicBezTo>
                    <a:pt x="1942" y="1033"/>
                    <a:pt x="1759" y="1099"/>
                    <a:pt x="1620" y="1239"/>
                  </a:cubicBezTo>
                  <a:cubicBezTo>
                    <a:pt x="1477" y="1370"/>
                    <a:pt x="1382" y="1548"/>
                    <a:pt x="1370" y="1751"/>
                  </a:cubicBezTo>
                  <a:cubicBezTo>
                    <a:pt x="429" y="2584"/>
                    <a:pt x="191" y="3501"/>
                    <a:pt x="179" y="3549"/>
                  </a:cubicBezTo>
                  <a:cubicBezTo>
                    <a:pt x="167" y="3596"/>
                    <a:pt x="179" y="3656"/>
                    <a:pt x="203" y="3680"/>
                  </a:cubicBezTo>
                  <a:cubicBezTo>
                    <a:pt x="239" y="3727"/>
                    <a:pt x="286" y="3739"/>
                    <a:pt x="322" y="3739"/>
                  </a:cubicBezTo>
                  <a:lnTo>
                    <a:pt x="727" y="3739"/>
                  </a:lnTo>
                  <a:cubicBezTo>
                    <a:pt x="0" y="5096"/>
                    <a:pt x="0" y="6751"/>
                    <a:pt x="0" y="6811"/>
                  </a:cubicBezTo>
                  <a:cubicBezTo>
                    <a:pt x="0" y="6847"/>
                    <a:pt x="24" y="6906"/>
                    <a:pt x="60" y="6942"/>
                  </a:cubicBezTo>
                  <a:cubicBezTo>
                    <a:pt x="90" y="6957"/>
                    <a:pt x="115" y="6972"/>
                    <a:pt x="145" y="6972"/>
                  </a:cubicBezTo>
                  <a:cubicBezTo>
                    <a:pt x="162" y="6972"/>
                    <a:pt x="181" y="6967"/>
                    <a:pt x="203" y="6954"/>
                  </a:cubicBezTo>
                  <a:lnTo>
                    <a:pt x="524" y="6847"/>
                  </a:lnTo>
                  <a:cubicBezTo>
                    <a:pt x="548" y="7323"/>
                    <a:pt x="667" y="8442"/>
                    <a:pt x="1215" y="9276"/>
                  </a:cubicBezTo>
                  <a:cubicBezTo>
                    <a:pt x="1251" y="9311"/>
                    <a:pt x="1274" y="9335"/>
                    <a:pt x="1322" y="9347"/>
                  </a:cubicBezTo>
                  <a:cubicBezTo>
                    <a:pt x="1336" y="9354"/>
                    <a:pt x="1350" y="9357"/>
                    <a:pt x="1363" y="9357"/>
                  </a:cubicBezTo>
                  <a:cubicBezTo>
                    <a:pt x="1396" y="9357"/>
                    <a:pt x="1424" y="9340"/>
                    <a:pt x="1441" y="9323"/>
                  </a:cubicBezTo>
                  <a:lnTo>
                    <a:pt x="1810" y="9073"/>
                  </a:lnTo>
                  <a:cubicBezTo>
                    <a:pt x="2013" y="9335"/>
                    <a:pt x="2465" y="9942"/>
                    <a:pt x="3144" y="10347"/>
                  </a:cubicBezTo>
                  <a:cubicBezTo>
                    <a:pt x="3169" y="10367"/>
                    <a:pt x="3198" y="10377"/>
                    <a:pt x="3226" y="10377"/>
                  </a:cubicBezTo>
                  <a:cubicBezTo>
                    <a:pt x="3267" y="10377"/>
                    <a:pt x="3306" y="10358"/>
                    <a:pt x="3334" y="10323"/>
                  </a:cubicBezTo>
                  <a:lnTo>
                    <a:pt x="3572" y="10085"/>
                  </a:lnTo>
                  <a:cubicBezTo>
                    <a:pt x="3834" y="10276"/>
                    <a:pt x="4549" y="10740"/>
                    <a:pt x="5406" y="10883"/>
                  </a:cubicBezTo>
                  <a:lnTo>
                    <a:pt x="5465" y="10883"/>
                  </a:lnTo>
                  <a:cubicBezTo>
                    <a:pt x="6299" y="10752"/>
                    <a:pt x="7025" y="10276"/>
                    <a:pt x="7287" y="10085"/>
                  </a:cubicBezTo>
                  <a:lnTo>
                    <a:pt x="7525" y="10323"/>
                  </a:lnTo>
                  <a:cubicBezTo>
                    <a:pt x="7556" y="10347"/>
                    <a:pt x="7607" y="10365"/>
                    <a:pt x="7656" y="10365"/>
                  </a:cubicBezTo>
                  <a:cubicBezTo>
                    <a:pt x="7682" y="10365"/>
                    <a:pt x="7707" y="10360"/>
                    <a:pt x="7728" y="10347"/>
                  </a:cubicBezTo>
                  <a:cubicBezTo>
                    <a:pt x="8394" y="9942"/>
                    <a:pt x="8859" y="9335"/>
                    <a:pt x="9049" y="9073"/>
                  </a:cubicBezTo>
                  <a:lnTo>
                    <a:pt x="9418" y="9323"/>
                  </a:lnTo>
                  <a:cubicBezTo>
                    <a:pt x="9454" y="9347"/>
                    <a:pt x="9490" y="9347"/>
                    <a:pt x="9537" y="9347"/>
                  </a:cubicBezTo>
                  <a:cubicBezTo>
                    <a:pt x="9585" y="9335"/>
                    <a:pt x="9609" y="9323"/>
                    <a:pt x="9645" y="9276"/>
                  </a:cubicBezTo>
                  <a:cubicBezTo>
                    <a:pt x="10192" y="8442"/>
                    <a:pt x="10311" y="7323"/>
                    <a:pt x="10347" y="6847"/>
                  </a:cubicBezTo>
                  <a:lnTo>
                    <a:pt x="10657" y="6954"/>
                  </a:lnTo>
                  <a:cubicBezTo>
                    <a:pt x="10676" y="6959"/>
                    <a:pt x="10698" y="6962"/>
                    <a:pt x="10719" y="6962"/>
                  </a:cubicBezTo>
                  <a:cubicBezTo>
                    <a:pt x="10749" y="6962"/>
                    <a:pt x="10778" y="6956"/>
                    <a:pt x="10799" y="6942"/>
                  </a:cubicBezTo>
                  <a:cubicBezTo>
                    <a:pt x="10847" y="6906"/>
                    <a:pt x="10859" y="6871"/>
                    <a:pt x="10859" y="6811"/>
                  </a:cubicBezTo>
                  <a:cubicBezTo>
                    <a:pt x="10835" y="6728"/>
                    <a:pt x="10835" y="5096"/>
                    <a:pt x="10109" y="3739"/>
                  </a:cubicBezTo>
                  <a:lnTo>
                    <a:pt x="10514" y="3739"/>
                  </a:lnTo>
                  <a:cubicBezTo>
                    <a:pt x="10549" y="3739"/>
                    <a:pt x="10597" y="3715"/>
                    <a:pt x="10633" y="3680"/>
                  </a:cubicBezTo>
                  <a:cubicBezTo>
                    <a:pt x="10657" y="3632"/>
                    <a:pt x="10668" y="3596"/>
                    <a:pt x="10657" y="3549"/>
                  </a:cubicBezTo>
                  <a:cubicBezTo>
                    <a:pt x="10645" y="3501"/>
                    <a:pt x="10407" y="2584"/>
                    <a:pt x="9466" y="1751"/>
                  </a:cubicBezTo>
                  <a:cubicBezTo>
                    <a:pt x="9454" y="1548"/>
                    <a:pt x="9359" y="1370"/>
                    <a:pt x="9216" y="1239"/>
                  </a:cubicBezTo>
                  <a:cubicBezTo>
                    <a:pt x="9074" y="1106"/>
                    <a:pt x="8886" y="1034"/>
                    <a:pt x="8696" y="1034"/>
                  </a:cubicBezTo>
                  <a:cubicBezTo>
                    <a:pt x="8647" y="1034"/>
                    <a:pt x="8598" y="1039"/>
                    <a:pt x="8549" y="1048"/>
                  </a:cubicBezTo>
                  <a:cubicBezTo>
                    <a:pt x="8525" y="1048"/>
                    <a:pt x="8502" y="1060"/>
                    <a:pt x="8466" y="1060"/>
                  </a:cubicBezTo>
                  <a:cubicBezTo>
                    <a:pt x="8251" y="941"/>
                    <a:pt x="7990" y="858"/>
                    <a:pt x="7751" y="763"/>
                  </a:cubicBezTo>
                  <a:lnTo>
                    <a:pt x="7906" y="620"/>
                  </a:lnTo>
                  <a:cubicBezTo>
                    <a:pt x="7930" y="584"/>
                    <a:pt x="7954" y="524"/>
                    <a:pt x="7954" y="477"/>
                  </a:cubicBezTo>
                  <a:cubicBezTo>
                    <a:pt x="7954" y="441"/>
                    <a:pt x="7918" y="394"/>
                    <a:pt x="7870" y="358"/>
                  </a:cubicBezTo>
                  <a:cubicBezTo>
                    <a:pt x="7847" y="346"/>
                    <a:pt x="7239" y="1"/>
                    <a:pt x="6430" y="1"/>
                  </a:cubicBezTo>
                  <a:cubicBezTo>
                    <a:pt x="6001" y="1"/>
                    <a:pt x="5680" y="143"/>
                    <a:pt x="5501" y="239"/>
                  </a:cubicBezTo>
                  <a:cubicBezTo>
                    <a:pt x="5471" y="257"/>
                    <a:pt x="5442" y="266"/>
                    <a:pt x="5412" y="266"/>
                  </a:cubicBezTo>
                  <a:cubicBezTo>
                    <a:pt x="5382" y="266"/>
                    <a:pt x="5352" y="257"/>
                    <a:pt x="5323" y="239"/>
                  </a:cubicBezTo>
                  <a:cubicBezTo>
                    <a:pt x="5144" y="143"/>
                    <a:pt x="4834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7" name="Google Shape;13037;p63"/>
            <p:cNvSpPr/>
            <p:nvPr/>
          </p:nvSpPr>
          <p:spPr>
            <a:xfrm>
              <a:off x="2667053" y="1609618"/>
              <a:ext cx="10688" cy="37760"/>
            </a:xfrm>
            <a:custGeom>
              <a:avLst/>
              <a:gdLst/>
              <a:ahLst/>
              <a:cxnLst/>
              <a:rect l="l" t="t" r="r" b="b"/>
              <a:pathLst>
                <a:path w="334" h="118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013"/>
                  </a:lnTo>
                  <a:cubicBezTo>
                    <a:pt x="0" y="1096"/>
                    <a:pt x="72" y="1179"/>
                    <a:pt x="167" y="1179"/>
                  </a:cubicBezTo>
                  <a:cubicBezTo>
                    <a:pt x="250" y="1179"/>
                    <a:pt x="334" y="1096"/>
                    <a:pt x="334" y="1013"/>
                  </a:cubicBezTo>
                  <a:lnTo>
                    <a:pt x="334" y="167"/>
                  </a:lnTo>
                  <a:cubicBezTo>
                    <a:pt x="334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38" name="Google Shape;13038;p63"/>
          <p:cNvGrpSpPr/>
          <p:nvPr/>
        </p:nvGrpSpPr>
        <p:grpSpPr>
          <a:xfrm>
            <a:off x="1956845" y="1500498"/>
            <a:ext cx="331520" cy="348032"/>
            <a:chOff x="1956845" y="1500498"/>
            <a:chExt cx="331520" cy="348032"/>
          </a:xfrm>
        </p:grpSpPr>
        <p:sp>
          <p:nvSpPr>
            <p:cNvPr id="13039" name="Google Shape;13039;p63"/>
            <p:cNvSpPr/>
            <p:nvPr/>
          </p:nvSpPr>
          <p:spPr>
            <a:xfrm>
              <a:off x="2078413" y="1736882"/>
              <a:ext cx="88800" cy="44608"/>
            </a:xfrm>
            <a:custGeom>
              <a:avLst/>
              <a:gdLst/>
              <a:ahLst/>
              <a:cxnLst/>
              <a:rect l="l" t="t" r="r" b="b"/>
              <a:pathLst>
                <a:path w="2775" h="1394" extrusionOk="0">
                  <a:moveTo>
                    <a:pt x="2322" y="310"/>
                  </a:moveTo>
                  <a:cubicBezTo>
                    <a:pt x="2381" y="310"/>
                    <a:pt x="2417" y="357"/>
                    <a:pt x="2429" y="381"/>
                  </a:cubicBezTo>
                  <a:cubicBezTo>
                    <a:pt x="2429" y="405"/>
                    <a:pt x="2429" y="477"/>
                    <a:pt x="2381" y="500"/>
                  </a:cubicBezTo>
                  <a:lnTo>
                    <a:pt x="1953" y="858"/>
                  </a:lnTo>
                  <a:cubicBezTo>
                    <a:pt x="1786" y="994"/>
                    <a:pt x="1584" y="1063"/>
                    <a:pt x="1384" y="1063"/>
                  </a:cubicBezTo>
                  <a:cubicBezTo>
                    <a:pt x="1185" y="1063"/>
                    <a:pt x="988" y="994"/>
                    <a:pt x="833" y="858"/>
                  </a:cubicBezTo>
                  <a:lnTo>
                    <a:pt x="405" y="500"/>
                  </a:lnTo>
                  <a:cubicBezTo>
                    <a:pt x="345" y="453"/>
                    <a:pt x="357" y="393"/>
                    <a:pt x="369" y="381"/>
                  </a:cubicBezTo>
                  <a:cubicBezTo>
                    <a:pt x="393" y="369"/>
                    <a:pt x="405" y="310"/>
                    <a:pt x="476" y="310"/>
                  </a:cubicBezTo>
                  <a:close/>
                  <a:moveTo>
                    <a:pt x="464" y="0"/>
                  </a:moveTo>
                  <a:cubicBezTo>
                    <a:pt x="286" y="0"/>
                    <a:pt x="119" y="96"/>
                    <a:pt x="60" y="274"/>
                  </a:cubicBezTo>
                  <a:cubicBezTo>
                    <a:pt x="0" y="441"/>
                    <a:pt x="48" y="631"/>
                    <a:pt x="191" y="750"/>
                  </a:cubicBezTo>
                  <a:lnTo>
                    <a:pt x="631" y="1108"/>
                  </a:lnTo>
                  <a:cubicBezTo>
                    <a:pt x="845" y="1286"/>
                    <a:pt x="1119" y="1393"/>
                    <a:pt x="1381" y="1393"/>
                  </a:cubicBezTo>
                  <a:cubicBezTo>
                    <a:pt x="1655" y="1393"/>
                    <a:pt x="1941" y="1298"/>
                    <a:pt x="2143" y="1108"/>
                  </a:cubicBezTo>
                  <a:lnTo>
                    <a:pt x="2572" y="750"/>
                  </a:lnTo>
                  <a:cubicBezTo>
                    <a:pt x="2727" y="631"/>
                    <a:pt x="2774" y="453"/>
                    <a:pt x="2715" y="274"/>
                  </a:cubicBezTo>
                  <a:cubicBezTo>
                    <a:pt x="2655" y="107"/>
                    <a:pt x="2488" y="0"/>
                    <a:pt x="2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0" name="Google Shape;13040;p63"/>
            <p:cNvSpPr/>
            <p:nvPr/>
          </p:nvSpPr>
          <p:spPr>
            <a:xfrm>
              <a:off x="1956845" y="1500498"/>
              <a:ext cx="331520" cy="348032"/>
            </a:xfrm>
            <a:custGeom>
              <a:avLst/>
              <a:gdLst/>
              <a:ahLst/>
              <a:cxnLst/>
              <a:rect l="l" t="t" r="r" b="b"/>
              <a:pathLst>
                <a:path w="10360" h="10876" extrusionOk="0">
                  <a:moveTo>
                    <a:pt x="1205" y="326"/>
                  </a:moveTo>
                  <a:cubicBezTo>
                    <a:pt x="1252" y="326"/>
                    <a:pt x="1300" y="330"/>
                    <a:pt x="1346" y="339"/>
                  </a:cubicBezTo>
                  <a:cubicBezTo>
                    <a:pt x="1942" y="494"/>
                    <a:pt x="2525" y="791"/>
                    <a:pt x="3061" y="1232"/>
                  </a:cubicBezTo>
                  <a:cubicBezTo>
                    <a:pt x="2894" y="1315"/>
                    <a:pt x="2727" y="1387"/>
                    <a:pt x="2585" y="1458"/>
                  </a:cubicBezTo>
                  <a:cubicBezTo>
                    <a:pt x="2108" y="922"/>
                    <a:pt x="1489" y="565"/>
                    <a:pt x="1108" y="470"/>
                  </a:cubicBezTo>
                  <a:cubicBezTo>
                    <a:pt x="989" y="458"/>
                    <a:pt x="882" y="458"/>
                    <a:pt x="811" y="458"/>
                  </a:cubicBezTo>
                  <a:cubicBezTo>
                    <a:pt x="918" y="368"/>
                    <a:pt x="1060" y="326"/>
                    <a:pt x="1205" y="326"/>
                  </a:cubicBezTo>
                  <a:close/>
                  <a:moveTo>
                    <a:pt x="9179" y="326"/>
                  </a:moveTo>
                  <a:cubicBezTo>
                    <a:pt x="9324" y="326"/>
                    <a:pt x="9466" y="368"/>
                    <a:pt x="9574" y="458"/>
                  </a:cubicBezTo>
                  <a:lnTo>
                    <a:pt x="9585" y="482"/>
                  </a:lnTo>
                  <a:cubicBezTo>
                    <a:pt x="9548" y="471"/>
                    <a:pt x="9506" y="465"/>
                    <a:pt x="9459" y="465"/>
                  </a:cubicBezTo>
                  <a:cubicBezTo>
                    <a:pt x="9401" y="465"/>
                    <a:pt x="9336" y="474"/>
                    <a:pt x="9264" y="494"/>
                  </a:cubicBezTo>
                  <a:cubicBezTo>
                    <a:pt x="9085" y="541"/>
                    <a:pt x="8847" y="636"/>
                    <a:pt x="8609" y="779"/>
                  </a:cubicBezTo>
                  <a:cubicBezTo>
                    <a:pt x="8538" y="815"/>
                    <a:pt x="8502" y="922"/>
                    <a:pt x="8562" y="994"/>
                  </a:cubicBezTo>
                  <a:cubicBezTo>
                    <a:pt x="8591" y="1046"/>
                    <a:pt x="8644" y="1074"/>
                    <a:pt x="8697" y="1074"/>
                  </a:cubicBezTo>
                  <a:cubicBezTo>
                    <a:pt x="8729" y="1074"/>
                    <a:pt x="8761" y="1064"/>
                    <a:pt x="8788" y="1041"/>
                  </a:cubicBezTo>
                  <a:cubicBezTo>
                    <a:pt x="8990" y="922"/>
                    <a:pt x="9193" y="815"/>
                    <a:pt x="9335" y="791"/>
                  </a:cubicBezTo>
                  <a:cubicBezTo>
                    <a:pt x="9389" y="780"/>
                    <a:pt x="9439" y="774"/>
                    <a:pt x="9484" y="774"/>
                  </a:cubicBezTo>
                  <a:cubicBezTo>
                    <a:pt x="9580" y="774"/>
                    <a:pt x="9656" y="798"/>
                    <a:pt x="9705" y="839"/>
                  </a:cubicBezTo>
                  <a:cubicBezTo>
                    <a:pt x="9788" y="898"/>
                    <a:pt x="9800" y="994"/>
                    <a:pt x="9800" y="1053"/>
                  </a:cubicBezTo>
                  <a:cubicBezTo>
                    <a:pt x="9764" y="1577"/>
                    <a:pt x="9633" y="2244"/>
                    <a:pt x="9228" y="2756"/>
                  </a:cubicBezTo>
                  <a:cubicBezTo>
                    <a:pt x="9133" y="2601"/>
                    <a:pt x="9014" y="2446"/>
                    <a:pt x="8871" y="2303"/>
                  </a:cubicBezTo>
                  <a:cubicBezTo>
                    <a:pt x="8633" y="2041"/>
                    <a:pt x="8371" y="1815"/>
                    <a:pt x="8085" y="1625"/>
                  </a:cubicBezTo>
                  <a:cubicBezTo>
                    <a:pt x="8133" y="1565"/>
                    <a:pt x="8192" y="1518"/>
                    <a:pt x="8252" y="1458"/>
                  </a:cubicBezTo>
                  <a:cubicBezTo>
                    <a:pt x="8312" y="1398"/>
                    <a:pt x="8312" y="1291"/>
                    <a:pt x="8252" y="1232"/>
                  </a:cubicBezTo>
                  <a:cubicBezTo>
                    <a:pt x="8222" y="1202"/>
                    <a:pt x="8181" y="1187"/>
                    <a:pt x="8139" y="1187"/>
                  </a:cubicBezTo>
                  <a:cubicBezTo>
                    <a:pt x="8097" y="1187"/>
                    <a:pt x="8056" y="1202"/>
                    <a:pt x="8026" y="1232"/>
                  </a:cubicBezTo>
                  <a:lnTo>
                    <a:pt x="7800" y="1458"/>
                  </a:lnTo>
                  <a:cubicBezTo>
                    <a:pt x="7657" y="1375"/>
                    <a:pt x="7490" y="1291"/>
                    <a:pt x="7323" y="1232"/>
                  </a:cubicBezTo>
                  <a:cubicBezTo>
                    <a:pt x="7859" y="791"/>
                    <a:pt x="8442" y="494"/>
                    <a:pt x="9038" y="339"/>
                  </a:cubicBezTo>
                  <a:cubicBezTo>
                    <a:pt x="9084" y="330"/>
                    <a:pt x="9132" y="326"/>
                    <a:pt x="9179" y="326"/>
                  </a:cubicBezTo>
                  <a:close/>
                  <a:moveTo>
                    <a:pt x="902" y="792"/>
                  </a:moveTo>
                  <a:cubicBezTo>
                    <a:pt x="947" y="792"/>
                    <a:pt x="996" y="796"/>
                    <a:pt x="1049" y="803"/>
                  </a:cubicBezTo>
                  <a:cubicBezTo>
                    <a:pt x="1489" y="886"/>
                    <a:pt x="2013" y="1327"/>
                    <a:pt x="2299" y="1637"/>
                  </a:cubicBezTo>
                  <a:cubicBezTo>
                    <a:pt x="2013" y="1827"/>
                    <a:pt x="1751" y="2053"/>
                    <a:pt x="1513" y="2327"/>
                  </a:cubicBezTo>
                  <a:cubicBezTo>
                    <a:pt x="1370" y="2470"/>
                    <a:pt x="1251" y="2625"/>
                    <a:pt x="1156" y="2768"/>
                  </a:cubicBezTo>
                  <a:cubicBezTo>
                    <a:pt x="763" y="2244"/>
                    <a:pt x="632" y="1589"/>
                    <a:pt x="584" y="1077"/>
                  </a:cubicBezTo>
                  <a:cubicBezTo>
                    <a:pt x="584" y="994"/>
                    <a:pt x="596" y="910"/>
                    <a:pt x="680" y="851"/>
                  </a:cubicBezTo>
                  <a:cubicBezTo>
                    <a:pt x="728" y="810"/>
                    <a:pt x="805" y="792"/>
                    <a:pt x="902" y="792"/>
                  </a:cubicBezTo>
                  <a:close/>
                  <a:moveTo>
                    <a:pt x="5192" y="1160"/>
                  </a:moveTo>
                  <a:cubicBezTo>
                    <a:pt x="6668" y="1160"/>
                    <a:pt x="7811" y="1625"/>
                    <a:pt x="8633" y="2518"/>
                  </a:cubicBezTo>
                  <a:cubicBezTo>
                    <a:pt x="9478" y="3470"/>
                    <a:pt x="9812" y="4744"/>
                    <a:pt x="9931" y="5661"/>
                  </a:cubicBezTo>
                  <a:cubicBezTo>
                    <a:pt x="10002" y="6375"/>
                    <a:pt x="9990" y="6947"/>
                    <a:pt x="9978" y="7244"/>
                  </a:cubicBezTo>
                  <a:lnTo>
                    <a:pt x="9526" y="7078"/>
                  </a:lnTo>
                  <a:cubicBezTo>
                    <a:pt x="9513" y="7073"/>
                    <a:pt x="9497" y="7071"/>
                    <a:pt x="9479" y="7071"/>
                  </a:cubicBezTo>
                  <a:cubicBezTo>
                    <a:pt x="9448" y="7071"/>
                    <a:pt x="9413" y="7079"/>
                    <a:pt x="9383" y="7102"/>
                  </a:cubicBezTo>
                  <a:cubicBezTo>
                    <a:pt x="9335" y="7125"/>
                    <a:pt x="9312" y="7173"/>
                    <a:pt x="9312" y="7233"/>
                  </a:cubicBezTo>
                  <a:cubicBezTo>
                    <a:pt x="9312" y="7244"/>
                    <a:pt x="9276" y="8256"/>
                    <a:pt x="8871" y="9376"/>
                  </a:cubicBezTo>
                  <a:lnTo>
                    <a:pt x="8562" y="9007"/>
                  </a:lnTo>
                  <a:cubicBezTo>
                    <a:pt x="8538" y="8959"/>
                    <a:pt x="8478" y="8947"/>
                    <a:pt x="8431" y="8947"/>
                  </a:cubicBezTo>
                  <a:cubicBezTo>
                    <a:pt x="8371" y="8947"/>
                    <a:pt x="8323" y="8971"/>
                    <a:pt x="8312" y="9030"/>
                  </a:cubicBezTo>
                  <a:cubicBezTo>
                    <a:pt x="8061" y="9507"/>
                    <a:pt x="7645" y="9923"/>
                    <a:pt x="7430" y="10138"/>
                  </a:cubicBezTo>
                  <a:lnTo>
                    <a:pt x="7049" y="9614"/>
                  </a:lnTo>
                  <a:cubicBezTo>
                    <a:pt x="7466" y="9340"/>
                    <a:pt x="7740" y="8864"/>
                    <a:pt x="7740" y="8328"/>
                  </a:cubicBezTo>
                  <a:cubicBezTo>
                    <a:pt x="7740" y="8245"/>
                    <a:pt x="7669" y="8173"/>
                    <a:pt x="7585" y="8173"/>
                  </a:cubicBezTo>
                  <a:cubicBezTo>
                    <a:pt x="7490" y="8173"/>
                    <a:pt x="7419" y="8245"/>
                    <a:pt x="7419" y="8328"/>
                  </a:cubicBezTo>
                  <a:cubicBezTo>
                    <a:pt x="7419" y="9007"/>
                    <a:pt x="6883" y="9542"/>
                    <a:pt x="6228" y="9542"/>
                  </a:cubicBezTo>
                  <a:cubicBezTo>
                    <a:pt x="5954" y="9542"/>
                    <a:pt x="5704" y="9447"/>
                    <a:pt x="5478" y="9280"/>
                  </a:cubicBezTo>
                  <a:cubicBezTo>
                    <a:pt x="5389" y="9215"/>
                    <a:pt x="5284" y="9182"/>
                    <a:pt x="5183" y="9182"/>
                  </a:cubicBezTo>
                  <a:cubicBezTo>
                    <a:pt x="5082" y="9182"/>
                    <a:pt x="4984" y="9215"/>
                    <a:pt x="4906" y="9280"/>
                  </a:cubicBezTo>
                  <a:cubicBezTo>
                    <a:pt x="4692" y="9447"/>
                    <a:pt x="4442" y="9542"/>
                    <a:pt x="4156" y="9542"/>
                  </a:cubicBezTo>
                  <a:cubicBezTo>
                    <a:pt x="3501" y="9542"/>
                    <a:pt x="2966" y="9007"/>
                    <a:pt x="2966" y="8328"/>
                  </a:cubicBezTo>
                  <a:cubicBezTo>
                    <a:pt x="2966" y="8245"/>
                    <a:pt x="2894" y="8173"/>
                    <a:pt x="2799" y="8173"/>
                  </a:cubicBezTo>
                  <a:cubicBezTo>
                    <a:pt x="2716" y="8173"/>
                    <a:pt x="2632" y="8245"/>
                    <a:pt x="2632" y="8328"/>
                  </a:cubicBezTo>
                  <a:cubicBezTo>
                    <a:pt x="2632" y="8864"/>
                    <a:pt x="2918" y="9340"/>
                    <a:pt x="3335" y="9614"/>
                  </a:cubicBezTo>
                  <a:lnTo>
                    <a:pt x="2954" y="10138"/>
                  </a:lnTo>
                  <a:cubicBezTo>
                    <a:pt x="2739" y="9935"/>
                    <a:pt x="2323" y="9507"/>
                    <a:pt x="2073" y="9030"/>
                  </a:cubicBezTo>
                  <a:cubicBezTo>
                    <a:pt x="2037" y="8983"/>
                    <a:pt x="2001" y="8959"/>
                    <a:pt x="1954" y="8947"/>
                  </a:cubicBezTo>
                  <a:cubicBezTo>
                    <a:pt x="1894" y="8947"/>
                    <a:pt x="1846" y="8959"/>
                    <a:pt x="1823" y="9007"/>
                  </a:cubicBezTo>
                  <a:lnTo>
                    <a:pt x="1501" y="9376"/>
                  </a:lnTo>
                  <a:cubicBezTo>
                    <a:pt x="1108" y="8256"/>
                    <a:pt x="1073" y="7233"/>
                    <a:pt x="1073" y="7233"/>
                  </a:cubicBezTo>
                  <a:cubicBezTo>
                    <a:pt x="1073" y="7185"/>
                    <a:pt x="1049" y="7125"/>
                    <a:pt x="1001" y="7102"/>
                  </a:cubicBezTo>
                  <a:cubicBezTo>
                    <a:pt x="971" y="7079"/>
                    <a:pt x="941" y="7071"/>
                    <a:pt x="907" y="7071"/>
                  </a:cubicBezTo>
                  <a:cubicBezTo>
                    <a:pt x="888" y="7071"/>
                    <a:pt x="868" y="7073"/>
                    <a:pt x="846" y="7078"/>
                  </a:cubicBezTo>
                  <a:lnTo>
                    <a:pt x="406" y="7244"/>
                  </a:lnTo>
                  <a:cubicBezTo>
                    <a:pt x="394" y="6947"/>
                    <a:pt x="370" y="6375"/>
                    <a:pt x="465" y="5673"/>
                  </a:cubicBezTo>
                  <a:cubicBezTo>
                    <a:pt x="584" y="4756"/>
                    <a:pt x="894" y="3470"/>
                    <a:pt x="1763" y="2518"/>
                  </a:cubicBezTo>
                  <a:cubicBezTo>
                    <a:pt x="2561" y="1625"/>
                    <a:pt x="3728" y="1160"/>
                    <a:pt x="5192" y="1160"/>
                  </a:cubicBezTo>
                  <a:close/>
                  <a:moveTo>
                    <a:pt x="5192" y="9492"/>
                  </a:moveTo>
                  <a:cubicBezTo>
                    <a:pt x="5225" y="9492"/>
                    <a:pt x="5258" y="9501"/>
                    <a:pt x="5287" y="9518"/>
                  </a:cubicBezTo>
                  <a:cubicBezTo>
                    <a:pt x="5561" y="9745"/>
                    <a:pt x="5883" y="9852"/>
                    <a:pt x="6228" y="9852"/>
                  </a:cubicBezTo>
                  <a:cubicBezTo>
                    <a:pt x="6371" y="9852"/>
                    <a:pt x="6526" y="9840"/>
                    <a:pt x="6657" y="9792"/>
                  </a:cubicBezTo>
                  <a:lnTo>
                    <a:pt x="6657" y="9792"/>
                  </a:lnTo>
                  <a:cubicBezTo>
                    <a:pt x="6466" y="10245"/>
                    <a:pt x="6037" y="10554"/>
                    <a:pt x="5525" y="10554"/>
                  </a:cubicBezTo>
                  <a:lnTo>
                    <a:pt x="4847" y="10554"/>
                  </a:lnTo>
                  <a:cubicBezTo>
                    <a:pt x="4335" y="10554"/>
                    <a:pt x="3906" y="10233"/>
                    <a:pt x="3728" y="9792"/>
                  </a:cubicBezTo>
                  <a:lnTo>
                    <a:pt x="3728" y="9792"/>
                  </a:lnTo>
                  <a:cubicBezTo>
                    <a:pt x="3859" y="9840"/>
                    <a:pt x="4013" y="9852"/>
                    <a:pt x="4156" y="9852"/>
                  </a:cubicBezTo>
                  <a:cubicBezTo>
                    <a:pt x="4502" y="9852"/>
                    <a:pt x="4823" y="9733"/>
                    <a:pt x="5097" y="9518"/>
                  </a:cubicBezTo>
                  <a:cubicBezTo>
                    <a:pt x="5127" y="9501"/>
                    <a:pt x="5159" y="9492"/>
                    <a:pt x="5192" y="9492"/>
                  </a:cubicBezTo>
                  <a:close/>
                  <a:moveTo>
                    <a:pt x="9185" y="0"/>
                  </a:moveTo>
                  <a:cubicBezTo>
                    <a:pt x="9105" y="0"/>
                    <a:pt x="9024" y="10"/>
                    <a:pt x="8943" y="29"/>
                  </a:cubicBezTo>
                  <a:cubicBezTo>
                    <a:pt x="8252" y="208"/>
                    <a:pt x="7597" y="565"/>
                    <a:pt x="6966" y="1101"/>
                  </a:cubicBezTo>
                  <a:cubicBezTo>
                    <a:pt x="6430" y="934"/>
                    <a:pt x="5835" y="851"/>
                    <a:pt x="5180" y="851"/>
                  </a:cubicBezTo>
                  <a:cubicBezTo>
                    <a:pt x="4525" y="851"/>
                    <a:pt x="3930" y="934"/>
                    <a:pt x="3394" y="1101"/>
                  </a:cubicBezTo>
                  <a:cubicBezTo>
                    <a:pt x="2775" y="565"/>
                    <a:pt x="2096" y="196"/>
                    <a:pt x="1418" y="29"/>
                  </a:cubicBezTo>
                  <a:cubicBezTo>
                    <a:pt x="1344" y="11"/>
                    <a:pt x="1269" y="2"/>
                    <a:pt x="1195" y="2"/>
                  </a:cubicBezTo>
                  <a:cubicBezTo>
                    <a:pt x="982" y="2"/>
                    <a:pt x="773" y="75"/>
                    <a:pt x="596" y="208"/>
                  </a:cubicBezTo>
                  <a:cubicBezTo>
                    <a:pt x="370" y="386"/>
                    <a:pt x="239" y="672"/>
                    <a:pt x="251" y="946"/>
                  </a:cubicBezTo>
                  <a:cubicBezTo>
                    <a:pt x="287" y="1565"/>
                    <a:pt x="418" y="2410"/>
                    <a:pt x="965" y="3030"/>
                  </a:cubicBezTo>
                  <a:cubicBezTo>
                    <a:pt x="453" y="3911"/>
                    <a:pt x="227" y="4899"/>
                    <a:pt x="132" y="5637"/>
                  </a:cubicBezTo>
                  <a:cubicBezTo>
                    <a:pt x="1" y="6661"/>
                    <a:pt x="96" y="7459"/>
                    <a:pt x="96" y="7483"/>
                  </a:cubicBezTo>
                  <a:cubicBezTo>
                    <a:pt x="96" y="7530"/>
                    <a:pt x="120" y="7578"/>
                    <a:pt x="168" y="7602"/>
                  </a:cubicBezTo>
                  <a:cubicBezTo>
                    <a:pt x="198" y="7624"/>
                    <a:pt x="223" y="7633"/>
                    <a:pt x="250" y="7633"/>
                  </a:cubicBezTo>
                  <a:cubicBezTo>
                    <a:pt x="265" y="7633"/>
                    <a:pt x="281" y="7630"/>
                    <a:pt x="299" y="7625"/>
                  </a:cubicBezTo>
                  <a:lnTo>
                    <a:pt x="751" y="7459"/>
                  </a:lnTo>
                  <a:cubicBezTo>
                    <a:pt x="775" y="7852"/>
                    <a:pt x="894" y="8780"/>
                    <a:pt x="1299" y="9745"/>
                  </a:cubicBezTo>
                  <a:cubicBezTo>
                    <a:pt x="1311" y="9792"/>
                    <a:pt x="1370" y="9840"/>
                    <a:pt x="1418" y="9852"/>
                  </a:cubicBezTo>
                  <a:cubicBezTo>
                    <a:pt x="1428" y="9854"/>
                    <a:pt x="1438" y="9855"/>
                    <a:pt x="1447" y="9855"/>
                  </a:cubicBezTo>
                  <a:cubicBezTo>
                    <a:pt x="1493" y="9855"/>
                    <a:pt x="1531" y="9832"/>
                    <a:pt x="1561" y="9792"/>
                  </a:cubicBezTo>
                  <a:lnTo>
                    <a:pt x="1906" y="9388"/>
                  </a:lnTo>
                  <a:cubicBezTo>
                    <a:pt x="2299" y="10007"/>
                    <a:pt x="2847" y="10471"/>
                    <a:pt x="2870" y="10495"/>
                  </a:cubicBezTo>
                  <a:cubicBezTo>
                    <a:pt x="2896" y="10512"/>
                    <a:pt x="2929" y="10523"/>
                    <a:pt x="2959" y="10523"/>
                  </a:cubicBezTo>
                  <a:cubicBezTo>
                    <a:pt x="2969" y="10523"/>
                    <a:pt x="2980" y="10522"/>
                    <a:pt x="2989" y="10519"/>
                  </a:cubicBezTo>
                  <a:cubicBezTo>
                    <a:pt x="3037" y="10519"/>
                    <a:pt x="3085" y="10495"/>
                    <a:pt x="3097" y="10459"/>
                  </a:cubicBezTo>
                  <a:lnTo>
                    <a:pt x="3454" y="9983"/>
                  </a:lnTo>
                  <a:cubicBezTo>
                    <a:pt x="3549" y="10173"/>
                    <a:pt x="3680" y="10352"/>
                    <a:pt x="3847" y="10507"/>
                  </a:cubicBezTo>
                  <a:cubicBezTo>
                    <a:pt x="4109" y="10745"/>
                    <a:pt x="4466" y="10876"/>
                    <a:pt x="4823" y="10876"/>
                  </a:cubicBezTo>
                  <a:lnTo>
                    <a:pt x="5514" y="10876"/>
                  </a:lnTo>
                  <a:cubicBezTo>
                    <a:pt x="6121" y="10876"/>
                    <a:pt x="6657" y="10519"/>
                    <a:pt x="6895" y="9983"/>
                  </a:cubicBezTo>
                  <a:lnTo>
                    <a:pt x="7252" y="10459"/>
                  </a:lnTo>
                  <a:cubicBezTo>
                    <a:pt x="7276" y="10495"/>
                    <a:pt x="7311" y="10519"/>
                    <a:pt x="7359" y="10519"/>
                  </a:cubicBezTo>
                  <a:lnTo>
                    <a:pt x="7371" y="10519"/>
                  </a:lnTo>
                  <a:cubicBezTo>
                    <a:pt x="7419" y="10519"/>
                    <a:pt x="7442" y="10507"/>
                    <a:pt x="7478" y="10471"/>
                  </a:cubicBezTo>
                  <a:cubicBezTo>
                    <a:pt x="7502" y="10459"/>
                    <a:pt x="8050" y="9983"/>
                    <a:pt x="8442" y="9376"/>
                  </a:cubicBezTo>
                  <a:lnTo>
                    <a:pt x="8788" y="9780"/>
                  </a:lnTo>
                  <a:cubicBezTo>
                    <a:pt x="8812" y="9816"/>
                    <a:pt x="8871" y="9840"/>
                    <a:pt x="8931" y="9840"/>
                  </a:cubicBezTo>
                  <a:cubicBezTo>
                    <a:pt x="8990" y="9816"/>
                    <a:pt x="9038" y="9792"/>
                    <a:pt x="9050" y="9733"/>
                  </a:cubicBezTo>
                  <a:cubicBezTo>
                    <a:pt x="9443" y="8780"/>
                    <a:pt x="9562" y="7852"/>
                    <a:pt x="9597" y="7435"/>
                  </a:cubicBezTo>
                  <a:lnTo>
                    <a:pt x="10050" y="7602"/>
                  </a:lnTo>
                  <a:cubicBezTo>
                    <a:pt x="10071" y="7612"/>
                    <a:pt x="10095" y="7618"/>
                    <a:pt x="10117" y="7618"/>
                  </a:cubicBezTo>
                  <a:cubicBezTo>
                    <a:pt x="10144" y="7618"/>
                    <a:pt x="10168" y="7609"/>
                    <a:pt x="10181" y="7590"/>
                  </a:cubicBezTo>
                  <a:cubicBezTo>
                    <a:pt x="10228" y="7554"/>
                    <a:pt x="10252" y="7518"/>
                    <a:pt x="10252" y="7471"/>
                  </a:cubicBezTo>
                  <a:cubicBezTo>
                    <a:pt x="10276" y="7459"/>
                    <a:pt x="10359" y="6673"/>
                    <a:pt x="10228" y="5637"/>
                  </a:cubicBezTo>
                  <a:cubicBezTo>
                    <a:pt x="10133" y="4899"/>
                    <a:pt x="9919" y="3911"/>
                    <a:pt x="9395" y="3030"/>
                  </a:cubicBezTo>
                  <a:cubicBezTo>
                    <a:pt x="9943" y="2410"/>
                    <a:pt x="10097" y="1565"/>
                    <a:pt x="10109" y="946"/>
                  </a:cubicBezTo>
                  <a:cubicBezTo>
                    <a:pt x="10121" y="648"/>
                    <a:pt x="9990" y="386"/>
                    <a:pt x="9764" y="208"/>
                  </a:cubicBezTo>
                  <a:cubicBezTo>
                    <a:pt x="9600" y="69"/>
                    <a:pt x="9397" y="0"/>
                    <a:pt x="9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1" name="Google Shape;13041;p63"/>
            <p:cNvSpPr/>
            <p:nvPr/>
          </p:nvSpPr>
          <p:spPr>
            <a:xfrm>
              <a:off x="2030765" y="1652690"/>
              <a:ext cx="48800" cy="59840"/>
            </a:xfrm>
            <a:custGeom>
              <a:avLst/>
              <a:gdLst/>
              <a:ahLst/>
              <a:cxnLst/>
              <a:rect l="l" t="t" r="r" b="b"/>
              <a:pathLst>
                <a:path w="1525" h="1870" extrusionOk="0">
                  <a:moveTo>
                    <a:pt x="763" y="0"/>
                  </a:moveTo>
                  <a:cubicBezTo>
                    <a:pt x="346" y="0"/>
                    <a:pt x="1" y="345"/>
                    <a:pt x="1" y="762"/>
                  </a:cubicBezTo>
                  <a:lnTo>
                    <a:pt x="1" y="1107"/>
                  </a:lnTo>
                  <a:cubicBezTo>
                    <a:pt x="1" y="1524"/>
                    <a:pt x="346" y="1869"/>
                    <a:pt x="763" y="1869"/>
                  </a:cubicBezTo>
                  <a:cubicBezTo>
                    <a:pt x="1179" y="1869"/>
                    <a:pt x="1525" y="1524"/>
                    <a:pt x="1525" y="1107"/>
                  </a:cubicBezTo>
                  <a:lnTo>
                    <a:pt x="1525" y="762"/>
                  </a:lnTo>
                  <a:cubicBezTo>
                    <a:pt x="1501" y="643"/>
                    <a:pt x="1477" y="548"/>
                    <a:pt x="1430" y="441"/>
                  </a:cubicBezTo>
                  <a:cubicBezTo>
                    <a:pt x="1394" y="379"/>
                    <a:pt x="1340" y="343"/>
                    <a:pt x="1285" y="343"/>
                  </a:cubicBezTo>
                  <a:cubicBezTo>
                    <a:pt x="1265" y="343"/>
                    <a:pt x="1246" y="348"/>
                    <a:pt x="1227" y="357"/>
                  </a:cubicBezTo>
                  <a:cubicBezTo>
                    <a:pt x="1144" y="405"/>
                    <a:pt x="1108" y="500"/>
                    <a:pt x="1144" y="572"/>
                  </a:cubicBezTo>
                  <a:cubicBezTo>
                    <a:pt x="1179" y="631"/>
                    <a:pt x="1191" y="691"/>
                    <a:pt x="1191" y="762"/>
                  </a:cubicBezTo>
                  <a:lnTo>
                    <a:pt x="1191" y="1107"/>
                  </a:lnTo>
                  <a:cubicBezTo>
                    <a:pt x="1191" y="1345"/>
                    <a:pt x="1001" y="1536"/>
                    <a:pt x="763" y="1536"/>
                  </a:cubicBezTo>
                  <a:cubicBezTo>
                    <a:pt x="525" y="1536"/>
                    <a:pt x="334" y="1345"/>
                    <a:pt x="334" y="1107"/>
                  </a:cubicBezTo>
                  <a:lnTo>
                    <a:pt x="334" y="762"/>
                  </a:lnTo>
                  <a:cubicBezTo>
                    <a:pt x="334" y="524"/>
                    <a:pt x="525" y="333"/>
                    <a:pt x="763" y="333"/>
                  </a:cubicBezTo>
                  <a:cubicBezTo>
                    <a:pt x="846" y="333"/>
                    <a:pt x="929" y="262"/>
                    <a:pt x="929" y="167"/>
                  </a:cubicBezTo>
                  <a:cubicBezTo>
                    <a:pt x="929" y="83"/>
                    <a:pt x="846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2" name="Google Shape;13042;p63"/>
            <p:cNvSpPr/>
            <p:nvPr/>
          </p:nvSpPr>
          <p:spPr>
            <a:xfrm>
              <a:off x="2167181" y="1652690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50" y="0"/>
                  </a:moveTo>
                  <a:cubicBezTo>
                    <a:pt x="334" y="0"/>
                    <a:pt x="0" y="345"/>
                    <a:pt x="0" y="762"/>
                  </a:cubicBezTo>
                  <a:lnTo>
                    <a:pt x="0" y="1107"/>
                  </a:lnTo>
                  <a:cubicBezTo>
                    <a:pt x="0" y="1524"/>
                    <a:pt x="334" y="1869"/>
                    <a:pt x="750" y="1869"/>
                  </a:cubicBezTo>
                  <a:cubicBezTo>
                    <a:pt x="1167" y="1869"/>
                    <a:pt x="1512" y="1524"/>
                    <a:pt x="1512" y="1107"/>
                  </a:cubicBezTo>
                  <a:lnTo>
                    <a:pt x="1512" y="762"/>
                  </a:lnTo>
                  <a:cubicBezTo>
                    <a:pt x="1500" y="643"/>
                    <a:pt x="1465" y="548"/>
                    <a:pt x="1429" y="441"/>
                  </a:cubicBezTo>
                  <a:cubicBezTo>
                    <a:pt x="1394" y="379"/>
                    <a:pt x="1333" y="343"/>
                    <a:pt x="1274" y="343"/>
                  </a:cubicBezTo>
                  <a:cubicBezTo>
                    <a:pt x="1254" y="343"/>
                    <a:pt x="1233" y="348"/>
                    <a:pt x="1215" y="357"/>
                  </a:cubicBezTo>
                  <a:cubicBezTo>
                    <a:pt x="1143" y="405"/>
                    <a:pt x="1096" y="500"/>
                    <a:pt x="1143" y="572"/>
                  </a:cubicBezTo>
                  <a:cubicBezTo>
                    <a:pt x="1167" y="631"/>
                    <a:pt x="1191" y="691"/>
                    <a:pt x="1191" y="762"/>
                  </a:cubicBezTo>
                  <a:lnTo>
                    <a:pt x="1191" y="1107"/>
                  </a:lnTo>
                  <a:cubicBezTo>
                    <a:pt x="1191" y="1345"/>
                    <a:pt x="988" y="1536"/>
                    <a:pt x="750" y="1536"/>
                  </a:cubicBezTo>
                  <a:cubicBezTo>
                    <a:pt x="512" y="1536"/>
                    <a:pt x="322" y="1345"/>
                    <a:pt x="322" y="1107"/>
                  </a:cubicBezTo>
                  <a:lnTo>
                    <a:pt x="322" y="762"/>
                  </a:lnTo>
                  <a:cubicBezTo>
                    <a:pt x="322" y="524"/>
                    <a:pt x="512" y="333"/>
                    <a:pt x="750" y="333"/>
                  </a:cubicBezTo>
                  <a:cubicBezTo>
                    <a:pt x="846" y="333"/>
                    <a:pt x="917" y="262"/>
                    <a:pt x="917" y="167"/>
                  </a:cubicBezTo>
                  <a:cubicBezTo>
                    <a:pt x="917" y="83"/>
                    <a:pt x="846" y="0"/>
                    <a:pt x="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3" name="Google Shape;13043;p63"/>
            <p:cNvSpPr/>
            <p:nvPr/>
          </p:nvSpPr>
          <p:spPr>
            <a:xfrm>
              <a:off x="2020877" y="1729234"/>
              <a:ext cx="20608" cy="15680"/>
            </a:xfrm>
            <a:custGeom>
              <a:avLst/>
              <a:gdLst/>
              <a:ahLst/>
              <a:cxnLst/>
              <a:rect l="l" t="t" r="r" b="b"/>
              <a:pathLst>
                <a:path w="644" h="490" extrusionOk="0">
                  <a:moveTo>
                    <a:pt x="178" y="0"/>
                  </a:moveTo>
                  <a:cubicBezTo>
                    <a:pt x="124" y="0"/>
                    <a:pt x="71" y="26"/>
                    <a:pt x="48" y="73"/>
                  </a:cubicBezTo>
                  <a:cubicBezTo>
                    <a:pt x="0" y="144"/>
                    <a:pt x="12" y="251"/>
                    <a:pt x="84" y="299"/>
                  </a:cubicBezTo>
                  <a:cubicBezTo>
                    <a:pt x="191" y="346"/>
                    <a:pt x="298" y="430"/>
                    <a:pt x="405" y="477"/>
                  </a:cubicBezTo>
                  <a:cubicBezTo>
                    <a:pt x="429" y="489"/>
                    <a:pt x="441" y="489"/>
                    <a:pt x="476" y="489"/>
                  </a:cubicBezTo>
                  <a:cubicBezTo>
                    <a:pt x="536" y="489"/>
                    <a:pt x="596" y="454"/>
                    <a:pt x="619" y="394"/>
                  </a:cubicBezTo>
                  <a:cubicBezTo>
                    <a:pt x="643" y="323"/>
                    <a:pt x="607" y="215"/>
                    <a:pt x="536" y="192"/>
                  </a:cubicBezTo>
                  <a:cubicBezTo>
                    <a:pt x="441" y="144"/>
                    <a:pt x="357" y="85"/>
                    <a:pt x="262" y="25"/>
                  </a:cubicBezTo>
                  <a:cubicBezTo>
                    <a:pt x="237" y="8"/>
                    <a:pt x="207" y="0"/>
                    <a:pt x="1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4" name="Google Shape;13044;p63"/>
            <p:cNvSpPr/>
            <p:nvPr/>
          </p:nvSpPr>
          <p:spPr>
            <a:xfrm>
              <a:off x="1986189" y="1685426"/>
              <a:ext cx="27840" cy="38144"/>
            </a:xfrm>
            <a:custGeom>
              <a:avLst/>
              <a:gdLst/>
              <a:ahLst/>
              <a:cxnLst/>
              <a:rect l="l" t="t" r="r" b="b"/>
              <a:pathLst>
                <a:path w="870" h="1192" extrusionOk="0">
                  <a:moveTo>
                    <a:pt x="189" y="1"/>
                  </a:moveTo>
                  <a:cubicBezTo>
                    <a:pt x="170" y="1"/>
                    <a:pt x="150" y="5"/>
                    <a:pt x="132" y="13"/>
                  </a:cubicBezTo>
                  <a:cubicBezTo>
                    <a:pt x="36" y="37"/>
                    <a:pt x="1" y="132"/>
                    <a:pt x="25" y="215"/>
                  </a:cubicBezTo>
                  <a:cubicBezTo>
                    <a:pt x="25" y="239"/>
                    <a:pt x="179" y="680"/>
                    <a:pt x="560" y="1132"/>
                  </a:cubicBezTo>
                  <a:cubicBezTo>
                    <a:pt x="596" y="1156"/>
                    <a:pt x="632" y="1192"/>
                    <a:pt x="679" y="1192"/>
                  </a:cubicBezTo>
                  <a:cubicBezTo>
                    <a:pt x="715" y="1192"/>
                    <a:pt x="751" y="1168"/>
                    <a:pt x="787" y="1144"/>
                  </a:cubicBezTo>
                  <a:cubicBezTo>
                    <a:pt x="870" y="1084"/>
                    <a:pt x="870" y="977"/>
                    <a:pt x="810" y="918"/>
                  </a:cubicBezTo>
                  <a:cubicBezTo>
                    <a:pt x="477" y="513"/>
                    <a:pt x="334" y="120"/>
                    <a:pt x="334" y="120"/>
                  </a:cubicBezTo>
                  <a:cubicBezTo>
                    <a:pt x="316" y="46"/>
                    <a:pt x="254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5" name="Google Shape;13045;p63"/>
            <p:cNvSpPr/>
            <p:nvPr/>
          </p:nvSpPr>
          <p:spPr>
            <a:xfrm>
              <a:off x="2198797" y="1729234"/>
              <a:ext cx="20608" cy="15680"/>
            </a:xfrm>
            <a:custGeom>
              <a:avLst/>
              <a:gdLst/>
              <a:ahLst/>
              <a:cxnLst/>
              <a:rect l="l" t="t" r="r" b="b"/>
              <a:pathLst>
                <a:path w="644" h="490" extrusionOk="0">
                  <a:moveTo>
                    <a:pt x="466" y="0"/>
                  </a:moveTo>
                  <a:cubicBezTo>
                    <a:pt x="437" y="0"/>
                    <a:pt x="407" y="8"/>
                    <a:pt x="381" y="25"/>
                  </a:cubicBezTo>
                  <a:cubicBezTo>
                    <a:pt x="286" y="85"/>
                    <a:pt x="203" y="144"/>
                    <a:pt x="108" y="192"/>
                  </a:cubicBezTo>
                  <a:cubicBezTo>
                    <a:pt x="36" y="239"/>
                    <a:pt x="0" y="323"/>
                    <a:pt x="36" y="394"/>
                  </a:cubicBezTo>
                  <a:cubicBezTo>
                    <a:pt x="60" y="454"/>
                    <a:pt x="119" y="489"/>
                    <a:pt x="179" y="489"/>
                  </a:cubicBezTo>
                  <a:cubicBezTo>
                    <a:pt x="215" y="489"/>
                    <a:pt x="227" y="489"/>
                    <a:pt x="262" y="477"/>
                  </a:cubicBezTo>
                  <a:lnTo>
                    <a:pt x="572" y="299"/>
                  </a:lnTo>
                  <a:cubicBezTo>
                    <a:pt x="631" y="239"/>
                    <a:pt x="643" y="144"/>
                    <a:pt x="596" y="73"/>
                  </a:cubicBezTo>
                  <a:cubicBezTo>
                    <a:pt x="573" y="26"/>
                    <a:pt x="520" y="0"/>
                    <a:pt x="4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6" name="Google Shape;13046;p63"/>
            <p:cNvSpPr/>
            <p:nvPr/>
          </p:nvSpPr>
          <p:spPr>
            <a:xfrm>
              <a:off x="2225453" y="1685426"/>
              <a:ext cx="28224" cy="37760"/>
            </a:xfrm>
            <a:custGeom>
              <a:avLst/>
              <a:gdLst/>
              <a:ahLst/>
              <a:cxnLst/>
              <a:rect l="l" t="t" r="r" b="b"/>
              <a:pathLst>
                <a:path w="882" h="1180" extrusionOk="0">
                  <a:moveTo>
                    <a:pt x="688" y="1"/>
                  </a:moveTo>
                  <a:cubicBezTo>
                    <a:pt x="620" y="1"/>
                    <a:pt x="564" y="44"/>
                    <a:pt x="537" y="108"/>
                  </a:cubicBezTo>
                  <a:cubicBezTo>
                    <a:pt x="537" y="108"/>
                    <a:pt x="406" y="513"/>
                    <a:pt x="60" y="918"/>
                  </a:cubicBezTo>
                  <a:cubicBezTo>
                    <a:pt x="1" y="989"/>
                    <a:pt x="25" y="1084"/>
                    <a:pt x="84" y="1144"/>
                  </a:cubicBezTo>
                  <a:cubicBezTo>
                    <a:pt x="108" y="1168"/>
                    <a:pt x="144" y="1180"/>
                    <a:pt x="179" y="1180"/>
                  </a:cubicBezTo>
                  <a:cubicBezTo>
                    <a:pt x="227" y="1180"/>
                    <a:pt x="275" y="1168"/>
                    <a:pt x="299" y="1120"/>
                  </a:cubicBezTo>
                  <a:cubicBezTo>
                    <a:pt x="691" y="668"/>
                    <a:pt x="834" y="227"/>
                    <a:pt x="834" y="215"/>
                  </a:cubicBezTo>
                  <a:cubicBezTo>
                    <a:pt x="882" y="132"/>
                    <a:pt x="834" y="37"/>
                    <a:pt x="751" y="13"/>
                  </a:cubicBezTo>
                  <a:cubicBezTo>
                    <a:pt x="729" y="5"/>
                    <a:pt x="708" y="1"/>
                    <a:pt x="6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7" name="Google Shape;13047;p63"/>
            <p:cNvSpPr/>
            <p:nvPr/>
          </p:nvSpPr>
          <p:spPr>
            <a:xfrm>
              <a:off x="2046381" y="1573906"/>
              <a:ext cx="22528" cy="16320"/>
            </a:xfrm>
            <a:custGeom>
              <a:avLst/>
              <a:gdLst/>
              <a:ahLst/>
              <a:cxnLst/>
              <a:rect l="l" t="t" r="r" b="b"/>
              <a:pathLst>
                <a:path w="704" h="510" extrusionOk="0">
                  <a:moveTo>
                    <a:pt x="508" y="1"/>
                  </a:moveTo>
                  <a:cubicBezTo>
                    <a:pt x="489" y="1"/>
                    <a:pt x="471" y="4"/>
                    <a:pt x="453" y="9"/>
                  </a:cubicBezTo>
                  <a:cubicBezTo>
                    <a:pt x="334" y="69"/>
                    <a:pt x="215" y="140"/>
                    <a:pt x="96" y="212"/>
                  </a:cubicBezTo>
                  <a:cubicBezTo>
                    <a:pt x="25" y="247"/>
                    <a:pt x="1" y="355"/>
                    <a:pt x="49" y="426"/>
                  </a:cubicBezTo>
                  <a:cubicBezTo>
                    <a:pt x="84" y="474"/>
                    <a:pt x="120" y="509"/>
                    <a:pt x="180" y="509"/>
                  </a:cubicBezTo>
                  <a:cubicBezTo>
                    <a:pt x="215" y="509"/>
                    <a:pt x="239" y="486"/>
                    <a:pt x="275" y="474"/>
                  </a:cubicBezTo>
                  <a:cubicBezTo>
                    <a:pt x="382" y="414"/>
                    <a:pt x="477" y="343"/>
                    <a:pt x="596" y="295"/>
                  </a:cubicBezTo>
                  <a:cubicBezTo>
                    <a:pt x="656" y="271"/>
                    <a:pt x="703" y="176"/>
                    <a:pt x="656" y="93"/>
                  </a:cubicBezTo>
                  <a:cubicBezTo>
                    <a:pt x="629" y="30"/>
                    <a:pt x="568" y="1"/>
                    <a:pt x="5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8" name="Google Shape;13048;p63"/>
            <p:cNvSpPr/>
            <p:nvPr/>
          </p:nvSpPr>
          <p:spPr>
            <a:xfrm>
              <a:off x="2078765" y="1587538"/>
              <a:ext cx="87680" cy="18304"/>
            </a:xfrm>
            <a:custGeom>
              <a:avLst/>
              <a:gdLst/>
              <a:ahLst/>
              <a:cxnLst/>
              <a:rect l="l" t="t" r="r" b="b"/>
              <a:pathLst>
                <a:path w="2740" h="572" extrusionOk="0">
                  <a:moveTo>
                    <a:pt x="1370" y="0"/>
                  </a:moveTo>
                  <a:cubicBezTo>
                    <a:pt x="942" y="0"/>
                    <a:pt x="513" y="95"/>
                    <a:pt x="120" y="262"/>
                  </a:cubicBezTo>
                  <a:cubicBezTo>
                    <a:pt x="49" y="286"/>
                    <a:pt x="1" y="393"/>
                    <a:pt x="37" y="464"/>
                  </a:cubicBezTo>
                  <a:cubicBezTo>
                    <a:pt x="56" y="523"/>
                    <a:pt x="132" y="566"/>
                    <a:pt x="198" y="566"/>
                  </a:cubicBezTo>
                  <a:cubicBezTo>
                    <a:pt x="213" y="566"/>
                    <a:pt x="226" y="564"/>
                    <a:pt x="239" y="560"/>
                  </a:cubicBezTo>
                  <a:cubicBezTo>
                    <a:pt x="584" y="405"/>
                    <a:pt x="965" y="333"/>
                    <a:pt x="1370" y="333"/>
                  </a:cubicBezTo>
                  <a:cubicBezTo>
                    <a:pt x="1775" y="333"/>
                    <a:pt x="2168" y="405"/>
                    <a:pt x="2501" y="560"/>
                  </a:cubicBezTo>
                  <a:cubicBezTo>
                    <a:pt x="2525" y="572"/>
                    <a:pt x="2549" y="572"/>
                    <a:pt x="2561" y="572"/>
                  </a:cubicBezTo>
                  <a:cubicBezTo>
                    <a:pt x="2620" y="572"/>
                    <a:pt x="2680" y="536"/>
                    <a:pt x="2716" y="464"/>
                  </a:cubicBezTo>
                  <a:cubicBezTo>
                    <a:pt x="2739" y="381"/>
                    <a:pt x="2716" y="286"/>
                    <a:pt x="2620" y="262"/>
                  </a:cubicBezTo>
                  <a:cubicBezTo>
                    <a:pt x="2239" y="95"/>
                    <a:pt x="1811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9" name="Google Shape;13049;p63"/>
            <p:cNvSpPr/>
            <p:nvPr/>
          </p:nvSpPr>
          <p:spPr>
            <a:xfrm>
              <a:off x="2177069" y="1574130"/>
              <a:ext cx="22528" cy="16480"/>
            </a:xfrm>
            <a:custGeom>
              <a:avLst/>
              <a:gdLst/>
              <a:ahLst/>
              <a:cxnLst/>
              <a:rect l="l" t="t" r="r" b="b"/>
              <a:pathLst>
                <a:path w="704" h="515" extrusionOk="0">
                  <a:moveTo>
                    <a:pt x="190" y="0"/>
                  </a:moveTo>
                  <a:cubicBezTo>
                    <a:pt x="129" y="0"/>
                    <a:pt x="66" y="36"/>
                    <a:pt x="48" y="98"/>
                  </a:cubicBezTo>
                  <a:cubicBezTo>
                    <a:pt x="1" y="169"/>
                    <a:pt x="48" y="276"/>
                    <a:pt x="120" y="300"/>
                  </a:cubicBezTo>
                  <a:cubicBezTo>
                    <a:pt x="239" y="360"/>
                    <a:pt x="346" y="419"/>
                    <a:pt x="441" y="479"/>
                  </a:cubicBezTo>
                  <a:cubicBezTo>
                    <a:pt x="477" y="490"/>
                    <a:pt x="501" y="514"/>
                    <a:pt x="537" y="514"/>
                  </a:cubicBezTo>
                  <a:cubicBezTo>
                    <a:pt x="596" y="514"/>
                    <a:pt x="644" y="479"/>
                    <a:pt x="668" y="431"/>
                  </a:cubicBezTo>
                  <a:cubicBezTo>
                    <a:pt x="703" y="360"/>
                    <a:pt x="668" y="264"/>
                    <a:pt x="608" y="217"/>
                  </a:cubicBezTo>
                  <a:cubicBezTo>
                    <a:pt x="489" y="133"/>
                    <a:pt x="370" y="86"/>
                    <a:pt x="251" y="14"/>
                  </a:cubicBezTo>
                  <a:cubicBezTo>
                    <a:pt x="232" y="5"/>
                    <a:pt x="211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0" name="Google Shape;13050;p63"/>
            <p:cNvSpPr/>
            <p:nvPr/>
          </p:nvSpPr>
          <p:spPr>
            <a:xfrm>
              <a:off x="2078413" y="1560466"/>
              <a:ext cx="88800" cy="15648"/>
            </a:xfrm>
            <a:custGeom>
              <a:avLst/>
              <a:gdLst/>
              <a:ahLst/>
              <a:cxnLst/>
              <a:rect l="l" t="t" r="r" b="b"/>
              <a:pathLst>
                <a:path w="2775" h="489" extrusionOk="0">
                  <a:moveTo>
                    <a:pt x="1381" y="1"/>
                  </a:moveTo>
                  <a:cubicBezTo>
                    <a:pt x="953" y="1"/>
                    <a:pt x="536" y="60"/>
                    <a:pt x="131" y="179"/>
                  </a:cubicBezTo>
                  <a:cubicBezTo>
                    <a:pt x="48" y="215"/>
                    <a:pt x="0" y="298"/>
                    <a:pt x="36" y="370"/>
                  </a:cubicBezTo>
                  <a:cubicBezTo>
                    <a:pt x="54" y="444"/>
                    <a:pt x="116" y="489"/>
                    <a:pt x="175" y="489"/>
                  </a:cubicBezTo>
                  <a:cubicBezTo>
                    <a:pt x="193" y="489"/>
                    <a:pt x="210" y="485"/>
                    <a:pt x="226" y="477"/>
                  </a:cubicBezTo>
                  <a:cubicBezTo>
                    <a:pt x="595" y="370"/>
                    <a:pt x="988" y="310"/>
                    <a:pt x="1381" y="310"/>
                  </a:cubicBezTo>
                  <a:cubicBezTo>
                    <a:pt x="1786" y="310"/>
                    <a:pt x="2179" y="370"/>
                    <a:pt x="2548" y="477"/>
                  </a:cubicBezTo>
                  <a:lnTo>
                    <a:pt x="2596" y="477"/>
                  </a:lnTo>
                  <a:cubicBezTo>
                    <a:pt x="2667" y="477"/>
                    <a:pt x="2727" y="429"/>
                    <a:pt x="2738" y="358"/>
                  </a:cubicBezTo>
                  <a:cubicBezTo>
                    <a:pt x="2774" y="286"/>
                    <a:pt x="2727" y="191"/>
                    <a:pt x="2631" y="179"/>
                  </a:cubicBezTo>
                  <a:cubicBezTo>
                    <a:pt x="2238" y="60"/>
                    <a:pt x="1822" y="1"/>
                    <a:pt x="13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51" name="Google Shape;13051;p63"/>
          <p:cNvGrpSpPr/>
          <p:nvPr/>
        </p:nvGrpSpPr>
        <p:grpSpPr>
          <a:xfrm>
            <a:off x="6345613" y="1549874"/>
            <a:ext cx="348640" cy="250656"/>
            <a:chOff x="6345613" y="1549874"/>
            <a:chExt cx="348640" cy="250656"/>
          </a:xfrm>
        </p:grpSpPr>
        <p:sp>
          <p:nvSpPr>
            <p:cNvPr id="13052" name="Google Shape;13052;p63"/>
            <p:cNvSpPr/>
            <p:nvPr/>
          </p:nvSpPr>
          <p:spPr>
            <a:xfrm>
              <a:off x="6405805" y="1685810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10"/>
                  </a:moveTo>
                  <a:cubicBezTo>
                    <a:pt x="607" y="310"/>
                    <a:pt x="679" y="382"/>
                    <a:pt x="679" y="489"/>
                  </a:cubicBezTo>
                  <a:cubicBezTo>
                    <a:pt x="691" y="596"/>
                    <a:pt x="607" y="668"/>
                    <a:pt x="500" y="668"/>
                  </a:cubicBezTo>
                  <a:cubicBezTo>
                    <a:pt x="393" y="668"/>
                    <a:pt x="322" y="596"/>
                    <a:pt x="322" y="489"/>
                  </a:cubicBezTo>
                  <a:cubicBezTo>
                    <a:pt x="322" y="382"/>
                    <a:pt x="393" y="310"/>
                    <a:pt x="500" y="310"/>
                  </a:cubicBezTo>
                  <a:close/>
                  <a:moveTo>
                    <a:pt x="500" y="1"/>
                  </a:moveTo>
                  <a:cubicBezTo>
                    <a:pt x="215" y="1"/>
                    <a:pt x="0" y="215"/>
                    <a:pt x="0" y="501"/>
                  </a:cubicBezTo>
                  <a:cubicBezTo>
                    <a:pt x="0" y="787"/>
                    <a:pt x="215" y="1013"/>
                    <a:pt x="500" y="1013"/>
                  </a:cubicBezTo>
                  <a:cubicBezTo>
                    <a:pt x="786" y="1013"/>
                    <a:pt x="1012" y="787"/>
                    <a:pt x="1012" y="501"/>
                  </a:cubicBezTo>
                  <a:cubicBezTo>
                    <a:pt x="1012" y="215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3" name="Google Shape;13053;p63"/>
            <p:cNvSpPr/>
            <p:nvPr/>
          </p:nvSpPr>
          <p:spPr>
            <a:xfrm>
              <a:off x="6345613" y="1549874"/>
              <a:ext cx="348640" cy="250656"/>
            </a:xfrm>
            <a:custGeom>
              <a:avLst/>
              <a:gdLst/>
              <a:ahLst/>
              <a:cxnLst/>
              <a:rect l="l" t="t" r="r" b="b"/>
              <a:pathLst>
                <a:path w="10895" h="7833" extrusionOk="0">
                  <a:moveTo>
                    <a:pt x="691" y="4380"/>
                  </a:moveTo>
                  <a:lnTo>
                    <a:pt x="691" y="4380"/>
                  </a:lnTo>
                  <a:cubicBezTo>
                    <a:pt x="703" y="4511"/>
                    <a:pt x="655" y="4630"/>
                    <a:pt x="548" y="4737"/>
                  </a:cubicBezTo>
                  <a:cubicBezTo>
                    <a:pt x="512" y="4797"/>
                    <a:pt x="464" y="4832"/>
                    <a:pt x="429" y="4856"/>
                  </a:cubicBezTo>
                  <a:cubicBezTo>
                    <a:pt x="405" y="4808"/>
                    <a:pt x="369" y="4761"/>
                    <a:pt x="345" y="4713"/>
                  </a:cubicBezTo>
                  <a:cubicBezTo>
                    <a:pt x="345" y="4677"/>
                    <a:pt x="357" y="4630"/>
                    <a:pt x="393" y="4570"/>
                  </a:cubicBezTo>
                  <a:cubicBezTo>
                    <a:pt x="452" y="4475"/>
                    <a:pt x="548" y="4416"/>
                    <a:pt x="691" y="4380"/>
                  </a:cubicBezTo>
                  <a:close/>
                  <a:moveTo>
                    <a:pt x="5691" y="403"/>
                  </a:moveTo>
                  <a:lnTo>
                    <a:pt x="5536" y="903"/>
                  </a:lnTo>
                  <a:cubicBezTo>
                    <a:pt x="5525" y="963"/>
                    <a:pt x="5536" y="1022"/>
                    <a:pt x="5584" y="1058"/>
                  </a:cubicBezTo>
                  <a:cubicBezTo>
                    <a:pt x="5616" y="1090"/>
                    <a:pt x="5653" y="1106"/>
                    <a:pt x="5692" y="1106"/>
                  </a:cubicBezTo>
                  <a:cubicBezTo>
                    <a:pt x="5711" y="1106"/>
                    <a:pt x="5731" y="1102"/>
                    <a:pt x="5751" y="1094"/>
                  </a:cubicBezTo>
                  <a:cubicBezTo>
                    <a:pt x="6167" y="922"/>
                    <a:pt x="6580" y="867"/>
                    <a:pt x="6935" y="867"/>
                  </a:cubicBezTo>
                  <a:cubicBezTo>
                    <a:pt x="7270" y="867"/>
                    <a:pt x="7554" y="916"/>
                    <a:pt x="7739" y="963"/>
                  </a:cubicBezTo>
                  <a:lnTo>
                    <a:pt x="7370" y="1296"/>
                  </a:lnTo>
                  <a:cubicBezTo>
                    <a:pt x="7322" y="1344"/>
                    <a:pt x="7310" y="1415"/>
                    <a:pt x="7322" y="1475"/>
                  </a:cubicBezTo>
                  <a:cubicBezTo>
                    <a:pt x="7358" y="1534"/>
                    <a:pt x="7394" y="1582"/>
                    <a:pt x="7477" y="1582"/>
                  </a:cubicBezTo>
                  <a:cubicBezTo>
                    <a:pt x="8323" y="1618"/>
                    <a:pt x="9001" y="1856"/>
                    <a:pt x="9358" y="1999"/>
                  </a:cubicBezTo>
                  <a:lnTo>
                    <a:pt x="8989" y="2225"/>
                  </a:lnTo>
                  <a:cubicBezTo>
                    <a:pt x="8930" y="2249"/>
                    <a:pt x="8906" y="2332"/>
                    <a:pt x="8918" y="2391"/>
                  </a:cubicBezTo>
                  <a:cubicBezTo>
                    <a:pt x="8930" y="2451"/>
                    <a:pt x="8977" y="2511"/>
                    <a:pt x="9037" y="2522"/>
                  </a:cubicBezTo>
                  <a:cubicBezTo>
                    <a:pt x="9561" y="2653"/>
                    <a:pt x="10156" y="3058"/>
                    <a:pt x="10418" y="3249"/>
                  </a:cubicBezTo>
                  <a:lnTo>
                    <a:pt x="10037" y="3642"/>
                  </a:lnTo>
                  <a:cubicBezTo>
                    <a:pt x="9977" y="3701"/>
                    <a:pt x="9977" y="3785"/>
                    <a:pt x="10013" y="3844"/>
                  </a:cubicBezTo>
                  <a:cubicBezTo>
                    <a:pt x="10299" y="4249"/>
                    <a:pt x="10418" y="4713"/>
                    <a:pt x="10466" y="5023"/>
                  </a:cubicBezTo>
                  <a:cubicBezTo>
                    <a:pt x="10251" y="4808"/>
                    <a:pt x="9775" y="4570"/>
                    <a:pt x="9120" y="4392"/>
                  </a:cubicBezTo>
                  <a:cubicBezTo>
                    <a:pt x="9113" y="4390"/>
                    <a:pt x="9105" y="4390"/>
                    <a:pt x="9098" y="4390"/>
                  </a:cubicBezTo>
                  <a:cubicBezTo>
                    <a:pt x="9032" y="4390"/>
                    <a:pt x="8962" y="4435"/>
                    <a:pt x="8930" y="4499"/>
                  </a:cubicBezTo>
                  <a:lnTo>
                    <a:pt x="8787" y="4963"/>
                  </a:lnTo>
                  <a:cubicBezTo>
                    <a:pt x="7775" y="4344"/>
                    <a:pt x="7072" y="4082"/>
                    <a:pt x="7037" y="4070"/>
                  </a:cubicBezTo>
                  <a:cubicBezTo>
                    <a:pt x="7018" y="4061"/>
                    <a:pt x="6998" y="4056"/>
                    <a:pt x="6979" y="4056"/>
                  </a:cubicBezTo>
                  <a:cubicBezTo>
                    <a:pt x="6924" y="4056"/>
                    <a:pt x="6869" y="4092"/>
                    <a:pt x="6834" y="4154"/>
                  </a:cubicBezTo>
                  <a:lnTo>
                    <a:pt x="6537" y="4797"/>
                  </a:lnTo>
                  <a:cubicBezTo>
                    <a:pt x="6239" y="4594"/>
                    <a:pt x="5941" y="4416"/>
                    <a:pt x="5632" y="4249"/>
                  </a:cubicBezTo>
                  <a:cubicBezTo>
                    <a:pt x="5606" y="4234"/>
                    <a:pt x="5578" y="4227"/>
                    <a:pt x="5552" y="4227"/>
                  </a:cubicBezTo>
                  <a:cubicBezTo>
                    <a:pt x="5494" y="4227"/>
                    <a:pt x="5442" y="4259"/>
                    <a:pt x="5417" y="4308"/>
                  </a:cubicBezTo>
                  <a:cubicBezTo>
                    <a:pt x="5370" y="4380"/>
                    <a:pt x="5405" y="4487"/>
                    <a:pt x="5477" y="4511"/>
                  </a:cubicBezTo>
                  <a:cubicBezTo>
                    <a:pt x="5834" y="4713"/>
                    <a:pt x="6191" y="4928"/>
                    <a:pt x="6525" y="5154"/>
                  </a:cubicBezTo>
                  <a:cubicBezTo>
                    <a:pt x="6560" y="5189"/>
                    <a:pt x="6608" y="5189"/>
                    <a:pt x="6656" y="5189"/>
                  </a:cubicBezTo>
                  <a:cubicBezTo>
                    <a:pt x="6703" y="5166"/>
                    <a:pt x="6739" y="5142"/>
                    <a:pt x="6763" y="5094"/>
                  </a:cubicBezTo>
                  <a:lnTo>
                    <a:pt x="7072" y="4404"/>
                  </a:lnTo>
                  <a:cubicBezTo>
                    <a:pt x="7334" y="4523"/>
                    <a:pt x="7977" y="4808"/>
                    <a:pt x="8799" y="5320"/>
                  </a:cubicBezTo>
                  <a:cubicBezTo>
                    <a:pt x="8827" y="5334"/>
                    <a:pt x="8850" y="5340"/>
                    <a:pt x="8875" y="5340"/>
                  </a:cubicBezTo>
                  <a:cubicBezTo>
                    <a:pt x="8892" y="5340"/>
                    <a:pt x="8910" y="5337"/>
                    <a:pt x="8930" y="5332"/>
                  </a:cubicBezTo>
                  <a:cubicBezTo>
                    <a:pt x="8977" y="5320"/>
                    <a:pt x="9001" y="5273"/>
                    <a:pt x="9025" y="5225"/>
                  </a:cubicBezTo>
                  <a:lnTo>
                    <a:pt x="9180" y="4725"/>
                  </a:lnTo>
                  <a:cubicBezTo>
                    <a:pt x="9573" y="4832"/>
                    <a:pt x="9894" y="4975"/>
                    <a:pt x="10132" y="5106"/>
                  </a:cubicBezTo>
                  <a:cubicBezTo>
                    <a:pt x="9763" y="5630"/>
                    <a:pt x="9061" y="6047"/>
                    <a:pt x="8132" y="6297"/>
                  </a:cubicBezTo>
                  <a:cubicBezTo>
                    <a:pt x="7420" y="6505"/>
                    <a:pt x="6565" y="6601"/>
                    <a:pt x="5681" y="6601"/>
                  </a:cubicBezTo>
                  <a:cubicBezTo>
                    <a:pt x="5455" y="6601"/>
                    <a:pt x="5228" y="6595"/>
                    <a:pt x="5001" y="6582"/>
                  </a:cubicBezTo>
                  <a:cubicBezTo>
                    <a:pt x="4274" y="6535"/>
                    <a:pt x="3560" y="6416"/>
                    <a:pt x="2905" y="6261"/>
                  </a:cubicBezTo>
                  <a:cubicBezTo>
                    <a:pt x="3572" y="5785"/>
                    <a:pt x="3620" y="5130"/>
                    <a:pt x="3572" y="4749"/>
                  </a:cubicBezTo>
                  <a:cubicBezTo>
                    <a:pt x="3561" y="4673"/>
                    <a:pt x="3500" y="4616"/>
                    <a:pt x="3417" y="4616"/>
                  </a:cubicBezTo>
                  <a:cubicBezTo>
                    <a:pt x="3409" y="4616"/>
                    <a:pt x="3401" y="4617"/>
                    <a:pt x="3393" y="4618"/>
                  </a:cubicBezTo>
                  <a:cubicBezTo>
                    <a:pt x="3310" y="4630"/>
                    <a:pt x="3250" y="4713"/>
                    <a:pt x="3262" y="4797"/>
                  </a:cubicBezTo>
                  <a:cubicBezTo>
                    <a:pt x="3310" y="5213"/>
                    <a:pt x="3215" y="5785"/>
                    <a:pt x="2500" y="6142"/>
                  </a:cubicBezTo>
                  <a:cubicBezTo>
                    <a:pt x="2357" y="6094"/>
                    <a:pt x="2203" y="6035"/>
                    <a:pt x="2060" y="5975"/>
                  </a:cubicBezTo>
                  <a:cubicBezTo>
                    <a:pt x="1429" y="5725"/>
                    <a:pt x="941" y="5428"/>
                    <a:pt x="631" y="5082"/>
                  </a:cubicBezTo>
                  <a:cubicBezTo>
                    <a:pt x="822" y="4951"/>
                    <a:pt x="1024" y="4689"/>
                    <a:pt x="1000" y="4320"/>
                  </a:cubicBezTo>
                  <a:cubicBezTo>
                    <a:pt x="1441" y="4249"/>
                    <a:pt x="1786" y="4118"/>
                    <a:pt x="2119" y="3999"/>
                  </a:cubicBezTo>
                  <a:cubicBezTo>
                    <a:pt x="2460" y="3863"/>
                    <a:pt x="2746" y="3748"/>
                    <a:pt x="3051" y="3748"/>
                  </a:cubicBezTo>
                  <a:cubicBezTo>
                    <a:pt x="3066" y="3748"/>
                    <a:pt x="3081" y="3748"/>
                    <a:pt x="3096" y="3749"/>
                  </a:cubicBezTo>
                  <a:cubicBezTo>
                    <a:pt x="3084" y="3808"/>
                    <a:pt x="3072" y="3892"/>
                    <a:pt x="3072" y="3951"/>
                  </a:cubicBezTo>
                  <a:cubicBezTo>
                    <a:pt x="3072" y="4035"/>
                    <a:pt x="3084" y="4118"/>
                    <a:pt x="3108" y="4189"/>
                  </a:cubicBezTo>
                  <a:cubicBezTo>
                    <a:pt x="3137" y="4258"/>
                    <a:pt x="3199" y="4303"/>
                    <a:pt x="3267" y="4303"/>
                  </a:cubicBezTo>
                  <a:cubicBezTo>
                    <a:pt x="3281" y="4303"/>
                    <a:pt x="3295" y="4301"/>
                    <a:pt x="3310" y="4296"/>
                  </a:cubicBezTo>
                  <a:cubicBezTo>
                    <a:pt x="3393" y="4261"/>
                    <a:pt x="3441" y="4166"/>
                    <a:pt x="3405" y="4094"/>
                  </a:cubicBezTo>
                  <a:cubicBezTo>
                    <a:pt x="3393" y="4035"/>
                    <a:pt x="3381" y="4011"/>
                    <a:pt x="3381" y="3963"/>
                  </a:cubicBezTo>
                  <a:cubicBezTo>
                    <a:pt x="3381" y="3725"/>
                    <a:pt x="3572" y="3534"/>
                    <a:pt x="3810" y="3534"/>
                  </a:cubicBezTo>
                  <a:cubicBezTo>
                    <a:pt x="4048" y="3534"/>
                    <a:pt x="4239" y="3725"/>
                    <a:pt x="4239" y="3963"/>
                  </a:cubicBezTo>
                  <a:cubicBezTo>
                    <a:pt x="4239" y="4082"/>
                    <a:pt x="4203" y="4189"/>
                    <a:pt x="4108" y="4273"/>
                  </a:cubicBezTo>
                  <a:cubicBezTo>
                    <a:pt x="4048" y="4332"/>
                    <a:pt x="4048" y="4439"/>
                    <a:pt x="4108" y="4499"/>
                  </a:cubicBezTo>
                  <a:cubicBezTo>
                    <a:pt x="4143" y="4535"/>
                    <a:pt x="4179" y="4547"/>
                    <a:pt x="4227" y="4547"/>
                  </a:cubicBezTo>
                  <a:cubicBezTo>
                    <a:pt x="4274" y="4547"/>
                    <a:pt x="4298" y="4535"/>
                    <a:pt x="4334" y="4499"/>
                  </a:cubicBezTo>
                  <a:cubicBezTo>
                    <a:pt x="4453" y="4392"/>
                    <a:pt x="4513" y="4249"/>
                    <a:pt x="4536" y="4094"/>
                  </a:cubicBezTo>
                  <a:cubicBezTo>
                    <a:pt x="4632" y="4130"/>
                    <a:pt x="4739" y="4177"/>
                    <a:pt x="4858" y="4237"/>
                  </a:cubicBezTo>
                  <a:cubicBezTo>
                    <a:pt x="4870" y="4249"/>
                    <a:pt x="4894" y="4249"/>
                    <a:pt x="4917" y="4249"/>
                  </a:cubicBezTo>
                  <a:cubicBezTo>
                    <a:pt x="4977" y="4249"/>
                    <a:pt x="5036" y="4213"/>
                    <a:pt x="5060" y="4154"/>
                  </a:cubicBezTo>
                  <a:cubicBezTo>
                    <a:pt x="5096" y="4082"/>
                    <a:pt x="5060" y="3975"/>
                    <a:pt x="4989" y="3951"/>
                  </a:cubicBezTo>
                  <a:cubicBezTo>
                    <a:pt x="4774" y="3856"/>
                    <a:pt x="4620" y="3796"/>
                    <a:pt x="4524" y="3773"/>
                  </a:cubicBezTo>
                  <a:cubicBezTo>
                    <a:pt x="4441" y="3463"/>
                    <a:pt x="4143" y="3225"/>
                    <a:pt x="3798" y="3225"/>
                  </a:cubicBezTo>
                  <a:cubicBezTo>
                    <a:pt x="3572" y="3225"/>
                    <a:pt x="3381" y="3320"/>
                    <a:pt x="3227" y="3475"/>
                  </a:cubicBezTo>
                  <a:cubicBezTo>
                    <a:pt x="3162" y="3463"/>
                    <a:pt x="3098" y="3458"/>
                    <a:pt x="3034" y="3458"/>
                  </a:cubicBezTo>
                  <a:cubicBezTo>
                    <a:pt x="2897" y="3458"/>
                    <a:pt x="2757" y="3482"/>
                    <a:pt x="2596" y="3523"/>
                  </a:cubicBezTo>
                  <a:cubicBezTo>
                    <a:pt x="2488" y="3546"/>
                    <a:pt x="2369" y="3582"/>
                    <a:pt x="2262" y="3618"/>
                  </a:cubicBezTo>
                  <a:cubicBezTo>
                    <a:pt x="2155" y="2999"/>
                    <a:pt x="2322" y="2415"/>
                    <a:pt x="2738" y="1891"/>
                  </a:cubicBezTo>
                  <a:cubicBezTo>
                    <a:pt x="2953" y="1641"/>
                    <a:pt x="3167" y="1451"/>
                    <a:pt x="3322" y="1344"/>
                  </a:cubicBezTo>
                  <a:lnTo>
                    <a:pt x="3405" y="1594"/>
                  </a:lnTo>
                  <a:cubicBezTo>
                    <a:pt x="3429" y="1641"/>
                    <a:pt x="3465" y="1689"/>
                    <a:pt x="3524" y="1701"/>
                  </a:cubicBezTo>
                  <a:cubicBezTo>
                    <a:pt x="3538" y="1704"/>
                    <a:pt x="3552" y="1705"/>
                    <a:pt x="3565" y="1705"/>
                  </a:cubicBezTo>
                  <a:cubicBezTo>
                    <a:pt x="3606" y="1705"/>
                    <a:pt x="3643" y="1690"/>
                    <a:pt x="3679" y="1653"/>
                  </a:cubicBezTo>
                  <a:cubicBezTo>
                    <a:pt x="4393" y="927"/>
                    <a:pt x="5251" y="558"/>
                    <a:pt x="5691" y="403"/>
                  </a:cubicBezTo>
                  <a:close/>
                  <a:moveTo>
                    <a:pt x="3036" y="6642"/>
                  </a:moveTo>
                  <a:cubicBezTo>
                    <a:pt x="3262" y="6702"/>
                    <a:pt x="3500" y="6749"/>
                    <a:pt x="3739" y="6797"/>
                  </a:cubicBezTo>
                  <a:lnTo>
                    <a:pt x="3739" y="6928"/>
                  </a:lnTo>
                  <a:lnTo>
                    <a:pt x="3608" y="6940"/>
                  </a:lnTo>
                  <a:cubicBezTo>
                    <a:pt x="3393" y="6975"/>
                    <a:pt x="3227" y="7142"/>
                    <a:pt x="3227" y="7368"/>
                  </a:cubicBezTo>
                  <a:cubicBezTo>
                    <a:pt x="3250" y="7404"/>
                    <a:pt x="3262" y="7428"/>
                    <a:pt x="3262" y="7475"/>
                  </a:cubicBezTo>
                  <a:lnTo>
                    <a:pt x="2655" y="7475"/>
                  </a:lnTo>
                  <a:cubicBezTo>
                    <a:pt x="2596" y="7475"/>
                    <a:pt x="2536" y="7428"/>
                    <a:pt x="2536" y="7356"/>
                  </a:cubicBezTo>
                  <a:cubicBezTo>
                    <a:pt x="2536" y="7297"/>
                    <a:pt x="2572" y="7249"/>
                    <a:pt x="2631" y="7249"/>
                  </a:cubicBezTo>
                  <a:lnTo>
                    <a:pt x="2905" y="7225"/>
                  </a:lnTo>
                  <a:cubicBezTo>
                    <a:pt x="2977" y="7214"/>
                    <a:pt x="3036" y="7154"/>
                    <a:pt x="3036" y="7059"/>
                  </a:cubicBezTo>
                  <a:lnTo>
                    <a:pt x="3036" y="6642"/>
                  </a:lnTo>
                  <a:close/>
                  <a:moveTo>
                    <a:pt x="4084" y="6833"/>
                  </a:moveTo>
                  <a:cubicBezTo>
                    <a:pt x="4262" y="6868"/>
                    <a:pt x="4441" y="6880"/>
                    <a:pt x="4620" y="6892"/>
                  </a:cubicBezTo>
                  <a:lnTo>
                    <a:pt x="4620" y="7297"/>
                  </a:lnTo>
                  <a:cubicBezTo>
                    <a:pt x="4620" y="7404"/>
                    <a:pt x="4536" y="7475"/>
                    <a:pt x="4441" y="7475"/>
                  </a:cubicBezTo>
                  <a:lnTo>
                    <a:pt x="3691" y="7475"/>
                  </a:lnTo>
                  <a:cubicBezTo>
                    <a:pt x="3631" y="7475"/>
                    <a:pt x="3572" y="7428"/>
                    <a:pt x="3572" y="7356"/>
                  </a:cubicBezTo>
                  <a:cubicBezTo>
                    <a:pt x="3572" y="7297"/>
                    <a:pt x="3620" y="7249"/>
                    <a:pt x="3679" y="7249"/>
                  </a:cubicBezTo>
                  <a:lnTo>
                    <a:pt x="3941" y="7225"/>
                  </a:lnTo>
                  <a:cubicBezTo>
                    <a:pt x="4024" y="7202"/>
                    <a:pt x="4084" y="7142"/>
                    <a:pt x="4084" y="7059"/>
                  </a:cubicBezTo>
                  <a:lnTo>
                    <a:pt x="4084" y="6833"/>
                  </a:lnTo>
                  <a:close/>
                  <a:moveTo>
                    <a:pt x="7489" y="6809"/>
                  </a:moveTo>
                  <a:lnTo>
                    <a:pt x="7489" y="6928"/>
                  </a:lnTo>
                  <a:lnTo>
                    <a:pt x="7358" y="6940"/>
                  </a:lnTo>
                  <a:cubicBezTo>
                    <a:pt x="7144" y="6975"/>
                    <a:pt x="6977" y="7142"/>
                    <a:pt x="6977" y="7368"/>
                  </a:cubicBezTo>
                  <a:cubicBezTo>
                    <a:pt x="7001" y="7404"/>
                    <a:pt x="7001" y="7428"/>
                    <a:pt x="7013" y="7475"/>
                  </a:cubicBezTo>
                  <a:lnTo>
                    <a:pt x="6406" y="7475"/>
                  </a:lnTo>
                  <a:cubicBezTo>
                    <a:pt x="6346" y="7475"/>
                    <a:pt x="6287" y="7428"/>
                    <a:pt x="6287" y="7356"/>
                  </a:cubicBezTo>
                  <a:cubicBezTo>
                    <a:pt x="6287" y="7297"/>
                    <a:pt x="6322" y="7249"/>
                    <a:pt x="6382" y="7249"/>
                  </a:cubicBezTo>
                  <a:lnTo>
                    <a:pt x="6656" y="7225"/>
                  </a:lnTo>
                  <a:cubicBezTo>
                    <a:pt x="6727" y="7214"/>
                    <a:pt x="6787" y="7154"/>
                    <a:pt x="6787" y="7059"/>
                  </a:cubicBezTo>
                  <a:lnTo>
                    <a:pt x="6787" y="6892"/>
                  </a:lnTo>
                  <a:cubicBezTo>
                    <a:pt x="7025" y="6868"/>
                    <a:pt x="7263" y="6833"/>
                    <a:pt x="7489" y="6809"/>
                  </a:cubicBezTo>
                  <a:close/>
                  <a:moveTo>
                    <a:pt x="8525" y="6547"/>
                  </a:moveTo>
                  <a:lnTo>
                    <a:pt x="8525" y="7297"/>
                  </a:lnTo>
                  <a:cubicBezTo>
                    <a:pt x="8525" y="7392"/>
                    <a:pt x="8442" y="7475"/>
                    <a:pt x="8346" y="7475"/>
                  </a:cubicBezTo>
                  <a:lnTo>
                    <a:pt x="7430" y="7475"/>
                  </a:lnTo>
                  <a:cubicBezTo>
                    <a:pt x="7370" y="7475"/>
                    <a:pt x="7310" y="7428"/>
                    <a:pt x="7310" y="7356"/>
                  </a:cubicBezTo>
                  <a:cubicBezTo>
                    <a:pt x="7310" y="7297"/>
                    <a:pt x="7358" y="7249"/>
                    <a:pt x="7418" y="7249"/>
                  </a:cubicBezTo>
                  <a:lnTo>
                    <a:pt x="7680" y="7225"/>
                  </a:lnTo>
                  <a:cubicBezTo>
                    <a:pt x="7751" y="7214"/>
                    <a:pt x="7811" y="7154"/>
                    <a:pt x="7811" y="7059"/>
                  </a:cubicBezTo>
                  <a:lnTo>
                    <a:pt x="7811" y="6737"/>
                  </a:lnTo>
                  <a:lnTo>
                    <a:pt x="8215" y="6642"/>
                  </a:lnTo>
                  <a:lnTo>
                    <a:pt x="8525" y="6547"/>
                  </a:lnTo>
                  <a:close/>
                  <a:moveTo>
                    <a:pt x="5948" y="1"/>
                  </a:moveTo>
                  <a:cubicBezTo>
                    <a:pt x="5933" y="1"/>
                    <a:pt x="5919" y="4"/>
                    <a:pt x="5906" y="10"/>
                  </a:cubicBezTo>
                  <a:cubicBezTo>
                    <a:pt x="5846" y="22"/>
                    <a:pt x="4691" y="308"/>
                    <a:pt x="3667" y="1260"/>
                  </a:cubicBezTo>
                  <a:lnTo>
                    <a:pt x="3584" y="1046"/>
                  </a:lnTo>
                  <a:cubicBezTo>
                    <a:pt x="3572" y="998"/>
                    <a:pt x="3548" y="975"/>
                    <a:pt x="3500" y="963"/>
                  </a:cubicBezTo>
                  <a:cubicBezTo>
                    <a:pt x="3479" y="952"/>
                    <a:pt x="3458" y="946"/>
                    <a:pt x="3437" y="946"/>
                  </a:cubicBezTo>
                  <a:cubicBezTo>
                    <a:pt x="3412" y="946"/>
                    <a:pt x="3389" y="955"/>
                    <a:pt x="3370" y="975"/>
                  </a:cubicBezTo>
                  <a:cubicBezTo>
                    <a:pt x="3346" y="987"/>
                    <a:pt x="2917" y="1225"/>
                    <a:pt x="2536" y="1701"/>
                  </a:cubicBezTo>
                  <a:cubicBezTo>
                    <a:pt x="2036" y="2308"/>
                    <a:pt x="1846" y="3023"/>
                    <a:pt x="2000" y="3761"/>
                  </a:cubicBezTo>
                  <a:cubicBezTo>
                    <a:pt x="1619" y="3892"/>
                    <a:pt x="1203" y="4058"/>
                    <a:pt x="655" y="4118"/>
                  </a:cubicBezTo>
                  <a:cubicBezTo>
                    <a:pt x="333" y="4142"/>
                    <a:pt x="167" y="4320"/>
                    <a:pt x="95" y="4463"/>
                  </a:cubicBezTo>
                  <a:cubicBezTo>
                    <a:pt x="12" y="4618"/>
                    <a:pt x="0" y="4761"/>
                    <a:pt x="0" y="4785"/>
                  </a:cubicBezTo>
                  <a:cubicBezTo>
                    <a:pt x="0" y="4808"/>
                    <a:pt x="0" y="4832"/>
                    <a:pt x="12" y="4856"/>
                  </a:cubicBezTo>
                  <a:cubicBezTo>
                    <a:pt x="310" y="5451"/>
                    <a:pt x="964" y="5951"/>
                    <a:pt x="1917" y="6332"/>
                  </a:cubicBezTo>
                  <a:cubicBezTo>
                    <a:pt x="2179" y="6428"/>
                    <a:pt x="2441" y="6523"/>
                    <a:pt x="2727" y="6594"/>
                  </a:cubicBezTo>
                  <a:lnTo>
                    <a:pt x="2727" y="6952"/>
                  </a:lnTo>
                  <a:lnTo>
                    <a:pt x="2596" y="6975"/>
                  </a:lnTo>
                  <a:cubicBezTo>
                    <a:pt x="2381" y="6999"/>
                    <a:pt x="2215" y="7178"/>
                    <a:pt x="2215" y="7404"/>
                  </a:cubicBezTo>
                  <a:cubicBezTo>
                    <a:pt x="2215" y="7642"/>
                    <a:pt x="2417" y="7833"/>
                    <a:pt x="2655" y="7833"/>
                  </a:cubicBezTo>
                  <a:lnTo>
                    <a:pt x="4417" y="7833"/>
                  </a:lnTo>
                  <a:cubicBezTo>
                    <a:pt x="4703" y="7833"/>
                    <a:pt x="4929" y="7606"/>
                    <a:pt x="4929" y="7321"/>
                  </a:cubicBezTo>
                  <a:lnTo>
                    <a:pt x="4929" y="6952"/>
                  </a:lnTo>
                  <a:lnTo>
                    <a:pt x="4989" y="6952"/>
                  </a:lnTo>
                  <a:cubicBezTo>
                    <a:pt x="5227" y="6975"/>
                    <a:pt x="5465" y="6975"/>
                    <a:pt x="5703" y="6975"/>
                  </a:cubicBezTo>
                  <a:cubicBezTo>
                    <a:pt x="5965" y="6975"/>
                    <a:pt x="6227" y="6952"/>
                    <a:pt x="6489" y="6940"/>
                  </a:cubicBezTo>
                  <a:lnTo>
                    <a:pt x="6489" y="6940"/>
                  </a:lnTo>
                  <a:lnTo>
                    <a:pt x="6358" y="6952"/>
                  </a:lnTo>
                  <a:cubicBezTo>
                    <a:pt x="6144" y="6987"/>
                    <a:pt x="5989" y="7166"/>
                    <a:pt x="5989" y="7392"/>
                  </a:cubicBezTo>
                  <a:cubicBezTo>
                    <a:pt x="5989" y="7630"/>
                    <a:pt x="6179" y="7821"/>
                    <a:pt x="6418" y="7821"/>
                  </a:cubicBezTo>
                  <a:lnTo>
                    <a:pt x="8346" y="7821"/>
                  </a:lnTo>
                  <a:cubicBezTo>
                    <a:pt x="8632" y="7821"/>
                    <a:pt x="8858" y="7594"/>
                    <a:pt x="8858" y="7309"/>
                  </a:cubicBezTo>
                  <a:lnTo>
                    <a:pt x="8858" y="6452"/>
                  </a:lnTo>
                  <a:cubicBezTo>
                    <a:pt x="9573" y="6166"/>
                    <a:pt x="10108" y="5785"/>
                    <a:pt x="10430" y="5320"/>
                  </a:cubicBezTo>
                  <a:cubicBezTo>
                    <a:pt x="10525" y="5380"/>
                    <a:pt x="10585" y="5416"/>
                    <a:pt x="10644" y="5463"/>
                  </a:cubicBezTo>
                  <a:cubicBezTo>
                    <a:pt x="10668" y="5499"/>
                    <a:pt x="10704" y="5511"/>
                    <a:pt x="10751" y="5511"/>
                  </a:cubicBezTo>
                  <a:cubicBezTo>
                    <a:pt x="10775" y="5511"/>
                    <a:pt x="10787" y="5511"/>
                    <a:pt x="10811" y="5499"/>
                  </a:cubicBezTo>
                  <a:cubicBezTo>
                    <a:pt x="10870" y="5463"/>
                    <a:pt x="10894" y="5404"/>
                    <a:pt x="10894" y="5344"/>
                  </a:cubicBezTo>
                  <a:cubicBezTo>
                    <a:pt x="10882" y="5285"/>
                    <a:pt x="10882" y="4439"/>
                    <a:pt x="10418" y="3737"/>
                  </a:cubicBezTo>
                  <a:lnTo>
                    <a:pt x="10835" y="3320"/>
                  </a:lnTo>
                  <a:cubicBezTo>
                    <a:pt x="10870" y="3296"/>
                    <a:pt x="10882" y="3249"/>
                    <a:pt x="10882" y="3201"/>
                  </a:cubicBezTo>
                  <a:cubicBezTo>
                    <a:pt x="10882" y="3153"/>
                    <a:pt x="10847" y="3118"/>
                    <a:pt x="10823" y="3082"/>
                  </a:cubicBezTo>
                  <a:cubicBezTo>
                    <a:pt x="10787" y="3058"/>
                    <a:pt x="10156" y="2558"/>
                    <a:pt x="9489" y="2308"/>
                  </a:cubicBezTo>
                  <a:lnTo>
                    <a:pt x="9823" y="2106"/>
                  </a:lnTo>
                  <a:cubicBezTo>
                    <a:pt x="9870" y="2070"/>
                    <a:pt x="9894" y="2010"/>
                    <a:pt x="9894" y="1975"/>
                  </a:cubicBezTo>
                  <a:cubicBezTo>
                    <a:pt x="9894" y="1915"/>
                    <a:pt x="9870" y="1868"/>
                    <a:pt x="9823" y="1832"/>
                  </a:cubicBezTo>
                  <a:cubicBezTo>
                    <a:pt x="9787" y="1820"/>
                    <a:pt x="9037" y="1391"/>
                    <a:pt x="7918" y="1272"/>
                  </a:cubicBezTo>
                  <a:lnTo>
                    <a:pt x="8215" y="987"/>
                  </a:lnTo>
                  <a:cubicBezTo>
                    <a:pt x="8263" y="939"/>
                    <a:pt x="8275" y="903"/>
                    <a:pt x="8263" y="844"/>
                  </a:cubicBezTo>
                  <a:cubicBezTo>
                    <a:pt x="8251" y="784"/>
                    <a:pt x="8215" y="737"/>
                    <a:pt x="8156" y="725"/>
                  </a:cubicBezTo>
                  <a:cubicBezTo>
                    <a:pt x="8123" y="708"/>
                    <a:pt x="7644" y="530"/>
                    <a:pt x="6979" y="530"/>
                  </a:cubicBezTo>
                  <a:cubicBezTo>
                    <a:pt x="6672" y="530"/>
                    <a:pt x="6326" y="568"/>
                    <a:pt x="5965" y="677"/>
                  </a:cubicBezTo>
                  <a:lnTo>
                    <a:pt x="6096" y="201"/>
                  </a:lnTo>
                  <a:cubicBezTo>
                    <a:pt x="6120" y="141"/>
                    <a:pt x="6096" y="82"/>
                    <a:pt x="6060" y="46"/>
                  </a:cubicBezTo>
                  <a:cubicBezTo>
                    <a:pt x="6026" y="20"/>
                    <a:pt x="5985" y="1"/>
                    <a:pt x="59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4" name="Google Shape;13054;p63"/>
            <p:cNvSpPr/>
            <p:nvPr/>
          </p:nvSpPr>
          <p:spPr>
            <a:xfrm>
              <a:off x="6472845" y="1588626"/>
              <a:ext cx="41952" cy="38944"/>
            </a:xfrm>
            <a:custGeom>
              <a:avLst/>
              <a:gdLst/>
              <a:ahLst/>
              <a:cxnLst/>
              <a:rect l="l" t="t" r="r" b="b"/>
              <a:pathLst>
                <a:path w="1311" h="1217" extrusionOk="0">
                  <a:moveTo>
                    <a:pt x="1110" y="1"/>
                  </a:moveTo>
                  <a:cubicBezTo>
                    <a:pt x="1080" y="1"/>
                    <a:pt x="1050" y="9"/>
                    <a:pt x="1025" y="26"/>
                  </a:cubicBezTo>
                  <a:cubicBezTo>
                    <a:pt x="596" y="323"/>
                    <a:pt x="251" y="704"/>
                    <a:pt x="60" y="966"/>
                  </a:cubicBezTo>
                  <a:cubicBezTo>
                    <a:pt x="1" y="1038"/>
                    <a:pt x="13" y="1133"/>
                    <a:pt x="84" y="1192"/>
                  </a:cubicBezTo>
                  <a:cubicBezTo>
                    <a:pt x="120" y="1204"/>
                    <a:pt x="144" y="1216"/>
                    <a:pt x="179" y="1216"/>
                  </a:cubicBezTo>
                  <a:cubicBezTo>
                    <a:pt x="227" y="1216"/>
                    <a:pt x="263" y="1204"/>
                    <a:pt x="310" y="1157"/>
                  </a:cubicBezTo>
                  <a:cubicBezTo>
                    <a:pt x="501" y="907"/>
                    <a:pt x="798" y="561"/>
                    <a:pt x="1203" y="299"/>
                  </a:cubicBezTo>
                  <a:cubicBezTo>
                    <a:pt x="1275" y="240"/>
                    <a:pt x="1310" y="133"/>
                    <a:pt x="1251" y="73"/>
                  </a:cubicBezTo>
                  <a:cubicBezTo>
                    <a:pt x="1220" y="27"/>
                    <a:pt x="1165" y="1"/>
                    <a:pt x="11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5" name="Google Shape;13055;p63"/>
            <p:cNvSpPr/>
            <p:nvPr/>
          </p:nvSpPr>
          <p:spPr>
            <a:xfrm>
              <a:off x="6528109" y="1592402"/>
              <a:ext cx="40800" cy="23360"/>
            </a:xfrm>
            <a:custGeom>
              <a:avLst/>
              <a:gdLst/>
              <a:ahLst/>
              <a:cxnLst/>
              <a:rect l="l" t="t" r="r" b="b"/>
              <a:pathLst>
                <a:path w="1275" h="730" extrusionOk="0">
                  <a:moveTo>
                    <a:pt x="1103" y="1"/>
                  </a:moveTo>
                  <a:cubicBezTo>
                    <a:pt x="1092" y="1"/>
                    <a:pt x="1082" y="1"/>
                    <a:pt x="1072" y="3"/>
                  </a:cubicBezTo>
                  <a:cubicBezTo>
                    <a:pt x="643" y="110"/>
                    <a:pt x="298" y="300"/>
                    <a:pt x="83" y="431"/>
                  </a:cubicBezTo>
                  <a:cubicBezTo>
                    <a:pt x="12" y="479"/>
                    <a:pt x="0" y="586"/>
                    <a:pt x="48" y="658"/>
                  </a:cubicBezTo>
                  <a:cubicBezTo>
                    <a:pt x="72" y="705"/>
                    <a:pt x="119" y="729"/>
                    <a:pt x="179" y="729"/>
                  </a:cubicBezTo>
                  <a:cubicBezTo>
                    <a:pt x="203" y="729"/>
                    <a:pt x="238" y="717"/>
                    <a:pt x="262" y="705"/>
                  </a:cubicBezTo>
                  <a:cubicBezTo>
                    <a:pt x="441" y="586"/>
                    <a:pt x="738" y="408"/>
                    <a:pt x="1131" y="312"/>
                  </a:cubicBezTo>
                  <a:cubicBezTo>
                    <a:pt x="1238" y="289"/>
                    <a:pt x="1274" y="193"/>
                    <a:pt x="1262" y="122"/>
                  </a:cubicBezTo>
                  <a:cubicBezTo>
                    <a:pt x="1252" y="38"/>
                    <a:pt x="1177" y="1"/>
                    <a:pt x="11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6" name="Google Shape;13056;p63"/>
            <p:cNvSpPr/>
            <p:nvPr/>
          </p:nvSpPr>
          <p:spPr>
            <a:xfrm>
              <a:off x="6581453" y="1614994"/>
              <a:ext cx="38496" cy="11040"/>
            </a:xfrm>
            <a:custGeom>
              <a:avLst/>
              <a:gdLst/>
              <a:ahLst/>
              <a:cxnLst/>
              <a:rect l="l" t="t" r="r" b="b"/>
              <a:pathLst>
                <a:path w="1203" h="345" extrusionOk="0">
                  <a:moveTo>
                    <a:pt x="713" y="1"/>
                  </a:moveTo>
                  <a:cubicBezTo>
                    <a:pt x="555" y="1"/>
                    <a:pt x="354" y="8"/>
                    <a:pt x="143" y="35"/>
                  </a:cubicBezTo>
                  <a:cubicBezTo>
                    <a:pt x="60" y="59"/>
                    <a:pt x="0" y="130"/>
                    <a:pt x="12" y="214"/>
                  </a:cubicBezTo>
                  <a:cubicBezTo>
                    <a:pt x="24" y="297"/>
                    <a:pt x="83" y="345"/>
                    <a:pt x="179" y="345"/>
                  </a:cubicBezTo>
                  <a:lnTo>
                    <a:pt x="191" y="345"/>
                  </a:lnTo>
                  <a:cubicBezTo>
                    <a:pt x="405" y="321"/>
                    <a:pt x="613" y="315"/>
                    <a:pt x="768" y="315"/>
                  </a:cubicBezTo>
                  <a:cubicBezTo>
                    <a:pt x="923" y="315"/>
                    <a:pt x="1024" y="321"/>
                    <a:pt x="1024" y="321"/>
                  </a:cubicBezTo>
                  <a:cubicBezTo>
                    <a:pt x="1107" y="321"/>
                    <a:pt x="1191" y="261"/>
                    <a:pt x="1203" y="178"/>
                  </a:cubicBezTo>
                  <a:cubicBezTo>
                    <a:pt x="1191" y="95"/>
                    <a:pt x="1131" y="11"/>
                    <a:pt x="1036" y="11"/>
                  </a:cubicBezTo>
                  <a:cubicBezTo>
                    <a:pt x="1029" y="11"/>
                    <a:pt x="902" y="1"/>
                    <a:pt x="7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7" name="Google Shape;13057;p63"/>
            <p:cNvSpPr/>
            <p:nvPr/>
          </p:nvSpPr>
          <p:spPr>
            <a:xfrm>
              <a:off x="6634765" y="1648274"/>
              <a:ext cx="25184" cy="16992"/>
            </a:xfrm>
            <a:custGeom>
              <a:avLst/>
              <a:gdLst/>
              <a:ahLst/>
              <a:cxnLst/>
              <a:rect l="l" t="t" r="r" b="b"/>
              <a:pathLst>
                <a:path w="787" h="531" extrusionOk="0">
                  <a:moveTo>
                    <a:pt x="190" y="1"/>
                  </a:moveTo>
                  <a:cubicBezTo>
                    <a:pt x="116" y="1"/>
                    <a:pt x="54" y="44"/>
                    <a:pt x="25" y="102"/>
                  </a:cubicBezTo>
                  <a:cubicBezTo>
                    <a:pt x="1" y="186"/>
                    <a:pt x="37" y="281"/>
                    <a:pt x="120" y="305"/>
                  </a:cubicBezTo>
                  <a:cubicBezTo>
                    <a:pt x="334" y="400"/>
                    <a:pt x="501" y="507"/>
                    <a:pt x="501" y="507"/>
                  </a:cubicBezTo>
                  <a:cubicBezTo>
                    <a:pt x="537" y="519"/>
                    <a:pt x="560" y="531"/>
                    <a:pt x="596" y="531"/>
                  </a:cubicBezTo>
                  <a:cubicBezTo>
                    <a:pt x="632" y="531"/>
                    <a:pt x="691" y="507"/>
                    <a:pt x="727" y="459"/>
                  </a:cubicBezTo>
                  <a:cubicBezTo>
                    <a:pt x="787" y="388"/>
                    <a:pt x="775" y="281"/>
                    <a:pt x="703" y="233"/>
                  </a:cubicBezTo>
                  <a:cubicBezTo>
                    <a:pt x="680" y="233"/>
                    <a:pt x="525" y="102"/>
                    <a:pt x="239" y="7"/>
                  </a:cubicBezTo>
                  <a:cubicBezTo>
                    <a:pt x="222" y="3"/>
                    <a:pt x="206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58" name="Google Shape;13058;p63"/>
          <p:cNvGrpSpPr/>
          <p:nvPr/>
        </p:nvGrpSpPr>
        <p:grpSpPr>
          <a:xfrm>
            <a:off x="7444781" y="1507026"/>
            <a:ext cx="348640" cy="334272"/>
            <a:chOff x="7444781" y="1507026"/>
            <a:chExt cx="348640" cy="334272"/>
          </a:xfrm>
        </p:grpSpPr>
        <p:sp>
          <p:nvSpPr>
            <p:cNvPr id="13059" name="Google Shape;13059;p63"/>
            <p:cNvSpPr/>
            <p:nvPr/>
          </p:nvSpPr>
          <p:spPr>
            <a:xfrm>
              <a:off x="7575469" y="1750066"/>
              <a:ext cx="40032" cy="39424"/>
            </a:xfrm>
            <a:custGeom>
              <a:avLst/>
              <a:gdLst/>
              <a:ahLst/>
              <a:cxnLst/>
              <a:rect l="l" t="t" r="r" b="b"/>
              <a:pathLst>
                <a:path w="1251" h="1232" extrusionOk="0">
                  <a:moveTo>
                    <a:pt x="691" y="291"/>
                  </a:moveTo>
                  <a:cubicBezTo>
                    <a:pt x="727" y="291"/>
                    <a:pt x="739" y="291"/>
                    <a:pt x="774" y="315"/>
                  </a:cubicBezTo>
                  <a:cubicBezTo>
                    <a:pt x="858" y="386"/>
                    <a:pt x="870" y="565"/>
                    <a:pt x="798" y="719"/>
                  </a:cubicBezTo>
                  <a:cubicBezTo>
                    <a:pt x="751" y="803"/>
                    <a:pt x="679" y="862"/>
                    <a:pt x="608" y="886"/>
                  </a:cubicBezTo>
                  <a:cubicBezTo>
                    <a:pt x="586" y="897"/>
                    <a:pt x="565" y="903"/>
                    <a:pt x="546" y="903"/>
                  </a:cubicBezTo>
                  <a:cubicBezTo>
                    <a:pt x="522" y="903"/>
                    <a:pt x="502" y="894"/>
                    <a:pt x="489" y="874"/>
                  </a:cubicBezTo>
                  <a:cubicBezTo>
                    <a:pt x="381" y="815"/>
                    <a:pt x="370" y="636"/>
                    <a:pt x="441" y="493"/>
                  </a:cubicBezTo>
                  <a:cubicBezTo>
                    <a:pt x="489" y="398"/>
                    <a:pt x="560" y="338"/>
                    <a:pt x="631" y="315"/>
                  </a:cubicBezTo>
                  <a:cubicBezTo>
                    <a:pt x="655" y="315"/>
                    <a:pt x="667" y="291"/>
                    <a:pt x="691" y="291"/>
                  </a:cubicBezTo>
                  <a:close/>
                  <a:moveTo>
                    <a:pt x="673" y="0"/>
                  </a:moveTo>
                  <a:cubicBezTo>
                    <a:pt x="632" y="0"/>
                    <a:pt x="590" y="5"/>
                    <a:pt x="548" y="17"/>
                  </a:cubicBezTo>
                  <a:cubicBezTo>
                    <a:pt x="381" y="65"/>
                    <a:pt x="250" y="196"/>
                    <a:pt x="155" y="362"/>
                  </a:cubicBezTo>
                  <a:cubicBezTo>
                    <a:pt x="0" y="672"/>
                    <a:pt x="72" y="1029"/>
                    <a:pt x="334" y="1172"/>
                  </a:cubicBezTo>
                  <a:cubicBezTo>
                    <a:pt x="417" y="1219"/>
                    <a:pt x="489" y="1231"/>
                    <a:pt x="560" y="1231"/>
                  </a:cubicBezTo>
                  <a:cubicBezTo>
                    <a:pt x="608" y="1231"/>
                    <a:pt x="655" y="1231"/>
                    <a:pt x="715" y="1219"/>
                  </a:cubicBezTo>
                  <a:cubicBezTo>
                    <a:pt x="870" y="1172"/>
                    <a:pt x="1012" y="1041"/>
                    <a:pt x="1096" y="874"/>
                  </a:cubicBezTo>
                  <a:cubicBezTo>
                    <a:pt x="1251" y="553"/>
                    <a:pt x="1167" y="196"/>
                    <a:pt x="917" y="65"/>
                  </a:cubicBezTo>
                  <a:cubicBezTo>
                    <a:pt x="844" y="24"/>
                    <a:pt x="761" y="0"/>
                    <a:pt x="6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0" name="Google Shape;13060;p63"/>
            <p:cNvSpPr/>
            <p:nvPr/>
          </p:nvSpPr>
          <p:spPr>
            <a:xfrm>
              <a:off x="7623469" y="1749714"/>
              <a:ext cx="40032" cy="39776"/>
            </a:xfrm>
            <a:custGeom>
              <a:avLst/>
              <a:gdLst/>
              <a:ahLst/>
              <a:cxnLst/>
              <a:rect l="l" t="t" r="r" b="b"/>
              <a:pathLst>
                <a:path w="1251" h="1243" extrusionOk="0">
                  <a:moveTo>
                    <a:pt x="560" y="337"/>
                  </a:moveTo>
                  <a:cubicBezTo>
                    <a:pt x="584" y="337"/>
                    <a:pt x="596" y="337"/>
                    <a:pt x="620" y="349"/>
                  </a:cubicBezTo>
                  <a:cubicBezTo>
                    <a:pt x="703" y="385"/>
                    <a:pt x="775" y="445"/>
                    <a:pt x="822" y="528"/>
                  </a:cubicBezTo>
                  <a:cubicBezTo>
                    <a:pt x="882" y="671"/>
                    <a:pt x="858" y="849"/>
                    <a:pt x="763" y="897"/>
                  </a:cubicBezTo>
                  <a:cubicBezTo>
                    <a:pt x="736" y="914"/>
                    <a:pt x="704" y="926"/>
                    <a:pt x="674" y="926"/>
                  </a:cubicBezTo>
                  <a:cubicBezTo>
                    <a:pt x="664" y="926"/>
                    <a:pt x="653" y="924"/>
                    <a:pt x="644" y="921"/>
                  </a:cubicBezTo>
                  <a:cubicBezTo>
                    <a:pt x="560" y="885"/>
                    <a:pt x="489" y="826"/>
                    <a:pt x="441" y="742"/>
                  </a:cubicBezTo>
                  <a:cubicBezTo>
                    <a:pt x="370" y="588"/>
                    <a:pt x="382" y="409"/>
                    <a:pt x="489" y="349"/>
                  </a:cubicBezTo>
                  <a:cubicBezTo>
                    <a:pt x="501" y="337"/>
                    <a:pt x="536" y="337"/>
                    <a:pt x="560" y="337"/>
                  </a:cubicBezTo>
                  <a:close/>
                  <a:moveTo>
                    <a:pt x="547" y="0"/>
                  </a:moveTo>
                  <a:cubicBezTo>
                    <a:pt x="468" y="0"/>
                    <a:pt x="395" y="24"/>
                    <a:pt x="322" y="76"/>
                  </a:cubicBezTo>
                  <a:cubicBezTo>
                    <a:pt x="72" y="218"/>
                    <a:pt x="1" y="576"/>
                    <a:pt x="143" y="885"/>
                  </a:cubicBezTo>
                  <a:cubicBezTo>
                    <a:pt x="239" y="1052"/>
                    <a:pt x="370" y="1183"/>
                    <a:pt x="536" y="1230"/>
                  </a:cubicBezTo>
                  <a:cubicBezTo>
                    <a:pt x="584" y="1242"/>
                    <a:pt x="620" y="1242"/>
                    <a:pt x="679" y="1242"/>
                  </a:cubicBezTo>
                  <a:cubicBezTo>
                    <a:pt x="763" y="1242"/>
                    <a:pt x="846" y="1230"/>
                    <a:pt x="905" y="1183"/>
                  </a:cubicBezTo>
                  <a:cubicBezTo>
                    <a:pt x="1179" y="1040"/>
                    <a:pt x="1251" y="683"/>
                    <a:pt x="1084" y="373"/>
                  </a:cubicBezTo>
                  <a:cubicBezTo>
                    <a:pt x="1001" y="207"/>
                    <a:pt x="858" y="76"/>
                    <a:pt x="703" y="28"/>
                  </a:cubicBezTo>
                  <a:cubicBezTo>
                    <a:pt x="648" y="10"/>
                    <a:pt x="597" y="0"/>
                    <a:pt x="5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1" name="Google Shape;13061;p63"/>
            <p:cNvSpPr/>
            <p:nvPr/>
          </p:nvSpPr>
          <p:spPr>
            <a:xfrm>
              <a:off x="7537741" y="164049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8" y="1500"/>
                    <a:pt x="667" y="1500"/>
                  </a:cubicBezTo>
                  <a:cubicBezTo>
                    <a:pt x="1037" y="1500"/>
                    <a:pt x="1334" y="1203"/>
                    <a:pt x="1334" y="833"/>
                  </a:cubicBezTo>
                  <a:lnTo>
                    <a:pt x="1334" y="691"/>
                  </a:lnTo>
                  <a:cubicBezTo>
                    <a:pt x="1358" y="595"/>
                    <a:pt x="1275" y="524"/>
                    <a:pt x="1191" y="524"/>
                  </a:cubicBezTo>
                  <a:cubicBezTo>
                    <a:pt x="1096" y="524"/>
                    <a:pt x="1025" y="595"/>
                    <a:pt x="1025" y="691"/>
                  </a:cubicBezTo>
                  <a:lnTo>
                    <a:pt x="1025" y="845"/>
                  </a:lnTo>
                  <a:cubicBezTo>
                    <a:pt x="1025" y="1048"/>
                    <a:pt x="858" y="1203"/>
                    <a:pt x="667" y="1203"/>
                  </a:cubicBezTo>
                  <a:cubicBezTo>
                    <a:pt x="477" y="1203"/>
                    <a:pt x="310" y="1036"/>
                    <a:pt x="310" y="845"/>
                  </a:cubicBezTo>
                  <a:lnTo>
                    <a:pt x="310" y="691"/>
                  </a:lnTo>
                  <a:cubicBezTo>
                    <a:pt x="310" y="488"/>
                    <a:pt x="477" y="333"/>
                    <a:pt x="667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2" name="Google Shape;13062;p63"/>
            <p:cNvSpPr/>
            <p:nvPr/>
          </p:nvSpPr>
          <p:spPr>
            <a:xfrm>
              <a:off x="7657389" y="1640498"/>
              <a:ext cx="43072" cy="48032"/>
            </a:xfrm>
            <a:custGeom>
              <a:avLst/>
              <a:gdLst/>
              <a:ahLst/>
              <a:cxnLst/>
              <a:rect l="l" t="t" r="r" b="b"/>
              <a:pathLst>
                <a:path w="1346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3"/>
                  </a:lnTo>
                  <a:cubicBezTo>
                    <a:pt x="0" y="1203"/>
                    <a:pt x="298" y="1500"/>
                    <a:pt x="667" y="1500"/>
                  </a:cubicBezTo>
                  <a:cubicBezTo>
                    <a:pt x="1036" y="1500"/>
                    <a:pt x="1334" y="1203"/>
                    <a:pt x="1334" y="833"/>
                  </a:cubicBezTo>
                  <a:lnTo>
                    <a:pt x="1334" y="691"/>
                  </a:lnTo>
                  <a:cubicBezTo>
                    <a:pt x="1346" y="595"/>
                    <a:pt x="1274" y="524"/>
                    <a:pt x="1191" y="524"/>
                  </a:cubicBezTo>
                  <a:cubicBezTo>
                    <a:pt x="1096" y="524"/>
                    <a:pt x="1024" y="595"/>
                    <a:pt x="1024" y="691"/>
                  </a:cubicBezTo>
                  <a:lnTo>
                    <a:pt x="1024" y="845"/>
                  </a:lnTo>
                  <a:cubicBezTo>
                    <a:pt x="1024" y="1048"/>
                    <a:pt x="858" y="1203"/>
                    <a:pt x="667" y="1203"/>
                  </a:cubicBezTo>
                  <a:cubicBezTo>
                    <a:pt x="465" y="1203"/>
                    <a:pt x="310" y="1036"/>
                    <a:pt x="310" y="845"/>
                  </a:cubicBezTo>
                  <a:lnTo>
                    <a:pt x="310" y="691"/>
                  </a:lnTo>
                  <a:cubicBezTo>
                    <a:pt x="310" y="488"/>
                    <a:pt x="465" y="333"/>
                    <a:pt x="667" y="333"/>
                  </a:cubicBezTo>
                  <a:cubicBezTo>
                    <a:pt x="750" y="333"/>
                    <a:pt x="822" y="250"/>
                    <a:pt x="822" y="167"/>
                  </a:cubicBezTo>
                  <a:cubicBezTo>
                    <a:pt x="822" y="71"/>
                    <a:pt x="750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3" name="Google Shape;13063;p63"/>
            <p:cNvSpPr/>
            <p:nvPr/>
          </p:nvSpPr>
          <p:spPr>
            <a:xfrm>
              <a:off x="7444781" y="1507026"/>
              <a:ext cx="348640" cy="334272"/>
            </a:xfrm>
            <a:custGeom>
              <a:avLst/>
              <a:gdLst/>
              <a:ahLst/>
              <a:cxnLst/>
              <a:rect l="l" t="t" r="r" b="b"/>
              <a:pathLst>
                <a:path w="10895" h="10446" extrusionOk="0">
                  <a:moveTo>
                    <a:pt x="1203" y="349"/>
                  </a:moveTo>
                  <a:lnTo>
                    <a:pt x="1203" y="349"/>
                  </a:lnTo>
                  <a:cubicBezTo>
                    <a:pt x="1596" y="432"/>
                    <a:pt x="2001" y="575"/>
                    <a:pt x="2382" y="778"/>
                  </a:cubicBezTo>
                  <a:cubicBezTo>
                    <a:pt x="2894" y="1052"/>
                    <a:pt x="3263" y="1385"/>
                    <a:pt x="3501" y="1611"/>
                  </a:cubicBezTo>
                  <a:cubicBezTo>
                    <a:pt x="3263" y="1778"/>
                    <a:pt x="3037" y="1968"/>
                    <a:pt x="2810" y="2183"/>
                  </a:cubicBezTo>
                  <a:cubicBezTo>
                    <a:pt x="2549" y="1564"/>
                    <a:pt x="2179" y="1063"/>
                    <a:pt x="1703" y="671"/>
                  </a:cubicBezTo>
                  <a:cubicBezTo>
                    <a:pt x="1536" y="540"/>
                    <a:pt x="1370" y="432"/>
                    <a:pt x="1203" y="349"/>
                  </a:cubicBezTo>
                  <a:close/>
                  <a:moveTo>
                    <a:pt x="9740" y="361"/>
                  </a:moveTo>
                  <a:lnTo>
                    <a:pt x="9740" y="361"/>
                  </a:lnTo>
                  <a:cubicBezTo>
                    <a:pt x="9407" y="540"/>
                    <a:pt x="9061" y="790"/>
                    <a:pt x="8740" y="1194"/>
                  </a:cubicBezTo>
                  <a:cubicBezTo>
                    <a:pt x="8680" y="1266"/>
                    <a:pt x="8692" y="1361"/>
                    <a:pt x="8752" y="1421"/>
                  </a:cubicBezTo>
                  <a:cubicBezTo>
                    <a:pt x="8775" y="1444"/>
                    <a:pt x="8811" y="1444"/>
                    <a:pt x="8859" y="1444"/>
                  </a:cubicBezTo>
                  <a:cubicBezTo>
                    <a:pt x="8895" y="1444"/>
                    <a:pt x="8942" y="1433"/>
                    <a:pt x="8978" y="1385"/>
                  </a:cubicBezTo>
                  <a:cubicBezTo>
                    <a:pt x="9454" y="825"/>
                    <a:pt x="9966" y="552"/>
                    <a:pt x="10371" y="432"/>
                  </a:cubicBezTo>
                  <a:lnTo>
                    <a:pt x="10371" y="432"/>
                  </a:lnTo>
                  <a:cubicBezTo>
                    <a:pt x="10252" y="647"/>
                    <a:pt x="10169" y="956"/>
                    <a:pt x="10216" y="1373"/>
                  </a:cubicBezTo>
                  <a:cubicBezTo>
                    <a:pt x="10276" y="1945"/>
                    <a:pt x="10228" y="2361"/>
                    <a:pt x="10073" y="2718"/>
                  </a:cubicBezTo>
                  <a:cubicBezTo>
                    <a:pt x="9918" y="3076"/>
                    <a:pt x="9645" y="3385"/>
                    <a:pt x="9228" y="3683"/>
                  </a:cubicBezTo>
                  <a:cubicBezTo>
                    <a:pt x="9037" y="3326"/>
                    <a:pt x="8799" y="2980"/>
                    <a:pt x="8549" y="2671"/>
                  </a:cubicBezTo>
                  <a:cubicBezTo>
                    <a:pt x="8478" y="2599"/>
                    <a:pt x="8406" y="2504"/>
                    <a:pt x="8347" y="2433"/>
                  </a:cubicBezTo>
                  <a:cubicBezTo>
                    <a:pt x="8406" y="2278"/>
                    <a:pt x="8466" y="2147"/>
                    <a:pt x="8549" y="2016"/>
                  </a:cubicBezTo>
                  <a:cubicBezTo>
                    <a:pt x="8585" y="1933"/>
                    <a:pt x="8561" y="1837"/>
                    <a:pt x="8478" y="1802"/>
                  </a:cubicBezTo>
                  <a:cubicBezTo>
                    <a:pt x="8456" y="1791"/>
                    <a:pt x="8430" y="1785"/>
                    <a:pt x="8405" y="1785"/>
                  </a:cubicBezTo>
                  <a:cubicBezTo>
                    <a:pt x="8348" y="1785"/>
                    <a:pt x="8292" y="1812"/>
                    <a:pt x="8275" y="1861"/>
                  </a:cubicBezTo>
                  <a:cubicBezTo>
                    <a:pt x="8216" y="1968"/>
                    <a:pt x="8168" y="2076"/>
                    <a:pt x="8121" y="2183"/>
                  </a:cubicBezTo>
                  <a:cubicBezTo>
                    <a:pt x="7906" y="1956"/>
                    <a:pt x="7680" y="1778"/>
                    <a:pt x="7442" y="1611"/>
                  </a:cubicBezTo>
                  <a:cubicBezTo>
                    <a:pt x="7668" y="1385"/>
                    <a:pt x="8049" y="1040"/>
                    <a:pt x="8561" y="778"/>
                  </a:cubicBezTo>
                  <a:cubicBezTo>
                    <a:pt x="8942" y="575"/>
                    <a:pt x="9347" y="421"/>
                    <a:pt x="9740" y="361"/>
                  </a:cubicBezTo>
                  <a:close/>
                  <a:moveTo>
                    <a:pt x="560" y="456"/>
                  </a:moveTo>
                  <a:lnTo>
                    <a:pt x="560" y="456"/>
                  </a:lnTo>
                  <a:cubicBezTo>
                    <a:pt x="1132" y="635"/>
                    <a:pt x="2037" y="1135"/>
                    <a:pt x="2572" y="2445"/>
                  </a:cubicBezTo>
                  <a:cubicBezTo>
                    <a:pt x="2501" y="2516"/>
                    <a:pt x="2441" y="2599"/>
                    <a:pt x="2382" y="2683"/>
                  </a:cubicBezTo>
                  <a:cubicBezTo>
                    <a:pt x="2132" y="2992"/>
                    <a:pt x="1894" y="3338"/>
                    <a:pt x="1703" y="3695"/>
                  </a:cubicBezTo>
                  <a:cubicBezTo>
                    <a:pt x="1263" y="3385"/>
                    <a:pt x="1001" y="3088"/>
                    <a:pt x="834" y="2718"/>
                  </a:cubicBezTo>
                  <a:cubicBezTo>
                    <a:pt x="691" y="2361"/>
                    <a:pt x="644" y="1921"/>
                    <a:pt x="703" y="1373"/>
                  </a:cubicBezTo>
                  <a:cubicBezTo>
                    <a:pt x="739" y="956"/>
                    <a:pt x="667" y="659"/>
                    <a:pt x="560" y="456"/>
                  </a:cubicBezTo>
                  <a:close/>
                  <a:moveTo>
                    <a:pt x="882" y="6207"/>
                  </a:moveTo>
                  <a:lnTo>
                    <a:pt x="882" y="6207"/>
                  </a:lnTo>
                  <a:cubicBezTo>
                    <a:pt x="1239" y="6612"/>
                    <a:pt x="1727" y="6945"/>
                    <a:pt x="2298" y="7195"/>
                  </a:cubicBezTo>
                  <a:cubicBezTo>
                    <a:pt x="2727" y="7386"/>
                    <a:pt x="3096" y="7481"/>
                    <a:pt x="3263" y="7517"/>
                  </a:cubicBezTo>
                  <a:cubicBezTo>
                    <a:pt x="3144" y="7802"/>
                    <a:pt x="3072" y="8112"/>
                    <a:pt x="3072" y="8457"/>
                  </a:cubicBezTo>
                  <a:lnTo>
                    <a:pt x="3072" y="8469"/>
                  </a:lnTo>
                  <a:cubicBezTo>
                    <a:pt x="2120" y="8255"/>
                    <a:pt x="1441" y="7695"/>
                    <a:pt x="1084" y="6909"/>
                  </a:cubicBezTo>
                  <a:cubicBezTo>
                    <a:pt x="989" y="6659"/>
                    <a:pt x="905" y="6421"/>
                    <a:pt x="882" y="6207"/>
                  </a:cubicBezTo>
                  <a:close/>
                  <a:moveTo>
                    <a:pt x="5466" y="1302"/>
                  </a:moveTo>
                  <a:cubicBezTo>
                    <a:pt x="6442" y="1302"/>
                    <a:pt x="7454" y="1861"/>
                    <a:pt x="8311" y="2909"/>
                  </a:cubicBezTo>
                  <a:cubicBezTo>
                    <a:pt x="9061" y="3814"/>
                    <a:pt x="9585" y="5016"/>
                    <a:pt x="9692" y="6100"/>
                  </a:cubicBezTo>
                  <a:cubicBezTo>
                    <a:pt x="9287" y="6505"/>
                    <a:pt x="8811" y="6755"/>
                    <a:pt x="8442" y="6945"/>
                  </a:cubicBezTo>
                  <a:cubicBezTo>
                    <a:pt x="8359" y="6969"/>
                    <a:pt x="8323" y="7076"/>
                    <a:pt x="8347" y="7148"/>
                  </a:cubicBezTo>
                  <a:cubicBezTo>
                    <a:pt x="8376" y="7206"/>
                    <a:pt x="8454" y="7249"/>
                    <a:pt x="8520" y="7249"/>
                  </a:cubicBezTo>
                  <a:cubicBezTo>
                    <a:pt x="8535" y="7249"/>
                    <a:pt x="8549" y="7247"/>
                    <a:pt x="8561" y="7243"/>
                  </a:cubicBezTo>
                  <a:cubicBezTo>
                    <a:pt x="9240" y="6945"/>
                    <a:pt x="9704" y="6564"/>
                    <a:pt x="10014" y="6243"/>
                  </a:cubicBezTo>
                  <a:lnTo>
                    <a:pt x="10014" y="6243"/>
                  </a:lnTo>
                  <a:cubicBezTo>
                    <a:pt x="9990" y="6433"/>
                    <a:pt x="9930" y="6671"/>
                    <a:pt x="9811" y="6921"/>
                  </a:cubicBezTo>
                  <a:cubicBezTo>
                    <a:pt x="9466" y="7719"/>
                    <a:pt x="8775" y="8267"/>
                    <a:pt x="7811" y="8517"/>
                  </a:cubicBezTo>
                  <a:lnTo>
                    <a:pt x="7811" y="8505"/>
                  </a:lnTo>
                  <a:cubicBezTo>
                    <a:pt x="7811" y="8172"/>
                    <a:pt x="7752" y="7850"/>
                    <a:pt x="7621" y="7564"/>
                  </a:cubicBezTo>
                  <a:cubicBezTo>
                    <a:pt x="7692" y="7552"/>
                    <a:pt x="7787" y="7517"/>
                    <a:pt x="7906" y="7493"/>
                  </a:cubicBezTo>
                  <a:cubicBezTo>
                    <a:pt x="7990" y="7457"/>
                    <a:pt x="8037" y="7374"/>
                    <a:pt x="8013" y="7290"/>
                  </a:cubicBezTo>
                  <a:cubicBezTo>
                    <a:pt x="7986" y="7226"/>
                    <a:pt x="7930" y="7183"/>
                    <a:pt x="7868" y="7183"/>
                  </a:cubicBezTo>
                  <a:cubicBezTo>
                    <a:pt x="7849" y="7183"/>
                    <a:pt x="7830" y="7187"/>
                    <a:pt x="7811" y="7195"/>
                  </a:cubicBezTo>
                  <a:cubicBezTo>
                    <a:pt x="7632" y="7255"/>
                    <a:pt x="7502" y="7267"/>
                    <a:pt x="7478" y="7279"/>
                  </a:cubicBezTo>
                  <a:cubicBezTo>
                    <a:pt x="7371" y="7136"/>
                    <a:pt x="7263" y="6981"/>
                    <a:pt x="7132" y="6862"/>
                  </a:cubicBezTo>
                  <a:cubicBezTo>
                    <a:pt x="6704" y="6445"/>
                    <a:pt x="6108" y="6231"/>
                    <a:pt x="5466" y="6231"/>
                  </a:cubicBezTo>
                  <a:cubicBezTo>
                    <a:pt x="4584" y="6231"/>
                    <a:pt x="3858" y="6648"/>
                    <a:pt x="3441" y="7279"/>
                  </a:cubicBezTo>
                  <a:cubicBezTo>
                    <a:pt x="3334" y="7267"/>
                    <a:pt x="2072" y="7005"/>
                    <a:pt x="1227" y="6136"/>
                  </a:cubicBezTo>
                  <a:cubicBezTo>
                    <a:pt x="1346" y="5052"/>
                    <a:pt x="1858" y="3850"/>
                    <a:pt x="2620" y="2909"/>
                  </a:cubicBezTo>
                  <a:cubicBezTo>
                    <a:pt x="3465" y="1861"/>
                    <a:pt x="4477" y="1302"/>
                    <a:pt x="5466" y="1302"/>
                  </a:cubicBezTo>
                  <a:close/>
                  <a:moveTo>
                    <a:pt x="5466" y="6493"/>
                  </a:moveTo>
                  <a:cubicBezTo>
                    <a:pt x="6644" y="6493"/>
                    <a:pt x="7513" y="7338"/>
                    <a:pt x="7513" y="8469"/>
                  </a:cubicBezTo>
                  <a:cubicBezTo>
                    <a:pt x="7513" y="8707"/>
                    <a:pt x="7454" y="8874"/>
                    <a:pt x="7323" y="8993"/>
                  </a:cubicBezTo>
                  <a:cubicBezTo>
                    <a:pt x="7144" y="9164"/>
                    <a:pt x="6837" y="9212"/>
                    <a:pt x="6517" y="9212"/>
                  </a:cubicBezTo>
                  <a:cubicBezTo>
                    <a:pt x="6304" y="9212"/>
                    <a:pt x="6085" y="9191"/>
                    <a:pt x="5894" y="9172"/>
                  </a:cubicBezTo>
                  <a:cubicBezTo>
                    <a:pt x="5727" y="9160"/>
                    <a:pt x="5585" y="9148"/>
                    <a:pt x="5466" y="9148"/>
                  </a:cubicBezTo>
                  <a:cubicBezTo>
                    <a:pt x="5346" y="9148"/>
                    <a:pt x="5192" y="9160"/>
                    <a:pt x="5049" y="9172"/>
                  </a:cubicBezTo>
                  <a:cubicBezTo>
                    <a:pt x="4869" y="9190"/>
                    <a:pt x="4663" y="9208"/>
                    <a:pt x="4461" y="9208"/>
                  </a:cubicBezTo>
                  <a:cubicBezTo>
                    <a:pt x="4127" y="9208"/>
                    <a:pt x="3801" y="9159"/>
                    <a:pt x="3608" y="8981"/>
                  </a:cubicBezTo>
                  <a:cubicBezTo>
                    <a:pt x="3465" y="8874"/>
                    <a:pt x="3406" y="8707"/>
                    <a:pt x="3406" y="8469"/>
                  </a:cubicBezTo>
                  <a:cubicBezTo>
                    <a:pt x="3406" y="7921"/>
                    <a:pt x="3620" y="7421"/>
                    <a:pt x="4001" y="7040"/>
                  </a:cubicBezTo>
                  <a:cubicBezTo>
                    <a:pt x="4382" y="6683"/>
                    <a:pt x="4894" y="6493"/>
                    <a:pt x="5466" y="6493"/>
                  </a:cubicBezTo>
                  <a:close/>
                  <a:moveTo>
                    <a:pt x="1941" y="8338"/>
                  </a:moveTo>
                  <a:lnTo>
                    <a:pt x="1941" y="8338"/>
                  </a:lnTo>
                  <a:cubicBezTo>
                    <a:pt x="2263" y="8541"/>
                    <a:pt x="2668" y="8731"/>
                    <a:pt x="3156" y="8826"/>
                  </a:cubicBezTo>
                  <a:cubicBezTo>
                    <a:pt x="3203" y="8993"/>
                    <a:pt x="3287" y="9124"/>
                    <a:pt x="3394" y="9231"/>
                  </a:cubicBezTo>
                  <a:cubicBezTo>
                    <a:pt x="3662" y="9475"/>
                    <a:pt x="4075" y="9532"/>
                    <a:pt x="4480" y="9532"/>
                  </a:cubicBezTo>
                  <a:cubicBezTo>
                    <a:pt x="4687" y="9532"/>
                    <a:pt x="4891" y="9517"/>
                    <a:pt x="5073" y="9505"/>
                  </a:cubicBezTo>
                  <a:cubicBezTo>
                    <a:pt x="5227" y="9481"/>
                    <a:pt x="5358" y="9469"/>
                    <a:pt x="5466" y="9469"/>
                  </a:cubicBezTo>
                  <a:cubicBezTo>
                    <a:pt x="5573" y="9469"/>
                    <a:pt x="5716" y="9481"/>
                    <a:pt x="5870" y="9505"/>
                  </a:cubicBezTo>
                  <a:cubicBezTo>
                    <a:pt x="6061" y="9517"/>
                    <a:pt x="6275" y="9529"/>
                    <a:pt x="6489" y="9529"/>
                  </a:cubicBezTo>
                  <a:cubicBezTo>
                    <a:pt x="6894" y="9529"/>
                    <a:pt x="7275" y="9469"/>
                    <a:pt x="7537" y="9231"/>
                  </a:cubicBezTo>
                  <a:cubicBezTo>
                    <a:pt x="7656" y="9124"/>
                    <a:pt x="7728" y="8993"/>
                    <a:pt x="7763" y="8826"/>
                  </a:cubicBezTo>
                  <a:cubicBezTo>
                    <a:pt x="8264" y="8731"/>
                    <a:pt x="8656" y="8553"/>
                    <a:pt x="8990" y="8338"/>
                  </a:cubicBezTo>
                  <a:lnTo>
                    <a:pt x="8990" y="8338"/>
                  </a:lnTo>
                  <a:cubicBezTo>
                    <a:pt x="8752" y="8767"/>
                    <a:pt x="8371" y="9160"/>
                    <a:pt x="7871" y="9469"/>
                  </a:cubicBezTo>
                  <a:cubicBezTo>
                    <a:pt x="7180" y="9898"/>
                    <a:pt x="6323" y="10136"/>
                    <a:pt x="5466" y="10136"/>
                  </a:cubicBezTo>
                  <a:cubicBezTo>
                    <a:pt x="4596" y="10136"/>
                    <a:pt x="3739" y="9898"/>
                    <a:pt x="3049" y="9469"/>
                  </a:cubicBezTo>
                  <a:cubicBezTo>
                    <a:pt x="2560" y="9160"/>
                    <a:pt x="2179" y="8767"/>
                    <a:pt x="1941" y="8338"/>
                  </a:cubicBezTo>
                  <a:close/>
                  <a:moveTo>
                    <a:pt x="602" y="1"/>
                  </a:moveTo>
                  <a:cubicBezTo>
                    <a:pt x="450" y="1"/>
                    <a:pt x="297" y="10"/>
                    <a:pt x="143" y="28"/>
                  </a:cubicBezTo>
                  <a:cubicBezTo>
                    <a:pt x="84" y="51"/>
                    <a:pt x="24" y="87"/>
                    <a:pt x="12" y="147"/>
                  </a:cubicBezTo>
                  <a:cubicBezTo>
                    <a:pt x="1" y="218"/>
                    <a:pt x="24" y="290"/>
                    <a:pt x="72" y="313"/>
                  </a:cubicBezTo>
                  <a:cubicBezTo>
                    <a:pt x="84" y="325"/>
                    <a:pt x="441" y="599"/>
                    <a:pt x="370" y="1337"/>
                  </a:cubicBezTo>
                  <a:cubicBezTo>
                    <a:pt x="310" y="1956"/>
                    <a:pt x="358" y="2433"/>
                    <a:pt x="536" y="2849"/>
                  </a:cubicBezTo>
                  <a:cubicBezTo>
                    <a:pt x="715" y="3278"/>
                    <a:pt x="1036" y="3635"/>
                    <a:pt x="1536" y="3981"/>
                  </a:cubicBezTo>
                  <a:cubicBezTo>
                    <a:pt x="1239" y="4576"/>
                    <a:pt x="1025" y="5195"/>
                    <a:pt x="941" y="5790"/>
                  </a:cubicBezTo>
                  <a:cubicBezTo>
                    <a:pt x="894" y="5731"/>
                    <a:pt x="858" y="5695"/>
                    <a:pt x="834" y="5635"/>
                  </a:cubicBezTo>
                  <a:cubicBezTo>
                    <a:pt x="803" y="5584"/>
                    <a:pt x="745" y="5550"/>
                    <a:pt x="683" y="5550"/>
                  </a:cubicBezTo>
                  <a:cubicBezTo>
                    <a:pt x="674" y="5550"/>
                    <a:pt x="665" y="5551"/>
                    <a:pt x="655" y="5552"/>
                  </a:cubicBezTo>
                  <a:cubicBezTo>
                    <a:pt x="596" y="5576"/>
                    <a:pt x="536" y="5635"/>
                    <a:pt x="536" y="5707"/>
                  </a:cubicBezTo>
                  <a:cubicBezTo>
                    <a:pt x="536" y="5731"/>
                    <a:pt x="489" y="6350"/>
                    <a:pt x="798" y="7040"/>
                  </a:cubicBezTo>
                  <a:cubicBezTo>
                    <a:pt x="917" y="7326"/>
                    <a:pt x="1120" y="7636"/>
                    <a:pt x="1394" y="7921"/>
                  </a:cubicBezTo>
                  <a:cubicBezTo>
                    <a:pt x="1608" y="8636"/>
                    <a:pt x="2132" y="9279"/>
                    <a:pt x="2870" y="9731"/>
                  </a:cubicBezTo>
                  <a:cubicBezTo>
                    <a:pt x="3620" y="10196"/>
                    <a:pt x="4537" y="10446"/>
                    <a:pt x="5466" y="10446"/>
                  </a:cubicBezTo>
                  <a:cubicBezTo>
                    <a:pt x="6382" y="10446"/>
                    <a:pt x="7311" y="10196"/>
                    <a:pt x="8049" y="9731"/>
                  </a:cubicBezTo>
                  <a:cubicBezTo>
                    <a:pt x="8799" y="9279"/>
                    <a:pt x="9311" y="8624"/>
                    <a:pt x="9526" y="7921"/>
                  </a:cubicBezTo>
                  <a:cubicBezTo>
                    <a:pt x="9811" y="7624"/>
                    <a:pt x="10002" y="7314"/>
                    <a:pt x="10121" y="7040"/>
                  </a:cubicBezTo>
                  <a:cubicBezTo>
                    <a:pt x="10419" y="6350"/>
                    <a:pt x="10383" y="5731"/>
                    <a:pt x="10383" y="5707"/>
                  </a:cubicBezTo>
                  <a:cubicBezTo>
                    <a:pt x="10383" y="5635"/>
                    <a:pt x="10323" y="5588"/>
                    <a:pt x="10264" y="5552"/>
                  </a:cubicBezTo>
                  <a:cubicBezTo>
                    <a:pt x="10256" y="5551"/>
                    <a:pt x="10248" y="5550"/>
                    <a:pt x="10240" y="5550"/>
                  </a:cubicBezTo>
                  <a:cubicBezTo>
                    <a:pt x="10186" y="5550"/>
                    <a:pt x="10127" y="5584"/>
                    <a:pt x="10085" y="5635"/>
                  </a:cubicBezTo>
                  <a:cubicBezTo>
                    <a:pt x="10061" y="5683"/>
                    <a:pt x="10014" y="5731"/>
                    <a:pt x="9990" y="5790"/>
                  </a:cubicBezTo>
                  <a:cubicBezTo>
                    <a:pt x="9883" y="5183"/>
                    <a:pt x="9668" y="4576"/>
                    <a:pt x="9395" y="3981"/>
                  </a:cubicBezTo>
                  <a:cubicBezTo>
                    <a:pt x="9883" y="3647"/>
                    <a:pt x="10204" y="3278"/>
                    <a:pt x="10383" y="2849"/>
                  </a:cubicBezTo>
                  <a:cubicBezTo>
                    <a:pt x="10561" y="2433"/>
                    <a:pt x="10609" y="1956"/>
                    <a:pt x="10550" y="1337"/>
                  </a:cubicBezTo>
                  <a:cubicBezTo>
                    <a:pt x="10478" y="611"/>
                    <a:pt x="10835" y="325"/>
                    <a:pt x="10835" y="313"/>
                  </a:cubicBezTo>
                  <a:cubicBezTo>
                    <a:pt x="10883" y="278"/>
                    <a:pt x="10895" y="218"/>
                    <a:pt x="10883" y="159"/>
                  </a:cubicBezTo>
                  <a:cubicBezTo>
                    <a:pt x="10871" y="99"/>
                    <a:pt x="10811" y="51"/>
                    <a:pt x="10740" y="40"/>
                  </a:cubicBezTo>
                  <a:cubicBezTo>
                    <a:pt x="10583" y="18"/>
                    <a:pt x="10426" y="8"/>
                    <a:pt x="10269" y="8"/>
                  </a:cubicBezTo>
                  <a:cubicBezTo>
                    <a:pt x="9633" y="8"/>
                    <a:pt x="9004" y="181"/>
                    <a:pt x="8383" y="516"/>
                  </a:cubicBezTo>
                  <a:cubicBezTo>
                    <a:pt x="7811" y="825"/>
                    <a:pt x="7382" y="1206"/>
                    <a:pt x="7144" y="1444"/>
                  </a:cubicBezTo>
                  <a:cubicBezTo>
                    <a:pt x="6597" y="1123"/>
                    <a:pt x="6025" y="956"/>
                    <a:pt x="5442" y="956"/>
                  </a:cubicBezTo>
                  <a:cubicBezTo>
                    <a:pt x="4882" y="956"/>
                    <a:pt x="4299" y="1123"/>
                    <a:pt x="3751" y="1444"/>
                  </a:cubicBezTo>
                  <a:cubicBezTo>
                    <a:pt x="3513" y="1206"/>
                    <a:pt x="3096" y="825"/>
                    <a:pt x="2513" y="504"/>
                  </a:cubicBezTo>
                  <a:cubicBezTo>
                    <a:pt x="1886" y="166"/>
                    <a:pt x="1251" y="1"/>
                    <a:pt x="60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64" name="Google Shape;13064;p63"/>
          <p:cNvGrpSpPr/>
          <p:nvPr/>
        </p:nvGrpSpPr>
        <p:grpSpPr>
          <a:xfrm>
            <a:off x="7995341" y="1506738"/>
            <a:ext cx="347872" cy="334944"/>
            <a:chOff x="7995341" y="1506738"/>
            <a:chExt cx="347872" cy="334944"/>
          </a:xfrm>
        </p:grpSpPr>
        <p:sp>
          <p:nvSpPr>
            <p:cNvPr id="13065" name="Google Shape;13065;p63"/>
            <p:cNvSpPr/>
            <p:nvPr/>
          </p:nvSpPr>
          <p:spPr>
            <a:xfrm>
              <a:off x="8129837" y="1722674"/>
              <a:ext cx="33536" cy="35936"/>
            </a:xfrm>
            <a:custGeom>
              <a:avLst/>
              <a:gdLst/>
              <a:ahLst/>
              <a:cxnLst/>
              <a:rect l="l" t="t" r="r" b="b"/>
              <a:pathLst>
                <a:path w="1048" h="1123" extrusionOk="0">
                  <a:moveTo>
                    <a:pt x="572" y="301"/>
                  </a:moveTo>
                  <a:cubicBezTo>
                    <a:pt x="595" y="301"/>
                    <a:pt x="619" y="301"/>
                    <a:pt x="631" y="325"/>
                  </a:cubicBezTo>
                  <a:cubicBezTo>
                    <a:pt x="679" y="349"/>
                    <a:pt x="714" y="409"/>
                    <a:pt x="714" y="444"/>
                  </a:cubicBezTo>
                  <a:cubicBezTo>
                    <a:pt x="738" y="516"/>
                    <a:pt x="726" y="587"/>
                    <a:pt x="679" y="647"/>
                  </a:cubicBezTo>
                  <a:cubicBezTo>
                    <a:pt x="620" y="745"/>
                    <a:pt x="528" y="811"/>
                    <a:pt x="445" y="811"/>
                  </a:cubicBezTo>
                  <a:cubicBezTo>
                    <a:pt x="427" y="811"/>
                    <a:pt x="410" y="808"/>
                    <a:pt x="393" y="801"/>
                  </a:cubicBezTo>
                  <a:cubicBezTo>
                    <a:pt x="357" y="766"/>
                    <a:pt x="321" y="706"/>
                    <a:pt x="321" y="682"/>
                  </a:cubicBezTo>
                  <a:cubicBezTo>
                    <a:pt x="310" y="623"/>
                    <a:pt x="321" y="540"/>
                    <a:pt x="357" y="468"/>
                  </a:cubicBezTo>
                  <a:cubicBezTo>
                    <a:pt x="381" y="409"/>
                    <a:pt x="441" y="349"/>
                    <a:pt x="500" y="325"/>
                  </a:cubicBezTo>
                  <a:cubicBezTo>
                    <a:pt x="512" y="325"/>
                    <a:pt x="548" y="301"/>
                    <a:pt x="572" y="301"/>
                  </a:cubicBezTo>
                  <a:close/>
                  <a:moveTo>
                    <a:pt x="584" y="0"/>
                  </a:moveTo>
                  <a:cubicBezTo>
                    <a:pt x="522" y="0"/>
                    <a:pt x="457" y="13"/>
                    <a:pt x="393" y="39"/>
                  </a:cubicBezTo>
                  <a:cubicBezTo>
                    <a:pt x="262" y="99"/>
                    <a:pt x="155" y="182"/>
                    <a:pt x="83" y="313"/>
                  </a:cubicBezTo>
                  <a:cubicBezTo>
                    <a:pt x="12" y="456"/>
                    <a:pt x="0" y="599"/>
                    <a:pt x="12" y="730"/>
                  </a:cubicBezTo>
                  <a:cubicBezTo>
                    <a:pt x="36" y="885"/>
                    <a:pt x="131" y="1004"/>
                    <a:pt x="250" y="1063"/>
                  </a:cubicBezTo>
                  <a:cubicBezTo>
                    <a:pt x="310" y="1087"/>
                    <a:pt x="381" y="1123"/>
                    <a:pt x="452" y="1123"/>
                  </a:cubicBezTo>
                  <a:cubicBezTo>
                    <a:pt x="655" y="1123"/>
                    <a:pt x="857" y="1004"/>
                    <a:pt x="964" y="790"/>
                  </a:cubicBezTo>
                  <a:cubicBezTo>
                    <a:pt x="1036" y="659"/>
                    <a:pt x="1048" y="516"/>
                    <a:pt x="1036" y="385"/>
                  </a:cubicBezTo>
                  <a:cubicBezTo>
                    <a:pt x="1012" y="230"/>
                    <a:pt x="917" y="111"/>
                    <a:pt x="798" y="51"/>
                  </a:cubicBezTo>
                  <a:cubicBezTo>
                    <a:pt x="732" y="19"/>
                    <a:pt x="660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6" name="Google Shape;13066;p63"/>
            <p:cNvSpPr/>
            <p:nvPr/>
          </p:nvSpPr>
          <p:spPr>
            <a:xfrm>
              <a:off x="8172877" y="1722610"/>
              <a:ext cx="35840" cy="36000"/>
            </a:xfrm>
            <a:custGeom>
              <a:avLst/>
              <a:gdLst/>
              <a:ahLst/>
              <a:cxnLst/>
              <a:rect l="l" t="t" r="r" b="b"/>
              <a:pathLst>
                <a:path w="1120" h="1125" extrusionOk="0">
                  <a:moveTo>
                    <a:pt x="530" y="323"/>
                  </a:moveTo>
                  <a:cubicBezTo>
                    <a:pt x="610" y="323"/>
                    <a:pt x="705" y="381"/>
                    <a:pt x="751" y="482"/>
                  </a:cubicBezTo>
                  <a:cubicBezTo>
                    <a:pt x="774" y="542"/>
                    <a:pt x="798" y="625"/>
                    <a:pt x="774" y="684"/>
                  </a:cubicBezTo>
                  <a:cubicBezTo>
                    <a:pt x="774" y="708"/>
                    <a:pt x="751" y="768"/>
                    <a:pt x="703" y="803"/>
                  </a:cubicBezTo>
                  <a:cubicBezTo>
                    <a:pt x="687" y="810"/>
                    <a:pt x="669" y="814"/>
                    <a:pt x="649" y="814"/>
                  </a:cubicBezTo>
                  <a:cubicBezTo>
                    <a:pt x="568" y="814"/>
                    <a:pt x="465" y="754"/>
                    <a:pt x="417" y="649"/>
                  </a:cubicBezTo>
                  <a:cubicBezTo>
                    <a:pt x="346" y="530"/>
                    <a:pt x="381" y="387"/>
                    <a:pt x="465" y="339"/>
                  </a:cubicBezTo>
                  <a:cubicBezTo>
                    <a:pt x="484" y="328"/>
                    <a:pt x="506" y="323"/>
                    <a:pt x="530" y="323"/>
                  </a:cubicBezTo>
                  <a:close/>
                  <a:moveTo>
                    <a:pt x="532" y="0"/>
                  </a:moveTo>
                  <a:cubicBezTo>
                    <a:pt x="459" y="0"/>
                    <a:pt x="387" y="17"/>
                    <a:pt x="322" y="53"/>
                  </a:cubicBezTo>
                  <a:cubicBezTo>
                    <a:pt x="84" y="184"/>
                    <a:pt x="0" y="518"/>
                    <a:pt x="155" y="803"/>
                  </a:cubicBezTo>
                  <a:cubicBezTo>
                    <a:pt x="262" y="1006"/>
                    <a:pt x="465" y="1125"/>
                    <a:pt x="655" y="1125"/>
                  </a:cubicBezTo>
                  <a:cubicBezTo>
                    <a:pt x="739" y="1125"/>
                    <a:pt x="810" y="1113"/>
                    <a:pt x="870" y="1065"/>
                  </a:cubicBezTo>
                  <a:cubicBezTo>
                    <a:pt x="989" y="1006"/>
                    <a:pt x="1072" y="875"/>
                    <a:pt x="1108" y="744"/>
                  </a:cubicBezTo>
                  <a:cubicBezTo>
                    <a:pt x="1120" y="601"/>
                    <a:pt x="1096" y="458"/>
                    <a:pt x="1036" y="327"/>
                  </a:cubicBezTo>
                  <a:cubicBezTo>
                    <a:pt x="924" y="120"/>
                    <a:pt x="724" y="0"/>
                    <a:pt x="5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7" name="Google Shape;13067;p63"/>
            <p:cNvSpPr/>
            <p:nvPr/>
          </p:nvSpPr>
          <p:spPr>
            <a:xfrm>
              <a:off x="7995341" y="1506738"/>
              <a:ext cx="347872" cy="334944"/>
            </a:xfrm>
            <a:custGeom>
              <a:avLst/>
              <a:gdLst/>
              <a:ahLst/>
              <a:cxnLst/>
              <a:rect l="l" t="t" r="r" b="b"/>
              <a:pathLst>
                <a:path w="10871" h="10467" extrusionOk="0">
                  <a:moveTo>
                    <a:pt x="1548" y="489"/>
                  </a:moveTo>
                  <a:cubicBezTo>
                    <a:pt x="2500" y="799"/>
                    <a:pt x="3262" y="1477"/>
                    <a:pt x="3620" y="1834"/>
                  </a:cubicBezTo>
                  <a:cubicBezTo>
                    <a:pt x="3453" y="1930"/>
                    <a:pt x="3286" y="2037"/>
                    <a:pt x="3143" y="2156"/>
                  </a:cubicBezTo>
                  <a:cubicBezTo>
                    <a:pt x="2870" y="1537"/>
                    <a:pt x="2429" y="1025"/>
                    <a:pt x="1822" y="644"/>
                  </a:cubicBezTo>
                  <a:cubicBezTo>
                    <a:pt x="1727" y="584"/>
                    <a:pt x="1643" y="537"/>
                    <a:pt x="1548" y="489"/>
                  </a:cubicBezTo>
                  <a:close/>
                  <a:moveTo>
                    <a:pt x="333" y="382"/>
                  </a:moveTo>
                  <a:lnTo>
                    <a:pt x="333" y="382"/>
                  </a:lnTo>
                  <a:cubicBezTo>
                    <a:pt x="905" y="501"/>
                    <a:pt x="2310" y="942"/>
                    <a:pt x="2893" y="2382"/>
                  </a:cubicBezTo>
                  <a:cubicBezTo>
                    <a:pt x="2679" y="2573"/>
                    <a:pt x="2489" y="2787"/>
                    <a:pt x="2298" y="3025"/>
                  </a:cubicBezTo>
                  <a:cubicBezTo>
                    <a:pt x="2203" y="3144"/>
                    <a:pt x="2119" y="3263"/>
                    <a:pt x="2024" y="3394"/>
                  </a:cubicBezTo>
                  <a:cubicBezTo>
                    <a:pt x="667" y="2977"/>
                    <a:pt x="393" y="1025"/>
                    <a:pt x="333" y="382"/>
                  </a:cubicBezTo>
                  <a:close/>
                  <a:moveTo>
                    <a:pt x="10525" y="382"/>
                  </a:moveTo>
                  <a:lnTo>
                    <a:pt x="10525" y="382"/>
                  </a:lnTo>
                  <a:cubicBezTo>
                    <a:pt x="10466" y="1025"/>
                    <a:pt x="10180" y="2977"/>
                    <a:pt x="8823" y="3394"/>
                  </a:cubicBezTo>
                  <a:cubicBezTo>
                    <a:pt x="8739" y="3263"/>
                    <a:pt x="8644" y="3144"/>
                    <a:pt x="8561" y="3025"/>
                  </a:cubicBezTo>
                  <a:cubicBezTo>
                    <a:pt x="8382" y="2787"/>
                    <a:pt x="8168" y="2573"/>
                    <a:pt x="7965" y="2382"/>
                  </a:cubicBezTo>
                  <a:cubicBezTo>
                    <a:pt x="8013" y="2275"/>
                    <a:pt x="8049" y="2168"/>
                    <a:pt x="8108" y="2073"/>
                  </a:cubicBezTo>
                  <a:cubicBezTo>
                    <a:pt x="8156" y="1989"/>
                    <a:pt x="8132" y="1894"/>
                    <a:pt x="8049" y="1846"/>
                  </a:cubicBezTo>
                  <a:cubicBezTo>
                    <a:pt x="8024" y="1830"/>
                    <a:pt x="7996" y="1822"/>
                    <a:pt x="7967" y="1822"/>
                  </a:cubicBezTo>
                  <a:cubicBezTo>
                    <a:pt x="7912" y="1822"/>
                    <a:pt x="7858" y="1851"/>
                    <a:pt x="7834" y="1906"/>
                  </a:cubicBezTo>
                  <a:cubicBezTo>
                    <a:pt x="7787" y="1989"/>
                    <a:pt x="7739" y="2073"/>
                    <a:pt x="7715" y="2156"/>
                  </a:cubicBezTo>
                  <a:cubicBezTo>
                    <a:pt x="7561" y="2037"/>
                    <a:pt x="7394" y="1918"/>
                    <a:pt x="7239" y="1823"/>
                  </a:cubicBezTo>
                  <a:cubicBezTo>
                    <a:pt x="7596" y="1477"/>
                    <a:pt x="8346" y="799"/>
                    <a:pt x="9299" y="489"/>
                  </a:cubicBezTo>
                  <a:lnTo>
                    <a:pt x="9299" y="489"/>
                  </a:lnTo>
                  <a:cubicBezTo>
                    <a:pt x="8942" y="680"/>
                    <a:pt x="8573" y="930"/>
                    <a:pt x="8263" y="1311"/>
                  </a:cubicBezTo>
                  <a:cubicBezTo>
                    <a:pt x="8204" y="1370"/>
                    <a:pt x="8215" y="1477"/>
                    <a:pt x="8275" y="1525"/>
                  </a:cubicBezTo>
                  <a:cubicBezTo>
                    <a:pt x="8311" y="1561"/>
                    <a:pt x="8346" y="1573"/>
                    <a:pt x="8382" y="1573"/>
                  </a:cubicBezTo>
                  <a:cubicBezTo>
                    <a:pt x="8430" y="1573"/>
                    <a:pt x="8465" y="1561"/>
                    <a:pt x="8501" y="1513"/>
                  </a:cubicBezTo>
                  <a:cubicBezTo>
                    <a:pt x="9168" y="763"/>
                    <a:pt x="10073" y="477"/>
                    <a:pt x="10525" y="382"/>
                  </a:cubicBezTo>
                  <a:close/>
                  <a:moveTo>
                    <a:pt x="5429" y="1608"/>
                  </a:moveTo>
                  <a:cubicBezTo>
                    <a:pt x="5965" y="1608"/>
                    <a:pt x="6501" y="1751"/>
                    <a:pt x="7013" y="2049"/>
                  </a:cubicBezTo>
                  <a:cubicBezTo>
                    <a:pt x="7489" y="2335"/>
                    <a:pt x="7930" y="2716"/>
                    <a:pt x="8323" y="3216"/>
                  </a:cubicBezTo>
                  <a:cubicBezTo>
                    <a:pt x="9061" y="4180"/>
                    <a:pt x="9525" y="5430"/>
                    <a:pt x="9525" y="6561"/>
                  </a:cubicBezTo>
                  <a:cubicBezTo>
                    <a:pt x="9525" y="8538"/>
                    <a:pt x="7692" y="10145"/>
                    <a:pt x="5429" y="10145"/>
                  </a:cubicBezTo>
                  <a:cubicBezTo>
                    <a:pt x="3167" y="10145"/>
                    <a:pt x="1346" y="8538"/>
                    <a:pt x="1346" y="6561"/>
                  </a:cubicBezTo>
                  <a:cubicBezTo>
                    <a:pt x="1346" y="5430"/>
                    <a:pt x="1786" y="4180"/>
                    <a:pt x="2548" y="3216"/>
                  </a:cubicBezTo>
                  <a:cubicBezTo>
                    <a:pt x="2929" y="2716"/>
                    <a:pt x="3381" y="2335"/>
                    <a:pt x="3858" y="2049"/>
                  </a:cubicBezTo>
                  <a:cubicBezTo>
                    <a:pt x="4358" y="1751"/>
                    <a:pt x="4894" y="1608"/>
                    <a:pt x="5429" y="1608"/>
                  </a:cubicBezTo>
                  <a:close/>
                  <a:moveTo>
                    <a:pt x="535" y="1"/>
                  </a:moveTo>
                  <a:cubicBezTo>
                    <a:pt x="400" y="1"/>
                    <a:pt x="266" y="9"/>
                    <a:pt x="131" y="25"/>
                  </a:cubicBezTo>
                  <a:cubicBezTo>
                    <a:pt x="60" y="49"/>
                    <a:pt x="0" y="108"/>
                    <a:pt x="0" y="191"/>
                  </a:cubicBezTo>
                  <a:cubicBezTo>
                    <a:pt x="0" y="227"/>
                    <a:pt x="24" y="953"/>
                    <a:pt x="286" y="1751"/>
                  </a:cubicBezTo>
                  <a:cubicBezTo>
                    <a:pt x="595" y="2751"/>
                    <a:pt x="1143" y="3406"/>
                    <a:pt x="1857" y="3656"/>
                  </a:cubicBezTo>
                  <a:cubicBezTo>
                    <a:pt x="1322" y="4549"/>
                    <a:pt x="1024" y="5597"/>
                    <a:pt x="1024" y="6561"/>
                  </a:cubicBezTo>
                  <a:cubicBezTo>
                    <a:pt x="1024" y="7609"/>
                    <a:pt x="1488" y="8585"/>
                    <a:pt x="2322" y="9335"/>
                  </a:cubicBezTo>
                  <a:cubicBezTo>
                    <a:pt x="3155" y="10062"/>
                    <a:pt x="4251" y="10466"/>
                    <a:pt x="5429" y="10466"/>
                  </a:cubicBezTo>
                  <a:cubicBezTo>
                    <a:pt x="6608" y="10466"/>
                    <a:pt x="7715" y="10062"/>
                    <a:pt x="8549" y="9335"/>
                  </a:cubicBezTo>
                  <a:cubicBezTo>
                    <a:pt x="9382" y="8585"/>
                    <a:pt x="9835" y="7609"/>
                    <a:pt x="9835" y="6561"/>
                  </a:cubicBezTo>
                  <a:cubicBezTo>
                    <a:pt x="9835" y="5609"/>
                    <a:pt x="9525" y="4573"/>
                    <a:pt x="9001" y="3656"/>
                  </a:cubicBezTo>
                  <a:cubicBezTo>
                    <a:pt x="9716" y="3418"/>
                    <a:pt x="10251" y="2751"/>
                    <a:pt x="10585" y="1751"/>
                  </a:cubicBezTo>
                  <a:cubicBezTo>
                    <a:pt x="10835" y="953"/>
                    <a:pt x="10871" y="227"/>
                    <a:pt x="10871" y="191"/>
                  </a:cubicBezTo>
                  <a:cubicBezTo>
                    <a:pt x="10871" y="120"/>
                    <a:pt x="10811" y="49"/>
                    <a:pt x="10728" y="25"/>
                  </a:cubicBezTo>
                  <a:cubicBezTo>
                    <a:pt x="10595" y="9"/>
                    <a:pt x="10462" y="1"/>
                    <a:pt x="10328" y="1"/>
                  </a:cubicBezTo>
                  <a:cubicBezTo>
                    <a:pt x="9657" y="1"/>
                    <a:pt x="8970" y="201"/>
                    <a:pt x="8275" y="608"/>
                  </a:cubicBezTo>
                  <a:cubicBezTo>
                    <a:pt x="7668" y="965"/>
                    <a:pt x="7203" y="1394"/>
                    <a:pt x="6953" y="1668"/>
                  </a:cubicBezTo>
                  <a:cubicBezTo>
                    <a:pt x="6465" y="1418"/>
                    <a:pt x="5941" y="1299"/>
                    <a:pt x="5429" y="1299"/>
                  </a:cubicBezTo>
                  <a:cubicBezTo>
                    <a:pt x="4917" y="1299"/>
                    <a:pt x="4405" y="1418"/>
                    <a:pt x="3917" y="1668"/>
                  </a:cubicBezTo>
                  <a:cubicBezTo>
                    <a:pt x="3655" y="1394"/>
                    <a:pt x="3203" y="965"/>
                    <a:pt x="2584" y="608"/>
                  </a:cubicBezTo>
                  <a:cubicBezTo>
                    <a:pt x="1899" y="201"/>
                    <a:pt x="1214" y="1"/>
                    <a:pt x="5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8" name="Google Shape;13068;p63"/>
            <p:cNvSpPr/>
            <p:nvPr/>
          </p:nvSpPr>
          <p:spPr>
            <a:xfrm>
              <a:off x="8103149" y="1685426"/>
              <a:ext cx="132256" cy="123104"/>
            </a:xfrm>
            <a:custGeom>
              <a:avLst/>
              <a:gdLst/>
              <a:ahLst/>
              <a:cxnLst/>
              <a:rect l="l" t="t" r="r" b="b"/>
              <a:pathLst>
                <a:path w="4133" h="3847" extrusionOk="0">
                  <a:moveTo>
                    <a:pt x="2037" y="311"/>
                  </a:moveTo>
                  <a:cubicBezTo>
                    <a:pt x="2513" y="311"/>
                    <a:pt x="2953" y="489"/>
                    <a:pt x="3275" y="799"/>
                  </a:cubicBezTo>
                  <a:cubicBezTo>
                    <a:pt x="3596" y="1108"/>
                    <a:pt x="3775" y="1561"/>
                    <a:pt x="3775" y="2049"/>
                  </a:cubicBezTo>
                  <a:cubicBezTo>
                    <a:pt x="3811" y="2263"/>
                    <a:pt x="3763" y="2406"/>
                    <a:pt x="3644" y="2513"/>
                  </a:cubicBezTo>
                  <a:cubicBezTo>
                    <a:pt x="3496" y="2654"/>
                    <a:pt x="3235" y="2695"/>
                    <a:pt x="2963" y="2695"/>
                  </a:cubicBezTo>
                  <a:cubicBezTo>
                    <a:pt x="2776" y="2695"/>
                    <a:pt x="2583" y="2675"/>
                    <a:pt x="2418" y="2656"/>
                  </a:cubicBezTo>
                  <a:cubicBezTo>
                    <a:pt x="2287" y="2644"/>
                    <a:pt x="2156" y="2632"/>
                    <a:pt x="2048" y="2632"/>
                  </a:cubicBezTo>
                  <a:cubicBezTo>
                    <a:pt x="1941" y="2632"/>
                    <a:pt x="1810" y="2644"/>
                    <a:pt x="1679" y="2656"/>
                  </a:cubicBezTo>
                  <a:cubicBezTo>
                    <a:pt x="1511" y="2671"/>
                    <a:pt x="1316" y="2690"/>
                    <a:pt x="1127" y="2690"/>
                  </a:cubicBezTo>
                  <a:cubicBezTo>
                    <a:pt x="861" y="2690"/>
                    <a:pt x="606" y="2652"/>
                    <a:pt x="453" y="2513"/>
                  </a:cubicBezTo>
                  <a:cubicBezTo>
                    <a:pt x="358" y="2406"/>
                    <a:pt x="298" y="2263"/>
                    <a:pt x="298" y="2049"/>
                  </a:cubicBezTo>
                  <a:cubicBezTo>
                    <a:pt x="298" y="1561"/>
                    <a:pt x="477" y="1108"/>
                    <a:pt x="798" y="799"/>
                  </a:cubicBezTo>
                  <a:cubicBezTo>
                    <a:pt x="1132" y="489"/>
                    <a:pt x="1560" y="311"/>
                    <a:pt x="2037" y="311"/>
                  </a:cubicBezTo>
                  <a:close/>
                  <a:moveTo>
                    <a:pt x="2060" y="2954"/>
                  </a:moveTo>
                  <a:cubicBezTo>
                    <a:pt x="2156" y="2954"/>
                    <a:pt x="2287" y="2978"/>
                    <a:pt x="2406" y="2978"/>
                  </a:cubicBezTo>
                  <a:cubicBezTo>
                    <a:pt x="2584" y="2989"/>
                    <a:pt x="2763" y="3001"/>
                    <a:pt x="2953" y="3001"/>
                  </a:cubicBezTo>
                  <a:cubicBezTo>
                    <a:pt x="3060" y="3001"/>
                    <a:pt x="3156" y="3001"/>
                    <a:pt x="3239" y="2989"/>
                  </a:cubicBezTo>
                  <a:lnTo>
                    <a:pt x="3239" y="2989"/>
                  </a:lnTo>
                  <a:cubicBezTo>
                    <a:pt x="3037" y="3335"/>
                    <a:pt x="2644" y="3537"/>
                    <a:pt x="2239" y="3537"/>
                  </a:cubicBezTo>
                  <a:lnTo>
                    <a:pt x="1882" y="3537"/>
                  </a:lnTo>
                  <a:cubicBezTo>
                    <a:pt x="1465" y="3537"/>
                    <a:pt x="1096" y="3335"/>
                    <a:pt x="870" y="2989"/>
                  </a:cubicBezTo>
                  <a:lnTo>
                    <a:pt x="870" y="2989"/>
                  </a:lnTo>
                  <a:cubicBezTo>
                    <a:pt x="979" y="2999"/>
                    <a:pt x="1092" y="3002"/>
                    <a:pt x="1204" y="3002"/>
                  </a:cubicBezTo>
                  <a:cubicBezTo>
                    <a:pt x="1385" y="3002"/>
                    <a:pt x="1565" y="2992"/>
                    <a:pt x="1727" y="2978"/>
                  </a:cubicBezTo>
                  <a:cubicBezTo>
                    <a:pt x="1858" y="2954"/>
                    <a:pt x="1977" y="2954"/>
                    <a:pt x="2060" y="2954"/>
                  </a:cubicBezTo>
                  <a:close/>
                  <a:moveTo>
                    <a:pt x="2060" y="1"/>
                  </a:moveTo>
                  <a:cubicBezTo>
                    <a:pt x="894" y="1"/>
                    <a:pt x="1" y="870"/>
                    <a:pt x="1" y="2049"/>
                  </a:cubicBezTo>
                  <a:cubicBezTo>
                    <a:pt x="1" y="2346"/>
                    <a:pt x="84" y="2573"/>
                    <a:pt x="263" y="2739"/>
                  </a:cubicBezTo>
                  <a:cubicBezTo>
                    <a:pt x="322" y="2799"/>
                    <a:pt x="393" y="2835"/>
                    <a:pt x="477" y="2870"/>
                  </a:cubicBezTo>
                  <a:cubicBezTo>
                    <a:pt x="691" y="3466"/>
                    <a:pt x="1263" y="3847"/>
                    <a:pt x="1882" y="3847"/>
                  </a:cubicBezTo>
                  <a:lnTo>
                    <a:pt x="2239" y="3847"/>
                  </a:lnTo>
                  <a:cubicBezTo>
                    <a:pt x="2870" y="3847"/>
                    <a:pt x="3430" y="3466"/>
                    <a:pt x="3656" y="2870"/>
                  </a:cubicBezTo>
                  <a:cubicBezTo>
                    <a:pt x="3727" y="2835"/>
                    <a:pt x="3811" y="2775"/>
                    <a:pt x="3870" y="2716"/>
                  </a:cubicBezTo>
                  <a:cubicBezTo>
                    <a:pt x="4049" y="2561"/>
                    <a:pt x="4132" y="2335"/>
                    <a:pt x="4132" y="2037"/>
                  </a:cubicBezTo>
                  <a:cubicBezTo>
                    <a:pt x="4132" y="1489"/>
                    <a:pt x="3906" y="953"/>
                    <a:pt x="3525" y="572"/>
                  </a:cubicBezTo>
                  <a:cubicBezTo>
                    <a:pt x="3132" y="203"/>
                    <a:pt x="2620" y="1"/>
                    <a:pt x="2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9" name="Google Shape;13069;p63"/>
            <p:cNvSpPr/>
            <p:nvPr/>
          </p:nvSpPr>
          <p:spPr>
            <a:xfrm>
              <a:off x="8087149" y="164049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79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8" y="1500"/>
                    <a:pt x="679" y="1500"/>
                  </a:cubicBezTo>
                  <a:cubicBezTo>
                    <a:pt x="1048" y="1500"/>
                    <a:pt x="1346" y="1203"/>
                    <a:pt x="1346" y="833"/>
                  </a:cubicBezTo>
                  <a:lnTo>
                    <a:pt x="1346" y="691"/>
                  </a:lnTo>
                  <a:cubicBezTo>
                    <a:pt x="1358" y="595"/>
                    <a:pt x="1286" y="524"/>
                    <a:pt x="1191" y="524"/>
                  </a:cubicBezTo>
                  <a:cubicBezTo>
                    <a:pt x="1108" y="524"/>
                    <a:pt x="1036" y="595"/>
                    <a:pt x="1036" y="691"/>
                  </a:cubicBezTo>
                  <a:lnTo>
                    <a:pt x="1036" y="845"/>
                  </a:lnTo>
                  <a:cubicBezTo>
                    <a:pt x="1036" y="1048"/>
                    <a:pt x="870" y="1203"/>
                    <a:pt x="679" y="1203"/>
                  </a:cubicBezTo>
                  <a:cubicBezTo>
                    <a:pt x="477" y="1203"/>
                    <a:pt x="322" y="1036"/>
                    <a:pt x="322" y="845"/>
                  </a:cubicBezTo>
                  <a:lnTo>
                    <a:pt x="322" y="691"/>
                  </a:lnTo>
                  <a:cubicBezTo>
                    <a:pt x="322" y="488"/>
                    <a:pt x="477" y="333"/>
                    <a:pt x="679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0" name="Google Shape;13070;p63"/>
            <p:cNvSpPr/>
            <p:nvPr/>
          </p:nvSpPr>
          <p:spPr>
            <a:xfrm>
              <a:off x="8207149" y="1640498"/>
              <a:ext cx="43104" cy="48032"/>
            </a:xfrm>
            <a:custGeom>
              <a:avLst/>
              <a:gdLst/>
              <a:ahLst/>
              <a:cxnLst/>
              <a:rect l="l" t="t" r="r" b="b"/>
              <a:pathLst>
                <a:path w="1347" h="1501" extrusionOk="0">
                  <a:moveTo>
                    <a:pt x="680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9" y="1500"/>
                    <a:pt x="680" y="1500"/>
                  </a:cubicBezTo>
                  <a:cubicBezTo>
                    <a:pt x="1049" y="1500"/>
                    <a:pt x="1346" y="1203"/>
                    <a:pt x="1346" y="833"/>
                  </a:cubicBezTo>
                  <a:lnTo>
                    <a:pt x="1346" y="691"/>
                  </a:lnTo>
                  <a:cubicBezTo>
                    <a:pt x="1346" y="595"/>
                    <a:pt x="1287" y="524"/>
                    <a:pt x="1192" y="524"/>
                  </a:cubicBezTo>
                  <a:cubicBezTo>
                    <a:pt x="1108" y="524"/>
                    <a:pt x="1037" y="595"/>
                    <a:pt x="1037" y="691"/>
                  </a:cubicBezTo>
                  <a:lnTo>
                    <a:pt x="1037" y="845"/>
                  </a:lnTo>
                  <a:cubicBezTo>
                    <a:pt x="1037" y="1048"/>
                    <a:pt x="870" y="1203"/>
                    <a:pt x="680" y="1203"/>
                  </a:cubicBezTo>
                  <a:cubicBezTo>
                    <a:pt x="477" y="1203"/>
                    <a:pt x="311" y="1036"/>
                    <a:pt x="311" y="845"/>
                  </a:cubicBezTo>
                  <a:lnTo>
                    <a:pt x="311" y="691"/>
                  </a:lnTo>
                  <a:cubicBezTo>
                    <a:pt x="311" y="488"/>
                    <a:pt x="477" y="333"/>
                    <a:pt x="680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71" name="Google Shape;13071;p63"/>
          <p:cNvGrpSpPr/>
          <p:nvPr/>
        </p:nvGrpSpPr>
        <p:grpSpPr>
          <a:xfrm>
            <a:off x="3048045" y="1522930"/>
            <a:ext cx="347872" cy="303904"/>
            <a:chOff x="3048045" y="1522930"/>
            <a:chExt cx="347872" cy="303904"/>
          </a:xfrm>
        </p:grpSpPr>
        <p:sp>
          <p:nvSpPr>
            <p:cNvPr id="13072" name="Google Shape;13072;p63"/>
            <p:cNvSpPr/>
            <p:nvPr/>
          </p:nvSpPr>
          <p:spPr>
            <a:xfrm>
              <a:off x="3137965" y="1548658"/>
              <a:ext cx="10688" cy="13760"/>
            </a:xfrm>
            <a:custGeom>
              <a:avLst/>
              <a:gdLst/>
              <a:ahLst/>
              <a:cxnLst/>
              <a:rect l="l" t="t" r="r" b="b"/>
              <a:pathLst>
                <a:path w="334" h="43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263"/>
                  </a:lnTo>
                  <a:cubicBezTo>
                    <a:pt x="0" y="358"/>
                    <a:pt x="72" y="429"/>
                    <a:pt x="167" y="429"/>
                  </a:cubicBezTo>
                  <a:cubicBezTo>
                    <a:pt x="262" y="429"/>
                    <a:pt x="334" y="358"/>
                    <a:pt x="334" y="263"/>
                  </a:cubicBezTo>
                  <a:lnTo>
                    <a:pt x="334" y="167"/>
                  </a:lnTo>
                  <a:cubicBezTo>
                    <a:pt x="310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073" name="Google Shape;13073;p63"/>
            <p:cNvGrpSpPr/>
            <p:nvPr/>
          </p:nvGrpSpPr>
          <p:grpSpPr>
            <a:xfrm>
              <a:off x="3048045" y="1522930"/>
              <a:ext cx="347872" cy="303904"/>
              <a:chOff x="3048045" y="1522930"/>
              <a:chExt cx="347872" cy="303904"/>
            </a:xfrm>
          </p:grpSpPr>
          <p:sp>
            <p:nvSpPr>
              <p:cNvPr id="13074" name="Google Shape;13074;p63"/>
              <p:cNvSpPr/>
              <p:nvPr/>
            </p:nvSpPr>
            <p:spPr>
              <a:xfrm>
                <a:off x="3048045" y="1522930"/>
                <a:ext cx="347872" cy="303904"/>
              </a:xfrm>
              <a:custGeom>
                <a:avLst/>
                <a:gdLst/>
                <a:ahLst/>
                <a:cxnLst/>
                <a:rect l="l" t="t" r="r" b="b"/>
                <a:pathLst>
                  <a:path w="10871" h="9497" extrusionOk="0">
                    <a:moveTo>
                      <a:pt x="5752" y="4495"/>
                    </a:moveTo>
                    <a:cubicBezTo>
                      <a:pt x="6093" y="4495"/>
                      <a:pt x="6440" y="4510"/>
                      <a:pt x="6775" y="4543"/>
                    </a:cubicBezTo>
                    <a:cubicBezTo>
                      <a:pt x="6680" y="4674"/>
                      <a:pt x="6597" y="4817"/>
                      <a:pt x="6513" y="4972"/>
                    </a:cubicBezTo>
                    <a:cubicBezTo>
                      <a:pt x="6229" y="4945"/>
                      <a:pt x="5949" y="4933"/>
                      <a:pt x="5681" y="4933"/>
                    </a:cubicBezTo>
                    <a:cubicBezTo>
                      <a:pt x="5354" y="4933"/>
                      <a:pt x="5044" y="4951"/>
                      <a:pt x="4763" y="4984"/>
                    </a:cubicBezTo>
                    <a:cubicBezTo>
                      <a:pt x="4834" y="4841"/>
                      <a:pt x="4918" y="4674"/>
                      <a:pt x="4977" y="4519"/>
                    </a:cubicBezTo>
                    <a:cubicBezTo>
                      <a:pt x="5227" y="4504"/>
                      <a:pt x="5488" y="4495"/>
                      <a:pt x="5752" y="4495"/>
                    </a:cubicBezTo>
                    <a:close/>
                    <a:moveTo>
                      <a:pt x="5644" y="5242"/>
                    </a:moveTo>
                    <a:cubicBezTo>
                      <a:pt x="5874" y="5242"/>
                      <a:pt x="6115" y="5252"/>
                      <a:pt x="6358" y="5269"/>
                    </a:cubicBezTo>
                    <a:lnTo>
                      <a:pt x="6085" y="5853"/>
                    </a:lnTo>
                    <a:cubicBezTo>
                      <a:pt x="5751" y="6579"/>
                      <a:pt x="5418" y="7282"/>
                      <a:pt x="4930" y="7639"/>
                    </a:cubicBezTo>
                    <a:cubicBezTo>
                      <a:pt x="4811" y="7722"/>
                      <a:pt x="4680" y="7794"/>
                      <a:pt x="4561" y="7877"/>
                    </a:cubicBezTo>
                    <a:cubicBezTo>
                      <a:pt x="4525" y="7853"/>
                      <a:pt x="4501" y="7841"/>
                      <a:pt x="4477" y="7829"/>
                    </a:cubicBezTo>
                    <a:cubicBezTo>
                      <a:pt x="4120" y="7555"/>
                      <a:pt x="3989" y="7246"/>
                      <a:pt x="4049" y="6805"/>
                    </a:cubicBezTo>
                    <a:cubicBezTo>
                      <a:pt x="4108" y="6389"/>
                      <a:pt x="4334" y="5889"/>
                      <a:pt x="4596" y="5329"/>
                    </a:cubicBezTo>
                    <a:cubicBezTo>
                      <a:pt x="4895" y="5269"/>
                      <a:pt x="5255" y="5242"/>
                      <a:pt x="5644" y="5242"/>
                    </a:cubicBezTo>
                    <a:close/>
                    <a:moveTo>
                      <a:pt x="2060" y="6412"/>
                    </a:moveTo>
                    <a:lnTo>
                      <a:pt x="2060" y="6412"/>
                    </a:lnTo>
                    <a:cubicBezTo>
                      <a:pt x="2036" y="6948"/>
                      <a:pt x="2096" y="7460"/>
                      <a:pt x="2322" y="7936"/>
                    </a:cubicBezTo>
                    <a:cubicBezTo>
                      <a:pt x="2132" y="7794"/>
                      <a:pt x="1977" y="7615"/>
                      <a:pt x="1905" y="7413"/>
                    </a:cubicBezTo>
                    <a:cubicBezTo>
                      <a:pt x="1763" y="6984"/>
                      <a:pt x="1858" y="6662"/>
                      <a:pt x="2060" y="6412"/>
                    </a:cubicBezTo>
                    <a:close/>
                    <a:moveTo>
                      <a:pt x="7370" y="5400"/>
                    </a:moveTo>
                    <a:cubicBezTo>
                      <a:pt x="8251" y="5579"/>
                      <a:pt x="8918" y="5900"/>
                      <a:pt x="9121" y="6281"/>
                    </a:cubicBezTo>
                    <a:cubicBezTo>
                      <a:pt x="9192" y="6424"/>
                      <a:pt x="9216" y="6555"/>
                      <a:pt x="9156" y="6710"/>
                    </a:cubicBezTo>
                    <a:cubicBezTo>
                      <a:pt x="9025" y="7067"/>
                      <a:pt x="8561" y="7389"/>
                      <a:pt x="7859" y="7663"/>
                    </a:cubicBezTo>
                    <a:cubicBezTo>
                      <a:pt x="7335" y="7853"/>
                      <a:pt x="6727" y="7984"/>
                      <a:pt x="6144" y="8032"/>
                    </a:cubicBezTo>
                    <a:cubicBezTo>
                      <a:pt x="6704" y="7377"/>
                      <a:pt x="6954" y="6615"/>
                      <a:pt x="7192" y="5924"/>
                    </a:cubicBezTo>
                    <a:cubicBezTo>
                      <a:pt x="7251" y="5746"/>
                      <a:pt x="7311" y="5567"/>
                      <a:pt x="7370" y="5400"/>
                    </a:cubicBezTo>
                    <a:close/>
                    <a:moveTo>
                      <a:pt x="3407" y="319"/>
                    </a:moveTo>
                    <a:cubicBezTo>
                      <a:pt x="3697" y="319"/>
                      <a:pt x="3980" y="376"/>
                      <a:pt x="4239" y="495"/>
                    </a:cubicBezTo>
                    <a:cubicBezTo>
                      <a:pt x="4989" y="828"/>
                      <a:pt x="5346" y="1590"/>
                      <a:pt x="5203" y="2591"/>
                    </a:cubicBezTo>
                    <a:cubicBezTo>
                      <a:pt x="5084" y="3543"/>
                      <a:pt x="4692" y="4388"/>
                      <a:pt x="4334" y="5150"/>
                    </a:cubicBezTo>
                    <a:cubicBezTo>
                      <a:pt x="4049" y="5746"/>
                      <a:pt x="3810" y="6270"/>
                      <a:pt x="3739" y="6746"/>
                    </a:cubicBezTo>
                    <a:cubicBezTo>
                      <a:pt x="3656" y="7258"/>
                      <a:pt x="3822" y="7675"/>
                      <a:pt x="4227" y="8008"/>
                    </a:cubicBezTo>
                    <a:cubicBezTo>
                      <a:pt x="4060" y="8067"/>
                      <a:pt x="3894" y="8127"/>
                      <a:pt x="3739" y="8151"/>
                    </a:cubicBezTo>
                    <a:cubicBezTo>
                      <a:pt x="3644" y="8032"/>
                      <a:pt x="3584" y="7913"/>
                      <a:pt x="3525" y="7817"/>
                    </a:cubicBezTo>
                    <a:cubicBezTo>
                      <a:pt x="3498" y="7754"/>
                      <a:pt x="3436" y="7725"/>
                      <a:pt x="3377" y="7725"/>
                    </a:cubicBezTo>
                    <a:cubicBezTo>
                      <a:pt x="3358" y="7725"/>
                      <a:pt x="3340" y="7728"/>
                      <a:pt x="3322" y="7734"/>
                    </a:cubicBezTo>
                    <a:cubicBezTo>
                      <a:pt x="3239" y="7782"/>
                      <a:pt x="3215" y="7865"/>
                      <a:pt x="3239" y="7948"/>
                    </a:cubicBezTo>
                    <a:cubicBezTo>
                      <a:pt x="3287" y="8032"/>
                      <a:pt x="3334" y="8115"/>
                      <a:pt x="3382" y="8186"/>
                    </a:cubicBezTo>
                    <a:cubicBezTo>
                      <a:pt x="3179" y="8186"/>
                      <a:pt x="2989" y="8163"/>
                      <a:pt x="2810" y="8127"/>
                    </a:cubicBezTo>
                    <a:cubicBezTo>
                      <a:pt x="2025" y="6984"/>
                      <a:pt x="2453" y="5353"/>
                      <a:pt x="2846" y="3912"/>
                    </a:cubicBezTo>
                    <a:cubicBezTo>
                      <a:pt x="2977" y="3412"/>
                      <a:pt x="3108" y="2924"/>
                      <a:pt x="3179" y="2483"/>
                    </a:cubicBezTo>
                    <a:cubicBezTo>
                      <a:pt x="3572" y="2412"/>
                      <a:pt x="3918" y="2305"/>
                      <a:pt x="4120" y="2233"/>
                    </a:cubicBezTo>
                    <a:lnTo>
                      <a:pt x="4120" y="2555"/>
                    </a:lnTo>
                    <a:cubicBezTo>
                      <a:pt x="4120" y="2650"/>
                      <a:pt x="4180" y="2722"/>
                      <a:pt x="4275" y="2722"/>
                    </a:cubicBezTo>
                    <a:cubicBezTo>
                      <a:pt x="4358" y="2722"/>
                      <a:pt x="4418" y="2650"/>
                      <a:pt x="4430" y="2579"/>
                    </a:cubicBezTo>
                    <a:cubicBezTo>
                      <a:pt x="4453" y="2376"/>
                      <a:pt x="4430" y="2186"/>
                      <a:pt x="4418" y="1995"/>
                    </a:cubicBezTo>
                    <a:cubicBezTo>
                      <a:pt x="4418" y="1948"/>
                      <a:pt x="4394" y="1900"/>
                      <a:pt x="4346" y="1876"/>
                    </a:cubicBezTo>
                    <a:cubicBezTo>
                      <a:pt x="4320" y="1857"/>
                      <a:pt x="4294" y="1848"/>
                      <a:pt x="4270" y="1848"/>
                    </a:cubicBezTo>
                    <a:cubicBezTo>
                      <a:pt x="4250" y="1848"/>
                      <a:pt x="4231" y="1854"/>
                      <a:pt x="4215" y="1864"/>
                    </a:cubicBezTo>
                    <a:cubicBezTo>
                      <a:pt x="4215" y="1864"/>
                      <a:pt x="3656" y="2079"/>
                      <a:pt x="3084" y="2174"/>
                    </a:cubicBezTo>
                    <a:cubicBezTo>
                      <a:pt x="2919" y="2202"/>
                      <a:pt x="2741" y="2221"/>
                      <a:pt x="2569" y="2221"/>
                    </a:cubicBezTo>
                    <a:cubicBezTo>
                      <a:pt x="2307" y="2221"/>
                      <a:pt x="2059" y="2177"/>
                      <a:pt x="1894" y="2055"/>
                    </a:cubicBezTo>
                    <a:lnTo>
                      <a:pt x="1953" y="2055"/>
                    </a:lnTo>
                    <a:cubicBezTo>
                      <a:pt x="1973" y="2055"/>
                      <a:pt x="1992" y="2056"/>
                      <a:pt x="2012" y="2056"/>
                    </a:cubicBezTo>
                    <a:cubicBezTo>
                      <a:pt x="2431" y="2056"/>
                      <a:pt x="2946" y="1937"/>
                      <a:pt x="3537" y="1709"/>
                    </a:cubicBezTo>
                    <a:cubicBezTo>
                      <a:pt x="3620" y="1686"/>
                      <a:pt x="3656" y="1590"/>
                      <a:pt x="3632" y="1507"/>
                    </a:cubicBezTo>
                    <a:cubicBezTo>
                      <a:pt x="3614" y="1434"/>
                      <a:pt x="3554" y="1403"/>
                      <a:pt x="3489" y="1403"/>
                    </a:cubicBezTo>
                    <a:cubicBezTo>
                      <a:pt x="3469" y="1403"/>
                      <a:pt x="3449" y="1406"/>
                      <a:pt x="3429" y="1412"/>
                    </a:cubicBezTo>
                    <a:cubicBezTo>
                      <a:pt x="2837" y="1644"/>
                      <a:pt x="2361" y="1735"/>
                      <a:pt x="2013" y="1735"/>
                    </a:cubicBezTo>
                    <a:cubicBezTo>
                      <a:pt x="1683" y="1735"/>
                      <a:pt x="1469" y="1653"/>
                      <a:pt x="1382" y="1531"/>
                    </a:cubicBezTo>
                    <a:cubicBezTo>
                      <a:pt x="1298" y="1412"/>
                      <a:pt x="1382" y="1293"/>
                      <a:pt x="1429" y="1245"/>
                    </a:cubicBezTo>
                    <a:cubicBezTo>
                      <a:pt x="1975" y="648"/>
                      <a:pt x="2712" y="319"/>
                      <a:pt x="3407" y="319"/>
                    </a:cubicBezTo>
                    <a:close/>
                    <a:moveTo>
                      <a:pt x="7716" y="4674"/>
                    </a:moveTo>
                    <a:cubicBezTo>
                      <a:pt x="8549" y="4817"/>
                      <a:pt x="9240" y="5055"/>
                      <a:pt x="9752" y="5353"/>
                    </a:cubicBezTo>
                    <a:cubicBezTo>
                      <a:pt x="10121" y="5567"/>
                      <a:pt x="10549" y="5924"/>
                      <a:pt x="10549" y="6412"/>
                    </a:cubicBezTo>
                    <a:cubicBezTo>
                      <a:pt x="10549" y="6889"/>
                      <a:pt x="10287" y="7365"/>
                      <a:pt x="9775" y="7782"/>
                    </a:cubicBezTo>
                    <a:cubicBezTo>
                      <a:pt x="9168" y="8270"/>
                      <a:pt x="8263" y="8663"/>
                      <a:pt x="7204" y="8877"/>
                    </a:cubicBezTo>
                    <a:cubicBezTo>
                      <a:pt x="6612" y="8997"/>
                      <a:pt x="6014" y="9062"/>
                      <a:pt x="5455" y="9062"/>
                    </a:cubicBezTo>
                    <a:cubicBezTo>
                      <a:pt x="5237" y="9062"/>
                      <a:pt x="5026" y="9052"/>
                      <a:pt x="4822" y="9032"/>
                    </a:cubicBezTo>
                    <a:cubicBezTo>
                      <a:pt x="4894" y="9008"/>
                      <a:pt x="4977" y="8960"/>
                      <a:pt x="5049" y="8925"/>
                    </a:cubicBezTo>
                    <a:cubicBezTo>
                      <a:pt x="5358" y="8758"/>
                      <a:pt x="5608" y="8579"/>
                      <a:pt x="5835" y="8389"/>
                    </a:cubicBezTo>
                    <a:cubicBezTo>
                      <a:pt x="6549" y="8365"/>
                      <a:pt x="7335" y="8210"/>
                      <a:pt x="7990" y="7972"/>
                    </a:cubicBezTo>
                    <a:cubicBezTo>
                      <a:pt x="8549" y="7770"/>
                      <a:pt x="9264" y="7413"/>
                      <a:pt x="9466" y="6841"/>
                    </a:cubicBezTo>
                    <a:cubicBezTo>
                      <a:pt x="9561" y="6603"/>
                      <a:pt x="9537" y="6365"/>
                      <a:pt x="9406" y="6139"/>
                    </a:cubicBezTo>
                    <a:cubicBezTo>
                      <a:pt x="9156" y="5698"/>
                      <a:pt x="8442" y="5305"/>
                      <a:pt x="7489" y="5115"/>
                    </a:cubicBezTo>
                    <a:cubicBezTo>
                      <a:pt x="7549" y="4972"/>
                      <a:pt x="7620" y="4817"/>
                      <a:pt x="7716" y="4674"/>
                    </a:cubicBezTo>
                    <a:close/>
                    <a:moveTo>
                      <a:pt x="7870" y="3888"/>
                    </a:moveTo>
                    <a:lnTo>
                      <a:pt x="7870" y="3888"/>
                    </a:lnTo>
                    <a:cubicBezTo>
                      <a:pt x="7335" y="4365"/>
                      <a:pt x="7120" y="5055"/>
                      <a:pt x="6858" y="5805"/>
                    </a:cubicBezTo>
                    <a:cubicBezTo>
                      <a:pt x="6501" y="6865"/>
                      <a:pt x="6144" y="7948"/>
                      <a:pt x="4858" y="8615"/>
                    </a:cubicBezTo>
                    <a:cubicBezTo>
                      <a:pt x="4221" y="8982"/>
                      <a:pt x="3593" y="9144"/>
                      <a:pt x="3002" y="9144"/>
                    </a:cubicBezTo>
                    <a:cubicBezTo>
                      <a:pt x="2941" y="9144"/>
                      <a:pt x="2882" y="9142"/>
                      <a:pt x="2822" y="9139"/>
                    </a:cubicBezTo>
                    <a:cubicBezTo>
                      <a:pt x="2286" y="9091"/>
                      <a:pt x="1822" y="8901"/>
                      <a:pt x="1441" y="8556"/>
                    </a:cubicBezTo>
                    <a:cubicBezTo>
                      <a:pt x="1143" y="8270"/>
                      <a:pt x="953" y="7913"/>
                      <a:pt x="870" y="7532"/>
                    </a:cubicBezTo>
                    <a:cubicBezTo>
                      <a:pt x="774" y="7127"/>
                      <a:pt x="822" y="6722"/>
                      <a:pt x="989" y="6341"/>
                    </a:cubicBezTo>
                    <a:cubicBezTo>
                      <a:pt x="1179" y="5912"/>
                      <a:pt x="1632" y="5460"/>
                      <a:pt x="2203" y="5162"/>
                    </a:cubicBezTo>
                    <a:lnTo>
                      <a:pt x="2203" y="5162"/>
                    </a:lnTo>
                    <a:cubicBezTo>
                      <a:pt x="2155" y="5400"/>
                      <a:pt x="2120" y="5639"/>
                      <a:pt x="2084" y="5877"/>
                    </a:cubicBezTo>
                    <a:cubicBezTo>
                      <a:pt x="1739" y="6210"/>
                      <a:pt x="1346" y="6722"/>
                      <a:pt x="1596" y="7496"/>
                    </a:cubicBezTo>
                    <a:cubicBezTo>
                      <a:pt x="1727" y="7913"/>
                      <a:pt x="2096" y="8246"/>
                      <a:pt x="2596" y="8413"/>
                    </a:cubicBezTo>
                    <a:cubicBezTo>
                      <a:pt x="2810" y="8484"/>
                      <a:pt x="3037" y="8508"/>
                      <a:pt x="3275" y="8508"/>
                    </a:cubicBezTo>
                    <a:cubicBezTo>
                      <a:pt x="3870" y="8508"/>
                      <a:pt x="4525" y="8294"/>
                      <a:pt x="5096" y="7877"/>
                    </a:cubicBezTo>
                    <a:cubicBezTo>
                      <a:pt x="5656" y="7460"/>
                      <a:pt x="6013" y="6698"/>
                      <a:pt x="6358" y="5948"/>
                    </a:cubicBezTo>
                    <a:cubicBezTo>
                      <a:pt x="6775" y="5079"/>
                      <a:pt x="7156" y="4222"/>
                      <a:pt x="7870" y="3888"/>
                    </a:cubicBezTo>
                    <a:close/>
                    <a:moveTo>
                      <a:pt x="3412" y="0"/>
                    </a:moveTo>
                    <a:cubicBezTo>
                      <a:pt x="3196" y="0"/>
                      <a:pt x="2974" y="30"/>
                      <a:pt x="2751" y="90"/>
                    </a:cubicBezTo>
                    <a:cubicBezTo>
                      <a:pt x="2155" y="233"/>
                      <a:pt x="1620" y="566"/>
                      <a:pt x="1179" y="1043"/>
                    </a:cubicBezTo>
                    <a:cubicBezTo>
                      <a:pt x="989" y="1245"/>
                      <a:pt x="953" y="1519"/>
                      <a:pt x="1108" y="1721"/>
                    </a:cubicBezTo>
                    <a:cubicBezTo>
                      <a:pt x="1143" y="1781"/>
                      <a:pt x="1191" y="1840"/>
                      <a:pt x="1263" y="1888"/>
                    </a:cubicBezTo>
                    <a:lnTo>
                      <a:pt x="631" y="2352"/>
                    </a:lnTo>
                    <a:lnTo>
                      <a:pt x="167" y="2352"/>
                    </a:lnTo>
                    <a:cubicBezTo>
                      <a:pt x="72" y="2352"/>
                      <a:pt x="0" y="2424"/>
                      <a:pt x="0" y="2519"/>
                    </a:cubicBezTo>
                    <a:cubicBezTo>
                      <a:pt x="0" y="2602"/>
                      <a:pt x="72" y="2674"/>
                      <a:pt x="167" y="2674"/>
                    </a:cubicBezTo>
                    <a:lnTo>
                      <a:pt x="453" y="2674"/>
                    </a:lnTo>
                    <a:lnTo>
                      <a:pt x="346" y="2972"/>
                    </a:lnTo>
                    <a:cubicBezTo>
                      <a:pt x="310" y="3067"/>
                      <a:pt x="358" y="3150"/>
                      <a:pt x="453" y="3186"/>
                    </a:cubicBezTo>
                    <a:cubicBezTo>
                      <a:pt x="465" y="3186"/>
                      <a:pt x="477" y="3198"/>
                      <a:pt x="489" y="3198"/>
                    </a:cubicBezTo>
                    <a:cubicBezTo>
                      <a:pt x="548" y="3198"/>
                      <a:pt x="631" y="3150"/>
                      <a:pt x="643" y="3091"/>
                    </a:cubicBezTo>
                    <a:lnTo>
                      <a:pt x="786" y="2638"/>
                    </a:lnTo>
                    <a:lnTo>
                      <a:pt x="1477" y="2138"/>
                    </a:lnTo>
                    <a:cubicBezTo>
                      <a:pt x="1710" y="2468"/>
                      <a:pt x="2125" y="2569"/>
                      <a:pt x="2548" y="2569"/>
                    </a:cubicBezTo>
                    <a:cubicBezTo>
                      <a:pt x="2644" y="2569"/>
                      <a:pt x="2740" y="2564"/>
                      <a:pt x="2834" y="2555"/>
                    </a:cubicBezTo>
                    <a:lnTo>
                      <a:pt x="2834" y="2555"/>
                    </a:lnTo>
                    <a:cubicBezTo>
                      <a:pt x="2751" y="2960"/>
                      <a:pt x="2632" y="3412"/>
                      <a:pt x="2513" y="3865"/>
                    </a:cubicBezTo>
                    <a:cubicBezTo>
                      <a:pt x="2441" y="4186"/>
                      <a:pt x="2358" y="4496"/>
                      <a:pt x="2275" y="4805"/>
                    </a:cubicBezTo>
                    <a:cubicBezTo>
                      <a:pt x="1548" y="5138"/>
                      <a:pt x="929" y="5686"/>
                      <a:pt x="691" y="6246"/>
                    </a:cubicBezTo>
                    <a:cubicBezTo>
                      <a:pt x="489" y="6686"/>
                      <a:pt x="441" y="7174"/>
                      <a:pt x="548" y="7639"/>
                    </a:cubicBezTo>
                    <a:cubicBezTo>
                      <a:pt x="655" y="8091"/>
                      <a:pt x="882" y="8508"/>
                      <a:pt x="1227" y="8829"/>
                    </a:cubicBezTo>
                    <a:cubicBezTo>
                      <a:pt x="1632" y="9210"/>
                      <a:pt x="2179" y="9437"/>
                      <a:pt x="2798" y="9484"/>
                    </a:cubicBezTo>
                    <a:cubicBezTo>
                      <a:pt x="2870" y="9484"/>
                      <a:pt x="2953" y="9496"/>
                      <a:pt x="3025" y="9496"/>
                    </a:cubicBezTo>
                    <a:cubicBezTo>
                      <a:pt x="3406" y="9496"/>
                      <a:pt x="3799" y="9425"/>
                      <a:pt x="4215" y="9282"/>
                    </a:cubicBezTo>
                    <a:cubicBezTo>
                      <a:pt x="4596" y="9365"/>
                      <a:pt x="5037" y="9401"/>
                      <a:pt x="5489" y="9401"/>
                    </a:cubicBezTo>
                    <a:cubicBezTo>
                      <a:pt x="6061" y="9401"/>
                      <a:pt x="6668" y="9341"/>
                      <a:pt x="7251" y="9222"/>
                    </a:cubicBezTo>
                    <a:cubicBezTo>
                      <a:pt x="8371" y="9008"/>
                      <a:pt x="9323" y="8591"/>
                      <a:pt x="9978" y="8067"/>
                    </a:cubicBezTo>
                    <a:cubicBezTo>
                      <a:pt x="10573" y="7591"/>
                      <a:pt x="10871" y="7008"/>
                      <a:pt x="10871" y="6412"/>
                    </a:cubicBezTo>
                    <a:cubicBezTo>
                      <a:pt x="10871" y="5472"/>
                      <a:pt x="9764" y="4734"/>
                      <a:pt x="7906" y="4376"/>
                    </a:cubicBezTo>
                    <a:cubicBezTo>
                      <a:pt x="8109" y="4103"/>
                      <a:pt x="8394" y="3900"/>
                      <a:pt x="8787" y="3769"/>
                    </a:cubicBezTo>
                    <a:cubicBezTo>
                      <a:pt x="8871" y="3734"/>
                      <a:pt x="8918" y="3650"/>
                      <a:pt x="8883" y="3555"/>
                    </a:cubicBezTo>
                    <a:cubicBezTo>
                      <a:pt x="8871" y="3495"/>
                      <a:pt x="8811" y="3448"/>
                      <a:pt x="8740" y="3448"/>
                    </a:cubicBezTo>
                    <a:cubicBezTo>
                      <a:pt x="8698" y="3446"/>
                      <a:pt x="8657" y="3444"/>
                      <a:pt x="8616" y="3444"/>
                    </a:cubicBezTo>
                    <a:cubicBezTo>
                      <a:pt x="8002" y="3444"/>
                      <a:pt x="7472" y="3695"/>
                      <a:pt x="7037" y="4186"/>
                    </a:cubicBezTo>
                    <a:cubicBezTo>
                      <a:pt x="7025" y="4198"/>
                      <a:pt x="7013" y="4210"/>
                      <a:pt x="7001" y="4246"/>
                    </a:cubicBezTo>
                    <a:cubicBezTo>
                      <a:pt x="6574" y="4205"/>
                      <a:pt x="6141" y="4176"/>
                      <a:pt x="5714" y="4176"/>
                    </a:cubicBezTo>
                    <a:cubicBezTo>
                      <a:pt x="5511" y="4176"/>
                      <a:pt x="5308" y="4183"/>
                      <a:pt x="5108" y="4198"/>
                    </a:cubicBezTo>
                    <a:cubicBezTo>
                      <a:pt x="5299" y="3698"/>
                      <a:pt x="5454" y="3198"/>
                      <a:pt x="5525" y="2626"/>
                    </a:cubicBezTo>
                    <a:cubicBezTo>
                      <a:pt x="5596" y="2031"/>
                      <a:pt x="5525" y="1531"/>
                      <a:pt x="5299" y="1102"/>
                    </a:cubicBezTo>
                    <a:cubicBezTo>
                      <a:pt x="5096" y="697"/>
                      <a:pt x="4775" y="400"/>
                      <a:pt x="4358" y="209"/>
                    </a:cubicBezTo>
                    <a:cubicBezTo>
                      <a:pt x="4068" y="72"/>
                      <a:pt x="3748" y="0"/>
                      <a:pt x="3412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75" name="Google Shape;13075;p63"/>
              <p:cNvSpPr/>
              <p:nvPr/>
            </p:nvSpPr>
            <p:spPr>
              <a:xfrm>
                <a:off x="3139117" y="1621010"/>
                <a:ext cx="49152" cy="137600"/>
              </a:xfrm>
              <a:custGeom>
                <a:avLst/>
                <a:gdLst/>
                <a:ahLst/>
                <a:cxnLst/>
                <a:rect l="l" t="t" r="r" b="b"/>
                <a:pathLst>
                  <a:path w="1536" h="4300" extrusionOk="0">
                    <a:moveTo>
                      <a:pt x="1360" y="0"/>
                    </a:moveTo>
                    <a:cubicBezTo>
                      <a:pt x="1284" y="0"/>
                      <a:pt x="1212" y="56"/>
                      <a:pt x="1191" y="121"/>
                    </a:cubicBezTo>
                    <a:cubicBezTo>
                      <a:pt x="1072" y="669"/>
                      <a:pt x="857" y="1192"/>
                      <a:pt x="655" y="1692"/>
                    </a:cubicBezTo>
                    <a:cubicBezTo>
                      <a:pt x="310" y="2526"/>
                      <a:pt x="0" y="3336"/>
                      <a:pt x="119" y="4169"/>
                    </a:cubicBezTo>
                    <a:cubicBezTo>
                      <a:pt x="131" y="4240"/>
                      <a:pt x="191" y="4300"/>
                      <a:pt x="286" y="4300"/>
                    </a:cubicBezTo>
                    <a:lnTo>
                      <a:pt x="310" y="4300"/>
                    </a:lnTo>
                    <a:cubicBezTo>
                      <a:pt x="405" y="4288"/>
                      <a:pt x="464" y="4217"/>
                      <a:pt x="441" y="4121"/>
                    </a:cubicBezTo>
                    <a:cubicBezTo>
                      <a:pt x="322" y="3383"/>
                      <a:pt x="643" y="2621"/>
                      <a:pt x="953" y="1835"/>
                    </a:cubicBezTo>
                    <a:cubicBezTo>
                      <a:pt x="1155" y="1311"/>
                      <a:pt x="1381" y="776"/>
                      <a:pt x="1500" y="192"/>
                    </a:cubicBezTo>
                    <a:cubicBezTo>
                      <a:pt x="1536" y="109"/>
                      <a:pt x="1476" y="14"/>
                      <a:pt x="1381" y="2"/>
                    </a:cubicBezTo>
                    <a:cubicBezTo>
                      <a:pt x="1374" y="1"/>
                      <a:pt x="1367" y="0"/>
                      <a:pt x="136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076" name="Google Shape;13076;p63"/>
          <p:cNvGrpSpPr/>
          <p:nvPr/>
        </p:nvGrpSpPr>
        <p:grpSpPr>
          <a:xfrm>
            <a:off x="1133133" y="3351922"/>
            <a:ext cx="313984" cy="358560"/>
            <a:chOff x="1133133" y="3351922"/>
            <a:chExt cx="313984" cy="358560"/>
          </a:xfrm>
        </p:grpSpPr>
        <p:sp>
          <p:nvSpPr>
            <p:cNvPr id="13077" name="Google Shape;13077;p63"/>
            <p:cNvSpPr/>
            <p:nvPr/>
          </p:nvSpPr>
          <p:spPr>
            <a:xfrm>
              <a:off x="1133133" y="3351922"/>
              <a:ext cx="313984" cy="358560"/>
            </a:xfrm>
            <a:custGeom>
              <a:avLst/>
              <a:gdLst/>
              <a:ahLst/>
              <a:cxnLst/>
              <a:rect l="l" t="t" r="r" b="b"/>
              <a:pathLst>
                <a:path w="9812" h="11205" extrusionOk="0">
                  <a:moveTo>
                    <a:pt x="1251" y="4025"/>
                  </a:moveTo>
                  <a:cubicBezTo>
                    <a:pt x="1548" y="4025"/>
                    <a:pt x="1787" y="4263"/>
                    <a:pt x="1787" y="4561"/>
                  </a:cubicBezTo>
                  <a:lnTo>
                    <a:pt x="1787" y="7704"/>
                  </a:lnTo>
                  <a:cubicBezTo>
                    <a:pt x="1787" y="7990"/>
                    <a:pt x="2013" y="8204"/>
                    <a:pt x="2287" y="8204"/>
                  </a:cubicBezTo>
                  <a:lnTo>
                    <a:pt x="3001" y="8204"/>
                  </a:lnTo>
                  <a:lnTo>
                    <a:pt x="3001" y="9300"/>
                  </a:lnTo>
                  <a:lnTo>
                    <a:pt x="1775" y="9300"/>
                  </a:lnTo>
                  <a:cubicBezTo>
                    <a:pt x="1191" y="9300"/>
                    <a:pt x="715" y="8823"/>
                    <a:pt x="715" y="8240"/>
                  </a:cubicBezTo>
                  <a:lnTo>
                    <a:pt x="715" y="4561"/>
                  </a:lnTo>
                  <a:cubicBezTo>
                    <a:pt x="715" y="4263"/>
                    <a:pt x="953" y="4025"/>
                    <a:pt x="1251" y="4025"/>
                  </a:cubicBezTo>
                  <a:close/>
                  <a:moveTo>
                    <a:pt x="4906" y="1"/>
                  </a:moveTo>
                  <a:cubicBezTo>
                    <a:pt x="4823" y="1"/>
                    <a:pt x="4739" y="84"/>
                    <a:pt x="4739" y="167"/>
                  </a:cubicBezTo>
                  <a:lnTo>
                    <a:pt x="4739" y="548"/>
                  </a:lnTo>
                  <a:cubicBezTo>
                    <a:pt x="4346" y="572"/>
                    <a:pt x="3965" y="739"/>
                    <a:pt x="3668" y="989"/>
                  </a:cubicBezTo>
                  <a:lnTo>
                    <a:pt x="3406" y="727"/>
                  </a:lnTo>
                  <a:cubicBezTo>
                    <a:pt x="3376" y="697"/>
                    <a:pt x="3334" y="682"/>
                    <a:pt x="3291" y="682"/>
                  </a:cubicBezTo>
                  <a:cubicBezTo>
                    <a:pt x="3248" y="682"/>
                    <a:pt x="3203" y="697"/>
                    <a:pt x="3168" y="727"/>
                  </a:cubicBezTo>
                  <a:cubicBezTo>
                    <a:pt x="3108" y="787"/>
                    <a:pt x="3108" y="882"/>
                    <a:pt x="3168" y="965"/>
                  </a:cubicBezTo>
                  <a:lnTo>
                    <a:pt x="3430" y="1227"/>
                  </a:lnTo>
                  <a:cubicBezTo>
                    <a:pt x="3180" y="1525"/>
                    <a:pt x="3037" y="1882"/>
                    <a:pt x="2989" y="2299"/>
                  </a:cubicBezTo>
                  <a:lnTo>
                    <a:pt x="2620" y="2299"/>
                  </a:lnTo>
                  <a:cubicBezTo>
                    <a:pt x="2525" y="2299"/>
                    <a:pt x="2453" y="2370"/>
                    <a:pt x="2453" y="2465"/>
                  </a:cubicBezTo>
                  <a:cubicBezTo>
                    <a:pt x="2453" y="2549"/>
                    <a:pt x="2525" y="2632"/>
                    <a:pt x="2620" y="2632"/>
                  </a:cubicBezTo>
                  <a:lnTo>
                    <a:pt x="2977" y="2632"/>
                  </a:lnTo>
                  <a:lnTo>
                    <a:pt x="2977" y="3704"/>
                  </a:lnTo>
                  <a:lnTo>
                    <a:pt x="2620" y="3704"/>
                  </a:lnTo>
                  <a:cubicBezTo>
                    <a:pt x="2525" y="3704"/>
                    <a:pt x="2453" y="3775"/>
                    <a:pt x="2453" y="3858"/>
                  </a:cubicBezTo>
                  <a:cubicBezTo>
                    <a:pt x="2453" y="3954"/>
                    <a:pt x="2525" y="4025"/>
                    <a:pt x="2620" y="4025"/>
                  </a:cubicBezTo>
                  <a:lnTo>
                    <a:pt x="2977" y="4025"/>
                  </a:lnTo>
                  <a:lnTo>
                    <a:pt x="2977" y="5097"/>
                  </a:lnTo>
                  <a:lnTo>
                    <a:pt x="2620" y="5097"/>
                  </a:lnTo>
                  <a:cubicBezTo>
                    <a:pt x="2525" y="5097"/>
                    <a:pt x="2453" y="5168"/>
                    <a:pt x="2453" y="5263"/>
                  </a:cubicBezTo>
                  <a:cubicBezTo>
                    <a:pt x="2453" y="5347"/>
                    <a:pt x="2525" y="5430"/>
                    <a:pt x="2620" y="5430"/>
                  </a:cubicBezTo>
                  <a:lnTo>
                    <a:pt x="2977" y="5430"/>
                  </a:lnTo>
                  <a:lnTo>
                    <a:pt x="2977" y="6502"/>
                  </a:lnTo>
                  <a:lnTo>
                    <a:pt x="2620" y="6502"/>
                  </a:lnTo>
                  <a:cubicBezTo>
                    <a:pt x="2525" y="6502"/>
                    <a:pt x="2453" y="6573"/>
                    <a:pt x="2453" y="6656"/>
                  </a:cubicBezTo>
                  <a:cubicBezTo>
                    <a:pt x="2453" y="6752"/>
                    <a:pt x="2525" y="6823"/>
                    <a:pt x="2620" y="6823"/>
                  </a:cubicBezTo>
                  <a:lnTo>
                    <a:pt x="2977" y="6823"/>
                  </a:lnTo>
                  <a:lnTo>
                    <a:pt x="2977" y="7895"/>
                  </a:lnTo>
                  <a:lnTo>
                    <a:pt x="2263" y="7895"/>
                  </a:lnTo>
                  <a:cubicBezTo>
                    <a:pt x="2156" y="7895"/>
                    <a:pt x="2084" y="7811"/>
                    <a:pt x="2084" y="7716"/>
                  </a:cubicBezTo>
                  <a:lnTo>
                    <a:pt x="2084" y="7359"/>
                  </a:lnTo>
                  <a:lnTo>
                    <a:pt x="2263" y="7359"/>
                  </a:lnTo>
                  <a:cubicBezTo>
                    <a:pt x="2346" y="7359"/>
                    <a:pt x="2418" y="7287"/>
                    <a:pt x="2418" y="7192"/>
                  </a:cubicBezTo>
                  <a:cubicBezTo>
                    <a:pt x="2418" y="7109"/>
                    <a:pt x="2346" y="7037"/>
                    <a:pt x="2263" y="7037"/>
                  </a:cubicBezTo>
                  <a:lnTo>
                    <a:pt x="2084" y="7037"/>
                  </a:lnTo>
                  <a:lnTo>
                    <a:pt x="2084" y="6144"/>
                  </a:lnTo>
                  <a:lnTo>
                    <a:pt x="2263" y="6144"/>
                  </a:lnTo>
                  <a:cubicBezTo>
                    <a:pt x="2346" y="6144"/>
                    <a:pt x="2418" y="6061"/>
                    <a:pt x="2418" y="5978"/>
                  </a:cubicBezTo>
                  <a:cubicBezTo>
                    <a:pt x="2418" y="5882"/>
                    <a:pt x="2346" y="5811"/>
                    <a:pt x="2263" y="5811"/>
                  </a:cubicBezTo>
                  <a:lnTo>
                    <a:pt x="2084" y="5811"/>
                  </a:lnTo>
                  <a:lnTo>
                    <a:pt x="2084" y="4918"/>
                  </a:lnTo>
                  <a:lnTo>
                    <a:pt x="2263" y="4918"/>
                  </a:lnTo>
                  <a:cubicBezTo>
                    <a:pt x="2346" y="4918"/>
                    <a:pt x="2418" y="4847"/>
                    <a:pt x="2418" y="4751"/>
                  </a:cubicBezTo>
                  <a:cubicBezTo>
                    <a:pt x="2418" y="4668"/>
                    <a:pt x="2346" y="4597"/>
                    <a:pt x="2263" y="4597"/>
                  </a:cubicBezTo>
                  <a:lnTo>
                    <a:pt x="2084" y="4597"/>
                  </a:lnTo>
                  <a:lnTo>
                    <a:pt x="2084" y="4573"/>
                  </a:lnTo>
                  <a:cubicBezTo>
                    <a:pt x="2084" y="4156"/>
                    <a:pt x="1787" y="3799"/>
                    <a:pt x="1382" y="3727"/>
                  </a:cubicBezTo>
                  <a:lnTo>
                    <a:pt x="1382" y="3525"/>
                  </a:lnTo>
                  <a:cubicBezTo>
                    <a:pt x="1382" y="3430"/>
                    <a:pt x="1310" y="3358"/>
                    <a:pt x="1215" y="3358"/>
                  </a:cubicBezTo>
                  <a:cubicBezTo>
                    <a:pt x="1132" y="3358"/>
                    <a:pt x="1048" y="3430"/>
                    <a:pt x="1048" y="3525"/>
                  </a:cubicBezTo>
                  <a:lnTo>
                    <a:pt x="1048" y="3727"/>
                  </a:lnTo>
                  <a:cubicBezTo>
                    <a:pt x="655" y="3799"/>
                    <a:pt x="358" y="4156"/>
                    <a:pt x="358" y="4573"/>
                  </a:cubicBezTo>
                  <a:lnTo>
                    <a:pt x="358" y="4597"/>
                  </a:lnTo>
                  <a:lnTo>
                    <a:pt x="179" y="4597"/>
                  </a:lnTo>
                  <a:cubicBezTo>
                    <a:pt x="84" y="4597"/>
                    <a:pt x="13" y="4668"/>
                    <a:pt x="13" y="4751"/>
                  </a:cubicBezTo>
                  <a:cubicBezTo>
                    <a:pt x="13" y="4847"/>
                    <a:pt x="84" y="4918"/>
                    <a:pt x="179" y="4918"/>
                  </a:cubicBezTo>
                  <a:lnTo>
                    <a:pt x="358" y="4918"/>
                  </a:lnTo>
                  <a:lnTo>
                    <a:pt x="358" y="5811"/>
                  </a:lnTo>
                  <a:lnTo>
                    <a:pt x="179" y="5811"/>
                  </a:lnTo>
                  <a:cubicBezTo>
                    <a:pt x="84" y="5811"/>
                    <a:pt x="13" y="5882"/>
                    <a:pt x="13" y="5978"/>
                  </a:cubicBezTo>
                  <a:cubicBezTo>
                    <a:pt x="13" y="6061"/>
                    <a:pt x="84" y="6144"/>
                    <a:pt x="179" y="6144"/>
                  </a:cubicBezTo>
                  <a:lnTo>
                    <a:pt x="358" y="6144"/>
                  </a:lnTo>
                  <a:lnTo>
                    <a:pt x="358" y="7037"/>
                  </a:lnTo>
                  <a:lnTo>
                    <a:pt x="179" y="7037"/>
                  </a:lnTo>
                  <a:cubicBezTo>
                    <a:pt x="84" y="7037"/>
                    <a:pt x="13" y="7109"/>
                    <a:pt x="13" y="7192"/>
                  </a:cubicBezTo>
                  <a:cubicBezTo>
                    <a:pt x="13" y="7287"/>
                    <a:pt x="84" y="7359"/>
                    <a:pt x="179" y="7359"/>
                  </a:cubicBezTo>
                  <a:lnTo>
                    <a:pt x="358" y="7359"/>
                  </a:lnTo>
                  <a:lnTo>
                    <a:pt x="358" y="8240"/>
                  </a:lnTo>
                  <a:lnTo>
                    <a:pt x="358" y="8252"/>
                  </a:lnTo>
                  <a:lnTo>
                    <a:pt x="155" y="8252"/>
                  </a:lnTo>
                  <a:cubicBezTo>
                    <a:pt x="72" y="8252"/>
                    <a:pt x="1" y="8323"/>
                    <a:pt x="1" y="8418"/>
                  </a:cubicBezTo>
                  <a:cubicBezTo>
                    <a:pt x="1" y="8502"/>
                    <a:pt x="72" y="8585"/>
                    <a:pt x="155" y="8585"/>
                  </a:cubicBezTo>
                  <a:lnTo>
                    <a:pt x="382" y="8585"/>
                  </a:lnTo>
                  <a:cubicBezTo>
                    <a:pt x="536" y="9180"/>
                    <a:pt x="1084" y="9621"/>
                    <a:pt x="1727" y="9621"/>
                  </a:cubicBezTo>
                  <a:lnTo>
                    <a:pt x="2953" y="9621"/>
                  </a:lnTo>
                  <a:lnTo>
                    <a:pt x="2953" y="11038"/>
                  </a:lnTo>
                  <a:cubicBezTo>
                    <a:pt x="2953" y="11121"/>
                    <a:pt x="3037" y="11205"/>
                    <a:pt x="3120" y="11205"/>
                  </a:cubicBezTo>
                  <a:cubicBezTo>
                    <a:pt x="3215" y="11205"/>
                    <a:pt x="3287" y="11121"/>
                    <a:pt x="3287" y="11038"/>
                  </a:cubicBezTo>
                  <a:lnTo>
                    <a:pt x="3287" y="2477"/>
                  </a:lnTo>
                  <a:cubicBezTo>
                    <a:pt x="3287" y="1596"/>
                    <a:pt x="4001" y="906"/>
                    <a:pt x="4858" y="906"/>
                  </a:cubicBezTo>
                  <a:cubicBezTo>
                    <a:pt x="5728" y="906"/>
                    <a:pt x="6442" y="1620"/>
                    <a:pt x="6442" y="2477"/>
                  </a:cubicBezTo>
                  <a:lnTo>
                    <a:pt x="6442" y="5454"/>
                  </a:lnTo>
                  <a:cubicBezTo>
                    <a:pt x="6442" y="5549"/>
                    <a:pt x="6513" y="5621"/>
                    <a:pt x="6609" y="5621"/>
                  </a:cubicBezTo>
                  <a:cubicBezTo>
                    <a:pt x="6692" y="5621"/>
                    <a:pt x="6775" y="5549"/>
                    <a:pt x="6775" y="5454"/>
                  </a:cubicBezTo>
                  <a:lnTo>
                    <a:pt x="6775" y="5442"/>
                  </a:lnTo>
                  <a:lnTo>
                    <a:pt x="7490" y="5442"/>
                  </a:lnTo>
                  <a:cubicBezTo>
                    <a:pt x="7764" y="5442"/>
                    <a:pt x="7990" y="5216"/>
                    <a:pt x="7990" y="4930"/>
                  </a:cubicBezTo>
                  <a:lnTo>
                    <a:pt x="7990" y="3192"/>
                  </a:lnTo>
                  <a:cubicBezTo>
                    <a:pt x="7990" y="2894"/>
                    <a:pt x="8228" y="2656"/>
                    <a:pt x="8526" y="2656"/>
                  </a:cubicBezTo>
                  <a:cubicBezTo>
                    <a:pt x="8823" y="2656"/>
                    <a:pt x="9061" y="2894"/>
                    <a:pt x="9061" y="3192"/>
                  </a:cubicBezTo>
                  <a:lnTo>
                    <a:pt x="9061" y="5466"/>
                  </a:lnTo>
                  <a:cubicBezTo>
                    <a:pt x="9061" y="6049"/>
                    <a:pt x="8585" y="6525"/>
                    <a:pt x="8002" y="6525"/>
                  </a:cubicBezTo>
                  <a:lnTo>
                    <a:pt x="6775" y="6525"/>
                  </a:lnTo>
                  <a:lnTo>
                    <a:pt x="6775" y="6144"/>
                  </a:lnTo>
                  <a:cubicBezTo>
                    <a:pt x="6775" y="6049"/>
                    <a:pt x="6692" y="5978"/>
                    <a:pt x="6609" y="5978"/>
                  </a:cubicBezTo>
                  <a:cubicBezTo>
                    <a:pt x="6513" y="5978"/>
                    <a:pt x="6442" y="6049"/>
                    <a:pt x="6442" y="6144"/>
                  </a:cubicBezTo>
                  <a:lnTo>
                    <a:pt x="6442" y="11038"/>
                  </a:lnTo>
                  <a:cubicBezTo>
                    <a:pt x="6442" y="11121"/>
                    <a:pt x="6513" y="11205"/>
                    <a:pt x="6609" y="11205"/>
                  </a:cubicBezTo>
                  <a:cubicBezTo>
                    <a:pt x="6692" y="11205"/>
                    <a:pt x="6775" y="11121"/>
                    <a:pt x="6775" y="11038"/>
                  </a:cubicBezTo>
                  <a:lnTo>
                    <a:pt x="6775" y="9621"/>
                  </a:lnTo>
                  <a:lnTo>
                    <a:pt x="7132" y="9621"/>
                  </a:lnTo>
                  <a:cubicBezTo>
                    <a:pt x="7216" y="9621"/>
                    <a:pt x="7287" y="9550"/>
                    <a:pt x="7287" y="9454"/>
                  </a:cubicBezTo>
                  <a:cubicBezTo>
                    <a:pt x="7287" y="9371"/>
                    <a:pt x="7216" y="9300"/>
                    <a:pt x="7132" y="9300"/>
                  </a:cubicBezTo>
                  <a:lnTo>
                    <a:pt x="6775" y="9300"/>
                  </a:lnTo>
                  <a:lnTo>
                    <a:pt x="6775" y="8228"/>
                  </a:lnTo>
                  <a:lnTo>
                    <a:pt x="7132" y="8228"/>
                  </a:lnTo>
                  <a:cubicBezTo>
                    <a:pt x="7216" y="8228"/>
                    <a:pt x="7287" y="8145"/>
                    <a:pt x="7287" y="8061"/>
                  </a:cubicBezTo>
                  <a:cubicBezTo>
                    <a:pt x="7287" y="7966"/>
                    <a:pt x="7216" y="7895"/>
                    <a:pt x="7132" y="7895"/>
                  </a:cubicBezTo>
                  <a:lnTo>
                    <a:pt x="6775" y="7895"/>
                  </a:lnTo>
                  <a:lnTo>
                    <a:pt x="6775" y="6823"/>
                  </a:lnTo>
                  <a:lnTo>
                    <a:pt x="8002" y="6823"/>
                  </a:lnTo>
                  <a:cubicBezTo>
                    <a:pt x="8585" y="6823"/>
                    <a:pt x="9097" y="6466"/>
                    <a:pt x="9299" y="5942"/>
                  </a:cubicBezTo>
                  <a:lnTo>
                    <a:pt x="9585" y="5942"/>
                  </a:lnTo>
                  <a:cubicBezTo>
                    <a:pt x="9669" y="5942"/>
                    <a:pt x="9752" y="5871"/>
                    <a:pt x="9752" y="5775"/>
                  </a:cubicBezTo>
                  <a:cubicBezTo>
                    <a:pt x="9811" y="5704"/>
                    <a:pt x="9728" y="5632"/>
                    <a:pt x="9645" y="5632"/>
                  </a:cubicBezTo>
                  <a:lnTo>
                    <a:pt x="9454" y="5632"/>
                  </a:lnTo>
                  <a:cubicBezTo>
                    <a:pt x="9466" y="5573"/>
                    <a:pt x="9466" y="5513"/>
                    <a:pt x="9466" y="5454"/>
                  </a:cubicBezTo>
                  <a:lnTo>
                    <a:pt x="9466" y="4739"/>
                  </a:lnTo>
                  <a:lnTo>
                    <a:pt x="9645" y="4739"/>
                  </a:lnTo>
                  <a:cubicBezTo>
                    <a:pt x="9728" y="4739"/>
                    <a:pt x="9811" y="4668"/>
                    <a:pt x="9811" y="4573"/>
                  </a:cubicBezTo>
                  <a:cubicBezTo>
                    <a:pt x="9811" y="4489"/>
                    <a:pt x="9728" y="4418"/>
                    <a:pt x="9645" y="4418"/>
                  </a:cubicBezTo>
                  <a:lnTo>
                    <a:pt x="9466" y="4418"/>
                  </a:lnTo>
                  <a:lnTo>
                    <a:pt x="9466" y="3525"/>
                  </a:lnTo>
                  <a:lnTo>
                    <a:pt x="9645" y="3525"/>
                  </a:lnTo>
                  <a:cubicBezTo>
                    <a:pt x="9728" y="3525"/>
                    <a:pt x="9811" y="3442"/>
                    <a:pt x="9811" y="3358"/>
                  </a:cubicBezTo>
                  <a:cubicBezTo>
                    <a:pt x="9811" y="3263"/>
                    <a:pt x="9728" y="3192"/>
                    <a:pt x="9645" y="3192"/>
                  </a:cubicBezTo>
                  <a:lnTo>
                    <a:pt x="9466" y="3192"/>
                  </a:lnTo>
                  <a:lnTo>
                    <a:pt x="9466" y="3180"/>
                  </a:lnTo>
                  <a:cubicBezTo>
                    <a:pt x="9466" y="2763"/>
                    <a:pt x="9168" y="2406"/>
                    <a:pt x="8764" y="2322"/>
                  </a:cubicBezTo>
                  <a:lnTo>
                    <a:pt x="8764" y="2120"/>
                  </a:lnTo>
                  <a:cubicBezTo>
                    <a:pt x="8764" y="2037"/>
                    <a:pt x="8692" y="1953"/>
                    <a:pt x="8597" y="1953"/>
                  </a:cubicBezTo>
                  <a:cubicBezTo>
                    <a:pt x="8514" y="1953"/>
                    <a:pt x="8430" y="2037"/>
                    <a:pt x="8430" y="2120"/>
                  </a:cubicBezTo>
                  <a:lnTo>
                    <a:pt x="8430" y="2334"/>
                  </a:lnTo>
                  <a:cubicBezTo>
                    <a:pt x="8037" y="2406"/>
                    <a:pt x="7740" y="2763"/>
                    <a:pt x="7740" y="3180"/>
                  </a:cubicBezTo>
                  <a:lnTo>
                    <a:pt x="7740" y="3192"/>
                  </a:lnTo>
                  <a:lnTo>
                    <a:pt x="7561" y="3192"/>
                  </a:lnTo>
                  <a:cubicBezTo>
                    <a:pt x="7466" y="3192"/>
                    <a:pt x="7394" y="3263"/>
                    <a:pt x="7394" y="3358"/>
                  </a:cubicBezTo>
                  <a:cubicBezTo>
                    <a:pt x="7394" y="3442"/>
                    <a:pt x="7466" y="3525"/>
                    <a:pt x="7561" y="3525"/>
                  </a:cubicBezTo>
                  <a:lnTo>
                    <a:pt x="7740" y="3525"/>
                  </a:lnTo>
                  <a:lnTo>
                    <a:pt x="7740" y="4418"/>
                  </a:lnTo>
                  <a:lnTo>
                    <a:pt x="7561" y="4418"/>
                  </a:lnTo>
                  <a:cubicBezTo>
                    <a:pt x="7466" y="4418"/>
                    <a:pt x="7394" y="4489"/>
                    <a:pt x="7394" y="4573"/>
                  </a:cubicBezTo>
                  <a:cubicBezTo>
                    <a:pt x="7394" y="4668"/>
                    <a:pt x="7466" y="4739"/>
                    <a:pt x="7561" y="4739"/>
                  </a:cubicBezTo>
                  <a:lnTo>
                    <a:pt x="7740" y="4739"/>
                  </a:lnTo>
                  <a:lnTo>
                    <a:pt x="7740" y="4918"/>
                  </a:lnTo>
                  <a:cubicBezTo>
                    <a:pt x="7740" y="5025"/>
                    <a:pt x="7644" y="5097"/>
                    <a:pt x="7561" y="5097"/>
                  </a:cubicBezTo>
                  <a:lnTo>
                    <a:pt x="6847" y="5097"/>
                  </a:lnTo>
                  <a:lnTo>
                    <a:pt x="6847" y="4025"/>
                  </a:lnTo>
                  <a:lnTo>
                    <a:pt x="7204" y="4025"/>
                  </a:lnTo>
                  <a:cubicBezTo>
                    <a:pt x="7287" y="4025"/>
                    <a:pt x="7371" y="3954"/>
                    <a:pt x="7371" y="3858"/>
                  </a:cubicBezTo>
                  <a:cubicBezTo>
                    <a:pt x="7371" y="3775"/>
                    <a:pt x="7287" y="3704"/>
                    <a:pt x="7204" y="3704"/>
                  </a:cubicBezTo>
                  <a:lnTo>
                    <a:pt x="6847" y="3704"/>
                  </a:lnTo>
                  <a:lnTo>
                    <a:pt x="6847" y="2632"/>
                  </a:lnTo>
                  <a:lnTo>
                    <a:pt x="7204" y="2632"/>
                  </a:lnTo>
                  <a:cubicBezTo>
                    <a:pt x="7287" y="2632"/>
                    <a:pt x="7371" y="2549"/>
                    <a:pt x="7371" y="2465"/>
                  </a:cubicBezTo>
                  <a:cubicBezTo>
                    <a:pt x="7371" y="2370"/>
                    <a:pt x="7287" y="2299"/>
                    <a:pt x="7204" y="2299"/>
                  </a:cubicBezTo>
                  <a:lnTo>
                    <a:pt x="6823" y="2299"/>
                  </a:lnTo>
                  <a:cubicBezTo>
                    <a:pt x="6799" y="1894"/>
                    <a:pt x="6632" y="1525"/>
                    <a:pt x="6382" y="1227"/>
                  </a:cubicBezTo>
                  <a:lnTo>
                    <a:pt x="6644" y="965"/>
                  </a:lnTo>
                  <a:cubicBezTo>
                    <a:pt x="6704" y="906"/>
                    <a:pt x="6704" y="798"/>
                    <a:pt x="6644" y="727"/>
                  </a:cubicBezTo>
                  <a:cubicBezTo>
                    <a:pt x="6621" y="697"/>
                    <a:pt x="6582" y="682"/>
                    <a:pt x="6539" y="682"/>
                  </a:cubicBezTo>
                  <a:cubicBezTo>
                    <a:pt x="6495" y="682"/>
                    <a:pt x="6448" y="697"/>
                    <a:pt x="6406" y="727"/>
                  </a:cubicBezTo>
                  <a:lnTo>
                    <a:pt x="6144" y="989"/>
                  </a:lnTo>
                  <a:cubicBezTo>
                    <a:pt x="5847" y="739"/>
                    <a:pt x="5478" y="584"/>
                    <a:pt x="5073" y="548"/>
                  </a:cubicBezTo>
                  <a:lnTo>
                    <a:pt x="5073" y="167"/>
                  </a:lnTo>
                  <a:cubicBezTo>
                    <a:pt x="5073" y="84"/>
                    <a:pt x="5001" y="1"/>
                    <a:pt x="4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8" name="Google Shape;13078;p63"/>
            <p:cNvSpPr/>
            <p:nvPr/>
          </p:nvSpPr>
          <p:spPr>
            <a:xfrm>
              <a:off x="1285549" y="3414418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9" name="Google Shape;13079;p63"/>
            <p:cNvSpPr/>
            <p:nvPr/>
          </p:nvSpPr>
          <p:spPr>
            <a:xfrm>
              <a:off x="1285549" y="3459378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0" name="Google Shape;13080;p63"/>
            <p:cNvSpPr/>
            <p:nvPr/>
          </p:nvSpPr>
          <p:spPr>
            <a:xfrm>
              <a:off x="1285549" y="3503954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1" name="Google Shape;13081;p63"/>
            <p:cNvSpPr/>
            <p:nvPr/>
          </p:nvSpPr>
          <p:spPr>
            <a:xfrm>
              <a:off x="1167821" y="3498226"/>
              <a:ext cx="10688" cy="16416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33" y="441"/>
                    <a:pt x="333" y="346"/>
                  </a:cubicBezTo>
                  <a:lnTo>
                    <a:pt x="333" y="167"/>
                  </a:lnTo>
                  <a:cubicBezTo>
                    <a:pt x="333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2" name="Google Shape;13082;p63"/>
            <p:cNvSpPr/>
            <p:nvPr/>
          </p:nvSpPr>
          <p:spPr>
            <a:xfrm>
              <a:off x="1167821" y="3537490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45"/>
                  </a:cubicBezTo>
                  <a:lnTo>
                    <a:pt x="333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3" name="Google Shape;13083;p63"/>
            <p:cNvSpPr/>
            <p:nvPr/>
          </p:nvSpPr>
          <p:spPr>
            <a:xfrm>
              <a:off x="1167821" y="3577106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34"/>
                  </a:cubicBezTo>
                  <a:lnTo>
                    <a:pt x="333" y="155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4" name="Google Shape;13084;p63"/>
            <p:cNvSpPr/>
            <p:nvPr/>
          </p:nvSpPr>
          <p:spPr>
            <a:xfrm>
              <a:off x="1402509" y="3493266"/>
              <a:ext cx="10688" cy="16064"/>
            </a:xfrm>
            <a:custGeom>
              <a:avLst/>
              <a:gdLst/>
              <a:ahLst/>
              <a:cxnLst/>
              <a:rect l="l" t="t" r="r" b="b"/>
              <a:pathLst>
                <a:path w="334" h="502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30"/>
                    <a:pt x="72" y="501"/>
                    <a:pt x="167" y="501"/>
                  </a:cubicBezTo>
                  <a:cubicBezTo>
                    <a:pt x="262" y="501"/>
                    <a:pt x="334" y="430"/>
                    <a:pt x="334" y="334"/>
                  </a:cubicBezTo>
                  <a:lnTo>
                    <a:pt x="334" y="156"/>
                  </a:lnTo>
                  <a:cubicBezTo>
                    <a:pt x="334" y="61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5" name="Google Shape;13085;p63"/>
            <p:cNvSpPr/>
            <p:nvPr/>
          </p:nvSpPr>
          <p:spPr>
            <a:xfrm>
              <a:off x="1393357" y="3526898"/>
              <a:ext cx="15648" cy="14432"/>
            </a:xfrm>
            <a:custGeom>
              <a:avLst/>
              <a:gdLst/>
              <a:ahLst/>
              <a:cxnLst/>
              <a:rect l="l" t="t" r="r" b="b"/>
              <a:pathLst>
                <a:path w="489" h="451" extrusionOk="0">
                  <a:moveTo>
                    <a:pt x="313" y="1"/>
                  </a:moveTo>
                  <a:cubicBezTo>
                    <a:pt x="268" y="1"/>
                    <a:pt x="221" y="16"/>
                    <a:pt x="179" y="45"/>
                  </a:cubicBezTo>
                  <a:lnTo>
                    <a:pt x="60" y="164"/>
                  </a:lnTo>
                  <a:cubicBezTo>
                    <a:pt x="1" y="224"/>
                    <a:pt x="1" y="331"/>
                    <a:pt x="60" y="403"/>
                  </a:cubicBezTo>
                  <a:cubicBezTo>
                    <a:pt x="96" y="438"/>
                    <a:pt x="143" y="450"/>
                    <a:pt x="179" y="450"/>
                  </a:cubicBezTo>
                  <a:cubicBezTo>
                    <a:pt x="227" y="450"/>
                    <a:pt x="274" y="426"/>
                    <a:pt x="298" y="403"/>
                  </a:cubicBezTo>
                  <a:lnTo>
                    <a:pt x="429" y="283"/>
                  </a:lnTo>
                  <a:cubicBezTo>
                    <a:pt x="489" y="212"/>
                    <a:pt x="489" y="105"/>
                    <a:pt x="429" y="45"/>
                  </a:cubicBezTo>
                  <a:cubicBezTo>
                    <a:pt x="399" y="16"/>
                    <a:pt x="358" y="1"/>
                    <a:pt x="3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6" name="Google Shape;13086;p63"/>
            <p:cNvSpPr/>
            <p:nvPr/>
          </p:nvSpPr>
          <p:spPr>
            <a:xfrm>
              <a:off x="1402509" y="3453650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7" name="Google Shape;13087;p63"/>
            <p:cNvSpPr/>
            <p:nvPr/>
          </p:nvSpPr>
          <p:spPr>
            <a:xfrm>
              <a:off x="1171629" y="3612306"/>
              <a:ext cx="15264" cy="14752"/>
            </a:xfrm>
            <a:custGeom>
              <a:avLst/>
              <a:gdLst/>
              <a:ahLst/>
              <a:cxnLst/>
              <a:rect l="l" t="t" r="r" b="b"/>
              <a:pathLst>
                <a:path w="477" h="461" extrusionOk="0">
                  <a:moveTo>
                    <a:pt x="179" y="0"/>
                  </a:moveTo>
                  <a:cubicBezTo>
                    <a:pt x="139" y="0"/>
                    <a:pt x="100" y="15"/>
                    <a:pt x="72" y="43"/>
                  </a:cubicBezTo>
                  <a:cubicBezTo>
                    <a:pt x="0" y="103"/>
                    <a:pt x="0" y="210"/>
                    <a:pt x="60" y="270"/>
                  </a:cubicBezTo>
                  <a:lnTo>
                    <a:pt x="179" y="401"/>
                  </a:lnTo>
                  <a:cubicBezTo>
                    <a:pt x="214" y="448"/>
                    <a:pt x="250" y="460"/>
                    <a:pt x="298" y="460"/>
                  </a:cubicBezTo>
                  <a:cubicBezTo>
                    <a:pt x="345" y="460"/>
                    <a:pt x="369" y="448"/>
                    <a:pt x="405" y="412"/>
                  </a:cubicBezTo>
                  <a:cubicBezTo>
                    <a:pt x="465" y="365"/>
                    <a:pt x="476" y="270"/>
                    <a:pt x="417" y="186"/>
                  </a:cubicBezTo>
                  <a:lnTo>
                    <a:pt x="298" y="55"/>
                  </a:lnTo>
                  <a:cubicBezTo>
                    <a:pt x="267" y="18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8" name="Google Shape;13088;p63"/>
            <p:cNvSpPr/>
            <p:nvPr/>
          </p:nvSpPr>
          <p:spPr>
            <a:xfrm>
              <a:off x="1285549" y="3548914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9" name="Google Shape;13089;p63"/>
            <p:cNvSpPr/>
            <p:nvPr/>
          </p:nvSpPr>
          <p:spPr>
            <a:xfrm>
              <a:off x="1285549" y="3593490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0" name="Google Shape;13090;p63"/>
            <p:cNvSpPr/>
            <p:nvPr/>
          </p:nvSpPr>
          <p:spPr>
            <a:xfrm>
              <a:off x="1285549" y="3638450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1" name="Google Shape;13091;p63"/>
            <p:cNvSpPr/>
            <p:nvPr/>
          </p:nvSpPr>
          <p:spPr>
            <a:xfrm>
              <a:off x="1201325" y="3627026"/>
              <a:ext cx="16032" cy="10304"/>
            </a:xfrm>
            <a:custGeom>
              <a:avLst/>
              <a:gdLst/>
              <a:ahLst/>
              <a:cxnLst/>
              <a:rect l="l" t="t" r="r" b="b"/>
              <a:pathLst>
                <a:path w="501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334" y="322"/>
                  </a:lnTo>
                  <a:cubicBezTo>
                    <a:pt x="429" y="322"/>
                    <a:pt x="501" y="250"/>
                    <a:pt x="501" y="167"/>
                  </a:cubicBezTo>
                  <a:cubicBezTo>
                    <a:pt x="501" y="72"/>
                    <a:pt x="429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2" name="Google Shape;13092;p63"/>
            <p:cNvSpPr/>
            <p:nvPr/>
          </p:nvSpPr>
          <p:spPr>
            <a:xfrm>
              <a:off x="1363629" y="3537490"/>
              <a:ext cx="16032" cy="10304"/>
            </a:xfrm>
            <a:custGeom>
              <a:avLst/>
              <a:gdLst/>
              <a:ahLst/>
              <a:cxnLst/>
              <a:rect l="l" t="t" r="r" b="b"/>
              <a:pathLst>
                <a:path w="501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334" y="322"/>
                  </a:lnTo>
                  <a:cubicBezTo>
                    <a:pt x="430" y="322"/>
                    <a:pt x="501" y="250"/>
                    <a:pt x="501" y="167"/>
                  </a:cubicBezTo>
                  <a:cubicBezTo>
                    <a:pt x="501" y="72"/>
                    <a:pt x="430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093" name="Google Shape;13093;p63"/>
          <p:cNvSpPr/>
          <p:nvPr/>
        </p:nvSpPr>
        <p:spPr>
          <a:xfrm>
            <a:off x="1709197" y="3353842"/>
            <a:ext cx="262944" cy="354720"/>
          </a:xfrm>
          <a:custGeom>
            <a:avLst/>
            <a:gdLst/>
            <a:ahLst/>
            <a:cxnLst/>
            <a:rect l="l" t="t" r="r" b="b"/>
            <a:pathLst>
              <a:path w="8217" h="11085" extrusionOk="0">
                <a:moveTo>
                  <a:pt x="5359" y="1298"/>
                </a:moveTo>
                <a:cubicBezTo>
                  <a:pt x="5775" y="1298"/>
                  <a:pt x="6180" y="1370"/>
                  <a:pt x="6526" y="1465"/>
                </a:cubicBezTo>
                <a:cubicBezTo>
                  <a:pt x="6728" y="1524"/>
                  <a:pt x="6930" y="1584"/>
                  <a:pt x="7085" y="1643"/>
                </a:cubicBezTo>
                <a:cubicBezTo>
                  <a:pt x="7004" y="1642"/>
                  <a:pt x="6923" y="1641"/>
                  <a:pt x="6842" y="1641"/>
                </a:cubicBezTo>
                <a:cubicBezTo>
                  <a:pt x="6387" y="1641"/>
                  <a:pt x="5932" y="1671"/>
                  <a:pt x="5478" y="1762"/>
                </a:cubicBezTo>
                <a:cubicBezTo>
                  <a:pt x="4811" y="1881"/>
                  <a:pt x="4144" y="2108"/>
                  <a:pt x="3513" y="2405"/>
                </a:cubicBezTo>
                <a:cubicBezTo>
                  <a:pt x="3489" y="2417"/>
                  <a:pt x="3454" y="2429"/>
                  <a:pt x="3418" y="2441"/>
                </a:cubicBezTo>
                <a:cubicBezTo>
                  <a:pt x="3394" y="2262"/>
                  <a:pt x="3442" y="1941"/>
                  <a:pt x="3835" y="1703"/>
                </a:cubicBezTo>
                <a:cubicBezTo>
                  <a:pt x="4323" y="1405"/>
                  <a:pt x="4859" y="1298"/>
                  <a:pt x="5359" y="1298"/>
                </a:cubicBezTo>
                <a:close/>
                <a:moveTo>
                  <a:pt x="1537" y="298"/>
                </a:moveTo>
                <a:cubicBezTo>
                  <a:pt x="1465" y="679"/>
                  <a:pt x="1406" y="1179"/>
                  <a:pt x="1406" y="1715"/>
                </a:cubicBezTo>
                <a:cubicBezTo>
                  <a:pt x="1406" y="2251"/>
                  <a:pt x="1453" y="2763"/>
                  <a:pt x="1537" y="3132"/>
                </a:cubicBezTo>
                <a:cubicBezTo>
                  <a:pt x="1465" y="3144"/>
                  <a:pt x="1406" y="3203"/>
                  <a:pt x="1406" y="3298"/>
                </a:cubicBezTo>
                <a:cubicBezTo>
                  <a:pt x="1406" y="3382"/>
                  <a:pt x="1477" y="3453"/>
                  <a:pt x="1573" y="3453"/>
                </a:cubicBezTo>
                <a:cubicBezTo>
                  <a:pt x="1668" y="3453"/>
                  <a:pt x="1751" y="3548"/>
                  <a:pt x="1751" y="3632"/>
                </a:cubicBezTo>
                <a:cubicBezTo>
                  <a:pt x="1751" y="3739"/>
                  <a:pt x="1656" y="3822"/>
                  <a:pt x="1573" y="3822"/>
                </a:cubicBezTo>
                <a:lnTo>
                  <a:pt x="525" y="3822"/>
                </a:lnTo>
                <a:cubicBezTo>
                  <a:pt x="418" y="3822"/>
                  <a:pt x="346" y="3727"/>
                  <a:pt x="346" y="3632"/>
                </a:cubicBezTo>
                <a:cubicBezTo>
                  <a:pt x="346" y="3536"/>
                  <a:pt x="441" y="3453"/>
                  <a:pt x="525" y="3453"/>
                </a:cubicBezTo>
                <a:lnTo>
                  <a:pt x="870" y="3453"/>
                </a:lnTo>
                <a:cubicBezTo>
                  <a:pt x="953" y="3453"/>
                  <a:pt x="1037" y="3382"/>
                  <a:pt x="1037" y="3298"/>
                </a:cubicBezTo>
                <a:cubicBezTo>
                  <a:pt x="1037" y="3203"/>
                  <a:pt x="953" y="3132"/>
                  <a:pt x="870" y="3132"/>
                </a:cubicBezTo>
                <a:lnTo>
                  <a:pt x="560" y="3132"/>
                </a:lnTo>
                <a:cubicBezTo>
                  <a:pt x="632" y="2763"/>
                  <a:pt x="691" y="2251"/>
                  <a:pt x="691" y="1715"/>
                </a:cubicBezTo>
                <a:cubicBezTo>
                  <a:pt x="691" y="1179"/>
                  <a:pt x="644" y="679"/>
                  <a:pt x="560" y="298"/>
                </a:cubicBezTo>
                <a:close/>
                <a:moveTo>
                  <a:pt x="4723" y="3566"/>
                </a:moveTo>
                <a:cubicBezTo>
                  <a:pt x="5218" y="3566"/>
                  <a:pt x="5698" y="3690"/>
                  <a:pt x="6168" y="3953"/>
                </a:cubicBezTo>
                <a:cubicBezTo>
                  <a:pt x="6692" y="4251"/>
                  <a:pt x="7073" y="4715"/>
                  <a:pt x="7299" y="5346"/>
                </a:cubicBezTo>
                <a:cubicBezTo>
                  <a:pt x="7383" y="5608"/>
                  <a:pt x="7430" y="5846"/>
                  <a:pt x="7466" y="6001"/>
                </a:cubicBezTo>
                <a:cubicBezTo>
                  <a:pt x="6823" y="5763"/>
                  <a:pt x="5049" y="5013"/>
                  <a:pt x="3978" y="3656"/>
                </a:cubicBezTo>
                <a:cubicBezTo>
                  <a:pt x="4230" y="3596"/>
                  <a:pt x="4478" y="3566"/>
                  <a:pt x="4723" y="3566"/>
                </a:cubicBezTo>
                <a:close/>
                <a:moveTo>
                  <a:pt x="1537" y="4144"/>
                </a:moveTo>
                <a:cubicBezTo>
                  <a:pt x="1465" y="4513"/>
                  <a:pt x="1406" y="5025"/>
                  <a:pt x="1406" y="5561"/>
                </a:cubicBezTo>
                <a:cubicBezTo>
                  <a:pt x="1406" y="6096"/>
                  <a:pt x="1453" y="6596"/>
                  <a:pt x="1537" y="6977"/>
                </a:cubicBezTo>
                <a:lnTo>
                  <a:pt x="560" y="6977"/>
                </a:lnTo>
                <a:cubicBezTo>
                  <a:pt x="632" y="6596"/>
                  <a:pt x="691" y="6096"/>
                  <a:pt x="691" y="5561"/>
                </a:cubicBezTo>
                <a:cubicBezTo>
                  <a:pt x="691" y="5025"/>
                  <a:pt x="632" y="4513"/>
                  <a:pt x="560" y="4144"/>
                </a:cubicBezTo>
                <a:close/>
                <a:moveTo>
                  <a:pt x="1573" y="7299"/>
                </a:moveTo>
                <a:cubicBezTo>
                  <a:pt x="1656" y="7299"/>
                  <a:pt x="1751" y="7370"/>
                  <a:pt x="1751" y="7477"/>
                </a:cubicBezTo>
                <a:cubicBezTo>
                  <a:pt x="1751" y="7585"/>
                  <a:pt x="1656" y="7656"/>
                  <a:pt x="1573" y="7656"/>
                </a:cubicBezTo>
                <a:lnTo>
                  <a:pt x="525" y="7656"/>
                </a:lnTo>
                <a:cubicBezTo>
                  <a:pt x="418" y="7656"/>
                  <a:pt x="346" y="7573"/>
                  <a:pt x="346" y="7477"/>
                </a:cubicBezTo>
                <a:cubicBezTo>
                  <a:pt x="346" y="7394"/>
                  <a:pt x="441" y="7299"/>
                  <a:pt x="525" y="7299"/>
                </a:cubicBezTo>
                <a:close/>
                <a:moveTo>
                  <a:pt x="3966" y="5310"/>
                </a:moveTo>
                <a:cubicBezTo>
                  <a:pt x="5049" y="6751"/>
                  <a:pt x="6109" y="7489"/>
                  <a:pt x="6526" y="7751"/>
                </a:cubicBezTo>
                <a:lnTo>
                  <a:pt x="5466" y="8799"/>
                </a:lnTo>
                <a:cubicBezTo>
                  <a:pt x="4251" y="7799"/>
                  <a:pt x="3501" y="6156"/>
                  <a:pt x="3311" y="5680"/>
                </a:cubicBezTo>
                <a:lnTo>
                  <a:pt x="3966" y="5310"/>
                </a:lnTo>
                <a:close/>
                <a:moveTo>
                  <a:pt x="1525" y="7989"/>
                </a:moveTo>
                <a:cubicBezTo>
                  <a:pt x="1453" y="8358"/>
                  <a:pt x="1394" y="8859"/>
                  <a:pt x="1394" y="9394"/>
                </a:cubicBezTo>
                <a:cubicBezTo>
                  <a:pt x="1406" y="9930"/>
                  <a:pt x="1453" y="10442"/>
                  <a:pt x="1525" y="10811"/>
                </a:cubicBezTo>
                <a:lnTo>
                  <a:pt x="537" y="10811"/>
                </a:lnTo>
                <a:cubicBezTo>
                  <a:pt x="608" y="10442"/>
                  <a:pt x="668" y="9930"/>
                  <a:pt x="668" y="9394"/>
                </a:cubicBezTo>
                <a:cubicBezTo>
                  <a:pt x="668" y="8859"/>
                  <a:pt x="632" y="8358"/>
                  <a:pt x="537" y="7989"/>
                </a:cubicBezTo>
                <a:close/>
                <a:moveTo>
                  <a:pt x="346" y="0"/>
                </a:moveTo>
                <a:cubicBezTo>
                  <a:pt x="299" y="0"/>
                  <a:pt x="239" y="36"/>
                  <a:pt x="215" y="60"/>
                </a:cubicBezTo>
                <a:cubicBezTo>
                  <a:pt x="179" y="107"/>
                  <a:pt x="168" y="155"/>
                  <a:pt x="179" y="215"/>
                </a:cubicBezTo>
                <a:cubicBezTo>
                  <a:pt x="287" y="560"/>
                  <a:pt x="346" y="1119"/>
                  <a:pt x="346" y="1727"/>
                </a:cubicBezTo>
                <a:cubicBezTo>
                  <a:pt x="346" y="2346"/>
                  <a:pt x="287" y="2905"/>
                  <a:pt x="179" y="3251"/>
                </a:cubicBezTo>
                <a:cubicBezTo>
                  <a:pt x="84" y="3334"/>
                  <a:pt x="1" y="3489"/>
                  <a:pt x="1" y="3632"/>
                </a:cubicBezTo>
                <a:cubicBezTo>
                  <a:pt x="1" y="3786"/>
                  <a:pt x="84" y="3929"/>
                  <a:pt x="179" y="4025"/>
                </a:cubicBezTo>
                <a:cubicBezTo>
                  <a:pt x="287" y="4370"/>
                  <a:pt x="346" y="4929"/>
                  <a:pt x="346" y="5549"/>
                </a:cubicBezTo>
                <a:cubicBezTo>
                  <a:pt x="346" y="6156"/>
                  <a:pt x="287" y="6715"/>
                  <a:pt x="179" y="7061"/>
                </a:cubicBezTo>
                <a:cubicBezTo>
                  <a:pt x="84" y="7156"/>
                  <a:pt x="1" y="7299"/>
                  <a:pt x="1" y="7454"/>
                </a:cubicBezTo>
                <a:cubicBezTo>
                  <a:pt x="1" y="7596"/>
                  <a:pt x="84" y="7751"/>
                  <a:pt x="179" y="7835"/>
                </a:cubicBezTo>
                <a:cubicBezTo>
                  <a:pt x="287" y="8180"/>
                  <a:pt x="346" y="8739"/>
                  <a:pt x="346" y="9359"/>
                </a:cubicBezTo>
                <a:cubicBezTo>
                  <a:pt x="346" y="9966"/>
                  <a:pt x="287" y="10525"/>
                  <a:pt x="179" y="10871"/>
                </a:cubicBezTo>
                <a:cubicBezTo>
                  <a:pt x="168" y="10918"/>
                  <a:pt x="179" y="10978"/>
                  <a:pt x="215" y="11025"/>
                </a:cubicBezTo>
                <a:cubicBezTo>
                  <a:pt x="239" y="11061"/>
                  <a:pt x="287" y="11085"/>
                  <a:pt x="346" y="11085"/>
                </a:cubicBezTo>
                <a:lnTo>
                  <a:pt x="1751" y="11085"/>
                </a:lnTo>
                <a:cubicBezTo>
                  <a:pt x="1787" y="11085"/>
                  <a:pt x="1846" y="11049"/>
                  <a:pt x="1882" y="11025"/>
                </a:cubicBezTo>
                <a:cubicBezTo>
                  <a:pt x="1906" y="10978"/>
                  <a:pt x="1930" y="10930"/>
                  <a:pt x="1906" y="10871"/>
                </a:cubicBezTo>
                <a:cubicBezTo>
                  <a:pt x="1799" y="10525"/>
                  <a:pt x="1739" y="9966"/>
                  <a:pt x="1739" y="9359"/>
                </a:cubicBezTo>
                <a:cubicBezTo>
                  <a:pt x="1739" y="8739"/>
                  <a:pt x="1799" y="8180"/>
                  <a:pt x="1906" y="7835"/>
                </a:cubicBezTo>
                <a:cubicBezTo>
                  <a:pt x="2013" y="7751"/>
                  <a:pt x="2084" y="7596"/>
                  <a:pt x="2084" y="7454"/>
                </a:cubicBezTo>
                <a:cubicBezTo>
                  <a:pt x="2084" y="7299"/>
                  <a:pt x="2013" y="7156"/>
                  <a:pt x="1906" y="7061"/>
                </a:cubicBezTo>
                <a:cubicBezTo>
                  <a:pt x="1799" y="6715"/>
                  <a:pt x="1739" y="6156"/>
                  <a:pt x="1739" y="5549"/>
                </a:cubicBezTo>
                <a:cubicBezTo>
                  <a:pt x="1739" y="5346"/>
                  <a:pt x="1739" y="5156"/>
                  <a:pt x="1763" y="4977"/>
                </a:cubicBezTo>
                <a:cubicBezTo>
                  <a:pt x="1882" y="4846"/>
                  <a:pt x="2299" y="4453"/>
                  <a:pt x="2870" y="4120"/>
                </a:cubicBezTo>
                <a:lnTo>
                  <a:pt x="3347" y="5287"/>
                </a:lnTo>
                <a:lnTo>
                  <a:pt x="3037" y="5465"/>
                </a:lnTo>
                <a:cubicBezTo>
                  <a:pt x="2966" y="5513"/>
                  <a:pt x="2930" y="5584"/>
                  <a:pt x="2966" y="5668"/>
                </a:cubicBezTo>
                <a:cubicBezTo>
                  <a:pt x="2989" y="5751"/>
                  <a:pt x="3823" y="7942"/>
                  <a:pt x="5394" y="9144"/>
                </a:cubicBezTo>
                <a:cubicBezTo>
                  <a:pt x="5418" y="9180"/>
                  <a:pt x="5454" y="9180"/>
                  <a:pt x="5490" y="9180"/>
                </a:cubicBezTo>
                <a:cubicBezTo>
                  <a:pt x="5537" y="9180"/>
                  <a:pt x="5585" y="9156"/>
                  <a:pt x="5609" y="9132"/>
                </a:cubicBezTo>
                <a:lnTo>
                  <a:pt x="6918" y="7823"/>
                </a:lnTo>
                <a:cubicBezTo>
                  <a:pt x="6954" y="7787"/>
                  <a:pt x="6978" y="7727"/>
                  <a:pt x="6966" y="7692"/>
                </a:cubicBezTo>
                <a:cubicBezTo>
                  <a:pt x="6954" y="7644"/>
                  <a:pt x="6918" y="7596"/>
                  <a:pt x="6883" y="7573"/>
                </a:cubicBezTo>
                <a:cubicBezTo>
                  <a:pt x="6883" y="7573"/>
                  <a:pt x="6537" y="7394"/>
                  <a:pt x="6049" y="6989"/>
                </a:cubicBezTo>
                <a:cubicBezTo>
                  <a:pt x="5585" y="6620"/>
                  <a:pt x="4871" y="5965"/>
                  <a:pt x="4156" y="4989"/>
                </a:cubicBezTo>
                <a:cubicBezTo>
                  <a:pt x="4128" y="4946"/>
                  <a:pt x="4078" y="4925"/>
                  <a:pt x="4029" y="4925"/>
                </a:cubicBezTo>
                <a:cubicBezTo>
                  <a:pt x="3997" y="4925"/>
                  <a:pt x="3966" y="4934"/>
                  <a:pt x="3942" y="4953"/>
                </a:cubicBezTo>
                <a:lnTo>
                  <a:pt x="3644" y="5132"/>
                </a:lnTo>
                <a:lnTo>
                  <a:pt x="3168" y="3965"/>
                </a:lnTo>
                <a:cubicBezTo>
                  <a:pt x="3335" y="3894"/>
                  <a:pt x="3501" y="3822"/>
                  <a:pt x="3668" y="3763"/>
                </a:cubicBezTo>
                <a:cubicBezTo>
                  <a:pt x="4359" y="4691"/>
                  <a:pt x="5394" y="5370"/>
                  <a:pt x="6133" y="5751"/>
                </a:cubicBezTo>
                <a:cubicBezTo>
                  <a:pt x="6954" y="6180"/>
                  <a:pt x="7597" y="6394"/>
                  <a:pt x="7621" y="6406"/>
                </a:cubicBezTo>
                <a:cubicBezTo>
                  <a:pt x="7645" y="6406"/>
                  <a:pt x="7657" y="6418"/>
                  <a:pt x="7669" y="6418"/>
                </a:cubicBezTo>
                <a:cubicBezTo>
                  <a:pt x="7704" y="6418"/>
                  <a:pt x="7740" y="6406"/>
                  <a:pt x="7776" y="6394"/>
                </a:cubicBezTo>
                <a:cubicBezTo>
                  <a:pt x="7823" y="6358"/>
                  <a:pt x="7835" y="6299"/>
                  <a:pt x="7835" y="6263"/>
                </a:cubicBezTo>
                <a:cubicBezTo>
                  <a:pt x="7835" y="6239"/>
                  <a:pt x="7811" y="5811"/>
                  <a:pt x="7633" y="5275"/>
                </a:cubicBezTo>
                <a:cubicBezTo>
                  <a:pt x="7383" y="4560"/>
                  <a:pt x="6942" y="4013"/>
                  <a:pt x="6359" y="3679"/>
                </a:cubicBezTo>
                <a:cubicBezTo>
                  <a:pt x="5848" y="3401"/>
                  <a:pt x="5309" y="3261"/>
                  <a:pt x="4754" y="3261"/>
                </a:cubicBezTo>
                <a:cubicBezTo>
                  <a:pt x="4171" y="3261"/>
                  <a:pt x="3570" y="3416"/>
                  <a:pt x="2966" y="3727"/>
                </a:cubicBezTo>
                <a:cubicBezTo>
                  <a:pt x="2477" y="3977"/>
                  <a:pt x="2084" y="4275"/>
                  <a:pt x="1834" y="4501"/>
                </a:cubicBezTo>
                <a:cubicBezTo>
                  <a:pt x="1858" y="4322"/>
                  <a:pt x="1894" y="4179"/>
                  <a:pt x="1918" y="4060"/>
                </a:cubicBezTo>
                <a:cubicBezTo>
                  <a:pt x="2013" y="3977"/>
                  <a:pt x="2073" y="3858"/>
                  <a:pt x="2096" y="3739"/>
                </a:cubicBezTo>
                <a:cubicBezTo>
                  <a:pt x="2263" y="3608"/>
                  <a:pt x="2811" y="3132"/>
                  <a:pt x="3692" y="2715"/>
                </a:cubicBezTo>
                <a:cubicBezTo>
                  <a:pt x="4299" y="2429"/>
                  <a:pt x="4930" y="2227"/>
                  <a:pt x="5585" y="2108"/>
                </a:cubicBezTo>
                <a:cubicBezTo>
                  <a:pt x="6017" y="2024"/>
                  <a:pt x="6460" y="1982"/>
                  <a:pt x="6905" y="1982"/>
                </a:cubicBezTo>
                <a:cubicBezTo>
                  <a:pt x="7282" y="1982"/>
                  <a:pt x="7661" y="2012"/>
                  <a:pt x="8038" y="2072"/>
                </a:cubicBezTo>
                <a:cubicBezTo>
                  <a:pt x="8050" y="2076"/>
                  <a:pt x="8063" y="2078"/>
                  <a:pt x="8076" y="2078"/>
                </a:cubicBezTo>
                <a:cubicBezTo>
                  <a:pt x="8137" y="2078"/>
                  <a:pt x="8197" y="2036"/>
                  <a:pt x="8216" y="1977"/>
                </a:cubicBezTo>
                <a:cubicBezTo>
                  <a:pt x="8204" y="1870"/>
                  <a:pt x="8180" y="1798"/>
                  <a:pt x="8121" y="1751"/>
                </a:cubicBezTo>
                <a:cubicBezTo>
                  <a:pt x="8085" y="1727"/>
                  <a:pt x="7478" y="1381"/>
                  <a:pt x="6609" y="1155"/>
                </a:cubicBezTo>
                <a:cubicBezTo>
                  <a:pt x="6168" y="1040"/>
                  <a:pt x="5744" y="982"/>
                  <a:pt x="5346" y="982"/>
                </a:cubicBezTo>
                <a:cubicBezTo>
                  <a:pt x="4713" y="982"/>
                  <a:pt x="4143" y="1129"/>
                  <a:pt x="3668" y="1429"/>
                </a:cubicBezTo>
                <a:cubicBezTo>
                  <a:pt x="3097" y="1786"/>
                  <a:pt x="3049" y="2310"/>
                  <a:pt x="3120" y="2608"/>
                </a:cubicBezTo>
                <a:cubicBezTo>
                  <a:pt x="2596" y="2894"/>
                  <a:pt x="2204" y="3179"/>
                  <a:pt x="2001" y="3358"/>
                </a:cubicBezTo>
                <a:cubicBezTo>
                  <a:pt x="1965" y="3310"/>
                  <a:pt x="1942" y="3286"/>
                  <a:pt x="1906" y="3251"/>
                </a:cubicBezTo>
                <a:cubicBezTo>
                  <a:pt x="1799" y="2905"/>
                  <a:pt x="1739" y="2346"/>
                  <a:pt x="1739" y="1727"/>
                </a:cubicBezTo>
                <a:cubicBezTo>
                  <a:pt x="1739" y="1119"/>
                  <a:pt x="1799" y="560"/>
                  <a:pt x="1906" y="215"/>
                </a:cubicBezTo>
                <a:cubicBezTo>
                  <a:pt x="1930" y="167"/>
                  <a:pt x="1906" y="107"/>
                  <a:pt x="1882" y="60"/>
                </a:cubicBezTo>
                <a:cubicBezTo>
                  <a:pt x="1846" y="24"/>
                  <a:pt x="1799" y="0"/>
                  <a:pt x="175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094" name="Google Shape;13094;p63"/>
          <p:cNvGrpSpPr/>
          <p:nvPr/>
        </p:nvGrpSpPr>
        <p:grpSpPr>
          <a:xfrm>
            <a:off x="2795053" y="3352594"/>
            <a:ext cx="288448" cy="357120"/>
            <a:chOff x="2795053" y="3352594"/>
            <a:chExt cx="288448" cy="357120"/>
          </a:xfrm>
        </p:grpSpPr>
        <p:sp>
          <p:nvSpPr>
            <p:cNvPr id="13095" name="Google Shape;13095;p63"/>
            <p:cNvSpPr/>
            <p:nvPr/>
          </p:nvSpPr>
          <p:spPr>
            <a:xfrm>
              <a:off x="2839629" y="3550386"/>
              <a:ext cx="19840" cy="16448"/>
            </a:xfrm>
            <a:custGeom>
              <a:avLst/>
              <a:gdLst/>
              <a:ahLst/>
              <a:cxnLst/>
              <a:rect l="l" t="t" r="r" b="b"/>
              <a:pathLst>
                <a:path w="620" h="514" extrusionOk="0">
                  <a:moveTo>
                    <a:pt x="443" y="1"/>
                  </a:moveTo>
                  <a:cubicBezTo>
                    <a:pt x="413" y="1"/>
                    <a:pt x="383" y="9"/>
                    <a:pt x="358" y="26"/>
                  </a:cubicBezTo>
                  <a:lnTo>
                    <a:pt x="84" y="216"/>
                  </a:lnTo>
                  <a:cubicBezTo>
                    <a:pt x="13" y="264"/>
                    <a:pt x="1" y="371"/>
                    <a:pt x="36" y="442"/>
                  </a:cubicBezTo>
                  <a:cubicBezTo>
                    <a:pt x="72" y="490"/>
                    <a:pt x="132" y="514"/>
                    <a:pt x="179" y="514"/>
                  </a:cubicBezTo>
                  <a:cubicBezTo>
                    <a:pt x="203" y="514"/>
                    <a:pt x="239" y="502"/>
                    <a:pt x="263" y="490"/>
                  </a:cubicBezTo>
                  <a:lnTo>
                    <a:pt x="537" y="300"/>
                  </a:lnTo>
                  <a:cubicBezTo>
                    <a:pt x="608" y="240"/>
                    <a:pt x="620" y="145"/>
                    <a:pt x="572" y="73"/>
                  </a:cubicBezTo>
                  <a:cubicBezTo>
                    <a:pt x="549" y="27"/>
                    <a:pt x="496" y="1"/>
                    <a:pt x="4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6" name="Google Shape;13096;p63"/>
            <p:cNvSpPr/>
            <p:nvPr/>
          </p:nvSpPr>
          <p:spPr>
            <a:xfrm>
              <a:off x="2865165" y="3511410"/>
              <a:ext cx="50688" cy="37536"/>
            </a:xfrm>
            <a:custGeom>
              <a:avLst/>
              <a:gdLst/>
              <a:ahLst/>
              <a:cxnLst/>
              <a:rect l="l" t="t" r="r" b="b"/>
              <a:pathLst>
                <a:path w="1584" h="1173" extrusionOk="0">
                  <a:moveTo>
                    <a:pt x="1395" y="1"/>
                  </a:moveTo>
                  <a:cubicBezTo>
                    <a:pt x="1361" y="1"/>
                    <a:pt x="1327" y="10"/>
                    <a:pt x="1298" y="29"/>
                  </a:cubicBezTo>
                  <a:lnTo>
                    <a:pt x="96" y="875"/>
                  </a:lnTo>
                  <a:cubicBezTo>
                    <a:pt x="12" y="922"/>
                    <a:pt x="0" y="1018"/>
                    <a:pt x="48" y="1101"/>
                  </a:cubicBezTo>
                  <a:cubicBezTo>
                    <a:pt x="72" y="1137"/>
                    <a:pt x="131" y="1172"/>
                    <a:pt x="179" y="1172"/>
                  </a:cubicBezTo>
                  <a:cubicBezTo>
                    <a:pt x="215" y="1172"/>
                    <a:pt x="239" y="1160"/>
                    <a:pt x="274" y="1137"/>
                  </a:cubicBezTo>
                  <a:lnTo>
                    <a:pt x="1477" y="291"/>
                  </a:lnTo>
                  <a:cubicBezTo>
                    <a:pt x="1548" y="232"/>
                    <a:pt x="1584" y="125"/>
                    <a:pt x="1524" y="65"/>
                  </a:cubicBezTo>
                  <a:cubicBezTo>
                    <a:pt x="1496" y="22"/>
                    <a:pt x="1446" y="1"/>
                    <a:pt x="13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7" name="Google Shape;13097;p63"/>
            <p:cNvSpPr/>
            <p:nvPr/>
          </p:nvSpPr>
          <p:spPr>
            <a:xfrm>
              <a:off x="2795053" y="3352594"/>
              <a:ext cx="288448" cy="357120"/>
            </a:xfrm>
            <a:custGeom>
              <a:avLst/>
              <a:gdLst/>
              <a:ahLst/>
              <a:cxnLst/>
              <a:rect l="l" t="t" r="r" b="b"/>
              <a:pathLst>
                <a:path w="9014" h="11160" extrusionOk="0">
                  <a:moveTo>
                    <a:pt x="3311" y="361"/>
                  </a:moveTo>
                  <a:cubicBezTo>
                    <a:pt x="3465" y="361"/>
                    <a:pt x="3620" y="385"/>
                    <a:pt x="3763" y="468"/>
                  </a:cubicBezTo>
                  <a:cubicBezTo>
                    <a:pt x="4454" y="825"/>
                    <a:pt x="4585" y="1861"/>
                    <a:pt x="4573" y="2682"/>
                  </a:cubicBezTo>
                  <a:cubicBezTo>
                    <a:pt x="4561" y="3278"/>
                    <a:pt x="4477" y="3837"/>
                    <a:pt x="4418" y="4171"/>
                  </a:cubicBezTo>
                  <a:cubicBezTo>
                    <a:pt x="4398" y="4220"/>
                    <a:pt x="4355" y="4260"/>
                    <a:pt x="4300" y="4260"/>
                  </a:cubicBezTo>
                  <a:cubicBezTo>
                    <a:pt x="4288" y="4260"/>
                    <a:pt x="4276" y="4258"/>
                    <a:pt x="4263" y="4254"/>
                  </a:cubicBezTo>
                  <a:cubicBezTo>
                    <a:pt x="3930" y="4195"/>
                    <a:pt x="3382" y="4099"/>
                    <a:pt x="2811" y="3885"/>
                  </a:cubicBezTo>
                  <a:cubicBezTo>
                    <a:pt x="2037" y="3623"/>
                    <a:pt x="1120" y="3147"/>
                    <a:pt x="1013" y="2385"/>
                  </a:cubicBezTo>
                  <a:cubicBezTo>
                    <a:pt x="989" y="2111"/>
                    <a:pt x="1060" y="1849"/>
                    <a:pt x="1227" y="1623"/>
                  </a:cubicBezTo>
                  <a:cubicBezTo>
                    <a:pt x="1465" y="1325"/>
                    <a:pt x="1739" y="1218"/>
                    <a:pt x="1953" y="1206"/>
                  </a:cubicBezTo>
                  <a:cubicBezTo>
                    <a:pt x="2120" y="1194"/>
                    <a:pt x="2263" y="1087"/>
                    <a:pt x="2334" y="944"/>
                  </a:cubicBezTo>
                  <a:cubicBezTo>
                    <a:pt x="2430" y="766"/>
                    <a:pt x="2620" y="527"/>
                    <a:pt x="2977" y="408"/>
                  </a:cubicBezTo>
                  <a:cubicBezTo>
                    <a:pt x="3084" y="373"/>
                    <a:pt x="3192" y="361"/>
                    <a:pt x="3311" y="361"/>
                  </a:cubicBezTo>
                  <a:close/>
                  <a:moveTo>
                    <a:pt x="6699" y="947"/>
                  </a:moveTo>
                  <a:cubicBezTo>
                    <a:pt x="6925" y="947"/>
                    <a:pt x="7145" y="1020"/>
                    <a:pt x="7323" y="1158"/>
                  </a:cubicBezTo>
                  <a:cubicBezTo>
                    <a:pt x="7621" y="1397"/>
                    <a:pt x="7728" y="1682"/>
                    <a:pt x="7740" y="1885"/>
                  </a:cubicBezTo>
                  <a:cubicBezTo>
                    <a:pt x="7752" y="2051"/>
                    <a:pt x="7859" y="2206"/>
                    <a:pt x="8014" y="2278"/>
                  </a:cubicBezTo>
                  <a:cubicBezTo>
                    <a:pt x="8192" y="2361"/>
                    <a:pt x="8430" y="2563"/>
                    <a:pt x="8549" y="2921"/>
                  </a:cubicBezTo>
                  <a:cubicBezTo>
                    <a:pt x="8668" y="3183"/>
                    <a:pt x="8645" y="3468"/>
                    <a:pt x="8514" y="3706"/>
                  </a:cubicBezTo>
                  <a:cubicBezTo>
                    <a:pt x="8171" y="4370"/>
                    <a:pt x="7201" y="4517"/>
                    <a:pt x="6397" y="4517"/>
                  </a:cubicBezTo>
                  <a:cubicBezTo>
                    <a:pt x="6364" y="4517"/>
                    <a:pt x="6331" y="4517"/>
                    <a:pt x="6299" y="4516"/>
                  </a:cubicBezTo>
                  <a:cubicBezTo>
                    <a:pt x="5704" y="4492"/>
                    <a:pt x="5144" y="4421"/>
                    <a:pt x="4811" y="4361"/>
                  </a:cubicBezTo>
                  <a:cubicBezTo>
                    <a:pt x="4739" y="4349"/>
                    <a:pt x="4692" y="4290"/>
                    <a:pt x="4704" y="4218"/>
                  </a:cubicBezTo>
                  <a:cubicBezTo>
                    <a:pt x="4763" y="3885"/>
                    <a:pt x="4870" y="3337"/>
                    <a:pt x="5061" y="2766"/>
                  </a:cubicBezTo>
                  <a:cubicBezTo>
                    <a:pt x="5335" y="1992"/>
                    <a:pt x="5811" y="1051"/>
                    <a:pt x="6561" y="956"/>
                  </a:cubicBezTo>
                  <a:cubicBezTo>
                    <a:pt x="6607" y="950"/>
                    <a:pt x="6653" y="947"/>
                    <a:pt x="6699" y="947"/>
                  </a:cubicBezTo>
                  <a:close/>
                  <a:moveTo>
                    <a:pt x="2739" y="4433"/>
                  </a:moveTo>
                  <a:cubicBezTo>
                    <a:pt x="3334" y="4457"/>
                    <a:pt x="3906" y="4528"/>
                    <a:pt x="4227" y="4587"/>
                  </a:cubicBezTo>
                  <a:cubicBezTo>
                    <a:pt x="4231" y="4587"/>
                    <a:pt x="4234" y="4586"/>
                    <a:pt x="4238" y="4586"/>
                  </a:cubicBezTo>
                  <a:cubicBezTo>
                    <a:pt x="4282" y="4586"/>
                    <a:pt x="4323" y="4652"/>
                    <a:pt x="4323" y="4718"/>
                  </a:cubicBezTo>
                  <a:cubicBezTo>
                    <a:pt x="4263" y="5052"/>
                    <a:pt x="4156" y="5600"/>
                    <a:pt x="3965" y="6159"/>
                  </a:cubicBezTo>
                  <a:cubicBezTo>
                    <a:pt x="3692" y="6933"/>
                    <a:pt x="3215" y="7874"/>
                    <a:pt x="2465" y="7981"/>
                  </a:cubicBezTo>
                  <a:cubicBezTo>
                    <a:pt x="2431" y="7984"/>
                    <a:pt x="2397" y="7985"/>
                    <a:pt x="2363" y="7985"/>
                  </a:cubicBezTo>
                  <a:cubicBezTo>
                    <a:pt x="2127" y="7985"/>
                    <a:pt x="1901" y="7912"/>
                    <a:pt x="1703" y="7766"/>
                  </a:cubicBezTo>
                  <a:cubicBezTo>
                    <a:pt x="1406" y="7528"/>
                    <a:pt x="1298" y="7254"/>
                    <a:pt x="1287" y="7040"/>
                  </a:cubicBezTo>
                  <a:cubicBezTo>
                    <a:pt x="1275" y="6873"/>
                    <a:pt x="1168" y="6731"/>
                    <a:pt x="1013" y="6659"/>
                  </a:cubicBezTo>
                  <a:cubicBezTo>
                    <a:pt x="834" y="6564"/>
                    <a:pt x="596" y="6373"/>
                    <a:pt x="477" y="6016"/>
                  </a:cubicBezTo>
                  <a:cubicBezTo>
                    <a:pt x="394" y="5742"/>
                    <a:pt x="417" y="5469"/>
                    <a:pt x="536" y="5242"/>
                  </a:cubicBezTo>
                  <a:cubicBezTo>
                    <a:pt x="882" y="4587"/>
                    <a:pt x="1870" y="4433"/>
                    <a:pt x="2656" y="4433"/>
                  </a:cubicBezTo>
                  <a:close/>
                  <a:moveTo>
                    <a:pt x="4757" y="4645"/>
                  </a:moveTo>
                  <a:cubicBezTo>
                    <a:pt x="4767" y="4645"/>
                    <a:pt x="4777" y="4646"/>
                    <a:pt x="4787" y="4647"/>
                  </a:cubicBezTo>
                  <a:cubicBezTo>
                    <a:pt x="5108" y="4707"/>
                    <a:pt x="5656" y="4814"/>
                    <a:pt x="6228" y="5016"/>
                  </a:cubicBezTo>
                  <a:cubicBezTo>
                    <a:pt x="6990" y="5302"/>
                    <a:pt x="7918" y="5778"/>
                    <a:pt x="8026" y="6540"/>
                  </a:cubicBezTo>
                  <a:cubicBezTo>
                    <a:pt x="8061" y="6802"/>
                    <a:pt x="7978" y="7076"/>
                    <a:pt x="7823" y="7290"/>
                  </a:cubicBezTo>
                  <a:cubicBezTo>
                    <a:pt x="7585" y="7588"/>
                    <a:pt x="7299" y="7695"/>
                    <a:pt x="7085" y="7707"/>
                  </a:cubicBezTo>
                  <a:cubicBezTo>
                    <a:pt x="6930" y="7731"/>
                    <a:pt x="6775" y="7826"/>
                    <a:pt x="6704" y="7981"/>
                  </a:cubicBezTo>
                  <a:cubicBezTo>
                    <a:pt x="6609" y="8159"/>
                    <a:pt x="6418" y="8397"/>
                    <a:pt x="6061" y="8517"/>
                  </a:cubicBezTo>
                  <a:cubicBezTo>
                    <a:pt x="5957" y="8550"/>
                    <a:pt x="5849" y="8566"/>
                    <a:pt x="5742" y="8566"/>
                  </a:cubicBezTo>
                  <a:cubicBezTo>
                    <a:pt x="5581" y="8566"/>
                    <a:pt x="5423" y="8529"/>
                    <a:pt x="5287" y="8457"/>
                  </a:cubicBezTo>
                  <a:cubicBezTo>
                    <a:pt x="4608" y="8100"/>
                    <a:pt x="4466" y="7052"/>
                    <a:pt x="4489" y="6242"/>
                  </a:cubicBezTo>
                  <a:cubicBezTo>
                    <a:pt x="4501" y="5647"/>
                    <a:pt x="4573" y="5076"/>
                    <a:pt x="4632" y="4754"/>
                  </a:cubicBezTo>
                  <a:cubicBezTo>
                    <a:pt x="4643" y="4681"/>
                    <a:pt x="4690" y="4645"/>
                    <a:pt x="4757" y="4645"/>
                  </a:cubicBezTo>
                  <a:close/>
                  <a:moveTo>
                    <a:pt x="3309" y="1"/>
                  </a:moveTo>
                  <a:cubicBezTo>
                    <a:pt x="3162" y="1"/>
                    <a:pt x="3014" y="25"/>
                    <a:pt x="2870" y="75"/>
                  </a:cubicBezTo>
                  <a:cubicBezTo>
                    <a:pt x="2501" y="194"/>
                    <a:pt x="2203" y="444"/>
                    <a:pt x="2037" y="777"/>
                  </a:cubicBezTo>
                  <a:cubicBezTo>
                    <a:pt x="2013" y="837"/>
                    <a:pt x="1965" y="861"/>
                    <a:pt x="1906" y="885"/>
                  </a:cubicBezTo>
                  <a:cubicBezTo>
                    <a:pt x="1537" y="920"/>
                    <a:pt x="1191" y="1123"/>
                    <a:pt x="953" y="1432"/>
                  </a:cubicBezTo>
                  <a:cubicBezTo>
                    <a:pt x="727" y="1718"/>
                    <a:pt x="632" y="2087"/>
                    <a:pt x="667" y="2432"/>
                  </a:cubicBezTo>
                  <a:cubicBezTo>
                    <a:pt x="775" y="3230"/>
                    <a:pt x="1560" y="3754"/>
                    <a:pt x="2382" y="4099"/>
                  </a:cubicBezTo>
                  <a:cubicBezTo>
                    <a:pt x="1489" y="4123"/>
                    <a:pt x="572" y="4349"/>
                    <a:pt x="191" y="5064"/>
                  </a:cubicBezTo>
                  <a:cubicBezTo>
                    <a:pt x="36" y="5373"/>
                    <a:pt x="1" y="5742"/>
                    <a:pt x="120" y="6088"/>
                  </a:cubicBezTo>
                  <a:cubicBezTo>
                    <a:pt x="239" y="6457"/>
                    <a:pt x="489" y="6754"/>
                    <a:pt x="822" y="6921"/>
                  </a:cubicBezTo>
                  <a:cubicBezTo>
                    <a:pt x="882" y="6957"/>
                    <a:pt x="906" y="6993"/>
                    <a:pt x="929" y="7052"/>
                  </a:cubicBezTo>
                  <a:cubicBezTo>
                    <a:pt x="965" y="7433"/>
                    <a:pt x="1168" y="7766"/>
                    <a:pt x="1477" y="8005"/>
                  </a:cubicBezTo>
                  <a:cubicBezTo>
                    <a:pt x="1715" y="8207"/>
                    <a:pt x="2013" y="8290"/>
                    <a:pt x="2311" y="8290"/>
                  </a:cubicBezTo>
                  <a:cubicBezTo>
                    <a:pt x="2370" y="8290"/>
                    <a:pt x="2430" y="8290"/>
                    <a:pt x="2477" y="8278"/>
                  </a:cubicBezTo>
                  <a:cubicBezTo>
                    <a:pt x="3132" y="8183"/>
                    <a:pt x="3584" y="7671"/>
                    <a:pt x="3918" y="7028"/>
                  </a:cubicBezTo>
                  <a:lnTo>
                    <a:pt x="3918" y="7028"/>
                  </a:lnTo>
                  <a:cubicBezTo>
                    <a:pt x="3775" y="9040"/>
                    <a:pt x="4204" y="10326"/>
                    <a:pt x="4620" y="11076"/>
                  </a:cubicBezTo>
                  <a:cubicBezTo>
                    <a:pt x="4644" y="11136"/>
                    <a:pt x="4704" y="11160"/>
                    <a:pt x="4763" y="11160"/>
                  </a:cubicBezTo>
                  <a:cubicBezTo>
                    <a:pt x="4799" y="11160"/>
                    <a:pt x="4823" y="11160"/>
                    <a:pt x="4847" y="11148"/>
                  </a:cubicBezTo>
                  <a:cubicBezTo>
                    <a:pt x="4918" y="11100"/>
                    <a:pt x="4942" y="11005"/>
                    <a:pt x="4906" y="10922"/>
                  </a:cubicBezTo>
                  <a:cubicBezTo>
                    <a:pt x="4525" y="10255"/>
                    <a:pt x="4156" y="9124"/>
                    <a:pt x="4216" y="7385"/>
                  </a:cubicBezTo>
                  <a:lnTo>
                    <a:pt x="4216" y="7385"/>
                  </a:lnTo>
                  <a:cubicBezTo>
                    <a:pt x="4335" y="7969"/>
                    <a:pt x="4608" y="8481"/>
                    <a:pt x="5097" y="8743"/>
                  </a:cubicBezTo>
                  <a:cubicBezTo>
                    <a:pt x="5287" y="8838"/>
                    <a:pt x="5501" y="8886"/>
                    <a:pt x="5704" y="8886"/>
                  </a:cubicBezTo>
                  <a:cubicBezTo>
                    <a:pt x="5859" y="8886"/>
                    <a:pt x="5990" y="8874"/>
                    <a:pt x="6121" y="8826"/>
                  </a:cubicBezTo>
                  <a:cubicBezTo>
                    <a:pt x="6490" y="8707"/>
                    <a:pt x="6787" y="8457"/>
                    <a:pt x="6954" y="8124"/>
                  </a:cubicBezTo>
                  <a:cubicBezTo>
                    <a:pt x="6990" y="8064"/>
                    <a:pt x="7025" y="8040"/>
                    <a:pt x="7085" y="8028"/>
                  </a:cubicBezTo>
                  <a:cubicBezTo>
                    <a:pt x="7454" y="7981"/>
                    <a:pt x="7799" y="7790"/>
                    <a:pt x="8037" y="7469"/>
                  </a:cubicBezTo>
                  <a:cubicBezTo>
                    <a:pt x="8264" y="7195"/>
                    <a:pt x="8371" y="6814"/>
                    <a:pt x="8323" y="6481"/>
                  </a:cubicBezTo>
                  <a:cubicBezTo>
                    <a:pt x="8216" y="5671"/>
                    <a:pt x="7430" y="5147"/>
                    <a:pt x="6609" y="4814"/>
                  </a:cubicBezTo>
                  <a:cubicBezTo>
                    <a:pt x="7502" y="4778"/>
                    <a:pt x="8430" y="4552"/>
                    <a:pt x="8799" y="3837"/>
                  </a:cubicBezTo>
                  <a:cubicBezTo>
                    <a:pt x="8978" y="3540"/>
                    <a:pt x="9014" y="3171"/>
                    <a:pt x="8895" y="2825"/>
                  </a:cubicBezTo>
                  <a:cubicBezTo>
                    <a:pt x="8776" y="2456"/>
                    <a:pt x="8514" y="2159"/>
                    <a:pt x="8192" y="1992"/>
                  </a:cubicBezTo>
                  <a:cubicBezTo>
                    <a:pt x="8133" y="1968"/>
                    <a:pt x="8097" y="1920"/>
                    <a:pt x="8085" y="1861"/>
                  </a:cubicBezTo>
                  <a:cubicBezTo>
                    <a:pt x="8037" y="1492"/>
                    <a:pt x="7847" y="1147"/>
                    <a:pt x="7537" y="908"/>
                  </a:cubicBezTo>
                  <a:cubicBezTo>
                    <a:pt x="7296" y="718"/>
                    <a:pt x="6996" y="612"/>
                    <a:pt x="6701" y="612"/>
                  </a:cubicBezTo>
                  <a:cubicBezTo>
                    <a:pt x="6646" y="612"/>
                    <a:pt x="6591" y="615"/>
                    <a:pt x="6537" y="623"/>
                  </a:cubicBezTo>
                  <a:cubicBezTo>
                    <a:pt x="5728" y="730"/>
                    <a:pt x="5216" y="1516"/>
                    <a:pt x="4870" y="2337"/>
                  </a:cubicBezTo>
                  <a:cubicBezTo>
                    <a:pt x="4835" y="1444"/>
                    <a:pt x="4620" y="527"/>
                    <a:pt x="3906" y="146"/>
                  </a:cubicBezTo>
                  <a:cubicBezTo>
                    <a:pt x="3718" y="49"/>
                    <a:pt x="3515" y="1"/>
                    <a:pt x="33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8" name="Google Shape;13098;p63"/>
            <p:cNvSpPr/>
            <p:nvPr/>
          </p:nvSpPr>
          <p:spPr>
            <a:xfrm>
              <a:off x="3019853" y="3423794"/>
              <a:ext cx="20224" cy="16576"/>
            </a:xfrm>
            <a:custGeom>
              <a:avLst/>
              <a:gdLst/>
              <a:ahLst/>
              <a:cxnLst/>
              <a:rect l="l" t="t" r="r" b="b"/>
              <a:pathLst>
                <a:path w="632" h="518" extrusionOk="0">
                  <a:moveTo>
                    <a:pt x="454" y="0"/>
                  </a:moveTo>
                  <a:cubicBezTo>
                    <a:pt x="420" y="0"/>
                    <a:pt x="386" y="10"/>
                    <a:pt x="358" y="29"/>
                  </a:cubicBezTo>
                  <a:lnTo>
                    <a:pt x="96" y="219"/>
                  </a:lnTo>
                  <a:cubicBezTo>
                    <a:pt x="24" y="255"/>
                    <a:pt x="0" y="362"/>
                    <a:pt x="48" y="434"/>
                  </a:cubicBezTo>
                  <a:cubicBezTo>
                    <a:pt x="84" y="481"/>
                    <a:pt x="143" y="517"/>
                    <a:pt x="179" y="517"/>
                  </a:cubicBezTo>
                  <a:cubicBezTo>
                    <a:pt x="215" y="517"/>
                    <a:pt x="239" y="493"/>
                    <a:pt x="274" y="481"/>
                  </a:cubicBezTo>
                  <a:lnTo>
                    <a:pt x="536" y="291"/>
                  </a:lnTo>
                  <a:cubicBezTo>
                    <a:pt x="620" y="243"/>
                    <a:pt x="631" y="136"/>
                    <a:pt x="584" y="65"/>
                  </a:cubicBezTo>
                  <a:cubicBezTo>
                    <a:pt x="555" y="22"/>
                    <a:pt x="505" y="0"/>
                    <a:pt x="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9" name="Google Shape;13099;p63"/>
            <p:cNvSpPr/>
            <p:nvPr/>
          </p:nvSpPr>
          <p:spPr>
            <a:xfrm>
              <a:off x="2964237" y="3441810"/>
              <a:ext cx="49920" cy="37408"/>
            </a:xfrm>
            <a:custGeom>
              <a:avLst/>
              <a:gdLst/>
              <a:ahLst/>
              <a:cxnLst/>
              <a:rect l="l" t="t" r="r" b="b"/>
              <a:pathLst>
                <a:path w="1560" h="1169" extrusionOk="0">
                  <a:moveTo>
                    <a:pt x="1383" y="1"/>
                  </a:moveTo>
                  <a:cubicBezTo>
                    <a:pt x="1353" y="1"/>
                    <a:pt x="1323" y="9"/>
                    <a:pt x="1298" y="25"/>
                  </a:cubicBezTo>
                  <a:lnTo>
                    <a:pt x="83" y="871"/>
                  </a:lnTo>
                  <a:cubicBezTo>
                    <a:pt x="12" y="918"/>
                    <a:pt x="0" y="1026"/>
                    <a:pt x="48" y="1097"/>
                  </a:cubicBezTo>
                  <a:cubicBezTo>
                    <a:pt x="72" y="1145"/>
                    <a:pt x="131" y="1168"/>
                    <a:pt x="179" y="1168"/>
                  </a:cubicBezTo>
                  <a:cubicBezTo>
                    <a:pt x="214" y="1168"/>
                    <a:pt x="238" y="1157"/>
                    <a:pt x="274" y="1145"/>
                  </a:cubicBezTo>
                  <a:lnTo>
                    <a:pt x="1476" y="299"/>
                  </a:lnTo>
                  <a:cubicBezTo>
                    <a:pt x="1548" y="252"/>
                    <a:pt x="1560" y="145"/>
                    <a:pt x="1524" y="73"/>
                  </a:cubicBezTo>
                  <a:cubicBezTo>
                    <a:pt x="1493" y="27"/>
                    <a:pt x="1438" y="1"/>
                    <a:pt x="13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0" name="Google Shape;13100;p63"/>
            <p:cNvSpPr/>
            <p:nvPr/>
          </p:nvSpPr>
          <p:spPr>
            <a:xfrm>
              <a:off x="2867437" y="3395602"/>
              <a:ext cx="17952" cy="18848"/>
            </a:xfrm>
            <a:custGeom>
              <a:avLst/>
              <a:gdLst/>
              <a:ahLst/>
              <a:cxnLst/>
              <a:rect l="l" t="t" r="r" b="b"/>
              <a:pathLst>
                <a:path w="561" h="589" extrusionOk="0">
                  <a:moveTo>
                    <a:pt x="189" y="1"/>
                  </a:moveTo>
                  <a:cubicBezTo>
                    <a:pt x="156" y="1"/>
                    <a:pt x="124" y="10"/>
                    <a:pt x="96" y="29"/>
                  </a:cubicBezTo>
                  <a:cubicBezTo>
                    <a:pt x="25" y="76"/>
                    <a:pt x="1" y="172"/>
                    <a:pt x="49" y="255"/>
                  </a:cubicBezTo>
                  <a:lnTo>
                    <a:pt x="239" y="517"/>
                  </a:lnTo>
                  <a:cubicBezTo>
                    <a:pt x="275" y="565"/>
                    <a:pt x="334" y="588"/>
                    <a:pt x="382" y="588"/>
                  </a:cubicBezTo>
                  <a:cubicBezTo>
                    <a:pt x="406" y="588"/>
                    <a:pt x="430" y="576"/>
                    <a:pt x="465" y="565"/>
                  </a:cubicBezTo>
                  <a:cubicBezTo>
                    <a:pt x="537" y="517"/>
                    <a:pt x="560" y="410"/>
                    <a:pt x="513" y="338"/>
                  </a:cubicBezTo>
                  <a:lnTo>
                    <a:pt x="322" y="76"/>
                  </a:lnTo>
                  <a:cubicBezTo>
                    <a:pt x="293" y="25"/>
                    <a:pt x="241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1" name="Google Shape;13101;p63"/>
            <p:cNvSpPr/>
            <p:nvPr/>
          </p:nvSpPr>
          <p:spPr>
            <a:xfrm>
              <a:off x="2885741" y="3421234"/>
              <a:ext cx="38496" cy="49216"/>
            </a:xfrm>
            <a:custGeom>
              <a:avLst/>
              <a:gdLst/>
              <a:ahLst/>
              <a:cxnLst/>
              <a:rect l="l" t="t" r="r" b="b"/>
              <a:pathLst>
                <a:path w="1203" h="1538" extrusionOk="0">
                  <a:moveTo>
                    <a:pt x="169" y="1"/>
                  </a:moveTo>
                  <a:cubicBezTo>
                    <a:pt x="139" y="1"/>
                    <a:pt x="109" y="9"/>
                    <a:pt x="84" y="26"/>
                  </a:cubicBezTo>
                  <a:cubicBezTo>
                    <a:pt x="12" y="73"/>
                    <a:pt x="0" y="180"/>
                    <a:pt x="48" y="252"/>
                  </a:cubicBezTo>
                  <a:lnTo>
                    <a:pt x="893" y="1454"/>
                  </a:lnTo>
                  <a:cubicBezTo>
                    <a:pt x="917" y="1502"/>
                    <a:pt x="977" y="1538"/>
                    <a:pt x="1024" y="1538"/>
                  </a:cubicBezTo>
                  <a:cubicBezTo>
                    <a:pt x="1060" y="1538"/>
                    <a:pt x="1084" y="1514"/>
                    <a:pt x="1120" y="1502"/>
                  </a:cubicBezTo>
                  <a:cubicBezTo>
                    <a:pt x="1191" y="1454"/>
                    <a:pt x="1203" y="1359"/>
                    <a:pt x="1155" y="1276"/>
                  </a:cubicBezTo>
                  <a:lnTo>
                    <a:pt x="310" y="73"/>
                  </a:lnTo>
                  <a:cubicBezTo>
                    <a:pt x="279" y="27"/>
                    <a:pt x="224" y="1"/>
                    <a:pt x="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2" name="Google Shape;13102;p63"/>
            <p:cNvSpPr/>
            <p:nvPr/>
          </p:nvSpPr>
          <p:spPr>
            <a:xfrm>
              <a:off x="2993933" y="3576178"/>
              <a:ext cx="17952" cy="18848"/>
            </a:xfrm>
            <a:custGeom>
              <a:avLst/>
              <a:gdLst/>
              <a:ahLst/>
              <a:cxnLst/>
              <a:rect l="l" t="t" r="r" b="b"/>
              <a:pathLst>
                <a:path w="561" h="589" extrusionOk="0">
                  <a:moveTo>
                    <a:pt x="181" y="1"/>
                  </a:moveTo>
                  <a:cubicBezTo>
                    <a:pt x="147" y="1"/>
                    <a:pt x="113" y="10"/>
                    <a:pt x="84" y="29"/>
                  </a:cubicBezTo>
                  <a:cubicBezTo>
                    <a:pt x="13" y="65"/>
                    <a:pt x="1" y="172"/>
                    <a:pt x="36" y="244"/>
                  </a:cubicBezTo>
                  <a:lnTo>
                    <a:pt x="239" y="518"/>
                  </a:lnTo>
                  <a:cubicBezTo>
                    <a:pt x="263" y="565"/>
                    <a:pt x="322" y="589"/>
                    <a:pt x="370" y="589"/>
                  </a:cubicBezTo>
                  <a:cubicBezTo>
                    <a:pt x="394" y="589"/>
                    <a:pt x="429" y="577"/>
                    <a:pt x="453" y="565"/>
                  </a:cubicBezTo>
                  <a:cubicBezTo>
                    <a:pt x="537" y="518"/>
                    <a:pt x="560" y="410"/>
                    <a:pt x="501" y="339"/>
                  </a:cubicBezTo>
                  <a:lnTo>
                    <a:pt x="310" y="65"/>
                  </a:lnTo>
                  <a:cubicBezTo>
                    <a:pt x="282" y="22"/>
                    <a:pt x="232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3" name="Google Shape;13103;p63"/>
            <p:cNvSpPr/>
            <p:nvPr/>
          </p:nvSpPr>
          <p:spPr>
            <a:xfrm>
              <a:off x="2954701" y="3520466"/>
              <a:ext cx="39264" cy="49056"/>
            </a:xfrm>
            <a:custGeom>
              <a:avLst/>
              <a:gdLst/>
              <a:ahLst/>
              <a:cxnLst/>
              <a:rect l="l" t="t" r="r" b="b"/>
              <a:pathLst>
                <a:path w="1227" h="1533" extrusionOk="0">
                  <a:moveTo>
                    <a:pt x="178" y="1"/>
                  </a:moveTo>
                  <a:cubicBezTo>
                    <a:pt x="147" y="1"/>
                    <a:pt x="114" y="7"/>
                    <a:pt x="84" y="20"/>
                  </a:cubicBezTo>
                  <a:cubicBezTo>
                    <a:pt x="12" y="68"/>
                    <a:pt x="0" y="175"/>
                    <a:pt x="48" y="246"/>
                  </a:cubicBezTo>
                  <a:lnTo>
                    <a:pt x="893" y="1449"/>
                  </a:lnTo>
                  <a:cubicBezTo>
                    <a:pt x="929" y="1497"/>
                    <a:pt x="989" y="1532"/>
                    <a:pt x="1024" y="1532"/>
                  </a:cubicBezTo>
                  <a:cubicBezTo>
                    <a:pt x="1060" y="1532"/>
                    <a:pt x="1084" y="1508"/>
                    <a:pt x="1120" y="1497"/>
                  </a:cubicBezTo>
                  <a:cubicBezTo>
                    <a:pt x="1203" y="1437"/>
                    <a:pt x="1227" y="1354"/>
                    <a:pt x="1167" y="1270"/>
                  </a:cubicBezTo>
                  <a:lnTo>
                    <a:pt x="310" y="68"/>
                  </a:lnTo>
                  <a:cubicBezTo>
                    <a:pt x="287" y="22"/>
                    <a:pt x="235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04" name="Google Shape;13104;p63"/>
          <p:cNvGrpSpPr/>
          <p:nvPr/>
        </p:nvGrpSpPr>
        <p:grpSpPr>
          <a:xfrm>
            <a:off x="2236525" y="3353202"/>
            <a:ext cx="304832" cy="356512"/>
            <a:chOff x="2236525" y="3353202"/>
            <a:chExt cx="304832" cy="356512"/>
          </a:xfrm>
        </p:grpSpPr>
        <p:sp>
          <p:nvSpPr>
            <p:cNvPr id="13105" name="Google Shape;13105;p63"/>
            <p:cNvSpPr/>
            <p:nvPr/>
          </p:nvSpPr>
          <p:spPr>
            <a:xfrm>
              <a:off x="2236525" y="3353202"/>
              <a:ext cx="304832" cy="356512"/>
            </a:xfrm>
            <a:custGeom>
              <a:avLst/>
              <a:gdLst/>
              <a:ahLst/>
              <a:cxnLst/>
              <a:rect l="l" t="t" r="r" b="b"/>
              <a:pathLst>
                <a:path w="9526" h="11141" extrusionOk="0">
                  <a:moveTo>
                    <a:pt x="4239" y="413"/>
                  </a:moveTo>
                  <a:cubicBezTo>
                    <a:pt x="4525" y="616"/>
                    <a:pt x="5120" y="1128"/>
                    <a:pt x="5275" y="1675"/>
                  </a:cubicBezTo>
                  <a:cubicBezTo>
                    <a:pt x="5358" y="1997"/>
                    <a:pt x="5156" y="2342"/>
                    <a:pt x="4989" y="2533"/>
                  </a:cubicBezTo>
                  <a:cubicBezTo>
                    <a:pt x="4894" y="2116"/>
                    <a:pt x="4775" y="1699"/>
                    <a:pt x="4644" y="1282"/>
                  </a:cubicBezTo>
                  <a:cubicBezTo>
                    <a:pt x="4625" y="1209"/>
                    <a:pt x="4564" y="1163"/>
                    <a:pt x="4498" y="1163"/>
                  </a:cubicBezTo>
                  <a:cubicBezTo>
                    <a:pt x="4479" y="1163"/>
                    <a:pt x="4460" y="1167"/>
                    <a:pt x="4441" y="1175"/>
                  </a:cubicBezTo>
                  <a:cubicBezTo>
                    <a:pt x="4346" y="1199"/>
                    <a:pt x="4298" y="1294"/>
                    <a:pt x="4334" y="1378"/>
                  </a:cubicBezTo>
                  <a:cubicBezTo>
                    <a:pt x="4465" y="1782"/>
                    <a:pt x="4572" y="2211"/>
                    <a:pt x="4679" y="2628"/>
                  </a:cubicBezTo>
                  <a:cubicBezTo>
                    <a:pt x="4441" y="2568"/>
                    <a:pt x="4060" y="2366"/>
                    <a:pt x="3977" y="2021"/>
                  </a:cubicBezTo>
                  <a:cubicBezTo>
                    <a:pt x="3822" y="1473"/>
                    <a:pt x="4108" y="735"/>
                    <a:pt x="4239" y="413"/>
                  </a:cubicBezTo>
                  <a:close/>
                  <a:moveTo>
                    <a:pt x="2824" y="3117"/>
                  </a:moveTo>
                  <a:cubicBezTo>
                    <a:pt x="3186" y="3117"/>
                    <a:pt x="3616" y="3172"/>
                    <a:pt x="3929" y="3378"/>
                  </a:cubicBezTo>
                  <a:cubicBezTo>
                    <a:pt x="4203" y="3556"/>
                    <a:pt x="4298" y="3926"/>
                    <a:pt x="4298" y="4164"/>
                  </a:cubicBezTo>
                  <a:cubicBezTo>
                    <a:pt x="3810" y="3747"/>
                    <a:pt x="3382" y="3556"/>
                    <a:pt x="3346" y="3556"/>
                  </a:cubicBezTo>
                  <a:cubicBezTo>
                    <a:pt x="3324" y="3547"/>
                    <a:pt x="3301" y="3543"/>
                    <a:pt x="3279" y="3543"/>
                  </a:cubicBezTo>
                  <a:cubicBezTo>
                    <a:pt x="3218" y="3543"/>
                    <a:pt x="3161" y="3578"/>
                    <a:pt x="3143" y="3640"/>
                  </a:cubicBezTo>
                  <a:cubicBezTo>
                    <a:pt x="3096" y="3723"/>
                    <a:pt x="3143" y="3818"/>
                    <a:pt x="3215" y="3854"/>
                  </a:cubicBezTo>
                  <a:cubicBezTo>
                    <a:pt x="3215" y="3854"/>
                    <a:pt x="3667" y="4045"/>
                    <a:pt x="4144" y="4473"/>
                  </a:cubicBezTo>
                  <a:cubicBezTo>
                    <a:pt x="4011" y="4547"/>
                    <a:pt x="3795" y="4621"/>
                    <a:pt x="3580" y="4621"/>
                  </a:cubicBezTo>
                  <a:cubicBezTo>
                    <a:pt x="3448" y="4621"/>
                    <a:pt x="3316" y="4593"/>
                    <a:pt x="3203" y="4521"/>
                  </a:cubicBezTo>
                  <a:cubicBezTo>
                    <a:pt x="2715" y="4211"/>
                    <a:pt x="2417" y="3497"/>
                    <a:pt x="2310" y="3152"/>
                  </a:cubicBezTo>
                  <a:cubicBezTo>
                    <a:pt x="2438" y="3135"/>
                    <a:pt x="2620" y="3117"/>
                    <a:pt x="2824" y="3117"/>
                  </a:cubicBezTo>
                  <a:close/>
                  <a:moveTo>
                    <a:pt x="7192" y="3818"/>
                  </a:moveTo>
                  <a:cubicBezTo>
                    <a:pt x="7549" y="3818"/>
                    <a:pt x="7894" y="3878"/>
                    <a:pt x="8084" y="3937"/>
                  </a:cubicBezTo>
                  <a:cubicBezTo>
                    <a:pt x="7918" y="4259"/>
                    <a:pt x="7549" y="4938"/>
                    <a:pt x="7025" y="5176"/>
                  </a:cubicBezTo>
                  <a:cubicBezTo>
                    <a:pt x="6928" y="5224"/>
                    <a:pt x="6828" y="5241"/>
                    <a:pt x="6734" y="5241"/>
                  </a:cubicBezTo>
                  <a:cubicBezTo>
                    <a:pt x="6594" y="5241"/>
                    <a:pt x="6467" y="5204"/>
                    <a:pt x="6382" y="5176"/>
                  </a:cubicBezTo>
                  <a:cubicBezTo>
                    <a:pt x="6263" y="5128"/>
                    <a:pt x="6179" y="5092"/>
                    <a:pt x="6120" y="5033"/>
                  </a:cubicBezTo>
                  <a:cubicBezTo>
                    <a:pt x="6179" y="4985"/>
                    <a:pt x="6239" y="4938"/>
                    <a:pt x="6310" y="4890"/>
                  </a:cubicBezTo>
                  <a:cubicBezTo>
                    <a:pt x="6382" y="4854"/>
                    <a:pt x="6418" y="4747"/>
                    <a:pt x="6358" y="4676"/>
                  </a:cubicBezTo>
                  <a:cubicBezTo>
                    <a:pt x="6328" y="4624"/>
                    <a:pt x="6276" y="4595"/>
                    <a:pt x="6223" y="4595"/>
                  </a:cubicBezTo>
                  <a:cubicBezTo>
                    <a:pt x="6191" y="4595"/>
                    <a:pt x="6159" y="4606"/>
                    <a:pt x="6132" y="4628"/>
                  </a:cubicBezTo>
                  <a:cubicBezTo>
                    <a:pt x="6084" y="4652"/>
                    <a:pt x="6049" y="4688"/>
                    <a:pt x="5989" y="4735"/>
                  </a:cubicBezTo>
                  <a:cubicBezTo>
                    <a:pt x="6001" y="4473"/>
                    <a:pt x="6144" y="4104"/>
                    <a:pt x="6441" y="3961"/>
                  </a:cubicBezTo>
                  <a:cubicBezTo>
                    <a:pt x="6668" y="3854"/>
                    <a:pt x="6918" y="3818"/>
                    <a:pt x="7192" y="3818"/>
                  </a:cubicBezTo>
                  <a:close/>
                  <a:moveTo>
                    <a:pt x="2605" y="5627"/>
                  </a:moveTo>
                  <a:cubicBezTo>
                    <a:pt x="2832" y="5627"/>
                    <a:pt x="3055" y="5651"/>
                    <a:pt x="3262" y="5711"/>
                  </a:cubicBezTo>
                  <a:cubicBezTo>
                    <a:pt x="3703" y="5842"/>
                    <a:pt x="3977" y="6235"/>
                    <a:pt x="4096" y="6462"/>
                  </a:cubicBezTo>
                  <a:cubicBezTo>
                    <a:pt x="4203" y="6664"/>
                    <a:pt x="4274" y="6854"/>
                    <a:pt x="4286" y="7021"/>
                  </a:cubicBezTo>
                  <a:cubicBezTo>
                    <a:pt x="4215" y="6974"/>
                    <a:pt x="4155" y="6938"/>
                    <a:pt x="4084" y="6890"/>
                  </a:cubicBezTo>
                  <a:cubicBezTo>
                    <a:pt x="3667" y="6664"/>
                    <a:pt x="3155" y="6485"/>
                    <a:pt x="2548" y="6366"/>
                  </a:cubicBezTo>
                  <a:cubicBezTo>
                    <a:pt x="2540" y="6365"/>
                    <a:pt x="2532" y="6365"/>
                    <a:pt x="2524" y="6365"/>
                  </a:cubicBezTo>
                  <a:cubicBezTo>
                    <a:pt x="2439" y="6365"/>
                    <a:pt x="2368" y="6421"/>
                    <a:pt x="2358" y="6497"/>
                  </a:cubicBezTo>
                  <a:cubicBezTo>
                    <a:pt x="2322" y="6593"/>
                    <a:pt x="2381" y="6676"/>
                    <a:pt x="2477" y="6700"/>
                  </a:cubicBezTo>
                  <a:cubicBezTo>
                    <a:pt x="2977" y="6795"/>
                    <a:pt x="3703" y="6997"/>
                    <a:pt x="4227" y="7378"/>
                  </a:cubicBezTo>
                  <a:cubicBezTo>
                    <a:pt x="4144" y="7509"/>
                    <a:pt x="3941" y="7688"/>
                    <a:pt x="3691" y="7831"/>
                  </a:cubicBezTo>
                  <a:cubicBezTo>
                    <a:pt x="3524" y="7919"/>
                    <a:pt x="3248" y="8039"/>
                    <a:pt x="2938" y="8039"/>
                  </a:cubicBezTo>
                  <a:cubicBezTo>
                    <a:pt x="2827" y="8039"/>
                    <a:pt x="2712" y="8023"/>
                    <a:pt x="2596" y="7986"/>
                  </a:cubicBezTo>
                  <a:cubicBezTo>
                    <a:pt x="1596" y="7688"/>
                    <a:pt x="762" y="6545"/>
                    <a:pt x="476" y="6128"/>
                  </a:cubicBezTo>
                  <a:cubicBezTo>
                    <a:pt x="843" y="5978"/>
                    <a:pt x="1752" y="5627"/>
                    <a:pt x="2605" y="5627"/>
                  </a:cubicBezTo>
                  <a:close/>
                  <a:moveTo>
                    <a:pt x="7656" y="7009"/>
                  </a:moveTo>
                  <a:cubicBezTo>
                    <a:pt x="8251" y="7009"/>
                    <a:pt x="8811" y="7128"/>
                    <a:pt x="9097" y="7200"/>
                  </a:cubicBezTo>
                  <a:cubicBezTo>
                    <a:pt x="8930" y="7616"/>
                    <a:pt x="8323" y="8759"/>
                    <a:pt x="7477" y="9164"/>
                  </a:cubicBezTo>
                  <a:cubicBezTo>
                    <a:pt x="7322" y="9236"/>
                    <a:pt x="7156" y="9271"/>
                    <a:pt x="7001" y="9271"/>
                  </a:cubicBezTo>
                  <a:cubicBezTo>
                    <a:pt x="6537" y="9271"/>
                    <a:pt x="6072" y="9033"/>
                    <a:pt x="5894" y="8843"/>
                  </a:cubicBezTo>
                  <a:cubicBezTo>
                    <a:pt x="6465" y="8462"/>
                    <a:pt x="7239" y="8033"/>
                    <a:pt x="8108" y="7783"/>
                  </a:cubicBezTo>
                  <a:cubicBezTo>
                    <a:pt x="8204" y="7747"/>
                    <a:pt x="8251" y="7664"/>
                    <a:pt x="8215" y="7569"/>
                  </a:cubicBezTo>
                  <a:cubicBezTo>
                    <a:pt x="8197" y="7505"/>
                    <a:pt x="8136" y="7462"/>
                    <a:pt x="8071" y="7462"/>
                  </a:cubicBezTo>
                  <a:cubicBezTo>
                    <a:pt x="8052" y="7462"/>
                    <a:pt x="8032" y="7465"/>
                    <a:pt x="8013" y="7474"/>
                  </a:cubicBezTo>
                  <a:cubicBezTo>
                    <a:pt x="7132" y="7724"/>
                    <a:pt x="6358" y="8140"/>
                    <a:pt x="5775" y="8509"/>
                  </a:cubicBezTo>
                  <a:cubicBezTo>
                    <a:pt x="5787" y="8128"/>
                    <a:pt x="6013" y="7450"/>
                    <a:pt x="6525" y="7212"/>
                  </a:cubicBezTo>
                  <a:cubicBezTo>
                    <a:pt x="6858" y="7057"/>
                    <a:pt x="7263" y="7009"/>
                    <a:pt x="7656" y="7009"/>
                  </a:cubicBezTo>
                  <a:close/>
                  <a:moveTo>
                    <a:pt x="4166" y="1"/>
                  </a:moveTo>
                  <a:cubicBezTo>
                    <a:pt x="4147" y="1"/>
                    <a:pt x="4128" y="3"/>
                    <a:pt x="4108" y="8"/>
                  </a:cubicBezTo>
                  <a:cubicBezTo>
                    <a:pt x="4060" y="20"/>
                    <a:pt x="4036" y="56"/>
                    <a:pt x="4001" y="80"/>
                  </a:cubicBezTo>
                  <a:cubicBezTo>
                    <a:pt x="3977" y="127"/>
                    <a:pt x="3393" y="1247"/>
                    <a:pt x="3620" y="2092"/>
                  </a:cubicBezTo>
                  <a:cubicBezTo>
                    <a:pt x="3751" y="2628"/>
                    <a:pt x="4346" y="2925"/>
                    <a:pt x="4703" y="2961"/>
                  </a:cubicBezTo>
                  <a:cubicBezTo>
                    <a:pt x="4822" y="3592"/>
                    <a:pt x="4917" y="4247"/>
                    <a:pt x="4941" y="4902"/>
                  </a:cubicBezTo>
                  <a:cubicBezTo>
                    <a:pt x="4810" y="4723"/>
                    <a:pt x="4679" y="4568"/>
                    <a:pt x="4536" y="4426"/>
                  </a:cubicBezTo>
                  <a:cubicBezTo>
                    <a:pt x="4644" y="4092"/>
                    <a:pt x="4536" y="3402"/>
                    <a:pt x="4048" y="3092"/>
                  </a:cubicBezTo>
                  <a:cubicBezTo>
                    <a:pt x="3663" y="2851"/>
                    <a:pt x="3161" y="2790"/>
                    <a:pt x="2752" y="2790"/>
                  </a:cubicBezTo>
                  <a:cubicBezTo>
                    <a:pt x="2353" y="2790"/>
                    <a:pt x="2042" y="2848"/>
                    <a:pt x="2012" y="2854"/>
                  </a:cubicBezTo>
                  <a:cubicBezTo>
                    <a:pt x="1965" y="2866"/>
                    <a:pt x="1917" y="2878"/>
                    <a:pt x="1905" y="2925"/>
                  </a:cubicBezTo>
                  <a:cubicBezTo>
                    <a:pt x="1881" y="2973"/>
                    <a:pt x="1881" y="3021"/>
                    <a:pt x="1893" y="3056"/>
                  </a:cubicBezTo>
                  <a:cubicBezTo>
                    <a:pt x="1905" y="3104"/>
                    <a:pt x="2239" y="4307"/>
                    <a:pt x="2989" y="4783"/>
                  </a:cubicBezTo>
                  <a:cubicBezTo>
                    <a:pt x="3167" y="4890"/>
                    <a:pt x="3370" y="4938"/>
                    <a:pt x="3560" y="4938"/>
                  </a:cubicBezTo>
                  <a:cubicBezTo>
                    <a:pt x="3858" y="4938"/>
                    <a:pt x="4155" y="4830"/>
                    <a:pt x="4334" y="4699"/>
                  </a:cubicBezTo>
                  <a:cubicBezTo>
                    <a:pt x="4560" y="4938"/>
                    <a:pt x="4775" y="5235"/>
                    <a:pt x="4953" y="5592"/>
                  </a:cubicBezTo>
                  <a:cubicBezTo>
                    <a:pt x="4977" y="6259"/>
                    <a:pt x="4929" y="6926"/>
                    <a:pt x="4858" y="7605"/>
                  </a:cubicBezTo>
                  <a:cubicBezTo>
                    <a:pt x="4775" y="7486"/>
                    <a:pt x="4679" y="7378"/>
                    <a:pt x="4572" y="7271"/>
                  </a:cubicBezTo>
                  <a:cubicBezTo>
                    <a:pt x="4644" y="6747"/>
                    <a:pt x="4179" y="5664"/>
                    <a:pt x="3310" y="5402"/>
                  </a:cubicBezTo>
                  <a:cubicBezTo>
                    <a:pt x="3067" y="5331"/>
                    <a:pt x="2797" y="5294"/>
                    <a:pt x="2503" y="5294"/>
                  </a:cubicBezTo>
                  <a:cubicBezTo>
                    <a:pt x="2108" y="5294"/>
                    <a:pt x="1669" y="5361"/>
                    <a:pt x="1191" y="5497"/>
                  </a:cubicBezTo>
                  <a:cubicBezTo>
                    <a:pt x="584" y="5676"/>
                    <a:pt x="131" y="5890"/>
                    <a:pt x="107" y="5902"/>
                  </a:cubicBezTo>
                  <a:cubicBezTo>
                    <a:pt x="60" y="5914"/>
                    <a:pt x="36" y="5962"/>
                    <a:pt x="12" y="6009"/>
                  </a:cubicBezTo>
                  <a:cubicBezTo>
                    <a:pt x="0" y="6057"/>
                    <a:pt x="12" y="6092"/>
                    <a:pt x="36" y="6140"/>
                  </a:cubicBezTo>
                  <a:cubicBezTo>
                    <a:pt x="48" y="6152"/>
                    <a:pt x="298" y="6593"/>
                    <a:pt x="715" y="7069"/>
                  </a:cubicBezTo>
                  <a:cubicBezTo>
                    <a:pt x="1286" y="7724"/>
                    <a:pt x="1858" y="8140"/>
                    <a:pt x="2429" y="8295"/>
                  </a:cubicBezTo>
                  <a:cubicBezTo>
                    <a:pt x="2572" y="8343"/>
                    <a:pt x="2715" y="8355"/>
                    <a:pt x="2846" y="8355"/>
                  </a:cubicBezTo>
                  <a:cubicBezTo>
                    <a:pt x="3227" y="8355"/>
                    <a:pt x="3572" y="8212"/>
                    <a:pt x="3763" y="8105"/>
                  </a:cubicBezTo>
                  <a:cubicBezTo>
                    <a:pt x="4036" y="7962"/>
                    <a:pt x="4263" y="7783"/>
                    <a:pt x="4394" y="7581"/>
                  </a:cubicBezTo>
                  <a:cubicBezTo>
                    <a:pt x="4560" y="7759"/>
                    <a:pt x="4691" y="7962"/>
                    <a:pt x="4751" y="8200"/>
                  </a:cubicBezTo>
                  <a:cubicBezTo>
                    <a:pt x="4679" y="8652"/>
                    <a:pt x="4584" y="9093"/>
                    <a:pt x="4501" y="9462"/>
                  </a:cubicBezTo>
                  <a:cubicBezTo>
                    <a:pt x="4334" y="10164"/>
                    <a:pt x="4155" y="10676"/>
                    <a:pt x="4048" y="10915"/>
                  </a:cubicBezTo>
                  <a:cubicBezTo>
                    <a:pt x="4024" y="11010"/>
                    <a:pt x="4048" y="11093"/>
                    <a:pt x="4144" y="11129"/>
                  </a:cubicBezTo>
                  <a:cubicBezTo>
                    <a:pt x="4155" y="11141"/>
                    <a:pt x="4179" y="11141"/>
                    <a:pt x="4203" y="11141"/>
                  </a:cubicBezTo>
                  <a:cubicBezTo>
                    <a:pt x="4263" y="11141"/>
                    <a:pt x="4322" y="11093"/>
                    <a:pt x="4346" y="11034"/>
                  </a:cubicBezTo>
                  <a:cubicBezTo>
                    <a:pt x="4358" y="11010"/>
                    <a:pt x="4572" y="10474"/>
                    <a:pt x="4798" y="9569"/>
                  </a:cubicBezTo>
                  <a:cubicBezTo>
                    <a:pt x="4882" y="9474"/>
                    <a:pt x="5132" y="9248"/>
                    <a:pt x="5525" y="8986"/>
                  </a:cubicBezTo>
                  <a:cubicBezTo>
                    <a:pt x="5763" y="9271"/>
                    <a:pt x="6322" y="9569"/>
                    <a:pt x="6894" y="9569"/>
                  </a:cubicBezTo>
                  <a:cubicBezTo>
                    <a:pt x="7096" y="9569"/>
                    <a:pt x="7311" y="9521"/>
                    <a:pt x="7501" y="9426"/>
                  </a:cubicBezTo>
                  <a:cubicBezTo>
                    <a:pt x="8680" y="8879"/>
                    <a:pt x="9382" y="7188"/>
                    <a:pt x="9406" y="7105"/>
                  </a:cubicBezTo>
                  <a:cubicBezTo>
                    <a:pt x="9525" y="7093"/>
                    <a:pt x="9525" y="7057"/>
                    <a:pt x="9501" y="7009"/>
                  </a:cubicBezTo>
                  <a:cubicBezTo>
                    <a:pt x="9478" y="6962"/>
                    <a:pt x="9442" y="6938"/>
                    <a:pt x="9394" y="6914"/>
                  </a:cubicBezTo>
                  <a:cubicBezTo>
                    <a:pt x="9347" y="6898"/>
                    <a:pt x="8553" y="6656"/>
                    <a:pt x="7680" y="6656"/>
                  </a:cubicBezTo>
                  <a:cubicBezTo>
                    <a:pt x="7239" y="6656"/>
                    <a:pt x="6778" y="6718"/>
                    <a:pt x="6382" y="6902"/>
                  </a:cubicBezTo>
                  <a:cubicBezTo>
                    <a:pt x="5668" y="7247"/>
                    <a:pt x="5370" y="8200"/>
                    <a:pt x="5465" y="8700"/>
                  </a:cubicBezTo>
                  <a:cubicBezTo>
                    <a:pt x="5275" y="8843"/>
                    <a:pt x="5120" y="8962"/>
                    <a:pt x="4989" y="9057"/>
                  </a:cubicBezTo>
                  <a:cubicBezTo>
                    <a:pt x="5048" y="8783"/>
                    <a:pt x="5108" y="8450"/>
                    <a:pt x="5156" y="8105"/>
                  </a:cubicBezTo>
                  <a:cubicBezTo>
                    <a:pt x="5239" y="7486"/>
                    <a:pt x="5298" y="6854"/>
                    <a:pt x="5310" y="6235"/>
                  </a:cubicBezTo>
                  <a:cubicBezTo>
                    <a:pt x="5334" y="6164"/>
                    <a:pt x="5429" y="5700"/>
                    <a:pt x="5846" y="5247"/>
                  </a:cubicBezTo>
                  <a:cubicBezTo>
                    <a:pt x="5953" y="5342"/>
                    <a:pt x="6108" y="5414"/>
                    <a:pt x="6251" y="5473"/>
                  </a:cubicBezTo>
                  <a:cubicBezTo>
                    <a:pt x="6406" y="5533"/>
                    <a:pt x="6560" y="5569"/>
                    <a:pt x="6715" y="5569"/>
                  </a:cubicBezTo>
                  <a:cubicBezTo>
                    <a:pt x="6858" y="5569"/>
                    <a:pt x="7013" y="5533"/>
                    <a:pt x="7144" y="5473"/>
                  </a:cubicBezTo>
                  <a:cubicBezTo>
                    <a:pt x="7954" y="5104"/>
                    <a:pt x="8430" y="3937"/>
                    <a:pt x="8454" y="3902"/>
                  </a:cubicBezTo>
                  <a:cubicBezTo>
                    <a:pt x="8465" y="3854"/>
                    <a:pt x="8465" y="3806"/>
                    <a:pt x="8454" y="3759"/>
                  </a:cubicBezTo>
                  <a:cubicBezTo>
                    <a:pt x="8442" y="3723"/>
                    <a:pt x="8394" y="3687"/>
                    <a:pt x="8346" y="3676"/>
                  </a:cubicBezTo>
                  <a:cubicBezTo>
                    <a:pt x="8322" y="3660"/>
                    <a:pt x="7769" y="3489"/>
                    <a:pt x="7167" y="3489"/>
                  </a:cubicBezTo>
                  <a:cubicBezTo>
                    <a:pt x="6870" y="3489"/>
                    <a:pt x="6562" y="3530"/>
                    <a:pt x="6299" y="3652"/>
                  </a:cubicBezTo>
                  <a:cubicBezTo>
                    <a:pt x="5751" y="3914"/>
                    <a:pt x="5572" y="4640"/>
                    <a:pt x="5656" y="4985"/>
                  </a:cubicBezTo>
                  <a:cubicBezTo>
                    <a:pt x="5525" y="5116"/>
                    <a:pt x="5406" y="5259"/>
                    <a:pt x="5310" y="5402"/>
                  </a:cubicBezTo>
                  <a:cubicBezTo>
                    <a:pt x="5310" y="5259"/>
                    <a:pt x="5298" y="5128"/>
                    <a:pt x="5298" y="4997"/>
                  </a:cubicBezTo>
                  <a:cubicBezTo>
                    <a:pt x="5263" y="4283"/>
                    <a:pt x="5179" y="3568"/>
                    <a:pt x="5048" y="2878"/>
                  </a:cubicBezTo>
                  <a:cubicBezTo>
                    <a:pt x="5358" y="2675"/>
                    <a:pt x="5715" y="2128"/>
                    <a:pt x="5560" y="1592"/>
                  </a:cubicBezTo>
                  <a:cubicBezTo>
                    <a:pt x="5346" y="723"/>
                    <a:pt x="4286" y="56"/>
                    <a:pt x="4239" y="20"/>
                  </a:cubicBezTo>
                  <a:cubicBezTo>
                    <a:pt x="4218" y="6"/>
                    <a:pt x="4193" y="1"/>
                    <a:pt x="4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6" name="Google Shape;13106;p63"/>
            <p:cNvSpPr/>
            <p:nvPr/>
          </p:nvSpPr>
          <p:spPr>
            <a:xfrm>
              <a:off x="2283373" y="3553106"/>
              <a:ext cx="16416" cy="11072"/>
            </a:xfrm>
            <a:custGeom>
              <a:avLst/>
              <a:gdLst/>
              <a:ahLst/>
              <a:cxnLst/>
              <a:rect l="l" t="t" r="r" b="b"/>
              <a:pathLst>
                <a:path w="513" h="346" extrusionOk="0">
                  <a:moveTo>
                    <a:pt x="179" y="0"/>
                  </a:moveTo>
                  <a:cubicBezTo>
                    <a:pt x="84" y="0"/>
                    <a:pt x="13" y="60"/>
                    <a:pt x="1" y="155"/>
                  </a:cubicBezTo>
                  <a:cubicBezTo>
                    <a:pt x="1" y="238"/>
                    <a:pt x="60" y="310"/>
                    <a:pt x="143" y="334"/>
                  </a:cubicBezTo>
                  <a:cubicBezTo>
                    <a:pt x="143" y="334"/>
                    <a:pt x="203" y="334"/>
                    <a:pt x="322" y="346"/>
                  </a:cubicBezTo>
                  <a:lnTo>
                    <a:pt x="334" y="346"/>
                  </a:lnTo>
                  <a:cubicBezTo>
                    <a:pt x="429" y="346"/>
                    <a:pt x="489" y="286"/>
                    <a:pt x="501" y="191"/>
                  </a:cubicBezTo>
                  <a:cubicBezTo>
                    <a:pt x="513" y="107"/>
                    <a:pt x="453" y="36"/>
                    <a:pt x="370" y="12"/>
                  </a:cubicBezTo>
                  <a:cubicBezTo>
                    <a:pt x="251" y="0"/>
                    <a:pt x="191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7" name="Google Shape;13107;p63"/>
            <p:cNvSpPr/>
            <p:nvPr/>
          </p:nvSpPr>
          <p:spPr>
            <a:xfrm>
              <a:off x="2449485" y="3488658"/>
              <a:ext cx="17184" cy="12288"/>
            </a:xfrm>
            <a:custGeom>
              <a:avLst/>
              <a:gdLst/>
              <a:ahLst/>
              <a:cxnLst/>
              <a:rect l="l" t="t" r="r" b="b"/>
              <a:pathLst>
                <a:path w="537" h="384" extrusionOk="0">
                  <a:moveTo>
                    <a:pt x="348" y="0"/>
                  </a:moveTo>
                  <a:cubicBezTo>
                    <a:pt x="339" y="0"/>
                    <a:pt x="331" y="1"/>
                    <a:pt x="322" y="2"/>
                  </a:cubicBezTo>
                  <a:cubicBezTo>
                    <a:pt x="251" y="26"/>
                    <a:pt x="191" y="50"/>
                    <a:pt x="132" y="62"/>
                  </a:cubicBezTo>
                  <a:cubicBezTo>
                    <a:pt x="48" y="97"/>
                    <a:pt x="1" y="181"/>
                    <a:pt x="25" y="276"/>
                  </a:cubicBezTo>
                  <a:cubicBezTo>
                    <a:pt x="60" y="347"/>
                    <a:pt x="120" y="383"/>
                    <a:pt x="179" y="383"/>
                  </a:cubicBezTo>
                  <a:cubicBezTo>
                    <a:pt x="191" y="383"/>
                    <a:pt x="203" y="383"/>
                    <a:pt x="227" y="359"/>
                  </a:cubicBezTo>
                  <a:cubicBezTo>
                    <a:pt x="286" y="347"/>
                    <a:pt x="346" y="324"/>
                    <a:pt x="406" y="300"/>
                  </a:cubicBezTo>
                  <a:cubicBezTo>
                    <a:pt x="489" y="300"/>
                    <a:pt x="537" y="216"/>
                    <a:pt x="525" y="121"/>
                  </a:cubicBezTo>
                  <a:cubicBezTo>
                    <a:pt x="493" y="46"/>
                    <a:pt x="422" y="0"/>
                    <a:pt x="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08" name="Google Shape;13108;p63"/>
          <p:cNvGrpSpPr/>
          <p:nvPr/>
        </p:nvGrpSpPr>
        <p:grpSpPr>
          <a:xfrm>
            <a:off x="3910637" y="3352690"/>
            <a:ext cx="256800" cy="357024"/>
            <a:chOff x="3910637" y="3352690"/>
            <a:chExt cx="256800" cy="357024"/>
          </a:xfrm>
        </p:grpSpPr>
        <p:sp>
          <p:nvSpPr>
            <p:cNvPr id="13109" name="Google Shape;13109;p63"/>
            <p:cNvSpPr/>
            <p:nvPr/>
          </p:nvSpPr>
          <p:spPr>
            <a:xfrm>
              <a:off x="3910637" y="3352690"/>
              <a:ext cx="256800" cy="357024"/>
            </a:xfrm>
            <a:custGeom>
              <a:avLst/>
              <a:gdLst/>
              <a:ahLst/>
              <a:cxnLst/>
              <a:rect l="l" t="t" r="r" b="b"/>
              <a:pathLst>
                <a:path w="8025" h="11157" extrusionOk="0">
                  <a:moveTo>
                    <a:pt x="4001" y="310"/>
                  </a:moveTo>
                  <a:cubicBezTo>
                    <a:pt x="4596" y="310"/>
                    <a:pt x="5144" y="608"/>
                    <a:pt x="5477" y="1120"/>
                  </a:cubicBezTo>
                  <a:cubicBezTo>
                    <a:pt x="5501" y="1155"/>
                    <a:pt x="5560" y="1191"/>
                    <a:pt x="5608" y="1191"/>
                  </a:cubicBezTo>
                  <a:lnTo>
                    <a:pt x="5656" y="1191"/>
                  </a:lnTo>
                  <a:cubicBezTo>
                    <a:pt x="6668" y="1191"/>
                    <a:pt x="7501" y="2025"/>
                    <a:pt x="7501" y="3037"/>
                  </a:cubicBezTo>
                  <a:cubicBezTo>
                    <a:pt x="7501" y="3346"/>
                    <a:pt x="7418" y="3656"/>
                    <a:pt x="7263" y="3930"/>
                  </a:cubicBezTo>
                  <a:lnTo>
                    <a:pt x="7215" y="3882"/>
                  </a:lnTo>
                  <a:cubicBezTo>
                    <a:pt x="7186" y="3852"/>
                    <a:pt x="7144" y="3837"/>
                    <a:pt x="7101" y="3837"/>
                  </a:cubicBezTo>
                  <a:cubicBezTo>
                    <a:pt x="7058" y="3837"/>
                    <a:pt x="7013" y="3852"/>
                    <a:pt x="6977" y="3882"/>
                  </a:cubicBezTo>
                  <a:cubicBezTo>
                    <a:pt x="6918" y="3942"/>
                    <a:pt x="6918" y="4049"/>
                    <a:pt x="6977" y="4120"/>
                  </a:cubicBezTo>
                  <a:cubicBezTo>
                    <a:pt x="7418" y="4549"/>
                    <a:pt x="7656" y="5132"/>
                    <a:pt x="7656" y="5763"/>
                  </a:cubicBezTo>
                  <a:cubicBezTo>
                    <a:pt x="7692" y="7025"/>
                    <a:pt x="6668" y="8049"/>
                    <a:pt x="5418" y="8049"/>
                  </a:cubicBezTo>
                  <a:cubicBezTo>
                    <a:pt x="5179" y="8049"/>
                    <a:pt x="4953" y="8025"/>
                    <a:pt x="4727" y="7942"/>
                  </a:cubicBezTo>
                  <a:lnTo>
                    <a:pt x="4715" y="7513"/>
                  </a:lnTo>
                  <a:cubicBezTo>
                    <a:pt x="4763" y="7490"/>
                    <a:pt x="4810" y="7442"/>
                    <a:pt x="4834" y="7394"/>
                  </a:cubicBezTo>
                  <a:cubicBezTo>
                    <a:pt x="4894" y="7335"/>
                    <a:pt x="4894" y="7228"/>
                    <a:pt x="4834" y="7156"/>
                  </a:cubicBezTo>
                  <a:cubicBezTo>
                    <a:pt x="4804" y="7126"/>
                    <a:pt x="4763" y="7112"/>
                    <a:pt x="4720" y="7112"/>
                  </a:cubicBezTo>
                  <a:cubicBezTo>
                    <a:pt x="4676" y="7112"/>
                    <a:pt x="4632" y="7126"/>
                    <a:pt x="4596" y="7156"/>
                  </a:cubicBezTo>
                  <a:cubicBezTo>
                    <a:pt x="4382" y="7371"/>
                    <a:pt x="4120" y="7466"/>
                    <a:pt x="3834" y="7466"/>
                  </a:cubicBezTo>
                  <a:cubicBezTo>
                    <a:pt x="3667" y="7466"/>
                    <a:pt x="3524" y="7442"/>
                    <a:pt x="3370" y="7371"/>
                  </a:cubicBezTo>
                  <a:cubicBezTo>
                    <a:pt x="3350" y="7357"/>
                    <a:pt x="3327" y="7351"/>
                    <a:pt x="3304" y="7351"/>
                  </a:cubicBezTo>
                  <a:cubicBezTo>
                    <a:pt x="3244" y="7351"/>
                    <a:pt x="3181" y="7390"/>
                    <a:pt x="3155" y="7442"/>
                  </a:cubicBezTo>
                  <a:cubicBezTo>
                    <a:pt x="3108" y="7513"/>
                    <a:pt x="3155" y="7621"/>
                    <a:pt x="3227" y="7668"/>
                  </a:cubicBezTo>
                  <a:cubicBezTo>
                    <a:pt x="3358" y="7728"/>
                    <a:pt x="3489" y="7763"/>
                    <a:pt x="3644" y="7787"/>
                  </a:cubicBezTo>
                  <a:lnTo>
                    <a:pt x="3608" y="8347"/>
                  </a:lnTo>
                  <a:cubicBezTo>
                    <a:pt x="3513" y="8359"/>
                    <a:pt x="3405" y="8359"/>
                    <a:pt x="3298" y="8359"/>
                  </a:cubicBezTo>
                  <a:cubicBezTo>
                    <a:pt x="2036" y="8359"/>
                    <a:pt x="1024" y="7335"/>
                    <a:pt x="1024" y="6085"/>
                  </a:cubicBezTo>
                  <a:cubicBezTo>
                    <a:pt x="1024" y="6013"/>
                    <a:pt x="1024" y="5942"/>
                    <a:pt x="1036" y="5858"/>
                  </a:cubicBezTo>
                  <a:cubicBezTo>
                    <a:pt x="1036" y="5823"/>
                    <a:pt x="1024" y="5775"/>
                    <a:pt x="988" y="5739"/>
                  </a:cubicBezTo>
                  <a:cubicBezTo>
                    <a:pt x="560" y="5251"/>
                    <a:pt x="322" y="4644"/>
                    <a:pt x="322" y="3989"/>
                  </a:cubicBezTo>
                  <a:cubicBezTo>
                    <a:pt x="322" y="2906"/>
                    <a:pt x="988" y="1929"/>
                    <a:pt x="1989" y="1548"/>
                  </a:cubicBezTo>
                  <a:lnTo>
                    <a:pt x="1989" y="1548"/>
                  </a:lnTo>
                  <a:cubicBezTo>
                    <a:pt x="1965" y="1656"/>
                    <a:pt x="1941" y="1775"/>
                    <a:pt x="1929" y="1870"/>
                  </a:cubicBezTo>
                  <a:cubicBezTo>
                    <a:pt x="1917" y="1965"/>
                    <a:pt x="1989" y="2037"/>
                    <a:pt x="2084" y="2048"/>
                  </a:cubicBezTo>
                  <a:lnTo>
                    <a:pt x="2096" y="2048"/>
                  </a:lnTo>
                  <a:cubicBezTo>
                    <a:pt x="2179" y="2048"/>
                    <a:pt x="2239" y="1989"/>
                    <a:pt x="2262" y="1906"/>
                  </a:cubicBezTo>
                  <a:cubicBezTo>
                    <a:pt x="2274" y="1715"/>
                    <a:pt x="2322" y="1536"/>
                    <a:pt x="2393" y="1370"/>
                  </a:cubicBezTo>
                  <a:lnTo>
                    <a:pt x="2393" y="1358"/>
                  </a:lnTo>
                  <a:cubicBezTo>
                    <a:pt x="2679" y="715"/>
                    <a:pt x="3298" y="310"/>
                    <a:pt x="4001" y="310"/>
                  </a:cubicBezTo>
                  <a:close/>
                  <a:moveTo>
                    <a:pt x="4394" y="7704"/>
                  </a:moveTo>
                  <a:lnTo>
                    <a:pt x="4536" y="10847"/>
                  </a:lnTo>
                  <a:lnTo>
                    <a:pt x="3834" y="10847"/>
                  </a:lnTo>
                  <a:lnTo>
                    <a:pt x="3989" y="7811"/>
                  </a:lnTo>
                  <a:cubicBezTo>
                    <a:pt x="4120" y="7799"/>
                    <a:pt x="4251" y="7763"/>
                    <a:pt x="4394" y="7704"/>
                  </a:cubicBezTo>
                  <a:close/>
                  <a:moveTo>
                    <a:pt x="4013" y="1"/>
                  </a:moveTo>
                  <a:cubicBezTo>
                    <a:pt x="3215" y="1"/>
                    <a:pt x="2501" y="465"/>
                    <a:pt x="2143" y="1155"/>
                  </a:cubicBezTo>
                  <a:cubicBezTo>
                    <a:pt x="881" y="1536"/>
                    <a:pt x="0" y="2679"/>
                    <a:pt x="0" y="4001"/>
                  </a:cubicBezTo>
                  <a:cubicBezTo>
                    <a:pt x="0" y="4704"/>
                    <a:pt x="250" y="5382"/>
                    <a:pt x="703" y="5918"/>
                  </a:cubicBezTo>
                  <a:lnTo>
                    <a:pt x="703" y="6097"/>
                  </a:lnTo>
                  <a:cubicBezTo>
                    <a:pt x="703" y="7549"/>
                    <a:pt x="1869" y="8704"/>
                    <a:pt x="3298" y="8704"/>
                  </a:cubicBezTo>
                  <a:cubicBezTo>
                    <a:pt x="3405" y="8704"/>
                    <a:pt x="3501" y="8704"/>
                    <a:pt x="3596" y="8692"/>
                  </a:cubicBezTo>
                  <a:lnTo>
                    <a:pt x="3596" y="8692"/>
                  </a:lnTo>
                  <a:lnTo>
                    <a:pt x="3501" y="10835"/>
                  </a:lnTo>
                  <a:lnTo>
                    <a:pt x="3298" y="10835"/>
                  </a:lnTo>
                  <a:cubicBezTo>
                    <a:pt x="3215" y="10835"/>
                    <a:pt x="3143" y="10907"/>
                    <a:pt x="3143" y="11002"/>
                  </a:cubicBezTo>
                  <a:cubicBezTo>
                    <a:pt x="3143" y="11085"/>
                    <a:pt x="3215" y="11157"/>
                    <a:pt x="3298" y="11157"/>
                  </a:cubicBezTo>
                  <a:lnTo>
                    <a:pt x="5048" y="11157"/>
                  </a:lnTo>
                  <a:cubicBezTo>
                    <a:pt x="5132" y="11157"/>
                    <a:pt x="5203" y="11085"/>
                    <a:pt x="5203" y="11002"/>
                  </a:cubicBezTo>
                  <a:cubicBezTo>
                    <a:pt x="5203" y="10907"/>
                    <a:pt x="5132" y="10835"/>
                    <a:pt x="5048" y="10835"/>
                  </a:cubicBezTo>
                  <a:lnTo>
                    <a:pt x="4846" y="10835"/>
                  </a:lnTo>
                  <a:lnTo>
                    <a:pt x="4715" y="8275"/>
                  </a:lnTo>
                  <a:lnTo>
                    <a:pt x="4715" y="8275"/>
                  </a:lnTo>
                  <a:cubicBezTo>
                    <a:pt x="4941" y="8335"/>
                    <a:pt x="5168" y="8359"/>
                    <a:pt x="5382" y="8359"/>
                  </a:cubicBezTo>
                  <a:cubicBezTo>
                    <a:pt x="6834" y="8359"/>
                    <a:pt x="7989" y="7192"/>
                    <a:pt x="7989" y="5763"/>
                  </a:cubicBezTo>
                  <a:cubicBezTo>
                    <a:pt x="8025" y="5204"/>
                    <a:pt x="7846" y="4656"/>
                    <a:pt x="7513" y="4215"/>
                  </a:cubicBezTo>
                  <a:cubicBezTo>
                    <a:pt x="7739" y="3870"/>
                    <a:pt x="7858" y="3465"/>
                    <a:pt x="7858" y="3049"/>
                  </a:cubicBezTo>
                  <a:cubicBezTo>
                    <a:pt x="7858" y="1858"/>
                    <a:pt x="6906" y="894"/>
                    <a:pt x="5715" y="882"/>
                  </a:cubicBezTo>
                  <a:cubicBezTo>
                    <a:pt x="5322" y="322"/>
                    <a:pt x="4691" y="1"/>
                    <a:pt x="4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0" name="Google Shape;13110;p63"/>
            <p:cNvSpPr/>
            <p:nvPr/>
          </p:nvSpPr>
          <p:spPr>
            <a:xfrm>
              <a:off x="3960909" y="3498226"/>
              <a:ext cx="60992" cy="60992"/>
            </a:xfrm>
            <a:custGeom>
              <a:avLst/>
              <a:gdLst/>
              <a:ahLst/>
              <a:cxnLst/>
              <a:rect l="l" t="t" r="r" b="b"/>
              <a:pathLst>
                <a:path w="1906" h="1906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cubicBezTo>
                    <a:pt x="1" y="1120"/>
                    <a:pt x="775" y="1906"/>
                    <a:pt x="1751" y="1906"/>
                  </a:cubicBezTo>
                  <a:cubicBezTo>
                    <a:pt x="1834" y="1906"/>
                    <a:pt x="1906" y="1834"/>
                    <a:pt x="1906" y="1751"/>
                  </a:cubicBezTo>
                  <a:cubicBezTo>
                    <a:pt x="1906" y="1656"/>
                    <a:pt x="1834" y="1584"/>
                    <a:pt x="1751" y="1584"/>
                  </a:cubicBezTo>
                  <a:cubicBezTo>
                    <a:pt x="977" y="1584"/>
                    <a:pt x="334" y="953"/>
                    <a:pt x="334" y="167"/>
                  </a:cubicBez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1" name="Google Shape;13111;p63"/>
            <p:cNvSpPr/>
            <p:nvPr/>
          </p:nvSpPr>
          <p:spPr>
            <a:xfrm>
              <a:off x="4083981" y="3408690"/>
              <a:ext cx="44224" cy="43872"/>
            </a:xfrm>
            <a:custGeom>
              <a:avLst/>
              <a:gdLst/>
              <a:ahLst/>
              <a:cxnLst/>
              <a:rect l="l" t="t" r="r" b="b"/>
              <a:pathLst>
                <a:path w="1382" h="1371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655" y="334"/>
                    <a:pt x="1036" y="739"/>
                    <a:pt x="1036" y="1215"/>
                  </a:cubicBezTo>
                  <a:cubicBezTo>
                    <a:pt x="1036" y="1299"/>
                    <a:pt x="1120" y="1370"/>
                    <a:pt x="1203" y="1370"/>
                  </a:cubicBezTo>
                  <a:cubicBezTo>
                    <a:pt x="1298" y="1370"/>
                    <a:pt x="1370" y="1299"/>
                    <a:pt x="1370" y="1215"/>
                  </a:cubicBezTo>
                  <a:cubicBezTo>
                    <a:pt x="1382" y="560"/>
                    <a:pt x="83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12" name="Google Shape;13112;p63"/>
          <p:cNvGrpSpPr/>
          <p:nvPr/>
        </p:nvGrpSpPr>
        <p:grpSpPr>
          <a:xfrm>
            <a:off x="6056429" y="3351922"/>
            <a:ext cx="360064" cy="360096"/>
            <a:chOff x="6056429" y="3351922"/>
            <a:chExt cx="360064" cy="360096"/>
          </a:xfrm>
        </p:grpSpPr>
        <p:sp>
          <p:nvSpPr>
            <p:cNvPr id="13113" name="Google Shape;13113;p63"/>
            <p:cNvSpPr/>
            <p:nvPr/>
          </p:nvSpPr>
          <p:spPr>
            <a:xfrm>
              <a:off x="6056429" y="3351922"/>
              <a:ext cx="360064" cy="360096"/>
            </a:xfrm>
            <a:custGeom>
              <a:avLst/>
              <a:gdLst/>
              <a:ahLst/>
              <a:cxnLst/>
              <a:rect l="l" t="t" r="r" b="b"/>
              <a:pathLst>
                <a:path w="11252" h="11253" extrusionOk="0">
                  <a:moveTo>
                    <a:pt x="5501" y="3394"/>
                  </a:moveTo>
                  <a:lnTo>
                    <a:pt x="5501" y="5216"/>
                  </a:lnTo>
                  <a:lnTo>
                    <a:pt x="4215" y="3942"/>
                  </a:lnTo>
                  <a:lnTo>
                    <a:pt x="5501" y="3394"/>
                  </a:lnTo>
                  <a:close/>
                  <a:moveTo>
                    <a:pt x="3989" y="4180"/>
                  </a:moveTo>
                  <a:lnTo>
                    <a:pt x="5275" y="5454"/>
                  </a:lnTo>
                  <a:lnTo>
                    <a:pt x="3453" y="5454"/>
                  </a:lnTo>
                  <a:lnTo>
                    <a:pt x="3989" y="4180"/>
                  </a:lnTo>
                  <a:close/>
                  <a:moveTo>
                    <a:pt x="7346" y="4180"/>
                  </a:moveTo>
                  <a:lnTo>
                    <a:pt x="7882" y="5454"/>
                  </a:lnTo>
                  <a:lnTo>
                    <a:pt x="6060" y="5454"/>
                  </a:lnTo>
                  <a:lnTo>
                    <a:pt x="7346" y="4180"/>
                  </a:lnTo>
                  <a:close/>
                  <a:moveTo>
                    <a:pt x="5263" y="5787"/>
                  </a:moveTo>
                  <a:lnTo>
                    <a:pt x="3989" y="7061"/>
                  </a:lnTo>
                  <a:lnTo>
                    <a:pt x="3453" y="5787"/>
                  </a:lnTo>
                  <a:close/>
                  <a:moveTo>
                    <a:pt x="7858" y="5787"/>
                  </a:moveTo>
                  <a:lnTo>
                    <a:pt x="7346" y="7061"/>
                  </a:lnTo>
                  <a:lnTo>
                    <a:pt x="6060" y="5787"/>
                  </a:lnTo>
                  <a:close/>
                  <a:moveTo>
                    <a:pt x="5822" y="6025"/>
                  </a:moveTo>
                  <a:lnTo>
                    <a:pt x="7096" y="7299"/>
                  </a:lnTo>
                  <a:lnTo>
                    <a:pt x="5822" y="7823"/>
                  </a:lnTo>
                  <a:lnTo>
                    <a:pt x="5822" y="6025"/>
                  </a:lnTo>
                  <a:close/>
                  <a:moveTo>
                    <a:pt x="5632" y="1"/>
                  </a:moveTo>
                  <a:cubicBezTo>
                    <a:pt x="5537" y="1"/>
                    <a:pt x="5465" y="84"/>
                    <a:pt x="5465" y="167"/>
                  </a:cubicBezTo>
                  <a:lnTo>
                    <a:pt x="5465" y="1703"/>
                  </a:lnTo>
                  <a:lnTo>
                    <a:pt x="4525" y="763"/>
                  </a:lnTo>
                  <a:cubicBezTo>
                    <a:pt x="4495" y="733"/>
                    <a:pt x="4456" y="718"/>
                    <a:pt x="4414" y="718"/>
                  </a:cubicBezTo>
                  <a:cubicBezTo>
                    <a:pt x="4373" y="718"/>
                    <a:pt x="4328" y="733"/>
                    <a:pt x="4286" y="763"/>
                  </a:cubicBezTo>
                  <a:cubicBezTo>
                    <a:pt x="4227" y="822"/>
                    <a:pt x="4227" y="929"/>
                    <a:pt x="4286" y="1001"/>
                  </a:cubicBezTo>
                  <a:lnTo>
                    <a:pt x="5465" y="2180"/>
                  </a:lnTo>
                  <a:lnTo>
                    <a:pt x="5465" y="3061"/>
                  </a:lnTo>
                  <a:lnTo>
                    <a:pt x="3929" y="3692"/>
                  </a:lnTo>
                  <a:lnTo>
                    <a:pt x="3322" y="3084"/>
                  </a:lnTo>
                  <a:lnTo>
                    <a:pt x="3322" y="1418"/>
                  </a:lnTo>
                  <a:cubicBezTo>
                    <a:pt x="3322" y="1334"/>
                    <a:pt x="3251" y="1251"/>
                    <a:pt x="3155" y="1251"/>
                  </a:cubicBezTo>
                  <a:cubicBezTo>
                    <a:pt x="3072" y="1251"/>
                    <a:pt x="3001" y="1334"/>
                    <a:pt x="3001" y="1418"/>
                  </a:cubicBezTo>
                  <a:lnTo>
                    <a:pt x="3001" y="2763"/>
                  </a:lnTo>
                  <a:lnTo>
                    <a:pt x="1905" y="1668"/>
                  </a:lnTo>
                  <a:cubicBezTo>
                    <a:pt x="1875" y="1638"/>
                    <a:pt x="1837" y="1623"/>
                    <a:pt x="1795" y="1623"/>
                  </a:cubicBezTo>
                  <a:cubicBezTo>
                    <a:pt x="1753" y="1623"/>
                    <a:pt x="1709" y="1638"/>
                    <a:pt x="1667" y="1668"/>
                  </a:cubicBezTo>
                  <a:cubicBezTo>
                    <a:pt x="1608" y="1727"/>
                    <a:pt x="1608" y="1834"/>
                    <a:pt x="1667" y="1906"/>
                  </a:cubicBezTo>
                  <a:lnTo>
                    <a:pt x="2762" y="3001"/>
                  </a:lnTo>
                  <a:lnTo>
                    <a:pt x="1417" y="3001"/>
                  </a:lnTo>
                  <a:cubicBezTo>
                    <a:pt x="1334" y="3001"/>
                    <a:pt x="1250" y="3073"/>
                    <a:pt x="1250" y="3156"/>
                  </a:cubicBezTo>
                  <a:cubicBezTo>
                    <a:pt x="1250" y="3251"/>
                    <a:pt x="1334" y="3323"/>
                    <a:pt x="1417" y="3323"/>
                  </a:cubicBezTo>
                  <a:lnTo>
                    <a:pt x="3084" y="3323"/>
                  </a:lnTo>
                  <a:lnTo>
                    <a:pt x="3691" y="3930"/>
                  </a:lnTo>
                  <a:lnTo>
                    <a:pt x="3060" y="5466"/>
                  </a:lnTo>
                  <a:lnTo>
                    <a:pt x="2179" y="5466"/>
                  </a:lnTo>
                  <a:lnTo>
                    <a:pt x="1000" y="4287"/>
                  </a:lnTo>
                  <a:cubicBezTo>
                    <a:pt x="971" y="4257"/>
                    <a:pt x="929" y="4242"/>
                    <a:pt x="886" y="4242"/>
                  </a:cubicBezTo>
                  <a:cubicBezTo>
                    <a:pt x="843" y="4242"/>
                    <a:pt x="798" y="4257"/>
                    <a:pt x="762" y="4287"/>
                  </a:cubicBezTo>
                  <a:cubicBezTo>
                    <a:pt x="703" y="4347"/>
                    <a:pt x="703" y="4454"/>
                    <a:pt x="762" y="4525"/>
                  </a:cubicBezTo>
                  <a:lnTo>
                    <a:pt x="1703" y="5466"/>
                  </a:lnTo>
                  <a:lnTo>
                    <a:pt x="167" y="5466"/>
                  </a:lnTo>
                  <a:cubicBezTo>
                    <a:pt x="84" y="5466"/>
                    <a:pt x="0" y="5537"/>
                    <a:pt x="0" y="5632"/>
                  </a:cubicBezTo>
                  <a:cubicBezTo>
                    <a:pt x="0" y="5716"/>
                    <a:pt x="84" y="5799"/>
                    <a:pt x="167" y="5799"/>
                  </a:cubicBezTo>
                  <a:lnTo>
                    <a:pt x="1703" y="5799"/>
                  </a:lnTo>
                  <a:lnTo>
                    <a:pt x="762" y="6728"/>
                  </a:lnTo>
                  <a:cubicBezTo>
                    <a:pt x="703" y="6787"/>
                    <a:pt x="703" y="6894"/>
                    <a:pt x="762" y="6966"/>
                  </a:cubicBezTo>
                  <a:cubicBezTo>
                    <a:pt x="798" y="7002"/>
                    <a:pt x="834" y="7014"/>
                    <a:pt x="881" y="7014"/>
                  </a:cubicBezTo>
                  <a:cubicBezTo>
                    <a:pt x="929" y="7014"/>
                    <a:pt x="977" y="7002"/>
                    <a:pt x="1000" y="6966"/>
                  </a:cubicBezTo>
                  <a:lnTo>
                    <a:pt x="2179" y="5799"/>
                  </a:lnTo>
                  <a:lnTo>
                    <a:pt x="3060" y="5799"/>
                  </a:lnTo>
                  <a:lnTo>
                    <a:pt x="3691" y="7323"/>
                  </a:lnTo>
                  <a:lnTo>
                    <a:pt x="3084" y="7942"/>
                  </a:lnTo>
                  <a:lnTo>
                    <a:pt x="1417" y="7942"/>
                  </a:lnTo>
                  <a:cubicBezTo>
                    <a:pt x="1334" y="7942"/>
                    <a:pt x="1250" y="8014"/>
                    <a:pt x="1250" y="8097"/>
                  </a:cubicBezTo>
                  <a:cubicBezTo>
                    <a:pt x="1250" y="8192"/>
                    <a:pt x="1334" y="8264"/>
                    <a:pt x="1417" y="8264"/>
                  </a:cubicBezTo>
                  <a:lnTo>
                    <a:pt x="2762" y="8264"/>
                  </a:lnTo>
                  <a:lnTo>
                    <a:pt x="1667" y="9347"/>
                  </a:lnTo>
                  <a:cubicBezTo>
                    <a:pt x="1608" y="9407"/>
                    <a:pt x="1608" y="9514"/>
                    <a:pt x="1667" y="9585"/>
                  </a:cubicBezTo>
                  <a:cubicBezTo>
                    <a:pt x="1703" y="9621"/>
                    <a:pt x="1750" y="9633"/>
                    <a:pt x="1786" y="9633"/>
                  </a:cubicBezTo>
                  <a:cubicBezTo>
                    <a:pt x="1834" y="9633"/>
                    <a:pt x="1881" y="9621"/>
                    <a:pt x="1905" y="9585"/>
                  </a:cubicBezTo>
                  <a:lnTo>
                    <a:pt x="3001" y="8502"/>
                  </a:lnTo>
                  <a:lnTo>
                    <a:pt x="3001" y="8788"/>
                  </a:lnTo>
                  <a:cubicBezTo>
                    <a:pt x="3001" y="8871"/>
                    <a:pt x="3072" y="8954"/>
                    <a:pt x="3155" y="8954"/>
                  </a:cubicBezTo>
                  <a:cubicBezTo>
                    <a:pt x="3251" y="8954"/>
                    <a:pt x="3322" y="8871"/>
                    <a:pt x="3322" y="8788"/>
                  </a:cubicBezTo>
                  <a:lnTo>
                    <a:pt x="3322" y="8180"/>
                  </a:lnTo>
                  <a:lnTo>
                    <a:pt x="3929" y="7561"/>
                  </a:lnTo>
                  <a:lnTo>
                    <a:pt x="4394" y="7764"/>
                  </a:lnTo>
                  <a:cubicBezTo>
                    <a:pt x="4406" y="7776"/>
                    <a:pt x="4441" y="7776"/>
                    <a:pt x="4453" y="7776"/>
                  </a:cubicBezTo>
                  <a:cubicBezTo>
                    <a:pt x="4513" y="7776"/>
                    <a:pt x="4572" y="7728"/>
                    <a:pt x="4608" y="7668"/>
                  </a:cubicBezTo>
                  <a:cubicBezTo>
                    <a:pt x="4632" y="7585"/>
                    <a:pt x="4608" y="7490"/>
                    <a:pt x="4513" y="7466"/>
                  </a:cubicBezTo>
                  <a:lnTo>
                    <a:pt x="4191" y="7323"/>
                  </a:lnTo>
                  <a:lnTo>
                    <a:pt x="5465" y="6049"/>
                  </a:lnTo>
                  <a:lnTo>
                    <a:pt x="5465" y="7847"/>
                  </a:lnTo>
                  <a:lnTo>
                    <a:pt x="5168" y="7728"/>
                  </a:lnTo>
                  <a:cubicBezTo>
                    <a:pt x="5148" y="7722"/>
                    <a:pt x="5127" y="7719"/>
                    <a:pt x="5108" y="7719"/>
                  </a:cubicBezTo>
                  <a:cubicBezTo>
                    <a:pt x="5043" y="7719"/>
                    <a:pt x="4983" y="7750"/>
                    <a:pt x="4965" y="7823"/>
                  </a:cubicBezTo>
                  <a:cubicBezTo>
                    <a:pt x="4929" y="7907"/>
                    <a:pt x="4965" y="8002"/>
                    <a:pt x="5048" y="8026"/>
                  </a:cubicBezTo>
                  <a:lnTo>
                    <a:pt x="5465" y="8204"/>
                  </a:lnTo>
                  <a:lnTo>
                    <a:pt x="5465" y="9085"/>
                  </a:lnTo>
                  <a:lnTo>
                    <a:pt x="4286" y="10264"/>
                  </a:lnTo>
                  <a:cubicBezTo>
                    <a:pt x="4227" y="10323"/>
                    <a:pt x="4227" y="10419"/>
                    <a:pt x="4286" y="10502"/>
                  </a:cubicBezTo>
                  <a:cubicBezTo>
                    <a:pt x="4316" y="10532"/>
                    <a:pt x="4358" y="10547"/>
                    <a:pt x="4401" y="10547"/>
                  </a:cubicBezTo>
                  <a:cubicBezTo>
                    <a:pt x="4444" y="10547"/>
                    <a:pt x="4489" y="10532"/>
                    <a:pt x="4525" y="10502"/>
                  </a:cubicBezTo>
                  <a:lnTo>
                    <a:pt x="5465" y="9561"/>
                  </a:lnTo>
                  <a:lnTo>
                    <a:pt x="5465" y="11097"/>
                  </a:lnTo>
                  <a:cubicBezTo>
                    <a:pt x="5465" y="11181"/>
                    <a:pt x="5537" y="11252"/>
                    <a:pt x="5632" y="11252"/>
                  </a:cubicBezTo>
                  <a:cubicBezTo>
                    <a:pt x="5715" y="11252"/>
                    <a:pt x="5799" y="11181"/>
                    <a:pt x="5799" y="11097"/>
                  </a:cubicBezTo>
                  <a:lnTo>
                    <a:pt x="5799" y="9561"/>
                  </a:lnTo>
                  <a:lnTo>
                    <a:pt x="6727" y="10502"/>
                  </a:lnTo>
                  <a:cubicBezTo>
                    <a:pt x="6763" y="10526"/>
                    <a:pt x="6811" y="10538"/>
                    <a:pt x="6846" y="10538"/>
                  </a:cubicBezTo>
                  <a:cubicBezTo>
                    <a:pt x="6894" y="10538"/>
                    <a:pt x="6942" y="10526"/>
                    <a:pt x="6965" y="10502"/>
                  </a:cubicBezTo>
                  <a:cubicBezTo>
                    <a:pt x="7025" y="10443"/>
                    <a:pt x="7025" y="10335"/>
                    <a:pt x="6965" y="10264"/>
                  </a:cubicBezTo>
                  <a:lnTo>
                    <a:pt x="5799" y="9085"/>
                  </a:lnTo>
                  <a:lnTo>
                    <a:pt x="5799" y="8204"/>
                  </a:lnTo>
                  <a:lnTo>
                    <a:pt x="7323" y="7561"/>
                  </a:lnTo>
                  <a:lnTo>
                    <a:pt x="7942" y="8180"/>
                  </a:lnTo>
                  <a:lnTo>
                    <a:pt x="7942" y="9847"/>
                  </a:lnTo>
                  <a:cubicBezTo>
                    <a:pt x="7942" y="9931"/>
                    <a:pt x="8013" y="10014"/>
                    <a:pt x="8096" y="10014"/>
                  </a:cubicBezTo>
                  <a:cubicBezTo>
                    <a:pt x="8192" y="10014"/>
                    <a:pt x="8263" y="9931"/>
                    <a:pt x="8263" y="9847"/>
                  </a:cubicBezTo>
                  <a:lnTo>
                    <a:pt x="8263" y="8502"/>
                  </a:lnTo>
                  <a:lnTo>
                    <a:pt x="9347" y="9597"/>
                  </a:lnTo>
                  <a:cubicBezTo>
                    <a:pt x="9382" y="9621"/>
                    <a:pt x="9430" y="9633"/>
                    <a:pt x="9466" y="9633"/>
                  </a:cubicBezTo>
                  <a:cubicBezTo>
                    <a:pt x="9513" y="9633"/>
                    <a:pt x="9561" y="9621"/>
                    <a:pt x="9585" y="9597"/>
                  </a:cubicBezTo>
                  <a:cubicBezTo>
                    <a:pt x="9644" y="9538"/>
                    <a:pt x="9644" y="9431"/>
                    <a:pt x="9585" y="9347"/>
                  </a:cubicBezTo>
                  <a:lnTo>
                    <a:pt x="8501" y="8264"/>
                  </a:lnTo>
                  <a:lnTo>
                    <a:pt x="9847" y="8264"/>
                  </a:lnTo>
                  <a:cubicBezTo>
                    <a:pt x="9930" y="8264"/>
                    <a:pt x="10001" y="8192"/>
                    <a:pt x="10001" y="8109"/>
                  </a:cubicBezTo>
                  <a:cubicBezTo>
                    <a:pt x="10001" y="8014"/>
                    <a:pt x="9930" y="7942"/>
                    <a:pt x="9847" y="7942"/>
                  </a:cubicBezTo>
                  <a:lnTo>
                    <a:pt x="8180" y="7942"/>
                  </a:lnTo>
                  <a:lnTo>
                    <a:pt x="7561" y="7323"/>
                  </a:lnTo>
                  <a:lnTo>
                    <a:pt x="8204" y="5799"/>
                  </a:lnTo>
                  <a:lnTo>
                    <a:pt x="9085" y="5799"/>
                  </a:lnTo>
                  <a:lnTo>
                    <a:pt x="10263" y="6966"/>
                  </a:lnTo>
                  <a:cubicBezTo>
                    <a:pt x="10287" y="7002"/>
                    <a:pt x="10335" y="7014"/>
                    <a:pt x="10382" y="7014"/>
                  </a:cubicBezTo>
                  <a:cubicBezTo>
                    <a:pt x="10418" y="7014"/>
                    <a:pt x="10466" y="7002"/>
                    <a:pt x="10502" y="6966"/>
                  </a:cubicBezTo>
                  <a:cubicBezTo>
                    <a:pt x="10561" y="6918"/>
                    <a:pt x="10561" y="6811"/>
                    <a:pt x="10502" y="6728"/>
                  </a:cubicBezTo>
                  <a:lnTo>
                    <a:pt x="9561" y="5799"/>
                  </a:lnTo>
                  <a:lnTo>
                    <a:pt x="11097" y="5799"/>
                  </a:lnTo>
                  <a:cubicBezTo>
                    <a:pt x="11180" y="5799"/>
                    <a:pt x="11252" y="5728"/>
                    <a:pt x="11252" y="5632"/>
                  </a:cubicBezTo>
                  <a:cubicBezTo>
                    <a:pt x="11240" y="5525"/>
                    <a:pt x="11168" y="5454"/>
                    <a:pt x="11073" y="5454"/>
                  </a:cubicBezTo>
                  <a:lnTo>
                    <a:pt x="9549" y="5454"/>
                  </a:lnTo>
                  <a:lnTo>
                    <a:pt x="10478" y="4513"/>
                  </a:lnTo>
                  <a:cubicBezTo>
                    <a:pt x="10537" y="4454"/>
                    <a:pt x="10537" y="4358"/>
                    <a:pt x="10478" y="4275"/>
                  </a:cubicBezTo>
                  <a:cubicBezTo>
                    <a:pt x="10448" y="4245"/>
                    <a:pt x="10409" y="4230"/>
                    <a:pt x="10368" y="4230"/>
                  </a:cubicBezTo>
                  <a:cubicBezTo>
                    <a:pt x="10326" y="4230"/>
                    <a:pt x="10281" y="4245"/>
                    <a:pt x="10240" y="4275"/>
                  </a:cubicBezTo>
                  <a:lnTo>
                    <a:pt x="9073" y="5454"/>
                  </a:lnTo>
                  <a:lnTo>
                    <a:pt x="8192" y="5454"/>
                  </a:lnTo>
                  <a:lnTo>
                    <a:pt x="7549" y="3918"/>
                  </a:lnTo>
                  <a:lnTo>
                    <a:pt x="8156" y="3311"/>
                  </a:lnTo>
                  <a:lnTo>
                    <a:pt x="9823" y="3311"/>
                  </a:lnTo>
                  <a:cubicBezTo>
                    <a:pt x="9918" y="3311"/>
                    <a:pt x="9990" y="3239"/>
                    <a:pt x="9990" y="3144"/>
                  </a:cubicBezTo>
                  <a:cubicBezTo>
                    <a:pt x="9990" y="3061"/>
                    <a:pt x="9918" y="2989"/>
                    <a:pt x="9823" y="2989"/>
                  </a:cubicBezTo>
                  <a:lnTo>
                    <a:pt x="8489" y="2989"/>
                  </a:lnTo>
                  <a:lnTo>
                    <a:pt x="9573" y="1894"/>
                  </a:lnTo>
                  <a:cubicBezTo>
                    <a:pt x="9632" y="1834"/>
                    <a:pt x="9632" y="1739"/>
                    <a:pt x="9573" y="1656"/>
                  </a:cubicBezTo>
                  <a:cubicBezTo>
                    <a:pt x="9543" y="1626"/>
                    <a:pt x="9501" y="1611"/>
                    <a:pt x="9458" y="1611"/>
                  </a:cubicBezTo>
                  <a:cubicBezTo>
                    <a:pt x="9415" y="1611"/>
                    <a:pt x="9370" y="1626"/>
                    <a:pt x="9335" y="1656"/>
                  </a:cubicBezTo>
                  <a:lnTo>
                    <a:pt x="8251" y="2739"/>
                  </a:lnTo>
                  <a:lnTo>
                    <a:pt x="8251" y="2465"/>
                  </a:lnTo>
                  <a:cubicBezTo>
                    <a:pt x="8251" y="2370"/>
                    <a:pt x="8180" y="2299"/>
                    <a:pt x="8085" y="2299"/>
                  </a:cubicBezTo>
                  <a:cubicBezTo>
                    <a:pt x="8001" y="2299"/>
                    <a:pt x="7918" y="2370"/>
                    <a:pt x="7918" y="2465"/>
                  </a:cubicBezTo>
                  <a:lnTo>
                    <a:pt x="7918" y="3073"/>
                  </a:lnTo>
                  <a:lnTo>
                    <a:pt x="7311" y="3680"/>
                  </a:lnTo>
                  <a:lnTo>
                    <a:pt x="6906" y="3525"/>
                  </a:lnTo>
                  <a:cubicBezTo>
                    <a:pt x="6884" y="3516"/>
                    <a:pt x="6861" y="3511"/>
                    <a:pt x="6840" y="3511"/>
                  </a:cubicBezTo>
                  <a:cubicBezTo>
                    <a:pt x="6778" y="3511"/>
                    <a:pt x="6721" y="3547"/>
                    <a:pt x="6703" y="3608"/>
                  </a:cubicBezTo>
                  <a:cubicBezTo>
                    <a:pt x="6668" y="3704"/>
                    <a:pt x="6703" y="3787"/>
                    <a:pt x="6787" y="3823"/>
                  </a:cubicBezTo>
                  <a:lnTo>
                    <a:pt x="7073" y="3942"/>
                  </a:lnTo>
                  <a:lnTo>
                    <a:pt x="5799" y="5216"/>
                  </a:lnTo>
                  <a:lnTo>
                    <a:pt x="5799" y="3418"/>
                  </a:lnTo>
                  <a:lnTo>
                    <a:pt x="6096" y="3537"/>
                  </a:lnTo>
                  <a:cubicBezTo>
                    <a:pt x="6116" y="3543"/>
                    <a:pt x="6136" y="3546"/>
                    <a:pt x="6156" y="3546"/>
                  </a:cubicBezTo>
                  <a:cubicBezTo>
                    <a:pt x="6221" y="3546"/>
                    <a:pt x="6280" y="3514"/>
                    <a:pt x="6299" y="3442"/>
                  </a:cubicBezTo>
                  <a:cubicBezTo>
                    <a:pt x="6334" y="3358"/>
                    <a:pt x="6299" y="3263"/>
                    <a:pt x="6215" y="3239"/>
                  </a:cubicBezTo>
                  <a:lnTo>
                    <a:pt x="5799" y="3061"/>
                  </a:lnTo>
                  <a:lnTo>
                    <a:pt x="5799" y="2180"/>
                  </a:lnTo>
                  <a:lnTo>
                    <a:pt x="6965" y="1001"/>
                  </a:lnTo>
                  <a:cubicBezTo>
                    <a:pt x="7025" y="941"/>
                    <a:pt x="7025" y="834"/>
                    <a:pt x="6965" y="763"/>
                  </a:cubicBezTo>
                  <a:cubicBezTo>
                    <a:pt x="6936" y="733"/>
                    <a:pt x="6897" y="718"/>
                    <a:pt x="6855" y="718"/>
                  </a:cubicBezTo>
                  <a:cubicBezTo>
                    <a:pt x="6814" y="718"/>
                    <a:pt x="6769" y="733"/>
                    <a:pt x="6727" y="763"/>
                  </a:cubicBezTo>
                  <a:lnTo>
                    <a:pt x="5799" y="1703"/>
                  </a:lnTo>
                  <a:lnTo>
                    <a:pt x="5799" y="167"/>
                  </a:lnTo>
                  <a:cubicBezTo>
                    <a:pt x="5799" y="84"/>
                    <a:pt x="5715" y="1"/>
                    <a:pt x="5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4" name="Google Shape;13114;p63"/>
            <p:cNvSpPr/>
            <p:nvPr/>
          </p:nvSpPr>
          <p:spPr>
            <a:xfrm>
              <a:off x="6311309" y="3392306"/>
              <a:ext cx="10688" cy="21760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1" y="679"/>
                    <a:pt x="322" y="608"/>
                    <a:pt x="322" y="513"/>
                  </a:cubicBezTo>
                  <a:lnTo>
                    <a:pt x="322" y="156"/>
                  </a:lnTo>
                  <a:cubicBezTo>
                    <a:pt x="334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5" name="Google Shape;13115;p63"/>
            <p:cNvSpPr/>
            <p:nvPr/>
          </p:nvSpPr>
          <p:spPr>
            <a:xfrm>
              <a:off x="6153197" y="3649490"/>
              <a:ext cx="10688" cy="21760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3"/>
                  </a:cubicBezTo>
                  <a:lnTo>
                    <a:pt x="334" y="155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16" name="Google Shape;13116;p63"/>
          <p:cNvGrpSpPr/>
          <p:nvPr/>
        </p:nvGrpSpPr>
        <p:grpSpPr>
          <a:xfrm>
            <a:off x="6608877" y="3353074"/>
            <a:ext cx="357408" cy="357408"/>
            <a:chOff x="6608877" y="3353074"/>
            <a:chExt cx="357408" cy="357408"/>
          </a:xfrm>
        </p:grpSpPr>
        <p:sp>
          <p:nvSpPr>
            <p:cNvPr id="13117" name="Google Shape;13117;p63"/>
            <p:cNvSpPr/>
            <p:nvPr/>
          </p:nvSpPr>
          <p:spPr>
            <a:xfrm>
              <a:off x="6608877" y="3353074"/>
              <a:ext cx="357408" cy="357408"/>
            </a:xfrm>
            <a:custGeom>
              <a:avLst/>
              <a:gdLst/>
              <a:ahLst/>
              <a:cxnLst/>
              <a:rect l="l" t="t" r="r" b="b"/>
              <a:pathLst>
                <a:path w="11169" h="11169" extrusionOk="0">
                  <a:moveTo>
                    <a:pt x="357" y="5049"/>
                  </a:moveTo>
                  <a:lnTo>
                    <a:pt x="477" y="5215"/>
                  </a:lnTo>
                  <a:cubicBezTo>
                    <a:pt x="536" y="5287"/>
                    <a:pt x="619" y="5334"/>
                    <a:pt x="703" y="5346"/>
                  </a:cubicBezTo>
                  <a:lnTo>
                    <a:pt x="750" y="5346"/>
                  </a:lnTo>
                  <a:lnTo>
                    <a:pt x="619" y="6001"/>
                  </a:lnTo>
                  <a:cubicBezTo>
                    <a:pt x="584" y="6132"/>
                    <a:pt x="596" y="6251"/>
                    <a:pt x="643" y="6382"/>
                  </a:cubicBezTo>
                  <a:lnTo>
                    <a:pt x="988" y="7311"/>
                  </a:lnTo>
                  <a:cubicBezTo>
                    <a:pt x="988" y="7323"/>
                    <a:pt x="1000" y="7359"/>
                    <a:pt x="1000" y="7370"/>
                  </a:cubicBezTo>
                  <a:lnTo>
                    <a:pt x="1012" y="8156"/>
                  </a:lnTo>
                  <a:cubicBezTo>
                    <a:pt x="560" y="7370"/>
                    <a:pt x="334" y="6489"/>
                    <a:pt x="334" y="5585"/>
                  </a:cubicBezTo>
                  <a:cubicBezTo>
                    <a:pt x="334" y="5406"/>
                    <a:pt x="346" y="5227"/>
                    <a:pt x="357" y="5049"/>
                  </a:cubicBezTo>
                  <a:close/>
                  <a:moveTo>
                    <a:pt x="5537" y="405"/>
                  </a:moveTo>
                  <a:cubicBezTo>
                    <a:pt x="6525" y="405"/>
                    <a:pt x="7477" y="667"/>
                    <a:pt x="8299" y="1179"/>
                  </a:cubicBezTo>
                  <a:lnTo>
                    <a:pt x="7656" y="1608"/>
                  </a:lnTo>
                  <a:cubicBezTo>
                    <a:pt x="7596" y="1655"/>
                    <a:pt x="7561" y="1727"/>
                    <a:pt x="7596" y="1798"/>
                  </a:cubicBezTo>
                  <a:lnTo>
                    <a:pt x="7763" y="2251"/>
                  </a:lnTo>
                  <a:lnTo>
                    <a:pt x="7763" y="2263"/>
                  </a:lnTo>
                  <a:lnTo>
                    <a:pt x="7585" y="2334"/>
                  </a:lnTo>
                  <a:cubicBezTo>
                    <a:pt x="7406" y="2394"/>
                    <a:pt x="7287" y="2560"/>
                    <a:pt x="7251" y="2751"/>
                  </a:cubicBezTo>
                  <a:lnTo>
                    <a:pt x="6751" y="3037"/>
                  </a:lnTo>
                  <a:cubicBezTo>
                    <a:pt x="6703" y="3060"/>
                    <a:pt x="6668" y="3108"/>
                    <a:pt x="6656" y="3168"/>
                  </a:cubicBezTo>
                  <a:lnTo>
                    <a:pt x="6549" y="4132"/>
                  </a:lnTo>
                  <a:lnTo>
                    <a:pt x="6418" y="4180"/>
                  </a:lnTo>
                  <a:cubicBezTo>
                    <a:pt x="6334" y="4215"/>
                    <a:pt x="6287" y="4299"/>
                    <a:pt x="6311" y="4394"/>
                  </a:cubicBezTo>
                  <a:cubicBezTo>
                    <a:pt x="6346" y="4465"/>
                    <a:pt x="6406" y="4489"/>
                    <a:pt x="6465" y="4489"/>
                  </a:cubicBezTo>
                  <a:cubicBezTo>
                    <a:pt x="6477" y="4489"/>
                    <a:pt x="6489" y="4489"/>
                    <a:pt x="6525" y="4477"/>
                  </a:cubicBezTo>
                  <a:lnTo>
                    <a:pt x="6763" y="4406"/>
                  </a:lnTo>
                  <a:cubicBezTo>
                    <a:pt x="6823" y="4394"/>
                    <a:pt x="6870" y="4334"/>
                    <a:pt x="6870" y="4275"/>
                  </a:cubicBezTo>
                  <a:lnTo>
                    <a:pt x="6965" y="3287"/>
                  </a:lnTo>
                  <a:lnTo>
                    <a:pt x="7227" y="3156"/>
                  </a:lnTo>
                  <a:lnTo>
                    <a:pt x="7204" y="3441"/>
                  </a:lnTo>
                  <a:cubicBezTo>
                    <a:pt x="7204" y="3525"/>
                    <a:pt x="7263" y="3596"/>
                    <a:pt x="7358" y="3620"/>
                  </a:cubicBezTo>
                  <a:lnTo>
                    <a:pt x="7370" y="3620"/>
                  </a:lnTo>
                  <a:cubicBezTo>
                    <a:pt x="7465" y="3620"/>
                    <a:pt x="7537" y="3560"/>
                    <a:pt x="7537" y="3465"/>
                  </a:cubicBezTo>
                  <a:lnTo>
                    <a:pt x="7585" y="2822"/>
                  </a:lnTo>
                  <a:cubicBezTo>
                    <a:pt x="7585" y="2751"/>
                    <a:pt x="7644" y="2691"/>
                    <a:pt x="7692" y="2667"/>
                  </a:cubicBezTo>
                  <a:lnTo>
                    <a:pt x="7882" y="2584"/>
                  </a:lnTo>
                  <a:cubicBezTo>
                    <a:pt x="8037" y="2525"/>
                    <a:pt x="8132" y="2334"/>
                    <a:pt x="8073" y="2156"/>
                  </a:cubicBezTo>
                  <a:lnTo>
                    <a:pt x="7954" y="1834"/>
                  </a:lnTo>
                  <a:lnTo>
                    <a:pt x="8608" y="1394"/>
                  </a:lnTo>
                  <a:cubicBezTo>
                    <a:pt x="8847" y="1560"/>
                    <a:pt x="9073" y="1751"/>
                    <a:pt x="9275" y="1965"/>
                  </a:cubicBezTo>
                  <a:cubicBezTo>
                    <a:pt x="10275" y="2965"/>
                    <a:pt x="10811" y="4275"/>
                    <a:pt x="10811" y="5680"/>
                  </a:cubicBezTo>
                  <a:cubicBezTo>
                    <a:pt x="10811" y="7097"/>
                    <a:pt x="10287" y="8311"/>
                    <a:pt x="9287" y="9299"/>
                  </a:cubicBezTo>
                  <a:cubicBezTo>
                    <a:pt x="8299" y="10299"/>
                    <a:pt x="6989" y="10835"/>
                    <a:pt x="5572" y="10835"/>
                  </a:cubicBezTo>
                  <a:cubicBezTo>
                    <a:pt x="4156" y="10835"/>
                    <a:pt x="2846" y="10287"/>
                    <a:pt x="1846" y="9299"/>
                  </a:cubicBezTo>
                  <a:cubicBezTo>
                    <a:pt x="1655" y="9109"/>
                    <a:pt x="1477" y="8906"/>
                    <a:pt x="1310" y="8680"/>
                  </a:cubicBezTo>
                  <a:lnTo>
                    <a:pt x="1286" y="7370"/>
                  </a:lnTo>
                  <a:cubicBezTo>
                    <a:pt x="1286" y="7311"/>
                    <a:pt x="1274" y="7251"/>
                    <a:pt x="1250" y="7204"/>
                  </a:cubicBezTo>
                  <a:lnTo>
                    <a:pt x="917" y="6287"/>
                  </a:lnTo>
                  <a:cubicBezTo>
                    <a:pt x="881" y="6227"/>
                    <a:pt x="881" y="6144"/>
                    <a:pt x="893" y="6085"/>
                  </a:cubicBezTo>
                  <a:lnTo>
                    <a:pt x="1096" y="5156"/>
                  </a:lnTo>
                  <a:lnTo>
                    <a:pt x="1393" y="4918"/>
                  </a:lnTo>
                  <a:cubicBezTo>
                    <a:pt x="1429" y="4882"/>
                    <a:pt x="1453" y="4834"/>
                    <a:pt x="1453" y="4799"/>
                  </a:cubicBezTo>
                  <a:lnTo>
                    <a:pt x="1453" y="4442"/>
                  </a:lnTo>
                  <a:lnTo>
                    <a:pt x="1846" y="4465"/>
                  </a:lnTo>
                  <a:lnTo>
                    <a:pt x="2179" y="5418"/>
                  </a:lnTo>
                  <a:cubicBezTo>
                    <a:pt x="2203" y="5513"/>
                    <a:pt x="2286" y="5596"/>
                    <a:pt x="2358" y="5644"/>
                  </a:cubicBezTo>
                  <a:cubicBezTo>
                    <a:pt x="2420" y="5679"/>
                    <a:pt x="2479" y="5697"/>
                    <a:pt x="2540" y="5697"/>
                  </a:cubicBezTo>
                  <a:cubicBezTo>
                    <a:pt x="2584" y="5697"/>
                    <a:pt x="2629" y="5688"/>
                    <a:pt x="2679" y="5668"/>
                  </a:cubicBezTo>
                  <a:cubicBezTo>
                    <a:pt x="2786" y="5644"/>
                    <a:pt x="2882" y="5573"/>
                    <a:pt x="2941" y="5465"/>
                  </a:cubicBezTo>
                  <a:lnTo>
                    <a:pt x="3144" y="5037"/>
                  </a:lnTo>
                  <a:lnTo>
                    <a:pt x="3536" y="4763"/>
                  </a:lnTo>
                  <a:cubicBezTo>
                    <a:pt x="3565" y="4739"/>
                    <a:pt x="3602" y="4727"/>
                    <a:pt x="3639" y="4727"/>
                  </a:cubicBezTo>
                  <a:cubicBezTo>
                    <a:pt x="3694" y="4727"/>
                    <a:pt x="3751" y="4754"/>
                    <a:pt x="3786" y="4811"/>
                  </a:cubicBezTo>
                  <a:lnTo>
                    <a:pt x="4227" y="5406"/>
                  </a:lnTo>
                  <a:cubicBezTo>
                    <a:pt x="4263" y="5430"/>
                    <a:pt x="4310" y="5465"/>
                    <a:pt x="4346" y="5465"/>
                  </a:cubicBezTo>
                  <a:lnTo>
                    <a:pt x="4525" y="5477"/>
                  </a:lnTo>
                  <a:cubicBezTo>
                    <a:pt x="4525" y="5477"/>
                    <a:pt x="4548" y="5477"/>
                    <a:pt x="4548" y="5489"/>
                  </a:cubicBezTo>
                  <a:lnTo>
                    <a:pt x="4751" y="6204"/>
                  </a:lnTo>
                  <a:cubicBezTo>
                    <a:pt x="4763" y="6287"/>
                    <a:pt x="4846" y="6323"/>
                    <a:pt x="4918" y="6323"/>
                  </a:cubicBezTo>
                  <a:lnTo>
                    <a:pt x="4965" y="6323"/>
                  </a:lnTo>
                  <a:cubicBezTo>
                    <a:pt x="5049" y="6299"/>
                    <a:pt x="5096" y="6204"/>
                    <a:pt x="5060" y="6120"/>
                  </a:cubicBezTo>
                  <a:lnTo>
                    <a:pt x="4977" y="5835"/>
                  </a:lnTo>
                  <a:lnTo>
                    <a:pt x="5299" y="5715"/>
                  </a:lnTo>
                  <a:cubicBezTo>
                    <a:pt x="5513" y="5644"/>
                    <a:pt x="5656" y="5418"/>
                    <a:pt x="5632" y="5192"/>
                  </a:cubicBezTo>
                  <a:lnTo>
                    <a:pt x="5596" y="4751"/>
                  </a:lnTo>
                  <a:lnTo>
                    <a:pt x="5870" y="4656"/>
                  </a:lnTo>
                  <a:cubicBezTo>
                    <a:pt x="5953" y="4632"/>
                    <a:pt x="6001" y="4537"/>
                    <a:pt x="5977" y="4453"/>
                  </a:cubicBezTo>
                  <a:cubicBezTo>
                    <a:pt x="5949" y="4377"/>
                    <a:pt x="5890" y="4339"/>
                    <a:pt x="5818" y="4339"/>
                  </a:cubicBezTo>
                  <a:cubicBezTo>
                    <a:pt x="5801" y="4339"/>
                    <a:pt x="5782" y="4342"/>
                    <a:pt x="5763" y="4346"/>
                  </a:cubicBezTo>
                  <a:lnTo>
                    <a:pt x="5382" y="4477"/>
                  </a:lnTo>
                  <a:cubicBezTo>
                    <a:pt x="5299" y="4513"/>
                    <a:pt x="5263" y="4572"/>
                    <a:pt x="5275" y="4644"/>
                  </a:cubicBezTo>
                  <a:lnTo>
                    <a:pt x="5322" y="5215"/>
                  </a:lnTo>
                  <a:cubicBezTo>
                    <a:pt x="5322" y="5299"/>
                    <a:pt x="5275" y="5370"/>
                    <a:pt x="5203" y="5406"/>
                  </a:cubicBezTo>
                  <a:lnTo>
                    <a:pt x="4906" y="5525"/>
                  </a:lnTo>
                  <a:lnTo>
                    <a:pt x="4870" y="5418"/>
                  </a:lnTo>
                  <a:cubicBezTo>
                    <a:pt x="4822" y="5287"/>
                    <a:pt x="4703" y="5180"/>
                    <a:pt x="4572" y="5180"/>
                  </a:cubicBezTo>
                  <a:lnTo>
                    <a:pt x="4465" y="5168"/>
                  </a:lnTo>
                  <a:lnTo>
                    <a:pt x="4072" y="4632"/>
                  </a:lnTo>
                  <a:cubicBezTo>
                    <a:pt x="3973" y="4497"/>
                    <a:pt x="3822" y="4425"/>
                    <a:pt x="3669" y="4425"/>
                  </a:cubicBezTo>
                  <a:cubicBezTo>
                    <a:pt x="3565" y="4425"/>
                    <a:pt x="3461" y="4458"/>
                    <a:pt x="3370" y="4525"/>
                  </a:cubicBezTo>
                  <a:lnTo>
                    <a:pt x="2941" y="4823"/>
                  </a:lnTo>
                  <a:cubicBezTo>
                    <a:pt x="2905" y="4834"/>
                    <a:pt x="2893" y="4846"/>
                    <a:pt x="2882" y="4882"/>
                  </a:cubicBezTo>
                  <a:lnTo>
                    <a:pt x="2643" y="5346"/>
                  </a:lnTo>
                  <a:cubicBezTo>
                    <a:pt x="2620" y="5370"/>
                    <a:pt x="2596" y="5382"/>
                    <a:pt x="2596" y="5382"/>
                  </a:cubicBezTo>
                  <a:cubicBezTo>
                    <a:pt x="2588" y="5382"/>
                    <a:pt x="2569" y="5393"/>
                    <a:pt x="2554" y="5393"/>
                  </a:cubicBezTo>
                  <a:cubicBezTo>
                    <a:pt x="2547" y="5393"/>
                    <a:pt x="2540" y="5390"/>
                    <a:pt x="2536" y="5382"/>
                  </a:cubicBezTo>
                  <a:cubicBezTo>
                    <a:pt x="2524" y="5370"/>
                    <a:pt x="2501" y="5358"/>
                    <a:pt x="2501" y="5346"/>
                  </a:cubicBezTo>
                  <a:lnTo>
                    <a:pt x="2131" y="4287"/>
                  </a:lnTo>
                  <a:cubicBezTo>
                    <a:pt x="2120" y="4227"/>
                    <a:pt x="2060" y="4180"/>
                    <a:pt x="1989" y="4180"/>
                  </a:cubicBezTo>
                  <a:lnTo>
                    <a:pt x="1369" y="4132"/>
                  </a:lnTo>
                  <a:lnTo>
                    <a:pt x="1167" y="3858"/>
                  </a:lnTo>
                  <a:cubicBezTo>
                    <a:pt x="1132" y="3809"/>
                    <a:pt x="1085" y="3785"/>
                    <a:pt x="1038" y="3785"/>
                  </a:cubicBezTo>
                  <a:cubicBezTo>
                    <a:pt x="1005" y="3785"/>
                    <a:pt x="971" y="3798"/>
                    <a:pt x="941" y="3822"/>
                  </a:cubicBezTo>
                  <a:cubicBezTo>
                    <a:pt x="869" y="3882"/>
                    <a:pt x="858" y="3977"/>
                    <a:pt x="917" y="4049"/>
                  </a:cubicBezTo>
                  <a:lnTo>
                    <a:pt x="1131" y="4346"/>
                  </a:lnTo>
                  <a:lnTo>
                    <a:pt x="1131" y="4751"/>
                  </a:lnTo>
                  <a:lnTo>
                    <a:pt x="715" y="5073"/>
                  </a:lnTo>
                  <a:lnTo>
                    <a:pt x="691" y="5073"/>
                  </a:lnTo>
                  <a:lnTo>
                    <a:pt x="381" y="4656"/>
                  </a:lnTo>
                  <a:cubicBezTo>
                    <a:pt x="500" y="4001"/>
                    <a:pt x="750" y="3394"/>
                    <a:pt x="1096" y="2846"/>
                  </a:cubicBezTo>
                  <a:lnTo>
                    <a:pt x="1310" y="3179"/>
                  </a:lnTo>
                  <a:cubicBezTo>
                    <a:pt x="1346" y="3227"/>
                    <a:pt x="1405" y="3263"/>
                    <a:pt x="1453" y="3263"/>
                  </a:cubicBezTo>
                  <a:cubicBezTo>
                    <a:pt x="1477" y="3263"/>
                    <a:pt x="1512" y="3239"/>
                    <a:pt x="1536" y="3227"/>
                  </a:cubicBezTo>
                  <a:cubicBezTo>
                    <a:pt x="1608" y="3179"/>
                    <a:pt x="1631" y="3084"/>
                    <a:pt x="1584" y="3001"/>
                  </a:cubicBezTo>
                  <a:lnTo>
                    <a:pt x="1286" y="2560"/>
                  </a:lnTo>
                  <a:cubicBezTo>
                    <a:pt x="1453" y="2334"/>
                    <a:pt x="1631" y="2132"/>
                    <a:pt x="1822" y="1929"/>
                  </a:cubicBezTo>
                  <a:cubicBezTo>
                    <a:pt x="2822" y="941"/>
                    <a:pt x="4132" y="405"/>
                    <a:pt x="5537" y="405"/>
                  </a:cubicBezTo>
                  <a:close/>
                  <a:moveTo>
                    <a:pt x="5584" y="0"/>
                  </a:moveTo>
                  <a:cubicBezTo>
                    <a:pt x="4096" y="0"/>
                    <a:pt x="2703" y="584"/>
                    <a:pt x="1643" y="1644"/>
                  </a:cubicBezTo>
                  <a:cubicBezTo>
                    <a:pt x="584" y="2691"/>
                    <a:pt x="0" y="4096"/>
                    <a:pt x="0" y="5585"/>
                  </a:cubicBezTo>
                  <a:cubicBezTo>
                    <a:pt x="0" y="7073"/>
                    <a:pt x="584" y="8466"/>
                    <a:pt x="1643" y="9525"/>
                  </a:cubicBezTo>
                  <a:cubicBezTo>
                    <a:pt x="2703" y="10585"/>
                    <a:pt x="4096" y="11169"/>
                    <a:pt x="5584" y="11169"/>
                  </a:cubicBezTo>
                  <a:cubicBezTo>
                    <a:pt x="7073" y="11169"/>
                    <a:pt x="8478" y="10585"/>
                    <a:pt x="9525" y="9525"/>
                  </a:cubicBezTo>
                  <a:cubicBezTo>
                    <a:pt x="10585" y="8466"/>
                    <a:pt x="11168" y="7073"/>
                    <a:pt x="11168" y="5585"/>
                  </a:cubicBezTo>
                  <a:cubicBezTo>
                    <a:pt x="11168" y="4096"/>
                    <a:pt x="10585" y="2691"/>
                    <a:pt x="9525" y="1644"/>
                  </a:cubicBezTo>
                  <a:cubicBezTo>
                    <a:pt x="8478" y="584"/>
                    <a:pt x="7073" y="0"/>
                    <a:pt x="5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8" name="Google Shape;13118;p63"/>
            <p:cNvSpPr/>
            <p:nvPr/>
          </p:nvSpPr>
          <p:spPr>
            <a:xfrm>
              <a:off x="6770029" y="3565170"/>
              <a:ext cx="44608" cy="27968"/>
            </a:xfrm>
            <a:custGeom>
              <a:avLst/>
              <a:gdLst/>
              <a:ahLst/>
              <a:cxnLst/>
              <a:rect l="l" t="t" r="r" b="b"/>
              <a:pathLst>
                <a:path w="1394" h="874" extrusionOk="0">
                  <a:moveTo>
                    <a:pt x="166" y="1"/>
                  </a:moveTo>
                  <a:cubicBezTo>
                    <a:pt x="121" y="1"/>
                    <a:pt x="80" y="19"/>
                    <a:pt x="60" y="52"/>
                  </a:cubicBezTo>
                  <a:cubicBezTo>
                    <a:pt x="1" y="135"/>
                    <a:pt x="13" y="230"/>
                    <a:pt x="72" y="278"/>
                  </a:cubicBezTo>
                  <a:lnTo>
                    <a:pt x="620" y="742"/>
                  </a:lnTo>
                  <a:cubicBezTo>
                    <a:pt x="715" y="814"/>
                    <a:pt x="798" y="850"/>
                    <a:pt x="917" y="862"/>
                  </a:cubicBezTo>
                  <a:lnTo>
                    <a:pt x="1215" y="873"/>
                  </a:lnTo>
                  <a:lnTo>
                    <a:pt x="1227" y="873"/>
                  </a:lnTo>
                  <a:cubicBezTo>
                    <a:pt x="1322" y="873"/>
                    <a:pt x="1394" y="814"/>
                    <a:pt x="1394" y="731"/>
                  </a:cubicBezTo>
                  <a:cubicBezTo>
                    <a:pt x="1394" y="647"/>
                    <a:pt x="1322" y="576"/>
                    <a:pt x="1239" y="564"/>
                  </a:cubicBezTo>
                  <a:lnTo>
                    <a:pt x="941" y="552"/>
                  </a:lnTo>
                  <a:cubicBezTo>
                    <a:pt x="894" y="552"/>
                    <a:pt x="858" y="528"/>
                    <a:pt x="834" y="504"/>
                  </a:cubicBezTo>
                  <a:lnTo>
                    <a:pt x="274" y="40"/>
                  </a:lnTo>
                  <a:cubicBezTo>
                    <a:pt x="242" y="13"/>
                    <a:pt x="203" y="1"/>
                    <a:pt x="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9" name="Google Shape;13119;p63"/>
            <p:cNvSpPr/>
            <p:nvPr/>
          </p:nvSpPr>
          <p:spPr>
            <a:xfrm>
              <a:off x="6859949" y="3437074"/>
              <a:ext cx="24416" cy="31840"/>
            </a:xfrm>
            <a:custGeom>
              <a:avLst/>
              <a:gdLst/>
              <a:ahLst/>
              <a:cxnLst/>
              <a:rect l="l" t="t" r="r" b="b"/>
              <a:pathLst>
                <a:path w="763" h="995" extrusionOk="0">
                  <a:moveTo>
                    <a:pt x="583" y="1"/>
                  </a:moveTo>
                  <a:cubicBezTo>
                    <a:pt x="509" y="1"/>
                    <a:pt x="447" y="45"/>
                    <a:pt x="417" y="114"/>
                  </a:cubicBezTo>
                  <a:lnTo>
                    <a:pt x="334" y="400"/>
                  </a:lnTo>
                  <a:lnTo>
                    <a:pt x="60" y="745"/>
                  </a:lnTo>
                  <a:cubicBezTo>
                    <a:pt x="0" y="816"/>
                    <a:pt x="12" y="924"/>
                    <a:pt x="96" y="959"/>
                  </a:cubicBezTo>
                  <a:cubicBezTo>
                    <a:pt x="120" y="995"/>
                    <a:pt x="155" y="995"/>
                    <a:pt x="191" y="995"/>
                  </a:cubicBezTo>
                  <a:cubicBezTo>
                    <a:pt x="239" y="995"/>
                    <a:pt x="298" y="983"/>
                    <a:pt x="334" y="935"/>
                  </a:cubicBezTo>
                  <a:lnTo>
                    <a:pt x="608" y="566"/>
                  </a:lnTo>
                  <a:cubicBezTo>
                    <a:pt x="632" y="543"/>
                    <a:pt x="632" y="531"/>
                    <a:pt x="643" y="519"/>
                  </a:cubicBezTo>
                  <a:lnTo>
                    <a:pt x="751" y="209"/>
                  </a:lnTo>
                  <a:cubicBezTo>
                    <a:pt x="762" y="126"/>
                    <a:pt x="715" y="42"/>
                    <a:pt x="632" y="7"/>
                  </a:cubicBezTo>
                  <a:cubicBezTo>
                    <a:pt x="615" y="3"/>
                    <a:pt x="599" y="1"/>
                    <a:pt x="5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0" name="Google Shape;13120;p63"/>
            <p:cNvSpPr/>
            <p:nvPr/>
          </p:nvSpPr>
          <p:spPr>
            <a:xfrm>
              <a:off x="6824525" y="3509426"/>
              <a:ext cx="17920" cy="28448"/>
            </a:xfrm>
            <a:custGeom>
              <a:avLst/>
              <a:gdLst/>
              <a:ahLst/>
              <a:cxnLst/>
              <a:rect l="l" t="t" r="r" b="b"/>
              <a:pathLst>
                <a:path w="560" h="889" extrusionOk="0">
                  <a:moveTo>
                    <a:pt x="194" y="1"/>
                  </a:moveTo>
                  <a:cubicBezTo>
                    <a:pt x="177" y="1"/>
                    <a:pt x="160" y="3"/>
                    <a:pt x="143" y="8"/>
                  </a:cubicBezTo>
                  <a:cubicBezTo>
                    <a:pt x="48" y="44"/>
                    <a:pt x="0" y="127"/>
                    <a:pt x="36" y="222"/>
                  </a:cubicBezTo>
                  <a:lnTo>
                    <a:pt x="215" y="770"/>
                  </a:lnTo>
                  <a:cubicBezTo>
                    <a:pt x="226" y="841"/>
                    <a:pt x="298" y="889"/>
                    <a:pt x="357" y="889"/>
                  </a:cubicBezTo>
                  <a:cubicBezTo>
                    <a:pt x="381" y="889"/>
                    <a:pt x="393" y="889"/>
                    <a:pt x="405" y="877"/>
                  </a:cubicBezTo>
                  <a:cubicBezTo>
                    <a:pt x="500" y="841"/>
                    <a:pt x="560" y="746"/>
                    <a:pt x="524" y="663"/>
                  </a:cubicBezTo>
                  <a:lnTo>
                    <a:pt x="345" y="115"/>
                  </a:lnTo>
                  <a:cubicBezTo>
                    <a:pt x="326" y="39"/>
                    <a:pt x="262" y="1"/>
                    <a:pt x="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1" name="Google Shape;13121;p63"/>
            <p:cNvSpPr/>
            <p:nvPr/>
          </p:nvSpPr>
          <p:spPr>
            <a:xfrm>
              <a:off x="6790989" y="3541906"/>
              <a:ext cx="42688" cy="34464"/>
            </a:xfrm>
            <a:custGeom>
              <a:avLst/>
              <a:gdLst/>
              <a:ahLst/>
              <a:cxnLst/>
              <a:rect l="l" t="t" r="r" b="b"/>
              <a:pathLst>
                <a:path w="1334" h="1077" extrusionOk="0">
                  <a:moveTo>
                    <a:pt x="508" y="333"/>
                  </a:moveTo>
                  <a:cubicBezTo>
                    <a:pt x="511" y="333"/>
                    <a:pt x="516" y="334"/>
                    <a:pt x="524" y="338"/>
                  </a:cubicBezTo>
                  <a:lnTo>
                    <a:pt x="977" y="410"/>
                  </a:lnTo>
                  <a:lnTo>
                    <a:pt x="977" y="422"/>
                  </a:lnTo>
                  <a:lnTo>
                    <a:pt x="739" y="755"/>
                  </a:lnTo>
                  <a:lnTo>
                    <a:pt x="727" y="755"/>
                  </a:lnTo>
                  <a:lnTo>
                    <a:pt x="381" y="624"/>
                  </a:lnTo>
                  <a:lnTo>
                    <a:pt x="501" y="338"/>
                  </a:lnTo>
                  <a:cubicBezTo>
                    <a:pt x="501" y="338"/>
                    <a:pt x="501" y="333"/>
                    <a:pt x="508" y="333"/>
                  </a:cubicBezTo>
                  <a:close/>
                  <a:moveTo>
                    <a:pt x="531" y="1"/>
                  </a:moveTo>
                  <a:cubicBezTo>
                    <a:pt x="397" y="1"/>
                    <a:pt x="277" y="81"/>
                    <a:pt x="203" y="207"/>
                  </a:cubicBezTo>
                  <a:lnTo>
                    <a:pt x="12" y="648"/>
                  </a:lnTo>
                  <a:cubicBezTo>
                    <a:pt x="0" y="696"/>
                    <a:pt x="0" y="743"/>
                    <a:pt x="12" y="779"/>
                  </a:cubicBezTo>
                  <a:cubicBezTo>
                    <a:pt x="24" y="827"/>
                    <a:pt x="60" y="862"/>
                    <a:pt x="108" y="874"/>
                  </a:cubicBezTo>
                  <a:lnTo>
                    <a:pt x="608" y="1065"/>
                  </a:lnTo>
                  <a:cubicBezTo>
                    <a:pt x="655" y="1077"/>
                    <a:pt x="679" y="1077"/>
                    <a:pt x="727" y="1077"/>
                  </a:cubicBezTo>
                  <a:cubicBezTo>
                    <a:pt x="834" y="1077"/>
                    <a:pt x="941" y="1041"/>
                    <a:pt x="1001" y="946"/>
                  </a:cubicBezTo>
                  <a:lnTo>
                    <a:pt x="1239" y="624"/>
                  </a:lnTo>
                  <a:cubicBezTo>
                    <a:pt x="1310" y="529"/>
                    <a:pt x="1334" y="410"/>
                    <a:pt x="1298" y="291"/>
                  </a:cubicBezTo>
                  <a:cubicBezTo>
                    <a:pt x="1251" y="184"/>
                    <a:pt x="1155" y="100"/>
                    <a:pt x="1036" y="88"/>
                  </a:cubicBezTo>
                  <a:lnTo>
                    <a:pt x="584" y="5"/>
                  </a:lnTo>
                  <a:cubicBezTo>
                    <a:pt x="566" y="2"/>
                    <a:pt x="549" y="1"/>
                    <a:pt x="53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2" name="Google Shape;13122;p63"/>
            <p:cNvSpPr/>
            <p:nvPr/>
          </p:nvSpPr>
          <p:spPr>
            <a:xfrm>
              <a:off x="6840525" y="3544914"/>
              <a:ext cx="54112" cy="32608"/>
            </a:xfrm>
            <a:custGeom>
              <a:avLst/>
              <a:gdLst/>
              <a:ahLst/>
              <a:cxnLst/>
              <a:rect l="l" t="t" r="r" b="b"/>
              <a:pathLst>
                <a:path w="1691" h="1019" extrusionOk="0">
                  <a:moveTo>
                    <a:pt x="864" y="346"/>
                  </a:moveTo>
                  <a:cubicBezTo>
                    <a:pt x="913" y="346"/>
                    <a:pt x="962" y="364"/>
                    <a:pt x="1000" y="387"/>
                  </a:cubicBezTo>
                  <a:lnTo>
                    <a:pt x="1250" y="649"/>
                  </a:lnTo>
                  <a:lnTo>
                    <a:pt x="1191" y="673"/>
                  </a:lnTo>
                  <a:cubicBezTo>
                    <a:pt x="1165" y="693"/>
                    <a:pt x="1131" y="701"/>
                    <a:pt x="1099" y="701"/>
                  </a:cubicBezTo>
                  <a:cubicBezTo>
                    <a:pt x="1072" y="701"/>
                    <a:pt x="1046" y="696"/>
                    <a:pt x="1024" y="685"/>
                  </a:cubicBezTo>
                  <a:lnTo>
                    <a:pt x="548" y="482"/>
                  </a:lnTo>
                  <a:lnTo>
                    <a:pt x="786" y="363"/>
                  </a:lnTo>
                  <a:cubicBezTo>
                    <a:pt x="811" y="351"/>
                    <a:pt x="837" y="346"/>
                    <a:pt x="864" y="346"/>
                  </a:cubicBezTo>
                  <a:close/>
                  <a:moveTo>
                    <a:pt x="857" y="1"/>
                  </a:moveTo>
                  <a:cubicBezTo>
                    <a:pt x="787" y="1"/>
                    <a:pt x="719" y="14"/>
                    <a:pt x="655" y="42"/>
                  </a:cubicBezTo>
                  <a:lnTo>
                    <a:pt x="84" y="316"/>
                  </a:lnTo>
                  <a:cubicBezTo>
                    <a:pt x="24" y="340"/>
                    <a:pt x="0" y="399"/>
                    <a:pt x="0" y="459"/>
                  </a:cubicBezTo>
                  <a:cubicBezTo>
                    <a:pt x="0" y="518"/>
                    <a:pt x="48" y="578"/>
                    <a:pt x="84" y="613"/>
                  </a:cubicBezTo>
                  <a:lnTo>
                    <a:pt x="893" y="971"/>
                  </a:lnTo>
                  <a:cubicBezTo>
                    <a:pt x="965" y="994"/>
                    <a:pt x="1024" y="1018"/>
                    <a:pt x="1096" y="1018"/>
                  </a:cubicBezTo>
                  <a:cubicBezTo>
                    <a:pt x="1191" y="1018"/>
                    <a:pt x="1274" y="983"/>
                    <a:pt x="1358" y="935"/>
                  </a:cubicBezTo>
                  <a:lnTo>
                    <a:pt x="1608" y="792"/>
                  </a:lnTo>
                  <a:cubicBezTo>
                    <a:pt x="1655" y="756"/>
                    <a:pt x="1679" y="721"/>
                    <a:pt x="1679" y="673"/>
                  </a:cubicBezTo>
                  <a:cubicBezTo>
                    <a:pt x="1691" y="625"/>
                    <a:pt x="1679" y="590"/>
                    <a:pt x="1655" y="554"/>
                  </a:cubicBezTo>
                  <a:lnTo>
                    <a:pt x="1239" y="149"/>
                  </a:lnTo>
                  <a:cubicBezTo>
                    <a:pt x="1135" y="54"/>
                    <a:pt x="995" y="1"/>
                    <a:pt x="85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3" name="Google Shape;13123;p63"/>
            <p:cNvSpPr/>
            <p:nvPr/>
          </p:nvSpPr>
          <p:spPr>
            <a:xfrm>
              <a:off x="6793645" y="3582770"/>
              <a:ext cx="102144" cy="75520"/>
            </a:xfrm>
            <a:custGeom>
              <a:avLst/>
              <a:gdLst/>
              <a:ahLst/>
              <a:cxnLst/>
              <a:rect l="l" t="t" r="r" b="b"/>
              <a:pathLst>
                <a:path w="3192" h="2360" extrusionOk="0">
                  <a:moveTo>
                    <a:pt x="1757" y="0"/>
                  </a:moveTo>
                  <a:cubicBezTo>
                    <a:pt x="1683" y="0"/>
                    <a:pt x="1609" y="24"/>
                    <a:pt x="1549" y="61"/>
                  </a:cubicBezTo>
                  <a:lnTo>
                    <a:pt x="775" y="609"/>
                  </a:lnTo>
                  <a:lnTo>
                    <a:pt x="465" y="669"/>
                  </a:lnTo>
                  <a:cubicBezTo>
                    <a:pt x="239" y="716"/>
                    <a:pt x="60" y="907"/>
                    <a:pt x="48" y="1133"/>
                  </a:cubicBezTo>
                  <a:lnTo>
                    <a:pt x="1" y="1669"/>
                  </a:lnTo>
                  <a:cubicBezTo>
                    <a:pt x="1" y="1764"/>
                    <a:pt x="37" y="1859"/>
                    <a:pt x="108" y="1931"/>
                  </a:cubicBezTo>
                  <a:cubicBezTo>
                    <a:pt x="179" y="2002"/>
                    <a:pt x="275" y="2038"/>
                    <a:pt x="382" y="2038"/>
                  </a:cubicBezTo>
                  <a:lnTo>
                    <a:pt x="715" y="2002"/>
                  </a:lnTo>
                  <a:cubicBezTo>
                    <a:pt x="810" y="2002"/>
                    <a:pt x="882" y="1919"/>
                    <a:pt x="870" y="1824"/>
                  </a:cubicBezTo>
                  <a:cubicBezTo>
                    <a:pt x="859" y="1746"/>
                    <a:pt x="787" y="1679"/>
                    <a:pt x="710" y="1679"/>
                  </a:cubicBezTo>
                  <a:cubicBezTo>
                    <a:pt x="704" y="1679"/>
                    <a:pt x="697" y="1680"/>
                    <a:pt x="691" y="1681"/>
                  </a:cubicBezTo>
                  <a:lnTo>
                    <a:pt x="346" y="1705"/>
                  </a:lnTo>
                  <a:lnTo>
                    <a:pt x="334" y="1705"/>
                  </a:lnTo>
                  <a:lnTo>
                    <a:pt x="334" y="1693"/>
                  </a:lnTo>
                  <a:lnTo>
                    <a:pt x="382" y="1157"/>
                  </a:lnTo>
                  <a:cubicBezTo>
                    <a:pt x="382" y="1074"/>
                    <a:pt x="453" y="1014"/>
                    <a:pt x="525" y="990"/>
                  </a:cubicBezTo>
                  <a:lnTo>
                    <a:pt x="870" y="931"/>
                  </a:lnTo>
                  <a:cubicBezTo>
                    <a:pt x="894" y="931"/>
                    <a:pt x="918" y="919"/>
                    <a:pt x="929" y="907"/>
                  </a:cubicBezTo>
                  <a:lnTo>
                    <a:pt x="1727" y="335"/>
                  </a:lnTo>
                  <a:lnTo>
                    <a:pt x="1751" y="335"/>
                  </a:lnTo>
                  <a:lnTo>
                    <a:pt x="2311" y="597"/>
                  </a:lnTo>
                  <a:cubicBezTo>
                    <a:pt x="2346" y="609"/>
                    <a:pt x="2382" y="609"/>
                    <a:pt x="2418" y="609"/>
                  </a:cubicBezTo>
                  <a:lnTo>
                    <a:pt x="2680" y="550"/>
                  </a:lnTo>
                  <a:lnTo>
                    <a:pt x="2834" y="1109"/>
                  </a:lnTo>
                  <a:lnTo>
                    <a:pt x="2834" y="1133"/>
                  </a:lnTo>
                  <a:lnTo>
                    <a:pt x="2203" y="2038"/>
                  </a:lnTo>
                  <a:lnTo>
                    <a:pt x="2180" y="2038"/>
                  </a:lnTo>
                  <a:lnTo>
                    <a:pt x="1882" y="1681"/>
                  </a:lnTo>
                  <a:cubicBezTo>
                    <a:pt x="1846" y="1633"/>
                    <a:pt x="1787" y="1621"/>
                    <a:pt x="1751" y="1621"/>
                  </a:cubicBezTo>
                  <a:lnTo>
                    <a:pt x="1346" y="1645"/>
                  </a:lnTo>
                  <a:cubicBezTo>
                    <a:pt x="1251" y="1645"/>
                    <a:pt x="1180" y="1740"/>
                    <a:pt x="1191" y="1824"/>
                  </a:cubicBezTo>
                  <a:cubicBezTo>
                    <a:pt x="1191" y="1912"/>
                    <a:pt x="1273" y="1980"/>
                    <a:pt x="1352" y="1980"/>
                  </a:cubicBezTo>
                  <a:cubicBezTo>
                    <a:pt x="1358" y="1980"/>
                    <a:pt x="1364" y="1979"/>
                    <a:pt x="1370" y="1978"/>
                  </a:cubicBezTo>
                  <a:lnTo>
                    <a:pt x="1691" y="1943"/>
                  </a:lnTo>
                  <a:lnTo>
                    <a:pt x="1942" y="2240"/>
                  </a:lnTo>
                  <a:cubicBezTo>
                    <a:pt x="2001" y="2324"/>
                    <a:pt x="2108" y="2359"/>
                    <a:pt x="2192" y="2359"/>
                  </a:cubicBezTo>
                  <a:lnTo>
                    <a:pt x="2203" y="2359"/>
                  </a:lnTo>
                  <a:cubicBezTo>
                    <a:pt x="2311" y="2359"/>
                    <a:pt x="2418" y="2300"/>
                    <a:pt x="2477" y="2217"/>
                  </a:cubicBezTo>
                  <a:lnTo>
                    <a:pt x="3096" y="1312"/>
                  </a:lnTo>
                  <a:cubicBezTo>
                    <a:pt x="3180" y="1204"/>
                    <a:pt x="3192" y="1097"/>
                    <a:pt x="3156" y="1014"/>
                  </a:cubicBezTo>
                  <a:lnTo>
                    <a:pt x="2965" y="276"/>
                  </a:lnTo>
                  <a:cubicBezTo>
                    <a:pt x="2944" y="201"/>
                    <a:pt x="2875" y="155"/>
                    <a:pt x="2800" y="155"/>
                  </a:cubicBezTo>
                  <a:cubicBezTo>
                    <a:pt x="2792" y="155"/>
                    <a:pt x="2783" y="156"/>
                    <a:pt x="2775" y="157"/>
                  </a:cubicBezTo>
                  <a:lnTo>
                    <a:pt x="2406" y="252"/>
                  </a:lnTo>
                  <a:lnTo>
                    <a:pt x="1882" y="26"/>
                  </a:lnTo>
                  <a:cubicBezTo>
                    <a:pt x="1843" y="8"/>
                    <a:pt x="1800" y="0"/>
                    <a:pt x="17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124" name="Google Shape;13124;p63"/>
          <p:cNvSpPr/>
          <p:nvPr/>
        </p:nvSpPr>
        <p:spPr>
          <a:xfrm>
            <a:off x="7708045" y="3351538"/>
            <a:ext cx="357408" cy="357408"/>
          </a:xfrm>
          <a:custGeom>
            <a:avLst/>
            <a:gdLst/>
            <a:ahLst/>
            <a:cxnLst/>
            <a:rect l="l" t="t" r="r" b="b"/>
            <a:pathLst>
              <a:path w="11169" h="11169" extrusionOk="0">
                <a:moveTo>
                  <a:pt x="5585" y="382"/>
                </a:moveTo>
                <a:cubicBezTo>
                  <a:pt x="6990" y="382"/>
                  <a:pt x="8311" y="930"/>
                  <a:pt x="9311" y="1906"/>
                </a:cubicBezTo>
                <a:cubicBezTo>
                  <a:pt x="10300" y="2906"/>
                  <a:pt x="10835" y="4216"/>
                  <a:pt x="10835" y="5633"/>
                </a:cubicBezTo>
                <a:cubicBezTo>
                  <a:pt x="10835" y="7002"/>
                  <a:pt x="10288" y="8311"/>
                  <a:pt x="9311" y="9312"/>
                </a:cubicBezTo>
                <a:cubicBezTo>
                  <a:pt x="8311" y="10300"/>
                  <a:pt x="7002" y="10836"/>
                  <a:pt x="5585" y="10836"/>
                </a:cubicBezTo>
                <a:cubicBezTo>
                  <a:pt x="4192" y="10836"/>
                  <a:pt x="2858" y="10288"/>
                  <a:pt x="1870" y="9312"/>
                </a:cubicBezTo>
                <a:cubicBezTo>
                  <a:pt x="870" y="8311"/>
                  <a:pt x="334" y="7002"/>
                  <a:pt x="334" y="5585"/>
                </a:cubicBezTo>
                <a:cubicBezTo>
                  <a:pt x="334" y="4192"/>
                  <a:pt x="882" y="2858"/>
                  <a:pt x="1870" y="1870"/>
                </a:cubicBezTo>
                <a:cubicBezTo>
                  <a:pt x="1953" y="1775"/>
                  <a:pt x="2061" y="1668"/>
                  <a:pt x="2168" y="1596"/>
                </a:cubicBezTo>
                <a:lnTo>
                  <a:pt x="2418" y="2001"/>
                </a:lnTo>
                <a:cubicBezTo>
                  <a:pt x="2465" y="2073"/>
                  <a:pt x="2489" y="2180"/>
                  <a:pt x="2465" y="2263"/>
                </a:cubicBezTo>
                <a:lnTo>
                  <a:pt x="2168" y="3537"/>
                </a:lnTo>
                <a:cubicBezTo>
                  <a:pt x="2120" y="3692"/>
                  <a:pt x="2180" y="3870"/>
                  <a:pt x="2299" y="4013"/>
                </a:cubicBezTo>
                <a:lnTo>
                  <a:pt x="3489" y="5228"/>
                </a:lnTo>
                <a:cubicBezTo>
                  <a:pt x="3586" y="5335"/>
                  <a:pt x="3721" y="5384"/>
                  <a:pt x="3869" y="5384"/>
                </a:cubicBezTo>
                <a:cubicBezTo>
                  <a:pt x="3885" y="5384"/>
                  <a:pt x="3901" y="5384"/>
                  <a:pt x="3918" y="5382"/>
                </a:cubicBezTo>
                <a:lnTo>
                  <a:pt x="4811" y="5275"/>
                </a:lnTo>
                <a:lnTo>
                  <a:pt x="5692" y="6014"/>
                </a:lnTo>
                <a:lnTo>
                  <a:pt x="5418" y="6752"/>
                </a:lnTo>
                <a:cubicBezTo>
                  <a:pt x="5406" y="6787"/>
                  <a:pt x="5406" y="6847"/>
                  <a:pt x="5442" y="6883"/>
                </a:cubicBezTo>
                <a:lnTo>
                  <a:pt x="5573" y="7109"/>
                </a:lnTo>
                <a:cubicBezTo>
                  <a:pt x="5606" y="7158"/>
                  <a:pt x="5661" y="7185"/>
                  <a:pt x="5720" y="7185"/>
                </a:cubicBezTo>
                <a:cubicBezTo>
                  <a:pt x="5746" y="7185"/>
                  <a:pt x="5773" y="7179"/>
                  <a:pt x="5799" y="7168"/>
                </a:cubicBezTo>
                <a:cubicBezTo>
                  <a:pt x="5871" y="7121"/>
                  <a:pt x="5894" y="7014"/>
                  <a:pt x="5859" y="6942"/>
                </a:cubicBezTo>
                <a:lnTo>
                  <a:pt x="5763" y="6787"/>
                </a:lnTo>
                <a:lnTo>
                  <a:pt x="6133" y="5799"/>
                </a:lnTo>
                <a:lnTo>
                  <a:pt x="7621" y="6002"/>
                </a:lnTo>
                <a:lnTo>
                  <a:pt x="8930" y="6930"/>
                </a:lnTo>
                <a:cubicBezTo>
                  <a:pt x="8978" y="6954"/>
                  <a:pt x="9014" y="7002"/>
                  <a:pt x="9014" y="7061"/>
                </a:cubicBezTo>
                <a:cubicBezTo>
                  <a:pt x="9014" y="7121"/>
                  <a:pt x="8990" y="7168"/>
                  <a:pt x="8966" y="7204"/>
                </a:cubicBezTo>
                <a:lnTo>
                  <a:pt x="6466" y="10169"/>
                </a:lnTo>
                <a:lnTo>
                  <a:pt x="6454" y="10169"/>
                </a:lnTo>
                <a:lnTo>
                  <a:pt x="6275" y="10038"/>
                </a:lnTo>
                <a:lnTo>
                  <a:pt x="6275" y="10026"/>
                </a:lnTo>
                <a:lnTo>
                  <a:pt x="6597" y="8264"/>
                </a:lnTo>
                <a:cubicBezTo>
                  <a:pt x="6597" y="8216"/>
                  <a:pt x="6597" y="8192"/>
                  <a:pt x="6585" y="8145"/>
                </a:cubicBezTo>
                <a:lnTo>
                  <a:pt x="6192" y="7502"/>
                </a:lnTo>
                <a:cubicBezTo>
                  <a:pt x="6167" y="7452"/>
                  <a:pt x="6109" y="7426"/>
                  <a:pt x="6051" y="7426"/>
                </a:cubicBezTo>
                <a:cubicBezTo>
                  <a:pt x="6025" y="7426"/>
                  <a:pt x="6000" y="7431"/>
                  <a:pt x="5978" y="7442"/>
                </a:cubicBezTo>
                <a:cubicBezTo>
                  <a:pt x="5894" y="7490"/>
                  <a:pt x="5871" y="7597"/>
                  <a:pt x="5918" y="7668"/>
                </a:cubicBezTo>
                <a:lnTo>
                  <a:pt x="6275" y="8264"/>
                </a:lnTo>
                <a:lnTo>
                  <a:pt x="5954" y="9966"/>
                </a:lnTo>
                <a:cubicBezTo>
                  <a:pt x="5930" y="10097"/>
                  <a:pt x="5990" y="10216"/>
                  <a:pt x="6097" y="10300"/>
                </a:cubicBezTo>
                <a:lnTo>
                  <a:pt x="6275" y="10443"/>
                </a:lnTo>
                <a:cubicBezTo>
                  <a:pt x="6335" y="10478"/>
                  <a:pt x="6406" y="10502"/>
                  <a:pt x="6466" y="10502"/>
                </a:cubicBezTo>
                <a:cubicBezTo>
                  <a:pt x="6573" y="10502"/>
                  <a:pt x="6656" y="10455"/>
                  <a:pt x="6716" y="10383"/>
                </a:cubicBezTo>
                <a:lnTo>
                  <a:pt x="9216" y="7418"/>
                </a:lnTo>
                <a:cubicBezTo>
                  <a:pt x="9311" y="7311"/>
                  <a:pt x="9347" y="7168"/>
                  <a:pt x="9335" y="7014"/>
                </a:cubicBezTo>
                <a:cubicBezTo>
                  <a:pt x="9323" y="6871"/>
                  <a:pt x="9228" y="6752"/>
                  <a:pt x="9133" y="6656"/>
                </a:cubicBezTo>
                <a:lnTo>
                  <a:pt x="7787" y="5716"/>
                </a:lnTo>
                <a:cubicBezTo>
                  <a:pt x="7776" y="5704"/>
                  <a:pt x="7740" y="5692"/>
                  <a:pt x="7716" y="5692"/>
                </a:cubicBezTo>
                <a:lnTo>
                  <a:pt x="6049" y="5454"/>
                </a:lnTo>
                <a:cubicBezTo>
                  <a:pt x="6040" y="5452"/>
                  <a:pt x="6031" y="5452"/>
                  <a:pt x="6022" y="5452"/>
                </a:cubicBezTo>
                <a:cubicBezTo>
                  <a:pt x="5958" y="5452"/>
                  <a:pt x="5891" y="5488"/>
                  <a:pt x="5871" y="5561"/>
                </a:cubicBezTo>
                <a:lnTo>
                  <a:pt x="5811" y="5704"/>
                </a:lnTo>
                <a:lnTo>
                  <a:pt x="4966" y="4990"/>
                </a:lnTo>
                <a:cubicBezTo>
                  <a:pt x="4930" y="4966"/>
                  <a:pt x="4882" y="4942"/>
                  <a:pt x="4847" y="4942"/>
                </a:cubicBezTo>
                <a:lnTo>
                  <a:pt x="4216" y="5025"/>
                </a:lnTo>
                <a:lnTo>
                  <a:pt x="4192" y="4466"/>
                </a:lnTo>
                <a:cubicBezTo>
                  <a:pt x="4192" y="4382"/>
                  <a:pt x="4251" y="4287"/>
                  <a:pt x="4335" y="4275"/>
                </a:cubicBezTo>
                <a:lnTo>
                  <a:pt x="5466" y="4097"/>
                </a:lnTo>
                <a:lnTo>
                  <a:pt x="5478" y="4501"/>
                </a:lnTo>
                <a:cubicBezTo>
                  <a:pt x="5478" y="4585"/>
                  <a:pt x="5561" y="4668"/>
                  <a:pt x="5644" y="4668"/>
                </a:cubicBezTo>
                <a:cubicBezTo>
                  <a:pt x="5740" y="4668"/>
                  <a:pt x="5811" y="4585"/>
                  <a:pt x="5811" y="4501"/>
                </a:cubicBezTo>
                <a:lnTo>
                  <a:pt x="5799" y="3978"/>
                </a:lnTo>
                <a:lnTo>
                  <a:pt x="6454" y="3239"/>
                </a:lnTo>
                <a:cubicBezTo>
                  <a:pt x="6514" y="3156"/>
                  <a:pt x="6514" y="3073"/>
                  <a:pt x="6430" y="3001"/>
                </a:cubicBezTo>
                <a:cubicBezTo>
                  <a:pt x="6396" y="2973"/>
                  <a:pt x="6359" y="2958"/>
                  <a:pt x="6321" y="2958"/>
                </a:cubicBezTo>
                <a:cubicBezTo>
                  <a:pt x="6279" y="2958"/>
                  <a:pt x="6236" y="2976"/>
                  <a:pt x="6192" y="3013"/>
                </a:cubicBezTo>
                <a:lnTo>
                  <a:pt x="5525" y="3775"/>
                </a:lnTo>
                <a:lnTo>
                  <a:pt x="4275" y="3978"/>
                </a:lnTo>
                <a:cubicBezTo>
                  <a:pt x="4025" y="4025"/>
                  <a:pt x="3835" y="4251"/>
                  <a:pt x="3847" y="4513"/>
                </a:cubicBezTo>
                <a:lnTo>
                  <a:pt x="3870" y="5085"/>
                </a:lnTo>
                <a:lnTo>
                  <a:pt x="3858" y="5085"/>
                </a:lnTo>
                <a:cubicBezTo>
                  <a:pt x="3799" y="5085"/>
                  <a:pt x="3739" y="5061"/>
                  <a:pt x="3716" y="5025"/>
                </a:cubicBezTo>
                <a:lnTo>
                  <a:pt x="2525" y="3799"/>
                </a:lnTo>
                <a:cubicBezTo>
                  <a:pt x="2477" y="3751"/>
                  <a:pt x="2465" y="3692"/>
                  <a:pt x="2477" y="3620"/>
                </a:cubicBezTo>
                <a:lnTo>
                  <a:pt x="2775" y="2358"/>
                </a:lnTo>
                <a:cubicBezTo>
                  <a:pt x="2823" y="2180"/>
                  <a:pt x="2787" y="1989"/>
                  <a:pt x="2680" y="1834"/>
                </a:cubicBezTo>
                <a:lnTo>
                  <a:pt x="2418" y="1406"/>
                </a:lnTo>
                <a:cubicBezTo>
                  <a:pt x="2668" y="1215"/>
                  <a:pt x="2954" y="1037"/>
                  <a:pt x="3239" y="894"/>
                </a:cubicBezTo>
                <a:lnTo>
                  <a:pt x="3454" y="1251"/>
                </a:lnTo>
                <a:cubicBezTo>
                  <a:pt x="3485" y="1306"/>
                  <a:pt x="3536" y="1330"/>
                  <a:pt x="3588" y="1330"/>
                </a:cubicBezTo>
                <a:cubicBezTo>
                  <a:pt x="3616" y="1330"/>
                  <a:pt x="3643" y="1323"/>
                  <a:pt x="3668" y="1311"/>
                </a:cubicBezTo>
                <a:lnTo>
                  <a:pt x="4442" y="989"/>
                </a:lnTo>
                <a:lnTo>
                  <a:pt x="5168" y="953"/>
                </a:lnTo>
                <a:cubicBezTo>
                  <a:pt x="5216" y="953"/>
                  <a:pt x="5228" y="977"/>
                  <a:pt x="5240" y="989"/>
                </a:cubicBezTo>
                <a:cubicBezTo>
                  <a:pt x="5263" y="1001"/>
                  <a:pt x="5275" y="1013"/>
                  <a:pt x="5275" y="1061"/>
                </a:cubicBezTo>
                <a:cubicBezTo>
                  <a:pt x="5275" y="1096"/>
                  <a:pt x="5240" y="1120"/>
                  <a:pt x="5228" y="1132"/>
                </a:cubicBezTo>
                <a:lnTo>
                  <a:pt x="4585" y="1453"/>
                </a:lnTo>
                <a:cubicBezTo>
                  <a:pt x="4525" y="1477"/>
                  <a:pt x="4501" y="1525"/>
                  <a:pt x="4501" y="1596"/>
                </a:cubicBezTo>
                <a:cubicBezTo>
                  <a:pt x="4501" y="1668"/>
                  <a:pt x="4525" y="1715"/>
                  <a:pt x="4585" y="1751"/>
                </a:cubicBezTo>
                <a:lnTo>
                  <a:pt x="5621" y="2346"/>
                </a:lnTo>
                <a:cubicBezTo>
                  <a:pt x="5641" y="2360"/>
                  <a:pt x="5666" y="2366"/>
                  <a:pt x="5693" y="2366"/>
                </a:cubicBezTo>
                <a:cubicBezTo>
                  <a:pt x="5712" y="2366"/>
                  <a:pt x="5732" y="2363"/>
                  <a:pt x="5752" y="2358"/>
                </a:cubicBezTo>
                <a:cubicBezTo>
                  <a:pt x="5799" y="2346"/>
                  <a:pt x="5823" y="2311"/>
                  <a:pt x="5859" y="2263"/>
                </a:cubicBezTo>
                <a:lnTo>
                  <a:pt x="6109" y="1608"/>
                </a:lnTo>
                <a:lnTo>
                  <a:pt x="7240" y="2311"/>
                </a:lnTo>
                <a:lnTo>
                  <a:pt x="7240" y="2323"/>
                </a:lnTo>
                <a:cubicBezTo>
                  <a:pt x="7240" y="2323"/>
                  <a:pt x="7240" y="2346"/>
                  <a:pt x="7228" y="2346"/>
                </a:cubicBezTo>
                <a:lnTo>
                  <a:pt x="6716" y="2501"/>
                </a:lnTo>
                <a:cubicBezTo>
                  <a:pt x="6633" y="2537"/>
                  <a:pt x="6585" y="2620"/>
                  <a:pt x="6609" y="2715"/>
                </a:cubicBezTo>
                <a:cubicBezTo>
                  <a:pt x="6644" y="2787"/>
                  <a:pt x="6704" y="2835"/>
                  <a:pt x="6764" y="2835"/>
                </a:cubicBezTo>
                <a:cubicBezTo>
                  <a:pt x="6775" y="2835"/>
                  <a:pt x="6787" y="2835"/>
                  <a:pt x="6811" y="2823"/>
                </a:cubicBezTo>
                <a:lnTo>
                  <a:pt x="7311" y="2656"/>
                </a:lnTo>
                <a:cubicBezTo>
                  <a:pt x="7430" y="2608"/>
                  <a:pt x="7526" y="2501"/>
                  <a:pt x="7537" y="2370"/>
                </a:cubicBezTo>
                <a:cubicBezTo>
                  <a:pt x="7549" y="2239"/>
                  <a:pt x="7490" y="2120"/>
                  <a:pt x="7371" y="2049"/>
                </a:cubicBezTo>
                <a:lnTo>
                  <a:pt x="6073" y="1239"/>
                </a:lnTo>
                <a:cubicBezTo>
                  <a:pt x="6052" y="1225"/>
                  <a:pt x="6027" y="1219"/>
                  <a:pt x="6000" y="1219"/>
                </a:cubicBezTo>
                <a:cubicBezTo>
                  <a:pt x="5981" y="1219"/>
                  <a:pt x="5962" y="1222"/>
                  <a:pt x="5942" y="1227"/>
                </a:cubicBezTo>
                <a:cubicBezTo>
                  <a:pt x="5894" y="1239"/>
                  <a:pt x="5859" y="1275"/>
                  <a:pt x="5835" y="1311"/>
                </a:cubicBezTo>
                <a:lnTo>
                  <a:pt x="5585" y="1965"/>
                </a:lnTo>
                <a:lnTo>
                  <a:pt x="4990" y="1632"/>
                </a:lnTo>
                <a:lnTo>
                  <a:pt x="5347" y="1453"/>
                </a:lnTo>
                <a:cubicBezTo>
                  <a:pt x="5478" y="1394"/>
                  <a:pt x="5561" y="1275"/>
                  <a:pt x="5585" y="1120"/>
                </a:cubicBezTo>
                <a:cubicBezTo>
                  <a:pt x="5597" y="1001"/>
                  <a:pt x="5561" y="882"/>
                  <a:pt x="5478" y="775"/>
                </a:cubicBezTo>
                <a:cubicBezTo>
                  <a:pt x="5394" y="691"/>
                  <a:pt x="5275" y="644"/>
                  <a:pt x="5156" y="644"/>
                </a:cubicBezTo>
                <a:lnTo>
                  <a:pt x="4394" y="680"/>
                </a:lnTo>
                <a:cubicBezTo>
                  <a:pt x="4382" y="680"/>
                  <a:pt x="4347" y="680"/>
                  <a:pt x="4335" y="691"/>
                </a:cubicBezTo>
                <a:lnTo>
                  <a:pt x="3668" y="977"/>
                </a:lnTo>
                <a:lnTo>
                  <a:pt x="3549" y="775"/>
                </a:lnTo>
                <a:cubicBezTo>
                  <a:pt x="4192" y="513"/>
                  <a:pt x="4870" y="382"/>
                  <a:pt x="5585" y="382"/>
                </a:cubicBezTo>
                <a:close/>
                <a:moveTo>
                  <a:pt x="5585" y="1"/>
                </a:moveTo>
                <a:cubicBezTo>
                  <a:pt x="4097" y="1"/>
                  <a:pt x="2704" y="584"/>
                  <a:pt x="1644" y="1644"/>
                </a:cubicBezTo>
                <a:cubicBezTo>
                  <a:pt x="584" y="2704"/>
                  <a:pt x="1" y="4097"/>
                  <a:pt x="1" y="5585"/>
                </a:cubicBezTo>
                <a:cubicBezTo>
                  <a:pt x="1" y="7073"/>
                  <a:pt x="584" y="8478"/>
                  <a:pt x="1644" y="9526"/>
                </a:cubicBezTo>
                <a:cubicBezTo>
                  <a:pt x="2704" y="10586"/>
                  <a:pt x="4097" y="11169"/>
                  <a:pt x="5585" y="11169"/>
                </a:cubicBezTo>
                <a:cubicBezTo>
                  <a:pt x="7073" y="11169"/>
                  <a:pt x="8478" y="10586"/>
                  <a:pt x="9526" y="9526"/>
                </a:cubicBezTo>
                <a:cubicBezTo>
                  <a:pt x="10585" y="8478"/>
                  <a:pt x="11169" y="7073"/>
                  <a:pt x="11169" y="5585"/>
                </a:cubicBezTo>
                <a:cubicBezTo>
                  <a:pt x="11169" y="4097"/>
                  <a:pt x="10585" y="2692"/>
                  <a:pt x="9526" y="1644"/>
                </a:cubicBezTo>
                <a:cubicBezTo>
                  <a:pt x="8478" y="584"/>
                  <a:pt x="7073" y="1"/>
                  <a:pt x="558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25" name="Google Shape;13125;p63"/>
          <p:cNvGrpSpPr/>
          <p:nvPr/>
        </p:nvGrpSpPr>
        <p:grpSpPr>
          <a:xfrm>
            <a:off x="3316269" y="3352402"/>
            <a:ext cx="344832" cy="356544"/>
            <a:chOff x="3316269" y="3352402"/>
            <a:chExt cx="344832" cy="356544"/>
          </a:xfrm>
        </p:grpSpPr>
        <p:sp>
          <p:nvSpPr>
            <p:cNvPr id="13126" name="Google Shape;13126;p63"/>
            <p:cNvSpPr/>
            <p:nvPr/>
          </p:nvSpPr>
          <p:spPr>
            <a:xfrm>
              <a:off x="3546381" y="3557138"/>
              <a:ext cx="19840" cy="16576"/>
            </a:xfrm>
            <a:custGeom>
              <a:avLst/>
              <a:gdLst/>
              <a:ahLst/>
              <a:cxnLst/>
              <a:rect l="l" t="t" r="r" b="b"/>
              <a:pathLst>
                <a:path w="620" h="518" extrusionOk="0">
                  <a:moveTo>
                    <a:pt x="166" y="0"/>
                  </a:moveTo>
                  <a:cubicBezTo>
                    <a:pt x="115" y="0"/>
                    <a:pt x="65" y="22"/>
                    <a:pt x="37" y="65"/>
                  </a:cubicBezTo>
                  <a:cubicBezTo>
                    <a:pt x="1" y="148"/>
                    <a:pt x="13" y="243"/>
                    <a:pt x="84" y="291"/>
                  </a:cubicBezTo>
                  <a:lnTo>
                    <a:pt x="358" y="481"/>
                  </a:lnTo>
                  <a:cubicBezTo>
                    <a:pt x="382" y="505"/>
                    <a:pt x="418" y="517"/>
                    <a:pt x="441" y="517"/>
                  </a:cubicBezTo>
                  <a:cubicBezTo>
                    <a:pt x="489" y="517"/>
                    <a:pt x="549" y="481"/>
                    <a:pt x="572" y="446"/>
                  </a:cubicBezTo>
                  <a:cubicBezTo>
                    <a:pt x="620" y="362"/>
                    <a:pt x="596" y="267"/>
                    <a:pt x="537" y="220"/>
                  </a:cubicBezTo>
                  <a:lnTo>
                    <a:pt x="263" y="29"/>
                  </a:lnTo>
                  <a:cubicBezTo>
                    <a:pt x="234" y="10"/>
                    <a:pt x="200" y="0"/>
                    <a:pt x="1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7" name="Google Shape;13127;p63"/>
            <p:cNvSpPr/>
            <p:nvPr/>
          </p:nvSpPr>
          <p:spPr>
            <a:xfrm>
              <a:off x="3449997" y="3423730"/>
              <a:ext cx="14496" cy="18144"/>
            </a:xfrm>
            <a:custGeom>
              <a:avLst/>
              <a:gdLst/>
              <a:ahLst/>
              <a:cxnLst/>
              <a:rect l="l" t="t" r="r" b="b"/>
              <a:pathLst>
                <a:path w="453" h="567" extrusionOk="0">
                  <a:moveTo>
                    <a:pt x="180" y="1"/>
                  </a:moveTo>
                  <a:cubicBezTo>
                    <a:pt x="164" y="1"/>
                    <a:pt x="148" y="3"/>
                    <a:pt x="132" y="7"/>
                  </a:cubicBezTo>
                  <a:cubicBezTo>
                    <a:pt x="48" y="43"/>
                    <a:pt x="1" y="126"/>
                    <a:pt x="36" y="221"/>
                  </a:cubicBezTo>
                  <a:lnTo>
                    <a:pt x="108" y="459"/>
                  </a:lnTo>
                  <a:cubicBezTo>
                    <a:pt x="132" y="531"/>
                    <a:pt x="191" y="567"/>
                    <a:pt x="251" y="567"/>
                  </a:cubicBezTo>
                  <a:cubicBezTo>
                    <a:pt x="274" y="567"/>
                    <a:pt x="286" y="567"/>
                    <a:pt x="310" y="543"/>
                  </a:cubicBezTo>
                  <a:cubicBezTo>
                    <a:pt x="405" y="531"/>
                    <a:pt x="453" y="436"/>
                    <a:pt x="417" y="352"/>
                  </a:cubicBezTo>
                  <a:lnTo>
                    <a:pt x="346" y="114"/>
                  </a:lnTo>
                  <a:cubicBezTo>
                    <a:pt x="316" y="45"/>
                    <a:pt x="254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8" name="Google Shape;13128;p63"/>
            <p:cNvSpPr/>
            <p:nvPr/>
          </p:nvSpPr>
          <p:spPr>
            <a:xfrm>
              <a:off x="3316269" y="3352402"/>
              <a:ext cx="344832" cy="356544"/>
            </a:xfrm>
            <a:custGeom>
              <a:avLst/>
              <a:gdLst/>
              <a:ahLst/>
              <a:cxnLst/>
              <a:rect l="l" t="t" r="r" b="b"/>
              <a:pathLst>
                <a:path w="10776" h="11142" extrusionOk="0">
                  <a:moveTo>
                    <a:pt x="2870" y="2819"/>
                  </a:moveTo>
                  <a:cubicBezTo>
                    <a:pt x="2941" y="2819"/>
                    <a:pt x="3013" y="2867"/>
                    <a:pt x="3048" y="2950"/>
                  </a:cubicBezTo>
                  <a:cubicBezTo>
                    <a:pt x="3084" y="2998"/>
                    <a:pt x="3060" y="3046"/>
                    <a:pt x="3048" y="3093"/>
                  </a:cubicBezTo>
                  <a:cubicBezTo>
                    <a:pt x="3025" y="3129"/>
                    <a:pt x="2989" y="3165"/>
                    <a:pt x="2941" y="3189"/>
                  </a:cubicBezTo>
                  <a:cubicBezTo>
                    <a:pt x="2925" y="3199"/>
                    <a:pt x="2904" y="3205"/>
                    <a:pt x="2882" y="3205"/>
                  </a:cubicBezTo>
                  <a:cubicBezTo>
                    <a:pt x="2854" y="3205"/>
                    <a:pt x="2825" y="3196"/>
                    <a:pt x="2798" y="3177"/>
                  </a:cubicBezTo>
                  <a:cubicBezTo>
                    <a:pt x="2751" y="3153"/>
                    <a:pt x="2727" y="3117"/>
                    <a:pt x="2691" y="3069"/>
                  </a:cubicBezTo>
                  <a:cubicBezTo>
                    <a:pt x="2656" y="2974"/>
                    <a:pt x="2703" y="2867"/>
                    <a:pt x="2810" y="2831"/>
                  </a:cubicBezTo>
                  <a:cubicBezTo>
                    <a:pt x="2822" y="2831"/>
                    <a:pt x="2858" y="2819"/>
                    <a:pt x="2870" y="2819"/>
                  </a:cubicBezTo>
                  <a:close/>
                  <a:moveTo>
                    <a:pt x="2310" y="3367"/>
                  </a:moveTo>
                  <a:cubicBezTo>
                    <a:pt x="2382" y="3367"/>
                    <a:pt x="2453" y="3415"/>
                    <a:pt x="2489" y="3498"/>
                  </a:cubicBezTo>
                  <a:cubicBezTo>
                    <a:pt x="2501" y="3546"/>
                    <a:pt x="2501" y="3605"/>
                    <a:pt x="2465" y="3653"/>
                  </a:cubicBezTo>
                  <a:cubicBezTo>
                    <a:pt x="2441" y="3701"/>
                    <a:pt x="2406" y="3724"/>
                    <a:pt x="2370" y="3760"/>
                  </a:cubicBezTo>
                  <a:cubicBezTo>
                    <a:pt x="2352" y="3764"/>
                    <a:pt x="2333" y="3767"/>
                    <a:pt x="2314" y="3767"/>
                  </a:cubicBezTo>
                  <a:cubicBezTo>
                    <a:pt x="2280" y="3767"/>
                    <a:pt x="2245" y="3759"/>
                    <a:pt x="2215" y="3736"/>
                  </a:cubicBezTo>
                  <a:cubicBezTo>
                    <a:pt x="2167" y="3712"/>
                    <a:pt x="2144" y="3677"/>
                    <a:pt x="2108" y="3641"/>
                  </a:cubicBezTo>
                  <a:cubicBezTo>
                    <a:pt x="2108" y="3593"/>
                    <a:pt x="2108" y="3534"/>
                    <a:pt x="2144" y="3486"/>
                  </a:cubicBezTo>
                  <a:cubicBezTo>
                    <a:pt x="2167" y="3450"/>
                    <a:pt x="2203" y="3415"/>
                    <a:pt x="2251" y="3379"/>
                  </a:cubicBezTo>
                  <a:cubicBezTo>
                    <a:pt x="2263" y="3379"/>
                    <a:pt x="2286" y="3367"/>
                    <a:pt x="2310" y="3367"/>
                  </a:cubicBezTo>
                  <a:close/>
                  <a:moveTo>
                    <a:pt x="3060" y="3546"/>
                  </a:moveTo>
                  <a:cubicBezTo>
                    <a:pt x="3096" y="3546"/>
                    <a:pt x="3120" y="3546"/>
                    <a:pt x="3156" y="3570"/>
                  </a:cubicBezTo>
                  <a:cubicBezTo>
                    <a:pt x="3191" y="3593"/>
                    <a:pt x="3227" y="3629"/>
                    <a:pt x="3263" y="3665"/>
                  </a:cubicBezTo>
                  <a:cubicBezTo>
                    <a:pt x="3275" y="3724"/>
                    <a:pt x="3263" y="3772"/>
                    <a:pt x="3239" y="3831"/>
                  </a:cubicBezTo>
                  <a:cubicBezTo>
                    <a:pt x="3215" y="3879"/>
                    <a:pt x="3179" y="3903"/>
                    <a:pt x="3144" y="3939"/>
                  </a:cubicBezTo>
                  <a:cubicBezTo>
                    <a:pt x="3124" y="3944"/>
                    <a:pt x="3102" y="3946"/>
                    <a:pt x="3080" y="3946"/>
                  </a:cubicBezTo>
                  <a:cubicBezTo>
                    <a:pt x="3049" y="3946"/>
                    <a:pt x="3017" y="3941"/>
                    <a:pt x="2989" y="3927"/>
                  </a:cubicBezTo>
                  <a:cubicBezTo>
                    <a:pt x="2941" y="3891"/>
                    <a:pt x="2917" y="3867"/>
                    <a:pt x="2882" y="3820"/>
                  </a:cubicBezTo>
                  <a:cubicBezTo>
                    <a:pt x="2870" y="3772"/>
                    <a:pt x="2870" y="3712"/>
                    <a:pt x="2894" y="3665"/>
                  </a:cubicBezTo>
                  <a:cubicBezTo>
                    <a:pt x="2929" y="3629"/>
                    <a:pt x="2953" y="3593"/>
                    <a:pt x="3001" y="3570"/>
                  </a:cubicBezTo>
                  <a:cubicBezTo>
                    <a:pt x="3025" y="3570"/>
                    <a:pt x="3048" y="3546"/>
                    <a:pt x="3060" y="3546"/>
                  </a:cubicBezTo>
                  <a:close/>
                  <a:moveTo>
                    <a:pt x="3584" y="3843"/>
                  </a:moveTo>
                  <a:lnTo>
                    <a:pt x="4191" y="4343"/>
                  </a:lnTo>
                  <a:lnTo>
                    <a:pt x="3501" y="4046"/>
                  </a:lnTo>
                  <a:cubicBezTo>
                    <a:pt x="3513" y="4022"/>
                    <a:pt x="3525" y="3998"/>
                    <a:pt x="3537" y="3962"/>
                  </a:cubicBezTo>
                  <a:cubicBezTo>
                    <a:pt x="3560" y="3939"/>
                    <a:pt x="3572" y="3891"/>
                    <a:pt x="3584" y="3843"/>
                  </a:cubicBezTo>
                  <a:close/>
                  <a:moveTo>
                    <a:pt x="9478" y="3974"/>
                  </a:moveTo>
                  <a:cubicBezTo>
                    <a:pt x="9835" y="4141"/>
                    <a:pt x="10145" y="4391"/>
                    <a:pt x="10418" y="4713"/>
                  </a:cubicBezTo>
                  <a:cubicBezTo>
                    <a:pt x="10228" y="4998"/>
                    <a:pt x="9966" y="5260"/>
                    <a:pt x="9704" y="5451"/>
                  </a:cubicBezTo>
                  <a:cubicBezTo>
                    <a:pt x="9597" y="5332"/>
                    <a:pt x="9478" y="5248"/>
                    <a:pt x="9347" y="5153"/>
                  </a:cubicBezTo>
                  <a:cubicBezTo>
                    <a:pt x="9228" y="5094"/>
                    <a:pt x="9097" y="5022"/>
                    <a:pt x="8918" y="4963"/>
                  </a:cubicBezTo>
                  <a:lnTo>
                    <a:pt x="9406" y="4939"/>
                  </a:lnTo>
                  <a:cubicBezTo>
                    <a:pt x="9490" y="4939"/>
                    <a:pt x="9573" y="4844"/>
                    <a:pt x="9549" y="4760"/>
                  </a:cubicBezTo>
                  <a:cubicBezTo>
                    <a:pt x="9549" y="4672"/>
                    <a:pt x="9478" y="4604"/>
                    <a:pt x="9391" y="4604"/>
                  </a:cubicBezTo>
                  <a:cubicBezTo>
                    <a:pt x="9385" y="4604"/>
                    <a:pt x="9378" y="4605"/>
                    <a:pt x="9371" y="4605"/>
                  </a:cubicBezTo>
                  <a:lnTo>
                    <a:pt x="8656" y="4665"/>
                  </a:lnTo>
                  <a:cubicBezTo>
                    <a:pt x="8871" y="4546"/>
                    <a:pt x="9061" y="4427"/>
                    <a:pt x="9192" y="4308"/>
                  </a:cubicBezTo>
                  <a:cubicBezTo>
                    <a:pt x="9299" y="4201"/>
                    <a:pt x="9394" y="4105"/>
                    <a:pt x="9478" y="3974"/>
                  </a:cubicBezTo>
                  <a:close/>
                  <a:moveTo>
                    <a:pt x="4245" y="304"/>
                  </a:moveTo>
                  <a:cubicBezTo>
                    <a:pt x="4475" y="304"/>
                    <a:pt x="4701" y="348"/>
                    <a:pt x="4906" y="438"/>
                  </a:cubicBezTo>
                  <a:cubicBezTo>
                    <a:pt x="5299" y="605"/>
                    <a:pt x="5561" y="903"/>
                    <a:pt x="5704" y="1260"/>
                  </a:cubicBezTo>
                  <a:cubicBezTo>
                    <a:pt x="5787" y="1522"/>
                    <a:pt x="5835" y="1867"/>
                    <a:pt x="5799" y="2284"/>
                  </a:cubicBezTo>
                  <a:cubicBezTo>
                    <a:pt x="5537" y="2819"/>
                    <a:pt x="5370" y="3367"/>
                    <a:pt x="5287" y="3665"/>
                  </a:cubicBezTo>
                  <a:cubicBezTo>
                    <a:pt x="5251" y="3760"/>
                    <a:pt x="5311" y="3843"/>
                    <a:pt x="5406" y="3879"/>
                  </a:cubicBezTo>
                  <a:cubicBezTo>
                    <a:pt x="5418" y="3883"/>
                    <a:pt x="5431" y="3884"/>
                    <a:pt x="5444" y="3884"/>
                  </a:cubicBezTo>
                  <a:cubicBezTo>
                    <a:pt x="5516" y="3884"/>
                    <a:pt x="5588" y="3831"/>
                    <a:pt x="5608" y="3760"/>
                  </a:cubicBezTo>
                  <a:cubicBezTo>
                    <a:pt x="5894" y="2748"/>
                    <a:pt x="6311" y="1926"/>
                    <a:pt x="6727" y="1534"/>
                  </a:cubicBezTo>
                  <a:cubicBezTo>
                    <a:pt x="6972" y="1309"/>
                    <a:pt x="7286" y="1190"/>
                    <a:pt x="7633" y="1190"/>
                  </a:cubicBezTo>
                  <a:cubicBezTo>
                    <a:pt x="7691" y="1190"/>
                    <a:pt x="7751" y="1193"/>
                    <a:pt x="7811" y="1200"/>
                  </a:cubicBezTo>
                  <a:cubicBezTo>
                    <a:pt x="8228" y="1236"/>
                    <a:pt x="8632" y="1450"/>
                    <a:pt x="8930" y="1772"/>
                  </a:cubicBezTo>
                  <a:cubicBezTo>
                    <a:pt x="9228" y="2105"/>
                    <a:pt x="9394" y="2522"/>
                    <a:pt x="9394" y="2939"/>
                  </a:cubicBezTo>
                  <a:cubicBezTo>
                    <a:pt x="9394" y="3355"/>
                    <a:pt x="9228" y="3724"/>
                    <a:pt x="8942" y="3974"/>
                  </a:cubicBezTo>
                  <a:cubicBezTo>
                    <a:pt x="8656" y="4236"/>
                    <a:pt x="8180" y="4474"/>
                    <a:pt x="7561" y="4653"/>
                  </a:cubicBezTo>
                  <a:lnTo>
                    <a:pt x="7549" y="4653"/>
                  </a:lnTo>
                  <a:cubicBezTo>
                    <a:pt x="7430" y="4641"/>
                    <a:pt x="7299" y="4635"/>
                    <a:pt x="7161" y="4635"/>
                  </a:cubicBezTo>
                  <a:cubicBezTo>
                    <a:pt x="7022" y="4635"/>
                    <a:pt x="6876" y="4641"/>
                    <a:pt x="6727" y="4653"/>
                  </a:cubicBezTo>
                  <a:cubicBezTo>
                    <a:pt x="6632" y="4653"/>
                    <a:pt x="6561" y="4724"/>
                    <a:pt x="6561" y="4808"/>
                  </a:cubicBezTo>
                  <a:cubicBezTo>
                    <a:pt x="6561" y="4903"/>
                    <a:pt x="6632" y="4974"/>
                    <a:pt x="6727" y="4974"/>
                  </a:cubicBezTo>
                  <a:cubicBezTo>
                    <a:pt x="6825" y="4971"/>
                    <a:pt x="6935" y="4968"/>
                    <a:pt x="7055" y="4968"/>
                  </a:cubicBezTo>
                  <a:cubicBezTo>
                    <a:pt x="7682" y="4968"/>
                    <a:pt x="8561" y="5039"/>
                    <a:pt x="9121" y="5379"/>
                  </a:cubicBezTo>
                  <a:cubicBezTo>
                    <a:pt x="9871" y="5856"/>
                    <a:pt x="10061" y="6844"/>
                    <a:pt x="9597" y="7630"/>
                  </a:cubicBezTo>
                  <a:cubicBezTo>
                    <a:pt x="9275" y="8174"/>
                    <a:pt x="8718" y="8485"/>
                    <a:pt x="8177" y="8485"/>
                  </a:cubicBezTo>
                  <a:cubicBezTo>
                    <a:pt x="7937" y="8485"/>
                    <a:pt x="7701" y="8424"/>
                    <a:pt x="7489" y="8296"/>
                  </a:cubicBezTo>
                  <a:cubicBezTo>
                    <a:pt x="6870" y="7939"/>
                    <a:pt x="6156" y="6975"/>
                    <a:pt x="5954" y="6487"/>
                  </a:cubicBezTo>
                  <a:cubicBezTo>
                    <a:pt x="5954" y="6463"/>
                    <a:pt x="5942" y="6463"/>
                    <a:pt x="5942" y="6451"/>
                  </a:cubicBezTo>
                  <a:cubicBezTo>
                    <a:pt x="5918" y="6356"/>
                    <a:pt x="5906" y="6284"/>
                    <a:pt x="5894" y="6213"/>
                  </a:cubicBezTo>
                  <a:cubicBezTo>
                    <a:pt x="5884" y="6132"/>
                    <a:pt x="5813" y="6077"/>
                    <a:pt x="5741" y="6077"/>
                  </a:cubicBezTo>
                  <a:cubicBezTo>
                    <a:pt x="5729" y="6077"/>
                    <a:pt x="5716" y="6078"/>
                    <a:pt x="5704" y="6082"/>
                  </a:cubicBezTo>
                  <a:cubicBezTo>
                    <a:pt x="5608" y="6094"/>
                    <a:pt x="5549" y="6189"/>
                    <a:pt x="5561" y="6272"/>
                  </a:cubicBezTo>
                  <a:cubicBezTo>
                    <a:pt x="5823" y="7463"/>
                    <a:pt x="5739" y="8475"/>
                    <a:pt x="5549" y="8951"/>
                  </a:cubicBezTo>
                  <a:cubicBezTo>
                    <a:pt x="5323" y="9499"/>
                    <a:pt x="4763" y="9844"/>
                    <a:pt x="4132" y="9844"/>
                  </a:cubicBezTo>
                  <a:cubicBezTo>
                    <a:pt x="3918" y="9844"/>
                    <a:pt x="3691" y="9797"/>
                    <a:pt x="3465" y="9713"/>
                  </a:cubicBezTo>
                  <a:cubicBezTo>
                    <a:pt x="2620" y="9368"/>
                    <a:pt x="2167" y="8487"/>
                    <a:pt x="2465" y="7737"/>
                  </a:cubicBezTo>
                  <a:cubicBezTo>
                    <a:pt x="2620" y="7356"/>
                    <a:pt x="2965" y="6927"/>
                    <a:pt x="3465" y="6463"/>
                  </a:cubicBezTo>
                  <a:cubicBezTo>
                    <a:pt x="3691" y="6379"/>
                    <a:pt x="3894" y="6272"/>
                    <a:pt x="4072" y="6165"/>
                  </a:cubicBezTo>
                  <a:cubicBezTo>
                    <a:pt x="4156" y="6129"/>
                    <a:pt x="4180" y="6034"/>
                    <a:pt x="4156" y="5951"/>
                  </a:cubicBezTo>
                  <a:cubicBezTo>
                    <a:pt x="4120" y="5888"/>
                    <a:pt x="4056" y="5859"/>
                    <a:pt x="3991" y="5859"/>
                  </a:cubicBezTo>
                  <a:cubicBezTo>
                    <a:pt x="3971" y="5859"/>
                    <a:pt x="3950" y="5862"/>
                    <a:pt x="3930" y="5867"/>
                  </a:cubicBezTo>
                  <a:cubicBezTo>
                    <a:pt x="3136" y="6291"/>
                    <a:pt x="2413" y="6517"/>
                    <a:pt x="1867" y="6517"/>
                  </a:cubicBezTo>
                  <a:cubicBezTo>
                    <a:pt x="1815" y="6517"/>
                    <a:pt x="1764" y="6515"/>
                    <a:pt x="1715" y="6510"/>
                  </a:cubicBezTo>
                  <a:cubicBezTo>
                    <a:pt x="1322" y="6475"/>
                    <a:pt x="965" y="6284"/>
                    <a:pt x="715" y="5963"/>
                  </a:cubicBezTo>
                  <a:cubicBezTo>
                    <a:pt x="465" y="5629"/>
                    <a:pt x="322" y="5201"/>
                    <a:pt x="370" y="4748"/>
                  </a:cubicBezTo>
                  <a:cubicBezTo>
                    <a:pt x="439" y="3885"/>
                    <a:pt x="1086" y="3222"/>
                    <a:pt x="1839" y="3222"/>
                  </a:cubicBezTo>
                  <a:cubicBezTo>
                    <a:pt x="1865" y="3222"/>
                    <a:pt x="1891" y="3223"/>
                    <a:pt x="1917" y="3224"/>
                  </a:cubicBezTo>
                  <a:cubicBezTo>
                    <a:pt x="1894" y="3248"/>
                    <a:pt x="1858" y="3296"/>
                    <a:pt x="1846" y="3343"/>
                  </a:cubicBezTo>
                  <a:cubicBezTo>
                    <a:pt x="1786" y="3462"/>
                    <a:pt x="1774" y="3605"/>
                    <a:pt x="1810" y="3736"/>
                  </a:cubicBezTo>
                  <a:cubicBezTo>
                    <a:pt x="1858" y="3879"/>
                    <a:pt x="1953" y="3974"/>
                    <a:pt x="2084" y="4034"/>
                  </a:cubicBezTo>
                  <a:cubicBezTo>
                    <a:pt x="2155" y="4070"/>
                    <a:pt x="2227" y="4093"/>
                    <a:pt x="2310" y="4093"/>
                  </a:cubicBezTo>
                  <a:cubicBezTo>
                    <a:pt x="2370" y="4093"/>
                    <a:pt x="2429" y="4082"/>
                    <a:pt x="2465" y="4070"/>
                  </a:cubicBezTo>
                  <a:cubicBezTo>
                    <a:pt x="2513" y="4058"/>
                    <a:pt x="2560" y="4022"/>
                    <a:pt x="2608" y="3998"/>
                  </a:cubicBezTo>
                  <a:cubicBezTo>
                    <a:pt x="2644" y="4082"/>
                    <a:pt x="2739" y="4153"/>
                    <a:pt x="2822" y="4201"/>
                  </a:cubicBezTo>
                  <a:cubicBezTo>
                    <a:pt x="2906" y="4236"/>
                    <a:pt x="2977" y="4260"/>
                    <a:pt x="3048" y="4260"/>
                  </a:cubicBezTo>
                  <a:cubicBezTo>
                    <a:pt x="3084" y="4260"/>
                    <a:pt x="3120" y="4260"/>
                    <a:pt x="3156" y="4248"/>
                  </a:cubicBezTo>
                  <a:lnTo>
                    <a:pt x="4692" y="4951"/>
                  </a:lnTo>
                  <a:lnTo>
                    <a:pt x="2406" y="4974"/>
                  </a:lnTo>
                  <a:cubicBezTo>
                    <a:pt x="2322" y="4974"/>
                    <a:pt x="2251" y="5046"/>
                    <a:pt x="2251" y="5141"/>
                  </a:cubicBezTo>
                  <a:cubicBezTo>
                    <a:pt x="2251" y="5225"/>
                    <a:pt x="2322" y="5308"/>
                    <a:pt x="2406" y="5308"/>
                  </a:cubicBezTo>
                  <a:lnTo>
                    <a:pt x="5049" y="5260"/>
                  </a:lnTo>
                  <a:lnTo>
                    <a:pt x="4275" y="7772"/>
                  </a:lnTo>
                  <a:lnTo>
                    <a:pt x="4275" y="7820"/>
                  </a:lnTo>
                  <a:cubicBezTo>
                    <a:pt x="4275" y="7892"/>
                    <a:pt x="4311" y="7951"/>
                    <a:pt x="4394" y="7963"/>
                  </a:cubicBezTo>
                  <a:lnTo>
                    <a:pt x="4430" y="7963"/>
                  </a:lnTo>
                  <a:cubicBezTo>
                    <a:pt x="4513" y="7963"/>
                    <a:pt x="4572" y="7927"/>
                    <a:pt x="4584" y="7844"/>
                  </a:cubicBezTo>
                  <a:lnTo>
                    <a:pt x="5358" y="5332"/>
                  </a:lnTo>
                  <a:lnTo>
                    <a:pt x="6668" y="6260"/>
                  </a:lnTo>
                  <a:cubicBezTo>
                    <a:pt x="6692" y="6272"/>
                    <a:pt x="6727" y="6284"/>
                    <a:pt x="6751" y="6284"/>
                  </a:cubicBezTo>
                  <a:cubicBezTo>
                    <a:pt x="6799" y="6284"/>
                    <a:pt x="6858" y="6260"/>
                    <a:pt x="6894" y="6213"/>
                  </a:cubicBezTo>
                  <a:cubicBezTo>
                    <a:pt x="6930" y="6141"/>
                    <a:pt x="6918" y="6034"/>
                    <a:pt x="6847" y="5987"/>
                  </a:cubicBezTo>
                  <a:lnTo>
                    <a:pt x="5537" y="5070"/>
                  </a:lnTo>
                  <a:lnTo>
                    <a:pt x="7644" y="3486"/>
                  </a:lnTo>
                  <a:cubicBezTo>
                    <a:pt x="7692" y="3462"/>
                    <a:pt x="7704" y="3415"/>
                    <a:pt x="7704" y="3355"/>
                  </a:cubicBezTo>
                  <a:cubicBezTo>
                    <a:pt x="7704" y="3331"/>
                    <a:pt x="7692" y="3284"/>
                    <a:pt x="7680" y="3248"/>
                  </a:cubicBezTo>
                  <a:cubicBezTo>
                    <a:pt x="7646" y="3208"/>
                    <a:pt x="7597" y="3186"/>
                    <a:pt x="7550" y="3186"/>
                  </a:cubicBezTo>
                  <a:cubicBezTo>
                    <a:pt x="7514" y="3186"/>
                    <a:pt x="7479" y="3199"/>
                    <a:pt x="7454" y="3224"/>
                  </a:cubicBezTo>
                  <a:lnTo>
                    <a:pt x="5346" y="4796"/>
                  </a:lnTo>
                  <a:lnTo>
                    <a:pt x="4775" y="3141"/>
                  </a:lnTo>
                  <a:cubicBezTo>
                    <a:pt x="4756" y="3077"/>
                    <a:pt x="4696" y="3034"/>
                    <a:pt x="4631" y="3034"/>
                  </a:cubicBezTo>
                  <a:cubicBezTo>
                    <a:pt x="4611" y="3034"/>
                    <a:pt x="4592" y="3037"/>
                    <a:pt x="4572" y="3046"/>
                  </a:cubicBezTo>
                  <a:cubicBezTo>
                    <a:pt x="4477" y="3069"/>
                    <a:pt x="4430" y="3165"/>
                    <a:pt x="4465" y="3248"/>
                  </a:cubicBezTo>
                  <a:lnTo>
                    <a:pt x="4882" y="4486"/>
                  </a:lnTo>
                  <a:lnTo>
                    <a:pt x="3298" y="3189"/>
                  </a:lnTo>
                  <a:cubicBezTo>
                    <a:pt x="3358" y="3069"/>
                    <a:pt x="3382" y="2927"/>
                    <a:pt x="3334" y="2784"/>
                  </a:cubicBezTo>
                  <a:cubicBezTo>
                    <a:pt x="3258" y="2575"/>
                    <a:pt x="3053" y="2434"/>
                    <a:pt x="2841" y="2434"/>
                  </a:cubicBezTo>
                  <a:cubicBezTo>
                    <a:pt x="2787" y="2434"/>
                    <a:pt x="2732" y="2443"/>
                    <a:pt x="2679" y="2462"/>
                  </a:cubicBezTo>
                  <a:cubicBezTo>
                    <a:pt x="2667" y="2462"/>
                    <a:pt x="2644" y="2474"/>
                    <a:pt x="2632" y="2474"/>
                  </a:cubicBezTo>
                  <a:cubicBezTo>
                    <a:pt x="2608" y="2415"/>
                    <a:pt x="2584" y="2367"/>
                    <a:pt x="2572" y="2331"/>
                  </a:cubicBezTo>
                  <a:cubicBezTo>
                    <a:pt x="2453" y="1950"/>
                    <a:pt x="2489" y="1557"/>
                    <a:pt x="2691" y="1200"/>
                  </a:cubicBezTo>
                  <a:cubicBezTo>
                    <a:pt x="2906" y="819"/>
                    <a:pt x="3239" y="545"/>
                    <a:pt x="3656" y="402"/>
                  </a:cubicBezTo>
                  <a:cubicBezTo>
                    <a:pt x="3848" y="337"/>
                    <a:pt x="4048" y="304"/>
                    <a:pt x="4245" y="304"/>
                  </a:cubicBezTo>
                  <a:close/>
                  <a:moveTo>
                    <a:pt x="6323" y="7677"/>
                  </a:moveTo>
                  <a:lnTo>
                    <a:pt x="6323" y="7677"/>
                  </a:lnTo>
                  <a:cubicBezTo>
                    <a:pt x="6620" y="8046"/>
                    <a:pt x="6978" y="8392"/>
                    <a:pt x="7311" y="8582"/>
                  </a:cubicBezTo>
                  <a:cubicBezTo>
                    <a:pt x="7501" y="8701"/>
                    <a:pt x="7704" y="8773"/>
                    <a:pt x="7930" y="8808"/>
                  </a:cubicBezTo>
                  <a:cubicBezTo>
                    <a:pt x="7930" y="9368"/>
                    <a:pt x="7704" y="9951"/>
                    <a:pt x="7263" y="10547"/>
                  </a:cubicBezTo>
                  <a:cubicBezTo>
                    <a:pt x="6454" y="10428"/>
                    <a:pt x="5787" y="9951"/>
                    <a:pt x="5442" y="9666"/>
                  </a:cubicBezTo>
                  <a:cubicBezTo>
                    <a:pt x="5608" y="9499"/>
                    <a:pt x="5739" y="9308"/>
                    <a:pt x="5846" y="9082"/>
                  </a:cubicBezTo>
                  <a:cubicBezTo>
                    <a:pt x="5965" y="8773"/>
                    <a:pt x="6037" y="8356"/>
                    <a:pt x="6037" y="7856"/>
                  </a:cubicBezTo>
                  <a:lnTo>
                    <a:pt x="6525" y="9308"/>
                  </a:lnTo>
                  <a:cubicBezTo>
                    <a:pt x="6561" y="9380"/>
                    <a:pt x="6620" y="9416"/>
                    <a:pt x="6680" y="9416"/>
                  </a:cubicBezTo>
                  <a:cubicBezTo>
                    <a:pt x="6692" y="9416"/>
                    <a:pt x="6716" y="9416"/>
                    <a:pt x="6739" y="9404"/>
                  </a:cubicBezTo>
                  <a:cubicBezTo>
                    <a:pt x="6823" y="9368"/>
                    <a:pt x="6870" y="9285"/>
                    <a:pt x="6847" y="9189"/>
                  </a:cubicBezTo>
                  <a:lnTo>
                    <a:pt x="6323" y="7677"/>
                  </a:lnTo>
                  <a:close/>
                  <a:moveTo>
                    <a:pt x="2096" y="8606"/>
                  </a:moveTo>
                  <a:cubicBezTo>
                    <a:pt x="2191" y="8987"/>
                    <a:pt x="2394" y="9332"/>
                    <a:pt x="2691" y="9618"/>
                  </a:cubicBezTo>
                  <a:lnTo>
                    <a:pt x="2572" y="9797"/>
                  </a:lnTo>
                  <a:cubicBezTo>
                    <a:pt x="2525" y="9880"/>
                    <a:pt x="2548" y="9975"/>
                    <a:pt x="2620" y="10023"/>
                  </a:cubicBezTo>
                  <a:cubicBezTo>
                    <a:pt x="2644" y="10035"/>
                    <a:pt x="2679" y="10058"/>
                    <a:pt x="2703" y="10058"/>
                  </a:cubicBezTo>
                  <a:cubicBezTo>
                    <a:pt x="2763" y="10058"/>
                    <a:pt x="2810" y="10023"/>
                    <a:pt x="2846" y="9975"/>
                  </a:cubicBezTo>
                  <a:lnTo>
                    <a:pt x="2941" y="9820"/>
                  </a:lnTo>
                  <a:cubicBezTo>
                    <a:pt x="3060" y="9892"/>
                    <a:pt x="3203" y="9963"/>
                    <a:pt x="3334" y="10023"/>
                  </a:cubicBezTo>
                  <a:cubicBezTo>
                    <a:pt x="3513" y="10094"/>
                    <a:pt x="3703" y="10142"/>
                    <a:pt x="3882" y="10154"/>
                  </a:cubicBezTo>
                  <a:cubicBezTo>
                    <a:pt x="3406" y="10570"/>
                    <a:pt x="2751" y="10832"/>
                    <a:pt x="2084" y="10856"/>
                  </a:cubicBezTo>
                  <a:cubicBezTo>
                    <a:pt x="1798" y="10118"/>
                    <a:pt x="1810" y="9308"/>
                    <a:pt x="2096" y="8606"/>
                  </a:cubicBezTo>
                  <a:close/>
                  <a:moveTo>
                    <a:pt x="4287" y="0"/>
                  </a:moveTo>
                  <a:cubicBezTo>
                    <a:pt x="4050" y="0"/>
                    <a:pt x="3812" y="39"/>
                    <a:pt x="3584" y="117"/>
                  </a:cubicBezTo>
                  <a:cubicBezTo>
                    <a:pt x="3096" y="272"/>
                    <a:pt x="2679" y="617"/>
                    <a:pt x="2441" y="1045"/>
                  </a:cubicBezTo>
                  <a:cubicBezTo>
                    <a:pt x="2191" y="1498"/>
                    <a:pt x="2144" y="1986"/>
                    <a:pt x="2286" y="2450"/>
                  </a:cubicBezTo>
                  <a:cubicBezTo>
                    <a:pt x="2322" y="2534"/>
                    <a:pt x="2370" y="2629"/>
                    <a:pt x="2406" y="2724"/>
                  </a:cubicBezTo>
                  <a:cubicBezTo>
                    <a:pt x="2406" y="2724"/>
                    <a:pt x="2406" y="2748"/>
                    <a:pt x="2394" y="2748"/>
                  </a:cubicBezTo>
                  <a:cubicBezTo>
                    <a:pt x="2358" y="2808"/>
                    <a:pt x="2346" y="2867"/>
                    <a:pt x="2346" y="2927"/>
                  </a:cubicBezTo>
                  <a:cubicBezTo>
                    <a:pt x="2227" y="2891"/>
                    <a:pt x="2108" y="2879"/>
                    <a:pt x="1989" y="2867"/>
                  </a:cubicBezTo>
                  <a:cubicBezTo>
                    <a:pt x="1949" y="2864"/>
                    <a:pt x="1909" y="2863"/>
                    <a:pt x="1869" y="2863"/>
                  </a:cubicBezTo>
                  <a:cubicBezTo>
                    <a:pt x="941" y="2863"/>
                    <a:pt x="128" y="3650"/>
                    <a:pt x="48" y="4701"/>
                  </a:cubicBezTo>
                  <a:cubicBezTo>
                    <a:pt x="0" y="5213"/>
                    <a:pt x="143" y="5725"/>
                    <a:pt x="465" y="6129"/>
                  </a:cubicBezTo>
                  <a:cubicBezTo>
                    <a:pt x="774" y="6522"/>
                    <a:pt x="1203" y="6760"/>
                    <a:pt x="1691" y="6808"/>
                  </a:cubicBezTo>
                  <a:lnTo>
                    <a:pt x="1858" y="6808"/>
                  </a:lnTo>
                  <a:cubicBezTo>
                    <a:pt x="2144" y="6808"/>
                    <a:pt x="2453" y="6749"/>
                    <a:pt x="2751" y="6677"/>
                  </a:cubicBezTo>
                  <a:lnTo>
                    <a:pt x="2751" y="6677"/>
                  </a:lnTo>
                  <a:cubicBezTo>
                    <a:pt x="2513" y="6939"/>
                    <a:pt x="2286" y="7260"/>
                    <a:pt x="2155" y="7570"/>
                  </a:cubicBezTo>
                  <a:cubicBezTo>
                    <a:pt x="2108" y="7677"/>
                    <a:pt x="2084" y="7796"/>
                    <a:pt x="2060" y="7892"/>
                  </a:cubicBezTo>
                  <a:cubicBezTo>
                    <a:pt x="1453" y="8820"/>
                    <a:pt x="1370" y="9999"/>
                    <a:pt x="1810" y="11035"/>
                  </a:cubicBezTo>
                  <a:cubicBezTo>
                    <a:pt x="1846" y="11094"/>
                    <a:pt x="1905" y="11142"/>
                    <a:pt x="1965" y="11142"/>
                  </a:cubicBezTo>
                  <a:cubicBezTo>
                    <a:pt x="2882" y="11130"/>
                    <a:pt x="3763" y="10749"/>
                    <a:pt x="4370" y="10118"/>
                  </a:cubicBezTo>
                  <a:cubicBezTo>
                    <a:pt x="4668" y="10082"/>
                    <a:pt x="4953" y="9975"/>
                    <a:pt x="5192" y="9832"/>
                  </a:cubicBezTo>
                  <a:cubicBezTo>
                    <a:pt x="5549" y="10142"/>
                    <a:pt x="6335" y="10725"/>
                    <a:pt x="7323" y="10844"/>
                  </a:cubicBezTo>
                  <a:lnTo>
                    <a:pt x="7335" y="10844"/>
                  </a:lnTo>
                  <a:cubicBezTo>
                    <a:pt x="7382" y="10844"/>
                    <a:pt x="7442" y="10809"/>
                    <a:pt x="7466" y="10785"/>
                  </a:cubicBezTo>
                  <a:cubicBezTo>
                    <a:pt x="7990" y="10118"/>
                    <a:pt x="8251" y="9439"/>
                    <a:pt x="8275" y="8773"/>
                  </a:cubicBezTo>
                  <a:cubicBezTo>
                    <a:pt x="8894" y="8749"/>
                    <a:pt x="9525" y="8368"/>
                    <a:pt x="9883" y="7761"/>
                  </a:cubicBezTo>
                  <a:cubicBezTo>
                    <a:pt x="10276" y="7082"/>
                    <a:pt x="10264" y="6272"/>
                    <a:pt x="9906" y="5689"/>
                  </a:cubicBezTo>
                  <a:cubicBezTo>
                    <a:pt x="10252" y="5439"/>
                    <a:pt x="10537" y="5117"/>
                    <a:pt x="10752" y="4724"/>
                  </a:cubicBezTo>
                  <a:cubicBezTo>
                    <a:pt x="10776" y="4701"/>
                    <a:pt x="10776" y="4617"/>
                    <a:pt x="10728" y="4582"/>
                  </a:cubicBezTo>
                  <a:cubicBezTo>
                    <a:pt x="10430" y="4189"/>
                    <a:pt x="10049" y="3891"/>
                    <a:pt x="9609" y="3689"/>
                  </a:cubicBezTo>
                  <a:cubicBezTo>
                    <a:pt x="9704" y="3474"/>
                    <a:pt x="9752" y="3248"/>
                    <a:pt x="9752" y="2998"/>
                  </a:cubicBezTo>
                  <a:cubicBezTo>
                    <a:pt x="9752" y="2498"/>
                    <a:pt x="9549" y="1998"/>
                    <a:pt x="9192" y="1617"/>
                  </a:cubicBezTo>
                  <a:cubicBezTo>
                    <a:pt x="8835" y="1224"/>
                    <a:pt x="8382" y="974"/>
                    <a:pt x="7870" y="926"/>
                  </a:cubicBezTo>
                  <a:cubicBezTo>
                    <a:pt x="7803" y="918"/>
                    <a:pt x="7736" y="914"/>
                    <a:pt x="7670" y="914"/>
                  </a:cubicBezTo>
                  <a:cubicBezTo>
                    <a:pt x="7244" y="914"/>
                    <a:pt x="6846" y="1075"/>
                    <a:pt x="6537" y="1343"/>
                  </a:cubicBezTo>
                  <a:cubicBezTo>
                    <a:pt x="6394" y="1462"/>
                    <a:pt x="6263" y="1617"/>
                    <a:pt x="6156" y="1772"/>
                  </a:cubicBezTo>
                  <a:cubicBezTo>
                    <a:pt x="6144" y="1557"/>
                    <a:pt x="6096" y="1367"/>
                    <a:pt x="6037" y="1176"/>
                  </a:cubicBezTo>
                  <a:cubicBezTo>
                    <a:pt x="5882" y="724"/>
                    <a:pt x="5537" y="367"/>
                    <a:pt x="5073" y="152"/>
                  </a:cubicBezTo>
                  <a:cubicBezTo>
                    <a:pt x="4825" y="51"/>
                    <a:pt x="4557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129" name="Google Shape;13129;p63"/>
          <p:cNvSpPr/>
          <p:nvPr/>
        </p:nvSpPr>
        <p:spPr>
          <a:xfrm>
            <a:off x="4423085" y="3353074"/>
            <a:ext cx="331872" cy="357792"/>
          </a:xfrm>
          <a:custGeom>
            <a:avLst/>
            <a:gdLst/>
            <a:ahLst/>
            <a:cxnLst/>
            <a:rect l="l" t="t" r="r" b="b"/>
            <a:pathLst>
              <a:path w="10371" h="11181" extrusionOk="0">
                <a:moveTo>
                  <a:pt x="5179" y="477"/>
                </a:moveTo>
                <a:lnTo>
                  <a:pt x="5513" y="1013"/>
                </a:lnTo>
                <a:cubicBezTo>
                  <a:pt x="5417" y="1132"/>
                  <a:pt x="5298" y="1263"/>
                  <a:pt x="5179" y="1417"/>
                </a:cubicBezTo>
                <a:cubicBezTo>
                  <a:pt x="5060" y="1263"/>
                  <a:pt x="4941" y="1132"/>
                  <a:pt x="4834" y="1013"/>
                </a:cubicBezTo>
                <a:lnTo>
                  <a:pt x="5179" y="477"/>
                </a:lnTo>
                <a:close/>
                <a:moveTo>
                  <a:pt x="607" y="2775"/>
                </a:moveTo>
                <a:lnTo>
                  <a:pt x="1238" y="2918"/>
                </a:lnTo>
                <a:cubicBezTo>
                  <a:pt x="1250" y="3072"/>
                  <a:pt x="1250" y="3251"/>
                  <a:pt x="1274" y="3441"/>
                </a:cubicBezTo>
                <a:cubicBezTo>
                  <a:pt x="1084" y="3429"/>
                  <a:pt x="917" y="3406"/>
                  <a:pt x="750" y="3394"/>
                </a:cubicBezTo>
                <a:lnTo>
                  <a:pt x="607" y="2775"/>
                </a:lnTo>
                <a:close/>
                <a:moveTo>
                  <a:pt x="9728" y="2775"/>
                </a:moveTo>
                <a:lnTo>
                  <a:pt x="9585" y="3394"/>
                </a:lnTo>
                <a:cubicBezTo>
                  <a:pt x="9430" y="3406"/>
                  <a:pt x="9251" y="3406"/>
                  <a:pt x="9061" y="3441"/>
                </a:cubicBezTo>
                <a:cubicBezTo>
                  <a:pt x="9096" y="3251"/>
                  <a:pt x="9108" y="3072"/>
                  <a:pt x="9108" y="2918"/>
                </a:cubicBezTo>
                <a:lnTo>
                  <a:pt x="9728" y="2775"/>
                </a:lnTo>
                <a:close/>
                <a:moveTo>
                  <a:pt x="4346" y="965"/>
                </a:moveTo>
                <a:cubicBezTo>
                  <a:pt x="4536" y="1155"/>
                  <a:pt x="4870" y="1524"/>
                  <a:pt x="5167" y="1941"/>
                </a:cubicBezTo>
                <a:cubicBezTo>
                  <a:pt x="5203" y="1984"/>
                  <a:pt x="5247" y="2005"/>
                  <a:pt x="5293" y="2005"/>
                </a:cubicBezTo>
                <a:cubicBezTo>
                  <a:pt x="5323" y="2005"/>
                  <a:pt x="5353" y="1996"/>
                  <a:pt x="5382" y="1977"/>
                </a:cubicBezTo>
                <a:cubicBezTo>
                  <a:pt x="5465" y="1917"/>
                  <a:pt x="5477" y="1834"/>
                  <a:pt x="5429" y="1751"/>
                </a:cubicBezTo>
                <a:cubicBezTo>
                  <a:pt x="5417" y="1727"/>
                  <a:pt x="5406" y="1715"/>
                  <a:pt x="5370" y="1679"/>
                </a:cubicBezTo>
                <a:cubicBezTo>
                  <a:pt x="5608" y="1382"/>
                  <a:pt x="5846" y="1132"/>
                  <a:pt x="6001" y="977"/>
                </a:cubicBezTo>
                <a:cubicBezTo>
                  <a:pt x="6191" y="1394"/>
                  <a:pt x="6572" y="2334"/>
                  <a:pt x="6572" y="2977"/>
                </a:cubicBezTo>
                <a:cubicBezTo>
                  <a:pt x="6572" y="3346"/>
                  <a:pt x="6441" y="3691"/>
                  <a:pt x="6191" y="3941"/>
                </a:cubicBezTo>
                <a:cubicBezTo>
                  <a:pt x="6179" y="3918"/>
                  <a:pt x="6144" y="3882"/>
                  <a:pt x="6096" y="3870"/>
                </a:cubicBezTo>
                <a:cubicBezTo>
                  <a:pt x="6144" y="3715"/>
                  <a:pt x="6156" y="3572"/>
                  <a:pt x="6144" y="3406"/>
                </a:cubicBezTo>
                <a:cubicBezTo>
                  <a:pt x="6132" y="3108"/>
                  <a:pt x="6013" y="2751"/>
                  <a:pt x="5798" y="2382"/>
                </a:cubicBezTo>
                <a:cubicBezTo>
                  <a:pt x="5774" y="2333"/>
                  <a:pt x="5716" y="2301"/>
                  <a:pt x="5659" y="2301"/>
                </a:cubicBezTo>
                <a:cubicBezTo>
                  <a:pt x="5632" y="2301"/>
                  <a:pt x="5607" y="2307"/>
                  <a:pt x="5584" y="2322"/>
                </a:cubicBezTo>
                <a:cubicBezTo>
                  <a:pt x="5501" y="2370"/>
                  <a:pt x="5477" y="2465"/>
                  <a:pt x="5525" y="2548"/>
                </a:cubicBezTo>
                <a:cubicBezTo>
                  <a:pt x="5858" y="3179"/>
                  <a:pt x="5906" y="3680"/>
                  <a:pt x="5667" y="4013"/>
                </a:cubicBezTo>
                <a:lnTo>
                  <a:pt x="5298" y="3418"/>
                </a:lnTo>
                <a:cubicBezTo>
                  <a:pt x="5263" y="3382"/>
                  <a:pt x="5203" y="3346"/>
                  <a:pt x="5167" y="3346"/>
                </a:cubicBezTo>
                <a:cubicBezTo>
                  <a:pt x="5108" y="3346"/>
                  <a:pt x="5060" y="3382"/>
                  <a:pt x="5025" y="3418"/>
                </a:cubicBezTo>
                <a:lnTo>
                  <a:pt x="4596" y="4108"/>
                </a:lnTo>
                <a:lnTo>
                  <a:pt x="4405" y="3918"/>
                </a:lnTo>
                <a:cubicBezTo>
                  <a:pt x="4358" y="3882"/>
                  <a:pt x="4310" y="3870"/>
                  <a:pt x="4274" y="3870"/>
                </a:cubicBezTo>
                <a:cubicBezTo>
                  <a:pt x="4227" y="3882"/>
                  <a:pt x="4179" y="3918"/>
                  <a:pt x="4155" y="3965"/>
                </a:cubicBezTo>
                <a:cubicBezTo>
                  <a:pt x="3893" y="3691"/>
                  <a:pt x="3762" y="3346"/>
                  <a:pt x="3762" y="2989"/>
                </a:cubicBezTo>
                <a:cubicBezTo>
                  <a:pt x="3762" y="2322"/>
                  <a:pt x="4167" y="1382"/>
                  <a:pt x="4346" y="965"/>
                </a:cubicBezTo>
                <a:close/>
                <a:moveTo>
                  <a:pt x="5179" y="3799"/>
                </a:moveTo>
                <a:lnTo>
                  <a:pt x="5513" y="4334"/>
                </a:lnTo>
                <a:cubicBezTo>
                  <a:pt x="5417" y="4453"/>
                  <a:pt x="5298" y="4584"/>
                  <a:pt x="5179" y="4739"/>
                </a:cubicBezTo>
                <a:cubicBezTo>
                  <a:pt x="5060" y="4584"/>
                  <a:pt x="4941" y="4453"/>
                  <a:pt x="4834" y="4334"/>
                </a:cubicBezTo>
                <a:lnTo>
                  <a:pt x="5179" y="3799"/>
                </a:lnTo>
                <a:close/>
                <a:moveTo>
                  <a:pt x="1560" y="2537"/>
                </a:moveTo>
                <a:lnTo>
                  <a:pt x="1560" y="2537"/>
                </a:lnTo>
                <a:cubicBezTo>
                  <a:pt x="1988" y="2691"/>
                  <a:pt x="2929" y="3084"/>
                  <a:pt x="3381" y="3525"/>
                </a:cubicBezTo>
                <a:cubicBezTo>
                  <a:pt x="3643" y="3799"/>
                  <a:pt x="3798" y="4156"/>
                  <a:pt x="3798" y="4525"/>
                </a:cubicBezTo>
                <a:cubicBezTo>
                  <a:pt x="3798" y="4596"/>
                  <a:pt x="3798" y="4680"/>
                  <a:pt x="3774" y="4751"/>
                </a:cubicBezTo>
                <a:cubicBezTo>
                  <a:pt x="3762" y="4680"/>
                  <a:pt x="3739" y="4620"/>
                  <a:pt x="3703" y="4561"/>
                </a:cubicBezTo>
                <a:cubicBezTo>
                  <a:pt x="3524" y="4156"/>
                  <a:pt x="3084" y="3846"/>
                  <a:pt x="2405" y="3644"/>
                </a:cubicBezTo>
                <a:cubicBezTo>
                  <a:pt x="2392" y="3640"/>
                  <a:pt x="2379" y="3638"/>
                  <a:pt x="2366" y="3638"/>
                </a:cubicBezTo>
                <a:cubicBezTo>
                  <a:pt x="2294" y="3638"/>
                  <a:pt x="2223" y="3690"/>
                  <a:pt x="2203" y="3751"/>
                </a:cubicBezTo>
                <a:cubicBezTo>
                  <a:pt x="2167" y="3846"/>
                  <a:pt x="2227" y="3930"/>
                  <a:pt x="2310" y="3965"/>
                </a:cubicBezTo>
                <a:cubicBezTo>
                  <a:pt x="2881" y="4144"/>
                  <a:pt x="3239" y="4382"/>
                  <a:pt x="3393" y="4692"/>
                </a:cubicBezTo>
                <a:cubicBezTo>
                  <a:pt x="3501" y="4930"/>
                  <a:pt x="3477" y="5215"/>
                  <a:pt x="3346" y="5537"/>
                </a:cubicBezTo>
                <a:cubicBezTo>
                  <a:pt x="3084" y="5787"/>
                  <a:pt x="2739" y="5930"/>
                  <a:pt x="2369" y="5930"/>
                </a:cubicBezTo>
                <a:cubicBezTo>
                  <a:pt x="1988" y="5930"/>
                  <a:pt x="1631" y="5775"/>
                  <a:pt x="1369" y="5513"/>
                </a:cubicBezTo>
                <a:cubicBezTo>
                  <a:pt x="941" y="5073"/>
                  <a:pt x="548" y="4144"/>
                  <a:pt x="381" y="3703"/>
                </a:cubicBezTo>
                <a:cubicBezTo>
                  <a:pt x="655" y="3703"/>
                  <a:pt x="1143" y="3739"/>
                  <a:pt x="1655" y="3810"/>
                </a:cubicBezTo>
                <a:cubicBezTo>
                  <a:pt x="1662" y="3812"/>
                  <a:pt x="1669" y="3812"/>
                  <a:pt x="1677" y="3812"/>
                </a:cubicBezTo>
                <a:cubicBezTo>
                  <a:pt x="1754" y="3812"/>
                  <a:pt x="1835" y="3756"/>
                  <a:pt x="1846" y="3680"/>
                </a:cubicBezTo>
                <a:cubicBezTo>
                  <a:pt x="1857" y="3584"/>
                  <a:pt x="1798" y="3501"/>
                  <a:pt x="1715" y="3489"/>
                </a:cubicBezTo>
                <a:cubicBezTo>
                  <a:pt x="1679" y="3489"/>
                  <a:pt x="1655" y="3465"/>
                  <a:pt x="1619" y="3465"/>
                </a:cubicBezTo>
                <a:cubicBezTo>
                  <a:pt x="1572" y="3084"/>
                  <a:pt x="1560" y="2739"/>
                  <a:pt x="1560" y="2537"/>
                </a:cubicBezTo>
                <a:close/>
                <a:moveTo>
                  <a:pt x="8787" y="2548"/>
                </a:moveTo>
                <a:cubicBezTo>
                  <a:pt x="8787" y="2751"/>
                  <a:pt x="8775" y="3096"/>
                  <a:pt x="8739" y="3477"/>
                </a:cubicBezTo>
                <a:cubicBezTo>
                  <a:pt x="8704" y="3477"/>
                  <a:pt x="8680" y="3501"/>
                  <a:pt x="8644" y="3501"/>
                </a:cubicBezTo>
                <a:cubicBezTo>
                  <a:pt x="8549" y="3513"/>
                  <a:pt x="8489" y="3608"/>
                  <a:pt x="8513" y="3691"/>
                </a:cubicBezTo>
                <a:cubicBezTo>
                  <a:pt x="8524" y="3768"/>
                  <a:pt x="8604" y="3824"/>
                  <a:pt x="8682" y="3824"/>
                </a:cubicBezTo>
                <a:cubicBezTo>
                  <a:pt x="8689" y="3824"/>
                  <a:pt x="8696" y="3823"/>
                  <a:pt x="8704" y="3822"/>
                </a:cubicBezTo>
                <a:cubicBezTo>
                  <a:pt x="9204" y="3739"/>
                  <a:pt x="9704" y="3715"/>
                  <a:pt x="9966" y="3715"/>
                </a:cubicBezTo>
                <a:cubicBezTo>
                  <a:pt x="9811" y="4144"/>
                  <a:pt x="9418" y="5073"/>
                  <a:pt x="8977" y="5537"/>
                </a:cubicBezTo>
                <a:cubicBezTo>
                  <a:pt x="8707" y="5808"/>
                  <a:pt x="8347" y="5945"/>
                  <a:pt x="7986" y="5945"/>
                </a:cubicBezTo>
                <a:cubicBezTo>
                  <a:pt x="7633" y="5945"/>
                  <a:pt x="7278" y="5814"/>
                  <a:pt x="7001" y="5549"/>
                </a:cubicBezTo>
                <a:cubicBezTo>
                  <a:pt x="6870" y="5227"/>
                  <a:pt x="6846" y="4930"/>
                  <a:pt x="6965" y="4703"/>
                </a:cubicBezTo>
                <a:cubicBezTo>
                  <a:pt x="7108" y="4394"/>
                  <a:pt x="7465" y="4144"/>
                  <a:pt x="8049" y="3977"/>
                </a:cubicBezTo>
                <a:cubicBezTo>
                  <a:pt x="8144" y="3941"/>
                  <a:pt x="8180" y="3858"/>
                  <a:pt x="8156" y="3763"/>
                </a:cubicBezTo>
                <a:cubicBezTo>
                  <a:pt x="8128" y="3699"/>
                  <a:pt x="8073" y="3656"/>
                  <a:pt x="8005" y="3656"/>
                </a:cubicBezTo>
                <a:cubicBezTo>
                  <a:pt x="7985" y="3656"/>
                  <a:pt x="7963" y="3659"/>
                  <a:pt x="7942" y="3668"/>
                </a:cubicBezTo>
                <a:cubicBezTo>
                  <a:pt x="7275" y="3870"/>
                  <a:pt x="6846" y="4168"/>
                  <a:pt x="6656" y="4572"/>
                </a:cubicBezTo>
                <a:cubicBezTo>
                  <a:pt x="6620" y="4632"/>
                  <a:pt x="6596" y="4703"/>
                  <a:pt x="6572" y="4763"/>
                </a:cubicBezTo>
                <a:cubicBezTo>
                  <a:pt x="6560" y="4692"/>
                  <a:pt x="6560" y="4620"/>
                  <a:pt x="6560" y="4537"/>
                </a:cubicBezTo>
                <a:cubicBezTo>
                  <a:pt x="6560" y="4168"/>
                  <a:pt x="6703" y="3810"/>
                  <a:pt x="6977" y="3549"/>
                </a:cubicBezTo>
                <a:cubicBezTo>
                  <a:pt x="7418" y="3096"/>
                  <a:pt x="8370" y="2703"/>
                  <a:pt x="8787" y="2548"/>
                </a:cubicBezTo>
                <a:close/>
                <a:moveTo>
                  <a:pt x="3465" y="5882"/>
                </a:moveTo>
                <a:lnTo>
                  <a:pt x="3465" y="5882"/>
                </a:lnTo>
                <a:cubicBezTo>
                  <a:pt x="3429" y="6013"/>
                  <a:pt x="3429" y="6144"/>
                  <a:pt x="3429" y="6287"/>
                </a:cubicBezTo>
                <a:cubicBezTo>
                  <a:pt x="3441" y="6489"/>
                  <a:pt x="3477" y="6680"/>
                  <a:pt x="3536" y="6858"/>
                </a:cubicBezTo>
                <a:cubicBezTo>
                  <a:pt x="3227" y="6668"/>
                  <a:pt x="2858" y="6466"/>
                  <a:pt x="2429" y="6263"/>
                </a:cubicBezTo>
                <a:cubicBezTo>
                  <a:pt x="2810" y="6251"/>
                  <a:pt x="3167" y="6120"/>
                  <a:pt x="3465" y="5882"/>
                </a:cubicBezTo>
                <a:close/>
                <a:moveTo>
                  <a:pt x="6870" y="5882"/>
                </a:moveTo>
                <a:lnTo>
                  <a:pt x="6870" y="5882"/>
                </a:lnTo>
                <a:cubicBezTo>
                  <a:pt x="7168" y="6120"/>
                  <a:pt x="7525" y="6251"/>
                  <a:pt x="7918" y="6263"/>
                </a:cubicBezTo>
                <a:cubicBezTo>
                  <a:pt x="7489" y="6466"/>
                  <a:pt x="7132" y="6668"/>
                  <a:pt x="6799" y="6858"/>
                </a:cubicBezTo>
                <a:cubicBezTo>
                  <a:pt x="6858" y="6680"/>
                  <a:pt x="6906" y="6477"/>
                  <a:pt x="6906" y="6287"/>
                </a:cubicBezTo>
                <a:cubicBezTo>
                  <a:pt x="6906" y="6168"/>
                  <a:pt x="6906" y="6013"/>
                  <a:pt x="6870" y="5882"/>
                </a:cubicBezTo>
                <a:close/>
                <a:moveTo>
                  <a:pt x="4346" y="4287"/>
                </a:moveTo>
                <a:cubicBezTo>
                  <a:pt x="4536" y="4477"/>
                  <a:pt x="4870" y="4834"/>
                  <a:pt x="5167" y="5251"/>
                </a:cubicBezTo>
                <a:cubicBezTo>
                  <a:pt x="5204" y="5302"/>
                  <a:pt x="5250" y="5327"/>
                  <a:pt x="5296" y="5327"/>
                </a:cubicBezTo>
                <a:cubicBezTo>
                  <a:pt x="5325" y="5327"/>
                  <a:pt x="5354" y="5317"/>
                  <a:pt x="5382" y="5299"/>
                </a:cubicBezTo>
                <a:cubicBezTo>
                  <a:pt x="5465" y="5239"/>
                  <a:pt x="5477" y="5156"/>
                  <a:pt x="5429" y="5073"/>
                </a:cubicBezTo>
                <a:cubicBezTo>
                  <a:pt x="5417" y="5049"/>
                  <a:pt x="5406" y="5037"/>
                  <a:pt x="5370" y="5001"/>
                </a:cubicBezTo>
                <a:cubicBezTo>
                  <a:pt x="5608" y="4703"/>
                  <a:pt x="5846" y="4453"/>
                  <a:pt x="6001" y="4299"/>
                </a:cubicBezTo>
                <a:cubicBezTo>
                  <a:pt x="6191" y="4715"/>
                  <a:pt x="6572" y="5656"/>
                  <a:pt x="6572" y="6299"/>
                </a:cubicBezTo>
                <a:cubicBezTo>
                  <a:pt x="6572" y="6775"/>
                  <a:pt x="6334" y="7192"/>
                  <a:pt x="6001" y="7442"/>
                </a:cubicBezTo>
                <a:cubicBezTo>
                  <a:pt x="6025" y="7382"/>
                  <a:pt x="6060" y="7323"/>
                  <a:pt x="6084" y="7251"/>
                </a:cubicBezTo>
                <a:cubicBezTo>
                  <a:pt x="6251" y="6823"/>
                  <a:pt x="6156" y="6299"/>
                  <a:pt x="5822" y="5692"/>
                </a:cubicBezTo>
                <a:cubicBezTo>
                  <a:pt x="5791" y="5637"/>
                  <a:pt x="5734" y="5608"/>
                  <a:pt x="5678" y="5608"/>
                </a:cubicBezTo>
                <a:cubicBezTo>
                  <a:pt x="5649" y="5608"/>
                  <a:pt x="5621" y="5616"/>
                  <a:pt x="5596" y="5632"/>
                </a:cubicBezTo>
                <a:cubicBezTo>
                  <a:pt x="5525" y="5668"/>
                  <a:pt x="5489" y="5775"/>
                  <a:pt x="5537" y="5846"/>
                </a:cubicBezTo>
                <a:cubicBezTo>
                  <a:pt x="5822" y="6382"/>
                  <a:pt x="5906" y="6823"/>
                  <a:pt x="5787" y="7132"/>
                </a:cubicBezTo>
                <a:cubicBezTo>
                  <a:pt x="5703" y="7370"/>
                  <a:pt x="5489" y="7561"/>
                  <a:pt x="5144" y="7692"/>
                </a:cubicBezTo>
                <a:cubicBezTo>
                  <a:pt x="4394" y="7680"/>
                  <a:pt x="3762" y="7061"/>
                  <a:pt x="3762" y="6287"/>
                </a:cubicBezTo>
                <a:cubicBezTo>
                  <a:pt x="3762" y="5656"/>
                  <a:pt x="4167" y="4703"/>
                  <a:pt x="4346" y="4287"/>
                </a:cubicBezTo>
                <a:close/>
                <a:moveTo>
                  <a:pt x="4917" y="7990"/>
                </a:moveTo>
                <a:lnTo>
                  <a:pt x="4917" y="7990"/>
                </a:lnTo>
                <a:cubicBezTo>
                  <a:pt x="5001" y="8013"/>
                  <a:pt x="5084" y="8013"/>
                  <a:pt x="5179" y="8013"/>
                </a:cubicBezTo>
                <a:cubicBezTo>
                  <a:pt x="5263" y="8013"/>
                  <a:pt x="5346" y="8013"/>
                  <a:pt x="5429" y="7990"/>
                </a:cubicBezTo>
                <a:lnTo>
                  <a:pt x="5429" y="7990"/>
                </a:lnTo>
                <a:cubicBezTo>
                  <a:pt x="5310" y="8109"/>
                  <a:pt x="5239" y="8204"/>
                  <a:pt x="5179" y="8275"/>
                </a:cubicBezTo>
                <a:cubicBezTo>
                  <a:pt x="5120" y="8204"/>
                  <a:pt x="5025" y="8097"/>
                  <a:pt x="4917" y="7990"/>
                </a:cubicBezTo>
                <a:close/>
                <a:moveTo>
                  <a:pt x="9704" y="6001"/>
                </a:moveTo>
                <a:lnTo>
                  <a:pt x="9704" y="6001"/>
                </a:lnTo>
                <a:cubicBezTo>
                  <a:pt x="9537" y="6227"/>
                  <a:pt x="9275" y="6525"/>
                  <a:pt x="8882" y="6835"/>
                </a:cubicBezTo>
                <a:cubicBezTo>
                  <a:pt x="8263" y="7359"/>
                  <a:pt x="7191" y="8013"/>
                  <a:pt x="5584" y="8311"/>
                </a:cubicBezTo>
                <a:cubicBezTo>
                  <a:pt x="5763" y="8109"/>
                  <a:pt x="6037" y="7823"/>
                  <a:pt x="6418" y="7525"/>
                </a:cubicBezTo>
                <a:cubicBezTo>
                  <a:pt x="7072" y="7037"/>
                  <a:pt x="8144" y="6382"/>
                  <a:pt x="9704" y="6001"/>
                </a:cubicBezTo>
                <a:close/>
                <a:moveTo>
                  <a:pt x="655" y="6013"/>
                </a:moveTo>
                <a:cubicBezTo>
                  <a:pt x="2203" y="6382"/>
                  <a:pt x="3286" y="7037"/>
                  <a:pt x="3929" y="7549"/>
                </a:cubicBezTo>
                <a:cubicBezTo>
                  <a:pt x="4310" y="7847"/>
                  <a:pt x="4596" y="8121"/>
                  <a:pt x="4775" y="8335"/>
                </a:cubicBezTo>
                <a:cubicBezTo>
                  <a:pt x="3167" y="8013"/>
                  <a:pt x="2096" y="7359"/>
                  <a:pt x="1476" y="6847"/>
                </a:cubicBezTo>
                <a:cubicBezTo>
                  <a:pt x="1084" y="6537"/>
                  <a:pt x="822" y="6227"/>
                  <a:pt x="655" y="6013"/>
                </a:cubicBezTo>
                <a:close/>
                <a:moveTo>
                  <a:pt x="1969" y="7829"/>
                </a:moveTo>
                <a:cubicBezTo>
                  <a:pt x="2107" y="7829"/>
                  <a:pt x="2244" y="7834"/>
                  <a:pt x="2381" y="7847"/>
                </a:cubicBezTo>
                <a:cubicBezTo>
                  <a:pt x="3000" y="8168"/>
                  <a:pt x="3774" y="8466"/>
                  <a:pt x="4751" y="8644"/>
                </a:cubicBezTo>
                <a:cubicBezTo>
                  <a:pt x="4409" y="8708"/>
                  <a:pt x="4091" y="8735"/>
                  <a:pt x="3795" y="8735"/>
                </a:cubicBezTo>
                <a:cubicBezTo>
                  <a:pt x="3041" y="8735"/>
                  <a:pt x="2440" y="8559"/>
                  <a:pt x="2012" y="8371"/>
                </a:cubicBezTo>
                <a:cubicBezTo>
                  <a:pt x="1631" y="8204"/>
                  <a:pt x="1357" y="8013"/>
                  <a:pt x="1179" y="7871"/>
                </a:cubicBezTo>
                <a:cubicBezTo>
                  <a:pt x="1450" y="7847"/>
                  <a:pt x="1712" y="7829"/>
                  <a:pt x="1969" y="7829"/>
                </a:cubicBezTo>
                <a:close/>
                <a:moveTo>
                  <a:pt x="8525" y="7824"/>
                </a:moveTo>
                <a:cubicBezTo>
                  <a:pt x="8741" y="7824"/>
                  <a:pt x="8954" y="7839"/>
                  <a:pt x="9168" y="7871"/>
                </a:cubicBezTo>
                <a:cubicBezTo>
                  <a:pt x="8989" y="8013"/>
                  <a:pt x="8715" y="8204"/>
                  <a:pt x="8346" y="8371"/>
                </a:cubicBezTo>
                <a:cubicBezTo>
                  <a:pt x="7909" y="8563"/>
                  <a:pt x="7285" y="8749"/>
                  <a:pt x="6498" y="8749"/>
                </a:cubicBezTo>
                <a:cubicBezTo>
                  <a:pt x="6214" y="8749"/>
                  <a:pt x="5909" y="8725"/>
                  <a:pt x="5584" y="8668"/>
                </a:cubicBezTo>
                <a:cubicBezTo>
                  <a:pt x="6549" y="8478"/>
                  <a:pt x="7334" y="8180"/>
                  <a:pt x="7942" y="7859"/>
                </a:cubicBezTo>
                <a:cubicBezTo>
                  <a:pt x="8138" y="7836"/>
                  <a:pt x="8332" y="7824"/>
                  <a:pt x="8525" y="7824"/>
                </a:cubicBezTo>
                <a:close/>
                <a:moveTo>
                  <a:pt x="5179" y="8906"/>
                </a:moveTo>
                <a:cubicBezTo>
                  <a:pt x="5191" y="8906"/>
                  <a:pt x="5227" y="8918"/>
                  <a:pt x="5239" y="8918"/>
                </a:cubicBezTo>
                <a:lnTo>
                  <a:pt x="5310" y="9442"/>
                </a:lnTo>
                <a:lnTo>
                  <a:pt x="5048" y="9442"/>
                </a:lnTo>
                <a:lnTo>
                  <a:pt x="5120" y="8918"/>
                </a:lnTo>
                <a:cubicBezTo>
                  <a:pt x="5132" y="8918"/>
                  <a:pt x="5167" y="8906"/>
                  <a:pt x="5179" y="8906"/>
                </a:cubicBezTo>
                <a:close/>
                <a:moveTo>
                  <a:pt x="5358" y="9764"/>
                </a:moveTo>
                <a:lnTo>
                  <a:pt x="5501" y="10835"/>
                </a:lnTo>
                <a:lnTo>
                  <a:pt x="4834" y="10835"/>
                </a:lnTo>
                <a:lnTo>
                  <a:pt x="4989" y="9764"/>
                </a:lnTo>
                <a:close/>
                <a:moveTo>
                  <a:pt x="5191" y="0"/>
                </a:moveTo>
                <a:cubicBezTo>
                  <a:pt x="5132" y="0"/>
                  <a:pt x="5084" y="36"/>
                  <a:pt x="5060" y="72"/>
                </a:cubicBezTo>
                <a:lnTo>
                  <a:pt x="4632" y="762"/>
                </a:lnTo>
                <a:lnTo>
                  <a:pt x="4429" y="572"/>
                </a:lnTo>
                <a:cubicBezTo>
                  <a:pt x="4394" y="536"/>
                  <a:pt x="4346" y="524"/>
                  <a:pt x="4298" y="524"/>
                </a:cubicBezTo>
                <a:cubicBezTo>
                  <a:pt x="4251" y="536"/>
                  <a:pt x="4215" y="572"/>
                  <a:pt x="4179" y="608"/>
                </a:cubicBezTo>
                <a:cubicBezTo>
                  <a:pt x="4155" y="667"/>
                  <a:pt x="3465" y="2060"/>
                  <a:pt x="3465" y="2965"/>
                </a:cubicBezTo>
                <a:cubicBezTo>
                  <a:pt x="3465" y="3037"/>
                  <a:pt x="3465" y="3096"/>
                  <a:pt x="3477" y="3168"/>
                </a:cubicBezTo>
                <a:cubicBezTo>
                  <a:pt x="2786" y="2608"/>
                  <a:pt x="1536" y="2179"/>
                  <a:pt x="1476" y="2156"/>
                </a:cubicBezTo>
                <a:cubicBezTo>
                  <a:pt x="1459" y="2151"/>
                  <a:pt x="1440" y="2148"/>
                  <a:pt x="1421" y="2148"/>
                </a:cubicBezTo>
                <a:cubicBezTo>
                  <a:pt x="1387" y="2148"/>
                  <a:pt x="1352" y="2157"/>
                  <a:pt x="1322" y="2179"/>
                </a:cubicBezTo>
                <a:cubicBezTo>
                  <a:pt x="1274" y="2203"/>
                  <a:pt x="1250" y="2251"/>
                  <a:pt x="1250" y="2310"/>
                </a:cubicBezTo>
                <a:lnTo>
                  <a:pt x="1250" y="2572"/>
                </a:lnTo>
                <a:lnTo>
                  <a:pt x="464" y="2394"/>
                </a:lnTo>
                <a:cubicBezTo>
                  <a:pt x="450" y="2391"/>
                  <a:pt x="436" y="2389"/>
                  <a:pt x="423" y="2389"/>
                </a:cubicBezTo>
                <a:cubicBezTo>
                  <a:pt x="378" y="2389"/>
                  <a:pt x="337" y="2405"/>
                  <a:pt x="310" y="2441"/>
                </a:cubicBezTo>
                <a:cubicBezTo>
                  <a:pt x="262" y="2489"/>
                  <a:pt x="250" y="2548"/>
                  <a:pt x="262" y="2596"/>
                </a:cubicBezTo>
                <a:lnTo>
                  <a:pt x="441" y="3382"/>
                </a:lnTo>
                <a:lnTo>
                  <a:pt x="179" y="3382"/>
                </a:lnTo>
                <a:cubicBezTo>
                  <a:pt x="131" y="3382"/>
                  <a:pt x="72" y="3406"/>
                  <a:pt x="48" y="3453"/>
                </a:cubicBezTo>
                <a:cubicBezTo>
                  <a:pt x="12" y="3501"/>
                  <a:pt x="0" y="3549"/>
                  <a:pt x="24" y="3608"/>
                </a:cubicBezTo>
                <a:cubicBezTo>
                  <a:pt x="48" y="3668"/>
                  <a:pt x="548" y="5132"/>
                  <a:pt x="1179" y="5763"/>
                </a:cubicBezTo>
                <a:lnTo>
                  <a:pt x="1238" y="5823"/>
                </a:lnTo>
                <a:cubicBezTo>
                  <a:pt x="953" y="5727"/>
                  <a:pt x="655" y="5656"/>
                  <a:pt x="345" y="5596"/>
                </a:cubicBezTo>
                <a:cubicBezTo>
                  <a:pt x="335" y="5594"/>
                  <a:pt x="325" y="5593"/>
                  <a:pt x="315" y="5593"/>
                </a:cubicBezTo>
                <a:cubicBezTo>
                  <a:pt x="266" y="5593"/>
                  <a:pt x="218" y="5616"/>
                  <a:pt x="179" y="5656"/>
                </a:cubicBezTo>
                <a:cubicBezTo>
                  <a:pt x="131" y="5704"/>
                  <a:pt x="131" y="5775"/>
                  <a:pt x="167" y="5835"/>
                </a:cubicBezTo>
                <a:cubicBezTo>
                  <a:pt x="179" y="5870"/>
                  <a:pt x="488" y="6442"/>
                  <a:pt x="1274" y="7085"/>
                </a:cubicBezTo>
                <a:cubicBezTo>
                  <a:pt x="1441" y="7216"/>
                  <a:pt x="1619" y="7359"/>
                  <a:pt x="1846" y="7501"/>
                </a:cubicBezTo>
                <a:cubicBezTo>
                  <a:pt x="1500" y="7501"/>
                  <a:pt x="1155" y="7549"/>
                  <a:pt x="822" y="7609"/>
                </a:cubicBezTo>
                <a:cubicBezTo>
                  <a:pt x="762" y="7620"/>
                  <a:pt x="714" y="7656"/>
                  <a:pt x="679" y="7716"/>
                </a:cubicBezTo>
                <a:cubicBezTo>
                  <a:pt x="655" y="7775"/>
                  <a:pt x="679" y="7835"/>
                  <a:pt x="714" y="7871"/>
                </a:cubicBezTo>
                <a:cubicBezTo>
                  <a:pt x="726" y="7894"/>
                  <a:pt x="1131" y="8323"/>
                  <a:pt x="1893" y="8668"/>
                </a:cubicBezTo>
                <a:cubicBezTo>
                  <a:pt x="2346" y="8871"/>
                  <a:pt x="3024" y="9061"/>
                  <a:pt x="3858" y="9061"/>
                </a:cubicBezTo>
                <a:cubicBezTo>
                  <a:pt x="4155" y="9061"/>
                  <a:pt x="4465" y="9037"/>
                  <a:pt x="4786" y="8990"/>
                </a:cubicBezTo>
                <a:lnTo>
                  <a:pt x="4786" y="8990"/>
                </a:lnTo>
                <a:lnTo>
                  <a:pt x="4513" y="10990"/>
                </a:lnTo>
                <a:cubicBezTo>
                  <a:pt x="4513" y="11026"/>
                  <a:pt x="4513" y="11073"/>
                  <a:pt x="4548" y="11121"/>
                </a:cubicBezTo>
                <a:cubicBezTo>
                  <a:pt x="4584" y="11145"/>
                  <a:pt x="4632" y="11180"/>
                  <a:pt x="4667" y="11180"/>
                </a:cubicBezTo>
                <a:lnTo>
                  <a:pt x="5715" y="11180"/>
                </a:lnTo>
                <a:cubicBezTo>
                  <a:pt x="5763" y="11180"/>
                  <a:pt x="5798" y="11169"/>
                  <a:pt x="5834" y="11121"/>
                </a:cubicBezTo>
                <a:cubicBezTo>
                  <a:pt x="5858" y="11085"/>
                  <a:pt x="5882" y="11026"/>
                  <a:pt x="5882" y="10990"/>
                </a:cubicBezTo>
                <a:lnTo>
                  <a:pt x="5596" y="8990"/>
                </a:lnTo>
                <a:lnTo>
                  <a:pt x="5596" y="8990"/>
                </a:lnTo>
                <a:cubicBezTo>
                  <a:pt x="5918" y="9049"/>
                  <a:pt x="6251" y="9061"/>
                  <a:pt x="6537" y="9061"/>
                </a:cubicBezTo>
                <a:cubicBezTo>
                  <a:pt x="7370" y="9061"/>
                  <a:pt x="8037" y="8871"/>
                  <a:pt x="8501" y="8668"/>
                </a:cubicBezTo>
                <a:cubicBezTo>
                  <a:pt x="9251" y="8323"/>
                  <a:pt x="9656" y="7894"/>
                  <a:pt x="9668" y="7871"/>
                </a:cubicBezTo>
                <a:cubicBezTo>
                  <a:pt x="9716" y="7835"/>
                  <a:pt x="9728" y="7775"/>
                  <a:pt x="9704" y="7716"/>
                </a:cubicBezTo>
                <a:cubicBezTo>
                  <a:pt x="9668" y="7656"/>
                  <a:pt x="9632" y="7609"/>
                  <a:pt x="9573" y="7609"/>
                </a:cubicBezTo>
                <a:cubicBezTo>
                  <a:pt x="9227" y="7549"/>
                  <a:pt x="8882" y="7513"/>
                  <a:pt x="8537" y="7501"/>
                </a:cubicBezTo>
                <a:cubicBezTo>
                  <a:pt x="8751" y="7359"/>
                  <a:pt x="8942" y="7216"/>
                  <a:pt x="9108" y="7085"/>
                </a:cubicBezTo>
                <a:cubicBezTo>
                  <a:pt x="9882" y="6442"/>
                  <a:pt x="10204" y="5870"/>
                  <a:pt x="10228" y="5835"/>
                </a:cubicBezTo>
                <a:cubicBezTo>
                  <a:pt x="10251" y="5775"/>
                  <a:pt x="10251" y="5715"/>
                  <a:pt x="10204" y="5656"/>
                </a:cubicBezTo>
                <a:cubicBezTo>
                  <a:pt x="10174" y="5616"/>
                  <a:pt x="10128" y="5593"/>
                  <a:pt x="10079" y="5593"/>
                </a:cubicBezTo>
                <a:cubicBezTo>
                  <a:pt x="10069" y="5593"/>
                  <a:pt x="10059" y="5594"/>
                  <a:pt x="10049" y="5596"/>
                </a:cubicBezTo>
                <a:cubicBezTo>
                  <a:pt x="9728" y="5656"/>
                  <a:pt x="9430" y="5727"/>
                  <a:pt x="9156" y="5823"/>
                </a:cubicBezTo>
                <a:cubicBezTo>
                  <a:pt x="9168" y="5811"/>
                  <a:pt x="9192" y="5787"/>
                  <a:pt x="9216" y="5763"/>
                </a:cubicBezTo>
                <a:cubicBezTo>
                  <a:pt x="9835" y="5120"/>
                  <a:pt x="10323" y="3668"/>
                  <a:pt x="10359" y="3608"/>
                </a:cubicBezTo>
                <a:cubicBezTo>
                  <a:pt x="10370" y="3560"/>
                  <a:pt x="10370" y="3501"/>
                  <a:pt x="10347" y="3453"/>
                </a:cubicBezTo>
                <a:cubicBezTo>
                  <a:pt x="10311" y="3406"/>
                  <a:pt x="10263" y="3382"/>
                  <a:pt x="10204" y="3382"/>
                </a:cubicBezTo>
                <a:lnTo>
                  <a:pt x="9942" y="3382"/>
                </a:lnTo>
                <a:lnTo>
                  <a:pt x="10120" y="2596"/>
                </a:lnTo>
                <a:cubicBezTo>
                  <a:pt x="10132" y="2537"/>
                  <a:pt x="10120" y="2477"/>
                  <a:pt x="10073" y="2441"/>
                </a:cubicBezTo>
                <a:cubicBezTo>
                  <a:pt x="10036" y="2405"/>
                  <a:pt x="9993" y="2389"/>
                  <a:pt x="9959" y="2389"/>
                </a:cubicBezTo>
                <a:cubicBezTo>
                  <a:pt x="9948" y="2389"/>
                  <a:pt x="9938" y="2391"/>
                  <a:pt x="9930" y="2394"/>
                </a:cubicBezTo>
                <a:lnTo>
                  <a:pt x="9132" y="2572"/>
                </a:lnTo>
                <a:lnTo>
                  <a:pt x="9132" y="2310"/>
                </a:lnTo>
                <a:cubicBezTo>
                  <a:pt x="9132" y="2263"/>
                  <a:pt x="9108" y="2203"/>
                  <a:pt x="9061" y="2179"/>
                </a:cubicBezTo>
                <a:cubicBezTo>
                  <a:pt x="9030" y="2156"/>
                  <a:pt x="9004" y="2143"/>
                  <a:pt x="8974" y="2143"/>
                </a:cubicBezTo>
                <a:cubicBezTo>
                  <a:pt x="8957" y="2143"/>
                  <a:pt x="8939" y="2147"/>
                  <a:pt x="8918" y="2156"/>
                </a:cubicBezTo>
                <a:cubicBezTo>
                  <a:pt x="8858" y="2179"/>
                  <a:pt x="7608" y="2608"/>
                  <a:pt x="6906" y="3168"/>
                </a:cubicBezTo>
                <a:cubicBezTo>
                  <a:pt x="6918" y="3096"/>
                  <a:pt x="6918" y="3037"/>
                  <a:pt x="6918" y="2965"/>
                </a:cubicBezTo>
                <a:cubicBezTo>
                  <a:pt x="6918" y="2060"/>
                  <a:pt x="6239" y="667"/>
                  <a:pt x="6203" y="608"/>
                </a:cubicBezTo>
                <a:cubicBezTo>
                  <a:pt x="6179" y="572"/>
                  <a:pt x="6144" y="536"/>
                  <a:pt x="6084" y="524"/>
                </a:cubicBezTo>
                <a:cubicBezTo>
                  <a:pt x="6070" y="522"/>
                  <a:pt x="6057" y="520"/>
                  <a:pt x="6044" y="520"/>
                </a:cubicBezTo>
                <a:cubicBezTo>
                  <a:pt x="6004" y="520"/>
                  <a:pt x="5971" y="536"/>
                  <a:pt x="5953" y="572"/>
                </a:cubicBezTo>
                <a:lnTo>
                  <a:pt x="5763" y="762"/>
                </a:lnTo>
                <a:lnTo>
                  <a:pt x="5322" y="72"/>
                </a:lnTo>
                <a:cubicBezTo>
                  <a:pt x="5298" y="36"/>
                  <a:pt x="5239" y="0"/>
                  <a:pt x="519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30" name="Google Shape;13130;p63"/>
          <p:cNvGrpSpPr/>
          <p:nvPr/>
        </p:nvGrpSpPr>
        <p:grpSpPr>
          <a:xfrm>
            <a:off x="4959533" y="3370226"/>
            <a:ext cx="357408" cy="323488"/>
            <a:chOff x="4959533" y="3370226"/>
            <a:chExt cx="357408" cy="323488"/>
          </a:xfrm>
        </p:grpSpPr>
        <p:sp>
          <p:nvSpPr>
            <p:cNvPr id="13131" name="Google Shape;13131;p63"/>
            <p:cNvSpPr/>
            <p:nvPr/>
          </p:nvSpPr>
          <p:spPr>
            <a:xfrm>
              <a:off x="4959533" y="3370226"/>
              <a:ext cx="357408" cy="323488"/>
            </a:xfrm>
            <a:custGeom>
              <a:avLst/>
              <a:gdLst/>
              <a:ahLst/>
              <a:cxnLst/>
              <a:rect l="l" t="t" r="r" b="b"/>
              <a:pathLst>
                <a:path w="11169" h="10109" extrusionOk="0">
                  <a:moveTo>
                    <a:pt x="7906" y="738"/>
                  </a:moveTo>
                  <a:cubicBezTo>
                    <a:pt x="8596" y="1012"/>
                    <a:pt x="9192" y="1393"/>
                    <a:pt x="9680" y="1870"/>
                  </a:cubicBezTo>
                  <a:cubicBezTo>
                    <a:pt x="9521" y="2137"/>
                    <a:pt x="9210" y="2287"/>
                    <a:pt x="8870" y="2287"/>
                  </a:cubicBezTo>
                  <a:cubicBezTo>
                    <a:pt x="8725" y="2287"/>
                    <a:pt x="8575" y="2260"/>
                    <a:pt x="8430" y="2203"/>
                  </a:cubicBezTo>
                  <a:cubicBezTo>
                    <a:pt x="8168" y="2096"/>
                    <a:pt x="7942" y="1917"/>
                    <a:pt x="7823" y="1679"/>
                  </a:cubicBezTo>
                  <a:cubicBezTo>
                    <a:pt x="7692" y="1465"/>
                    <a:pt x="7656" y="1203"/>
                    <a:pt x="7751" y="1000"/>
                  </a:cubicBezTo>
                  <a:cubicBezTo>
                    <a:pt x="7775" y="905"/>
                    <a:pt x="7834" y="822"/>
                    <a:pt x="7906" y="738"/>
                  </a:cubicBezTo>
                  <a:close/>
                  <a:moveTo>
                    <a:pt x="1024" y="2441"/>
                  </a:moveTo>
                  <a:cubicBezTo>
                    <a:pt x="1048" y="2441"/>
                    <a:pt x="1060" y="2453"/>
                    <a:pt x="1095" y="2477"/>
                  </a:cubicBezTo>
                  <a:cubicBezTo>
                    <a:pt x="1512" y="2620"/>
                    <a:pt x="1703" y="3132"/>
                    <a:pt x="1524" y="3584"/>
                  </a:cubicBezTo>
                  <a:cubicBezTo>
                    <a:pt x="1441" y="3810"/>
                    <a:pt x="1286" y="3989"/>
                    <a:pt x="1084" y="4096"/>
                  </a:cubicBezTo>
                  <a:cubicBezTo>
                    <a:pt x="965" y="4159"/>
                    <a:pt x="843" y="4189"/>
                    <a:pt x="722" y="4189"/>
                  </a:cubicBezTo>
                  <a:cubicBezTo>
                    <a:pt x="635" y="4189"/>
                    <a:pt x="549" y="4173"/>
                    <a:pt x="464" y="4144"/>
                  </a:cubicBezTo>
                  <a:cubicBezTo>
                    <a:pt x="441" y="4120"/>
                    <a:pt x="393" y="4108"/>
                    <a:pt x="369" y="4096"/>
                  </a:cubicBezTo>
                  <a:cubicBezTo>
                    <a:pt x="441" y="3489"/>
                    <a:pt x="679" y="2929"/>
                    <a:pt x="1024" y="2441"/>
                  </a:cubicBezTo>
                  <a:close/>
                  <a:moveTo>
                    <a:pt x="5596" y="310"/>
                  </a:moveTo>
                  <a:cubicBezTo>
                    <a:pt x="6299" y="310"/>
                    <a:pt x="6965" y="417"/>
                    <a:pt x="7596" y="619"/>
                  </a:cubicBezTo>
                  <a:cubicBezTo>
                    <a:pt x="7537" y="703"/>
                    <a:pt x="7489" y="786"/>
                    <a:pt x="7465" y="881"/>
                  </a:cubicBezTo>
                  <a:cubicBezTo>
                    <a:pt x="7346" y="1191"/>
                    <a:pt x="7370" y="1512"/>
                    <a:pt x="7537" y="1834"/>
                  </a:cubicBezTo>
                  <a:cubicBezTo>
                    <a:pt x="7703" y="2131"/>
                    <a:pt x="7977" y="2370"/>
                    <a:pt x="8323" y="2501"/>
                  </a:cubicBezTo>
                  <a:cubicBezTo>
                    <a:pt x="8513" y="2572"/>
                    <a:pt x="8692" y="2608"/>
                    <a:pt x="8894" y="2608"/>
                  </a:cubicBezTo>
                  <a:cubicBezTo>
                    <a:pt x="9311" y="2608"/>
                    <a:pt x="9692" y="2429"/>
                    <a:pt x="9930" y="2120"/>
                  </a:cubicBezTo>
                  <a:cubicBezTo>
                    <a:pt x="10501" y="2798"/>
                    <a:pt x="10847" y="3632"/>
                    <a:pt x="10847" y="4525"/>
                  </a:cubicBezTo>
                  <a:cubicBezTo>
                    <a:pt x="10847" y="4918"/>
                    <a:pt x="10513" y="5227"/>
                    <a:pt x="10109" y="5227"/>
                  </a:cubicBezTo>
                  <a:lnTo>
                    <a:pt x="9930" y="5227"/>
                  </a:lnTo>
                  <a:cubicBezTo>
                    <a:pt x="9930" y="5168"/>
                    <a:pt x="9942" y="5108"/>
                    <a:pt x="9942" y="5049"/>
                  </a:cubicBezTo>
                  <a:cubicBezTo>
                    <a:pt x="9942" y="4691"/>
                    <a:pt x="9823" y="4346"/>
                    <a:pt x="9608" y="4048"/>
                  </a:cubicBezTo>
                  <a:cubicBezTo>
                    <a:pt x="9573" y="4006"/>
                    <a:pt x="9520" y="3984"/>
                    <a:pt x="9470" y="3984"/>
                  </a:cubicBezTo>
                  <a:cubicBezTo>
                    <a:pt x="9437" y="3984"/>
                    <a:pt x="9406" y="3994"/>
                    <a:pt x="9382" y="4013"/>
                  </a:cubicBezTo>
                  <a:cubicBezTo>
                    <a:pt x="9311" y="4072"/>
                    <a:pt x="9287" y="4179"/>
                    <a:pt x="9347" y="4239"/>
                  </a:cubicBezTo>
                  <a:cubicBezTo>
                    <a:pt x="9525" y="4477"/>
                    <a:pt x="9620" y="4751"/>
                    <a:pt x="9620" y="5025"/>
                  </a:cubicBezTo>
                  <a:cubicBezTo>
                    <a:pt x="9620" y="5084"/>
                    <a:pt x="9620" y="5144"/>
                    <a:pt x="9608" y="5203"/>
                  </a:cubicBezTo>
                  <a:lnTo>
                    <a:pt x="6465" y="5203"/>
                  </a:lnTo>
                  <a:cubicBezTo>
                    <a:pt x="6453" y="5156"/>
                    <a:pt x="6453" y="5096"/>
                    <a:pt x="6453" y="5025"/>
                  </a:cubicBezTo>
                  <a:cubicBezTo>
                    <a:pt x="6453" y="4251"/>
                    <a:pt x="7168" y="3620"/>
                    <a:pt x="8025" y="3620"/>
                  </a:cubicBezTo>
                  <a:cubicBezTo>
                    <a:pt x="8323" y="3620"/>
                    <a:pt x="8608" y="3691"/>
                    <a:pt x="8858" y="3822"/>
                  </a:cubicBezTo>
                  <a:cubicBezTo>
                    <a:pt x="8881" y="3837"/>
                    <a:pt x="8907" y="3844"/>
                    <a:pt x="8933" y="3844"/>
                  </a:cubicBezTo>
                  <a:cubicBezTo>
                    <a:pt x="8991" y="3844"/>
                    <a:pt x="9052" y="3812"/>
                    <a:pt x="9085" y="3763"/>
                  </a:cubicBezTo>
                  <a:cubicBezTo>
                    <a:pt x="9132" y="3691"/>
                    <a:pt x="9096" y="3584"/>
                    <a:pt x="9025" y="3536"/>
                  </a:cubicBezTo>
                  <a:cubicBezTo>
                    <a:pt x="8727" y="3382"/>
                    <a:pt x="8382" y="3286"/>
                    <a:pt x="8025" y="3286"/>
                  </a:cubicBezTo>
                  <a:cubicBezTo>
                    <a:pt x="6965" y="3286"/>
                    <a:pt x="6120" y="4060"/>
                    <a:pt x="6120" y="5025"/>
                  </a:cubicBezTo>
                  <a:cubicBezTo>
                    <a:pt x="6120" y="5084"/>
                    <a:pt x="6120" y="5144"/>
                    <a:pt x="6132" y="5203"/>
                  </a:cubicBezTo>
                  <a:lnTo>
                    <a:pt x="1060" y="5203"/>
                  </a:lnTo>
                  <a:cubicBezTo>
                    <a:pt x="655" y="5203"/>
                    <a:pt x="333" y="4894"/>
                    <a:pt x="333" y="4513"/>
                  </a:cubicBezTo>
                  <a:lnTo>
                    <a:pt x="333" y="4417"/>
                  </a:lnTo>
                  <a:lnTo>
                    <a:pt x="345" y="4417"/>
                  </a:lnTo>
                  <a:cubicBezTo>
                    <a:pt x="464" y="4465"/>
                    <a:pt x="595" y="4501"/>
                    <a:pt x="714" y="4501"/>
                  </a:cubicBezTo>
                  <a:cubicBezTo>
                    <a:pt x="881" y="4501"/>
                    <a:pt x="1060" y="4453"/>
                    <a:pt x="1226" y="4382"/>
                  </a:cubicBezTo>
                  <a:cubicBezTo>
                    <a:pt x="1512" y="4239"/>
                    <a:pt x="1715" y="3989"/>
                    <a:pt x="1834" y="3691"/>
                  </a:cubicBezTo>
                  <a:cubicBezTo>
                    <a:pt x="2072" y="3084"/>
                    <a:pt x="1810" y="2393"/>
                    <a:pt x="1238" y="2167"/>
                  </a:cubicBezTo>
                  <a:cubicBezTo>
                    <a:pt x="2179" y="1060"/>
                    <a:pt x="3786" y="310"/>
                    <a:pt x="5596" y="310"/>
                  </a:cubicBezTo>
                  <a:close/>
                  <a:moveTo>
                    <a:pt x="6894" y="5572"/>
                  </a:moveTo>
                  <a:lnTo>
                    <a:pt x="7334" y="8573"/>
                  </a:lnTo>
                  <a:cubicBezTo>
                    <a:pt x="7370" y="8870"/>
                    <a:pt x="7287" y="9180"/>
                    <a:pt x="7072" y="9418"/>
                  </a:cubicBezTo>
                  <a:cubicBezTo>
                    <a:pt x="6870" y="9656"/>
                    <a:pt x="6584" y="9775"/>
                    <a:pt x="6275" y="9775"/>
                  </a:cubicBezTo>
                  <a:lnTo>
                    <a:pt x="4894" y="9775"/>
                  </a:lnTo>
                  <a:cubicBezTo>
                    <a:pt x="4572" y="9775"/>
                    <a:pt x="4298" y="9644"/>
                    <a:pt x="4084" y="9418"/>
                  </a:cubicBezTo>
                  <a:cubicBezTo>
                    <a:pt x="3870" y="9180"/>
                    <a:pt x="3786" y="8882"/>
                    <a:pt x="3834" y="8573"/>
                  </a:cubicBezTo>
                  <a:lnTo>
                    <a:pt x="4251" y="5572"/>
                  </a:lnTo>
                  <a:close/>
                  <a:moveTo>
                    <a:pt x="5584" y="0"/>
                  </a:moveTo>
                  <a:cubicBezTo>
                    <a:pt x="4096" y="0"/>
                    <a:pt x="2703" y="465"/>
                    <a:pt x="1655" y="1310"/>
                  </a:cubicBezTo>
                  <a:cubicBezTo>
                    <a:pt x="595" y="2167"/>
                    <a:pt x="0" y="3310"/>
                    <a:pt x="0" y="4525"/>
                  </a:cubicBezTo>
                  <a:lnTo>
                    <a:pt x="0" y="4537"/>
                  </a:lnTo>
                  <a:cubicBezTo>
                    <a:pt x="0" y="5108"/>
                    <a:pt x="476" y="5572"/>
                    <a:pt x="1060" y="5572"/>
                  </a:cubicBezTo>
                  <a:lnTo>
                    <a:pt x="3929" y="5572"/>
                  </a:lnTo>
                  <a:lnTo>
                    <a:pt x="3512" y="8525"/>
                  </a:lnTo>
                  <a:cubicBezTo>
                    <a:pt x="3453" y="8930"/>
                    <a:pt x="3572" y="9335"/>
                    <a:pt x="3846" y="9632"/>
                  </a:cubicBezTo>
                  <a:cubicBezTo>
                    <a:pt x="4108" y="9930"/>
                    <a:pt x="4489" y="10109"/>
                    <a:pt x="4882" y="10109"/>
                  </a:cubicBezTo>
                  <a:lnTo>
                    <a:pt x="6275" y="10109"/>
                  </a:lnTo>
                  <a:cubicBezTo>
                    <a:pt x="6668" y="10109"/>
                    <a:pt x="7061" y="9930"/>
                    <a:pt x="7311" y="9632"/>
                  </a:cubicBezTo>
                  <a:cubicBezTo>
                    <a:pt x="7584" y="9335"/>
                    <a:pt x="7703" y="8930"/>
                    <a:pt x="7644" y="8525"/>
                  </a:cubicBezTo>
                  <a:lnTo>
                    <a:pt x="7227" y="5572"/>
                  </a:lnTo>
                  <a:lnTo>
                    <a:pt x="10097" y="5572"/>
                  </a:lnTo>
                  <a:cubicBezTo>
                    <a:pt x="10680" y="5572"/>
                    <a:pt x="11132" y="5108"/>
                    <a:pt x="11156" y="4537"/>
                  </a:cubicBezTo>
                  <a:lnTo>
                    <a:pt x="11156" y="4525"/>
                  </a:lnTo>
                  <a:cubicBezTo>
                    <a:pt x="11168" y="3310"/>
                    <a:pt x="10585" y="2155"/>
                    <a:pt x="9513" y="1310"/>
                  </a:cubicBezTo>
                  <a:cubicBezTo>
                    <a:pt x="8465" y="465"/>
                    <a:pt x="7061" y="0"/>
                    <a:pt x="5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2" name="Google Shape;13132;p63"/>
            <p:cNvSpPr/>
            <p:nvPr/>
          </p:nvSpPr>
          <p:spPr>
            <a:xfrm>
              <a:off x="5055149" y="3409458"/>
              <a:ext cx="99840" cy="88416"/>
            </a:xfrm>
            <a:custGeom>
              <a:avLst/>
              <a:gdLst/>
              <a:ahLst/>
              <a:cxnLst/>
              <a:rect l="l" t="t" r="r" b="b"/>
              <a:pathLst>
                <a:path w="3120" h="2763" extrusionOk="0">
                  <a:moveTo>
                    <a:pt x="1560" y="1"/>
                  </a:moveTo>
                  <a:cubicBezTo>
                    <a:pt x="691" y="1"/>
                    <a:pt x="1" y="620"/>
                    <a:pt x="1" y="1382"/>
                  </a:cubicBezTo>
                  <a:cubicBezTo>
                    <a:pt x="1" y="2144"/>
                    <a:pt x="691" y="2763"/>
                    <a:pt x="1560" y="2763"/>
                  </a:cubicBezTo>
                  <a:cubicBezTo>
                    <a:pt x="2418" y="2763"/>
                    <a:pt x="3120" y="2144"/>
                    <a:pt x="3120" y="1382"/>
                  </a:cubicBezTo>
                  <a:cubicBezTo>
                    <a:pt x="3108" y="1084"/>
                    <a:pt x="3013" y="798"/>
                    <a:pt x="2822" y="560"/>
                  </a:cubicBezTo>
                  <a:cubicBezTo>
                    <a:pt x="2790" y="521"/>
                    <a:pt x="2742" y="503"/>
                    <a:pt x="2697" y="503"/>
                  </a:cubicBezTo>
                  <a:cubicBezTo>
                    <a:pt x="2659" y="503"/>
                    <a:pt x="2623" y="515"/>
                    <a:pt x="2596" y="536"/>
                  </a:cubicBezTo>
                  <a:cubicBezTo>
                    <a:pt x="2525" y="584"/>
                    <a:pt x="2525" y="691"/>
                    <a:pt x="2572" y="751"/>
                  </a:cubicBezTo>
                  <a:cubicBezTo>
                    <a:pt x="2715" y="929"/>
                    <a:pt x="2799" y="1144"/>
                    <a:pt x="2799" y="1370"/>
                  </a:cubicBezTo>
                  <a:cubicBezTo>
                    <a:pt x="2799" y="1941"/>
                    <a:pt x="2239" y="2418"/>
                    <a:pt x="1560" y="2418"/>
                  </a:cubicBezTo>
                  <a:cubicBezTo>
                    <a:pt x="870" y="2418"/>
                    <a:pt x="322" y="1941"/>
                    <a:pt x="322" y="1370"/>
                  </a:cubicBezTo>
                  <a:cubicBezTo>
                    <a:pt x="322" y="786"/>
                    <a:pt x="870" y="310"/>
                    <a:pt x="1560" y="310"/>
                  </a:cubicBezTo>
                  <a:cubicBezTo>
                    <a:pt x="1739" y="310"/>
                    <a:pt x="1917" y="334"/>
                    <a:pt x="2084" y="417"/>
                  </a:cubicBezTo>
                  <a:cubicBezTo>
                    <a:pt x="2104" y="423"/>
                    <a:pt x="2124" y="426"/>
                    <a:pt x="2144" y="426"/>
                  </a:cubicBezTo>
                  <a:cubicBezTo>
                    <a:pt x="2208" y="426"/>
                    <a:pt x="2268" y="395"/>
                    <a:pt x="2287" y="322"/>
                  </a:cubicBezTo>
                  <a:cubicBezTo>
                    <a:pt x="2322" y="239"/>
                    <a:pt x="2287" y="143"/>
                    <a:pt x="2203" y="120"/>
                  </a:cubicBezTo>
                  <a:cubicBezTo>
                    <a:pt x="1989" y="24"/>
                    <a:pt x="1787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33" name="Google Shape;13133;p63"/>
          <p:cNvGrpSpPr/>
          <p:nvPr/>
        </p:nvGrpSpPr>
        <p:grpSpPr>
          <a:xfrm>
            <a:off x="7158637" y="3353074"/>
            <a:ext cx="357056" cy="357408"/>
            <a:chOff x="7158637" y="3353074"/>
            <a:chExt cx="357056" cy="357408"/>
          </a:xfrm>
        </p:grpSpPr>
        <p:sp>
          <p:nvSpPr>
            <p:cNvPr id="13134" name="Google Shape;13134;p63"/>
            <p:cNvSpPr/>
            <p:nvPr/>
          </p:nvSpPr>
          <p:spPr>
            <a:xfrm>
              <a:off x="7158637" y="3353074"/>
              <a:ext cx="357056" cy="357408"/>
            </a:xfrm>
            <a:custGeom>
              <a:avLst/>
              <a:gdLst/>
              <a:ahLst/>
              <a:cxnLst/>
              <a:rect l="l" t="t" r="r" b="b"/>
              <a:pathLst>
                <a:path w="11158" h="11169" extrusionOk="0">
                  <a:moveTo>
                    <a:pt x="7157" y="2489"/>
                  </a:moveTo>
                  <a:cubicBezTo>
                    <a:pt x="7192" y="2489"/>
                    <a:pt x="7204" y="2501"/>
                    <a:pt x="7204" y="2501"/>
                  </a:cubicBezTo>
                  <a:cubicBezTo>
                    <a:pt x="7216" y="2513"/>
                    <a:pt x="7228" y="2537"/>
                    <a:pt x="7228" y="2560"/>
                  </a:cubicBezTo>
                  <a:cubicBezTo>
                    <a:pt x="7228" y="2608"/>
                    <a:pt x="7204" y="2632"/>
                    <a:pt x="7157" y="2656"/>
                  </a:cubicBezTo>
                  <a:lnTo>
                    <a:pt x="6776" y="2691"/>
                  </a:lnTo>
                  <a:lnTo>
                    <a:pt x="6788" y="2656"/>
                  </a:lnTo>
                  <a:cubicBezTo>
                    <a:pt x="6811" y="2596"/>
                    <a:pt x="6859" y="2548"/>
                    <a:pt x="6919" y="2537"/>
                  </a:cubicBezTo>
                  <a:lnTo>
                    <a:pt x="7145" y="2489"/>
                  </a:lnTo>
                  <a:close/>
                  <a:moveTo>
                    <a:pt x="5192" y="2632"/>
                  </a:moveTo>
                  <a:cubicBezTo>
                    <a:pt x="5014" y="3084"/>
                    <a:pt x="5014" y="3108"/>
                    <a:pt x="5014" y="3144"/>
                  </a:cubicBezTo>
                  <a:cubicBezTo>
                    <a:pt x="5002" y="3227"/>
                    <a:pt x="5073" y="3310"/>
                    <a:pt x="5168" y="3310"/>
                  </a:cubicBezTo>
                  <a:cubicBezTo>
                    <a:pt x="5240" y="3310"/>
                    <a:pt x="5311" y="3251"/>
                    <a:pt x="5323" y="3168"/>
                  </a:cubicBezTo>
                  <a:cubicBezTo>
                    <a:pt x="5335" y="3132"/>
                    <a:pt x="5395" y="2989"/>
                    <a:pt x="5466" y="2810"/>
                  </a:cubicBezTo>
                  <a:lnTo>
                    <a:pt x="5549" y="2953"/>
                  </a:lnTo>
                  <a:cubicBezTo>
                    <a:pt x="5641" y="3100"/>
                    <a:pt x="5803" y="3176"/>
                    <a:pt x="5966" y="3176"/>
                  </a:cubicBezTo>
                  <a:cubicBezTo>
                    <a:pt x="6014" y="3176"/>
                    <a:pt x="6062" y="3169"/>
                    <a:pt x="6109" y="3156"/>
                  </a:cubicBezTo>
                  <a:lnTo>
                    <a:pt x="6347" y="3096"/>
                  </a:lnTo>
                  <a:cubicBezTo>
                    <a:pt x="6347" y="3156"/>
                    <a:pt x="6383" y="3215"/>
                    <a:pt x="6442" y="3251"/>
                  </a:cubicBezTo>
                  <a:lnTo>
                    <a:pt x="6811" y="3441"/>
                  </a:lnTo>
                  <a:lnTo>
                    <a:pt x="6788" y="3489"/>
                  </a:lnTo>
                  <a:lnTo>
                    <a:pt x="5264" y="3489"/>
                  </a:lnTo>
                  <a:lnTo>
                    <a:pt x="4049" y="3013"/>
                  </a:lnTo>
                  <a:lnTo>
                    <a:pt x="4299" y="2667"/>
                  </a:lnTo>
                  <a:lnTo>
                    <a:pt x="5192" y="2632"/>
                  </a:lnTo>
                  <a:close/>
                  <a:moveTo>
                    <a:pt x="382" y="6442"/>
                  </a:moveTo>
                  <a:lnTo>
                    <a:pt x="1001" y="7025"/>
                  </a:lnTo>
                  <a:cubicBezTo>
                    <a:pt x="1037" y="7073"/>
                    <a:pt x="1061" y="7132"/>
                    <a:pt x="1061" y="7192"/>
                  </a:cubicBezTo>
                  <a:lnTo>
                    <a:pt x="953" y="8085"/>
                  </a:lnTo>
                  <a:cubicBezTo>
                    <a:pt x="668" y="7573"/>
                    <a:pt x="489" y="7025"/>
                    <a:pt x="382" y="6442"/>
                  </a:cubicBezTo>
                  <a:close/>
                  <a:moveTo>
                    <a:pt x="5537" y="310"/>
                  </a:moveTo>
                  <a:cubicBezTo>
                    <a:pt x="6930" y="310"/>
                    <a:pt x="8228" y="870"/>
                    <a:pt x="9228" y="1846"/>
                  </a:cubicBezTo>
                  <a:cubicBezTo>
                    <a:pt x="10193" y="2810"/>
                    <a:pt x="10729" y="4084"/>
                    <a:pt x="10752" y="5430"/>
                  </a:cubicBezTo>
                  <a:cubicBezTo>
                    <a:pt x="10717" y="5418"/>
                    <a:pt x="10669" y="5394"/>
                    <a:pt x="10657" y="5346"/>
                  </a:cubicBezTo>
                  <a:lnTo>
                    <a:pt x="10419" y="4894"/>
                  </a:lnTo>
                  <a:cubicBezTo>
                    <a:pt x="10386" y="4845"/>
                    <a:pt x="10325" y="4818"/>
                    <a:pt x="10267" y="4818"/>
                  </a:cubicBezTo>
                  <a:cubicBezTo>
                    <a:pt x="10240" y="4818"/>
                    <a:pt x="10215" y="4823"/>
                    <a:pt x="10193" y="4834"/>
                  </a:cubicBezTo>
                  <a:cubicBezTo>
                    <a:pt x="10181" y="4894"/>
                    <a:pt x="10145" y="4989"/>
                    <a:pt x="10193" y="5073"/>
                  </a:cubicBezTo>
                  <a:lnTo>
                    <a:pt x="10431" y="5525"/>
                  </a:lnTo>
                  <a:cubicBezTo>
                    <a:pt x="10490" y="5644"/>
                    <a:pt x="10598" y="5727"/>
                    <a:pt x="10729" y="5763"/>
                  </a:cubicBezTo>
                  <a:lnTo>
                    <a:pt x="10824" y="5787"/>
                  </a:lnTo>
                  <a:cubicBezTo>
                    <a:pt x="10752" y="7120"/>
                    <a:pt x="10228" y="8347"/>
                    <a:pt x="9288" y="9287"/>
                  </a:cubicBezTo>
                  <a:cubicBezTo>
                    <a:pt x="8288" y="10287"/>
                    <a:pt x="6978" y="10823"/>
                    <a:pt x="5561" y="10823"/>
                  </a:cubicBezTo>
                  <a:cubicBezTo>
                    <a:pt x="4168" y="10823"/>
                    <a:pt x="2847" y="10276"/>
                    <a:pt x="1846" y="9287"/>
                  </a:cubicBezTo>
                  <a:cubicBezTo>
                    <a:pt x="1608" y="9049"/>
                    <a:pt x="1394" y="8799"/>
                    <a:pt x="1215" y="8525"/>
                  </a:cubicBezTo>
                  <a:lnTo>
                    <a:pt x="1370" y="7216"/>
                  </a:lnTo>
                  <a:cubicBezTo>
                    <a:pt x="1382" y="7061"/>
                    <a:pt x="1323" y="6906"/>
                    <a:pt x="1215" y="6787"/>
                  </a:cubicBezTo>
                  <a:lnTo>
                    <a:pt x="322" y="5930"/>
                  </a:lnTo>
                  <a:cubicBezTo>
                    <a:pt x="311" y="5811"/>
                    <a:pt x="311" y="5692"/>
                    <a:pt x="311" y="5573"/>
                  </a:cubicBezTo>
                  <a:cubicBezTo>
                    <a:pt x="311" y="4168"/>
                    <a:pt x="858" y="2846"/>
                    <a:pt x="1846" y="1846"/>
                  </a:cubicBezTo>
                  <a:cubicBezTo>
                    <a:pt x="2466" y="1227"/>
                    <a:pt x="3216" y="774"/>
                    <a:pt x="4037" y="536"/>
                  </a:cubicBezTo>
                  <a:lnTo>
                    <a:pt x="4037" y="536"/>
                  </a:lnTo>
                  <a:lnTo>
                    <a:pt x="3930" y="822"/>
                  </a:lnTo>
                  <a:cubicBezTo>
                    <a:pt x="3894" y="905"/>
                    <a:pt x="3942" y="1001"/>
                    <a:pt x="4013" y="1024"/>
                  </a:cubicBezTo>
                  <a:cubicBezTo>
                    <a:pt x="4025" y="1024"/>
                    <a:pt x="4061" y="1048"/>
                    <a:pt x="4073" y="1048"/>
                  </a:cubicBezTo>
                  <a:cubicBezTo>
                    <a:pt x="4132" y="1048"/>
                    <a:pt x="4216" y="1001"/>
                    <a:pt x="4228" y="941"/>
                  </a:cubicBezTo>
                  <a:lnTo>
                    <a:pt x="4418" y="453"/>
                  </a:lnTo>
                  <a:cubicBezTo>
                    <a:pt x="4692" y="393"/>
                    <a:pt x="4966" y="346"/>
                    <a:pt x="5252" y="334"/>
                  </a:cubicBezTo>
                  <a:lnTo>
                    <a:pt x="5252" y="334"/>
                  </a:lnTo>
                  <a:lnTo>
                    <a:pt x="5025" y="1227"/>
                  </a:lnTo>
                  <a:lnTo>
                    <a:pt x="4966" y="1239"/>
                  </a:lnTo>
                  <a:lnTo>
                    <a:pt x="4073" y="1239"/>
                  </a:lnTo>
                  <a:cubicBezTo>
                    <a:pt x="3906" y="1239"/>
                    <a:pt x="3763" y="1358"/>
                    <a:pt x="3728" y="1536"/>
                  </a:cubicBezTo>
                  <a:lnTo>
                    <a:pt x="3656" y="2120"/>
                  </a:lnTo>
                  <a:lnTo>
                    <a:pt x="3251" y="2132"/>
                  </a:lnTo>
                  <a:cubicBezTo>
                    <a:pt x="3073" y="2144"/>
                    <a:pt x="2942" y="2275"/>
                    <a:pt x="2930" y="2453"/>
                  </a:cubicBezTo>
                  <a:lnTo>
                    <a:pt x="2918" y="2918"/>
                  </a:lnTo>
                  <a:cubicBezTo>
                    <a:pt x="2918" y="3025"/>
                    <a:pt x="2942" y="3108"/>
                    <a:pt x="3013" y="3168"/>
                  </a:cubicBezTo>
                  <a:cubicBezTo>
                    <a:pt x="3083" y="3238"/>
                    <a:pt x="3154" y="3266"/>
                    <a:pt x="3238" y="3266"/>
                  </a:cubicBezTo>
                  <a:cubicBezTo>
                    <a:pt x="3254" y="3266"/>
                    <a:pt x="3270" y="3265"/>
                    <a:pt x="3287" y="3263"/>
                  </a:cubicBezTo>
                  <a:lnTo>
                    <a:pt x="3311" y="3263"/>
                  </a:lnTo>
                  <a:lnTo>
                    <a:pt x="2989" y="3572"/>
                  </a:lnTo>
                  <a:cubicBezTo>
                    <a:pt x="2930" y="3632"/>
                    <a:pt x="2918" y="3739"/>
                    <a:pt x="2978" y="3810"/>
                  </a:cubicBezTo>
                  <a:cubicBezTo>
                    <a:pt x="3001" y="3846"/>
                    <a:pt x="3049" y="3870"/>
                    <a:pt x="3097" y="3870"/>
                  </a:cubicBezTo>
                  <a:cubicBezTo>
                    <a:pt x="3132" y="3870"/>
                    <a:pt x="3168" y="3858"/>
                    <a:pt x="3204" y="3822"/>
                  </a:cubicBezTo>
                  <a:lnTo>
                    <a:pt x="3811" y="3263"/>
                  </a:lnTo>
                  <a:lnTo>
                    <a:pt x="5144" y="3799"/>
                  </a:lnTo>
                  <a:cubicBezTo>
                    <a:pt x="5156" y="3810"/>
                    <a:pt x="5192" y="3810"/>
                    <a:pt x="5204" y="3810"/>
                  </a:cubicBezTo>
                  <a:lnTo>
                    <a:pt x="6847" y="3810"/>
                  </a:lnTo>
                  <a:cubicBezTo>
                    <a:pt x="6907" y="3810"/>
                    <a:pt x="6954" y="3787"/>
                    <a:pt x="6978" y="3739"/>
                  </a:cubicBezTo>
                  <a:lnTo>
                    <a:pt x="7157" y="3465"/>
                  </a:lnTo>
                  <a:cubicBezTo>
                    <a:pt x="7192" y="3429"/>
                    <a:pt x="7192" y="3382"/>
                    <a:pt x="7192" y="3334"/>
                  </a:cubicBezTo>
                  <a:cubicBezTo>
                    <a:pt x="7169" y="3287"/>
                    <a:pt x="7145" y="3251"/>
                    <a:pt x="7097" y="3227"/>
                  </a:cubicBezTo>
                  <a:lnTo>
                    <a:pt x="6680" y="3025"/>
                  </a:lnTo>
                  <a:lnTo>
                    <a:pt x="7169" y="2965"/>
                  </a:lnTo>
                  <a:cubicBezTo>
                    <a:pt x="7383" y="2929"/>
                    <a:pt x="7550" y="2751"/>
                    <a:pt x="7526" y="2548"/>
                  </a:cubicBezTo>
                  <a:cubicBezTo>
                    <a:pt x="7526" y="2429"/>
                    <a:pt x="7466" y="2322"/>
                    <a:pt x="7371" y="2251"/>
                  </a:cubicBezTo>
                  <a:cubicBezTo>
                    <a:pt x="7301" y="2198"/>
                    <a:pt x="7219" y="2165"/>
                    <a:pt x="7133" y="2165"/>
                  </a:cubicBezTo>
                  <a:cubicBezTo>
                    <a:pt x="7101" y="2165"/>
                    <a:pt x="7069" y="2170"/>
                    <a:pt x="7038" y="2179"/>
                  </a:cubicBezTo>
                  <a:lnTo>
                    <a:pt x="6811" y="2215"/>
                  </a:lnTo>
                  <a:cubicBezTo>
                    <a:pt x="6633" y="2251"/>
                    <a:pt x="6502" y="2370"/>
                    <a:pt x="6442" y="2548"/>
                  </a:cubicBezTo>
                  <a:lnTo>
                    <a:pt x="6371" y="2751"/>
                  </a:lnTo>
                  <a:lnTo>
                    <a:pt x="6002" y="2858"/>
                  </a:lnTo>
                  <a:cubicBezTo>
                    <a:pt x="5988" y="2860"/>
                    <a:pt x="5974" y="2861"/>
                    <a:pt x="5960" y="2861"/>
                  </a:cubicBezTo>
                  <a:cubicBezTo>
                    <a:pt x="5892" y="2861"/>
                    <a:pt x="5827" y="2836"/>
                    <a:pt x="5787" y="2787"/>
                  </a:cubicBezTo>
                  <a:lnTo>
                    <a:pt x="5525" y="2382"/>
                  </a:lnTo>
                  <a:cubicBezTo>
                    <a:pt x="5490" y="2334"/>
                    <a:pt x="5430" y="2310"/>
                    <a:pt x="5371" y="2310"/>
                  </a:cubicBezTo>
                  <a:lnTo>
                    <a:pt x="4156" y="2358"/>
                  </a:lnTo>
                  <a:cubicBezTo>
                    <a:pt x="4109" y="2358"/>
                    <a:pt x="4049" y="2382"/>
                    <a:pt x="4013" y="2429"/>
                  </a:cubicBezTo>
                  <a:lnTo>
                    <a:pt x="3644" y="2953"/>
                  </a:lnTo>
                  <a:lnTo>
                    <a:pt x="3216" y="2977"/>
                  </a:lnTo>
                  <a:lnTo>
                    <a:pt x="3204" y="2977"/>
                  </a:lnTo>
                  <a:lnTo>
                    <a:pt x="3204" y="2965"/>
                  </a:lnTo>
                  <a:lnTo>
                    <a:pt x="3216" y="2501"/>
                  </a:lnTo>
                  <a:cubicBezTo>
                    <a:pt x="3216" y="2501"/>
                    <a:pt x="3216" y="2489"/>
                    <a:pt x="3228" y="2489"/>
                  </a:cubicBezTo>
                  <a:lnTo>
                    <a:pt x="3763" y="2453"/>
                  </a:lnTo>
                  <a:cubicBezTo>
                    <a:pt x="3835" y="2453"/>
                    <a:pt x="3906" y="2394"/>
                    <a:pt x="3906" y="2310"/>
                  </a:cubicBezTo>
                  <a:lnTo>
                    <a:pt x="4001" y="1584"/>
                  </a:lnTo>
                  <a:cubicBezTo>
                    <a:pt x="4001" y="1584"/>
                    <a:pt x="4001" y="1560"/>
                    <a:pt x="4013" y="1560"/>
                  </a:cubicBezTo>
                  <a:lnTo>
                    <a:pt x="4966" y="1560"/>
                  </a:lnTo>
                  <a:lnTo>
                    <a:pt x="5871" y="1310"/>
                  </a:lnTo>
                  <a:cubicBezTo>
                    <a:pt x="5918" y="1298"/>
                    <a:pt x="5966" y="1263"/>
                    <a:pt x="5978" y="1203"/>
                  </a:cubicBezTo>
                  <a:lnTo>
                    <a:pt x="6097" y="882"/>
                  </a:lnTo>
                  <a:cubicBezTo>
                    <a:pt x="6133" y="786"/>
                    <a:pt x="6085" y="703"/>
                    <a:pt x="5990" y="667"/>
                  </a:cubicBezTo>
                  <a:cubicBezTo>
                    <a:pt x="5975" y="663"/>
                    <a:pt x="5960" y="661"/>
                    <a:pt x="5946" y="661"/>
                  </a:cubicBezTo>
                  <a:cubicBezTo>
                    <a:pt x="5875" y="661"/>
                    <a:pt x="5807" y="706"/>
                    <a:pt x="5787" y="774"/>
                  </a:cubicBezTo>
                  <a:lnTo>
                    <a:pt x="5692" y="1013"/>
                  </a:lnTo>
                  <a:lnTo>
                    <a:pt x="5323" y="1120"/>
                  </a:lnTo>
                  <a:lnTo>
                    <a:pt x="5537" y="310"/>
                  </a:lnTo>
                  <a:close/>
                  <a:moveTo>
                    <a:pt x="5585" y="0"/>
                  </a:moveTo>
                  <a:cubicBezTo>
                    <a:pt x="4097" y="0"/>
                    <a:pt x="2692" y="584"/>
                    <a:pt x="1632" y="1644"/>
                  </a:cubicBezTo>
                  <a:cubicBezTo>
                    <a:pt x="584" y="2691"/>
                    <a:pt x="1" y="4096"/>
                    <a:pt x="1" y="5585"/>
                  </a:cubicBezTo>
                  <a:cubicBezTo>
                    <a:pt x="1" y="7073"/>
                    <a:pt x="584" y="8466"/>
                    <a:pt x="1632" y="9525"/>
                  </a:cubicBezTo>
                  <a:cubicBezTo>
                    <a:pt x="2692" y="10585"/>
                    <a:pt x="4097" y="11169"/>
                    <a:pt x="5585" y="11169"/>
                  </a:cubicBezTo>
                  <a:cubicBezTo>
                    <a:pt x="7073" y="11169"/>
                    <a:pt x="8466" y="10585"/>
                    <a:pt x="9526" y="9525"/>
                  </a:cubicBezTo>
                  <a:cubicBezTo>
                    <a:pt x="10586" y="8466"/>
                    <a:pt x="11157" y="7073"/>
                    <a:pt x="11157" y="5585"/>
                  </a:cubicBezTo>
                  <a:cubicBezTo>
                    <a:pt x="11157" y="4096"/>
                    <a:pt x="10586" y="2691"/>
                    <a:pt x="9526" y="1644"/>
                  </a:cubicBezTo>
                  <a:cubicBezTo>
                    <a:pt x="8466" y="584"/>
                    <a:pt x="7073" y="0"/>
                    <a:pt x="5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5" name="Google Shape;13135;p63"/>
            <p:cNvSpPr/>
            <p:nvPr/>
          </p:nvSpPr>
          <p:spPr>
            <a:xfrm>
              <a:off x="7406669" y="3594898"/>
              <a:ext cx="26336" cy="27968"/>
            </a:xfrm>
            <a:custGeom>
              <a:avLst/>
              <a:gdLst/>
              <a:ahLst/>
              <a:cxnLst/>
              <a:rect l="l" t="t" r="r" b="b"/>
              <a:pathLst>
                <a:path w="823" h="874" extrusionOk="0">
                  <a:moveTo>
                    <a:pt x="637" y="1"/>
                  </a:moveTo>
                  <a:cubicBezTo>
                    <a:pt x="592" y="1"/>
                    <a:pt x="551" y="19"/>
                    <a:pt x="525" y="52"/>
                  </a:cubicBezTo>
                  <a:lnTo>
                    <a:pt x="60" y="599"/>
                  </a:lnTo>
                  <a:cubicBezTo>
                    <a:pt x="1" y="671"/>
                    <a:pt x="13" y="778"/>
                    <a:pt x="72" y="825"/>
                  </a:cubicBezTo>
                  <a:cubicBezTo>
                    <a:pt x="108" y="849"/>
                    <a:pt x="156" y="873"/>
                    <a:pt x="180" y="873"/>
                  </a:cubicBezTo>
                  <a:cubicBezTo>
                    <a:pt x="227" y="873"/>
                    <a:pt x="275" y="849"/>
                    <a:pt x="299" y="814"/>
                  </a:cubicBezTo>
                  <a:lnTo>
                    <a:pt x="763" y="254"/>
                  </a:lnTo>
                  <a:cubicBezTo>
                    <a:pt x="822" y="194"/>
                    <a:pt x="822" y="99"/>
                    <a:pt x="751" y="40"/>
                  </a:cubicBezTo>
                  <a:cubicBezTo>
                    <a:pt x="713" y="13"/>
                    <a:pt x="674" y="1"/>
                    <a:pt x="6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6" name="Google Shape;13136;p63"/>
            <p:cNvSpPr/>
            <p:nvPr/>
          </p:nvSpPr>
          <p:spPr>
            <a:xfrm>
              <a:off x="7229133" y="3469074"/>
              <a:ext cx="254912" cy="180832"/>
            </a:xfrm>
            <a:custGeom>
              <a:avLst/>
              <a:gdLst/>
              <a:ahLst/>
              <a:cxnLst/>
              <a:rect l="l" t="t" r="r" b="b"/>
              <a:pathLst>
                <a:path w="7966" h="5651" extrusionOk="0">
                  <a:moveTo>
                    <a:pt x="5980" y="1"/>
                  </a:moveTo>
                  <a:cubicBezTo>
                    <a:pt x="5931" y="1"/>
                    <a:pt x="5884" y="21"/>
                    <a:pt x="5859" y="66"/>
                  </a:cubicBezTo>
                  <a:cubicBezTo>
                    <a:pt x="5823" y="138"/>
                    <a:pt x="5835" y="233"/>
                    <a:pt x="5894" y="293"/>
                  </a:cubicBezTo>
                  <a:lnTo>
                    <a:pt x="6442" y="781"/>
                  </a:lnTo>
                  <a:cubicBezTo>
                    <a:pt x="6478" y="817"/>
                    <a:pt x="6513" y="828"/>
                    <a:pt x="6573" y="828"/>
                  </a:cubicBezTo>
                  <a:lnTo>
                    <a:pt x="6859" y="793"/>
                  </a:lnTo>
                  <a:lnTo>
                    <a:pt x="6978" y="959"/>
                  </a:lnTo>
                  <a:lnTo>
                    <a:pt x="5942" y="1662"/>
                  </a:lnTo>
                  <a:cubicBezTo>
                    <a:pt x="5927" y="1667"/>
                    <a:pt x="5910" y="1670"/>
                    <a:pt x="5895" y="1670"/>
                  </a:cubicBezTo>
                  <a:cubicBezTo>
                    <a:pt x="5873" y="1670"/>
                    <a:pt x="5854" y="1664"/>
                    <a:pt x="5847" y="1650"/>
                  </a:cubicBezTo>
                  <a:lnTo>
                    <a:pt x="5168" y="555"/>
                  </a:lnTo>
                  <a:cubicBezTo>
                    <a:pt x="5139" y="511"/>
                    <a:pt x="5088" y="485"/>
                    <a:pt x="5036" y="485"/>
                  </a:cubicBezTo>
                  <a:cubicBezTo>
                    <a:pt x="5003" y="485"/>
                    <a:pt x="4970" y="496"/>
                    <a:pt x="4942" y="519"/>
                  </a:cubicBezTo>
                  <a:cubicBezTo>
                    <a:pt x="4870" y="555"/>
                    <a:pt x="4846" y="662"/>
                    <a:pt x="4894" y="733"/>
                  </a:cubicBezTo>
                  <a:lnTo>
                    <a:pt x="5644" y="1912"/>
                  </a:lnTo>
                  <a:cubicBezTo>
                    <a:pt x="5668" y="1960"/>
                    <a:pt x="5704" y="1983"/>
                    <a:pt x="5763" y="1983"/>
                  </a:cubicBezTo>
                  <a:lnTo>
                    <a:pt x="6132" y="2043"/>
                  </a:lnTo>
                  <a:lnTo>
                    <a:pt x="6144" y="2043"/>
                  </a:lnTo>
                  <a:lnTo>
                    <a:pt x="6144" y="2067"/>
                  </a:lnTo>
                  <a:lnTo>
                    <a:pt x="5299" y="2995"/>
                  </a:lnTo>
                  <a:lnTo>
                    <a:pt x="5251" y="3091"/>
                  </a:lnTo>
                  <a:lnTo>
                    <a:pt x="5132" y="3948"/>
                  </a:lnTo>
                  <a:cubicBezTo>
                    <a:pt x="5120" y="4043"/>
                    <a:pt x="5073" y="4115"/>
                    <a:pt x="5013" y="4162"/>
                  </a:cubicBezTo>
                  <a:lnTo>
                    <a:pt x="3834" y="5234"/>
                  </a:lnTo>
                  <a:cubicBezTo>
                    <a:pt x="3775" y="5293"/>
                    <a:pt x="3692" y="5317"/>
                    <a:pt x="3596" y="5317"/>
                  </a:cubicBezTo>
                  <a:cubicBezTo>
                    <a:pt x="3453" y="5317"/>
                    <a:pt x="3334" y="5234"/>
                    <a:pt x="3275" y="5103"/>
                  </a:cubicBezTo>
                  <a:lnTo>
                    <a:pt x="2846" y="3972"/>
                  </a:lnTo>
                  <a:lnTo>
                    <a:pt x="2739" y="2781"/>
                  </a:lnTo>
                  <a:cubicBezTo>
                    <a:pt x="2703" y="2436"/>
                    <a:pt x="2430" y="2162"/>
                    <a:pt x="2084" y="2150"/>
                  </a:cubicBezTo>
                  <a:lnTo>
                    <a:pt x="763" y="2079"/>
                  </a:lnTo>
                  <a:cubicBezTo>
                    <a:pt x="667" y="2079"/>
                    <a:pt x="608" y="2019"/>
                    <a:pt x="596" y="1948"/>
                  </a:cubicBezTo>
                  <a:lnTo>
                    <a:pt x="358" y="971"/>
                  </a:lnTo>
                  <a:cubicBezTo>
                    <a:pt x="346" y="912"/>
                    <a:pt x="358" y="840"/>
                    <a:pt x="417" y="793"/>
                  </a:cubicBezTo>
                  <a:lnTo>
                    <a:pt x="548" y="674"/>
                  </a:lnTo>
                  <a:cubicBezTo>
                    <a:pt x="608" y="614"/>
                    <a:pt x="620" y="519"/>
                    <a:pt x="560" y="436"/>
                  </a:cubicBezTo>
                  <a:cubicBezTo>
                    <a:pt x="529" y="398"/>
                    <a:pt x="488" y="380"/>
                    <a:pt x="444" y="380"/>
                  </a:cubicBezTo>
                  <a:cubicBezTo>
                    <a:pt x="404" y="380"/>
                    <a:pt x="362" y="395"/>
                    <a:pt x="322" y="424"/>
                  </a:cubicBezTo>
                  <a:lnTo>
                    <a:pt x="191" y="543"/>
                  </a:lnTo>
                  <a:cubicBezTo>
                    <a:pt x="60" y="674"/>
                    <a:pt x="1" y="852"/>
                    <a:pt x="48" y="1043"/>
                  </a:cubicBezTo>
                  <a:lnTo>
                    <a:pt x="286" y="2019"/>
                  </a:lnTo>
                  <a:cubicBezTo>
                    <a:pt x="346" y="2233"/>
                    <a:pt x="525" y="2388"/>
                    <a:pt x="763" y="2400"/>
                  </a:cubicBezTo>
                  <a:lnTo>
                    <a:pt x="2084" y="2471"/>
                  </a:lnTo>
                  <a:cubicBezTo>
                    <a:pt x="2263" y="2495"/>
                    <a:pt x="2406" y="2626"/>
                    <a:pt x="2430" y="2805"/>
                  </a:cubicBezTo>
                  <a:lnTo>
                    <a:pt x="2525" y="4007"/>
                  </a:lnTo>
                  <a:cubicBezTo>
                    <a:pt x="2525" y="4031"/>
                    <a:pt x="2525" y="4043"/>
                    <a:pt x="2549" y="4055"/>
                  </a:cubicBezTo>
                  <a:lnTo>
                    <a:pt x="2989" y="5210"/>
                  </a:lnTo>
                  <a:cubicBezTo>
                    <a:pt x="3096" y="5472"/>
                    <a:pt x="3346" y="5650"/>
                    <a:pt x="3620" y="5650"/>
                  </a:cubicBezTo>
                  <a:cubicBezTo>
                    <a:pt x="3775" y="5650"/>
                    <a:pt x="3942" y="5591"/>
                    <a:pt x="4061" y="5472"/>
                  </a:cubicBezTo>
                  <a:lnTo>
                    <a:pt x="5239" y="4400"/>
                  </a:lnTo>
                  <a:cubicBezTo>
                    <a:pt x="5358" y="4293"/>
                    <a:pt x="5430" y="4138"/>
                    <a:pt x="5466" y="3984"/>
                  </a:cubicBezTo>
                  <a:lnTo>
                    <a:pt x="5585" y="3162"/>
                  </a:lnTo>
                  <a:lnTo>
                    <a:pt x="6394" y="2257"/>
                  </a:lnTo>
                  <a:cubicBezTo>
                    <a:pt x="6490" y="2162"/>
                    <a:pt x="6501" y="2031"/>
                    <a:pt x="6478" y="1912"/>
                  </a:cubicBezTo>
                  <a:cubicBezTo>
                    <a:pt x="6454" y="1852"/>
                    <a:pt x="6418" y="1793"/>
                    <a:pt x="6370" y="1757"/>
                  </a:cubicBezTo>
                  <a:lnTo>
                    <a:pt x="7335" y="1102"/>
                  </a:lnTo>
                  <a:lnTo>
                    <a:pt x="7383" y="1067"/>
                  </a:lnTo>
                  <a:cubicBezTo>
                    <a:pt x="7430" y="1007"/>
                    <a:pt x="7406" y="924"/>
                    <a:pt x="7383" y="888"/>
                  </a:cubicBezTo>
                  <a:lnTo>
                    <a:pt x="7263" y="733"/>
                  </a:lnTo>
                  <a:lnTo>
                    <a:pt x="7466" y="709"/>
                  </a:lnTo>
                  <a:cubicBezTo>
                    <a:pt x="7481" y="705"/>
                    <a:pt x="7496" y="703"/>
                    <a:pt x="7510" y="703"/>
                  </a:cubicBezTo>
                  <a:cubicBezTo>
                    <a:pt x="7573" y="703"/>
                    <a:pt x="7625" y="744"/>
                    <a:pt x="7644" y="793"/>
                  </a:cubicBezTo>
                  <a:cubicBezTo>
                    <a:pt x="7680" y="852"/>
                    <a:pt x="7740" y="888"/>
                    <a:pt x="7799" y="888"/>
                  </a:cubicBezTo>
                  <a:cubicBezTo>
                    <a:pt x="7823" y="888"/>
                    <a:pt x="7859" y="864"/>
                    <a:pt x="7883" y="852"/>
                  </a:cubicBezTo>
                  <a:cubicBezTo>
                    <a:pt x="7942" y="817"/>
                    <a:pt x="7966" y="709"/>
                    <a:pt x="7918" y="650"/>
                  </a:cubicBezTo>
                  <a:cubicBezTo>
                    <a:pt x="7825" y="494"/>
                    <a:pt x="7668" y="393"/>
                    <a:pt x="7488" y="393"/>
                  </a:cubicBezTo>
                  <a:cubicBezTo>
                    <a:pt x="7461" y="393"/>
                    <a:pt x="7434" y="395"/>
                    <a:pt x="7406" y="400"/>
                  </a:cubicBezTo>
                  <a:lnTo>
                    <a:pt x="6609" y="483"/>
                  </a:lnTo>
                  <a:lnTo>
                    <a:pt x="6097" y="43"/>
                  </a:lnTo>
                  <a:cubicBezTo>
                    <a:pt x="6064" y="15"/>
                    <a:pt x="6021" y="1"/>
                    <a:pt x="59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7" name="Google Shape;13137;p63"/>
            <p:cNvSpPr/>
            <p:nvPr/>
          </p:nvSpPr>
          <p:spPr>
            <a:xfrm>
              <a:off x="7409741" y="3428370"/>
              <a:ext cx="22880" cy="27616"/>
            </a:xfrm>
            <a:custGeom>
              <a:avLst/>
              <a:gdLst/>
              <a:ahLst/>
              <a:cxnLst/>
              <a:rect l="l" t="t" r="r" b="b"/>
              <a:pathLst>
                <a:path w="715" h="863" extrusionOk="0">
                  <a:moveTo>
                    <a:pt x="177" y="1"/>
                  </a:moveTo>
                  <a:cubicBezTo>
                    <a:pt x="144" y="1"/>
                    <a:pt x="111" y="10"/>
                    <a:pt x="84" y="29"/>
                  </a:cubicBezTo>
                  <a:cubicBezTo>
                    <a:pt x="12" y="76"/>
                    <a:pt x="0" y="184"/>
                    <a:pt x="36" y="255"/>
                  </a:cubicBezTo>
                  <a:lnTo>
                    <a:pt x="393" y="791"/>
                  </a:lnTo>
                  <a:cubicBezTo>
                    <a:pt x="429" y="838"/>
                    <a:pt x="488" y="862"/>
                    <a:pt x="536" y="862"/>
                  </a:cubicBezTo>
                  <a:cubicBezTo>
                    <a:pt x="560" y="862"/>
                    <a:pt x="596" y="850"/>
                    <a:pt x="619" y="838"/>
                  </a:cubicBezTo>
                  <a:cubicBezTo>
                    <a:pt x="691" y="779"/>
                    <a:pt x="715" y="684"/>
                    <a:pt x="667" y="612"/>
                  </a:cubicBezTo>
                  <a:lnTo>
                    <a:pt x="310" y="76"/>
                  </a:lnTo>
                  <a:cubicBezTo>
                    <a:pt x="280" y="25"/>
                    <a:pt x="229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38" name="Google Shape;13138;p63"/>
          <p:cNvGrpSpPr/>
          <p:nvPr/>
        </p:nvGrpSpPr>
        <p:grpSpPr>
          <a:xfrm>
            <a:off x="5508909" y="3371506"/>
            <a:ext cx="358560" cy="319552"/>
            <a:chOff x="5508909" y="3371506"/>
            <a:chExt cx="358560" cy="319552"/>
          </a:xfrm>
        </p:grpSpPr>
        <p:sp>
          <p:nvSpPr>
            <p:cNvPr id="13139" name="Google Shape;13139;p63"/>
            <p:cNvSpPr/>
            <p:nvPr/>
          </p:nvSpPr>
          <p:spPr>
            <a:xfrm>
              <a:off x="5545485" y="3384178"/>
              <a:ext cx="57184" cy="60736"/>
            </a:xfrm>
            <a:custGeom>
              <a:avLst/>
              <a:gdLst/>
              <a:ahLst/>
              <a:cxnLst/>
              <a:rect l="l" t="t" r="r" b="b"/>
              <a:pathLst>
                <a:path w="1787" h="1898" extrusionOk="0">
                  <a:moveTo>
                    <a:pt x="763" y="338"/>
                  </a:moveTo>
                  <a:cubicBezTo>
                    <a:pt x="942" y="338"/>
                    <a:pt x="1120" y="445"/>
                    <a:pt x="1239" y="636"/>
                  </a:cubicBezTo>
                  <a:cubicBezTo>
                    <a:pt x="1382" y="850"/>
                    <a:pt x="1465" y="1160"/>
                    <a:pt x="1394" y="1362"/>
                  </a:cubicBezTo>
                  <a:cubicBezTo>
                    <a:pt x="1382" y="1422"/>
                    <a:pt x="1358" y="1505"/>
                    <a:pt x="1299" y="1541"/>
                  </a:cubicBezTo>
                  <a:cubicBezTo>
                    <a:pt x="1263" y="1565"/>
                    <a:pt x="1215" y="1576"/>
                    <a:pt x="1180" y="1576"/>
                  </a:cubicBezTo>
                  <a:cubicBezTo>
                    <a:pt x="965" y="1576"/>
                    <a:pt x="644" y="1362"/>
                    <a:pt x="465" y="1100"/>
                  </a:cubicBezTo>
                  <a:cubicBezTo>
                    <a:pt x="370" y="945"/>
                    <a:pt x="322" y="791"/>
                    <a:pt x="358" y="648"/>
                  </a:cubicBezTo>
                  <a:cubicBezTo>
                    <a:pt x="394" y="552"/>
                    <a:pt x="441" y="457"/>
                    <a:pt x="537" y="398"/>
                  </a:cubicBezTo>
                  <a:cubicBezTo>
                    <a:pt x="608" y="350"/>
                    <a:pt x="691" y="338"/>
                    <a:pt x="763" y="338"/>
                  </a:cubicBezTo>
                  <a:close/>
                  <a:moveTo>
                    <a:pt x="780" y="0"/>
                  </a:moveTo>
                  <a:cubicBezTo>
                    <a:pt x="647" y="0"/>
                    <a:pt x="515" y="36"/>
                    <a:pt x="394" y="112"/>
                  </a:cubicBezTo>
                  <a:cubicBezTo>
                    <a:pt x="227" y="219"/>
                    <a:pt x="108" y="386"/>
                    <a:pt x="60" y="576"/>
                  </a:cubicBezTo>
                  <a:cubicBezTo>
                    <a:pt x="1" y="803"/>
                    <a:pt x="60" y="1053"/>
                    <a:pt x="191" y="1279"/>
                  </a:cubicBezTo>
                  <a:cubicBezTo>
                    <a:pt x="334" y="1481"/>
                    <a:pt x="537" y="1684"/>
                    <a:pt x="763" y="1779"/>
                  </a:cubicBezTo>
                  <a:cubicBezTo>
                    <a:pt x="906" y="1862"/>
                    <a:pt x="1061" y="1898"/>
                    <a:pt x="1180" y="1898"/>
                  </a:cubicBezTo>
                  <a:cubicBezTo>
                    <a:pt x="1287" y="1898"/>
                    <a:pt x="1382" y="1874"/>
                    <a:pt x="1465" y="1826"/>
                  </a:cubicBezTo>
                  <a:cubicBezTo>
                    <a:pt x="1596" y="1755"/>
                    <a:pt x="1668" y="1624"/>
                    <a:pt x="1715" y="1445"/>
                  </a:cubicBezTo>
                  <a:cubicBezTo>
                    <a:pt x="1787" y="1148"/>
                    <a:pt x="1715" y="755"/>
                    <a:pt x="1537" y="457"/>
                  </a:cubicBezTo>
                  <a:cubicBezTo>
                    <a:pt x="1350" y="165"/>
                    <a:pt x="1064" y="0"/>
                    <a:pt x="7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0" name="Google Shape;13140;p63"/>
            <p:cNvSpPr/>
            <p:nvPr/>
          </p:nvSpPr>
          <p:spPr>
            <a:xfrm>
              <a:off x="5508909" y="3429362"/>
              <a:ext cx="53760" cy="50624"/>
            </a:xfrm>
            <a:custGeom>
              <a:avLst/>
              <a:gdLst/>
              <a:ahLst/>
              <a:cxnLst/>
              <a:rect l="l" t="t" r="r" b="b"/>
              <a:pathLst>
                <a:path w="1680" h="1582" extrusionOk="0">
                  <a:moveTo>
                    <a:pt x="668" y="307"/>
                  </a:moveTo>
                  <a:cubicBezTo>
                    <a:pt x="775" y="307"/>
                    <a:pt x="906" y="355"/>
                    <a:pt x="1013" y="462"/>
                  </a:cubicBezTo>
                  <a:cubicBezTo>
                    <a:pt x="1215" y="641"/>
                    <a:pt x="1394" y="1045"/>
                    <a:pt x="1275" y="1176"/>
                  </a:cubicBezTo>
                  <a:cubicBezTo>
                    <a:pt x="1250" y="1217"/>
                    <a:pt x="1187" y="1236"/>
                    <a:pt x="1104" y="1236"/>
                  </a:cubicBezTo>
                  <a:cubicBezTo>
                    <a:pt x="1065" y="1236"/>
                    <a:pt x="1022" y="1232"/>
                    <a:pt x="977" y="1224"/>
                  </a:cubicBezTo>
                  <a:cubicBezTo>
                    <a:pt x="822" y="1188"/>
                    <a:pt x="656" y="1105"/>
                    <a:pt x="537" y="998"/>
                  </a:cubicBezTo>
                  <a:cubicBezTo>
                    <a:pt x="430" y="903"/>
                    <a:pt x="358" y="784"/>
                    <a:pt x="346" y="676"/>
                  </a:cubicBezTo>
                  <a:cubicBezTo>
                    <a:pt x="322" y="581"/>
                    <a:pt x="358" y="486"/>
                    <a:pt x="418" y="414"/>
                  </a:cubicBezTo>
                  <a:cubicBezTo>
                    <a:pt x="477" y="343"/>
                    <a:pt x="561" y="307"/>
                    <a:pt x="668" y="307"/>
                  </a:cubicBezTo>
                  <a:close/>
                  <a:moveTo>
                    <a:pt x="666" y="1"/>
                  </a:moveTo>
                  <a:cubicBezTo>
                    <a:pt x="480" y="1"/>
                    <a:pt x="305" y="75"/>
                    <a:pt x="180" y="224"/>
                  </a:cubicBezTo>
                  <a:cubicBezTo>
                    <a:pt x="60" y="367"/>
                    <a:pt x="1" y="545"/>
                    <a:pt x="25" y="748"/>
                  </a:cubicBezTo>
                  <a:cubicBezTo>
                    <a:pt x="60" y="938"/>
                    <a:pt x="168" y="1117"/>
                    <a:pt x="322" y="1260"/>
                  </a:cubicBezTo>
                  <a:cubicBezTo>
                    <a:pt x="489" y="1403"/>
                    <a:pt x="715" y="1522"/>
                    <a:pt x="918" y="1557"/>
                  </a:cubicBezTo>
                  <a:cubicBezTo>
                    <a:pt x="977" y="1581"/>
                    <a:pt x="1061" y="1581"/>
                    <a:pt x="1120" y="1581"/>
                  </a:cubicBezTo>
                  <a:cubicBezTo>
                    <a:pt x="1299" y="1581"/>
                    <a:pt x="1442" y="1522"/>
                    <a:pt x="1537" y="1415"/>
                  </a:cubicBezTo>
                  <a:cubicBezTo>
                    <a:pt x="1644" y="1236"/>
                    <a:pt x="1680" y="1022"/>
                    <a:pt x="1596" y="772"/>
                  </a:cubicBezTo>
                  <a:cubicBezTo>
                    <a:pt x="1513" y="569"/>
                    <a:pt x="1382" y="355"/>
                    <a:pt x="1215" y="224"/>
                  </a:cubicBezTo>
                  <a:cubicBezTo>
                    <a:pt x="1049" y="75"/>
                    <a:pt x="852" y="1"/>
                    <a:pt x="6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1" name="Google Shape;13141;p63"/>
            <p:cNvSpPr/>
            <p:nvPr/>
          </p:nvSpPr>
          <p:spPr>
            <a:xfrm>
              <a:off x="5606829" y="3371506"/>
              <a:ext cx="51104" cy="63520"/>
            </a:xfrm>
            <a:custGeom>
              <a:avLst/>
              <a:gdLst/>
              <a:ahLst/>
              <a:cxnLst/>
              <a:rect l="l" t="t" r="r" b="b"/>
              <a:pathLst>
                <a:path w="1597" h="1985" extrusionOk="0">
                  <a:moveTo>
                    <a:pt x="811" y="0"/>
                  </a:moveTo>
                  <a:cubicBezTo>
                    <a:pt x="519" y="0"/>
                    <a:pt x="257" y="172"/>
                    <a:pt x="108" y="448"/>
                  </a:cubicBezTo>
                  <a:cubicBezTo>
                    <a:pt x="60" y="532"/>
                    <a:pt x="96" y="627"/>
                    <a:pt x="179" y="675"/>
                  </a:cubicBezTo>
                  <a:cubicBezTo>
                    <a:pt x="205" y="689"/>
                    <a:pt x="231" y="696"/>
                    <a:pt x="257" y="696"/>
                  </a:cubicBezTo>
                  <a:cubicBezTo>
                    <a:pt x="317" y="696"/>
                    <a:pt x="373" y="661"/>
                    <a:pt x="406" y="603"/>
                  </a:cubicBezTo>
                  <a:cubicBezTo>
                    <a:pt x="503" y="430"/>
                    <a:pt x="659" y="326"/>
                    <a:pt x="829" y="326"/>
                  </a:cubicBezTo>
                  <a:cubicBezTo>
                    <a:pt x="847" y="326"/>
                    <a:pt x="864" y="327"/>
                    <a:pt x="882" y="329"/>
                  </a:cubicBezTo>
                  <a:cubicBezTo>
                    <a:pt x="989" y="353"/>
                    <a:pt x="1096" y="413"/>
                    <a:pt x="1156" y="496"/>
                  </a:cubicBezTo>
                  <a:cubicBezTo>
                    <a:pt x="1239" y="615"/>
                    <a:pt x="1263" y="782"/>
                    <a:pt x="1239" y="948"/>
                  </a:cubicBezTo>
                  <a:cubicBezTo>
                    <a:pt x="1181" y="1307"/>
                    <a:pt x="888" y="1676"/>
                    <a:pt x="675" y="1676"/>
                  </a:cubicBezTo>
                  <a:cubicBezTo>
                    <a:pt x="669" y="1676"/>
                    <a:pt x="662" y="1675"/>
                    <a:pt x="656" y="1675"/>
                  </a:cubicBezTo>
                  <a:cubicBezTo>
                    <a:pt x="513" y="1663"/>
                    <a:pt x="370" y="1401"/>
                    <a:pt x="334" y="1103"/>
                  </a:cubicBezTo>
                  <a:cubicBezTo>
                    <a:pt x="310" y="1020"/>
                    <a:pt x="239" y="960"/>
                    <a:pt x="156" y="960"/>
                  </a:cubicBezTo>
                  <a:cubicBezTo>
                    <a:pt x="60" y="972"/>
                    <a:pt x="1" y="1044"/>
                    <a:pt x="1" y="1139"/>
                  </a:cubicBezTo>
                  <a:cubicBezTo>
                    <a:pt x="48" y="1520"/>
                    <a:pt x="251" y="1937"/>
                    <a:pt x="608" y="1984"/>
                  </a:cubicBezTo>
                  <a:lnTo>
                    <a:pt x="691" y="1984"/>
                  </a:lnTo>
                  <a:cubicBezTo>
                    <a:pt x="882" y="1984"/>
                    <a:pt x="1072" y="1877"/>
                    <a:pt x="1251" y="1675"/>
                  </a:cubicBezTo>
                  <a:cubicBezTo>
                    <a:pt x="1418" y="1484"/>
                    <a:pt x="1537" y="1222"/>
                    <a:pt x="1561" y="984"/>
                  </a:cubicBezTo>
                  <a:cubicBezTo>
                    <a:pt x="1596" y="734"/>
                    <a:pt x="1537" y="484"/>
                    <a:pt x="1406" y="306"/>
                  </a:cubicBezTo>
                  <a:cubicBezTo>
                    <a:pt x="1287" y="139"/>
                    <a:pt x="1108" y="32"/>
                    <a:pt x="918" y="8"/>
                  </a:cubicBezTo>
                  <a:cubicBezTo>
                    <a:pt x="882" y="3"/>
                    <a:pt x="846" y="0"/>
                    <a:pt x="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2" name="Google Shape;13142;p63"/>
            <p:cNvSpPr/>
            <p:nvPr/>
          </p:nvSpPr>
          <p:spPr>
            <a:xfrm>
              <a:off x="5659789" y="3396786"/>
              <a:ext cx="48032" cy="55392"/>
            </a:xfrm>
            <a:custGeom>
              <a:avLst/>
              <a:gdLst/>
              <a:ahLst/>
              <a:cxnLst/>
              <a:rect l="l" t="t" r="r" b="b"/>
              <a:pathLst>
                <a:path w="1501" h="1731" extrusionOk="0">
                  <a:moveTo>
                    <a:pt x="834" y="313"/>
                  </a:moveTo>
                  <a:cubicBezTo>
                    <a:pt x="882" y="313"/>
                    <a:pt x="929" y="337"/>
                    <a:pt x="965" y="349"/>
                  </a:cubicBezTo>
                  <a:cubicBezTo>
                    <a:pt x="1060" y="385"/>
                    <a:pt x="1120" y="468"/>
                    <a:pt x="1144" y="551"/>
                  </a:cubicBezTo>
                  <a:cubicBezTo>
                    <a:pt x="1168" y="670"/>
                    <a:pt x="1144" y="813"/>
                    <a:pt x="1084" y="932"/>
                  </a:cubicBezTo>
                  <a:cubicBezTo>
                    <a:pt x="981" y="1149"/>
                    <a:pt x="718" y="1392"/>
                    <a:pt x="549" y="1392"/>
                  </a:cubicBezTo>
                  <a:cubicBezTo>
                    <a:pt x="522" y="1392"/>
                    <a:pt x="498" y="1386"/>
                    <a:pt x="477" y="1373"/>
                  </a:cubicBezTo>
                  <a:cubicBezTo>
                    <a:pt x="310" y="1301"/>
                    <a:pt x="334" y="873"/>
                    <a:pt x="453" y="611"/>
                  </a:cubicBezTo>
                  <a:cubicBezTo>
                    <a:pt x="513" y="492"/>
                    <a:pt x="596" y="385"/>
                    <a:pt x="703" y="349"/>
                  </a:cubicBezTo>
                  <a:cubicBezTo>
                    <a:pt x="751" y="337"/>
                    <a:pt x="787" y="313"/>
                    <a:pt x="834" y="313"/>
                  </a:cubicBezTo>
                  <a:close/>
                  <a:moveTo>
                    <a:pt x="828" y="1"/>
                  </a:moveTo>
                  <a:cubicBezTo>
                    <a:pt x="733" y="1"/>
                    <a:pt x="638" y="22"/>
                    <a:pt x="548" y="63"/>
                  </a:cubicBezTo>
                  <a:cubicBezTo>
                    <a:pt x="370" y="135"/>
                    <a:pt x="227" y="289"/>
                    <a:pt x="132" y="480"/>
                  </a:cubicBezTo>
                  <a:cubicBezTo>
                    <a:pt x="48" y="670"/>
                    <a:pt x="1" y="909"/>
                    <a:pt x="13" y="1135"/>
                  </a:cubicBezTo>
                  <a:cubicBezTo>
                    <a:pt x="37" y="1397"/>
                    <a:pt x="156" y="1599"/>
                    <a:pt x="334" y="1682"/>
                  </a:cubicBezTo>
                  <a:cubicBezTo>
                    <a:pt x="394" y="1718"/>
                    <a:pt x="465" y="1730"/>
                    <a:pt x="537" y="1730"/>
                  </a:cubicBezTo>
                  <a:cubicBezTo>
                    <a:pt x="882" y="1730"/>
                    <a:pt x="1239" y="1385"/>
                    <a:pt x="1382" y="1075"/>
                  </a:cubicBezTo>
                  <a:cubicBezTo>
                    <a:pt x="1477" y="885"/>
                    <a:pt x="1501" y="670"/>
                    <a:pt x="1441" y="480"/>
                  </a:cubicBezTo>
                  <a:cubicBezTo>
                    <a:pt x="1406" y="289"/>
                    <a:pt x="1263" y="135"/>
                    <a:pt x="1108" y="63"/>
                  </a:cubicBezTo>
                  <a:cubicBezTo>
                    <a:pt x="1019" y="22"/>
                    <a:pt x="924" y="1"/>
                    <a:pt x="8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3" name="Google Shape;13143;p63"/>
            <p:cNvSpPr/>
            <p:nvPr/>
          </p:nvSpPr>
          <p:spPr>
            <a:xfrm>
              <a:off x="5556941" y="3444402"/>
              <a:ext cx="131840" cy="93856"/>
            </a:xfrm>
            <a:custGeom>
              <a:avLst/>
              <a:gdLst/>
              <a:ahLst/>
              <a:cxnLst/>
              <a:rect l="l" t="t" r="r" b="b"/>
              <a:pathLst>
                <a:path w="4120" h="2933" extrusionOk="0">
                  <a:moveTo>
                    <a:pt x="2169" y="1"/>
                  </a:moveTo>
                  <a:cubicBezTo>
                    <a:pt x="2019" y="1"/>
                    <a:pt x="1871" y="17"/>
                    <a:pt x="1727" y="52"/>
                  </a:cubicBezTo>
                  <a:cubicBezTo>
                    <a:pt x="1203" y="159"/>
                    <a:pt x="750" y="433"/>
                    <a:pt x="429" y="849"/>
                  </a:cubicBezTo>
                  <a:cubicBezTo>
                    <a:pt x="119" y="1254"/>
                    <a:pt x="0" y="1730"/>
                    <a:pt x="72" y="2147"/>
                  </a:cubicBezTo>
                  <a:cubicBezTo>
                    <a:pt x="167" y="2564"/>
                    <a:pt x="429" y="2838"/>
                    <a:pt x="893" y="2909"/>
                  </a:cubicBezTo>
                  <a:cubicBezTo>
                    <a:pt x="1012" y="2921"/>
                    <a:pt x="1131" y="2933"/>
                    <a:pt x="1286" y="2933"/>
                  </a:cubicBezTo>
                  <a:cubicBezTo>
                    <a:pt x="1560" y="2933"/>
                    <a:pt x="1893" y="2897"/>
                    <a:pt x="2298" y="2814"/>
                  </a:cubicBezTo>
                  <a:cubicBezTo>
                    <a:pt x="2905" y="2695"/>
                    <a:pt x="3334" y="2552"/>
                    <a:pt x="3620" y="2361"/>
                  </a:cubicBezTo>
                  <a:cubicBezTo>
                    <a:pt x="3965" y="2135"/>
                    <a:pt x="4120" y="1790"/>
                    <a:pt x="4036" y="1361"/>
                  </a:cubicBezTo>
                  <a:cubicBezTo>
                    <a:pt x="3965" y="1016"/>
                    <a:pt x="3739" y="695"/>
                    <a:pt x="3405" y="433"/>
                  </a:cubicBezTo>
                  <a:cubicBezTo>
                    <a:pt x="3377" y="409"/>
                    <a:pt x="3344" y="399"/>
                    <a:pt x="3312" y="399"/>
                  </a:cubicBezTo>
                  <a:cubicBezTo>
                    <a:pt x="3261" y="399"/>
                    <a:pt x="3213" y="425"/>
                    <a:pt x="3191" y="468"/>
                  </a:cubicBezTo>
                  <a:cubicBezTo>
                    <a:pt x="3120" y="540"/>
                    <a:pt x="3143" y="647"/>
                    <a:pt x="3215" y="695"/>
                  </a:cubicBezTo>
                  <a:cubicBezTo>
                    <a:pt x="3489" y="885"/>
                    <a:pt x="3667" y="1135"/>
                    <a:pt x="3727" y="1397"/>
                  </a:cubicBezTo>
                  <a:cubicBezTo>
                    <a:pt x="3786" y="1683"/>
                    <a:pt x="3679" y="1909"/>
                    <a:pt x="3405" y="2088"/>
                  </a:cubicBezTo>
                  <a:cubicBezTo>
                    <a:pt x="3155" y="2254"/>
                    <a:pt x="2774" y="2385"/>
                    <a:pt x="2203" y="2504"/>
                  </a:cubicBezTo>
                  <a:cubicBezTo>
                    <a:pt x="1798" y="2576"/>
                    <a:pt x="1488" y="2623"/>
                    <a:pt x="1250" y="2623"/>
                  </a:cubicBezTo>
                  <a:cubicBezTo>
                    <a:pt x="595" y="2623"/>
                    <a:pt x="429" y="2373"/>
                    <a:pt x="369" y="2088"/>
                  </a:cubicBezTo>
                  <a:cubicBezTo>
                    <a:pt x="238" y="1433"/>
                    <a:pt x="810" y="564"/>
                    <a:pt x="1774" y="373"/>
                  </a:cubicBezTo>
                  <a:cubicBezTo>
                    <a:pt x="1898" y="348"/>
                    <a:pt x="2024" y="336"/>
                    <a:pt x="2151" y="336"/>
                  </a:cubicBezTo>
                  <a:cubicBezTo>
                    <a:pt x="2328" y="336"/>
                    <a:pt x="2505" y="360"/>
                    <a:pt x="2679" y="409"/>
                  </a:cubicBezTo>
                  <a:cubicBezTo>
                    <a:pt x="2694" y="412"/>
                    <a:pt x="2708" y="414"/>
                    <a:pt x="2722" y="414"/>
                  </a:cubicBezTo>
                  <a:cubicBezTo>
                    <a:pt x="2799" y="414"/>
                    <a:pt x="2863" y="362"/>
                    <a:pt x="2893" y="302"/>
                  </a:cubicBezTo>
                  <a:cubicBezTo>
                    <a:pt x="2917" y="206"/>
                    <a:pt x="2858" y="123"/>
                    <a:pt x="2786" y="87"/>
                  </a:cubicBezTo>
                  <a:cubicBezTo>
                    <a:pt x="2585" y="32"/>
                    <a:pt x="2376" y="1"/>
                    <a:pt x="2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4" name="Google Shape;13144;p63"/>
            <p:cNvSpPr/>
            <p:nvPr/>
          </p:nvSpPr>
          <p:spPr>
            <a:xfrm>
              <a:off x="5730285" y="3518386"/>
              <a:ext cx="50336" cy="64832"/>
            </a:xfrm>
            <a:custGeom>
              <a:avLst/>
              <a:gdLst/>
              <a:ahLst/>
              <a:cxnLst/>
              <a:rect l="l" t="t" r="r" b="b"/>
              <a:pathLst>
                <a:path w="1573" h="2026" extrusionOk="0">
                  <a:moveTo>
                    <a:pt x="786" y="311"/>
                  </a:moveTo>
                  <a:cubicBezTo>
                    <a:pt x="1060" y="323"/>
                    <a:pt x="1239" y="585"/>
                    <a:pt x="1239" y="907"/>
                  </a:cubicBezTo>
                  <a:cubicBezTo>
                    <a:pt x="1239" y="1157"/>
                    <a:pt x="1120" y="1454"/>
                    <a:pt x="953" y="1597"/>
                  </a:cubicBezTo>
                  <a:cubicBezTo>
                    <a:pt x="905" y="1633"/>
                    <a:pt x="834" y="1681"/>
                    <a:pt x="762" y="1681"/>
                  </a:cubicBezTo>
                  <a:cubicBezTo>
                    <a:pt x="548" y="1669"/>
                    <a:pt x="310" y="1240"/>
                    <a:pt x="322" y="847"/>
                  </a:cubicBezTo>
                  <a:cubicBezTo>
                    <a:pt x="322" y="669"/>
                    <a:pt x="381" y="526"/>
                    <a:pt x="489" y="419"/>
                  </a:cubicBezTo>
                  <a:cubicBezTo>
                    <a:pt x="560" y="347"/>
                    <a:pt x="667" y="311"/>
                    <a:pt x="774" y="311"/>
                  </a:cubicBezTo>
                  <a:close/>
                  <a:moveTo>
                    <a:pt x="766" y="1"/>
                  </a:moveTo>
                  <a:cubicBezTo>
                    <a:pt x="580" y="1"/>
                    <a:pt x="407" y="71"/>
                    <a:pt x="274" y="192"/>
                  </a:cubicBezTo>
                  <a:cubicBezTo>
                    <a:pt x="108" y="359"/>
                    <a:pt x="0" y="585"/>
                    <a:pt x="0" y="847"/>
                  </a:cubicBezTo>
                  <a:cubicBezTo>
                    <a:pt x="0" y="1085"/>
                    <a:pt x="60" y="1371"/>
                    <a:pt x="179" y="1597"/>
                  </a:cubicBezTo>
                  <a:cubicBezTo>
                    <a:pt x="334" y="1859"/>
                    <a:pt x="524" y="2014"/>
                    <a:pt x="751" y="2026"/>
                  </a:cubicBezTo>
                  <a:lnTo>
                    <a:pt x="774" y="2026"/>
                  </a:lnTo>
                  <a:cubicBezTo>
                    <a:pt x="905" y="2026"/>
                    <a:pt x="1060" y="1966"/>
                    <a:pt x="1179" y="1847"/>
                  </a:cubicBezTo>
                  <a:cubicBezTo>
                    <a:pt x="1405" y="1633"/>
                    <a:pt x="1560" y="1264"/>
                    <a:pt x="1560" y="919"/>
                  </a:cubicBezTo>
                  <a:cubicBezTo>
                    <a:pt x="1572" y="419"/>
                    <a:pt x="1251" y="14"/>
                    <a:pt x="810" y="2"/>
                  </a:cubicBezTo>
                  <a:cubicBezTo>
                    <a:pt x="795" y="1"/>
                    <a:pt x="781" y="1"/>
                    <a:pt x="7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5" name="Google Shape;13145;p63"/>
            <p:cNvSpPr/>
            <p:nvPr/>
          </p:nvSpPr>
          <p:spPr>
            <a:xfrm>
              <a:off x="5674669" y="3533234"/>
              <a:ext cx="49920" cy="56480"/>
            </a:xfrm>
            <a:custGeom>
              <a:avLst/>
              <a:gdLst/>
              <a:ahLst/>
              <a:cxnLst/>
              <a:rect l="l" t="t" r="r" b="b"/>
              <a:pathLst>
                <a:path w="1560" h="1765" extrusionOk="0">
                  <a:moveTo>
                    <a:pt x="726" y="324"/>
                  </a:moveTo>
                  <a:cubicBezTo>
                    <a:pt x="786" y="324"/>
                    <a:pt x="857" y="336"/>
                    <a:pt x="917" y="383"/>
                  </a:cubicBezTo>
                  <a:cubicBezTo>
                    <a:pt x="1012" y="443"/>
                    <a:pt x="1084" y="562"/>
                    <a:pt x="1119" y="693"/>
                  </a:cubicBezTo>
                  <a:cubicBezTo>
                    <a:pt x="1203" y="967"/>
                    <a:pt x="1131" y="1395"/>
                    <a:pt x="953" y="1443"/>
                  </a:cubicBezTo>
                  <a:cubicBezTo>
                    <a:pt x="945" y="1444"/>
                    <a:pt x="938" y="1445"/>
                    <a:pt x="930" y="1445"/>
                  </a:cubicBezTo>
                  <a:cubicBezTo>
                    <a:pt x="860" y="1445"/>
                    <a:pt x="764" y="1397"/>
                    <a:pt x="679" y="1312"/>
                  </a:cubicBezTo>
                  <a:cubicBezTo>
                    <a:pt x="560" y="1193"/>
                    <a:pt x="476" y="1026"/>
                    <a:pt x="429" y="871"/>
                  </a:cubicBezTo>
                  <a:cubicBezTo>
                    <a:pt x="357" y="621"/>
                    <a:pt x="464" y="383"/>
                    <a:pt x="655" y="336"/>
                  </a:cubicBezTo>
                  <a:cubicBezTo>
                    <a:pt x="679" y="336"/>
                    <a:pt x="715" y="324"/>
                    <a:pt x="726" y="324"/>
                  </a:cubicBezTo>
                  <a:close/>
                  <a:moveTo>
                    <a:pt x="740" y="0"/>
                  </a:moveTo>
                  <a:cubicBezTo>
                    <a:pt x="686" y="0"/>
                    <a:pt x="633" y="8"/>
                    <a:pt x="584" y="26"/>
                  </a:cubicBezTo>
                  <a:cubicBezTo>
                    <a:pt x="203" y="133"/>
                    <a:pt x="0" y="538"/>
                    <a:pt x="119" y="967"/>
                  </a:cubicBezTo>
                  <a:cubicBezTo>
                    <a:pt x="179" y="1169"/>
                    <a:pt x="298" y="1383"/>
                    <a:pt x="464" y="1550"/>
                  </a:cubicBezTo>
                  <a:cubicBezTo>
                    <a:pt x="607" y="1693"/>
                    <a:pt x="774" y="1764"/>
                    <a:pt x="941" y="1764"/>
                  </a:cubicBezTo>
                  <a:cubicBezTo>
                    <a:pt x="976" y="1764"/>
                    <a:pt x="1012" y="1764"/>
                    <a:pt x="1060" y="1752"/>
                  </a:cubicBezTo>
                  <a:cubicBezTo>
                    <a:pt x="1453" y="1645"/>
                    <a:pt x="1560" y="1014"/>
                    <a:pt x="1441" y="609"/>
                  </a:cubicBezTo>
                  <a:cubicBezTo>
                    <a:pt x="1381" y="395"/>
                    <a:pt x="1262" y="216"/>
                    <a:pt x="1119" y="121"/>
                  </a:cubicBezTo>
                  <a:cubicBezTo>
                    <a:pt x="1002" y="46"/>
                    <a:pt x="867" y="0"/>
                    <a:pt x="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6" name="Google Shape;13146;p63"/>
            <p:cNvSpPr/>
            <p:nvPr/>
          </p:nvSpPr>
          <p:spPr>
            <a:xfrm>
              <a:off x="5777133" y="3542162"/>
              <a:ext cx="60608" cy="57440"/>
            </a:xfrm>
            <a:custGeom>
              <a:avLst/>
              <a:gdLst/>
              <a:ahLst/>
              <a:cxnLst/>
              <a:rect l="l" t="t" r="r" b="b"/>
              <a:pathLst>
                <a:path w="1894" h="1795" extrusionOk="0">
                  <a:moveTo>
                    <a:pt x="1132" y="0"/>
                  </a:moveTo>
                  <a:cubicBezTo>
                    <a:pt x="996" y="0"/>
                    <a:pt x="856" y="35"/>
                    <a:pt x="727" y="104"/>
                  </a:cubicBezTo>
                  <a:cubicBezTo>
                    <a:pt x="656" y="152"/>
                    <a:pt x="620" y="259"/>
                    <a:pt x="668" y="330"/>
                  </a:cubicBezTo>
                  <a:cubicBezTo>
                    <a:pt x="692" y="379"/>
                    <a:pt x="750" y="412"/>
                    <a:pt x="811" y="412"/>
                  </a:cubicBezTo>
                  <a:cubicBezTo>
                    <a:pt x="839" y="412"/>
                    <a:pt x="868" y="405"/>
                    <a:pt x="894" y="390"/>
                  </a:cubicBezTo>
                  <a:cubicBezTo>
                    <a:pt x="980" y="342"/>
                    <a:pt x="1068" y="318"/>
                    <a:pt x="1151" y="318"/>
                  </a:cubicBezTo>
                  <a:cubicBezTo>
                    <a:pt x="1252" y="318"/>
                    <a:pt x="1346" y="354"/>
                    <a:pt x="1418" y="426"/>
                  </a:cubicBezTo>
                  <a:cubicBezTo>
                    <a:pt x="1513" y="509"/>
                    <a:pt x="1561" y="616"/>
                    <a:pt x="1561" y="711"/>
                  </a:cubicBezTo>
                  <a:cubicBezTo>
                    <a:pt x="1561" y="866"/>
                    <a:pt x="1501" y="1009"/>
                    <a:pt x="1382" y="1140"/>
                  </a:cubicBezTo>
                  <a:cubicBezTo>
                    <a:pt x="1191" y="1348"/>
                    <a:pt x="886" y="1487"/>
                    <a:pt x="675" y="1487"/>
                  </a:cubicBezTo>
                  <a:cubicBezTo>
                    <a:pt x="597" y="1487"/>
                    <a:pt x="531" y="1468"/>
                    <a:pt x="489" y="1426"/>
                  </a:cubicBezTo>
                  <a:cubicBezTo>
                    <a:pt x="370" y="1319"/>
                    <a:pt x="394" y="1057"/>
                    <a:pt x="525" y="771"/>
                  </a:cubicBezTo>
                  <a:cubicBezTo>
                    <a:pt x="572" y="699"/>
                    <a:pt x="549" y="592"/>
                    <a:pt x="453" y="545"/>
                  </a:cubicBezTo>
                  <a:cubicBezTo>
                    <a:pt x="433" y="534"/>
                    <a:pt x="409" y="529"/>
                    <a:pt x="384" y="529"/>
                  </a:cubicBezTo>
                  <a:cubicBezTo>
                    <a:pt x="325" y="529"/>
                    <a:pt x="261" y="561"/>
                    <a:pt x="227" y="628"/>
                  </a:cubicBezTo>
                  <a:cubicBezTo>
                    <a:pt x="49" y="961"/>
                    <a:pt x="1" y="1426"/>
                    <a:pt x="263" y="1664"/>
                  </a:cubicBezTo>
                  <a:cubicBezTo>
                    <a:pt x="370" y="1759"/>
                    <a:pt x="501" y="1795"/>
                    <a:pt x="668" y="1795"/>
                  </a:cubicBezTo>
                  <a:cubicBezTo>
                    <a:pt x="751" y="1795"/>
                    <a:pt x="858" y="1783"/>
                    <a:pt x="965" y="1759"/>
                  </a:cubicBezTo>
                  <a:cubicBezTo>
                    <a:pt x="1203" y="1676"/>
                    <a:pt x="1442" y="1533"/>
                    <a:pt x="1620" y="1354"/>
                  </a:cubicBezTo>
                  <a:cubicBezTo>
                    <a:pt x="1811" y="1176"/>
                    <a:pt x="1894" y="938"/>
                    <a:pt x="1882" y="711"/>
                  </a:cubicBezTo>
                  <a:cubicBezTo>
                    <a:pt x="1870" y="521"/>
                    <a:pt x="1799" y="330"/>
                    <a:pt x="1644" y="199"/>
                  </a:cubicBezTo>
                  <a:cubicBezTo>
                    <a:pt x="1505" y="67"/>
                    <a:pt x="1322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7" name="Google Shape;13147;p63"/>
            <p:cNvSpPr/>
            <p:nvPr/>
          </p:nvSpPr>
          <p:spPr>
            <a:xfrm>
              <a:off x="5811437" y="3593426"/>
              <a:ext cx="56032" cy="47328"/>
            </a:xfrm>
            <a:custGeom>
              <a:avLst/>
              <a:gdLst/>
              <a:ahLst/>
              <a:cxnLst/>
              <a:rect l="l" t="t" r="r" b="b"/>
              <a:pathLst>
                <a:path w="1751" h="1479" extrusionOk="0">
                  <a:moveTo>
                    <a:pt x="1079" y="312"/>
                  </a:moveTo>
                  <a:cubicBezTo>
                    <a:pt x="1202" y="312"/>
                    <a:pt x="1308" y="364"/>
                    <a:pt x="1370" y="467"/>
                  </a:cubicBezTo>
                  <a:cubicBezTo>
                    <a:pt x="1394" y="574"/>
                    <a:pt x="1405" y="657"/>
                    <a:pt x="1382" y="752"/>
                  </a:cubicBezTo>
                  <a:cubicBezTo>
                    <a:pt x="1346" y="860"/>
                    <a:pt x="1263" y="955"/>
                    <a:pt x="1143" y="1014"/>
                  </a:cubicBezTo>
                  <a:cubicBezTo>
                    <a:pt x="1013" y="1098"/>
                    <a:pt x="834" y="1157"/>
                    <a:pt x="667" y="1157"/>
                  </a:cubicBezTo>
                  <a:cubicBezTo>
                    <a:pt x="524" y="1157"/>
                    <a:pt x="417" y="1122"/>
                    <a:pt x="381" y="1050"/>
                  </a:cubicBezTo>
                  <a:cubicBezTo>
                    <a:pt x="346" y="991"/>
                    <a:pt x="370" y="871"/>
                    <a:pt x="441" y="752"/>
                  </a:cubicBezTo>
                  <a:cubicBezTo>
                    <a:pt x="512" y="610"/>
                    <a:pt x="655" y="467"/>
                    <a:pt x="786" y="395"/>
                  </a:cubicBezTo>
                  <a:cubicBezTo>
                    <a:pt x="887" y="340"/>
                    <a:pt x="988" y="312"/>
                    <a:pt x="1079" y="312"/>
                  </a:cubicBezTo>
                  <a:close/>
                  <a:moveTo>
                    <a:pt x="1052" y="0"/>
                  </a:moveTo>
                  <a:cubicBezTo>
                    <a:pt x="906" y="0"/>
                    <a:pt x="752" y="40"/>
                    <a:pt x="608" y="121"/>
                  </a:cubicBezTo>
                  <a:cubicBezTo>
                    <a:pt x="429" y="229"/>
                    <a:pt x="251" y="407"/>
                    <a:pt x="143" y="598"/>
                  </a:cubicBezTo>
                  <a:cubicBezTo>
                    <a:pt x="12" y="836"/>
                    <a:pt x="0" y="1062"/>
                    <a:pt x="96" y="1229"/>
                  </a:cubicBezTo>
                  <a:cubicBezTo>
                    <a:pt x="203" y="1395"/>
                    <a:pt x="393" y="1479"/>
                    <a:pt x="667" y="1479"/>
                  </a:cubicBezTo>
                  <a:cubicBezTo>
                    <a:pt x="893" y="1479"/>
                    <a:pt x="1120" y="1419"/>
                    <a:pt x="1310" y="1300"/>
                  </a:cubicBezTo>
                  <a:cubicBezTo>
                    <a:pt x="1501" y="1193"/>
                    <a:pt x="1632" y="1038"/>
                    <a:pt x="1691" y="860"/>
                  </a:cubicBezTo>
                  <a:cubicBezTo>
                    <a:pt x="1751" y="681"/>
                    <a:pt x="1739" y="479"/>
                    <a:pt x="1632" y="324"/>
                  </a:cubicBezTo>
                  <a:cubicBezTo>
                    <a:pt x="1513" y="109"/>
                    <a:pt x="1293" y="0"/>
                    <a:pt x="10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8" name="Google Shape;13148;p63"/>
            <p:cNvSpPr/>
            <p:nvPr/>
          </p:nvSpPr>
          <p:spPr>
            <a:xfrm>
              <a:off x="5679981" y="3591218"/>
              <a:ext cx="130720" cy="99840"/>
            </a:xfrm>
            <a:custGeom>
              <a:avLst/>
              <a:gdLst/>
              <a:ahLst/>
              <a:cxnLst/>
              <a:rect l="l" t="t" r="r" b="b"/>
              <a:pathLst>
                <a:path w="4085" h="3120" extrusionOk="0">
                  <a:moveTo>
                    <a:pt x="1842" y="0"/>
                  </a:moveTo>
                  <a:cubicBezTo>
                    <a:pt x="1616" y="0"/>
                    <a:pt x="1390" y="35"/>
                    <a:pt x="1168" y="107"/>
                  </a:cubicBezTo>
                  <a:cubicBezTo>
                    <a:pt x="691" y="274"/>
                    <a:pt x="322" y="583"/>
                    <a:pt x="156" y="976"/>
                  </a:cubicBezTo>
                  <a:cubicBezTo>
                    <a:pt x="1" y="1381"/>
                    <a:pt x="84" y="1738"/>
                    <a:pt x="418" y="2072"/>
                  </a:cubicBezTo>
                  <a:cubicBezTo>
                    <a:pt x="668" y="2310"/>
                    <a:pt x="1037" y="2524"/>
                    <a:pt x="1632" y="2762"/>
                  </a:cubicBezTo>
                  <a:cubicBezTo>
                    <a:pt x="2215" y="3012"/>
                    <a:pt x="2644" y="3107"/>
                    <a:pt x="2989" y="3119"/>
                  </a:cubicBezTo>
                  <a:cubicBezTo>
                    <a:pt x="3442" y="3119"/>
                    <a:pt x="3763" y="2917"/>
                    <a:pt x="3930" y="2524"/>
                  </a:cubicBezTo>
                  <a:cubicBezTo>
                    <a:pt x="4085" y="2214"/>
                    <a:pt x="4085" y="1833"/>
                    <a:pt x="3942" y="1429"/>
                  </a:cubicBezTo>
                  <a:cubicBezTo>
                    <a:pt x="3912" y="1360"/>
                    <a:pt x="3850" y="1315"/>
                    <a:pt x="3776" y="1315"/>
                  </a:cubicBezTo>
                  <a:cubicBezTo>
                    <a:pt x="3760" y="1315"/>
                    <a:pt x="3744" y="1317"/>
                    <a:pt x="3727" y="1321"/>
                  </a:cubicBezTo>
                  <a:cubicBezTo>
                    <a:pt x="3644" y="1357"/>
                    <a:pt x="3597" y="1441"/>
                    <a:pt x="3632" y="1536"/>
                  </a:cubicBezTo>
                  <a:cubicBezTo>
                    <a:pt x="3739" y="1845"/>
                    <a:pt x="3739" y="2155"/>
                    <a:pt x="3644" y="2417"/>
                  </a:cubicBezTo>
                  <a:cubicBezTo>
                    <a:pt x="3553" y="2621"/>
                    <a:pt x="3403" y="2804"/>
                    <a:pt x="3005" y="2804"/>
                  </a:cubicBezTo>
                  <a:cubicBezTo>
                    <a:pt x="2730" y="2804"/>
                    <a:pt x="2337" y="2717"/>
                    <a:pt x="1763" y="2488"/>
                  </a:cubicBezTo>
                  <a:cubicBezTo>
                    <a:pt x="1227" y="2262"/>
                    <a:pt x="870" y="2072"/>
                    <a:pt x="668" y="1845"/>
                  </a:cubicBezTo>
                  <a:cubicBezTo>
                    <a:pt x="429" y="1619"/>
                    <a:pt x="370" y="1381"/>
                    <a:pt x="489" y="1119"/>
                  </a:cubicBezTo>
                  <a:cubicBezTo>
                    <a:pt x="608" y="810"/>
                    <a:pt x="906" y="548"/>
                    <a:pt x="1299" y="417"/>
                  </a:cubicBezTo>
                  <a:cubicBezTo>
                    <a:pt x="1483" y="353"/>
                    <a:pt x="1677" y="323"/>
                    <a:pt x="1872" y="323"/>
                  </a:cubicBezTo>
                  <a:cubicBezTo>
                    <a:pt x="2117" y="323"/>
                    <a:pt x="2364" y="371"/>
                    <a:pt x="2596" y="464"/>
                  </a:cubicBezTo>
                  <a:cubicBezTo>
                    <a:pt x="2882" y="583"/>
                    <a:pt x="3132" y="762"/>
                    <a:pt x="3335" y="1000"/>
                  </a:cubicBezTo>
                  <a:cubicBezTo>
                    <a:pt x="3366" y="1037"/>
                    <a:pt x="3407" y="1055"/>
                    <a:pt x="3447" y="1055"/>
                  </a:cubicBezTo>
                  <a:cubicBezTo>
                    <a:pt x="3484" y="1055"/>
                    <a:pt x="3520" y="1040"/>
                    <a:pt x="3549" y="1012"/>
                  </a:cubicBezTo>
                  <a:cubicBezTo>
                    <a:pt x="3632" y="952"/>
                    <a:pt x="3632" y="845"/>
                    <a:pt x="3561" y="786"/>
                  </a:cubicBezTo>
                  <a:cubicBezTo>
                    <a:pt x="3346" y="512"/>
                    <a:pt x="3049" y="298"/>
                    <a:pt x="2704" y="167"/>
                  </a:cubicBezTo>
                  <a:cubicBezTo>
                    <a:pt x="2427" y="59"/>
                    <a:pt x="2136" y="0"/>
                    <a:pt x="18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3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3" name="Google Shape;13153;p64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O &amp; Marketing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154" name="Google Shape;13154;p64"/>
          <p:cNvSpPr/>
          <p:nvPr/>
        </p:nvSpPr>
        <p:spPr>
          <a:xfrm>
            <a:off x="2601855" y="3816961"/>
            <a:ext cx="345674" cy="346056"/>
          </a:xfrm>
          <a:custGeom>
            <a:avLst/>
            <a:gdLst/>
            <a:ahLst/>
            <a:cxnLst/>
            <a:rect l="l" t="t" r="r" b="b"/>
            <a:pathLst>
              <a:path w="10860" h="10872" extrusionOk="0">
                <a:moveTo>
                  <a:pt x="5430" y="1"/>
                </a:moveTo>
                <a:cubicBezTo>
                  <a:pt x="3990" y="1"/>
                  <a:pt x="2608" y="560"/>
                  <a:pt x="1596" y="1584"/>
                </a:cubicBezTo>
                <a:cubicBezTo>
                  <a:pt x="561" y="2620"/>
                  <a:pt x="1" y="3989"/>
                  <a:pt x="1" y="5430"/>
                </a:cubicBezTo>
                <a:cubicBezTo>
                  <a:pt x="1" y="6561"/>
                  <a:pt x="346" y="7645"/>
                  <a:pt x="1001" y="8573"/>
                </a:cubicBezTo>
                <a:cubicBezTo>
                  <a:pt x="1632" y="9466"/>
                  <a:pt x="2513" y="10145"/>
                  <a:pt x="3537" y="10538"/>
                </a:cubicBezTo>
                <a:cubicBezTo>
                  <a:pt x="3559" y="10544"/>
                  <a:pt x="3579" y="10547"/>
                  <a:pt x="3599" y="10547"/>
                </a:cubicBezTo>
                <a:cubicBezTo>
                  <a:pt x="3656" y="10547"/>
                  <a:pt x="3704" y="10522"/>
                  <a:pt x="3740" y="10478"/>
                </a:cubicBezTo>
                <a:cubicBezTo>
                  <a:pt x="3763" y="10443"/>
                  <a:pt x="3763" y="10395"/>
                  <a:pt x="3763" y="10371"/>
                </a:cubicBezTo>
                <a:lnTo>
                  <a:pt x="3763" y="7275"/>
                </a:lnTo>
                <a:cubicBezTo>
                  <a:pt x="3763" y="7180"/>
                  <a:pt x="3692" y="7097"/>
                  <a:pt x="3585" y="7097"/>
                </a:cubicBezTo>
                <a:lnTo>
                  <a:pt x="2156" y="7097"/>
                </a:lnTo>
                <a:lnTo>
                  <a:pt x="2156" y="5835"/>
                </a:lnTo>
                <a:lnTo>
                  <a:pt x="3585" y="5835"/>
                </a:lnTo>
                <a:cubicBezTo>
                  <a:pt x="3680" y="5835"/>
                  <a:pt x="3763" y="5751"/>
                  <a:pt x="3763" y="5656"/>
                </a:cubicBezTo>
                <a:lnTo>
                  <a:pt x="3763" y="5430"/>
                </a:lnTo>
                <a:cubicBezTo>
                  <a:pt x="3763" y="3942"/>
                  <a:pt x="5180" y="2632"/>
                  <a:pt x="6799" y="2632"/>
                </a:cubicBezTo>
                <a:lnTo>
                  <a:pt x="7550" y="2632"/>
                </a:lnTo>
                <a:lnTo>
                  <a:pt x="7550" y="3894"/>
                </a:lnTo>
                <a:lnTo>
                  <a:pt x="6799" y="3894"/>
                </a:lnTo>
                <a:cubicBezTo>
                  <a:pt x="6311" y="3894"/>
                  <a:pt x="5883" y="4025"/>
                  <a:pt x="5561" y="4287"/>
                </a:cubicBezTo>
                <a:cubicBezTo>
                  <a:pt x="5228" y="4561"/>
                  <a:pt x="5025" y="4966"/>
                  <a:pt x="5025" y="5430"/>
                </a:cubicBezTo>
                <a:lnTo>
                  <a:pt x="5025" y="5656"/>
                </a:lnTo>
                <a:cubicBezTo>
                  <a:pt x="5025" y="5740"/>
                  <a:pt x="5109" y="5835"/>
                  <a:pt x="5204" y="5835"/>
                </a:cubicBezTo>
                <a:lnTo>
                  <a:pt x="5883" y="5835"/>
                </a:lnTo>
                <a:cubicBezTo>
                  <a:pt x="5966" y="5835"/>
                  <a:pt x="6061" y="5751"/>
                  <a:pt x="6061" y="5656"/>
                </a:cubicBezTo>
                <a:cubicBezTo>
                  <a:pt x="6061" y="5561"/>
                  <a:pt x="5978" y="5478"/>
                  <a:pt x="5883" y="5478"/>
                </a:cubicBezTo>
                <a:lnTo>
                  <a:pt x="5371" y="5478"/>
                </a:lnTo>
                <a:lnTo>
                  <a:pt x="5371" y="5418"/>
                </a:lnTo>
                <a:cubicBezTo>
                  <a:pt x="5371" y="4525"/>
                  <a:pt x="6145" y="4204"/>
                  <a:pt x="6799" y="4204"/>
                </a:cubicBezTo>
                <a:lnTo>
                  <a:pt x="7704" y="4204"/>
                </a:lnTo>
                <a:cubicBezTo>
                  <a:pt x="7800" y="4204"/>
                  <a:pt x="7883" y="4132"/>
                  <a:pt x="7883" y="4025"/>
                </a:cubicBezTo>
                <a:lnTo>
                  <a:pt x="7883" y="2418"/>
                </a:lnTo>
                <a:cubicBezTo>
                  <a:pt x="7883" y="2334"/>
                  <a:pt x="7811" y="2239"/>
                  <a:pt x="7704" y="2239"/>
                </a:cubicBezTo>
                <a:lnTo>
                  <a:pt x="6799" y="2239"/>
                </a:lnTo>
                <a:cubicBezTo>
                  <a:pt x="5966" y="2239"/>
                  <a:pt x="5121" y="2572"/>
                  <a:pt x="4466" y="3156"/>
                </a:cubicBezTo>
                <a:cubicBezTo>
                  <a:pt x="3799" y="3763"/>
                  <a:pt x="3418" y="4549"/>
                  <a:pt x="3418" y="5382"/>
                </a:cubicBezTo>
                <a:lnTo>
                  <a:pt x="3418" y="5442"/>
                </a:lnTo>
                <a:lnTo>
                  <a:pt x="1989" y="5442"/>
                </a:lnTo>
                <a:cubicBezTo>
                  <a:pt x="1906" y="5442"/>
                  <a:pt x="1811" y="5513"/>
                  <a:pt x="1811" y="5620"/>
                </a:cubicBezTo>
                <a:lnTo>
                  <a:pt x="1811" y="7228"/>
                </a:lnTo>
                <a:cubicBezTo>
                  <a:pt x="1811" y="7323"/>
                  <a:pt x="1894" y="7406"/>
                  <a:pt x="1989" y="7406"/>
                </a:cubicBezTo>
                <a:lnTo>
                  <a:pt x="3418" y="7406"/>
                </a:lnTo>
                <a:lnTo>
                  <a:pt x="3418" y="10085"/>
                </a:lnTo>
                <a:cubicBezTo>
                  <a:pt x="1561" y="9300"/>
                  <a:pt x="346" y="7442"/>
                  <a:pt x="346" y="5418"/>
                </a:cubicBezTo>
                <a:cubicBezTo>
                  <a:pt x="346" y="2596"/>
                  <a:pt x="2620" y="322"/>
                  <a:pt x="5430" y="322"/>
                </a:cubicBezTo>
                <a:cubicBezTo>
                  <a:pt x="8228" y="322"/>
                  <a:pt x="10526" y="2620"/>
                  <a:pt x="10526" y="5418"/>
                </a:cubicBezTo>
                <a:cubicBezTo>
                  <a:pt x="10526" y="8228"/>
                  <a:pt x="8240" y="10502"/>
                  <a:pt x="5430" y="10502"/>
                </a:cubicBezTo>
                <a:lnTo>
                  <a:pt x="5371" y="10502"/>
                </a:lnTo>
                <a:lnTo>
                  <a:pt x="5371" y="7418"/>
                </a:lnTo>
                <a:lnTo>
                  <a:pt x="7728" y="7418"/>
                </a:lnTo>
                <a:cubicBezTo>
                  <a:pt x="7811" y="7418"/>
                  <a:pt x="7907" y="7347"/>
                  <a:pt x="7907" y="7240"/>
                </a:cubicBezTo>
                <a:lnTo>
                  <a:pt x="7907" y="5656"/>
                </a:lnTo>
                <a:cubicBezTo>
                  <a:pt x="7907" y="5561"/>
                  <a:pt x="7823" y="5478"/>
                  <a:pt x="7728" y="5478"/>
                </a:cubicBezTo>
                <a:lnTo>
                  <a:pt x="6728" y="5478"/>
                </a:lnTo>
                <a:cubicBezTo>
                  <a:pt x="6633" y="5478"/>
                  <a:pt x="6549" y="5549"/>
                  <a:pt x="6549" y="5656"/>
                </a:cubicBezTo>
                <a:cubicBezTo>
                  <a:pt x="6549" y="5740"/>
                  <a:pt x="6621" y="5835"/>
                  <a:pt x="6728" y="5835"/>
                </a:cubicBezTo>
                <a:lnTo>
                  <a:pt x="7561" y="5835"/>
                </a:lnTo>
                <a:lnTo>
                  <a:pt x="7561" y="7097"/>
                </a:lnTo>
                <a:lnTo>
                  <a:pt x="5204" y="7097"/>
                </a:lnTo>
                <a:cubicBezTo>
                  <a:pt x="5121" y="7097"/>
                  <a:pt x="5025" y="7168"/>
                  <a:pt x="5025" y="7275"/>
                </a:cubicBezTo>
                <a:lnTo>
                  <a:pt x="5025" y="10693"/>
                </a:lnTo>
                <a:cubicBezTo>
                  <a:pt x="5025" y="10788"/>
                  <a:pt x="5109" y="10859"/>
                  <a:pt x="5192" y="10871"/>
                </a:cubicBezTo>
                <a:lnTo>
                  <a:pt x="5430" y="10871"/>
                </a:lnTo>
                <a:cubicBezTo>
                  <a:pt x="6871" y="10871"/>
                  <a:pt x="8240" y="10312"/>
                  <a:pt x="9276" y="9288"/>
                </a:cubicBezTo>
                <a:cubicBezTo>
                  <a:pt x="10300" y="8252"/>
                  <a:pt x="10859" y="6883"/>
                  <a:pt x="10859" y="5442"/>
                </a:cubicBezTo>
                <a:cubicBezTo>
                  <a:pt x="10859" y="3989"/>
                  <a:pt x="10300" y="2620"/>
                  <a:pt x="9276" y="1584"/>
                </a:cubicBezTo>
                <a:cubicBezTo>
                  <a:pt x="8240" y="560"/>
                  <a:pt x="6871" y="1"/>
                  <a:pt x="543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55" name="Google Shape;13155;p64"/>
          <p:cNvGrpSpPr/>
          <p:nvPr/>
        </p:nvGrpSpPr>
        <p:grpSpPr>
          <a:xfrm>
            <a:off x="3051327" y="3817152"/>
            <a:ext cx="346056" cy="345674"/>
            <a:chOff x="3303268" y="3817349"/>
            <a:chExt cx="346056" cy="345674"/>
          </a:xfrm>
        </p:grpSpPr>
        <p:sp>
          <p:nvSpPr>
            <p:cNvPr id="13156" name="Google Shape;13156;p64"/>
            <p:cNvSpPr/>
            <p:nvPr/>
          </p:nvSpPr>
          <p:spPr>
            <a:xfrm>
              <a:off x="3303268" y="3817349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18" y="334"/>
                  </a:moveTo>
                  <a:cubicBezTo>
                    <a:pt x="8228" y="334"/>
                    <a:pt x="10514" y="2608"/>
                    <a:pt x="10514" y="5430"/>
                  </a:cubicBezTo>
                  <a:cubicBezTo>
                    <a:pt x="10514" y="8240"/>
                    <a:pt x="8228" y="10514"/>
                    <a:pt x="5418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18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3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3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7" name="Google Shape;13157;p64"/>
            <p:cNvSpPr/>
            <p:nvPr/>
          </p:nvSpPr>
          <p:spPr>
            <a:xfrm>
              <a:off x="3368074" y="3882537"/>
              <a:ext cx="215298" cy="215298"/>
            </a:xfrm>
            <a:custGeom>
              <a:avLst/>
              <a:gdLst/>
              <a:ahLst/>
              <a:cxnLst/>
              <a:rect l="l" t="t" r="r" b="b"/>
              <a:pathLst>
                <a:path w="6764" h="6764" extrusionOk="0">
                  <a:moveTo>
                    <a:pt x="5335" y="346"/>
                  </a:moveTo>
                  <a:cubicBezTo>
                    <a:pt x="5930" y="346"/>
                    <a:pt x="6418" y="834"/>
                    <a:pt x="6418" y="1429"/>
                  </a:cubicBezTo>
                  <a:lnTo>
                    <a:pt x="6418" y="5335"/>
                  </a:lnTo>
                  <a:cubicBezTo>
                    <a:pt x="6418" y="5930"/>
                    <a:pt x="5930" y="6418"/>
                    <a:pt x="5335" y="6418"/>
                  </a:cubicBezTo>
                  <a:lnTo>
                    <a:pt x="1429" y="6418"/>
                  </a:lnTo>
                  <a:cubicBezTo>
                    <a:pt x="834" y="6418"/>
                    <a:pt x="346" y="5930"/>
                    <a:pt x="346" y="5335"/>
                  </a:cubicBezTo>
                  <a:lnTo>
                    <a:pt x="346" y="1429"/>
                  </a:lnTo>
                  <a:cubicBezTo>
                    <a:pt x="346" y="834"/>
                    <a:pt x="834" y="346"/>
                    <a:pt x="1429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29"/>
                  </a:cubicBezTo>
                  <a:lnTo>
                    <a:pt x="1" y="5335"/>
                  </a:lnTo>
                  <a:cubicBezTo>
                    <a:pt x="1" y="6120"/>
                    <a:pt x="644" y="6763"/>
                    <a:pt x="1429" y="6763"/>
                  </a:cubicBezTo>
                  <a:lnTo>
                    <a:pt x="5335" y="6763"/>
                  </a:lnTo>
                  <a:cubicBezTo>
                    <a:pt x="6121" y="6763"/>
                    <a:pt x="6763" y="6120"/>
                    <a:pt x="6763" y="5335"/>
                  </a:cubicBezTo>
                  <a:lnTo>
                    <a:pt x="6763" y="1429"/>
                  </a:lnTo>
                  <a:cubicBezTo>
                    <a:pt x="6763" y="644"/>
                    <a:pt x="6121" y="1"/>
                    <a:pt x="5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8" name="Google Shape;13158;p64"/>
            <p:cNvSpPr/>
            <p:nvPr/>
          </p:nvSpPr>
          <p:spPr>
            <a:xfrm>
              <a:off x="3418143" y="3933656"/>
              <a:ext cx="114811" cy="112742"/>
            </a:xfrm>
            <a:custGeom>
              <a:avLst/>
              <a:gdLst/>
              <a:ahLst/>
              <a:cxnLst/>
              <a:rect l="l" t="t" r="r" b="b"/>
              <a:pathLst>
                <a:path w="3607" h="3542" extrusionOk="0">
                  <a:moveTo>
                    <a:pt x="1822" y="0"/>
                  </a:moveTo>
                  <a:cubicBezTo>
                    <a:pt x="812" y="0"/>
                    <a:pt x="1" y="851"/>
                    <a:pt x="59" y="1859"/>
                  </a:cubicBezTo>
                  <a:cubicBezTo>
                    <a:pt x="95" y="2776"/>
                    <a:pt x="833" y="3502"/>
                    <a:pt x="1726" y="3538"/>
                  </a:cubicBezTo>
                  <a:cubicBezTo>
                    <a:pt x="1764" y="3541"/>
                    <a:pt x="1802" y="3542"/>
                    <a:pt x="1840" y="3542"/>
                  </a:cubicBezTo>
                  <a:cubicBezTo>
                    <a:pt x="2178" y="3542"/>
                    <a:pt x="2494" y="3447"/>
                    <a:pt x="2762" y="3276"/>
                  </a:cubicBezTo>
                  <a:cubicBezTo>
                    <a:pt x="2857" y="3217"/>
                    <a:pt x="2869" y="3086"/>
                    <a:pt x="2797" y="3014"/>
                  </a:cubicBezTo>
                  <a:cubicBezTo>
                    <a:pt x="2761" y="2978"/>
                    <a:pt x="2711" y="2964"/>
                    <a:pt x="2664" y="2964"/>
                  </a:cubicBezTo>
                  <a:cubicBezTo>
                    <a:pt x="2634" y="2964"/>
                    <a:pt x="2606" y="2969"/>
                    <a:pt x="2583" y="2979"/>
                  </a:cubicBezTo>
                  <a:cubicBezTo>
                    <a:pt x="2380" y="3096"/>
                    <a:pt x="2149" y="3185"/>
                    <a:pt x="1897" y="3185"/>
                  </a:cubicBezTo>
                  <a:cubicBezTo>
                    <a:pt x="1868" y="3185"/>
                    <a:pt x="1839" y="3183"/>
                    <a:pt x="1809" y="3181"/>
                  </a:cubicBezTo>
                  <a:cubicBezTo>
                    <a:pt x="1023" y="3169"/>
                    <a:pt x="380" y="2514"/>
                    <a:pt x="392" y="1716"/>
                  </a:cubicBezTo>
                  <a:cubicBezTo>
                    <a:pt x="426" y="948"/>
                    <a:pt x="1028" y="330"/>
                    <a:pt x="1792" y="330"/>
                  </a:cubicBezTo>
                  <a:cubicBezTo>
                    <a:pt x="1833" y="330"/>
                    <a:pt x="1874" y="332"/>
                    <a:pt x="1916" y="335"/>
                  </a:cubicBezTo>
                  <a:cubicBezTo>
                    <a:pt x="2619" y="371"/>
                    <a:pt x="3190" y="943"/>
                    <a:pt x="3250" y="1633"/>
                  </a:cubicBezTo>
                  <a:cubicBezTo>
                    <a:pt x="3285" y="1919"/>
                    <a:pt x="3214" y="2193"/>
                    <a:pt x="3095" y="2431"/>
                  </a:cubicBezTo>
                  <a:cubicBezTo>
                    <a:pt x="3059" y="2490"/>
                    <a:pt x="3059" y="2574"/>
                    <a:pt x="3119" y="2633"/>
                  </a:cubicBezTo>
                  <a:cubicBezTo>
                    <a:pt x="3149" y="2663"/>
                    <a:pt x="3191" y="2678"/>
                    <a:pt x="3234" y="2678"/>
                  </a:cubicBezTo>
                  <a:cubicBezTo>
                    <a:pt x="3295" y="2678"/>
                    <a:pt x="3358" y="2648"/>
                    <a:pt x="3393" y="2586"/>
                  </a:cubicBezTo>
                  <a:cubicBezTo>
                    <a:pt x="3536" y="2324"/>
                    <a:pt x="3607" y="2014"/>
                    <a:pt x="3583" y="1669"/>
                  </a:cubicBezTo>
                  <a:cubicBezTo>
                    <a:pt x="3536" y="764"/>
                    <a:pt x="2797" y="50"/>
                    <a:pt x="1904" y="2"/>
                  </a:cubicBezTo>
                  <a:cubicBezTo>
                    <a:pt x="1877" y="1"/>
                    <a:pt x="184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9" name="Google Shape;13159;p64"/>
            <p:cNvSpPr/>
            <p:nvPr/>
          </p:nvSpPr>
          <p:spPr>
            <a:xfrm>
              <a:off x="3519298" y="3910197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65" y="1"/>
                  </a:moveTo>
                  <a:cubicBezTo>
                    <a:pt x="203" y="1"/>
                    <a:pt x="0" y="203"/>
                    <a:pt x="0" y="453"/>
                  </a:cubicBezTo>
                  <a:cubicBezTo>
                    <a:pt x="0" y="715"/>
                    <a:pt x="203" y="918"/>
                    <a:pt x="465" y="918"/>
                  </a:cubicBezTo>
                  <a:cubicBezTo>
                    <a:pt x="715" y="918"/>
                    <a:pt x="929" y="715"/>
                    <a:pt x="929" y="453"/>
                  </a:cubicBezTo>
                  <a:cubicBezTo>
                    <a:pt x="929" y="203"/>
                    <a:pt x="715" y="1"/>
                    <a:pt x="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0" name="Google Shape;13160;p64"/>
          <p:cNvGrpSpPr/>
          <p:nvPr/>
        </p:nvGrpSpPr>
        <p:grpSpPr>
          <a:xfrm>
            <a:off x="3500416" y="3817152"/>
            <a:ext cx="346056" cy="345674"/>
            <a:chOff x="3752358" y="3817349"/>
            <a:chExt cx="346056" cy="345674"/>
          </a:xfrm>
        </p:grpSpPr>
        <p:sp>
          <p:nvSpPr>
            <p:cNvPr id="13161" name="Google Shape;13161;p64"/>
            <p:cNvSpPr/>
            <p:nvPr/>
          </p:nvSpPr>
          <p:spPr>
            <a:xfrm>
              <a:off x="3752358" y="3817349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30" y="334"/>
                  </a:moveTo>
                  <a:cubicBezTo>
                    <a:pt x="8252" y="334"/>
                    <a:pt x="10526" y="2608"/>
                    <a:pt x="10526" y="5430"/>
                  </a:cubicBezTo>
                  <a:cubicBezTo>
                    <a:pt x="10526" y="8240"/>
                    <a:pt x="8228" y="10514"/>
                    <a:pt x="5430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2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2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2" name="Google Shape;13162;p64"/>
            <p:cNvSpPr/>
            <p:nvPr/>
          </p:nvSpPr>
          <p:spPr>
            <a:xfrm>
              <a:off x="3831933" y="3955682"/>
              <a:ext cx="47809" cy="120540"/>
            </a:xfrm>
            <a:custGeom>
              <a:avLst/>
              <a:gdLst/>
              <a:ahLst/>
              <a:cxnLst/>
              <a:rect l="l" t="t" r="r" b="b"/>
              <a:pathLst>
                <a:path w="1502" h="3787" extrusionOk="0">
                  <a:moveTo>
                    <a:pt x="1168" y="346"/>
                  </a:moveTo>
                  <a:lnTo>
                    <a:pt x="1168" y="3430"/>
                  </a:lnTo>
                  <a:lnTo>
                    <a:pt x="358" y="3430"/>
                  </a:lnTo>
                  <a:lnTo>
                    <a:pt x="358" y="346"/>
                  </a:lnTo>
                  <a:close/>
                  <a:moveTo>
                    <a:pt x="180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72" y="3787"/>
                    <a:pt x="180" y="3787"/>
                  </a:cubicBezTo>
                  <a:lnTo>
                    <a:pt x="1323" y="3787"/>
                  </a:lnTo>
                  <a:cubicBezTo>
                    <a:pt x="1418" y="3787"/>
                    <a:pt x="1501" y="3715"/>
                    <a:pt x="1501" y="3608"/>
                  </a:cubicBezTo>
                  <a:lnTo>
                    <a:pt x="1501" y="179"/>
                  </a:lnTo>
                  <a:cubicBezTo>
                    <a:pt x="1501" y="72"/>
                    <a:pt x="1430" y="1"/>
                    <a:pt x="1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3" name="Google Shape;13163;p64"/>
            <p:cNvSpPr/>
            <p:nvPr/>
          </p:nvSpPr>
          <p:spPr>
            <a:xfrm>
              <a:off x="3824739" y="3890112"/>
              <a:ext cx="55002" cy="55002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70" y="334"/>
                  </a:moveTo>
                  <a:cubicBezTo>
                    <a:pt x="1156" y="334"/>
                    <a:pt x="1394" y="572"/>
                    <a:pt x="1394" y="846"/>
                  </a:cubicBezTo>
                  <a:cubicBezTo>
                    <a:pt x="1394" y="1132"/>
                    <a:pt x="1156" y="1370"/>
                    <a:pt x="870" y="1370"/>
                  </a:cubicBezTo>
                  <a:cubicBezTo>
                    <a:pt x="584" y="1370"/>
                    <a:pt x="346" y="1132"/>
                    <a:pt x="346" y="846"/>
                  </a:cubicBezTo>
                  <a:cubicBezTo>
                    <a:pt x="346" y="572"/>
                    <a:pt x="584" y="334"/>
                    <a:pt x="870" y="334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4" name="Google Shape;13164;p64"/>
            <p:cNvSpPr/>
            <p:nvPr/>
          </p:nvSpPr>
          <p:spPr>
            <a:xfrm>
              <a:off x="3904696" y="3955682"/>
              <a:ext cx="128148" cy="120540"/>
            </a:xfrm>
            <a:custGeom>
              <a:avLst/>
              <a:gdLst/>
              <a:ahLst/>
              <a:cxnLst/>
              <a:rect l="l" t="t" r="r" b="b"/>
              <a:pathLst>
                <a:path w="4026" h="3787" extrusionOk="0">
                  <a:moveTo>
                    <a:pt x="191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84" y="3787"/>
                    <a:pt x="191" y="3787"/>
                  </a:cubicBezTo>
                  <a:lnTo>
                    <a:pt x="1334" y="3787"/>
                  </a:lnTo>
                  <a:cubicBezTo>
                    <a:pt x="1418" y="3787"/>
                    <a:pt x="1513" y="3715"/>
                    <a:pt x="1513" y="3608"/>
                  </a:cubicBezTo>
                  <a:lnTo>
                    <a:pt x="1513" y="2382"/>
                  </a:lnTo>
                  <a:cubicBezTo>
                    <a:pt x="1513" y="1977"/>
                    <a:pt x="1596" y="1501"/>
                    <a:pt x="2037" y="1501"/>
                  </a:cubicBezTo>
                  <a:cubicBezTo>
                    <a:pt x="2347" y="1501"/>
                    <a:pt x="2477" y="1763"/>
                    <a:pt x="2525" y="2060"/>
                  </a:cubicBezTo>
                  <a:cubicBezTo>
                    <a:pt x="2537" y="2156"/>
                    <a:pt x="2608" y="2215"/>
                    <a:pt x="2692" y="2215"/>
                  </a:cubicBezTo>
                  <a:cubicBezTo>
                    <a:pt x="2787" y="2215"/>
                    <a:pt x="2870" y="2120"/>
                    <a:pt x="2847" y="2025"/>
                  </a:cubicBezTo>
                  <a:cubicBezTo>
                    <a:pt x="2763" y="1465"/>
                    <a:pt x="2477" y="1155"/>
                    <a:pt x="2013" y="1155"/>
                  </a:cubicBezTo>
                  <a:cubicBezTo>
                    <a:pt x="1465" y="1155"/>
                    <a:pt x="1156" y="1608"/>
                    <a:pt x="1156" y="2382"/>
                  </a:cubicBezTo>
                  <a:lnTo>
                    <a:pt x="1156" y="3430"/>
                  </a:lnTo>
                  <a:lnTo>
                    <a:pt x="346" y="3430"/>
                  </a:lnTo>
                  <a:lnTo>
                    <a:pt x="346" y="358"/>
                  </a:lnTo>
                  <a:lnTo>
                    <a:pt x="918" y="358"/>
                  </a:lnTo>
                  <a:lnTo>
                    <a:pt x="918" y="572"/>
                  </a:lnTo>
                  <a:cubicBezTo>
                    <a:pt x="918" y="632"/>
                    <a:pt x="930" y="679"/>
                    <a:pt x="977" y="715"/>
                  </a:cubicBezTo>
                  <a:cubicBezTo>
                    <a:pt x="1007" y="733"/>
                    <a:pt x="1043" y="742"/>
                    <a:pt x="1078" y="742"/>
                  </a:cubicBezTo>
                  <a:cubicBezTo>
                    <a:pt x="1114" y="742"/>
                    <a:pt x="1150" y="733"/>
                    <a:pt x="1180" y="715"/>
                  </a:cubicBezTo>
                  <a:cubicBezTo>
                    <a:pt x="1477" y="477"/>
                    <a:pt x="1835" y="358"/>
                    <a:pt x="2227" y="358"/>
                  </a:cubicBezTo>
                  <a:cubicBezTo>
                    <a:pt x="3204" y="358"/>
                    <a:pt x="3656" y="1191"/>
                    <a:pt x="3656" y="2001"/>
                  </a:cubicBezTo>
                  <a:lnTo>
                    <a:pt x="3656" y="3430"/>
                  </a:lnTo>
                  <a:lnTo>
                    <a:pt x="2847" y="3430"/>
                  </a:lnTo>
                  <a:lnTo>
                    <a:pt x="2847" y="2870"/>
                  </a:lnTo>
                  <a:cubicBezTo>
                    <a:pt x="2847" y="2775"/>
                    <a:pt x="2775" y="2703"/>
                    <a:pt x="2692" y="2703"/>
                  </a:cubicBezTo>
                  <a:cubicBezTo>
                    <a:pt x="2597" y="2703"/>
                    <a:pt x="2525" y="2775"/>
                    <a:pt x="2525" y="2870"/>
                  </a:cubicBezTo>
                  <a:lnTo>
                    <a:pt x="2525" y="3596"/>
                  </a:lnTo>
                  <a:cubicBezTo>
                    <a:pt x="2525" y="3691"/>
                    <a:pt x="2597" y="3775"/>
                    <a:pt x="2704" y="3775"/>
                  </a:cubicBezTo>
                  <a:lnTo>
                    <a:pt x="3847" y="3775"/>
                  </a:lnTo>
                  <a:cubicBezTo>
                    <a:pt x="3942" y="3775"/>
                    <a:pt x="4025" y="3703"/>
                    <a:pt x="4025" y="3596"/>
                  </a:cubicBezTo>
                  <a:lnTo>
                    <a:pt x="4025" y="1989"/>
                  </a:lnTo>
                  <a:cubicBezTo>
                    <a:pt x="4025" y="810"/>
                    <a:pt x="3299" y="1"/>
                    <a:pt x="2239" y="1"/>
                  </a:cubicBezTo>
                  <a:cubicBezTo>
                    <a:pt x="1894" y="1"/>
                    <a:pt x="1573" y="84"/>
                    <a:pt x="1275" y="251"/>
                  </a:cubicBezTo>
                  <a:lnTo>
                    <a:pt x="1275" y="179"/>
                  </a:lnTo>
                  <a:cubicBezTo>
                    <a:pt x="1275" y="84"/>
                    <a:pt x="1204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5" name="Google Shape;13165;p64"/>
          <p:cNvGrpSpPr/>
          <p:nvPr/>
        </p:nvGrpSpPr>
        <p:grpSpPr>
          <a:xfrm>
            <a:off x="4848066" y="3817152"/>
            <a:ext cx="346024" cy="345674"/>
            <a:chOff x="5100008" y="3817349"/>
            <a:chExt cx="346024" cy="345674"/>
          </a:xfrm>
        </p:grpSpPr>
        <p:sp>
          <p:nvSpPr>
            <p:cNvPr id="13166" name="Google Shape;13166;p64"/>
            <p:cNvSpPr/>
            <p:nvPr/>
          </p:nvSpPr>
          <p:spPr>
            <a:xfrm>
              <a:off x="5100008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41" y="334"/>
                  </a:moveTo>
                  <a:cubicBezTo>
                    <a:pt x="8251" y="334"/>
                    <a:pt x="10525" y="2608"/>
                    <a:pt x="10525" y="5430"/>
                  </a:cubicBezTo>
                  <a:cubicBezTo>
                    <a:pt x="10525" y="8240"/>
                    <a:pt x="8251" y="10514"/>
                    <a:pt x="5441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41" y="334"/>
                  </a:cubicBezTo>
                  <a:close/>
                  <a:moveTo>
                    <a:pt x="5441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0" y="3989"/>
                    <a:pt x="0" y="5430"/>
                  </a:cubicBezTo>
                  <a:cubicBezTo>
                    <a:pt x="0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41" y="10859"/>
                  </a:cubicBezTo>
                  <a:cubicBezTo>
                    <a:pt x="6882" y="10859"/>
                    <a:pt x="8251" y="10300"/>
                    <a:pt x="9275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5" y="1584"/>
                  </a:cubicBezTo>
                  <a:cubicBezTo>
                    <a:pt x="8251" y="560"/>
                    <a:pt x="6882" y="1"/>
                    <a:pt x="5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7" name="Google Shape;13167;p64"/>
            <p:cNvSpPr/>
            <p:nvPr/>
          </p:nvSpPr>
          <p:spPr>
            <a:xfrm>
              <a:off x="5150777" y="3867767"/>
              <a:ext cx="244486" cy="243690"/>
            </a:xfrm>
            <a:custGeom>
              <a:avLst/>
              <a:gdLst/>
              <a:ahLst/>
              <a:cxnLst/>
              <a:rect l="l" t="t" r="r" b="b"/>
              <a:pathLst>
                <a:path w="7681" h="7656" extrusionOk="0">
                  <a:moveTo>
                    <a:pt x="3823" y="0"/>
                  </a:moveTo>
                  <a:cubicBezTo>
                    <a:pt x="1715" y="0"/>
                    <a:pt x="1" y="1715"/>
                    <a:pt x="1" y="3834"/>
                  </a:cubicBezTo>
                  <a:cubicBezTo>
                    <a:pt x="1" y="4429"/>
                    <a:pt x="132" y="5001"/>
                    <a:pt x="406" y="5537"/>
                  </a:cubicBezTo>
                  <a:lnTo>
                    <a:pt x="13" y="6513"/>
                  </a:lnTo>
                  <a:cubicBezTo>
                    <a:pt x="1" y="6537"/>
                    <a:pt x="1" y="6584"/>
                    <a:pt x="1" y="6632"/>
                  </a:cubicBezTo>
                  <a:cubicBezTo>
                    <a:pt x="13" y="6703"/>
                    <a:pt x="96" y="6751"/>
                    <a:pt x="167" y="6751"/>
                  </a:cubicBezTo>
                  <a:lnTo>
                    <a:pt x="1346" y="6751"/>
                  </a:lnTo>
                  <a:cubicBezTo>
                    <a:pt x="2037" y="7346"/>
                    <a:pt x="2918" y="7656"/>
                    <a:pt x="3823" y="7656"/>
                  </a:cubicBezTo>
                  <a:cubicBezTo>
                    <a:pt x="5942" y="7656"/>
                    <a:pt x="7656" y="5941"/>
                    <a:pt x="7656" y="3834"/>
                  </a:cubicBezTo>
                  <a:cubicBezTo>
                    <a:pt x="7680" y="2382"/>
                    <a:pt x="6847" y="1108"/>
                    <a:pt x="5644" y="465"/>
                  </a:cubicBezTo>
                  <a:cubicBezTo>
                    <a:pt x="5616" y="450"/>
                    <a:pt x="5586" y="444"/>
                    <a:pt x="5558" y="444"/>
                  </a:cubicBezTo>
                  <a:cubicBezTo>
                    <a:pt x="5470" y="444"/>
                    <a:pt x="5394" y="511"/>
                    <a:pt x="5394" y="619"/>
                  </a:cubicBezTo>
                  <a:cubicBezTo>
                    <a:pt x="5394" y="679"/>
                    <a:pt x="5418" y="727"/>
                    <a:pt x="5478" y="762"/>
                  </a:cubicBezTo>
                  <a:cubicBezTo>
                    <a:pt x="6585" y="1358"/>
                    <a:pt x="7323" y="2501"/>
                    <a:pt x="7323" y="3846"/>
                  </a:cubicBezTo>
                  <a:cubicBezTo>
                    <a:pt x="7323" y="5763"/>
                    <a:pt x="5763" y="7323"/>
                    <a:pt x="3846" y="7323"/>
                  </a:cubicBezTo>
                  <a:cubicBezTo>
                    <a:pt x="2989" y="7323"/>
                    <a:pt x="2168" y="7013"/>
                    <a:pt x="1537" y="6453"/>
                  </a:cubicBezTo>
                  <a:cubicBezTo>
                    <a:pt x="1501" y="6418"/>
                    <a:pt x="1465" y="6406"/>
                    <a:pt x="1418" y="6406"/>
                  </a:cubicBezTo>
                  <a:lnTo>
                    <a:pt x="429" y="6406"/>
                  </a:lnTo>
                  <a:lnTo>
                    <a:pt x="763" y="5596"/>
                  </a:lnTo>
                  <a:cubicBezTo>
                    <a:pt x="775" y="5560"/>
                    <a:pt x="775" y="5501"/>
                    <a:pt x="763" y="5453"/>
                  </a:cubicBezTo>
                  <a:cubicBezTo>
                    <a:pt x="489" y="4965"/>
                    <a:pt x="358" y="4394"/>
                    <a:pt x="358" y="3834"/>
                  </a:cubicBezTo>
                  <a:cubicBezTo>
                    <a:pt x="358" y="1905"/>
                    <a:pt x="1918" y="346"/>
                    <a:pt x="3846" y="346"/>
                  </a:cubicBezTo>
                  <a:cubicBezTo>
                    <a:pt x="4144" y="346"/>
                    <a:pt x="4418" y="381"/>
                    <a:pt x="4692" y="453"/>
                  </a:cubicBezTo>
                  <a:cubicBezTo>
                    <a:pt x="4704" y="455"/>
                    <a:pt x="4717" y="457"/>
                    <a:pt x="4729" y="457"/>
                  </a:cubicBezTo>
                  <a:cubicBezTo>
                    <a:pt x="4820" y="457"/>
                    <a:pt x="4894" y="381"/>
                    <a:pt x="4894" y="286"/>
                  </a:cubicBezTo>
                  <a:cubicBezTo>
                    <a:pt x="4894" y="215"/>
                    <a:pt x="4835" y="143"/>
                    <a:pt x="4763" y="119"/>
                  </a:cubicBezTo>
                  <a:cubicBezTo>
                    <a:pt x="4466" y="48"/>
                    <a:pt x="4156" y="0"/>
                    <a:pt x="3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8" name="Google Shape;13168;p64"/>
            <p:cNvSpPr/>
            <p:nvPr/>
          </p:nvSpPr>
          <p:spPr>
            <a:xfrm>
              <a:off x="5201960" y="3941167"/>
              <a:ext cx="135691" cy="91097"/>
            </a:xfrm>
            <a:custGeom>
              <a:avLst/>
              <a:gdLst/>
              <a:ahLst/>
              <a:cxnLst/>
              <a:rect l="l" t="t" r="r" b="b"/>
              <a:pathLst>
                <a:path w="4263" h="2862" extrusionOk="0">
                  <a:moveTo>
                    <a:pt x="4077" y="0"/>
                  </a:moveTo>
                  <a:cubicBezTo>
                    <a:pt x="4039" y="0"/>
                    <a:pt x="4000" y="12"/>
                    <a:pt x="3965" y="40"/>
                  </a:cubicBezTo>
                  <a:lnTo>
                    <a:pt x="2869" y="909"/>
                  </a:lnTo>
                  <a:lnTo>
                    <a:pt x="881" y="909"/>
                  </a:lnTo>
                  <a:cubicBezTo>
                    <a:pt x="810" y="909"/>
                    <a:pt x="750" y="957"/>
                    <a:pt x="714" y="1016"/>
                  </a:cubicBezTo>
                  <a:lnTo>
                    <a:pt x="36" y="2623"/>
                  </a:lnTo>
                  <a:cubicBezTo>
                    <a:pt x="0" y="2695"/>
                    <a:pt x="12" y="2778"/>
                    <a:pt x="72" y="2814"/>
                  </a:cubicBezTo>
                  <a:cubicBezTo>
                    <a:pt x="107" y="2850"/>
                    <a:pt x="155" y="2862"/>
                    <a:pt x="191" y="2862"/>
                  </a:cubicBezTo>
                  <a:cubicBezTo>
                    <a:pt x="226" y="2862"/>
                    <a:pt x="250" y="2850"/>
                    <a:pt x="286" y="2826"/>
                  </a:cubicBezTo>
                  <a:lnTo>
                    <a:pt x="1381" y="2171"/>
                  </a:lnTo>
                  <a:lnTo>
                    <a:pt x="1857" y="2171"/>
                  </a:lnTo>
                  <a:cubicBezTo>
                    <a:pt x="1953" y="2171"/>
                    <a:pt x="2036" y="2100"/>
                    <a:pt x="2036" y="1992"/>
                  </a:cubicBezTo>
                  <a:cubicBezTo>
                    <a:pt x="2036" y="1909"/>
                    <a:pt x="1965" y="1814"/>
                    <a:pt x="1857" y="1814"/>
                  </a:cubicBezTo>
                  <a:lnTo>
                    <a:pt x="1345" y="1814"/>
                  </a:lnTo>
                  <a:cubicBezTo>
                    <a:pt x="1310" y="1814"/>
                    <a:pt x="1286" y="1838"/>
                    <a:pt x="1250" y="1850"/>
                  </a:cubicBezTo>
                  <a:lnTo>
                    <a:pt x="572" y="2266"/>
                  </a:lnTo>
                  <a:lnTo>
                    <a:pt x="1000" y="1254"/>
                  </a:lnTo>
                  <a:lnTo>
                    <a:pt x="2953" y="1254"/>
                  </a:lnTo>
                  <a:cubicBezTo>
                    <a:pt x="2989" y="1254"/>
                    <a:pt x="3024" y="1242"/>
                    <a:pt x="3048" y="1207"/>
                  </a:cubicBezTo>
                  <a:lnTo>
                    <a:pt x="3584" y="778"/>
                  </a:lnTo>
                  <a:lnTo>
                    <a:pt x="3072" y="1814"/>
                  </a:lnTo>
                  <a:lnTo>
                    <a:pt x="2691" y="1814"/>
                  </a:lnTo>
                  <a:cubicBezTo>
                    <a:pt x="2608" y="1814"/>
                    <a:pt x="2512" y="1897"/>
                    <a:pt x="2512" y="1992"/>
                  </a:cubicBezTo>
                  <a:cubicBezTo>
                    <a:pt x="2512" y="2088"/>
                    <a:pt x="2596" y="2183"/>
                    <a:pt x="2691" y="2183"/>
                  </a:cubicBezTo>
                  <a:lnTo>
                    <a:pt x="3167" y="2183"/>
                  </a:lnTo>
                  <a:cubicBezTo>
                    <a:pt x="3227" y="2183"/>
                    <a:pt x="3286" y="2147"/>
                    <a:pt x="3322" y="2088"/>
                  </a:cubicBezTo>
                  <a:lnTo>
                    <a:pt x="4227" y="254"/>
                  </a:lnTo>
                  <a:cubicBezTo>
                    <a:pt x="4263" y="171"/>
                    <a:pt x="4227" y="64"/>
                    <a:pt x="4155" y="16"/>
                  </a:cubicBezTo>
                  <a:cubicBezTo>
                    <a:pt x="4131" y="6"/>
                    <a:pt x="4104" y="0"/>
                    <a:pt x="40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9" name="Google Shape;13169;p64"/>
          <p:cNvGrpSpPr/>
          <p:nvPr/>
        </p:nvGrpSpPr>
        <p:grpSpPr>
          <a:xfrm>
            <a:off x="5746977" y="3817152"/>
            <a:ext cx="345674" cy="345674"/>
            <a:chOff x="5998919" y="3817349"/>
            <a:chExt cx="345674" cy="345674"/>
          </a:xfrm>
        </p:grpSpPr>
        <p:sp>
          <p:nvSpPr>
            <p:cNvPr id="13170" name="Google Shape;13170;p64"/>
            <p:cNvSpPr/>
            <p:nvPr/>
          </p:nvSpPr>
          <p:spPr>
            <a:xfrm>
              <a:off x="5998919" y="3817349"/>
              <a:ext cx="345674" cy="345674"/>
            </a:xfrm>
            <a:custGeom>
              <a:avLst/>
              <a:gdLst/>
              <a:ahLst/>
              <a:cxnLst/>
              <a:rect l="l" t="t" r="r" b="b"/>
              <a:pathLst>
                <a:path w="10860" h="10860" extrusionOk="0">
                  <a:moveTo>
                    <a:pt x="5430" y="334"/>
                  </a:moveTo>
                  <a:cubicBezTo>
                    <a:pt x="8240" y="334"/>
                    <a:pt x="10514" y="2608"/>
                    <a:pt x="10514" y="5430"/>
                  </a:cubicBezTo>
                  <a:cubicBezTo>
                    <a:pt x="10514" y="8240"/>
                    <a:pt x="8240" y="10514"/>
                    <a:pt x="5430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90" y="1"/>
                    <a:pt x="2608" y="560"/>
                    <a:pt x="1584" y="1584"/>
                  </a:cubicBezTo>
                  <a:cubicBezTo>
                    <a:pt x="561" y="2620"/>
                    <a:pt x="1" y="3989"/>
                    <a:pt x="1" y="5430"/>
                  </a:cubicBezTo>
                  <a:cubicBezTo>
                    <a:pt x="1" y="6871"/>
                    <a:pt x="561" y="8240"/>
                    <a:pt x="1584" y="9264"/>
                  </a:cubicBezTo>
                  <a:cubicBezTo>
                    <a:pt x="2620" y="10300"/>
                    <a:pt x="3990" y="10859"/>
                    <a:pt x="5430" y="10859"/>
                  </a:cubicBezTo>
                  <a:cubicBezTo>
                    <a:pt x="6871" y="10859"/>
                    <a:pt x="8240" y="10300"/>
                    <a:pt x="9264" y="9264"/>
                  </a:cubicBezTo>
                  <a:cubicBezTo>
                    <a:pt x="10300" y="8240"/>
                    <a:pt x="10859" y="6871"/>
                    <a:pt x="10859" y="5430"/>
                  </a:cubicBezTo>
                  <a:cubicBezTo>
                    <a:pt x="10859" y="3989"/>
                    <a:pt x="10300" y="2620"/>
                    <a:pt x="9264" y="1584"/>
                  </a:cubicBezTo>
                  <a:cubicBezTo>
                    <a:pt x="8240" y="560"/>
                    <a:pt x="6871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1" name="Google Shape;13171;p64"/>
            <p:cNvSpPr/>
            <p:nvPr/>
          </p:nvSpPr>
          <p:spPr>
            <a:xfrm>
              <a:off x="6051980" y="3874579"/>
              <a:ext cx="240698" cy="231595"/>
            </a:xfrm>
            <a:custGeom>
              <a:avLst/>
              <a:gdLst/>
              <a:ahLst/>
              <a:cxnLst/>
              <a:rect l="l" t="t" r="r" b="b"/>
              <a:pathLst>
                <a:path w="7562" h="7276" extrusionOk="0">
                  <a:moveTo>
                    <a:pt x="1680" y="1"/>
                  </a:moveTo>
                  <a:cubicBezTo>
                    <a:pt x="1263" y="1"/>
                    <a:pt x="870" y="167"/>
                    <a:pt x="596" y="441"/>
                  </a:cubicBezTo>
                  <a:cubicBezTo>
                    <a:pt x="1" y="1036"/>
                    <a:pt x="1" y="2013"/>
                    <a:pt x="572" y="2608"/>
                  </a:cubicBezTo>
                  <a:cubicBezTo>
                    <a:pt x="477" y="2930"/>
                    <a:pt x="418" y="3275"/>
                    <a:pt x="418" y="3632"/>
                  </a:cubicBezTo>
                  <a:cubicBezTo>
                    <a:pt x="418" y="5489"/>
                    <a:pt x="1930" y="7013"/>
                    <a:pt x="3787" y="7013"/>
                  </a:cubicBezTo>
                  <a:cubicBezTo>
                    <a:pt x="4144" y="7013"/>
                    <a:pt x="4489" y="6954"/>
                    <a:pt x="4823" y="6847"/>
                  </a:cubicBezTo>
                  <a:cubicBezTo>
                    <a:pt x="5097" y="7132"/>
                    <a:pt x="5490" y="7275"/>
                    <a:pt x="5894" y="7275"/>
                  </a:cubicBezTo>
                  <a:cubicBezTo>
                    <a:pt x="6311" y="7275"/>
                    <a:pt x="6692" y="7109"/>
                    <a:pt x="6978" y="6835"/>
                  </a:cubicBezTo>
                  <a:cubicBezTo>
                    <a:pt x="7561" y="6239"/>
                    <a:pt x="7561" y="5263"/>
                    <a:pt x="6978" y="4656"/>
                  </a:cubicBezTo>
                  <a:cubicBezTo>
                    <a:pt x="7037" y="4454"/>
                    <a:pt x="7085" y="4239"/>
                    <a:pt x="7109" y="4013"/>
                  </a:cubicBezTo>
                  <a:cubicBezTo>
                    <a:pt x="7121" y="3918"/>
                    <a:pt x="7037" y="3822"/>
                    <a:pt x="6942" y="3822"/>
                  </a:cubicBezTo>
                  <a:cubicBezTo>
                    <a:pt x="6859" y="3822"/>
                    <a:pt x="6787" y="3882"/>
                    <a:pt x="6787" y="3977"/>
                  </a:cubicBezTo>
                  <a:cubicBezTo>
                    <a:pt x="6752" y="4192"/>
                    <a:pt x="6704" y="4418"/>
                    <a:pt x="6633" y="4632"/>
                  </a:cubicBezTo>
                  <a:cubicBezTo>
                    <a:pt x="6609" y="4692"/>
                    <a:pt x="6633" y="4763"/>
                    <a:pt x="6680" y="4811"/>
                  </a:cubicBezTo>
                  <a:lnTo>
                    <a:pt x="6740" y="4870"/>
                  </a:lnTo>
                  <a:cubicBezTo>
                    <a:pt x="7204" y="5323"/>
                    <a:pt x="7204" y="6097"/>
                    <a:pt x="6740" y="6561"/>
                  </a:cubicBezTo>
                  <a:cubicBezTo>
                    <a:pt x="6514" y="6787"/>
                    <a:pt x="6204" y="6918"/>
                    <a:pt x="5894" y="6918"/>
                  </a:cubicBezTo>
                  <a:cubicBezTo>
                    <a:pt x="5561" y="6918"/>
                    <a:pt x="5251" y="6787"/>
                    <a:pt x="5025" y="6549"/>
                  </a:cubicBezTo>
                  <a:lnTo>
                    <a:pt x="4978" y="6501"/>
                  </a:lnTo>
                  <a:cubicBezTo>
                    <a:pt x="4954" y="6478"/>
                    <a:pt x="4906" y="6454"/>
                    <a:pt x="4859" y="6454"/>
                  </a:cubicBezTo>
                  <a:cubicBezTo>
                    <a:pt x="4847" y="6454"/>
                    <a:pt x="4823" y="6454"/>
                    <a:pt x="4799" y="6478"/>
                  </a:cubicBezTo>
                  <a:cubicBezTo>
                    <a:pt x="4466" y="6597"/>
                    <a:pt x="4108" y="6656"/>
                    <a:pt x="3751" y="6656"/>
                  </a:cubicBezTo>
                  <a:cubicBezTo>
                    <a:pt x="2084" y="6620"/>
                    <a:pt x="739" y="5251"/>
                    <a:pt x="751" y="3584"/>
                  </a:cubicBezTo>
                  <a:cubicBezTo>
                    <a:pt x="751" y="3239"/>
                    <a:pt x="810" y="2918"/>
                    <a:pt x="929" y="2608"/>
                  </a:cubicBezTo>
                  <a:cubicBezTo>
                    <a:pt x="965" y="2549"/>
                    <a:pt x="929" y="2465"/>
                    <a:pt x="894" y="2429"/>
                  </a:cubicBezTo>
                  <a:lnTo>
                    <a:pt x="834" y="2370"/>
                  </a:lnTo>
                  <a:cubicBezTo>
                    <a:pt x="370" y="1906"/>
                    <a:pt x="370" y="1132"/>
                    <a:pt x="834" y="667"/>
                  </a:cubicBezTo>
                  <a:cubicBezTo>
                    <a:pt x="1049" y="441"/>
                    <a:pt x="1370" y="310"/>
                    <a:pt x="1680" y="310"/>
                  </a:cubicBezTo>
                  <a:cubicBezTo>
                    <a:pt x="2001" y="310"/>
                    <a:pt x="2323" y="441"/>
                    <a:pt x="2537" y="679"/>
                  </a:cubicBezTo>
                  <a:lnTo>
                    <a:pt x="2584" y="727"/>
                  </a:lnTo>
                  <a:cubicBezTo>
                    <a:pt x="2621" y="763"/>
                    <a:pt x="2671" y="779"/>
                    <a:pt x="2719" y="779"/>
                  </a:cubicBezTo>
                  <a:cubicBezTo>
                    <a:pt x="2734" y="779"/>
                    <a:pt x="2749" y="777"/>
                    <a:pt x="2763" y="774"/>
                  </a:cubicBezTo>
                  <a:cubicBezTo>
                    <a:pt x="3096" y="655"/>
                    <a:pt x="3430" y="596"/>
                    <a:pt x="3775" y="596"/>
                  </a:cubicBezTo>
                  <a:cubicBezTo>
                    <a:pt x="5299" y="596"/>
                    <a:pt x="6561" y="1727"/>
                    <a:pt x="6787" y="3203"/>
                  </a:cubicBezTo>
                  <a:cubicBezTo>
                    <a:pt x="6799" y="3287"/>
                    <a:pt x="6871" y="3346"/>
                    <a:pt x="6942" y="3346"/>
                  </a:cubicBezTo>
                  <a:cubicBezTo>
                    <a:pt x="7049" y="3346"/>
                    <a:pt x="7121" y="3263"/>
                    <a:pt x="7109" y="3156"/>
                  </a:cubicBezTo>
                  <a:cubicBezTo>
                    <a:pt x="6871" y="1513"/>
                    <a:pt x="5478" y="263"/>
                    <a:pt x="3775" y="263"/>
                  </a:cubicBezTo>
                  <a:cubicBezTo>
                    <a:pt x="3418" y="263"/>
                    <a:pt x="3073" y="322"/>
                    <a:pt x="2751" y="429"/>
                  </a:cubicBezTo>
                  <a:cubicBezTo>
                    <a:pt x="2465" y="143"/>
                    <a:pt x="2084" y="1"/>
                    <a:pt x="1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2" name="Google Shape;13172;p64"/>
            <p:cNvSpPr/>
            <p:nvPr/>
          </p:nvSpPr>
          <p:spPr>
            <a:xfrm>
              <a:off x="6116786" y="3928404"/>
              <a:ext cx="109941" cy="123946"/>
            </a:xfrm>
            <a:custGeom>
              <a:avLst/>
              <a:gdLst/>
              <a:ahLst/>
              <a:cxnLst/>
              <a:rect l="l" t="t" r="r" b="b"/>
              <a:pathLst>
                <a:path w="3454" h="3894" extrusionOk="0">
                  <a:moveTo>
                    <a:pt x="2322" y="1131"/>
                  </a:moveTo>
                  <a:cubicBezTo>
                    <a:pt x="2334" y="1227"/>
                    <a:pt x="2382" y="1310"/>
                    <a:pt x="2442" y="1393"/>
                  </a:cubicBezTo>
                  <a:cubicBezTo>
                    <a:pt x="2346" y="1369"/>
                    <a:pt x="2263" y="1369"/>
                    <a:pt x="2180" y="1369"/>
                  </a:cubicBezTo>
                  <a:lnTo>
                    <a:pt x="1275" y="1369"/>
                  </a:lnTo>
                  <a:cubicBezTo>
                    <a:pt x="1215" y="1369"/>
                    <a:pt x="1156" y="1334"/>
                    <a:pt x="1156" y="1250"/>
                  </a:cubicBezTo>
                  <a:cubicBezTo>
                    <a:pt x="1156" y="1191"/>
                    <a:pt x="1203" y="1131"/>
                    <a:pt x="1275" y="1131"/>
                  </a:cubicBezTo>
                  <a:close/>
                  <a:moveTo>
                    <a:pt x="1013" y="2489"/>
                  </a:moveTo>
                  <a:lnTo>
                    <a:pt x="1013" y="2489"/>
                  </a:lnTo>
                  <a:cubicBezTo>
                    <a:pt x="1096" y="2501"/>
                    <a:pt x="1191" y="2501"/>
                    <a:pt x="1263" y="2501"/>
                  </a:cubicBezTo>
                  <a:lnTo>
                    <a:pt x="2168" y="2501"/>
                  </a:lnTo>
                  <a:cubicBezTo>
                    <a:pt x="2227" y="2501"/>
                    <a:pt x="2287" y="2548"/>
                    <a:pt x="2287" y="2620"/>
                  </a:cubicBezTo>
                  <a:cubicBezTo>
                    <a:pt x="2287" y="2691"/>
                    <a:pt x="2251" y="2739"/>
                    <a:pt x="2168" y="2739"/>
                  </a:cubicBezTo>
                  <a:lnTo>
                    <a:pt x="1132" y="2739"/>
                  </a:lnTo>
                  <a:cubicBezTo>
                    <a:pt x="1120" y="2655"/>
                    <a:pt x="1072" y="2560"/>
                    <a:pt x="1013" y="2489"/>
                  </a:cubicBezTo>
                  <a:close/>
                  <a:moveTo>
                    <a:pt x="1275" y="0"/>
                  </a:moveTo>
                  <a:cubicBezTo>
                    <a:pt x="572" y="0"/>
                    <a:pt x="13" y="560"/>
                    <a:pt x="1" y="1250"/>
                  </a:cubicBezTo>
                  <a:cubicBezTo>
                    <a:pt x="1" y="1691"/>
                    <a:pt x="203" y="2072"/>
                    <a:pt x="537" y="2298"/>
                  </a:cubicBezTo>
                  <a:cubicBezTo>
                    <a:pt x="239" y="2310"/>
                    <a:pt x="1" y="2560"/>
                    <a:pt x="1" y="2858"/>
                  </a:cubicBezTo>
                  <a:cubicBezTo>
                    <a:pt x="1" y="3429"/>
                    <a:pt x="453" y="3894"/>
                    <a:pt x="1025" y="3894"/>
                  </a:cubicBezTo>
                  <a:lnTo>
                    <a:pt x="2144" y="3894"/>
                  </a:lnTo>
                  <a:cubicBezTo>
                    <a:pt x="2846" y="3894"/>
                    <a:pt x="3406" y="3334"/>
                    <a:pt x="3418" y="2643"/>
                  </a:cubicBezTo>
                  <a:cubicBezTo>
                    <a:pt x="3454" y="2203"/>
                    <a:pt x="3227" y="1822"/>
                    <a:pt x="2906" y="1596"/>
                  </a:cubicBezTo>
                  <a:cubicBezTo>
                    <a:pt x="3204" y="1584"/>
                    <a:pt x="3442" y="1334"/>
                    <a:pt x="3442" y="1036"/>
                  </a:cubicBezTo>
                  <a:cubicBezTo>
                    <a:pt x="3442" y="465"/>
                    <a:pt x="2977" y="0"/>
                    <a:pt x="2406" y="0"/>
                  </a:cubicBezTo>
                  <a:lnTo>
                    <a:pt x="2203" y="0"/>
                  </a:lnTo>
                  <a:cubicBezTo>
                    <a:pt x="2108" y="0"/>
                    <a:pt x="2025" y="84"/>
                    <a:pt x="2025" y="179"/>
                  </a:cubicBezTo>
                  <a:cubicBezTo>
                    <a:pt x="2025" y="274"/>
                    <a:pt x="2096" y="357"/>
                    <a:pt x="2203" y="357"/>
                  </a:cubicBezTo>
                  <a:lnTo>
                    <a:pt x="2406" y="357"/>
                  </a:lnTo>
                  <a:cubicBezTo>
                    <a:pt x="2775" y="357"/>
                    <a:pt x="3096" y="655"/>
                    <a:pt x="3096" y="1036"/>
                  </a:cubicBezTo>
                  <a:cubicBezTo>
                    <a:pt x="3096" y="1167"/>
                    <a:pt x="3001" y="1274"/>
                    <a:pt x="2870" y="1274"/>
                  </a:cubicBezTo>
                  <a:cubicBezTo>
                    <a:pt x="2739" y="1274"/>
                    <a:pt x="2632" y="1167"/>
                    <a:pt x="2632" y="1048"/>
                  </a:cubicBezTo>
                  <a:cubicBezTo>
                    <a:pt x="2632" y="917"/>
                    <a:pt x="2525" y="822"/>
                    <a:pt x="2394" y="822"/>
                  </a:cubicBezTo>
                  <a:lnTo>
                    <a:pt x="1263" y="822"/>
                  </a:lnTo>
                  <a:cubicBezTo>
                    <a:pt x="1013" y="822"/>
                    <a:pt x="798" y="1012"/>
                    <a:pt x="798" y="1274"/>
                  </a:cubicBezTo>
                  <a:cubicBezTo>
                    <a:pt x="787" y="1524"/>
                    <a:pt x="1001" y="1750"/>
                    <a:pt x="1263" y="1750"/>
                  </a:cubicBezTo>
                  <a:lnTo>
                    <a:pt x="2156" y="1750"/>
                  </a:lnTo>
                  <a:cubicBezTo>
                    <a:pt x="2668" y="1750"/>
                    <a:pt x="3084" y="2131"/>
                    <a:pt x="3096" y="2643"/>
                  </a:cubicBezTo>
                  <a:cubicBezTo>
                    <a:pt x="3108" y="3155"/>
                    <a:pt x="2692" y="3572"/>
                    <a:pt x="2192" y="3572"/>
                  </a:cubicBezTo>
                  <a:lnTo>
                    <a:pt x="1037" y="3572"/>
                  </a:lnTo>
                  <a:cubicBezTo>
                    <a:pt x="668" y="3572"/>
                    <a:pt x="358" y="3274"/>
                    <a:pt x="358" y="2905"/>
                  </a:cubicBezTo>
                  <a:cubicBezTo>
                    <a:pt x="358" y="2774"/>
                    <a:pt x="441" y="2667"/>
                    <a:pt x="584" y="2667"/>
                  </a:cubicBezTo>
                  <a:cubicBezTo>
                    <a:pt x="715" y="2667"/>
                    <a:pt x="822" y="2774"/>
                    <a:pt x="822" y="2893"/>
                  </a:cubicBezTo>
                  <a:cubicBezTo>
                    <a:pt x="822" y="3024"/>
                    <a:pt x="918" y="3120"/>
                    <a:pt x="1060" y="3120"/>
                  </a:cubicBezTo>
                  <a:lnTo>
                    <a:pt x="2180" y="3120"/>
                  </a:lnTo>
                  <a:cubicBezTo>
                    <a:pt x="2442" y="3120"/>
                    <a:pt x="2644" y="2917"/>
                    <a:pt x="2644" y="2667"/>
                  </a:cubicBezTo>
                  <a:cubicBezTo>
                    <a:pt x="2656" y="2417"/>
                    <a:pt x="2453" y="2191"/>
                    <a:pt x="2180" y="2191"/>
                  </a:cubicBezTo>
                  <a:lnTo>
                    <a:pt x="1287" y="2191"/>
                  </a:lnTo>
                  <a:cubicBezTo>
                    <a:pt x="787" y="2191"/>
                    <a:pt x="370" y="1810"/>
                    <a:pt x="358" y="1298"/>
                  </a:cubicBezTo>
                  <a:cubicBezTo>
                    <a:pt x="346" y="774"/>
                    <a:pt x="763" y="357"/>
                    <a:pt x="1263" y="357"/>
                  </a:cubicBezTo>
                  <a:lnTo>
                    <a:pt x="1346" y="357"/>
                  </a:lnTo>
                  <a:cubicBezTo>
                    <a:pt x="1441" y="357"/>
                    <a:pt x="1525" y="286"/>
                    <a:pt x="1525" y="179"/>
                  </a:cubicBezTo>
                  <a:cubicBezTo>
                    <a:pt x="1525" y="96"/>
                    <a:pt x="1453" y="0"/>
                    <a:pt x="1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73" name="Google Shape;13173;p64"/>
          <p:cNvGrpSpPr/>
          <p:nvPr/>
        </p:nvGrpSpPr>
        <p:grpSpPr>
          <a:xfrm>
            <a:off x="3949506" y="3817152"/>
            <a:ext cx="346024" cy="345674"/>
            <a:chOff x="4201447" y="3817349"/>
            <a:chExt cx="346024" cy="345674"/>
          </a:xfrm>
        </p:grpSpPr>
        <p:sp>
          <p:nvSpPr>
            <p:cNvPr id="13174" name="Google Shape;13174;p64"/>
            <p:cNvSpPr/>
            <p:nvPr/>
          </p:nvSpPr>
          <p:spPr>
            <a:xfrm>
              <a:off x="4201447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30" y="334"/>
                  </a:moveTo>
                  <a:cubicBezTo>
                    <a:pt x="8252" y="334"/>
                    <a:pt x="10526" y="2608"/>
                    <a:pt x="10526" y="5430"/>
                  </a:cubicBezTo>
                  <a:cubicBezTo>
                    <a:pt x="10526" y="8240"/>
                    <a:pt x="8252" y="10514"/>
                    <a:pt x="5430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2" y="10859"/>
                    <a:pt x="8252" y="10300"/>
                    <a:pt x="9276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6" y="1584"/>
                  </a:cubicBezTo>
                  <a:cubicBezTo>
                    <a:pt x="8252" y="560"/>
                    <a:pt x="6882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5" name="Google Shape;13175;p64"/>
            <p:cNvSpPr/>
            <p:nvPr/>
          </p:nvSpPr>
          <p:spPr>
            <a:xfrm>
              <a:off x="4271569" y="3904531"/>
              <a:ext cx="227394" cy="185728"/>
            </a:xfrm>
            <a:custGeom>
              <a:avLst/>
              <a:gdLst/>
              <a:ahLst/>
              <a:cxnLst/>
              <a:rect l="l" t="t" r="r" b="b"/>
              <a:pathLst>
                <a:path w="7144" h="5835" extrusionOk="0">
                  <a:moveTo>
                    <a:pt x="4620" y="0"/>
                  </a:moveTo>
                  <a:cubicBezTo>
                    <a:pt x="3727" y="0"/>
                    <a:pt x="2977" y="691"/>
                    <a:pt x="2905" y="1572"/>
                  </a:cubicBezTo>
                  <a:cubicBezTo>
                    <a:pt x="2727" y="1548"/>
                    <a:pt x="2358" y="1441"/>
                    <a:pt x="2262" y="1405"/>
                  </a:cubicBezTo>
                  <a:cubicBezTo>
                    <a:pt x="1643" y="1203"/>
                    <a:pt x="1072" y="810"/>
                    <a:pt x="631" y="322"/>
                  </a:cubicBezTo>
                  <a:cubicBezTo>
                    <a:pt x="596" y="298"/>
                    <a:pt x="572" y="274"/>
                    <a:pt x="524" y="262"/>
                  </a:cubicBezTo>
                  <a:cubicBezTo>
                    <a:pt x="517" y="261"/>
                    <a:pt x="509" y="260"/>
                    <a:pt x="501" y="260"/>
                  </a:cubicBezTo>
                  <a:cubicBezTo>
                    <a:pt x="436" y="260"/>
                    <a:pt x="367" y="304"/>
                    <a:pt x="346" y="357"/>
                  </a:cubicBezTo>
                  <a:cubicBezTo>
                    <a:pt x="238" y="572"/>
                    <a:pt x="179" y="810"/>
                    <a:pt x="179" y="1048"/>
                  </a:cubicBezTo>
                  <a:cubicBezTo>
                    <a:pt x="179" y="1393"/>
                    <a:pt x="286" y="1727"/>
                    <a:pt x="476" y="1977"/>
                  </a:cubicBezTo>
                  <a:cubicBezTo>
                    <a:pt x="466" y="1975"/>
                    <a:pt x="456" y="1974"/>
                    <a:pt x="446" y="1974"/>
                  </a:cubicBezTo>
                  <a:cubicBezTo>
                    <a:pt x="397" y="1974"/>
                    <a:pt x="349" y="1997"/>
                    <a:pt x="310" y="2036"/>
                  </a:cubicBezTo>
                  <a:cubicBezTo>
                    <a:pt x="286" y="2060"/>
                    <a:pt x="286" y="2108"/>
                    <a:pt x="274" y="2143"/>
                  </a:cubicBezTo>
                  <a:lnTo>
                    <a:pt x="274" y="2203"/>
                  </a:lnTo>
                  <a:cubicBezTo>
                    <a:pt x="274" y="2655"/>
                    <a:pt x="476" y="3072"/>
                    <a:pt x="822" y="3358"/>
                  </a:cubicBezTo>
                  <a:cubicBezTo>
                    <a:pt x="786" y="3370"/>
                    <a:pt x="774" y="3405"/>
                    <a:pt x="762" y="3417"/>
                  </a:cubicBezTo>
                  <a:cubicBezTo>
                    <a:pt x="750" y="3465"/>
                    <a:pt x="727" y="3513"/>
                    <a:pt x="750" y="3548"/>
                  </a:cubicBezTo>
                  <a:cubicBezTo>
                    <a:pt x="893" y="4024"/>
                    <a:pt x="1262" y="4405"/>
                    <a:pt x="1727" y="4548"/>
                  </a:cubicBezTo>
                  <a:cubicBezTo>
                    <a:pt x="1310" y="4798"/>
                    <a:pt x="834" y="4941"/>
                    <a:pt x="334" y="4941"/>
                  </a:cubicBezTo>
                  <a:lnTo>
                    <a:pt x="191" y="4941"/>
                  </a:lnTo>
                  <a:cubicBezTo>
                    <a:pt x="107" y="4941"/>
                    <a:pt x="36" y="5001"/>
                    <a:pt x="12" y="5084"/>
                  </a:cubicBezTo>
                  <a:cubicBezTo>
                    <a:pt x="0" y="5156"/>
                    <a:pt x="48" y="5239"/>
                    <a:pt x="107" y="5263"/>
                  </a:cubicBezTo>
                  <a:cubicBezTo>
                    <a:pt x="727" y="5632"/>
                    <a:pt x="1465" y="5834"/>
                    <a:pt x="2191" y="5834"/>
                  </a:cubicBezTo>
                  <a:cubicBezTo>
                    <a:pt x="3072" y="5834"/>
                    <a:pt x="3905" y="5560"/>
                    <a:pt x="4596" y="5060"/>
                  </a:cubicBezTo>
                  <a:cubicBezTo>
                    <a:pt x="4691" y="5001"/>
                    <a:pt x="4691" y="4858"/>
                    <a:pt x="4620" y="4786"/>
                  </a:cubicBezTo>
                  <a:cubicBezTo>
                    <a:pt x="4587" y="4754"/>
                    <a:pt x="4544" y="4735"/>
                    <a:pt x="4499" y="4735"/>
                  </a:cubicBezTo>
                  <a:cubicBezTo>
                    <a:pt x="4463" y="4735"/>
                    <a:pt x="4426" y="4748"/>
                    <a:pt x="4394" y="4775"/>
                  </a:cubicBezTo>
                  <a:cubicBezTo>
                    <a:pt x="3763" y="5215"/>
                    <a:pt x="3013" y="5489"/>
                    <a:pt x="2191" y="5489"/>
                  </a:cubicBezTo>
                  <a:cubicBezTo>
                    <a:pt x="1727" y="5489"/>
                    <a:pt x="1262" y="5394"/>
                    <a:pt x="846" y="5239"/>
                  </a:cubicBezTo>
                  <a:cubicBezTo>
                    <a:pt x="1369" y="5144"/>
                    <a:pt x="1846" y="4917"/>
                    <a:pt x="2262" y="4584"/>
                  </a:cubicBezTo>
                  <a:cubicBezTo>
                    <a:pt x="2310" y="4536"/>
                    <a:pt x="2334" y="4477"/>
                    <a:pt x="2322" y="4417"/>
                  </a:cubicBezTo>
                  <a:cubicBezTo>
                    <a:pt x="2310" y="4346"/>
                    <a:pt x="2239" y="4286"/>
                    <a:pt x="2155" y="4286"/>
                  </a:cubicBezTo>
                  <a:cubicBezTo>
                    <a:pt x="1739" y="4263"/>
                    <a:pt x="1369" y="4048"/>
                    <a:pt x="1167" y="3691"/>
                  </a:cubicBezTo>
                  <a:cubicBezTo>
                    <a:pt x="1250" y="3691"/>
                    <a:pt x="1358" y="3667"/>
                    <a:pt x="1441" y="3643"/>
                  </a:cubicBezTo>
                  <a:cubicBezTo>
                    <a:pt x="1524" y="3632"/>
                    <a:pt x="1584" y="3572"/>
                    <a:pt x="1584" y="3489"/>
                  </a:cubicBezTo>
                  <a:cubicBezTo>
                    <a:pt x="1596" y="3405"/>
                    <a:pt x="1536" y="3334"/>
                    <a:pt x="1441" y="3298"/>
                  </a:cubicBezTo>
                  <a:cubicBezTo>
                    <a:pt x="1000" y="3191"/>
                    <a:pt x="667" y="2822"/>
                    <a:pt x="596" y="2381"/>
                  </a:cubicBezTo>
                  <a:lnTo>
                    <a:pt x="596" y="2381"/>
                  </a:lnTo>
                  <a:cubicBezTo>
                    <a:pt x="727" y="2405"/>
                    <a:pt x="869" y="2417"/>
                    <a:pt x="1000" y="2417"/>
                  </a:cubicBezTo>
                  <a:cubicBezTo>
                    <a:pt x="1084" y="2417"/>
                    <a:pt x="1143" y="2358"/>
                    <a:pt x="1167" y="2274"/>
                  </a:cubicBezTo>
                  <a:cubicBezTo>
                    <a:pt x="1179" y="2203"/>
                    <a:pt x="1131" y="2143"/>
                    <a:pt x="1072" y="2108"/>
                  </a:cubicBezTo>
                  <a:cubicBezTo>
                    <a:pt x="703" y="1881"/>
                    <a:pt x="476" y="1488"/>
                    <a:pt x="476" y="1048"/>
                  </a:cubicBezTo>
                  <a:cubicBezTo>
                    <a:pt x="476" y="953"/>
                    <a:pt x="488" y="846"/>
                    <a:pt x="524" y="738"/>
                  </a:cubicBezTo>
                  <a:cubicBezTo>
                    <a:pt x="965" y="1191"/>
                    <a:pt x="1524" y="1524"/>
                    <a:pt x="2120" y="1727"/>
                  </a:cubicBezTo>
                  <a:cubicBezTo>
                    <a:pt x="2120" y="1727"/>
                    <a:pt x="2715" y="1905"/>
                    <a:pt x="2929" y="1917"/>
                  </a:cubicBezTo>
                  <a:lnTo>
                    <a:pt x="3024" y="1917"/>
                  </a:lnTo>
                  <a:cubicBezTo>
                    <a:pt x="3096" y="1917"/>
                    <a:pt x="3167" y="1869"/>
                    <a:pt x="3191" y="1798"/>
                  </a:cubicBezTo>
                  <a:cubicBezTo>
                    <a:pt x="3203" y="1786"/>
                    <a:pt x="3203" y="1750"/>
                    <a:pt x="3203" y="1738"/>
                  </a:cubicBezTo>
                  <a:lnTo>
                    <a:pt x="3203" y="1703"/>
                  </a:lnTo>
                  <a:cubicBezTo>
                    <a:pt x="3203" y="953"/>
                    <a:pt x="3810" y="334"/>
                    <a:pt x="4572" y="334"/>
                  </a:cubicBezTo>
                  <a:cubicBezTo>
                    <a:pt x="4941" y="334"/>
                    <a:pt x="5287" y="488"/>
                    <a:pt x="5549" y="750"/>
                  </a:cubicBezTo>
                  <a:cubicBezTo>
                    <a:pt x="5585" y="787"/>
                    <a:pt x="5621" y="802"/>
                    <a:pt x="5663" y="802"/>
                  </a:cubicBezTo>
                  <a:cubicBezTo>
                    <a:pt x="5676" y="802"/>
                    <a:pt x="5689" y="801"/>
                    <a:pt x="5703" y="798"/>
                  </a:cubicBezTo>
                  <a:cubicBezTo>
                    <a:pt x="5882" y="762"/>
                    <a:pt x="6049" y="738"/>
                    <a:pt x="6203" y="679"/>
                  </a:cubicBezTo>
                  <a:lnTo>
                    <a:pt x="6203" y="679"/>
                  </a:lnTo>
                  <a:cubicBezTo>
                    <a:pt x="6120" y="762"/>
                    <a:pt x="6013" y="857"/>
                    <a:pt x="5894" y="917"/>
                  </a:cubicBezTo>
                  <a:cubicBezTo>
                    <a:pt x="5822" y="965"/>
                    <a:pt x="5787" y="1048"/>
                    <a:pt x="5822" y="1143"/>
                  </a:cubicBezTo>
                  <a:cubicBezTo>
                    <a:pt x="5846" y="1203"/>
                    <a:pt x="5930" y="1250"/>
                    <a:pt x="6001" y="1250"/>
                  </a:cubicBezTo>
                  <a:cubicBezTo>
                    <a:pt x="6144" y="1227"/>
                    <a:pt x="6287" y="1215"/>
                    <a:pt x="6418" y="1167"/>
                  </a:cubicBezTo>
                  <a:lnTo>
                    <a:pt x="6418" y="1167"/>
                  </a:lnTo>
                  <a:cubicBezTo>
                    <a:pt x="6299" y="1286"/>
                    <a:pt x="6168" y="1405"/>
                    <a:pt x="6013" y="1512"/>
                  </a:cubicBezTo>
                  <a:cubicBezTo>
                    <a:pt x="5965" y="1548"/>
                    <a:pt x="5941" y="1608"/>
                    <a:pt x="5941" y="1655"/>
                  </a:cubicBezTo>
                  <a:lnTo>
                    <a:pt x="5941" y="1679"/>
                  </a:lnTo>
                  <a:lnTo>
                    <a:pt x="5941" y="1703"/>
                  </a:lnTo>
                  <a:lnTo>
                    <a:pt x="5941" y="1727"/>
                  </a:lnTo>
                  <a:cubicBezTo>
                    <a:pt x="5941" y="2691"/>
                    <a:pt x="5572" y="3572"/>
                    <a:pt x="4977" y="4227"/>
                  </a:cubicBezTo>
                  <a:cubicBezTo>
                    <a:pt x="4918" y="4298"/>
                    <a:pt x="4918" y="4405"/>
                    <a:pt x="4977" y="4465"/>
                  </a:cubicBezTo>
                  <a:cubicBezTo>
                    <a:pt x="5011" y="4499"/>
                    <a:pt x="5053" y="4514"/>
                    <a:pt x="5096" y="4514"/>
                  </a:cubicBezTo>
                  <a:cubicBezTo>
                    <a:pt x="5143" y="4514"/>
                    <a:pt x="5190" y="4496"/>
                    <a:pt x="5227" y="4465"/>
                  </a:cubicBezTo>
                  <a:cubicBezTo>
                    <a:pt x="5894" y="3715"/>
                    <a:pt x="6263" y="2762"/>
                    <a:pt x="6287" y="1750"/>
                  </a:cubicBezTo>
                  <a:cubicBezTo>
                    <a:pt x="6596" y="1524"/>
                    <a:pt x="6846" y="1250"/>
                    <a:pt x="7061" y="917"/>
                  </a:cubicBezTo>
                  <a:cubicBezTo>
                    <a:pt x="7144" y="857"/>
                    <a:pt x="7132" y="750"/>
                    <a:pt x="7061" y="715"/>
                  </a:cubicBezTo>
                  <a:cubicBezTo>
                    <a:pt x="7029" y="683"/>
                    <a:pt x="6987" y="667"/>
                    <a:pt x="6937" y="667"/>
                  </a:cubicBezTo>
                  <a:cubicBezTo>
                    <a:pt x="6912" y="667"/>
                    <a:pt x="6886" y="671"/>
                    <a:pt x="6858" y="679"/>
                  </a:cubicBezTo>
                  <a:cubicBezTo>
                    <a:pt x="6775" y="726"/>
                    <a:pt x="6680" y="750"/>
                    <a:pt x="6596" y="786"/>
                  </a:cubicBezTo>
                  <a:cubicBezTo>
                    <a:pt x="6680" y="667"/>
                    <a:pt x="6763" y="512"/>
                    <a:pt x="6823" y="369"/>
                  </a:cubicBezTo>
                  <a:cubicBezTo>
                    <a:pt x="6834" y="310"/>
                    <a:pt x="6834" y="238"/>
                    <a:pt x="6787" y="191"/>
                  </a:cubicBezTo>
                  <a:cubicBezTo>
                    <a:pt x="6750" y="153"/>
                    <a:pt x="6703" y="135"/>
                    <a:pt x="6659" y="135"/>
                  </a:cubicBezTo>
                  <a:cubicBezTo>
                    <a:pt x="6632" y="135"/>
                    <a:pt x="6607" y="142"/>
                    <a:pt x="6584" y="155"/>
                  </a:cubicBezTo>
                  <a:cubicBezTo>
                    <a:pt x="6322" y="310"/>
                    <a:pt x="6061" y="393"/>
                    <a:pt x="5775" y="441"/>
                  </a:cubicBezTo>
                  <a:cubicBezTo>
                    <a:pt x="5465" y="143"/>
                    <a:pt x="5048" y="0"/>
                    <a:pt x="4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76" name="Google Shape;13176;p64"/>
          <p:cNvGrpSpPr/>
          <p:nvPr/>
        </p:nvGrpSpPr>
        <p:grpSpPr>
          <a:xfrm>
            <a:off x="4398977" y="3817152"/>
            <a:ext cx="346024" cy="345674"/>
            <a:chOff x="4650919" y="3817349"/>
            <a:chExt cx="346024" cy="345674"/>
          </a:xfrm>
        </p:grpSpPr>
        <p:sp>
          <p:nvSpPr>
            <p:cNvPr id="13177" name="Google Shape;13177;p64"/>
            <p:cNvSpPr/>
            <p:nvPr/>
          </p:nvSpPr>
          <p:spPr>
            <a:xfrm>
              <a:off x="4650919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42" y="334"/>
                  </a:moveTo>
                  <a:cubicBezTo>
                    <a:pt x="8251" y="334"/>
                    <a:pt x="10526" y="2608"/>
                    <a:pt x="10526" y="5430"/>
                  </a:cubicBezTo>
                  <a:cubicBezTo>
                    <a:pt x="10526" y="8240"/>
                    <a:pt x="8240" y="10514"/>
                    <a:pt x="5442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42" y="334"/>
                  </a:cubicBezTo>
                  <a:close/>
                  <a:moveTo>
                    <a:pt x="5442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0" y="3989"/>
                    <a:pt x="0" y="5430"/>
                  </a:cubicBezTo>
                  <a:cubicBezTo>
                    <a:pt x="0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42" y="10859"/>
                  </a:cubicBezTo>
                  <a:cubicBezTo>
                    <a:pt x="6882" y="10859"/>
                    <a:pt x="8251" y="10300"/>
                    <a:pt x="9275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5" y="1584"/>
                  </a:cubicBezTo>
                  <a:cubicBezTo>
                    <a:pt x="8251" y="560"/>
                    <a:pt x="6882" y="1"/>
                    <a:pt x="5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8" name="Google Shape;13178;p64"/>
            <p:cNvSpPr/>
            <p:nvPr/>
          </p:nvSpPr>
          <p:spPr>
            <a:xfrm>
              <a:off x="4701305" y="3867386"/>
              <a:ext cx="244486" cy="242958"/>
            </a:xfrm>
            <a:custGeom>
              <a:avLst/>
              <a:gdLst/>
              <a:ahLst/>
              <a:cxnLst/>
              <a:rect l="l" t="t" r="r" b="b"/>
              <a:pathLst>
                <a:path w="7681" h="7633" extrusionOk="0">
                  <a:moveTo>
                    <a:pt x="3835" y="0"/>
                  </a:moveTo>
                  <a:cubicBezTo>
                    <a:pt x="1727" y="0"/>
                    <a:pt x="13" y="1715"/>
                    <a:pt x="13" y="3822"/>
                  </a:cubicBezTo>
                  <a:cubicBezTo>
                    <a:pt x="13" y="4418"/>
                    <a:pt x="144" y="5001"/>
                    <a:pt x="418" y="5537"/>
                  </a:cubicBezTo>
                  <a:lnTo>
                    <a:pt x="25" y="6501"/>
                  </a:lnTo>
                  <a:cubicBezTo>
                    <a:pt x="1" y="6585"/>
                    <a:pt x="13" y="6656"/>
                    <a:pt x="84" y="6704"/>
                  </a:cubicBezTo>
                  <a:cubicBezTo>
                    <a:pt x="120" y="6727"/>
                    <a:pt x="156" y="6727"/>
                    <a:pt x="191" y="6727"/>
                  </a:cubicBezTo>
                  <a:lnTo>
                    <a:pt x="1370" y="6727"/>
                  </a:lnTo>
                  <a:cubicBezTo>
                    <a:pt x="2061" y="7323"/>
                    <a:pt x="2942" y="7632"/>
                    <a:pt x="3847" y="7632"/>
                  </a:cubicBezTo>
                  <a:cubicBezTo>
                    <a:pt x="5966" y="7632"/>
                    <a:pt x="7680" y="5930"/>
                    <a:pt x="7680" y="3810"/>
                  </a:cubicBezTo>
                  <a:cubicBezTo>
                    <a:pt x="7680" y="3096"/>
                    <a:pt x="7454" y="2394"/>
                    <a:pt x="7085" y="1798"/>
                  </a:cubicBezTo>
                  <a:cubicBezTo>
                    <a:pt x="7052" y="1752"/>
                    <a:pt x="6997" y="1727"/>
                    <a:pt x="6940" y="1727"/>
                  </a:cubicBezTo>
                  <a:cubicBezTo>
                    <a:pt x="6894" y="1727"/>
                    <a:pt x="6848" y="1743"/>
                    <a:pt x="6811" y="1774"/>
                  </a:cubicBezTo>
                  <a:cubicBezTo>
                    <a:pt x="6752" y="1834"/>
                    <a:pt x="6752" y="1917"/>
                    <a:pt x="6787" y="1977"/>
                  </a:cubicBezTo>
                  <a:cubicBezTo>
                    <a:pt x="7133" y="2513"/>
                    <a:pt x="7323" y="3156"/>
                    <a:pt x="7323" y="3846"/>
                  </a:cubicBezTo>
                  <a:cubicBezTo>
                    <a:pt x="7323" y="5763"/>
                    <a:pt x="5764" y="7323"/>
                    <a:pt x="3835" y="7323"/>
                  </a:cubicBezTo>
                  <a:cubicBezTo>
                    <a:pt x="2989" y="7323"/>
                    <a:pt x="2168" y="7013"/>
                    <a:pt x="1537" y="6442"/>
                  </a:cubicBezTo>
                  <a:cubicBezTo>
                    <a:pt x="1501" y="6418"/>
                    <a:pt x="1453" y="6406"/>
                    <a:pt x="1418" y="6406"/>
                  </a:cubicBezTo>
                  <a:lnTo>
                    <a:pt x="430" y="6406"/>
                  </a:lnTo>
                  <a:lnTo>
                    <a:pt x="763" y="5596"/>
                  </a:lnTo>
                  <a:cubicBezTo>
                    <a:pt x="775" y="5549"/>
                    <a:pt x="775" y="5489"/>
                    <a:pt x="763" y="5453"/>
                  </a:cubicBezTo>
                  <a:cubicBezTo>
                    <a:pt x="489" y="4953"/>
                    <a:pt x="358" y="4394"/>
                    <a:pt x="358" y="3822"/>
                  </a:cubicBezTo>
                  <a:cubicBezTo>
                    <a:pt x="358" y="1905"/>
                    <a:pt x="1918" y="346"/>
                    <a:pt x="3835" y="346"/>
                  </a:cubicBezTo>
                  <a:cubicBezTo>
                    <a:pt x="4787" y="346"/>
                    <a:pt x="5656" y="727"/>
                    <a:pt x="6276" y="1346"/>
                  </a:cubicBezTo>
                  <a:cubicBezTo>
                    <a:pt x="6305" y="1376"/>
                    <a:pt x="6350" y="1390"/>
                    <a:pt x="6395" y="1390"/>
                  </a:cubicBezTo>
                  <a:cubicBezTo>
                    <a:pt x="6439" y="1390"/>
                    <a:pt x="6484" y="1376"/>
                    <a:pt x="6514" y="1346"/>
                  </a:cubicBezTo>
                  <a:cubicBezTo>
                    <a:pt x="6573" y="1262"/>
                    <a:pt x="6573" y="1167"/>
                    <a:pt x="6514" y="1108"/>
                  </a:cubicBezTo>
                  <a:cubicBezTo>
                    <a:pt x="5835" y="417"/>
                    <a:pt x="4882" y="0"/>
                    <a:pt x="38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9" name="Google Shape;13179;p64"/>
            <p:cNvSpPr/>
            <p:nvPr/>
          </p:nvSpPr>
          <p:spPr>
            <a:xfrm>
              <a:off x="4749464" y="3911534"/>
              <a:ext cx="153134" cy="151065"/>
            </a:xfrm>
            <a:custGeom>
              <a:avLst/>
              <a:gdLst/>
              <a:ahLst/>
              <a:cxnLst/>
              <a:rect l="l" t="t" r="r" b="b"/>
              <a:pathLst>
                <a:path w="4811" h="4746" extrusionOk="0">
                  <a:moveTo>
                    <a:pt x="1384" y="0"/>
                  </a:moveTo>
                  <a:cubicBezTo>
                    <a:pt x="1342" y="0"/>
                    <a:pt x="1304" y="18"/>
                    <a:pt x="1274" y="54"/>
                  </a:cubicBezTo>
                  <a:lnTo>
                    <a:pt x="274" y="1054"/>
                  </a:lnTo>
                  <a:cubicBezTo>
                    <a:pt x="36" y="1292"/>
                    <a:pt x="0" y="1661"/>
                    <a:pt x="202" y="1935"/>
                  </a:cubicBezTo>
                  <a:cubicBezTo>
                    <a:pt x="619" y="2495"/>
                    <a:pt x="1072" y="3031"/>
                    <a:pt x="1572" y="3531"/>
                  </a:cubicBezTo>
                  <a:cubicBezTo>
                    <a:pt x="1601" y="3560"/>
                    <a:pt x="1646" y="3575"/>
                    <a:pt x="1691" y="3575"/>
                  </a:cubicBezTo>
                  <a:cubicBezTo>
                    <a:pt x="1735" y="3575"/>
                    <a:pt x="1780" y="3560"/>
                    <a:pt x="1810" y="3531"/>
                  </a:cubicBezTo>
                  <a:cubicBezTo>
                    <a:pt x="1881" y="3447"/>
                    <a:pt x="1869" y="3352"/>
                    <a:pt x="1810" y="3293"/>
                  </a:cubicBezTo>
                  <a:cubicBezTo>
                    <a:pt x="1310" y="2816"/>
                    <a:pt x="869" y="2304"/>
                    <a:pt x="464" y="1745"/>
                  </a:cubicBezTo>
                  <a:cubicBezTo>
                    <a:pt x="381" y="1602"/>
                    <a:pt x="393" y="1423"/>
                    <a:pt x="500" y="1304"/>
                  </a:cubicBezTo>
                  <a:lnTo>
                    <a:pt x="1369" y="435"/>
                  </a:lnTo>
                  <a:lnTo>
                    <a:pt x="2107" y="1161"/>
                  </a:lnTo>
                  <a:lnTo>
                    <a:pt x="1750" y="1518"/>
                  </a:lnTo>
                  <a:cubicBezTo>
                    <a:pt x="1703" y="1566"/>
                    <a:pt x="1691" y="1638"/>
                    <a:pt x="1703" y="1697"/>
                  </a:cubicBezTo>
                  <a:cubicBezTo>
                    <a:pt x="1941" y="2400"/>
                    <a:pt x="2405" y="2876"/>
                    <a:pt x="3096" y="3090"/>
                  </a:cubicBezTo>
                  <a:cubicBezTo>
                    <a:pt x="3112" y="3097"/>
                    <a:pt x="3131" y="3100"/>
                    <a:pt x="3150" y="3100"/>
                  </a:cubicBezTo>
                  <a:cubicBezTo>
                    <a:pt x="3198" y="3100"/>
                    <a:pt x="3248" y="3080"/>
                    <a:pt x="3274" y="3054"/>
                  </a:cubicBezTo>
                  <a:lnTo>
                    <a:pt x="3631" y="2697"/>
                  </a:lnTo>
                  <a:lnTo>
                    <a:pt x="4370" y="3423"/>
                  </a:lnTo>
                  <a:lnTo>
                    <a:pt x="3489" y="4305"/>
                  </a:lnTo>
                  <a:cubicBezTo>
                    <a:pt x="3424" y="4369"/>
                    <a:pt x="3343" y="4402"/>
                    <a:pt x="3261" y="4402"/>
                  </a:cubicBezTo>
                  <a:cubicBezTo>
                    <a:pt x="3191" y="4402"/>
                    <a:pt x="3120" y="4378"/>
                    <a:pt x="3060" y="4328"/>
                  </a:cubicBezTo>
                  <a:cubicBezTo>
                    <a:pt x="2834" y="4162"/>
                    <a:pt x="2607" y="4007"/>
                    <a:pt x="2405" y="3828"/>
                  </a:cubicBezTo>
                  <a:cubicBezTo>
                    <a:pt x="2368" y="3801"/>
                    <a:pt x="2330" y="3789"/>
                    <a:pt x="2295" y="3789"/>
                  </a:cubicBezTo>
                  <a:cubicBezTo>
                    <a:pt x="2251" y="3789"/>
                    <a:pt x="2212" y="3807"/>
                    <a:pt x="2179" y="3840"/>
                  </a:cubicBezTo>
                  <a:cubicBezTo>
                    <a:pt x="2107" y="3912"/>
                    <a:pt x="2119" y="4031"/>
                    <a:pt x="2191" y="4090"/>
                  </a:cubicBezTo>
                  <a:cubicBezTo>
                    <a:pt x="2417" y="4269"/>
                    <a:pt x="2643" y="4447"/>
                    <a:pt x="2858" y="4614"/>
                  </a:cubicBezTo>
                  <a:cubicBezTo>
                    <a:pt x="2977" y="4697"/>
                    <a:pt x="3119" y="4745"/>
                    <a:pt x="3250" y="4745"/>
                  </a:cubicBezTo>
                  <a:cubicBezTo>
                    <a:pt x="3429" y="4745"/>
                    <a:pt x="3596" y="4674"/>
                    <a:pt x="3727" y="4555"/>
                  </a:cubicBezTo>
                  <a:lnTo>
                    <a:pt x="4727" y="3554"/>
                  </a:lnTo>
                  <a:cubicBezTo>
                    <a:pt x="4798" y="3495"/>
                    <a:pt x="4810" y="3423"/>
                    <a:pt x="4786" y="3352"/>
                  </a:cubicBezTo>
                  <a:cubicBezTo>
                    <a:pt x="4763" y="3328"/>
                    <a:pt x="4751" y="3304"/>
                    <a:pt x="4739" y="3293"/>
                  </a:cubicBezTo>
                  <a:lnTo>
                    <a:pt x="3774" y="2316"/>
                  </a:lnTo>
                  <a:cubicBezTo>
                    <a:pt x="3733" y="2280"/>
                    <a:pt x="3688" y="2263"/>
                    <a:pt x="3646" y="2263"/>
                  </a:cubicBezTo>
                  <a:cubicBezTo>
                    <a:pt x="3605" y="2263"/>
                    <a:pt x="3566" y="2280"/>
                    <a:pt x="3536" y="2316"/>
                  </a:cubicBezTo>
                  <a:lnTo>
                    <a:pt x="3131" y="2721"/>
                  </a:lnTo>
                  <a:cubicBezTo>
                    <a:pt x="2619" y="2531"/>
                    <a:pt x="2286" y="2185"/>
                    <a:pt x="2072" y="1661"/>
                  </a:cubicBezTo>
                  <a:lnTo>
                    <a:pt x="2477" y="1268"/>
                  </a:lnTo>
                  <a:cubicBezTo>
                    <a:pt x="2548" y="1185"/>
                    <a:pt x="2548" y="1090"/>
                    <a:pt x="2477" y="1030"/>
                  </a:cubicBezTo>
                  <a:lnTo>
                    <a:pt x="1512" y="54"/>
                  </a:lnTo>
                  <a:cubicBezTo>
                    <a:pt x="1470" y="18"/>
                    <a:pt x="1426" y="0"/>
                    <a:pt x="13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80" name="Google Shape;13180;p64"/>
          <p:cNvGrpSpPr/>
          <p:nvPr/>
        </p:nvGrpSpPr>
        <p:grpSpPr>
          <a:xfrm>
            <a:off x="5297920" y="3817152"/>
            <a:ext cx="345642" cy="345674"/>
            <a:chOff x="5549861" y="3817349"/>
            <a:chExt cx="345642" cy="345674"/>
          </a:xfrm>
        </p:grpSpPr>
        <p:sp>
          <p:nvSpPr>
            <p:cNvPr id="13181" name="Google Shape;13181;p64"/>
            <p:cNvSpPr/>
            <p:nvPr/>
          </p:nvSpPr>
          <p:spPr>
            <a:xfrm>
              <a:off x="5549861" y="3817349"/>
              <a:ext cx="345642" cy="345674"/>
            </a:xfrm>
            <a:custGeom>
              <a:avLst/>
              <a:gdLst/>
              <a:ahLst/>
              <a:cxnLst/>
              <a:rect l="l" t="t" r="r" b="b"/>
              <a:pathLst>
                <a:path w="10859" h="10860" extrusionOk="0">
                  <a:moveTo>
                    <a:pt x="5429" y="334"/>
                  </a:moveTo>
                  <a:cubicBezTo>
                    <a:pt x="8239" y="334"/>
                    <a:pt x="10513" y="2608"/>
                    <a:pt x="10513" y="5430"/>
                  </a:cubicBezTo>
                  <a:cubicBezTo>
                    <a:pt x="10513" y="8240"/>
                    <a:pt x="8227" y="10514"/>
                    <a:pt x="5429" y="10514"/>
                  </a:cubicBezTo>
                  <a:cubicBezTo>
                    <a:pt x="2619" y="10514"/>
                    <a:pt x="333" y="8240"/>
                    <a:pt x="333" y="5430"/>
                  </a:cubicBezTo>
                  <a:cubicBezTo>
                    <a:pt x="333" y="2608"/>
                    <a:pt x="2619" y="334"/>
                    <a:pt x="5429" y="334"/>
                  </a:cubicBezTo>
                  <a:close/>
                  <a:moveTo>
                    <a:pt x="5429" y="1"/>
                  </a:moveTo>
                  <a:cubicBezTo>
                    <a:pt x="3989" y="1"/>
                    <a:pt x="2619" y="560"/>
                    <a:pt x="1584" y="1584"/>
                  </a:cubicBezTo>
                  <a:cubicBezTo>
                    <a:pt x="560" y="2620"/>
                    <a:pt x="0" y="3989"/>
                    <a:pt x="0" y="5430"/>
                  </a:cubicBezTo>
                  <a:cubicBezTo>
                    <a:pt x="0" y="6871"/>
                    <a:pt x="560" y="8240"/>
                    <a:pt x="1584" y="9264"/>
                  </a:cubicBezTo>
                  <a:cubicBezTo>
                    <a:pt x="2619" y="10300"/>
                    <a:pt x="3989" y="10859"/>
                    <a:pt x="5429" y="10859"/>
                  </a:cubicBezTo>
                  <a:cubicBezTo>
                    <a:pt x="6870" y="10859"/>
                    <a:pt x="8239" y="10300"/>
                    <a:pt x="9263" y="9264"/>
                  </a:cubicBezTo>
                  <a:cubicBezTo>
                    <a:pt x="10299" y="8240"/>
                    <a:pt x="10859" y="6871"/>
                    <a:pt x="10859" y="5430"/>
                  </a:cubicBezTo>
                  <a:cubicBezTo>
                    <a:pt x="10859" y="3989"/>
                    <a:pt x="10299" y="2620"/>
                    <a:pt x="9263" y="1584"/>
                  </a:cubicBezTo>
                  <a:cubicBezTo>
                    <a:pt x="8239" y="560"/>
                    <a:pt x="6870" y="1"/>
                    <a:pt x="5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2" name="Google Shape;13182;p64"/>
            <p:cNvSpPr/>
            <p:nvPr/>
          </p:nvSpPr>
          <p:spPr>
            <a:xfrm>
              <a:off x="5590763" y="3890208"/>
              <a:ext cx="262661" cy="200052"/>
            </a:xfrm>
            <a:custGeom>
              <a:avLst/>
              <a:gdLst/>
              <a:ahLst/>
              <a:cxnLst/>
              <a:rect l="l" t="t" r="r" b="b"/>
              <a:pathLst>
                <a:path w="8252" h="6285" extrusionOk="0">
                  <a:moveTo>
                    <a:pt x="4123" y="1"/>
                  </a:moveTo>
                  <a:cubicBezTo>
                    <a:pt x="3010" y="1"/>
                    <a:pt x="1900" y="63"/>
                    <a:pt x="799" y="188"/>
                  </a:cubicBezTo>
                  <a:cubicBezTo>
                    <a:pt x="513" y="224"/>
                    <a:pt x="287" y="450"/>
                    <a:pt x="239" y="712"/>
                  </a:cubicBezTo>
                  <a:cubicBezTo>
                    <a:pt x="1" y="2319"/>
                    <a:pt x="1" y="3963"/>
                    <a:pt x="239" y="5570"/>
                  </a:cubicBezTo>
                  <a:cubicBezTo>
                    <a:pt x="287" y="5844"/>
                    <a:pt x="513" y="6058"/>
                    <a:pt x="799" y="6082"/>
                  </a:cubicBezTo>
                  <a:cubicBezTo>
                    <a:pt x="1894" y="6201"/>
                    <a:pt x="3013" y="6284"/>
                    <a:pt x="4132" y="6284"/>
                  </a:cubicBezTo>
                  <a:cubicBezTo>
                    <a:pt x="4609" y="6284"/>
                    <a:pt x="5085" y="6260"/>
                    <a:pt x="5561" y="6249"/>
                  </a:cubicBezTo>
                  <a:cubicBezTo>
                    <a:pt x="5644" y="6249"/>
                    <a:pt x="5716" y="6177"/>
                    <a:pt x="5716" y="6070"/>
                  </a:cubicBezTo>
                  <a:cubicBezTo>
                    <a:pt x="5716" y="5963"/>
                    <a:pt x="5633" y="5891"/>
                    <a:pt x="5537" y="5891"/>
                  </a:cubicBezTo>
                  <a:cubicBezTo>
                    <a:pt x="5051" y="5914"/>
                    <a:pt x="4564" y="5925"/>
                    <a:pt x="4076" y="5925"/>
                  </a:cubicBezTo>
                  <a:cubicBezTo>
                    <a:pt x="2998" y="5925"/>
                    <a:pt x="1916" y="5868"/>
                    <a:pt x="834" y="5737"/>
                  </a:cubicBezTo>
                  <a:cubicBezTo>
                    <a:pt x="715" y="5725"/>
                    <a:pt x="620" y="5641"/>
                    <a:pt x="596" y="5498"/>
                  </a:cubicBezTo>
                  <a:cubicBezTo>
                    <a:pt x="382" y="3927"/>
                    <a:pt x="382" y="2319"/>
                    <a:pt x="596" y="736"/>
                  </a:cubicBezTo>
                  <a:cubicBezTo>
                    <a:pt x="620" y="617"/>
                    <a:pt x="715" y="522"/>
                    <a:pt x="834" y="498"/>
                  </a:cubicBezTo>
                  <a:cubicBezTo>
                    <a:pt x="1942" y="379"/>
                    <a:pt x="3037" y="319"/>
                    <a:pt x="4144" y="319"/>
                  </a:cubicBezTo>
                  <a:cubicBezTo>
                    <a:pt x="5240" y="319"/>
                    <a:pt x="6347" y="379"/>
                    <a:pt x="7442" y="498"/>
                  </a:cubicBezTo>
                  <a:cubicBezTo>
                    <a:pt x="7561" y="522"/>
                    <a:pt x="7669" y="605"/>
                    <a:pt x="7680" y="736"/>
                  </a:cubicBezTo>
                  <a:cubicBezTo>
                    <a:pt x="7907" y="2319"/>
                    <a:pt x="7907" y="3927"/>
                    <a:pt x="7680" y="5498"/>
                  </a:cubicBezTo>
                  <a:cubicBezTo>
                    <a:pt x="7669" y="5617"/>
                    <a:pt x="7561" y="5725"/>
                    <a:pt x="7442" y="5737"/>
                  </a:cubicBezTo>
                  <a:cubicBezTo>
                    <a:pt x="7085" y="5784"/>
                    <a:pt x="6752" y="5820"/>
                    <a:pt x="6395" y="5844"/>
                  </a:cubicBezTo>
                  <a:cubicBezTo>
                    <a:pt x="6299" y="5844"/>
                    <a:pt x="6228" y="5927"/>
                    <a:pt x="6228" y="6010"/>
                  </a:cubicBezTo>
                  <a:cubicBezTo>
                    <a:pt x="6228" y="6110"/>
                    <a:pt x="6299" y="6178"/>
                    <a:pt x="6386" y="6178"/>
                  </a:cubicBezTo>
                  <a:cubicBezTo>
                    <a:pt x="6393" y="6178"/>
                    <a:pt x="6399" y="6178"/>
                    <a:pt x="6406" y="6177"/>
                  </a:cubicBezTo>
                  <a:cubicBezTo>
                    <a:pt x="6764" y="6141"/>
                    <a:pt x="7121" y="6118"/>
                    <a:pt x="7478" y="6070"/>
                  </a:cubicBezTo>
                  <a:cubicBezTo>
                    <a:pt x="7764" y="6034"/>
                    <a:pt x="7978" y="5820"/>
                    <a:pt x="8026" y="5546"/>
                  </a:cubicBezTo>
                  <a:cubicBezTo>
                    <a:pt x="8252" y="3963"/>
                    <a:pt x="8252" y="2319"/>
                    <a:pt x="8014" y="712"/>
                  </a:cubicBezTo>
                  <a:cubicBezTo>
                    <a:pt x="7966" y="426"/>
                    <a:pt x="7740" y="224"/>
                    <a:pt x="7466" y="188"/>
                  </a:cubicBezTo>
                  <a:cubicBezTo>
                    <a:pt x="6353" y="63"/>
                    <a:pt x="5237" y="1"/>
                    <a:pt x="41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3" name="Google Shape;13183;p64"/>
            <p:cNvSpPr/>
            <p:nvPr/>
          </p:nvSpPr>
          <p:spPr>
            <a:xfrm>
              <a:off x="5680587" y="3935024"/>
              <a:ext cx="105389" cy="110514"/>
            </a:xfrm>
            <a:custGeom>
              <a:avLst/>
              <a:gdLst/>
              <a:ahLst/>
              <a:cxnLst/>
              <a:rect l="l" t="t" r="r" b="b"/>
              <a:pathLst>
                <a:path w="3311" h="3472" extrusionOk="0">
                  <a:moveTo>
                    <a:pt x="334" y="447"/>
                  </a:moveTo>
                  <a:lnTo>
                    <a:pt x="2763" y="1733"/>
                  </a:lnTo>
                  <a:lnTo>
                    <a:pt x="334" y="3007"/>
                  </a:lnTo>
                  <a:lnTo>
                    <a:pt x="334" y="447"/>
                  </a:lnTo>
                  <a:close/>
                  <a:moveTo>
                    <a:pt x="163" y="1"/>
                  </a:moveTo>
                  <a:cubicBezTo>
                    <a:pt x="135" y="1"/>
                    <a:pt x="108" y="7"/>
                    <a:pt x="84" y="18"/>
                  </a:cubicBezTo>
                  <a:cubicBezTo>
                    <a:pt x="36" y="54"/>
                    <a:pt x="1" y="114"/>
                    <a:pt x="1" y="173"/>
                  </a:cubicBezTo>
                  <a:lnTo>
                    <a:pt x="1" y="3293"/>
                  </a:lnTo>
                  <a:cubicBezTo>
                    <a:pt x="1" y="3352"/>
                    <a:pt x="24" y="3412"/>
                    <a:pt x="84" y="3447"/>
                  </a:cubicBezTo>
                  <a:cubicBezTo>
                    <a:pt x="120" y="3459"/>
                    <a:pt x="144" y="3471"/>
                    <a:pt x="179" y="3471"/>
                  </a:cubicBezTo>
                  <a:cubicBezTo>
                    <a:pt x="203" y="3471"/>
                    <a:pt x="239" y="3471"/>
                    <a:pt x="251" y="3459"/>
                  </a:cubicBezTo>
                  <a:lnTo>
                    <a:pt x="3227" y="1900"/>
                  </a:lnTo>
                  <a:cubicBezTo>
                    <a:pt x="3287" y="1864"/>
                    <a:pt x="3311" y="1804"/>
                    <a:pt x="3311" y="1745"/>
                  </a:cubicBezTo>
                  <a:cubicBezTo>
                    <a:pt x="3311" y="1673"/>
                    <a:pt x="3287" y="1614"/>
                    <a:pt x="3227" y="1578"/>
                  </a:cubicBezTo>
                  <a:lnTo>
                    <a:pt x="251" y="18"/>
                  </a:lnTo>
                  <a:cubicBezTo>
                    <a:pt x="221" y="7"/>
                    <a:pt x="191" y="1"/>
                    <a:pt x="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84" name="Google Shape;13184;p64"/>
          <p:cNvGrpSpPr/>
          <p:nvPr/>
        </p:nvGrpSpPr>
        <p:grpSpPr>
          <a:xfrm>
            <a:off x="1306445" y="3397829"/>
            <a:ext cx="367255" cy="269855"/>
            <a:chOff x="1306445" y="3397829"/>
            <a:chExt cx="367255" cy="269855"/>
          </a:xfrm>
        </p:grpSpPr>
        <p:sp>
          <p:nvSpPr>
            <p:cNvPr id="13185" name="Google Shape;13185;p64"/>
            <p:cNvSpPr/>
            <p:nvPr/>
          </p:nvSpPr>
          <p:spPr>
            <a:xfrm>
              <a:off x="1588395" y="3513054"/>
              <a:ext cx="45517" cy="16297"/>
            </a:xfrm>
            <a:custGeom>
              <a:avLst/>
              <a:gdLst/>
              <a:ahLst/>
              <a:cxnLst/>
              <a:rect l="l" t="t" r="r" b="b"/>
              <a:pathLst>
                <a:path w="1430" h="512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cubicBezTo>
                    <a:pt x="358" y="333"/>
                    <a:pt x="906" y="357"/>
                    <a:pt x="1180" y="488"/>
                  </a:cubicBezTo>
                  <a:cubicBezTo>
                    <a:pt x="1204" y="512"/>
                    <a:pt x="1227" y="512"/>
                    <a:pt x="1251" y="512"/>
                  </a:cubicBezTo>
                  <a:cubicBezTo>
                    <a:pt x="1311" y="512"/>
                    <a:pt x="1370" y="476"/>
                    <a:pt x="1406" y="417"/>
                  </a:cubicBezTo>
                  <a:cubicBezTo>
                    <a:pt x="1430" y="333"/>
                    <a:pt x="1406" y="226"/>
                    <a:pt x="1323" y="191"/>
                  </a:cubicBezTo>
                  <a:cubicBezTo>
                    <a:pt x="942" y="0"/>
                    <a:pt x="19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6" name="Google Shape;13186;p64"/>
            <p:cNvSpPr/>
            <p:nvPr/>
          </p:nvSpPr>
          <p:spPr>
            <a:xfrm>
              <a:off x="1306445" y="3397829"/>
              <a:ext cx="367255" cy="269091"/>
            </a:xfrm>
            <a:custGeom>
              <a:avLst/>
              <a:gdLst/>
              <a:ahLst/>
              <a:cxnLst/>
              <a:rect l="l" t="t" r="r" b="b"/>
              <a:pathLst>
                <a:path w="11538" h="8454" extrusionOk="0">
                  <a:moveTo>
                    <a:pt x="7573" y="334"/>
                  </a:moveTo>
                  <a:lnTo>
                    <a:pt x="7573" y="1965"/>
                  </a:lnTo>
                  <a:cubicBezTo>
                    <a:pt x="7573" y="2227"/>
                    <a:pt x="7525" y="2465"/>
                    <a:pt x="7418" y="2679"/>
                  </a:cubicBezTo>
                  <a:cubicBezTo>
                    <a:pt x="7395" y="2715"/>
                    <a:pt x="7395" y="2727"/>
                    <a:pt x="7395" y="2763"/>
                  </a:cubicBezTo>
                  <a:lnTo>
                    <a:pt x="7395" y="3239"/>
                  </a:lnTo>
                  <a:cubicBezTo>
                    <a:pt x="7395" y="3691"/>
                    <a:pt x="7216" y="4108"/>
                    <a:pt x="6883" y="4442"/>
                  </a:cubicBezTo>
                  <a:cubicBezTo>
                    <a:pt x="6835" y="4489"/>
                    <a:pt x="6787" y="4513"/>
                    <a:pt x="6740" y="4549"/>
                  </a:cubicBezTo>
                  <a:cubicBezTo>
                    <a:pt x="6466" y="4759"/>
                    <a:pt x="6137" y="4876"/>
                    <a:pt x="5785" y="4876"/>
                  </a:cubicBezTo>
                  <a:cubicBezTo>
                    <a:pt x="5739" y="4876"/>
                    <a:pt x="5692" y="4874"/>
                    <a:pt x="5644" y="4870"/>
                  </a:cubicBezTo>
                  <a:cubicBezTo>
                    <a:pt x="4787" y="4823"/>
                    <a:pt x="4108" y="4072"/>
                    <a:pt x="4108" y="3180"/>
                  </a:cubicBezTo>
                  <a:lnTo>
                    <a:pt x="4108" y="2763"/>
                  </a:lnTo>
                  <a:cubicBezTo>
                    <a:pt x="4108" y="2727"/>
                    <a:pt x="4108" y="2715"/>
                    <a:pt x="4096" y="2679"/>
                  </a:cubicBezTo>
                  <a:cubicBezTo>
                    <a:pt x="3989" y="2465"/>
                    <a:pt x="3930" y="2227"/>
                    <a:pt x="3930" y="1965"/>
                  </a:cubicBezTo>
                  <a:lnTo>
                    <a:pt x="3930" y="1608"/>
                  </a:lnTo>
                  <a:cubicBezTo>
                    <a:pt x="3930" y="917"/>
                    <a:pt x="4513" y="334"/>
                    <a:pt x="5216" y="334"/>
                  </a:cubicBezTo>
                  <a:close/>
                  <a:moveTo>
                    <a:pt x="1763" y="3025"/>
                  </a:moveTo>
                  <a:cubicBezTo>
                    <a:pt x="2049" y="3025"/>
                    <a:pt x="2311" y="3144"/>
                    <a:pt x="2525" y="3358"/>
                  </a:cubicBezTo>
                  <a:cubicBezTo>
                    <a:pt x="2715" y="3561"/>
                    <a:pt x="2846" y="3846"/>
                    <a:pt x="2858" y="4144"/>
                  </a:cubicBezTo>
                  <a:cubicBezTo>
                    <a:pt x="2858" y="4227"/>
                    <a:pt x="2882" y="4346"/>
                    <a:pt x="2882" y="4465"/>
                  </a:cubicBezTo>
                  <a:lnTo>
                    <a:pt x="2882" y="4501"/>
                  </a:lnTo>
                  <a:cubicBezTo>
                    <a:pt x="2703" y="4215"/>
                    <a:pt x="2406" y="4013"/>
                    <a:pt x="2049" y="3894"/>
                  </a:cubicBezTo>
                  <a:cubicBezTo>
                    <a:pt x="1703" y="3787"/>
                    <a:pt x="1406" y="3787"/>
                    <a:pt x="1406" y="3787"/>
                  </a:cubicBezTo>
                  <a:cubicBezTo>
                    <a:pt x="1358" y="3787"/>
                    <a:pt x="1310" y="3799"/>
                    <a:pt x="1287" y="3834"/>
                  </a:cubicBezTo>
                  <a:lnTo>
                    <a:pt x="977" y="4144"/>
                  </a:lnTo>
                  <a:cubicBezTo>
                    <a:pt x="918" y="4215"/>
                    <a:pt x="918" y="4323"/>
                    <a:pt x="977" y="4382"/>
                  </a:cubicBezTo>
                  <a:cubicBezTo>
                    <a:pt x="1013" y="4412"/>
                    <a:pt x="1057" y="4427"/>
                    <a:pt x="1101" y="4427"/>
                  </a:cubicBezTo>
                  <a:cubicBezTo>
                    <a:pt x="1144" y="4427"/>
                    <a:pt x="1185" y="4412"/>
                    <a:pt x="1215" y="4382"/>
                  </a:cubicBezTo>
                  <a:lnTo>
                    <a:pt x="1465" y="4108"/>
                  </a:lnTo>
                  <a:cubicBezTo>
                    <a:pt x="1691" y="4132"/>
                    <a:pt x="2382" y="4203"/>
                    <a:pt x="2668" y="4811"/>
                  </a:cubicBezTo>
                  <a:cubicBezTo>
                    <a:pt x="2596" y="5275"/>
                    <a:pt x="2215" y="5596"/>
                    <a:pt x="1763" y="5596"/>
                  </a:cubicBezTo>
                  <a:cubicBezTo>
                    <a:pt x="1251" y="5596"/>
                    <a:pt x="834" y="5180"/>
                    <a:pt x="834" y="4680"/>
                  </a:cubicBezTo>
                  <a:cubicBezTo>
                    <a:pt x="834" y="4584"/>
                    <a:pt x="763" y="4513"/>
                    <a:pt x="679" y="4513"/>
                  </a:cubicBezTo>
                  <a:lnTo>
                    <a:pt x="644" y="4513"/>
                  </a:lnTo>
                  <a:lnTo>
                    <a:pt x="644" y="4465"/>
                  </a:lnTo>
                  <a:cubicBezTo>
                    <a:pt x="644" y="4346"/>
                    <a:pt x="644" y="4251"/>
                    <a:pt x="656" y="4144"/>
                  </a:cubicBezTo>
                  <a:cubicBezTo>
                    <a:pt x="679" y="3846"/>
                    <a:pt x="810" y="3561"/>
                    <a:pt x="1001" y="3358"/>
                  </a:cubicBezTo>
                  <a:cubicBezTo>
                    <a:pt x="1215" y="3144"/>
                    <a:pt x="1477" y="3025"/>
                    <a:pt x="1763" y="3025"/>
                  </a:cubicBezTo>
                  <a:close/>
                  <a:moveTo>
                    <a:pt x="10657" y="3025"/>
                  </a:moveTo>
                  <a:lnTo>
                    <a:pt x="10657" y="3727"/>
                  </a:lnTo>
                  <a:cubicBezTo>
                    <a:pt x="10657" y="3846"/>
                    <a:pt x="10633" y="3953"/>
                    <a:pt x="10585" y="4049"/>
                  </a:cubicBezTo>
                  <a:lnTo>
                    <a:pt x="10502" y="4251"/>
                  </a:lnTo>
                  <a:cubicBezTo>
                    <a:pt x="10478" y="4275"/>
                    <a:pt x="10478" y="4287"/>
                    <a:pt x="10478" y="4323"/>
                  </a:cubicBezTo>
                  <a:lnTo>
                    <a:pt x="10478" y="4680"/>
                  </a:lnTo>
                  <a:cubicBezTo>
                    <a:pt x="10478" y="4930"/>
                    <a:pt x="10383" y="5168"/>
                    <a:pt x="10204" y="5346"/>
                  </a:cubicBezTo>
                  <a:cubicBezTo>
                    <a:pt x="10044" y="5507"/>
                    <a:pt x="9835" y="5600"/>
                    <a:pt x="9605" y="5600"/>
                  </a:cubicBezTo>
                  <a:cubicBezTo>
                    <a:pt x="9579" y="5600"/>
                    <a:pt x="9552" y="5599"/>
                    <a:pt x="9526" y="5596"/>
                  </a:cubicBezTo>
                  <a:cubicBezTo>
                    <a:pt x="9038" y="5585"/>
                    <a:pt x="8633" y="5156"/>
                    <a:pt x="8633" y="4632"/>
                  </a:cubicBezTo>
                  <a:lnTo>
                    <a:pt x="8633" y="4323"/>
                  </a:lnTo>
                  <a:cubicBezTo>
                    <a:pt x="8633" y="4287"/>
                    <a:pt x="8633" y="4263"/>
                    <a:pt x="8621" y="4251"/>
                  </a:cubicBezTo>
                  <a:lnTo>
                    <a:pt x="8514" y="4037"/>
                  </a:lnTo>
                  <a:cubicBezTo>
                    <a:pt x="8466" y="3965"/>
                    <a:pt x="8454" y="3870"/>
                    <a:pt x="8454" y="3787"/>
                  </a:cubicBezTo>
                  <a:lnTo>
                    <a:pt x="8454" y="3775"/>
                  </a:lnTo>
                  <a:cubicBezTo>
                    <a:pt x="8454" y="3370"/>
                    <a:pt x="8788" y="3025"/>
                    <a:pt x="9204" y="3025"/>
                  </a:cubicBezTo>
                  <a:close/>
                  <a:moveTo>
                    <a:pt x="584" y="5180"/>
                  </a:moveTo>
                  <a:cubicBezTo>
                    <a:pt x="679" y="5406"/>
                    <a:pt x="834" y="5596"/>
                    <a:pt x="1037" y="5739"/>
                  </a:cubicBezTo>
                  <a:lnTo>
                    <a:pt x="1037" y="5925"/>
                  </a:lnTo>
                  <a:lnTo>
                    <a:pt x="1037" y="5925"/>
                  </a:lnTo>
                  <a:cubicBezTo>
                    <a:pt x="723" y="5807"/>
                    <a:pt x="571" y="5655"/>
                    <a:pt x="501" y="5585"/>
                  </a:cubicBezTo>
                  <a:cubicBezTo>
                    <a:pt x="537" y="5466"/>
                    <a:pt x="572" y="5335"/>
                    <a:pt x="584" y="5180"/>
                  </a:cubicBezTo>
                  <a:close/>
                  <a:moveTo>
                    <a:pt x="2918" y="5168"/>
                  </a:moveTo>
                  <a:cubicBezTo>
                    <a:pt x="2942" y="5323"/>
                    <a:pt x="2965" y="5454"/>
                    <a:pt x="3013" y="5573"/>
                  </a:cubicBezTo>
                  <a:cubicBezTo>
                    <a:pt x="2953" y="5656"/>
                    <a:pt x="2787" y="5811"/>
                    <a:pt x="2477" y="5930"/>
                  </a:cubicBezTo>
                  <a:lnTo>
                    <a:pt x="2477" y="5716"/>
                  </a:lnTo>
                  <a:cubicBezTo>
                    <a:pt x="2668" y="5585"/>
                    <a:pt x="2834" y="5394"/>
                    <a:pt x="2918" y="5168"/>
                  </a:cubicBezTo>
                  <a:close/>
                  <a:moveTo>
                    <a:pt x="6668" y="4989"/>
                  </a:moveTo>
                  <a:lnTo>
                    <a:pt x="6668" y="5299"/>
                  </a:lnTo>
                  <a:lnTo>
                    <a:pt x="5751" y="5930"/>
                  </a:lnTo>
                  <a:lnTo>
                    <a:pt x="4823" y="5299"/>
                  </a:lnTo>
                  <a:lnTo>
                    <a:pt x="4823" y="4989"/>
                  </a:lnTo>
                  <a:cubicBezTo>
                    <a:pt x="5061" y="5120"/>
                    <a:pt x="5335" y="5204"/>
                    <a:pt x="5620" y="5215"/>
                  </a:cubicBezTo>
                  <a:lnTo>
                    <a:pt x="5751" y="5215"/>
                  </a:lnTo>
                  <a:cubicBezTo>
                    <a:pt x="6073" y="5215"/>
                    <a:pt x="6394" y="5144"/>
                    <a:pt x="6668" y="4989"/>
                  </a:cubicBezTo>
                  <a:close/>
                  <a:moveTo>
                    <a:pt x="9942" y="5882"/>
                  </a:moveTo>
                  <a:lnTo>
                    <a:pt x="9942" y="5954"/>
                  </a:lnTo>
                  <a:cubicBezTo>
                    <a:pt x="9942" y="5989"/>
                    <a:pt x="9942" y="6025"/>
                    <a:pt x="9966" y="6061"/>
                  </a:cubicBezTo>
                  <a:lnTo>
                    <a:pt x="9561" y="6454"/>
                  </a:lnTo>
                  <a:lnTo>
                    <a:pt x="9169" y="6061"/>
                  </a:lnTo>
                  <a:cubicBezTo>
                    <a:pt x="9169" y="6025"/>
                    <a:pt x="9192" y="6001"/>
                    <a:pt x="9192" y="5954"/>
                  </a:cubicBezTo>
                  <a:lnTo>
                    <a:pt x="9192" y="5882"/>
                  </a:lnTo>
                  <a:cubicBezTo>
                    <a:pt x="9288" y="5918"/>
                    <a:pt x="9407" y="5942"/>
                    <a:pt x="9526" y="5942"/>
                  </a:cubicBezTo>
                  <a:lnTo>
                    <a:pt x="9573" y="5942"/>
                  </a:lnTo>
                  <a:cubicBezTo>
                    <a:pt x="9704" y="5942"/>
                    <a:pt x="9823" y="5930"/>
                    <a:pt x="9942" y="5882"/>
                  </a:cubicBezTo>
                  <a:close/>
                  <a:moveTo>
                    <a:pt x="2120" y="5882"/>
                  </a:moveTo>
                  <a:lnTo>
                    <a:pt x="2120" y="6061"/>
                  </a:lnTo>
                  <a:cubicBezTo>
                    <a:pt x="2120" y="6120"/>
                    <a:pt x="2132" y="6180"/>
                    <a:pt x="2168" y="6228"/>
                  </a:cubicBezTo>
                  <a:lnTo>
                    <a:pt x="2013" y="6394"/>
                  </a:lnTo>
                  <a:cubicBezTo>
                    <a:pt x="1941" y="6460"/>
                    <a:pt x="1849" y="6492"/>
                    <a:pt x="1755" y="6492"/>
                  </a:cubicBezTo>
                  <a:cubicBezTo>
                    <a:pt x="1662" y="6492"/>
                    <a:pt x="1566" y="6460"/>
                    <a:pt x="1489" y="6394"/>
                  </a:cubicBezTo>
                  <a:lnTo>
                    <a:pt x="1322" y="6239"/>
                  </a:lnTo>
                  <a:cubicBezTo>
                    <a:pt x="1358" y="6192"/>
                    <a:pt x="1370" y="6132"/>
                    <a:pt x="1370" y="6073"/>
                  </a:cubicBezTo>
                  <a:lnTo>
                    <a:pt x="1370" y="5882"/>
                  </a:lnTo>
                  <a:cubicBezTo>
                    <a:pt x="1489" y="5918"/>
                    <a:pt x="1608" y="5942"/>
                    <a:pt x="1751" y="5942"/>
                  </a:cubicBezTo>
                  <a:cubicBezTo>
                    <a:pt x="1882" y="5942"/>
                    <a:pt x="2001" y="5930"/>
                    <a:pt x="2120" y="5882"/>
                  </a:cubicBezTo>
                  <a:close/>
                  <a:moveTo>
                    <a:pt x="4692" y="5620"/>
                  </a:moveTo>
                  <a:lnTo>
                    <a:pt x="5490" y="6168"/>
                  </a:lnTo>
                  <a:lnTo>
                    <a:pt x="5061" y="6585"/>
                  </a:lnTo>
                  <a:lnTo>
                    <a:pt x="5049" y="6585"/>
                  </a:lnTo>
                  <a:lnTo>
                    <a:pt x="4525" y="5799"/>
                  </a:lnTo>
                  <a:lnTo>
                    <a:pt x="4692" y="5620"/>
                  </a:lnTo>
                  <a:close/>
                  <a:moveTo>
                    <a:pt x="6823" y="5596"/>
                  </a:moveTo>
                  <a:lnTo>
                    <a:pt x="6978" y="5775"/>
                  </a:lnTo>
                  <a:lnTo>
                    <a:pt x="6466" y="6585"/>
                  </a:lnTo>
                  <a:lnTo>
                    <a:pt x="6442" y="6585"/>
                  </a:lnTo>
                  <a:lnTo>
                    <a:pt x="6013" y="6156"/>
                  </a:lnTo>
                  <a:lnTo>
                    <a:pt x="6823" y="5596"/>
                  </a:lnTo>
                  <a:close/>
                  <a:moveTo>
                    <a:pt x="5251" y="1"/>
                  </a:moveTo>
                  <a:cubicBezTo>
                    <a:pt x="4358" y="1"/>
                    <a:pt x="3632" y="739"/>
                    <a:pt x="3632" y="1632"/>
                  </a:cubicBezTo>
                  <a:lnTo>
                    <a:pt x="3632" y="1989"/>
                  </a:lnTo>
                  <a:cubicBezTo>
                    <a:pt x="3632" y="2263"/>
                    <a:pt x="3692" y="2548"/>
                    <a:pt x="3811" y="2799"/>
                  </a:cubicBezTo>
                  <a:lnTo>
                    <a:pt x="3811" y="3191"/>
                  </a:lnTo>
                  <a:cubicBezTo>
                    <a:pt x="3811" y="3834"/>
                    <a:pt x="4096" y="4394"/>
                    <a:pt x="4537" y="4763"/>
                  </a:cubicBezTo>
                  <a:lnTo>
                    <a:pt x="4537" y="5335"/>
                  </a:lnTo>
                  <a:lnTo>
                    <a:pt x="4227" y="5656"/>
                  </a:lnTo>
                  <a:cubicBezTo>
                    <a:pt x="4204" y="5692"/>
                    <a:pt x="4180" y="5751"/>
                    <a:pt x="4180" y="5799"/>
                  </a:cubicBezTo>
                  <a:lnTo>
                    <a:pt x="3144" y="6168"/>
                  </a:lnTo>
                  <a:cubicBezTo>
                    <a:pt x="3073" y="6192"/>
                    <a:pt x="2989" y="6228"/>
                    <a:pt x="2930" y="6275"/>
                  </a:cubicBezTo>
                  <a:lnTo>
                    <a:pt x="2775" y="6180"/>
                  </a:lnTo>
                  <a:cubicBezTo>
                    <a:pt x="3263" y="5977"/>
                    <a:pt x="3406" y="5680"/>
                    <a:pt x="3430" y="5656"/>
                  </a:cubicBezTo>
                  <a:cubicBezTo>
                    <a:pt x="3454" y="5620"/>
                    <a:pt x="3454" y="5561"/>
                    <a:pt x="3430" y="5513"/>
                  </a:cubicBezTo>
                  <a:cubicBezTo>
                    <a:pt x="3311" y="5275"/>
                    <a:pt x="3287" y="4811"/>
                    <a:pt x="3275" y="4453"/>
                  </a:cubicBezTo>
                  <a:cubicBezTo>
                    <a:pt x="3275" y="4334"/>
                    <a:pt x="3263" y="4215"/>
                    <a:pt x="3263" y="4132"/>
                  </a:cubicBezTo>
                  <a:cubicBezTo>
                    <a:pt x="3204" y="3310"/>
                    <a:pt x="2596" y="2691"/>
                    <a:pt x="1822" y="2691"/>
                  </a:cubicBezTo>
                  <a:cubicBezTo>
                    <a:pt x="1060" y="2691"/>
                    <a:pt x="429" y="3310"/>
                    <a:pt x="370" y="4132"/>
                  </a:cubicBezTo>
                  <a:cubicBezTo>
                    <a:pt x="370" y="4227"/>
                    <a:pt x="358" y="4334"/>
                    <a:pt x="358" y="4453"/>
                  </a:cubicBezTo>
                  <a:cubicBezTo>
                    <a:pt x="346" y="4811"/>
                    <a:pt x="334" y="5263"/>
                    <a:pt x="215" y="5513"/>
                  </a:cubicBezTo>
                  <a:cubicBezTo>
                    <a:pt x="179" y="5561"/>
                    <a:pt x="179" y="5620"/>
                    <a:pt x="215" y="5656"/>
                  </a:cubicBezTo>
                  <a:cubicBezTo>
                    <a:pt x="215" y="5680"/>
                    <a:pt x="370" y="5977"/>
                    <a:pt x="870" y="6180"/>
                  </a:cubicBezTo>
                  <a:lnTo>
                    <a:pt x="406" y="6406"/>
                  </a:lnTo>
                  <a:cubicBezTo>
                    <a:pt x="167" y="6525"/>
                    <a:pt x="1" y="6775"/>
                    <a:pt x="1" y="7049"/>
                  </a:cubicBezTo>
                  <a:lnTo>
                    <a:pt x="1" y="8299"/>
                  </a:lnTo>
                  <a:cubicBezTo>
                    <a:pt x="1" y="8383"/>
                    <a:pt x="72" y="8454"/>
                    <a:pt x="167" y="8454"/>
                  </a:cubicBezTo>
                  <a:cubicBezTo>
                    <a:pt x="251" y="8454"/>
                    <a:pt x="334" y="8383"/>
                    <a:pt x="334" y="8299"/>
                  </a:cubicBezTo>
                  <a:lnTo>
                    <a:pt x="334" y="7049"/>
                  </a:lnTo>
                  <a:cubicBezTo>
                    <a:pt x="334" y="6894"/>
                    <a:pt x="406" y="6775"/>
                    <a:pt x="537" y="6704"/>
                  </a:cubicBezTo>
                  <a:lnTo>
                    <a:pt x="1108" y="6418"/>
                  </a:lnTo>
                  <a:lnTo>
                    <a:pt x="1299" y="6609"/>
                  </a:lnTo>
                  <a:cubicBezTo>
                    <a:pt x="1429" y="6751"/>
                    <a:pt x="1608" y="6811"/>
                    <a:pt x="1787" y="6811"/>
                  </a:cubicBezTo>
                  <a:cubicBezTo>
                    <a:pt x="1965" y="6811"/>
                    <a:pt x="2144" y="6751"/>
                    <a:pt x="2275" y="6609"/>
                  </a:cubicBezTo>
                  <a:lnTo>
                    <a:pt x="2477" y="6418"/>
                  </a:lnTo>
                  <a:lnTo>
                    <a:pt x="2656" y="6513"/>
                  </a:lnTo>
                  <a:cubicBezTo>
                    <a:pt x="2561" y="6644"/>
                    <a:pt x="2513" y="6811"/>
                    <a:pt x="2513" y="6990"/>
                  </a:cubicBezTo>
                  <a:lnTo>
                    <a:pt x="2513" y="8299"/>
                  </a:lnTo>
                  <a:cubicBezTo>
                    <a:pt x="2513" y="8383"/>
                    <a:pt x="2596" y="8454"/>
                    <a:pt x="2680" y="8454"/>
                  </a:cubicBezTo>
                  <a:cubicBezTo>
                    <a:pt x="2775" y="8454"/>
                    <a:pt x="2846" y="8383"/>
                    <a:pt x="2846" y="8299"/>
                  </a:cubicBezTo>
                  <a:lnTo>
                    <a:pt x="2846" y="6990"/>
                  </a:lnTo>
                  <a:cubicBezTo>
                    <a:pt x="2846" y="6751"/>
                    <a:pt x="2989" y="6537"/>
                    <a:pt x="3215" y="6466"/>
                  </a:cubicBezTo>
                  <a:lnTo>
                    <a:pt x="4323" y="6061"/>
                  </a:lnTo>
                  <a:lnTo>
                    <a:pt x="4775" y="6751"/>
                  </a:lnTo>
                  <a:cubicBezTo>
                    <a:pt x="4835" y="6835"/>
                    <a:pt x="4930" y="6894"/>
                    <a:pt x="5037" y="6894"/>
                  </a:cubicBezTo>
                  <a:lnTo>
                    <a:pt x="5061" y="6894"/>
                  </a:lnTo>
                  <a:cubicBezTo>
                    <a:pt x="5156" y="6894"/>
                    <a:pt x="5239" y="6870"/>
                    <a:pt x="5311" y="6787"/>
                  </a:cubicBezTo>
                  <a:lnTo>
                    <a:pt x="5597" y="6513"/>
                  </a:lnTo>
                  <a:lnTo>
                    <a:pt x="5597" y="8275"/>
                  </a:lnTo>
                  <a:cubicBezTo>
                    <a:pt x="5597" y="8371"/>
                    <a:pt x="5668" y="8442"/>
                    <a:pt x="5763" y="8442"/>
                  </a:cubicBezTo>
                  <a:cubicBezTo>
                    <a:pt x="5847" y="8442"/>
                    <a:pt x="5930" y="8371"/>
                    <a:pt x="5930" y="8275"/>
                  </a:cubicBezTo>
                  <a:lnTo>
                    <a:pt x="5930" y="6513"/>
                  </a:lnTo>
                  <a:lnTo>
                    <a:pt x="6204" y="6787"/>
                  </a:lnTo>
                  <a:cubicBezTo>
                    <a:pt x="6263" y="6847"/>
                    <a:pt x="6359" y="6894"/>
                    <a:pt x="6466" y="6894"/>
                  </a:cubicBezTo>
                  <a:lnTo>
                    <a:pt x="6490" y="6894"/>
                  </a:lnTo>
                  <a:cubicBezTo>
                    <a:pt x="6597" y="6882"/>
                    <a:pt x="6680" y="6835"/>
                    <a:pt x="6740" y="6751"/>
                  </a:cubicBezTo>
                  <a:lnTo>
                    <a:pt x="7204" y="6061"/>
                  </a:lnTo>
                  <a:lnTo>
                    <a:pt x="8311" y="6466"/>
                  </a:lnTo>
                  <a:cubicBezTo>
                    <a:pt x="8526" y="6537"/>
                    <a:pt x="8680" y="6751"/>
                    <a:pt x="8680" y="6990"/>
                  </a:cubicBezTo>
                  <a:lnTo>
                    <a:pt x="8680" y="8299"/>
                  </a:lnTo>
                  <a:cubicBezTo>
                    <a:pt x="8680" y="8383"/>
                    <a:pt x="8752" y="8454"/>
                    <a:pt x="8847" y="8454"/>
                  </a:cubicBezTo>
                  <a:cubicBezTo>
                    <a:pt x="8930" y="8454"/>
                    <a:pt x="9002" y="8383"/>
                    <a:pt x="9002" y="8299"/>
                  </a:cubicBezTo>
                  <a:lnTo>
                    <a:pt x="9002" y="6990"/>
                  </a:lnTo>
                  <a:cubicBezTo>
                    <a:pt x="9002" y="6751"/>
                    <a:pt x="8919" y="6525"/>
                    <a:pt x="8752" y="6358"/>
                  </a:cubicBezTo>
                  <a:lnTo>
                    <a:pt x="8799" y="6347"/>
                  </a:lnTo>
                  <a:cubicBezTo>
                    <a:pt x="8847" y="6335"/>
                    <a:pt x="8907" y="6311"/>
                    <a:pt x="8966" y="6287"/>
                  </a:cubicBezTo>
                  <a:lnTo>
                    <a:pt x="9395" y="6716"/>
                  </a:lnTo>
                  <a:lnTo>
                    <a:pt x="9395" y="8275"/>
                  </a:lnTo>
                  <a:cubicBezTo>
                    <a:pt x="9395" y="8371"/>
                    <a:pt x="9466" y="8442"/>
                    <a:pt x="9561" y="8442"/>
                  </a:cubicBezTo>
                  <a:cubicBezTo>
                    <a:pt x="9645" y="8442"/>
                    <a:pt x="9728" y="8371"/>
                    <a:pt x="9728" y="8275"/>
                  </a:cubicBezTo>
                  <a:lnTo>
                    <a:pt x="9728" y="6716"/>
                  </a:lnTo>
                  <a:lnTo>
                    <a:pt x="10157" y="6287"/>
                  </a:lnTo>
                  <a:cubicBezTo>
                    <a:pt x="10181" y="6299"/>
                    <a:pt x="10204" y="6299"/>
                    <a:pt x="10228" y="6311"/>
                  </a:cubicBezTo>
                  <a:lnTo>
                    <a:pt x="10931" y="6513"/>
                  </a:lnTo>
                  <a:cubicBezTo>
                    <a:pt x="11097" y="6549"/>
                    <a:pt x="11193" y="6704"/>
                    <a:pt x="11193" y="6870"/>
                  </a:cubicBezTo>
                  <a:lnTo>
                    <a:pt x="11193" y="8263"/>
                  </a:lnTo>
                  <a:cubicBezTo>
                    <a:pt x="11193" y="8359"/>
                    <a:pt x="11276" y="8430"/>
                    <a:pt x="11359" y="8430"/>
                  </a:cubicBezTo>
                  <a:cubicBezTo>
                    <a:pt x="11455" y="8430"/>
                    <a:pt x="11526" y="8359"/>
                    <a:pt x="11526" y="8263"/>
                  </a:cubicBezTo>
                  <a:lnTo>
                    <a:pt x="11526" y="6870"/>
                  </a:lnTo>
                  <a:cubicBezTo>
                    <a:pt x="11538" y="6597"/>
                    <a:pt x="11335" y="6311"/>
                    <a:pt x="11014" y="6228"/>
                  </a:cubicBezTo>
                  <a:lnTo>
                    <a:pt x="10323" y="6037"/>
                  </a:lnTo>
                  <a:cubicBezTo>
                    <a:pt x="10288" y="6013"/>
                    <a:pt x="10276" y="6001"/>
                    <a:pt x="10276" y="5954"/>
                  </a:cubicBezTo>
                  <a:lnTo>
                    <a:pt x="10276" y="5716"/>
                  </a:lnTo>
                  <a:cubicBezTo>
                    <a:pt x="10335" y="5680"/>
                    <a:pt x="10383" y="5632"/>
                    <a:pt x="10443" y="5585"/>
                  </a:cubicBezTo>
                  <a:cubicBezTo>
                    <a:pt x="10693" y="5346"/>
                    <a:pt x="10824" y="5025"/>
                    <a:pt x="10824" y="4680"/>
                  </a:cubicBezTo>
                  <a:lnTo>
                    <a:pt x="10824" y="4346"/>
                  </a:lnTo>
                  <a:lnTo>
                    <a:pt x="10895" y="4215"/>
                  </a:lnTo>
                  <a:cubicBezTo>
                    <a:pt x="10978" y="4072"/>
                    <a:pt x="11014" y="3906"/>
                    <a:pt x="11014" y="3739"/>
                  </a:cubicBezTo>
                  <a:lnTo>
                    <a:pt x="11014" y="2858"/>
                  </a:lnTo>
                  <a:cubicBezTo>
                    <a:pt x="11014" y="2775"/>
                    <a:pt x="10943" y="2691"/>
                    <a:pt x="10859" y="2691"/>
                  </a:cubicBezTo>
                  <a:lnTo>
                    <a:pt x="9216" y="2691"/>
                  </a:lnTo>
                  <a:cubicBezTo>
                    <a:pt x="8621" y="2691"/>
                    <a:pt x="8145" y="3180"/>
                    <a:pt x="8145" y="3775"/>
                  </a:cubicBezTo>
                  <a:lnTo>
                    <a:pt x="8145" y="3787"/>
                  </a:lnTo>
                  <a:cubicBezTo>
                    <a:pt x="8145" y="3918"/>
                    <a:pt x="8180" y="4072"/>
                    <a:pt x="8240" y="4192"/>
                  </a:cubicBezTo>
                  <a:lnTo>
                    <a:pt x="8323" y="4370"/>
                  </a:lnTo>
                  <a:lnTo>
                    <a:pt x="8323" y="4644"/>
                  </a:lnTo>
                  <a:cubicBezTo>
                    <a:pt x="8323" y="5096"/>
                    <a:pt x="8549" y="5477"/>
                    <a:pt x="8871" y="5716"/>
                  </a:cubicBezTo>
                  <a:lnTo>
                    <a:pt x="8871" y="5954"/>
                  </a:lnTo>
                  <a:cubicBezTo>
                    <a:pt x="8871" y="6001"/>
                    <a:pt x="8871" y="6013"/>
                    <a:pt x="8740" y="6049"/>
                  </a:cubicBezTo>
                  <a:lnTo>
                    <a:pt x="8395" y="6156"/>
                  </a:lnTo>
                  <a:lnTo>
                    <a:pt x="7418" y="5799"/>
                  </a:lnTo>
                  <a:cubicBezTo>
                    <a:pt x="7418" y="5751"/>
                    <a:pt x="7406" y="5704"/>
                    <a:pt x="7371" y="5656"/>
                  </a:cubicBezTo>
                  <a:lnTo>
                    <a:pt x="7061" y="5335"/>
                  </a:lnTo>
                  <a:lnTo>
                    <a:pt x="7061" y="4787"/>
                  </a:lnTo>
                  <a:cubicBezTo>
                    <a:pt x="7085" y="4751"/>
                    <a:pt x="7121" y="4727"/>
                    <a:pt x="7168" y="4692"/>
                  </a:cubicBezTo>
                  <a:cubicBezTo>
                    <a:pt x="7561" y="4323"/>
                    <a:pt x="7787" y="3787"/>
                    <a:pt x="7787" y="3251"/>
                  </a:cubicBezTo>
                  <a:lnTo>
                    <a:pt x="7787" y="2799"/>
                  </a:lnTo>
                  <a:cubicBezTo>
                    <a:pt x="7906" y="2537"/>
                    <a:pt x="7966" y="2263"/>
                    <a:pt x="7966" y="1989"/>
                  </a:cubicBezTo>
                  <a:lnTo>
                    <a:pt x="7966" y="167"/>
                  </a:lnTo>
                  <a:cubicBezTo>
                    <a:pt x="7966" y="84"/>
                    <a:pt x="7895" y="1"/>
                    <a:pt x="7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7" name="Google Shape;13187;p64"/>
            <p:cNvSpPr/>
            <p:nvPr/>
          </p:nvSpPr>
          <p:spPr>
            <a:xfrm>
              <a:off x="1639960" y="3622549"/>
              <a:ext cx="10631" cy="45135"/>
            </a:xfrm>
            <a:custGeom>
              <a:avLst/>
              <a:gdLst/>
              <a:ahLst/>
              <a:cxnLst/>
              <a:rect l="l" t="t" r="r" b="b"/>
              <a:pathLst>
                <a:path w="334" h="1418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lnTo>
                    <a:pt x="0" y="1251"/>
                  </a:lnTo>
                  <a:cubicBezTo>
                    <a:pt x="0" y="1334"/>
                    <a:pt x="84" y="1418"/>
                    <a:pt x="167" y="1418"/>
                  </a:cubicBezTo>
                  <a:cubicBezTo>
                    <a:pt x="262" y="1418"/>
                    <a:pt x="334" y="1334"/>
                    <a:pt x="334" y="1251"/>
                  </a:cubicBezTo>
                  <a:lnTo>
                    <a:pt x="334" y="168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8" name="Google Shape;13188;p64"/>
            <p:cNvSpPr/>
            <p:nvPr/>
          </p:nvSpPr>
          <p:spPr>
            <a:xfrm>
              <a:off x="1444014" y="3446466"/>
              <a:ext cx="91734" cy="30589"/>
            </a:xfrm>
            <a:custGeom>
              <a:avLst/>
              <a:gdLst/>
              <a:ahLst/>
              <a:cxnLst/>
              <a:rect l="l" t="t" r="r" b="b"/>
              <a:pathLst>
                <a:path w="2882" h="961" extrusionOk="0">
                  <a:moveTo>
                    <a:pt x="1169" y="1"/>
                  </a:moveTo>
                  <a:cubicBezTo>
                    <a:pt x="820" y="1"/>
                    <a:pt x="503" y="37"/>
                    <a:pt x="298" y="68"/>
                  </a:cubicBezTo>
                  <a:cubicBezTo>
                    <a:pt x="120" y="104"/>
                    <a:pt x="1" y="247"/>
                    <a:pt x="1" y="413"/>
                  </a:cubicBezTo>
                  <a:lnTo>
                    <a:pt x="1" y="794"/>
                  </a:lnTo>
                  <a:cubicBezTo>
                    <a:pt x="1" y="890"/>
                    <a:pt x="72" y="961"/>
                    <a:pt x="167" y="961"/>
                  </a:cubicBezTo>
                  <a:cubicBezTo>
                    <a:pt x="251" y="961"/>
                    <a:pt x="322" y="890"/>
                    <a:pt x="322" y="794"/>
                  </a:cubicBezTo>
                  <a:lnTo>
                    <a:pt x="322" y="413"/>
                  </a:lnTo>
                  <a:cubicBezTo>
                    <a:pt x="322" y="413"/>
                    <a:pt x="322" y="401"/>
                    <a:pt x="346" y="401"/>
                  </a:cubicBezTo>
                  <a:cubicBezTo>
                    <a:pt x="514" y="373"/>
                    <a:pt x="820" y="331"/>
                    <a:pt x="1157" y="331"/>
                  </a:cubicBezTo>
                  <a:cubicBezTo>
                    <a:pt x="1250" y="331"/>
                    <a:pt x="1346" y="334"/>
                    <a:pt x="1441" y="342"/>
                  </a:cubicBezTo>
                  <a:cubicBezTo>
                    <a:pt x="1977" y="366"/>
                    <a:pt x="2346" y="497"/>
                    <a:pt x="2584" y="735"/>
                  </a:cubicBezTo>
                  <a:cubicBezTo>
                    <a:pt x="2614" y="765"/>
                    <a:pt x="2659" y="779"/>
                    <a:pt x="2703" y="779"/>
                  </a:cubicBezTo>
                  <a:cubicBezTo>
                    <a:pt x="2748" y="779"/>
                    <a:pt x="2793" y="765"/>
                    <a:pt x="2822" y="735"/>
                  </a:cubicBezTo>
                  <a:cubicBezTo>
                    <a:pt x="2882" y="675"/>
                    <a:pt x="2882" y="556"/>
                    <a:pt x="2822" y="497"/>
                  </a:cubicBezTo>
                  <a:cubicBezTo>
                    <a:pt x="2428" y="102"/>
                    <a:pt x="1753" y="1"/>
                    <a:pt x="1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9" name="Google Shape;13189;p64"/>
            <p:cNvSpPr/>
            <p:nvPr/>
          </p:nvSpPr>
          <p:spPr>
            <a:xfrm>
              <a:off x="1420524" y="3633944"/>
              <a:ext cx="11013" cy="33740"/>
            </a:xfrm>
            <a:custGeom>
              <a:avLst/>
              <a:gdLst/>
              <a:ahLst/>
              <a:cxnLst/>
              <a:rect l="l" t="t" r="r" b="b"/>
              <a:pathLst>
                <a:path w="346" h="1060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893"/>
                  </a:lnTo>
                  <a:cubicBezTo>
                    <a:pt x="1" y="976"/>
                    <a:pt x="84" y="1060"/>
                    <a:pt x="167" y="1060"/>
                  </a:cubicBezTo>
                  <a:cubicBezTo>
                    <a:pt x="262" y="1060"/>
                    <a:pt x="334" y="976"/>
                    <a:pt x="334" y="893"/>
                  </a:cubicBezTo>
                  <a:lnTo>
                    <a:pt x="334" y="167"/>
                  </a:lnTo>
                  <a:cubicBezTo>
                    <a:pt x="346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0" name="Google Shape;13190;p64"/>
            <p:cNvSpPr/>
            <p:nvPr/>
          </p:nvSpPr>
          <p:spPr>
            <a:xfrm>
              <a:off x="1547494" y="3633944"/>
              <a:ext cx="11013" cy="33740"/>
            </a:xfrm>
            <a:custGeom>
              <a:avLst/>
              <a:gdLst/>
              <a:ahLst/>
              <a:cxnLst/>
              <a:rect l="l" t="t" r="r" b="b"/>
              <a:pathLst>
                <a:path w="346" h="1060" extrusionOk="0"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893"/>
                  </a:lnTo>
                  <a:cubicBezTo>
                    <a:pt x="0" y="976"/>
                    <a:pt x="83" y="1060"/>
                    <a:pt x="167" y="1060"/>
                  </a:cubicBezTo>
                  <a:cubicBezTo>
                    <a:pt x="262" y="1060"/>
                    <a:pt x="333" y="976"/>
                    <a:pt x="333" y="893"/>
                  </a:cubicBezTo>
                  <a:lnTo>
                    <a:pt x="333" y="167"/>
                  </a:lnTo>
                  <a:cubicBezTo>
                    <a:pt x="345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91" name="Google Shape;13191;p64"/>
          <p:cNvGrpSpPr/>
          <p:nvPr/>
        </p:nvGrpSpPr>
        <p:grpSpPr>
          <a:xfrm>
            <a:off x="1781317" y="3391400"/>
            <a:ext cx="367255" cy="282364"/>
            <a:chOff x="1781317" y="3391400"/>
            <a:chExt cx="367255" cy="282364"/>
          </a:xfrm>
        </p:grpSpPr>
        <p:sp>
          <p:nvSpPr>
            <p:cNvPr id="13192" name="Google Shape;13192;p64"/>
            <p:cNvSpPr/>
            <p:nvPr/>
          </p:nvSpPr>
          <p:spPr>
            <a:xfrm>
              <a:off x="1901061" y="3639610"/>
              <a:ext cx="11013" cy="33772"/>
            </a:xfrm>
            <a:custGeom>
              <a:avLst/>
              <a:gdLst/>
              <a:ahLst/>
              <a:cxnLst/>
              <a:rect l="l" t="t" r="r" b="b"/>
              <a:pathLst>
                <a:path w="346" h="106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94"/>
                  </a:lnTo>
                  <a:cubicBezTo>
                    <a:pt x="1" y="977"/>
                    <a:pt x="72" y="1060"/>
                    <a:pt x="167" y="1060"/>
                  </a:cubicBezTo>
                  <a:cubicBezTo>
                    <a:pt x="251" y="1060"/>
                    <a:pt x="334" y="977"/>
                    <a:pt x="334" y="894"/>
                  </a:cubicBezTo>
                  <a:lnTo>
                    <a:pt x="334" y="167"/>
                  </a:lnTo>
                  <a:cubicBezTo>
                    <a:pt x="346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3" name="Google Shape;13193;p64"/>
            <p:cNvSpPr/>
            <p:nvPr/>
          </p:nvSpPr>
          <p:spPr>
            <a:xfrm>
              <a:off x="2016668" y="3639610"/>
              <a:ext cx="10631" cy="33772"/>
            </a:xfrm>
            <a:custGeom>
              <a:avLst/>
              <a:gdLst/>
              <a:ahLst/>
              <a:cxnLst/>
              <a:rect l="l" t="t" r="r" b="b"/>
              <a:pathLst>
                <a:path w="334" h="1061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894"/>
                  </a:lnTo>
                  <a:cubicBezTo>
                    <a:pt x="0" y="977"/>
                    <a:pt x="71" y="1060"/>
                    <a:pt x="167" y="1060"/>
                  </a:cubicBezTo>
                  <a:cubicBezTo>
                    <a:pt x="250" y="1060"/>
                    <a:pt x="333" y="977"/>
                    <a:pt x="333" y="894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4" name="Google Shape;13194;p64"/>
            <p:cNvSpPr/>
            <p:nvPr/>
          </p:nvSpPr>
          <p:spPr>
            <a:xfrm>
              <a:off x="1820340" y="3518720"/>
              <a:ext cx="46281" cy="16329"/>
            </a:xfrm>
            <a:custGeom>
              <a:avLst/>
              <a:gdLst/>
              <a:ahLst/>
              <a:cxnLst/>
              <a:rect l="l" t="t" r="r" b="b"/>
              <a:pathLst>
                <a:path w="1454" h="513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cubicBezTo>
                    <a:pt x="370" y="334"/>
                    <a:pt x="917" y="358"/>
                    <a:pt x="1179" y="489"/>
                  </a:cubicBezTo>
                  <a:cubicBezTo>
                    <a:pt x="1215" y="513"/>
                    <a:pt x="1227" y="513"/>
                    <a:pt x="1263" y="513"/>
                  </a:cubicBezTo>
                  <a:cubicBezTo>
                    <a:pt x="1310" y="513"/>
                    <a:pt x="1382" y="477"/>
                    <a:pt x="1406" y="417"/>
                  </a:cubicBezTo>
                  <a:cubicBezTo>
                    <a:pt x="1453" y="346"/>
                    <a:pt x="1417" y="239"/>
                    <a:pt x="1334" y="191"/>
                  </a:cubicBezTo>
                  <a:cubicBezTo>
                    <a:pt x="941" y="1"/>
                    <a:pt x="20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5" name="Google Shape;13195;p64"/>
            <p:cNvSpPr/>
            <p:nvPr/>
          </p:nvSpPr>
          <p:spPr>
            <a:xfrm>
              <a:off x="1802898" y="3628247"/>
              <a:ext cx="11045" cy="45135"/>
            </a:xfrm>
            <a:custGeom>
              <a:avLst/>
              <a:gdLst/>
              <a:ahLst/>
              <a:cxnLst/>
              <a:rect l="l" t="t" r="r" b="b"/>
              <a:pathLst>
                <a:path w="347" h="1418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251"/>
                  </a:lnTo>
                  <a:cubicBezTo>
                    <a:pt x="1" y="1334"/>
                    <a:pt x="72" y="1417"/>
                    <a:pt x="168" y="1417"/>
                  </a:cubicBezTo>
                  <a:cubicBezTo>
                    <a:pt x="263" y="1417"/>
                    <a:pt x="334" y="1334"/>
                    <a:pt x="334" y="1251"/>
                  </a:cubicBezTo>
                  <a:lnTo>
                    <a:pt x="334" y="167"/>
                  </a:ln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6" name="Google Shape;13196;p64"/>
            <p:cNvSpPr/>
            <p:nvPr/>
          </p:nvSpPr>
          <p:spPr>
            <a:xfrm>
              <a:off x="1781317" y="3391400"/>
              <a:ext cx="367255" cy="282364"/>
            </a:xfrm>
            <a:custGeom>
              <a:avLst/>
              <a:gdLst/>
              <a:ahLst/>
              <a:cxnLst/>
              <a:rect l="l" t="t" r="r" b="b"/>
              <a:pathLst>
                <a:path w="11538" h="8871" extrusionOk="0">
                  <a:moveTo>
                    <a:pt x="9728" y="2703"/>
                  </a:moveTo>
                  <a:cubicBezTo>
                    <a:pt x="10049" y="2703"/>
                    <a:pt x="10287" y="2917"/>
                    <a:pt x="10287" y="3167"/>
                  </a:cubicBezTo>
                  <a:lnTo>
                    <a:pt x="10287" y="3203"/>
                  </a:lnTo>
                  <a:cubicBezTo>
                    <a:pt x="10121" y="3120"/>
                    <a:pt x="9930" y="3096"/>
                    <a:pt x="9728" y="3096"/>
                  </a:cubicBezTo>
                  <a:cubicBezTo>
                    <a:pt x="9537" y="3096"/>
                    <a:pt x="9347" y="3143"/>
                    <a:pt x="9180" y="3203"/>
                  </a:cubicBezTo>
                  <a:lnTo>
                    <a:pt x="9180" y="3167"/>
                  </a:lnTo>
                  <a:cubicBezTo>
                    <a:pt x="9180" y="2917"/>
                    <a:pt x="9430" y="2703"/>
                    <a:pt x="9728" y="2703"/>
                  </a:cubicBezTo>
                  <a:close/>
                  <a:moveTo>
                    <a:pt x="9728" y="3405"/>
                  </a:moveTo>
                  <a:cubicBezTo>
                    <a:pt x="10347" y="3405"/>
                    <a:pt x="10835" y="3893"/>
                    <a:pt x="10835" y="4513"/>
                  </a:cubicBezTo>
                  <a:cubicBezTo>
                    <a:pt x="10835" y="4632"/>
                    <a:pt x="10811" y="4751"/>
                    <a:pt x="10775" y="4846"/>
                  </a:cubicBezTo>
                  <a:cubicBezTo>
                    <a:pt x="10299" y="4358"/>
                    <a:pt x="9454" y="4167"/>
                    <a:pt x="9406" y="4167"/>
                  </a:cubicBezTo>
                  <a:cubicBezTo>
                    <a:pt x="9392" y="4160"/>
                    <a:pt x="9377" y="4157"/>
                    <a:pt x="9362" y="4157"/>
                  </a:cubicBezTo>
                  <a:cubicBezTo>
                    <a:pt x="9325" y="4157"/>
                    <a:pt x="9285" y="4174"/>
                    <a:pt x="9251" y="4191"/>
                  </a:cubicBezTo>
                  <a:cubicBezTo>
                    <a:pt x="9216" y="4227"/>
                    <a:pt x="9192" y="4274"/>
                    <a:pt x="9192" y="4334"/>
                  </a:cubicBezTo>
                  <a:cubicBezTo>
                    <a:pt x="9192" y="4334"/>
                    <a:pt x="9180" y="4441"/>
                    <a:pt x="9061" y="4572"/>
                  </a:cubicBezTo>
                  <a:cubicBezTo>
                    <a:pt x="9001" y="4632"/>
                    <a:pt x="9001" y="4751"/>
                    <a:pt x="9061" y="4810"/>
                  </a:cubicBezTo>
                  <a:cubicBezTo>
                    <a:pt x="9091" y="4840"/>
                    <a:pt x="9135" y="4855"/>
                    <a:pt x="9180" y="4855"/>
                  </a:cubicBezTo>
                  <a:cubicBezTo>
                    <a:pt x="9225" y="4855"/>
                    <a:pt x="9269" y="4840"/>
                    <a:pt x="9299" y="4810"/>
                  </a:cubicBezTo>
                  <a:cubicBezTo>
                    <a:pt x="9394" y="4715"/>
                    <a:pt x="9454" y="4608"/>
                    <a:pt x="9478" y="4536"/>
                  </a:cubicBezTo>
                  <a:cubicBezTo>
                    <a:pt x="9763" y="4632"/>
                    <a:pt x="10359" y="4834"/>
                    <a:pt x="10621" y="5203"/>
                  </a:cubicBezTo>
                  <a:cubicBezTo>
                    <a:pt x="10561" y="5668"/>
                    <a:pt x="10192" y="5977"/>
                    <a:pt x="9728" y="5977"/>
                  </a:cubicBezTo>
                  <a:cubicBezTo>
                    <a:pt x="9251" y="5977"/>
                    <a:pt x="8870" y="5620"/>
                    <a:pt x="8823" y="5167"/>
                  </a:cubicBezTo>
                  <a:cubicBezTo>
                    <a:pt x="8823" y="5132"/>
                    <a:pt x="8811" y="5120"/>
                    <a:pt x="8799" y="5084"/>
                  </a:cubicBezTo>
                  <a:cubicBezTo>
                    <a:pt x="8692" y="4906"/>
                    <a:pt x="8632" y="4715"/>
                    <a:pt x="8632" y="4513"/>
                  </a:cubicBezTo>
                  <a:cubicBezTo>
                    <a:pt x="8632" y="3893"/>
                    <a:pt x="9120" y="3405"/>
                    <a:pt x="9728" y="3405"/>
                  </a:cubicBezTo>
                  <a:close/>
                  <a:moveTo>
                    <a:pt x="3048" y="3405"/>
                  </a:moveTo>
                  <a:lnTo>
                    <a:pt x="3048" y="4108"/>
                  </a:lnTo>
                  <a:cubicBezTo>
                    <a:pt x="3048" y="4227"/>
                    <a:pt x="3024" y="4334"/>
                    <a:pt x="2977" y="4429"/>
                  </a:cubicBezTo>
                  <a:lnTo>
                    <a:pt x="2882" y="4608"/>
                  </a:lnTo>
                  <a:cubicBezTo>
                    <a:pt x="2870" y="4644"/>
                    <a:pt x="2870" y="4655"/>
                    <a:pt x="2870" y="4691"/>
                  </a:cubicBezTo>
                  <a:lnTo>
                    <a:pt x="2870" y="5048"/>
                  </a:lnTo>
                  <a:cubicBezTo>
                    <a:pt x="2870" y="5298"/>
                    <a:pt x="2763" y="5537"/>
                    <a:pt x="2584" y="5703"/>
                  </a:cubicBezTo>
                  <a:cubicBezTo>
                    <a:pt x="2413" y="5885"/>
                    <a:pt x="2203" y="5981"/>
                    <a:pt x="1989" y="5981"/>
                  </a:cubicBezTo>
                  <a:cubicBezTo>
                    <a:pt x="1965" y="5981"/>
                    <a:pt x="1941" y="5979"/>
                    <a:pt x="1917" y="5977"/>
                  </a:cubicBezTo>
                  <a:cubicBezTo>
                    <a:pt x="1429" y="5965"/>
                    <a:pt x="1024" y="5537"/>
                    <a:pt x="1024" y="5013"/>
                  </a:cubicBezTo>
                  <a:lnTo>
                    <a:pt x="1024" y="4703"/>
                  </a:lnTo>
                  <a:cubicBezTo>
                    <a:pt x="1024" y="4667"/>
                    <a:pt x="1024" y="4644"/>
                    <a:pt x="1012" y="4632"/>
                  </a:cubicBezTo>
                  <a:lnTo>
                    <a:pt x="905" y="4417"/>
                  </a:lnTo>
                  <a:cubicBezTo>
                    <a:pt x="858" y="4346"/>
                    <a:pt x="846" y="4251"/>
                    <a:pt x="846" y="4167"/>
                  </a:cubicBezTo>
                  <a:lnTo>
                    <a:pt x="846" y="4144"/>
                  </a:lnTo>
                  <a:cubicBezTo>
                    <a:pt x="846" y="3751"/>
                    <a:pt x="1179" y="3405"/>
                    <a:pt x="1596" y="3405"/>
                  </a:cubicBezTo>
                  <a:close/>
                  <a:moveTo>
                    <a:pt x="5763" y="322"/>
                  </a:moveTo>
                  <a:cubicBezTo>
                    <a:pt x="6358" y="322"/>
                    <a:pt x="6870" y="536"/>
                    <a:pt x="7263" y="905"/>
                  </a:cubicBezTo>
                  <a:cubicBezTo>
                    <a:pt x="7668" y="1298"/>
                    <a:pt x="7882" y="1858"/>
                    <a:pt x="7942" y="2524"/>
                  </a:cubicBezTo>
                  <a:cubicBezTo>
                    <a:pt x="8085" y="4346"/>
                    <a:pt x="8227" y="5346"/>
                    <a:pt x="8287" y="5703"/>
                  </a:cubicBezTo>
                  <a:lnTo>
                    <a:pt x="8287" y="5715"/>
                  </a:lnTo>
                  <a:cubicBezTo>
                    <a:pt x="8108" y="5834"/>
                    <a:pt x="7763" y="6025"/>
                    <a:pt x="7215" y="6179"/>
                  </a:cubicBezTo>
                  <a:lnTo>
                    <a:pt x="6930" y="6060"/>
                  </a:lnTo>
                  <a:cubicBezTo>
                    <a:pt x="6858" y="6025"/>
                    <a:pt x="6811" y="5953"/>
                    <a:pt x="6811" y="5882"/>
                  </a:cubicBezTo>
                  <a:lnTo>
                    <a:pt x="6811" y="5298"/>
                  </a:lnTo>
                  <a:cubicBezTo>
                    <a:pt x="7370" y="4941"/>
                    <a:pt x="7727" y="4334"/>
                    <a:pt x="7727" y="3632"/>
                  </a:cubicBezTo>
                  <a:lnTo>
                    <a:pt x="7727" y="3322"/>
                  </a:lnTo>
                  <a:cubicBezTo>
                    <a:pt x="7727" y="3108"/>
                    <a:pt x="7632" y="2917"/>
                    <a:pt x="7489" y="2786"/>
                  </a:cubicBezTo>
                  <a:cubicBezTo>
                    <a:pt x="7144" y="2489"/>
                    <a:pt x="6370" y="1965"/>
                    <a:pt x="5025" y="1834"/>
                  </a:cubicBezTo>
                  <a:cubicBezTo>
                    <a:pt x="5015" y="1831"/>
                    <a:pt x="5005" y="1830"/>
                    <a:pt x="4995" y="1830"/>
                  </a:cubicBezTo>
                  <a:cubicBezTo>
                    <a:pt x="4920" y="1830"/>
                    <a:pt x="4846" y="1903"/>
                    <a:pt x="4846" y="1977"/>
                  </a:cubicBezTo>
                  <a:cubicBezTo>
                    <a:pt x="4834" y="2072"/>
                    <a:pt x="4906" y="2155"/>
                    <a:pt x="5001" y="2155"/>
                  </a:cubicBezTo>
                  <a:cubicBezTo>
                    <a:pt x="6251" y="2274"/>
                    <a:pt x="6954" y="2750"/>
                    <a:pt x="7263" y="3024"/>
                  </a:cubicBezTo>
                  <a:cubicBezTo>
                    <a:pt x="7335" y="3096"/>
                    <a:pt x="7382" y="3179"/>
                    <a:pt x="7382" y="3298"/>
                  </a:cubicBezTo>
                  <a:lnTo>
                    <a:pt x="7382" y="3620"/>
                  </a:lnTo>
                  <a:cubicBezTo>
                    <a:pt x="7382" y="4525"/>
                    <a:pt x="6632" y="5251"/>
                    <a:pt x="5739" y="5251"/>
                  </a:cubicBezTo>
                  <a:cubicBezTo>
                    <a:pt x="4846" y="5251"/>
                    <a:pt x="4108" y="4513"/>
                    <a:pt x="4108" y="3620"/>
                  </a:cubicBezTo>
                  <a:lnTo>
                    <a:pt x="4108" y="3465"/>
                  </a:lnTo>
                  <a:cubicBezTo>
                    <a:pt x="4108" y="3405"/>
                    <a:pt x="4132" y="3346"/>
                    <a:pt x="4191" y="3298"/>
                  </a:cubicBezTo>
                  <a:cubicBezTo>
                    <a:pt x="4406" y="3179"/>
                    <a:pt x="4691" y="2965"/>
                    <a:pt x="4822" y="2572"/>
                  </a:cubicBezTo>
                  <a:cubicBezTo>
                    <a:pt x="4846" y="2489"/>
                    <a:pt x="4810" y="2393"/>
                    <a:pt x="4715" y="2369"/>
                  </a:cubicBezTo>
                  <a:cubicBezTo>
                    <a:pt x="4696" y="2361"/>
                    <a:pt x="4676" y="2357"/>
                    <a:pt x="4657" y="2357"/>
                  </a:cubicBezTo>
                  <a:cubicBezTo>
                    <a:pt x="4592" y="2357"/>
                    <a:pt x="4531" y="2401"/>
                    <a:pt x="4513" y="2465"/>
                  </a:cubicBezTo>
                  <a:cubicBezTo>
                    <a:pt x="4417" y="2750"/>
                    <a:pt x="4191" y="2917"/>
                    <a:pt x="4048" y="3024"/>
                  </a:cubicBezTo>
                  <a:cubicBezTo>
                    <a:pt x="3882" y="3108"/>
                    <a:pt x="3775" y="3286"/>
                    <a:pt x="3775" y="3465"/>
                  </a:cubicBezTo>
                  <a:lnTo>
                    <a:pt x="3775" y="3620"/>
                  </a:lnTo>
                  <a:cubicBezTo>
                    <a:pt x="3775" y="4310"/>
                    <a:pt x="4132" y="4929"/>
                    <a:pt x="4691" y="5287"/>
                  </a:cubicBezTo>
                  <a:lnTo>
                    <a:pt x="4691" y="5858"/>
                  </a:lnTo>
                  <a:cubicBezTo>
                    <a:pt x="4691" y="5941"/>
                    <a:pt x="4644" y="6013"/>
                    <a:pt x="4572" y="6037"/>
                  </a:cubicBezTo>
                  <a:lnTo>
                    <a:pt x="4287" y="6156"/>
                  </a:lnTo>
                  <a:cubicBezTo>
                    <a:pt x="3739" y="6013"/>
                    <a:pt x="3394" y="5822"/>
                    <a:pt x="3227" y="5715"/>
                  </a:cubicBezTo>
                  <a:lnTo>
                    <a:pt x="3227" y="5703"/>
                  </a:lnTo>
                  <a:cubicBezTo>
                    <a:pt x="3286" y="5346"/>
                    <a:pt x="3441" y="4346"/>
                    <a:pt x="3572" y="2524"/>
                  </a:cubicBezTo>
                  <a:cubicBezTo>
                    <a:pt x="3620" y="1858"/>
                    <a:pt x="3858" y="1310"/>
                    <a:pt x="4251" y="905"/>
                  </a:cubicBezTo>
                  <a:cubicBezTo>
                    <a:pt x="4644" y="524"/>
                    <a:pt x="5168" y="322"/>
                    <a:pt x="5763" y="322"/>
                  </a:cubicBezTo>
                  <a:close/>
                  <a:moveTo>
                    <a:pt x="2917" y="5870"/>
                  </a:moveTo>
                  <a:cubicBezTo>
                    <a:pt x="2941" y="5929"/>
                    <a:pt x="2989" y="5977"/>
                    <a:pt x="3036" y="6013"/>
                  </a:cubicBezTo>
                  <a:cubicBezTo>
                    <a:pt x="3167" y="6096"/>
                    <a:pt x="3417" y="6251"/>
                    <a:pt x="3810" y="6382"/>
                  </a:cubicBezTo>
                  <a:lnTo>
                    <a:pt x="3334" y="6596"/>
                  </a:lnTo>
                  <a:lnTo>
                    <a:pt x="2798" y="6441"/>
                  </a:lnTo>
                  <a:cubicBezTo>
                    <a:pt x="2667" y="6394"/>
                    <a:pt x="2667" y="6382"/>
                    <a:pt x="2667" y="6358"/>
                  </a:cubicBezTo>
                  <a:lnTo>
                    <a:pt x="2667" y="6120"/>
                  </a:lnTo>
                  <a:cubicBezTo>
                    <a:pt x="2727" y="6072"/>
                    <a:pt x="2763" y="6025"/>
                    <a:pt x="2822" y="5977"/>
                  </a:cubicBezTo>
                  <a:cubicBezTo>
                    <a:pt x="2858" y="5953"/>
                    <a:pt x="2882" y="5906"/>
                    <a:pt x="2917" y="5870"/>
                  </a:cubicBezTo>
                  <a:close/>
                  <a:moveTo>
                    <a:pt x="8620" y="5620"/>
                  </a:moveTo>
                  <a:cubicBezTo>
                    <a:pt x="8704" y="5822"/>
                    <a:pt x="8859" y="5977"/>
                    <a:pt x="9037" y="6096"/>
                  </a:cubicBezTo>
                  <a:lnTo>
                    <a:pt x="9037" y="6453"/>
                  </a:lnTo>
                  <a:lnTo>
                    <a:pt x="9013" y="6453"/>
                  </a:lnTo>
                  <a:lnTo>
                    <a:pt x="8478" y="6739"/>
                  </a:lnTo>
                  <a:cubicBezTo>
                    <a:pt x="8478" y="6739"/>
                    <a:pt x="8466" y="6739"/>
                    <a:pt x="8466" y="6727"/>
                  </a:cubicBezTo>
                  <a:lnTo>
                    <a:pt x="7692" y="6382"/>
                  </a:lnTo>
                  <a:cubicBezTo>
                    <a:pt x="8061" y="6251"/>
                    <a:pt x="8335" y="6096"/>
                    <a:pt x="8466" y="6013"/>
                  </a:cubicBezTo>
                  <a:cubicBezTo>
                    <a:pt x="8585" y="5941"/>
                    <a:pt x="8644" y="5798"/>
                    <a:pt x="8620" y="5656"/>
                  </a:cubicBezTo>
                  <a:lnTo>
                    <a:pt x="8620" y="5620"/>
                  </a:lnTo>
                  <a:close/>
                  <a:moveTo>
                    <a:pt x="2322" y="6263"/>
                  </a:moveTo>
                  <a:lnTo>
                    <a:pt x="2322" y="6334"/>
                  </a:lnTo>
                  <a:cubicBezTo>
                    <a:pt x="2322" y="6370"/>
                    <a:pt x="2322" y="6418"/>
                    <a:pt x="2334" y="6441"/>
                  </a:cubicBezTo>
                  <a:lnTo>
                    <a:pt x="1929" y="6834"/>
                  </a:lnTo>
                  <a:lnTo>
                    <a:pt x="1548" y="6441"/>
                  </a:lnTo>
                  <a:cubicBezTo>
                    <a:pt x="1560" y="6418"/>
                    <a:pt x="1560" y="6382"/>
                    <a:pt x="1560" y="6334"/>
                  </a:cubicBezTo>
                  <a:lnTo>
                    <a:pt x="1560" y="6263"/>
                  </a:lnTo>
                  <a:cubicBezTo>
                    <a:pt x="1667" y="6299"/>
                    <a:pt x="1786" y="6322"/>
                    <a:pt x="1905" y="6322"/>
                  </a:cubicBezTo>
                  <a:lnTo>
                    <a:pt x="1953" y="6322"/>
                  </a:lnTo>
                  <a:cubicBezTo>
                    <a:pt x="2084" y="6322"/>
                    <a:pt x="2203" y="6310"/>
                    <a:pt x="2322" y="6263"/>
                  </a:cubicBezTo>
                  <a:close/>
                  <a:moveTo>
                    <a:pt x="10109" y="6275"/>
                  </a:moveTo>
                  <a:lnTo>
                    <a:pt x="10109" y="6453"/>
                  </a:lnTo>
                  <a:cubicBezTo>
                    <a:pt x="10109" y="6513"/>
                    <a:pt x="10121" y="6572"/>
                    <a:pt x="10144" y="6620"/>
                  </a:cubicBezTo>
                  <a:lnTo>
                    <a:pt x="10002" y="6775"/>
                  </a:lnTo>
                  <a:cubicBezTo>
                    <a:pt x="9924" y="6840"/>
                    <a:pt x="9832" y="6873"/>
                    <a:pt x="9740" y="6873"/>
                  </a:cubicBezTo>
                  <a:cubicBezTo>
                    <a:pt x="9647" y="6873"/>
                    <a:pt x="9555" y="6840"/>
                    <a:pt x="9478" y="6775"/>
                  </a:cubicBezTo>
                  <a:lnTo>
                    <a:pt x="9311" y="6620"/>
                  </a:lnTo>
                  <a:cubicBezTo>
                    <a:pt x="9347" y="6572"/>
                    <a:pt x="9359" y="6513"/>
                    <a:pt x="9359" y="6453"/>
                  </a:cubicBezTo>
                  <a:lnTo>
                    <a:pt x="9359" y="6275"/>
                  </a:lnTo>
                  <a:cubicBezTo>
                    <a:pt x="9478" y="6310"/>
                    <a:pt x="9597" y="6334"/>
                    <a:pt x="9728" y="6334"/>
                  </a:cubicBezTo>
                  <a:cubicBezTo>
                    <a:pt x="9859" y="6334"/>
                    <a:pt x="9978" y="6322"/>
                    <a:pt x="10109" y="6275"/>
                  </a:cubicBezTo>
                  <a:close/>
                  <a:moveTo>
                    <a:pt x="6501" y="5477"/>
                  </a:moveTo>
                  <a:lnTo>
                    <a:pt x="6501" y="5882"/>
                  </a:lnTo>
                  <a:cubicBezTo>
                    <a:pt x="6501" y="6084"/>
                    <a:pt x="6620" y="6275"/>
                    <a:pt x="6811" y="6370"/>
                  </a:cubicBezTo>
                  <a:lnTo>
                    <a:pt x="7073" y="6477"/>
                  </a:lnTo>
                  <a:cubicBezTo>
                    <a:pt x="6799" y="6953"/>
                    <a:pt x="6299" y="7263"/>
                    <a:pt x="5739" y="7263"/>
                  </a:cubicBezTo>
                  <a:cubicBezTo>
                    <a:pt x="5191" y="7263"/>
                    <a:pt x="4691" y="6953"/>
                    <a:pt x="4453" y="6477"/>
                  </a:cubicBezTo>
                  <a:lnTo>
                    <a:pt x="4703" y="6370"/>
                  </a:lnTo>
                  <a:cubicBezTo>
                    <a:pt x="4894" y="6275"/>
                    <a:pt x="5013" y="6084"/>
                    <a:pt x="5013" y="5882"/>
                  </a:cubicBezTo>
                  <a:lnTo>
                    <a:pt x="5013" y="5477"/>
                  </a:lnTo>
                  <a:cubicBezTo>
                    <a:pt x="5239" y="5560"/>
                    <a:pt x="5489" y="5620"/>
                    <a:pt x="5763" y="5620"/>
                  </a:cubicBezTo>
                  <a:cubicBezTo>
                    <a:pt x="6025" y="5620"/>
                    <a:pt x="6263" y="5584"/>
                    <a:pt x="6501" y="5477"/>
                  </a:cubicBezTo>
                  <a:close/>
                  <a:moveTo>
                    <a:pt x="5763" y="0"/>
                  </a:moveTo>
                  <a:cubicBezTo>
                    <a:pt x="5072" y="0"/>
                    <a:pt x="4465" y="238"/>
                    <a:pt x="4013" y="679"/>
                  </a:cubicBezTo>
                  <a:cubicBezTo>
                    <a:pt x="3560" y="1131"/>
                    <a:pt x="3286" y="1774"/>
                    <a:pt x="3239" y="2512"/>
                  </a:cubicBezTo>
                  <a:cubicBezTo>
                    <a:pt x="3227" y="2703"/>
                    <a:pt x="3215" y="2905"/>
                    <a:pt x="3203" y="3084"/>
                  </a:cubicBezTo>
                  <a:lnTo>
                    <a:pt x="1608" y="3084"/>
                  </a:lnTo>
                  <a:cubicBezTo>
                    <a:pt x="1012" y="3084"/>
                    <a:pt x="536" y="3560"/>
                    <a:pt x="536" y="4155"/>
                  </a:cubicBezTo>
                  <a:lnTo>
                    <a:pt x="536" y="4167"/>
                  </a:lnTo>
                  <a:cubicBezTo>
                    <a:pt x="536" y="4298"/>
                    <a:pt x="560" y="4453"/>
                    <a:pt x="619" y="4572"/>
                  </a:cubicBezTo>
                  <a:lnTo>
                    <a:pt x="715" y="4751"/>
                  </a:lnTo>
                  <a:lnTo>
                    <a:pt x="715" y="5025"/>
                  </a:lnTo>
                  <a:cubicBezTo>
                    <a:pt x="715" y="5465"/>
                    <a:pt x="941" y="5858"/>
                    <a:pt x="1262" y="6096"/>
                  </a:cubicBezTo>
                  <a:lnTo>
                    <a:pt x="1262" y="6334"/>
                  </a:lnTo>
                  <a:cubicBezTo>
                    <a:pt x="1262" y="6370"/>
                    <a:pt x="1250" y="6394"/>
                    <a:pt x="1215" y="6418"/>
                  </a:cubicBezTo>
                  <a:lnTo>
                    <a:pt x="524" y="6608"/>
                  </a:lnTo>
                  <a:cubicBezTo>
                    <a:pt x="226" y="6691"/>
                    <a:pt x="0" y="6977"/>
                    <a:pt x="0" y="7287"/>
                  </a:cubicBezTo>
                  <a:lnTo>
                    <a:pt x="0" y="8692"/>
                  </a:lnTo>
                  <a:cubicBezTo>
                    <a:pt x="0" y="8775"/>
                    <a:pt x="72" y="8858"/>
                    <a:pt x="167" y="8858"/>
                  </a:cubicBezTo>
                  <a:cubicBezTo>
                    <a:pt x="250" y="8858"/>
                    <a:pt x="322" y="8775"/>
                    <a:pt x="322" y="8692"/>
                  </a:cubicBezTo>
                  <a:lnTo>
                    <a:pt x="322" y="7287"/>
                  </a:lnTo>
                  <a:cubicBezTo>
                    <a:pt x="322" y="7132"/>
                    <a:pt x="441" y="6977"/>
                    <a:pt x="596" y="6930"/>
                  </a:cubicBezTo>
                  <a:lnTo>
                    <a:pt x="1298" y="6739"/>
                  </a:lnTo>
                  <a:cubicBezTo>
                    <a:pt x="1322" y="6739"/>
                    <a:pt x="1334" y="6727"/>
                    <a:pt x="1369" y="6715"/>
                  </a:cubicBezTo>
                  <a:lnTo>
                    <a:pt x="1798" y="7144"/>
                  </a:lnTo>
                  <a:lnTo>
                    <a:pt x="1798" y="8704"/>
                  </a:lnTo>
                  <a:cubicBezTo>
                    <a:pt x="1798" y="8799"/>
                    <a:pt x="1870" y="8870"/>
                    <a:pt x="1965" y="8870"/>
                  </a:cubicBezTo>
                  <a:cubicBezTo>
                    <a:pt x="2048" y="8870"/>
                    <a:pt x="2131" y="8799"/>
                    <a:pt x="2131" y="8704"/>
                  </a:cubicBezTo>
                  <a:lnTo>
                    <a:pt x="2131" y="7144"/>
                  </a:lnTo>
                  <a:lnTo>
                    <a:pt x="2560" y="6715"/>
                  </a:lnTo>
                  <a:cubicBezTo>
                    <a:pt x="2620" y="6739"/>
                    <a:pt x="2679" y="6751"/>
                    <a:pt x="2727" y="6775"/>
                  </a:cubicBezTo>
                  <a:lnTo>
                    <a:pt x="2905" y="6811"/>
                  </a:lnTo>
                  <a:cubicBezTo>
                    <a:pt x="2667" y="6977"/>
                    <a:pt x="2524" y="7251"/>
                    <a:pt x="2524" y="7549"/>
                  </a:cubicBezTo>
                  <a:lnTo>
                    <a:pt x="2524" y="8704"/>
                  </a:lnTo>
                  <a:cubicBezTo>
                    <a:pt x="2524" y="8799"/>
                    <a:pt x="2608" y="8870"/>
                    <a:pt x="2691" y="8870"/>
                  </a:cubicBezTo>
                  <a:cubicBezTo>
                    <a:pt x="2786" y="8870"/>
                    <a:pt x="2858" y="8799"/>
                    <a:pt x="2858" y="8704"/>
                  </a:cubicBezTo>
                  <a:lnTo>
                    <a:pt x="2858" y="7549"/>
                  </a:lnTo>
                  <a:cubicBezTo>
                    <a:pt x="2858" y="7322"/>
                    <a:pt x="2989" y="7132"/>
                    <a:pt x="3179" y="7037"/>
                  </a:cubicBezTo>
                  <a:lnTo>
                    <a:pt x="4156" y="6608"/>
                  </a:lnTo>
                  <a:cubicBezTo>
                    <a:pt x="4453" y="7215"/>
                    <a:pt x="5072" y="7608"/>
                    <a:pt x="5763" y="7608"/>
                  </a:cubicBezTo>
                  <a:cubicBezTo>
                    <a:pt x="6442" y="7608"/>
                    <a:pt x="7073" y="7215"/>
                    <a:pt x="7370" y="6608"/>
                  </a:cubicBezTo>
                  <a:lnTo>
                    <a:pt x="8335" y="7037"/>
                  </a:lnTo>
                  <a:cubicBezTo>
                    <a:pt x="8537" y="7132"/>
                    <a:pt x="8656" y="7322"/>
                    <a:pt x="8656" y="7549"/>
                  </a:cubicBezTo>
                  <a:lnTo>
                    <a:pt x="8656" y="8704"/>
                  </a:lnTo>
                  <a:cubicBezTo>
                    <a:pt x="8656" y="8799"/>
                    <a:pt x="8739" y="8870"/>
                    <a:pt x="8823" y="8870"/>
                  </a:cubicBezTo>
                  <a:cubicBezTo>
                    <a:pt x="8918" y="8870"/>
                    <a:pt x="8989" y="8799"/>
                    <a:pt x="8989" y="8704"/>
                  </a:cubicBezTo>
                  <a:lnTo>
                    <a:pt x="8989" y="7549"/>
                  </a:lnTo>
                  <a:cubicBezTo>
                    <a:pt x="8989" y="7322"/>
                    <a:pt x="8918" y="7132"/>
                    <a:pt x="8775" y="6965"/>
                  </a:cubicBezTo>
                  <a:lnTo>
                    <a:pt x="9049" y="6834"/>
                  </a:lnTo>
                  <a:lnTo>
                    <a:pt x="9240" y="7025"/>
                  </a:lnTo>
                  <a:cubicBezTo>
                    <a:pt x="9370" y="7156"/>
                    <a:pt x="9549" y="7215"/>
                    <a:pt x="9728" y="7215"/>
                  </a:cubicBezTo>
                  <a:cubicBezTo>
                    <a:pt x="9906" y="7215"/>
                    <a:pt x="10085" y="7156"/>
                    <a:pt x="10228" y="7025"/>
                  </a:cubicBezTo>
                  <a:lnTo>
                    <a:pt x="10418" y="6834"/>
                  </a:lnTo>
                  <a:lnTo>
                    <a:pt x="10978" y="7108"/>
                  </a:lnTo>
                  <a:cubicBezTo>
                    <a:pt x="11121" y="7168"/>
                    <a:pt x="11192" y="7311"/>
                    <a:pt x="11192" y="7442"/>
                  </a:cubicBezTo>
                  <a:lnTo>
                    <a:pt x="11192" y="8692"/>
                  </a:lnTo>
                  <a:cubicBezTo>
                    <a:pt x="11192" y="8775"/>
                    <a:pt x="11264" y="8858"/>
                    <a:pt x="11359" y="8858"/>
                  </a:cubicBezTo>
                  <a:cubicBezTo>
                    <a:pt x="11442" y="8858"/>
                    <a:pt x="11514" y="8775"/>
                    <a:pt x="11514" y="8692"/>
                  </a:cubicBezTo>
                  <a:lnTo>
                    <a:pt x="11514" y="7442"/>
                  </a:lnTo>
                  <a:cubicBezTo>
                    <a:pt x="11537" y="7168"/>
                    <a:pt x="11383" y="6930"/>
                    <a:pt x="11145" y="6799"/>
                  </a:cubicBezTo>
                  <a:lnTo>
                    <a:pt x="10466" y="6453"/>
                  </a:lnTo>
                  <a:lnTo>
                    <a:pt x="10466" y="6441"/>
                  </a:lnTo>
                  <a:lnTo>
                    <a:pt x="10466" y="6096"/>
                  </a:lnTo>
                  <a:cubicBezTo>
                    <a:pt x="10740" y="5906"/>
                    <a:pt x="10942" y="5596"/>
                    <a:pt x="11002" y="5239"/>
                  </a:cubicBezTo>
                  <a:cubicBezTo>
                    <a:pt x="11133" y="5013"/>
                    <a:pt x="11192" y="4775"/>
                    <a:pt x="11192" y="4525"/>
                  </a:cubicBezTo>
                  <a:cubicBezTo>
                    <a:pt x="11192" y="4048"/>
                    <a:pt x="10966" y="3632"/>
                    <a:pt x="10609" y="3382"/>
                  </a:cubicBezTo>
                  <a:cubicBezTo>
                    <a:pt x="10621" y="3298"/>
                    <a:pt x="10644" y="3239"/>
                    <a:pt x="10644" y="3167"/>
                  </a:cubicBezTo>
                  <a:cubicBezTo>
                    <a:pt x="10644" y="2727"/>
                    <a:pt x="10240" y="2369"/>
                    <a:pt x="9751" y="2369"/>
                  </a:cubicBezTo>
                  <a:cubicBezTo>
                    <a:pt x="9251" y="2369"/>
                    <a:pt x="8859" y="2727"/>
                    <a:pt x="8859" y="3167"/>
                  </a:cubicBezTo>
                  <a:cubicBezTo>
                    <a:pt x="8859" y="3239"/>
                    <a:pt x="8870" y="3322"/>
                    <a:pt x="8882" y="3382"/>
                  </a:cubicBezTo>
                  <a:cubicBezTo>
                    <a:pt x="8680" y="3536"/>
                    <a:pt x="8513" y="3751"/>
                    <a:pt x="8406" y="3989"/>
                  </a:cubicBezTo>
                  <a:cubicBezTo>
                    <a:pt x="8358" y="3572"/>
                    <a:pt x="8323" y="3084"/>
                    <a:pt x="8275" y="2512"/>
                  </a:cubicBezTo>
                  <a:cubicBezTo>
                    <a:pt x="8216" y="1774"/>
                    <a:pt x="7942" y="1131"/>
                    <a:pt x="7501" y="679"/>
                  </a:cubicBezTo>
                  <a:cubicBezTo>
                    <a:pt x="7049" y="238"/>
                    <a:pt x="6442" y="0"/>
                    <a:pt x="5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7" name="Google Shape;13197;p64"/>
            <p:cNvSpPr/>
            <p:nvPr/>
          </p:nvSpPr>
          <p:spPr>
            <a:xfrm>
              <a:off x="2114800" y="3635440"/>
              <a:ext cx="11045" cy="37941"/>
            </a:xfrm>
            <a:custGeom>
              <a:avLst/>
              <a:gdLst/>
              <a:ahLst/>
              <a:cxnLst/>
              <a:rect l="l" t="t" r="r" b="b"/>
              <a:pathLst>
                <a:path w="347" h="1192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1025"/>
                  </a:lnTo>
                  <a:cubicBezTo>
                    <a:pt x="1" y="1108"/>
                    <a:pt x="72" y="1191"/>
                    <a:pt x="167" y="1191"/>
                  </a:cubicBezTo>
                  <a:cubicBezTo>
                    <a:pt x="251" y="1191"/>
                    <a:pt x="322" y="1108"/>
                    <a:pt x="322" y="1025"/>
                  </a:cubicBezTo>
                  <a:lnTo>
                    <a:pt x="322" y="156"/>
                  </a:lnTo>
                  <a:cubicBezTo>
                    <a:pt x="346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98" name="Google Shape;13198;p64"/>
          <p:cNvGrpSpPr/>
          <p:nvPr/>
        </p:nvGrpSpPr>
        <p:grpSpPr>
          <a:xfrm>
            <a:off x="3678830" y="3370933"/>
            <a:ext cx="369164" cy="323297"/>
            <a:chOff x="3678830" y="3370933"/>
            <a:chExt cx="369164" cy="323297"/>
          </a:xfrm>
        </p:grpSpPr>
        <p:sp>
          <p:nvSpPr>
            <p:cNvPr id="13199" name="Google Shape;13199;p64"/>
            <p:cNvSpPr/>
            <p:nvPr/>
          </p:nvSpPr>
          <p:spPr>
            <a:xfrm>
              <a:off x="3678830" y="3370933"/>
              <a:ext cx="369164" cy="323297"/>
            </a:xfrm>
            <a:custGeom>
              <a:avLst/>
              <a:gdLst/>
              <a:ahLst/>
              <a:cxnLst/>
              <a:rect l="l" t="t" r="r" b="b"/>
              <a:pathLst>
                <a:path w="11598" h="10157" extrusionOk="0">
                  <a:moveTo>
                    <a:pt x="6514" y="357"/>
                  </a:moveTo>
                  <a:lnTo>
                    <a:pt x="6180" y="3274"/>
                  </a:lnTo>
                  <a:cubicBezTo>
                    <a:pt x="6180" y="3274"/>
                    <a:pt x="6180" y="3286"/>
                    <a:pt x="6168" y="3286"/>
                  </a:cubicBezTo>
                  <a:lnTo>
                    <a:pt x="5406" y="3286"/>
                  </a:lnTo>
                  <a:cubicBezTo>
                    <a:pt x="5406" y="3286"/>
                    <a:pt x="5394" y="3286"/>
                    <a:pt x="5394" y="3274"/>
                  </a:cubicBezTo>
                  <a:lnTo>
                    <a:pt x="5061" y="357"/>
                  </a:lnTo>
                  <a:close/>
                  <a:moveTo>
                    <a:pt x="11026" y="2893"/>
                  </a:moveTo>
                  <a:cubicBezTo>
                    <a:pt x="11133" y="2893"/>
                    <a:pt x="11228" y="2977"/>
                    <a:pt x="11228" y="3084"/>
                  </a:cubicBezTo>
                  <a:lnTo>
                    <a:pt x="11228" y="9620"/>
                  </a:lnTo>
                  <a:lnTo>
                    <a:pt x="11240" y="9620"/>
                  </a:lnTo>
                  <a:cubicBezTo>
                    <a:pt x="11240" y="9716"/>
                    <a:pt x="11157" y="9811"/>
                    <a:pt x="11050" y="9811"/>
                  </a:cubicBezTo>
                  <a:lnTo>
                    <a:pt x="525" y="9811"/>
                  </a:lnTo>
                  <a:cubicBezTo>
                    <a:pt x="418" y="9811"/>
                    <a:pt x="334" y="9716"/>
                    <a:pt x="334" y="9620"/>
                  </a:cubicBezTo>
                  <a:lnTo>
                    <a:pt x="334" y="3084"/>
                  </a:lnTo>
                  <a:cubicBezTo>
                    <a:pt x="334" y="2977"/>
                    <a:pt x="418" y="2893"/>
                    <a:pt x="525" y="2893"/>
                  </a:cubicBezTo>
                  <a:lnTo>
                    <a:pt x="5025" y="2893"/>
                  </a:lnTo>
                  <a:lnTo>
                    <a:pt x="5061" y="3310"/>
                  </a:lnTo>
                  <a:cubicBezTo>
                    <a:pt x="5085" y="3489"/>
                    <a:pt x="5228" y="3620"/>
                    <a:pt x="5406" y="3620"/>
                  </a:cubicBezTo>
                  <a:lnTo>
                    <a:pt x="6168" y="3620"/>
                  </a:lnTo>
                  <a:cubicBezTo>
                    <a:pt x="6347" y="3620"/>
                    <a:pt x="6490" y="3489"/>
                    <a:pt x="6502" y="3310"/>
                  </a:cubicBezTo>
                  <a:lnTo>
                    <a:pt x="6549" y="2893"/>
                  </a:lnTo>
                  <a:close/>
                  <a:moveTo>
                    <a:pt x="4882" y="0"/>
                  </a:moveTo>
                  <a:cubicBezTo>
                    <a:pt x="4847" y="0"/>
                    <a:pt x="4799" y="12"/>
                    <a:pt x="4763" y="60"/>
                  </a:cubicBezTo>
                  <a:cubicBezTo>
                    <a:pt x="4740" y="95"/>
                    <a:pt x="4728" y="155"/>
                    <a:pt x="4728" y="191"/>
                  </a:cubicBezTo>
                  <a:lnTo>
                    <a:pt x="4990" y="2548"/>
                  </a:lnTo>
                  <a:lnTo>
                    <a:pt x="537" y="2548"/>
                  </a:lnTo>
                  <a:cubicBezTo>
                    <a:pt x="239" y="2548"/>
                    <a:pt x="1" y="2786"/>
                    <a:pt x="1" y="3084"/>
                  </a:cubicBezTo>
                  <a:lnTo>
                    <a:pt x="1" y="9620"/>
                  </a:lnTo>
                  <a:cubicBezTo>
                    <a:pt x="1" y="9918"/>
                    <a:pt x="239" y="10156"/>
                    <a:pt x="537" y="10156"/>
                  </a:cubicBezTo>
                  <a:lnTo>
                    <a:pt x="11062" y="10156"/>
                  </a:lnTo>
                  <a:cubicBezTo>
                    <a:pt x="11359" y="10156"/>
                    <a:pt x="11598" y="9918"/>
                    <a:pt x="11598" y="9620"/>
                  </a:cubicBezTo>
                  <a:lnTo>
                    <a:pt x="11598" y="3084"/>
                  </a:lnTo>
                  <a:cubicBezTo>
                    <a:pt x="11586" y="2786"/>
                    <a:pt x="11348" y="2548"/>
                    <a:pt x="11050" y="2548"/>
                  </a:cubicBezTo>
                  <a:lnTo>
                    <a:pt x="6597" y="2548"/>
                  </a:lnTo>
                  <a:lnTo>
                    <a:pt x="6871" y="191"/>
                  </a:lnTo>
                  <a:cubicBezTo>
                    <a:pt x="6871" y="155"/>
                    <a:pt x="6847" y="107"/>
                    <a:pt x="6823" y="60"/>
                  </a:cubicBezTo>
                  <a:cubicBezTo>
                    <a:pt x="6787" y="36"/>
                    <a:pt x="6752" y="0"/>
                    <a:pt x="67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0" name="Google Shape;13200;p64"/>
            <p:cNvSpPr/>
            <p:nvPr/>
          </p:nvSpPr>
          <p:spPr>
            <a:xfrm>
              <a:off x="3713716" y="3498253"/>
              <a:ext cx="126206" cy="161092"/>
            </a:xfrm>
            <a:custGeom>
              <a:avLst/>
              <a:gdLst/>
              <a:ahLst/>
              <a:cxnLst/>
              <a:rect l="l" t="t" r="r" b="b"/>
              <a:pathLst>
                <a:path w="3965" h="5061" extrusionOk="0">
                  <a:moveTo>
                    <a:pt x="2155" y="1251"/>
                  </a:moveTo>
                  <a:cubicBezTo>
                    <a:pt x="2358" y="1251"/>
                    <a:pt x="2524" y="1418"/>
                    <a:pt x="2524" y="1632"/>
                  </a:cubicBezTo>
                  <a:lnTo>
                    <a:pt x="2524" y="1989"/>
                  </a:lnTo>
                  <a:cubicBezTo>
                    <a:pt x="2536" y="2299"/>
                    <a:pt x="2286" y="2537"/>
                    <a:pt x="1977" y="2537"/>
                  </a:cubicBezTo>
                  <a:cubicBezTo>
                    <a:pt x="1667" y="2537"/>
                    <a:pt x="1429" y="2287"/>
                    <a:pt x="1429" y="1989"/>
                  </a:cubicBezTo>
                  <a:lnTo>
                    <a:pt x="1429" y="1632"/>
                  </a:lnTo>
                  <a:cubicBezTo>
                    <a:pt x="1429" y="1418"/>
                    <a:pt x="1584" y="1251"/>
                    <a:pt x="1798" y="1251"/>
                  </a:cubicBezTo>
                  <a:close/>
                  <a:moveTo>
                    <a:pt x="2167" y="2846"/>
                  </a:moveTo>
                  <a:lnTo>
                    <a:pt x="2167" y="2953"/>
                  </a:lnTo>
                  <a:cubicBezTo>
                    <a:pt x="2167" y="3025"/>
                    <a:pt x="2179" y="3084"/>
                    <a:pt x="2227" y="3132"/>
                  </a:cubicBezTo>
                  <a:lnTo>
                    <a:pt x="1989" y="3370"/>
                  </a:lnTo>
                  <a:lnTo>
                    <a:pt x="1977" y="3370"/>
                  </a:lnTo>
                  <a:lnTo>
                    <a:pt x="1739" y="3132"/>
                  </a:lnTo>
                  <a:cubicBezTo>
                    <a:pt x="1762" y="3073"/>
                    <a:pt x="1774" y="3013"/>
                    <a:pt x="1774" y="2953"/>
                  </a:cubicBezTo>
                  <a:lnTo>
                    <a:pt x="1774" y="2846"/>
                  </a:lnTo>
                  <a:cubicBezTo>
                    <a:pt x="1834" y="2858"/>
                    <a:pt x="1917" y="2858"/>
                    <a:pt x="1977" y="2858"/>
                  </a:cubicBezTo>
                  <a:cubicBezTo>
                    <a:pt x="2036" y="2858"/>
                    <a:pt x="2108" y="2846"/>
                    <a:pt x="2167" y="2846"/>
                  </a:cubicBezTo>
                  <a:close/>
                  <a:moveTo>
                    <a:pt x="2512" y="3334"/>
                  </a:moveTo>
                  <a:lnTo>
                    <a:pt x="2810" y="3489"/>
                  </a:lnTo>
                  <a:cubicBezTo>
                    <a:pt x="2870" y="3513"/>
                    <a:pt x="2917" y="3596"/>
                    <a:pt x="2917" y="3668"/>
                  </a:cubicBezTo>
                  <a:lnTo>
                    <a:pt x="2917" y="4727"/>
                  </a:lnTo>
                  <a:lnTo>
                    <a:pt x="1072" y="4727"/>
                  </a:lnTo>
                  <a:lnTo>
                    <a:pt x="1072" y="3668"/>
                  </a:lnTo>
                  <a:cubicBezTo>
                    <a:pt x="1072" y="3596"/>
                    <a:pt x="1108" y="3537"/>
                    <a:pt x="1167" y="3489"/>
                  </a:cubicBezTo>
                  <a:lnTo>
                    <a:pt x="1465" y="3334"/>
                  </a:lnTo>
                  <a:lnTo>
                    <a:pt x="1739" y="3608"/>
                  </a:lnTo>
                  <a:cubicBezTo>
                    <a:pt x="1810" y="3680"/>
                    <a:pt x="1905" y="3704"/>
                    <a:pt x="1989" y="3704"/>
                  </a:cubicBezTo>
                  <a:cubicBezTo>
                    <a:pt x="2084" y="3704"/>
                    <a:pt x="2167" y="3680"/>
                    <a:pt x="2239" y="3608"/>
                  </a:cubicBezTo>
                  <a:lnTo>
                    <a:pt x="2512" y="3334"/>
                  </a:lnTo>
                  <a:close/>
                  <a:moveTo>
                    <a:pt x="3608" y="334"/>
                  </a:moveTo>
                  <a:cubicBezTo>
                    <a:pt x="3608" y="334"/>
                    <a:pt x="3632" y="334"/>
                    <a:pt x="3632" y="346"/>
                  </a:cubicBezTo>
                  <a:lnTo>
                    <a:pt x="3632" y="4704"/>
                  </a:lnTo>
                  <a:lnTo>
                    <a:pt x="3239" y="4727"/>
                  </a:lnTo>
                  <a:lnTo>
                    <a:pt x="3239" y="3668"/>
                  </a:lnTo>
                  <a:cubicBezTo>
                    <a:pt x="3239" y="3454"/>
                    <a:pt x="3120" y="3275"/>
                    <a:pt x="2941" y="3192"/>
                  </a:cubicBezTo>
                  <a:lnTo>
                    <a:pt x="2512" y="2977"/>
                  </a:lnTo>
                  <a:lnTo>
                    <a:pt x="2512" y="2965"/>
                  </a:lnTo>
                  <a:lnTo>
                    <a:pt x="2512" y="2715"/>
                  </a:lnTo>
                  <a:cubicBezTo>
                    <a:pt x="2739" y="2549"/>
                    <a:pt x="2870" y="2275"/>
                    <a:pt x="2870" y="2001"/>
                  </a:cubicBezTo>
                  <a:lnTo>
                    <a:pt x="2870" y="1644"/>
                  </a:lnTo>
                  <a:cubicBezTo>
                    <a:pt x="2870" y="1251"/>
                    <a:pt x="2536" y="929"/>
                    <a:pt x="2155" y="929"/>
                  </a:cubicBezTo>
                  <a:lnTo>
                    <a:pt x="1798" y="929"/>
                  </a:lnTo>
                  <a:cubicBezTo>
                    <a:pt x="1405" y="929"/>
                    <a:pt x="1084" y="1251"/>
                    <a:pt x="1084" y="1644"/>
                  </a:cubicBezTo>
                  <a:lnTo>
                    <a:pt x="1084" y="2001"/>
                  </a:lnTo>
                  <a:cubicBezTo>
                    <a:pt x="1084" y="2299"/>
                    <a:pt x="1227" y="2549"/>
                    <a:pt x="1441" y="2715"/>
                  </a:cubicBezTo>
                  <a:lnTo>
                    <a:pt x="1441" y="2965"/>
                  </a:lnTo>
                  <a:lnTo>
                    <a:pt x="1441" y="2977"/>
                  </a:lnTo>
                  <a:lnTo>
                    <a:pt x="1012" y="3192"/>
                  </a:lnTo>
                  <a:cubicBezTo>
                    <a:pt x="834" y="3275"/>
                    <a:pt x="715" y="3454"/>
                    <a:pt x="715" y="3668"/>
                  </a:cubicBezTo>
                  <a:lnTo>
                    <a:pt x="715" y="4727"/>
                  </a:lnTo>
                  <a:lnTo>
                    <a:pt x="357" y="4727"/>
                  </a:lnTo>
                  <a:cubicBezTo>
                    <a:pt x="357" y="4727"/>
                    <a:pt x="334" y="4727"/>
                    <a:pt x="334" y="4704"/>
                  </a:cubicBezTo>
                  <a:lnTo>
                    <a:pt x="334" y="346"/>
                  </a:lnTo>
                  <a:cubicBezTo>
                    <a:pt x="334" y="346"/>
                    <a:pt x="334" y="334"/>
                    <a:pt x="357" y="334"/>
                  </a:cubicBezTo>
                  <a:close/>
                  <a:moveTo>
                    <a:pt x="357" y="1"/>
                  </a:moveTo>
                  <a:cubicBezTo>
                    <a:pt x="155" y="1"/>
                    <a:pt x="0" y="167"/>
                    <a:pt x="0" y="358"/>
                  </a:cubicBezTo>
                  <a:lnTo>
                    <a:pt x="0" y="4704"/>
                  </a:lnTo>
                  <a:cubicBezTo>
                    <a:pt x="0" y="4906"/>
                    <a:pt x="155" y="5061"/>
                    <a:pt x="357" y="5061"/>
                  </a:cubicBezTo>
                  <a:lnTo>
                    <a:pt x="3608" y="5061"/>
                  </a:lnTo>
                  <a:cubicBezTo>
                    <a:pt x="3810" y="5061"/>
                    <a:pt x="3965" y="4906"/>
                    <a:pt x="3965" y="4704"/>
                  </a:cubicBezTo>
                  <a:lnTo>
                    <a:pt x="3965" y="346"/>
                  </a:lnTo>
                  <a:cubicBezTo>
                    <a:pt x="3965" y="155"/>
                    <a:pt x="3810" y="1"/>
                    <a:pt x="3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1" name="Google Shape;13201;p64"/>
            <p:cNvSpPr/>
            <p:nvPr/>
          </p:nvSpPr>
          <p:spPr>
            <a:xfrm>
              <a:off x="3863795" y="3498253"/>
              <a:ext cx="149728" cy="34154"/>
            </a:xfrm>
            <a:custGeom>
              <a:avLst/>
              <a:gdLst/>
              <a:ahLst/>
              <a:cxnLst/>
              <a:rect l="l" t="t" r="r" b="b"/>
              <a:pathLst>
                <a:path w="4704" h="1073" extrusionOk="0">
                  <a:moveTo>
                    <a:pt x="4334" y="334"/>
                  </a:moveTo>
                  <a:cubicBezTo>
                    <a:pt x="4334" y="334"/>
                    <a:pt x="4346" y="334"/>
                    <a:pt x="4346" y="346"/>
                  </a:cubicBezTo>
                  <a:lnTo>
                    <a:pt x="4346" y="715"/>
                  </a:lnTo>
                  <a:lnTo>
                    <a:pt x="345" y="739"/>
                  </a:lnTo>
                  <a:cubicBezTo>
                    <a:pt x="345" y="739"/>
                    <a:pt x="322" y="739"/>
                    <a:pt x="322" y="715"/>
                  </a:cubicBezTo>
                  <a:lnTo>
                    <a:pt x="322" y="346"/>
                  </a:lnTo>
                  <a:cubicBezTo>
                    <a:pt x="322" y="346"/>
                    <a:pt x="322" y="334"/>
                    <a:pt x="345" y="334"/>
                  </a:cubicBezTo>
                  <a:close/>
                  <a:moveTo>
                    <a:pt x="357" y="1"/>
                  </a:moveTo>
                  <a:cubicBezTo>
                    <a:pt x="167" y="1"/>
                    <a:pt x="0" y="167"/>
                    <a:pt x="0" y="358"/>
                  </a:cubicBezTo>
                  <a:lnTo>
                    <a:pt x="0" y="715"/>
                  </a:lnTo>
                  <a:cubicBezTo>
                    <a:pt x="0" y="917"/>
                    <a:pt x="167" y="1072"/>
                    <a:pt x="357" y="1072"/>
                  </a:cubicBezTo>
                  <a:lnTo>
                    <a:pt x="4346" y="1072"/>
                  </a:lnTo>
                  <a:cubicBezTo>
                    <a:pt x="4536" y="1072"/>
                    <a:pt x="4703" y="917"/>
                    <a:pt x="4703" y="715"/>
                  </a:cubicBezTo>
                  <a:lnTo>
                    <a:pt x="4703" y="346"/>
                  </a:lnTo>
                  <a:cubicBezTo>
                    <a:pt x="4691" y="155"/>
                    <a:pt x="4536" y="1"/>
                    <a:pt x="4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2" name="Google Shape;13202;p64"/>
            <p:cNvSpPr/>
            <p:nvPr/>
          </p:nvSpPr>
          <p:spPr>
            <a:xfrm>
              <a:off x="3863413" y="3544502"/>
              <a:ext cx="114843" cy="33740"/>
            </a:xfrm>
            <a:custGeom>
              <a:avLst/>
              <a:gdLst/>
              <a:ahLst/>
              <a:cxnLst/>
              <a:rect l="l" t="t" r="r" b="b"/>
              <a:pathLst>
                <a:path w="3608" h="1060" extrusionOk="0">
                  <a:moveTo>
                    <a:pt x="3251" y="334"/>
                  </a:moveTo>
                  <a:cubicBezTo>
                    <a:pt x="3251" y="334"/>
                    <a:pt x="3274" y="334"/>
                    <a:pt x="3274" y="357"/>
                  </a:cubicBezTo>
                  <a:lnTo>
                    <a:pt x="3274" y="715"/>
                  </a:lnTo>
                  <a:lnTo>
                    <a:pt x="357" y="727"/>
                  </a:lnTo>
                  <a:cubicBezTo>
                    <a:pt x="357" y="727"/>
                    <a:pt x="334" y="727"/>
                    <a:pt x="334" y="715"/>
                  </a:cubicBezTo>
                  <a:lnTo>
                    <a:pt x="334" y="357"/>
                  </a:lnTo>
                  <a:cubicBezTo>
                    <a:pt x="334" y="357"/>
                    <a:pt x="334" y="334"/>
                    <a:pt x="357" y="334"/>
                  </a:cubicBezTo>
                  <a:close/>
                  <a:moveTo>
                    <a:pt x="357" y="0"/>
                  </a:moveTo>
                  <a:cubicBezTo>
                    <a:pt x="155" y="0"/>
                    <a:pt x="0" y="155"/>
                    <a:pt x="0" y="357"/>
                  </a:cubicBezTo>
                  <a:lnTo>
                    <a:pt x="0" y="715"/>
                  </a:lnTo>
                  <a:cubicBezTo>
                    <a:pt x="0" y="905"/>
                    <a:pt x="155" y="1060"/>
                    <a:pt x="357" y="1060"/>
                  </a:cubicBezTo>
                  <a:lnTo>
                    <a:pt x="3251" y="1060"/>
                  </a:lnTo>
                  <a:cubicBezTo>
                    <a:pt x="3453" y="1060"/>
                    <a:pt x="3608" y="905"/>
                    <a:pt x="3608" y="715"/>
                  </a:cubicBezTo>
                  <a:lnTo>
                    <a:pt x="3608" y="357"/>
                  </a:lnTo>
                  <a:cubicBezTo>
                    <a:pt x="3608" y="155"/>
                    <a:pt x="3453" y="0"/>
                    <a:pt x="3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3" name="Google Shape;13203;p64"/>
            <p:cNvSpPr/>
            <p:nvPr/>
          </p:nvSpPr>
          <p:spPr>
            <a:xfrm>
              <a:off x="3863795" y="3590719"/>
              <a:ext cx="68625" cy="10663"/>
            </a:xfrm>
            <a:custGeom>
              <a:avLst/>
              <a:gdLst/>
              <a:ahLst/>
              <a:cxnLst/>
              <a:rect l="l" t="t" r="r" b="b"/>
              <a:pathLst>
                <a:path w="2156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977" y="334"/>
                  </a:lnTo>
                  <a:cubicBezTo>
                    <a:pt x="2072" y="334"/>
                    <a:pt x="2143" y="251"/>
                    <a:pt x="2143" y="168"/>
                  </a:cubicBezTo>
                  <a:cubicBezTo>
                    <a:pt x="2155" y="72"/>
                    <a:pt x="2072" y="1"/>
                    <a:pt x="1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4" name="Google Shape;13204;p64"/>
            <p:cNvSpPr/>
            <p:nvPr/>
          </p:nvSpPr>
          <p:spPr>
            <a:xfrm>
              <a:off x="3944897" y="3590719"/>
              <a:ext cx="33358" cy="10663"/>
            </a:xfrm>
            <a:custGeom>
              <a:avLst/>
              <a:gdLst/>
              <a:ahLst/>
              <a:cxnLst/>
              <a:rect l="l" t="t" r="r" b="b"/>
              <a:pathLst>
                <a:path w="1048" h="335" extrusionOk="0">
                  <a:moveTo>
                    <a:pt x="155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55" y="334"/>
                  </a:cubicBezTo>
                  <a:lnTo>
                    <a:pt x="893" y="334"/>
                  </a:lnTo>
                  <a:cubicBezTo>
                    <a:pt x="976" y="334"/>
                    <a:pt x="1048" y="251"/>
                    <a:pt x="1048" y="168"/>
                  </a:cubicBezTo>
                  <a:cubicBezTo>
                    <a:pt x="1048" y="72"/>
                    <a:pt x="976" y="1"/>
                    <a:pt x="8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5" name="Google Shape;13205;p64"/>
            <p:cNvSpPr/>
            <p:nvPr/>
          </p:nvSpPr>
          <p:spPr>
            <a:xfrm>
              <a:off x="3864176" y="3625223"/>
              <a:ext cx="21995" cy="1063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cubicBezTo>
                    <a:pt x="0" y="262"/>
                    <a:pt x="71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91" y="262"/>
                    <a:pt x="691" y="167"/>
                  </a:cubicBezTo>
                  <a:cubicBezTo>
                    <a:pt x="691" y="84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6" name="Google Shape;13206;p64"/>
            <p:cNvSpPr/>
            <p:nvPr/>
          </p:nvSpPr>
          <p:spPr>
            <a:xfrm>
              <a:off x="3898648" y="3625223"/>
              <a:ext cx="56498" cy="10631"/>
            </a:xfrm>
            <a:custGeom>
              <a:avLst/>
              <a:gdLst/>
              <a:ahLst/>
              <a:cxnLst/>
              <a:rect l="l" t="t" r="r" b="b"/>
              <a:pathLst>
                <a:path w="1775" h="334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cubicBezTo>
                    <a:pt x="0" y="262"/>
                    <a:pt x="84" y="334"/>
                    <a:pt x="167" y="334"/>
                  </a:cubicBezTo>
                  <a:lnTo>
                    <a:pt x="1608" y="334"/>
                  </a:lnTo>
                  <a:cubicBezTo>
                    <a:pt x="1703" y="334"/>
                    <a:pt x="1775" y="262"/>
                    <a:pt x="1775" y="167"/>
                  </a:cubicBezTo>
                  <a:cubicBezTo>
                    <a:pt x="1775" y="84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7" name="Google Shape;13207;p64"/>
            <p:cNvSpPr/>
            <p:nvPr/>
          </p:nvSpPr>
          <p:spPr>
            <a:xfrm>
              <a:off x="3864176" y="3648713"/>
              <a:ext cx="21995" cy="10249"/>
            </a:xfrm>
            <a:custGeom>
              <a:avLst/>
              <a:gdLst/>
              <a:ahLst/>
              <a:cxnLst/>
              <a:rect l="l" t="t" r="r" b="b"/>
              <a:pathLst>
                <a:path w="691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524" y="322"/>
                  </a:lnTo>
                  <a:cubicBezTo>
                    <a:pt x="607" y="322"/>
                    <a:pt x="691" y="251"/>
                    <a:pt x="691" y="155"/>
                  </a:cubicBezTo>
                  <a:cubicBezTo>
                    <a:pt x="691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8" name="Google Shape;13208;p64"/>
            <p:cNvSpPr/>
            <p:nvPr/>
          </p:nvSpPr>
          <p:spPr>
            <a:xfrm>
              <a:off x="3898648" y="3648713"/>
              <a:ext cx="56498" cy="10249"/>
            </a:xfrm>
            <a:custGeom>
              <a:avLst/>
              <a:gdLst/>
              <a:ahLst/>
              <a:cxnLst/>
              <a:rect l="l" t="t" r="r" b="b"/>
              <a:pathLst>
                <a:path w="1775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1608" y="322"/>
                  </a:lnTo>
                  <a:cubicBezTo>
                    <a:pt x="1703" y="322"/>
                    <a:pt x="1775" y="251"/>
                    <a:pt x="1775" y="155"/>
                  </a:cubicBezTo>
                  <a:cubicBezTo>
                    <a:pt x="1775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9" name="Google Shape;13209;p64"/>
            <p:cNvSpPr/>
            <p:nvPr/>
          </p:nvSpPr>
          <p:spPr>
            <a:xfrm>
              <a:off x="3858097" y="3452036"/>
              <a:ext cx="11013" cy="10249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cubicBezTo>
                    <a:pt x="251" y="322"/>
                    <a:pt x="322" y="250"/>
                    <a:pt x="322" y="167"/>
                  </a:cubicBezTo>
                  <a:cubicBezTo>
                    <a:pt x="346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10" name="Google Shape;13210;p64"/>
          <p:cNvGrpSpPr/>
          <p:nvPr/>
        </p:nvGrpSpPr>
        <p:grpSpPr>
          <a:xfrm>
            <a:off x="859265" y="3348175"/>
            <a:ext cx="312316" cy="368400"/>
            <a:chOff x="859265" y="3348175"/>
            <a:chExt cx="312316" cy="368400"/>
          </a:xfrm>
        </p:grpSpPr>
        <p:sp>
          <p:nvSpPr>
            <p:cNvPr id="13211" name="Google Shape;13211;p64"/>
            <p:cNvSpPr/>
            <p:nvPr/>
          </p:nvSpPr>
          <p:spPr>
            <a:xfrm>
              <a:off x="968792" y="3507102"/>
              <a:ext cx="92498" cy="30589"/>
            </a:xfrm>
            <a:custGeom>
              <a:avLst/>
              <a:gdLst/>
              <a:ahLst/>
              <a:cxnLst/>
              <a:rect l="l" t="t" r="r" b="b"/>
              <a:pathLst>
                <a:path w="2906" h="961" extrusionOk="0">
                  <a:moveTo>
                    <a:pt x="1169" y="1"/>
                  </a:moveTo>
                  <a:cubicBezTo>
                    <a:pt x="820" y="1"/>
                    <a:pt x="503" y="37"/>
                    <a:pt x="298" y="68"/>
                  </a:cubicBezTo>
                  <a:cubicBezTo>
                    <a:pt x="119" y="104"/>
                    <a:pt x="0" y="247"/>
                    <a:pt x="0" y="413"/>
                  </a:cubicBezTo>
                  <a:lnTo>
                    <a:pt x="0" y="794"/>
                  </a:lnTo>
                  <a:cubicBezTo>
                    <a:pt x="0" y="890"/>
                    <a:pt x="72" y="961"/>
                    <a:pt x="167" y="961"/>
                  </a:cubicBezTo>
                  <a:cubicBezTo>
                    <a:pt x="250" y="961"/>
                    <a:pt x="322" y="890"/>
                    <a:pt x="322" y="794"/>
                  </a:cubicBezTo>
                  <a:lnTo>
                    <a:pt x="322" y="413"/>
                  </a:lnTo>
                  <a:cubicBezTo>
                    <a:pt x="322" y="413"/>
                    <a:pt x="322" y="401"/>
                    <a:pt x="346" y="401"/>
                  </a:cubicBezTo>
                  <a:cubicBezTo>
                    <a:pt x="513" y="373"/>
                    <a:pt x="820" y="331"/>
                    <a:pt x="1157" y="331"/>
                  </a:cubicBezTo>
                  <a:cubicBezTo>
                    <a:pt x="1250" y="331"/>
                    <a:pt x="1345" y="334"/>
                    <a:pt x="1441" y="342"/>
                  </a:cubicBezTo>
                  <a:cubicBezTo>
                    <a:pt x="1977" y="366"/>
                    <a:pt x="2346" y="497"/>
                    <a:pt x="2572" y="735"/>
                  </a:cubicBezTo>
                  <a:cubicBezTo>
                    <a:pt x="2602" y="764"/>
                    <a:pt x="2646" y="779"/>
                    <a:pt x="2691" y="779"/>
                  </a:cubicBezTo>
                  <a:cubicBezTo>
                    <a:pt x="2736" y="779"/>
                    <a:pt x="2780" y="764"/>
                    <a:pt x="2810" y="735"/>
                  </a:cubicBezTo>
                  <a:cubicBezTo>
                    <a:pt x="2905" y="675"/>
                    <a:pt x="2905" y="556"/>
                    <a:pt x="2834" y="497"/>
                  </a:cubicBezTo>
                  <a:cubicBezTo>
                    <a:pt x="2432" y="102"/>
                    <a:pt x="1754" y="1"/>
                    <a:pt x="1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2" name="Google Shape;13212;p64"/>
            <p:cNvSpPr/>
            <p:nvPr/>
          </p:nvSpPr>
          <p:spPr>
            <a:xfrm>
              <a:off x="911562" y="3458466"/>
              <a:ext cx="206577" cy="258109"/>
            </a:xfrm>
            <a:custGeom>
              <a:avLst/>
              <a:gdLst/>
              <a:ahLst/>
              <a:cxnLst/>
              <a:rect l="l" t="t" r="r" b="b"/>
              <a:pathLst>
                <a:path w="6490" h="8109" extrusionOk="0">
                  <a:moveTo>
                    <a:pt x="5061" y="322"/>
                  </a:moveTo>
                  <a:lnTo>
                    <a:pt x="5061" y="1953"/>
                  </a:lnTo>
                  <a:cubicBezTo>
                    <a:pt x="5061" y="2203"/>
                    <a:pt x="5001" y="2441"/>
                    <a:pt x="4894" y="2668"/>
                  </a:cubicBezTo>
                  <a:cubicBezTo>
                    <a:pt x="4882" y="2703"/>
                    <a:pt x="4882" y="2715"/>
                    <a:pt x="4882" y="2739"/>
                  </a:cubicBezTo>
                  <a:lnTo>
                    <a:pt x="4882" y="3215"/>
                  </a:lnTo>
                  <a:cubicBezTo>
                    <a:pt x="4882" y="3680"/>
                    <a:pt x="4703" y="4096"/>
                    <a:pt x="4358" y="4430"/>
                  </a:cubicBezTo>
                  <a:cubicBezTo>
                    <a:pt x="4044" y="4712"/>
                    <a:pt x="3660" y="4875"/>
                    <a:pt x="3244" y="4875"/>
                  </a:cubicBezTo>
                  <a:cubicBezTo>
                    <a:pt x="3203" y="4875"/>
                    <a:pt x="3161" y="4873"/>
                    <a:pt x="3120" y="4870"/>
                  </a:cubicBezTo>
                  <a:cubicBezTo>
                    <a:pt x="2275" y="4823"/>
                    <a:pt x="1596" y="4072"/>
                    <a:pt x="1596" y="3180"/>
                  </a:cubicBezTo>
                  <a:lnTo>
                    <a:pt x="1596" y="2763"/>
                  </a:lnTo>
                  <a:cubicBezTo>
                    <a:pt x="1596" y="2727"/>
                    <a:pt x="1596" y="2715"/>
                    <a:pt x="1572" y="2679"/>
                  </a:cubicBezTo>
                  <a:cubicBezTo>
                    <a:pt x="1477" y="2465"/>
                    <a:pt x="1417" y="2227"/>
                    <a:pt x="1417" y="1965"/>
                  </a:cubicBezTo>
                  <a:lnTo>
                    <a:pt x="1417" y="1596"/>
                  </a:lnTo>
                  <a:cubicBezTo>
                    <a:pt x="1417" y="894"/>
                    <a:pt x="1989" y="322"/>
                    <a:pt x="2691" y="322"/>
                  </a:cubicBezTo>
                  <a:close/>
                  <a:moveTo>
                    <a:pt x="4168" y="4989"/>
                  </a:moveTo>
                  <a:lnTo>
                    <a:pt x="4168" y="5299"/>
                  </a:lnTo>
                  <a:lnTo>
                    <a:pt x="3239" y="5930"/>
                  </a:lnTo>
                  <a:lnTo>
                    <a:pt x="2322" y="5299"/>
                  </a:lnTo>
                  <a:lnTo>
                    <a:pt x="2322" y="4989"/>
                  </a:lnTo>
                  <a:cubicBezTo>
                    <a:pt x="2560" y="5120"/>
                    <a:pt x="2822" y="5204"/>
                    <a:pt x="3108" y="5215"/>
                  </a:cubicBezTo>
                  <a:lnTo>
                    <a:pt x="3239" y="5215"/>
                  </a:lnTo>
                  <a:cubicBezTo>
                    <a:pt x="3572" y="5215"/>
                    <a:pt x="3882" y="5144"/>
                    <a:pt x="4168" y="4989"/>
                  </a:cubicBezTo>
                  <a:close/>
                  <a:moveTo>
                    <a:pt x="2191" y="5620"/>
                  </a:moveTo>
                  <a:lnTo>
                    <a:pt x="2989" y="6168"/>
                  </a:lnTo>
                  <a:lnTo>
                    <a:pt x="2560" y="6585"/>
                  </a:lnTo>
                  <a:lnTo>
                    <a:pt x="2548" y="6585"/>
                  </a:lnTo>
                  <a:lnTo>
                    <a:pt x="2024" y="5799"/>
                  </a:lnTo>
                  <a:lnTo>
                    <a:pt x="2191" y="5620"/>
                  </a:lnTo>
                  <a:close/>
                  <a:moveTo>
                    <a:pt x="4299" y="5596"/>
                  </a:moveTo>
                  <a:lnTo>
                    <a:pt x="4465" y="5775"/>
                  </a:lnTo>
                  <a:lnTo>
                    <a:pt x="3941" y="6585"/>
                  </a:lnTo>
                  <a:lnTo>
                    <a:pt x="3929" y="6585"/>
                  </a:lnTo>
                  <a:lnTo>
                    <a:pt x="3501" y="6156"/>
                  </a:lnTo>
                  <a:lnTo>
                    <a:pt x="4299" y="5596"/>
                  </a:lnTo>
                  <a:close/>
                  <a:moveTo>
                    <a:pt x="2703" y="1"/>
                  </a:moveTo>
                  <a:cubicBezTo>
                    <a:pt x="1810" y="1"/>
                    <a:pt x="1084" y="727"/>
                    <a:pt x="1084" y="1620"/>
                  </a:cubicBezTo>
                  <a:lnTo>
                    <a:pt x="1084" y="1977"/>
                  </a:lnTo>
                  <a:cubicBezTo>
                    <a:pt x="1084" y="2263"/>
                    <a:pt x="1143" y="2548"/>
                    <a:pt x="1262" y="2799"/>
                  </a:cubicBezTo>
                  <a:lnTo>
                    <a:pt x="1262" y="3191"/>
                  </a:lnTo>
                  <a:cubicBezTo>
                    <a:pt x="1262" y="3822"/>
                    <a:pt x="1548" y="4394"/>
                    <a:pt x="1989" y="4763"/>
                  </a:cubicBezTo>
                  <a:lnTo>
                    <a:pt x="1989" y="5335"/>
                  </a:lnTo>
                  <a:lnTo>
                    <a:pt x="1679" y="5656"/>
                  </a:lnTo>
                  <a:cubicBezTo>
                    <a:pt x="1655" y="5692"/>
                    <a:pt x="1632" y="5751"/>
                    <a:pt x="1632" y="5787"/>
                  </a:cubicBezTo>
                  <a:lnTo>
                    <a:pt x="596" y="6168"/>
                  </a:lnTo>
                  <a:cubicBezTo>
                    <a:pt x="239" y="6299"/>
                    <a:pt x="0" y="6620"/>
                    <a:pt x="0" y="7013"/>
                  </a:cubicBezTo>
                  <a:lnTo>
                    <a:pt x="0" y="7954"/>
                  </a:lnTo>
                  <a:cubicBezTo>
                    <a:pt x="0" y="8037"/>
                    <a:pt x="72" y="8109"/>
                    <a:pt x="155" y="8109"/>
                  </a:cubicBezTo>
                  <a:cubicBezTo>
                    <a:pt x="250" y="8109"/>
                    <a:pt x="322" y="8037"/>
                    <a:pt x="322" y="7954"/>
                  </a:cubicBezTo>
                  <a:lnTo>
                    <a:pt x="322" y="7013"/>
                  </a:lnTo>
                  <a:cubicBezTo>
                    <a:pt x="322" y="6775"/>
                    <a:pt x="477" y="6561"/>
                    <a:pt x="691" y="6489"/>
                  </a:cubicBezTo>
                  <a:lnTo>
                    <a:pt x="1798" y="6085"/>
                  </a:lnTo>
                  <a:lnTo>
                    <a:pt x="2263" y="6775"/>
                  </a:lnTo>
                  <a:cubicBezTo>
                    <a:pt x="2322" y="6859"/>
                    <a:pt x="2405" y="6918"/>
                    <a:pt x="2513" y="6918"/>
                  </a:cubicBezTo>
                  <a:lnTo>
                    <a:pt x="2536" y="6918"/>
                  </a:lnTo>
                  <a:cubicBezTo>
                    <a:pt x="2632" y="6918"/>
                    <a:pt x="2715" y="6894"/>
                    <a:pt x="2798" y="6823"/>
                  </a:cubicBezTo>
                  <a:lnTo>
                    <a:pt x="3072" y="6537"/>
                  </a:lnTo>
                  <a:lnTo>
                    <a:pt x="3072" y="7930"/>
                  </a:lnTo>
                  <a:cubicBezTo>
                    <a:pt x="3072" y="8025"/>
                    <a:pt x="3156" y="8097"/>
                    <a:pt x="3239" y="8097"/>
                  </a:cubicBezTo>
                  <a:cubicBezTo>
                    <a:pt x="3334" y="8097"/>
                    <a:pt x="3406" y="8025"/>
                    <a:pt x="3406" y="7930"/>
                  </a:cubicBezTo>
                  <a:lnTo>
                    <a:pt x="3406" y="6537"/>
                  </a:lnTo>
                  <a:lnTo>
                    <a:pt x="3691" y="6823"/>
                  </a:lnTo>
                  <a:cubicBezTo>
                    <a:pt x="3751" y="6882"/>
                    <a:pt x="3834" y="6918"/>
                    <a:pt x="3941" y="6918"/>
                  </a:cubicBezTo>
                  <a:lnTo>
                    <a:pt x="3965" y="6918"/>
                  </a:lnTo>
                  <a:cubicBezTo>
                    <a:pt x="4072" y="6906"/>
                    <a:pt x="4168" y="6859"/>
                    <a:pt x="4227" y="6775"/>
                  </a:cubicBezTo>
                  <a:lnTo>
                    <a:pt x="4680" y="6085"/>
                  </a:lnTo>
                  <a:lnTo>
                    <a:pt x="5787" y="6489"/>
                  </a:lnTo>
                  <a:cubicBezTo>
                    <a:pt x="6013" y="6561"/>
                    <a:pt x="6156" y="6775"/>
                    <a:pt x="6156" y="7013"/>
                  </a:cubicBezTo>
                  <a:lnTo>
                    <a:pt x="6156" y="7954"/>
                  </a:lnTo>
                  <a:cubicBezTo>
                    <a:pt x="6156" y="8037"/>
                    <a:pt x="6227" y="8109"/>
                    <a:pt x="6323" y="8109"/>
                  </a:cubicBezTo>
                  <a:cubicBezTo>
                    <a:pt x="6406" y="8109"/>
                    <a:pt x="6489" y="8037"/>
                    <a:pt x="6489" y="7954"/>
                  </a:cubicBezTo>
                  <a:lnTo>
                    <a:pt x="6489" y="7013"/>
                  </a:lnTo>
                  <a:cubicBezTo>
                    <a:pt x="6489" y="6632"/>
                    <a:pt x="6251" y="6299"/>
                    <a:pt x="5906" y="6168"/>
                  </a:cubicBezTo>
                  <a:lnTo>
                    <a:pt x="4870" y="5799"/>
                  </a:lnTo>
                  <a:cubicBezTo>
                    <a:pt x="4870" y="5751"/>
                    <a:pt x="4846" y="5704"/>
                    <a:pt x="4822" y="5656"/>
                  </a:cubicBezTo>
                  <a:lnTo>
                    <a:pt x="4513" y="5335"/>
                  </a:lnTo>
                  <a:lnTo>
                    <a:pt x="4513" y="4787"/>
                  </a:lnTo>
                  <a:cubicBezTo>
                    <a:pt x="4537" y="4751"/>
                    <a:pt x="4572" y="4727"/>
                    <a:pt x="4608" y="4692"/>
                  </a:cubicBezTo>
                  <a:cubicBezTo>
                    <a:pt x="5013" y="4323"/>
                    <a:pt x="5239" y="3787"/>
                    <a:pt x="5239" y="3251"/>
                  </a:cubicBezTo>
                  <a:lnTo>
                    <a:pt x="5239" y="2799"/>
                  </a:lnTo>
                  <a:cubicBezTo>
                    <a:pt x="5358" y="2537"/>
                    <a:pt x="5418" y="2263"/>
                    <a:pt x="5418" y="1977"/>
                  </a:cubicBezTo>
                  <a:lnTo>
                    <a:pt x="5418" y="167"/>
                  </a:lnTo>
                  <a:cubicBezTo>
                    <a:pt x="5418" y="72"/>
                    <a:pt x="5334" y="1"/>
                    <a:pt x="5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3" name="Google Shape;13213;p64"/>
            <p:cNvSpPr/>
            <p:nvPr/>
          </p:nvSpPr>
          <p:spPr>
            <a:xfrm>
              <a:off x="946034" y="3694580"/>
              <a:ext cx="10663" cy="21613"/>
            </a:xfrm>
            <a:custGeom>
              <a:avLst/>
              <a:gdLst/>
              <a:ahLst/>
              <a:cxnLst/>
              <a:rect l="l" t="t" r="r" b="b"/>
              <a:pathLst>
                <a:path w="335" h="679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24"/>
                  </a:lnTo>
                  <a:cubicBezTo>
                    <a:pt x="1" y="607"/>
                    <a:pt x="72" y="679"/>
                    <a:pt x="168" y="679"/>
                  </a:cubicBezTo>
                  <a:cubicBezTo>
                    <a:pt x="251" y="679"/>
                    <a:pt x="334" y="607"/>
                    <a:pt x="334" y="52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4" name="Google Shape;13214;p64"/>
            <p:cNvSpPr/>
            <p:nvPr/>
          </p:nvSpPr>
          <p:spPr>
            <a:xfrm>
              <a:off x="1073004" y="3694580"/>
              <a:ext cx="10631" cy="21613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524"/>
                  </a:lnTo>
                  <a:cubicBezTo>
                    <a:pt x="0" y="607"/>
                    <a:pt x="72" y="679"/>
                    <a:pt x="167" y="679"/>
                  </a:cubicBezTo>
                  <a:cubicBezTo>
                    <a:pt x="251" y="679"/>
                    <a:pt x="334" y="607"/>
                    <a:pt x="334" y="52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5" name="Google Shape;13215;p64"/>
            <p:cNvSpPr/>
            <p:nvPr/>
          </p:nvSpPr>
          <p:spPr>
            <a:xfrm>
              <a:off x="859265" y="3348175"/>
              <a:ext cx="312316" cy="293759"/>
            </a:xfrm>
            <a:custGeom>
              <a:avLst/>
              <a:gdLst/>
              <a:ahLst/>
              <a:cxnLst/>
              <a:rect l="l" t="t" r="r" b="b"/>
              <a:pathLst>
                <a:path w="9812" h="9229" extrusionOk="0">
                  <a:moveTo>
                    <a:pt x="3275" y="632"/>
                  </a:moveTo>
                  <a:cubicBezTo>
                    <a:pt x="3025" y="846"/>
                    <a:pt x="2786" y="1120"/>
                    <a:pt x="2560" y="1441"/>
                  </a:cubicBezTo>
                  <a:cubicBezTo>
                    <a:pt x="2417" y="1680"/>
                    <a:pt x="2286" y="1918"/>
                    <a:pt x="2179" y="2180"/>
                  </a:cubicBezTo>
                  <a:lnTo>
                    <a:pt x="1239" y="2180"/>
                  </a:lnTo>
                  <a:cubicBezTo>
                    <a:pt x="1762" y="1489"/>
                    <a:pt x="2453" y="941"/>
                    <a:pt x="3275" y="632"/>
                  </a:cubicBezTo>
                  <a:close/>
                  <a:moveTo>
                    <a:pt x="4703" y="346"/>
                  </a:moveTo>
                  <a:lnTo>
                    <a:pt x="4703" y="2180"/>
                  </a:lnTo>
                  <a:lnTo>
                    <a:pt x="2536" y="2180"/>
                  </a:lnTo>
                  <a:cubicBezTo>
                    <a:pt x="3036" y="1132"/>
                    <a:pt x="3810" y="429"/>
                    <a:pt x="4703" y="346"/>
                  </a:cubicBezTo>
                  <a:close/>
                  <a:moveTo>
                    <a:pt x="5049" y="346"/>
                  </a:moveTo>
                  <a:cubicBezTo>
                    <a:pt x="5942" y="418"/>
                    <a:pt x="6715" y="1120"/>
                    <a:pt x="7227" y="2180"/>
                  </a:cubicBezTo>
                  <a:lnTo>
                    <a:pt x="5049" y="2180"/>
                  </a:lnTo>
                  <a:lnTo>
                    <a:pt x="5049" y="346"/>
                  </a:lnTo>
                  <a:close/>
                  <a:moveTo>
                    <a:pt x="6489" y="644"/>
                  </a:moveTo>
                  <a:lnTo>
                    <a:pt x="6489" y="644"/>
                  </a:lnTo>
                  <a:cubicBezTo>
                    <a:pt x="7311" y="953"/>
                    <a:pt x="8013" y="1489"/>
                    <a:pt x="8525" y="2192"/>
                  </a:cubicBezTo>
                  <a:lnTo>
                    <a:pt x="7597" y="2192"/>
                  </a:lnTo>
                  <a:cubicBezTo>
                    <a:pt x="7477" y="1918"/>
                    <a:pt x="7358" y="1680"/>
                    <a:pt x="7204" y="1453"/>
                  </a:cubicBezTo>
                  <a:cubicBezTo>
                    <a:pt x="7001" y="1132"/>
                    <a:pt x="6763" y="858"/>
                    <a:pt x="6489" y="644"/>
                  </a:cubicBezTo>
                  <a:close/>
                  <a:moveTo>
                    <a:pt x="2024" y="2513"/>
                  </a:moveTo>
                  <a:cubicBezTo>
                    <a:pt x="1786" y="3192"/>
                    <a:pt x="1655" y="3930"/>
                    <a:pt x="1632" y="4716"/>
                  </a:cubicBezTo>
                  <a:lnTo>
                    <a:pt x="334" y="4716"/>
                  </a:lnTo>
                  <a:cubicBezTo>
                    <a:pt x="358" y="3918"/>
                    <a:pt x="596" y="3168"/>
                    <a:pt x="1000" y="2513"/>
                  </a:cubicBezTo>
                  <a:close/>
                  <a:moveTo>
                    <a:pt x="8751" y="2513"/>
                  </a:moveTo>
                  <a:cubicBezTo>
                    <a:pt x="9156" y="3156"/>
                    <a:pt x="9394" y="3918"/>
                    <a:pt x="9430" y="4716"/>
                  </a:cubicBezTo>
                  <a:lnTo>
                    <a:pt x="8132" y="4716"/>
                  </a:lnTo>
                  <a:cubicBezTo>
                    <a:pt x="8120" y="3930"/>
                    <a:pt x="7978" y="3192"/>
                    <a:pt x="7728" y="2513"/>
                  </a:cubicBezTo>
                  <a:close/>
                  <a:moveTo>
                    <a:pt x="9430" y="5049"/>
                  </a:moveTo>
                  <a:cubicBezTo>
                    <a:pt x="9394" y="5811"/>
                    <a:pt x="9192" y="6549"/>
                    <a:pt x="8799" y="7192"/>
                  </a:cubicBezTo>
                  <a:cubicBezTo>
                    <a:pt x="8787" y="7204"/>
                    <a:pt x="8775" y="7228"/>
                    <a:pt x="8751" y="7252"/>
                  </a:cubicBezTo>
                  <a:lnTo>
                    <a:pt x="7728" y="7252"/>
                  </a:lnTo>
                  <a:cubicBezTo>
                    <a:pt x="7739" y="7204"/>
                    <a:pt x="7763" y="7156"/>
                    <a:pt x="7775" y="7097"/>
                  </a:cubicBezTo>
                  <a:cubicBezTo>
                    <a:pt x="8001" y="6466"/>
                    <a:pt x="8120" y="5775"/>
                    <a:pt x="8132" y="5049"/>
                  </a:cubicBezTo>
                  <a:close/>
                  <a:moveTo>
                    <a:pt x="1632" y="5061"/>
                  </a:moveTo>
                  <a:cubicBezTo>
                    <a:pt x="1655" y="5775"/>
                    <a:pt x="1762" y="6466"/>
                    <a:pt x="1989" y="7121"/>
                  </a:cubicBezTo>
                  <a:cubicBezTo>
                    <a:pt x="2001" y="7156"/>
                    <a:pt x="2013" y="7216"/>
                    <a:pt x="2024" y="7264"/>
                  </a:cubicBezTo>
                  <a:lnTo>
                    <a:pt x="989" y="7264"/>
                  </a:lnTo>
                  <a:cubicBezTo>
                    <a:pt x="584" y="6609"/>
                    <a:pt x="358" y="5847"/>
                    <a:pt x="334" y="5061"/>
                  </a:cubicBezTo>
                  <a:close/>
                  <a:moveTo>
                    <a:pt x="4882" y="1"/>
                  </a:moveTo>
                  <a:cubicBezTo>
                    <a:pt x="3572" y="1"/>
                    <a:pt x="2358" y="513"/>
                    <a:pt x="1429" y="1430"/>
                  </a:cubicBezTo>
                  <a:cubicBezTo>
                    <a:pt x="512" y="2358"/>
                    <a:pt x="0" y="3573"/>
                    <a:pt x="0" y="4882"/>
                  </a:cubicBezTo>
                  <a:cubicBezTo>
                    <a:pt x="0" y="6716"/>
                    <a:pt x="1012" y="8371"/>
                    <a:pt x="2644" y="9216"/>
                  </a:cubicBezTo>
                  <a:cubicBezTo>
                    <a:pt x="2667" y="9228"/>
                    <a:pt x="2679" y="9228"/>
                    <a:pt x="2715" y="9228"/>
                  </a:cubicBezTo>
                  <a:cubicBezTo>
                    <a:pt x="2775" y="9228"/>
                    <a:pt x="2834" y="9204"/>
                    <a:pt x="2858" y="9145"/>
                  </a:cubicBezTo>
                  <a:cubicBezTo>
                    <a:pt x="2905" y="9050"/>
                    <a:pt x="2882" y="8966"/>
                    <a:pt x="2786" y="8919"/>
                  </a:cubicBezTo>
                  <a:cubicBezTo>
                    <a:pt x="2167" y="8585"/>
                    <a:pt x="1643" y="8133"/>
                    <a:pt x="1239" y="7597"/>
                  </a:cubicBezTo>
                  <a:lnTo>
                    <a:pt x="2179" y="7597"/>
                  </a:lnTo>
                  <a:cubicBezTo>
                    <a:pt x="2382" y="8049"/>
                    <a:pt x="2644" y="8466"/>
                    <a:pt x="2941" y="8800"/>
                  </a:cubicBezTo>
                  <a:cubicBezTo>
                    <a:pt x="2972" y="8837"/>
                    <a:pt x="3013" y="8855"/>
                    <a:pt x="3057" y="8855"/>
                  </a:cubicBezTo>
                  <a:cubicBezTo>
                    <a:pt x="3097" y="8855"/>
                    <a:pt x="3140" y="8840"/>
                    <a:pt x="3179" y="8811"/>
                  </a:cubicBezTo>
                  <a:cubicBezTo>
                    <a:pt x="3251" y="8752"/>
                    <a:pt x="3251" y="8645"/>
                    <a:pt x="3191" y="8573"/>
                  </a:cubicBezTo>
                  <a:cubicBezTo>
                    <a:pt x="2941" y="8288"/>
                    <a:pt x="2727" y="7966"/>
                    <a:pt x="2548" y="7597"/>
                  </a:cubicBezTo>
                  <a:cubicBezTo>
                    <a:pt x="2644" y="7573"/>
                    <a:pt x="2703" y="7514"/>
                    <a:pt x="2703" y="7430"/>
                  </a:cubicBezTo>
                  <a:cubicBezTo>
                    <a:pt x="2703" y="7335"/>
                    <a:pt x="2620" y="7264"/>
                    <a:pt x="2536" y="7264"/>
                  </a:cubicBezTo>
                  <a:lnTo>
                    <a:pt x="2417" y="7264"/>
                  </a:lnTo>
                  <a:cubicBezTo>
                    <a:pt x="2167" y="6609"/>
                    <a:pt x="2001" y="5847"/>
                    <a:pt x="1977" y="5061"/>
                  </a:cubicBezTo>
                  <a:lnTo>
                    <a:pt x="2179" y="5061"/>
                  </a:lnTo>
                  <a:cubicBezTo>
                    <a:pt x="2263" y="5061"/>
                    <a:pt x="2346" y="4990"/>
                    <a:pt x="2346" y="4894"/>
                  </a:cubicBezTo>
                  <a:cubicBezTo>
                    <a:pt x="2346" y="4811"/>
                    <a:pt x="2263" y="4740"/>
                    <a:pt x="2179" y="4740"/>
                  </a:cubicBezTo>
                  <a:lnTo>
                    <a:pt x="1977" y="4740"/>
                  </a:lnTo>
                  <a:cubicBezTo>
                    <a:pt x="2001" y="3930"/>
                    <a:pt x="2155" y="3192"/>
                    <a:pt x="2417" y="2537"/>
                  </a:cubicBezTo>
                  <a:lnTo>
                    <a:pt x="4739" y="2537"/>
                  </a:lnTo>
                  <a:lnTo>
                    <a:pt x="4739" y="2906"/>
                  </a:lnTo>
                  <a:cubicBezTo>
                    <a:pt x="4739" y="2989"/>
                    <a:pt x="4810" y="3073"/>
                    <a:pt x="4894" y="3073"/>
                  </a:cubicBezTo>
                  <a:cubicBezTo>
                    <a:pt x="4989" y="3073"/>
                    <a:pt x="5061" y="2989"/>
                    <a:pt x="5061" y="2906"/>
                  </a:cubicBezTo>
                  <a:lnTo>
                    <a:pt x="5061" y="2537"/>
                  </a:lnTo>
                  <a:lnTo>
                    <a:pt x="7382" y="2537"/>
                  </a:lnTo>
                  <a:cubicBezTo>
                    <a:pt x="7632" y="3168"/>
                    <a:pt x="7787" y="3930"/>
                    <a:pt x="7811" y="4740"/>
                  </a:cubicBezTo>
                  <a:lnTo>
                    <a:pt x="7620" y="4740"/>
                  </a:lnTo>
                  <a:cubicBezTo>
                    <a:pt x="7537" y="4740"/>
                    <a:pt x="7454" y="4811"/>
                    <a:pt x="7454" y="4894"/>
                  </a:cubicBezTo>
                  <a:cubicBezTo>
                    <a:pt x="7454" y="4990"/>
                    <a:pt x="7537" y="5061"/>
                    <a:pt x="7620" y="5061"/>
                  </a:cubicBezTo>
                  <a:lnTo>
                    <a:pt x="7811" y="5061"/>
                  </a:lnTo>
                  <a:cubicBezTo>
                    <a:pt x="7799" y="5847"/>
                    <a:pt x="7656" y="6609"/>
                    <a:pt x="7382" y="7264"/>
                  </a:cubicBezTo>
                  <a:lnTo>
                    <a:pt x="7263" y="7264"/>
                  </a:lnTo>
                  <a:cubicBezTo>
                    <a:pt x="7180" y="7264"/>
                    <a:pt x="7096" y="7335"/>
                    <a:pt x="7096" y="7430"/>
                  </a:cubicBezTo>
                  <a:cubicBezTo>
                    <a:pt x="7096" y="7514"/>
                    <a:pt x="7156" y="7597"/>
                    <a:pt x="7251" y="7597"/>
                  </a:cubicBezTo>
                  <a:cubicBezTo>
                    <a:pt x="7073" y="7966"/>
                    <a:pt x="6846" y="8311"/>
                    <a:pt x="6608" y="8573"/>
                  </a:cubicBezTo>
                  <a:cubicBezTo>
                    <a:pt x="6549" y="8645"/>
                    <a:pt x="6549" y="8752"/>
                    <a:pt x="6620" y="8811"/>
                  </a:cubicBezTo>
                  <a:cubicBezTo>
                    <a:pt x="6656" y="8847"/>
                    <a:pt x="6704" y="8859"/>
                    <a:pt x="6739" y="8859"/>
                  </a:cubicBezTo>
                  <a:cubicBezTo>
                    <a:pt x="6787" y="8859"/>
                    <a:pt x="6835" y="8847"/>
                    <a:pt x="6882" y="8800"/>
                  </a:cubicBezTo>
                  <a:cubicBezTo>
                    <a:pt x="7180" y="8466"/>
                    <a:pt x="7442" y="8049"/>
                    <a:pt x="7632" y="7597"/>
                  </a:cubicBezTo>
                  <a:lnTo>
                    <a:pt x="8573" y="7597"/>
                  </a:lnTo>
                  <a:cubicBezTo>
                    <a:pt x="8204" y="8085"/>
                    <a:pt x="7739" y="8514"/>
                    <a:pt x="7192" y="8823"/>
                  </a:cubicBezTo>
                  <a:cubicBezTo>
                    <a:pt x="7120" y="8871"/>
                    <a:pt x="7085" y="8978"/>
                    <a:pt x="7132" y="9061"/>
                  </a:cubicBezTo>
                  <a:cubicBezTo>
                    <a:pt x="7163" y="9116"/>
                    <a:pt x="7215" y="9145"/>
                    <a:pt x="7274" y="9145"/>
                  </a:cubicBezTo>
                  <a:cubicBezTo>
                    <a:pt x="7305" y="9145"/>
                    <a:pt x="7338" y="9137"/>
                    <a:pt x="7370" y="9121"/>
                  </a:cubicBezTo>
                  <a:cubicBezTo>
                    <a:pt x="8097" y="8704"/>
                    <a:pt x="8704" y="8097"/>
                    <a:pt x="9144" y="7371"/>
                  </a:cubicBezTo>
                  <a:cubicBezTo>
                    <a:pt x="9585" y="6621"/>
                    <a:pt x="9811" y="5763"/>
                    <a:pt x="9811" y="4894"/>
                  </a:cubicBezTo>
                  <a:cubicBezTo>
                    <a:pt x="9763" y="3585"/>
                    <a:pt x="9263" y="2346"/>
                    <a:pt x="8335" y="1430"/>
                  </a:cubicBezTo>
                  <a:cubicBezTo>
                    <a:pt x="7418" y="513"/>
                    <a:pt x="6192" y="1"/>
                    <a:pt x="4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16" name="Google Shape;13216;p64"/>
          <p:cNvSpPr/>
          <p:nvPr/>
        </p:nvSpPr>
        <p:spPr>
          <a:xfrm>
            <a:off x="2256921" y="3378127"/>
            <a:ext cx="372188" cy="309260"/>
          </a:xfrm>
          <a:custGeom>
            <a:avLst/>
            <a:gdLst/>
            <a:ahLst/>
            <a:cxnLst/>
            <a:rect l="l" t="t" r="r" b="b"/>
            <a:pathLst>
              <a:path w="11693" h="9716" extrusionOk="0">
                <a:moveTo>
                  <a:pt x="2906" y="346"/>
                </a:moveTo>
                <a:cubicBezTo>
                  <a:pt x="3120" y="346"/>
                  <a:pt x="3287" y="524"/>
                  <a:pt x="3287" y="727"/>
                </a:cubicBezTo>
                <a:lnTo>
                  <a:pt x="3287" y="1096"/>
                </a:lnTo>
                <a:cubicBezTo>
                  <a:pt x="3299" y="1429"/>
                  <a:pt x="3049" y="1679"/>
                  <a:pt x="2727" y="1679"/>
                </a:cubicBezTo>
                <a:cubicBezTo>
                  <a:pt x="2406" y="1679"/>
                  <a:pt x="2144" y="1429"/>
                  <a:pt x="2144" y="1096"/>
                </a:cubicBezTo>
                <a:lnTo>
                  <a:pt x="2144" y="727"/>
                </a:lnTo>
                <a:cubicBezTo>
                  <a:pt x="2144" y="500"/>
                  <a:pt x="2322" y="346"/>
                  <a:pt x="2525" y="346"/>
                </a:cubicBezTo>
                <a:close/>
                <a:moveTo>
                  <a:pt x="5894" y="346"/>
                </a:moveTo>
                <a:cubicBezTo>
                  <a:pt x="6120" y="346"/>
                  <a:pt x="6275" y="524"/>
                  <a:pt x="6275" y="727"/>
                </a:cubicBezTo>
                <a:lnTo>
                  <a:pt x="6275" y="1096"/>
                </a:lnTo>
                <a:cubicBezTo>
                  <a:pt x="6299" y="1429"/>
                  <a:pt x="6037" y="1679"/>
                  <a:pt x="5716" y="1679"/>
                </a:cubicBezTo>
                <a:cubicBezTo>
                  <a:pt x="5406" y="1679"/>
                  <a:pt x="5132" y="1429"/>
                  <a:pt x="5132" y="1096"/>
                </a:cubicBezTo>
                <a:lnTo>
                  <a:pt x="5132" y="727"/>
                </a:lnTo>
                <a:cubicBezTo>
                  <a:pt x="5132" y="500"/>
                  <a:pt x="5311" y="346"/>
                  <a:pt x="5525" y="346"/>
                </a:cubicBezTo>
                <a:close/>
                <a:moveTo>
                  <a:pt x="8895" y="346"/>
                </a:moveTo>
                <a:cubicBezTo>
                  <a:pt x="9121" y="346"/>
                  <a:pt x="9287" y="524"/>
                  <a:pt x="9287" y="727"/>
                </a:cubicBezTo>
                <a:lnTo>
                  <a:pt x="9287" y="1096"/>
                </a:lnTo>
                <a:cubicBezTo>
                  <a:pt x="9299" y="1429"/>
                  <a:pt x="9026" y="1679"/>
                  <a:pt x="8716" y="1679"/>
                </a:cubicBezTo>
                <a:cubicBezTo>
                  <a:pt x="8406" y="1679"/>
                  <a:pt x="8144" y="1429"/>
                  <a:pt x="8144" y="1096"/>
                </a:cubicBezTo>
                <a:lnTo>
                  <a:pt x="8144" y="727"/>
                </a:lnTo>
                <a:cubicBezTo>
                  <a:pt x="8144" y="500"/>
                  <a:pt x="8323" y="346"/>
                  <a:pt x="8525" y="346"/>
                </a:cubicBezTo>
                <a:close/>
                <a:moveTo>
                  <a:pt x="2930" y="2036"/>
                </a:moveTo>
                <a:lnTo>
                  <a:pt x="2930" y="2120"/>
                </a:lnTo>
                <a:cubicBezTo>
                  <a:pt x="2930" y="2179"/>
                  <a:pt x="2941" y="2263"/>
                  <a:pt x="2977" y="2310"/>
                </a:cubicBezTo>
                <a:lnTo>
                  <a:pt x="2739" y="2548"/>
                </a:lnTo>
                <a:lnTo>
                  <a:pt x="2703" y="2548"/>
                </a:lnTo>
                <a:lnTo>
                  <a:pt x="2465" y="2310"/>
                </a:lnTo>
                <a:cubicBezTo>
                  <a:pt x="2501" y="2251"/>
                  <a:pt x="2513" y="2191"/>
                  <a:pt x="2513" y="2120"/>
                </a:cubicBezTo>
                <a:lnTo>
                  <a:pt x="2513" y="2036"/>
                </a:lnTo>
                <a:close/>
                <a:moveTo>
                  <a:pt x="5918" y="2036"/>
                </a:moveTo>
                <a:lnTo>
                  <a:pt x="5918" y="2120"/>
                </a:lnTo>
                <a:cubicBezTo>
                  <a:pt x="5918" y="2179"/>
                  <a:pt x="5942" y="2263"/>
                  <a:pt x="5966" y="2310"/>
                </a:cubicBezTo>
                <a:lnTo>
                  <a:pt x="5728" y="2548"/>
                </a:lnTo>
                <a:lnTo>
                  <a:pt x="5704" y="2548"/>
                </a:lnTo>
                <a:lnTo>
                  <a:pt x="5466" y="2310"/>
                </a:lnTo>
                <a:cubicBezTo>
                  <a:pt x="5489" y="2251"/>
                  <a:pt x="5501" y="2191"/>
                  <a:pt x="5501" y="2120"/>
                </a:cubicBezTo>
                <a:lnTo>
                  <a:pt x="5501" y="2036"/>
                </a:lnTo>
                <a:close/>
                <a:moveTo>
                  <a:pt x="8930" y="2036"/>
                </a:moveTo>
                <a:lnTo>
                  <a:pt x="8930" y="2120"/>
                </a:lnTo>
                <a:cubicBezTo>
                  <a:pt x="8930" y="2179"/>
                  <a:pt x="8942" y="2263"/>
                  <a:pt x="8966" y="2310"/>
                </a:cubicBezTo>
                <a:lnTo>
                  <a:pt x="8728" y="2548"/>
                </a:lnTo>
                <a:lnTo>
                  <a:pt x="8704" y="2548"/>
                </a:lnTo>
                <a:lnTo>
                  <a:pt x="8466" y="2310"/>
                </a:lnTo>
                <a:cubicBezTo>
                  <a:pt x="8490" y="2251"/>
                  <a:pt x="8514" y="2191"/>
                  <a:pt x="8514" y="2120"/>
                </a:cubicBezTo>
                <a:lnTo>
                  <a:pt x="8514" y="2036"/>
                </a:lnTo>
                <a:close/>
                <a:moveTo>
                  <a:pt x="1394" y="3525"/>
                </a:moveTo>
                <a:cubicBezTo>
                  <a:pt x="1620" y="3525"/>
                  <a:pt x="1798" y="3703"/>
                  <a:pt x="1798" y="3918"/>
                </a:cubicBezTo>
                <a:lnTo>
                  <a:pt x="1798" y="4287"/>
                </a:lnTo>
                <a:cubicBezTo>
                  <a:pt x="1798" y="4596"/>
                  <a:pt x="1548" y="4870"/>
                  <a:pt x="1215" y="4870"/>
                </a:cubicBezTo>
                <a:cubicBezTo>
                  <a:pt x="905" y="4870"/>
                  <a:pt x="644" y="4608"/>
                  <a:pt x="644" y="4287"/>
                </a:cubicBezTo>
                <a:lnTo>
                  <a:pt x="644" y="3918"/>
                </a:lnTo>
                <a:cubicBezTo>
                  <a:pt x="644" y="3691"/>
                  <a:pt x="822" y="3525"/>
                  <a:pt x="1025" y="3525"/>
                </a:cubicBezTo>
                <a:close/>
                <a:moveTo>
                  <a:pt x="4406" y="3525"/>
                </a:moveTo>
                <a:cubicBezTo>
                  <a:pt x="4632" y="3525"/>
                  <a:pt x="4811" y="3703"/>
                  <a:pt x="4811" y="3918"/>
                </a:cubicBezTo>
                <a:lnTo>
                  <a:pt x="4811" y="4287"/>
                </a:lnTo>
                <a:cubicBezTo>
                  <a:pt x="4811" y="4596"/>
                  <a:pt x="4549" y="4870"/>
                  <a:pt x="4227" y="4870"/>
                </a:cubicBezTo>
                <a:cubicBezTo>
                  <a:pt x="3918" y="4870"/>
                  <a:pt x="3644" y="4608"/>
                  <a:pt x="3644" y="4287"/>
                </a:cubicBezTo>
                <a:lnTo>
                  <a:pt x="3644" y="3918"/>
                </a:lnTo>
                <a:cubicBezTo>
                  <a:pt x="3644" y="3691"/>
                  <a:pt x="3823" y="3525"/>
                  <a:pt x="4037" y="3525"/>
                </a:cubicBezTo>
                <a:close/>
                <a:moveTo>
                  <a:pt x="7394" y="3525"/>
                </a:moveTo>
                <a:cubicBezTo>
                  <a:pt x="7621" y="3525"/>
                  <a:pt x="7799" y="3703"/>
                  <a:pt x="7799" y="3918"/>
                </a:cubicBezTo>
                <a:lnTo>
                  <a:pt x="7799" y="4287"/>
                </a:lnTo>
                <a:cubicBezTo>
                  <a:pt x="7799" y="4596"/>
                  <a:pt x="7537" y="4870"/>
                  <a:pt x="7216" y="4870"/>
                </a:cubicBezTo>
                <a:cubicBezTo>
                  <a:pt x="6906" y="4870"/>
                  <a:pt x="6632" y="4608"/>
                  <a:pt x="6632" y="4287"/>
                </a:cubicBezTo>
                <a:lnTo>
                  <a:pt x="6632" y="3918"/>
                </a:lnTo>
                <a:cubicBezTo>
                  <a:pt x="6632" y="3691"/>
                  <a:pt x="6811" y="3525"/>
                  <a:pt x="7025" y="3525"/>
                </a:cubicBezTo>
                <a:close/>
                <a:moveTo>
                  <a:pt x="10407" y="3525"/>
                </a:moveTo>
                <a:cubicBezTo>
                  <a:pt x="10621" y="3525"/>
                  <a:pt x="10788" y="3703"/>
                  <a:pt x="10788" y="3918"/>
                </a:cubicBezTo>
                <a:lnTo>
                  <a:pt x="10788" y="4287"/>
                </a:lnTo>
                <a:cubicBezTo>
                  <a:pt x="10800" y="4608"/>
                  <a:pt x="10538" y="4870"/>
                  <a:pt x="10216" y="4870"/>
                </a:cubicBezTo>
                <a:cubicBezTo>
                  <a:pt x="9907" y="4870"/>
                  <a:pt x="9645" y="4608"/>
                  <a:pt x="9645" y="4287"/>
                </a:cubicBezTo>
                <a:lnTo>
                  <a:pt x="9645" y="3918"/>
                </a:lnTo>
                <a:cubicBezTo>
                  <a:pt x="9645" y="3691"/>
                  <a:pt x="9823" y="3525"/>
                  <a:pt x="10026" y="3525"/>
                </a:cubicBezTo>
                <a:close/>
                <a:moveTo>
                  <a:pt x="1429" y="5215"/>
                </a:moveTo>
                <a:lnTo>
                  <a:pt x="1429" y="5311"/>
                </a:lnTo>
                <a:cubicBezTo>
                  <a:pt x="1429" y="5370"/>
                  <a:pt x="1441" y="5442"/>
                  <a:pt x="1477" y="5489"/>
                </a:cubicBezTo>
                <a:lnTo>
                  <a:pt x="1239" y="5727"/>
                </a:lnTo>
                <a:lnTo>
                  <a:pt x="1203" y="5727"/>
                </a:lnTo>
                <a:lnTo>
                  <a:pt x="965" y="5489"/>
                </a:lnTo>
                <a:cubicBezTo>
                  <a:pt x="989" y="5430"/>
                  <a:pt x="1013" y="5370"/>
                  <a:pt x="1013" y="5311"/>
                </a:cubicBezTo>
                <a:lnTo>
                  <a:pt x="1013" y="5215"/>
                </a:lnTo>
                <a:close/>
                <a:moveTo>
                  <a:pt x="4430" y="5215"/>
                </a:moveTo>
                <a:lnTo>
                  <a:pt x="4430" y="5311"/>
                </a:lnTo>
                <a:cubicBezTo>
                  <a:pt x="4430" y="5370"/>
                  <a:pt x="4454" y="5442"/>
                  <a:pt x="4477" y="5489"/>
                </a:cubicBezTo>
                <a:lnTo>
                  <a:pt x="4239" y="5727"/>
                </a:lnTo>
                <a:lnTo>
                  <a:pt x="4215" y="5727"/>
                </a:lnTo>
                <a:lnTo>
                  <a:pt x="3977" y="5489"/>
                </a:lnTo>
                <a:cubicBezTo>
                  <a:pt x="4001" y="5430"/>
                  <a:pt x="4013" y="5370"/>
                  <a:pt x="4013" y="5311"/>
                </a:cubicBezTo>
                <a:lnTo>
                  <a:pt x="4013" y="5215"/>
                </a:lnTo>
                <a:close/>
                <a:moveTo>
                  <a:pt x="7418" y="5215"/>
                </a:moveTo>
                <a:lnTo>
                  <a:pt x="7418" y="5311"/>
                </a:lnTo>
                <a:cubicBezTo>
                  <a:pt x="7418" y="5370"/>
                  <a:pt x="7442" y="5442"/>
                  <a:pt x="7466" y="5489"/>
                </a:cubicBezTo>
                <a:lnTo>
                  <a:pt x="7228" y="5727"/>
                </a:lnTo>
                <a:lnTo>
                  <a:pt x="7204" y="5727"/>
                </a:lnTo>
                <a:lnTo>
                  <a:pt x="6966" y="5489"/>
                </a:lnTo>
                <a:cubicBezTo>
                  <a:pt x="6990" y="5430"/>
                  <a:pt x="7001" y="5370"/>
                  <a:pt x="7001" y="5311"/>
                </a:cubicBezTo>
                <a:lnTo>
                  <a:pt x="7001" y="5215"/>
                </a:lnTo>
                <a:close/>
                <a:moveTo>
                  <a:pt x="10419" y="5215"/>
                </a:moveTo>
                <a:lnTo>
                  <a:pt x="10419" y="5311"/>
                </a:lnTo>
                <a:cubicBezTo>
                  <a:pt x="10419" y="5370"/>
                  <a:pt x="10430" y="5442"/>
                  <a:pt x="10454" y="5489"/>
                </a:cubicBezTo>
                <a:lnTo>
                  <a:pt x="10216" y="5727"/>
                </a:lnTo>
                <a:lnTo>
                  <a:pt x="10192" y="5727"/>
                </a:lnTo>
                <a:lnTo>
                  <a:pt x="9954" y="5489"/>
                </a:lnTo>
                <a:cubicBezTo>
                  <a:pt x="9978" y="5430"/>
                  <a:pt x="10002" y="5370"/>
                  <a:pt x="10002" y="5311"/>
                </a:cubicBezTo>
                <a:lnTo>
                  <a:pt x="10002" y="5215"/>
                </a:lnTo>
                <a:close/>
                <a:moveTo>
                  <a:pt x="2584" y="0"/>
                </a:moveTo>
                <a:cubicBezTo>
                  <a:pt x="2191" y="0"/>
                  <a:pt x="1858" y="322"/>
                  <a:pt x="1858" y="727"/>
                </a:cubicBezTo>
                <a:lnTo>
                  <a:pt x="1858" y="1096"/>
                </a:lnTo>
                <a:cubicBezTo>
                  <a:pt x="1858" y="1393"/>
                  <a:pt x="2013" y="1667"/>
                  <a:pt x="2227" y="1846"/>
                </a:cubicBezTo>
                <a:lnTo>
                  <a:pt x="2227" y="2108"/>
                </a:lnTo>
                <a:cubicBezTo>
                  <a:pt x="2227" y="2108"/>
                  <a:pt x="2227" y="2132"/>
                  <a:pt x="2215" y="2132"/>
                </a:cubicBezTo>
                <a:lnTo>
                  <a:pt x="1787" y="2346"/>
                </a:lnTo>
                <a:cubicBezTo>
                  <a:pt x="1608" y="2441"/>
                  <a:pt x="1489" y="2632"/>
                  <a:pt x="1489" y="2846"/>
                </a:cubicBezTo>
                <a:lnTo>
                  <a:pt x="1489" y="3179"/>
                </a:lnTo>
                <a:lnTo>
                  <a:pt x="1096" y="3179"/>
                </a:lnTo>
                <a:cubicBezTo>
                  <a:pt x="703" y="3179"/>
                  <a:pt x="370" y="3513"/>
                  <a:pt x="370" y="3918"/>
                </a:cubicBezTo>
                <a:lnTo>
                  <a:pt x="370" y="4287"/>
                </a:lnTo>
                <a:cubicBezTo>
                  <a:pt x="370" y="4584"/>
                  <a:pt x="524" y="4846"/>
                  <a:pt x="739" y="5025"/>
                </a:cubicBezTo>
                <a:lnTo>
                  <a:pt x="739" y="5299"/>
                </a:lnTo>
                <a:cubicBezTo>
                  <a:pt x="739" y="5299"/>
                  <a:pt x="739" y="5311"/>
                  <a:pt x="727" y="5311"/>
                </a:cubicBezTo>
                <a:lnTo>
                  <a:pt x="298" y="5537"/>
                </a:lnTo>
                <a:cubicBezTo>
                  <a:pt x="120" y="5620"/>
                  <a:pt x="1" y="5823"/>
                  <a:pt x="1" y="6025"/>
                </a:cubicBezTo>
                <a:lnTo>
                  <a:pt x="1" y="7870"/>
                </a:lnTo>
                <a:cubicBezTo>
                  <a:pt x="1" y="8025"/>
                  <a:pt x="48" y="8156"/>
                  <a:pt x="120" y="8275"/>
                </a:cubicBezTo>
                <a:lnTo>
                  <a:pt x="298" y="8561"/>
                </a:lnTo>
                <a:cubicBezTo>
                  <a:pt x="346" y="8621"/>
                  <a:pt x="358" y="8692"/>
                  <a:pt x="358" y="8775"/>
                </a:cubicBezTo>
                <a:lnTo>
                  <a:pt x="358" y="9549"/>
                </a:lnTo>
                <a:cubicBezTo>
                  <a:pt x="358" y="9644"/>
                  <a:pt x="429" y="9716"/>
                  <a:pt x="524" y="9716"/>
                </a:cubicBezTo>
                <a:cubicBezTo>
                  <a:pt x="608" y="9716"/>
                  <a:pt x="679" y="9644"/>
                  <a:pt x="679" y="9549"/>
                </a:cubicBezTo>
                <a:lnTo>
                  <a:pt x="679" y="8775"/>
                </a:lnTo>
                <a:cubicBezTo>
                  <a:pt x="679" y="8632"/>
                  <a:pt x="644" y="8501"/>
                  <a:pt x="560" y="8371"/>
                </a:cubicBezTo>
                <a:lnTo>
                  <a:pt x="382" y="8097"/>
                </a:lnTo>
                <a:cubicBezTo>
                  <a:pt x="346" y="8037"/>
                  <a:pt x="322" y="7966"/>
                  <a:pt x="322" y="7870"/>
                </a:cubicBezTo>
                <a:lnTo>
                  <a:pt x="322" y="6025"/>
                </a:lnTo>
                <a:cubicBezTo>
                  <a:pt x="322" y="5954"/>
                  <a:pt x="370" y="5882"/>
                  <a:pt x="441" y="5846"/>
                </a:cubicBezTo>
                <a:lnTo>
                  <a:pt x="763" y="5692"/>
                </a:lnTo>
                <a:lnTo>
                  <a:pt x="1036" y="5977"/>
                </a:lnTo>
                <a:cubicBezTo>
                  <a:pt x="1120" y="6049"/>
                  <a:pt x="1203" y="6085"/>
                  <a:pt x="1298" y="6085"/>
                </a:cubicBezTo>
                <a:cubicBezTo>
                  <a:pt x="1382" y="6085"/>
                  <a:pt x="1477" y="6049"/>
                  <a:pt x="1548" y="5977"/>
                </a:cubicBezTo>
                <a:lnTo>
                  <a:pt x="1834" y="5692"/>
                </a:lnTo>
                <a:lnTo>
                  <a:pt x="2144" y="5846"/>
                </a:lnTo>
                <a:cubicBezTo>
                  <a:pt x="2215" y="5882"/>
                  <a:pt x="2263" y="5954"/>
                  <a:pt x="2263" y="6025"/>
                </a:cubicBezTo>
                <a:lnTo>
                  <a:pt x="2263" y="7870"/>
                </a:lnTo>
                <a:cubicBezTo>
                  <a:pt x="2263" y="7942"/>
                  <a:pt x="2227" y="8025"/>
                  <a:pt x="2203" y="8097"/>
                </a:cubicBezTo>
                <a:lnTo>
                  <a:pt x="2025" y="8371"/>
                </a:lnTo>
                <a:cubicBezTo>
                  <a:pt x="1953" y="8490"/>
                  <a:pt x="1906" y="8644"/>
                  <a:pt x="1906" y="8775"/>
                </a:cubicBezTo>
                <a:lnTo>
                  <a:pt x="1906" y="9549"/>
                </a:lnTo>
                <a:cubicBezTo>
                  <a:pt x="1906" y="9644"/>
                  <a:pt x="1977" y="9716"/>
                  <a:pt x="2072" y="9716"/>
                </a:cubicBezTo>
                <a:cubicBezTo>
                  <a:pt x="2156" y="9716"/>
                  <a:pt x="2227" y="9644"/>
                  <a:pt x="2227" y="9549"/>
                </a:cubicBezTo>
                <a:lnTo>
                  <a:pt x="2227" y="8775"/>
                </a:lnTo>
                <a:cubicBezTo>
                  <a:pt x="2227" y="8704"/>
                  <a:pt x="2263" y="8632"/>
                  <a:pt x="2287" y="8561"/>
                </a:cubicBezTo>
                <a:lnTo>
                  <a:pt x="2465" y="8275"/>
                </a:lnTo>
                <a:cubicBezTo>
                  <a:pt x="2549" y="8156"/>
                  <a:pt x="2584" y="8001"/>
                  <a:pt x="2584" y="7870"/>
                </a:cubicBezTo>
                <a:lnTo>
                  <a:pt x="2584" y="6025"/>
                </a:lnTo>
                <a:cubicBezTo>
                  <a:pt x="2584" y="5823"/>
                  <a:pt x="2465" y="5644"/>
                  <a:pt x="2287" y="5537"/>
                </a:cubicBezTo>
                <a:lnTo>
                  <a:pt x="1858" y="5311"/>
                </a:lnTo>
                <a:lnTo>
                  <a:pt x="1846" y="5299"/>
                </a:lnTo>
                <a:lnTo>
                  <a:pt x="1846" y="5025"/>
                </a:lnTo>
                <a:cubicBezTo>
                  <a:pt x="2072" y="4870"/>
                  <a:pt x="2215" y="4596"/>
                  <a:pt x="2215" y="4287"/>
                </a:cubicBezTo>
                <a:lnTo>
                  <a:pt x="2215" y="3918"/>
                </a:lnTo>
                <a:cubicBezTo>
                  <a:pt x="2215" y="3644"/>
                  <a:pt x="2072" y="3406"/>
                  <a:pt x="1846" y="3275"/>
                </a:cubicBezTo>
                <a:lnTo>
                  <a:pt x="1846" y="2822"/>
                </a:lnTo>
                <a:cubicBezTo>
                  <a:pt x="1846" y="2751"/>
                  <a:pt x="1894" y="2679"/>
                  <a:pt x="1965" y="2644"/>
                </a:cubicBezTo>
                <a:lnTo>
                  <a:pt x="2275" y="2501"/>
                </a:lnTo>
                <a:lnTo>
                  <a:pt x="2560" y="2786"/>
                </a:lnTo>
                <a:cubicBezTo>
                  <a:pt x="2632" y="2858"/>
                  <a:pt x="2727" y="2882"/>
                  <a:pt x="2810" y="2882"/>
                </a:cubicBezTo>
                <a:cubicBezTo>
                  <a:pt x="2906" y="2882"/>
                  <a:pt x="2989" y="2858"/>
                  <a:pt x="3061" y="2786"/>
                </a:cubicBezTo>
                <a:lnTo>
                  <a:pt x="3346" y="2501"/>
                </a:lnTo>
                <a:lnTo>
                  <a:pt x="3656" y="2644"/>
                </a:lnTo>
                <a:cubicBezTo>
                  <a:pt x="3739" y="2679"/>
                  <a:pt x="3775" y="2751"/>
                  <a:pt x="3775" y="2822"/>
                </a:cubicBezTo>
                <a:lnTo>
                  <a:pt x="3775" y="3275"/>
                </a:lnTo>
                <a:cubicBezTo>
                  <a:pt x="3561" y="3394"/>
                  <a:pt x="3406" y="3632"/>
                  <a:pt x="3406" y="3918"/>
                </a:cubicBezTo>
                <a:lnTo>
                  <a:pt x="3406" y="4287"/>
                </a:lnTo>
                <a:cubicBezTo>
                  <a:pt x="3406" y="4584"/>
                  <a:pt x="3561" y="4846"/>
                  <a:pt x="3775" y="5025"/>
                </a:cubicBezTo>
                <a:lnTo>
                  <a:pt x="3775" y="5299"/>
                </a:lnTo>
                <a:cubicBezTo>
                  <a:pt x="3775" y="5299"/>
                  <a:pt x="3775" y="5311"/>
                  <a:pt x="3763" y="5311"/>
                </a:cubicBezTo>
                <a:lnTo>
                  <a:pt x="3334" y="5537"/>
                </a:lnTo>
                <a:cubicBezTo>
                  <a:pt x="3156" y="5620"/>
                  <a:pt x="3037" y="5823"/>
                  <a:pt x="3037" y="6025"/>
                </a:cubicBezTo>
                <a:lnTo>
                  <a:pt x="3037" y="7870"/>
                </a:lnTo>
                <a:cubicBezTo>
                  <a:pt x="3037" y="8025"/>
                  <a:pt x="3084" y="8156"/>
                  <a:pt x="3156" y="8275"/>
                </a:cubicBezTo>
                <a:lnTo>
                  <a:pt x="3334" y="8561"/>
                </a:lnTo>
                <a:cubicBezTo>
                  <a:pt x="3382" y="8621"/>
                  <a:pt x="3394" y="8692"/>
                  <a:pt x="3394" y="8775"/>
                </a:cubicBezTo>
                <a:lnTo>
                  <a:pt x="3394" y="9549"/>
                </a:lnTo>
                <a:cubicBezTo>
                  <a:pt x="3394" y="9644"/>
                  <a:pt x="3465" y="9716"/>
                  <a:pt x="3561" y="9716"/>
                </a:cubicBezTo>
                <a:cubicBezTo>
                  <a:pt x="3644" y="9716"/>
                  <a:pt x="3715" y="9644"/>
                  <a:pt x="3715" y="9549"/>
                </a:cubicBezTo>
                <a:lnTo>
                  <a:pt x="3715" y="8775"/>
                </a:lnTo>
                <a:cubicBezTo>
                  <a:pt x="3715" y="8632"/>
                  <a:pt x="3680" y="8501"/>
                  <a:pt x="3596" y="8371"/>
                </a:cubicBezTo>
                <a:lnTo>
                  <a:pt x="3418" y="8097"/>
                </a:lnTo>
                <a:cubicBezTo>
                  <a:pt x="3382" y="8037"/>
                  <a:pt x="3358" y="7966"/>
                  <a:pt x="3358" y="7870"/>
                </a:cubicBezTo>
                <a:lnTo>
                  <a:pt x="3358" y="6025"/>
                </a:lnTo>
                <a:cubicBezTo>
                  <a:pt x="3358" y="5954"/>
                  <a:pt x="3406" y="5882"/>
                  <a:pt x="3477" y="5846"/>
                </a:cubicBezTo>
                <a:lnTo>
                  <a:pt x="3799" y="5692"/>
                </a:lnTo>
                <a:lnTo>
                  <a:pt x="4073" y="5977"/>
                </a:lnTo>
                <a:cubicBezTo>
                  <a:pt x="4156" y="6049"/>
                  <a:pt x="4239" y="6085"/>
                  <a:pt x="4334" y="6085"/>
                </a:cubicBezTo>
                <a:cubicBezTo>
                  <a:pt x="4418" y="6085"/>
                  <a:pt x="4513" y="6049"/>
                  <a:pt x="4585" y="5977"/>
                </a:cubicBezTo>
                <a:lnTo>
                  <a:pt x="4870" y="5692"/>
                </a:lnTo>
                <a:lnTo>
                  <a:pt x="5180" y="5846"/>
                </a:lnTo>
                <a:cubicBezTo>
                  <a:pt x="5251" y="5882"/>
                  <a:pt x="5299" y="5954"/>
                  <a:pt x="5299" y="6025"/>
                </a:cubicBezTo>
                <a:lnTo>
                  <a:pt x="5299" y="7870"/>
                </a:lnTo>
                <a:cubicBezTo>
                  <a:pt x="5299" y="7942"/>
                  <a:pt x="5263" y="8025"/>
                  <a:pt x="5239" y="8097"/>
                </a:cubicBezTo>
                <a:lnTo>
                  <a:pt x="5061" y="8371"/>
                </a:lnTo>
                <a:cubicBezTo>
                  <a:pt x="4989" y="8490"/>
                  <a:pt x="4942" y="8644"/>
                  <a:pt x="4942" y="8775"/>
                </a:cubicBezTo>
                <a:lnTo>
                  <a:pt x="4942" y="9549"/>
                </a:lnTo>
                <a:cubicBezTo>
                  <a:pt x="4942" y="9644"/>
                  <a:pt x="5013" y="9716"/>
                  <a:pt x="5108" y="9716"/>
                </a:cubicBezTo>
                <a:cubicBezTo>
                  <a:pt x="5192" y="9716"/>
                  <a:pt x="5263" y="9644"/>
                  <a:pt x="5263" y="9549"/>
                </a:cubicBezTo>
                <a:lnTo>
                  <a:pt x="5263" y="8775"/>
                </a:lnTo>
                <a:cubicBezTo>
                  <a:pt x="5263" y="8704"/>
                  <a:pt x="5299" y="8632"/>
                  <a:pt x="5323" y="8561"/>
                </a:cubicBezTo>
                <a:lnTo>
                  <a:pt x="5501" y="8275"/>
                </a:lnTo>
                <a:cubicBezTo>
                  <a:pt x="5585" y="8156"/>
                  <a:pt x="5620" y="8001"/>
                  <a:pt x="5620" y="7870"/>
                </a:cubicBezTo>
                <a:lnTo>
                  <a:pt x="5620" y="6025"/>
                </a:lnTo>
                <a:cubicBezTo>
                  <a:pt x="5620" y="5823"/>
                  <a:pt x="5501" y="5644"/>
                  <a:pt x="5323" y="5537"/>
                </a:cubicBezTo>
                <a:lnTo>
                  <a:pt x="4894" y="5311"/>
                </a:lnTo>
                <a:lnTo>
                  <a:pt x="4882" y="5299"/>
                </a:lnTo>
                <a:lnTo>
                  <a:pt x="4882" y="5025"/>
                </a:lnTo>
                <a:cubicBezTo>
                  <a:pt x="5108" y="4870"/>
                  <a:pt x="5251" y="4596"/>
                  <a:pt x="5251" y="4287"/>
                </a:cubicBezTo>
                <a:lnTo>
                  <a:pt x="5251" y="3918"/>
                </a:lnTo>
                <a:cubicBezTo>
                  <a:pt x="5251" y="3644"/>
                  <a:pt x="5108" y="3406"/>
                  <a:pt x="4882" y="3275"/>
                </a:cubicBezTo>
                <a:lnTo>
                  <a:pt x="4882" y="2822"/>
                </a:lnTo>
                <a:cubicBezTo>
                  <a:pt x="4882" y="2751"/>
                  <a:pt x="4930" y="2679"/>
                  <a:pt x="5001" y="2644"/>
                </a:cubicBezTo>
                <a:lnTo>
                  <a:pt x="5311" y="2501"/>
                </a:lnTo>
                <a:lnTo>
                  <a:pt x="5597" y="2786"/>
                </a:lnTo>
                <a:cubicBezTo>
                  <a:pt x="5668" y="2858"/>
                  <a:pt x="5763" y="2882"/>
                  <a:pt x="5847" y="2882"/>
                </a:cubicBezTo>
                <a:cubicBezTo>
                  <a:pt x="5942" y="2882"/>
                  <a:pt x="6025" y="2858"/>
                  <a:pt x="6097" y="2786"/>
                </a:cubicBezTo>
                <a:lnTo>
                  <a:pt x="6382" y="2501"/>
                </a:lnTo>
                <a:lnTo>
                  <a:pt x="6692" y="2644"/>
                </a:lnTo>
                <a:cubicBezTo>
                  <a:pt x="6775" y="2679"/>
                  <a:pt x="6811" y="2751"/>
                  <a:pt x="6811" y="2822"/>
                </a:cubicBezTo>
                <a:lnTo>
                  <a:pt x="6811" y="3275"/>
                </a:lnTo>
                <a:cubicBezTo>
                  <a:pt x="6597" y="3394"/>
                  <a:pt x="6442" y="3632"/>
                  <a:pt x="6442" y="3918"/>
                </a:cubicBezTo>
                <a:lnTo>
                  <a:pt x="6442" y="4287"/>
                </a:lnTo>
                <a:cubicBezTo>
                  <a:pt x="6442" y="4584"/>
                  <a:pt x="6597" y="4846"/>
                  <a:pt x="6811" y="5025"/>
                </a:cubicBezTo>
                <a:lnTo>
                  <a:pt x="6811" y="5299"/>
                </a:lnTo>
                <a:cubicBezTo>
                  <a:pt x="6811" y="5299"/>
                  <a:pt x="6811" y="5311"/>
                  <a:pt x="6799" y="5311"/>
                </a:cubicBezTo>
                <a:lnTo>
                  <a:pt x="6370" y="5537"/>
                </a:lnTo>
                <a:cubicBezTo>
                  <a:pt x="6192" y="5620"/>
                  <a:pt x="6073" y="5823"/>
                  <a:pt x="6073" y="6025"/>
                </a:cubicBezTo>
                <a:lnTo>
                  <a:pt x="6073" y="7870"/>
                </a:lnTo>
                <a:cubicBezTo>
                  <a:pt x="6073" y="8025"/>
                  <a:pt x="6120" y="8156"/>
                  <a:pt x="6192" y="8275"/>
                </a:cubicBezTo>
                <a:lnTo>
                  <a:pt x="6370" y="8561"/>
                </a:lnTo>
                <a:cubicBezTo>
                  <a:pt x="6418" y="8621"/>
                  <a:pt x="6430" y="8692"/>
                  <a:pt x="6430" y="8775"/>
                </a:cubicBezTo>
                <a:lnTo>
                  <a:pt x="6430" y="9549"/>
                </a:lnTo>
                <a:cubicBezTo>
                  <a:pt x="6430" y="9644"/>
                  <a:pt x="6501" y="9716"/>
                  <a:pt x="6597" y="9716"/>
                </a:cubicBezTo>
                <a:cubicBezTo>
                  <a:pt x="6680" y="9716"/>
                  <a:pt x="6751" y="9644"/>
                  <a:pt x="6751" y="9549"/>
                </a:cubicBezTo>
                <a:lnTo>
                  <a:pt x="6751" y="8775"/>
                </a:lnTo>
                <a:cubicBezTo>
                  <a:pt x="6751" y="8632"/>
                  <a:pt x="6716" y="8501"/>
                  <a:pt x="6632" y="8371"/>
                </a:cubicBezTo>
                <a:lnTo>
                  <a:pt x="6454" y="8097"/>
                </a:lnTo>
                <a:cubicBezTo>
                  <a:pt x="6418" y="8037"/>
                  <a:pt x="6394" y="7966"/>
                  <a:pt x="6394" y="7870"/>
                </a:cubicBezTo>
                <a:lnTo>
                  <a:pt x="6394" y="6025"/>
                </a:lnTo>
                <a:cubicBezTo>
                  <a:pt x="6394" y="5954"/>
                  <a:pt x="6442" y="5882"/>
                  <a:pt x="6513" y="5846"/>
                </a:cubicBezTo>
                <a:lnTo>
                  <a:pt x="6835" y="5692"/>
                </a:lnTo>
                <a:lnTo>
                  <a:pt x="7109" y="5977"/>
                </a:lnTo>
                <a:cubicBezTo>
                  <a:pt x="7192" y="6049"/>
                  <a:pt x="7275" y="6085"/>
                  <a:pt x="7371" y="6085"/>
                </a:cubicBezTo>
                <a:cubicBezTo>
                  <a:pt x="7454" y="6085"/>
                  <a:pt x="7549" y="6049"/>
                  <a:pt x="7621" y="5977"/>
                </a:cubicBezTo>
                <a:lnTo>
                  <a:pt x="7906" y="5692"/>
                </a:lnTo>
                <a:lnTo>
                  <a:pt x="8216" y="5846"/>
                </a:lnTo>
                <a:cubicBezTo>
                  <a:pt x="8287" y="5882"/>
                  <a:pt x="8335" y="5954"/>
                  <a:pt x="8335" y="6025"/>
                </a:cubicBezTo>
                <a:lnTo>
                  <a:pt x="8335" y="7870"/>
                </a:lnTo>
                <a:cubicBezTo>
                  <a:pt x="8335" y="7942"/>
                  <a:pt x="8299" y="8025"/>
                  <a:pt x="8275" y="8097"/>
                </a:cubicBezTo>
                <a:lnTo>
                  <a:pt x="8097" y="8371"/>
                </a:lnTo>
                <a:cubicBezTo>
                  <a:pt x="8025" y="8490"/>
                  <a:pt x="7978" y="8644"/>
                  <a:pt x="7978" y="8775"/>
                </a:cubicBezTo>
                <a:lnTo>
                  <a:pt x="7978" y="9549"/>
                </a:lnTo>
                <a:cubicBezTo>
                  <a:pt x="7978" y="9644"/>
                  <a:pt x="8049" y="9716"/>
                  <a:pt x="8144" y="9716"/>
                </a:cubicBezTo>
                <a:cubicBezTo>
                  <a:pt x="8228" y="9716"/>
                  <a:pt x="8299" y="9644"/>
                  <a:pt x="8299" y="9549"/>
                </a:cubicBezTo>
                <a:lnTo>
                  <a:pt x="8299" y="8775"/>
                </a:lnTo>
                <a:cubicBezTo>
                  <a:pt x="8299" y="8704"/>
                  <a:pt x="8335" y="8632"/>
                  <a:pt x="8359" y="8561"/>
                </a:cubicBezTo>
                <a:lnTo>
                  <a:pt x="8537" y="8275"/>
                </a:lnTo>
                <a:cubicBezTo>
                  <a:pt x="8621" y="8156"/>
                  <a:pt x="8656" y="8001"/>
                  <a:pt x="8656" y="7870"/>
                </a:cubicBezTo>
                <a:lnTo>
                  <a:pt x="8656" y="6025"/>
                </a:lnTo>
                <a:cubicBezTo>
                  <a:pt x="8656" y="5823"/>
                  <a:pt x="8537" y="5644"/>
                  <a:pt x="8359" y="5537"/>
                </a:cubicBezTo>
                <a:lnTo>
                  <a:pt x="7930" y="5311"/>
                </a:lnTo>
                <a:lnTo>
                  <a:pt x="7918" y="5299"/>
                </a:lnTo>
                <a:lnTo>
                  <a:pt x="7918" y="5025"/>
                </a:lnTo>
                <a:cubicBezTo>
                  <a:pt x="8144" y="4870"/>
                  <a:pt x="8287" y="4596"/>
                  <a:pt x="8287" y="4287"/>
                </a:cubicBezTo>
                <a:lnTo>
                  <a:pt x="8287" y="3918"/>
                </a:lnTo>
                <a:cubicBezTo>
                  <a:pt x="8287" y="3644"/>
                  <a:pt x="8144" y="3406"/>
                  <a:pt x="7918" y="3275"/>
                </a:cubicBezTo>
                <a:lnTo>
                  <a:pt x="7918" y="2822"/>
                </a:lnTo>
                <a:cubicBezTo>
                  <a:pt x="7918" y="2751"/>
                  <a:pt x="7966" y="2679"/>
                  <a:pt x="8037" y="2644"/>
                </a:cubicBezTo>
                <a:lnTo>
                  <a:pt x="8347" y="2501"/>
                </a:lnTo>
                <a:lnTo>
                  <a:pt x="8633" y="2786"/>
                </a:lnTo>
                <a:cubicBezTo>
                  <a:pt x="8704" y="2858"/>
                  <a:pt x="8799" y="2882"/>
                  <a:pt x="8883" y="2882"/>
                </a:cubicBezTo>
                <a:cubicBezTo>
                  <a:pt x="8978" y="2882"/>
                  <a:pt x="9061" y="2858"/>
                  <a:pt x="9133" y="2786"/>
                </a:cubicBezTo>
                <a:lnTo>
                  <a:pt x="9418" y="2501"/>
                </a:lnTo>
                <a:lnTo>
                  <a:pt x="9728" y="2644"/>
                </a:lnTo>
                <a:cubicBezTo>
                  <a:pt x="9811" y="2679"/>
                  <a:pt x="9847" y="2751"/>
                  <a:pt x="9847" y="2822"/>
                </a:cubicBezTo>
                <a:lnTo>
                  <a:pt x="9847" y="3275"/>
                </a:lnTo>
                <a:cubicBezTo>
                  <a:pt x="9633" y="3394"/>
                  <a:pt x="9478" y="3632"/>
                  <a:pt x="9478" y="3918"/>
                </a:cubicBezTo>
                <a:lnTo>
                  <a:pt x="9478" y="4287"/>
                </a:lnTo>
                <a:cubicBezTo>
                  <a:pt x="9478" y="4584"/>
                  <a:pt x="9633" y="4846"/>
                  <a:pt x="9847" y="5025"/>
                </a:cubicBezTo>
                <a:lnTo>
                  <a:pt x="9847" y="5299"/>
                </a:lnTo>
                <a:cubicBezTo>
                  <a:pt x="9847" y="5299"/>
                  <a:pt x="9847" y="5311"/>
                  <a:pt x="9835" y="5311"/>
                </a:cubicBezTo>
                <a:lnTo>
                  <a:pt x="9407" y="5537"/>
                </a:lnTo>
                <a:cubicBezTo>
                  <a:pt x="9228" y="5620"/>
                  <a:pt x="9109" y="5823"/>
                  <a:pt x="9109" y="6025"/>
                </a:cubicBezTo>
                <a:lnTo>
                  <a:pt x="9109" y="7870"/>
                </a:lnTo>
                <a:cubicBezTo>
                  <a:pt x="9109" y="8025"/>
                  <a:pt x="9157" y="8156"/>
                  <a:pt x="9228" y="8275"/>
                </a:cubicBezTo>
                <a:lnTo>
                  <a:pt x="9407" y="8561"/>
                </a:lnTo>
                <a:cubicBezTo>
                  <a:pt x="9454" y="8621"/>
                  <a:pt x="9466" y="8692"/>
                  <a:pt x="9466" y="8775"/>
                </a:cubicBezTo>
                <a:lnTo>
                  <a:pt x="9466" y="9549"/>
                </a:lnTo>
                <a:cubicBezTo>
                  <a:pt x="9466" y="9644"/>
                  <a:pt x="9538" y="9716"/>
                  <a:pt x="9633" y="9716"/>
                </a:cubicBezTo>
                <a:cubicBezTo>
                  <a:pt x="9716" y="9716"/>
                  <a:pt x="9788" y="9644"/>
                  <a:pt x="9788" y="9549"/>
                </a:cubicBezTo>
                <a:lnTo>
                  <a:pt x="9788" y="8775"/>
                </a:lnTo>
                <a:cubicBezTo>
                  <a:pt x="9788" y="8632"/>
                  <a:pt x="9752" y="8501"/>
                  <a:pt x="9668" y="8371"/>
                </a:cubicBezTo>
                <a:lnTo>
                  <a:pt x="9490" y="8097"/>
                </a:lnTo>
                <a:cubicBezTo>
                  <a:pt x="9454" y="8037"/>
                  <a:pt x="9430" y="7966"/>
                  <a:pt x="9430" y="7870"/>
                </a:cubicBezTo>
                <a:lnTo>
                  <a:pt x="9430" y="6025"/>
                </a:lnTo>
                <a:cubicBezTo>
                  <a:pt x="9430" y="5954"/>
                  <a:pt x="9478" y="5882"/>
                  <a:pt x="9549" y="5846"/>
                </a:cubicBezTo>
                <a:lnTo>
                  <a:pt x="9871" y="5692"/>
                </a:lnTo>
                <a:lnTo>
                  <a:pt x="10145" y="5977"/>
                </a:lnTo>
                <a:cubicBezTo>
                  <a:pt x="10228" y="6049"/>
                  <a:pt x="10311" y="6085"/>
                  <a:pt x="10407" y="6085"/>
                </a:cubicBezTo>
                <a:cubicBezTo>
                  <a:pt x="10490" y="6085"/>
                  <a:pt x="10585" y="6049"/>
                  <a:pt x="10657" y="5977"/>
                </a:cubicBezTo>
                <a:lnTo>
                  <a:pt x="10942" y="5692"/>
                </a:lnTo>
                <a:lnTo>
                  <a:pt x="11252" y="5846"/>
                </a:lnTo>
                <a:cubicBezTo>
                  <a:pt x="11323" y="5882"/>
                  <a:pt x="11371" y="5954"/>
                  <a:pt x="11371" y="6025"/>
                </a:cubicBezTo>
                <a:lnTo>
                  <a:pt x="11371" y="7870"/>
                </a:lnTo>
                <a:cubicBezTo>
                  <a:pt x="11371" y="7942"/>
                  <a:pt x="11335" y="8025"/>
                  <a:pt x="11312" y="8097"/>
                </a:cubicBezTo>
                <a:lnTo>
                  <a:pt x="11133" y="8371"/>
                </a:lnTo>
                <a:cubicBezTo>
                  <a:pt x="11062" y="8490"/>
                  <a:pt x="11014" y="8644"/>
                  <a:pt x="11014" y="8775"/>
                </a:cubicBezTo>
                <a:lnTo>
                  <a:pt x="11014" y="9549"/>
                </a:lnTo>
                <a:cubicBezTo>
                  <a:pt x="11014" y="9644"/>
                  <a:pt x="11085" y="9716"/>
                  <a:pt x="11181" y="9716"/>
                </a:cubicBezTo>
                <a:cubicBezTo>
                  <a:pt x="11264" y="9716"/>
                  <a:pt x="11335" y="9644"/>
                  <a:pt x="11335" y="9549"/>
                </a:cubicBezTo>
                <a:lnTo>
                  <a:pt x="11335" y="8775"/>
                </a:lnTo>
                <a:cubicBezTo>
                  <a:pt x="11335" y="8704"/>
                  <a:pt x="11371" y="8632"/>
                  <a:pt x="11395" y="8561"/>
                </a:cubicBezTo>
                <a:lnTo>
                  <a:pt x="11573" y="8275"/>
                </a:lnTo>
                <a:cubicBezTo>
                  <a:pt x="11657" y="8156"/>
                  <a:pt x="11693" y="8001"/>
                  <a:pt x="11693" y="7870"/>
                </a:cubicBezTo>
                <a:lnTo>
                  <a:pt x="11693" y="6025"/>
                </a:lnTo>
                <a:cubicBezTo>
                  <a:pt x="11514" y="5823"/>
                  <a:pt x="11395" y="5620"/>
                  <a:pt x="11204" y="5537"/>
                </a:cubicBezTo>
                <a:lnTo>
                  <a:pt x="10776" y="5311"/>
                </a:lnTo>
                <a:lnTo>
                  <a:pt x="10764" y="5299"/>
                </a:lnTo>
                <a:lnTo>
                  <a:pt x="10764" y="5025"/>
                </a:lnTo>
                <a:cubicBezTo>
                  <a:pt x="10978" y="4870"/>
                  <a:pt x="11133" y="4596"/>
                  <a:pt x="11133" y="4287"/>
                </a:cubicBezTo>
                <a:lnTo>
                  <a:pt x="11133" y="3918"/>
                </a:lnTo>
                <a:cubicBezTo>
                  <a:pt x="11133" y="3513"/>
                  <a:pt x="10800" y="3179"/>
                  <a:pt x="10407" y="3179"/>
                </a:cubicBezTo>
                <a:lnTo>
                  <a:pt x="10014" y="3179"/>
                </a:lnTo>
                <a:lnTo>
                  <a:pt x="10014" y="2846"/>
                </a:lnTo>
                <a:cubicBezTo>
                  <a:pt x="10014" y="2632"/>
                  <a:pt x="9895" y="2453"/>
                  <a:pt x="9716" y="2346"/>
                </a:cubicBezTo>
                <a:lnTo>
                  <a:pt x="9287" y="2132"/>
                </a:lnTo>
                <a:lnTo>
                  <a:pt x="9276" y="2108"/>
                </a:lnTo>
                <a:lnTo>
                  <a:pt x="9276" y="1846"/>
                </a:lnTo>
                <a:cubicBezTo>
                  <a:pt x="9490" y="1679"/>
                  <a:pt x="9645" y="1417"/>
                  <a:pt x="9645" y="1096"/>
                </a:cubicBezTo>
                <a:lnTo>
                  <a:pt x="9645" y="727"/>
                </a:lnTo>
                <a:cubicBezTo>
                  <a:pt x="9645" y="322"/>
                  <a:pt x="9311" y="0"/>
                  <a:pt x="8918" y="0"/>
                </a:cubicBezTo>
                <a:lnTo>
                  <a:pt x="8537" y="0"/>
                </a:lnTo>
                <a:cubicBezTo>
                  <a:pt x="8133" y="0"/>
                  <a:pt x="7811" y="322"/>
                  <a:pt x="7811" y="727"/>
                </a:cubicBezTo>
                <a:lnTo>
                  <a:pt x="7811" y="1096"/>
                </a:lnTo>
                <a:cubicBezTo>
                  <a:pt x="7811" y="1393"/>
                  <a:pt x="7966" y="1667"/>
                  <a:pt x="8180" y="1846"/>
                </a:cubicBezTo>
                <a:lnTo>
                  <a:pt x="8180" y="2108"/>
                </a:lnTo>
                <a:cubicBezTo>
                  <a:pt x="8180" y="2108"/>
                  <a:pt x="8180" y="2132"/>
                  <a:pt x="8168" y="2132"/>
                </a:cubicBezTo>
                <a:lnTo>
                  <a:pt x="7740" y="2346"/>
                </a:lnTo>
                <a:cubicBezTo>
                  <a:pt x="7561" y="2441"/>
                  <a:pt x="7442" y="2632"/>
                  <a:pt x="7442" y="2846"/>
                </a:cubicBezTo>
                <a:lnTo>
                  <a:pt x="7442" y="3179"/>
                </a:lnTo>
                <a:lnTo>
                  <a:pt x="7037" y="3179"/>
                </a:lnTo>
                <a:lnTo>
                  <a:pt x="7037" y="2846"/>
                </a:lnTo>
                <a:cubicBezTo>
                  <a:pt x="7037" y="2632"/>
                  <a:pt x="6918" y="2453"/>
                  <a:pt x="6740" y="2346"/>
                </a:cubicBezTo>
                <a:lnTo>
                  <a:pt x="6311" y="2132"/>
                </a:lnTo>
                <a:lnTo>
                  <a:pt x="6299" y="2108"/>
                </a:lnTo>
                <a:lnTo>
                  <a:pt x="6299" y="1846"/>
                </a:lnTo>
                <a:cubicBezTo>
                  <a:pt x="6513" y="1679"/>
                  <a:pt x="6668" y="1417"/>
                  <a:pt x="6668" y="1096"/>
                </a:cubicBezTo>
                <a:lnTo>
                  <a:pt x="6668" y="727"/>
                </a:lnTo>
                <a:cubicBezTo>
                  <a:pt x="6668" y="322"/>
                  <a:pt x="6335" y="0"/>
                  <a:pt x="5942" y="0"/>
                </a:cubicBezTo>
                <a:lnTo>
                  <a:pt x="5561" y="0"/>
                </a:lnTo>
                <a:cubicBezTo>
                  <a:pt x="5168" y="0"/>
                  <a:pt x="4835" y="322"/>
                  <a:pt x="4835" y="727"/>
                </a:cubicBezTo>
                <a:lnTo>
                  <a:pt x="4835" y="1096"/>
                </a:lnTo>
                <a:cubicBezTo>
                  <a:pt x="4835" y="1393"/>
                  <a:pt x="4989" y="1667"/>
                  <a:pt x="5204" y="1846"/>
                </a:cubicBezTo>
                <a:lnTo>
                  <a:pt x="5204" y="2108"/>
                </a:lnTo>
                <a:cubicBezTo>
                  <a:pt x="5204" y="2108"/>
                  <a:pt x="5204" y="2132"/>
                  <a:pt x="5192" y="2132"/>
                </a:cubicBezTo>
                <a:lnTo>
                  <a:pt x="4763" y="2346"/>
                </a:lnTo>
                <a:cubicBezTo>
                  <a:pt x="4585" y="2441"/>
                  <a:pt x="4465" y="2632"/>
                  <a:pt x="4465" y="2846"/>
                </a:cubicBezTo>
                <a:lnTo>
                  <a:pt x="4465" y="3179"/>
                </a:lnTo>
                <a:lnTo>
                  <a:pt x="4061" y="3179"/>
                </a:lnTo>
                <a:lnTo>
                  <a:pt x="4061" y="2846"/>
                </a:lnTo>
                <a:cubicBezTo>
                  <a:pt x="4061" y="2632"/>
                  <a:pt x="3942" y="2453"/>
                  <a:pt x="3763" y="2346"/>
                </a:cubicBezTo>
                <a:lnTo>
                  <a:pt x="3334" y="2132"/>
                </a:lnTo>
                <a:lnTo>
                  <a:pt x="3322" y="2108"/>
                </a:lnTo>
                <a:lnTo>
                  <a:pt x="3322" y="1846"/>
                </a:lnTo>
                <a:cubicBezTo>
                  <a:pt x="3537" y="1679"/>
                  <a:pt x="3692" y="1417"/>
                  <a:pt x="3692" y="1096"/>
                </a:cubicBezTo>
                <a:lnTo>
                  <a:pt x="3692" y="727"/>
                </a:lnTo>
                <a:cubicBezTo>
                  <a:pt x="3692" y="322"/>
                  <a:pt x="3358" y="0"/>
                  <a:pt x="296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17" name="Google Shape;13217;p64"/>
          <p:cNvGrpSpPr/>
          <p:nvPr/>
        </p:nvGrpSpPr>
        <p:grpSpPr>
          <a:xfrm>
            <a:off x="2766374" y="3361013"/>
            <a:ext cx="330110" cy="308908"/>
            <a:chOff x="2766264" y="3394042"/>
            <a:chExt cx="294873" cy="275934"/>
          </a:xfrm>
        </p:grpSpPr>
        <p:sp>
          <p:nvSpPr>
            <p:cNvPr id="13218" name="Google Shape;13218;p64"/>
            <p:cNvSpPr/>
            <p:nvPr/>
          </p:nvSpPr>
          <p:spPr>
            <a:xfrm>
              <a:off x="2766264" y="3394042"/>
              <a:ext cx="253176" cy="275934"/>
            </a:xfrm>
            <a:custGeom>
              <a:avLst/>
              <a:gdLst/>
              <a:ahLst/>
              <a:cxnLst/>
              <a:rect l="l" t="t" r="r" b="b"/>
              <a:pathLst>
                <a:path w="7954" h="8669" extrusionOk="0">
                  <a:moveTo>
                    <a:pt x="6942" y="3489"/>
                  </a:moveTo>
                  <a:cubicBezTo>
                    <a:pt x="7371" y="3549"/>
                    <a:pt x="7692" y="3918"/>
                    <a:pt x="7692" y="4346"/>
                  </a:cubicBezTo>
                  <a:cubicBezTo>
                    <a:pt x="7692" y="4799"/>
                    <a:pt x="7382" y="5156"/>
                    <a:pt x="6942" y="5227"/>
                  </a:cubicBezTo>
                  <a:lnTo>
                    <a:pt x="6942" y="3489"/>
                  </a:lnTo>
                  <a:close/>
                  <a:moveTo>
                    <a:pt x="1013" y="3322"/>
                  </a:moveTo>
                  <a:lnTo>
                    <a:pt x="1013" y="5382"/>
                  </a:lnTo>
                  <a:lnTo>
                    <a:pt x="715" y="5382"/>
                  </a:lnTo>
                  <a:cubicBezTo>
                    <a:pt x="465" y="5382"/>
                    <a:pt x="263" y="5180"/>
                    <a:pt x="263" y="4930"/>
                  </a:cubicBezTo>
                  <a:lnTo>
                    <a:pt x="263" y="3775"/>
                  </a:lnTo>
                  <a:cubicBezTo>
                    <a:pt x="263" y="3537"/>
                    <a:pt x="453" y="3322"/>
                    <a:pt x="715" y="3322"/>
                  </a:cubicBezTo>
                  <a:close/>
                  <a:moveTo>
                    <a:pt x="2179" y="3322"/>
                  </a:moveTo>
                  <a:lnTo>
                    <a:pt x="2179" y="5382"/>
                  </a:lnTo>
                  <a:lnTo>
                    <a:pt x="1286" y="5382"/>
                  </a:lnTo>
                  <a:lnTo>
                    <a:pt x="1286" y="3322"/>
                  </a:lnTo>
                  <a:close/>
                  <a:moveTo>
                    <a:pt x="2322" y="6370"/>
                  </a:moveTo>
                  <a:lnTo>
                    <a:pt x="2322" y="6966"/>
                  </a:lnTo>
                  <a:lnTo>
                    <a:pt x="2060" y="6966"/>
                  </a:lnTo>
                  <a:lnTo>
                    <a:pt x="2227" y="6370"/>
                  </a:lnTo>
                  <a:close/>
                  <a:moveTo>
                    <a:pt x="2144" y="5644"/>
                  </a:moveTo>
                  <a:lnTo>
                    <a:pt x="1632" y="7549"/>
                  </a:lnTo>
                  <a:lnTo>
                    <a:pt x="1286" y="7549"/>
                  </a:lnTo>
                  <a:lnTo>
                    <a:pt x="1286" y="5644"/>
                  </a:lnTo>
                  <a:close/>
                  <a:moveTo>
                    <a:pt x="6680" y="274"/>
                  </a:moveTo>
                  <a:lnTo>
                    <a:pt x="6680" y="8430"/>
                  </a:lnTo>
                  <a:lnTo>
                    <a:pt x="6085" y="8430"/>
                  </a:lnTo>
                  <a:lnTo>
                    <a:pt x="6085" y="2703"/>
                  </a:lnTo>
                  <a:cubicBezTo>
                    <a:pt x="6085" y="2620"/>
                    <a:pt x="6025" y="2560"/>
                    <a:pt x="5954" y="2560"/>
                  </a:cubicBezTo>
                  <a:cubicBezTo>
                    <a:pt x="5870" y="2560"/>
                    <a:pt x="5811" y="2620"/>
                    <a:pt x="5811" y="2703"/>
                  </a:cubicBezTo>
                  <a:lnTo>
                    <a:pt x="5811" y="7549"/>
                  </a:lnTo>
                  <a:cubicBezTo>
                    <a:pt x="5632" y="7311"/>
                    <a:pt x="5382" y="6989"/>
                    <a:pt x="5037" y="6668"/>
                  </a:cubicBezTo>
                  <a:cubicBezTo>
                    <a:pt x="4668" y="6299"/>
                    <a:pt x="4263" y="6013"/>
                    <a:pt x="3870" y="5799"/>
                  </a:cubicBezTo>
                  <a:cubicBezTo>
                    <a:pt x="3406" y="5561"/>
                    <a:pt x="2930" y="5418"/>
                    <a:pt x="2453" y="5394"/>
                  </a:cubicBezTo>
                  <a:lnTo>
                    <a:pt x="2453" y="3322"/>
                  </a:lnTo>
                  <a:cubicBezTo>
                    <a:pt x="2930" y="3310"/>
                    <a:pt x="3406" y="3179"/>
                    <a:pt x="3870" y="2918"/>
                  </a:cubicBezTo>
                  <a:cubicBezTo>
                    <a:pt x="4263" y="2715"/>
                    <a:pt x="4668" y="2417"/>
                    <a:pt x="5037" y="2048"/>
                  </a:cubicBezTo>
                  <a:cubicBezTo>
                    <a:pt x="5370" y="1715"/>
                    <a:pt x="5632" y="1394"/>
                    <a:pt x="5811" y="1167"/>
                  </a:cubicBezTo>
                  <a:lnTo>
                    <a:pt x="5811" y="2025"/>
                  </a:lnTo>
                  <a:cubicBezTo>
                    <a:pt x="5811" y="2108"/>
                    <a:pt x="5870" y="2167"/>
                    <a:pt x="5954" y="2167"/>
                  </a:cubicBezTo>
                  <a:cubicBezTo>
                    <a:pt x="6025" y="2167"/>
                    <a:pt x="6085" y="2108"/>
                    <a:pt x="6085" y="2025"/>
                  </a:cubicBezTo>
                  <a:lnTo>
                    <a:pt x="6085" y="274"/>
                  </a:lnTo>
                  <a:close/>
                  <a:moveTo>
                    <a:pt x="5930" y="0"/>
                  </a:moveTo>
                  <a:cubicBezTo>
                    <a:pt x="5858" y="0"/>
                    <a:pt x="5799" y="60"/>
                    <a:pt x="5799" y="143"/>
                  </a:cubicBezTo>
                  <a:lnTo>
                    <a:pt x="5799" y="679"/>
                  </a:lnTo>
                  <a:cubicBezTo>
                    <a:pt x="5728" y="810"/>
                    <a:pt x="5370" y="1334"/>
                    <a:pt x="4835" y="1846"/>
                  </a:cubicBezTo>
                  <a:cubicBezTo>
                    <a:pt x="4263" y="2382"/>
                    <a:pt x="3370" y="3037"/>
                    <a:pt x="2299" y="3037"/>
                  </a:cubicBezTo>
                  <a:lnTo>
                    <a:pt x="715" y="3037"/>
                  </a:lnTo>
                  <a:cubicBezTo>
                    <a:pt x="310" y="3037"/>
                    <a:pt x="1" y="3370"/>
                    <a:pt x="1" y="3751"/>
                  </a:cubicBezTo>
                  <a:lnTo>
                    <a:pt x="1" y="4918"/>
                  </a:lnTo>
                  <a:cubicBezTo>
                    <a:pt x="1" y="5323"/>
                    <a:pt x="322" y="5632"/>
                    <a:pt x="715" y="5632"/>
                  </a:cubicBezTo>
                  <a:lnTo>
                    <a:pt x="1013" y="5632"/>
                  </a:lnTo>
                  <a:lnTo>
                    <a:pt x="1013" y="7668"/>
                  </a:lnTo>
                  <a:cubicBezTo>
                    <a:pt x="1013" y="7740"/>
                    <a:pt x="1072" y="7799"/>
                    <a:pt x="1144" y="7799"/>
                  </a:cubicBezTo>
                  <a:lnTo>
                    <a:pt x="1727" y="7799"/>
                  </a:lnTo>
                  <a:cubicBezTo>
                    <a:pt x="1787" y="7799"/>
                    <a:pt x="1846" y="7763"/>
                    <a:pt x="1858" y="7692"/>
                  </a:cubicBezTo>
                  <a:lnTo>
                    <a:pt x="1989" y="7216"/>
                  </a:lnTo>
                  <a:lnTo>
                    <a:pt x="2453" y="7216"/>
                  </a:lnTo>
                  <a:cubicBezTo>
                    <a:pt x="2525" y="7216"/>
                    <a:pt x="2584" y="7156"/>
                    <a:pt x="2584" y="7085"/>
                  </a:cubicBezTo>
                  <a:lnTo>
                    <a:pt x="2584" y="6204"/>
                  </a:lnTo>
                  <a:cubicBezTo>
                    <a:pt x="2584" y="6132"/>
                    <a:pt x="2525" y="6073"/>
                    <a:pt x="2453" y="6073"/>
                  </a:cubicBezTo>
                  <a:lnTo>
                    <a:pt x="2287" y="6073"/>
                  </a:lnTo>
                  <a:lnTo>
                    <a:pt x="2406" y="5632"/>
                  </a:lnTo>
                  <a:cubicBezTo>
                    <a:pt x="3430" y="5668"/>
                    <a:pt x="4299" y="6299"/>
                    <a:pt x="4835" y="6823"/>
                  </a:cubicBezTo>
                  <a:cubicBezTo>
                    <a:pt x="5370" y="7335"/>
                    <a:pt x="5704" y="7859"/>
                    <a:pt x="5799" y="7990"/>
                  </a:cubicBezTo>
                  <a:lnTo>
                    <a:pt x="5799" y="8525"/>
                  </a:lnTo>
                  <a:cubicBezTo>
                    <a:pt x="5799" y="8609"/>
                    <a:pt x="5858" y="8668"/>
                    <a:pt x="5930" y="8668"/>
                  </a:cubicBezTo>
                  <a:lnTo>
                    <a:pt x="6811" y="8668"/>
                  </a:lnTo>
                  <a:cubicBezTo>
                    <a:pt x="6882" y="8668"/>
                    <a:pt x="6942" y="8609"/>
                    <a:pt x="6942" y="8525"/>
                  </a:cubicBezTo>
                  <a:lnTo>
                    <a:pt x="6942" y="5465"/>
                  </a:lnTo>
                  <a:cubicBezTo>
                    <a:pt x="7525" y="5394"/>
                    <a:pt x="7954" y="4918"/>
                    <a:pt x="7954" y="4322"/>
                  </a:cubicBezTo>
                  <a:cubicBezTo>
                    <a:pt x="7954" y="3775"/>
                    <a:pt x="7525" y="3275"/>
                    <a:pt x="6942" y="3203"/>
                  </a:cubicBezTo>
                  <a:lnTo>
                    <a:pt x="6942" y="143"/>
                  </a:lnTo>
                  <a:cubicBezTo>
                    <a:pt x="6942" y="60"/>
                    <a:pt x="6882" y="0"/>
                    <a:pt x="6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9" name="Google Shape;13219;p64"/>
            <p:cNvSpPr/>
            <p:nvPr/>
          </p:nvSpPr>
          <p:spPr>
            <a:xfrm>
              <a:off x="3039143" y="3528205"/>
              <a:ext cx="21995" cy="8753"/>
            </a:xfrm>
            <a:custGeom>
              <a:avLst/>
              <a:gdLst/>
              <a:ahLst/>
              <a:cxnLst/>
              <a:rect l="l" t="t" r="r" b="b"/>
              <a:pathLst>
                <a:path w="691" h="275" extrusionOk="0"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cubicBezTo>
                    <a:pt x="0" y="215"/>
                    <a:pt x="60" y="274"/>
                    <a:pt x="131" y="274"/>
                  </a:cubicBezTo>
                  <a:lnTo>
                    <a:pt x="560" y="274"/>
                  </a:lnTo>
                  <a:cubicBezTo>
                    <a:pt x="631" y="274"/>
                    <a:pt x="691" y="215"/>
                    <a:pt x="691" y="131"/>
                  </a:cubicBezTo>
                  <a:cubicBezTo>
                    <a:pt x="691" y="60"/>
                    <a:pt x="631" y="0"/>
                    <a:pt x="5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0" name="Google Shape;13220;p64"/>
            <p:cNvSpPr/>
            <p:nvPr/>
          </p:nvSpPr>
          <p:spPr>
            <a:xfrm>
              <a:off x="3019408" y="3475622"/>
              <a:ext cx="20499" cy="18875"/>
            </a:xfrm>
            <a:custGeom>
              <a:avLst/>
              <a:gdLst/>
              <a:ahLst/>
              <a:cxnLst/>
              <a:rect l="l" t="t" r="r" b="b"/>
              <a:pathLst>
                <a:path w="644" h="593" extrusionOk="0">
                  <a:moveTo>
                    <a:pt x="501" y="0"/>
                  </a:moveTo>
                  <a:cubicBezTo>
                    <a:pt x="468" y="0"/>
                    <a:pt x="436" y="15"/>
                    <a:pt x="406" y="45"/>
                  </a:cubicBezTo>
                  <a:lnTo>
                    <a:pt x="96" y="355"/>
                  </a:lnTo>
                  <a:cubicBezTo>
                    <a:pt x="1" y="450"/>
                    <a:pt x="61" y="593"/>
                    <a:pt x="180" y="593"/>
                  </a:cubicBezTo>
                  <a:cubicBezTo>
                    <a:pt x="215" y="593"/>
                    <a:pt x="263" y="581"/>
                    <a:pt x="275" y="557"/>
                  </a:cubicBezTo>
                  <a:lnTo>
                    <a:pt x="584" y="235"/>
                  </a:lnTo>
                  <a:cubicBezTo>
                    <a:pt x="644" y="200"/>
                    <a:pt x="644" y="104"/>
                    <a:pt x="596" y="45"/>
                  </a:cubicBezTo>
                  <a:cubicBezTo>
                    <a:pt x="567" y="15"/>
                    <a:pt x="534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1" name="Google Shape;13221;p64"/>
            <p:cNvSpPr/>
            <p:nvPr/>
          </p:nvSpPr>
          <p:spPr>
            <a:xfrm>
              <a:off x="3020554" y="3570348"/>
              <a:ext cx="19353" cy="18621"/>
            </a:xfrm>
            <a:custGeom>
              <a:avLst/>
              <a:gdLst/>
              <a:ahLst/>
              <a:cxnLst/>
              <a:rect l="l" t="t" r="r" b="b"/>
              <a:pathLst>
                <a:path w="608" h="585" extrusionOk="0">
                  <a:moveTo>
                    <a:pt x="155" y="1"/>
                  </a:moveTo>
                  <a:cubicBezTo>
                    <a:pt x="123" y="1"/>
                    <a:pt x="90" y="16"/>
                    <a:pt x="60" y="46"/>
                  </a:cubicBezTo>
                  <a:cubicBezTo>
                    <a:pt x="1" y="105"/>
                    <a:pt x="1" y="176"/>
                    <a:pt x="60" y="236"/>
                  </a:cubicBezTo>
                  <a:lnTo>
                    <a:pt x="370" y="546"/>
                  </a:lnTo>
                  <a:cubicBezTo>
                    <a:pt x="397" y="572"/>
                    <a:pt x="431" y="585"/>
                    <a:pt x="463" y="585"/>
                  </a:cubicBezTo>
                  <a:cubicBezTo>
                    <a:pt x="503" y="585"/>
                    <a:pt x="541" y="566"/>
                    <a:pt x="560" y="534"/>
                  </a:cubicBezTo>
                  <a:cubicBezTo>
                    <a:pt x="608" y="498"/>
                    <a:pt x="608" y="403"/>
                    <a:pt x="560" y="355"/>
                  </a:cubicBezTo>
                  <a:lnTo>
                    <a:pt x="251" y="46"/>
                  </a:lnTo>
                  <a:cubicBezTo>
                    <a:pt x="221" y="16"/>
                    <a:pt x="188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22" name="Google Shape;13222;p64"/>
          <p:cNvGrpSpPr/>
          <p:nvPr/>
        </p:nvGrpSpPr>
        <p:grpSpPr>
          <a:xfrm>
            <a:off x="3214972" y="3359188"/>
            <a:ext cx="346406" cy="347552"/>
            <a:chOff x="3214972" y="3359188"/>
            <a:chExt cx="346406" cy="347552"/>
          </a:xfrm>
        </p:grpSpPr>
        <p:sp>
          <p:nvSpPr>
            <p:cNvPr id="13223" name="Google Shape;13223;p64"/>
            <p:cNvSpPr/>
            <p:nvPr/>
          </p:nvSpPr>
          <p:spPr>
            <a:xfrm>
              <a:off x="3301772" y="3386084"/>
              <a:ext cx="71649" cy="11395"/>
            </a:xfrm>
            <a:custGeom>
              <a:avLst/>
              <a:gdLst/>
              <a:ahLst/>
              <a:cxnLst/>
              <a:rect l="l" t="t" r="r" b="b"/>
              <a:pathLst>
                <a:path w="2251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24" y="286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6"/>
                    <a:pt x="2250" y="179"/>
                  </a:cubicBezTo>
                  <a:cubicBezTo>
                    <a:pt x="2250" y="84"/>
                    <a:pt x="217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4" name="Google Shape;13224;p64"/>
            <p:cNvSpPr/>
            <p:nvPr/>
          </p:nvSpPr>
          <p:spPr>
            <a:xfrm>
              <a:off x="3301772" y="3410339"/>
              <a:ext cx="131904" cy="11395"/>
            </a:xfrm>
            <a:custGeom>
              <a:avLst/>
              <a:gdLst/>
              <a:ahLst/>
              <a:cxnLst/>
              <a:rect l="l" t="t" r="r" b="b"/>
              <a:pathLst>
                <a:path w="4144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86"/>
                    <a:pt x="95" y="358"/>
                    <a:pt x="179" y="358"/>
                  </a:cubicBezTo>
                  <a:lnTo>
                    <a:pt x="3965" y="358"/>
                  </a:lnTo>
                  <a:cubicBezTo>
                    <a:pt x="4048" y="358"/>
                    <a:pt x="4144" y="286"/>
                    <a:pt x="4144" y="179"/>
                  </a:cubicBezTo>
                  <a:cubicBezTo>
                    <a:pt x="4144" y="72"/>
                    <a:pt x="4072" y="0"/>
                    <a:pt x="3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5" name="Google Shape;13225;p64"/>
            <p:cNvSpPr/>
            <p:nvPr/>
          </p:nvSpPr>
          <p:spPr>
            <a:xfrm>
              <a:off x="3301772" y="3484980"/>
              <a:ext cx="71649" cy="11427"/>
            </a:xfrm>
            <a:custGeom>
              <a:avLst/>
              <a:gdLst/>
              <a:ahLst/>
              <a:cxnLst/>
              <a:rect l="l" t="t" r="r" b="b"/>
              <a:pathLst>
                <a:path w="2251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24" y="287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7"/>
                    <a:pt x="2250" y="180"/>
                  </a:cubicBezTo>
                  <a:cubicBezTo>
                    <a:pt x="2250" y="96"/>
                    <a:pt x="2179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6" name="Google Shape;13226;p64"/>
            <p:cNvSpPr/>
            <p:nvPr/>
          </p:nvSpPr>
          <p:spPr>
            <a:xfrm>
              <a:off x="3301772" y="3509234"/>
              <a:ext cx="130758" cy="11427"/>
            </a:xfrm>
            <a:custGeom>
              <a:avLst/>
              <a:gdLst/>
              <a:ahLst/>
              <a:cxnLst/>
              <a:rect l="l" t="t" r="r" b="b"/>
              <a:pathLst>
                <a:path w="4108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24" y="287"/>
                    <a:pt x="95" y="358"/>
                    <a:pt x="179" y="358"/>
                  </a:cubicBezTo>
                  <a:lnTo>
                    <a:pt x="3929" y="358"/>
                  </a:lnTo>
                  <a:cubicBezTo>
                    <a:pt x="4024" y="358"/>
                    <a:pt x="4108" y="287"/>
                    <a:pt x="4108" y="180"/>
                  </a:cubicBezTo>
                  <a:cubicBezTo>
                    <a:pt x="4108" y="84"/>
                    <a:pt x="4036" y="1"/>
                    <a:pt x="3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7" name="Google Shape;13227;p64"/>
            <p:cNvSpPr/>
            <p:nvPr/>
          </p:nvSpPr>
          <p:spPr>
            <a:xfrm>
              <a:off x="3301772" y="3584671"/>
              <a:ext cx="71649" cy="11395"/>
            </a:xfrm>
            <a:custGeom>
              <a:avLst/>
              <a:gdLst/>
              <a:ahLst/>
              <a:cxnLst/>
              <a:rect l="l" t="t" r="r" b="b"/>
              <a:pathLst>
                <a:path w="2251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24" y="286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6"/>
                    <a:pt x="2250" y="179"/>
                  </a:cubicBezTo>
                  <a:cubicBezTo>
                    <a:pt x="2250" y="84"/>
                    <a:pt x="217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8" name="Google Shape;13228;p64"/>
            <p:cNvSpPr/>
            <p:nvPr/>
          </p:nvSpPr>
          <p:spPr>
            <a:xfrm>
              <a:off x="3301772" y="3609308"/>
              <a:ext cx="129994" cy="11395"/>
            </a:xfrm>
            <a:custGeom>
              <a:avLst/>
              <a:gdLst/>
              <a:ahLst/>
              <a:cxnLst/>
              <a:rect l="l" t="t" r="r" b="b"/>
              <a:pathLst>
                <a:path w="4084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62"/>
                    <a:pt x="83" y="357"/>
                    <a:pt x="179" y="357"/>
                  </a:cubicBezTo>
                  <a:lnTo>
                    <a:pt x="3905" y="357"/>
                  </a:lnTo>
                  <a:cubicBezTo>
                    <a:pt x="3989" y="357"/>
                    <a:pt x="4084" y="286"/>
                    <a:pt x="4084" y="179"/>
                  </a:cubicBezTo>
                  <a:cubicBezTo>
                    <a:pt x="4084" y="72"/>
                    <a:pt x="3989" y="0"/>
                    <a:pt x="3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9" name="Google Shape;13229;p64"/>
            <p:cNvSpPr/>
            <p:nvPr/>
          </p:nvSpPr>
          <p:spPr>
            <a:xfrm>
              <a:off x="3214972" y="3458466"/>
              <a:ext cx="346406" cy="248274"/>
            </a:xfrm>
            <a:custGeom>
              <a:avLst/>
              <a:gdLst/>
              <a:ahLst/>
              <a:cxnLst/>
              <a:rect l="l" t="t" r="r" b="b"/>
              <a:pathLst>
                <a:path w="10883" h="7800" extrusionOk="0">
                  <a:moveTo>
                    <a:pt x="8466" y="1417"/>
                  </a:moveTo>
                  <a:cubicBezTo>
                    <a:pt x="9109" y="1417"/>
                    <a:pt x="9657" y="1953"/>
                    <a:pt x="9657" y="2608"/>
                  </a:cubicBezTo>
                  <a:lnTo>
                    <a:pt x="9657" y="2894"/>
                  </a:lnTo>
                  <a:lnTo>
                    <a:pt x="9585" y="2894"/>
                  </a:lnTo>
                  <a:cubicBezTo>
                    <a:pt x="9216" y="2799"/>
                    <a:pt x="9097" y="2322"/>
                    <a:pt x="9097" y="2322"/>
                  </a:cubicBezTo>
                  <a:cubicBezTo>
                    <a:pt x="9085" y="2263"/>
                    <a:pt x="9037" y="2203"/>
                    <a:pt x="8966" y="2191"/>
                  </a:cubicBezTo>
                  <a:cubicBezTo>
                    <a:pt x="8956" y="2189"/>
                    <a:pt x="8946" y="2188"/>
                    <a:pt x="8935" y="2188"/>
                  </a:cubicBezTo>
                  <a:cubicBezTo>
                    <a:pt x="8883" y="2188"/>
                    <a:pt x="8827" y="2213"/>
                    <a:pt x="8787" y="2263"/>
                  </a:cubicBezTo>
                  <a:cubicBezTo>
                    <a:pt x="8335" y="2894"/>
                    <a:pt x="7347" y="2894"/>
                    <a:pt x="7323" y="2894"/>
                  </a:cubicBezTo>
                  <a:lnTo>
                    <a:pt x="7204" y="2894"/>
                  </a:lnTo>
                  <a:lnTo>
                    <a:pt x="7156" y="2608"/>
                  </a:lnTo>
                  <a:cubicBezTo>
                    <a:pt x="7156" y="1953"/>
                    <a:pt x="7692" y="1417"/>
                    <a:pt x="8347" y="1417"/>
                  </a:cubicBezTo>
                  <a:close/>
                  <a:moveTo>
                    <a:pt x="9692" y="3299"/>
                  </a:moveTo>
                  <a:cubicBezTo>
                    <a:pt x="9811" y="3322"/>
                    <a:pt x="9919" y="3430"/>
                    <a:pt x="9919" y="3549"/>
                  </a:cubicBezTo>
                  <a:cubicBezTo>
                    <a:pt x="9919" y="3680"/>
                    <a:pt x="9835" y="3787"/>
                    <a:pt x="9692" y="3799"/>
                  </a:cubicBezTo>
                  <a:lnTo>
                    <a:pt x="9692" y="3299"/>
                  </a:lnTo>
                  <a:close/>
                  <a:moveTo>
                    <a:pt x="7132" y="3299"/>
                  </a:moveTo>
                  <a:lnTo>
                    <a:pt x="7132" y="3811"/>
                  </a:lnTo>
                  <a:cubicBezTo>
                    <a:pt x="7001" y="3799"/>
                    <a:pt x="6918" y="3680"/>
                    <a:pt x="6918" y="3561"/>
                  </a:cubicBezTo>
                  <a:cubicBezTo>
                    <a:pt x="6894" y="3418"/>
                    <a:pt x="7001" y="3310"/>
                    <a:pt x="7132" y="3299"/>
                  </a:cubicBezTo>
                  <a:close/>
                  <a:moveTo>
                    <a:pt x="8835" y="2608"/>
                  </a:moveTo>
                  <a:cubicBezTo>
                    <a:pt x="8918" y="2787"/>
                    <a:pt x="9085" y="3013"/>
                    <a:pt x="9335" y="3120"/>
                  </a:cubicBezTo>
                  <a:lnTo>
                    <a:pt x="9335" y="3846"/>
                  </a:lnTo>
                  <a:cubicBezTo>
                    <a:pt x="9359" y="4287"/>
                    <a:pt x="8978" y="4668"/>
                    <a:pt x="8525" y="4668"/>
                  </a:cubicBezTo>
                  <a:lnTo>
                    <a:pt x="8299" y="4668"/>
                  </a:lnTo>
                  <a:cubicBezTo>
                    <a:pt x="7835" y="4668"/>
                    <a:pt x="7466" y="4287"/>
                    <a:pt x="7466" y="3834"/>
                  </a:cubicBezTo>
                  <a:lnTo>
                    <a:pt x="7466" y="3144"/>
                  </a:lnTo>
                  <a:cubicBezTo>
                    <a:pt x="7763" y="3120"/>
                    <a:pt x="8383" y="3013"/>
                    <a:pt x="8835" y="2608"/>
                  </a:cubicBezTo>
                  <a:close/>
                  <a:moveTo>
                    <a:pt x="8728" y="4989"/>
                  </a:moveTo>
                  <a:lnTo>
                    <a:pt x="8728" y="5215"/>
                  </a:lnTo>
                  <a:lnTo>
                    <a:pt x="8728" y="5227"/>
                  </a:lnTo>
                  <a:lnTo>
                    <a:pt x="8406" y="5573"/>
                  </a:lnTo>
                  <a:lnTo>
                    <a:pt x="8085" y="5251"/>
                  </a:lnTo>
                  <a:lnTo>
                    <a:pt x="8085" y="4989"/>
                  </a:lnTo>
                  <a:cubicBezTo>
                    <a:pt x="8168" y="5001"/>
                    <a:pt x="8240" y="5001"/>
                    <a:pt x="8299" y="5001"/>
                  </a:cubicBezTo>
                  <a:lnTo>
                    <a:pt x="8514" y="5001"/>
                  </a:lnTo>
                  <a:cubicBezTo>
                    <a:pt x="8597" y="5001"/>
                    <a:pt x="8668" y="5001"/>
                    <a:pt x="8728" y="4989"/>
                  </a:cubicBezTo>
                  <a:close/>
                  <a:moveTo>
                    <a:pt x="6573" y="3477"/>
                  </a:moveTo>
                  <a:lnTo>
                    <a:pt x="6573" y="3549"/>
                  </a:lnTo>
                  <a:cubicBezTo>
                    <a:pt x="6573" y="3870"/>
                    <a:pt x="6835" y="4156"/>
                    <a:pt x="7180" y="4156"/>
                  </a:cubicBezTo>
                  <a:cubicBezTo>
                    <a:pt x="7275" y="4465"/>
                    <a:pt x="7478" y="4727"/>
                    <a:pt x="7752" y="4870"/>
                  </a:cubicBezTo>
                  <a:lnTo>
                    <a:pt x="7752" y="5096"/>
                  </a:lnTo>
                  <a:lnTo>
                    <a:pt x="6716" y="5501"/>
                  </a:lnTo>
                  <a:cubicBezTo>
                    <a:pt x="6656" y="5513"/>
                    <a:pt x="6597" y="5537"/>
                    <a:pt x="6525" y="5585"/>
                  </a:cubicBezTo>
                  <a:lnTo>
                    <a:pt x="370" y="5585"/>
                  </a:lnTo>
                  <a:lnTo>
                    <a:pt x="370" y="3477"/>
                  </a:lnTo>
                  <a:close/>
                  <a:moveTo>
                    <a:pt x="179" y="1"/>
                  </a:moveTo>
                  <a:cubicBezTo>
                    <a:pt x="96" y="1"/>
                    <a:pt x="1" y="84"/>
                    <a:pt x="1" y="179"/>
                  </a:cubicBezTo>
                  <a:lnTo>
                    <a:pt x="1" y="2644"/>
                  </a:lnTo>
                  <a:cubicBezTo>
                    <a:pt x="1" y="2727"/>
                    <a:pt x="84" y="2822"/>
                    <a:pt x="179" y="2822"/>
                  </a:cubicBezTo>
                  <a:lnTo>
                    <a:pt x="6811" y="2822"/>
                  </a:lnTo>
                  <a:lnTo>
                    <a:pt x="6811" y="3072"/>
                  </a:lnTo>
                  <a:cubicBezTo>
                    <a:pt x="6775" y="3084"/>
                    <a:pt x="6751" y="3120"/>
                    <a:pt x="6728" y="3144"/>
                  </a:cubicBezTo>
                  <a:lnTo>
                    <a:pt x="179" y="3144"/>
                  </a:lnTo>
                  <a:cubicBezTo>
                    <a:pt x="96" y="3144"/>
                    <a:pt x="1" y="3215"/>
                    <a:pt x="1" y="3322"/>
                  </a:cubicBezTo>
                  <a:lnTo>
                    <a:pt x="1" y="5775"/>
                  </a:lnTo>
                  <a:cubicBezTo>
                    <a:pt x="1" y="5870"/>
                    <a:pt x="84" y="5954"/>
                    <a:pt x="179" y="5954"/>
                  </a:cubicBezTo>
                  <a:lnTo>
                    <a:pt x="6156" y="5954"/>
                  </a:lnTo>
                  <a:cubicBezTo>
                    <a:pt x="6001" y="6156"/>
                    <a:pt x="5894" y="6418"/>
                    <a:pt x="5894" y="6775"/>
                  </a:cubicBezTo>
                  <a:lnTo>
                    <a:pt x="5894" y="7621"/>
                  </a:lnTo>
                  <a:cubicBezTo>
                    <a:pt x="5894" y="7716"/>
                    <a:pt x="5978" y="7799"/>
                    <a:pt x="6085" y="7799"/>
                  </a:cubicBezTo>
                  <a:lnTo>
                    <a:pt x="6728" y="7799"/>
                  </a:lnTo>
                  <a:cubicBezTo>
                    <a:pt x="6823" y="7799"/>
                    <a:pt x="6918" y="7728"/>
                    <a:pt x="6918" y="7621"/>
                  </a:cubicBezTo>
                  <a:cubicBezTo>
                    <a:pt x="6918" y="7537"/>
                    <a:pt x="6835" y="7442"/>
                    <a:pt x="6728" y="7442"/>
                  </a:cubicBezTo>
                  <a:lnTo>
                    <a:pt x="6251" y="7442"/>
                  </a:lnTo>
                  <a:lnTo>
                    <a:pt x="6251" y="6763"/>
                  </a:lnTo>
                  <a:cubicBezTo>
                    <a:pt x="6251" y="6049"/>
                    <a:pt x="6823" y="5835"/>
                    <a:pt x="6835" y="5835"/>
                  </a:cubicBezTo>
                  <a:lnTo>
                    <a:pt x="6847" y="5835"/>
                  </a:lnTo>
                  <a:lnTo>
                    <a:pt x="7787" y="5466"/>
                  </a:lnTo>
                  <a:lnTo>
                    <a:pt x="7799" y="5477"/>
                  </a:lnTo>
                  <a:lnTo>
                    <a:pt x="8299" y="5954"/>
                  </a:lnTo>
                  <a:cubicBezTo>
                    <a:pt x="8323" y="5989"/>
                    <a:pt x="8371" y="6001"/>
                    <a:pt x="8418" y="6001"/>
                  </a:cubicBezTo>
                  <a:cubicBezTo>
                    <a:pt x="8454" y="6001"/>
                    <a:pt x="8502" y="5989"/>
                    <a:pt x="8537" y="5942"/>
                  </a:cubicBezTo>
                  <a:lnTo>
                    <a:pt x="9014" y="5442"/>
                  </a:lnTo>
                  <a:lnTo>
                    <a:pt x="9942" y="5811"/>
                  </a:lnTo>
                  <a:lnTo>
                    <a:pt x="9966" y="5811"/>
                  </a:lnTo>
                  <a:cubicBezTo>
                    <a:pt x="9990" y="5823"/>
                    <a:pt x="10538" y="6013"/>
                    <a:pt x="10538" y="6728"/>
                  </a:cubicBezTo>
                  <a:lnTo>
                    <a:pt x="10538" y="7418"/>
                  </a:lnTo>
                  <a:lnTo>
                    <a:pt x="7263" y="7418"/>
                  </a:lnTo>
                  <a:cubicBezTo>
                    <a:pt x="7180" y="7418"/>
                    <a:pt x="7085" y="7490"/>
                    <a:pt x="7085" y="7597"/>
                  </a:cubicBezTo>
                  <a:cubicBezTo>
                    <a:pt x="7085" y="7680"/>
                    <a:pt x="7168" y="7775"/>
                    <a:pt x="7263" y="7775"/>
                  </a:cubicBezTo>
                  <a:lnTo>
                    <a:pt x="10704" y="7775"/>
                  </a:lnTo>
                  <a:cubicBezTo>
                    <a:pt x="10800" y="7775"/>
                    <a:pt x="10883" y="7704"/>
                    <a:pt x="10883" y="7597"/>
                  </a:cubicBezTo>
                  <a:lnTo>
                    <a:pt x="10883" y="6751"/>
                  </a:lnTo>
                  <a:cubicBezTo>
                    <a:pt x="10883" y="5977"/>
                    <a:pt x="10371" y="5585"/>
                    <a:pt x="10073" y="5477"/>
                  </a:cubicBezTo>
                  <a:lnTo>
                    <a:pt x="9073" y="5085"/>
                  </a:lnTo>
                  <a:lnTo>
                    <a:pt x="9073" y="4870"/>
                  </a:lnTo>
                  <a:cubicBezTo>
                    <a:pt x="9335" y="4727"/>
                    <a:pt x="9549" y="4465"/>
                    <a:pt x="9633" y="4156"/>
                  </a:cubicBezTo>
                  <a:cubicBezTo>
                    <a:pt x="9966" y="4156"/>
                    <a:pt x="10252" y="3894"/>
                    <a:pt x="10252" y="3549"/>
                  </a:cubicBezTo>
                  <a:cubicBezTo>
                    <a:pt x="10252" y="3358"/>
                    <a:pt x="10145" y="3180"/>
                    <a:pt x="9990" y="3060"/>
                  </a:cubicBezTo>
                  <a:lnTo>
                    <a:pt x="9990" y="2596"/>
                  </a:lnTo>
                  <a:cubicBezTo>
                    <a:pt x="9990" y="1751"/>
                    <a:pt x="9311" y="1060"/>
                    <a:pt x="8466" y="1060"/>
                  </a:cubicBezTo>
                  <a:lnTo>
                    <a:pt x="8347" y="1060"/>
                  </a:lnTo>
                  <a:cubicBezTo>
                    <a:pt x="8204" y="1060"/>
                    <a:pt x="8085" y="1072"/>
                    <a:pt x="7966" y="1108"/>
                  </a:cubicBezTo>
                  <a:lnTo>
                    <a:pt x="7966" y="179"/>
                  </a:lnTo>
                  <a:cubicBezTo>
                    <a:pt x="7966" y="96"/>
                    <a:pt x="7894" y="1"/>
                    <a:pt x="7787" y="1"/>
                  </a:cubicBezTo>
                  <a:lnTo>
                    <a:pt x="7287" y="1"/>
                  </a:lnTo>
                  <a:cubicBezTo>
                    <a:pt x="7192" y="1"/>
                    <a:pt x="7109" y="84"/>
                    <a:pt x="7109" y="179"/>
                  </a:cubicBezTo>
                  <a:cubicBezTo>
                    <a:pt x="7109" y="286"/>
                    <a:pt x="7180" y="358"/>
                    <a:pt x="7287" y="358"/>
                  </a:cubicBezTo>
                  <a:lnTo>
                    <a:pt x="7621" y="358"/>
                  </a:lnTo>
                  <a:lnTo>
                    <a:pt x="7621" y="1251"/>
                  </a:lnTo>
                  <a:cubicBezTo>
                    <a:pt x="7180" y="1489"/>
                    <a:pt x="6847" y="1941"/>
                    <a:pt x="6811" y="2477"/>
                  </a:cubicBezTo>
                  <a:lnTo>
                    <a:pt x="346" y="2477"/>
                  </a:lnTo>
                  <a:lnTo>
                    <a:pt x="346" y="358"/>
                  </a:lnTo>
                  <a:lnTo>
                    <a:pt x="6716" y="358"/>
                  </a:lnTo>
                  <a:cubicBezTo>
                    <a:pt x="6811" y="358"/>
                    <a:pt x="6894" y="286"/>
                    <a:pt x="6894" y="179"/>
                  </a:cubicBezTo>
                  <a:cubicBezTo>
                    <a:pt x="6894" y="96"/>
                    <a:pt x="6823" y="1"/>
                    <a:pt x="67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0" name="Google Shape;13230;p64"/>
            <p:cNvSpPr/>
            <p:nvPr/>
          </p:nvSpPr>
          <p:spPr>
            <a:xfrm>
              <a:off x="3238462" y="3380005"/>
              <a:ext cx="49305" cy="47427"/>
            </a:xfrm>
            <a:custGeom>
              <a:avLst/>
              <a:gdLst/>
              <a:ahLst/>
              <a:cxnLst/>
              <a:rect l="l" t="t" r="r" b="b"/>
              <a:pathLst>
                <a:path w="1549" h="1490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lnTo>
                    <a:pt x="1" y="1311"/>
                  </a:lnTo>
                  <a:cubicBezTo>
                    <a:pt x="1" y="1394"/>
                    <a:pt x="72" y="1489"/>
                    <a:pt x="179" y="1489"/>
                  </a:cubicBezTo>
                  <a:lnTo>
                    <a:pt x="1370" y="1489"/>
                  </a:lnTo>
                  <a:cubicBezTo>
                    <a:pt x="1453" y="1489"/>
                    <a:pt x="1549" y="1418"/>
                    <a:pt x="1549" y="1311"/>
                  </a:cubicBezTo>
                  <a:lnTo>
                    <a:pt x="1549" y="1001"/>
                  </a:lnTo>
                  <a:cubicBezTo>
                    <a:pt x="1549" y="906"/>
                    <a:pt x="1477" y="811"/>
                    <a:pt x="1370" y="811"/>
                  </a:cubicBezTo>
                  <a:cubicBezTo>
                    <a:pt x="1275" y="811"/>
                    <a:pt x="1191" y="894"/>
                    <a:pt x="1191" y="1001"/>
                  </a:cubicBezTo>
                  <a:lnTo>
                    <a:pt x="1191" y="1132"/>
                  </a:lnTo>
                  <a:lnTo>
                    <a:pt x="334" y="1132"/>
                  </a:lnTo>
                  <a:lnTo>
                    <a:pt x="334" y="346"/>
                  </a:lnTo>
                  <a:lnTo>
                    <a:pt x="1037" y="346"/>
                  </a:lnTo>
                  <a:lnTo>
                    <a:pt x="1037" y="358"/>
                  </a:lnTo>
                  <a:cubicBezTo>
                    <a:pt x="1132" y="358"/>
                    <a:pt x="1215" y="287"/>
                    <a:pt x="1215" y="180"/>
                  </a:cubicBezTo>
                  <a:cubicBezTo>
                    <a:pt x="1215" y="84"/>
                    <a:pt x="1144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1" name="Google Shape;13231;p64"/>
            <p:cNvSpPr/>
            <p:nvPr/>
          </p:nvSpPr>
          <p:spPr>
            <a:xfrm>
              <a:off x="3251353" y="3380482"/>
              <a:ext cx="43607" cy="34058"/>
            </a:xfrm>
            <a:custGeom>
              <a:avLst/>
              <a:gdLst/>
              <a:ahLst/>
              <a:cxnLst/>
              <a:rect l="l" t="t" r="r" b="b"/>
              <a:pathLst>
                <a:path w="1370" h="1070" extrusionOk="0">
                  <a:moveTo>
                    <a:pt x="1163" y="1"/>
                  </a:moveTo>
                  <a:cubicBezTo>
                    <a:pt x="1120" y="1"/>
                    <a:pt x="1078" y="16"/>
                    <a:pt x="1048" y="45"/>
                  </a:cubicBezTo>
                  <a:lnTo>
                    <a:pt x="489" y="653"/>
                  </a:lnTo>
                  <a:lnTo>
                    <a:pt x="310" y="462"/>
                  </a:lnTo>
                  <a:cubicBezTo>
                    <a:pt x="279" y="425"/>
                    <a:pt x="232" y="407"/>
                    <a:pt x="185" y="407"/>
                  </a:cubicBezTo>
                  <a:cubicBezTo>
                    <a:pt x="142" y="407"/>
                    <a:pt x="100" y="422"/>
                    <a:pt x="72" y="450"/>
                  </a:cubicBezTo>
                  <a:cubicBezTo>
                    <a:pt x="1" y="510"/>
                    <a:pt x="1" y="629"/>
                    <a:pt x="60" y="688"/>
                  </a:cubicBezTo>
                  <a:lnTo>
                    <a:pt x="358" y="1010"/>
                  </a:lnTo>
                  <a:cubicBezTo>
                    <a:pt x="382" y="1046"/>
                    <a:pt x="429" y="1069"/>
                    <a:pt x="477" y="1069"/>
                  </a:cubicBezTo>
                  <a:cubicBezTo>
                    <a:pt x="513" y="1069"/>
                    <a:pt x="560" y="1058"/>
                    <a:pt x="584" y="1010"/>
                  </a:cubicBezTo>
                  <a:lnTo>
                    <a:pt x="1286" y="272"/>
                  </a:lnTo>
                  <a:cubicBezTo>
                    <a:pt x="1370" y="224"/>
                    <a:pt x="1370" y="117"/>
                    <a:pt x="1286" y="45"/>
                  </a:cubicBezTo>
                  <a:cubicBezTo>
                    <a:pt x="1251" y="16"/>
                    <a:pt x="1206" y="1"/>
                    <a:pt x="1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2" name="Google Shape;13232;p64"/>
            <p:cNvSpPr/>
            <p:nvPr/>
          </p:nvSpPr>
          <p:spPr>
            <a:xfrm>
              <a:off x="3238462" y="3479314"/>
              <a:ext cx="49305" cy="47395"/>
            </a:xfrm>
            <a:custGeom>
              <a:avLst/>
              <a:gdLst/>
              <a:ahLst/>
              <a:cxnLst/>
              <a:rect l="l" t="t" r="r" b="b"/>
              <a:pathLst>
                <a:path w="1549" h="1489" extrusionOk="0">
                  <a:moveTo>
                    <a:pt x="179" y="0"/>
                  </a:moveTo>
                  <a:cubicBezTo>
                    <a:pt x="84" y="0"/>
                    <a:pt x="1" y="84"/>
                    <a:pt x="1" y="179"/>
                  </a:cubicBezTo>
                  <a:lnTo>
                    <a:pt x="1" y="1310"/>
                  </a:lnTo>
                  <a:cubicBezTo>
                    <a:pt x="1" y="1405"/>
                    <a:pt x="72" y="1489"/>
                    <a:pt x="179" y="1489"/>
                  </a:cubicBezTo>
                  <a:lnTo>
                    <a:pt x="1370" y="1489"/>
                  </a:lnTo>
                  <a:cubicBezTo>
                    <a:pt x="1453" y="1489"/>
                    <a:pt x="1549" y="1417"/>
                    <a:pt x="1549" y="1310"/>
                  </a:cubicBezTo>
                  <a:lnTo>
                    <a:pt x="1549" y="1001"/>
                  </a:lnTo>
                  <a:cubicBezTo>
                    <a:pt x="1549" y="917"/>
                    <a:pt x="1477" y="822"/>
                    <a:pt x="1370" y="822"/>
                  </a:cubicBezTo>
                  <a:cubicBezTo>
                    <a:pt x="1275" y="822"/>
                    <a:pt x="1191" y="893"/>
                    <a:pt x="1191" y="1001"/>
                  </a:cubicBezTo>
                  <a:lnTo>
                    <a:pt x="1191" y="1131"/>
                  </a:lnTo>
                  <a:lnTo>
                    <a:pt x="334" y="1131"/>
                  </a:lnTo>
                  <a:lnTo>
                    <a:pt x="334" y="346"/>
                  </a:lnTo>
                  <a:lnTo>
                    <a:pt x="1037" y="358"/>
                  </a:lnTo>
                  <a:cubicBezTo>
                    <a:pt x="1132" y="358"/>
                    <a:pt x="1215" y="286"/>
                    <a:pt x="1215" y="179"/>
                  </a:cubicBezTo>
                  <a:cubicBezTo>
                    <a:pt x="1215" y="96"/>
                    <a:pt x="1144" y="0"/>
                    <a:pt x="1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3" name="Google Shape;13233;p64"/>
            <p:cNvSpPr/>
            <p:nvPr/>
          </p:nvSpPr>
          <p:spPr>
            <a:xfrm>
              <a:off x="3251353" y="3479792"/>
              <a:ext cx="43607" cy="34408"/>
            </a:xfrm>
            <a:custGeom>
              <a:avLst/>
              <a:gdLst/>
              <a:ahLst/>
              <a:cxnLst/>
              <a:rect l="l" t="t" r="r" b="b"/>
              <a:pathLst>
                <a:path w="1370" h="1081" extrusionOk="0">
                  <a:moveTo>
                    <a:pt x="1163" y="0"/>
                  </a:moveTo>
                  <a:cubicBezTo>
                    <a:pt x="1120" y="0"/>
                    <a:pt x="1078" y="15"/>
                    <a:pt x="1048" y="45"/>
                  </a:cubicBezTo>
                  <a:lnTo>
                    <a:pt x="489" y="664"/>
                  </a:lnTo>
                  <a:lnTo>
                    <a:pt x="310" y="462"/>
                  </a:lnTo>
                  <a:cubicBezTo>
                    <a:pt x="279" y="424"/>
                    <a:pt x="232" y="406"/>
                    <a:pt x="185" y="406"/>
                  </a:cubicBezTo>
                  <a:cubicBezTo>
                    <a:pt x="142" y="406"/>
                    <a:pt x="100" y="421"/>
                    <a:pt x="72" y="450"/>
                  </a:cubicBezTo>
                  <a:cubicBezTo>
                    <a:pt x="1" y="509"/>
                    <a:pt x="1" y="628"/>
                    <a:pt x="60" y="688"/>
                  </a:cubicBezTo>
                  <a:lnTo>
                    <a:pt x="358" y="1021"/>
                  </a:lnTo>
                  <a:cubicBezTo>
                    <a:pt x="382" y="1045"/>
                    <a:pt x="429" y="1081"/>
                    <a:pt x="477" y="1081"/>
                  </a:cubicBezTo>
                  <a:cubicBezTo>
                    <a:pt x="513" y="1081"/>
                    <a:pt x="560" y="1057"/>
                    <a:pt x="584" y="1021"/>
                  </a:cubicBezTo>
                  <a:lnTo>
                    <a:pt x="1286" y="271"/>
                  </a:lnTo>
                  <a:cubicBezTo>
                    <a:pt x="1370" y="212"/>
                    <a:pt x="1370" y="104"/>
                    <a:pt x="1286" y="45"/>
                  </a:cubicBezTo>
                  <a:cubicBezTo>
                    <a:pt x="1251" y="15"/>
                    <a:pt x="1206" y="0"/>
                    <a:pt x="11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4" name="Google Shape;13234;p64"/>
            <p:cNvSpPr/>
            <p:nvPr/>
          </p:nvSpPr>
          <p:spPr>
            <a:xfrm>
              <a:off x="3238462" y="3578210"/>
              <a:ext cx="49305" cy="47809"/>
            </a:xfrm>
            <a:custGeom>
              <a:avLst/>
              <a:gdLst/>
              <a:ahLst/>
              <a:cxnLst/>
              <a:rect l="l" t="t" r="r" b="b"/>
              <a:pathLst>
                <a:path w="1549" h="1502" extrusionOk="0">
                  <a:moveTo>
                    <a:pt x="179" y="1"/>
                  </a:moveTo>
                  <a:cubicBezTo>
                    <a:pt x="84" y="1"/>
                    <a:pt x="1" y="84"/>
                    <a:pt x="1" y="191"/>
                  </a:cubicBezTo>
                  <a:lnTo>
                    <a:pt x="1" y="1323"/>
                  </a:lnTo>
                  <a:cubicBezTo>
                    <a:pt x="1" y="1406"/>
                    <a:pt x="72" y="1501"/>
                    <a:pt x="179" y="1501"/>
                  </a:cubicBezTo>
                  <a:lnTo>
                    <a:pt x="1370" y="1501"/>
                  </a:lnTo>
                  <a:cubicBezTo>
                    <a:pt x="1453" y="1501"/>
                    <a:pt x="1549" y="1418"/>
                    <a:pt x="1549" y="1323"/>
                  </a:cubicBezTo>
                  <a:lnTo>
                    <a:pt x="1549" y="1001"/>
                  </a:lnTo>
                  <a:cubicBezTo>
                    <a:pt x="1537" y="930"/>
                    <a:pt x="1453" y="858"/>
                    <a:pt x="1370" y="858"/>
                  </a:cubicBezTo>
                  <a:cubicBezTo>
                    <a:pt x="1275" y="858"/>
                    <a:pt x="1191" y="930"/>
                    <a:pt x="1191" y="1037"/>
                  </a:cubicBezTo>
                  <a:lnTo>
                    <a:pt x="1191" y="1168"/>
                  </a:lnTo>
                  <a:lnTo>
                    <a:pt x="334" y="1168"/>
                  </a:lnTo>
                  <a:lnTo>
                    <a:pt x="334" y="370"/>
                  </a:lnTo>
                  <a:lnTo>
                    <a:pt x="1037" y="370"/>
                  </a:lnTo>
                  <a:cubicBezTo>
                    <a:pt x="1132" y="370"/>
                    <a:pt x="1215" y="287"/>
                    <a:pt x="1215" y="191"/>
                  </a:cubicBezTo>
                  <a:cubicBezTo>
                    <a:pt x="1215" y="96"/>
                    <a:pt x="1144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5" name="Google Shape;13235;p64"/>
            <p:cNvSpPr/>
            <p:nvPr/>
          </p:nvSpPr>
          <p:spPr>
            <a:xfrm>
              <a:off x="3251353" y="3579133"/>
              <a:ext cx="42843" cy="34376"/>
            </a:xfrm>
            <a:custGeom>
              <a:avLst/>
              <a:gdLst/>
              <a:ahLst/>
              <a:cxnLst/>
              <a:rect l="l" t="t" r="r" b="b"/>
              <a:pathLst>
                <a:path w="1346" h="1080" extrusionOk="0">
                  <a:moveTo>
                    <a:pt x="1169" y="0"/>
                  </a:moveTo>
                  <a:cubicBezTo>
                    <a:pt x="1124" y="0"/>
                    <a:pt x="1079" y="18"/>
                    <a:pt x="1048" y="55"/>
                  </a:cubicBezTo>
                  <a:lnTo>
                    <a:pt x="489" y="662"/>
                  </a:lnTo>
                  <a:lnTo>
                    <a:pt x="310" y="472"/>
                  </a:lnTo>
                  <a:cubicBezTo>
                    <a:pt x="279" y="435"/>
                    <a:pt x="232" y="417"/>
                    <a:pt x="185" y="417"/>
                  </a:cubicBezTo>
                  <a:cubicBezTo>
                    <a:pt x="142" y="417"/>
                    <a:pt x="100" y="432"/>
                    <a:pt x="72" y="460"/>
                  </a:cubicBezTo>
                  <a:cubicBezTo>
                    <a:pt x="1" y="520"/>
                    <a:pt x="1" y="639"/>
                    <a:pt x="60" y="698"/>
                  </a:cubicBezTo>
                  <a:lnTo>
                    <a:pt x="358" y="1020"/>
                  </a:lnTo>
                  <a:cubicBezTo>
                    <a:pt x="382" y="1055"/>
                    <a:pt x="429" y="1079"/>
                    <a:pt x="477" y="1079"/>
                  </a:cubicBezTo>
                  <a:cubicBezTo>
                    <a:pt x="513" y="1079"/>
                    <a:pt x="560" y="1067"/>
                    <a:pt x="584" y="1020"/>
                  </a:cubicBezTo>
                  <a:lnTo>
                    <a:pt x="1286" y="281"/>
                  </a:lnTo>
                  <a:cubicBezTo>
                    <a:pt x="1346" y="198"/>
                    <a:pt x="1346" y="103"/>
                    <a:pt x="1286" y="43"/>
                  </a:cubicBezTo>
                  <a:cubicBezTo>
                    <a:pt x="1252" y="15"/>
                    <a:pt x="1210" y="0"/>
                    <a:pt x="1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6" name="Google Shape;13236;p64"/>
            <p:cNvSpPr/>
            <p:nvPr/>
          </p:nvSpPr>
          <p:spPr>
            <a:xfrm>
              <a:off x="3215736" y="3359188"/>
              <a:ext cx="253558" cy="89442"/>
            </a:xfrm>
            <a:custGeom>
              <a:avLst/>
              <a:gdLst/>
              <a:ahLst/>
              <a:cxnLst/>
              <a:rect l="l" t="t" r="r" b="b"/>
              <a:pathLst>
                <a:path w="7966" h="2810" extrusionOk="0">
                  <a:moveTo>
                    <a:pt x="179" y="0"/>
                  </a:moveTo>
                  <a:cubicBezTo>
                    <a:pt x="84" y="0"/>
                    <a:pt x="0" y="72"/>
                    <a:pt x="0" y="179"/>
                  </a:cubicBezTo>
                  <a:lnTo>
                    <a:pt x="0" y="2631"/>
                  </a:lnTo>
                  <a:cubicBezTo>
                    <a:pt x="0" y="2739"/>
                    <a:pt x="72" y="2810"/>
                    <a:pt x="167" y="2810"/>
                  </a:cubicBezTo>
                  <a:lnTo>
                    <a:pt x="7787" y="2810"/>
                  </a:lnTo>
                  <a:cubicBezTo>
                    <a:pt x="7870" y="2810"/>
                    <a:pt x="7966" y="2739"/>
                    <a:pt x="7966" y="2631"/>
                  </a:cubicBezTo>
                  <a:lnTo>
                    <a:pt x="7966" y="179"/>
                  </a:lnTo>
                  <a:cubicBezTo>
                    <a:pt x="7966" y="83"/>
                    <a:pt x="7882" y="0"/>
                    <a:pt x="7787" y="0"/>
                  </a:cubicBezTo>
                  <a:lnTo>
                    <a:pt x="7275" y="0"/>
                  </a:lnTo>
                  <a:cubicBezTo>
                    <a:pt x="7192" y="0"/>
                    <a:pt x="7097" y="72"/>
                    <a:pt x="7097" y="179"/>
                  </a:cubicBezTo>
                  <a:cubicBezTo>
                    <a:pt x="7097" y="262"/>
                    <a:pt x="7168" y="357"/>
                    <a:pt x="7275" y="357"/>
                  </a:cubicBezTo>
                  <a:lnTo>
                    <a:pt x="7620" y="357"/>
                  </a:lnTo>
                  <a:lnTo>
                    <a:pt x="7620" y="2465"/>
                  </a:lnTo>
                  <a:lnTo>
                    <a:pt x="346" y="2465"/>
                  </a:lnTo>
                  <a:lnTo>
                    <a:pt x="346" y="357"/>
                  </a:lnTo>
                  <a:lnTo>
                    <a:pt x="6716" y="357"/>
                  </a:lnTo>
                  <a:cubicBezTo>
                    <a:pt x="6799" y="357"/>
                    <a:pt x="6894" y="286"/>
                    <a:pt x="6894" y="179"/>
                  </a:cubicBezTo>
                  <a:cubicBezTo>
                    <a:pt x="6894" y="83"/>
                    <a:pt x="6811" y="0"/>
                    <a:pt x="67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37" name="Google Shape;13237;p64"/>
          <p:cNvGrpSpPr/>
          <p:nvPr/>
        </p:nvGrpSpPr>
        <p:grpSpPr>
          <a:xfrm>
            <a:off x="4629306" y="3409193"/>
            <a:ext cx="367255" cy="244486"/>
            <a:chOff x="4629306" y="3409193"/>
            <a:chExt cx="367255" cy="244486"/>
          </a:xfrm>
        </p:grpSpPr>
        <p:sp>
          <p:nvSpPr>
            <p:cNvPr id="13238" name="Google Shape;13238;p64"/>
            <p:cNvSpPr/>
            <p:nvPr/>
          </p:nvSpPr>
          <p:spPr>
            <a:xfrm>
              <a:off x="4629306" y="3409193"/>
              <a:ext cx="367255" cy="244486"/>
            </a:xfrm>
            <a:custGeom>
              <a:avLst/>
              <a:gdLst/>
              <a:ahLst/>
              <a:cxnLst/>
              <a:rect l="l" t="t" r="r" b="b"/>
              <a:pathLst>
                <a:path w="11538" h="7681" extrusionOk="0">
                  <a:moveTo>
                    <a:pt x="10966" y="358"/>
                  </a:moveTo>
                  <a:cubicBezTo>
                    <a:pt x="11085" y="358"/>
                    <a:pt x="11181" y="453"/>
                    <a:pt x="11181" y="572"/>
                  </a:cubicBezTo>
                  <a:lnTo>
                    <a:pt x="11181" y="7121"/>
                  </a:lnTo>
                  <a:cubicBezTo>
                    <a:pt x="11181" y="7240"/>
                    <a:pt x="11085" y="7323"/>
                    <a:pt x="10966" y="7323"/>
                  </a:cubicBezTo>
                  <a:lnTo>
                    <a:pt x="560" y="7323"/>
                  </a:lnTo>
                  <a:cubicBezTo>
                    <a:pt x="441" y="7323"/>
                    <a:pt x="358" y="7240"/>
                    <a:pt x="358" y="7121"/>
                  </a:cubicBezTo>
                  <a:lnTo>
                    <a:pt x="358" y="572"/>
                  </a:lnTo>
                  <a:cubicBezTo>
                    <a:pt x="358" y="453"/>
                    <a:pt x="441" y="358"/>
                    <a:pt x="560" y="358"/>
                  </a:cubicBezTo>
                  <a:close/>
                  <a:moveTo>
                    <a:pt x="560" y="1"/>
                  </a:moveTo>
                  <a:cubicBezTo>
                    <a:pt x="251" y="1"/>
                    <a:pt x="1" y="263"/>
                    <a:pt x="1" y="572"/>
                  </a:cubicBezTo>
                  <a:lnTo>
                    <a:pt x="1" y="7121"/>
                  </a:lnTo>
                  <a:cubicBezTo>
                    <a:pt x="1" y="7430"/>
                    <a:pt x="251" y="7680"/>
                    <a:pt x="560" y="7680"/>
                  </a:cubicBezTo>
                  <a:lnTo>
                    <a:pt x="10966" y="7680"/>
                  </a:lnTo>
                  <a:cubicBezTo>
                    <a:pt x="11276" y="7680"/>
                    <a:pt x="11526" y="7430"/>
                    <a:pt x="11526" y="7121"/>
                  </a:cubicBezTo>
                  <a:lnTo>
                    <a:pt x="11526" y="572"/>
                  </a:lnTo>
                  <a:cubicBezTo>
                    <a:pt x="11538" y="263"/>
                    <a:pt x="11276" y="1"/>
                    <a:pt x="10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9" name="Google Shape;13239;p64"/>
            <p:cNvSpPr/>
            <p:nvPr/>
          </p:nvSpPr>
          <p:spPr>
            <a:xfrm>
              <a:off x="4665688" y="3433447"/>
              <a:ext cx="294109" cy="195595"/>
            </a:xfrm>
            <a:custGeom>
              <a:avLst/>
              <a:gdLst/>
              <a:ahLst/>
              <a:cxnLst/>
              <a:rect l="l" t="t" r="r" b="b"/>
              <a:pathLst>
                <a:path w="9240" h="6145" extrusionOk="0">
                  <a:moveTo>
                    <a:pt x="8871" y="370"/>
                  </a:moveTo>
                  <a:lnTo>
                    <a:pt x="8871" y="5787"/>
                  </a:lnTo>
                  <a:lnTo>
                    <a:pt x="370" y="5787"/>
                  </a:lnTo>
                  <a:lnTo>
                    <a:pt x="370" y="370"/>
                  </a:lnTo>
                  <a:close/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5966"/>
                  </a:lnTo>
                  <a:cubicBezTo>
                    <a:pt x="1" y="6073"/>
                    <a:pt x="72" y="6144"/>
                    <a:pt x="179" y="6144"/>
                  </a:cubicBezTo>
                  <a:lnTo>
                    <a:pt x="9049" y="6144"/>
                  </a:lnTo>
                  <a:cubicBezTo>
                    <a:pt x="9157" y="6144"/>
                    <a:pt x="9228" y="6073"/>
                    <a:pt x="9228" y="5966"/>
                  </a:cubicBezTo>
                  <a:lnTo>
                    <a:pt x="9228" y="179"/>
                  </a:lnTo>
                  <a:cubicBezTo>
                    <a:pt x="9240" y="96"/>
                    <a:pt x="9157" y="1"/>
                    <a:pt x="9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0" name="Google Shape;13240;p64"/>
            <p:cNvSpPr/>
            <p:nvPr/>
          </p:nvSpPr>
          <p:spPr>
            <a:xfrm>
              <a:off x="4647895" y="3519866"/>
              <a:ext cx="11395" cy="23522"/>
            </a:xfrm>
            <a:custGeom>
              <a:avLst/>
              <a:gdLst/>
              <a:ahLst/>
              <a:cxnLst/>
              <a:rect l="l" t="t" r="r" b="b"/>
              <a:pathLst>
                <a:path w="358" h="739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560"/>
                  </a:lnTo>
                  <a:cubicBezTo>
                    <a:pt x="0" y="667"/>
                    <a:pt x="72" y="739"/>
                    <a:pt x="179" y="739"/>
                  </a:cubicBezTo>
                  <a:cubicBezTo>
                    <a:pt x="274" y="739"/>
                    <a:pt x="357" y="667"/>
                    <a:pt x="357" y="560"/>
                  </a:cubicBezTo>
                  <a:lnTo>
                    <a:pt x="357" y="179"/>
                  </a:lnTo>
                  <a:cubicBezTo>
                    <a:pt x="357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1" name="Google Shape;13241;p64"/>
            <p:cNvSpPr/>
            <p:nvPr/>
          </p:nvSpPr>
          <p:spPr>
            <a:xfrm>
              <a:off x="4966609" y="3513404"/>
              <a:ext cx="11395" cy="36063"/>
            </a:xfrm>
            <a:custGeom>
              <a:avLst/>
              <a:gdLst/>
              <a:ahLst/>
              <a:cxnLst/>
              <a:rect l="l" t="t" r="r" b="b"/>
              <a:pathLst>
                <a:path w="358" h="1133" extrusionOk="0">
                  <a:moveTo>
                    <a:pt x="179" y="1"/>
                  </a:moveTo>
                  <a:cubicBezTo>
                    <a:pt x="72" y="1"/>
                    <a:pt x="0" y="84"/>
                    <a:pt x="0" y="180"/>
                  </a:cubicBezTo>
                  <a:lnTo>
                    <a:pt x="0" y="953"/>
                  </a:lnTo>
                  <a:cubicBezTo>
                    <a:pt x="0" y="1061"/>
                    <a:pt x="72" y="1132"/>
                    <a:pt x="179" y="1132"/>
                  </a:cubicBezTo>
                  <a:cubicBezTo>
                    <a:pt x="286" y="1132"/>
                    <a:pt x="357" y="1061"/>
                    <a:pt x="357" y="953"/>
                  </a:cubicBezTo>
                  <a:lnTo>
                    <a:pt x="357" y="180"/>
                  </a:lnTo>
                  <a:cubicBezTo>
                    <a:pt x="357" y="84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2" name="Google Shape;13242;p64"/>
            <p:cNvSpPr/>
            <p:nvPr/>
          </p:nvSpPr>
          <p:spPr>
            <a:xfrm>
              <a:off x="4966609" y="3433447"/>
              <a:ext cx="11777" cy="11395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86"/>
                    <a:pt x="84" y="358"/>
                    <a:pt x="179" y="358"/>
                  </a:cubicBezTo>
                  <a:cubicBezTo>
                    <a:pt x="286" y="358"/>
                    <a:pt x="357" y="286"/>
                    <a:pt x="357" y="179"/>
                  </a:cubicBezTo>
                  <a:cubicBezTo>
                    <a:pt x="369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3" name="Google Shape;13243;p64"/>
            <p:cNvSpPr/>
            <p:nvPr/>
          </p:nvSpPr>
          <p:spPr>
            <a:xfrm>
              <a:off x="4647895" y="3488799"/>
              <a:ext cx="11395" cy="17825"/>
            </a:xfrm>
            <a:custGeom>
              <a:avLst/>
              <a:gdLst/>
              <a:ahLst/>
              <a:cxnLst/>
              <a:rect l="l" t="t" r="r" b="b"/>
              <a:pathLst>
                <a:path w="358" h="560" extrusionOk="0">
                  <a:moveTo>
                    <a:pt x="179" y="0"/>
                  </a:moveTo>
                  <a:cubicBezTo>
                    <a:pt x="72" y="0"/>
                    <a:pt x="0" y="83"/>
                    <a:pt x="0" y="179"/>
                  </a:cubicBezTo>
                  <a:lnTo>
                    <a:pt x="0" y="381"/>
                  </a:lnTo>
                  <a:cubicBezTo>
                    <a:pt x="0" y="476"/>
                    <a:pt x="72" y="560"/>
                    <a:pt x="179" y="560"/>
                  </a:cubicBezTo>
                  <a:cubicBezTo>
                    <a:pt x="274" y="560"/>
                    <a:pt x="357" y="476"/>
                    <a:pt x="357" y="381"/>
                  </a:cubicBezTo>
                  <a:lnTo>
                    <a:pt x="357" y="179"/>
                  </a:lnTo>
                  <a:cubicBezTo>
                    <a:pt x="357" y="83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4" name="Google Shape;13244;p64"/>
            <p:cNvSpPr/>
            <p:nvPr/>
          </p:nvSpPr>
          <p:spPr>
            <a:xfrm>
              <a:off x="4647895" y="3556247"/>
              <a:ext cx="11395" cy="17475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369"/>
                  </a:lnTo>
                  <a:cubicBezTo>
                    <a:pt x="0" y="477"/>
                    <a:pt x="72" y="548"/>
                    <a:pt x="179" y="548"/>
                  </a:cubicBezTo>
                  <a:cubicBezTo>
                    <a:pt x="274" y="548"/>
                    <a:pt x="357" y="477"/>
                    <a:pt x="357" y="369"/>
                  </a:cubicBezTo>
                  <a:lnTo>
                    <a:pt x="357" y="179"/>
                  </a:ln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5" name="Google Shape;13245;p64"/>
            <p:cNvSpPr/>
            <p:nvPr/>
          </p:nvSpPr>
          <p:spPr>
            <a:xfrm>
              <a:off x="4690324" y="3574804"/>
              <a:ext cx="244486" cy="36032"/>
            </a:xfrm>
            <a:custGeom>
              <a:avLst/>
              <a:gdLst/>
              <a:ahLst/>
              <a:cxnLst/>
              <a:rect l="l" t="t" r="r" b="b"/>
              <a:pathLst>
                <a:path w="7681" h="1132" extrusionOk="0">
                  <a:moveTo>
                    <a:pt x="1727" y="358"/>
                  </a:moveTo>
                  <a:cubicBezTo>
                    <a:pt x="1846" y="358"/>
                    <a:pt x="1941" y="441"/>
                    <a:pt x="1941" y="560"/>
                  </a:cubicBezTo>
                  <a:cubicBezTo>
                    <a:pt x="1941" y="679"/>
                    <a:pt x="1846" y="775"/>
                    <a:pt x="1727" y="775"/>
                  </a:cubicBezTo>
                  <a:cubicBezTo>
                    <a:pt x="1608" y="775"/>
                    <a:pt x="1525" y="679"/>
                    <a:pt x="1525" y="560"/>
                  </a:cubicBezTo>
                  <a:cubicBezTo>
                    <a:pt x="1525" y="441"/>
                    <a:pt x="1608" y="358"/>
                    <a:pt x="1727" y="358"/>
                  </a:cubicBezTo>
                  <a:close/>
                  <a:moveTo>
                    <a:pt x="1727" y="1"/>
                  </a:moveTo>
                  <a:cubicBezTo>
                    <a:pt x="1477" y="1"/>
                    <a:pt x="1263" y="156"/>
                    <a:pt x="1191" y="382"/>
                  </a:cubicBezTo>
                  <a:lnTo>
                    <a:pt x="179" y="382"/>
                  </a:lnTo>
                  <a:cubicBezTo>
                    <a:pt x="72" y="382"/>
                    <a:pt x="1" y="453"/>
                    <a:pt x="1" y="560"/>
                  </a:cubicBezTo>
                  <a:cubicBezTo>
                    <a:pt x="1" y="668"/>
                    <a:pt x="72" y="739"/>
                    <a:pt x="179" y="739"/>
                  </a:cubicBezTo>
                  <a:lnTo>
                    <a:pt x="1191" y="739"/>
                  </a:lnTo>
                  <a:cubicBezTo>
                    <a:pt x="1263" y="965"/>
                    <a:pt x="1477" y="1132"/>
                    <a:pt x="1727" y="1132"/>
                  </a:cubicBezTo>
                  <a:cubicBezTo>
                    <a:pt x="1977" y="1132"/>
                    <a:pt x="2191" y="965"/>
                    <a:pt x="2263" y="739"/>
                  </a:cubicBezTo>
                  <a:lnTo>
                    <a:pt x="7502" y="739"/>
                  </a:lnTo>
                  <a:cubicBezTo>
                    <a:pt x="7609" y="739"/>
                    <a:pt x="7680" y="668"/>
                    <a:pt x="7680" y="560"/>
                  </a:cubicBezTo>
                  <a:cubicBezTo>
                    <a:pt x="7680" y="453"/>
                    <a:pt x="7609" y="382"/>
                    <a:pt x="7513" y="382"/>
                  </a:cubicBezTo>
                  <a:lnTo>
                    <a:pt x="2263" y="382"/>
                  </a:lnTo>
                  <a:cubicBezTo>
                    <a:pt x="2191" y="156"/>
                    <a:pt x="1977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6" name="Google Shape;13246;p64"/>
            <p:cNvSpPr/>
            <p:nvPr/>
          </p:nvSpPr>
          <p:spPr>
            <a:xfrm>
              <a:off x="4788870" y="3486635"/>
              <a:ext cx="53092" cy="52965"/>
            </a:xfrm>
            <a:custGeom>
              <a:avLst/>
              <a:gdLst/>
              <a:ahLst/>
              <a:cxnLst/>
              <a:rect l="l" t="t" r="r" b="b"/>
              <a:pathLst>
                <a:path w="1668" h="1664" extrusionOk="0">
                  <a:moveTo>
                    <a:pt x="357" y="354"/>
                  </a:moveTo>
                  <a:lnTo>
                    <a:pt x="1286" y="818"/>
                  </a:lnTo>
                  <a:cubicBezTo>
                    <a:pt x="1298" y="818"/>
                    <a:pt x="1298" y="830"/>
                    <a:pt x="1298" y="842"/>
                  </a:cubicBezTo>
                  <a:lnTo>
                    <a:pt x="369" y="1306"/>
                  </a:lnTo>
                  <a:lnTo>
                    <a:pt x="357" y="1306"/>
                  </a:lnTo>
                  <a:lnTo>
                    <a:pt x="357" y="1294"/>
                  </a:lnTo>
                  <a:lnTo>
                    <a:pt x="357" y="366"/>
                  </a:lnTo>
                  <a:lnTo>
                    <a:pt x="357" y="354"/>
                  </a:lnTo>
                  <a:close/>
                  <a:moveTo>
                    <a:pt x="361" y="1"/>
                  </a:moveTo>
                  <a:cubicBezTo>
                    <a:pt x="297" y="1"/>
                    <a:pt x="235" y="19"/>
                    <a:pt x="179" y="56"/>
                  </a:cubicBezTo>
                  <a:cubicBezTo>
                    <a:pt x="72" y="128"/>
                    <a:pt x="0" y="247"/>
                    <a:pt x="0" y="366"/>
                  </a:cubicBezTo>
                  <a:lnTo>
                    <a:pt x="0" y="1294"/>
                  </a:lnTo>
                  <a:cubicBezTo>
                    <a:pt x="0" y="1425"/>
                    <a:pt x="60" y="1544"/>
                    <a:pt x="179" y="1604"/>
                  </a:cubicBezTo>
                  <a:cubicBezTo>
                    <a:pt x="238" y="1652"/>
                    <a:pt x="310" y="1663"/>
                    <a:pt x="369" y="1663"/>
                  </a:cubicBezTo>
                  <a:cubicBezTo>
                    <a:pt x="429" y="1663"/>
                    <a:pt x="488" y="1652"/>
                    <a:pt x="536" y="1616"/>
                  </a:cubicBezTo>
                  <a:lnTo>
                    <a:pt x="1465" y="1163"/>
                  </a:lnTo>
                  <a:cubicBezTo>
                    <a:pt x="1596" y="1104"/>
                    <a:pt x="1667" y="961"/>
                    <a:pt x="1667" y="830"/>
                  </a:cubicBezTo>
                  <a:cubicBezTo>
                    <a:pt x="1655" y="687"/>
                    <a:pt x="1584" y="568"/>
                    <a:pt x="1465" y="509"/>
                  </a:cubicBezTo>
                  <a:lnTo>
                    <a:pt x="536" y="44"/>
                  </a:lnTo>
                  <a:cubicBezTo>
                    <a:pt x="479" y="16"/>
                    <a:pt x="420" y="1"/>
                    <a:pt x="3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7" name="Google Shape;13247;p64"/>
            <p:cNvSpPr/>
            <p:nvPr/>
          </p:nvSpPr>
          <p:spPr>
            <a:xfrm>
              <a:off x="4745645" y="3458084"/>
              <a:ext cx="134195" cy="109941"/>
            </a:xfrm>
            <a:custGeom>
              <a:avLst/>
              <a:gdLst/>
              <a:ahLst/>
              <a:cxnLst/>
              <a:rect l="l" t="t" r="r" b="b"/>
              <a:pathLst>
                <a:path w="4216" h="3454" extrusionOk="0">
                  <a:moveTo>
                    <a:pt x="3263" y="358"/>
                  </a:moveTo>
                  <a:cubicBezTo>
                    <a:pt x="3597" y="358"/>
                    <a:pt x="3859" y="632"/>
                    <a:pt x="3859" y="953"/>
                  </a:cubicBezTo>
                  <a:lnTo>
                    <a:pt x="3859" y="2501"/>
                  </a:lnTo>
                  <a:cubicBezTo>
                    <a:pt x="3859" y="2834"/>
                    <a:pt x="3597" y="3096"/>
                    <a:pt x="3263" y="3096"/>
                  </a:cubicBezTo>
                  <a:lnTo>
                    <a:pt x="953" y="3096"/>
                  </a:lnTo>
                  <a:cubicBezTo>
                    <a:pt x="632" y="3096"/>
                    <a:pt x="358" y="2834"/>
                    <a:pt x="358" y="2501"/>
                  </a:cubicBezTo>
                  <a:lnTo>
                    <a:pt x="358" y="953"/>
                  </a:lnTo>
                  <a:cubicBezTo>
                    <a:pt x="358" y="632"/>
                    <a:pt x="632" y="358"/>
                    <a:pt x="953" y="358"/>
                  </a:cubicBezTo>
                  <a:close/>
                  <a:moveTo>
                    <a:pt x="953" y="1"/>
                  </a:moveTo>
                  <a:cubicBezTo>
                    <a:pt x="441" y="1"/>
                    <a:pt x="1" y="429"/>
                    <a:pt x="1" y="953"/>
                  </a:cubicBezTo>
                  <a:lnTo>
                    <a:pt x="1" y="2501"/>
                  </a:lnTo>
                  <a:cubicBezTo>
                    <a:pt x="1" y="3025"/>
                    <a:pt x="441" y="3453"/>
                    <a:pt x="953" y="3453"/>
                  </a:cubicBezTo>
                  <a:lnTo>
                    <a:pt x="3263" y="3453"/>
                  </a:lnTo>
                  <a:cubicBezTo>
                    <a:pt x="3787" y="3453"/>
                    <a:pt x="4216" y="3025"/>
                    <a:pt x="4216" y="2501"/>
                  </a:cubicBezTo>
                  <a:lnTo>
                    <a:pt x="4216" y="953"/>
                  </a:lnTo>
                  <a:cubicBezTo>
                    <a:pt x="4216" y="429"/>
                    <a:pt x="3799" y="1"/>
                    <a:pt x="3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48" name="Google Shape;13248;p64"/>
          <p:cNvGrpSpPr/>
          <p:nvPr/>
        </p:nvGrpSpPr>
        <p:grpSpPr>
          <a:xfrm>
            <a:off x="4193490" y="3350084"/>
            <a:ext cx="289939" cy="334661"/>
            <a:chOff x="4193490" y="3350084"/>
            <a:chExt cx="289939" cy="334661"/>
          </a:xfrm>
        </p:grpSpPr>
        <p:sp>
          <p:nvSpPr>
            <p:cNvPr id="13249" name="Google Shape;13249;p64"/>
            <p:cNvSpPr/>
            <p:nvPr/>
          </p:nvSpPr>
          <p:spPr>
            <a:xfrm>
              <a:off x="4193490" y="3350084"/>
              <a:ext cx="246364" cy="150110"/>
            </a:xfrm>
            <a:custGeom>
              <a:avLst/>
              <a:gdLst/>
              <a:ahLst/>
              <a:cxnLst/>
              <a:rect l="l" t="t" r="r" b="b"/>
              <a:pathLst>
                <a:path w="7740" h="4716" extrusionOk="0">
                  <a:moveTo>
                    <a:pt x="4382" y="298"/>
                  </a:moveTo>
                  <a:lnTo>
                    <a:pt x="4299" y="1048"/>
                  </a:lnTo>
                  <a:lnTo>
                    <a:pt x="3668" y="1048"/>
                  </a:lnTo>
                  <a:lnTo>
                    <a:pt x="3620" y="524"/>
                  </a:lnTo>
                  <a:lnTo>
                    <a:pt x="3584" y="298"/>
                  </a:lnTo>
                  <a:close/>
                  <a:moveTo>
                    <a:pt x="6013" y="929"/>
                  </a:moveTo>
                  <a:lnTo>
                    <a:pt x="7204" y="2120"/>
                  </a:lnTo>
                  <a:lnTo>
                    <a:pt x="6025" y="2096"/>
                  </a:lnTo>
                  <a:lnTo>
                    <a:pt x="6013" y="929"/>
                  </a:lnTo>
                  <a:close/>
                  <a:moveTo>
                    <a:pt x="3406" y="0"/>
                  </a:moveTo>
                  <a:cubicBezTo>
                    <a:pt x="3358" y="0"/>
                    <a:pt x="3322" y="12"/>
                    <a:pt x="3287" y="48"/>
                  </a:cubicBezTo>
                  <a:cubicBezTo>
                    <a:pt x="3263" y="72"/>
                    <a:pt x="3239" y="119"/>
                    <a:pt x="3239" y="167"/>
                  </a:cubicBezTo>
                  <a:lnTo>
                    <a:pt x="3275" y="393"/>
                  </a:lnTo>
                  <a:lnTo>
                    <a:pt x="143" y="393"/>
                  </a:lnTo>
                  <a:cubicBezTo>
                    <a:pt x="60" y="393"/>
                    <a:pt x="1" y="465"/>
                    <a:pt x="1" y="536"/>
                  </a:cubicBezTo>
                  <a:lnTo>
                    <a:pt x="1" y="1191"/>
                  </a:lnTo>
                  <a:cubicBezTo>
                    <a:pt x="1" y="1286"/>
                    <a:pt x="72" y="1346"/>
                    <a:pt x="143" y="1346"/>
                  </a:cubicBezTo>
                  <a:cubicBezTo>
                    <a:pt x="239" y="1346"/>
                    <a:pt x="298" y="1262"/>
                    <a:pt x="298" y="1191"/>
                  </a:cubicBezTo>
                  <a:lnTo>
                    <a:pt x="298" y="691"/>
                  </a:lnTo>
                  <a:lnTo>
                    <a:pt x="3299" y="691"/>
                  </a:lnTo>
                  <a:lnTo>
                    <a:pt x="3358" y="1203"/>
                  </a:lnTo>
                  <a:cubicBezTo>
                    <a:pt x="3382" y="1286"/>
                    <a:pt x="3441" y="1346"/>
                    <a:pt x="3513" y="1346"/>
                  </a:cubicBezTo>
                  <a:lnTo>
                    <a:pt x="4418" y="1346"/>
                  </a:lnTo>
                  <a:cubicBezTo>
                    <a:pt x="4489" y="1346"/>
                    <a:pt x="4573" y="1286"/>
                    <a:pt x="4573" y="1203"/>
                  </a:cubicBezTo>
                  <a:lnTo>
                    <a:pt x="4632" y="691"/>
                  </a:lnTo>
                  <a:lnTo>
                    <a:pt x="5680" y="691"/>
                  </a:lnTo>
                  <a:lnTo>
                    <a:pt x="5704" y="2239"/>
                  </a:lnTo>
                  <a:cubicBezTo>
                    <a:pt x="5704" y="2322"/>
                    <a:pt x="5775" y="2382"/>
                    <a:pt x="5847" y="2382"/>
                  </a:cubicBezTo>
                  <a:lnTo>
                    <a:pt x="7394" y="2394"/>
                  </a:lnTo>
                  <a:lnTo>
                    <a:pt x="7394" y="4572"/>
                  </a:lnTo>
                  <a:cubicBezTo>
                    <a:pt x="7394" y="4656"/>
                    <a:pt x="7466" y="4715"/>
                    <a:pt x="7549" y="4715"/>
                  </a:cubicBezTo>
                  <a:cubicBezTo>
                    <a:pt x="7632" y="4715"/>
                    <a:pt x="7692" y="4644"/>
                    <a:pt x="7692" y="4572"/>
                  </a:cubicBezTo>
                  <a:lnTo>
                    <a:pt x="7692" y="2251"/>
                  </a:lnTo>
                  <a:cubicBezTo>
                    <a:pt x="7740" y="2215"/>
                    <a:pt x="7728" y="2191"/>
                    <a:pt x="7692" y="2155"/>
                  </a:cubicBezTo>
                  <a:lnTo>
                    <a:pt x="5966" y="429"/>
                  </a:lnTo>
                  <a:cubicBezTo>
                    <a:pt x="5942" y="405"/>
                    <a:pt x="5894" y="393"/>
                    <a:pt x="5858" y="393"/>
                  </a:cubicBezTo>
                  <a:lnTo>
                    <a:pt x="4692" y="393"/>
                  </a:lnTo>
                  <a:lnTo>
                    <a:pt x="4715" y="167"/>
                  </a:lnTo>
                  <a:cubicBezTo>
                    <a:pt x="4715" y="119"/>
                    <a:pt x="4704" y="72"/>
                    <a:pt x="4668" y="48"/>
                  </a:cubicBezTo>
                  <a:cubicBezTo>
                    <a:pt x="4644" y="12"/>
                    <a:pt x="4596" y="0"/>
                    <a:pt x="4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0" name="Google Shape;13250;p64"/>
            <p:cNvSpPr/>
            <p:nvPr/>
          </p:nvSpPr>
          <p:spPr>
            <a:xfrm>
              <a:off x="4193872" y="3405023"/>
              <a:ext cx="9517" cy="44753"/>
            </a:xfrm>
            <a:custGeom>
              <a:avLst/>
              <a:gdLst/>
              <a:ahLst/>
              <a:cxnLst/>
              <a:rect l="l" t="t" r="r" b="b"/>
              <a:pathLst>
                <a:path w="299" h="1406" extrusionOk="0">
                  <a:moveTo>
                    <a:pt x="155" y="1"/>
                  </a:moveTo>
                  <a:cubicBezTo>
                    <a:pt x="60" y="1"/>
                    <a:pt x="0" y="72"/>
                    <a:pt x="0" y="156"/>
                  </a:cubicBezTo>
                  <a:lnTo>
                    <a:pt x="0" y="1251"/>
                  </a:lnTo>
                  <a:cubicBezTo>
                    <a:pt x="0" y="1346"/>
                    <a:pt x="72" y="1406"/>
                    <a:pt x="155" y="1406"/>
                  </a:cubicBezTo>
                  <a:cubicBezTo>
                    <a:pt x="239" y="1406"/>
                    <a:pt x="298" y="1322"/>
                    <a:pt x="298" y="1251"/>
                  </a:cubicBezTo>
                  <a:lnTo>
                    <a:pt x="298" y="156"/>
                  </a:lnTo>
                  <a:cubicBezTo>
                    <a:pt x="298" y="72"/>
                    <a:pt x="227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1" name="Google Shape;13251;p64"/>
            <p:cNvSpPr/>
            <p:nvPr/>
          </p:nvSpPr>
          <p:spPr>
            <a:xfrm>
              <a:off x="4275356" y="3444460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1"/>
                    <a:pt x="0" y="143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43"/>
                  </a:cubicBezTo>
                  <a:cubicBezTo>
                    <a:pt x="4025" y="71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2" name="Google Shape;13252;p64"/>
            <p:cNvSpPr/>
            <p:nvPr/>
          </p:nvSpPr>
          <p:spPr>
            <a:xfrm>
              <a:off x="4275356" y="3463781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55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55"/>
                  </a:cubicBezTo>
                  <a:cubicBezTo>
                    <a:pt x="4025" y="72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3" name="Google Shape;13253;p64"/>
            <p:cNvSpPr/>
            <p:nvPr/>
          </p:nvSpPr>
          <p:spPr>
            <a:xfrm>
              <a:off x="4223442" y="3439527"/>
              <a:ext cx="38673" cy="38673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905" y="322"/>
                  </a:moveTo>
                  <a:lnTo>
                    <a:pt x="905" y="917"/>
                  </a:lnTo>
                  <a:lnTo>
                    <a:pt x="310" y="917"/>
                  </a:lnTo>
                  <a:lnTo>
                    <a:pt x="310" y="322"/>
                  </a:lnTo>
                  <a:close/>
                  <a:moveTo>
                    <a:pt x="143" y="0"/>
                  </a:moveTo>
                  <a:cubicBezTo>
                    <a:pt x="48" y="0"/>
                    <a:pt x="0" y="72"/>
                    <a:pt x="0" y="155"/>
                  </a:cubicBezTo>
                  <a:lnTo>
                    <a:pt x="0" y="1060"/>
                  </a:lnTo>
                  <a:cubicBezTo>
                    <a:pt x="0" y="1155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1"/>
                    <a:pt x="1203" y="1060"/>
                  </a:cubicBezTo>
                  <a:lnTo>
                    <a:pt x="1203" y="155"/>
                  </a:lnTo>
                  <a:cubicBezTo>
                    <a:pt x="1215" y="72"/>
                    <a:pt x="1143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4" name="Google Shape;13254;p64"/>
            <p:cNvSpPr/>
            <p:nvPr/>
          </p:nvSpPr>
          <p:spPr>
            <a:xfrm>
              <a:off x="4275356" y="3525913"/>
              <a:ext cx="128116" cy="9517"/>
            </a:xfrm>
            <a:custGeom>
              <a:avLst/>
              <a:gdLst/>
              <a:ahLst/>
              <a:cxnLst/>
              <a:rect l="l" t="t" r="r" b="b"/>
              <a:pathLst>
                <a:path w="4025" h="299" extrusionOk="0">
                  <a:moveTo>
                    <a:pt x="155" y="1"/>
                  </a:moveTo>
                  <a:cubicBezTo>
                    <a:pt x="60" y="1"/>
                    <a:pt x="0" y="72"/>
                    <a:pt x="0" y="144"/>
                  </a:cubicBezTo>
                  <a:cubicBezTo>
                    <a:pt x="0" y="227"/>
                    <a:pt x="72" y="299"/>
                    <a:pt x="155" y="299"/>
                  </a:cubicBezTo>
                  <a:lnTo>
                    <a:pt x="3870" y="299"/>
                  </a:lnTo>
                  <a:cubicBezTo>
                    <a:pt x="3965" y="299"/>
                    <a:pt x="4025" y="227"/>
                    <a:pt x="4025" y="144"/>
                  </a:cubicBezTo>
                  <a:cubicBezTo>
                    <a:pt x="4025" y="72"/>
                    <a:pt x="3965" y="1"/>
                    <a:pt x="3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5" name="Google Shape;13255;p64"/>
            <p:cNvSpPr/>
            <p:nvPr/>
          </p:nvSpPr>
          <p:spPr>
            <a:xfrm>
              <a:off x="4275356" y="3544884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43"/>
                  </a:cubicBezTo>
                  <a:cubicBezTo>
                    <a:pt x="4025" y="72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6" name="Google Shape;13256;p64"/>
            <p:cNvSpPr/>
            <p:nvPr/>
          </p:nvSpPr>
          <p:spPr>
            <a:xfrm>
              <a:off x="4223442" y="3521011"/>
              <a:ext cx="38673" cy="38673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905" y="298"/>
                  </a:moveTo>
                  <a:lnTo>
                    <a:pt x="905" y="893"/>
                  </a:lnTo>
                  <a:lnTo>
                    <a:pt x="310" y="893"/>
                  </a:lnTo>
                  <a:lnTo>
                    <a:pt x="310" y="298"/>
                  </a:lnTo>
                  <a:close/>
                  <a:moveTo>
                    <a:pt x="143" y="0"/>
                  </a:moveTo>
                  <a:cubicBezTo>
                    <a:pt x="48" y="0"/>
                    <a:pt x="0" y="83"/>
                    <a:pt x="0" y="155"/>
                  </a:cubicBezTo>
                  <a:lnTo>
                    <a:pt x="0" y="1060"/>
                  </a:lnTo>
                  <a:cubicBezTo>
                    <a:pt x="0" y="1155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1"/>
                    <a:pt x="1203" y="1060"/>
                  </a:cubicBezTo>
                  <a:lnTo>
                    <a:pt x="1203" y="155"/>
                  </a:lnTo>
                  <a:cubicBezTo>
                    <a:pt x="1215" y="83"/>
                    <a:pt x="1143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7" name="Google Shape;13257;p64"/>
            <p:cNvSpPr/>
            <p:nvPr/>
          </p:nvSpPr>
          <p:spPr>
            <a:xfrm>
              <a:off x="4223442" y="3602464"/>
              <a:ext cx="38673" cy="38705"/>
            </a:xfrm>
            <a:custGeom>
              <a:avLst/>
              <a:gdLst/>
              <a:ahLst/>
              <a:cxnLst/>
              <a:rect l="l" t="t" r="r" b="b"/>
              <a:pathLst>
                <a:path w="1215" h="1216" extrusionOk="0">
                  <a:moveTo>
                    <a:pt x="905" y="299"/>
                  </a:moveTo>
                  <a:lnTo>
                    <a:pt x="905" y="894"/>
                  </a:lnTo>
                  <a:lnTo>
                    <a:pt x="310" y="894"/>
                  </a:lnTo>
                  <a:lnTo>
                    <a:pt x="310" y="299"/>
                  </a:lnTo>
                  <a:close/>
                  <a:moveTo>
                    <a:pt x="143" y="1"/>
                  </a:moveTo>
                  <a:cubicBezTo>
                    <a:pt x="48" y="1"/>
                    <a:pt x="0" y="84"/>
                    <a:pt x="0" y="156"/>
                  </a:cubicBezTo>
                  <a:lnTo>
                    <a:pt x="0" y="1061"/>
                  </a:lnTo>
                  <a:cubicBezTo>
                    <a:pt x="0" y="1156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2"/>
                    <a:pt x="1203" y="1061"/>
                  </a:cubicBezTo>
                  <a:lnTo>
                    <a:pt x="1203" y="156"/>
                  </a:lnTo>
                  <a:cubicBezTo>
                    <a:pt x="1215" y="60"/>
                    <a:pt x="1143" y="1"/>
                    <a:pt x="10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8" name="Google Shape;13258;p64"/>
            <p:cNvSpPr/>
            <p:nvPr/>
          </p:nvSpPr>
          <p:spPr>
            <a:xfrm>
              <a:off x="4193872" y="3460375"/>
              <a:ext cx="289558" cy="224370"/>
            </a:xfrm>
            <a:custGeom>
              <a:avLst/>
              <a:gdLst/>
              <a:ahLst/>
              <a:cxnLst/>
              <a:rect l="l" t="t" r="r" b="b"/>
              <a:pathLst>
                <a:path w="9097" h="7049" extrusionOk="0">
                  <a:moveTo>
                    <a:pt x="6108" y="3751"/>
                  </a:moveTo>
                  <a:lnTo>
                    <a:pt x="8502" y="4620"/>
                  </a:lnTo>
                  <a:lnTo>
                    <a:pt x="7894" y="4894"/>
                  </a:lnTo>
                  <a:cubicBezTo>
                    <a:pt x="7847" y="4917"/>
                    <a:pt x="7811" y="4953"/>
                    <a:pt x="7799" y="5013"/>
                  </a:cubicBezTo>
                  <a:cubicBezTo>
                    <a:pt x="7787" y="5060"/>
                    <a:pt x="7799" y="5120"/>
                    <a:pt x="7847" y="5155"/>
                  </a:cubicBezTo>
                  <a:lnTo>
                    <a:pt x="8752" y="6060"/>
                  </a:lnTo>
                  <a:lnTo>
                    <a:pt x="8406" y="6406"/>
                  </a:lnTo>
                  <a:lnTo>
                    <a:pt x="7501" y="5489"/>
                  </a:lnTo>
                  <a:cubicBezTo>
                    <a:pt x="7478" y="5465"/>
                    <a:pt x="7430" y="5453"/>
                    <a:pt x="7394" y="5453"/>
                  </a:cubicBezTo>
                  <a:lnTo>
                    <a:pt x="7370" y="5453"/>
                  </a:lnTo>
                  <a:cubicBezTo>
                    <a:pt x="7323" y="5465"/>
                    <a:pt x="7275" y="5489"/>
                    <a:pt x="7251" y="5536"/>
                  </a:cubicBezTo>
                  <a:lnTo>
                    <a:pt x="6966" y="6156"/>
                  </a:lnTo>
                  <a:lnTo>
                    <a:pt x="6108" y="3751"/>
                  </a:lnTo>
                  <a:close/>
                  <a:moveTo>
                    <a:pt x="155" y="0"/>
                  </a:moveTo>
                  <a:cubicBezTo>
                    <a:pt x="60" y="0"/>
                    <a:pt x="0" y="83"/>
                    <a:pt x="0" y="155"/>
                  </a:cubicBezTo>
                  <a:lnTo>
                    <a:pt x="0" y="6894"/>
                  </a:lnTo>
                  <a:cubicBezTo>
                    <a:pt x="0" y="6989"/>
                    <a:pt x="72" y="7049"/>
                    <a:pt x="155" y="7049"/>
                  </a:cubicBezTo>
                  <a:lnTo>
                    <a:pt x="7573" y="7049"/>
                  </a:lnTo>
                  <a:cubicBezTo>
                    <a:pt x="7668" y="7049"/>
                    <a:pt x="7728" y="6965"/>
                    <a:pt x="7728" y="6894"/>
                  </a:cubicBezTo>
                  <a:lnTo>
                    <a:pt x="7728" y="6156"/>
                  </a:lnTo>
                  <a:lnTo>
                    <a:pt x="8204" y="6632"/>
                  </a:lnTo>
                  <a:cubicBezTo>
                    <a:pt x="8263" y="6691"/>
                    <a:pt x="8335" y="6715"/>
                    <a:pt x="8430" y="6715"/>
                  </a:cubicBezTo>
                  <a:cubicBezTo>
                    <a:pt x="8513" y="6715"/>
                    <a:pt x="8585" y="6691"/>
                    <a:pt x="8644" y="6632"/>
                  </a:cubicBezTo>
                  <a:lnTo>
                    <a:pt x="8990" y="6287"/>
                  </a:lnTo>
                  <a:cubicBezTo>
                    <a:pt x="9097" y="6156"/>
                    <a:pt x="9097" y="5953"/>
                    <a:pt x="8978" y="5822"/>
                  </a:cubicBezTo>
                  <a:lnTo>
                    <a:pt x="8228" y="5084"/>
                  </a:lnTo>
                  <a:lnTo>
                    <a:pt x="8644" y="4882"/>
                  </a:lnTo>
                  <a:cubicBezTo>
                    <a:pt x="8763" y="4822"/>
                    <a:pt x="8835" y="4703"/>
                    <a:pt x="8823" y="4584"/>
                  </a:cubicBezTo>
                  <a:cubicBezTo>
                    <a:pt x="8811" y="4465"/>
                    <a:pt x="8740" y="4346"/>
                    <a:pt x="8621" y="4310"/>
                  </a:cubicBezTo>
                  <a:lnTo>
                    <a:pt x="7728" y="3989"/>
                  </a:lnTo>
                  <a:lnTo>
                    <a:pt x="7728" y="1762"/>
                  </a:lnTo>
                  <a:cubicBezTo>
                    <a:pt x="7728" y="1667"/>
                    <a:pt x="7656" y="1607"/>
                    <a:pt x="7573" y="1607"/>
                  </a:cubicBezTo>
                  <a:cubicBezTo>
                    <a:pt x="7489" y="1607"/>
                    <a:pt x="7430" y="1691"/>
                    <a:pt x="7430" y="1762"/>
                  </a:cubicBezTo>
                  <a:lnTo>
                    <a:pt x="7430" y="3893"/>
                  </a:lnTo>
                  <a:lnTo>
                    <a:pt x="6227" y="3453"/>
                  </a:lnTo>
                  <a:cubicBezTo>
                    <a:pt x="6193" y="3442"/>
                    <a:pt x="6158" y="3437"/>
                    <a:pt x="6124" y="3437"/>
                  </a:cubicBezTo>
                  <a:cubicBezTo>
                    <a:pt x="6041" y="3437"/>
                    <a:pt x="5962" y="3469"/>
                    <a:pt x="5894" y="3536"/>
                  </a:cubicBezTo>
                  <a:cubicBezTo>
                    <a:pt x="5799" y="3620"/>
                    <a:pt x="5775" y="3739"/>
                    <a:pt x="5823" y="3858"/>
                  </a:cubicBezTo>
                  <a:lnTo>
                    <a:pt x="6085" y="4620"/>
                  </a:lnTo>
                  <a:lnTo>
                    <a:pt x="2727" y="4620"/>
                  </a:lnTo>
                  <a:cubicBezTo>
                    <a:pt x="2632" y="4620"/>
                    <a:pt x="2572" y="4691"/>
                    <a:pt x="2572" y="4763"/>
                  </a:cubicBezTo>
                  <a:cubicBezTo>
                    <a:pt x="2572" y="4858"/>
                    <a:pt x="2644" y="4917"/>
                    <a:pt x="2727" y="4917"/>
                  </a:cubicBezTo>
                  <a:lnTo>
                    <a:pt x="6204" y="4917"/>
                  </a:lnTo>
                  <a:lnTo>
                    <a:pt x="6311" y="5215"/>
                  </a:lnTo>
                  <a:lnTo>
                    <a:pt x="2727" y="5215"/>
                  </a:lnTo>
                  <a:cubicBezTo>
                    <a:pt x="2632" y="5215"/>
                    <a:pt x="2572" y="5286"/>
                    <a:pt x="2572" y="5358"/>
                  </a:cubicBezTo>
                  <a:cubicBezTo>
                    <a:pt x="2572" y="5453"/>
                    <a:pt x="2644" y="5513"/>
                    <a:pt x="2727" y="5513"/>
                  </a:cubicBezTo>
                  <a:lnTo>
                    <a:pt x="6418" y="5513"/>
                  </a:lnTo>
                  <a:lnTo>
                    <a:pt x="6668" y="6239"/>
                  </a:lnTo>
                  <a:cubicBezTo>
                    <a:pt x="6716" y="6358"/>
                    <a:pt x="6811" y="6453"/>
                    <a:pt x="6954" y="6453"/>
                  </a:cubicBezTo>
                  <a:cubicBezTo>
                    <a:pt x="7085" y="6453"/>
                    <a:pt x="7204" y="6394"/>
                    <a:pt x="7251" y="6275"/>
                  </a:cubicBezTo>
                  <a:lnTo>
                    <a:pt x="7406" y="5929"/>
                  </a:lnTo>
                  <a:lnTo>
                    <a:pt x="7406" y="6727"/>
                  </a:lnTo>
                  <a:lnTo>
                    <a:pt x="298" y="6727"/>
                  </a:lnTo>
                  <a:lnTo>
                    <a:pt x="298" y="155"/>
                  </a:lnTo>
                  <a:cubicBezTo>
                    <a:pt x="298" y="60"/>
                    <a:pt x="227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59" name="Google Shape;13259;p64"/>
          <p:cNvGrpSpPr/>
          <p:nvPr/>
        </p:nvGrpSpPr>
        <p:grpSpPr>
          <a:xfrm>
            <a:off x="6533281" y="3351230"/>
            <a:ext cx="357037" cy="357005"/>
            <a:chOff x="6533281" y="3351230"/>
            <a:chExt cx="357037" cy="357005"/>
          </a:xfrm>
        </p:grpSpPr>
        <p:sp>
          <p:nvSpPr>
            <p:cNvPr id="13260" name="Google Shape;13260;p64"/>
            <p:cNvSpPr/>
            <p:nvPr/>
          </p:nvSpPr>
          <p:spPr>
            <a:xfrm>
              <a:off x="6533281" y="3351230"/>
              <a:ext cx="357037" cy="357005"/>
            </a:xfrm>
            <a:custGeom>
              <a:avLst/>
              <a:gdLst/>
              <a:ahLst/>
              <a:cxnLst/>
              <a:rect l="l" t="t" r="r" b="b"/>
              <a:pathLst>
                <a:path w="11217" h="11216" extrusionOk="0">
                  <a:moveTo>
                    <a:pt x="5609" y="357"/>
                  </a:moveTo>
                  <a:cubicBezTo>
                    <a:pt x="8514" y="357"/>
                    <a:pt x="10859" y="2703"/>
                    <a:pt x="10859" y="5608"/>
                  </a:cubicBezTo>
                  <a:cubicBezTo>
                    <a:pt x="10871" y="8513"/>
                    <a:pt x="8514" y="10859"/>
                    <a:pt x="5609" y="10859"/>
                  </a:cubicBezTo>
                  <a:cubicBezTo>
                    <a:pt x="2703" y="10859"/>
                    <a:pt x="358" y="8513"/>
                    <a:pt x="358" y="5608"/>
                  </a:cubicBezTo>
                  <a:cubicBezTo>
                    <a:pt x="358" y="2703"/>
                    <a:pt x="2703" y="357"/>
                    <a:pt x="5609" y="357"/>
                  </a:cubicBezTo>
                  <a:close/>
                  <a:moveTo>
                    <a:pt x="5609" y="0"/>
                  </a:moveTo>
                  <a:cubicBezTo>
                    <a:pt x="4108" y="0"/>
                    <a:pt x="2703" y="572"/>
                    <a:pt x="1632" y="1631"/>
                  </a:cubicBezTo>
                  <a:cubicBezTo>
                    <a:pt x="572" y="2691"/>
                    <a:pt x="1" y="4108"/>
                    <a:pt x="1" y="5608"/>
                  </a:cubicBezTo>
                  <a:cubicBezTo>
                    <a:pt x="1" y="7108"/>
                    <a:pt x="572" y="8513"/>
                    <a:pt x="1632" y="9585"/>
                  </a:cubicBezTo>
                  <a:cubicBezTo>
                    <a:pt x="2692" y="10632"/>
                    <a:pt x="4108" y="11216"/>
                    <a:pt x="5609" y="11216"/>
                  </a:cubicBezTo>
                  <a:cubicBezTo>
                    <a:pt x="7109" y="11216"/>
                    <a:pt x="8514" y="10632"/>
                    <a:pt x="9585" y="9585"/>
                  </a:cubicBezTo>
                  <a:cubicBezTo>
                    <a:pt x="10633" y="8525"/>
                    <a:pt x="11216" y="7108"/>
                    <a:pt x="11216" y="5608"/>
                  </a:cubicBezTo>
                  <a:cubicBezTo>
                    <a:pt x="11216" y="4108"/>
                    <a:pt x="10633" y="2703"/>
                    <a:pt x="9585" y="1631"/>
                  </a:cubicBezTo>
                  <a:cubicBezTo>
                    <a:pt x="8526" y="572"/>
                    <a:pt x="7109" y="0"/>
                    <a:pt x="56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1" name="Google Shape;13261;p64"/>
            <p:cNvSpPr/>
            <p:nvPr/>
          </p:nvSpPr>
          <p:spPr>
            <a:xfrm>
              <a:off x="6570427" y="3388344"/>
              <a:ext cx="282364" cy="282396"/>
            </a:xfrm>
            <a:custGeom>
              <a:avLst/>
              <a:gdLst/>
              <a:ahLst/>
              <a:cxnLst/>
              <a:rect l="l" t="t" r="r" b="b"/>
              <a:pathLst>
                <a:path w="8871" h="8872" extrusionOk="0">
                  <a:moveTo>
                    <a:pt x="4442" y="2966"/>
                  </a:moveTo>
                  <a:cubicBezTo>
                    <a:pt x="5263" y="2966"/>
                    <a:pt x="5918" y="3632"/>
                    <a:pt x="5918" y="4442"/>
                  </a:cubicBezTo>
                  <a:cubicBezTo>
                    <a:pt x="5918" y="5263"/>
                    <a:pt x="5239" y="5918"/>
                    <a:pt x="4442" y="5918"/>
                  </a:cubicBezTo>
                  <a:cubicBezTo>
                    <a:pt x="3632" y="5918"/>
                    <a:pt x="2965" y="5263"/>
                    <a:pt x="2965" y="4442"/>
                  </a:cubicBezTo>
                  <a:cubicBezTo>
                    <a:pt x="2965" y="3620"/>
                    <a:pt x="3632" y="2966"/>
                    <a:pt x="4442" y="2966"/>
                  </a:cubicBezTo>
                  <a:close/>
                  <a:moveTo>
                    <a:pt x="1108" y="2120"/>
                  </a:moveTo>
                  <a:lnTo>
                    <a:pt x="2656" y="4775"/>
                  </a:lnTo>
                  <a:cubicBezTo>
                    <a:pt x="2822" y="5633"/>
                    <a:pt x="3561" y="6264"/>
                    <a:pt x="4453" y="6264"/>
                  </a:cubicBezTo>
                  <a:cubicBezTo>
                    <a:pt x="4704" y="6264"/>
                    <a:pt x="4942" y="6228"/>
                    <a:pt x="5156" y="6121"/>
                  </a:cubicBezTo>
                  <a:lnTo>
                    <a:pt x="5156" y="6121"/>
                  </a:lnTo>
                  <a:lnTo>
                    <a:pt x="3894" y="8466"/>
                  </a:lnTo>
                  <a:cubicBezTo>
                    <a:pt x="1906" y="8204"/>
                    <a:pt x="382" y="6490"/>
                    <a:pt x="382" y="4442"/>
                  </a:cubicBezTo>
                  <a:cubicBezTo>
                    <a:pt x="382" y="3573"/>
                    <a:pt x="643" y="2775"/>
                    <a:pt x="1108" y="2120"/>
                  </a:cubicBezTo>
                  <a:close/>
                  <a:moveTo>
                    <a:pt x="4442" y="370"/>
                  </a:moveTo>
                  <a:cubicBezTo>
                    <a:pt x="6037" y="370"/>
                    <a:pt x="7406" y="1287"/>
                    <a:pt x="8085" y="2620"/>
                  </a:cubicBezTo>
                  <a:lnTo>
                    <a:pt x="7120" y="2620"/>
                  </a:lnTo>
                  <a:cubicBezTo>
                    <a:pt x="7013" y="2620"/>
                    <a:pt x="6942" y="2692"/>
                    <a:pt x="6942" y="2799"/>
                  </a:cubicBezTo>
                  <a:cubicBezTo>
                    <a:pt x="6942" y="2906"/>
                    <a:pt x="7013" y="2977"/>
                    <a:pt x="7120" y="2977"/>
                  </a:cubicBezTo>
                  <a:lnTo>
                    <a:pt x="8252" y="2977"/>
                  </a:lnTo>
                  <a:cubicBezTo>
                    <a:pt x="8430" y="3442"/>
                    <a:pt x="8537" y="3930"/>
                    <a:pt x="8537" y="4454"/>
                  </a:cubicBezTo>
                  <a:cubicBezTo>
                    <a:pt x="8514" y="6692"/>
                    <a:pt x="6692" y="8514"/>
                    <a:pt x="4442" y="8514"/>
                  </a:cubicBezTo>
                  <a:lnTo>
                    <a:pt x="4263" y="8514"/>
                  </a:lnTo>
                  <a:lnTo>
                    <a:pt x="5799" y="5680"/>
                  </a:lnTo>
                  <a:cubicBezTo>
                    <a:pt x="6097" y="5347"/>
                    <a:pt x="6275" y="4918"/>
                    <a:pt x="6275" y="4454"/>
                  </a:cubicBezTo>
                  <a:cubicBezTo>
                    <a:pt x="6275" y="3847"/>
                    <a:pt x="5977" y="3311"/>
                    <a:pt x="5525" y="2977"/>
                  </a:cubicBezTo>
                  <a:lnTo>
                    <a:pt x="6251" y="2977"/>
                  </a:lnTo>
                  <a:cubicBezTo>
                    <a:pt x="6358" y="2977"/>
                    <a:pt x="6430" y="2906"/>
                    <a:pt x="6430" y="2799"/>
                  </a:cubicBezTo>
                  <a:cubicBezTo>
                    <a:pt x="6430" y="2692"/>
                    <a:pt x="6358" y="2620"/>
                    <a:pt x="6251" y="2620"/>
                  </a:cubicBezTo>
                  <a:lnTo>
                    <a:pt x="4453" y="2620"/>
                  </a:lnTo>
                  <a:cubicBezTo>
                    <a:pt x="3561" y="2620"/>
                    <a:pt x="2834" y="3263"/>
                    <a:pt x="2656" y="4097"/>
                  </a:cubicBezTo>
                  <a:lnTo>
                    <a:pt x="1334" y="1834"/>
                  </a:lnTo>
                  <a:cubicBezTo>
                    <a:pt x="2072" y="941"/>
                    <a:pt x="3191" y="370"/>
                    <a:pt x="4442" y="370"/>
                  </a:cubicBezTo>
                  <a:close/>
                  <a:moveTo>
                    <a:pt x="4442" y="1"/>
                  </a:moveTo>
                  <a:cubicBezTo>
                    <a:pt x="2001" y="1"/>
                    <a:pt x="1" y="2001"/>
                    <a:pt x="1" y="4442"/>
                  </a:cubicBezTo>
                  <a:cubicBezTo>
                    <a:pt x="1" y="6883"/>
                    <a:pt x="2001" y="8871"/>
                    <a:pt x="4442" y="8871"/>
                  </a:cubicBezTo>
                  <a:cubicBezTo>
                    <a:pt x="6882" y="8871"/>
                    <a:pt x="8871" y="6883"/>
                    <a:pt x="8871" y="4442"/>
                  </a:cubicBezTo>
                  <a:cubicBezTo>
                    <a:pt x="8871" y="2001"/>
                    <a:pt x="6894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2" name="Google Shape;13262;p64"/>
            <p:cNvSpPr/>
            <p:nvPr/>
          </p:nvSpPr>
          <p:spPr>
            <a:xfrm>
              <a:off x="6676166" y="3494083"/>
              <a:ext cx="71267" cy="71299"/>
            </a:xfrm>
            <a:custGeom>
              <a:avLst/>
              <a:gdLst/>
              <a:ahLst/>
              <a:cxnLst/>
              <a:rect l="l" t="t" r="r" b="b"/>
              <a:pathLst>
                <a:path w="2239" h="2240" extrusionOk="0">
                  <a:moveTo>
                    <a:pt x="1120" y="346"/>
                  </a:moveTo>
                  <a:cubicBezTo>
                    <a:pt x="1536" y="346"/>
                    <a:pt x="1893" y="679"/>
                    <a:pt x="1893" y="1120"/>
                  </a:cubicBezTo>
                  <a:cubicBezTo>
                    <a:pt x="1893" y="1549"/>
                    <a:pt x="1548" y="1894"/>
                    <a:pt x="1120" y="1894"/>
                  </a:cubicBezTo>
                  <a:cubicBezTo>
                    <a:pt x="703" y="1894"/>
                    <a:pt x="346" y="1549"/>
                    <a:pt x="346" y="1120"/>
                  </a:cubicBezTo>
                  <a:cubicBezTo>
                    <a:pt x="346" y="679"/>
                    <a:pt x="691" y="346"/>
                    <a:pt x="1120" y="346"/>
                  </a:cubicBezTo>
                  <a:close/>
                  <a:moveTo>
                    <a:pt x="1120" y="1"/>
                  </a:moveTo>
                  <a:cubicBezTo>
                    <a:pt x="489" y="1"/>
                    <a:pt x="0" y="513"/>
                    <a:pt x="0" y="1120"/>
                  </a:cubicBezTo>
                  <a:cubicBezTo>
                    <a:pt x="0" y="1727"/>
                    <a:pt x="512" y="2239"/>
                    <a:pt x="1120" y="2239"/>
                  </a:cubicBezTo>
                  <a:cubicBezTo>
                    <a:pt x="1739" y="2239"/>
                    <a:pt x="2239" y="1727"/>
                    <a:pt x="2239" y="1120"/>
                  </a:cubicBezTo>
                  <a:cubicBezTo>
                    <a:pt x="2239" y="513"/>
                    <a:pt x="1739" y="1"/>
                    <a:pt x="1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63" name="Google Shape;13263;p64"/>
          <p:cNvGrpSpPr/>
          <p:nvPr/>
        </p:nvGrpSpPr>
        <p:grpSpPr>
          <a:xfrm>
            <a:off x="6058441" y="3351230"/>
            <a:ext cx="357387" cy="357005"/>
            <a:chOff x="6058441" y="3351230"/>
            <a:chExt cx="357387" cy="357005"/>
          </a:xfrm>
        </p:grpSpPr>
        <p:sp>
          <p:nvSpPr>
            <p:cNvPr id="13264" name="Google Shape;13264;p64"/>
            <p:cNvSpPr/>
            <p:nvPr/>
          </p:nvSpPr>
          <p:spPr>
            <a:xfrm>
              <a:off x="6058441" y="3351230"/>
              <a:ext cx="357387" cy="357005"/>
            </a:xfrm>
            <a:custGeom>
              <a:avLst/>
              <a:gdLst/>
              <a:ahLst/>
              <a:cxnLst/>
              <a:rect l="l" t="t" r="r" b="b"/>
              <a:pathLst>
                <a:path w="11228" h="11216" extrusionOk="0">
                  <a:moveTo>
                    <a:pt x="5608" y="357"/>
                  </a:moveTo>
                  <a:cubicBezTo>
                    <a:pt x="8513" y="357"/>
                    <a:pt x="10871" y="2703"/>
                    <a:pt x="10871" y="5608"/>
                  </a:cubicBezTo>
                  <a:cubicBezTo>
                    <a:pt x="10871" y="8513"/>
                    <a:pt x="8513" y="10859"/>
                    <a:pt x="5608" y="10859"/>
                  </a:cubicBezTo>
                  <a:cubicBezTo>
                    <a:pt x="2715" y="10859"/>
                    <a:pt x="357" y="8513"/>
                    <a:pt x="357" y="5608"/>
                  </a:cubicBezTo>
                  <a:cubicBezTo>
                    <a:pt x="357" y="2703"/>
                    <a:pt x="2715" y="357"/>
                    <a:pt x="5608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15" y="572"/>
                    <a:pt x="1631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31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20" y="11216"/>
                    <a:pt x="8513" y="10632"/>
                    <a:pt x="9585" y="9585"/>
                  </a:cubicBezTo>
                  <a:cubicBezTo>
                    <a:pt x="10656" y="8525"/>
                    <a:pt x="11228" y="7108"/>
                    <a:pt x="11228" y="5608"/>
                  </a:cubicBezTo>
                  <a:cubicBezTo>
                    <a:pt x="11228" y="4108"/>
                    <a:pt x="10644" y="2703"/>
                    <a:pt x="9585" y="1631"/>
                  </a:cubicBezTo>
                  <a:cubicBezTo>
                    <a:pt x="8525" y="572"/>
                    <a:pt x="7120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5" name="Google Shape;13265;p64"/>
            <p:cNvSpPr/>
            <p:nvPr/>
          </p:nvSpPr>
          <p:spPr>
            <a:xfrm>
              <a:off x="6111120" y="3403527"/>
              <a:ext cx="252030" cy="252030"/>
            </a:xfrm>
            <a:custGeom>
              <a:avLst/>
              <a:gdLst/>
              <a:ahLst/>
              <a:cxnLst/>
              <a:rect l="l" t="t" r="r" b="b"/>
              <a:pathLst>
                <a:path w="7918" h="7918" extrusionOk="0">
                  <a:moveTo>
                    <a:pt x="3953" y="357"/>
                  </a:moveTo>
                  <a:cubicBezTo>
                    <a:pt x="4048" y="357"/>
                    <a:pt x="4132" y="357"/>
                    <a:pt x="4215" y="381"/>
                  </a:cubicBezTo>
                  <a:cubicBezTo>
                    <a:pt x="4239" y="560"/>
                    <a:pt x="4251" y="715"/>
                    <a:pt x="4251" y="893"/>
                  </a:cubicBezTo>
                  <a:cubicBezTo>
                    <a:pt x="4251" y="1584"/>
                    <a:pt x="4060" y="2203"/>
                    <a:pt x="3739" y="2762"/>
                  </a:cubicBezTo>
                  <a:cubicBezTo>
                    <a:pt x="2941" y="2239"/>
                    <a:pt x="2048" y="1905"/>
                    <a:pt x="1096" y="1774"/>
                  </a:cubicBezTo>
                  <a:cubicBezTo>
                    <a:pt x="1762" y="905"/>
                    <a:pt x="2798" y="357"/>
                    <a:pt x="3953" y="357"/>
                  </a:cubicBezTo>
                  <a:close/>
                  <a:moveTo>
                    <a:pt x="4584" y="405"/>
                  </a:moveTo>
                  <a:lnTo>
                    <a:pt x="4584" y="405"/>
                  </a:lnTo>
                  <a:cubicBezTo>
                    <a:pt x="6144" y="691"/>
                    <a:pt x="7346" y="1965"/>
                    <a:pt x="7549" y="3548"/>
                  </a:cubicBezTo>
                  <a:lnTo>
                    <a:pt x="7513" y="3548"/>
                  </a:lnTo>
                  <a:cubicBezTo>
                    <a:pt x="6715" y="3548"/>
                    <a:pt x="5953" y="3786"/>
                    <a:pt x="5322" y="4203"/>
                  </a:cubicBezTo>
                  <a:cubicBezTo>
                    <a:pt x="5084" y="3905"/>
                    <a:pt x="4822" y="3608"/>
                    <a:pt x="4525" y="3358"/>
                  </a:cubicBezTo>
                  <a:cubicBezTo>
                    <a:pt x="4358" y="3203"/>
                    <a:pt x="4191" y="3072"/>
                    <a:pt x="4036" y="2953"/>
                  </a:cubicBezTo>
                  <a:cubicBezTo>
                    <a:pt x="4405" y="2358"/>
                    <a:pt x="4608" y="1643"/>
                    <a:pt x="4608" y="881"/>
                  </a:cubicBezTo>
                  <a:cubicBezTo>
                    <a:pt x="4608" y="715"/>
                    <a:pt x="4596" y="572"/>
                    <a:pt x="4584" y="405"/>
                  </a:cubicBezTo>
                  <a:close/>
                  <a:moveTo>
                    <a:pt x="869" y="2084"/>
                  </a:moveTo>
                  <a:cubicBezTo>
                    <a:pt x="1846" y="2191"/>
                    <a:pt x="2751" y="2536"/>
                    <a:pt x="3536" y="3036"/>
                  </a:cubicBezTo>
                  <a:cubicBezTo>
                    <a:pt x="2881" y="3917"/>
                    <a:pt x="1834" y="4501"/>
                    <a:pt x="655" y="4501"/>
                  </a:cubicBezTo>
                  <a:cubicBezTo>
                    <a:pt x="560" y="4501"/>
                    <a:pt x="476" y="4501"/>
                    <a:pt x="393" y="4477"/>
                  </a:cubicBezTo>
                  <a:cubicBezTo>
                    <a:pt x="369" y="4322"/>
                    <a:pt x="357" y="4144"/>
                    <a:pt x="357" y="3965"/>
                  </a:cubicBezTo>
                  <a:cubicBezTo>
                    <a:pt x="357" y="3274"/>
                    <a:pt x="548" y="2643"/>
                    <a:pt x="869" y="2084"/>
                  </a:cubicBezTo>
                  <a:close/>
                  <a:moveTo>
                    <a:pt x="7561" y="3905"/>
                  </a:moveTo>
                  <a:lnTo>
                    <a:pt x="7561" y="3965"/>
                  </a:lnTo>
                  <a:cubicBezTo>
                    <a:pt x="7561" y="4977"/>
                    <a:pt x="7144" y="5882"/>
                    <a:pt x="6489" y="6537"/>
                  </a:cubicBezTo>
                  <a:cubicBezTo>
                    <a:pt x="6299" y="5798"/>
                    <a:pt x="5965" y="5108"/>
                    <a:pt x="5537" y="4501"/>
                  </a:cubicBezTo>
                  <a:cubicBezTo>
                    <a:pt x="6096" y="4132"/>
                    <a:pt x="6787" y="3905"/>
                    <a:pt x="7501" y="3905"/>
                  </a:cubicBezTo>
                  <a:close/>
                  <a:moveTo>
                    <a:pt x="3834" y="3251"/>
                  </a:moveTo>
                  <a:cubicBezTo>
                    <a:pt x="4286" y="3572"/>
                    <a:pt x="4703" y="3977"/>
                    <a:pt x="5037" y="4429"/>
                  </a:cubicBezTo>
                  <a:cubicBezTo>
                    <a:pt x="4727" y="4679"/>
                    <a:pt x="4465" y="4965"/>
                    <a:pt x="4239" y="5287"/>
                  </a:cubicBezTo>
                  <a:cubicBezTo>
                    <a:pt x="4191" y="5358"/>
                    <a:pt x="4191" y="5453"/>
                    <a:pt x="4251" y="5513"/>
                  </a:cubicBezTo>
                  <a:cubicBezTo>
                    <a:pt x="4281" y="5543"/>
                    <a:pt x="4325" y="5559"/>
                    <a:pt x="4370" y="5559"/>
                  </a:cubicBezTo>
                  <a:cubicBezTo>
                    <a:pt x="4429" y="5559"/>
                    <a:pt x="4491" y="5531"/>
                    <a:pt x="4525" y="5477"/>
                  </a:cubicBezTo>
                  <a:cubicBezTo>
                    <a:pt x="4727" y="5179"/>
                    <a:pt x="4965" y="4929"/>
                    <a:pt x="5239" y="4703"/>
                  </a:cubicBezTo>
                  <a:cubicBezTo>
                    <a:pt x="5668" y="5334"/>
                    <a:pt x="5977" y="6025"/>
                    <a:pt x="6168" y="6799"/>
                  </a:cubicBezTo>
                  <a:cubicBezTo>
                    <a:pt x="5560" y="7287"/>
                    <a:pt x="4786" y="7561"/>
                    <a:pt x="3953" y="7561"/>
                  </a:cubicBezTo>
                  <a:lnTo>
                    <a:pt x="3894" y="7561"/>
                  </a:lnTo>
                  <a:lnTo>
                    <a:pt x="3894" y="7501"/>
                  </a:lnTo>
                  <a:cubicBezTo>
                    <a:pt x="3894" y="7061"/>
                    <a:pt x="3965" y="6632"/>
                    <a:pt x="4120" y="6239"/>
                  </a:cubicBezTo>
                  <a:cubicBezTo>
                    <a:pt x="4144" y="6179"/>
                    <a:pt x="4132" y="6108"/>
                    <a:pt x="4072" y="6060"/>
                  </a:cubicBezTo>
                  <a:cubicBezTo>
                    <a:pt x="4039" y="6027"/>
                    <a:pt x="3995" y="6011"/>
                    <a:pt x="3950" y="6011"/>
                  </a:cubicBezTo>
                  <a:cubicBezTo>
                    <a:pt x="3883" y="6011"/>
                    <a:pt x="3815" y="6048"/>
                    <a:pt x="3786" y="6120"/>
                  </a:cubicBezTo>
                  <a:cubicBezTo>
                    <a:pt x="3632" y="6549"/>
                    <a:pt x="3536" y="7025"/>
                    <a:pt x="3536" y="7525"/>
                  </a:cubicBezTo>
                  <a:lnTo>
                    <a:pt x="3536" y="7549"/>
                  </a:lnTo>
                  <a:cubicBezTo>
                    <a:pt x="2036" y="7370"/>
                    <a:pt x="810" y="6287"/>
                    <a:pt x="453" y="4858"/>
                  </a:cubicBezTo>
                  <a:lnTo>
                    <a:pt x="655" y="4858"/>
                  </a:lnTo>
                  <a:cubicBezTo>
                    <a:pt x="1965" y="4858"/>
                    <a:pt x="3108" y="4215"/>
                    <a:pt x="3834" y="3251"/>
                  </a:cubicBezTo>
                  <a:close/>
                  <a:moveTo>
                    <a:pt x="3953" y="0"/>
                  </a:moveTo>
                  <a:cubicBezTo>
                    <a:pt x="1762" y="0"/>
                    <a:pt x="0" y="1774"/>
                    <a:pt x="0" y="3965"/>
                  </a:cubicBezTo>
                  <a:cubicBezTo>
                    <a:pt x="0" y="6156"/>
                    <a:pt x="1774" y="7918"/>
                    <a:pt x="3953" y="7918"/>
                  </a:cubicBezTo>
                  <a:cubicBezTo>
                    <a:pt x="6144" y="7918"/>
                    <a:pt x="7918" y="6156"/>
                    <a:pt x="7918" y="3965"/>
                  </a:cubicBezTo>
                  <a:cubicBezTo>
                    <a:pt x="7918" y="1774"/>
                    <a:pt x="6144" y="0"/>
                    <a:pt x="3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66" name="Google Shape;13266;p64"/>
          <p:cNvGrpSpPr/>
          <p:nvPr/>
        </p:nvGrpSpPr>
        <p:grpSpPr>
          <a:xfrm>
            <a:off x="7957483" y="3350848"/>
            <a:ext cx="357387" cy="357387"/>
            <a:chOff x="7957483" y="3350848"/>
            <a:chExt cx="357387" cy="357387"/>
          </a:xfrm>
        </p:grpSpPr>
        <p:sp>
          <p:nvSpPr>
            <p:cNvPr id="13267" name="Google Shape;13267;p64"/>
            <p:cNvSpPr/>
            <p:nvPr/>
          </p:nvSpPr>
          <p:spPr>
            <a:xfrm>
              <a:off x="8025312" y="3410721"/>
              <a:ext cx="71649" cy="71267"/>
            </a:xfrm>
            <a:custGeom>
              <a:avLst/>
              <a:gdLst/>
              <a:ahLst/>
              <a:cxnLst/>
              <a:rect l="l" t="t" r="r" b="b"/>
              <a:pathLst>
                <a:path w="2251" h="2239" extrusionOk="0">
                  <a:moveTo>
                    <a:pt x="1120" y="0"/>
                  </a:moveTo>
                  <a:cubicBezTo>
                    <a:pt x="489" y="0"/>
                    <a:pt x="1" y="500"/>
                    <a:pt x="1" y="1120"/>
                  </a:cubicBezTo>
                  <a:cubicBezTo>
                    <a:pt x="1" y="1727"/>
                    <a:pt x="513" y="2239"/>
                    <a:pt x="1120" y="2239"/>
                  </a:cubicBezTo>
                  <a:cubicBezTo>
                    <a:pt x="1739" y="2239"/>
                    <a:pt x="2239" y="1727"/>
                    <a:pt x="2239" y="1120"/>
                  </a:cubicBezTo>
                  <a:cubicBezTo>
                    <a:pt x="2251" y="1048"/>
                    <a:pt x="2156" y="953"/>
                    <a:pt x="2072" y="953"/>
                  </a:cubicBezTo>
                  <a:lnTo>
                    <a:pt x="1358" y="953"/>
                  </a:lnTo>
                  <a:cubicBezTo>
                    <a:pt x="1251" y="953"/>
                    <a:pt x="1179" y="1024"/>
                    <a:pt x="1179" y="1131"/>
                  </a:cubicBezTo>
                  <a:cubicBezTo>
                    <a:pt x="1179" y="1239"/>
                    <a:pt x="1251" y="1310"/>
                    <a:pt x="1358" y="1310"/>
                  </a:cubicBezTo>
                  <a:lnTo>
                    <a:pt x="1858" y="1310"/>
                  </a:lnTo>
                  <a:cubicBezTo>
                    <a:pt x="1787" y="1655"/>
                    <a:pt x="1477" y="1905"/>
                    <a:pt x="1120" y="1905"/>
                  </a:cubicBezTo>
                  <a:cubicBezTo>
                    <a:pt x="703" y="1905"/>
                    <a:pt x="346" y="1560"/>
                    <a:pt x="346" y="1131"/>
                  </a:cubicBezTo>
                  <a:cubicBezTo>
                    <a:pt x="346" y="715"/>
                    <a:pt x="691" y="358"/>
                    <a:pt x="1120" y="358"/>
                  </a:cubicBezTo>
                  <a:cubicBezTo>
                    <a:pt x="1310" y="358"/>
                    <a:pt x="1489" y="429"/>
                    <a:pt x="1620" y="548"/>
                  </a:cubicBezTo>
                  <a:cubicBezTo>
                    <a:pt x="1660" y="576"/>
                    <a:pt x="1702" y="591"/>
                    <a:pt x="1745" y="591"/>
                  </a:cubicBezTo>
                  <a:cubicBezTo>
                    <a:pt x="1791" y="591"/>
                    <a:pt x="1838" y="573"/>
                    <a:pt x="1882" y="536"/>
                  </a:cubicBezTo>
                  <a:cubicBezTo>
                    <a:pt x="1953" y="465"/>
                    <a:pt x="1941" y="358"/>
                    <a:pt x="1858" y="286"/>
                  </a:cubicBezTo>
                  <a:cubicBezTo>
                    <a:pt x="1656" y="108"/>
                    <a:pt x="1406" y="0"/>
                    <a:pt x="1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8" name="Google Shape;13268;p64"/>
            <p:cNvSpPr/>
            <p:nvPr/>
          </p:nvSpPr>
          <p:spPr>
            <a:xfrm>
              <a:off x="8191306" y="3380768"/>
              <a:ext cx="70917" cy="71299"/>
            </a:xfrm>
            <a:custGeom>
              <a:avLst/>
              <a:gdLst/>
              <a:ahLst/>
              <a:cxnLst/>
              <a:rect l="l" t="t" r="r" b="b"/>
              <a:pathLst>
                <a:path w="2228" h="2240" extrusionOk="0">
                  <a:moveTo>
                    <a:pt x="1108" y="346"/>
                  </a:moveTo>
                  <a:cubicBezTo>
                    <a:pt x="1548" y="346"/>
                    <a:pt x="1882" y="691"/>
                    <a:pt x="1882" y="1120"/>
                  </a:cubicBezTo>
                  <a:cubicBezTo>
                    <a:pt x="1870" y="1549"/>
                    <a:pt x="1525" y="1894"/>
                    <a:pt x="1108" y="1894"/>
                  </a:cubicBezTo>
                  <a:cubicBezTo>
                    <a:pt x="691" y="1894"/>
                    <a:pt x="334" y="1549"/>
                    <a:pt x="334" y="1120"/>
                  </a:cubicBezTo>
                  <a:cubicBezTo>
                    <a:pt x="334" y="703"/>
                    <a:pt x="679" y="346"/>
                    <a:pt x="1108" y="346"/>
                  </a:cubicBezTo>
                  <a:close/>
                  <a:moveTo>
                    <a:pt x="1108" y="1"/>
                  </a:moveTo>
                  <a:cubicBezTo>
                    <a:pt x="489" y="1"/>
                    <a:pt x="1" y="513"/>
                    <a:pt x="1" y="1120"/>
                  </a:cubicBezTo>
                  <a:cubicBezTo>
                    <a:pt x="1" y="1751"/>
                    <a:pt x="501" y="2239"/>
                    <a:pt x="1108" y="2239"/>
                  </a:cubicBezTo>
                  <a:cubicBezTo>
                    <a:pt x="1739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9" name="Google Shape;13269;p64"/>
            <p:cNvSpPr/>
            <p:nvPr/>
          </p:nvSpPr>
          <p:spPr>
            <a:xfrm>
              <a:off x="7957483" y="3350848"/>
              <a:ext cx="357387" cy="357387"/>
            </a:xfrm>
            <a:custGeom>
              <a:avLst/>
              <a:gdLst/>
              <a:ahLst/>
              <a:cxnLst/>
              <a:rect l="l" t="t" r="r" b="b"/>
              <a:pathLst>
                <a:path w="11228" h="11228" extrusionOk="0">
                  <a:moveTo>
                    <a:pt x="8454" y="369"/>
                  </a:moveTo>
                  <a:cubicBezTo>
                    <a:pt x="9525" y="369"/>
                    <a:pt x="10406" y="1238"/>
                    <a:pt x="10406" y="2310"/>
                  </a:cubicBezTo>
                  <a:cubicBezTo>
                    <a:pt x="10406" y="3167"/>
                    <a:pt x="9097" y="4691"/>
                    <a:pt x="8454" y="5370"/>
                  </a:cubicBezTo>
                  <a:cubicBezTo>
                    <a:pt x="7823" y="4691"/>
                    <a:pt x="6513" y="3143"/>
                    <a:pt x="6513" y="2310"/>
                  </a:cubicBezTo>
                  <a:cubicBezTo>
                    <a:pt x="6513" y="1227"/>
                    <a:pt x="7370" y="369"/>
                    <a:pt x="8454" y="369"/>
                  </a:cubicBezTo>
                  <a:close/>
                  <a:moveTo>
                    <a:pt x="5620" y="369"/>
                  </a:moveTo>
                  <a:cubicBezTo>
                    <a:pt x="6073" y="369"/>
                    <a:pt x="6537" y="429"/>
                    <a:pt x="6989" y="548"/>
                  </a:cubicBezTo>
                  <a:cubicBezTo>
                    <a:pt x="6477" y="965"/>
                    <a:pt x="6156" y="1596"/>
                    <a:pt x="6156" y="2310"/>
                  </a:cubicBezTo>
                  <a:cubicBezTo>
                    <a:pt x="6156" y="2524"/>
                    <a:pt x="6215" y="2751"/>
                    <a:pt x="6299" y="2989"/>
                  </a:cubicBezTo>
                  <a:lnTo>
                    <a:pt x="536" y="6977"/>
                  </a:lnTo>
                  <a:cubicBezTo>
                    <a:pt x="417" y="6537"/>
                    <a:pt x="358" y="6084"/>
                    <a:pt x="358" y="5620"/>
                  </a:cubicBezTo>
                  <a:cubicBezTo>
                    <a:pt x="358" y="2715"/>
                    <a:pt x="2715" y="369"/>
                    <a:pt x="5620" y="369"/>
                  </a:cubicBezTo>
                  <a:close/>
                  <a:moveTo>
                    <a:pt x="10359" y="3417"/>
                  </a:moveTo>
                  <a:cubicBezTo>
                    <a:pt x="10668" y="4096"/>
                    <a:pt x="10835" y="4858"/>
                    <a:pt x="10835" y="5620"/>
                  </a:cubicBezTo>
                  <a:cubicBezTo>
                    <a:pt x="10871" y="7418"/>
                    <a:pt x="9966" y="9013"/>
                    <a:pt x="8561" y="9966"/>
                  </a:cubicBezTo>
                  <a:lnTo>
                    <a:pt x="5358" y="5394"/>
                  </a:lnTo>
                  <a:lnTo>
                    <a:pt x="7001" y="4191"/>
                  </a:lnTo>
                  <a:cubicBezTo>
                    <a:pt x="7585" y="4989"/>
                    <a:pt x="8263" y="5679"/>
                    <a:pt x="8311" y="5739"/>
                  </a:cubicBezTo>
                  <a:cubicBezTo>
                    <a:pt x="8335" y="5763"/>
                    <a:pt x="8382" y="5799"/>
                    <a:pt x="8430" y="5799"/>
                  </a:cubicBezTo>
                  <a:cubicBezTo>
                    <a:pt x="8478" y="5799"/>
                    <a:pt x="8513" y="5775"/>
                    <a:pt x="8549" y="5739"/>
                  </a:cubicBezTo>
                  <a:cubicBezTo>
                    <a:pt x="8609" y="5679"/>
                    <a:pt x="9764" y="4513"/>
                    <a:pt x="10359" y="3417"/>
                  </a:cubicBezTo>
                  <a:close/>
                  <a:moveTo>
                    <a:pt x="5096" y="5608"/>
                  </a:moveTo>
                  <a:lnTo>
                    <a:pt x="8275" y="10156"/>
                  </a:lnTo>
                  <a:cubicBezTo>
                    <a:pt x="8025" y="10287"/>
                    <a:pt x="7775" y="10406"/>
                    <a:pt x="7525" y="10513"/>
                  </a:cubicBezTo>
                  <a:lnTo>
                    <a:pt x="4430" y="6096"/>
                  </a:lnTo>
                  <a:lnTo>
                    <a:pt x="5096" y="5608"/>
                  </a:lnTo>
                  <a:close/>
                  <a:moveTo>
                    <a:pt x="6466" y="3310"/>
                  </a:moveTo>
                  <a:cubicBezTo>
                    <a:pt x="6573" y="3501"/>
                    <a:pt x="6692" y="3715"/>
                    <a:pt x="6823" y="3905"/>
                  </a:cubicBezTo>
                  <a:lnTo>
                    <a:pt x="3215" y="6537"/>
                  </a:lnTo>
                  <a:cubicBezTo>
                    <a:pt x="3132" y="6596"/>
                    <a:pt x="3132" y="6739"/>
                    <a:pt x="3203" y="6811"/>
                  </a:cubicBezTo>
                  <a:cubicBezTo>
                    <a:pt x="3236" y="6843"/>
                    <a:pt x="3283" y="6862"/>
                    <a:pt x="3329" y="6862"/>
                  </a:cubicBezTo>
                  <a:cubicBezTo>
                    <a:pt x="3366" y="6862"/>
                    <a:pt x="3403" y="6849"/>
                    <a:pt x="3429" y="6822"/>
                  </a:cubicBezTo>
                  <a:lnTo>
                    <a:pt x="4144" y="6299"/>
                  </a:lnTo>
                  <a:lnTo>
                    <a:pt x="7180" y="10632"/>
                  </a:lnTo>
                  <a:cubicBezTo>
                    <a:pt x="6668" y="10799"/>
                    <a:pt x="6156" y="10871"/>
                    <a:pt x="5620" y="10871"/>
                  </a:cubicBezTo>
                  <a:cubicBezTo>
                    <a:pt x="3751" y="10871"/>
                    <a:pt x="2132" y="9906"/>
                    <a:pt x="1191" y="8442"/>
                  </a:cubicBezTo>
                  <a:lnTo>
                    <a:pt x="2727" y="7334"/>
                  </a:lnTo>
                  <a:cubicBezTo>
                    <a:pt x="2822" y="7275"/>
                    <a:pt x="2822" y="7132"/>
                    <a:pt x="2739" y="7061"/>
                  </a:cubicBezTo>
                  <a:cubicBezTo>
                    <a:pt x="2706" y="7028"/>
                    <a:pt x="2663" y="7010"/>
                    <a:pt x="2620" y="7010"/>
                  </a:cubicBezTo>
                  <a:cubicBezTo>
                    <a:pt x="2585" y="7010"/>
                    <a:pt x="2551" y="7022"/>
                    <a:pt x="2525" y="7049"/>
                  </a:cubicBezTo>
                  <a:lnTo>
                    <a:pt x="1012" y="8144"/>
                  </a:lnTo>
                  <a:cubicBezTo>
                    <a:pt x="870" y="7894"/>
                    <a:pt x="751" y="7608"/>
                    <a:pt x="655" y="7334"/>
                  </a:cubicBezTo>
                  <a:lnTo>
                    <a:pt x="6466" y="3310"/>
                  </a:lnTo>
                  <a:close/>
                  <a:moveTo>
                    <a:pt x="5608" y="0"/>
                  </a:moveTo>
                  <a:cubicBezTo>
                    <a:pt x="4108" y="0"/>
                    <a:pt x="2715" y="584"/>
                    <a:pt x="1643" y="1643"/>
                  </a:cubicBezTo>
                  <a:cubicBezTo>
                    <a:pt x="584" y="2703"/>
                    <a:pt x="0" y="4120"/>
                    <a:pt x="0" y="5620"/>
                  </a:cubicBezTo>
                  <a:cubicBezTo>
                    <a:pt x="0" y="7120"/>
                    <a:pt x="584" y="8525"/>
                    <a:pt x="1643" y="9597"/>
                  </a:cubicBezTo>
                  <a:cubicBezTo>
                    <a:pt x="2691" y="10644"/>
                    <a:pt x="4108" y="11228"/>
                    <a:pt x="5608" y="11228"/>
                  </a:cubicBezTo>
                  <a:cubicBezTo>
                    <a:pt x="7120" y="11228"/>
                    <a:pt x="8513" y="10644"/>
                    <a:pt x="9585" y="9597"/>
                  </a:cubicBezTo>
                  <a:cubicBezTo>
                    <a:pt x="10645" y="8537"/>
                    <a:pt x="11228" y="7120"/>
                    <a:pt x="11228" y="5620"/>
                  </a:cubicBezTo>
                  <a:cubicBezTo>
                    <a:pt x="11228" y="4715"/>
                    <a:pt x="11002" y="3822"/>
                    <a:pt x="10585" y="3012"/>
                  </a:cubicBezTo>
                  <a:cubicBezTo>
                    <a:pt x="10692" y="2762"/>
                    <a:pt x="10752" y="2524"/>
                    <a:pt x="10752" y="2310"/>
                  </a:cubicBezTo>
                  <a:cubicBezTo>
                    <a:pt x="10752" y="1048"/>
                    <a:pt x="9716" y="0"/>
                    <a:pt x="8442" y="0"/>
                  </a:cubicBezTo>
                  <a:cubicBezTo>
                    <a:pt x="8037" y="0"/>
                    <a:pt x="7668" y="107"/>
                    <a:pt x="7358" y="286"/>
                  </a:cubicBezTo>
                  <a:cubicBezTo>
                    <a:pt x="6787" y="107"/>
                    <a:pt x="6204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0" name="Google Shape;13270;p64"/>
          <p:cNvGrpSpPr/>
          <p:nvPr/>
        </p:nvGrpSpPr>
        <p:grpSpPr>
          <a:xfrm>
            <a:off x="7007771" y="3351230"/>
            <a:ext cx="357387" cy="357005"/>
            <a:chOff x="7007771" y="3351230"/>
            <a:chExt cx="357387" cy="357005"/>
          </a:xfrm>
        </p:grpSpPr>
        <p:sp>
          <p:nvSpPr>
            <p:cNvPr id="13271" name="Google Shape;13271;p64"/>
            <p:cNvSpPr/>
            <p:nvPr/>
          </p:nvSpPr>
          <p:spPr>
            <a:xfrm>
              <a:off x="7007771" y="3351230"/>
              <a:ext cx="357387" cy="357005"/>
            </a:xfrm>
            <a:custGeom>
              <a:avLst/>
              <a:gdLst/>
              <a:ahLst/>
              <a:cxnLst/>
              <a:rect l="l" t="t" r="r" b="b"/>
              <a:pathLst>
                <a:path w="11228" h="11216" extrusionOk="0">
                  <a:moveTo>
                    <a:pt x="5632" y="357"/>
                  </a:moveTo>
                  <a:cubicBezTo>
                    <a:pt x="8525" y="357"/>
                    <a:pt x="10883" y="2703"/>
                    <a:pt x="10883" y="5608"/>
                  </a:cubicBezTo>
                  <a:cubicBezTo>
                    <a:pt x="10883" y="8513"/>
                    <a:pt x="8513" y="10859"/>
                    <a:pt x="5632" y="10859"/>
                  </a:cubicBezTo>
                  <a:cubicBezTo>
                    <a:pt x="2727" y="10859"/>
                    <a:pt x="369" y="8513"/>
                    <a:pt x="369" y="5608"/>
                  </a:cubicBezTo>
                  <a:cubicBezTo>
                    <a:pt x="369" y="2703"/>
                    <a:pt x="2727" y="357"/>
                    <a:pt x="5632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15" y="572"/>
                    <a:pt x="1643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43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20" y="11216"/>
                    <a:pt x="8513" y="10632"/>
                    <a:pt x="9585" y="9585"/>
                  </a:cubicBezTo>
                  <a:cubicBezTo>
                    <a:pt x="10645" y="8525"/>
                    <a:pt x="11228" y="7108"/>
                    <a:pt x="11228" y="5608"/>
                  </a:cubicBezTo>
                  <a:cubicBezTo>
                    <a:pt x="11228" y="4108"/>
                    <a:pt x="10645" y="2703"/>
                    <a:pt x="9585" y="1631"/>
                  </a:cubicBezTo>
                  <a:cubicBezTo>
                    <a:pt x="8525" y="572"/>
                    <a:pt x="7120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2" name="Google Shape;13272;p64"/>
            <p:cNvSpPr/>
            <p:nvPr/>
          </p:nvSpPr>
          <p:spPr>
            <a:xfrm>
              <a:off x="7060450" y="3456206"/>
              <a:ext cx="80371" cy="124710"/>
            </a:xfrm>
            <a:custGeom>
              <a:avLst/>
              <a:gdLst/>
              <a:ahLst/>
              <a:cxnLst/>
              <a:rect l="l" t="t" r="r" b="b"/>
              <a:pathLst>
                <a:path w="2525" h="3918" extrusionOk="0">
                  <a:moveTo>
                    <a:pt x="536" y="345"/>
                  </a:moveTo>
                  <a:cubicBezTo>
                    <a:pt x="619" y="345"/>
                    <a:pt x="691" y="417"/>
                    <a:pt x="691" y="512"/>
                  </a:cubicBezTo>
                  <a:lnTo>
                    <a:pt x="691" y="1953"/>
                  </a:lnTo>
                  <a:cubicBezTo>
                    <a:pt x="691" y="2024"/>
                    <a:pt x="739" y="2084"/>
                    <a:pt x="798" y="2119"/>
                  </a:cubicBezTo>
                  <a:cubicBezTo>
                    <a:pt x="817" y="2127"/>
                    <a:pt x="839" y="2131"/>
                    <a:pt x="862" y="2131"/>
                  </a:cubicBezTo>
                  <a:cubicBezTo>
                    <a:pt x="912" y="2131"/>
                    <a:pt x="964" y="2112"/>
                    <a:pt x="989" y="2072"/>
                  </a:cubicBezTo>
                  <a:lnTo>
                    <a:pt x="1727" y="1346"/>
                  </a:lnTo>
                  <a:cubicBezTo>
                    <a:pt x="1756" y="1316"/>
                    <a:pt x="1795" y="1301"/>
                    <a:pt x="1834" y="1301"/>
                  </a:cubicBezTo>
                  <a:cubicBezTo>
                    <a:pt x="1873" y="1301"/>
                    <a:pt x="1911" y="1316"/>
                    <a:pt x="1941" y="1346"/>
                  </a:cubicBezTo>
                  <a:cubicBezTo>
                    <a:pt x="2012" y="1405"/>
                    <a:pt x="2012" y="1500"/>
                    <a:pt x="1941" y="1560"/>
                  </a:cubicBezTo>
                  <a:lnTo>
                    <a:pt x="1489" y="2024"/>
                  </a:lnTo>
                  <a:cubicBezTo>
                    <a:pt x="1429" y="2084"/>
                    <a:pt x="1417" y="2191"/>
                    <a:pt x="1477" y="2262"/>
                  </a:cubicBezTo>
                  <a:lnTo>
                    <a:pt x="2084" y="3096"/>
                  </a:lnTo>
                  <a:cubicBezTo>
                    <a:pt x="2108" y="3143"/>
                    <a:pt x="2108" y="3191"/>
                    <a:pt x="2108" y="3227"/>
                  </a:cubicBezTo>
                  <a:cubicBezTo>
                    <a:pt x="2108" y="3274"/>
                    <a:pt x="2084" y="3310"/>
                    <a:pt x="2048" y="3334"/>
                  </a:cubicBezTo>
                  <a:cubicBezTo>
                    <a:pt x="2024" y="3370"/>
                    <a:pt x="1977" y="3370"/>
                    <a:pt x="1929" y="3370"/>
                  </a:cubicBezTo>
                  <a:cubicBezTo>
                    <a:pt x="1893" y="3370"/>
                    <a:pt x="1858" y="3334"/>
                    <a:pt x="1834" y="3310"/>
                  </a:cubicBezTo>
                  <a:lnTo>
                    <a:pt x="1274" y="2548"/>
                  </a:lnTo>
                  <a:cubicBezTo>
                    <a:pt x="1250" y="2500"/>
                    <a:pt x="1203" y="2477"/>
                    <a:pt x="1143" y="2477"/>
                  </a:cubicBezTo>
                  <a:cubicBezTo>
                    <a:pt x="1096" y="2477"/>
                    <a:pt x="1036" y="2489"/>
                    <a:pt x="1012" y="2512"/>
                  </a:cubicBezTo>
                  <a:lnTo>
                    <a:pt x="739" y="2786"/>
                  </a:lnTo>
                  <a:cubicBezTo>
                    <a:pt x="715" y="2810"/>
                    <a:pt x="691" y="2858"/>
                    <a:pt x="691" y="2905"/>
                  </a:cubicBezTo>
                  <a:lnTo>
                    <a:pt x="691" y="3381"/>
                  </a:lnTo>
                  <a:cubicBezTo>
                    <a:pt x="691" y="3465"/>
                    <a:pt x="619" y="3548"/>
                    <a:pt x="536" y="3548"/>
                  </a:cubicBezTo>
                  <a:cubicBezTo>
                    <a:pt x="441" y="3548"/>
                    <a:pt x="369" y="3465"/>
                    <a:pt x="369" y="3381"/>
                  </a:cubicBezTo>
                  <a:lnTo>
                    <a:pt x="369" y="512"/>
                  </a:lnTo>
                  <a:cubicBezTo>
                    <a:pt x="369" y="417"/>
                    <a:pt x="441" y="345"/>
                    <a:pt x="536" y="345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lnTo>
                    <a:pt x="0" y="3393"/>
                  </a:lnTo>
                  <a:cubicBezTo>
                    <a:pt x="0" y="3679"/>
                    <a:pt x="238" y="3917"/>
                    <a:pt x="524" y="3917"/>
                  </a:cubicBezTo>
                  <a:cubicBezTo>
                    <a:pt x="798" y="3917"/>
                    <a:pt x="1036" y="3679"/>
                    <a:pt x="1036" y="3393"/>
                  </a:cubicBezTo>
                  <a:lnTo>
                    <a:pt x="1036" y="2989"/>
                  </a:lnTo>
                  <a:lnTo>
                    <a:pt x="1096" y="2929"/>
                  </a:lnTo>
                  <a:lnTo>
                    <a:pt x="1536" y="3512"/>
                  </a:lnTo>
                  <a:cubicBezTo>
                    <a:pt x="1608" y="3620"/>
                    <a:pt x="1739" y="3691"/>
                    <a:pt x="1870" y="3727"/>
                  </a:cubicBezTo>
                  <a:cubicBezTo>
                    <a:pt x="1888" y="3728"/>
                    <a:pt x="1906" y="3729"/>
                    <a:pt x="1923" y="3729"/>
                  </a:cubicBezTo>
                  <a:cubicBezTo>
                    <a:pt x="2046" y="3729"/>
                    <a:pt x="2159" y="3694"/>
                    <a:pt x="2263" y="3632"/>
                  </a:cubicBezTo>
                  <a:cubicBezTo>
                    <a:pt x="2489" y="3453"/>
                    <a:pt x="2524" y="3131"/>
                    <a:pt x="2370" y="2905"/>
                  </a:cubicBezTo>
                  <a:lnTo>
                    <a:pt x="1846" y="2191"/>
                  </a:lnTo>
                  <a:lnTo>
                    <a:pt x="2203" y="1834"/>
                  </a:lnTo>
                  <a:cubicBezTo>
                    <a:pt x="2393" y="1643"/>
                    <a:pt x="2393" y="1310"/>
                    <a:pt x="2203" y="1107"/>
                  </a:cubicBezTo>
                  <a:cubicBezTo>
                    <a:pt x="2108" y="1006"/>
                    <a:pt x="1977" y="956"/>
                    <a:pt x="1844" y="956"/>
                  </a:cubicBezTo>
                  <a:cubicBezTo>
                    <a:pt x="1712" y="956"/>
                    <a:pt x="1578" y="1006"/>
                    <a:pt x="1477" y="1107"/>
                  </a:cubicBezTo>
                  <a:lnTo>
                    <a:pt x="1036" y="1536"/>
                  </a:lnTo>
                  <a:lnTo>
                    <a:pt x="1036" y="524"/>
                  </a:lnTo>
                  <a:cubicBezTo>
                    <a:pt x="1036" y="238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3" name="Google Shape;13273;p64"/>
            <p:cNvSpPr/>
            <p:nvPr/>
          </p:nvSpPr>
          <p:spPr>
            <a:xfrm>
              <a:off x="7203303" y="3456206"/>
              <a:ext cx="80753" cy="124710"/>
            </a:xfrm>
            <a:custGeom>
              <a:avLst/>
              <a:gdLst/>
              <a:ahLst/>
              <a:cxnLst/>
              <a:rect l="l" t="t" r="r" b="b"/>
              <a:pathLst>
                <a:path w="2537" h="3918" extrusionOk="0">
                  <a:moveTo>
                    <a:pt x="525" y="345"/>
                  </a:moveTo>
                  <a:cubicBezTo>
                    <a:pt x="620" y="345"/>
                    <a:pt x="692" y="417"/>
                    <a:pt x="692" y="512"/>
                  </a:cubicBezTo>
                  <a:lnTo>
                    <a:pt x="692" y="1953"/>
                  </a:lnTo>
                  <a:cubicBezTo>
                    <a:pt x="692" y="2024"/>
                    <a:pt x="727" y="2084"/>
                    <a:pt x="799" y="2119"/>
                  </a:cubicBezTo>
                  <a:cubicBezTo>
                    <a:pt x="818" y="2127"/>
                    <a:pt x="839" y="2131"/>
                    <a:pt x="861" y="2131"/>
                  </a:cubicBezTo>
                  <a:cubicBezTo>
                    <a:pt x="907" y="2131"/>
                    <a:pt x="957" y="2112"/>
                    <a:pt x="989" y="2072"/>
                  </a:cubicBezTo>
                  <a:lnTo>
                    <a:pt x="1715" y="1346"/>
                  </a:lnTo>
                  <a:cubicBezTo>
                    <a:pt x="1745" y="1316"/>
                    <a:pt x="1787" y="1301"/>
                    <a:pt x="1829" y="1301"/>
                  </a:cubicBezTo>
                  <a:cubicBezTo>
                    <a:pt x="1870" y="1301"/>
                    <a:pt x="1912" y="1316"/>
                    <a:pt x="1942" y="1346"/>
                  </a:cubicBezTo>
                  <a:cubicBezTo>
                    <a:pt x="2001" y="1405"/>
                    <a:pt x="2001" y="1500"/>
                    <a:pt x="1942" y="1560"/>
                  </a:cubicBezTo>
                  <a:lnTo>
                    <a:pt x="1477" y="2024"/>
                  </a:lnTo>
                  <a:cubicBezTo>
                    <a:pt x="1418" y="2084"/>
                    <a:pt x="1406" y="2191"/>
                    <a:pt x="1465" y="2262"/>
                  </a:cubicBezTo>
                  <a:lnTo>
                    <a:pt x="2073" y="3096"/>
                  </a:lnTo>
                  <a:cubicBezTo>
                    <a:pt x="2108" y="3143"/>
                    <a:pt x="2120" y="3191"/>
                    <a:pt x="2108" y="3227"/>
                  </a:cubicBezTo>
                  <a:cubicBezTo>
                    <a:pt x="2108" y="3274"/>
                    <a:pt x="2073" y="3310"/>
                    <a:pt x="2049" y="3334"/>
                  </a:cubicBezTo>
                  <a:cubicBezTo>
                    <a:pt x="2013" y="3370"/>
                    <a:pt x="1966" y="3370"/>
                    <a:pt x="1930" y="3370"/>
                  </a:cubicBezTo>
                  <a:cubicBezTo>
                    <a:pt x="1882" y="3370"/>
                    <a:pt x="1846" y="3334"/>
                    <a:pt x="1823" y="3310"/>
                  </a:cubicBezTo>
                  <a:lnTo>
                    <a:pt x="1275" y="2548"/>
                  </a:lnTo>
                  <a:cubicBezTo>
                    <a:pt x="1239" y="2500"/>
                    <a:pt x="1192" y="2477"/>
                    <a:pt x="1132" y="2477"/>
                  </a:cubicBezTo>
                  <a:cubicBezTo>
                    <a:pt x="1096" y="2477"/>
                    <a:pt x="1025" y="2489"/>
                    <a:pt x="1001" y="2512"/>
                  </a:cubicBezTo>
                  <a:lnTo>
                    <a:pt x="727" y="2786"/>
                  </a:lnTo>
                  <a:cubicBezTo>
                    <a:pt x="703" y="2810"/>
                    <a:pt x="692" y="2858"/>
                    <a:pt x="692" y="2905"/>
                  </a:cubicBezTo>
                  <a:lnTo>
                    <a:pt x="692" y="3381"/>
                  </a:lnTo>
                  <a:cubicBezTo>
                    <a:pt x="692" y="3465"/>
                    <a:pt x="620" y="3548"/>
                    <a:pt x="525" y="3548"/>
                  </a:cubicBezTo>
                  <a:cubicBezTo>
                    <a:pt x="442" y="3548"/>
                    <a:pt x="358" y="3465"/>
                    <a:pt x="358" y="3381"/>
                  </a:cubicBezTo>
                  <a:lnTo>
                    <a:pt x="358" y="512"/>
                  </a:lnTo>
                  <a:cubicBezTo>
                    <a:pt x="358" y="417"/>
                    <a:pt x="442" y="345"/>
                    <a:pt x="525" y="345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lnTo>
                    <a:pt x="1" y="3393"/>
                  </a:lnTo>
                  <a:cubicBezTo>
                    <a:pt x="1" y="3679"/>
                    <a:pt x="239" y="3917"/>
                    <a:pt x="525" y="3917"/>
                  </a:cubicBezTo>
                  <a:cubicBezTo>
                    <a:pt x="811" y="3917"/>
                    <a:pt x="1049" y="3679"/>
                    <a:pt x="1049" y="3393"/>
                  </a:cubicBezTo>
                  <a:lnTo>
                    <a:pt x="1049" y="2989"/>
                  </a:lnTo>
                  <a:lnTo>
                    <a:pt x="1108" y="2929"/>
                  </a:lnTo>
                  <a:lnTo>
                    <a:pt x="1537" y="3512"/>
                  </a:lnTo>
                  <a:cubicBezTo>
                    <a:pt x="1608" y="3620"/>
                    <a:pt x="1751" y="3691"/>
                    <a:pt x="1882" y="3727"/>
                  </a:cubicBezTo>
                  <a:cubicBezTo>
                    <a:pt x="1899" y="3728"/>
                    <a:pt x="1915" y="3729"/>
                    <a:pt x="1932" y="3729"/>
                  </a:cubicBezTo>
                  <a:cubicBezTo>
                    <a:pt x="2046" y="3729"/>
                    <a:pt x="2159" y="3694"/>
                    <a:pt x="2263" y="3632"/>
                  </a:cubicBezTo>
                  <a:cubicBezTo>
                    <a:pt x="2489" y="3453"/>
                    <a:pt x="2537" y="3131"/>
                    <a:pt x="2370" y="2905"/>
                  </a:cubicBezTo>
                  <a:lnTo>
                    <a:pt x="1846" y="2191"/>
                  </a:lnTo>
                  <a:lnTo>
                    <a:pt x="2204" y="1834"/>
                  </a:lnTo>
                  <a:cubicBezTo>
                    <a:pt x="2406" y="1643"/>
                    <a:pt x="2406" y="1310"/>
                    <a:pt x="2204" y="1107"/>
                  </a:cubicBezTo>
                  <a:cubicBezTo>
                    <a:pt x="2108" y="1006"/>
                    <a:pt x="1980" y="956"/>
                    <a:pt x="1849" y="956"/>
                  </a:cubicBezTo>
                  <a:cubicBezTo>
                    <a:pt x="1718" y="956"/>
                    <a:pt x="1585" y="1006"/>
                    <a:pt x="1477" y="1107"/>
                  </a:cubicBezTo>
                  <a:lnTo>
                    <a:pt x="1049" y="1536"/>
                  </a:lnTo>
                  <a:lnTo>
                    <a:pt x="1049" y="524"/>
                  </a:lnTo>
                  <a:cubicBezTo>
                    <a:pt x="1049" y="238"/>
                    <a:pt x="811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4" name="Google Shape;13274;p64"/>
            <p:cNvSpPr/>
            <p:nvPr/>
          </p:nvSpPr>
          <p:spPr>
            <a:xfrm>
              <a:off x="7151388" y="3478518"/>
              <a:ext cx="33772" cy="102015"/>
            </a:xfrm>
            <a:custGeom>
              <a:avLst/>
              <a:gdLst/>
              <a:ahLst/>
              <a:cxnLst/>
              <a:rect l="l" t="t" r="r" b="b"/>
              <a:pathLst>
                <a:path w="1061" h="3205" extrusionOk="0">
                  <a:moveTo>
                    <a:pt x="511" y="0"/>
                  </a:moveTo>
                  <a:cubicBezTo>
                    <a:pt x="230" y="0"/>
                    <a:pt x="1" y="252"/>
                    <a:pt x="1" y="537"/>
                  </a:cubicBezTo>
                  <a:lnTo>
                    <a:pt x="1" y="2645"/>
                  </a:lnTo>
                  <a:cubicBezTo>
                    <a:pt x="1" y="2931"/>
                    <a:pt x="227" y="3181"/>
                    <a:pt x="501" y="3204"/>
                  </a:cubicBezTo>
                  <a:cubicBezTo>
                    <a:pt x="508" y="3205"/>
                    <a:pt x="515" y="3205"/>
                    <a:pt x="521" y="3205"/>
                  </a:cubicBezTo>
                  <a:cubicBezTo>
                    <a:pt x="810" y="3205"/>
                    <a:pt x="1060" y="2959"/>
                    <a:pt x="1060" y="2669"/>
                  </a:cubicBezTo>
                  <a:lnTo>
                    <a:pt x="1060" y="1621"/>
                  </a:lnTo>
                  <a:cubicBezTo>
                    <a:pt x="1060" y="1514"/>
                    <a:pt x="977" y="1442"/>
                    <a:pt x="882" y="1442"/>
                  </a:cubicBezTo>
                  <a:cubicBezTo>
                    <a:pt x="775" y="1442"/>
                    <a:pt x="703" y="1514"/>
                    <a:pt x="703" y="1621"/>
                  </a:cubicBezTo>
                  <a:lnTo>
                    <a:pt x="703" y="2669"/>
                  </a:lnTo>
                  <a:cubicBezTo>
                    <a:pt x="703" y="2752"/>
                    <a:pt x="644" y="2823"/>
                    <a:pt x="549" y="2847"/>
                  </a:cubicBezTo>
                  <a:cubicBezTo>
                    <a:pt x="542" y="2848"/>
                    <a:pt x="536" y="2848"/>
                    <a:pt x="530" y="2848"/>
                  </a:cubicBezTo>
                  <a:cubicBezTo>
                    <a:pt x="432" y="2848"/>
                    <a:pt x="358" y="2758"/>
                    <a:pt x="358" y="2669"/>
                  </a:cubicBezTo>
                  <a:lnTo>
                    <a:pt x="358" y="549"/>
                  </a:lnTo>
                  <a:cubicBezTo>
                    <a:pt x="358" y="454"/>
                    <a:pt x="418" y="383"/>
                    <a:pt x="501" y="371"/>
                  </a:cubicBezTo>
                  <a:cubicBezTo>
                    <a:pt x="508" y="370"/>
                    <a:pt x="515" y="370"/>
                    <a:pt x="521" y="370"/>
                  </a:cubicBezTo>
                  <a:cubicBezTo>
                    <a:pt x="620" y="370"/>
                    <a:pt x="703" y="449"/>
                    <a:pt x="703" y="549"/>
                  </a:cubicBezTo>
                  <a:lnTo>
                    <a:pt x="703" y="775"/>
                  </a:lnTo>
                  <a:cubicBezTo>
                    <a:pt x="703" y="859"/>
                    <a:pt x="775" y="942"/>
                    <a:pt x="882" y="942"/>
                  </a:cubicBezTo>
                  <a:cubicBezTo>
                    <a:pt x="977" y="942"/>
                    <a:pt x="1060" y="859"/>
                    <a:pt x="1060" y="752"/>
                  </a:cubicBezTo>
                  <a:lnTo>
                    <a:pt x="1060" y="549"/>
                  </a:lnTo>
                  <a:cubicBezTo>
                    <a:pt x="1060" y="264"/>
                    <a:pt x="834" y="13"/>
                    <a:pt x="549" y="2"/>
                  </a:cubicBezTo>
                  <a:cubicBezTo>
                    <a:pt x="536" y="1"/>
                    <a:pt x="523" y="0"/>
                    <a:pt x="5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5" name="Google Shape;13275;p64"/>
            <p:cNvSpPr/>
            <p:nvPr/>
          </p:nvSpPr>
          <p:spPr>
            <a:xfrm>
              <a:off x="7293891" y="3508884"/>
              <a:ext cx="41729" cy="41697"/>
            </a:xfrm>
            <a:custGeom>
              <a:avLst/>
              <a:gdLst/>
              <a:ahLst/>
              <a:cxnLst/>
              <a:rect l="l" t="t" r="r" b="b"/>
              <a:pathLst>
                <a:path w="1311" h="1310" extrusionOk="0">
                  <a:moveTo>
                    <a:pt x="655" y="357"/>
                  </a:moveTo>
                  <a:cubicBezTo>
                    <a:pt x="822" y="357"/>
                    <a:pt x="953" y="488"/>
                    <a:pt x="953" y="655"/>
                  </a:cubicBezTo>
                  <a:cubicBezTo>
                    <a:pt x="953" y="822"/>
                    <a:pt x="810" y="953"/>
                    <a:pt x="655" y="953"/>
                  </a:cubicBezTo>
                  <a:cubicBezTo>
                    <a:pt x="489" y="953"/>
                    <a:pt x="358" y="822"/>
                    <a:pt x="358" y="655"/>
                  </a:cubicBezTo>
                  <a:cubicBezTo>
                    <a:pt x="358" y="488"/>
                    <a:pt x="489" y="357"/>
                    <a:pt x="655" y="357"/>
                  </a:cubicBezTo>
                  <a:close/>
                  <a:moveTo>
                    <a:pt x="655" y="0"/>
                  </a:moveTo>
                  <a:cubicBezTo>
                    <a:pt x="298" y="0"/>
                    <a:pt x="1" y="298"/>
                    <a:pt x="1" y="655"/>
                  </a:cubicBezTo>
                  <a:cubicBezTo>
                    <a:pt x="1" y="1012"/>
                    <a:pt x="298" y="1310"/>
                    <a:pt x="655" y="1310"/>
                  </a:cubicBezTo>
                  <a:cubicBezTo>
                    <a:pt x="1013" y="1310"/>
                    <a:pt x="1310" y="1012"/>
                    <a:pt x="1310" y="655"/>
                  </a:cubicBezTo>
                  <a:cubicBezTo>
                    <a:pt x="1310" y="298"/>
                    <a:pt x="1013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6" name="Google Shape;13276;p64"/>
          <p:cNvGrpSpPr/>
          <p:nvPr/>
        </p:nvGrpSpPr>
        <p:grpSpPr>
          <a:xfrm>
            <a:off x="5108729" y="3351230"/>
            <a:ext cx="357005" cy="357005"/>
            <a:chOff x="5108729" y="3351230"/>
            <a:chExt cx="357005" cy="357005"/>
          </a:xfrm>
        </p:grpSpPr>
        <p:sp>
          <p:nvSpPr>
            <p:cNvPr id="13277" name="Google Shape;13277;p64"/>
            <p:cNvSpPr/>
            <p:nvPr/>
          </p:nvSpPr>
          <p:spPr>
            <a:xfrm>
              <a:off x="5108729" y="3351230"/>
              <a:ext cx="357005" cy="357005"/>
            </a:xfrm>
            <a:custGeom>
              <a:avLst/>
              <a:gdLst/>
              <a:ahLst/>
              <a:cxnLst/>
              <a:rect l="l" t="t" r="r" b="b"/>
              <a:pathLst>
                <a:path w="11216" h="11216" extrusionOk="0">
                  <a:moveTo>
                    <a:pt x="5620" y="357"/>
                  </a:moveTo>
                  <a:cubicBezTo>
                    <a:pt x="8525" y="357"/>
                    <a:pt x="10882" y="2703"/>
                    <a:pt x="10882" y="5608"/>
                  </a:cubicBezTo>
                  <a:cubicBezTo>
                    <a:pt x="10882" y="8513"/>
                    <a:pt x="8525" y="10859"/>
                    <a:pt x="5620" y="10859"/>
                  </a:cubicBezTo>
                  <a:cubicBezTo>
                    <a:pt x="2727" y="10859"/>
                    <a:pt x="369" y="8513"/>
                    <a:pt x="369" y="5608"/>
                  </a:cubicBezTo>
                  <a:cubicBezTo>
                    <a:pt x="369" y="2703"/>
                    <a:pt x="2727" y="357"/>
                    <a:pt x="5620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03" y="572"/>
                    <a:pt x="1631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31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08" y="11216"/>
                    <a:pt x="8513" y="10632"/>
                    <a:pt x="9585" y="9585"/>
                  </a:cubicBezTo>
                  <a:cubicBezTo>
                    <a:pt x="10656" y="8525"/>
                    <a:pt x="11216" y="7108"/>
                    <a:pt x="11216" y="5608"/>
                  </a:cubicBezTo>
                  <a:cubicBezTo>
                    <a:pt x="11216" y="4108"/>
                    <a:pt x="10656" y="2703"/>
                    <a:pt x="9585" y="1631"/>
                  </a:cubicBezTo>
                  <a:cubicBezTo>
                    <a:pt x="8525" y="572"/>
                    <a:pt x="7108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8" name="Google Shape;13278;p64"/>
            <p:cNvSpPr/>
            <p:nvPr/>
          </p:nvSpPr>
          <p:spPr>
            <a:xfrm>
              <a:off x="5163668" y="3402381"/>
              <a:ext cx="244104" cy="233473"/>
            </a:xfrm>
            <a:custGeom>
              <a:avLst/>
              <a:gdLst/>
              <a:ahLst/>
              <a:cxnLst/>
              <a:rect l="l" t="t" r="r" b="b"/>
              <a:pathLst>
                <a:path w="7669" h="7335" extrusionOk="0">
                  <a:moveTo>
                    <a:pt x="3775" y="0"/>
                  </a:moveTo>
                  <a:cubicBezTo>
                    <a:pt x="3334" y="24"/>
                    <a:pt x="1846" y="239"/>
                    <a:pt x="1751" y="1882"/>
                  </a:cubicBezTo>
                  <a:lnTo>
                    <a:pt x="1751" y="1905"/>
                  </a:lnTo>
                  <a:lnTo>
                    <a:pt x="1751" y="2834"/>
                  </a:lnTo>
                  <a:lnTo>
                    <a:pt x="1394" y="2739"/>
                  </a:lnTo>
                  <a:cubicBezTo>
                    <a:pt x="1347" y="2725"/>
                    <a:pt x="1299" y="2718"/>
                    <a:pt x="1252" y="2718"/>
                  </a:cubicBezTo>
                  <a:cubicBezTo>
                    <a:pt x="1097" y="2718"/>
                    <a:pt x="949" y="2792"/>
                    <a:pt x="858" y="2929"/>
                  </a:cubicBezTo>
                  <a:cubicBezTo>
                    <a:pt x="763" y="3072"/>
                    <a:pt x="739" y="3263"/>
                    <a:pt x="834" y="3429"/>
                  </a:cubicBezTo>
                  <a:cubicBezTo>
                    <a:pt x="882" y="3525"/>
                    <a:pt x="965" y="3596"/>
                    <a:pt x="1060" y="3656"/>
                  </a:cubicBezTo>
                  <a:lnTo>
                    <a:pt x="1536" y="3894"/>
                  </a:lnTo>
                  <a:cubicBezTo>
                    <a:pt x="1620" y="3941"/>
                    <a:pt x="1667" y="4037"/>
                    <a:pt x="1620" y="4144"/>
                  </a:cubicBezTo>
                  <a:cubicBezTo>
                    <a:pt x="1477" y="4501"/>
                    <a:pt x="1084" y="5144"/>
                    <a:pt x="143" y="5370"/>
                  </a:cubicBezTo>
                  <a:cubicBezTo>
                    <a:pt x="60" y="5382"/>
                    <a:pt x="1" y="5477"/>
                    <a:pt x="12" y="5561"/>
                  </a:cubicBezTo>
                  <a:cubicBezTo>
                    <a:pt x="12" y="5596"/>
                    <a:pt x="120" y="6168"/>
                    <a:pt x="1024" y="6215"/>
                  </a:cubicBezTo>
                  <a:cubicBezTo>
                    <a:pt x="1072" y="6382"/>
                    <a:pt x="1132" y="6585"/>
                    <a:pt x="1203" y="6668"/>
                  </a:cubicBezTo>
                  <a:cubicBezTo>
                    <a:pt x="1238" y="6703"/>
                    <a:pt x="1292" y="6725"/>
                    <a:pt x="1342" y="6725"/>
                  </a:cubicBezTo>
                  <a:cubicBezTo>
                    <a:pt x="1360" y="6725"/>
                    <a:pt x="1378" y="6722"/>
                    <a:pt x="1394" y="6716"/>
                  </a:cubicBezTo>
                  <a:cubicBezTo>
                    <a:pt x="1394" y="6716"/>
                    <a:pt x="1676" y="6624"/>
                    <a:pt x="1983" y="6624"/>
                  </a:cubicBezTo>
                  <a:cubicBezTo>
                    <a:pt x="2060" y="6624"/>
                    <a:pt x="2139" y="6630"/>
                    <a:pt x="2215" y="6644"/>
                  </a:cubicBezTo>
                  <a:cubicBezTo>
                    <a:pt x="2215" y="6644"/>
                    <a:pt x="2679" y="6739"/>
                    <a:pt x="2953" y="7013"/>
                  </a:cubicBezTo>
                  <a:cubicBezTo>
                    <a:pt x="3096" y="7156"/>
                    <a:pt x="3251" y="7239"/>
                    <a:pt x="3441" y="7287"/>
                  </a:cubicBezTo>
                  <a:cubicBezTo>
                    <a:pt x="3537" y="7311"/>
                    <a:pt x="3656" y="7335"/>
                    <a:pt x="3763" y="7335"/>
                  </a:cubicBezTo>
                  <a:cubicBezTo>
                    <a:pt x="3870" y="7335"/>
                    <a:pt x="3989" y="7311"/>
                    <a:pt x="4096" y="7287"/>
                  </a:cubicBezTo>
                  <a:cubicBezTo>
                    <a:pt x="4275" y="7239"/>
                    <a:pt x="4430" y="7156"/>
                    <a:pt x="4573" y="7013"/>
                  </a:cubicBezTo>
                  <a:cubicBezTo>
                    <a:pt x="4846" y="6739"/>
                    <a:pt x="5311" y="6644"/>
                    <a:pt x="5311" y="6644"/>
                  </a:cubicBezTo>
                  <a:cubicBezTo>
                    <a:pt x="5389" y="6630"/>
                    <a:pt x="5469" y="6624"/>
                    <a:pt x="5547" y="6624"/>
                  </a:cubicBezTo>
                  <a:cubicBezTo>
                    <a:pt x="5858" y="6624"/>
                    <a:pt x="6132" y="6716"/>
                    <a:pt x="6132" y="6716"/>
                  </a:cubicBezTo>
                  <a:cubicBezTo>
                    <a:pt x="6153" y="6726"/>
                    <a:pt x="6173" y="6730"/>
                    <a:pt x="6192" y="6730"/>
                  </a:cubicBezTo>
                  <a:cubicBezTo>
                    <a:pt x="6242" y="6730"/>
                    <a:pt x="6289" y="6702"/>
                    <a:pt x="6323" y="6668"/>
                  </a:cubicBezTo>
                  <a:cubicBezTo>
                    <a:pt x="6394" y="6573"/>
                    <a:pt x="6454" y="6370"/>
                    <a:pt x="6501" y="6215"/>
                  </a:cubicBezTo>
                  <a:cubicBezTo>
                    <a:pt x="7394" y="6168"/>
                    <a:pt x="7501" y="5584"/>
                    <a:pt x="7513" y="5561"/>
                  </a:cubicBezTo>
                  <a:cubicBezTo>
                    <a:pt x="7668" y="5501"/>
                    <a:pt x="7609" y="5430"/>
                    <a:pt x="7513" y="5394"/>
                  </a:cubicBezTo>
                  <a:cubicBezTo>
                    <a:pt x="6573" y="5180"/>
                    <a:pt x="6192" y="4537"/>
                    <a:pt x="6037" y="4180"/>
                  </a:cubicBezTo>
                  <a:cubicBezTo>
                    <a:pt x="6001" y="4084"/>
                    <a:pt x="6037" y="3965"/>
                    <a:pt x="6132" y="3929"/>
                  </a:cubicBezTo>
                  <a:lnTo>
                    <a:pt x="6609" y="3691"/>
                  </a:lnTo>
                  <a:cubicBezTo>
                    <a:pt x="6692" y="3644"/>
                    <a:pt x="6787" y="3572"/>
                    <a:pt x="6823" y="3465"/>
                  </a:cubicBezTo>
                  <a:cubicBezTo>
                    <a:pt x="6918" y="3298"/>
                    <a:pt x="6906" y="3108"/>
                    <a:pt x="6799" y="2953"/>
                  </a:cubicBezTo>
                  <a:cubicBezTo>
                    <a:pt x="6708" y="2816"/>
                    <a:pt x="6553" y="2742"/>
                    <a:pt x="6400" y="2742"/>
                  </a:cubicBezTo>
                  <a:cubicBezTo>
                    <a:pt x="6354" y="2742"/>
                    <a:pt x="6307" y="2749"/>
                    <a:pt x="6263" y="2763"/>
                  </a:cubicBezTo>
                  <a:lnTo>
                    <a:pt x="5906" y="2870"/>
                  </a:lnTo>
                  <a:lnTo>
                    <a:pt x="5906" y="2322"/>
                  </a:lnTo>
                  <a:cubicBezTo>
                    <a:pt x="5906" y="2215"/>
                    <a:pt x="5835" y="2144"/>
                    <a:pt x="5727" y="2144"/>
                  </a:cubicBezTo>
                  <a:cubicBezTo>
                    <a:pt x="5620" y="2144"/>
                    <a:pt x="5549" y="2215"/>
                    <a:pt x="5549" y="2322"/>
                  </a:cubicBezTo>
                  <a:lnTo>
                    <a:pt x="5549" y="3108"/>
                  </a:lnTo>
                  <a:cubicBezTo>
                    <a:pt x="5549" y="3144"/>
                    <a:pt x="5561" y="3179"/>
                    <a:pt x="5573" y="3215"/>
                  </a:cubicBezTo>
                  <a:cubicBezTo>
                    <a:pt x="5612" y="3265"/>
                    <a:pt x="5669" y="3290"/>
                    <a:pt x="5734" y="3290"/>
                  </a:cubicBezTo>
                  <a:cubicBezTo>
                    <a:pt x="5748" y="3290"/>
                    <a:pt x="5761" y="3289"/>
                    <a:pt x="5775" y="3287"/>
                  </a:cubicBezTo>
                  <a:lnTo>
                    <a:pt x="6347" y="3120"/>
                  </a:lnTo>
                  <a:cubicBezTo>
                    <a:pt x="6363" y="3117"/>
                    <a:pt x="6379" y="3116"/>
                    <a:pt x="6393" y="3116"/>
                  </a:cubicBezTo>
                  <a:cubicBezTo>
                    <a:pt x="6440" y="3116"/>
                    <a:pt x="6474" y="3131"/>
                    <a:pt x="6501" y="3167"/>
                  </a:cubicBezTo>
                  <a:cubicBezTo>
                    <a:pt x="6525" y="3203"/>
                    <a:pt x="6525" y="3251"/>
                    <a:pt x="6513" y="3275"/>
                  </a:cubicBezTo>
                  <a:cubicBezTo>
                    <a:pt x="6513" y="3298"/>
                    <a:pt x="6489" y="3334"/>
                    <a:pt x="6442" y="3358"/>
                  </a:cubicBezTo>
                  <a:lnTo>
                    <a:pt x="5954" y="3596"/>
                  </a:lnTo>
                  <a:cubicBezTo>
                    <a:pt x="5692" y="3727"/>
                    <a:pt x="5573" y="4025"/>
                    <a:pt x="5680" y="4299"/>
                  </a:cubicBezTo>
                  <a:cubicBezTo>
                    <a:pt x="5847" y="4680"/>
                    <a:pt x="6251" y="5358"/>
                    <a:pt x="7168" y="5668"/>
                  </a:cubicBezTo>
                  <a:cubicBezTo>
                    <a:pt x="7092" y="5766"/>
                    <a:pt x="6907" y="5873"/>
                    <a:pt x="6558" y="5873"/>
                  </a:cubicBezTo>
                  <a:cubicBezTo>
                    <a:pt x="6525" y="5873"/>
                    <a:pt x="6490" y="5872"/>
                    <a:pt x="6454" y="5870"/>
                  </a:cubicBezTo>
                  <a:cubicBezTo>
                    <a:pt x="6370" y="5870"/>
                    <a:pt x="6311" y="5930"/>
                    <a:pt x="6275" y="6013"/>
                  </a:cubicBezTo>
                  <a:cubicBezTo>
                    <a:pt x="6251" y="6132"/>
                    <a:pt x="6204" y="6263"/>
                    <a:pt x="6168" y="6346"/>
                  </a:cubicBezTo>
                  <a:cubicBezTo>
                    <a:pt x="6036" y="6322"/>
                    <a:pt x="5841" y="6285"/>
                    <a:pt x="5618" y="6285"/>
                  </a:cubicBezTo>
                  <a:cubicBezTo>
                    <a:pt x="5520" y="6285"/>
                    <a:pt x="5416" y="6292"/>
                    <a:pt x="5311" y="6311"/>
                  </a:cubicBezTo>
                  <a:cubicBezTo>
                    <a:pt x="5275" y="6311"/>
                    <a:pt x="4739" y="6430"/>
                    <a:pt x="4370" y="6787"/>
                  </a:cubicBezTo>
                  <a:cubicBezTo>
                    <a:pt x="4287" y="6870"/>
                    <a:pt x="4180" y="6930"/>
                    <a:pt x="4061" y="6966"/>
                  </a:cubicBezTo>
                  <a:cubicBezTo>
                    <a:pt x="3989" y="6977"/>
                    <a:pt x="3894" y="6989"/>
                    <a:pt x="3822" y="6989"/>
                  </a:cubicBezTo>
                  <a:cubicBezTo>
                    <a:pt x="3751" y="6989"/>
                    <a:pt x="3656" y="6977"/>
                    <a:pt x="3584" y="6966"/>
                  </a:cubicBezTo>
                  <a:cubicBezTo>
                    <a:pt x="3477" y="6930"/>
                    <a:pt x="3358" y="6870"/>
                    <a:pt x="3275" y="6787"/>
                  </a:cubicBezTo>
                  <a:cubicBezTo>
                    <a:pt x="2918" y="6430"/>
                    <a:pt x="2370" y="6323"/>
                    <a:pt x="2334" y="6311"/>
                  </a:cubicBezTo>
                  <a:cubicBezTo>
                    <a:pt x="2236" y="6292"/>
                    <a:pt x="2135" y="6285"/>
                    <a:pt x="2038" y="6285"/>
                  </a:cubicBezTo>
                  <a:cubicBezTo>
                    <a:pt x="1817" y="6285"/>
                    <a:pt x="1613" y="6322"/>
                    <a:pt x="1489" y="6346"/>
                  </a:cubicBezTo>
                  <a:cubicBezTo>
                    <a:pt x="1453" y="6263"/>
                    <a:pt x="1417" y="6132"/>
                    <a:pt x="1382" y="6013"/>
                  </a:cubicBezTo>
                  <a:cubicBezTo>
                    <a:pt x="1370" y="5930"/>
                    <a:pt x="1298" y="5870"/>
                    <a:pt x="1203" y="5870"/>
                  </a:cubicBezTo>
                  <a:cubicBezTo>
                    <a:pt x="786" y="5870"/>
                    <a:pt x="596" y="5751"/>
                    <a:pt x="489" y="5656"/>
                  </a:cubicBezTo>
                  <a:cubicBezTo>
                    <a:pt x="1429" y="5358"/>
                    <a:pt x="1834" y="4680"/>
                    <a:pt x="1977" y="4287"/>
                  </a:cubicBezTo>
                  <a:cubicBezTo>
                    <a:pt x="2084" y="4013"/>
                    <a:pt x="1977" y="3703"/>
                    <a:pt x="1715" y="3584"/>
                  </a:cubicBezTo>
                  <a:lnTo>
                    <a:pt x="1215" y="3346"/>
                  </a:lnTo>
                  <a:cubicBezTo>
                    <a:pt x="1179" y="3310"/>
                    <a:pt x="1155" y="3287"/>
                    <a:pt x="1144" y="3251"/>
                  </a:cubicBezTo>
                  <a:cubicBezTo>
                    <a:pt x="1144" y="3227"/>
                    <a:pt x="1132" y="3191"/>
                    <a:pt x="1155" y="3144"/>
                  </a:cubicBezTo>
                  <a:cubicBezTo>
                    <a:pt x="1181" y="3118"/>
                    <a:pt x="1218" y="3093"/>
                    <a:pt x="1259" y="3093"/>
                  </a:cubicBezTo>
                  <a:cubicBezTo>
                    <a:pt x="1275" y="3093"/>
                    <a:pt x="1293" y="3097"/>
                    <a:pt x="1310" y="3108"/>
                  </a:cubicBezTo>
                  <a:lnTo>
                    <a:pt x="1894" y="3275"/>
                  </a:lnTo>
                  <a:cubicBezTo>
                    <a:pt x="1908" y="3277"/>
                    <a:pt x="1923" y="3279"/>
                    <a:pt x="1938" y="3279"/>
                  </a:cubicBezTo>
                  <a:cubicBezTo>
                    <a:pt x="1994" y="3279"/>
                    <a:pt x="2046" y="3257"/>
                    <a:pt x="2084" y="3191"/>
                  </a:cubicBezTo>
                  <a:cubicBezTo>
                    <a:pt x="2096" y="3167"/>
                    <a:pt x="2108" y="3120"/>
                    <a:pt x="2108" y="3096"/>
                  </a:cubicBezTo>
                  <a:lnTo>
                    <a:pt x="2108" y="1917"/>
                  </a:lnTo>
                  <a:cubicBezTo>
                    <a:pt x="2191" y="596"/>
                    <a:pt x="3299" y="381"/>
                    <a:pt x="3799" y="346"/>
                  </a:cubicBezTo>
                  <a:cubicBezTo>
                    <a:pt x="4227" y="381"/>
                    <a:pt x="5132" y="548"/>
                    <a:pt x="5406" y="1465"/>
                  </a:cubicBezTo>
                  <a:cubicBezTo>
                    <a:pt x="5418" y="1548"/>
                    <a:pt x="5489" y="1608"/>
                    <a:pt x="5561" y="1608"/>
                  </a:cubicBezTo>
                  <a:cubicBezTo>
                    <a:pt x="5680" y="1608"/>
                    <a:pt x="5775" y="1489"/>
                    <a:pt x="5727" y="1382"/>
                  </a:cubicBezTo>
                  <a:cubicBezTo>
                    <a:pt x="5406" y="191"/>
                    <a:pt x="4192" y="24"/>
                    <a:pt x="3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9" name="Google Shape;13279;p64"/>
          <p:cNvGrpSpPr/>
          <p:nvPr/>
        </p:nvGrpSpPr>
        <p:grpSpPr>
          <a:xfrm>
            <a:off x="5583569" y="3351230"/>
            <a:ext cx="357419" cy="357005"/>
            <a:chOff x="5583569" y="3351230"/>
            <a:chExt cx="357419" cy="357005"/>
          </a:xfrm>
        </p:grpSpPr>
        <p:sp>
          <p:nvSpPr>
            <p:cNvPr id="13280" name="Google Shape;13280;p64"/>
            <p:cNvSpPr/>
            <p:nvPr/>
          </p:nvSpPr>
          <p:spPr>
            <a:xfrm>
              <a:off x="5583569" y="3351230"/>
              <a:ext cx="357419" cy="357005"/>
            </a:xfrm>
            <a:custGeom>
              <a:avLst/>
              <a:gdLst/>
              <a:ahLst/>
              <a:cxnLst/>
              <a:rect l="l" t="t" r="r" b="b"/>
              <a:pathLst>
                <a:path w="11229" h="11216" extrusionOk="0">
                  <a:moveTo>
                    <a:pt x="5620" y="357"/>
                  </a:moveTo>
                  <a:cubicBezTo>
                    <a:pt x="8514" y="357"/>
                    <a:pt x="10871" y="2703"/>
                    <a:pt x="10871" y="5608"/>
                  </a:cubicBezTo>
                  <a:cubicBezTo>
                    <a:pt x="10871" y="8513"/>
                    <a:pt x="8514" y="10859"/>
                    <a:pt x="5620" y="10859"/>
                  </a:cubicBezTo>
                  <a:cubicBezTo>
                    <a:pt x="2715" y="10859"/>
                    <a:pt x="370" y="8513"/>
                    <a:pt x="370" y="5608"/>
                  </a:cubicBezTo>
                  <a:cubicBezTo>
                    <a:pt x="370" y="2703"/>
                    <a:pt x="2715" y="357"/>
                    <a:pt x="5620" y="357"/>
                  </a:cubicBezTo>
                  <a:close/>
                  <a:moveTo>
                    <a:pt x="5620" y="0"/>
                  </a:moveTo>
                  <a:cubicBezTo>
                    <a:pt x="4108" y="0"/>
                    <a:pt x="2715" y="572"/>
                    <a:pt x="1644" y="1631"/>
                  </a:cubicBezTo>
                  <a:cubicBezTo>
                    <a:pt x="584" y="2691"/>
                    <a:pt x="1" y="4108"/>
                    <a:pt x="1" y="5608"/>
                  </a:cubicBezTo>
                  <a:cubicBezTo>
                    <a:pt x="1" y="7108"/>
                    <a:pt x="584" y="8513"/>
                    <a:pt x="1644" y="9585"/>
                  </a:cubicBezTo>
                  <a:cubicBezTo>
                    <a:pt x="2703" y="10632"/>
                    <a:pt x="4108" y="11216"/>
                    <a:pt x="5620" y="11216"/>
                  </a:cubicBezTo>
                  <a:cubicBezTo>
                    <a:pt x="7121" y="11216"/>
                    <a:pt x="8514" y="10632"/>
                    <a:pt x="9597" y="9585"/>
                  </a:cubicBezTo>
                  <a:cubicBezTo>
                    <a:pt x="10669" y="8525"/>
                    <a:pt x="11228" y="7108"/>
                    <a:pt x="11228" y="5608"/>
                  </a:cubicBezTo>
                  <a:cubicBezTo>
                    <a:pt x="11228" y="4108"/>
                    <a:pt x="10645" y="2703"/>
                    <a:pt x="9597" y="1631"/>
                  </a:cubicBezTo>
                  <a:cubicBezTo>
                    <a:pt x="8537" y="572"/>
                    <a:pt x="7121" y="0"/>
                    <a:pt x="5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1" name="Google Shape;13281;p64"/>
            <p:cNvSpPr/>
            <p:nvPr/>
          </p:nvSpPr>
          <p:spPr>
            <a:xfrm>
              <a:off x="5658625" y="3403527"/>
              <a:ext cx="172073" cy="243690"/>
            </a:xfrm>
            <a:custGeom>
              <a:avLst/>
              <a:gdLst/>
              <a:ahLst/>
              <a:cxnLst/>
              <a:rect l="l" t="t" r="r" b="b"/>
              <a:pathLst>
                <a:path w="5406" h="7656" extrusionOk="0">
                  <a:moveTo>
                    <a:pt x="1834" y="0"/>
                  </a:moveTo>
                  <a:cubicBezTo>
                    <a:pt x="1727" y="0"/>
                    <a:pt x="1655" y="72"/>
                    <a:pt x="1655" y="179"/>
                  </a:cubicBezTo>
                  <a:cubicBezTo>
                    <a:pt x="1655" y="1000"/>
                    <a:pt x="988" y="1655"/>
                    <a:pt x="179" y="1655"/>
                  </a:cubicBezTo>
                  <a:cubicBezTo>
                    <a:pt x="72" y="1655"/>
                    <a:pt x="0" y="1727"/>
                    <a:pt x="0" y="1834"/>
                  </a:cubicBezTo>
                  <a:lnTo>
                    <a:pt x="0" y="3489"/>
                  </a:lnTo>
                  <a:cubicBezTo>
                    <a:pt x="0" y="3596"/>
                    <a:pt x="72" y="3667"/>
                    <a:pt x="179" y="3667"/>
                  </a:cubicBezTo>
                  <a:lnTo>
                    <a:pt x="1655" y="3667"/>
                  </a:lnTo>
                  <a:lnTo>
                    <a:pt x="1655" y="4453"/>
                  </a:lnTo>
                  <a:cubicBezTo>
                    <a:pt x="1655" y="4560"/>
                    <a:pt x="1727" y="4632"/>
                    <a:pt x="1834" y="4632"/>
                  </a:cubicBezTo>
                  <a:cubicBezTo>
                    <a:pt x="1941" y="4632"/>
                    <a:pt x="2012" y="4560"/>
                    <a:pt x="2012" y="4453"/>
                  </a:cubicBezTo>
                  <a:lnTo>
                    <a:pt x="2012" y="3489"/>
                  </a:lnTo>
                  <a:cubicBezTo>
                    <a:pt x="2012" y="3382"/>
                    <a:pt x="1941" y="3310"/>
                    <a:pt x="1834" y="3310"/>
                  </a:cubicBezTo>
                  <a:lnTo>
                    <a:pt x="357" y="3310"/>
                  </a:lnTo>
                  <a:lnTo>
                    <a:pt x="357" y="2000"/>
                  </a:lnTo>
                  <a:cubicBezTo>
                    <a:pt x="1215" y="1905"/>
                    <a:pt x="1917" y="1226"/>
                    <a:pt x="2012" y="345"/>
                  </a:cubicBezTo>
                  <a:lnTo>
                    <a:pt x="3084" y="345"/>
                  </a:lnTo>
                  <a:lnTo>
                    <a:pt x="3084" y="1822"/>
                  </a:lnTo>
                  <a:cubicBezTo>
                    <a:pt x="3084" y="1929"/>
                    <a:pt x="3155" y="2000"/>
                    <a:pt x="3262" y="2000"/>
                  </a:cubicBezTo>
                  <a:lnTo>
                    <a:pt x="4739" y="2000"/>
                  </a:lnTo>
                  <a:lnTo>
                    <a:pt x="4739" y="3298"/>
                  </a:lnTo>
                  <a:lnTo>
                    <a:pt x="3262" y="3298"/>
                  </a:lnTo>
                  <a:cubicBezTo>
                    <a:pt x="3155" y="3298"/>
                    <a:pt x="3084" y="3370"/>
                    <a:pt x="3084" y="3477"/>
                  </a:cubicBezTo>
                  <a:lnTo>
                    <a:pt x="3084" y="5584"/>
                  </a:lnTo>
                  <a:cubicBezTo>
                    <a:pt x="3084" y="5941"/>
                    <a:pt x="3381" y="6251"/>
                    <a:pt x="3739" y="6251"/>
                  </a:cubicBezTo>
                  <a:cubicBezTo>
                    <a:pt x="3965" y="6251"/>
                    <a:pt x="4155" y="6132"/>
                    <a:pt x="4274" y="5953"/>
                  </a:cubicBezTo>
                  <a:lnTo>
                    <a:pt x="4965" y="6775"/>
                  </a:lnTo>
                  <a:cubicBezTo>
                    <a:pt x="4644" y="7120"/>
                    <a:pt x="4191" y="7311"/>
                    <a:pt x="3703" y="7311"/>
                  </a:cubicBezTo>
                  <a:cubicBezTo>
                    <a:pt x="2774" y="7299"/>
                    <a:pt x="2012" y="6525"/>
                    <a:pt x="2012" y="5572"/>
                  </a:cubicBezTo>
                  <a:lnTo>
                    <a:pt x="2012" y="5287"/>
                  </a:lnTo>
                  <a:cubicBezTo>
                    <a:pt x="2012" y="5179"/>
                    <a:pt x="1929" y="5108"/>
                    <a:pt x="1834" y="5108"/>
                  </a:cubicBezTo>
                  <a:cubicBezTo>
                    <a:pt x="1727" y="5108"/>
                    <a:pt x="1655" y="5179"/>
                    <a:pt x="1655" y="5287"/>
                  </a:cubicBezTo>
                  <a:lnTo>
                    <a:pt x="1655" y="5560"/>
                  </a:lnTo>
                  <a:cubicBezTo>
                    <a:pt x="1655" y="6703"/>
                    <a:pt x="2584" y="7656"/>
                    <a:pt x="3739" y="7656"/>
                  </a:cubicBezTo>
                  <a:cubicBezTo>
                    <a:pt x="4358" y="7656"/>
                    <a:pt x="4941" y="7370"/>
                    <a:pt x="5322" y="6882"/>
                  </a:cubicBezTo>
                  <a:cubicBezTo>
                    <a:pt x="5406" y="6834"/>
                    <a:pt x="5406" y="6751"/>
                    <a:pt x="5346" y="6691"/>
                  </a:cubicBezTo>
                  <a:lnTo>
                    <a:pt x="4489" y="5691"/>
                  </a:lnTo>
                  <a:cubicBezTo>
                    <a:pt x="4435" y="5627"/>
                    <a:pt x="4353" y="5582"/>
                    <a:pt x="4260" y="5582"/>
                  </a:cubicBezTo>
                  <a:cubicBezTo>
                    <a:pt x="4249" y="5582"/>
                    <a:pt x="4238" y="5583"/>
                    <a:pt x="4227" y="5584"/>
                  </a:cubicBezTo>
                  <a:cubicBezTo>
                    <a:pt x="4120" y="5596"/>
                    <a:pt x="4036" y="5656"/>
                    <a:pt x="3989" y="5751"/>
                  </a:cubicBezTo>
                  <a:cubicBezTo>
                    <a:pt x="3941" y="5834"/>
                    <a:pt x="3858" y="5894"/>
                    <a:pt x="3751" y="5918"/>
                  </a:cubicBezTo>
                  <a:cubicBezTo>
                    <a:pt x="3743" y="5918"/>
                    <a:pt x="3736" y="5918"/>
                    <a:pt x="3728" y="5918"/>
                  </a:cubicBezTo>
                  <a:cubicBezTo>
                    <a:pt x="3560" y="5918"/>
                    <a:pt x="3429" y="5791"/>
                    <a:pt x="3429" y="5620"/>
                  </a:cubicBezTo>
                  <a:lnTo>
                    <a:pt x="3429" y="3667"/>
                  </a:lnTo>
                  <a:lnTo>
                    <a:pt x="4894" y="3667"/>
                  </a:lnTo>
                  <a:cubicBezTo>
                    <a:pt x="5001" y="3667"/>
                    <a:pt x="5072" y="3596"/>
                    <a:pt x="5072" y="3489"/>
                  </a:cubicBezTo>
                  <a:lnTo>
                    <a:pt x="5072" y="1834"/>
                  </a:lnTo>
                  <a:cubicBezTo>
                    <a:pt x="5072" y="1727"/>
                    <a:pt x="5001" y="1655"/>
                    <a:pt x="4894" y="1655"/>
                  </a:cubicBezTo>
                  <a:lnTo>
                    <a:pt x="3429" y="1655"/>
                  </a:lnTo>
                  <a:lnTo>
                    <a:pt x="3429" y="179"/>
                  </a:lnTo>
                  <a:cubicBezTo>
                    <a:pt x="3429" y="72"/>
                    <a:pt x="3346" y="0"/>
                    <a:pt x="3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82" name="Google Shape;13282;p64"/>
          <p:cNvGrpSpPr/>
          <p:nvPr/>
        </p:nvGrpSpPr>
        <p:grpSpPr>
          <a:xfrm>
            <a:off x="7482229" y="3351230"/>
            <a:ext cx="357419" cy="357005"/>
            <a:chOff x="7482229" y="3351230"/>
            <a:chExt cx="357419" cy="357005"/>
          </a:xfrm>
        </p:grpSpPr>
        <p:sp>
          <p:nvSpPr>
            <p:cNvPr id="13283" name="Google Shape;13283;p64"/>
            <p:cNvSpPr/>
            <p:nvPr/>
          </p:nvSpPr>
          <p:spPr>
            <a:xfrm>
              <a:off x="7482229" y="3351230"/>
              <a:ext cx="357419" cy="357005"/>
            </a:xfrm>
            <a:custGeom>
              <a:avLst/>
              <a:gdLst/>
              <a:ahLst/>
              <a:cxnLst/>
              <a:rect l="l" t="t" r="r" b="b"/>
              <a:pathLst>
                <a:path w="11229" h="11216" extrusionOk="0">
                  <a:moveTo>
                    <a:pt x="5633" y="357"/>
                  </a:moveTo>
                  <a:cubicBezTo>
                    <a:pt x="8538" y="357"/>
                    <a:pt x="10883" y="2703"/>
                    <a:pt x="10883" y="5608"/>
                  </a:cubicBezTo>
                  <a:cubicBezTo>
                    <a:pt x="10883" y="8513"/>
                    <a:pt x="8538" y="10859"/>
                    <a:pt x="5633" y="10859"/>
                  </a:cubicBezTo>
                  <a:cubicBezTo>
                    <a:pt x="2728" y="10859"/>
                    <a:pt x="382" y="8513"/>
                    <a:pt x="382" y="5608"/>
                  </a:cubicBezTo>
                  <a:cubicBezTo>
                    <a:pt x="382" y="2703"/>
                    <a:pt x="2728" y="357"/>
                    <a:pt x="5633" y="357"/>
                  </a:cubicBezTo>
                  <a:close/>
                  <a:moveTo>
                    <a:pt x="5621" y="0"/>
                  </a:moveTo>
                  <a:cubicBezTo>
                    <a:pt x="4109" y="0"/>
                    <a:pt x="2716" y="572"/>
                    <a:pt x="1644" y="1631"/>
                  </a:cubicBezTo>
                  <a:cubicBezTo>
                    <a:pt x="584" y="2691"/>
                    <a:pt x="1" y="4108"/>
                    <a:pt x="1" y="5608"/>
                  </a:cubicBezTo>
                  <a:cubicBezTo>
                    <a:pt x="1" y="7108"/>
                    <a:pt x="584" y="8513"/>
                    <a:pt x="1644" y="9585"/>
                  </a:cubicBezTo>
                  <a:cubicBezTo>
                    <a:pt x="2704" y="10632"/>
                    <a:pt x="4109" y="11216"/>
                    <a:pt x="5621" y="11216"/>
                  </a:cubicBezTo>
                  <a:cubicBezTo>
                    <a:pt x="7121" y="11216"/>
                    <a:pt x="8526" y="10632"/>
                    <a:pt x="9597" y="9585"/>
                  </a:cubicBezTo>
                  <a:cubicBezTo>
                    <a:pt x="10645" y="8525"/>
                    <a:pt x="11229" y="7108"/>
                    <a:pt x="11229" y="5608"/>
                  </a:cubicBezTo>
                  <a:cubicBezTo>
                    <a:pt x="11229" y="4108"/>
                    <a:pt x="10669" y="2703"/>
                    <a:pt x="9597" y="1631"/>
                  </a:cubicBezTo>
                  <a:cubicBezTo>
                    <a:pt x="8538" y="572"/>
                    <a:pt x="7121" y="0"/>
                    <a:pt x="56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4" name="Google Shape;13284;p64"/>
            <p:cNvSpPr/>
            <p:nvPr/>
          </p:nvSpPr>
          <p:spPr>
            <a:xfrm>
              <a:off x="7592138" y="3605616"/>
              <a:ext cx="137983" cy="32530"/>
            </a:xfrm>
            <a:custGeom>
              <a:avLst/>
              <a:gdLst/>
              <a:ahLst/>
              <a:cxnLst/>
              <a:rect l="l" t="t" r="r" b="b"/>
              <a:pathLst>
                <a:path w="4335" h="1022" extrusionOk="0">
                  <a:moveTo>
                    <a:pt x="202" y="1"/>
                  </a:moveTo>
                  <a:cubicBezTo>
                    <a:pt x="147" y="1"/>
                    <a:pt x="94" y="21"/>
                    <a:pt x="60" y="69"/>
                  </a:cubicBezTo>
                  <a:cubicBezTo>
                    <a:pt x="1" y="140"/>
                    <a:pt x="1" y="259"/>
                    <a:pt x="96" y="319"/>
                  </a:cubicBezTo>
                  <a:cubicBezTo>
                    <a:pt x="644" y="783"/>
                    <a:pt x="1370" y="1021"/>
                    <a:pt x="2168" y="1021"/>
                  </a:cubicBezTo>
                  <a:cubicBezTo>
                    <a:pt x="2954" y="1021"/>
                    <a:pt x="3680" y="771"/>
                    <a:pt x="4239" y="319"/>
                  </a:cubicBezTo>
                  <a:cubicBezTo>
                    <a:pt x="4323" y="259"/>
                    <a:pt x="4335" y="140"/>
                    <a:pt x="4263" y="69"/>
                  </a:cubicBezTo>
                  <a:cubicBezTo>
                    <a:pt x="4228" y="26"/>
                    <a:pt x="4170" y="4"/>
                    <a:pt x="4115" y="4"/>
                  </a:cubicBezTo>
                  <a:cubicBezTo>
                    <a:pt x="4078" y="4"/>
                    <a:pt x="4042" y="14"/>
                    <a:pt x="4013" y="33"/>
                  </a:cubicBezTo>
                  <a:cubicBezTo>
                    <a:pt x="3537" y="438"/>
                    <a:pt x="2882" y="664"/>
                    <a:pt x="2168" y="664"/>
                  </a:cubicBezTo>
                  <a:cubicBezTo>
                    <a:pt x="1465" y="664"/>
                    <a:pt x="810" y="438"/>
                    <a:pt x="322" y="33"/>
                  </a:cubicBezTo>
                  <a:cubicBezTo>
                    <a:pt x="286" y="12"/>
                    <a:pt x="244" y="1"/>
                    <a:pt x="20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5" name="Google Shape;13285;p64"/>
            <p:cNvSpPr/>
            <p:nvPr/>
          </p:nvSpPr>
          <p:spPr>
            <a:xfrm>
              <a:off x="7513709" y="3387962"/>
              <a:ext cx="295987" cy="282014"/>
            </a:xfrm>
            <a:custGeom>
              <a:avLst/>
              <a:gdLst/>
              <a:ahLst/>
              <a:cxnLst/>
              <a:rect l="l" t="t" r="r" b="b"/>
              <a:pathLst>
                <a:path w="9299" h="8860" extrusionOk="0">
                  <a:moveTo>
                    <a:pt x="6060" y="370"/>
                  </a:moveTo>
                  <a:cubicBezTo>
                    <a:pt x="6358" y="370"/>
                    <a:pt x="6596" y="608"/>
                    <a:pt x="6596" y="906"/>
                  </a:cubicBezTo>
                  <a:cubicBezTo>
                    <a:pt x="6596" y="1204"/>
                    <a:pt x="6358" y="1442"/>
                    <a:pt x="6060" y="1442"/>
                  </a:cubicBezTo>
                  <a:cubicBezTo>
                    <a:pt x="5763" y="1442"/>
                    <a:pt x="5525" y="1204"/>
                    <a:pt x="5525" y="906"/>
                  </a:cubicBezTo>
                  <a:cubicBezTo>
                    <a:pt x="5525" y="608"/>
                    <a:pt x="5763" y="370"/>
                    <a:pt x="6060" y="370"/>
                  </a:cubicBezTo>
                  <a:close/>
                  <a:moveTo>
                    <a:pt x="1322" y="2989"/>
                  </a:moveTo>
                  <a:cubicBezTo>
                    <a:pt x="1596" y="2989"/>
                    <a:pt x="1834" y="3097"/>
                    <a:pt x="2012" y="3263"/>
                  </a:cubicBezTo>
                  <a:cubicBezTo>
                    <a:pt x="1477" y="3680"/>
                    <a:pt x="1072" y="4240"/>
                    <a:pt x="881" y="4883"/>
                  </a:cubicBezTo>
                  <a:cubicBezTo>
                    <a:pt x="548" y="4716"/>
                    <a:pt x="334" y="4359"/>
                    <a:pt x="334" y="3990"/>
                  </a:cubicBezTo>
                  <a:cubicBezTo>
                    <a:pt x="334" y="3442"/>
                    <a:pt x="774" y="2989"/>
                    <a:pt x="1322" y="2989"/>
                  </a:cubicBezTo>
                  <a:close/>
                  <a:moveTo>
                    <a:pt x="7954" y="2989"/>
                  </a:moveTo>
                  <a:cubicBezTo>
                    <a:pt x="8501" y="2989"/>
                    <a:pt x="8942" y="3442"/>
                    <a:pt x="8942" y="3990"/>
                  </a:cubicBezTo>
                  <a:cubicBezTo>
                    <a:pt x="8966" y="4359"/>
                    <a:pt x="8739" y="4704"/>
                    <a:pt x="8394" y="4883"/>
                  </a:cubicBezTo>
                  <a:cubicBezTo>
                    <a:pt x="8216" y="4240"/>
                    <a:pt x="7811" y="3680"/>
                    <a:pt x="7263" y="3263"/>
                  </a:cubicBezTo>
                  <a:cubicBezTo>
                    <a:pt x="7442" y="3085"/>
                    <a:pt x="7692" y="2989"/>
                    <a:pt x="7954" y="2989"/>
                  </a:cubicBezTo>
                  <a:close/>
                  <a:moveTo>
                    <a:pt x="6072" y="1"/>
                  </a:moveTo>
                  <a:cubicBezTo>
                    <a:pt x="5632" y="1"/>
                    <a:pt x="5251" y="334"/>
                    <a:pt x="5191" y="763"/>
                  </a:cubicBezTo>
                  <a:lnTo>
                    <a:pt x="4596" y="953"/>
                  </a:lnTo>
                  <a:cubicBezTo>
                    <a:pt x="4525" y="989"/>
                    <a:pt x="4477" y="1049"/>
                    <a:pt x="4477" y="1120"/>
                  </a:cubicBezTo>
                  <a:lnTo>
                    <a:pt x="4477" y="2370"/>
                  </a:lnTo>
                  <a:cubicBezTo>
                    <a:pt x="3679" y="2394"/>
                    <a:pt x="2929" y="2632"/>
                    <a:pt x="2334" y="3025"/>
                  </a:cubicBezTo>
                  <a:cubicBezTo>
                    <a:pt x="2084" y="2751"/>
                    <a:pt x="1727" y="2608"/>
                    <a:pt x="1358" y="2608"/>
                  </a:cubicBezTo>
                  <a:cubicBezTo>
                    <a:pt x="607" y="2608"/>
                    <a:pt x="0" y="3216"/>
                    <a:pt x="0" y="3966"/>
                  </a:cubicBezTo>
                  <a:cubicBezTo>
                    <a:pt x="0" y="4513"/>
                    <a:pt x="345" y="5002"/>
                    <a:pt x="834" y="5216"/>
                  </a:cubicBezTo>
                  <a:cubicBezTo>
                    <a:pt x="822" y="5347"/>
                    <a:pt x="798" y="5478"/>
                    <a:pt x="798" y="5609"/>
                  </a:cubicBezTo>
                  <a:cubicBezTo>
                    <a:pt x="798" y="7395"/>
                    <a:pt x="2524" y="8859"/>
                    <a:pt x="4667" y="8859"/>
                  </a:cubicBezTo>
                  <a:cubicBezTo>
                    <a:pt x="5763" y="8859"/>
                    <a:pt x="6739" y="8490"/>
                    <a:pt x="7442" y="7871"/>
                  </a:cubicBezTo>
                  <a:cubicBezTo>
                    <a:pt x="7513" y="7811"/>
                    <a:pt x="7513" y="7692"/>
                    <a:pt x="7454" y="7621"/>
                  </a:cubicBezTo>
                  <a:cubicBezTo>
                    <a:pt x="7421" y="7588"/>
                    <a:pt x="7374" y="7570"/>
                    <a:pt x="7326" y="7570"/>
                  </a:cubicBezTo>
                  <a:cubicBezTo>
                    <a:pt x="7287" y="7570"/>
                    <a:pt x="7248" y="7582"/>
                    <a:pt x="7215" y="7609"/>
                  </a:cubicBezTo>
                  <a:cubicBezTo>
                    <a:pt x="6572" y="8157"/>
                    <a:pt x="5668" y="8514"/>
                    <a:pt x="4667" y="8514"/>
                  </a:cubicBezTo>
                  <a:cubicBezTo>
                    <a:pt x="2739" y="8514"/>
                    <a:pt x="1167" y="7216"/>
                    <a:pt x="1167" y="5633"/>
                  </a:cubicBezTo>
                  <a:cubicBezTo>
                    <a:pt x="1167" y="4037"/>
                    <a:pt x="2739" y="2739"/>
                    <a:pt x="4667" y="2739"/>
                  </a:cubicBezTo>
                  <a:cubicBezTo>
                    <a:pt x="6608" y="2739"/>
                    <a:pt x="8180" y="4037"/>
                    <a:pt x="8180" y="5633"/>
                  </a:cubicBezTo>
                  <a:cubicBezTo>
                    <a:pt x="8180" y="6133"/>
                    <a:pt x="8037" y="6597"/>
                    <a:pt x="7751" y="7014"/>
                  </a:cubicBezTo>
                  <a:cubicBezTo>
                    <a:pt x="7704" y="7085"/>
                    <a:pt x="7727" y="7169"/>
                    <a:pt x="7787" y="7228"/>
                  </a:cubicBezTo>
                  <a:cubicBezTo>
                    <a:pt x="7818" y="7264"/>
                    <a:pt x="7859" y="7280"/>
                    <a:pt x="7902" y="7280"/>
                  </a:cubicBezTo>
                  <a:cubicBezTo>
                    <a:pt x="7958" y="7280"/>
                    <a:pt x="8015" y="7252"/>
                    <a:pt x="8049" y="7204"/>
                  </a:cubicBezTo>
                  <a:cubicBezTo>
                    <a:pt x="8358" y="6740"/>
                    <a:pt x="8537" y="6192"/>
                    <a:pt x="8537" y="5621"/>
                  </a:cubicBezTo>
                  <a:cubicBezTo>
                    <a:pt x="8537" y="5490"/>
                    <a:pt x="8525" y="5359"/>
                    <a:pt x="8513" y="5228"/>
                  </a:cubicBezTo>
                  <a:cubicBezTo>
                    <a:pt x="8978" y="5014"/>
                    <a:pt x="9299" y="4525"/>
                    <a:pt x="9299" y="3978"/>
                  </a:cubicBezTo>
                  <a:cubicBezTo>
                    <a:pt x="9299" y="3228"/>
                    <a:pt x="8692" y="2620"/>
                    <a:pt x="7954" y="2620"/>
                  </a:cubicBezTo>
                  <a:cubicBezTo>
                    <a:pt x="7573" y="2620"/>
                    <a:pt x="7215" y="2775"/>
                    <a:pt x="6965" y="3037"/>
                  </a:cubicBezTo>
                  <a:cubicBezTo>
                    <a:pt x="6358" y="2656"/>
                    <a:pt x="5632" y="2406"/>
                    <a:pt x="4822" y="2382"/>
                  </a:cubicBezTo>
                  <a:lnTo>
                    <a:pt x="4822" y="1263"/>
                  </a:lnTo>
                  <a:lnTo>
                    <a:pt x="5215" y="1132"/>
                  </a:lnTo>
                  <a:cubicBezTo>
                    <a:pt x="5303" y="1507"/>
                    <a:pt x="5647" y="1780"/>
                    <a:pt x="6048" y="1780"/>
                  </a:cubicBezTo>
                  <a:cubicBezTo>
                    <a:pt x="6080" y="1780"/>
                    <a:pt x="6112" y="1779"/>
                    <a:pt x="6144" y="1775"/>
                  </a:cubicBezTo>
                  <a:cubicBezTo>
                    <a:pt x="6584" y="1727"/>
                    <a:pt x="6918" y="1382"/>
                    <a:pt x="6953" y="953"/>
                  </a:cubicBezTo>
                  <a:cubicBezTo>
                    <a:pt x="6977" y="430"/>
                    <a:pt x="6584" y="1"/>
                    <a:pt x="6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6" name="Google Shape;13286;p64"/>
            <p:cNvSpPr/>
            <p:nvPr/>
          </p:nvSpPr>
          <p:spPr>
            <a:xfrm>
              <a:off x="7580393" y="3516460"/>
              <a:ext cx="56880" cy="56880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45"/>
                  </a:moveTo>
                  <a:cubicBezTo>
                    <a:pt x="1191" y="345"/>
                    <a:pt x="1429" y="584"/>
                    <a:pt x="1429" y="881"/>
                  </a:cubicBezTo>
                  <a:cubicBezTo>
                    <a:pt x="1418" y="1179"/>
                    <a:pt x="1179" y="1417"/>
                    <a:pt x="894" y="1417"/>
                  </a:cubicBezTo>
                  <a:cubicBezTo>
                    <a:pt x="596" y="1417"/>
                    <a:pt x="358" y="1179"/>
                    <a:pt x="358" y="881"/>
                  </a:cubicBezTo>
                  <a:cubicBezTo>
                    <a:pt x="358" y="584"/>
                    <a:pt x="596" y="345"/>
                    <a:pt x="894" y="345"/>
                  </a:cubicBezTo>
                  <a:close/>
                  <a:moveTo>
                    <a:pt x="894" y="0"/>
                  </a:moveTo>
                  <a:cubicBezTo>
                    <a:pt x="406" y="0"/>
                    <a:pt x="1" y="405"/>
                    <a:pt x="1" y="893"/>
                  </a:cubicBezTo>
                  <a:cubicBezTo>
                    <a:pt x="1" y="1381"/>
                    <a:pt x="406" y="1786"/>
                    <a:pt x="894" y="1786"/>
                  </a:cubicBezTo>
                  <a:cubicBezTo>
                    <a:pt x="1394" y="1786"/>
                    <a:pt x="1787" y="1381"/>
                    <a:pt x="1787" y="893"/>
                  </a:cubicBezTo>
                  <a:cubicBezTo>
                    <a:pt x="1775" y="405"/>
                    <a:pt x="1394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7" name="Google Shape;13287;p64"/>
            <p:cNvSpPr/>
            <p:nvPr/>
          </p:nvSpPr>
          <p:spPr>
            <a:xfrm>
              <a:off x="7685750" y="3516460"/>
              <a:ext cx="56880" cy="56880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45"/>
                  </a:moveTo>
                  <a:cubicBezTo>
                    <a:pt x="1191" y="345"/>
                    <a:pt x="1429" y="584"/>
                    <a:pt x="1429" y="881"/>
                  </a:cubicBezTo>
                  <a:cubicBezTo>
                    <a:pt x="1429" y="1179"/>
                    <a:pt x="1191" y="1417"/>
                    <a:pt x="894" y="1417"/>
                  </a:cubicBezTo>
                  <a:cubicBezTo>
                    <a:pt x="596" y="1417"/>
                    <a:pt x="358" y="1179"/>
                    <a:pt x="358" y="881"/>
                  </a:cubicBezTo>
                  <a:cubicBezTo>
                    <a:pt x="358" y="584"/>
                    <a:pt x="596" y="345"/>
                    <a:pt x="894" y="345"/>
                  </a:cubicBezTo>
                  <a:close/>
                  <a:moveTo>
                    <a:pt x="894" y="0"/>
                  </a:moveTo>
                  <a:cubicBezTo>
                    <a:pt x="405" y="0"/>
                    <a:pt x="1" y="405"/>
                    <a:pt x="1" y="893"/>
                  </a:cubicBezTo>
                  <a:cubicBezTo>
                    <a:pt x="1" y="1381"/>
                    <a:pt x="405" y="1786"/>
                    <a:pt x="894" y="1786"/>
                  </a:cubicBezTo>
                  <a:cubicBezTo>
                    <a:pt x="1382" y="1786"/>
                    <a:pt x="1787" y="1381"/>
                    <a:pt x="1787" y="893"/>
                  </a:cubicBezTo>
                  <a:cubicBezTo>
                    <a:pt x="1775" y="405"/>
                    <a:pt x="1382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88" name="Google Shape;13288;p64"/>
          <p:cNvGrpSpPr/>
          <p:nvPr/>
        </p:nvGrpSpPr>
        <p:grpSpPr>
          <a:xfrm>
            <a:off x="3764485" y="2890682"/>
            <a:ext cx="222874" cy="345737"/>
            <a:chOff x="3764485" y="2890682"/>
            <a:chExt cx="222874" cy="345737"/>
          </a:xfrm>
        </p:grpSpPr>
        <p:sp>
          <p:nvSpPr>
            <p:cNvPr id="13289" name="Google Shape;13289;p64"/>
            <p:cNvSpPr/>
            <p:nvPr/>
          </p:nvSpPr>
          <p:spPr>
            <a:xfrm>
              <a:off x="3764485" y="2890682"/>
              <a:ext cx="222874" cy="345737"/>
            </a:xfrm>
            <a:custGeom>
              <a:avLst/>
              <a:gdLst/>
              <a:ahLst/>
              <a:cxnLst/>
              <a:rect l="l" t="t" r="r" b="b"/>
              <a:pathLst>
                <a:path w="7002" h="10862" extrusionOk="0">
                  <a:moveTo>
                    <a:pt x="3596" y="348"/>
                  </a:moveTo>
                  <a:lnTo>
                    <a:pt x="3727" y="396"/>
                  </a:lnTo>
                  <a:cubicBezTo>
                    <a:pt x="3882" y="467"/>
                    <a:pt x="4001" y="610"/>
                    <a:pt x="4073" y="801"/>
                  </a:cubicBezTo>
                  <a:cubicBezTo>
                    <a:pt x="3894" y="777"/>
                    <a:pt x="3739" y="753"/>
                    <a:pt x="3596" y="729"/>
                  </a:cubicBezTo>
                  <a:lnTo>
                    <a:pt x="3596" y="348"/>
                  </a:lnTo>
                  <a:close/>
                  <a:moveTo>
                    <a:pt x="6168" y="8504"/>
                  </a:moveTo>
                  <a:cubicBezTo>
                    <a:pt x="6275" y="8504"/>
                    <a:pt x="6347" y="8587"/>
                    <a:pt x="6347" y="8683"/>
                  </a:cubicBezTo>
                  <a:lnTo>
                    <a:pt x="6347" y="8861"/>
                  </a:lnTo>
                  <a:lnTo>
                    <a:pt x="6168" y="8861"/>
                  </a:lnTo>
                  <a:cubicBezTo>
                    <a:pt x="6085" y="8861"/>
                    <a:pt x="6001" y="8945"/>
                    <a:pt x="6001" y="9028"/>
                  </a:cubicBezTo>
                  <a:cubicBezTo>
                    <a:pt x="6001" y="9123"/>
                    <a:pt x="6085" y="9195"/>
                    <a:pt x="6168" y="9195"/>
                  </a:cubicBezTo>
                  <a:lnTo>
                    <a:pt x="6513" y="9195"/>
                  </a:lnTo>
                  <a:cubicBezTo>
                    <a:pt x="6621" y="9195"/>
                    <a:pt x="6692" y="9266"/>
                    <a:pt x="6692" y="9373"/>
                  </a:cubicBezTo>
                  <a:lnTo>
                    <a:pt x="6692" y="10397"/>
                  </a:lnTo>
                  <a:cubicBezTo>
                    <a:pt x="6680" y="10504"/>
                    <a:pt x="6597" y="10576"/>
                    <a:pt x="6501" y="10576"/>
                  </a:cubicBezTo>
                  <a:lnTo>
                    <a:pt x="1394" y="10576"/>
                  </a:lnTo>
                  <a:cubicBezTo>
                    <a:pt x="1287" y="10576"/>
                    <a:pt x="1215" y="10504"/>
                    <a:pt x="1215" y="10397"/>
                  </a:cubicBezTo>
                  <a:lnTo>
                    <a:pt x="1215" y="9373"/>
                  </a:lnTo>
                  <a:cubicBezTo>
                    <a:pt x="1215" y="9266"/>
                    <a:pt x="1287" y="9195"/>
                    <a:pt x="1394" y="9195"/>
                  </a:cubicBezTo>
                  <a:lnTo>
                    <a:pt x="5489" y="9195"/>
                  </a:lnTo>
                  <a:cubicBezTo>
                    <a:pt x="5573" y="9195"/>
                    <a:pt x="5644" y="9123"/>
                    <a:pt x="5644" y="9028"/>
                  </a:cubicBezTo>
                  <a:cubicBezTo>
                    <a:pt x="5644" y="8945"/>
                    <a:pt x="5573" y="8861"/>
                    <a:pt x="5489" y="8861"/>
                  </a:cubicBezTo>
                  <a:lnTo>
                    <a:pt x="1560" y="8861"/>
                  </a:lnTo>
                  <a:lnTo>
                    <a:pt x="1560" y="8683"/>
                  </a:lnTo>
                  <a:cubicBezTo>
                    <a:pt x="1560" y="8587"/>
                    <a:pt x="1632" y="8504"/>
                    <a:pt x="1739" y="8504"/>
                  </a:cubicBezTo>
                  <a:close/>
                  <a:moveTo>
                    <a:pt x="3471" y="1"/>
                  </a:moveTo>
                  <a:cubicBezTo>
                    <a:pt x="3436" y="1"/>
                    <a:pt x="3413" y="3"/>
                    <a:pt x="3406" y="3"/>
                  </a:cubicBezTo>
                  <a:cubicBezTo>
                    <a:pt x="3311" y="3"/>
                    <a:pt x="3251" y="74"/>
                    <a:pt x="3251" y="158"/>
                  </a:cubicBezTo>
                  <a:lnTo>
                    <a:pt x="3251" y="682"/>
                  </a:lnTo>
                  <a:cubicBezTo>
                    <a:pt x="3184" y="678"/>
                    <a:pt x="3123" y="676"/>
                    <a:pt x="3071" y="676"/>
                  </a:cubicBezTo>
                  <a:cubicBezTo>
                    <a:pt x="2968" y="676"/>
                    <a:pt x="2902" y="682"/>
                    <a:pt x="2894" y="682"/>
                  </a:cubicBezTo>
                  <a:cubicBezTo>
                    <a:pt x="2811" y="682"/>
                    <a:pt x="2751" y="753"/>
                    <a:pt x="2751" y="848"/>
                  </a:cubicBezTo>
                  <a:cubicBezTo>
                    <a:pt x="2751" y="932"/>
                    <a:pt x="2822" y="991"/>
                    <a:pt x="2906" y="991"/>
                  </a:cubicBezTo>
                  <a:cubicBezTo>
                    <a:pt x="2909" y="991"/>
                    <a:pt x="2939" y="990"/>
                    <a:pt x="2991" y="990"/>
                  </a:cubicBezTo>
                  <a:cubicBezTo>
                    <a:pt x="3356" y="990"/>
                    <a:pt x="4811" y="1045"/>
                    <a:pt x="5728" y="1920"/>
                  </a:cubicBezTo>
                  <a:cubicBezTo>
                    <a:pt x="6228" y="2408"/>
                    <a:pt x="6501" y="3063"/>
                    <a:pt x="6501" y="3896"/>
                  </a:cubicBezTo>
                  <a:cubicBezTo>
                    <a:pt x="6501" y="4789"/>
                    <a:pt x="6299" y="5361"/>
                    <a:pt x="6097" y="5968"/>
                  </a:cubicBezTo>
                  <a:cubicBezTo>
                    <a:pt x="5882" y="6575"/>
                    <a:pt x="5668" y="7194"/>
                    <a:pt x="5644" y="8171"/>
                  </a:cubicBezTo>
                  <a:lnTo>
                    <a:pt x="1989" y="8171"/>
                  </a:lnTo>
                  <a:cubicBezTo>
                    <a:pt x="1941" y="8075"/>
                    <a:pt x="1882" y="7909"/>
                    <a:pt x="1882" y="7647"/>
                  </a:cubicBezTo>
                  <a:cubicBezTo>
                    <a:pt x="1882" y="7230"/>
                    <a:pt x="2132" y="6266"/>
                    <a:pt x="3882" y="4515"/>
                  </a:cubicBezTo>
                  <a:cubicBezTo>
                    <a:pt x="3918" y="4480"/>
                    <a:pt x="3942" y="4385"/>
                    <a:pt x="3906" y="4325"/>
                  </a:cubicBezTo>
                  <a:cubicBezTo>
                    <a:pt x="3886" y="4275"/>
                    <a:pt x="3825" y="4251"/>
                    <a:pt x="3764" y="4251"/>
                  </a:cubicBezTo>
                  <a:cubicBezTo>
                    <a:pt x="3751" y="4251"/>
                    <a:pt x="3739" y="4252"/>
                    <a:pt x="3727" y="4254"/>
                  </a:cubicBezTo>
                  <a:cubicBezTo>
                    <a:pt x="3727" y="4254"/>
                    <a:pt x="3635" y="4276"/>
                    <a:pt x="3486" y="4276"/>
                  </a:cubicBezTo>
                  <a:cubicBezTo>
                    <a:pt x="3292" y="4276"/>
                    <a:pt x="3001" y="4238"/>
                    <a:pt x="2691" y="4063"/>
                  </a:cubicBezTo>
                  <a:cubicBezTo>
                    <a:pt x="2620" y="4020"/>
                    <a:pt x="2540" y="4000"/>
                    <a:pt x="2460" y="4000"/>
                  </a:cubicBezTo>
                  <a:cubicBezTo>
                    <a:pt x="2341" y="4000"/>
                    <a:pt x="2220" y="4044"/>
                    <a:pt x="2120" y="4123"/>
                  </a:cubicBezTo>
                  <a:cubicBezTo>
                    <a:pt x="1924" y="4281"/>
                    <a:pt x="1552" y="4499"/>
                    <a:pt x="998" y="4499"/>
                  </a:cubicBezTo>
                  <a:cubicBezTo>
                    <a:pt x="846" y="4499"/>
                    <a:pt x="680" y="4482"/>
                    <a:pt x="501" y="4444"/>
                  </a:cubicBezTo>
                  <a:lnTo>
                    <a:pt x="370" y="3777"/>
                  </a:lnTo>
                  <a:lnTo>
                    <a:pt x="2001" y="2146"/>
                  </a:lnTo>
                  <a:cubicBezTo>
                    <a:pt x="2037" y="2110"/>
                    <a:pt x="2049" y="2063"/>
                    <a:pt x="2049" y="2027"/>
                  </a:cubicBezTo>
                  <a:lnTo>
                    <a:pt x="2049" y="1813"/>
                  </a:lnTo>
                  <a:cubicBezTo>
                    <a:pt x="2049" y="1729"/>
                    <a:pt x="2120" y="1634"/>
                    <a:pt x="2215" y="1634"/>
                  </a:cubicBezTo>
                  <a:cubicBezTo>
                    <a:pt x="2327" y="1626"/>
                    <a:pt x="2501" y="1615"/>
                    <a:pt x="2715" y="1615"/>
                  </a:cubicBezTo>
                  <a:cubicBezTo>
                    <a:pt x="3115" y="1615"/>
                    <a:pt x="3656" y="1654"/>
                    <a:pt x="4192" y="1825"/>
                  </a:cubicBezTo>
                  <a:cubicBezTo>
                    <a:pt x="4211" y="1833"/>
                    <a:pt x="4231" y="1837"/>
                    <a:pt x="4250" y="1837"/>
                  </a:cubicBezTo>
                  <a:cubicBezTo>
                    <a:pt x="4314" y="1837"/>
                    <a:pt x="4373" y="1794"/>
                    <a:pt x="4382" y="1729"/>
                  </a:cubicBezTo>
                  <a:cubicBezTo>
                    <a:pt x="4418" y="1634"/>
                    <a:pt x="4370" y="1539"/>
                    <a:pt x="4275" y="1527"/>
                  </a:cubicBezTo>
                  <a:cubicBezTo>
                    <a:pt x="3701" y="1346"/>
                    <a:pt x="3117" y="1300"/>
                    <a:pt x="2687" y="1300"/>
                  </a:cubicBezTo>
                  <a:cubicBezTo>
                    <a:pt x="2465" y="1300"/>
                    <a:pt x="2285" y="1312"/>
                    <a:pt x="2168" y="1325"/>
                  </a:cubicBezTo>
                  <a:cubicBezTo>
                    <a:pt x="1906" y="1348"/>
                    <a:pt x="1715" y="1563"/>
                    <a:pt x="1715" y="1813"/>
                  </a:cubicBezTo>
                  <a:lnTo>
                    <a:pt x="1715" y="1968"/>
                  </a:lnTo>
                  <a:lnTo>
                    <a:pt x="60" y="3611"/>
                  </a:lnTo>
                  <a:cubicBezTo>
                    <a:pt x="24" y="3658"/>
                    <a:pt x="1" y="3706"/>
                    <a:pt x="24" y="3765"/>
                  </a:cubicBezTo>
                  <a:lnTo>
                    <a:pt x="179" y="4611"/>
                  </a:lnTo>
                  <a:cubicBezTo>
                    <a:pt x="203" y="4670"/>
                    <a:pt x="239" y="4718"/>
                    <a:pt x="298" y="4730"/>
                  </a:cubicBezTo>
                  <a:cubicBezTo>
                    <a:pt x="542" y="4788"/>
                    <a:pt x="764" y="4813"/>
                    <a:pt x="967" y="4813"/>
                  </a:cubicBezTo>
                  <a:cubicBezTo>
                    <a:pt x="1627" y="4813"/>
                    <a:pt x="2071" y="4552"/>
                    <a:pt x="2299" y="4361"/>
                  </a:cubicBezTo>
                  <a:cubicBezTo>
                    <a:pt x="2338" y="4329"/>
                    <a:pt x="2389" y="4313"/>
                    <a:pt x="2435" y="4313"/>
                  </a:cubicBezTo>
                  <a:cubicBezTo>
                    <a:pt x="2459" y="4313"/>
                    <a:pt x="2481" y="4317"/>
                    <a:pt x="2501" y="4325"/>
                  </a:cubicBezTo>
                  <a:cubicBezTo>
                    <a:pt x="2822" y="4504"/>
                    <a:pt x="3120" y="4563"/>
                    <a:pt x="3334" y="4587"/>
                  </a:cubicBezTo>
                  <a:cubicBezTo>
                    <a:pt x="1846" y="6135"/>
                    <a:pt x="1537" y="7099"/>
                    <a:pt x="1537" y="7635"/>
                  </a:cubicBezTo>
                  <a:cubicBezTo>
                    <a:pt x="1537" y="7861"/>
                    <a:pt x="1584" y="8040"/>
                    <a:pt x="1608" y="8159"/>
                  </a:cubicBezTo>
                  <a:cubicBezTo>
                    <a:pt x="1370" y="8195"/>
                    <a:pt x="1191" y="8397"/>
                    <a:pt x="1191" y="8647"/>
                  </a:cubicBezTo>
                  <a:lnTo>
                    <a:pt x="1191" y="8849"/>
                  </a:lnTo>
                  <a:cubicBezTo>
                    <a:pt x="1001" y="8909"/>
                    <a:pt x="858" y="9111"/>
                    <a:pt x="858" y="9326"/>
                  </a:cubicBezTo>
                  <a:lnTo>
                    <a:pt x="858" y="10361"/>
                  </a:lnTo>
                  <a:cubicBezTo>
                    <a:pt x="858" y="10635"/>
                    <a:pt x="1072" y="10861"/>
                    <a:pt x="1358" y="10861"/>
                  </a:cubicBezTo>
                  <a:lnTo>
                    <a:pt x="6501" y="10861"/>
                  </a:lnTo>
                  <a:cubicBezTo>
                    <a:pt x="6775" y="10861"/>
                    <a:pt x="7002" y="10635"/>
                    <a:pt x="7002" y="10361"/>
                  </a:cubicBezTo>
                  <a:lnTo>
                    <a:pt x="7002" y="9326"/>
                  </a:lnTo>
                  <a:cubicBezTo>
                    <a:pt x="7002" y="9171"/>
                    <a:pt x="6859" y="8968"/>
                    <a:pt x="6656" y="8897"/>
                  </a:cubicBezTo>
                  <a:lnTo>
                    <a:pt x="6656" y="8695"/>
                  </a:lnTo>
                  <a:cubicBezTo>
                    <a:pt x="6656" y="8409"/>
                    <a:pt x="6442" y="8183"/>
                    <a:pt x="6156" y="8183"/>
                  </a:cubicBezTo>
                  <a:lnTo>
                    <a:pt x="5978" y="8183"/>
                  </a:lnTo>
                  <a:cubicBezTo>
                    <a:pt x="5990" y="7266"/>
                    <a:pt x="6204" y="6671"/>
                    <a:pt x="6406" y="6087"/>
                  </a:cubicBezTo>
                  <a:cubicBezTo>
                    <a:pt x="6621" y="5492"/>
                    <a:pt x="6823" y="4861"/>
                    <a:pt x="6823" y="3908"/>
                  </a:cubicBezTo>
                  <a:cubicBezTo>
                    <a:pt x="6823" y="2991"/>
                    <a:pt x="6525" y="2241"/>
                    <a:pt x="5966" y="1694"/>
                  </a:cubicBezTo>
                  <a:cubicBezTo>
                    <a:pt x="5501" y="1265"/>
                    <a:pt x="4930" y="1015"/>
                    <a:pt x="4418" y="860"/>
                  </a:cubicBezTo>
                  <a:cubicBezTo>
                    <a:pt x="4311" y="396"/>
                    <a:pt x="4061" y="182"/>
                    <a:pt x="3846" y="86"/>
                  </a:cubicBezTo>
                  <a:cubicBezTo>
                    <a:pt x="3690" y="12"/>
                    <a:pt x="3550" y="1"/>
                    <a:pt x="34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0" name="Google Shape;13290;p64"/>
            <p:cNvSpPr/>
            <p:nvPr/>
          </p:nvSpPr>
          <p:spPr>
            <a:xfrm>
              <a:off x="3913799" y="2948231"/>
              <a:ext cx="20499" cy="14960"/>
            </a:xfrm>
            <a:custGeom>
              <a:avLst/>
              <a:gdLst/>
              <a:ahLst/>
              <a:cxnLst/>
              <a:rect l="l" t="t" r="r" b="b"/>
              <a:pathLst>
                <a:path w="644" h="470" extrusionOk="0">
                  <a:moveTo>
                    <a:pt x="184" y="0"/>
                  </a:moveTo>
                  <a:cubicBezTo>
                    <a:pt x="126" y="0"/>
                    <a:pt x="73" y="27"/>
                    <a:pt x="48" y="76"/>
                  </a:cubicBezTo>
                  <a:cubicBezTo>
                    <a:pt x="1" y="148"/>
                    <a:pt x="36" y="255"/>
                    <a:pt x="108" y="291"/>
                  </a:cubicBezTo>
                  <a:cubicBezTo>
                    <a:pt x="203" y="326"/>
                    <a:pt x="286" y="386"/>
                    <a:pt x="358" y="433"/>
                  </a:cubicBezTo>
                  <a:cubicBezTo>
                    <a:pt x="394" y="445"/>
                    <a:pt x="417" y="469"/>
                    <a:pt x="453" y="469"/>
                  </a:cubicBezTo>
                  <a:cubicBezTo>
                    <a:pt x="501" y="469"/>
                    <a:pt x="560" y="433"/>
                    <a:pt x="584" y="386"/>
                  </a:cubicBezTo>
                  <a:cubicBezTo>
                    <a:pt x="644" y="326"/>
                    <a:pt x="620" y="231"/>
                    <a:pt x="537" y="183"/>
                  </a:cubicBezTo>
                  <a:cubicBezTo>
                    <a:pt x="453" y="124"/>
                    <a:pt x="358" y="64"/>
                    <a:pt x="263" y="17"/>
                  </a:cubicBezTo>
                  <a:cubicBezTo>
                    <a:pt x="237" y="6"/>
                    <a:pt x="210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1" name="Google Shape;13291;p64"/>
            <p:cNvSpPr/>
            <p:nvPr/>
          </p:nvSpPr>
          <p:spPr>
            <a:xfrm>
              <a:off x="3841418" y="2956315"/>
              <a:ext cx="10631" cy="15947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34"/>
                  </a:lnTo>
                  <a:cubicBezTo>
                    <a:pt x="1" y="418"/>
                    <a:pt x="72" y="501"/>
                    <a:pt x="167" y="501"/>
                  </a:cubicBezTo>
                  <a:cubicBezTo>
                    <a:pt x="251" y="501"/>
                    <a:pt x="334" y="418"/>
                    <a:pt x="334" y="334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92" name="Google Shape;13292;p64"/>
          <p:cNvGrpSpPr/>
          <p:nvPr/>
        </p:nvGrpSpPr>
        <p:grpSpPr>
          <a:xfrm>
            <a:off x="2238616" y="2908131"/>
            <a:ext cx="422596" cy="310382"/>
            <a:chOff x="2278533" y="2937377"/>
            <a:chExt cx="346788" cy="254704"/>
          </a:xfrm>
        </p:grpSpPr>
        <p:sp>
          <p:nvSpPr>
            <p:cNvPr id="13293" name="Google Shape;13293;p64"/>
            <p:cNvSpPr/>
            <p:nvPr/>
          </p:nvSpPr>
          <p:spPr>
            <a:xfrm>
              <a:off x="2317557" y="2958607"/>
              <a:ext cx="270619" cy="184200"/>
            </a:xfrm>
            <a:custGeom>
              <a:avLst/>
              <a:gdLst/>
              <a:ahLst/>
              <a:cxnLst/>
              <a:rect l="l" t="t" r="r" b="b"/>
              <a:pathLst>
                <a:path w="8502" h="5787" extrusionOk="0">
                  <a:moveTo>
                    <a:pt x="2691" y="1179"/>
                  </a:moveTo>
                  <a:cubicBezTo>
                    <a:pt x="2882" y="1179"/>
                    <a:pt x="3049" y="1346"/>
                    <a:pt x="3049" y="1536"/>
                  </a:cubicBezTo>
                  <a:lnTo>
                    <a:pt x="3049" y="1881"/>
                  </a:lnTo>
                  <a:cubicBezTo>
                    <a:pt x="3049" y="2167"/>
                    <a:pt x="2810" y="2405"/>
                    <a:pt x="2525" y="2405"/>
                  </a:cubicBezTo>
                  <a:cubicBezTo>
                    <a:pt x="2227" y="2405"/>
                    <a:pt x="1989" y="2167"/>
                    <a:pt x="1989" y="1881"/>
                  </a:cubicBezTo>
                  <a:lnTo>
                    <a:pt x="1989" y="1536"/>
                  </a:lnTo>
                  <a:cubicBezTo>
                    <a:pt x="1989" y="1346"/>
                    <a:pt x="2156" y="1179"/>
                    <a:pt x="2346" y="1179"/>
                  </a:cubicBezTo>
                  <a:close/>
                  <a:moveTo>
                    <a:pt x="6787" y="1036"/>
                  </a:moveTo>
                  <a:cubicBezTo>
                    <a:pt x="6894" y="1036"/>
                    <a:pt x="6966" y="1108"/>
                    <a:pt x="6966" y="1215"/>
                  </a:cubicBezTo>
                  <a:lnTo>
                    <a:pt x="6966" y="1715"/>
                  </a:lnTo>
                  <a:cubicBezTo>
                    <a:pt x="6966" y="1774"/>
                    <a:pt x="6930" y="1834"/>
                    <a:pt x="6871" y="1870"/>
                  </a:cubicBezTo>
                  <a:cubicBezTo>
                    <a:pt x="6835" y="1893"/>
                    <a:pt x="6799" y="1941"/>
                    <a:pt x="6799" y="2000"/>
                  </a:cubicBezTo>
                  <a:lnTo>
                    <a:pt x="6799" y="2251"/>
                  </a:lnTo>
                  <a:cubicBezTo>
                    <a:pt x="6799" y="2334"/>
                    <a:pt x="6847" y="2381"/>
                    <a:pt x="6918" y="2405"/>
                  </a:cubicBezTo>
                  <a:lnTo>
                    <a:pt x="7335" y="2512"/>
                  </a:lnTo>
                  <a:cubicBezTo>
                    <a:pt x="7406" y="2524"/>
                    <a:pt x="7466" y="2596"/>
                    <a:pt x="7466" y="2691"/>
                  </a:cubicBezTo>
                  <a:lnTo>
                    <a:pt x="7466" y="2727"/>
                  </a:lnTo>
                  <a:lnTo>
                    <a:pt x="5739" y="2727"/>
                  </a:lnTo>
                  <a:lnTo>
                    <a:pt x="5739" y="2691"/>
                  </a:lnTo>
                  <a:cubicBezTo>
                    <a:pt x="5739" y="2596"/>
                    <a:pt x="5799" y="2536"/>
                    <a:pt x="5870" y="2512"/>
                  </a:cubicBezTo>
                  <a:lnTo>
                    <a:pt x="6287" y="2405"/>
                  </a:lnTo>
                  <a:cubicBezTo>
                    <a:pt x="6370" y="2381"/>
                    <a:pt x="6406" y="2334"/>
                    <a:pt x="6406" y="2251"/>
                  </a:cubicBezTo>
                  <a:lnTo>
                    <a:pt x="6406" y="2000"/>
                  </a:lnTo>
                  <a:cubicBezTo>
                    <a:pt x="6430" y="1941"/>
                    <a:pt x="6394" y="1893"/>
                    <a:pt x="6359" y="1870"/>
                  </a:cubicBezTo>
                  <a:cubicBezTo>
                    <a:pt x="6299" y="1834"/>
                    <a:pt x="6263" y="1774"/>
                    <a:pt x="6263" y="1715"/>
                  </a:cubicBezTo>
                  <a:lnTo>
                    <a:pt x="6263" y="1215"/>
                  </a:lnTo>
                  <a:cubicBezTo>
                    <a:pt x="6263" y="1108"/>
                    <a:pt x="6335" y="1036"/>
                    <a:pt x="6442" y="1036"/>
                  </a:cubicBezTo>
                  <a:close/>
                  <a:moveTo>
                    <a:pt x="8144" y="334"/>
                  </a:moveTo>
                  <a:lnTo>
                    <a:pt x="8144" y="2751"/>
                  </a:lnTo>
                  <a:lnTo>
                    <a:pt x="7787" y="2751"/>
                  </a:lnTo>
                  <a:lnTo>
                    <a:pt x="7787" y="2703"/>
                  </a:lnTo>
                  <a:cubicBezTo>
                    <a:pt x="7787" y="2477"/>
                    <a:pt x="7633" y="2274"/>
                    <a:pt x="7406" y="2215"/>
                  </a:cubicBezTo>
                  <a:lnTo>
                    <a:pt x="7109" y="2131"/>
                  </a:lnTo>
                  <a:lnTo>
                    <a:pt x="7109" y="2096"/>
                  </a:lnTo>
                  <a:cubicBezTo>
                    <a:pt x="7216" y="2000"/>
                    <a:pt x="7275" y="1870"/>
                    <a:pt x="7275" y="1715"/>
                  </a:cubicBezTo>
                  <a:lnTo>
                    <a:pt x="7275" y="1215"/>
                  </a:lnTo>
                  <a:cubicBezTo>
                    <a:pt x="7275" y="929"/>
                    <a:pt x="7049" y="703"/>
                    <a:pt x="6775" y="703"/>
                  </a:cubicBezTo>
                  <a:lnTo>
                    <a:pt x="6430" y="703"/>
                  </a:lnTo>
                  <a:cubicBezTo>
                    <a:pt x="6144" y="703"/>
                    <a:pt x="5918" y="929"/>
                    <a:pt x="5918" y="1215"/>
                  </a:cubicBezTo>
                  <a:lnTo>
                    <a:pt x="5918" y="1715"/>
                  </a:lnTo>
                  <a:cubicBezTo>
                    <a:pt x="5918" y="1870"/>
                    <a:pt x="5978" y="2000"/>
                    <a:pt x="6085" y="2096"/>
                  </a:cubicBezTo>
                  <a:lnTo>
                    <a:pt x="6085" y="2131"/>
                  </a:lnTo>
                  <a:lnTo>
                    <a:pt x="5787" y="2215"/>
                  </a:lnTo>
                  <a:cubicBezTo>
                    <a:pt x="5561" y="2274"/>
                    <a:pt x="5418" y="2465"/>
                    <a:pt x="5418" y="2703"/>
                  </a:cubicBezTo>
                  <a:lnTo>
                    <a:pt x="5418" y="2751"/>
                  </a:lnTo>
                  <a:lnTo>
                    <a:pt x="5061" y="2751"/>
                  </a:lnTo>
                  <a:lnTo>
                    <a:pt x="5061" y="334"/>
                  </a:lnTo>
                  <a:close/>
                  <a:moveTo>
                    <a:pt x="2691" y="2715"/>
                  </a:moveTo>
                  <a:lnTo>
                    <a:pt x="2691" y="2786"/>
                  </a:lnTo>
                  <a:cubicBezTo>
                    <a:pt x="2703" y="2846"/>
                    <a:pt x="2727" y="2905"/>
                    <a:pt x="2751" y="2965"/>
                  </a:cubicBezTo>
                  <a:lnTo>
                    <a:pt x="2525" y="3191"/>
                  </a:lnTo>
                  <a:lnTo>
                    <a:pt x="2513" y="3191"/>
                  </a:lnTo>
                  <a:lnTo>
                    <a:pt x="2287" y="2965"/>
                  </a:lnTo>
                  <a:cubicBezTo>
                    <a:pt x="2322" y="2929"/>
                    <a:pt x="2334" y="2870"/>
                    <a:pt x="2334" y="2810"/>
                  </a:cubicBezTo>
                  <a:lnTo>
                    <a:pt x="2334" y="2715"/>
                  </a:lnTo>
                  <a:close/>
                  <a:moveTo>
                    <a:pt x="3037" y="3143"/>
                  </a:moveTo>
                  <a:lnTo>
                    <a:pt x="3346" y="3263"/>
                  </a:lnTo>
                  <a:cubicBezTo>
                    <a:pt x="3477" y="3310"/>
                    <a:pt x="3572" y="3441"/>
                    <a:pt x="3572" y="3596"/>
                  </a:cubicBezTo>
                  <a:lnTo>
                    <a:pt x="3572" y="4608"/>
                  </a:lnTo>
                  <a:cubicBezTo>
                    <a:pt x="3572" y="4715"/>
                    <a:pt x="3501" y="4787"/>
                    <a:pt x="3394" y="4787"/>
                  </a:cubicBezTo>
                  <a:lnTo>
                    <a:pt x="2691" y="4787"/>
                  </a:lnTo>
                  <a:lnTo>
                    <a:pt x="2691" y="4596"/>
                  </a:lnTo>
                  <a:lnTo>
                    <a:pt x="3049" y="4596"/>
                  </a:lnTo>
                  <a:cubicBezTo>
                    <a:pt x="3144" y="4596"/>
                    <a:pt x="3215" y="4513"/>
                    <a:pt x="3215" y="4429"/>
                  </a:cubicBezTo>
                  <a:lnTo>
                    <a:pt x="3215" y="3917"/>
                  </a:lnTo>
                  <a:cubicBezTo>
                    <a:pt x="3215" y="3834"/>
                    <a:pt x="3144" y="3763"/>
                    <a:pt x="3049" y="3763"/>
                  </a:cubicBezTo>
                  <a:cubicBezTo>
                    <a:pt x="2965" y="3763"/>
                    <a:pt x="2882" y="3834"/>
                    <a:pt x="2882" y="3917"/>
                  </a:cubicBezTo>
                  <a:lnTo>
                    <a:pt x="2882" y="4275"/>
                  </a:lnTo>
                  <a:lnTo>
                    <a:pt x="2191" y="4275"/>
                  </a:lnTo>
                  <a:lnTo>
                    <a:pt x="2191" y="3917"/>
                  </a:lnTo>
                  <a:cubicBezTo>
                    <a:pt x="2191" y="3834"/>
                    <a:pt x="2108" y="3763"/>
                    <a:pt x="2025" y="3763"/>
                  </a:cubicBezTo>
                  <a:cubicBezTo>
                    <a:pt x="1929" y="3763"/>
                    <a:pt x="1858" y="3834"/>
                    <a:pt x="1858" y="3917"/>
                  </a:cubicBezTo>
                  <a:lnTo>
                    <a:pt x="1858" y="4429"/>
                  </a:lnTo>
                  <a:cubicBezTo>
                    <a:pt x="1858" y="4513"/>
                    <a:pt x="1929" y="4596"/>
                    <a:pt x="2025" y="4596"/>
                  </a:cubicBezTo>
                  <a:lnTo>
                    <a:pt x="2382" y="4596"/>
                  </a:lnTo>
                  <a:lnTo>
                    <a:pt x="2382" y="4787"/>
                  </a:lnTo>
                  <a:lnTo>
                    <a:pt x="1679" y="4787"/>
                  </a:lnTo>
                  <a:cubicBezTo>
                    <a:pt x="1572" y="4787"/>
                    <a:pt x="1501" y="4715"/>
                    <a:pt x="1501" y="4608"/>
                  </a:cubicBezTo>
                  <a:lnTo>
                    <a:pt x="1501" y="3596"/>
                  </a:lnTo>
                  <a:lnTo>
                    <a:pt x="1489" y="3596"/>
                  </a:lnTo>
                  <a:cubicBezTo>
                    <a:pt x="1489" y="3441"/>
                    <a:pt x="1572" y="3310"/>
                    <a:pt x="1715" y="3263"/>
                  </a:cubicBezTo>
                  <a:lnTo>
                    <a:pt x="2025" y="3143"/>
                  </a:lnTo>
                  <a:lnTo>
                    <a:pt x="2287" y="3417"/>
                  </a:lnTo>
                  <a:cubicBezTo>
                    <a:pt x="2346" y="3477"/>
                    <a:pt x="2441" y="3501"/>
                    <a:pt x="2525" y="3501"/>
                  </a:cubicBezTo>
                  <a:cubicBezTo>
                    <a:pt x="2620" y="3501"/>
                    <a:pt x="2691" y="3477"/>
                    <a:pt x="2763" y="3417"/>
                  </a:cubicBezTo>
                  <a:lnTo>
                    <a:pt x="3037" y="3143"/>
                  </a:lnTo>
                  <a:close/>
                  <a:moveTo>
                    <a:pt x="4727" y="4763"/>
                  </a:moveTo>
                  <a:lnTo>
                    <a:pt x="4727" y="5465"/>
                  </a:lnTo>
                  <a:lnTo>
                    <a:pt x="298" y="5465"/>
                  </a:lnTo>
                  <a:lnTo>
                    <a:pt x="298" y="4763"/>
                  </a:lnTo>
                  <a:lnTo>
                    <a:pt x="1191" y="4763"/>
                  </a:lnTo>
                  <a:cubicBezTo>
                    <a:pt x="1251" y="4965"/>
                    <a:pt x="1441" y="5108"/>
                    <a:pt x="1667" y="5108"/>
                  </a:cubicBezTo>
                  <a:lnTo>
                    <a:pt x="3358" y="5108"/>
                  </a:lnTo>
                  <a:cubicBezTo>
                    <a:pt x="3584" y="5108"/>
                    <a:pt x="3763" y="4965"/>
                    <a:pt x="3834" y="4763"/>
                  </a:cubicBezTo>
                  <a:close/>
                  <a:moveTo>
                    <a:pt x="6763" y="3775"/>
                  </a:moveTo>
                  <a:cubicBezTo>
                    <a:pt x="6871" y="3775"/>
                    <a:pt x="6942" y="3846"/>
                    <a:pt x="6942" y="3953"/>
                  </a:cubicBezTo>
                  <a:lnTo>
                    <a:pt x="6942" y="4453"/>
                  </a:lnTo>
                  <a:cubicBezTo>
                    <a:pt x="6942" y="4513"/>
                    <a:pt x="6918" y="4572"/>
                    <a:pt x="6859" y="4608"/>
                  </a:cubicBezTo>
                  <a:cubicBezTo>
                    <a:pt x="6811" y="4632"/>
                    <a:pt x="6787" y="4679"/>
                    <a:pt x="6787" y="4739"/>
                  </a:cubicBezTo>
                  <a:lnTo>
                    <a:pt x="6787" y="4989"/>
                  </a:lnTo>
                  <a:cubicBezTo>
                    <a:pt x="6787" y="5060"/>
                    <a:pt x="6823" y="5120"/>
                    <a:pt x="6906" y="5144"/>
                  </a:cubicBezTo>
                  <a:lnTo>
                    <a:pt x="7323" y="5251"/>
                  </a:lnTo>
                  <a:cubicBezTo>
                    <a:pt x="7394" y="5263"/>
                    <a:pt x="7454" y="5334"/>
                    <a:pt x="7454" y="5429"/>
                  </a:cubicBezTo>
                  <a:lnTo>
                    <a:pt x="7454" y="5465"/>
                  </a:lnTo>
                  <a:lnTo>
                    <a:pt x="5739" y="5465"/>
                  </a:lnTo>
                  <a:lnTo>
                    <a:pt x="5739" y="5429"/>
                  </a:lnTo>
                  <a:cubicBezTo>
                    <a:pt x="5739" y="5334"/>
                    <a:pt x="5799" y="5275"/>
                    <a:pt x="5882" y="5251"/>
                  </a:cubicBezTo>
                  <a:lnTo>
                    <a:pt x="6287" y="5144"/>
                  </a:lnTo>
                  <a:cubicBezTo>
                    <a:pt x="6370" y="5120"/>
                    <a:pt x="6406" y="5060"/>
                    <a:pt x="6406" y="4989"/>
                  </a:cubicBezTo>
                  <a:lnTo>
                    <a:pt x="6406" y="4739"/>
                  </a:lnTo>
                  <a:cubicBezTo>
                    <a:pt x="6406" y="4679"/>
                    <a:pt x="6382" y="4632"/>
                    <a:pt x="6335" y="4608"/>
                  </a:cubicBezTo>
                  <a:cubicBezTo>
                    <a:pt x="6275" y="4572"/>
                    <a:pt x="6251" y="4513"/>
                    <a:pt x="6251" y="4453"/>
                  </a:cubicBezTo>
                  <a:lnTo>
                    <a:pt x="6251" y="3953"/>
                  </a:lnTo>
                  <a:cubicBezTo>
                    <a:pt x="6251" y="3846"/>
                    <a:pt x="6323" y="3775"/>
                    <a:pt x="6430" y="3775"/>
                  </a:cubicBezTo>
                  <a:close/>
                  <a:moveTo>
                    <a:pt x="8156" y="3060"/>
                  </a:moveTo>
                  <a:lnTo>
                    <a:pt x="8156" y="5465"/>
                  </a:lnTo>
                  <a:lnTo>
                    <a:pt x="7799" y="5465"/>
                  </a:lnTo>
                  <a:lnTo>
                    <a:pt x="7799" y="5429"/>
                  </a:lnTo>
                  <a:cubicBezTo>
                    <a:pt x="7799" y="5203"/>
                    <a:pt x="7644" y="4989"/>
                    <a:pt x="7430" y="4929"/>
                  </a:cubicBezTo>
                  <a:lnTo>
                    <a:pt x="7132" y="4858"/>
                  </a:lnTo>
                  <a:lnTo>
                    <a:pt x="7132" y="4810"/>
                  </a:lnTo>
                  <a:cubicBezTo>
                    <a:pt x="7228" y="4727"/>
                    <a:pt x="7287" y="4596"/>
                    <a:pt x="7287" y="4441"/>
                  </a:cubicBezTo>
                  <a:lnTo>
                    <a:pt x="7287" y="3941"/>
                  </a:lnTo>
                  <a:cubicBezTo>
                    <a:pt x="7287" y="3655"/>
                    <a:pt x="7073" y="3429"/>
                    <a:pt x="6787" y="3429"/>
                  </a:cubicBezTo>
                  <a:lnTo>
                    <a:pt x="6442" y="3429"/>
                  </a:lnTo>
                  <a:cubicBezTo>
                    <a:pt x="6156" y="3429"/>
                    <a:pt x="5942" y="3655"/>
                    <a:pt x="5942" y="3941"/>
                  </a:cubicBezTo>
                  <a:lnTo>
                    <a:pt x="5942" y="4441"/>
                  </a:lnTo>
                  <a:cubicBezTo>
                    <a:pt x="5942" y="4596"/>
                    <a:pt x="6001" y="4727"/>
                    <a:pt x="6097" y="4810"/>
                  </a:cubicBezTo>
                  <a:lnTo>
                    <a:pt x="6097" y="4858"/>
                  </a:lnTo>
                  <a:lnTo>
                    <a:pt x="5799" y="4929"/>
                  </a:lnTo>
                  <a:cubicBezTo>
                    <a:pt x="5585" y="4989"/>
                    <a:pt x="5430" y="5191"/>
                    <a:pt x="5430" y="5429"/>
                  </a:cubicBezTo>
                  <a:lnTo>
                    <a:pt x="5430" y="5465"/>
                  </a:lnTo>
                  <a:lnTo>
                    <a:pt x="5073" y="5465"/>
                  </a:lnTo>
                  <a:lnTo>
                    <a:pt x="5073" y="3060"/>
                  </a:lnTo>
                  <a:close/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5620"/>
                  </a:lnTo>
                  <a:cubicBezTo>
                    <a:pt x="1" y="5703"/>
                    <a:pt x="72" y="5787"/>
                    <a:pt x="167" y="5787"/>
                  </a:cubicBezTo>
                  <a:lnTo>
                    <a:pt x="8335" y="5787"/>
                  </a:lnTo>
                  <a:cubicBezTo>
                    <a:pt x="8418" y="5787"/>
                    <a:pt x="8502" y="5703"/>
                    <a:pt x="8502" y="5620"/>
                  </a:cubicBezTo>
                  <a:lnTo>
                    <a:pt x="8502" y="167"/>
                  </a:lnTo>
                  <a:cubicBezTo>
                    <a:pt x="8466" y="84"/>
                    <a:pt x="8395" y="24"/>
                    <a:pt x="8311" y="24"/>
                  </a:cubicBezTo>
                  <a:lnTo>
                    <a:pt x="1334" y="24"/>
                  </a:lnTo>
                  <a:cubicBezTo>
                    <a:pt x="1251" y="24"/>
                    <a:pt x="1167" y="95"/>
                    <a:pt x="1167" y="191"/>
                  </a:cubicBezTo>
                  <a:cubicBezTo>
                    <a:pt x="1167" y="274"/>
                    <a:pt x="1251" y="346"/>
                    <a:pt x="1334" y="346"/>
                  </a:cubicBezTo>
                  <a:lnTo>
                    <a:pt x="4763" y="346"/>
                  </a:lnTo>
                  <a:lnTo>
                    <a:pt x="4763" y="4453"/>
                  </a:lnTo>
                  <a:lnTo>
                    <a:pt x="3882" y="4453"/>
                  </a:lnTo>
                  <a:lnTo>
                    <a:pt x="3882" y="3608"/>
                  </a:lnTo>
                  <a:cubicBezTo>
                    <a:pt x="3882" y="3346"/>
                    <a:pt x="3703" y="3084"/>
                    <a:pt x="3453" y="2977"/>
                  </a:cubicBezTo>
                  <a:lnTo>
                    <a:pt x="3037" y="2822"/>
                  </a:lnTo>
                  <a:lnTo>
                    <a:pt x="3037" y="2798"/>
                  </a:lnTo>
                  <a:lnTo>
                    <a:pt x="3037" y="2572"/>
                  </a:lnTo>
                  <a:cubicBezTo>
                    <a:pt x="3239" y="2417"/>
                    <a:pt x="3382" y="2167"/>
                    <a:pt x="3382" y="1893"/>
                  </a:cubicBezTo>
                  <a:lnTo>
                    <a:pt x="3382" y="1560"/>
                  </a:lnTo>
                  <a:cubicBezTo>
                    <a:pt x="3382" y="1179"/>
                    <a:pt x="3084" y="881"/>
                    <a:pt x="2703" y="881"/>
                  </a:cubicBezTo>
                  <a:lnTo>
                    <a:pt x="2370" y="881"/>
                  </a:lnTo>
                  <a:cubicBezTo>
                    <a:pt x="1989" y="881"/>
                    <a:pt x="1691" y="1179"/>
                    <a:pt x="1691" y="1560"/>
                  </a:cubicBezTo>
                  <a:lnTo>
                    <a:pt x="1691" y="1893"/>
                  </a:lnTo>
                  <a:cubicBezTo>
                    <a:pt x="1691" y="2179"/>
                    <a:pt x="1834" y="2417"/>
                    <a:pt x="2037" y="2572"/>
                  </a:cubicBezTo>
                  <a:lnTo>
                    <a:pt x="2037" y="2810"/>
                  </a:lnTo>
                  <a:lnTo>
                    <a:pt x="2037" y="2822"/>
                  </a:lnTo>
                  <a:lnTo>
                    <a:pt x="1620" y="2989"/>
                  </a:lnTo>
                  <a:cubicBezTo>
                    <a:pt x="1370" y="3084"/>
                    <a:pt x="1191" y="3346"/>
                    <a:pt x="1191" y="3608"/>
                  </a:cubicBezTo>
                  <a:lnTo>
                    <a:pt x="1191" y="4453"/>
                  </a:lnTo>
                  <a:lnTo>
                    <a:pt x="310" y="4453"/>
                  </a:lnTo>
                  <a:lnTo>
                    <a:pt x="310" y="334"/>
                  </a:lnTo>
                  <a:lnTo>
                    <a:pt x="667" y="334"/>
                  </a:lnTo>
                  <a:cubicBezTo>
                    <a:pt x="763" y="334"/>
                    <a:pt x="834" y="262"/>
                    <a:pt x="834" y="167"/>
                  </a:cubicBezTo>
                  <a:cubicBezTo>
                    <a:pt x="834" y="84"/>
                    <a:pt x="763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4" name="Google Shape;13294;p64"/>
            <p:cNvSpPr/>
            <p:nvPr/>
          </p:nvSpPr>
          <p:spPr>
            <a:xfrm>
              <a:off x="2278533" y="2937377"/>
              <a:ext cx="346788" cy="254704"/>
            </a:xfrm>
            <a:custGeom>
              <a:avLst/>
              <a:gdLst/>
              <a:ahLst/>
              <a:cxnLst/>
              <a:rect l="l" t="t" r="r" b="b"/>
              <a:pathLst>
                <a:path w="10895" h="8002" extrusionOk="0">
                  <a:moveTo>
                    <a:pt x="9871" y="310"/>
                  </a:moveTo>
                  <a:cubicBezTo>
                    <a:pt x="9978" y="310"/>
                    <a:pt x="10049" y="393"/>
                    <a:pt x="10049" y="489"/>
                  </a:cubicBezTo>
                  <a:lnTo>
                    <a:pt x="10049" y="6799"/>
                  </a:lnTo>
                  <a:lnTo>
                    <a:pt x="9692" y="6799"/>
                  </a:lnTo>
                  <a:cubicBezTo>
                    <a:pt x="9609" y="6799"/>
                    <a:pt x="9525" y="6882"/>
                    <a:pt x="9525" y="6966"/>
                  </a:cubicBezTo>
                  <a:cubicBezTo>
                    <a:pt x="9525" y="7061"/>
                    <a:pt x="9609" y="7132"/>
                    <a:pt x="9692" y="7132"/>
                  </a:cubicBezTo>
                  <a:lnTo>
                    <a:pt x="10537" y="7132"/>
                  </a:lnTo>
                  <a:cubicBezTo>
                    <a:pt x="10537" y="7132"/>
                    <a:pt x="10561" y="7132"/>
                    <a:pt x="10561" y="7144"/>
                  </a:cubicBezTo>
                  <a:lnTo>
                    <a:pt x="10561" y="7490"/>
                  </a:lnTo>
                  <a:cubicBezTo>
                    <a:pt x="10573" y="7585"/>
                    <a:pt x="10478" y="7668"/>
                    <a:pt x="10394" y="7668"/>
                  </a:cubicBezTo>
                  <a:lnTo>
                    <a:pt x="512" y="7668"/>
                  </a:lnTo>
                  <a:cubicBezTo>
                    <a:pt x="405" y="7668"/>
                    <a:pt x="334" y="7597"/>
                    <a:pt x="334" y="7490"/>
                  </a:cubicBezTo>
                  <a:lnTo>
                    <a:pt x="334" y="7144"/>
                  </a:lnTo>
                  <a:cubicBezTo>
                    <a:pt x="334" y="7144"/>
                    <a:pt x="334" y="7132"/>
                    <a:pt x="346" y="7132"/>
                  </a:cubicBezTo>
                  <a:lnTo>
                    <a:pt x="9037" y="7132"/>
                  </a:lnTo>
                  <a:cubicBezTo>
                    <a:pt x="9132" y="7132"/>
                    <a:pt x="9204" y="7061"/>
                    <a:pt x="9204" y="6966"/>
                  </a:cubicBezTo>
                  <a:cubicBezTo>
                    <a:pt x="9204" y="6882"/>
                    <a:pt x="9132" y="6799"/>
                    <a:pt x="9037" y="6799"/>
                  </a:cubicBezTo>
                  <a:lnTo>
                    <a:pt x="858" y="6799"/>
                  </a:lnTo>
                  <a:lnTo>
                    <a:pt x="858" y="489"/>
                  </a:lnTo>
                  <a:cubicBezTo>
                    <a:pt x="858" y="393"/>
                    <a:pt x="929" y="310"/>
                    <a:pt x="1036" y="310"/>
                  </a:cubicBezTo>
                  <a:close/>
                  <a:moveTo>
                    <a:pt x="1012" y="0"/>
                  </a:moveTo>
                  <a:cubicBezTo>
                    <a:pt x="738" y="0"/>
                    <a:pt x="512" y="227"/>
                    <a:pt x="512" y="512"/>
                  </a:cubicBezTo>
                  <a:lnTo>
                    <a:pt x="512" y="6823"/>
                  </a:lnTo>
                  <a:lnTo>
                    <a:pt x="334" y="6823"/>
                  </a:lnTo>
                  <a:cubicBezTo>
                    <a:pt x="155" y="6823"/>
                    <a:pt x="0" y="6966"/>
                    <a:pt x="0" y="7144"/>
                  </a:cubicBezTo>
                  <a:lnTo>
                    <a:pt x="0" y="7490"/>
                  </a:lnTo>
                  <a:cubicBezTo>
                    <a:pt x="0" y="7775"/>
                    <a:pt x="226" y="8001"/>
                    <a:pt x="512" y="8001"/>
                  </a:cubicBezTo>
                  <a:lnTo>
                    <a:pt x="10394" y="8001"/>
                  </a:lnTo>
                  <a:cubicBezTo>
                    <a:pt x="10680" y="8001"/>
                    <a:pt x="10894" y="7775"/>
                    <a:pt x="10894" y="7490"/>
                  </a:cubicBezTo>
                  <a:lnTo>
                    <a:pt x="10894" y="7144"/>
                  </a:lnTo>
                  <a:cubicBezTo>
                    <a:pt x="10883" y="6966"/>
                    <a:pt x="10728" y="6823"/>
                    <a:pt x="10561" y="6823"/>
                  </a:cubicBezTo>
                  <a:lnTo>
                    <a:pt x="10383" y="6823"/>
                  </a:lnTo>
                  <a:lnTo>
                    <a:pt x="10383" y="512"/>
                  </a:lnTo>
                  <a:cubicBezTo>
                    <a:pt x="10383" y="227"/>
                    <a:pt x="10156" y="0"/>
                    <a:pt x="9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95" name="Google Shape;13295;p64"/>
          <p:cNvSpPr/>
          <p:nvPr/>
        </p:nvSpPr>
        <p:spPr>
          <a:xfrm>
            <a:off x="3227863" y="2891128"/>
            <a:ext cx="347552" cy="346438"/>
          </a:xfrm>
          <a:custGeom>
            <a:avLst/>
            <a:gdLst/>
            <a:ahLst/>
            <a:cxnLst/>
            <a:rect l="l" t="t" r="r" b="b"/>
            <a:pathLst>
              <a:path w="10919" h="10884" extrusionOk="0">
                <a:moveTo>
                  <a:pt x="9561" y="561"/>
                </a:moveTo>
                <a:lnTo>
                  <a:pt x="9561" y="1203"/>
                </a:lnTo>
                <a:cubicBezTo>
                  <a:pt x="9561" y="1299"/>
                  <a:pt x="9633" y="1370"/>
                  <a:pt x="9728" y="1370"/>
                </a:cubicBezTo>
                <a:lnTo>
                  <a:pt x="10359" y="1370"/>
                </a:lnTo>
                <a:lnTo>
                  <a:pt x="8966" y="2739"/>
                </a:lnTo>
                <a:lnTo>
                  <a:pt x="8394" y="2739"/>
                </a:lnTo>
                <a:lnTo>
                  <a:pt x="9323" y="1811"/>
                </a:lnTo>
                <a:cubicBezTo>
                  <a:pt x="9383" y="1751"/>
                  <a:pt x="9383" y="1644"/>
                  <a:pt x="9323" y="1584"/>
                </a:cubicBezTo>
                <a:cubicBezTo>
                  <a:pt x="9293" y="1555"/>
                  <a:pt x="9252" y="1540"/>
                  <a:pt x="9210" y="1540"/>
                </a:cubicBezTo>
                <a:cubicBezTo>
                  <a:pt x="9168" y="1540"/>
                  <a:pt x="9127" y="1555"/>
                  <a:pt x="9097" y="1584"/>
                </a:cubicBezTo>
                <a:lnTo>
                  <a:pt x="8180" y="2513"/>
                </a:lnTo>
                <a:lnTo>
                  <a:pt x="8180" y="1954"/>
                </a:lnTo>
                <a:lnTo>
                  <a:pt x="9561" y="561"/>
                </a:lnTo>
                <a:close/>
                <a:moveTo>
                  <a:pt x="4441" y="2382"/>
                </a:moveTo>
                <a:cubicBezTo>
                  <a:pt x="5513" y="2382"/>
                  <a:pt x="6489" y="2799"/>
                  <a:pt x="7228" y="3466"/>
                </a:cubicBezTo>
                <a:lnTo>
                  <a:pt x="4334" y="6347"/>
                </a:lnTo>
                <a:cubicBezTo>
                  <a:pt x="4275" y="6406"/>
                  <a:pt x="4275" y="6514"/>
                  <a:pt x="4334" y="6573"/>
                </a:cubicBezTo>
                <a:cubicBezTo>
                  <a:pt x="4370" y="6609"/>
                  <a:pt x="4406" y="6621"/>
                  <a:pt x="4453" y="6621"/>
                </a:cubicBezTo>
                <a:cubicBezTo>
                  <a:pt x="4501" y="6621"/>
                  <a:pt x="4525" y="6609"/>
                  <a:pt x="4572" y="6573"/>
                </a:cubicBezTo>
                <a:lnTo>
                  <a:pt x="5287" y="5859"/>
                </a:lnTo>
                <a:cubicBezTo>
                  <a:pt x="5418" y="6037"/>
                  <a:pt x="5477" y="6252"/>
                  <a:pt x="5477" y="6478"/>
                </a:cubicBezTo>
                <a:cubicBezTo>
                  <a:pt x="5477" y="7038"/>
                  <a:pt x="5013" y="7502"/>
                  <a:pt x="4453" y="7502"/>
                </a:cubicBezTo>
                <a:cubicBezTo>
                  <a:pt x="3894" y="7502"/>
                  <a:pt x="3429" y="7038"/>
                  <a:pt x="3429" y="6478"/>
                </a:cubicBezTo>
                <a:cubicBezTo>
                  <a:pt x="3429" y="5906"/>
                  <a:pt x="3894" y="5442"/>
                  <a:pt x="4453" y="5442"/>
                </a:cubicBezTo>
                <a:cubicBezTo>
                  <a:pt x="4513" y="5442"/>
                  <a:pt x="4584" y="5442"/>
                  <a:pt x="4644" y="5466"/>
                </a:cubicBezTo>
                <a:cubicBezTo>
                  <a:pt x="4652" y="5467"/>
                  <a:pt x="4660" y="5467"/>
                  <a:pt x="4668" y="5467"/>
                </a:cubicBezTo>
                <a:cubicBezTo>
                  <a:pt x="4751" y="5467"/>
                  <a:pt x="4813" y="5410"/>
                  <a:pt x="4834" y="5323"/>
                </a:cubicBezTo>
                <a:cubicBezTo>
                  <a:pt x="4858" y="5240"/>
                  <a:pt x="4799" y="5168"/>
                  <a:pt x="4703" y="5133"/>
                </a:cubicBezTo>
                <a:cubicBezTo>
                  <a:pt x="4620" y="5121"/>
                  <a:pt x="4537" y="5109"/>
                  <a:pt x="4453" y="5109"/>
                </a:cubicBezTo>
                <a:cubicBezTo>
                  <a:pt x="3703" y="5109"/>
                  <a:pt x="3096" y="5716"/>
                  <a:pt x="3096" y="6454"/>
                </a:cubicBezTo>
                <a:cubicBezTo>
                  <a:pt x="3096" y="7204"/>
                  <a:pt x="3703" y="7811"/>
                  <a:pt x="4453" y="7811"/>
                </a:cubicBezTo>
                <a:cubicBezTo>
                  <a:pt x="5192" y="7811"/>
                  <a:pt x="5811" y="7204"/>
                  <a:pt x="5811" y="6454"/>
                </a:cubicBezTo>
                <a:cubicBezTo>
                  <a:pt x="5811" y="6145"/>
                  <a:pt x="5704" y="5859"/>
                  <a:pt x="5525" y="5621"/>
                </a:cubicBezTo>
                <a:lnTo>
                  <a:pt x="6025" y="5121"/>
                </a:lnTo>
                <a:cubicBezTo>
                  <a:pt x="6346" y="5490"/>
                  <a:pt x="6525" y="5966"/>
                  <a:pt x="6525" y="6454"/>
                </a:cubicBezTo>
                <a:cubicBezTo>
                  <a:pt x="6525" y="7585"/>
                  <a:pt x="5596" y="8514"/>
                  <a:pt x="4465" y="8514"/>
                </a:cubicBezTo>
                <a:cubicBezTo>
                  <a:pt x="3334" y="8514"/>
                  <a:pt x="2417" y="7585"/>
                  <a:pt x="2417" y="6454"/>
                </a:cubicBezTo>
                <a:cubicBezTo>
                  <a:pt x="2417" y="5323"/>
                  <a:pt x="3334" y="4406"/>
                  <a:pt x="4465" y="4406"/>
                </a:cubicBezTo>
                <a:cubicBezTo>
                  <a:pt x="4811" y="4406"/>
                  <a:pt x="5156" y="4490"/>
                  <a:pt x="5453" y="4656"/>
                </a:cubicBezTo>
                <a:cubicBezTo>
                  <a:pt x="5476" y="4671"/>
                  <a:pt x="5502" y="4678"/>
                  <a:pt x="5528" y="4678"/>
                </a:cubicBezTo>
                <a:cubicBezTo>
                  <a:pt x="5585" y="4678"/>
                  <a:pt x="5643" y="4646"/>
                  <a:pt x="5668" y="4597"/>
                </a:cubicBezTo>
                <a:cubicBezTo>
                  <a:pt x="5715" y="4525"/>
                  <a:pt x="5692" y="4418"/>
                  <a:pt x="5608" y="4371"/>
                </a:cubicBezTo>
                <a:cubicBezTo>
                  <a:pt x="5275" y="4180"/>
                  <a:pt x="4882" y="4097"/>
                  <a:pt x="4477" y="4097"/>
                </a:cubicBezTo>
                <a:cubicBezTo>
                  <a:pt x="3167" y="4097"/>
                  <a:pt x="2120" y="5168"/>
                  <a:pt x="2120" y="6454"/>
                </a:cubicBezTo>
                <a:cubicBezTo>
                  <a:pt x="2120" y="7764"/>
                  <a:pt x="3191" y="8823"/>
                  <a:pt x="4477" y="8823"/>
                </a:cubicBezTo>
                <a:cubicBezTo>
                  <a:pt x="5787" y="8823"/>
                  <a:pt x="6847" y="7752"/>
                  <a:pt x="6847" y="6454"/>
                </a:cubicBezTo>
                <a:cubicBezTo>
                  <a:pt x="6847" y="5883"/>
                  <a:pt x="6644" y="5323"/>
                  <a:pt x="6263" y="4894"/>
                </a:cubicBezTo>
                <a:lnTo>
                  <a:pt x="6763" y="4406"/>
                </a:lnTo>
                <a:cubicBezTo>
                  <a:pt x="7263" y="4966"/>
                  <a:pt x="7549" y="5704"/>
                  <a:pt x="7549" y="6454"/>
                </a:cubicBezTo>
                <a:cubicBezTo>
                  <a:pt x="7549" y="8157"/>
                  <a:pt x="6168" y="9538"/>
                  <a:pt x="4465" y="9538"/>
                </a:cubicBezTo>
                <a:cubicBezTo>
                  <a:pt x="2775" y="9538"/>
                  <a:pt x="1382" y="8157"/>
                  <a:pt x="1382" y="6454"/>
                </a:cubicBezTo>
                <a:cubicBezTo>
                  <a:pt x="1382" y="4763"/>
                  <a:pt x="2775" y="3382"/>
                  <a:pt x="4465" y="3382"/>
                </a:cubicBezTo>
                <a:cubicBezTo>
                  <a:pt x="5061" y="3382"/>
                  <a:pt x="5632" y="3537"/>
                  <a:pt x="6132" y="3870"/>
                </a:cubicBezTo>
                <a:cubicBezTo>
                  <a:pt x="6157" y="3887"/>
                  <a:pt x="6187" y="3895"/>
                  <a:pt x="6217" y="3895"/>
                </a:cubicBezTo>
                <a:cubicBezTo>
                  <a:pt x="6272" y="3895"/>
                  <a:pt x="6328" y="3869"/>
                  <a:pt x="6358" y="3823"/>
                </a:cubicBezTo>
                <a:cubicBezTo>
                  <a:pt x="6406" y="3751"/>
                  <a:pt x="6382" y="3644"/>
                  <a:pt x="6311" y="3597"/>
                </a:cubicBezTo>
                <a:cubicBezTo>
                  <a:pt x="5763" y="3239"/>
                  <a:pt x="5132" y="3061"/>
                  <a:pt x="4477" y="3061"/>
                </a:cubicBezTo>
                <a:cubicBezTo>
                  <a:pt x="2608" y="3061"/>
                  <a:pt x="1084" y="4585"/>
                  <a:pt x="1084" y="6454"/>
                </a:cubicBezTo>
                <a:cubicBezTo>
                  <a:pt x="1084" y="8335"/>
                  <a:pt x="2608" y="9847"/>
                  <a:pt x="4477" y="9847"/>
                </a:cubicBezTo>
                <a:cubicBezTo>
                  <a:pt x="6358" y="9847"/>
                  <a:pt x="7870" y="8335"/>
                  <a:pt x="7870" y="6454"/>
                </a:cubicBezTo>
                <a:cubicBezTo>
                  <a:pt x="7870" y="5609"/>
                  <a:pt x="7561" y="4811"/>
                  <a:pt x="7001" y="4168"/>
                </a:cubicBezTo>
                <a:lnTo>
                  <a:pt x="7489" y="3680"/>
                </a:lnTo>
                <a:cubicBezTo>
                  <a:pt x="8120" y="4418"/>
                  <a:pt x="8537" y="5394"/>
                  <a:pt x="8537" y="6478"/>
                </a:cubicBezTo>
                <a:cubicBezTo>
                  <a:pt x="8537" y="8740"/>
                  <a:pt x="6692" y="10562"/>
                  <a:pt x="4441" y="10562"/>
                </a:cubicBezTo>
                <a:cubicBezTo>
                  <a:pt x="2191" y="10562"/>
                  <a:pt x="346" y="8716"/>
                  <a:pt x="346" y="6478"/>
                </a:cubicBezTo>
                <a:cubicBezTo>
                  <a:pt x="346" y="4228"/>
                  <a:pt x="2191" y="2382"/>
                  <a:pt x="4441" y="2382"/>
                </a:cubicBezTo>
                <a:close/>
                <a:moveTo>
                  <a:pt x="9701" y="1"/>
                </a:moveTo>
                <a:cubicBezTo>
                  <a:pt x="9659" y="1"/>
                  <a:pt x="9617" y="17"/>
                  <a:pt x="9585" y="49"/>
                </a:cubicBezTo>
                <a:lnTo>
                  <a:pt x="7894" y="1739"/>
                </a:lnTo>
                <a:cubicBezTo>
                  <a:pt x="7859" y="1775"/>
                  <a:pt x="7847" y="1811"/>
                  <a:pt x="7847" y="1858"/>
                </a:cubicBezTo>
                <a:lnTo>
                  <a:pt x="7847" y="2811"/>
                </a:lnTo>
                <a:lnTo>
                  <a:pt x="7430" y="3228"/>
                </a:lnTo>
                <a:cubicBezTo>
                  <a:pt x="6644" y="2501"/>
                  <a:pt x="5584" y="2037"/>
                  <a:pt x="4430" y="2037"/>
                </a:cubicBezTo>
                <a:cubicBezTo>
                  <a:pt x="1989" y="2037"/>
                  <a:pt x="0" y="4013"/>
                  <a:pt x="0" y="6454"/>
                </a:cubicBezTo>
                <a:cubicBezTo>
                  <a:pt x="0" y="8895"/>
                  <a:pt x="1989" y="10883"/>
                  <a:pt x="4430" y="10883"/>
                </a:cubicBezTo>
                <a:cubicBezTo>
                  <a:pt x="6870" y="10883"/>
                  <a:pt x="8847" y="8895"/>
                  <a:pt x="8847" y="6454"/>
                </a:cubicBezTo>
                <a:cubicBezTo>
                  <a:pt x="8847" y="5299"/>
                  <a:pt x="8394" y="4240"/>
                  <a:pt x="7656" y="3454"/>
                </a:cubicBezTo>
                <a:lnTo>
                  <a:pt x="8073" y="3037"/>
                </a:lnTo>
                <a:lnTo>
                  <a:pt x="9025" y="3037"/>
                </a:lnTo>
                <a:cubicBezTo>
                  <a:pt x="9073" y="3037"/>
                  <a:pt x="9109" y="3013"/>
                  <a:pt x="9144" y="2989"/>
                </a:cubicBezTo>
                <a:lnTo>
                  <a:pt x="10835" y="1299"/>
                </a:lnTo>
                <a:cubicBezTo>
                  <a:pt x="10895" y="1251"/>
                  <a:pt x="10918" y="1192"/>
                  <a:pt x="10883" y="1132"/>
                </a:cubicBezTo>
                <a:cubicBezTo>
                  <a:pt x="10859" y="1072"/>
                  <a:pt x="10799" y="1025"/>
                  <a:pt x="10740" y="1025"/>
                </a:cubicBezTo>
                <a:lnTo>
                  <a:pt x="9871" y="1025"/>
                </a:lnTo>
                <a:lnTo>
                  <a:pt x="9871" y="168"/>
                </a:lnTo>
                <a:cubicBezTo>
                  <a:pt x="9871" y="108"/>
                  <a:pt x="9823" y="49"/>
                  <a:pt x="9764" y="13"/>
                </a:cubicBezTo>
                <a:cubicBezTo>
                  <a:pt x="9744" y="5"/>
                  <a:pt x="9723" y="1"/>
                  <a:pt x="97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96" name="Google Shape;13296;p64"/>
          <p:cNvGrpSpPr/>
          <p:nvPr/>
        </p:nvGrpSpPr>
        <p:grpSpPr>
          <a:xfrm>
            <a:off x="1836637" y="2891510"/>
            <a:ext cx="286152" cy="346438"/>
            <a:chOff x="1836637" y="2891510"/>
            <a:chExt cx="286152" cy="346438"/>
          </a:xfrm>
        </p:grpSpPr>
        <p:sp>
          <p:nvSpPr>
            <p:cNvPr id="13297" name="Google Shape;13297;p64"/>
            <p:cNvSpPr/>
            <p:nvPr/>
          </p:nvSpPr>
          <p:spPr>
            <a:xfrm>
              <a:off x="1836637" y="3059413"/>
              <a:ext cx="286152" cy="178534"/>
            </a:xfrm>
            <a:custGeom>
              <a:avLst/>
              <a:gdLst/>
              <a:ahLst/>
              <a:cxnLst/>
              <a:rect l="l" t="t" r="r" b="b"/>
              <a:pathLst>
                <a:path w="8990" h="5609" extrusionOk="0">
                  <a:moveTo>
                    <a:pt x="3072" y="322"/>
                  </a:moveTo>
                  <a:cubicBezTo>
                    <a:pt x="3156" y="322"/>
                    <a:pt x="3251" y="357"/>
                    <a:pt x="3322" y="429"/>
                  </a:cubicBezTo>
                  <a:cubicBezTo>
                    <a:pt x="3382" y="488"/>
                    <a:pt x="3430" y="572"/>
                    <a:pt x="3430" y="679"/>
                  </a:cubicBezTo>
                  <a:lnTo>
                    <a:pt x="3430" y="1108"/>
                  </a:lnTo>
                  <a:cubicBezTo>
                    <a:pt x="3406" y="1286"/>
                    <a:pt x="3311" y="1453"/>
                    <a:pt x="3144" y="1560"/>
                  </a:cubicBezTo>
                  <a:cubicBezTo>
                    <a:pt x="3096" y="1584"/>
                    <a:pt x="3072" y="1631"/>
                    <a:pt x="3072" y="1691"/>
                  </a:cubicBezTo>
                  <a:lnTo>
                    <a:pt x="3072" y="1870"/>
                  </a:lnTo>
                  <a:lnTo>
                    <a:pt x="2715" y="1870"/>
                  </a:lnTo>
                  <a:lnTo>
                    <a:pt x="2715" y="1691"/>
                  </a:lnTo>
                  <a:cubicBezTo>
                    <a:pt x="2715" y="1631"/>
                    <a:pt x="2679" y="1584"/>
                    <a:pt x="2632" y="1560"/>
                  </a:cubicBezTo>
                  <a:cubicBezTo>
                    <a:pt x="2477" y="1465"/>
                    <a:pt x="2370" y="1286"/>
                    <a:pt x="2370" y="1108"/>
                  </a:cubicBezTo>
                  <a:lnTo>
                    <a:pt x="2370" y="679"/>
                  </a:lnTo>
                  <a:cubicBezTo>
                    <a:pt x="2370" y="488"/>
                    <a:pt x="2537" y="322"/>
                    <a:pt x="2727" y="322"/>
                  </a:cubicBezTo>
                  <a:close/>
                  <a:moveTo>
                    <a:pt x="6132" y="322"/>
                  </a:moveTo>
                  <a:cubicBezTo>
                    <a:pt x="6228" y="322"/>
                    <a:pt x="6311" y="357"/>
                    <a:pt x="6382" y="429"/>
                  </a:cubicBezTo>
                  <a:cubicBezTo>
                    <a:pt x="6442" y="488"/>
                    <a:pt x="6489" y="572"/>
                    <a:pt x="6489" y="679"/>
                  </a:cubicBezTo>
                  <a:lnTo>
                    <a:pt x="6489" y="1108"/>
                  </a:lnTo>
                  <a:cubicBezTo>
                    <a:pt x="6478" y="1286"/>
                    <a:pt x="6370" y="1453"/>
                    <a:pt x="6204" y="1560"/>
                  </a:cubicBezTo>
                  <a:cubicBezTo>
                    <a:pt x="6168" y="1584"/>
                    <a:pt x="6132" y="1631"/>
                    <a:pt x="6132" y="1691"/>
                  </a:cubicBezTo>
                  <a:lnTo>
                    <a:pt x="6132" y="1870"/>
                  </a:lnTo>
                  <a:lnTo>
                    <a:pt x="5775" y="1870"/>
                  </a:lnTo>
                  <a:lnTo>
                    <a:pt x="5775" y="1691"/>
                  </a:lnTo>
                  <a:cubicBezTo>
                    <a:pt x="5775" y="1631"/>
                    <a:pt x="5751" y="1584"/>
                    <a:pt x="5704" y="1560"/>
                  </a:cubicBezTo>
                  <a:cubicBezTo>
                    <a:pt x="5537" y="1465"/>
                    <a:pt x="5430" y="1286"/>
                    <a:pt x="5430" y="1108"/>
                  </a:cubicBezTo>
                  <a:lnTo>
                    <a:pt x="5430" y="679"/>
                  </a:lnTo>
                  <a:cubicBezTo>
                    <a:pt x="5430" y="488"/>
                    <a:pt x="5597" y="322"/>
                    <a:pt x="5787" y="322"/>
                  </a:cubicBezTo>
                  <a:close/>
                  <a:moveTo>
                    <a:pt x="1536" y="2024"/>
                  </a:moveTo>
                  <a:cubicBezTo>
                    <a:pt x="1620" y="2024"/>
                    <a:pt x="1715" y="2048"/>
                    <a:pt x="1787" y="2120"/>
                  </a:cubicBezTo>
                  <a:cubicBezTo>
                    <a:pt x="1846" y="2179"/>
                    <a:pt x="1894" y="2274"/>
                    <a:pt x="1894" y="2382"/>
                  </a:cubicBezTo>
                  <a:lnTo>
                    <a:pt x="1894" y="2810"/>
                  </a:lnTo>
                  <a:lnTo>
                    <a:pt x="1882" y="2810"/>
                  </a:lnTo>
                  <a:cubicBezTo>
                    <a:pt x="1882" y="2989"/>
                    <a:pt x="1775" y="3167"/>
                    <a:pt x="1608" y="3251"/>
                  </a:cubicBezTo>
                  <a:cubicBezTo>
                    <a:pt x="1560" y="3286"/>
                    <a:pt x="1536" y="3334"/>
                    <a:pt x="1536" y="3382"/>
                  </a:cubicBezTo>
                  <a:lnTo>
                    <a:pt x="1536" y="3572"/>
                  </a:lnTo>
                  <a:lnTo>
                    <a:pt x="1179" y="3572"/>
                  </a:lnTo>
                  <a:lnTo>
                    <a:pt x="1179" y="3382"/>
                  </a:lnTo>
                  <a:cubicBezTo>
                    <a:pt x="1179" y="3334"/>
                    <a:pt x="1144" y="3286"/>
                    <a:pt x="1108" y="3251"/>
                  </a:cubicBezTo>
                  <a:cubicBezTo>
                    <a:pt x="941" y="3167"/>
                    <a:pt x="834" y="2989"/>
                    <a:pt x="834" y="2810"/>
                  </a:cubicBezTo>
                  <a:lnTo>
                    <a:pt x="834" y="2382"/>
                  </a:lnTo>
                  <a:cubicBezTo>
                    <a:pt x="834" y="2179"/>
                    <a:pt x="1001" y="2024"/>
                    <a:pt x="1191" y="2024"/>
                  </a:cubicBezTo>
                  <a:close/>
                  <a:moveTo>
                    <a:pt x="4596" y="2024"/>
                  </a:moveTo>
                  <a:cubicBezTo>
                    <a:pt x="4692" y="2024"/>
                    <a:pt x="4775" y="2048"/>
                    <a:pt x="4858" y="2120"/>
                  </a:cubicBezTo>
                  <a:cubicBezTo>
                    <a:pt x="4918" y="2179"/>
                    <a:pt x="4954" y="2274"/>
                    <a:pt x="4954" y="2382"/>
                  </a:cubicBezTo>
                  <a:lnTo>
                    <a:pt x="4954" y="2810"/>
                  </a:lnTo>
                  <a:cubicBezTo>
                    <a:pt x="4942" y="3001"/>
                    <a:pt x="4835" y="3167"/>
                    <a:pt x="4680" y="3251"/>
                  </a:cubicBezTo>
                  <a:cubicBezTo>
                    <a:pt x="4632" y="3286"/>
                    <a:pt x="4596" y="3334"/>
                    <a:pt x="4596" y="3382"/>
                  </a:cubicBezTo>
                  <a:lnTo>
                    <a:pt x="4596" y="3572"/>
                  </a:lnTo>
                  <a:lnTo>
                    <a:pt x="4239" y="3572"/>
                  </a:lnTo>
                  <a:lnTo>
                    <a:pt x="4239" y="3382"/>
                  </a:lnTo>
                  <a:cubicBezTo>
                    <a:pt x="4239" y="3334"/>
                    <a:pt x="4215" y="3286"/>
                    <a:pt x="4168" y="3251"/>
                  </a:cubicBezTo>
                  <a:cubicBezTo>
                    <a:pt x="4001" y="3167"/>
                    <a:pt x="3906" y="2989"/>
                    <a:pt x="3906" y="2810"/>
                  </a:cubicBezTo>
                  <a:lnTo>
                    <a:pt x="3906" y="2382"/>
                  </a:lnTo>
                  <a:cubicBezTo>
                    <a:pt x="3906" y="2179"/>
                    <a:pt x="4061" y="2024"/>
                    <a:pt x="4263" y="2024"/>
                  </a:cubicBezTo>
                  <a:close/>
                  <a:moveTo>
                    <a:pt x="7668" y="2024"/>
                  </a:moveTo>
                  <a:cubicBezTo>
                    <a:pt x="7752" y="2024"/>
                    <a:pt x="7847" y="2048"/>
                    <a:pt x="7918" y="2120"/>
                  </a:cubicBezTo>
                  <a:cubicBezTo>
                    <a:pt x="7978" y="2179"/>
                    <a:pt x="8025" y="2274"/>
                    <a:pt x="8025" y="2382"/>
                  </a:cubicBezTo>
                  <a:lnTo>
                    <a:pt x="8025" y="2810"/>
                  </a:lnTo>
                  <a:cubicBezTo>
                    <a:pt x="8013" y="3001"/>
                    <a:pt x="7906" y="3167"/>
                    <a:pt x="7740" y="3251"/>
                  </a:cubicBezTo>
                  <a:cubicBezTo>
                    <a:pt x="7692" y="3286"/>
                    <a:pt x="7668" y="3334"/>
                    <a:pt x="7668" y="3382"/>
                  </a:cubicBezTo>
                  <a:lnTo>
                    <a:pt x="7668" y="3572"/>
                  </a:lnTo>
                  <a:lnTo>
                    <a:pt x="7311" y="3572"/>
                  </a:lnTo>
                  <a:lnTo>
                    <a:pt x="7311" y="3382"/>
                  </a:lnTo>
                  <a:cubicBezTo>
                    <a:pt x="7311" y="3334"/>
                    <a:pt x="7275" y="3286"/>
                    <a:pt x="7240" y="3251"/>
                  </a:cubicBezTo>
                  <a:cubicBezTo>
                    <a:pt x="7073" y="3167"/>
                    <a:pt x="6966" y="2989"/>
                    <a:pt x="6966" y="2810"/>
                  </a:cubicBezTo>
                  <a:lnTo>
                    <a:pt x="6966" y="2382"/>
                  </a:lnTo>
                  <a:cubicBezTo>
                    <a:pt x="6966" y="2179"/>
                    <a:pt x="7132" y="2024"/>
                    <a:pt x="7323" y="2024"/>
                  </a:cubicBezTo>
                  <a:close/>
                  <a:moveTo>
                    <a:pt x="2715" y="0"/>
                  </a:moveTo>
                  <a:cubicBezTo>
                    <a:pt x="2334" y="0"/>
                    <a:pt x="2037" y="298"/>
                    <a:pt x="2037" y="667"/>
                  </a:cubicBezTo>
                  <a:lnTo>
                    <a:pt x="2037" y="1096"/>
                  </a:lnTo>
                  <a:cubicBezTo>
                    <a:pt x="2037" y="1370"/>
                    <a:pt x="2179" y="1620"/>
                    <a:pt x="2382" y="1762"/>
                  </a:cubicBezTo>
                  <a:lnTo>
                    <a:pt x="2382" y="1917"/>
                  </a:lnTo>
                  <a:lnTo>
                    <a:pt x="2096" y="2036"/>
                  </a:lnTo>
                  <a:cubicBezTo>
                    <a:pt x="2072" y="1989"/>
                    <a:pt x="2037" y="1941"/>
                    <a:pt x="2001" y="1905"/>
                  </a:cubicBezTo>
                  <a:cubicBezTo>
                    <a:pt x="1858" y="1786"/>
                    <a:pt x="1703" y="1703"/>
                    <a:pt x="1525" y="1703"/>
                  </a:cubicBezTo>
                  <a:lnTo>
                    <a:pt x="1179" y="1703"/>
                  </a:lnTo>
                  <a:cubicBezTo>
                    <a:pt x="810" y="1703"/>
                    <a:pt x="513" y="2001"/>
                    <a:pt x="513" y="2382"/>
                  </a:cubicBezTo>
                  <a:lnTo>
                    <a:pt x="513" y="2810"/>
                  </a:lnTo>
                  <a:cubicBezTo>
                    <a:pt x="513" y="3072"/>
                    <a:pt x="644" y="3334"/>
                    <a:pt x="846" y="3477"/>
                  </a:cubicBezTo>
                  <a:lnTo>
                    <a:pt x="846" y="3632"/>
                  </a:lnTo>
                  <a:lnTo>
                    <a:pt x="417" y="3810"/>
                  </a:lnTo>
                  <a:cubicBezTo>
                    <a:pt x="167" y="3906"/>
                    <a:pt x="1" y="4144"/>
                    <a:pt x="1" y="4429"/>
                  </a:cubicBezTo>
                  <a:lnTo>
                    <a:pt x="1" y="5441"/>
                  </a:lnTo>
                  <a:cubicBezTo>
                    <a:pt x="1" y="5537"/>
                    <a:pt x="72" y="5608"/>
                    <a:pt x="167" y="5608"/>
                  </a:cubicBezTo>
                  <a:cubicBezTo>
                    <a:pt x="251" y="5608"/>
                    <a:pt x="334" y="5537"/>
                    <a:pt x="334" y="5441"/>
                  </a:cubicBezTo>
                  <a:lnTo>
                    <a:pt x="334" y="4429"/>
                  </a:lnTo>
                  <a:cubicBezTo>
                    <a:pt x="334" y="4287"/>
                    <a:pt x="417" y="4167"/>
                    <a:pt x="548" y="4108"/>
                  </a:cubicBezTo>
                  <a:lnTo>
                    <a:pt x="1060" y="3906"/>
                  </a:lnTo>
                  <a:lnTo>
                    <a:pt x="1679" y="3906"/>
                  </a:lnTo>
                  <a:lnTo>
                    <a:pt x="2191" y="4108"/>
                  </a:lnTo>
                  <a:cubicBezTo>
                    <a:pt x="2322" y="4167"/>
                    <a:pt x="2418" y="4287"/>
                    <a:pt x="2418" y="4429"/>
                  </a:cubicBezTo>
                  <a:lnTo>
                    <a:pt x="2418" y="5441"/>
                  </a:lnTo>
                  <a:cubicBezTo>
                    <a:pt x="2418" y="5537"/>
                    <a:pt x="2489" y="5608"/>
                    <a:pt x="2572" y="5608"/>
                  </a:cubicBezTo>
                  <a:cubicBezTo>
                    <a:pt x="2668" y="5608"/>
                    <a:pt x="2739" y="5537"/>
                    <a:pt x="2739" y="5441"/>
                  </a:cubicBezTo>
                  <a:lnTo>
                    <a:pt x="2739" y="4429"/>
                  </a:lnTo>
                  <a:cubicBezTo>
                    <a:pt x="2739" y="4144"/>
                    <a:pt x="2572" y="3906"/>
                    <a:pt x="2322" y="3810"/>
                  </a:cubicBezTo>
                  <a:lnTo>
                    <a:pt x="1894" y="3632"/>
                  </a:lnTo>
                  <a:lnTo>
                    <a:pt x="1894" y="3477"/>
                  </a:lnTo>
                  <a:cubicBezTo>
                    <a:pt x="2096" y="3310"/>
                    <a:pt x="2239" y="3072"/>
                    <a:pt x="2239" y="2810"/>
                  </a:cubicBezTo>
                  <a:lnTo>
                    <a:pt x="2239" y="2382"/>
                  </a:lnTo>
                  <a:lnTo>
                    <a:pt x="2239" y="2346"/>
                  </a:lnTo>
                  <a:lnTo>
                    <a:pt x="2620" y="2191"/>
                  </a:lnTo>
                  <a:lnTo>
                    <a:pt x="3251" y="2191"/>
                  </a:lnTo>
                  <a:lnTo>
                    <a:pt x="3632" y="2346"/>
                  </a:lnTo>
                  <a:lnTo>
                    <a:pt x="3632" y="2382"/>
                  </a:lnTo>
                  <a:lnTo>
                    <a:pt x="3632" y="2810"/>
                  </a:lnTo>
                  <a:cubicBezTo>
                    <a:pt x="3632" y="3072"/>
                    <a:pt x="3763" y="3334"/>
                    <a:pt x="3977" y="3477"/>
                  </a:cubicBezTo>
                  <a:lnTo>
                    <a:pt x="3977" y="3632"/>
                  </a:lnTo>
                  <a:lnTo>
                    <a:pt x="3549" y="3810"/>
                  </a:lnTo>
                  <a:cubicBezTo>
                    <a:pt x="3287" y="3906"/>
                    <a:pt x="3132" y="4144"/>
                    <a:pt x="3132" y="4429"/>
                  </a:cubicBezTo>
                  <a:lnTo>
                    <a:pt x="3132" y="5441"/>
                  </a:lnTo>
                  <a:cubicBezTo>
                    <a:pt x="3132" y="5537"/>
                    <a:pt x="3203" y="5608"/>
                    <a:pt x="3287" y="5608"/>
                  </a:cubicBezTo>
                  <a:cubicBezTo>
                    <a:pt x="3382" y="5608"/>
                    <a:pt x="3453" y="5537"/>
                    <a:pt x="3453" y="5441"/>
                  </a:cubicBezTo>
                  <a:lnTo>
                    <a:pt x="3453" y="4429"/>
                  </a:lnTo>
                  <a:cubicBezTo>
                    <a:pt x="3453" y="4287"/>
                    <a:pt x="3549" y="4167"/>
                    <a:pt x="3680" y="4108"/>
                  </a:cubicBezTo>
                  <a:lnTo>
                    <a:pt x="4180" y="3906"/>
                  </a:lnTo>
                  <a:lnTo>
                    <a:pt x="4811" y="3906"/>
                  </a:lnTo>
                  <a:lnTo>
                    <a:pt x="5311" y="4108"/>
                  </a:lnTo>
                  <a:cubicBezTo>
                    <a:pt x="5454" y="4167"/>
                    <a:pt x="5537" y="4287"/>
                    <a:pt x="5537" y="4429"/>
                  </a:cubicBezTo>
                  <a:lnTo>
                    <a:pt x="5537" y="5441"/>
                  </a:lnTo>
                  <a:cubicBezTo>
                    <a:pt x="5537" y="5537"/>
                    <a:pt x="5608" y="5608"/>
                    <a:pt x="5704" y="5608"/>
                  </a:cubicBezTo>
                  <a:cubicBezTo>
                    <a:pt x="5787" y="5608"/>
                    <a:pt x="5870" y="5537"/>
                    <a:pt x="5870" y="5441"/>
                  </a:cubicBezTo>
                  <a:lnTo>
                    <a:pt x="5870" y="4429"/>
                  </a:lnTo>
                  <a:cubicBezTo>
                    <a:pt x="5870" y="4144"/>
                    <a:pt x="5704" y="3906"/>
                    <a:pt x="5454" y="3810"/>
                  </a:cubicBezTo>
                  <a:lnTo>
                    <a:pt x="5013" y="3632"/>
                  </a:lnTo>
                  <a:lnTo>
                    <a:pt x="5013" y="3477"/>
                  </a:lnTo>
                  <a:cubicBezTo>
                    <a:pt x="5227" y="3310"/>
                    <a:pt x="5358" y="3072"/>
                    <a:pt x="5358" y="2810"/>
                  </a:cubicBezTo>
                  <a:lnTo>
                    <a:pt x="5358" y="2382"/>
                  </a:lnTo>
                  <a:lnTo>
                    <a:pt x="5358" y="2346"/>
                  </a:lnTo>
                  <a:lnTo>
                    <a:pt x="5751" y="2191"/>
                  </a:lnTo>
                  <a:lnTo>
                    <a:pt x="6370" y="2191"/>
                  </a:lnTo>
                  <a:lnTo>
                    <a:pt x="6763" y="2346"/>
                  </a:lnTo>
                  <a:lnTo>
                    <a:pt x="6763" y="2382"/>
                  </a:lnTo>
                  <a:lnTo>
                    <a:pt x="6763" y="2810"/>
                  </a:lnTo>
                  <a:cubicBezTo>
                    <a:pt x="6763" y="3072"/>
                    <a:pt x="6894" y="3334"/>
                    <a:pt x="7097" y="3477"/>
                  </a:cubicBezTo>
                  <a:lnTo>
                    <a:pt x="7097" y="3632"/>
                  </a:lnTo>
                  <a:lnTo>
                    <a:pt x="6668" y="3810"/>
                  </a:lnTo>
                  <a:cubicBezTo>
                    <a:pt x="6418" y="3906"/>
                    <a:pt x="6251" y="4144"/>
                    <a:pt x="6251" y="4429"/>
                  </a:cubicBezTo>
                  <a:lnTo>
                    <a:pt x="6251" y="5441"/>
                  </a:lnTo>
                  <a:cubicBezTo>
                    <a:pt x="6251" y="5537"/>
                    <a:pt x="6323" y="5608"/>
                    <a:pt x="6418" y="5608"/>
                  </a:cubicBezTo>
                  <a:cubicBezTo>
                    <a:pt x="6501" y="5608"/>
                    <a:pt x="6585" y="5537"/>
                    <a:pt x="6585" y="5441"/>
                  </a:cubicBezTo>
                  <a:lnTo>
                    <a:pt x="6585" y="4429"/>
                  </a:lnTo>
                  <a:cubicBezTo>
                    <a:pt x="6585" y="4287"/>
                    <a:pt x="6668" y="4167"/>
                    <a:pt x="6799" y="4108"/>
                  </a:cubicBezTo>
                  <a:lnTo>
                    <a:pt x="7311" y="3906"/>
                  </a:lnTo>
                  <a:lnTo>
                    <a:pt x="7930" y="3906"/>
                  </a:lnTo>
                  <a:lnTo>
                    <a:pt x="8442" y="4108"/>
                  </a:lnTo>
                  <a:cubicBezTo>
                    <a:pt x="8573" y="4167"/>
                    <a:pt x="8668" y="4287"/>
                    <a:pt x="8668" y="4429"/>
                  </a:cubicBezTo>
                  <a:lnTo>
                    <a:pt x="8668" y="5441"/>
                  </a:lnTo>
                  <a:cubicBezTo>
                    <a:pt x="8668" y="5537"/>
                    <a:pt x="8740" y="5608"/>
                    <a:pt x="8823" y="5608"/>
                  </a:cubicBezTo>
                  <a:cubicBezTo>
                    <a:pt x="8918" y="5608"/>
                    <a:pt x="8990" y="5537"/>
                    <a:pt x="8990" y="5441"/>
                  </a:cubicBezTo>
                  <a:lnTo>
                    <a:pt x="8990" y="4429"/>
                  </a:lnTo>
                  <a:cubicBezTo>
                    <a:pt x="8823" y="4144"/>
                    <a:pt x="8668" y="3906"/>
                    <a:pt x="8406" y="3810"/>
                  </a:cubicBezTo>
                  <a:lnTo>
                    <a:pt x="7978" y="3632"/>
                  </a:lnTo>
                  <a:lnTo>
                    <a:pt x="7978" y="3477"/>
                  </a:lnTo>
                  <a:cubicBezTo>
                    <a:pt x="8192" y="3310"/>
                    <a:pt x="8323" y="3072"/>
                    <a:pt x="8323" y="2810"/>
                  </a:cubicBezTo>
                  <a:lnTo>
                    <a:pt x="8323" y="2382"/>
                  </a:lnTo>
                  <a:cubicBezTo>
                    <a:pt x="8323" y="2191"/>
                    <a:pt x="8252" y="2036"/>
                    <a:pt x="8133" y="1893"/>
                  </a:cubicBezTo>
                  <a:cubicBezTo>
                    <a:pt x="7990" y="1786"/>
                    <a:pt x="7835" y="1703"/>
                    <a:pt x="7656" y="1703"/>
                  </a:cubicBezTo>
                  <a:lnTo>
                    <a:pt x="7311" y="1703"/>
                  </a:lnTo>
                  <a:cubicBezTo>
                    <a:pt x="7073" y="1703"/>
                    <a:pt x="6847" y="1846"/>
                    <a:pt x="6728" y="2036"/>
                  </a:cubicBezTo>
                  <a:lnTo>
                    <a:pt x="6442" y="1917"/>
                  </a:lnTo>
                  <a:lnTo>
                    <a:pt x="6442" y="1762"/>
                  </a:lnTo>
                  <a:cubicBezTo>
                    <a:pt x="6656" y="1608"/>
                    <a:pt x="6787" y="1370"/>
                    <a:pt x="6787" y="1096"/>
                  </a:cubicBezTo>
                  <a:lnTo>
                    <a:pt x="6787" y="667"/>
                  </a:lnTo>
                  <a:cubicBezTo>
                    <a:pt x="6787" y="488"/>
                    <a:pt x="6716" y="322"/>
                    <a:pt x="6597" y="191"/>
                  </a:cubicBezTo>
                  <a:cubicBezTo>
                    <a:pt x="6466" y="72"/>
                    <a:pt x="6299" y="0"/>
                    <a:pt x="6120" y="0"/>
                  </a:cubicBezTo>
                  <a:lnTo>
                    <a:pt x="5775" y="0"/>
                  </a:lnTo>
                  <a:cubicBezTo>
                    <a:pt x="5406" y="0"/>
                    <a:pt x="5108" y="298"/>
                    <a:pt x="5108" y="667"/>
                  </a:cubicBezTo>
                  <a:lnTo>
                    <a:pt x="5108" y="1096"/>
                  </a:lnTo>
                  <a:cubicBezTo>
                    <a:pt x="5108" y="1370"/>
                    <a:pt x="5239" y="1620"/>
                    <a:pt x="5454" y="1762"/>
                  </a:cubicBezTo>
                  <a:lnTo>
                    <a:pt x="5454" y="1917"/>
                  </a:lnTo>
                  <a:lnTo>
                    <a:pt x="5168" y="2036"/>
                  </a:lnTo>
                  <a:cubicBezTo>
                    <a:pt x="5132" y="1989"/>
                    <a:pt x="5108" y="1941"/>
                    <a:pt x="5061" y="1905"/>
                  </a:cubicBezTo>
                  <a:cubicBezTo>
                    <a:pt x="4930" y="1786"/>
                    <a:pt x="4763" y="1703"/>
                    <a:pt x="4584" y="1703"/>
                  </a:cubicBezTo>
                  <a:lnTo>
                    <a:pt x="4239" y="1703"/>
                  </a:lnTo>
                  <a:cubicBezTo>
                    <a:pt x="4001" y="1703"/>
                    <a:pt x="3787" y="1846"/>
                    <a:pt x="3668" y="2036"/>
                  </a:cubicBezTo>
                  <a:lnTo>
                    <a:pt x="3382" y="1917"/>
                  </a:lnTo>
                  <a:lnTo>
                    <a:pt x="3382" y="1762"/>
                  </a:lnTo>
                  <a:cubicBezTo>
                    <a:pt x="3584" y="1608"/>
                    <a:pt x="3727" y="1370"/>
                    <a:pt x="3727" y="1096"/>
                  </a:cubicBezTo>
                  <a:lnTo>
                    <a:pt x="3727" y="667"/>
                  </a:lnTo>
                  <a:cubicBezTo>
                    <a:pt x="3727" y="488"/>
                    <a:pt x="3644" y="322"/>
                    <a:pt x="3525" y="191"/>
                  </a:cubicBezTo>
                  <a:cubicBezTo>
                    <a:pt x="3394" y="72"/>
                    <a:pt x="3227" y="0"/>
                    <a:pt x="3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8" name="Google Shape;13298;p64"/>
            <p:cNvSpPr/>
            <p:nvPr/>
          </p:nvSpPr>
          <p:spPr>
            <a:xfrm>
              <a:off x="1917740" y="2891510"/>
              <a:ext cx="119394" cy="161474"/>
            </a:xfrm>
            <a:custGeom>
              <a:avLst/>
              <a:gdLst/>
              <a:ahLst/>
              <a:cxnLst/>
              <a:rect l="l" t="t" r="r" b="b"/>
              <a:pathLst>
                <a:path w="3751" h="5073" extrusionOk="0">
                  <a:moveTo>
                    <a:pt x="2036" y="310"/>
                  </a:moveTo>
                  <a:cubicBezTo>
                    <a:pt x="2227" y="310"/>
                    <a:pt x="2394" y="477"/>
                    <a:pt x="2394" y="668"/>
                  </a:cubicBezTo>
                  <a:lnTo>
                    <a:pt x="2394" y="1013"/>
                  </a:lnTo>
                  <a:cubicBezTo>
                    <a:pt x="2394" y="1299"/>
                    <a:pt x="2156" y="1537"/>
                    <a:pt x="1870" y="1537"/>
                  </a:cubicBezTo>
                  <a:cubicBezTo>
                    <a:pt x="1596" y="1537"/>
                    <a:pt x="1334" y="1299"/>
                    <a:pt x="1334" y="1013"/>
                  </a:cubicBezTo>
                  <a:lnTo>
                    <a:pt x="1334" y="668"/>
                  </a:lnTo>
                  <a:cubicBezTo>
                    <a:pt x="1334" y="477"/>
                    <a:pt x="1501" y="310"/>
                    <a:pt x="1691" y="310"/>
                  </a:cubicBezTo>
                  <a:close/>
                  <a:moveTo>
                    <a:pt x="2036" y="1834"/>
                  </a:moveTo>
                  <a:lnTo>
                    <a:pt x="2036" y="1918"/>
                  </a:lnTo>
                  <a:cubicBezTo>
                    <a:pt x="2048" y="1977"/>
                    <a:pt x="2072" y="2037"/>
                    <a:pt x="2096" y="2084"/>
                  </a:cubicBezTo>
                  <a:lnTo>
                    <a:pt x="1870" y="2311"/>
                  </a:lnTo>
                  <a:lnTo>
                    <a:pt x="1858" y="2311"/>
                  </a:lnTo>
                  <a:lnTo>
                    <a:pt x="1632" y="2084"/>
                  </a:lnTo>
                  <a:cubicBezTo>
                    <a:pt x="1667" y="2037"/>
                    <a:pt x="1679" y="1977"/>
                    <a:pt x="1679" y="1918"/>
                  </a:cubicBezTo>
                  <a:lnTo>
                    <a:pt x="1679" y="1834"/>
                  </a:lnTo>
                  <a:cubicBezTo>
                    <a:pt x="1739" y="1846"/>
                    <a:pt x="1798" y="1846"/>
                    <a:pt x="1858" y="1846"/>
                  </a:cubicBezTo>
                  <a:cubicBezTo>
                    <a:pt x="1917" y="1846"/>
                    <a:pt x="1977" y="1846"/>
                    <a:pt x="2036" y="1834"/>
                  </a:cubicBezTo>
                  <a:close/>
                  <a:moveTo>
                    <a:pt x="2382" y="2275"/>
                  </a:moveTo>
                  <a:lnTo>
                    <a:pt x="2668" y="2406"/>
                  </a:lnTo>
                  <a:cubicBezTo>
                    <a:pt x="2715" y="2442"/>
                    <a:pt x="2763" y="2501"/>
                    <a:pt x="2763" y="2573"/>
                  </a:cubicBezTo>
                  <a:lnTo>
                    <a:pt x="2763" y="2894"/>
                  </a:lnTo>
                  <a:lnTo>
                    <a:pt x="1036" y="2894"/>
                  </a:lnTo>
                  <a:lnTo>
                    <a:pt x="1036" y="2573"/>
                  </a:lnTo>
                  <a:lnTo>
                    <a:pt x="1013" y="2573"/>
                  </a:lnTo>
                  <a:cubicBezTo>
                    <a:pt x="1013" y="2501"/>
                    <a:pt x="1060" y="2442"/>
                    <a:pt x="1120" y="2406"/>
                  </a:cubicBezTo>
                  <a:lnTo>
                    <a:pt x="1394" y="2275"/>
                  </a:lnTo>
                  <a:lnTo>
                    <a:pt x="1655" y="2537"/>
                  </a:lnTo>
                  <a:cubicBezTo>
                    <a:pt x="1703" y="2596"/>
                    <a:pt x="1798" y="2620"/>
                    <a:pt x="1894" y="2620"/>
                  </a:cubicBezTo>
                  <a:cubicBezTo>
                    <a:pt x="1977" y="2620"/>
                    <a:pt x="2048" y="2596"/>
                    <a:pt x="2132" y="2537"/>
                  </a:cubicBezTo>
                  <a:lnTo>
                    <a:pt x="2382" y="2275"/>
                  </a:lnTo>
                  <a:close/>
                  <a:moveTo>
                    <a:pt x="3299" y="3216"/>
                  </a:moveTo>
                  <a:lnTo>
                    <a:pt x="3120" y="3573"/>
                  </a:lnTo>
                  <a:lnTo>
                    <a:pt x="596" y="3573"/>
                  </a:lnTo>
                  <a:lnTo>
                    <a:pt x="417" y="3216"/>
                  </a:lnTo>
                  <a:close/>
                  <a:moveTo>
                    <a:pt x="1691" y="1"/>
                  </a:moveTo>
                  <a:cubicBezTo>
                    <a:pt x="1322" y="1"/>
                    <a:pt x="1024" y="298"/>
                    <a:pt x="1024" y="668"/>
                  </a:cubicBezTo>
                  <a:lnTo>
                    <a:pt x="1024" y="1013"/>
                  </a:lnTo>
                  <a:cubicBezTo>
                    <a:pt x="1024" y="1299"/>
                    <a:pt x="1155" y="1537"/>
                    <a:pt x="1370" y="1680"/>
                  </a:cubicBezTo>
                  <a:lnTo>
                    <a:pt x="1370" y="1918"/>
                  </a:lnTo>
                  <a:lnTo>
                    <a:pt x="1370" y="1942"/>
                  </a:lnTo>
                  <a:lnTo>
                    <a:pt x="965" y="2132"/>
                  </a:lnTo>
                  <a:cubicBezTo>
                    <a:pt x="798" y="2215"/>
                    <a:pt x="679" y="2382"/>
                    <a:pt x="679" y="2573"/>
                  </a:cubicBezTo>
                  <a:lnTo>
                    <a:pt x="679" y="2894"/>
                  </a:lnTo>
                  <a:lnTo>
                    <a:pt x="167" y="2894"/>
                  </a:lnTo>
                  <a:cubicBezTo>
                    <a:pt x="108" y="2894"/>
                    <a:pt x="60" y="2918"/>
                    <a:pt x="24" y="2965"/>
                  </a:cubicBezTo>
                  <a:cubicBezTo>
                    <a:pt x="1" y="3001"/>
                    <a:pt x="1" y="3073"/>
                    <a:pt x="24" y="3108"/>
                  </a:cubicBezTo>
                  <a:lnTo>
                    <a:pt x="370" y="3799"/>
                  </a:lnTo>
                  <a:cubicBezTo>
                    <a:pt x="405" y="3858"/>
                    <a:pt x="465" y="3882"/>
                    <a:pt x="524" y="3882"/>
                  </a:cubicBezTo>
                  <a:lnTo>
                    <a:pt x="703" y="3882"/>
                  </a:lnTo>
                  <a:lnTo>
                    <a:pt x="703" y="4918"/>
                  </a:lnTo>
                  <a:cubicBezTo>
                    <a:pt x="703" y="5001"/>
                    <a:pt x="774" y="5073"/>
                    <a:pt x="858" y="5073"/>
                  </a:cubicBezTo>
                  <a:cubicBezTo>
                    <a:pt x="953" y="5073"/>
                    <a:pt x="1024" y="5001"/>
                    <a:pt x="1024" y="4918"/>
                  </a:cubicBezTo>
                  <a:lnTo>
                    <a:pt x="1024" y="3882"/>
                  </a:lnTo>
                  <a:lnTo>
                    <a:pt x="2751" y="3882"/>
                  </a:lnTo>
                  <a:lnTo>
                    <a:pt x="2751" y="4918"/>
                  </a:lnTo>
                  <a:cubicBezTo>
                    <a:pt x="2751" y="5001"/>
                    <a:pt x="2822" y="5073"/>
                    <a:pt x="2918" y="5073"/>
                  </a:cubicBezTo>
                  <a:cubicBezTo>
                    <a:pt x="3001" y="5073"/>
                    <a:pt x="3084" y="5001"/>
                    <a:pt x="3084" y="4918"/>
                  </a:cubicBezTo>
                  <a:lnTo>
                    <a:pt x="3084" y="3882"/>
                  </a:lnTo>
                  <a:lnTo>
                    <a:pt x="3263" y="3882"/>
                  </a:lnTo>
                  <a:cubicBezTo>
                    <a:pt x="3322" y="3882"/>
                    <a:pt x="3382" y="3858"/>
                    <a:pt x="3406" y="3799"/>
                  </a:cubicBezTo>
                  <a:lnTo>
                    <a:pt x="3751" y="3108"/>
                  </a:lnTo>
                  <a:cubicBezTo>
                    <a:pt x="3739" y="3073"/>
                    <a:pt x="3739" y="3001"/>
                    <a:pt x="3703" y="2965"/>
                  </a:cubicBezTo>
                  <a:cubicBezTo>
                    <a:pt x="3680" y="2918"/>
                    <a:pt x="3632" y="2894"/>
                    <a:pt x="3572" y="2894"/>
                  </a:cubicBezTo>
                  <a:lnTo>
                    <a:pt x="3049" y="2894"/>
                  </a:lnTo>
                  <a:lnTo>
                    <a:pt x="3049" y="2573"/>
                  </a:lnTo>
                  <a:cubicBezTo>
                    <a:pt x="3049" y="2382"/>
                    <a:pt x="2941" y="2215"/>
                    <a:pt x="2763" y="2132"/>
                  </a:cubicBezTo>
                  <a:lnTo>
                    <a:pt x="2370" y="1942"/>
                  </a:lnTo>
                  <a:lnTo>
                    <a:pt x="2370" y="1918"/>
                  </a:lnTo>
                  <a:lnTo>
                    <a:pt x="2370" y="1680"/>
                  </a:lnTo>
                  <a:cubicBezTo>
                    <a:pt x="2572" y="1537"/>
                    <a:pt x="2703" y="1275"/>
                    <a:pt x="2703" y="1013"/>
                  </a:cubicBezTo>
                  <a:lnTo>
                    <a:pt x="2703" y="668"/>
                  </a:lnTo>
                  <a:cubicBezTo>
                    <a:pt x="2703" y="298"/>
                    <a:pt x="2406" y="1"/>
                    <a:pt x="2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9" name="Google Shape;13299;p64"/>
            <p:cNvSpPr/>
            <p:nvPr/>
          </p:nvSpPr>
          <p:spPr>
            <a:xfrm>
              <a:off x="1960933" y="3027201"/>
              <a:ext cx="32244" cy="10249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846" y="322"/>
                  </a:lnTo>
                  <a:cubicBezTo>
                    <a:pt x="930" y="322"/>
                    <a:pt x="1013" y="250"/>
                    <a:pt x="1013" y="155"/>
                  </a:cubicBezTo>
                  <a:cubicBezTo>
                    <a:pt x="1013" y="72"/>
                    <a:pt x="930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00" name="Google Shape;13300;p64"/>
          <p:cNvGrpSpPr/>
          <p:nvPr/>
        </p:nvGrpSpPr>
        <p:grpSpPr>
          <a:xfrm>
            <a:off x="5585861" y="2905929"/>
            <a:ext cx="379764" cy="337684"/>
            <a:chOff x="5585861" y="2905929"/>
            <a:chExt cx="379764" cy="337684"/>
          </a:xfrm>
        </p:grpSpPr>
        <p:sp>
          <p:nvSpPr>
            <p:cNvPr id="13301" name="Google Shape;13301;p64"/>
            <p:cNvSpPr/>
            <p:nvPr/>
          </p:nvSpPr>
          <p:spPr>
            <a:xfrm>
              <a:off x="5609734" y="3198096"/>
              <a:ext cx="11395" cy="45517"/>
            </a:xfrm>
            <a:custGeom>
              <a:avLst/>
              <a:gdLst/>
              <a:ahLst/>
              <a:cxnLst/>
              <a:rect l="l" t="t" r="r" b="b"/>
              <a:pathLst>
                <a:path w="358" h="1430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lnTo>
                    <a:pt x="0" y="1251"/>
                  </a:lnTo>
                  <a:cubicBezTo>
                    <a:pt x="0" y="1334"/>
                    <a:pt x="72" y="1430"/>
                    <a:pt x="179" y="1430"/>
                  </a:cubicBezTo>
                  <a:cubicBezTo>
                    <a:pt x="286" y="1430"/>
                    <a:pt x="357" y="1358"/>
                    <a:pt x="357" y="1251"/>
                  </a:cubicBezTo>
                  <a:lnTo>
                    <a:pt x="357" y="180"/>
                  </a:lnTo>
                  <a:cubicBezTo>
                    <a:pt x="345" y="84"/>
                    <a:pt x="27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2" name="Google Shape;13302;p64"/>
            <p:cNvSpPr/>
            <p:nvPr/>
          </p:nvSpPr>
          <p:spPr>
            <a:xfrm>
              <a:off x="5585861" y="3048431"/>
              <a:ext cx="205431" cy="195182"/>
            </a:xfrm>
            <a:custGeom>
              <a:avLst/>
              <a:gdLst/>
              <a:ahLst/>
              <a:cxnLst/>
              <a:rect l="l" t="t" r="r" b="b"/>
              <a:pathLst>
                <a:path w="6454" h="6132" extrusionOk="0">
                  <a:moveTo>
                    <a:pt x="5965" y="964"/>
                  </a:moveTo>
                  <a:lnTo>
                    <a:pt x="6025" y="1238"/>
                  </a:lnTo>
                  <a:cubicBezTo>
                    <a:pt x="6048" y="1298"/>
                    <a:pt x="6025" y="1369"/>
                    <a:pt x="5977" y="1417"/>
                  </a:cubicBezTo>
                  <a:lnTo>
                    <a:pt x="5870" y="1512"/>
                  </a:lnTo>
                  <a:lnTo>
                    <a:pt x="5632" y="1274"/>
                  </a:lnTo>
                  <a:lnTo>
                    <a:pt x="5965" y="964"/>
                  </a:lnTo>
                  <a:close/>
                  <a:moveTo>
                    <a:pt x="1834" y="333"/>
                  </a:moveTo>
                  <a:cubicBezTo>
                    <a:pt x="2119" y="333"/>
                    <a:pt x="2405" y="452"/>
                    <a:pt x="2608" y="667"/>
                  </a:cubicBezTo>
                  <a:cubicBezTo>
                    <a:pt x="2822" y="869"/>
                    <a:pt x="2941" y="1167"/>
                    <a:pt x="2977" y="1488"/>
                  </a:cubicBezTo>
                  <a:cubicBezTo>
                    <a:pt x="2989" y="1595"/>
                    <a:pt x="3000" y="1738"/>
                    <a:pt x="3012" y="1905"/>
                  </a:cubicBezTo>
                  <a:cubicBezTo>
                    <a:pt x="2822" y="1584"/>
                    <a:pt x="2524" y="1345"/>
                    <a:pt x="2119" y="1214"/>
                  </a:cubicBezTo>
                  <a:cubicBezTo>
                    <a:pt x="1822" y="1115"/>
                    <a:pt x="1565" y="1107"/>
                    <a:pt x="1481" y="1107"/>
                  </a:cubicBezTo>
                  <a:cubicBezTo>
                    <a:pt x="1465" y="1107"/>
                    <a:pt x="1455" y="1107"/>
                    <a:pt x="1453" y="1107"/>
                  </a:cubicBezTo>
                  <a:cubicBezTo>
                    <a:pt x="1405" y="1107"/>
                    <a:pt x="1369" y="1131"/>
                    <a:pt x="1334" y="1167"/>
                  </a:cubicBezTo>
                  <a:lnTo>
                    <a:pt x="1024" y="1500"/>
                  </a:lnTo>
                  <a:cubicBezTo>
                    <a:pt x="953" y="1572"/>
                    <a:pt x="965" y="1679"/>
                    <a:pt x="1024" y="1750"/>
                  </a:cubicBezTo>
                  <a:cubicBezTo>
                    <a:pt x="1058" y="1784"/>
                    <a:pt x="1100" y="1799"/>
                    <a:pt x="1143" y="1799"/>
                  </a:cubicBezTo>
                  <a:cubicBezTo>
                    <a:pt x="1190" y="1799"/>
                    <a:pt x="1237" y="1781"/>
                    <a:pt x="1274" y="1750"/>
                  </a:cubicBezTo>
                  <a:lnTo>
                    <a:pt x="1548" y="1488"/>
                  </a:lnTo>
                  <a:cubicBezTo>
                    <a:pt x="1762" y="1500"/>
                    <a:pt x="2500" y="1572"/>
                    <a:pt x="2774" y="2203"/>
                  </a:cubicBezTo>
                  <a:cubicBezTo>
                    <a:pt x="2715" y="2643"/>
                    <a:pt x="2334" y="2988"/>
                    <a:pt x="1857" y="2988"/>
                  </a:cubicBezTo>
                  <a:cubicBezTo>
                    <a:pt x="1334" y="2988"/>
                    <a:pt x="905" y="2560"/>
                    <a:pt x="905" y="2036"/>
                  </a:cubicBezTo>
                  <a:cubicBezTo>
                    <a:pt x="905" y="1941"/>
                    <a:pt x="822" y="1857"/>
                    <a:pt x="726" y="1857"/>
                  </a:cubicBezTo>
                  <a:cubicBezTo>
                    <a:pt x="703" y="1857"/>
                    <a:pt x="679" y="1857"/>
                    <a:pt x="667" y="1869"/>
                  </a:cubicBezTo>
                  <a:cubicBezTo>
                    <a:pt x="679" y="1726"/>
                    <a:pt x="691" y="1595"/>
                    <a:pt x="703" y="1488"/>
                  </a:cubicBezTo>
                  <a:cubicBezTo>
                    <a:pt x="726" y="1167"/>
                    <a:pt x="857" y="869"/>
                    <a:pt x="1060" y="667"/>
                  </a:cubicBezTo>
                  <a:cubicBezTo>
                    <a:pt x="1274" y="452"/>
                    <a:pt x="1560" y="333"/>
                    <a:pt x="1834" y="333"/>
                  </a:cubicBezTo>
                  <a:close/>
                  <a:moveTo>
                    <a:pt x="607" y="2346"/>
                  </a:moveTo>
                  <a:cubicBezTo>
                    <a:pt x="679" y="2667"/>
                    <a:pt x="869" y="2929"/>
                    <a:pt x="1131" y="3108"/>
                  </a:cubicBezTo>
                  <a:lnTo>
                    <a:pt x="1131" y="3298"/>
                  </a:lnTo>
                  <a:cubicBezTo>
                    <a:pt x="798" y="3239"/>
                    <a:pt x="560" y="3155"/>
                    <a:pt x="417" y="3096"/>
                  </a:cubicBezTo>
                  <a:cubicBezTo>
                    <a:pt x="393" y="3096"/>
                    <a:pt x="417" y="3084"/>
                    <a:pt x="417" y="3084"/>
                  </a:cubicBezTo>
                  <a:cubicBezTo>
                    <a:pt x="488" y="2881"/>
                    <a:pt x="548" y="2619"/>
                    <a:pt x="607" y="2346"/>
                  </a:cubicBezTo>
                  <a:close/>
                  <a:moveTo>
                    <a:pt x="3120" y="2346"/>
                  </a:moveTo>
                  <a:cubicBezTo>
                    <a:pt x="3167" y="2584"/>
                    <a:pt x="3227" y="2810"/>
                    <a:pt x="3286" y="3000"/>
                  </a:cubicBezTo>
                  <a:lnTo>
                    <a:pt x="2977" y="3298"/>
                  </a:lnTo>
                  <a:cubicBezTo>
                    <a:pt x="2941" y="3334"/>
                    <a:pt x="2881" y="3358"/>
                    <a:pt x="2834" y="3358"/>
                  </a:cubicBezTo>
                  <a:lnTo>
                    <a:pt x="2786" y="3358"/>
                  </a:lnTo>
                  <a:cubicBezTo>
                    <a:pt x="2691" y="3358"/>
                    <a:pt x="2596" y="3274"/>
                    <a:pt x="2596" y="3167"/>
                  </a:cubicBezTo>
                  <a:lnTo>
                    <a:pt x="2596" y="3108"/>
                  </a:lnTo>
                  <a:cubicBezTo>
                    <a:pt x="2858" y="2929"/>
                    <a:pt x="3048" y="2667"/>
                    <a:pt x="3120" y="2346"/>
                  </a:cubicBezTo>
                  <a:close/>
                  <a:moveTo>
                    <a:pt x="2262" y="3274"/>
                  </a:moveTo>
                  <a:cubicBezTo>
                    <a:pt x="2274" y="3381"/>
                    <a:pt x="2334" y="3465"/>
                    <a:pt x="2393" y="3524"/>
                  </a:cubicBezTo>
                  <a:lnTo>
                    <a:pt x="2119" y="3774"/>
                  </a:lnTo>
                  <a:cubicBezTo>
                    <a:pt x="2048" y="3852"/>
                    <a:pt x="1953" y="3890"/>
                    <a:pt x="1856" y="3890"/>
                  </a:cubicBezTo>
                  <a:cubicBezTo>
                    <a:pt x="1759" y="3890"/>
                    <a:pt x="1661" y="3852"/>
                    <a:pt x="1584" y="3774"/>
                  </a:cubicBezTo>
                  <a:lnTo>
                    <a:pt x="1429" y="3631"/>
                  </a:lnTo>
                  <a:cubicBezTo>
                    <a:pt x="1453" y="3584"/>
                    <a:pt x="1465" y="3524"/>
                    <a:pt x="1465" y="3465"/>
                  </a:cubicBezTo>
                  <a:lnTo>
                    <a:pt x="1465" y="3274"/>
                  </a:lnTo>
                  <a:cubicBezTo>
                    <a:pt x="1584" y="3322"/>
                    <a:pt x="1727" y="3334"/>
                    <a:pt x="1857" y="3334"/>
                  </a:cubicBezTo>
                  <a:cubicBezTo>
                    <a:pt x="1988" y="3334"/>
                    <a:pt x="2119" y="3322"/>
                    <a:pt x="2262" y="3274"/>
                  </a:cubicBezTo>
                  <a:close/>
                  <a:moveTo>
                    <a:pt x="1857" y="0"/>
                  </a:moveTo>
                  <a:cubicBezTo>
                    <a:pt x="1072" y="0"/>
                    <a:pt x="429" y="619"/>
                    <a:pt x="369" y="1464"/>
                  </a:cubicBezTo>
                  <a:cubicBezTo>
                    <a:pt x="333" y="1810"/>
                    <a:pt x="214" y="2536"/>
                    <a:pt x="72" y="2941"/>
                  </a:cubicBezTo>
                  <a:cubicBezTo>
                    <a:pt x="0" y="3119"/>
                    <a:pt x="83" y="3310"/>
                    <a:pt x="262" y="3405"/>
                  </a:cubicBezTo>
                  <a:cubicBezTo>
                    <a:pt x="393" y="3465"/>
                    <a:pt x="595" y="3536"/>
                    <a:pt x="857" y="3596"/>
                  </a:cubicBezTo>
                  <a:lnTo>
                    <a:pt x="405" y="3822"/>
                  </a:lnTo>
                  <a:cubicBezTo>
                    <a:pt x="155" y="3941"/>
                    <a:pt x="12" y="4191"/>
                    <a:pt x="12" y="4477"/>
                  </a:cubicBezTo>
                  <a:lnTo>
                    <a:pt x="12" y="5953"/>
                  </a:lnTo>
                  <a:cubicBezTo>
                    <a:pt x="12" y="6036"/>
                    <a:pt x="83" y="6132"/>
                    <a:pt x="191" y="6132"/>
                  </a:cubicBezTo>
                  <a:cubicBezTo>
                    <a:pt x="274" y="6132"/>
                    <a:pt x="369" y="6048"/>
                    <a:pt x="369" y="5953"/>
                  </a:cubicBezTo>
                  <a:lnTo>
                    <a:pt x="369" y="4477"/>
                  </a:lnTo>
                  <a:cubicBezTo>
                    <a:pt x="369" y="4322"/>
                    <a:pt x="441" y="4191"/>
                    <a:pt x="572" y="4131"/>
                  </a:cubicBezTo>
                  <a:lnTo>
                    <a:pt x="1155" y="3834"/>
                  </a:lnTo>
                  <a:lnTo>
                    <a:pt x="1369" y="4024"/>
                  </a:lnTo>
                  <a:cubicBezTo>
                    <a:pt x="1512" y="4167"/>
                    <a:pt x="1691" y="4239"/>
                    <a:pt x="1869" y="4239"/>
                  </a:cubicBezTo>
                  <a:cubicBezTo>
                    <a:pt x="2048" y="4239"/>
                    <a:pt x="2238" y="4167"/>
                    <a:pt x="2381" y="4024"/>
                  </a:cubicBezTo>
                  <a:lnTo>
                    <a:pt x="2715" y="3691"/>
                  </a:lnTo>
                  <a:lnTo>
                    <a:pt x="2834" y="3691"/>
                  </a:lnTo>
                  <a:cubicBezTo>
                    <a:pt x="2977" y="3691"/>
                    <a:pt x="3108" y="3631"/>
                    <a:pt x="3215" y="3536"/>
                  </a:cubicBezTo>
                  <a:lnTo>
                    <a:pt x="5382" y="1488"/>
                  </a:lnTo>
                  <a:lnTo>
                    <a:pt x="5632" y="1738"/>
                  </a:lnTo>
                  <a:lnTo>
                    <a:pt x="2893" y="4477"/>
                  </a:lnTo>
                  <a:cubicBezTo>
                    <a:pt x="2715" y="4655"/>
                    <a:pt x="2631" y="4882"/>
                    <a:pt x="2631" y="5132"/>
                  </a:cubicBezTo>
                  <a:lnTo>
                    <a:pt x="2631" y="5929"/>
                  </a:lnTo>
                  <a:cubicBezTo>
                    <a:pt x="2631" y="6025"/>
                    <a:pt x="2703" y="6108"/>
                    <a:pt x="2810" y="6108"/>
                  </a:cubicBezTo>
                  <a:cubicBezTo>
                    <a:pt x="2893" y="6108"/>
                    <a:pt x="2989" y="6036"/>
                    <a:pt x="2989" y="5929"/>
                  </a:cubicBezTo>
                  <a:lnTo>
                    <a:pt x="2989" y="5132"/>
                  </a:lnTo>
                  <a:cubicBezTo>
                    <a:pt x="2989" y="4977"/>
                    <a:pt x="3048" y="4834"/>
                    <a:pt x="3155" y="4727"/>
                  </a:cubicBezTo>
                  <a:lnTo>
                    <a:pt x="6227" y="1643"/>
                  </a:lnTo>
                  <a:cubicBezTo>
                    <a:pt x="6370" y="1512"/>
                    <a:pt x="6429" y="1310"/>
                    <a:pt x="6382" y="1131"/>
                  </a:cubicBezTo>
                  <a:lnTo>
                    <a:pt x="6263" y="679"/>
                  </a:lnTo>
                  <a:lnTo>
                    <a:pt x="6382" y="572"/>
                  </a:lnTo>
                  <a:cubicBezTo>
                    <a:pt x="6453" y="512"/>
                    <a:pt x="6453" y="393"/>
                    <a:pt x="6382" y="321"/>
                  </a:cubicBezTo>
                  <a:cubicBezTo>
                    <a:pt x="6352" y="286"/>
                    <a:pt x="6307" y="268"/>
                    <a:pt x="6261" y="268"/>
                  </a:cubicBezTo>
                  <a:cubicBezTo>
                    <a:pt x="6215" y="268"/>
                    <a:pt x="6168" y="286"/>
                    <a:pt x="6132" y="321"/>
                  </a:cubicBezTo>
                  <a:lnTo>
                    <a:pt x="3572" y="2738"/>
                  </a:lnTo>
                  <a:cubicBezTo>
                    <a:pt x="3453" y="2322"/>
                    <a:pt x="3358" y="1750"/>
                    <a:pt x="3346" y="1464"/>
                  </a:cubicBezTo>
                  <a:cubicBezTo>
                    <a:pt x="3286" y="631"/>
                    <a:pt x="2643" y="0"/>
                    <a:pt x="1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3" name="Google Shape;13303;p64"/>
            <p:cNvSpPr/>
            <p:nvPr/>
          </p:nvSpPr>
          <p:spPr>
            <a:xfrm>
              <a:off x="5740078" y="2905929"/>
              <a:ext cx="225547" cy="189516"/>
            </a:xfrm>
            <a:custGeom>
              <a:avLst/>
              <a:gdLst/>
              <a:ahLst/>
              <a:cxnLst/>
              <a:rect l="l" t="t" r="r" b="b"/>
              <a:pathLst>
                <a:path w="7086" h="5954" extrusionOk="0">
                  <a:moveTo>
                    <a:pt x="549" y="0"/>
                  </a:moveTo>
                  <a:cubicBezTo>
                    <a:pt x="251" y="0"/>
                    <a:pt x="1" y="250"/>
                    <a:pt x="1" y="548"/>
                  </a:cubicBezTo>
                  <a:lnTo>
                    <a:pt x="1" y="5072"/>
                  </a:lnTo>
                  <a:cubicBezTo>
                    <a:pt x="1" y="5156"/>
                    <a:pt x="72" y="5251"/>
                    <a:pt x="180" y="5251"/>
                  </a:cubicBezTo>
                  <a:cubicBezTo>
                    <a:pt x="263" y="5251"/>
                    <a:pt x="358" y="5179"/>
                    <a:pt x="358" y="5072"/>
                  </a:cubicBezTo>
                  <a:lnTo>
                    <a:pt x="358" y="548"/>
                  </a:lnTo>
                  <a:cubicBezTo>
                    <a:pt x="358" y="441"/>
                    <a:pt x="441" y="357"/>
                    <a:pt x="549" y="357"/>
                  </a:cubicBezTo>
                  <a:lnTo>
                    <a:pt x="6537" y="357"/>
                  </a:lnTo>
                  <a:cubicBezTo>
                    <a:pt x="6645" y="357"/>
                    <a:pt x="6728" y="441"/>
                    <a:pt x="6728" y="548"/>
                  </a:cubicBezTo>
                  <a:lnTo>
                    <a:pt x="6728" y="5394"/>
                  </a:lnTo>
                  <a:cubicBezTo>
                    <a:pt x="6728" y="5501"/>
                    <a:pt x="6645" y="5596"/>
                    <a:pt x="6537" y="5596"/>
                  </a:cubicBezTo>
                  <a:lnTo>
                    <a:pt x="2108" y="5596"/>
                  </a:lnTo>
                  <a:cubicBezTo>
                    <a:pt x="2025" y="5596"/>
                    <a:pt x="1930" y="5668"/>
                    <a:pt x="1930" y="5775"/>
                  </a:cubicBezTo>
                  <a:cubicBezTo>
                    <a:pt x="1930" y="5870"/>
                    <a:pt x="2013" y="5953"/>
                    <a:pt x="2108" y="5953"/>
                  </a:cubicBezTo>
                  <a:lnTo>
                    <a:pt x="6537" y="5953"/>
                  </a:lnTo>
                  <a:cubicBezTo>
                    <a:pt x="6835" y="5953"/>
                    <a:pt x="7085" y="5691"/>
                    <a:pt x="7085" y="5394"/>
                  </a:cubicBezTo>
                  <a:lnTo>
                    <a:pt x="7085" y="548"/>
                  </a:lnTo>
                  <a:cubicBezTo>
                    <a:pt x="7085" y="238"/>
                    <a:pt x="6847" y="0"/>
                    <a:pt x="6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4" name="Google Shape;13304;p64"/>
            <p:cNvSpPr/>
            <p:nvPr/>
          </p:nvSpPr>
          <p:spPr>
            <a:xfrm>
              <a:off x="5793902" y="2928464"/>
              <a:ext cx="131553" cy="130598"/>
            </a:xfrm>
            <a:custGeom>
              <a:avLst/>
              <a:gdLst/>
              <a:ahLst/>
              <a:cxnLst/>
              <a:rect l="l" t="t" r="r" b="b"/>
              <a:pathLst>
                <a:path w="4133" h="4103" extrusionOk="0">
                  <a:moveTo>
                    <a:pt x="1870" y="757"/>
                  </a:moveTo>
                  <a:cubicBezTo>
                    <a:pt x="2227" y="757"/>
                    <a:pt x="2537" y="876"/>
                    <a:pt x="2811" y="1090"/>
                  </a:cubicBezTo>
                  <a:lnTo>
                    <a:pt x="1751" y="2150"/>
                  </a:lnTo>
                  <a:cubicBezTo>
                    <a:pt x="1679" y="2221"/>
                    <a:pt x="1679" y="2328"/>
                    <a:pt x="1751" y="2400"/>
                  </a:cubicBezTo>
                  <a:cubicBezTo>
                    <a:pt x="1775" y="2424"/>
                    <a:pt x="1822" y="2447"/>
                    <a:pt x="1870" y="2447"/>
                  </a:cubicBezTo>
                  <a:cubicBezTo>
                    <a:pt x="1918" y="2447"/>
                    <a:pt x="1953" y="2424"/>
                    <a:pt x="1989" y="2400"/>
                  </a:cubicBezTo>
                  <a:lnTo>
                    <a:pt x="2513" y="1876"/>
                  </a:lnTo>
                  <a:cubicBezTo>
                    <a:pt x="2584" y="1995"/>
                    <a:pt x="2632" y="2126"/>
                    <a:pt x="2632" y="2281"/>
                  </a:cubicBezTo>
                  <a:cubicBezTo>
                    <a:pt x="2632" y="2697"/>
                    <a:pt x="2287" y="3043"/>
                    <a:pt x="1870" y="3043"/>
                  </a:cubicBezTo>
                  <a:cubicBezTo>
                    <a:pt x="1453" y="3043"/>
                    <a:pt x="1108" y="2697"/>
                    <a:pt x="1108" y="2281"/>
                  </a:cubicBezTo>
                  <a:cubicBezTo>
                    <a:pt x="1108" y="1864"/>
                    <a:pt x="1453" y="1519"/>
                    <a:pt x="1870" y="1519"/>
                  </a:cubicBezTo>
                  <a:cubicBezTo>
                    <a:pt x="1953" y="1519"/>
                    <a:pt x="2049" y="1447"/>
                    <a:pt x="2049" y="1340"/>
                  </a:cubicBezTo>
                  <a:cubicBezTo>
                    <a:pt x="2049" y="1233"/>
                    <a:pt x="1977" y="1162"/>
                    <a:pt x="1870" y="1162"/>
                  </a:cubicBezTo>
                  <a:cubicBezTo>
                    <a:pt x="1263" y="1162"/>
                    <a:pt x="763" y="1650"/>
                    <a:pt x="763" y="2269"/>
                  </a:cubicBezTo>
                  <a:cubicBezTo>
                    <a:pt x="763" y="2876"/>
                    <a:pt x="1263" y="3364"/>
                    <a:pt x="1870" y="3364"/>
                  </a:cubicBezTo>
                  <a:cubicBezTo>
                    <a:pt x="2477" y="3364"/>
                    <a:pt x="2965" y="2876"/>
                    <a:pt x="2965" y="2269"/>
                  </a:cubicBezTo>
                  <a:cubicBezTo>
                    <a:pt x="2965" y="2031"/>
                    <a:pt x="2894" y="1804"/>
                    <a:pt x="2763" y="1614"/>
                  </a:cubicBezTo>
                  <a:lnTo>
                    <a:pt x="3049" y="1328"/>
                  </a:lnTo>
                  <a:cubicBezTo>
                    <a:pt x="3251" y="1578"/>
                    <a:pt x="3370" y="1912"/>
                    <a:pt x="3370" y="2269"/>
                  </a:cubicBezTo>
                  <a:cubicBezTo>
                    <a:pt x="3370" y="3102"/>
                    <a:pt x="2703" y="3769"/>
                    <a:pt x="1870" y="3769"/>
                  </a:cubicBezTo>
                  <a:cubicBezTo>
                    <a:pt x="1036" y="3769"/>
                    <a:pt x="370" y="3102"/>
                    <a:pt x="370" y="2269"/>
                  </a:cubicBezTo>
                  <a:cubicBezTo>
                    <a:pt x="370" y="1435"/>
                    <a:pt x="1036" y="757"/>
                    <a:pt x="1870" y="757"/>
                  </a:cubicBezTo>
                  <a:close/>
                  <a:moveTo>
                    <a:pt x="3924" y="1"/>
                  </a:moveTo>
                  <a:cubicBezTo>
                    <a:pt x="3879" y="1"/>
                    <a:pt x="3834" y="19"/>
                    <a:pt x="3799" y="54"/>
                  </a:cubicBezTo>
                  <a:lnTo>
                    <a:pt x="3537" y="328"/>
                  </a:lnTo>
                  <a:lnTo>
                    <a:pt x="3537" y="197"/>
                  </a:lnTo>
                  <a:cubicBezTo>
                    <a:pt x="3537" y="102"/>
                    <a:pt x="3453" y="19"/>
                    <a:pt x="3358" y="19"/>
                  </a:cubicBezTo>
                  <a:cubicBezTo>
                    <a:pt x="3263" y="19"/>
                    <a:pt x="3180" y="90"/>
                    <a:pt x="3180" y="197"/>
                  </a:cubicBezTo>
                  <a:lnTo>
                    <a:pt x="3180" y="685"/>
                  </a:lnTo>
                  <a:lnTo>
                    <a:pt x="3037" y="816"/>
                  </a:lnTo>
                  <a:cubicBezTo>
                    <a:pt x="2715" y="554"/>
                    <a:pt x="2310" y="388"/>
                    <a:pt x="1870" y="388"/>
                  </a:cubicBezTo>
                  <a:cubicBezTo>
                    <a:pt x="834" y="388"/>
                    <a:pt x="1" y="1221"/>
                    <a:pt x="1" y="2245"/>
                  </a:cubicBezTo>
                  <a:cubicBezTo>
                    <a:pt x="1" y="3269"/>
                    <a:pt x="834" y="4102"/>
                    <a:pt x="1870" y="4102"/>
                  </a:cubicBezTo>
                  <a:cubicBezTo>
                    <a:pt x="2894" y="4102"/>
                    <a:pt x="3727" y="3269"/>
                    <a:pt x="3727" y="2245"/>
                  </a:cubicBezTo>
                  <a:cubicBezTo>
                    <a:pt x="3727" y="1804"/>
                    <a:pt x="3561" y="1388"/>
                    <a:pt x="3299" y="1066"/>
                  </a:cubicBezTo>
                  <a:lnTo>
                    <a:pt x="3430" y="935"/>
                  </a:lnTo>
                  <a:lnTo>
                    <a:pt x="3918" y="935"/>
                  </a:lnTo>
                  <a:cubicBezTo>
                    <a:pt x="4013" y="935"/>
                    <a:pt x="4096" y="864"/>
                    <a:pt x="4096" y="757"/>
                  </a:cubicBezTo>
                  <a:cubicBezTo>
                    <a:pt x="4084" y="673"/>
                    <a:pt x="4013" y="578"/>
                    <a:pt x="3918" y="578"/>
                  </a:cubicBezTo>
                  <a:lnTo>
                    <a:pt x="3787" y="578"/>
                  </a:lnTo>
                  <a:lnTo>
                    <a:pt x="4049" y="316"/>
                  </a:lnTo>
                  <a:cubicBezTo>
                    <a:pt x="4132" y="245"/>
                    <a:pt x="4132" y="138"/>
                    <a:pt x="4049" y="54"/>
                  </a:cubicBezTo>
                  <a:cubicBezTo>
                    <a:pt x="4013" y="19"/>
                    <a:pt x="3968" y="1"/>
                    <a:pt x="39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05" name="Google Shape;13305;p64"/>
          <p:cNvGrpSpPr/>
          <p:nvPr/>
        </p:nvGrpSpPr>
        <p:grpSpPr>
          <a:xfrm>
            <a:off x="1327676" y="2910480"/>
            <a:ext cx="347934" cy="310024"/>
            <a:chOff x="1327676" y="2910480"/>
            <a:chExt cx="347934" cy="310024"/>
          </a:xfrm>
        </p:grpSpPr>
        <p:sp>
          <p:nvSpPr>
            <p:cNvPr id="13306" name="Google Shape;13306;p64"/>
            <p:cNvSpPr/>
            <p:nvPr/>
          </p:nvSpPr>
          <p:spPr>
            <a:xfrm>
              <a:off x="1367081" y="3067370"/>
              <a:ext cx="43257" cy="15565"/>
            </a:xfrm>
            <a:custGeom>
              <a:avLst/>
              <a:gdLst/>
              <a:ahLst/>
              <a:cxnLst/>
              <a:rect l="l" t="t" r="r" b="b"/>
              <a:pathLst>
                <a:path w="1359" h="48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cubicBezTo>
                    <a:pt x="346" y="322"/>
                    <a:pt x="870" y="358"/>
                    <a:pt x="1120" y="477"/>
                  </a:cubicBezTo>
                  <a:cubicBezTo>
                    <a:pt x="1144" y="488"/>
                    <a:pt x="1168" y="488"/>
                    <a:pt x="1191" y="488"/>
                  </a:cubicBezTo>
                  <a:cubicBezTo>
                    <a:pt x="1251" y="488"/>
                    <a:pt x="1310" y="465"/>
                    <a:pt x="1346" y="405"/>
                  </a:cubicBezTo>
                  <a:cubicBezTo>
                    <a:pt x="1358" y="322"/>
                    <a:pt x="1334" y="238"/>
                    <a:pt x="1251" y="191"/>
                  </a:cubicBezTo>
                  <a:cubicBezTo>
                    <a:pt x="882" y="12"/>
                    <a:pt x="19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7" name="Google Shape;13307;p64"/>
            <p:cNvSpPr/>
            <p:nvPr/>
          </p:nvSpPr>
          <p:spPr>
            <a:xfrm>
              <a:off x="1350402" y="3170436"/>
              <a:ext cx="10663" cy="48541"/>
            </a:xfrm>
            <a:custGeom>
              <a:avLst/>
              <a:gdLst/>
              <a:ahLst/>
              <a:cxnLst/>
              <a:rect l="l" t="t" r="r" b="b"/>
              <a:pathLst>
                <a:path w="335" h="1525" extrusionOk="0">
                  <a:moveTo>
                    <a:pt x="168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1358"/>
                  </a:lnTo>
                  <a:cubicBezTo>
                    <a:pt x="1" y="1453"/>
                    <a:pt x="84" y="1525"/>
                    <a:pt x="168" y="1525"/>
                  </a:cubicBezTo>
                  <a:cubicBezTo>
                    <a:pt x="263" y="1525"/>
                    <a:pt x="334" y="1453"/>
                    <a:pt x="334" y="1358"/>
                  </a:cubicBezTo>
                  <a:lnTo>
                    <a:pt x="334" y="168"/>
                  </a:ln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8" name="Google Shape;13308;p64"/>
            <p:cNvSpPr/>
            <p:nvPr/>
          </p:nvSpPr>
          <p:spPr>
            <a:xfrm>
              <a:off x="1327676" y="3040187"/>
              <a:ext cx="201643" cy="180317"/>
            </a:xfrm>
            <a:custGeom>
              <a:avLst/>
              <a:gdLst/>
              <a:ahLst/>
              <a:cxnLst/>
              <a:rect l="l" t="t" r="r" b="b"/>
              <a:pathLst>
                <a:path w="6335" h="5665" extrusionOk="0">
                  <a:moveTo>
                    <a:pt x="5894" y="628"/>
                  </a:moveTo>
                  <a:lnTo>
                    <a:pt x="5954" y="866"/>
                  </a:lnTo>
                  <a:cubicBezTo>
                    <a:pt x="5977" y="926"/>
                    <a:pt x="5966" y="997"/>
                    <a:pt x="5918" y="1045"/>
                  </a:cubicBezTo>
                  <a:lnTo>
                    <a:pt x="5823" y="1140"/>
                  </a:lnTo>
                  <a:lnTo>
                    <a:pt x="5596" y="914"/>
                  </a:lnTo>
                  <a:lnTo>
                    <a:pt x="5894" y="628"/>
                  </a:lnTo>
                  <a:close/>
                  <a:moveTo>
                    <a:pt x="2941" y="307"/>
                  </a:moveTo>
                  <a:lnTo>
                    <a:pt x="2941" y="961"/>
                  </a:lnTo>
                  <a:cubicBezTo>
                    <a:pt x="2941" y="1057"/>
                    <a:pt x="2906" y="1164"/>
                    <a:pt x="2870" y="1271"/>
                  </a:cubicBezTo>
                  <a:lnTo>
                    <a:pt x="2787" y="1438"/>
                  </a:lnTo>
                  <a:cubicBezTo>
                    <a:pt x="2775" y="1450"/>
                    <a:pt x="2775" y="1473"/>
                    <a:pt x="2775" y="1509"/>
                  </a:cubicBezTo>
                  <a:lnTo>
                    <a:pt x="2775" y="1854"/>
                  </a:lnTo>
                  <a:cubicBezTo>
                    <a:pt x="2775" y="2104"/>
                    <a:pt x="2667" y="2331"/>
                    <a:pt x="2513" y="2485"/>
                  </a:cubicBezTo>
                  <a:cubicBezTo>
                    <a:pt x="2363" y="2635"/>
                    <a:pt x="2165" y="2727"/>
                    <a:pt x="1954" y="2727"/>
                  </a:cubicBezTo>
                  <a:cubicBezTo>
                    <a:pt x="1930" y="2727"/>
                    <a:pt x="1906" y="2726"/>
                    <a:pt x="1882" y="2724"/>
                  </a:cubicBezTo>
                  <a:cubicBezTo>
                    <a:pt x="1417" y="2712"/>
                    <a:pt x="1048" y="2307"/>
                    <a:pt x="1048" y="1819"/>
                  </a:cubicBezTo>
                  <a:lnTo>
                    <a:pt x="1048" y="1521"/>
                  </a:lnTo>
                  <a:cubicBezTo>
                    <a:pt x="1048" y="1497"/>
                    <a:pt x="1048" y="1473"/>
                    <a:pt x="1036" y="1450"/>
                  </a:cubicBezTo>
                  <a:lnTo>
                    <a:pt x="929" y="1259"/>
                  </a:lnTo>
                  <a:cubicBezTo>
                    <a:pt x="905" y="1176"/>
                    <a:pt x="870" y="1104"/>
                    <a:pt x="870" y="1021"/>
                  </a:cubicBezTo>
                  <a:lnTo>
                    <a:pt x="870" y="997"/>
                  </a:lnTo>
                  <a:cubicBezTo>
                    <a:pt x="870" y="616"/>
                    <a:pt x="1179" y="307"/>
                    <a:pt x="1572" y="307"/>
                  </a:cubicBezTo>
                  <a:close/>
                  <a:moveTo>
                    <a:pt x="2275" y="2986"/>
                  </a:moveTo>
                  <a:cubicBezTo>
                    <a:pt x="2286" y="3045"/>
                    <a:pt x="2298" y="3081"/>
                    <a:pt x="2310" y="3117"/>
                  </a:cubicBezTo>
                  <a:lnTo>
                    <a:pt x="2167" y="3259"/>
                  </a:lnTo>
                  <a:cubicBezTo>
                    <a:pt x="2102" y="3325"/>
                    <a:pt x="2013" y="3358"/>
                    <a:pt x="1923" y="3358"/>
                  </a:cubicBezTo>
                  <a:cubicBezTo>
                    <a:pt x="1834" y="3358"/>
                    <a:pt x="1745" y="3325"/>
                    <a:pt x="1679" y="3259"/>
                  </a:cubicBezTo>
                  <a:lnTo>
                    <a:pt x="1536" y="3128"/>
                  </a:lnTo>
                  <a:cubicBezTo>
                    <a:pt x="1560" y="3081"/>
                    <a:pt x="1572" y="3045"/>
                    <a:pt x="1572" y="2986"/>
                  </a:cubicBezTo>
                  <a:cubicBezTo>
                    <a:pt x="1679" y="3009"/>
                    <a:pt x="1775" y="3045"/>
                    <a:pt x="1882" y="3045"/>
                  </a:cubicBezTo>
                  <a:lnTo>
                    <a:pt x="1917" y="3045"/>
                  </a:lnTo>
                  <a:cubicBezTo>
                    <a:pt x="2036" y="3045"/>
                    <a:pt x="2167" y="3021"/>
                    <a:pt x="2275" y="2986"/>
                  </a:cubicBezTo>
                  <a:close/>
                  <a:moveTo>
                    <a:pt x="6162" y="0"/>
                  </a:moveTo>
                  <a:cubicBezTo>
                    <a:pt x="6120" y="0"/>
                    <a:pt x="6079" y="15"/>
                    <a:pt x="6049" y="45"/>
                  </a:cubicBezTo>
                  <a:lnTo>
                    <a:pt x="2906" y="3021"/>
                  </a:lnTo>
                  <a:cubicBezTo>
                    <a:pt x="2882" y="3057"/>
                    <a:pt x="2834" y="3069"/>
                    <a:pt x="2787" y="3069"/>
                  </a:cubicBezTo>
                  <a:lnTo>
                    <a:pt x="2763" y="3069"/>
                  </a:lnTo>
                  <a:cubicBezTo>
                    <a:pt x="2656" y="3069"/>
                    <a:pt x="2584" y="2997"/>
                    <a:pt x="2584" y="2890"/>
                  </a:cubicBezTo>
                  <a:lnTo>
                    <a:pt x="2584" y="2843"/>
                  </a:lnTo>
                  <a:cubicBezTo>
                    <a:pt x="2644" y="2819"/>
                    <a:pt x="2679" y="2771"/>
                    <a:pt x="2727" y="2724"/>
                  </a:cubicBezTo>
                  <a:cubicBezTo>
                    <a:pt x="2965" y="2497"/>
                    <a:pt x="3084" y="2200"/>
                    <a:pt x="3084" y="1878"/>
                  </a:cubicBezTo>
                  <a:lnTo>
                    <a:pt x="3084" y="1581"/>
                  </a:lnTo>
                  <a:lnTo>
                    <a:pt x="3144" y="1450"/>
                  </a:lnTo>
                  <a:cubicBezTo>
                    <a:pt x="3215" y="1307"/>
                    <a:pt x="3251" y="1152"/>
                    <a:pt x="3251" y="997"/>
                  </a:cubicBezTo>
                  <a:lnTo>
                    <a:pt x="3251" y="176"/>
                  </a:lnTo>
                  <a:cubicBezTo>
                    <a:pt x="3251" y="92"/>
                    <a:pt x="3179" y="21"/>
                    <a:pt x="3084" y="21"/>
                  </a:cubicBezTo>
                  <a:lnTo>
                    <a:pt x="1548" y="21"/>
                  </a:lnTo>
                  <a:cubicBezTo>
                    <a:pt x="1001" y="21"/>
                    <a:pt x="536" y="461"/>
                    <a:pt x="536" y="1033"/>
                  </a:cubicBezTo>
                  <a:lnTo>
                    <a:pt x="536" y="1045"/>
                  </a:lnTo>
                  <a:cubicBezTo>
                    <a:pt x="536" y="1176"/>
                    <a:pt x="572" y="1295"/>
                    <a:pt x="632" y="1414"/>
                  </a:cubicBezTo>
                  <a:lnTo>
                    <a:pt x="703" y="1581"/>
                  </a:lnTo>
                  <a:lnTo>
                    <a:pt x="703" y="1831"/>
                  </a:lnTo>
                  <a:cubicBezTo>
                    <a:pt x="703" y="2247"/>
                    <a:pt x="917" y="2616"/>
                    <a:pt x="1215" y="2843"/>
                  </a:cubicBezTo>
                  <a:lnTo>
                    <a:pt x="1215" y="2997"/>
                  </a:lnTo>
                  <a:cubicBezTo>
                    <a:pt x="1215" y="3069"/>
                    <a:pt x="1155" y="3140"/>
                    <a:pt x="1072" y="3176"/>
                  </a:cubicBezTo>
                  <a:lnTo>
                    <a:pt x="501" y="3343"/>
                  </a:lnTo>
                  <a:cubicBezTo>
                    <a:pt x="215" y="3414"/>
                    <a:pt x="0" y="3676"/>
                    <a:pt x="0" y="3974"/>
                  </a:cubicBezTo>
                  <a:lnTo>
                    <a:pt x="0" y="5462"/>
                  </a:lnTo>
                  <a:cubicBezTo>
                    <a:pt x="0" y="5557"/>
                    <a:pt x="84" y="5629"/>
                    <a:pt x="167" y="5629"/>
                  </a:cubicBezTo>
                  <a:cubicBezTo>
                    <a:pt x="262" y="5629"/>
                    <a:pt x="334" y="5557"/>
                    <a:pt x="334" y="5462"/>
                  </a:cubicBezTo>
                  <a:lnTo>
                    <a:pt x="334" y="3974"/>
                  </a:lnTo>
                  <a:cubicBezTo>
                    <a:pt x="334" y="3831"/>
                    <a:pt x="441" y="3676"/>
                    <a:pt x="584" y="3640"/>
                  </a:cubicBezTo>
                  <a:lnTo>
                    <a:pt x="1167" y="3474"/>
                  </a:lnTo>
                  <a:cubicBezTo>
                    <a:pt x="1215" y="3450"/>
                    <a:pt x="1251" y="3438"/>
                    <a:pt x="1298" y="3414"/>
                  </a:cubicBezTo>
                  <a:lnTo>
                    <a:pt x="1405" y="3521"/>
                  </a:lnTo>
                  <a:cubicBezTo>
                    <a:pt x="1536" y="3652"/>
                    <a:pt x="1703" y="3712"/>
                    <a:pt x="1882" y="3712"/>
                  </a:cubicBezTo>
                  <a:cubicBezTo>
                    <a:pt x="2060" y="3712"/>
                    <a:pt x="2227" y="3652"/>
                    <a:pt x="2358" y="3521"/>
                  </a:cubicBezTo>
                  <a:lnTo>
                    <a:pt x="2501" y="3367"/>
                  </a:lnTo>
                  <a:cubicBezTo>
                    <a:pt x="2584" y="3402"/>
                    <a:pt x="2656" y="3426"/>
                    <a:pt x="2727" y="3426"/>
                  </a:cubicBezTo>
                  <a:lnTo>
                    <a:pt x="2763" y="3426"/>
                  </a:lnTo>
                  <a:cubicBezTo>
                    <a:pt x="2894" y="3426"/>
                    <a:pt x="3013" y="3378"/>
                    <a:pt x="3096" y="3295"/>
                  </a:cubicBezTo>
                  <a:lnTo>
                    <a:pt x="5334" y="1176"/>
                  </a:lnTo>
                  <a:lnTo>
                    <a:pt x="5561" y="1402"/>
                  </a:lnTo>
                  <a:lnTo>
                    <a:pt x="2965" y="3986"/>
                  </a:lnTo>
                  <a:cubicBezTo>
                    <a:pt x="2798" y="4152"/>
                    <a:pt x="2715" y="4367"/>
                    <a:pt x="2715" y="4581"/>
                  </a:cubicBezTo>
                  <a:lnTo>
                    <a:pt x="2715" y="5498"/>
                  </a:lnTo>
                  <a:cubicBezTo>
                    <a:pt x="2715" y="5581"/>
                    <a:pt x="2787" y="5664"/>
                    <a:pt x="2882" y="5664"/>
                  </a:cubicBezTo>
                  <a:cubicBezTo>
                    <a:pt x="2965" y="5664"/>
                    <a:pt x="3037" y="5581"/>
                    <a:pt x="3037" y="5498"/>
                  </a:cubicBezTo>
                  <a:lnTo>
                    <a:pt x="3037" y="4581"/>
                  </a:lnTo>
                  <a:cubicBezTo>
                    <a:pt x="3037" y="4450"/>
                    <a:pt x="3096" y="4319"/>
                    <a:pt x="3191" y="4212"/>
                  </a:cubicBezTo>
                  <a:lnTo>
                    <a:pt x="6096" y="1307"/>
                  </a:lnTo>
                  <a:cubicBezTo>
                    <a:pt x="6216" y="1200"/>
                    <a:pt x="6275" y="997"/>
                    <a:pt x="6227" y="831"/>
                  </a:cubicBezTo>
                  <a:lnTo>
                    <a:pt x="6168" y="378"/>
                  </a:lnTo>
                  <a:lnTo>
                    <a:pt x="6275" y="271"/>
                  </a:lnTo>
                  <a:cubicBezTo>
                    <a:pt x="6335" y="211"/>
                    <a:pt x="6335" y="104"/>
                    <a:pt x="6275" y="45"/>
                  </a:cubicBezTo>
                  <a:cubicBezTo>
                    <a:pt x="6245" y="15"/>
                    <a:pt x="6204" y="0"/>
                    <a:pt x="61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9" name="Google Shape;13309;p64"/>
            <p:cNvSpPr/>
            <p:nvPr/>
          </p:nvSpPr>
          <p:spPr>
            <a:xfrm>
              <a:off x="1470179" y="2910480"/>
              <a:ext cx="205431" cy="173601"/>
            </a:xfrm>
            <a:custGeom>
              <a:avLst/>
              <a:gdLst/>
              <a:ahLst/>
              <a:cxnLst/>
              <a:rect l="l" t="t" r="r" b="b"/>
              <a:pathLst>
                <a:path w="6454" h="5454" extrusionOk="0">
                  <a:moveTo>
                    <a:pt x="500" y="0"/>
                  </a:moveTo>
                  <a:cubicBezTo>
                    <a:pt x="215" y="0"/>
                    <a:pt x="0" y="226"/>
                    <a:pt x="0" y="512"/>
                  </a:cubicBezTo>
                  <a:lnTo>
                    <a:pt x="0" y="4822"/>
                  </a:lnTo>
                  <a:cubicBezTo>
                    <a:pt x="0" y="4917"/>
                    <a:pt x="72" y="4989"/>
                    <a:pt x="155" y="4989"/>
                  </a:cubicBezTo>
                  <a:cubicBezTo>
                    <a:pt x="250" y="4989"/>
                    <a:pt x="322" y="4917"/>
                    <a:pt x="322" y="4822"/>
                  </a:cubicBezTo>
                  <a:lnTo>
                    <a:pt x="322" y="512"/>
                  </a:lnTo>
                  <a:cubicBezTo>
                    <a:pt x="322" y="405"/>
                    <a:pt x="393" y="322"/>
                    <a:pt x="500" y="322"/>
                  </a:cubicBezTo>
                  <a:lnTo>
                    <a:pt x="5953" y="322"/>
                  </a:lnTo>
                  <a:cubicBezTo>
                    <a:pt x="6049" y="322"/>
                    <a:pt x="6132" y="405"/>
                    <a:pt x="6132" y="512"/>
                  </a:cubicBezTo>
                  <a:lnTo>
                    <a:pt x="6132" y="4941"/>
                  </a:lnTo>
                  <a:cubicBezTo>
                    <a:pt x="6132" y="5048"/>
                    <a:pt x="6049" y="5120"/>
                    <a:pt x="5953" y="5120"/>
                  </a:cubicBezTo>
                  <a:lnTo>
                    <a:pt x="2298" y="5120"/>
                  </a:lnTo>
                  <a:cubicBezTo>
                    <a:pt x="2215" y="5120"/>
                    <a:pt x="2131" y="5191"/>
                    <a:pt x="2131" y="5287"/>
                  </a:cubicBezTo>
                  <a:cubicBezTo>
                    <a:pt x="2131" y="5370"/>
                    <a:pt x="2215" y="5453"/>
                    <a:pt x="2298" y="5453"/>
                  </a:cubicBezTo>
                  <a:lnTo>
                    <a:pt x="5953" y="5453"/>
                  </a:lnTo>
                  <a:cubicBezTo>
                    <a:pt x="6227" y="5453"/>
                    <a:pt x="6453" y="5227"/>
                    <a:pt x="6453" y="4941"/>
                  </a:cubicBezTo>
                  <a:lnTo>
                    <a:pt x="6453" y="512"/>
                  </a:lnTo>
                  <a:cubicBezTo>
                    <a:pt x="6453" y="226"/>
                    <a:pt x="6215" y="0"/>
                    <a:pt x="5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0" name="Google Shape;13310;p64"/>
            <p:cNvSpPr/>
            <p:nvPr/>
          </p:nvSpPr>
          <p:spPr>
            <a:xfrm>
              <a:off x="1497075" y="2942692"/>
              <a:ext cx="152370" cy="96668"/>
            </a:xfrm>
            <a:custGeom>
              <a:avLst/>
              <a:gdLst/>
              <a:ahLst/>
              <a:cxnLst/>
              <a:rect l="l" t="t" r="r" b="b"/>
              <a:pathLst>
                <a:path w="4787" h="3037" extrusionOk="0">
                  <a:moveTo>
                    <a:pt x="3751" y="0"/>
                  </a:moveTo>
                  <a:cubicBezTo>
                    <a:pt x="3656" y="0"/>
                    <a:pt x="3584" y="72"/>
                    <a:pt x="3584" y="167"/>
                  </a:cubicBezTo>
                  <a:cubicBezTo>
                    <a:pt x="3584" y="250"/>
                    <a:pt x="3656" y="334"/>
                    <a:pt x="3751" y="334"/>
                  </a:cubicBezTo>
                  <a:lnTo>
                    <a:pt x="4215" y="334"/>
                  </a:lnTo>
                  <a:lnTo>
                    <a:pt x="2465" y="2072"/>
                  </a:lnTo>
                  <a:lnTo>
                    <a:pt x="1727" y="1322"/>
                  </a:lnTo>
                  <a:cubicBezTo>
                    <a:pt x="1697" y="1292"/>
                    <a:pt x="1656" y="1277"/>
                    <a:pt x="1614" y="1277"/>
                  </a:cubicBezTo>
                  <a:cubicBezTo>
                    <a:pt x="1572" y="1277"/>
                    <a:pt x="1531" y="1292"/>
                    <a:pt x="1501" y="1322"/>
                  </a:cubicBezTo>
                  <a:lnTo>
                    <a:pt x="60" y="2774"/>
                  </a:lnTo>
                  <a:cubicBezTo>
                    <a:pt x="1" y="2834"/>
                    <a:pt x="1" y="2929"/>
                    <a:pt x="60" y="2989"/>
                  </a:cubicBezTo>
                  <a:cubicBezTo>
                    <a:pt x="84" y="3024"/>
                    <a:pt x="132" y="3036"/>
                    <a:pt x="179" y="3036"/>
                  </a:cubicBezTo>
                  <a:cubicBezTo>
                    <a:pt x="227" y="3036"/>
                    <a:pt x="251" y="3024"/>
                    <a:pt x="298" y="2989"/>
                  </a:cubicBezTo>
                  <a:lnTo>
                    <a:pt x="1632" y="1655"/>
                  </a:lnTo>
                  <a:lnTo>
                    <a:pt x="2382" y="2393"/>
                  </a:lnTo>
                  <a:cubicBezTo>
                    <a:pt x="2412" y="2423"/>
                    <a:pt x="2453" y="2438"/>
                    <a:pt x="2495" y="2438"/>
                  </a:cubicBezTo>
                  <a:cubicBezTo>
                    <a:pt x="2537" y="2438"/>
                    <a:pt x="2578" y="2423"/>
                    <a:pt x="2608" y="2393"/>
                  </a:cubicBezTo>
                  <a:lnTo>
                    <a:pt x="4465" y="536"/>
                  </a:lnTo>
                  <a:lnTo>
                    <a:pt x="4465" y="1000"/>
                  </a:lnTo>
                  <a:cubicBezTo>
                    <a:pt x="4465" y="1084"/>
                    <a:pt x="4537" y="1167"/>
                    <a:pt x="4632" y="1167"/>
                  </a:cubicBezTo>
                  <a:cubicBezTo>
                    <a:pt x="4715" y="1167"/>
                    <a:pt x="4787" y="1084"/>
                    <a:pt x="4787" y="1000"/>
                  </a:cubicBezTo>
                  <a:lnTo>
                    <a:pt x="4787" y="155"/>
                  </a:lnTo>
                  <a:cubicBezTo>
                    <a:pt x="4751" y="72"/>
                    <a:pt x="4692" y="0"/>
                    <a:pt x="4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311" name="Google Shape;13311;p64"/>
          <p:cNvSpPr/>
          <p:nvPr/>
        </p:nvSpPr>
        <p:spPr>
          <a:xfrm>
            <a:off x="2785967" y="3195072"/>
            <a:ext cx="10663" cy="32244"/>
          </a:xfrm>
          <a:custGeom>
            <a:avLst/>
            <a:gdLst/>
            <a:ahLst/>
            <a:cxnLst/>
            <a:rect l="l" t="t" r="r" b="b"/>
            <a:pathLst>
              <a:path w="335" h="1013" extrusionOk="0">
                <a:moveTo>
                  <a:pt x="167" y="1"/>
                </a:moveTo>
                <a:cubicBezTo>
                  <a:pt x="72" y="1"/>
                  <a:pt x="1" y="84"/>
                  <a:pt x="1" y="167"/>
                </a:cubicBezTo>
                <a:lnTo>
                  <a:pt x="1" y="858"/>
                </a:lnTo>
                <a:cubicBezTo>
                  <a:pt x="1" y="941"/>
                  <a:pt x="72" y="1013"/>
                  <a:pt x="167" y="1013"/>
                </a:cubicBezTo>
                <a:cubicBezTo>
                  <a:pt x="251" y="1013"/>
                  <a:pt x="334" y="941"/>
                  <a:pt x="334" y="858"/>
                </a:cubicBezTo>
                <a:lnTo>
                  <a:pt x="334" y="167"/>
                </a:lnTo>
                <a:cubicBezTo>
                  <a:pt x="334" y="60"/>
                  <a:pt x="251" y="1"/>
                  <a:pt x="16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312" name="Google Shape;13312;p64"/>
          <p:cNvGrpSpPr/>
          <p:nvPr/>
        </p:nvGrpSpPr>
        <p:grpSpPr>
          <a:xfrm>
            <a:off x="2753401" y="2869564"/>
            <a:ext cx="382828" cy="358601"/>
            <a:chOff x="2753373" y="2902523"/>
            <a:chExt cx="347552" cy="325557"/>
          </a:xfrm>
        </p:grpSpPr>
        <p:sp>
          <p:nvSpPr>
            <p:cNvPr id="13313" name="Google Shape;13313;p64"/>
            <p:cNvSpPr/>
            <p:nvPr/>
          </p:nvSpPr>
          <p:spPr>
            <a:xfrm>
              <a:off x="2807962" y="3018575"/>
              <a:ext cx="86418" cy="29506"/>
            </a:xfrm>
            <a:custGeom>
              <a:avLst/>
              <a:gdLst/>
              <a:ahLst/>
              <a:cxnLst/>
              <a:rect l="l" t="t" r="r" b="b"/>
              <a:pathLst>
                <a:path w="2715" h="927" extrusionOk="0">
                  <a:moveTo>
                    <a:pt x="1070" y="0"/>
                  </a:moveTo>
                  <a:cubicBezTo>
                    <a:pt x="752" y="0"/>
                    <a:pt x="464" y="31"/>
                    <a:pt x="274" y="57"/>
                  </a:cubicBezTo>
                  <a:cubicBezTo>
                    <a:pt x="107" y="93"/>
                    <a:pt x="0" y="224"/>
                    <a:pt x="0" y="390"/>
                  </a:cubicBezTo>
                  <a:lnTo>
                    <a:pt x="0" y="759"/>
                  </a:lnTo>
                  <a:cubicBezTo>
                    <a:pt x="0" y="843"/>
                    <a:pt x="72" y="926"/>
                    <a:pt x="155" y="926"/>
                  </a:cubicBezTo>
                  <a:cubicBezTo>
                    <a:pt x="250" y="926"/>
                    <a:pt x="322" y="843"/>
                    <a:pt x="322" y="759"/>
                  </a:cubicBezTo>
                  <a:lnTo>
                    <a:pt x="322" y="390"/>
                  </a:lnTo>
                  <a:cubicBezTo>
                    <a:pt x="322" y="390"/>
                    <a:pt x="322" y="367"/>
                    <a:pt x="334" y="367"/>
                  </a:cubicBezTo>
                  <a:cubicBezTo>
                    <a:pt x="493" y="349"/>
                    <a:pt x="758" y="318"/>
                    <a:pt x="1059" y="318"/>
                  </a:cubicBezTo>
                  <a:cubicBezTo>
                    <a:pt x="1163" y="318"/>
                    <a:pt x="1271" y="322"/>
                    <a:pt x="1381" y="331"/>
                  </a:cubicBezTo>
                  <a:cubicBezTo>
                    <a:pt x="1870" y="355"/>
                    <a:pt x="2239" y="486"/>
                    <a:pt x="2453" y="700"/>
                  </a:cubicBezTo>
                  <a:cubicBezTo>
                    <a:pt x="2483" y="730"/>
                    <a:pt x="2524" y="745"/>
                    <a:pt x="2566" y="745"/>
                  </a:cubicBezTo>
                  <a:cubicBezTo>
                    <a:pt x="2608" y="745"/>
                    <a:pt x="2649" y="730"/>
                    <a:pt x="2679" y="700"/>
                  </a:cubicBezTo>
                  <a:cubicBezTo>
                    <a:pt x="2715" y="640"/>
                    <a:pt x="2715" y="533"/>
                    <a:pt x="2655" y="474"/>
                  </a:cubicBezTo>
                  <a:cubicBezTo>
                    <a:pt x="2276" y="95"/>
                    <a:pt x="1627" y="0"/>
                    <a:pt x="10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4" name="Google Shape;13314;p64"/>
            <p:cNvSpPr/>
            <p:nvPr/>
          </p:nvSpPr>
          <p:spPr>
            <a:xfrm>
              <a:off x="2753373" y="2973376"/>
              <a:ext cx="195213" cy="254704"/>
            </a:xfrm>
            <a:custGeom>
              <a:avLst/>
              <a:gdLst/>
              <a:ahLst/>
              <a:cxnLst/>
              <a:rect l="l" t="t" r="r" b="b"/>
              <a:pathLst>
                <a:path w="6133" h="8002" extrusionOk="0">
                  <a:moveTo>
                    <a:pt x="4787" y="298"/>
                  </a:moveTo>
                  <a:lnTo>
                    <a:pt x="4787" y="1846"/>
                  </a:lnTo>
                  <a:cubicBezTo>
                    <a:pt x="4787" y="2084"/>
                    <a:pt x="4751" y="2310"/>
                    <a:pt x="4644" y="2513"/>
                  </a:cubicBezTo>
                  <a:cubicBezTo>
                    <a:pt x="4632" y="2537"/>
                    <a:pt x="4632" y="2560"/>
                    <a:pt x="4632" y="2596"/>
                  </a:cubicBezTo>
                  <a:lnTo>
                    <a:pt x="4632" y="3037"/>
                  </a:lnTo>
                  <a:cubicBezTo>
                    <a:pt x="4632" y="3465"/>
                    <a:pt x="4442" y="3870"/>
                    <a:pt x="4132" y="4168"/>
                  </a:cubicBezTo>
                  <a:cubicBezTo>
                    <a:pt x="3852" y="4437"/>
                    <a:pt x="3484" y="4590"/>
                    <a:pt x="3099" y="4590"/>
                  </a:cubicBezTo>
                  <a:cubicBezTo>
                    <a:pt x="3059" y="4590"/>
                    <a:pt x="3018" y="4588"/>
                    <a:pt x="2977" y="4584"/>
                  </a:cubicBezTo>
                  <a:cubicBezTo>
                    <a:pt x="2156" y="4525"/>
                    <a:pt x="1513" y="3811"/>
                    <a:pt x="1513" y="2977"/>
                  </a:cubicBezTo>
                  <a:lnTo>
                    <a:pt x="1513" y="2572"/>
                  </a:lnTo>
                  <a:cubicBezTo>
                    <a:pt x="1513" y="2549"/>
                    <a:pt x="1513" y="2537"/>
                    <a:pt x="1501" y="2501"/>
                  </a:cubicBezTo>
                  <a:cubicBezTo>
                    <a:pt x="1394" y="2298"/>
                    <a:pt x="1358" y="2072"/>
                    <a:pt x="1358" y="1834"/>
                  </a:cubicBezTo>
                  <a:lnTo>
                    <a:pt x="1358" y="1513"/>
                  </a:lnTo>
                  <a:cubicBezTo>
                    <a:pt x="1358" y="834"/>
                    <a:pt x="1894" y="298"/>
                    <a:pt x="2561" y="298"/>
                  </a:cubicBezTo>
                  <a:close/>
                  <a:moveTo>
                    <a:pt x="3930" y="4680"/>
                  </a:moveTo>
                  <a:lnTo>
                    <a:pt x="3930" y="4977"/>
                  </a:lnTo>
                  <a:lnTo>
                    <a:pt x="3061" y="5573"/>
                  </a:lnTo>
                  <a:lnTo>
                    <a:pt x="2203" y="4977"/>
                  </a:lnTo>
                  <a:lnTo>
                    <a:pt x="2203" y="4680"/>
                  </a:lnTo>
                  <a:cubicBezTo>
                    <a:pt x="2430" y="4799"/>
                    <a:pt x="2680" y="4870"/>
                    <a:pt x="2942" y="4882"/>
                  </a:cubicBezTo>
                  <a:lnTo>
                    <a:pt x="3061" y="4882"/>
                  </a:lnTo>
                  <a:cubicBezTo>
                    <a:pt x="3358" y="4882"/>
                    <a:pt x="3656" y="4811"/>
                    <a:pt x="3930" y="4680"/>
                  </a:cubicBezTo>
                  <a:close/>
                  <a:moveTo>
                    <a:pt x="2084" y="5275"/>
                  </a:moveTo>
                  <a:lnTo>
                    <a:pt x="2846" y="5787"/>
                  </a:lnTo>
                  <a:lnTo>
                    <a:pt x="2430" y="6180"/>
                  </a:lnTo>
                  <a:lnTo>
                    <a:pt x="2406" y="6180"/>
                  </a:lnTo>
                  <a:lnTo>
                    <a:pt x="1918" y="5442"/>
                  </a:lnTo>
                  <a:lnTo>
                    <a:pt x="2084" y="5275"/>
                  </a:lnTo>
                  <a:close/>
                  <a:moveTo>
                    <a:pt x="4073" y="5251"/>
                  </a:moveTo>
                  <a:lnTo>
                    <a:pt x="4239" y="5418"/>
                  </a:lnTo>
                  <a:lnTo>
                    <a:pt x="3739" y="6180"/>
                  </a:lnTo>
                  <a:lnTo>
                    <a:pt x="3716" y="6180"/>
                  </a:lnTo>
                  <a:lnTo>
                    <a:pt x="3311" y="5775"/>
                  </a:lnTo>
                  <a:lnTo>
                    <a:pt x="4073" y="5251"/>
                  </a:lnTo>
                  <a:close/>
                  <a:moveTo>
                    <a:pt x="2549" y="1"/>
                  </a:moveTo>
                  <a:cubicBezTo>
                    <a:pt x="1715" y="1"/>
                    <a:pt x="1025" y="691"/>
                    <a:pt x="1025" y="1525"/>
                  </a:cubicBezTo>
                  <a:lnTo>
                    <a:pt x="1025" y="1870"/>
                  </a:lnTo>
                  <a:cubicBezTo>
                    <a:pt x="1025" y="2132"/>
                    <a:pt x="1084" y="2406"/>
                    <a:pt x="1191" y="2644"/>
                  </a:cubicBezTo>
                  <a:lnTo>
                    <a:pt x="1191" y="3001"/>
                  </a:lnTo>
                  <a:cubicBezTo>
                    <a:pt x="1191" y="3596"/>
                    <a:pt x="1453" y="4132"/>
                    <a:pt x="1870" y="4489"/>
                  </a:cubicBezTo>
                  <a:lnTo>
                    <a:pt x="1870" y="5025"/>
                  </a:lnTo>
                  <a:lnTo>
                    <a:pt x="1572" y="5335"/>
                  </a:lnTo>
                  <a:cubicBezTo>
                    <a:pt x="1549" y="5358"/>
                    <a:pt x="1537" y="5406"/>
                    <a:pt x="1537" y="5454"/>
                  </a:cubicBezTo>
                  <a:lnTo>
                    <a:pt x="548" y="5811"/>
                  </a:lnTo>
                  <a:cubicBezTo>
                    <a:pt x="227" y="5930"/>
                    <a:pt x="1" y="6239"/>
                    <a:pt x="1" y="6597"/>
                  </a:cubicBezTo>
                  <a:lnTo>
                    <a:pt x="1" y="7823"/>
                  </a:lnTo>
                  <a:cubicBezTo>
                    <a:pt x="1" y="7906"/>
                    <a:pt x="72" y="7978"/>
                    <a:pt x="167" y="7978"/>
                  </a:cubicBezTo>
                  <a:cubicBezTo>
                    <a:pt x="251" y="7978"/>
                    <a:pt x="322" y="7906"/>
                    <a:pt x="322" y="7823"/>
                  </a:cubicBezTo>
                  <a:lnTo>
                    <a:pt x="322" y="6597"/>
                  </a:lnTo>
                  <a:cubicBezTo>
                    <a:pt x="322" y="6370"/>
                    <a:pt x="465" y="6180"/>
                    <a:pt x="668" y="6108"/>
                  </a:cubicBezTo>
                  <a:lnTo>
                    <a:pt x="1691" y="5739"/>
                  </a:lnTo>
                  <a:lnTo>
                    <a:pt x="2120" y="6370"/>
                  </a:lnTo>
                  <a:cubicBezTo>
                    <a:pt x="2180" y="6466"/>
                    <a:pt x="2275" y="6501"/>
                    <a:pt x="2358" y="6525"/>
                  </a:cubicBezTo>
                  <a:lnTo>
                    <a:pt x="2394" y="6525"/>
                  </a:lnTo>
                  <a:cubicBezTo>
                    <a:pt x="2489" y="6525"/>
                    <a:pt x="2561" y="6489"/>
                    <a:pt x="2632" y="6430"/>
                  </a:cubicBezTo>
                  <a:lnTo>
                    <a:pt x="2906" y="6168"/>
                  </a:lnTo>
                  <a:lnTo>
                    <a:pt x="2906" y="7835"/>
                  </a:lnTo>
                  <a:cubicBezTo>
                    <a:pt x="2906" y="7918"/>
                    <a:pt x="2977" y="8002"/>
                    <a:pt x="3061" y="8002"/>
                  </a:cubicBezTo>
                  <a:cubicBezTo>
                    <a:pt x="3156" y="8002"/>
                    <a:pt x="3227" y="7918"/>
                    <a:pt x="3227" y="7835"/>
                  </a:cubicBezTo>
                  <a:lnTo>
                    <a:pt x="3227" y="6168"/>
                  </a:lnTo>
                  <a:lnTo>
                    <a:pt x="3501" y="6430"/>
                  </a:lnTo>
                  <a:cubicBezTo>
                    <a:pt x="3549" y="6489"/>
                    <a:pt x="3644" y="6525"/>
                    <a:pt x="3739" y="6525"/>
                  </a:cubicBezTo>
                  <a:lnTo>
                    <a:pt x="3763" y="6525"/>
                  </a:lnTo>
                  <a:cubicBezTo>
                    <a:pt x="3870" y="6501"/>
                    <a:pt x="3954" y="6466"/>
                    <a:pt x="4001" y="6370"/>
                  </a:cubicBezTo>
                  <a:lnTo>
                    <a:pt x="4430" y="5739"/>
                  </a:lnTo>
                  <a:lnTo>
                    <a:pt x="5466" y="6108"/>
                  </a:lnTo>
                  <a:cubicBezTo>
                    <a:pt x="5668" y="6180"/>
                    <a:pt x="5799" y="6370"/>
                    <a:pt x="5799" y="6597"/>
                  </a:cubicBezTo>
                  <a:lnTo>
                    <a:pt x="5799" y="7823"/>
                  </a:lnTo>
                  <a:cubicBezTo>
                    <a:pt x="5799" y="7906"/>
                    <a:pt x="5882" y="7978"/>
                    <a:pt x="5966" y="7978"/>
                  </a:cubicBezTo>
                  <a:cubicBezTo>
                    <a:pt x="6061" y="7978"/>
                    <a:pt x="6133" y="7906"/>
                    <a:pt x="6133" y="7823"/>
                  </a:cubicBezTo>
                  <a:lnTo>
                    <a:pt x="6133" y="6597"/>
                  </a:lnTo>
                  <a:cubicBezTo>
                    <a:pt x="6121" y="6228"/>
                    <a:pt x="5894" y="5918"/>
                    <a:pt x="5561" y="5787"/>
                  </a:cubicBezTo>
                  <a:lnTo>
                    <a:pt x="4585" y="5442"/>
                  </a:lnTo>
                  <a:cubicBezTo>
                    <a:pt x="4585" y="5394"/>
                    <a:pt x="4561" y="5346"/>
                    <a:pt x="4537" y="5323"/>
                  </a:cubicBezTo>
                  <a:lnTo>
                    <a:pt x="4239" y="5001"/>
                  </a:lnTo>
                  <a:lnTo>
                    <a:pt x="4239" y="4489"/>
                  </a:lnTo>
                  <a:cubicBezTo>
                    <a:pt x="4275" y="4454"/>
                    <a:pt x="4299" y="4430"/>
                    <a:pt x="4335" y="4406"/>
                  </a:cubicBezTo>
                  <a:cubicBezTo>
                    <a:pt x="4704" y="4049"/>
                    <a:pt x="4930" y="3561"/>
                    <a:pt x="4930" y="3060"/>
                  </a:cubicBezTo>
                  <a:lnTo>
                    <a:pt x="4930" y="2644"/>
                  </a:lnTo>
                  <a:cubicBezTo>
                    <a:pt x="5037" y="2382"/>
                    <a:pt x="5085" y="2132"/>
                    <a:pt x="5085" y="1870"/>
                  </a:cubicBezTo>
                  <a:lnTo>
                    <a:pt x="5085" y="167"/>
                  </a:lnTo>
                  <a:cubicBezTo>
                    <a:pt x="5085" y="84"/>
                    <a:pt x="5013" y="1"/>
                    <a:pt x="4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5" name="Google Shape;13315;p64"/>
            <p:cNvSpPr/>
            <p:nvPr/>
          </p:nvSpPr>
          <p:spPr>
            <a:xfrm>
              <a:off x="2905361" y="3195072"/>
              <a:ext cx="10631" cy="32244"/>
            </a:xfrm>
            <a:custGeom>
              <a:avLst/>
              <a:gdLst/>
              <a:ahLst/>
              <a:cxnLst/>
              <a:rect l="l" t="t" r="r" b="b"/>
              <a:pathLst>
                <a:path w="334" h="10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858"/>
                  </a:lnTo>
                  <a:cubicBezTo>
                    <a:pt x="0" y="941"/>
                    <a:pt x="72" y="1013"/>
                    <a:pt x="167" y="1013"/>
                  </a:cubicBezTo>
                  <a:cubicBezTo>
                    <a:pt x="250" y="1013"/>
                    <a:pt x="334" y="941"/>
                    <a:pt x="334" y="858"/>
                  </a:cubicBezTo>
                  <a:lnTo>
                    <a:pt x="334" y="167"/>
                  </a:lnTo>
                  <a:cubicBezTo>
                    <a:pt x="334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6" name="Google Shape;13316;p64"/>
            <p:cNvSpPr/>
            <p:nvPr/>
          </p:nvSpPr>
          <p:spPr>
            <a:xfrm>
              <a:off x="2939069" y="2934735"/>
              <a:ext cx="161856" cy="169049"/>
            </a:xfrm>
            <a:custGeom>
              <a:avLst/>
              <a:gdLst/>
              <a:ahLst/>
              <a:cxnLst/>
              <a:rect l="l" t="t" r="r" b="b"/>
              <a:pathLst>
                <a:path w="5085" h="531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3393"/>
                  </a:lnTo>
                  <a:cubicBezTo>
                    <a:pt x="1" y="3763"/>
                    <a:pt x="299" y="4060"/>
                    <a:pt x="668" y="4060"/>
                  </a:cubicBezTo>
                  <a:lnTo>
                    <a:pt x="977" y="4060"/>
                  </a:lnTo>
                  <a:lnTo>
                    <a:pt x="739" y="5001"/>
                  </a:lnTo>
                  <a:cubicBezTo>
                    <a:pt x="715" y="5108"/>
                    <a:pt x="763" y="5203"/>
                    <a:pt x="846" y="5263"/>
                  </a:cubicBezTo>
                  <a:cubicBezTo>
                    <a:pt x="894" y="5298"/>
                    <a:pt x="941" y="5310"/>
                    <a:pt x="977" y="5310"/>
                  </a:cubicBezTo>
                  <a:cubicBezTo>
                    <a:pt x="1025" y="5310"/>
                    <a:pt x="1084" y="5298"/>
                    <a:pt x="1132" y="5263"/>
                  </a:cubicBezTo>
                  <a:lnTo>
                    <a:pt x="2763" y="4072"/>
                  </a:lnTo>
                  <a:lnTo>
                    <a:pt x="4418" y="4072"/>
                  </a:lnTo>
                  <a:cubicBezTo>
                    <a:pt x="4787" y="4072"/>
                    <a:pt x="5085" y="3774"/>
                    <a:pt x="5085" y="3405"/>
                  </a:cubicBezTo>
                  <a:lnTo>
                    <a:pt x="5085" y="679"/>
                  </a:lnTo>
                  <a:cubicBezTo>
                    <a:pt x="5061" y="298"/>
                    <a:pt x="4751" y="0"/>
                    <a:pt x="4394" y="0"/>
                  </a:cubicBezTo>
                  <a:lnTo>
                    <a:pt x="3537" y="0"/>
                  </a:lnTo>
                  <a:cubicBezTo>
                    <a:pt x="3454" y="0"/>
                    <a:pt x="3370" y="72"/>
                    <a:pt x="3370" y="167"/>
                  </a:cubicBezTo>
                  <a:cubicBezTo>
                    <a:pt x="3370" y="250"/>
                    <a:pt x="3454" y="322"/>
                    <a:pt x="3537" y="322"/>
                  </a:cubicBezTo>
                  <a:lnTo>
                    <a:pt x="4394" y="322"/>
                  </a:lnTo>
                  <a:cubicBezTo>
                    <a:pt x="4585" y="322"/>
                    <a:pt x="4751" y="488"/>
                    <a:pt x="4751" y="679"/>
                  </a:cubicBezTo>
                  <a:lnTo>
                    <a:pt x="4751" y="3405"/>
                  </a:lnTo>
                  <a:cubicBezTo>
                    <a:pt x="4751" y="3596"/>
                    <a:pt x="4585" y="3763"/>
                    <a:pt x="4394" y="3763"/>
                  </a:cubicBezTo>
                  <a:lnTo>
                    <a:pt x="2692" y="3763"/>
                  </a:lnTo>
                  <a:cubicBezTo>
                    <a:pt x="2668" y="3763"/>
                    <a:pt x="2632" y="3774"/>
                    <a:pt x="2608" y="3798"/>
                  </a:cubicBezTo>
                  <a:lnTo>
                    <a:pt x="1084" y="4894"/>
                  </a:lnTo>
                  <a:lnTo>
                    <a:pt x="1322" y="3953"/>
                  </a:lnTo>
                  <a:cubicBezTo>
                    <a:pt x="1334" y="3917"/>
                    <a:pt x="1322" y="3858"/>
                    <a:pt x="1287" y="3822"/>
                  </a:cubicBezTo>
                  <a:cubicBezTo>
                    <a:pt x="1263" y="3774"/>
                    <a:pt x="1215" y="3763"/>
                    <a:pt x="1180" y="3763"/>
                  </a:cubicBezTo>
                  <a:lnTo>
                    <a:pt x="668" y="3763"/>
                  </a:lnTo>
                  <a:cubicBezTo>
                    <a:pt x="477" y="3763"/>
                    <a:pt x="310" y="3596"/>
                    <a:pt x="310" y="3405"/>
                  </a:cubicBezTo>
                  <a:lnTo>
                    <a:pt x="310" y="679"/>
                  </a:lnTo>
                  <a:cubicBezTo>
                    <a:pt x="310" y="488"/>
                    <a:pt x="477" y="322"/>
                    <a:pt x="668" y="322"/>
                  </a:cubicBezTo>
                  <a:lnTo>
                    <a:pt x="1513" y="322"/>
                  </a:lnTo>
                  <a:cubicBezTo>
                    <a:pt x="1608" y="322"/>
                    <a:pt x="1680" y="250"/>
                    <a:pt x="1680" y="167"/>
                  </a:cubicBezTo>
                  <a:cubicBezTo>
                    <a:pt x="1680" y="72"/>
                    <a:pt x="1608" y="0"/>
                    <a:pt x="1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7" name="Google Shape;13317;p64"/>
            <p:cNvSpPr/>
            <p:nvPr/>
          </p:nvSpPr>
          <p:spPr>
            <a:xfrm>
              <a:off x="3002379" y="2902523"/>
              <a:ext cx="32244" cy="96668"/>
            </a:xfrm>
            <a:custGeom>
              <a:avLst/>
              <a:gdLst/>
              <a:ahLst/>
              <a:cxnLst/>
              <a:rect l="l" t="t" r="r" b="b"/>
              <a:pathLst>
                <a:path w="1013" h="3037" extrusionOk="0">
                  <a:moveTo>
                    <a:pt x="691" y="310"/>
                  </a:moveTo>
                  <a:lnTo>
                    <a:pt x="536" y="2727"/>
                  </a:lnTo>
                  <a:lnTo>
                    <a:pt x="500" y="2727"/>
                  </a:lnTo>
                  <a:lnTo>
                    <a:pt x="345" y="310"/>
                  </a:lnTo>
                  <a:close/>
                  <a:moveTo>
                    <a:pt x="167" y="0"/>
                  </a:moveTo>
                  <a:cubicBezTo>
                    <a:pt x="119" y="0"/>
                    <a:pt x="84" y="12"/>
                    <a:pt x="48" y="48"/>
                  </a:cubicBezTo>
                  <a:cubicBezTo>
                    <a:pt x="24" y="72"/>
                    <a:pt x="0" y="119"/>
                    <a:pt x="0" y="167"/>
                  </a:cubicBezTo>
                  <a:lnTo>
                    <a:pt x="167" y="2881"/>
                  </a:lnTo>
                  <a:cubicBezTo>
                    <a:pt x="167" y="2977"/>
                    <a:pt x="238" y="3036"/>
                    <a:pt x="334" y="3036"/>
                  </a:cubicBezTo>
                  <a:lnTo>
                    <a:pt x="679" y="3036"/>
                  </a:lnTo>
                  <a:cubicBezTo>
                    <a:pt x="762" y="3036"/>
                    <a:pt x="822" y="2977"/>
                    <a:pt x="834" y="2881"/>
                  </a:cubicBezTo>
                  <a:lnTo>
                    <a:pt x="1000" y="167"/>
                  </a:lnTo>
                  <a:cubicBezTo>
                    <a:pt x="1012" y="119"/>
                    <a:pt x="1000" y="72"/>
                    <a:pt x="977" y="48"/>
                  </a:cubicBezTo>
                  <a:cubicBezTo>
                    <a:pt x="941" y="12"/>
                    <a:pt x="893" y="0"/>
                    <a:pt x="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8" name="Google Shape;13318;p64"/>
            <p:cNvSpPr/>
            <p:nvPr/>
          </p:nvSpPr>
          <p:spPr>
            <a:xfrm>
              <a:off x="3003143" y="3005206"/>
              <a:ext cx="32244" cy="32244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22"/>
                  </a:moveTo>
                  <a:cubicBezTo>
                    <a:pt x="607" y="322"/>
                    <a:pt x="679" y="406"/>
                    <a:pt x="679" y="513"/>
                  </a:cubicBezTo>
                  <a:cubicBezTo>
                    <a:pt x="679" y="608"/>
                    <a:pt x="595" y="691"/>
                    <a:pt x="500" y="691"/>
                  </a:cubicBezTo>
                  <a:cubicBezTo>
                    <a:pt x="393" y="691"/>
                    <a:pt x="321" y="608"/>
                    <a:pt x="321" y="513"/>
                  </a:cubicBezTo>
                  <a:cubicBezTo>
                    <a:pt x="321" y="406"/>
                    <a:pt x="393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14" y="1"/>
                    <a:pt x="0" y="227"/>
                    <a:pt x="0" y="513"/>
                  </a:cubicBezTo>
                  <a:cubicBezTo>
                    <a:pt x="0" y="787"/>
                    <a:pt x="214" y="1013"/>
                    <a:pt x="500" y="1013"/>
                  </a:cubicBezTo>
                  <a:cubicBezTo>
                    <a:pt x="786" y="1013"/>
                    <a:pt x="1012" y="787"/>
                    <a:pt x="1012" y="513"/>
                  </a:cubicBezTo>
                  <a:cubicBezTo>
                    <a:pt x="988" y="227"/>
                    <a:pt x="762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19" name="Google Shape;13319;p64"/>
          <p:cNvGrpSpPr/>
          <p:nvPr/>
        </p:nvGrpSpPr>
        <p:grpSpPr>
          <a:xfrm>
            <a:off x="849016" y="2903255"/>
            <a:ext cx="356655" cy="335425"/>
            <a:chOff x="849016" y="2903255"/>
            <a:chExt cx="356655" cy="335425"/>
          </a:xfrm>
        </p:grpSpPr>
        <p:sp>
          <p:nvSpPr>
            <p:cNvPr id="13320" name="Google Shape;13320;p64"/>
            <p:cNvSpPr/>
            <p:nvPr/>
          </p:nvSpPr>
          <p:spPr>
            <a:xfrm>
              <a:off x="849016" y="2903255"/>
              <a:ext cx="356655" cy="335425"/>
            </a:xfrm>
            <a:custGeom>
              <a:avLst/>
              <a:gdLst/>
              <a:ahLst/>
              <a:cxnLst/>
              <a:rect l="l" t="t" r="r" b="b"/>
              <a:pathLst>
                <a:path w="11205" h="10538" extrusionOk="0">
                  <a:moveTo>
                    <a:pt x="9835" y="3192"/>
                  </a:moveTo>
                  <a:lnTo>
                    <a:pt x="9835" y="3680"/>
                  </a:lnTo>
                  <a:lnTo>
                    <a:pt x="2692" y="3680"/>
                  </a:lnTo>
                  <a:cubicBezTo>
                    <a:pt x="2608" y="3680"/>
                    <a:pt x="2525" y="3751"/>
                    <a:pt x="2525" y="3847"/>
                  </a:cubicBezTo>
                  <a:cubicBezTo>
                    <a:pt x="2525" y="3930"/>
                    <a:pt x="2608" y="4013"/>
                    <a:pt x="2692" y="4013"/>
                  </a:cubicBezTo>
                  <a:lnTo>
                    <a:pt x="10824" y="4013"/>
                  </a:lnTo>
                  <a:cubicBezTo>
                    <a:pt x="10847" y="4013"/>
                    <a:pt x="10883" y="4037"/>
                    <a:pt x="10883" y="4073"/>
                  </a:cubicBezTo>
                  <a:lnTo>
                    <a:pt x="10883" y="6478"/>
                  </a:lnTo>
                  <a:cubicBezTo>
                    <a:pt x="10883" y="6514"/>
                    <a:pt x="10847" y="6537"/>
                    <a:pt x="10824" y="6537"/>
                  </a:cubicBezTo>
                  <a:lnTo>
                    <a:pt x="382" y="6537"/>
                  </a:lnTo>
                  <a:cubicBezTo>
                    <a:pt x="358" y="6537"/>
                    <a:pt x="322" y="6502"/>
                    <a:pt x="322" y="6478"/>
                  </a:cubicBezTo>
                  <a:lnTo>
                    <a:pt x="322" y="4073"/>
                  </a:lnTo>
                  <a:cubicBezTo>
                    <a:pt x="322" y="4037"/>
                    <a:pt x="358" y="4013"/>
                    <a:pt x="382" y="4013"/>
                  </a:cubicBezTo>
                  <a:lnTo>
                    <a:pt x="2025" y="4013"/>
                  </a:lnTo>
                  <a:cubicBezTo>
                    <a:pt x="2108" y="4013"/>
                    <a:pt x="2192" y="3930"/>
                    <a:pt x="2192" y="3847"/>
                  </a:cubicBezTo>
                  <a:cubicBezTo>
                    <a:pt x="2192" y="3751"/>
                    <a:pt x="2108" y="3680"/>
                    <a:pt x="2025" y="3680"/>
                  </a:cubicBezTo>
                  <a:lnTo>
                    <a:pt x="1394" y="3680"/>
                  </a:lnTo>
                  <a:lnTo>
                    <a:pt x="1394" y="3192"/>
                  </a:lnTo>
                  <a:close/>
                  <a:moveTo>
                    <a:pt x="9824" y="6871"/>
                  </a:moveTo>
                  <a:lnTo>
                    <a:pt x="9824" y="7359"/>
                  </a:lnTo>
                  <a:lnTo>
                    <a:pt x="1382" y="7359"/>
                  </a:lnTo>
                  <a:lnTo>
                    <a:pt x="1382" y="6871"/>
                  </a:lnTo>
                  <a:close/>
                  <a:moveTo>
                    <a:pt x="382" y="1"/>
                  </a:moveTo>
                  <a:cubicBezTo>
                    <a:pt x="179" y="1"/>
                    <a:pt x="1" y="180"/>
                    <a:pt x="1" y="394"/>
                  </a:cubicBezTo>
                  <a:lnTo>
                    <a:pt x="1" y="2799"/>
                  </a:lnTo>
                  <a:cubicBezTo>
                    <a:pt x="1" y="3013"/>
                    <a:pt x="179" y="3192"/>
                    <a:pt x="382" y="3192"/>
                  </a:cubicBezTo>
                  <a:lnTo>
                    <a:pt x="1061" y="3192"/>
                  </a:lnTo>
                  <a:lnTo>
                    <a:pt x="1061" y="3680"/>
                  </a:lnTo>
                  <a:lnTo>
                    <a:pt x="382" y="3680"/>
                  </a:lnTo>
                  <a:cubicBezTo>
                    <a:pt x="179" y="3680"/>
                    <a:pt x="1" y="3859"/>
                    <a:pt x="1" y="4073"/>
                  </a:cubicBezTo>
                  <a:lnTo>
                    <a:pt x="1" y="6478"/>
                  </a:lnTo>
                  <a:cubicBezTo>
                    <a:pt x="1" y="6692"/>
                    <a:pt x="179" y="6871"/>
                    <a:pt x="382" y="6871"/>
                  </a:cubicBezTo>
                  <a:lnTo>
                    <a:pt x="1061" y="6871"/>
                  </a:lnTo>
                  <a:lnTo>
                    <a:pt x="1061" y="7359"/>
                  </a:lnTo>
                  <a:lnTo>
                    <a:pt x="382" y="7359"/>
                  </a:lnTo>
                  <a:cubicBezTo>
                    <a:pt x="179" y="7359"/>
                    <a:pt x="1" y="7538"/>
                    <a:pt x="1" y="7740"/>
                  </a:cubicBezTo>
                  <a:lnTo>
                    <a:pt x="1" y="10157"/>
                  </a:lnTo>
                  <a:cubicBezTo>
                    <a:pt x="1" y="10359"/>
                    <a:pt x="179" y="10538"/>
                    <a:pt x="382" y="10538"/>
                  </a:cubicBezTo>
                  <a:lnTo>
                    <a:pt x="5002" y="10538"/>
                  </a:lnTo>
                  <a:cubicBezTo>
                    <a:pt x="5085" y="10538"/>
                    <a:pt x="5168" y="10466"/>
                    <a:pt x="5168" y="10383"/>
                  </a:cubicBezTo>
                  <a:cubicBezTo>
                    <a:pt x="5168" y="10288"/>
                    <a:pt x="5085" y="10216"/>
                    <a:pt x="5002" y="10216"/>
                  </a:cubicBezTo>
                  <a:lnTo>
                    <a:pt x="382" y="10216"/>
                  </a:lnTo>
                  <a:cubicBezTo>
                    <a:pt x="358" y="10216"/>
                    <a:pt x="322" y="10181"/>
                    <a:pt x="322" y="10157"/>
                  </a:cubicBezTo>
                  <a:lnTo>
                    <a:pt x="322" y="7740"/>
                  </a:lnTo>
                  <a:cubicBezTo>
                    <a:pt x="322" y="7716"/>
                    <a:pt x="358" y="7680"/>
                    <a:pt x="382" y="7680"/>
                  </a:cubicBezTo>
                  <a:lnTo>
                    <a:pt x="10824" y="7680"/>
                  </a:lnTo>
                  <a:cubicBezTo>
                    <a:pt x="10847" y="7680"/>
                    <a:pt x="10883" y="7716"/>
                    <a:pt x="10883" y="7740"/>
                  </a:cubicBezTo>
                  <a:lnTo>
                    <a:pt x="10883" y="10157"/>
                  </a:lnTo>
                  <a:cubicBezTo>
                    <a:pt x="10883" y="10181"/>
                    <a:pt x="10847" y="10216"/>
                    <a:pt x="10824" y="10216"/>
                  </a:cubicBezTo>
                  <a:lnTo>
                    <a:pt x="5716" y="10216"/>
                  </a:lnTo>
                  <a:cubicBezTo>
                    <a:pt x="5621" y="10216"/>
                    <a:pt x="5549" y="10288"/>
                    <a:pt x="5549" y="10383"/>
                  </a:cubicBezTo>
                  <a:cubicBezTo>
                    <a:pt x="5549" y="10466"/>
                    <a:pt x="5621" y="10538"/>
                    <a:pt x="5716" y="10538"/>
                  </a:cubicBezTo>
                  <a:lnTo>
                    <a:pt x="10824" y="10538"/>
                  </a:lnTo>
                  <a:cubicBezTo>
                    <a:pt x="11026" y="10538"/>
                    <a:pt x="11205" y="10359"/>
                    <a:pt x="11205" y="10157"/>
                  </a:cubicBezTo>
                  <a:lnTo>
                    <a:pt x="11205" y="7740"/>
                  </a:lnTo>
                  <a:cubicBezTo>
                    <a:pt x="11205" y="7538"/>
                    <a:pt x="11026" y="7359"/>
                    <a:pt x="10824" y="7359"/>
                  </a:cubicBezTo>
                  <a:lnTo>
                    <a:pt x="10145" y="7359"/>
                  </a:lnTo>
                  <a:lnTo>
                    <a:pt x="10145" y="6871"/>
                  </a:lnTo>
                  <a:lnTo>
                    <a:pt x="10824" y="6871"/>
                  </a:lnTo>
                  <a:cubicBezTo>
                    <a:pt x="11026" y="6871"/>
                    <a:pt x="11205" y="6692"/>
                    <a:pt x="11205" y="6478"/>
                  </a:cubicBezTo>
                  <a:lnTo>
                    <a:pt x="11205" y="4073"/>
                  </a:lnTo>
                  <a:cubicBezTo>
                    <a:pt x="11205" y="3859"/>
                    <a:pt x="11026" y="3680"/>
                    <a:pt x="10824" y="3680"/>
                  </a:cubicBezTo>
                  <a:lnTo>
                    <a:pt x="10145" y="3680"/>
                  </a:lnTo>
                  <a:lnTo>
                    <a:pt x="10145" y="3192"/>
                  </a:lnTo>
                  <a:lnTo>
                    <a:pt x="10824" y="3192"/>
                  </a:lnTo>
                  <a:cubicBezTo>
                    <a:pt x="11026" y="3192"/>
                    <a:pt x="11205" y="3013"/>
                    <a:pt x="11205" y="2799"/>
                  </a:cubicBezTo>
                  <a:lnTo>
                    <a:pt x="11205" y="394"/>
                  </a:lnTo>
                  <a:cubicBezTo>
                    <a:pt x="11205" y="180"/>
                    <a:pt x="11026" y="1"/>
                    <a:pt x="10824" y="1"/>
                  </a:cubicBezTo>
                  <a:lnTo>
                    <a:pt x="9716" y="1"/>
                  </a:lnTo>
                  <a:cubicBezTo>
                    <a:pt x="9633" y="1"/>
                    <a:pt x="9550" y="72"/>
                    <a:pt x="9550" y="168"/>
                  </a:cubicBezTo>
                  <a:cubicBezTo>
                    <a:pt x="9550" y="251"/>
                    <a:pt x="9633" y="334"/>
                    <a:pt x="9716" y="334"/>
                  </a:cubicBezTo>
                  <a:lnTo>
                    <a:pt x="10824" y="334"/>
                  </a:lnTo>
                  <a:cubicBezTo>
                    <a:pt x="10847" y="334"/>
                    <a:pt x="10883" y="358"/>
                    <a:pt x="10883" y="394"/>
                  </a:cubicBezTo>
                  <a:lnTo>
                    <a:pt x="10883" y="2799"/>
                  </a:lnTo>
                  <a:cubicBezTo>
                    <a:pt x="10883" y="2835"/>
                    <a:pt x="10847" y="2858"/>
                    <a:pt x="10824" y="2858"/>
                  </a:cubicBezTo>
                  <a:lnTo>
                    <a:pt x="382" y="2858"/>
                  </a:lnTo>
                  <a:cubicBezTo>
                    <a:pt x="358" y="2858"/>
                    <a:pt x="322" y="2835"/>
                    <a:pt x="322" y="2799"/>
                  </a:cubicBezTo>
                  <a:lnTo>
                    <a:pt x="322" y="394"/>
                  </a:lnTo>
                  <a:cubicBezTo>
                    <a:pt x="322" y="358"/>
                    <a:pt x="358" y="334"/>
                    <a:pt x="382" y="334"/>
                  </a:cubicBezTo>
                  <a:lnTo>
                    <a:pt x="9062" y="334"/>
                  </a:lnTo>
                  <a:cubicBezTo>
                    <a:pt x="9157" y="334"/>
                    <a:pt x="9228" y="251"/>
                    <a:pt x="9228" y="168"/>
                  </a:cubicBezTo>
                  <a:cubicBezTo>
                    <a:pt x="9228" y="72"/>
                    <a:pt x="9157" y="1"/>
                    <a:pt x="90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1" name="Google Shape;13321;p64"/>
            <p:cNvSpPr/>
            <p:nvPr/>
          </p:nvSpPr>
          <p:spPr>
            <a:xfrm>
              <a:off x="1137046" y="2932825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22"/>
                  </a:moveTo>
                  <a:cubicBezTo>
                    <a:pt x="882" y="322"/>
                    <a:pt x="1036" y="489"/>
                    <a:pt x="1036" y="679"/>
                  </a:cubicBezTo>
                  <a:cubicBezTo>
                    <a:pt x="1036" y="882"/>
                    <a:pt x="882" y="1036"/>
                    <a:pt x="679" y="1036"/>
                  </a:cubicBezTo>
                  <a:cubicBezTo>
                    <a:pt x="489" y="1036"/>
                    <a:pt x="322" y="870"/>
                    <a:pt x="322" y="679"/>
                  </a:cubicBezTo>
                  <a:cubicBezTo>
                    <a:pt x="322" y="489"/>
                    <a:pt x="489" y="322"/>
                    <a:pt x="679" y="322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60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2" name="Google Shape;13322;p64"/>
            <p:cNvSpPr/>
            <p:nvPr/>
          </p:nvSpPr>
          <p:spPr>
            <a:xfrm>
              <a:off x="1080579" y="2932825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22"/>
                  </a:moveTo>
                  <a:cubicBezTo>
                    <a:pt x="882" y="322"/>
                    <a:pt x="1048" y="489"/>
                    <a:pt x="1048" y="679"/>
                  </a:cubicBezTo>
                  <a:cubicBezTo>
                    <a:pt x="1048" y="882"/>
                    <a:pt x="882" y="1036"/>
                    <a:pt x="691" y="1036"/>
                  </a:cubicBezTo>
                  <a:cubicBezTo>
                    <a:pt x="489" y="1036"/>
                    <a:pt x="334" y="870"/>
                    <a:pt x="334" y="679"/>
                  </a:cubicBezTo>
                  <a:cubicBezTo>
                    <a:pt x="334" y="489"/>
                    <a:pt x="489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3" name="Google Shape;13323;p64"/>
            <p:cNvSpPr/>
            <p:nvPr/>
          </p:nvSpPr>
          <p:spPr>
            <a:xfrm>
              <a:off x="879350" y="2949122"/>
              <a:ext cx="187988" cy="10631"/>
            </a:xfrm>
            <a:custGeom>
              <a:avLst/>
              <a:gdLst/>
              <a:ahLst/>
              <a:cxnLst/>
              <a:rect l="l" t="t" r="r" b="b"/>
              <a:pathLst>
                <a:path w="5906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739" y="334"/>
                  </a:lnTo>
                  <a:cubicBezTo>
                    <a:pt x="5834" y="334"/>
                    <a:pt x="5906" y="263"/>
                    <a:pt x="5906" y="167"/>
                  </a:cubicBezTo>
                  <a:cubicBezTo>
                    <a:pt x="5906" y="84"/>
                    <a:pt x="5834" y="1"/>
                    <a:pt x="5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4" name="Google Shape;13324;p64"/>
            <p:cNvSpPr/>
            <p:nvPr/>
          </p:nvSpPr>
          <p:spPr>
            <a:xfrm>
              <a:off x="1137046" y="3050309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22"/>
                  </a:moveTo>
                  <a:cubicBezTo>
                    <a:pt x="882" y="322"/>
                    <a:pt x="1036" y="489"/>
                    <a:pt x="1036" y="679"/>
                  </a:cubicBezTo>
                  <a:cubicBezTo>
                    <a:pt x="1036" y="882"/>
                    <a:pt x="882" y="1036"/>
                    <a:pt x="679" y="1036"/>
                  </a:cubicBezTo>
                  <a:cubicBezTo>
                    <a:pt x="489" y="1036"/>
                    <a:pt x="322" y="882"/>
                    <a:pt x="322" y="679"/>
                  </a:cubicBezTo>
                  <a:cubicBezTo>
                    <a:pt x="322" y="489"/>
                    <a:pt x="489" y="322"/>
                    <a:pt x="679" y="322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60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5" name="Google Shape;13325;p64"/>
            <p:cNvSpPr/>
            <p:nvPr/>
          </p:nvSpPr>
          <p:spPr>
            <a:xfrm>
              <a:off x="1080579" y="3050309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22"/>
                  </a:moveTo>
                  <a:cubicBezTo>
                    <a:pt x="882" y="322"/>
                    <a:pt x="1048" y="489"/>
                    <a:pt x="1048" y="679"/>
                  </a:cubicBezTo>
                  <a:cubicBezTo>
                    <a:pt x="1048" y="882"/>
                    <a:pt x="882" y="1036"/>
                    <a:pt x="691" y="1036"/>
                  </a:cubicBezTo>
                  <a:cubicBezTo>
                    <a:pt x="489" y="1036"/>
                    <a:pt x="334" y="882"/>
                    <a:pt x="334" y="679"/>
                  </a:cubicBezTo>
                  <a:cubicBezTo>
                    <a:pt x="334" y="489"/>
                    <a:pt x="489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6" name="Google Shape;13326;p64"/>
            <p:cNvSpPr/>
            <p:nvPr/>
          </p:nvSpPr>
          <p:spPr>
            <a:xfrm>
              <a:off x="879350" y="3066988"/>
              <a:ext cx="187988" cy="10249"/>
            </a:xfrm>
            <a:custGeom>
              <a:avLst/>
              <a:gdLst/>
              <a:ahLst/>
              <a:cxnLst/>
              <a:rect l="l" t="t" r="r" b="b"/>
              <a:pathLst>
                <a:path w="590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739" y="322"/>
                  </a:lnTo>
                  <a:cubicBezTo>
                    <a:pt x="5834" y="322"/>
                    <a:pt x="5906" y="250"/>
                    <a:pt x="5906" y="155"/>
                  </a:cubicBezTo>
                  <a:cubicBezTo>
                    <a:pt x="5906" y="72"/>
                    <a:pt x="5834" y="0"/>
                    <a:pt x="5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7" name="Google Shape;13327;p64"/>
            <p:cNvSpPr/>
            <p:nvPr/>
          </p:nvSpPr>
          <p:spPr>
            <a:xfrm>
              <a:off x="1137046" y="3167794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10"/>
                  </a:moveTo>
                  <a:cubicBezTo>
                    <a:pt x="882" y="310"/>
                    <a:pt x="1036" y="477"/>
                    <a:pt x="1036" y="667"/>
                  </a:cubicBezTo>
                  <a:cubicBezTo>
                    <a:pt x="1036" y="870"/>
                    <a:pt x="882" y="1024"/>
                    <a:pt x="679" y="1024"/>
                  </a:cubicBezTo>
                  <a:cubicBezTo>
                    <a:pt x="489" y="1024"/>
                    <a:pt x="322" y="858"/>
                    <a:pt x="322" y="667"/>
                  </a:cubicBezTo>
                  <a:cubicBezTo>
                    <a:pt x="322" y="477"/>
                    <a:pt x="489" y="310"/>
                    <a:pt x="679" y="310"/>
                  </a:cubicBezTo>
                  <a:close/>
                  <a:moveTo>
                    <a:pt x="679" y="0"/>
                  </a:moveTo>
                  <a:cubicBezTo>
                    <a:pt x="310" y="0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298"/>
                    <a:pt x="1060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8" name="Google Shape;13328;p64"/>
            <p:cNvSpPr/>
            <p:nvPr/>
          </p:nvSpPr>
          <p:spPr>
            <a:xfrm>
              <a:off x="1080579" y="3167794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10"/>
                  </a:moveTo>
                  <a:cubicBezTo>
                    <a:pt x="882" y="310"/>
                    <a:pt x="1048" y="477"/>
                    <a:pt x="1048" y="667"/>
                  </a:cubicBezTo>
                  <a:cubicBezTo>
                    <a:pt x="1048" y="870"/>
                    <a:pt x="882" y="1024"/>
                    <a:pt x="691" y="1024"/>
                  </a:cubicBezTo>
                  <a:cubicBezTo>
                    <a:pt x="489" y="1024"/>
                    <a:pt x="334" y="858"/>
                    <a:pt x="334" y="667"/>
                  </a:cubicBezTo>
                  <a:cubicBezTo>
                    <a:pt x="334" y="477"/>
                    <a:pt x="489" y="310"/>
                    <a:pt x="691" y="310"/>
                  </a:cubicBezTo>
                  <a:close/>
                  <a:moveTo>
                    <a:pt x="691" y="0"/>
                  </a:moveTo>
                  <a:cubicBezTo>
                    <a:pt x="310" y="0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298"/>
                    <a:pt x="1072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9" name="Google Shape;13329;p64"/>
            <p:cNvSpPr/>
            <p:nvPr/>
          </p:nvSpPr>
          <p:spPr>
            <a:xfrm>
              <a:off x="879350" y="3184473"/>
              <a:ext cx="187988" cy="10249"/>
            </a:xfrm>
            <a:custGeom>
              <a:avLst/>
              <a:gdLst/>
              <a:ahLst/>
              <a:cxnLst/>
              <a:rect l="l" t="t" r="r" b="b"/>
              <a:pathLst>
                <a:path w="590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739" y="322"/>
                  </a:lnTo>
                  <a:cubicBezTo>
                    <a:pt x="5834" y="322"/>
                    <a:pt x="5906" y="250"/>
                    <a:pt x="5906" y="155"/>
                  </a:cubicBezTo>
                  <a:cubicBezTo>
                    <a:pt x="5906" y="48"/>
                    <a:pt x="5834" y="0"/>
                    <a:pt x="5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0" name="Google Shape;13330;p64"/>
            <p:cNvSpPr/>
            <p:nvPr/>
          </p:nvSpPr>
          <p:spPr>
            <a:xfrm>
              <a:off x="879350" y="3083285"/>
              <a:ext cx="25432" cy="10631"/>
            </a:xfrm>
            <a:custGeom>
              <a:avLst/>
              <a:gdLst/>
              <a:ahLst/>
              <a:cxnLst/>
              <a:rect l="l" t="t" r="r" b="b"/>
              <a:pathLst>
                <a:path w="799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643" y="334"/>
                  </a:lnTo>
                  <a:cubicBezTo>
                    <a:pt x="727" y="334"/>
                    <a:pt x="798" y="262"/>
                    <a:pt x="798" y="167"/>
                  </a:cubicBezTo>
                  <a:cubicBezTo>
                    <a:pt x="798" y="84"/>
                    <a:pt x="727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31" name="Google Shape;13331;p64"/>
          <p:cNvGrpSpPr/>
          <p:nvPr/>
        </p:nvGrpSpPr>
        <p:grpSpPr>
          <a:xfrm>
            <a:off x="4210933" y="2926777"/>
            <a:ext cx="280072" cy="275520"/>
            <a:chOff x="4210933" y="2926777"/>
            <a:chExt cx="280072" cy="275520"/>
          </a:xfrm>
        </p:grpSpPr>
        <p:sp>
          <p:nvSpPr>
            <p:cNvPr id="13332" name="Google Shape;13332;p64"/>
            <p:cNvSpPr/>
            <p:nvPr/>
          </p:nvSpPr>
          <p:spPr>
            <a:xfrm>
              <a:off x="4490623" y="2970352"/>
              <a:ext cx="32" cy="414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0"/>
                  </a:moveTo>
                  <a:cubicBezTo>
                    <a:pt x="0" y="1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3" name="Google Shape;13333;p64"/>
            <p:cNvSpPr/>
            <p:nvPr/>
          </p:nvSpPr>
          <p:spPr>
            <a:xfrm>
              <a:off x="4489859" y="2969589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4" name="Google Shape;13334;p64"/>
            <p:cNvSpPr/>
            <p:nvPr/>
          </p:nvSpPr>
          <p:spPr>
            <a:xfrm>
              <a:off x="4210933" y="2944952"/>
              <a:ext cx="280072" cy="257346"/>
            </a:xfrm>
            <a:custGeom>
              <a:avLst/>
              <a:gdLst/>
              <a:ahLst/>
              <a:cxnLst/>
              <a:rect l="l" t="t" r="r" b="b"/>
              <a:pathLst>
                <a:path w="8799" h="8085" extrusionOk="0">
                  <a:moveTo>
                    <a:pt x="7549" y="620"/>
                  </a:moveTo>
                  <a:lnTo>
                    <a:pt x="6596" y="6382"/>
                  </a:lnTo>
                  <a:lnTo>
                    <a:pt x="6596" y="620"/>
                  </a:lnTo>
                  <a:close/>
                  <a:moveTo>
                    <a:pt x="4965" y="1"/>
                  </a:moveTo>
                  <a:cubicBezTo>
                    <a:pt x="4894" y="1"/>
                    <a:pt x="4834" y="60"/>
                    <a:pt x="4834" y="143"/>
                  </a:cubicBezTo>
                  <a:cubicBezTo>
                    <a:pt x="4834" y="215"/>
                    <a:pt x="4894" y="274"/>
                    <a:pt x="4965" y="274"/>
                  </a:cubicBezTo>
                  <a:lnTo>
                    <a:pt x="6322" y="274"/>
                  </a:lnTo>
                  <a:lnTo>
                    <a:pt x="6322" y="7835"/>
                  </a:lnTo>
                  <a:lnTo>
                    <a:pt x="262" y="7835"/>
                  </a:lnTo>
                  <a:lnTo>
                    <a:pt x="262" y="7192"/>
                  </a:lnTo>
                  <a:cubicBezTo>
                    <a:pt x="262" y="7121"/>
                    <a:pt x="203" y="7061"/>
                    <a:pt x="131" y="7061"/>
                  </a:cubicBezTo>
                  <a:cubicBezTo>
                    <a:pt x="60" y="7061"/>
                    <a:pt x="0" y="7121"/>
                    <a:pt x="0" y="7192"/>
                  </a:cubicBezTo>
                  <a:lnTo>
                    <a:pt x="0" y="7954"/>
                  </a:lnTo>
                  <a:cubicBezTo>
                    <a:pt x="0" y="8025"/>
                    <a:pt x="60" y="8085"/>
                    <a:pt x="131" y="8085"/>
                  </a:cubicBezTo>
                  <a:lnTo>
                    <a:pt x="6465" y="8085"/>
                  </a:lnTo>
                  <a:cubicBezTo>
                    <a:pt x="6525" y="8085"/>
                    <a:pt x="6561" y="8037"/>
                    <a:pt x="6584" y="8002"/>
                  </a:cubicBezTo>
                  <a:lnTo>
                    <a:pt x="7906" y="3715"/>
                  </a:lnTo>
                  <a:cubicBezTo>
                    <a:pt x="7918" y="3632"/>
                    <a:pt x="7882" y="3572"/>
                    <a:pt x="7811" y="3549"/>
                  </a:cubicBezTo>
                  <a:cubicBezTo>
                    <a:pt x="7799" y="3547"/>
                    <a:pt x="7788" y="3546"/>
                    <a:pt x="7777" y="3546"/>
                  </a:cubicBezTo>
                  <a:cubicBezTo>
                    <a:pt x="7721" y="3546"/>
                    <a:pt x="7674" y="3572"/>
                    <a:pt x="7644" y="3632"/>
                  </a:cubicBezTo>
                  <a:lnTo>
                    <a:pt x="6870" y="6132"/>
                  </a:lnTo>
                  <a:lnTo>
                    <a:pt x="7727" y="989"/>
                  </a:lnTo>
                  <a:lnTo>
                    <a:pt x="8466" y="989"/>
                  </a:lnTo>
                  <a:lnTo>
                    <a:pt x="7799" y="3144"/>
                  </a:lnTo>
                  <a:cubicBezTo>
                    <a:pt x="7787" y="3215"/>
                    <a:pt x="7811" y="3275"/>
                    <a:pt x="7882" y="3311"/>
                  </a:cubicBezTo>
                  <a:lnTo>
                    <a:pt x="7930" y="3311"/>
                  </a:lnTo>
                  <a:cubicBezTo>
                    <a:pt x="7989" y="3311"/>
                    <a:pt x="8037" y="3275"/>
                    <a:pt x="8049" y="3215"/>
                  </a:cubicBezTo>
                  <a:lnTo>
                    <a:pt x="8763" y="894"/>
                  </a:lnTo>
                  <a:cubicBezTo>
                    <a:pt x="8799" y="870"/>
                    <a:pt x="8799" y="822"/>
                    <a:pt x="8763" y="798"/>
                  </a:cubicBezTo>
                  <a:cubicBezTo>
                    <a:pt x="8739" y="763"/>
                    <a:pt x="8704" y="739"/>
                    <a:pt x="8668" y="739"/>
                  </a:cubicBezTo>
                  <a:lnTo>
                    <a:pt x="7787" y="739"/>
                  </a:lnTo>
                  <a:lnTo>
                    <a:pt x="7835" y="501"/>
                  </a:lnTo>
                  <a:cubicBezTo>
                    <a:pt x="7835" y="453"/>
                    <a:pt x="7835" y="417"/>
                    <a:pt x="7799" y="394"/>
                  </a:cubicBezTo>
                  <a:cubicBezTo>
                    <a:pt x="7763" y="358"/>
                    <a:pt x="7739" y="346"/>
                    <a:pt x="7692" y="346"/>
                  </a:cubicBezTo>
                  <a:lnTo>
                    <a:pt x="6596" y="346"/>
                  </a:lnTo>
                  <a:lnTo>
                    <a:pt x="6596" y="143"/>
                  </a:lnTo>
                  <a:cubicBezTo>
                    <a:pt x="6596" y="60"/>
                    <a:pt x="6537" y="1"/>
                    <a:pt x="6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5" name="Google Shape;13335;p64"/>
            <p:cNvSpPr/>
            <p:nvPr/>
          </p:nvSpPr>
          <p:spPr>
            <a:xfrm>
              <a:off x="4212047" y="2926777"/>
              <a:ext cx="144826" cy="234619"/>
            </a:xfrm>
            <a:custGeom>
              <a:avLst/>
              <a:gdLst/>
              <a:ahLst/>
              <a:cxnLst/>
              <a:rect l="l" t="t" r="r" b="b"/>
              <a:pathLst>
                <a:path w="4550" h="7371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lnTo>
                    <a:pt x="1" y="7239"/>
                  </a:lnTo>
                  <a:cubicBezTo>
                    <a:pt x="1" y="7311"/>
                    <a:pt x="60" y="7370"/>
                    <a:pt x="132" y="7370"/>
                  </a:cubicBezTo>
                  <a:cubicBezTo>
                    <a:pt x="203" y="7370"/>
                    <a:pt x="263" y="7311"/>
                    <a:pt x="263" y="7239"/>
                  </a:cubicBezTo>
                  <a:lnTo>
                    <a:pt x="263" y="262"/>
                  </a:lnTo>
                  <a:lnTo>
                    <a:pt x="1763" y="262"/>
                  </a:lnTo>
                  <a:lnTo>
                    <a:pt x="2299" y="810"/>
                  </a:lnTo>
                  <a:cubicBezTo>
                    <a:pt x="2335" y="845"/>
                    <a:pt x="2358" y="857"/>
                    <a:pt x="2394" y="857"/>
                  </a:cubicBezTo>
                  <a:lnTo>
                    <a:pt x="4418" y="857"/>
                  </a:lnTo>
                  <a:cubicBezTo>
                    <a:pt x="4490" y="857"/>
                    <a:pt x="4549" y="798"/>
                    <a:pt x="4549" y="726"/>
                  </a:cubicBezTo>
                  <a:cubicBezTo>
                    <a:pt x="4537" y="655"/>
                    <a:pt x="4478" y="595"/>
                    <a:pt x="4418" y="595"/>
                  </a:cubicBezTo>
                  <a:lnTo>
                    <a:pt x="2454" y="595"/>
                  </a:lnTo>
                  <a:lnTo>
                    <a:pt x="1918" y="36"/>
                  </a:lnTo>
                  <a:cubicBezTo>
                    <a:pt x="1882" y="12"/>
                    <a:pt x="1858" y="0"/>
                    <a:pt x="1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6" name="Google Shape;13336;p64"/>
            <p:cNvSpPr/>
            <p:nvPr/>
          </p:nvSpPr>
          <p:spPr>
            <a:xfrm>
              <a:off x="4246550" y="2996103"/>
              <a:ext cx="28074" cy="28106"/>
            </a:xfrm>
            <a:custGeom>
              <a:avLst/>
              <a:gdLst/>
              <a:ahLst/>
              <a:cxnLst/>
              <a:rect l="l" t="t" r="r" b="b"/>
              <a:pathLst>
                <a:path w="882" h="883" extrusionOk="0">
                  <a:moveTo>
                    <a:pt x="620" y="263"/>
                  </a:moveTo>
                  <a:lnTo>
                    <a:pt x="620" y="608"/>
                  </a:lnTo>
                  <a:lnTo>
                    <a:pt x="262" y="608"/>
                  </a:lnTo>
                  <a:lnTo>
                    <a:pt x="262" y="263"/>
                  </a:lnTo>
                  <a:close/>
                  <a:moveTo>
                    <a:pt x="131" y="1"/>
                  </a:moveTo>
                  <a:cubicBezTo>
                    <a:pt x="60" y="1"/>
                    <a:pt x="0" y="60"/>
                    <a:pt x="0" y="144"/>
                  </a:cubicBezTo>
                  <a:lnTo>
                    <a:pt x="0" y="751"/>
                  </a:lnTo>
                  <a:cubicBezTo>
                    <a:pt x="0" y="822"/>
                    <a:pt x="60" y="882"/>
                    <a:pt x="131" y="882"/>
                  </a:cubicBezTo>
                  <a:lnTo>
                    <a:pt x="739" y="882"/>
                  </a:lnTo>
                  <a:cubicBezTo>
                    <a:pt x="822" y="882"/>
                    <a:pt x="881" y="822"/>
                    <a:pt x="881" y="751"/>
                  </a:cubicBezTo>
                  <a:lnTo>
                    <a:pt x="881" y="144"/>
                  </a:lnTo>
                  <a:cubicBezTo>
                    <a:pt x="881" y="60"/>
                    <a:pt x="822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7" name="Google Shape;13337;p64"/>
            <p:cNvSpPr/>
            <p:nvPr/>
          </p:nvSpPr>
          <p:spPr>
            <a:xfrm>
              <a:off x="4285956" y="3015456"/>
              <a:ext cx="97814" cy="8753"/>
            </a:xfrm>
            <a:custGeom>
              <a:avLst/>
              <a:gdLst/>
              <a:ahLst/>
              <a:cxnLst/>
              <a:rect l="l" t="t" r="r" b="b"/>
              <a:pathLst>
                <a:path w="3073" h="275" extrusionOk="0">
                  <a:moveTo>
                    <a:pt x="132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4"/>
                    <a:pt x="60" y="274"/>
                    <a:pt x="132" y="274"/>
                  </a:cubicBezTo>
                  <a:lnTo>
                    <a:pt x="2942" y="274"/>
                  </a:lnTo>
                  <a:cubicBezTo>
                    <a:pt x="3013" y="274"/>
                    <a:pt x="3072" y="214"/>
                    <a:pt x="3072" y="143"/>
                  </a:cubicBezTo>
                  <a:cubicBezTo>
                    <a:pt x="3072" y="72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8" name="Google Shape;13338;p64"/>
            <p:cNvSpPr/>
            <p:nvPr/>
          </p:nvSpPr>
          <p:spPr>
            <a:xfrm>
              <a:off x="4285956" y="3001800"/>
              <a:ext cx="30366" cy="8753"/>
            </a:xfrm>
            <a:custGeom>
              <a:avLst/>
              <a:gdLst/>
              <a:ahLst/>
              <a:cxnLst/>
              <a:rect l="l" t="t" r="r" b="b"/>
              <a:pathLst>
                <a:path w="954" h="275" extrusionOk="0">
                  <a:moveTo>
                    <a:pt x="132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810" y="274"/>
                  </a:lnTo>
                  <a:cubicBezTo>
                    <a:pt x="894" y="274"/>
                    <a:pt x="953" y="215"/>
                    <a:pt x="953" y="132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9" name="Google Shape;13339;p64"/>
            <p:cNvSpPr/>
            <p:nvPr/>
          </p:nvSpPr>
          <p:spPr>
            <a:xfrm>
              <a:off x="4246550" y="3060177"/>
              <a:ext cx="28074" cy="28074"/>
            </a:xfrm>
            <a:custGeom>
              <a:avLst/>
              <a:gdLst/>
              <a:ahLst/>
              <a:cxnLst/>
              <a:rect l="l" t="t" r="r" b="b"/>
              <a:pathLst>
                <a:path w="882" h="882" extrusionOk="0">
                  <a:moveTo>
                    <a:pt x="620" y="274"/>
                  </a:moveTo>
                  <a:lnTo>
                    <a:pt x="620" y="631"/>
                  </a:lnTo>
                  <a:lnTo>
                    <a:pt x="262" y="631"/>
                  </a:lnTo>
                  <a:lnTo>
                    <a:pt x="262" y="274"/>
                  </a:lnTo>
                  <a:close/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750"/>
                  </a:lnTo>
                  <a:cubicBezTo>
                    <a:pt x="0" y="822"/>
                    <a:pt x="60" y="881"/>
                    <a:pt x="131" y="881"/>
                  </a:cubicBezTo>
                  <a:lnTo>
                    <a:pt x="739" y="881"/>
                  </a:lnTo>
                  <a:cubicBezTo>
                    <a:pt x="822" y="881"/>
                    <a:pt x="881" y="822"/>
                    <a:pt x="881" y="750"/>
                  </a:cubicBezTo>
                  <a:lnTo>
                    <a:pt x="881" y="131"/>
                  </a:lnTo>
                  <a:cubicBezTo>
                    <a:pt x="881" y="60"/>
                    <a:pt x="822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0" name="Google Shape;13340;p64"/>
            <p:cNvSpPr/>
            <p:nvPr/>
          </p:nvSpPr>
          <p:spPr>
            <a:xfrm>
              <a:off x="4285956" y="3080261"/>
              <a:ext cx="97814" cy="8371"/>
            </a:xfrm>
            <a:custGeom>
              <a:avLst/>
              <a:gdLst/>
              <a:ahLst/>
              <a:cxnLst/>
              <a:rect l="l" t="t" r="r" b="b"/>
              <a:pathLst>
                <a:path w="3073" h="263" extrusionOk="0">
                  <a:moveTo>
                    <a:pt x="132" y="0"/>
                  </a:moveTo>
                  <a:cubicBezTo>
                    <a:pt x="60" y="0"/>
                    <a:pt x="1" y="48"/>
                    <a:pt x="1" y="131"/>
                  </a:cubicBezTo>
                  <a:cubicBezTo>
                    <a:pt x="1" y="203"/>
                    <a:pt x="60" y="262"/>
                    <a:pt x="132" y="262"/>
                  </a:cubicBezTo>
                  <a:lnTo>
                    <a:pt x="2942" y="262"/>
                  </a:lnTo>
                  <a:cubicBezTo>
                    <a:pt x="3013" y="262"/>
                    <a:pt x="3072" y="203"/>
                    <a:pt x="3072" y="131"/>
                  </a:cubicBezTo>
                  <a:cubicBezTo>
                    <a:pt x="3072" y="48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1" name="Google Shape;13341;p64"/>
            <p:cNvSpPr/>
            <p:nvPr/>
          </p:nvSpPr>
          <p:spPr>
            <a:xfrm>
              <a:off x="4285956" y="3066224"/>
              <a:ext cx="30366" cy="8753"/>
            </a:xfrm>
            <a:custGeom>
              <a:avLst/>
              <a:gdLst/>
              <a:ahLst/>
              <a:cxnLst/>
              <a:rect l="l" t="t" r="r" b="b"/>
              <a:pathLst>
                <a:path w="954" h="275" extrusionOk="0">
                  <a:moveTo>
                    <a:pt x="132" y="1"/>
                  </a:moveTo>
                  <a:cubicBezTo>
                    <a:pt x="60" y="1"/>
                    <a:pt x="1" y="60"/>
                    <a:pt x="1" y="143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810" y="274"/>
                  </a:lnTo>
                  <a:cubicBezTo>
                    <a:pt x="894" y="274"/>
                    <a:pt x="953" y="215"/>
                    <a:pt x="953" y="143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2" name="Google Shape;13342;p64"/>
            <p:cNvSpPr/>
            <p:nvPr/>
          </p:nvSpPr>
          <p:spPr>
            <a:xfrm>
              <a:off x="4246550" y="3124601"/>
              <a:ext cx="28074" cy="28074"/>
            </a:xfrm>
            <a:custGeom>
              <a:avLst/>
              <a:gdLst/>
              <a:ahLst/>
              <a:cxnLst/>
              <a:rect l="l" t="t" r="r" b="b"/>
              <a:pathLst>
                <a:path w="882" h="882" extrusionOk="0">
                  <a:moveTo>
                    <a:pt x="620" y="250"/>
                  </a:moveTo>
                  <a:lnTo>
                    <a:pt x="620" y="607"/>
                  </a:lnTo>
                  <a:lnTo>
                    <a:pt x="262" y="607"/>
                  </a:lnTo>
                  <a:lnTo>
                    <a:pt x="262" y="250"/>
                  </a:lnTo>
                  <a:close/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738"/>
                  </a:lnTo>
                  <a:cubicBezTo>
                    <a:pt x="0" y="822"/>
                    <a:pt x="60" y="881"/>
                    <a:pt x="131" y="881"/>
                  </a:cubicBezTo>
                  <a:lnTo>
                    <a:pt x="739" y="881"/>
                  </a:lnTo>
                  <a:cubicBezTo>
                    <a:pt x="822" y="881"/>
                    <a:pt x="881" y="822"/>
                    <a:pt x="881" y="738"/>
                  </a:cubicBezTo>
                  <a:lnTo>
                    <a:pt x="881" y="131"/>
                  </a:lnTo>
                  <a:cubicBezTo>
                    <a:pt x="881" y="60"/>
                    <a:pt x="822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3" name="Google Shape;13343;p64"/>
            <p:cNvSpPr/>
            <p:nvPr/>
          </p:nvSpPr>
          <p:spPr>
            <a:xfrm>
              <a:off x="4285956" y="3143921"/>
              <a:ext cx="97814" cy="8753"/>
            </a:xfrm>
            <a:custGeom>
              <a:avLst/>
              <a:gdLst/>
              <a:ahLst/>
              <a:cxnLst/>
              <a:rect l="l" t="t" r="r" b="b"/>
              <a:pathLst>
                <a:path w="3073" h="275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2942" y="274"/>
                  </a:lnTo>
                  <a:cubicBezTo>
                    <a:pt x="3013" y="274"/>
                    <a:pt x="3072" y="215"/>
                    <a:pt x="3072" y="131"/>
                  </a:cubicBezTo>
                  <a:cubicBezTo>
                    <a:pt x="3072" y="60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4" name="Google Shape;13344;p64"/>
            <p:cNvSpPr/>
            <p:nvPr/>
          </p:nvSpPr>
          <p:spPr>
            <a:xfrm>
              <a:off x="4285956" y="3130266"/>
              <a:ext cx="30366" cy="8371"/>
            </a:xfrm>
            <a:custGeom>
              <a:avLst/>
              <a:gdLst/>
              <a:ahLst/>
              <a:cxnLst/>
              <a:rect l="l" t="t" r="r" b="b"/>
              <a:pathLst>
                <a:path w="954" h="263" extrusionOk="0">
                  <a:moveTo>
                    <a:pt x="132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15"/>
                    <a:pt x="60" y="263"/>
                    <a:pt x="132" y="263"/>
                  </a:cubicBezTo>
                  <a:lnTo>
                    <a:pt x="810" y="263"/>
                  </a:lnTo>
                  <a:cubicBezTo>
                    <a:pt x="894" y="263"/>
                    <a:pt x="953" y="215"/>
                    <a:pt x="953" y="132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45" name="Google Shape;13345;p64"/>
          <p:cNvGrpSpPr/>
          <p:nvPr/>
        </p:nvGrpSpPr>
        <p:grpSpPr>
          <a:xfrm>
            <a:off x="4667216" y="2915382"/>
            <a:ext cx="320273" cy="318395"/>
            <a:chOff x="4667216" y="2915382"/>
            <a:chExt cx="320273" cy="318395"/>
          </a:xfrm>
        </p:grpSpPr>
        <p:sp>
          <p:nvSpPr>
            <p:cNvPr id="13346" name="Google Shape;13346;p64"/>
            <p:cNvSpPr/>
            <p:nvPr/>
          </p:nvSpPr>
          <p:spPr>
            <a:xfrm>
              <a:off x="4686154" y="2938140"/>
              <a:ext cx="166789" cy="163734"/>
            </a:xfrm>
            <a:custGeom>
              <a:avLst/>
              <a:gdLst/>
              <a:ahLst/>
              <a:cxnLst/>
              <a:rect l="l" t="t" r="r" b="b"/>
              <a:pathLst>
                <a:path w="5240" h="5144" extrusionOk="0">
                  <a:moveTo>
                    <a:pt x="2668" y="0"/>
                  </a:moveTo>
                  <a:cubicBezTo>
                    <a:pt x="2013" y="0"/>
                    <a:pt x="1358" y="250"/>
                    <a:pt x="858" y="750"/>
                  </a:cubicBezTo>
                  <a:cubicBezTo>
                    <a:pt x="620" y="989"/>
                    <a:pt x="429" y="1286"/>
                    <a:pt x="298" y="1608"/>
                  </a:cubicBezTo>
                  <a:cubicBezTo>
                    <a:pt x="263" y="1679"/>
                    <a:pt x="298" y="1762"/>
                    <a:pt x="370" y="1798"/>
                  </a:cubicBezTo>
                  <a:cubicBezTo>
                    <a:pt x="388" y="1804"/>
                    <a:pt x="407" y="1807"/>
                    <a:pt x="426" y="1807"/>
                  </a:cubicBezTo>
                  <a:cubicBezTo>
                    <a:pt x="484" y="1807"/>
                    <a:pt x="542" y="1780"/>
                    <a:pt x="560" y="1727"/>
                  </a:cubicBezTo>
                  <a:cubicBezTo>
                    <a:pt x="679" y="1441"/>
                    <a:pt x="846" y="1191"/>
                    <a:pt x="1060" y="977"/>
                  </a:cubicBezTo>
                  <a:cubicBezTo>
                    <a:pt x="1495" y="536"/>
                    <a:pt x="2075" y="316"/>
                    <a:pt x="2656" y="316"/>
                  </a:cubicBezTo>
                  <a:cubicBezTo>
                    <a:pt x="3236" y="316"/>
                    <a:pt x="3817" y="536"/>
                    <a:pt x="4251" y="977"/>
                  </a:cubicBezTo>
                  <a:cubicBezTo>
                    <a:pt x="4692" y="1405"/>
                    <a:pt x="4930" y="1977"/>
                    <a:pt x="4930" y="2584"/>
                  </a:cubicBezTo>
                  <a:cubicBezTo>
                    <a:pt x="4930" y="3191"/>
                    <a:pt x="4692" y="3763"/>
                    <a:pt x="4251" y="4191"/>
                  </a:cubicBezTo>
                  <a:cubicBezTo>
                    <a:pt x="3823" y="4620"/>
                    <a:pt x="3263" y="4858"/>
                    <a:pt x="2644" y="4858"/>
                  </a:cubicBezTo>
                  <a:cubicBezTo>
                    <a:pt x="2037" y="4858"/>
                    <a:pt x="1477" y="4620"/>
                    <a:pt x="1037" y="4191"/>
                  </a:cubicBezTo>
                  <a:cubicBezTo>
                    <a:pt x="536" y="3679"/>
                    <a:pt x="298" y="2989"/>
                    <a:pt x="405" y="2274"/>
                  </a:cubicBezTo>
                  <a:cubicBezTo>
                    <a:pt x="417" y="2191"/>
                    <a:pt x="358" y="2120"/>
                    <a:pt x="286" y="2108"/>
                  </a:cubicBezTo>
                  <a:cubicBezTo>
                    <a:pt x="279" y="2107"/>
                    <a:pt x="272" y="2106"/>
                    <a:pt x="265" y="2106"/>
                  </a:cubicBezTo>
                  <a:cubicBezTo>
                    <a:pt x="191" y="2106"/>
                    <a:pt x="131" y="2162"/>
                    <a:pt x="120" y="2227"/>
                  </a:cubicBezTo>
                  <a:cubicBezTo>
                    <a:pt x="1" y="3024"/>
                    <a:pt x="263" y="3822"/>
                    <a:pt x="846" y="4394"/>
                  </a:cubicBezTo>
                  <a:cubicBezTo>
                    <a:pt x="1334" y="4894"/>
                    <a:pt x="1977" y="5144"/>
                    <a:pt x="2668" y="5144"/>
                  </a:cubicBezTo>
                  <a:cubicBezTo>
                    <a:pt x="3346" y="5144"/>
                    <a:pt x="3989" y="4870"/>
                    <a:pt x="4477" y="4394"/>
                  </a:cubicBezTo>
                  <a:cubicBezTo>
                    <a:pt x="4966" y="3906"/>
                    <a:pt x="5228" y="3263"/>
                    <a:pt x="5228" y="2584"/>
                  </a:cubicBezTo>
                  <a:cubicBezTo>
                    <a:pt x="5239" y="1870"/>
                    <a:pt x="4966" y="1227"/>
                    <a:pt x="4477" y="750"/>
                  </a:cubicBezTo>
                  <a:cubicBezTo>
                    <a:pt x="3977" y="250"/>
                    <a:pt x="3323" y="0"/>
                    <a:pt x="2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7" name="Google Shape;13347;p64"/>
            <p:cNvSpPr/>
            <p:nvPr/>
          </p:nvSpPr>
          <p:spPr>
            <a:xfrm>
              <a:off x="4667216" y="2915382"/>
              <a:ext cx="320273" cy="318395"/>
            </a:xfrm>
            <a:custGeom>
              <a:avLst/>
              <a:gdLst/>
              <a:ahLst/>
              <a:cxnLst/>
              <a:rect l="l" t="t" r="r" b="b"/>
              <a:pathLst>
                <a:path w="10062" h="10003" extrusionOk="0">
                  <a:moveTo>
                    <a:pt x="5668" y="5502"/>
                  </a:moveTo>
                  <a:lnTo>
                    <a:pt x="5977" y="5811"/>
                  </a:lnTo>
                  <a:lnTo>
                    <a:pt x="5799" y="5990"/>
                  </a:lnTo>
                  <a:lnTo>
                    <a:pt x="5489" y="5680"/>
                  </a:lnTo>
                  <a:lnTo>
                    <a:pt x="5584" y="5585"/>
                  </a:lnTo>
                  <a:lnTo>
                    <a:pt x="5668" y="5502"/>
                  </a:lnTo>
                  <a:close/>
                  <a:moveTo>
                    <a:pt x="8347" y="7597"/>
                  </a:moveTo>
                  <a:lnTo>
                    <a:pt x="8501" y="7752"/>
                  </a:lnTo>
                  <a:lnTo>
                    <a:pt x="7739" y="8502"/>
                  </a:lnTo>
                  <a:lnTo>
                    <a:pt x="7585" y="8359"/>
                  </a:lnTo>
                  <a:lnTo>
                    <a:pt x="8347" y="7597"/>
                  </a:lnTo>
                  <a:close/>
                  <a:moveTo>
                    <a:pt x="8704" y="7954"/>
                  </a:moveTo>
                  <a:lnTo>
                    <a:pt x="8894" y="8157"/>
                  </a:lnTo>
                  <a:lnTo>
                    <a:pt x="8132" y="8907"/>
                  </a:lnTo>
                  <a:lnTo>
                    <a:pt x="7989" y="8764"/>
                  </a:lnTo>
                  <a:lnTo>
                    <a:pt x="7942" y="8716"/>
                  </a:lnTo>
                  <a:lnTo>
                    <a:pt x="8704" y="7954"/>
                  </a:lnTo>
                  <a:close/>
                  <a:moveTo>
                    <a:pt x="9097" y="8359"/>
                  </a:moveTo>
                  <a:lnTo>
                    <a:pt x="9621" y="8895"/>
                  </a:lnTo>
                  <a:cubicBezTo>
                    <a:pt x="9728" y="8966"/>
                    <a:pt x="9728" y="9121"/>
                    <a:pt x="9644" y="9228"/>
                  </a:cubicBezTo>
                  <a:lnTo>
                    <a:pt x="9216" y="9657"/>
                  </a:lnTo>
                  <a:cubicBezTo>
                    <a:pt x="9168" y="9699"/>
                    <a:pt x="9109" y="9719"/>
                    <a:pt x="9048" y="9719"/>
                  </a:cubicBezTo>
                  <a:cubicBezTo>
                    <a:pt x="8987" y="9719"/>
                    <a:pt x="8924" y="9699"/>
                    <a:pt x="8871" y="9657"/>
                  </a:cubicBezTo>
                  <a:lnTo>
                    <a:pt x="8335" y="9121"/>
                  </a:lnTo>
                  <a:lnTo>
                    <a:pt x="9097" y="8359"/>
                  </a:lnTo>
                  <a:close/>
                  <a:moveTo>
                    <a:pt x="3282" y="1"/>
                  </a:moveTo>
                  <a:cubicBezTo>
                    <a:pt x="2441" y="1"/>
                    <a:pt x="1602" y="322"/>
                    <a:pt x="965" y="965"/>
                  </a:cubicBezTo>
                  <a:cubicBezTo>
                    <a:pt x="334" y="1584"/>
                    <a:pt x="0" y="2406"/>
                    <a:pt x="0" y="3287"/>
                  </a:cubicBezTo>
                  <a:cubicBezTo>
                    <a:pt x="0" y="4156"/>
                    <a:pt x="334" y="4978"/>
                    <a:pt x="965" y="5609"/>
                  </a:cubicBezTo>
                  <a:cubicBezTo>
                    <a:pt x="1608" y="6240"/>
                    <a:pt x="2441" y="6573"/>
                    <a:pt x="3286" y="6573"/>
                  </a:cubicBezTo>
                  <a:cubicBezTo>
                    <a:pt x="3989" y="6573"/>
                    <a:pt x="4703" y="6347"/>
                    <a:pt x="5275" y="5883"/>
                  </a:cubicBezTo>
                  <a:lnTo>
                    <a:pt x="5608" y="6216"/>
                  </a:lnTo>
                  <a:cubicBezTo>
                    <a:pt x="5477" y="6418"/>
                    <a:pt x="5501" y="6692"/>
                    <a:pt x="5680" y="6871"/>
                  </a:cubicBezTo>
                  <a:lnTo>
                    <a:pt x="6370" y="7561"/>
                  </a:lnTo>
                  <a:cubicBezTo>
                    <a:pt x="6400" y="7585"/>
                    <a:pt x="6436" y="7597"/>
                    <a:pt x="6471" y="7597"/>
                  </a:cubicBezTo>
                  <a:cubicBezTo>
                    <a:pt x="6507" y="7597"/>
                    <a:pt x="6543" y="7585"/>
                    <a:pt x="6573" y="7561"/>
                  </a:cubicBezTo>
                  <a:cubicBezTo>
                    <a:pt x="6632" y="7502"/>
                    <a:pt x="6632" y="7407"/>
                    <a:pt x="6573" y="7347"/>
                  </a:cubicBezTo>
                  <a:lnTo>
                    <a:pt x="5894" y="6668"/>
                  </a:lnTo>
                  <a:cubicBezTo>
                    <a:pt x="5799" y="6573"/>
                    <a:pt x="5799" y="6418"/>
                    <a:pt x="5894" y="6323"/>
                  </a:cubicBezTo>
                  <a:lnTo>
                    <a:pt x="6323" y="5895"/>
                  </a:lnTo>
                  <a:cubicBezTo>
                    <a:pt x="6370" y="5847"/>
                    <a:pt x="6430" y="5811"/>
                    <a:pt x="6489" y="5811"/>
                  </a:cubicBezTo>
                  <a:cubicBezTo>
                    <a:pt x="6549" y="5811"/>
                    <a:pt x="6608" y="5847"/>
                    <a:pt x="6644" y="5895"/>
                  </a:cubicBezTo>
                  <a:lnTo>
                    <a:pt x="8156" y="7395"/>
                  </a:lnTo>
                  <a:lnTo>
                    <a:pt x="7394" y="8157"/>
                  </a:lnTo>
                  <a:lnTo>
                    <a:pt x="6966" y="7716"/>
                  </a:lnTo>
                  <a:cubicBezTo>
                    <a:pt x="6936" y="7686"/>
                    <a:pt x="6897" y="7672"/>
                    <a:pt x="6858" y="7672"/>
                  </a:cubicBezTo>
                  <a:cubicBezTo>
                    <a:pt x="6820" y="7672"/>
                    <a:pt x="6781" y="7686"/>
                    <a:pt x="6751" y="7716"/>
                  </a:cubicBezTo>
                  <a:cubicBezTo>
                    <a:pt x="6692" y="7776"/>
                    <a:pt x="6692" y="7871"/>
                    <a:pt x="6751" y="7930"/>
                  </a:cubicBezTo>
                  <a:lnTo>
                    <a:pt x="8668" y="9847"/>
                  </a:lnTo>
                  <a:cubicBezTo>
                    <a:pt x="8775" y="9955"/>
                    <a:pt x="8906" y="10002"/>
                    <a:pt x="9049" y="10002"/>
                  </a:cubicBezTo>
                  <a:cubicBezTo>
                    <a:pt x="9180" y="10002"/>
                    <a:pt x="9311" y="9955"/>
                    <a:pt x="9418" y="9847"/>
                  </a:cubicBezTo>
                  <a:lnTo>
                    <a:pt x="9847" y="9419"/>
                  </a:lnTo>
                  <a:cubicBezTo>
                    <a:pt x="10061" y="9228"/>
                    <a:pt x="10061" y="8883"/>
                    <a:pt x="9847" y="8669"/>
                  </a:cubicBezTo>
                  <a:lnTo>
                    <a:pt x="6858" y="5680"/>
                  </a:lnTo>
                  <a:cubicBezTo>
                    <a:pt x="6751" y="5573"/>
                    <a:pt x="6620" y="5525"/>
                    <a:pt x="6489" y="5525"/>
                  </a:cubicBezTo>
                  <a:cubicBezTo>
                    <a:pt x="6382" y="5525"/>
                    <a:pt x="6299" y="5561"/>
                    <a:pt x="6204" y="5609"/>
                  </a:cubicBezTo>
                  <a:lnTo>
                    <a:pt x="5870" y="5275"/>
                  </a:lnTo>
                  <a:cubicBezTo>
                    <a:pt x="6144" y="4930"/>
                    <a:pt x="6334" y="4537"/>
                    <a:pt x="6454" y="4097"/>
                  </a:cubicBezTo>
                  <a:cubicBezTo>
                    <a:pt x="6465" y="4025"/>
                    <a:pt x="6430" y="3942"/>
                    <a:pt x="6346" y="3918"/>
                  </a:cubicBezTo>
                  <a:cubicBezTo>
                    <a:pt x="6339" y="3917"/>
                    <a:pt x="6332" y="3916"/>
                    <a:pt x="6324" y="3916"/>
                  </a:cubicBezTo>
                  <a:cubicBezTo>
                    <a:pt x="6258" y="3916"/>
                    <a:pt x="6189" y="3961"/>
                    <a:pt x="6168" y="4025"/>
                  </a:cubicBezTo>
                  <a:cubicBezTo>
                    <a:pt x="6037" y="4537"/>
                    <a:pt x="5775" y="5013"/>
                    <a:pt x="5394" y="5383"/>
                  </a:cubicBezTo>
                  <a:cubicBezTo>
                    <a:pt x="4816" y="5960"/>
                    <a:pt x="4051" y="6249"/>
                    <a:pt x="3285" y="6249"/>
                  </a:cubicBezTo>
                  <a:cubicBezTo>
                    <a:pt x="2519" y="6249"/>
                    <a:pt x="1751" y="5960"/>
                    <a:pt x="1167" y="5383"/>
                  </a:cubicBezTo>
                  <a:cubicBezTo>
                    <a:pt x="608" y="4823"/>
                    <a:pt x="298" y="4073"/>
                    <a:pt x="298" y="3263"/>
                  </a:cubicBezTo>
                  <a:cubicBezTo>
                    <a:pt x="298" y="2466"/>
                    <a:pt x="608" y="1715"/>
                    <a:pt x="1167" y="1156"/>
                  </a:cubicBezTo>
                  <a:cubicBezTo>
                    <a:pt x="1751" y="572"/>
                    <a:pt x="2519" y="281"/>
                    <a:pt x="3285" y="281"/>
                  </a:cubicBezTo>
                  <a:cubicBezTo>
                    <a:pt x="4051" y="281"/>
                    <a:pt x="4816" y="572"/>
                    <a:pt x="5394" y="1156"/>
                  </a:cubicBezTo>
                  <a:cubicBezTo>
                    <a:pt x="6013" y="1763"/>
                    <a:pt x="6323" y="2608"/>
                    <a:pt x="6263" y="3478"/>
                  </a:cubicBezTo>
                  <a:cubicBezTo>
                    <a:pt x="6263" y="3549"/>
                    <a:pt x="6323" y="3620"/>
                    <a:pt x="6394" y="3644"/>
                  </a:cubicBezTo>
                  <a:cubicBezTo>
                    <a:pt x="6465" y="3644"/>
                    <a:pt x="6549" y="3585"/>
                    <a:pt x="6561" y="3501"/>
                  </a:cubicBezTo>
                  <a:cubicBezTo>
                    <a:pt x="6620" y="2549"/>
                    <a:pt x="6275" y="1632"/>
                    <a:pt x="5608" y="965"/>
                  </a:cubicBezTo>
                  <a:cubicBezTo>
                    <a:pt x="4965" y="322"/>
                    <a:pt x="4123" y="1"/>
                    <a:pt x="32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8" name="Google Shape;13348;p64"/>
            <p:cNvSpPr/>
            <p:nvPr/>
          </p:nvSpPr>
          <p:spPr>
            <a:xfrm>
              <a:off x="4733899" y="2960772"/>
              <a:ext cx="75469" cy="86546"/>
            </a:xfrm>
            <a:custGeom>
              <a:avLst/>
              <a:gdLst/>
              <a:ahLst/>
              <a:cxnLst/>
              <a:rect l="l" t="t" r="r" b="b"/>
              <a:pathLst>
                <a:path w="2371" h="2719" extrusionOk="0">
                  <a:moveTo>
                    <a:pt x="1218" y="276"/>
                  </a:moveTo>
                  <a:cubicBezTo>
                    <a:pt x="1233" y="276"/>
                    <a:pt x="1248" y="277"/>
                    <a:pt x="1263" y="278"/>
                  </a:cubicBezTo>
                  <a:cubicBezTo>
                    <a:pt x="1703" y="313"/>
                    <a:pt x="2061" y="647"/>
                    <a:pt x="2084" y="1099"/>
                  </a:cubicBezTo>
                  <a:cubicBezTo>
                    <a:pt x="2073" y="1456"/>
                    <a:pt x="1858" y="1802"/>
                    <a:pt x="1537" y="1944"/>
                  </a:cubicBezTo>
                  <a:cubicBezTo>
                    <a:pt x="1430" y="1992"/>
                    <a:pt x="1370" y="2099"/>
                    <a:pt x="1370" y="2218"/>
                  </a:cubicBezTo>
                  <a:cubicBezTo>
                    <a:pt x="1370" y="2313"/>
                    <a:pt x="1275" y="2409"/>
                    <a:pt x="1180" y="2409"/>
                  </a:cubicBezTo>
                  <a:cubicBezTo>
                    <a:pt x="1072" y="2409"/>
                    <a:pt x="989" y="2313"/>
                    <a:pt x="989" y="2218"/>
                  </a:cubicBezTo>
                  <a:cubicBezTo>
                    <a:pt x="989" y="1944"/>
                    <a:pt x="1132" y="1694"/>
                    <a:pt x="1382" y="1587"/>
                  </a:cubicBezTo>
                  <a:cubicBezTo>
                    <a:pt x="1561" y="1504"/>
                    <a:pt x="1680" y="1325"/>
                    <a:pt x="1668" y="1111"/>
                  </a:cubicBezTo>
                  <a:cubicBezTo>
                    <a:pt x="1656" y="873"/>
                    <a:pt x="1465" y="682"/>
                    <a:pt x="1227" y="670"/>
                  </a:cubicBezTo>
                  <a:lnTo>
                    <a:pt x="1191" y="670"/>
                  </a:lnTo>
                  <a:cubicBezTo>
                    <a:pt x="1072" y="670"/>
                    <a:pt x="953" y="706"/>
                    <a:pt x="870" y="801"/>
                  </a:cubicBezTo>
                  <a:cubicBezTo>
                    <a:pt x="763" y="885"/>
                    <a:pt x="715" y="1028"/>
                    <a:pt x="715" y="1159"/>
                  </a:cubicBezTo>
                  <a:cubicBezTo>
                    <a:pt x="715" y="1266"/>
                    <a:pt x="632" y="1349"/>
                    <a:pt x="525" y="1349"/>
                  </a:cubicBezTo>
                  <a:cubicBezTo>
                    <a:pt x="418" y="1349"/>
                    <a:pt x="334" y="1266"/>
                    <a:pt x="334" y="1159"/>
                  </a:cubicBezTo>
                  <a:cubicBezTo>
                    <a:pt x="334" y="920"/>
                    <a:pt x="429" y="682"/>
                    <a:pt x="608" y="516"/>
                  </a:cubicBezTo>
                  <a:cubicBezTo>
                    <a:pt x="775" y="359"/>
                    <a:pt x="995" y="276"/>
                    <a:pt x="1218" y="276"/>
                  </a:cubicBezTo>
                  <a:close/>
                  <a:moveTo>
                    <a:pt x="1163" y="0"/>
                  </a:moveTo>
                  <a:cubicBezTo>
                    <a:pt x="872" y="0"/>
                    <a:pt x="586" y="108"/>
                    <a:pt x="370" y="313"/>
                  </a:cubicBezTo>
                  <a:cubicBezTo>
                    <a:pt x="132" y="539"/>
                    <a:pt x="1" y="849"/>
                    <a:pt x="1" y="1159"/>
                  </a:cubicBezTo>
                  <a:cubicBezTo>
                    <a:pt x="1" y="1432"/>
                    <a:pt x="227" y="1647"/>
                    <a:pt x="489" y="1647"/>
                  </a:cubicBezTo>
                  <a:cubicBezTo>
                    <a:pt x="763" y="1647"/>
                    <a:pt x="989" y="1432"/>
                    <a:pt x="989" y="1159"/>
                  </a:cubicBezTo>
                  <a:cubicBezTo>
                    <a:pt x="989" y="1099"/>
                    <a:pt x="1001" y="1051"/>
                    <a:pt x="1049" y="1028"/>
                  </a:cubicBezTo>
                  <a:cubicBezTo>
                    <a:pt x="1078" y="998"/>
                    <a:pt x="1115" y="977"/>
                    <a:pt x="1161" y="977"/>
                  </a:cubicBezTo>
                  <a:cubicBezTo>
                    <a:pt x="1171" y="977"/>
                    <a:pt x="1181" y="978"/>
                    <a:pt x="1191" y="980"/>
                  </a:cubicBezTo>
                  <a:cubicBezTo>
                    <a:pt x="1287" y="980"/>
                    <a:pt x="1358" y="1075"/>
                    <a:pt x="1370" y="1159"/>
                  </a:cubicBezTo>
                  <a:cubicBezTo>
                    <a:pt x="1370" y="1230"/>
                    <a:pt x="1322" y="1313"/>
                    <a:pt x="1263" y="1337"/>
                  </a:cubicBezTo>
                  <a:cubicBezTo>
                    <a:pt x="930" y="1504"/>
                    <a:pt x="703" y="1849"/>
                    <a:pt x="703" y="2230"/>
                  </a:cubicBezTo>
                  <a:cubicBezTo>
                    <a:pt x="703" y="2504"/>
                    <a:pt x="930" y="2718"/>
                    <a:pt x="1191" y="2718"/>
                  </a:cubicBezTo>
                  <a:cubicBezTo>
                    <a:pt x="1465" y="2718"/>
                    <a:pt x="1680" y="2504"/>
                    <a:pt x="1680" y="2230"/>
                  </a:cubicBezTo>
                  <a:lnTo>
                    <a:pt x="1680" y="2218"/>
                  </a:lnTo>
                  <a:cubicBezTo>
                    <a:pt x="2096" y="2004"/>
                    <a:pt x="2370" y="1563"/>
                    <a:pt x="2334" y="1087"/>
                  </a:cubicBezTo>
                  <a:cubicBezTo>
                    <a:pt x="2311" y="504"/>
                    <a:pt x="1834" y="27"/>
                    <a:pt x="1251" y="4"/>
                  </a:cubicBezTo>
                  <a:cubicBezTo>
                    <a:pt x="1222" y="1"/>
                    <a:pt x="1192" y="0"/>
                    <a:pt x="11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9" name="Google Shape;13349;p64"/>
            <p:cNvSpPr/>
            <p:nvPr/>
          </p:nvSpPr>
          <p:spPr>
            <a:xfrm>
              <a:off x="4755894" y="3048431"/>
              <a:ext cx="31098" cy="32244"/>
            </a:xfrm>
            <a:custGeom>
              <a:avLst/>
              <a:gdLst/>
              <a:ahLst/>
              <a:cxnLst/>
              <a:rect l="l" t="t" r="r" b="b"/>
              <a:pathLst>
                <a:path w="977" h="1013" extrusionOk="0">
                  <a:moveTo>
                    <a:pt x="489" y="298"/>
                  </a:moveTo>
                  <a:cubicBezTo>
                    <a:pt x="596" y="298"/>
                    <a:pt x="679" y="381"/>
                    <a:pt x="679" y="488"/>
                  </a:cubicBezTo>
                  <a:lnTo>
                    <a:pt x="679" y="500"/>
                  </a:lnTo>
                  <a:cubicBezTo>
                    <a:pt x="679" y="607"/>
                    <a:pt x="596" y="702"/>
                    <a:pt x="489" y="702"/>
                  </a:cubicBezTo>
                  <a:cubicBezTo>
                    <a:pt x="381" y="702"/>
                    <a:pt x="298" y="607"/>
                    <a:pt x="298" y="500"/>
                  </a:cubicBezTo>
                  <a:lnTo>
                    <a:pt x="298" y="488"/>
                  </a:lnTo>
                  <a:cubicBezTo>
                    <a:pt x="298" y="381"/>
                    <a:pt x="381" y="298"/>
                    <a:pt x="489" y="298"/>
                  </a:cubicBezTo>
                  <a:close/>
                  <a:moveTo>
                    <a:pt x="489" y="0"/>
                  </a:moveTo>
                  <a:cubicBezTo>
                    <a:pt x="215" y="0"/>
                    <a:pt x="0" y="226"/>
                    <a:pt x="0" y="488"/>
                  </a:cubicBezTo>
                  <a:lnTo>
                    <a:pt x="0" y="524"/>
                  </a:lnTo>
                  <a:cubicBezTo>
                    <a:pt x="0" y="786"/>
                    <a:pt x="215" y="1012"/>
                    <a:pt x="489" y="1012"/>
                  </a:cubicBezTo>
                  <a:cubicBezTo>
                    <a:pt x="751" y="1012"/>
                    <a:pt x="977" y="786"/>
                    <a:pt x="977" y="524"/>
                  </a:cubicBezTo>
                  <a:lnTo>
                    <a:pt x="977" y="488"/>
                  </a:lnTo>
                  <a:cubicBezTo>
                    <a:pt x="977" y="226"/>
                    <a:pt x="751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50" name="Google Shape;13350;p64"/>
          <p:cNvGrpSpPr/>
          <p:nvPr/>
        </p:nvGrpSpPr>
        <p:grpSpPr>
          <a:xfrm>
            <a:off x="5170480" y="2934639"/>
            <a:ext cx="261929" cy="280550"/>
            <a:chOff x="5170480" y="2934639"/>
            <a:chExt cx="261929" cy="280550"/>
          </a:xfrm>
        </p:grpSpPr>
        <p:sp>
          <p:nvSpPr>
            <p:cNvPr id="13351" name="Google Shape;13351;p64"/>
            <p:cNvSpPr/>
            <p:nvPr/>
          </p:nvSpPr>
          <p:spPr>
            <a:xfrm>
              <a:off x="5170480" y="2934639"/>
              <a:ext cx="243340" cy="280550"/>
            </a:xfrm>
            <a:custGeom>
              <a:avLst/>
              <a:gdLst/>
              <a:ahLst/>
              <a:cxnLst/>
              <a:rect l="l" t="t" r="r" b="b"/>
              <a:pathLst>
                <a:path w="7645" h="8814" extrusionOk="0">
                  <a:moveTo>
                    <a:pt x="4192" y="301"/>
                  </a:moveTo>
                  <a:lnTo>
                    <a:pt x="5228" y="1337"/>
                  </a:lnTo>
                  <a:lnTo>
                    <a:pt x="3144" y="1337"/>
                  </a:lnTo>
                  <a:lnTo>
                    <a:pt x="4192" y="301"/>
                  </a:lnTo>
                  <a:close/>
                  <a:moveTo>
                    <a:pt x="4190" y="0"/>
                  </a:moveTo>
                  <a:cubicBezTo>
                    <a:pt x="4156" y="0"/>
                    <a:pt x="4120" y="9"/>
                    <a:pt x="4097" y="27"/>
                  </a:cubicBezTo>
                  <a:lnTo>
                    <a:pt x="2787" y="1337"/>
                  </a:lnTo>
                  <a:lnTo>
                    <a:pt x="703" y="1337"/>
                  </a:lnTo>
                  <a:cubicBezTo>
                    <a:pt x="632" y="1337"/>
                    <a:pt x="572" y="1396"/>
                    <a:pt x="572" y="1480"/>
                  </a:cubicBezTo>
                  <a:lnTo>
                    <a:pt x="572" y="3623"/>
                  </a:lnTo>
                  <a:lnTo>
                    <a:pt x="144" y="3623"/>
                  </a:lnTo>
                  <a:cubicBezTo>
                    <a:pt x="60" y="3623"/>
                    <a:pt x="1" y="3682"/>
                    <a:pt x="1" y="3754"/>
                  </a:cubicBezTo>
                  <a:lnTo>
                    <a:pt x="1" y="8683"/>
                  </a:lnTo>
                  <a:cubicBezTo>
                    <a:pt x="1" y="8754"/>
                    <a:pt x="60" y="8814"/>
                    <a:pt x="144" y="8814"/>
                  </a:cubicBezTo>
                  <a:lnTo>
                    <a:pt x="1489" y="8814"/>
                  </a:lnTo>
                  <a:cubicBezTo>
                    <a:pt x="1572" y="8814"/>
                    <a:pt x="1632" y="8754"/>
                    <a:pt x="1632" y="8683"/>
                  </a:cubicBezTo>
                  <a:cubicBezTo>
                    <a:pt x="1632" y="8599"/>
                    <a:pt x="1572" y="8540"/>
                    <a:pt x="1489" y="8540"/>
                  </a:cubicBezTo>
                  <a:lnTo>
                    <a:pt x="275" y="8540"/>
                  </a:lnTo>
                  <a:lnTo>
                    <a:pt x="275" y="4004"/>
                  </a:lnTo>
                  <a:lnTo>
                    <a:pt x="882" y="4456"/>
                  </a:lnTo>
                  <a:cubicBezTo>
                    <a:pt x="904" y="4469"/>
                    <a:pt x="928" y="4476"/>
                    <a:pt x="952" y="4476"/>
                  </a:cubicBezTo>
                  <a:cubicBezTo>
                    <a:pt x="992" y="4476"/>
                    <a:pt x="1031" y="4458"/>
                    <a:pt x="1061" y="4420"/>
                  </a:cubicBezTo>
                  <a:cubicBezTo>
                    <a:pt x="1108" y="4361"/>
                    <a:pt x="1096" y="4289"/>
                    <a:pt x="1037" y="4242"/>
                  </a:cubicBezTo>
                  <a:lnTo>
                    <a:pt x="834" y="4087"/>
                  </a:lnTo>
                  <a:lnTo>
                    <a:pt x="834" y="3766"/>
                  </a:lnTo>
                  <a:lnTo>
                    <a:pt x="834" y="3754"/>
                  </a:lnTo>
                  <a:lnTo>
                    <a:pt x="834" y="3730"/>
                  </a:lnTo>
                  <a:lnTo>
                    <a:pt x="834" y="1610"/>
                  </a:lnTo>
                  <a:lnTo>
                    <a:pt x="7371" y="1610"/>
                  </a:lnTo>
                  <a:lnTo>
                    <a:pt x="7371" y="2099"/>
                  </a:lnTo>
                  <a:cubicBezTo>
                    <a:pt x="7371" y="2170"/>
                    <a:pt x="7430" y="2230"/>
                    <a:pt x="7502" y="2230"/>
                  </a:cubicBezTo>
                  <a:cubicBezTo>
                    <a:pt x="7585" y="2230"/>
                    <a:pt x="7645" y="2170"/>
                    <a:pt x="7645" y="2099"/>
                  </a:cubicBezTo>
                  <a:lnTo>
                    <a:pt x="7645" y="1468"/>
                  </a:lnTo>
                  <a:cubicBezTo>
                    <a:pt x="7633" y="1396"/>
                    <a:pt x="7573" y="1337"/>
                    <a:pt x="7490" y="1337"/>
                  </a:cubicBezTo>
                  <a:lnTo>
                    <a:pt x="5585" y="1337"/>
                  </a:lnTo>
                  <a:lnTo>
                    <a:pt x="4275" y="27"/>
                  </a:lnTo>
                  <a:cubicBezTo>
                    <a:pt x="4257" y="9"/>
                    <a:pt x="4225" y="0"/>
                    <a:pt x="4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2" name="Google Shape;13352;p64"/>
            <p:cNvSpPr/>
            <p:nvPr/>
          </p:nvSpPr>
          <p:spPr>
            <a:xfrm>
              <a:off x="5217493" y="3007116"/>
              <a:ext cx="34122" cy="34122"/>
            </a:xfrm>
            <a:custGeom>
              <a:avLst/>
              <a:gdLst/>
              <a:ahLst/>
              <a:cxnLst/>
              <a:rect l="l" t="t" r="r" b="b"/>
              <a:pathLst>
                <a:path w="1072" h="1072" extrusionOk="0">
                  <a:moveTo>
                    <a:pt x="810" y="262"/>
                  </a:moveTo>
                  <a:lnTo>
                    <a:pt x="810" y="810"/>
                  </a:lnTo>
                  <a:lnTo>
                    <a:pt x="274" y="810"/>
                  </a:lnTo>
                  <a:lnTo>
                    <a:pt x="274" y="262"/>
                  </a:lnTo>
                  <a:close/>
                  <a:moveTo>
                    <a:pt x="143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941"/>
                  </a:lnTo>
                  <a:cubicBezTo>
                    <a:pt x="0" y="1012"/>
                    <a:pt x="60" y="1072"/>
                    <a:pt x="143" y="1072"/>
                  </a:cubicBezTo>
                  <a:lnTo>
                    <a:pt x="941" y="1072"/>
                  </a:lnTo>
                  <a:cubicBezTo>
                    <a:pt x="1012" y="1072"/>
                    <a:pt x="1072" y="1012"/>
                    <a:pt x="1072" y="941"/>
                  </a:cubicBezTo>
                  <a:lnTo>
                    <a:pt x="1072" y="131"/>
                  </a:lnTo>
                  <a:cubicBezTo>
                    <a:pt x="1060" y="60"/>
                    <a:pt x="1000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3" name="Google Shape;13353;p64"/>
            <p:cNvSpPr/>
            <p:nvPr/>
          </p:nvSpPr>
          <p:spPr>
            <a:xfrm>
              <a:off x="5264474" y="3007116"/>
              <a:ext cx="26196" cy="8371"/>
            </a:xfrm>
            <a:custGeom>
              <a:avLst/>
              <a:gdLst/>
              <a:ahLst/>
              <a:cxnLst/>
              <a:rect l="l" t="t" r="r" b="b"/>
              <a:pathLst>
                <a:path w="823" h="263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cubicBezTo>
                    <a:pt x="1" y="215"/>
                    <a:pt x="60" y="262"/>
                    <a:pt x="132" y="262"/>
                  </a:cubicBezTo>
                  <a:lnTo>
                    <a:pt x="679" y="262"/>
                  </a:lnTo>
                  <a:cubicBezTo>
                    <a:pt x="763" y="262"/>
                    <a:pt x="822" y="215"/>
                    <a:pt x="822" y="131"/>
                  </a:cubicBezTo>
                  <a:cubicBezTo>
                    <a:pt x="822" y="60"/>
                    <a:pt x="763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4" name="Google Shape;13354;p64"/>
            <p:cNvSpPr/>
            <p:nvPr/>
          </p:nvSpPr>
          <p:spPr>
            <a:xfrm>
              <a:off x="5264856" y="3029079"/>
              <a:ext cx="86068" cy="8371"/>
            </a:xfrm>
            <a:custGeom>
              <a:avLst/>
              <a:gdLst/>
              <a:ahLst/>
              <a:cxnLst/>
              <a:rect l="l" t="t" r="r" b="b"/>
              <a:pathLst>
                <a:path w="2704" h="263" extrusionOk="0">
                  <a:moveTo>
                    <a:pt x="143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03"/>
                    <a:pt x="60" y="263"/>
                    <a:pt x="143" y="263"/>
                  </a:cubicBezTo>
                  <a:lnTo>
                    <a:pt x="2560" y="263"/>
                  </a:lnTo>
                  <a:cubicBezTo>
                    <a:pt x="2644" y="263"/>
                    <a:pt x="2703" y="203"/>
                    <a:pt x="2703" y="132"/>
                  </a:cubicBezTo>
                  <a:cubicBezTo>
                    <a:pt x="2679" y="60"/>
                    <a:pt x="2620" y="1"/>
                    <a:pt x="25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5" name="Google Shape;13355;p64"/>
            <p:cNvSpPr/>
            <p:nvPr/>
          </p:nvSpPr>
          <p:spPr>
            <a:xfrm>
              <a:off x="5227710" y="3062819"/>
              <a:ext cx="51565" cy="8753"/>
            </a:xfrm>
            <a:custGeom>
              <a:avLst/>
              <a:gdLst/>
              <a:ahLst/>
              <a:cxnLst/>
              <a:rect l="l" t="t" r="r" b="b"/>
              <a:pathLst>
                <a:path w="1620" h="275" extrusionOk="0">
                  <a:moveTo>
                    <a:pt x="132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1489" y="274"/>
                  </a:lnTo>
                  <a:cubicBezTo>
                    <a:pt x="1560" y="274"/>
                    <a:pt x="1620" y="215"/>
                    <a:pt x="1620" y="143"/>
                  </a:cubicBezTo>
                  <a:cubicBezTo>
                    <a:pt x="1620" y="72"/>
                    <a:pt x="1560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6" name="Google Shape;13356;p64"/>
            <p:cNvSpPr/>
            <p:nvPr/>
          </p:nvSpPr>
          <p:spPr>
            <a:xfrm>
              <a:off x="5196644" y="3182945"/>
              <a:ext cx="42461" cy="8371"/>
            </a:xfrm>
            <a:custGeom>
              <a:avLst/>
              <a:gdLst/>
              <a:ahLst/>
              <a:cxnLst/>
              <a:rect l="l" t="t" r="r" b="b"/>
              <a:pathLst>
                <a:path w="1334" h="263" extrusionOk="0">
                  <a:moveTo>
                    <a:pt x="143" y="1"/>
                  </a:moveTo>
                  <a:cubicBezTo>
                    <a:pt x="60" y="1"/>
                    <a:pt x="0" y="60"/>
                    <a:pt x="0" y="132"/>
                  </a:cubicBezTo>
                  <a:cubicBezTo>
                    <a:pt x="0" y="203"/>
                    <a:pt x="60" y="263"/>
                    <a:pt x="143" y="263"/>
                  </a:cubicBezTo>
                  <a:lnTo>
                    <a:pt x="1191" y="263"/>
                  </a:lnTo>
                  <a:cubicBezTo>
                    <a:pt x="1274" y="263"/>
                    <a:pt x="1334" y="203"/>
                    <a:pt x="1334" y="132"/>
                  </a:cubicBezTo>
                  <a:cubicBezTo>
                    <a:pt x="1310" y="60"/>
                    <a:pt x="1274" y="1"/>
                    <a:pt x="1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7" name="Google Shape;13357;p64"/>
            <p:cNvSpPr/>
            <p:nvPr/>
          </p:nvSpPr>
          <p:spPr>
            <a:xfrm>
              <a:off x="5210299" y="3013928"/>
              <a:ext cx="222110" cy="201261"/>
            </a:xfrm>
            <a:custGeom>
              <a:avLst/>
              <a:gdLst/>
              <a:ahLst/>
              <a:cxnLst/>
              <a:rect l="l" t="t" r="r" b="b"/>
              <a:pathLst>
                <a:path w="6978" h="6323" extrusionOk="0">
                  <a:moveTo>
                    <a:pt x="4679" y="2632"/>
                  </a:moveTo>
                  <a:lnTo>
                    <a:pt x="4274" y="2929"/>
                  </a:lnTo>
                  <a:lnTo>
                    <a:pt x="1441" y="2929"/>
                  </a:lnTo>
                  <a:lnTo>
                    <a:pt x="1024" y="2632"/>
                  </a:lnTo>
                  <a:close/>
                  <a:moveTo>
                    <a:pt x="3905" y="3168"/>
                  </a:moveTo>
                  <a:lnTo>
                    <a:pt x="3500" y="3465"/>
                  </a:lnTo>
                  <a:lnTo>
                    <a:pt x="2179" y="3465"/>
                  </a:lnTo>
                  <a:lnTo>
                    <a:pt x="1774" y="3168"/>
                  </a:lnTo>
                  <a:close/>
                  <a:moveTo>
                    <a:pt x="3143" y="3727"/>
                  </a:moveTo>
                  <a:lnTo>
                    <a:pt x="2846" y="3942"/>
                  </a:lnTo>
                  <a:lnTo>
                    <a:pt x="2548" y="3727"/>
                  </a:lnTo>
                  <a:close/>
                  <a:moveTo>
                    <a:pt x="6239" y="1"/>
                  </a:moveTo>
                  <a:cubicBezTo>
                    <a:pt x="6167" y="1"/>
                    <a:pt x="6108" y="48"/>
                    <a:pt x="6108" y="132"/>
                  </a:cubicBezTo>
                  <a:lnTo>
                    <a:pt x="6108" y="1263"/>
                  </a:lnTo>
                  <a:lnTo>
                    <a:pt x="6108" y="1596"/>
                  </a:lnTo>
                  <a:lnTo>
                    <a:pt x="5036" y="2382"/>
                  </a:lnTo>
                  <a:lnTo>
                    <a:pt x="667" y="2382"/>
                  </a:lnTo>
                  <a:lnTo>
                    <a:pt x="226" y="2060"/>
                  </a:lnTo>
                  <a:cubicBezTo>
                    <a:pt x="204" y="2047"/>
                    <a:pt x="180" y="2040"/>
                    <a:pt x="156" y="2040"/>
                  </a:cubicBezTo>
                  <a:cubicBezTo>
                    <a:pt x="116" y="2040"/>
                    <a:pt x="77" y="2059"/>
                    <a:pt x="48" y="2096"/>
                  </a:cubicBezTo>
                  <a:cubicBezTo>
                    <a:pt x="0" y="2156"/>
                    <a:pt x="24" y="2227"/>
                    <a:pt x="83" y="2275"/>
                  </a:cubicBezTo>
                  <a:lnTo>
                    <a:pt x="2786" y="4203"/>
                  </a:lnTo>
                  <a:cubicBezTo>
                    <a:pt x="2810" y="4221"/>
                    <a:pt x="2837" y="4230"/>
                    <a:pt x="2863" y="4230"/>
                  </a:cubicBezTo>
                  <a:cubicBezTo>
                    <a:pt x="2890" y="4230"/>
                    <a:pt x="2917" y="4221"/>
                    <a:pt x="2941" y="4203"/>
                  </a:cubicBezTo>
                  <a:lnTo>
                    <a:pt x="6703" y="1513"/>
                  </a:lnTo>
                  <a:lnTo>
                    <a:pt x="6703" y="6049"/>
                  </a:lnTo>
                  <a:lnTo>
                    <a:pt x="786" y="6049"/>
                  </a:lnTo>
                  <a:cubicBezTo>
                    <a:pt x="702" y="6049"/>
                    <a:pt x="643" y="6108"/>
                    <a:pt x="643" y="6192"/>
                  </a:cubicBezTo>
                  <a:cubicBezTo>
                    <a:pt x="643" y="6263"/>
                    <a:pt x="702" y="6323"/>
                    <a:pt x="786" y="6323"/>
                  </a:cubicBezTo>
                  <a:lnTo>
                    <a:pt x="6834" y="6323"/>
                  </a:lnTo>
                  <a:cubicBezTo>
                    <a:pt x="6918" y="6323"/>
                    <a:pt x="6977" y="6263"/>
                    <a:pt x="6977" y="6192"/>
                  </a:cubicBezTo>
                  <a:lnTo>
                    <a:pt x="6977" y="1263"/>
                  </a:lnTo>
                  <a:cubicBezTo>
                    <a:pt x="6941" y="1263"/>
                    <a:pt x="6941" y="1239"/>
                    <a:pt x="6941" y="1239"/>
                  </a:cubicBezTo>
                  <a:cubicBezTo>
                    <a:pt x="6929" y="1191"/>
                    <a:pt x="6882" y="1132"/>
                    <a:pt x="6810" y="1132"/>
                  </a:cubicBezTo>
                  <a:lnTo>
                    <a:pt x="6370" y="1132"/>
                  </a:lnTo>
                  <a:lnTo>
                    <a:pt x="6370" y="132"/>
                  </a:lnTo>
                  <a:cubicBezTo>
                    <a:pt x="6370" y="48"/>
                    <a:pt x="6310" y="1"/>
                    <a:pt x="6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58" name="Google Shape;13358;p64"/>
          <p:cNvGrpSpPr/>
          <p:nvPr/>
        </p:nvGrpSpPr>
        <p:grpSpPr>
          <a:xfrm>
            <a:off x="6069423" y="2891892"/>
            <a:ext cx="362321" cy="364231"/>
            <a:chOff x="6069423" y="2891892"/>
            <a:chExt cx="362321" cy="364231"/>
          </a:xfrm>
        </p:grpSpPr>
        <p:sp>
          <p:nvSpPr>
            <p:cNvPr id="13359" name="Google Shape;13359;p64"/>
            <p:cNvSpPr/>
            <p:nvPr/>
          </p:nvSpPr>
          <p:spPr>
            <a:xfrm>
              <a:off x="6069423" y="2891892"/>
              <a:ext cx="278958" cy="278958"/>
            </a:xfrm>
            <a:custGeom>
              <a:avLst/>
              <a:gdLst/>
              <a:ahLst/>
              <a:cxnLst/>
              <a:rect l="l" t="t" r="r" b="b"/>
              <a:pathLst>
                <a:path w="8764" h="8764" extrusionOk="0">
                  <a:moveTo>
                    <a:pt x="4120" y="1"/>
                  </a:moveTo>
                  <a:cubicBezTo>
                    <a:pt x="3858" y="1"/>
                    <a:pt x="3632" y="203"/>
                    <a:pt x="3572" y="453"/>
                  </a:cubicBezTo>
                  <a:lnTo>
                    <a:pt x="3406" y="1299"/>
                  </a:lnTo>
                  <a:cubicBezTo>
                    <a:pt x="3227" y="1358"/>
                    <a:pt x="3060" y="1418"/>
                    <a:pt x="2906" y="1513"/>
                  </a:cubicBezTo>
                  <a:lnTo>
                    <a:pt x="2191" y="1037"/>
                  </a:lnTo>
                  <a:cubicBezTo>
                    <a:pt x="2096" y="971"/>
                    <a:pt x="1987" y="940"/>
                    <a:pt x="1879" y="940"/>
                  </a:cubicBezTo>
                  <a:cubicBezTo>
                    <a:pt x="1732" y="940"/>
                    <a:pt x="1587" y="998"/>
                    <a:pt x="1477" y="1108"/>
                  </a:cubicBezTo>
                  <a:lnTo>
                    <a:pt x="1096" y="1477"/>
                  </a:lnTo>
                  <a:cubicBezTo>
                    <a:pt x="905" y="1668"/>
                    <a:pt x="882" y="1965"/>
                    <a:pt x="1024" y="2191"/>
                  </a:cubicBezTo>
                  <a:lnTo>
                    <a:pt x="1501" y="2906"/>
                  </a:lnTo>
                  <a:cubicBezTo>
                    <a:pt x="1417" y="3073"/>
                    <a:pt x="1358" y="3239"/>
                    <a:pt x="1298" y="3406"/>
                  </a:cubicBezTo>
                  <a:lnTo>
                    <a:pt x="441" y="3573"/>
                  </a:lnTo>
                  <a:cubicBezTo>
                    <a:pt x="179" y="3632"/>
                    <a:pt x="0" y="3858"/>
                    <a:pt x="0" y="4132"/>
                  </a:cubicBezTo>
                  <a:lnTo>
                    <a:pt x="0" y="4644"/>
                  </a:lnTo>
                  <a:cubicBezTo>
                    <a:pt x="0" y="4918"/>
                    <a:pt x="191" y="5132"/>
                    <a:pt x="441" y="5204"/>
                  </a:cubicBezTo>
                  <a:lnTo>
                    <a:pt x="1298" y="5359"/>
                  </a:lnTo>
                  <a:cubicBezTo>
                    <a:pt x="1358" y="5537"/>
                    <a:pt x="1417" y="5704"/>
                    <a:pt x="1501" y="5871"/>
                  </a:cubicBezTo>
                  <a:lnTo>
                    <a:pt x="1024" y="6585"/>
                  </a:lnTo>
                  <a:cubicBezTo>
                    <a:pt x="882" y="6811"/>
                    <a:pt x="905" y="7109"/>
                    <a:pt x="1096" y="7299"/>
                  </a:cubicBezTo>
                  <a:lnTo>
                    <a:pt x="1477" y="7668"/>
                  </a:lnTo>
                  <a:cubicBezTo>
                    <a:pt x="1587" y="7778"/>
                    <a:pt x="1732" y="7837"/>
                    <a:pt x="1879" y="7837"/>
                  </a:cubicBezTo>
                  <a:cubicBezTo>
                    <a:pt x="1987" y="7837"/>
                    <a:pt x="2096" y="7805"/>
                    <a:pt x="2191" y="7740"/>
                  </a:cubicBezTo>
                  <a:lnTo>
                    <a:pt x="2906" y="7264"/>
                  </a:lnTo>
                  <a:cubicBezTo>
                    <a:pt x="3060" y="7359"/>
                    <a:pt x="3227" y="7418"/>
                    <a:pt x="3406" y="7478"/>
                  </a:cubicBezTo>
                  <a:lnTo>
                    <a:pt x="3572" y="8323"/>
                  </a:lnTo>
                  <a:cubicBezTo>
                    <a:pt x="3632" y="8585"/>
                    <a:pt x="3858" y="8764"/>
                    <a:pt x="4120" y="8764"/>
                  </a:cubicBezTo>
                  <a:lnTo>
                    <a:pt x="4644" y="8764"/>
                  </a:lnTo>
                  <a:cubicBezTo>
                    <a:pt x="4906" y="8764"/>
                    <a:pt x="5132" y="8573"/>
                    <a:pt x="5192" y="8323"/>
                  </a:cubicBezTo>
                  <a:lnTo>
                    <a:pt x="5358" y="7478"/>
                  </a:lnTo>
                  <a:cubicBezTo>
                    <a:pt x="5489" y="7430"/>
                    <a:pt x="5620" y="7371"/>
                    <a:pt x="5763" y="7311"/>
                  </a:cubicBezTo>
                  <a:cubicBezTo>
                    <a:pt x="5846" y="7299"/>
                    <a:pt x="5894" y="7192"/>
                    <a:pt x="5846" y="7109"/>
                  </a:cubicBezTo>
                  <a:cubicBezTo>
                    <a:pt x="5812" y="7039"/>
                    <a:pt x="5751" y="6995"/>
                    <a:pt x="5684" y="6995"/>
                  </a:cubicBezTo>
                  <a:cubicBezTo>
                    <a:pt x="5659" y="6995"/>
                    <a:pt x="5634" y="7001"/>
                    <a:pt x="5608" y="7014"/>
                  </a:cubicBezTo>
                  <a:cubicBezTo>
                    <a:pt x="5465" y="7085"/>
                    <a:pt x="5311" y="7144"/>
                    <a:pt x="5144" y="7180"/>
                  </a:cubicBezTo>
                  <a:cubicBezTo>
                    <a:pt x="5084" y="7192"/>
                    <a:pt x="5025" y="7252"/>
                    <a:pt x="5013" y="7311"/>
                  </a:cubicBezTo>
                  <a:lnTo>
                    <a:pt x="4823" y="8264"/>
                  </a:lnTo>
                  <a:cubicBezTo>
                    <a:pt x="4811" y="8347"/>
                    <a:pt x="4715" y="8430"/>
                    <a:pt x="4632" y="8430"/>
                  </a:cubicBezTo>
                  <a:lnTo>
                    <a:pt x="4108" y="8430"/>
                  </a:lnTo>
                  <a:cubicBezTo>
                    <a:pt x="4013" y="8430"/>
                    <a:pt x="3930" y="8347"/>
                    <a:pt x="3918" y="8264"/>
                  </a:cubicBezTo>
                  <a:lnTo>
                    <a:pt x="3715" y="7311"/>
                  </a:lnTo>
                  <a:cubicBezTo>
                    <a:pt x="3703" y="7252"/>
                    <a:pt x="3656" y="7192"/>
                    <a:pt x="3584" y="7180"/>
                  </a:cubicBezTo>
                  <a:cubicBezTo>
                    <a:pt x="3358" y="7121"/>
                    <a:pt x="3156" y="7025"/>
                    <a:pt x="2965" y="6906"/>
                  </a:cubicBezTo>
                  <a:cubicBezTo>
                    <a:pt x="2935" y="6894"/>
                    <a:pt x="2900" y="6888"/>
                    <a:pt x="2864" y="6888"/>
                  </a:cubicBezTo>
                  <a:cubicBezTo>
                    <a:pt x="2828" y="6888"/>
                    <a:pt x="2792" y="6894"/>
                    <a:pt x="2763" y="6906"/>
                  </a:cubicBezTo>
                  <a:lnTo>
                    <a:pt x="1965" y="7442"/>
                  </a:lnTo>
                  <a:cubicBezTo>
                    <a:pt x="1934" y="7468"/>
                    <a:pt x="1894" y="7480"/>
                    <a:pt x="1854" y="7480"/>
                  </a:cubicBezTo>
                  <a:cubicBezTo>
                    <a:pt x="1802" y="7480"/>
                    <a:pt x="1749" y="7459"/>
                    <a:pt x="1715" y="7418"/>
                  </a:cubicBezTo>
                  <a:lnTo>
                    <a:pt x="1334" y="7049"/>
                  </a:lnTo>
                  <a:cubicBezTo>
                    <a:pt x="1263" y="6966"/>
                    <a:pt x="1263" y="6859"/>
                    <a:pt x="1310" y="6787"/>
                  </a:cubicBezTo>
                  <a:lnTo>
                    <a:pt x="1846" y="5990"/>
                  </a:lnTo>
                  <a:cubicBezTo>
                    <a:pt x="1882" y="5930"/>
                    <a:pt x="1882" y="5859"/>
                    <a:pt x="1846" y="5799"/>
                  </a:cubicBezTo>
                  <a:cubicBezTo>
                    <a:pt x="1727" y="5597"/>
                    <a:pt x="1655" y="5382"/>
                    <a:pt x="1572" y="5168"/>
                  </a:cubicBezTo>
                  <a:cubicBezTo>
                    <a:pt x="1560" y="5109"/>
                    <a:pt x="1501" y="5049"/>
                    <a:pt x="1441" y="5037"/>
                  </a:cubicBezTo>
                  <a:lnTo>
                    <a:pt x="489" y="4847"/>
                  </a:lnTo>
                  <a:cubicBezTo>
                    <a:pt x="393" y="4823"/>
                    <a:pt x="322" y="4739"/>
                    <a:pt x="322" y="4644"/>
                  </a:cubicBezTo>
                  <a:lnTo>
                    <a:pt x="322" y="4132"/>
                  </a:lnTo>
                  <a:cubicBezTo>
                    <a:pt x="322" y="4037"/>
                    <a:pt x="393" y="3954"/>
                    <a:pt x="489" y="3930"/>
                  </a:cubicBezTo>
                  <a:lnTo>
                    <a:pt x="1441" y="3739"/>
                  </a:lnTo>
                  <a:cubicBezTo>
                    <a:pt x="1501" y="3727"/>
                    <a:pt x="1560" y="3680"/>
                    <a:pt x="1572" y="3608"/>
                  </a:cubicBezTo>
                  <a:cubicBezTo>
                    <a:pt x="1632" y="3382"/>
                    <a:pt x="1727" y="3180"/>
                    <a:pt x="1846" y="2977"/>
                  </a:cubicBezTo>
                  <a:cubicBezTo>
                    <a:pt x="1870" y="2918"/>
                    <a:pt x="1870" y="2846"/>
                    <a:pt x="1846" y="2787"/>
                  </a:cubicBezTo>
                  <a:lnTo>
                    <a:pt x="1310" y="1989"/>
                  </a:lnTo>
                  <a:cubicBezTo>
                    <a:pt x="1251" y="1906"/>
                    <a:pt x="1263" y="1787"/>
                    <a:pt x="1334" y="1727"/>
                  </a:cubicBezTo>
                  <a:lnTo>
                    <a:pt x="1715" y="1358"/>
                  </a:lnTo>
                  <a:cubicBezTo>
                    <a:pt x="1754" y="1319"/>
                    <a:pt x="1804" y="1301"/>
                    <a:pt x="1854" y="1301"/>
                  </a:cubicBezTo>
                  <a:cubicBezTo>
                    <a:pt x="1894" y="1301"/>
                    <a:pt x="1933" y="1313"/>
                    <a:pt x="1965" y="1334"/>
                  </a:cubicBezTo>
                  <a:lnTo>
                    <a:pt x="2763" y="1870"/>
                  </a:lnTo>
                  <a:cubicBezTo>
                    <a:pt x="2792" y="1888"/>
                    <a:pt x="2828" y="1897"/>
                    <a:pt x="2864" y="1897"/>
                  </a:cubicBezTo>
                  <a:cubicBezTo>
                    <a:pt x="2900" y="1897"/>
                    <a:pt x="2935" y="1888"/>
                    <a:pt x="2965" y="1870"/>
                  </a:cubicBezTo>
                  <a:cubicBezTo>
                    <a:pt x="3156" y="1751"/>
                    <a:pt x="3382" y="1668"/>
                    <a:pt x="3584" y="1596"/>
                  </a:cubicBezTo>
                  <a:cubicBezTo>
                    <a:pt x="3644" y="1584"/>
                    <a:pt x="3703" y="1525"/>
                    <a:pt x="3715" y="1465"/>
                  </a:cubicBezTo>
                  <a:lnTo>
                    <a:pt x="3918" y="513"/>
                  </a:lnTo>
                  <a:cubicBezTo>
                    <a:pt x="3930" y="417"/>
                    <a:pt x="4013" y="346"/>
                    <a:pt x="4108" y="346"/>
                  </a:cubicBezTo>
                  <a:lnTo>
                    <a:pt x="4632" y="346"/>
                  </a:lnTo>
                  <a:cubicBezTo>
                    <a:pt x="4715" y="346"/>
                    <a:pt x="4811" y="417"/>
                    <a:pt x="4823" y="513"/>
                  </a:cubicBezTo>
                  <a:lnTo>
                    <a:pt x="5013" y="1465"/>
                  </a:lnTo>
                  <a:cubicBezTo>
                    <a:pt x="5025" y="1525"/>
                    <a:pt x="5073" y="1584"/>
                    <a:pt x="5144" y="1596"/>
                  </a:cubicBezTo>
                  <a:cubicBezTo>
                    <a:pt x="5370" y="1656"/>
                    <a:pt x="5585" y="1751"/>
                    <a:pt x="5775" y="1870"/>
                  </a:cubicBezTo>
                  <a:cubicBezTo>
                    <a:pt x="5805" y="1882"/>
                    <a:pt x="5838" y="1888"/>
                    <a:pt x="5870" y="1888"/>
                  </a:cubicBezTo>
                  <a:cubicBezTo>
                    <a:pt x="5903" y="1888"/>
                    <a:pt x="5936" y="1882"/>
                    <a:pt x="5966" y="1870"/>
                  </a:cubicBezTo>
                  <a:lnTo>
                    <a:pt x="6775" y="1334"/>
                  </a:lnTo>
                  <a:cubicBezTo>
                    <a:pt x="6806" y="1309"/>
                    <a:pt x="6846" y="1296"/>
                    <a:pt x="6886" y="1296"/>
                  </a:cubicBezTo>
                  <a:cubicBezTo>
                    <a:pt x="6938" y="1296"/>
                    <a:pt x="6991" y="1317"/>
                    <a:pt x="7025" y="1358"/>
                  </a:cubicBezTo>
                  <a:lnTo>
                    <a:pt x="7394" y="1727"/>
                  </a:lnTo>
                  <a:cubicBezTo>
                    <a:pt x="7466" y="1810"/>
                    <a:pt x="7466" y="1906"/>
                    <a:pt x="7430" y="1989"/>
                  </a:cubicBezTo>
                  <a:lnTo>
                    <a:pt x="6894" y="2787"/>
                  </a:lnTo>
                  <a:cubicBezTo>
                    <a:pt x="6847" y="2846"/>
                    <a:pt x="6847" y="2918"/>
                    <a:pt x="6894" y="2977"/>
                  </a:cubicBezTo>
                  <a:cubicBezTo>
                    <a:pt x="7013" y="3180"/>
                    <a:pt x="7085" y="3394"/>
                    <a:pt x="7156" y="3608"/>
                  </a:cubicBezTo>
                  <a:cubicBezTo>
                    <a:pt x="7168" y="3668"/>
                    <a:pt x="7228" y="3727"/>
                    <a:pt x="7287" y="3739"/>
                  </a:cubicBezTo>
                  <a:lnTo>
                    <a:pt x="8240" y="3930"/>
                  </a:lnTo>
                  <a:cubicBezTo>
                    <a:pt x="8335" y="3954"/>
                    <a:pt x="8406" y="4037"/>
                    <a:pt x="8406" y="4132"/>
                  </a:cubicBezTo>
                  <a:lnTo>
                    <a:pt x="8406" y="4644"/>
                  </a:lnTo>
                  <a:cubicBezTo>
                    <a:pt x="8406" y="4739"/>
                    <a:pt x="8335" y="4823"/>
                    <a:pt x="8240" y="4847"/>
                  </a:cubicBezTo>
                  <a:lnTo>
                    <a:pt x="7287" y="5037"/>
                  </a:lnTo>
                  <a:cubicBezTo>
                    <a:pt x="7228" y="5049"/>
                    <a:pt x="7168" y="5097"/>
                    <a:pt x="7156" y="5168"/>
                  </a:cubicBezTo>
                  <a:cubicBezTo>
                    <a:pt x="7109" y="5335"/>
                    <a:pt x="7049" y="5478"/>
                    <a:pt x="6978" y="5632"/>
                  </a:cubicBezTo>
                  <a:cubicBezTo>
                    <a:pt x="6930" y="5716"/>
                    <a:pt x="6978" y="5823"/>
                    <a:pt x="7073" y="5871"/>
                  </a:cubicBezTo>
                  <a:cubicBezTo>
                    <a:pt x="7095" y="5883"/>
                    <a:pt x="7119" y="5889"/>
                    <a:pt x="7143" y="5889"/>
                  </a:cubicBezTo>
                  <a:cubicBezTo>
                    <a:pt x="7209" y="5889"/>
                    <a:pt x="7276" y="5845"/>
                    <a:pt x="7311" y="5775"/>
                  </a:cubicBezTo>
                  <a:cubicBezTo>
                    <a:pt x="7370" y="5644"/>
                    <a:pt x="7430" y="5513"/>
                    <a:pt x="7466" y="5359"/>
                  </a:cubicBezTo>
                  <a:lnTo>
                    <a:pt x="8323" y="5204"/>
                  </a:lnTo>
                  <a:cubicBezTo>
                    <a:pt x="8585" y="5144"/>
                    <a:pt x="8763" y="4918"/>
                    <a:pt x="8763" y="4644"/>
                  </a:cubicBezTo>
                  <a:lnTo>
                    <a:pt x="8763" y="4132"/>
                  </a:lnTo>
                  <a:cubicBezTo>
                    <a:pt x="8763" y="3858"/>
                    <a:pt x="8573" y="3632"/>
                    <a:pt x="8323" y="3573"/>
                  </a:cubicBezTo>
                  <a:lnTo>
                    <a:pt x="7466" y="3406"/>
                  </a:lnTo>
                  <a:cubicBezTo>
                    <a:pt x="7406" y="3227"/>
                    <a:pt x="7347" y="3073"/>
                    <a:pt x="7263" y="2906"/>
                  </a:cubicBezTo>
                  <a:lnTo>
                    <a:pt x="7740" y="2191"/>
                  </a:lnTo>
                  <a:cubicBezTo>
                    <a:pt x="7882" y="1965"/>
                    <a:pt x="7859" y="1668"/>
                    <a:pt x="7668" y="1477"/>
                  </a:cubicBezTo>
                  <a:lnTo>
                    <a:pt x="7287" y="1108"/>
                  </a:lnTo>
                  <a:cubicBezTo>
                    <a:pt x="7177" y="998"/>
                    <a:pt x="7032" y="940"/>
                    <a:pt x="6885" y="940"/>
                  </a:cubicBezTo>
                  <a:cubicBezTo>
                    <a:pt x="6777" y="940"/>
                    <a:pt x="6668" y="971"/>
                    <a:pt x="6573" y="1037"/>
                  </a:cubicBezTo>
                  <a:lnTo>
                    <a:pt x="5858" y="1513"/>
                  </a:lnTo>
                  <a:cubicBezTo>
                    <a:pt x="5704" y="1418"/>
                    <a:pt x="5537" y="1358"/>
                    <a:pt x="5358" y="1299"/>
                  </a:cubicBezTo>
                  <a:lnTo>
                    <a:pt x="5192" y="453"/>
                  </a:lnTo>
                  <a:cubicBezTo>
                    <a:pt x="5132" y="179"/>
                    <a:pt x="4906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0" name="Google Shape;13360;p64"/>
            <p:cNvSpPr/>
            <p:nvPr/>
          </p:nvSpPr>
          <p:spPr>
            <a:xfrm>
              <a:off x="6161507" y="2967679"/>
              <a:ext cx="111851" cy="97432"/>
            </a:xfrm>
            <a:custGeom>
              <a:avLst/>
              <a:gdLst/>
              <a:ahLst/>
              <a:cxnLst/>
              <a:rect l="l" t="t" r="r" b="b"/>
              <a:pathLst>
                <a:path w="3514" h="3061" extrusionOk="0">
                  <a:moveTo>
                    <a:pt x="1489" y="1"/>
                  </a:moveTo>
                  <a:cubicBezTo>
                    <a:pt x="965" y="1"/>
                    <a:pt x="465" y="215"/>
                    <a:pt x="84" y="584"/>
                  </a:cubicBezTo>
                  <a:cubicBezTo>
                    <a:pt x="1" y="656"/>
                    <a:pt x="1" y="763"/>
                    <a:pt x="84" y="834"/>
                  </a:cubicBezTo>
                  <a:cubicBezTo>
                    <a:pt x="120" y="870"/>
                    <a:pt x="164" y="888"/>
                    <a:pt x="209" y="888"/>
                  </a:cubicBezTo>
                  <a:cubicBezTo>
                    <a:pt x="254" y="888"/>
                    <a:pt x="298" y="870"/>
                    <a:pt x="334" y="834"/>
                  </a:cubicBezTo>
                  <a:cubicBezTo>
                    <a:pt x="644" y="537"/>
                    <a:pt x="1060" y="358"/>
                    <a:pt x="1489" y="358"/>
                  </a:cubicBezTo>
                  <a:cubicBezTo>
                    <a:pt x="2418" y="358"/>
                    <a:pt x="3168" y="1108"/>
                    <a:pt x="3168" y="2025"/>
                  </a:cubicBezTo>
                  <a:cubicBezTo>
                    <a:pt x="3168" y="2299"/>
                    <a:pt x="3096" y="2549"/>
                    <a:pt x="2989" y="2787"/>
                  </a:cubicBezTo>
                  <a:cubicBezTo>
                    <a:pt x="2930" y="2894"/>
                    <a:pt x="2953" y="2989"/>
                    <a:pt x="3049" y="3037"/>
                  </a:cubicBezTo>
                  <a:cubicBezTo>
                    <a:pt x="3073" y="3061"/>
                    <a:pt x="3108" y="3061"/>
                    <a:pt x="3132" y="3061"/>
                  </a:cubicBezTo>
                  <a:cubicBezTo>
                    <a:pt x="3192" y="3061"/>
                    <a:pt x="3263" y="3025"/>
                    <a:pt x="3299" y="2954"/>
                  </a:cubicBezTo>
                  <a:cubicBezTo>
                    <a:pt x="3442" y="2668"/>
                    <a:pt x="3513" y="2358"/>
                    <a:pt x="3513" y="2025"/>
                  </a:cubicBezTo>
                  <a:cubicBezTo>
                    <a:pt x="3513" y="906"/>
                    <a:pt x="2608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1" name="Google Shape;13361;p64"/>
            <p:cNvSpPr/>
            <p:nvPr/>
          </p:nvSpPr>
          <p:spPr>
            <a:xfrm>
              <a:off x="6144828" y="3007848"/>
              <a:ext cx="105389" cy="88742"/>
            </a:xfrm>
            <a:custGeom>
              <a:avLst/>
              <a:gdLst/>
              <a:ahLst/>
              <a:cxnLst/>
              <a:rect l="l" t="t" r="r" b="b"/>
              <a:pathLst>
                <a:path w="3311" h="2788" extrusionOk="0">
                  <a:moveTo>
                    <a:pt x="262" y="1"/>
                  </a:moveTo>
                  <a:cubicBezTo>
                    <a:pt x="194" y="1"/>
                    <a:pt x="124" y="44"/>
                    <a:pt x="96" y="108"/>
                  </a:cubicBezTo>
                  <a:cubicBezTo>
                    <a:pt x="25" y="323"/>
                    <a:pt x="1" y="549"/>
                    <a:pt x="1" y="763"/>
                  </a:cubicBezTo>
                  <a:cubicBezTo>
                    <a:pt x="1" y="1882"/>
                    <a:pt x="906" y="2787"/>
                    <a:pt x="2013" y="2787"/>
                  </a:cubicBezTo>
                  <a:cubicBezTo>
                    <a:pt x="2454" y="2787"/>
                    <a:pt x="2846" y="2656"/>
                    <a:pt x="3204" y="2406"/>
                  </a:cubicBezTo>
                  <a:cubicBezTo>
                    <a:pt x="3287" y="2347"/>
                    <a:pt x="3311" y="2239"/>
                    <a:pt x="3251" y="2156"/>
                  </a:cubicBezTo>
                  <a:cubicBezTo>
                    <a:pt x="3214" y="2104"/>
                    <a:pt x="3159" y="2075"/>
                    <a:pt x="3102" y="2075"/>
                  </a:cubicBezTo>
                  <a:cubicBezTo>
                    <a:pt x="3068" y="2075"/>
                    <a:pt x="3033" y="2086"/>
                    <a:pt x="3001" y="2108"/>
                  </a:cubicBezTo>
                  <a:cubicBezTo>
                    <a:pt x="2715" y="2311"/>
                    <a:pt x="2370" y="2418"/>
                    <a:pt x="2037" y="2418"/>
                  </a:cubicBezTo>
                  <a:cubicBezTo>
                    <a:pt x="1108" y="2418"/>
                    <a:pt x="370" y="1680"/>
                    <a:pt x="370" y="751"/>
                  </a:cubicBezTo>
                  <a:cubicBezTo>
                    <a:pt x="370" y="573"/>
                    <a:pt x="394" y="382"/>
                    <a:pt x="453" y="215"/>
                  </a:cubicBezTo>
                  <a:cubicBezTo>
                    <a:pt x="477" y="144"/>
                    <a:pt x="406" y="37"/>
                    <a:pt x="322" y="13"/>
                  </a:cubicBezTo>
                  <a:cubicBezTo>
                    <a:pt x="303" y="5"/>
                    <a:pt x="28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2" name="Google Shape;13362;p64"/>
            <p:cNvSpPr/>
            <p:nvPr/>
          </p:nvSpPr>
          <p:spPr>
            <a:xfrm>
              <a:off x="6245633" y="3069248"/>
              <a:ext cx="186110" cy="186874"/>
            </a:xfrm>
            <a:custGeom>
              <a:avLst/>
              <a:gdLst/>
              <a:ahLst/>
              <a:cxnLst/>
              <a:rect l="l" t="t" r="r" b="b"/>
              <a:pathLst>
                <a:path w="5847" h="5871" extrusionOk="0">
                  <a:moveTo>
                    <a:pt x="2751" y="1"/>
                  </a:moveTo>
                  <a:cubicBezTo>
                    <a:pt x="2549" y="1"/>
                    <a:pt x="2370" y="144"/>
                    <a:pt x="2335" y="346"/>
                  </a:cubicBezTo>
                  <a:lnTo>
                    <a:pt x="2227" y="858"/>
                  </a:lnTo>
                  <a:cubicBezTo>
                    <a:pt x="2144" y="894"/>
                    <a:pt x="2037" y="941"/>
                    <a:pt x="1965" y="977"/>
                  </a:cubicBezTo>
                  <a:lnTo>
                    <a:pt x="1513" y="680"/>
                  </a:lnTo>
                  <a:cubicBezTo>
                    <a:pt x="1449" y="631"/>
                    <a:pt x="1372" y="608"/>
                    <a:pt x="1293" y="608"/>
                  </a:cubicBezTo>
                  <a:cubicBezTo>
                    <a:pt x="1179" y="608"/>
                    <a:pt x="1061" y="655"/>
                    <a:pt x="977" y="739"/>
                  </a:cubicBezTo>
                  <a:lnTo>
                    <a:pt x="739" y="977"/>
                  </a:lnTo>
                  <a:cubicBezTo>
                    <a:pt x="596" y="1132"/>
                    <a:pt x="584" y="1346"/>
                    <a:pt x="680" y="1513"/>
                  </a:cubicBezTo>
                  <a:lnTo>
                    <a:pt x="977" y="1965"/>
                  </a:lnTo>
                  <a:cubicBezTo>
                    <a:pt x="918" y="2084"/>
                    <a:pt x="882" y="2215"/>
                    <a:pt x="834" y="2346"/>
                  </a:cubicBezTo>
                  <a:cubicBezTo>
                    <a:pt x="799" y="2442"/>
                    <a:pt x="858" y="2537"/>
                    <a:pt x="953" y="2573"/>
                  </a:cubicBezTo>
                  <a:cubicBezTo>
                    <a:pt x="968" y="2579"/>
                    <a:pt x="984" y="2582"/>
                    <a:pt x="1000" y="2582"/>
                  </a:cubicBezTo>
                  <a:cubicBezTo>
                    <a:pt x="1073" y="2582"/>
                    <a:pt x="1150" y="2522"/>
                    <a:pt x="1180" y="2454"/>
                  </a:cubicBezTo>
                  <a:cubicBezTo>
                    <a:pt x="1215" y="2323"/>
                    <a:pt x="1263" y="2192"/>
                    <a:pt x="1334" y="2049"/>
                  </a:cubicBezTo>
                  <a:cubicBezTo>
                    <a:pt x="1370" y="1989"/>
                    <a:pt x="1370" y="1918"/>
                    <a:pt x="1334" y="1858"/>
                  </a:cubicBezTo>
                  <a:lnTo>
                    <a:pt x="977" y="1322"/>
                  </a:lnTo>
                  <a:cubicBezTo>
                    <a:pt x="965" y="1287"/>
                    <a:pt x="965" y="1263"/>
                    <a:pt x="1001" y="1239"/>
                  </a:cubicBezTo>
                  <a:lnTo>
                    <a:pt x="1239" y="989"/>
                  </a:lnTo>
                  <a:cubicBezTo>
                    <a:pt x="1253" y="975"/>
                    <a:pt x="1271" y="969"/>
                    <a:pt x="1288" y="969"/>
                  </a:cubicBezTo>
                  <a:cubicBezTo>
                    <a:pt x="1301" y="969"/>
                    <a:pt x="1313" y="972"/>
                    <a:pt x="1322" y="977"/>
                  </a:cubicBezTo>
                  <a:lnTo>
                    <a:pt x="1858" y="1334"/>
                  </a:lnTo>
                  <a:cubicBezTo>
                    <a:pt x="1888" y="1358"/>
                    <a:pt x="1921" y="1370"/>
                    <a:pt x="1954" y="1370"/>
                  </a:cubicBezTo>
                  <a:cubicBezTo>
                    <a:pt x="1986" y="1370"/>
                    <a:pt x="2019" y="1358"/>
                    <a:pt x="2049" y="1334"/>
                  </a:cubicBezTo>
                  <a:cubicBezTo>
                    <a:pt x="2168" y="1263"/>
                    <a:pt x="2323" y="1203"/>
                    <a:pt x="2454" y="1168"/>
                  </a:cubicBezTo>
                  <a:cubicBezTo>
                    <a:pt x="2513" y="1156"/>
                    <a:pt x="2573" y="1096"/>
                    <a:pt x="2585" y="1037"/>
                  </a:cubicBezTo>
                  <a:lnTo>
                    <a:pt x="2704" y="418"/>
                  </a:lnTo>
                  <a:cubicBezTo>
                    <a:pt x="2704" y="382"/>
                    <a:pt x="2739" y="358"/>
                    <a:pt x="2775" y="358"/>
                  </a:cubicBezTo>
                  <a:lnTo>
                    <a:pt x="3120" y="358"/>
                  </a:lnTo>
                  <a:cubicBezTo>
                    <a:pt x="3156" y="358"/>
                    <a:pt x="3180" y="382"/>
                    <a:pt x="3192" y="418"/>
                  </a:cubicBezTo>
                  <a:lnTo>
                    <a:pt x="3311" y="1037"/>
                  </a:lnTo>
                  <a:cubicBezTo>
                    <a:pt x="3335" y="1096"/>
                    <a:pt x="3370" y="1156"/>
                    <a:pt x="3454" y="1168"/>
                  </a:cubicBezTo>
                  <a:cubicBezTo>
                    <a:pt x="3585" y="1215"/>
                    <a:pt x="3716" y="1263"/>
                    <a:pt x="3847" y="1334"/>
                  </a:cubicBezTo>
                  <a:cubicBezTo>
                    <a:pt x="3882" y="1352"/>
                    <a:pt x="3918" y="1361"/>
                    <a:pt x="3952" y="1361"/>
                  </a:cubicBezTo>
                  <a:cubicBezTo>
                    <a:pt x="3987" y="1361"/>
                    <a:pt x="4019" y="1352"/>
                    <a:pt x="4049" y="1334"/>
                  </a:cubicBezTo>
                  <a:lnTo>
                    <a:pt x="4585" y="977"/>
                  </a:lnTo>
                  <a:cubicBezTo>
                    <a:pt x="4595" y="972"/>
                    <a:pt x="4607" y="969"/>
                    <a:pt x="4619" y="969"/>
                  </a:cubicBezTo>
                  <a:cubicBezTo>
                    <a:pt x="4636" y="969"/>
                    <a:pt x="4654" y="975"/>
                    <a:pt x="4668" y="989"/>
                  </a:cubicBezTo>
                  <a:lnTo>
                    <a:pt x="4906" y="1239"/>
                  </a:lnTo>
                  <a:cubicBezTo>
                    <a:pt x="4942" y="1263"/>
                    <a:pt x="4942" y="1287"/>
                    <a:pt x="4918" y="1322"/>
                  </a:cubicBezTo>
                  <a:lnTo>
                    <a:pt x="4561" y="1858"/>
                  </a:lnTo>
                  <a:cubicBezTo>
                    <a:pt x="4525" y="1918"/>
                    <a:pt x="4525" y="1989"/>
                    <a:pt x="4561" y="2049"/>
                  </a:cubicBezTo>
                  <a:cubicBezTo>
                    <a:pt x="4644" y="2168"/>
                    <a:pt x="4704" y="2323"/>
                    <a:pt x="4728" y="2454"/>
                  </a:cubicBezTo>
                  <a:cubicBezTo>
                    <a:pt x="4740" y="2513"/>
                    <a:pt x="4799" y="2573"/>
                    <a:pt x="4859" y="2585"/>
                  </a:cubicBezTo>
                  <a:lnTo>
                    <a:pt x="5490" y="2704"/>
                  </a:lnTo>
                  <a:cubicBezTo>
                    <a:pt x="5513" y="2704"/>
                    <a:pt x="5549" y="2739"/>
                    <a:pt x="5549" y="2775"/>
                  </a:cubicBezTo>
                  <a:lnTo>
                    <a:pt x="5549" y="3120"/>
                  </a:lnTo>
                  <a:cubicBezTo>
                    <a:pt x="5549" y="3156"/>
                    <a:pt x="5513" y="3180"/>
                    <a:pt x="5490" y="3192"/>
                  </a:cubicBezTo>
                  <a:lnTo>
                    <a:pt x="4859" y="3311"/>
                  </a:lnTo>
                  <a:cubicBezTo>
                    <a:pt x="4799" y="3335"/>
                    <a:pt x="4740" y="3370"/>
                    <a:pt x="4728" y="3454"/>
                  </a:cubicBezTo>
                  <a:cubicBezTo>
                    <a:pt x="4680" y="3585"/>
                    <a:pt x="4644" y="3716"/>
                    <a:pt x="4561" y="3847"/>
                  </a:cubicBezTo>
                  <a:cubicBezTo>
                    <a:pt x="4537" y="3906"/>
                    <a:pt x="4537" y="3989"/>
                    <a:pt x="4561" y="4049"/>
                  </a:cubicBezTo>
                  <a:lnTo>
                    <a:pt x="4918" y="4585"/>
                  </a:lnTo>
                  <a:cubicBezTo>
                    <a:pt x="4942" y="4609"/>
                    <a:pt x="4942" y="4644"/>
                    <a:pt x="4906" y="4668"/>
                  </a:cubicBezTo>
                  <a:lnTo>
                    <a:pt x="4668" y="4906"/>
                  </a:lnTo>
                  <a:cubicBezTo>
                    <a:pt x="4655" y="4926"/>
                    <a:pt x="4638" y="4935"/>
                    <a:pt x="4622" y="4935"/>
                  </a:cubicBezTo>
                  <a:cubicBezTo>
                    <a:pt x="4609" y="4935"/>
                    <a:pt x="4595" y="4929"/>
                    <a:pt x="4585" y="4918"/>
                  </a:cubicBezTo>
                  <a:lnTo>
                    <a:pt x="4049" y="4561"/>
                  </a:lnTo>
                  <a:cubicBezTo>
                    <a:pt x="4019" y="4543"/>
                    <a:pt x="3984" y="4534"/>
                    <a:pt x="3948" y="4534"/>
                  </a:cubicBezTo>
                  <a:cubicBezTo>
                    <a:pt x="3912" y="4534"/>
                    <a:pt x="3876" y="4543"/>
                    <a:pt x="3847" y="4561"/>
                  </a:cubicBezTo>
                  <a:cubicBezTo>
                    <a:pt x="3728" y="4644"/>
                    <a:pt x="3585" y="4704"/>
                    <a:pt x="3454" y="4728"/>
                  </a:cubicBezTo>
                  <a:cubicBezTo>
                    <a:pt x="3394" y="4751"/>
                    <a:pt x="3335" y="4811"/>
                    <a:pt x="3311" y="4859"/>
                  </a:cubicBezTo>
                  <a:lnTo>
                    <a:pt x="3192" y="5490"/>
                  </a:lnTo>
                  <a:cubicBezTo>
                    <a:pt x="3192" y="5525"/>
                    <a:pt x="3168" y="5549"/>
                    <a:pt x="3120" y="5549"/>
                  </a:cubicBezTo>
                  <a:lnTo>
                    <a:pt x="2775" y="5549"/>
                  </a:lnTo>
                  <a:cubicBezTo>
                    <a:pt x="2751" y="5549"/>
                    <a:pt x="2716" y="5513"/>
                    <a:pt x="2704" y="5490"/>
                  </a:cubicBezTo>
                  <a:lnTo>
                    <a:pt x="2585" y="4859"/>
                  </a:lnTo>
                  <a:cubicBezTo>
                    <a:pt x="2573" y="4811"/>
                    <a:pt x="2525" y="4751"/>
                    <a:pt x="2454" y="4728"/>
                  </a:cubicBezTo>
                  <a:cubicBezTo>
                    <a:pt x="2323" y="4692"/>
                    <a:pt x="2180" y="4644"/>
                    <a:pt x="2049" y="4561"/>
                  </a:cubicBezTo>
                  <a:cubicBezTo>
                    <a:pt x="2019" y="4549"/>
                    <a:pt x="1986" y="4543"/>
                    <a:pt x="1954" y="4543"/>
                  </a:cubicBezTo>
                  <a:cubicBezTo>
                    <a:pt x="1921" y="4543"/>
                    <a:pt x="1888" y="4549"/>
                    <a:pt x="1858" y="4561"/>
                  </a:cubicBezTo>
                  <a:lnTo>
                    <a:pt x="1322" y="4918"/>
                  </a:lnTo>
                  <a:cubicBezTo>
                    <a:pt x="1306" y="4929"/>
                    <a:pt x="1293" y="4935"/>
                    <a:pt x="1280" y="4935"/>
                  </a:cubicBezTo>
                  <a:cubicBezTo>
                    <a:pt x="1265" y="4935"/>
                    <a:pt x="1252" y="4926"/>
                    <a:pt x="1239" y="4906"/>
                  </a:cubicBezTo>
                  <a:lnTo>
                    <a:pt x="1001" y="4668"/>
                  </a:lnTo>
                  <a:cubicBezTo>
                    <a:pt x="965" y="4644"/>
                    <a:pt x="965" y="4609"/>
                    <a:pt x="977" y="4585"/>
                  </a:cubicBezTo>
                  <a:lnTo>
                    <a:pt x="1334" y="4049"/>
                  </a:lnTo>
                  <a:cubicBezTo>
                    <a:pt x="1382" y="3989"/>
                    <a:pt x="1382" y="3906"/>
                    <a:pt x="1334" y="3847"/>
                  </a:cubicBezTo>
                  <a:cubicBezTo>
                    <a:pt x="1263" y="3728"/>
                    <a:pt x="1203" y="3585"/>
                    <a:pt x="1180" y="3454"/>
                  </a:cubicBezTo>
                  <a:cubicBezTo>
                    <a:pt x="1156" y="3394"/>
                    <a:pt x="1096" y="3335"/>
                    <a:pt x="1037" y="3311"/>
                  </a:cubicBezTo>
                  <a:lnTo>
                    <a:pt x="418" y="3192"/>
                  </a:lnTo>
                  <a:cubicBezTo>
                    <a:pt x="382" y="3192"/>
                    <a:pt x="358" y="3168"/>
                    <a:pt x="358" y="3120"/>
                  </a:cubicBezTo>
                  <a:lnTo>
                    <a:pt x="358" y="2775"/>
                  </a:lnTo>
                  <a:cubicBezTo>
                    <a:pt x="358" y="2751"/>
                    <a:pt x="382" y="2727"/>
                    <a:pt x="418" y="2704"/>
                  </a:cubicBezTo>
                  <a:lnTo>
                    <a:pt x="465" y="2692"/>
                  </a:lnTo>
                  <a:cubicBezTo>
                    <a:pt x="560" y="2680"/>
                    <a:pt x="620" y="2573"/>
                    <a:pt x="596" y="2477"/>
                  </a:cubicBezTo>
                  <a:cubicBezTo>
                    <a:pt x="586" y="2396"/>
                    <a:pt x="507" y="2341"/>
                    <a:pt x="425" y="2341"/>
                  </a:cubicBezTo>
                  <a:cubicBezTo>
                    <a:pt x="411" y="2341"/>
                    <a:pt x="396" y="2343"/>
                    <a:pt x="382" y="2346"/>
                  </a:cubicBezTo>
                  <a:lnTo>
                    <a:pt x="346" y="2370"/>
                  </a:lnTo>
                  <a:cubicBezTo>
                    <a:pt x="144" y="2406"/>
                    <a:pt x="1" y="2585"/>
                    <a:pt x="1" y="2775"/>
                  </a:cubicBezTo>
                  <a:lnTo>
                    <a:pt x="1" y="3120"/>
                  </a:lnTo>
                  <a:cubicBezTo>
                    <a:pt x="1" y="3335"/>
                    <a:pt x="144" y="3513"/>
                    <a:pt x="346" y="3537"/>
                  </a:cubicBezTo>
                  <a:lnTo>
                    <a:pt x="858" y="3644"/>
                  </a:lnTo>
                  <a:cubicBezTo>
                    <a:pt x="894" y="3728"/>
                    <a:pt x="941" y="3835"/>
                    <a:pt x="977" y="3906"/>
                  </a:cubicBezTo>
                  <a:lnTo>
                    <a:pt x="680" y="4359"/>
                  </a:lnTo>
                  <a:cubicBezTo>
                    <a:pt x="560" y="4525"/>
                    <a:pt x="596" y="4763"/>
                    <a:pt x="739" y="4894"/>
                  </a:cubicBezTo>
                  <a:lnTo>
                    <a:pt x="977" y="5132"/>
                  </a:lnTo>
                  <a:cubicBezTo>
                    <a:pt x="1067" y="5216"/>
                    <a:pt x="1182" y="5259"/>
                    <a:pt x="1292" y="5259"/>
                  </a:cubicBezTo>
                  <a:cubicBezTo>
                    <a:pt x="1371" y="5259"/>
                    <a:pt x="1448" y="5237"/>
                    <a:pt x="1513" y="5192"/>
                  </a:cubicBezTo>
                  <a:lnTo>
                    <a:pt x="1965" y="4894"/>
                  </a:lnTo>
                  <a:cubicBezTo>
                    <a:pt x="2049" y="4942"/>
                    <a:pt x="2144" y="4978"/>
                    <a:pt x="2227" y="5013"/>
                  </a:cubicBezTo>
                  <a:lnTo>
                    <a:pt x="2335" y="5537"/>
                  </a:lnTo>
                  <a:cubicBezTo>
                    <a:pt x="2382" y="5728"/>
                    <a:pt x="2561" y="5871"/>
                    <a:pt x="2751" y="5871"/>
                  </a:cubicBezTo>
                  <a:lnTo>
                    <a:pt x="3097" y="5871"/>
                  </a:lnTo>
                  <a:cubicBezTo>
                    <a:pt x="3299" y="5871"/>
                    <a:pt x="3478" y="5728"/>
                    <a:pt x="3513" y="5537"/>
                  </a:cubicBezTo>
                  <a:lnTo>
                    <a:pt x="3620" y="5013"/>
                  </a:lnTo>
                  <a:cubicBezTo>
                    <a:pt x="3704" y="4978"/>
                    <a:pt x="3811" y="4942"/>
                    <a:pt x="3882" y="4894"/>
                  </a:cubicBezTo>
                  <a:lnTo>
                    <a:pt x="4323" y="5192"/>
                  </a:lnTo>
                  <a:cubicBezTo>
                    <a:pt x="4391" y="5241"/>
                    <a:pt x="4472" y="5264"/>
                    <a:pt x="4552" y="5264"/>
                  </a:cubicBezTo>
                  <a:cubicBezTo>
                    <a:pt x="4667" y="5264"/>
                    <a:pt x="4781" y="5217"/>
                    <a:pt x="4859" y="5132"/>
                  </a:cubicBezTo>
                  <a:lnTo>
                    <a:pt x="5097" y="4894"/>
                  </a:lnTo>
                  <a:cubicBezTo>
                    <a:pt x="5252" y="4740"/>
                    <a:pt x="5263" y="4525"/>
                    <a:pt x="5156" y="4359"/>
                  </a:cubicBezTo>
                  <a:lnTo>
                    <a:pt x="4859" y="3906"/>
                  </a:lnTo>
                  <a:cubicBezTo>
                    <a:pt x="4906" y="3823"/>
                    <a:pt x="4954" y="3728"/>
                    <a:pt x="4978" y="3644"/>
                  </a:cubicBezTo>
                  <a:lnTo>
                    <a:pt x="5502" y="3537"/>
                  </a:lnTo>
                  <a:cubicBezTo>
                    <a:pt x="5692" y="3489"/>
                    <a:pt x="5847" y="3311"/>
                    <a:pt x="5847" y="3120"/>
                  </a:cubicBezTo>
                  <a:lnTo>
                    <a:pt x="5847" y="2775"/>
                  </a:lnTo>
                  <a:cubicBezTo>
                    <a:pt x="5847" y="2549"/>
                    <a:pt x="5716" y="2382"/>
                    <a:pt x="5502" y="2334"/>
                  </a:cubicBezTo>
                  <a:lnTo>
                    <a:pt x="4990" y="2227"/>
                  </a:lnTo>
                  <a:cubicBezTo>
                    <a:pt x="4954" y="2144"/>
                    <a:pt x="4906" y="2037"/>
                    <a:pt x="4871" y="1965"/>
                  </a:cubicBezTo>
                  <a:lnTo>
                    <a:pt x="5168" y="1513"/>
                  </a:lnTo>
                  <a:cubicBezTo>
                    <a:pt x="5287" y="1346"/>
                    <a:pt x="5252" y="1108"/>
                    <a:pt x="5109" y="977"/>
                  </a:cubicBezTo>
                  <a:lnTo>
                    <a:pt x="4871" y="739"/>
                  </a:lnTo>
                  <a:cubicBezTo>
                    <a:pt x="4780" y="656"/>
                    <a:pt x="4666" y="613"/>
                    <a:pt x="4555" y="613"/>
                  </a:cubicBezTo>
                  <a:cubicBezTo>
                    <a:pt x="4476" y="613"/>
                    <a:pt x="4399" y="635"/>
                    <a:pt x="4335" y="680"/>
                  </a:cubicBezTo>
                  <a:lnTo>
                    <a:pt x="3882" y="977"/>
                  </a:lnTo>
                  <a:cubicBezTo>
                    <a:pt x="3799" y="941"/>
                    <a:pt x="3704" y="894"/>
                    <a:pt x="3620" y="858"/>
                  </a:cubicBezTo>
                  <a:lnTo>
                    <a:pt x="3513" y="346"/>
                  </a:lnTo>
                  <a:cubicBezTo>
                    <a:pt x="3466" y="144"/>
                    <a:pt x="3287" y="1"/>
                    <a:pt x="3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3" name="Google Shape;13363;p64"/>
            <p:cNvSpPr/>
            <p:nvPr/>
          </p:nvSpPr>
          <p:spPr>
            <a:xfrm>
              <a:off x="6305888" y="3129884"/>
              <a:ext cx="64488" cy="64456"/>
            </a:xfrm>
            <a:custGeom>
              <a:avLst/>
              <a:gdLst/>
              <a:ahLst/>
              <a:cxnLst/>
              <a:rect l="l" t="t" r="r" b="b"/>
              <a:pathLst>
                <a:path w="2026" h="2025" extrusionOk="0">
                  <a:moveTo>
                    <a:pt x="1013" y="1"/>
                  </a:moveTo>
                  <a:cubicBezTo>
                    <a:pt x="453" y="1"/>
                    <a:pt x="1" y="441"/>
                    <a:pt x="1" y="1013"/>
                  </a:cubicBezTo>
                  <a:cubicBezTo>
                    <a:pt x="1" y="1561"/>
                    <a:pt x="442" y="2025"/>
                    <a:pt x="1013" y="2025"/>
                  </a:cubicBezTo>
                  <a:cubicBezTo>
                    <a:pt x="1227" y="2025"/>
                    <a:pt x="1442" y="1942"/>
                    <a:pt x="1620" y="1811"/>
                  </a:cubicBezTo>
                  <a:cubicBezTo>
                    <a:pt x="1692" y="1751"/>
                    <a:pt x="1704" y="1632"/>
                    <a:pt x="1644" y="1561"/>
                  </a:cubicBezTo>
                  <a:cubicBezTo>
                    <a:pt x="1608" y="1517"/>
                    <a:pt x="1549" y="1491"/>
                    <a:pt x="1493" y="1491"/>
                  </a:cubicBezTo>
                  <a:cubicBezTo>
                    <a:pt x="1457" y="1491"/>
                    <a:pt x="1422" y="1502"/>
                    <a:pt x="1394" y="1525"/>
                  </a:cubicBezTo>
                  <a:cubicBezTo>
                    <a:pt x="1275" y="1620"/>
                    <a:pt x="1144" y="1668"/>
                    <a:pt x="989" y="1668"/>
                  </a:cubicBezTo>
                  <a:cubicBezTo>
                    <a:pt x="632" y="1668"/>
                    <a:pt x="358" y="1370"/>
                    <a:pt x="358" y="1025"/>
                  </a:cubicBezTo>
                  <a:cubicBezTo>
                    <a:pt x="382" y="668"/>
                    <a:pt x="668" y="370"/>
                    <a:pt x="1025" y="370"/>
                  </a:cubicBezTo>
                  <a:cubicBezTo>
                    <a:pt x="1382" y="370"/>
                    <a:pt x="1668" y="668"/>
                    <a:pt x="1668" y="1013"/>
                  </a:cubicBezTo>
                  <a:cubicBezTo>
                    <a:pt x="1668" y="1120"/>
                    <a:pt x="1739" y="1191"/>
                    <a:pt x="1846" y="1191"/>
                  </a:cubicBezTo>
                  <a:cubicBezTo>
                    <a:pt x="1942" y="1191"/>
                    <a:pt x="2025" y="1120"/>
                    <a:pt x="2025" y="1013"/>
                  </a:cubicBezTo>
                  <a:cubicBezTo>
                    <a:pt x="2025" y="453"/>
                    <a:pt x="1573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4" name="Google Shape;13364;p64"/>
            <p:cNvSpPr/>
            <p:nvPr/>
          </p:nvSpPr>
          <p:spPr>
            <a:xfrm>
              <a:off x="6173634" y="2997631"/>
              <a:ext cx="70153" cy="70153"/>
            </a:xfrm>
            <a:custGeom>
              <a:avLst/>
              <a:gdLst/>
              <a:ahLst/>
              <a:cxnLst/>
              <a:rect l="l" t="t" r="r" b="b"/>
              <a:pathLst>
                <a:path w="2204" h="2204" extrusionOk="0">
                  <a:moveTo>
                    <a:pt x="1096" y="370"/>
                  </a:moveTo>
                  <a:cubicBezTo>
                    <a:pt x="1501" y="370"/>
                    <a:pt x="1834" y="703"/>
                    <a:pt x="1834" y="1108"/>
                  </a:cubicBezTo>
                  <a:cubicBezTo>
                    <a:pt x="1834" y="1501"/>
                    <a:pt x="1501" y="1834"/>
                    <a:pt x="1096" y="1834"/>
                  </a:cubicBezTo>
                  <a:cubicBezTo>
                    <a:pt x="691" y="1834"/>
                    <a:pt x="370" y="1501"/>
                    <a:pt x="370" y="1108"/>
                  </a:cubicBezTo>
                  <a:cubicBezTo>
                    <a:pt x="370" y="703"/>
                    <a:pt x="703" y="370"/>
                    <a:pt x="1096" y="370"/>
                  </a:cubicBezTo>
                  <a:close/>
                  <a:moveTo>
                    <a:pt x="1096" y="1"/>
                  </a:moveTo>
                  <a:cubicBezTo>
                    <a:pt x="489" y="1"/>
                    <a:pt x="1" y="489"/>
                    <a:pt x="1" y="1108"/>
                  </a:cubicBezTo>
                  <a:cubicBezTo>
                    <a:pt x="1" y="1715"/>
                    <a:pt x="489" y="2203"/>
                    <a:pt x="1096" y="2203"/>
                  </a:cubicBezTo>
                  <a:cubicBezTo>
                    <a:pt x="1715" y="2191"/>
                    <a:pt x="2203" y="1703"/>
                    <a:pt x="2203" y="1108"/>
                  </a:cubicBezTo>
                  <a:cubicBezTo>
                    <a:pt x="2203" y="489"/>
                    <a:pt x="1715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65" name="Google Shape;13365;p64"/>
          <p:cNvGrpSpPr/>
          <p:nvPr/>
        </p:nvGrpSpPr>
        <p:grpSpPr>
          <a:xfrm>
            <a:off x="6571955" y="2919170"/>
            <a:ext cx="308878" cy="311170"/>
            <a:chOff x="6571955" y="2919170"/>
            <a:chExt cx="308878" cy="311170"/>
          </a:xfrm>
        </p:grpSpPr>
        <p:sp>
          <p:nvSpPr>
            <p:cNvPr id="13366" name="Google Shape;13366;p64"/>
            <p:cNvSpPr/>
            <p:nvPr/>
          </p:nvSpPr>
          <p:spPr>
            <a:xfrm>
              <a:off x="6571955" y="2919170"/>
              <a:ext cx="245982" cy="237675"/>
            </a:xfrm>
            <a:custGeom>
              <a:avLst/>
              <a:gdLst/>
              <a:ahLst/>
              <a:cxnLst/>
              <a:rect l="l" t="t" r="r" b="b"/>
              <a:pathLst>
                <a:path w="7728" h="7467" extrusionOk="0">
                  <a:moveTo>
                    <a:pt x="3084" y="1680"/>
                  </a:moveTo>
                  <a:cubicBezTo>
                    <a:pt x="3405" y="1680"/>
                    <a:pt x="3679" y="1942"/>
                    <a:pt x="3679" y="2275"/>
                  </a:cubicBezTo>
                  <a:lnTo>
                    <a:pt x="3679" y="4049"/>
                  </a:lnTo>
                  <a:cubicBezTo>
                    <a:pt x="3679" y="4371"/>
                    <a:pt x="3405" y="4644"/>
                    <a:pt x="3084" y="4644"/>
                  </a:cubicBezTo>
                  <a:lnTo>
                    <a:pt x="2203" y="4644"/>
                  </a:lnTo>
                  <a:cubicBezTo>
                    <a:pt x="2143" y="4644"/>
                    <a:pt x="2084" y="4680"/>
                    <a:pt x="2072" y="4740"/>
                  </a:cubicBezTo>
                  <a:cubicBezTo>
                    <a:pt x="2060" y="4787"/>
                    <a:pt x="1929" y="5204"/>
                    <a:pt x="2096" y="5490"/>
                  </a:cubicBezTo>
                  <a:cubicBezTo>
                    <a:pt x="2036" y="5478"/>
                    <a:pt x="1977" y="5442"/>
                    <a:pt x="1917" y="5395"/>
                  </a:cubicBezTo>
                  <a:cubicBezTo>
                    <a:pt x="1786" y="5299"/>
                    <a:pt x="1703" y="5073"/>
                    <a:pt x="1679" y="4775"/>
                  </a:cubicBezTo>
                  <a:cubicBezTo>
                    <a:pt x="1679" y="4704"/>
                    <a:pt x="1608" y="4644"/>
                    <a:pt x="1536" y="4644"/>
                  </a:cubicBezTo>
                  <a:lnTo>
                    <a:pt x="822" y="4644"/>
                  </a:lnTo>
                  <a:cubicBezTo>
                    <a:pt x="488" y="4644"/>
                    <a:pt x="226" y="4371"/>
                    <a:pt x="226" y="4049"/>
                  </a:cubicBezTo>
                  <a:lnTo>
                    <a:pt x="226" y="2275"/>
                  </a:lnTo>
                  <a:cubicBezTo>
                    <a:pt x="226" y="1942"/>
                    <a:pt x="488" y="1680"/>
                    <a:pt x="822" y="1680"/>
                  </a:cubicBezTo>
                  <a:close/>
                  <a:moveTo>
                    <a:pt x="2739" y="1"/>
                  </a:moveTo>
                  <a:cubicBezTo>
                    <a:pt x="2334" y="1"/>
                    <a:pt x="2024" y="322"/>
                    <a:pt x="2024" y="715"/>
                  </a:cubicBezTo>
                  <a:lnTo>
                    <a:pt x="2024" y="1382"/>
                  </a:lnTo>
                  <a:lnTo>
                    <a:pt x="881" y="1382"/>
                  </a:lnTo>
                  <a:cubicBezTo>
                    <a:pt x="393" y="1382"/>
                    <a:pt x="0" y="1763"/>
                    <a:pt x="0" y="2263"/>
                  </a:cubicBezTo>
                  <a:lnTo>
                    <a:pt x="0" y="4025"/>
                  </a:lnTo>
                  <a:cubicBezTo>
                    <a:pt x="0" y="4513"/>
                    <a:pt x="393" y="4906"/>
                    <a:pt x="881" y="4906"/>
                  </a:cubicBezTo>
                  <a:lnTo>
                    <a:pt x="1465" y="4906"/>
                  </a:lnTo>
                  <a:cubicBezTo>
                    <a:pt x="1500" y="5240"/>
                    <a:pt x="1619" y="5466"/>
                    <a:pt x="1822" y="5621"/>
                  </a:cubicBezTo>
                  <a:cubicBezTo>
                    <a:pt x="1893" y="5668"/>
                    <a:pt x="1953" y="5704"/>
                    <a:pt x="2024" y="5740"/>
                  </a:cubicBezTo>
                  <a:lnTo>
                    <a:pt x="2024" y="7323"/>
                  </a:lnTo>
                  <a:lnTo>
                    <a:pt x="1977" y="7323"/>
                  </a:lnTo>
                  <a:cubicBezTo>
                    <a:pt x="1977" y="7395"/>
                    <a:pt x="2036" y="7466"/>
                    <a:pt x="2131" y="7466"/>
                  </a:cubicBezTo>
                  <a:cubicBezTo>
                    <a:pt x="2215" y="7466"/>
                    <a:pt x="2274" y="7407"/>
                    <a:pt x="2274" y="7323"/>
                  </a:cubicBezTo>
                  <a:lnTo>
                    <a:pt x="2274" y="5787"/>
                  </a:lnTo>
                  <a:lnTo>
                    <a:pt x="2298" y="5787"/>
                  </a:lnTo>
                  <a:cubicBezTo>
                    <a:pt x="2393" y="5787"/>
                    <a:pt x="2489" y="5776"/>
                    <a:pt x="2548" y="5752"/>
                  </a:cubicBezTo>
                  <a:cubicBezTo>
                    <a:pt x="2620" y="5740"/>
                    <a:pt x="2679" y="5668"/>
                    <a:pt x="2679" y="5597"/>
                  </a:cubicBezTo>
                  <a:cubicBezTo>
                    <a:pt x="2679" y="5514"/>
                    <a:pt x="2620" y="5442"/>
                    <a:pt x="2548" y="5430"/>
                  </a:cubicBezTo>
                  <a:cubicBezTo>
                    <a:pt x="2477" y="5406"/>
                    <a:pt x="2429" y="5383"/>
                    <a:pt x="2393" y="5335"/>
                  </a:cubicBezTo>
                  <a:cubicBezTo>
                    <a:pt x="2322" y="5216"/>
                    <a:pt x="2334" y="5037"/>
                    <a:pt x="2370" y="4906"/>
                  </a:cubicBezTo>
                  <a:lnTo>
                    <a:pt x="3120" y="4906"/>
                  </a:lnTo>
                  <a:cubicBezTo>
                    <a:pt x="3620" y="4906"/>
                    <a:pt x="4001" y="4513"/>
                    <a:pt x="4001" y="4025"/>
                  </a:cubicBezTo>
                  <a:lnTo>
                    <a:pt x="4001" y="2263"/>
                  </a:lnTo>
                  <a:cubicBezTo>
                    <a:pt x="4001" y="1763"/>
                    <a:pt x="3620" y="1382"/>
                    <a:pt x="3120" y="1382"/>
                  </a:cubicBezTo>
                  <a:lnTo>
                    <a:pt x="2298" y="1382"/>
                  </a:lnTo>
                  <a:lnTo>
                    <a:pt x="2298" y="1156"/>
                  </a:lnTo>
                  <a:lnTo>
                    <a:pt x="3024" y="1156"/>
                  </a:lnTo>
                  <a:cubicBezTo>
                    <a:pt x="3096" y="1156"/>
                    <a:pt x="3167" y="1096"/>
                    <a:pt x="3167" y="1013"/>
                  </a:cubicBezTo>
                  <a:cubicBezTo>
                    <a:pt x="3167" y="930"/>
                    <a:pt x="3108" y="858"/>
                    <a:pt x="3024" y="858"/>
                  </a:cubicBezTo>
                  <a:lnTo>
                    <a:pt x="2298" y="858"/>
                  </a:lnTo>
                  <a:lnTo>
                    <a:pt x="2298" y="692"/>
                  </a:lnTo>
                  <a:cubicBezTo>
                    <a:pt x="2298" y="453"/>
                    <a:pt x="2489" y="263"/>
                    <a:pt x="2727" y="263"/>
                  </a:cubicBezTo>
                  <a:lnTo>
                    <a:pt x="7001" y="263"/>
                  </a:lnTo>
                  <a:cubicBezTo>
                    <a:pt x="7239" y="263"/>
                    <a:pt x="7430" y="453"/>
                    <a:pt x="7430" y="692"/>
                  </a:cubicBezTo>
                  <a:lnTo>
                    <a:pt x="7430" y="858"/>
                  </a:lnTo>
                  <a:lnTo>
                    <a:pt x="3632" y="858"/>
                  </a:lnTo>
                  <a:cubicBezTo>
                    <a:pt x="3560" y="858"/>
                    <a:pt x="3489" y="918"/>
                    <a:pt x="3489" y="1013"/>
                  </a:cubicBezTo>
                  <a:cubicBezTo>
                    <a:pt x="3489" y="1084"/>
                    <a:pt x="3548" y="1156"/>
                    <a:pt x="3632" y="1156"/>
                  </a:cubicBezTo>
                  <a:lnTo>
                    <a:pt x="7430" y="1156"/>
                  </a:lnTo>
                  <a:lnTo>
                    <a:pt x="7430" y="1823"/>
                  </a:lnTo>
                  <a:cubicBezTo>
                    <a:pt x="7430" y="1906"/>
                    <a:pt x="7489" y="1977"/>
                    <a:pt x="7573" y="1977"/>
                  </a:cubicBezTo>
                  <a:cubicBezTo>
                    <a:pt x="7656" y="1977"/>
                    <a:pt x="7727" y="1918"/>
                    <a:pt x="7727" y="1823"/>
                  </a:cubicBezTo>
                  <a:lnTo>
                    <a:pt x="7727" y="715"/>
                  </a:lnTo>
                  <a:cubicBezTo>
                    <a:pt x="7727" y="311"/>
                    <a:pt x="7394" y="1"/>
                    <a:pt x="7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7" name="Google Shape;13367;p64"/>
            <p:cNvSpPr/>
            <p:nvPr/>
          </p:nvSpPr>
          <p:spPr>
            <a:xfrm>
              <a:off x="6708760" y="3206436"/>
              <a:ext cx="33740" cy="9517"/>
            </a:xfrm>
            <a:custGeom>
              <a:avLst/>
              <a:gdLst/>
              <a:ahLst/>
              <a:cxnLst/>
              <a:rect l="l" t="t" r="r" b="b"/>
              <a:pathLst>
                <a:path w="1060" h="299" extrusionOk="0">
                  <a:moveTo>
                    <a:pt x="155" y="1"/>
                  </a:moveTo>
                  <a:cubicBezTo>
                    <a:pt x="84" y="1"/>
                    <a:pt x="0" y="60"/>
                    <a:pt x="0" y="156"/>
                  </a:cubicBezTo>
                  <a:cubicBezTo>
                    <a:pt x="0" y="239"/>
                    <a:pt x="60" y="299"/>
                    <a:pt x="155" y="299"/>
                  </a:cubicBezTo>
                  <a:lnTo>
                    <a:pt x="917" y="299"/>
                  </a:lnTo>
                  <a:cubicBezTo>
                    <a:pt x="989" y="299"/>
                    <a:pt x="1060" y="239"/>
                    <a:pt x="1060" y="156"/>
                  </a:cubicBezTo>
                  <a:cubicBezTo>
                    <a:pt x="1060" y="84"/>
                    <a:pt x="1000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8" name="Google Shape;13368;p64"/>
            <p:cNvSpPr/>
            <p:nvPr/>
          </p:nvSpPr>
          <p:spPr>
            <a:xfrm>
              <a:off x="6604549" y="2993079"/>
              <a:ext cx="59904" cy="51565"/>
            </a:xfrm>
            <a:custGeom>
              <a:avLst/>
              <a:gdLst/>
              <a:ahLst/>
              <a:cxnLst/>
              <a:rect l="l" t="t" r="r" b="b"/>
              <a:pathLst>
                <a:path w="1882" h="1620" extrusionOk="0">
                  <a:moveTo>
                    <a:pt x="1346" y="275"/>
                  </a:moveTo>
                  <a:cubicBezTo>
                    <a:pt x="1512" y="275"/>
                    <a:pt x="1596" y="441"/>
                    <a:pt x="1596" y="596"/>
                  </a:cubicBezTo>
                  <a:cubicBezTo>
                    <a:pt x="1596" y="834"/>
                    <a:pt x="1357" y="1096"/>
                    <a:pt x="941" y="1322"/>
                  </a:cubicBezTo>
                  <a:cubicBezTo>
                    <a:pt x="524" y="1096"/>
                    <a:pt x="286" y="834"/>
                    <a:pt x="286" y="596"/>
                  </a:cubicBezTo>
                  <a:cubicBezTo>
                    <a:pt x="286" y="441"/>
                    <a:pt x="381" y="275"/>
                    <a:pt x="536" y="275"/>
                  </a:cubicBezTo>
                  <a:cubicBezTo>
                    <a:pt x="655" y="275"/>
                    <a:pt x="750" y="334"/>
                    <a:pt x="798" y="382"/>
                  </a:cubicBezTo>
                  <a:cubicBezTo>
                    <a:pt x="834" y="429"/>
                    <a:pt x="881" y="441"/>
                    <a:pt x="941" y="441"/>
                  </a:cubicBezTo>
                  <a:cubicBezTo>
                    <a:pt x="1000" y="441"/>
                    <a:pt x="1048" y="406"/>
                    <a:pt x="1095" y="382"/>
                  </a:cubicBezTo>
                  <a:cubicBezTo>
                    <a:pt x="1131" y="334"/>
                    <a:pt x="1226" y="275"/>
                    <a:pt x="1346" y="275"/>
                  </a:cubicBezTo>
                  <a:close/>
                  <a:moveTo>
                    <a:pt x="536" y="1"/>
                  </a:moveTo>
                  <a:cubicBezTo>
                    <a:pt x="238" y="1"/>
                    <a:pt x="0" y="263"/>
                    <a:pt x="0" y="596"/>
                  </a:cubicBezTo>
                  <a:cubicBezTo>
                    <a:pt x="0" y="798"/>
                    <a:pt x="107" y="1215"/>
                    <a:pt x="834" y="1584"/>
                  </a:cubicBezTo>
                  <a:cubicBezTo>
                    <a:pt x="869" y="1608"/>
                    <a:pt x="917" y="1620"/>
                    <a:pt x="941" y="1620"/>
                  </a:cubicBezTo>
                  <a:cubicBezTo>
                    <a:pt x="976" y="1620"/>
                    <a:pt x="1012" y="1608"/>
                    <a:pt x="1048" y="1584"/>
                  </a:cubicBezTo>
                  <a:cubicBezTo>
                    <a:pt x="1762" y="1215"/>
                    <a:pt x="1881" y="798"/>
                    <a:pt x="1881" y="596"/>
                  </a:cubicBezTo>
                  <a:cubicBezTo>
                    <a:pt x="1881" y="263"/>
                    <a:pt x="1643" y="1"/>
                    <a:pt x="1346" y="1"/>
                  </a:cubicBezTo>
                  <a:cubicBezTo>
                    <a:pt x="1167" y="1"/>
                    <a:pt x="1036" y="72"/>
                    <a:pt x="941" y="132"/>
                  </a:cubicBezTo>
                  <a:cubicBezTo>
                    <a:pt x="857" y="72"/>
                    <a:pt x="714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9" name="Google Shape;13369;p64"/>
            <p:cNvSpPr/>
            <p:nvPr/>
          </p:nvSpPr>
          <p:spPr>
            <a:xfrm>
              <a:off x="6634469" y="2991933"/>
              <a:ext cx="246364" cy="238407"/>
            </a:xfrm>
            <a:custGeom>
              <a:avLst/>
              <a:gdLst/>
              <a:ahLst/>
              <a:cxnLst/>
              <a:rect l="l" t="t" r="r" b="b"/>
              <a:pathLst>
                <a:path w="7740" h="7490" extrusionOk="0">
                  <a:moveTo>
                    <a:pt x="6847" y="1727"/>
                  </a:moveTo>
                  <a:cubicBezTo>
                    <a:pt x="7180" y="1727"/>
                    <a:pt x="7442" y="1989"/>
                    <a:pt x="7442" y="2323"/>
                  </a:cubicBezTo>
                  <a:lnTo>
                    <a:pt x="7442" y="4085"/>
                  </a:lnTo>
                  <a:lnTo>
                    <a:pt x="7454" y="4085"/>
                  </a:lnTo>
                  <a:cubicBezTo>
                    <a:pt x="7454" y="4406"/>
                    <a:pt x="7192" y="4680"/>
                    <a:pt x="6859" y="4680"/>
                  </a:cubicBezTo>
                  <a:lnTo>
                    <a:pt x="6144" y="4680"/>
                  </a:lnTo>
                  <a:cubicBezTo>
                    <a:pt x="6073" y="4680"/>
                    <a:pt x="6013" y="4740"/>
                    <a:pt x="6001" y="4811"/>
                  </a:cubicBezTo>
                  <a:cubicBezTo>
                    <a:pt x="5990" y="5121"/>
                    <a:pt x="5894" y="5335"/>
                    <a:pt x="5751" y="5454"/>
                  </a:cubicBezTo>
                  <a:cubicBezTo>
                    <a:pt x="5692" y="5490"/>
                    <a:pt x="5632" y="5525"/>
                    <a:pt x="5573" y="5537"/>
                  </a:cubicBezTo>
                  <a:cubicBezTo>
                    <a:pt x="5728" y="5252"/>
                    <a:pt x="5609" y="4835"/>
                    <a:pt x="5597" y="4799"/>
                  </a:cubicBezTo>
                  <a:cubicBezTo>
                    <a:pt x="5585" y="4740"/>
                    <a:pt x="5525" y="4692"/>
                    <a:pt x="5466" y="4692"/>
                  </a:cubicBezTo>
                  <a:lnTo>
                    <a:pt x="4585" y="4692"/>
                  </a:lnTo>
                  <a:cubicBezTo>
                    <a:pt x="4251" y="4692"/>
                    <a:pt x="3989" y="4418"/>
                    <a:pt x="3989" y="4097"/>
                  </a:cubicBezTo>
                  <a:lnTo>
                    <a:pt x="3989" y="2323"/>
                  </a:lnTo>
                  <a:cubicBezTo>
                    <a:pt x="3989" y="1989"/>
                    <a:pt x="4251" y="1727"/>
                    <a:pt x="4585" y="1727"/>
                  </a:cubicBezTo>
                  <a:close/>
                  <a:moveTo>
                    <a:pt x="5430" y="6609"/>
                  </a:moveTo>
                  <a:lnTo>
                    <a:pt x="5430" y="6776"/>
                  </a:lnTo>
                  <a:cubicBezTo>
                    <a:pt x="5430" y="7014"/>
                    <a:pt x="5239" y="7204"/>
                    <a:pt x="5001" y="7204"/>
                  </a:cubicBezTo>
                  <a:lnTo>
                    <a:pt x="727" y="7204"/>
                  </a:lnTo>
                  <a:cubicBezTo>
                    <a:pt x="489" y="7204"/>
                    <a:pt x="298" y="7014"/>
                    <a:pt x="298" y="6776"/>
                  </a:cubicBezTo>
                  <a:lnTo>
                    <a:pt x="298" y="6609"/>
                  </a:lnTo>
                  <a:close/>
                  <a:moveTo>
                    <a:pt x="5573" y="1"/>
                  </a:moveTo>
                  <a:cubicBezTo>
                    <a:pt x="5489" y="1"/>
                    <a:pt x="5418" y="61"/>
                    <a:pt x="5418" y="144"/>
                  </a:cubicBezTo>
                  <a:lnTo>
                    <a:pt x="5418" y="1430"/>
                  </a:lnTo>
                  <a:lnTo>
                    <a:pt x="4585" y="1430"/>
                  </a:lnTo>
                  <a:cubicBezTo>
                    <a:pt x="4096" y="1430"/>
                    <a:pt x="3704" y="1823"/>
                    <a:pt x="3704" y="2311"/>
                  </a:cubicBezTo>
                  <a:lnTo>
                    <a:pt x="3704" y="4073"/>
                  </a:lnTo>
                  <a:cubicBezTo>
                    <a:pt x="3704" y="4573"/>
                    <a:pt x="4096" y="4954"/>
                    <a:pt x="4585" y="4954"/>
                  </a:cubicBezTo>
                  <a:lnTo>
                    <a:pt x="5347" y="4954"/>
                  </a:lnTo>
                  <a:cubicBezTo>
                    <a:pt x="5359" y="5073"/>
                    <a:pt x="5370" y="5264"/>
                    <a:pt x="5311" y="5383"/>
                  </a:cubicBezTo>
                  <a:cubicBezTo>
                    <a:pt x="5287" y="5442"/>
                    <a:pt x="5239" y="5478"/>
                    <a:pt x="5168" y="5478"/>
                  </a:cubicBezTo>
                  <a:cubicBezTo>
                    <a:pt x="5097" y="5490"/>
                    <a:pt x="5025" y="5549"/>
                    <a:pt x="5025" y="5645"/>
                  </a:cubicBezTo>
                  <a:cubicBezTo>
                    <a:pt x="5025" y="5716"/>
                    <a:pt x="5097" y="5787"/>
                    <a:pt x="5168" y="5799"/>
                  </a:cubicBezTo>
                  <a:cubicBezTo>
                    <a:pt x="5228" y="5823"/>
                    <a:pt x="5311" y="5835"/>
                    <a:pt x="5418" y="5835"/>
                  </a:cubicBezTo>
                  <a:lnTo>
                    <a:pt x="5430" y="5835"/>
                  </a:lnTo>
                  <a:lnTo>
                    <a:pt x="5430" y="6323"/>
                  </a:lnTo>
                  <a:lnTo>
                    <a:pt x="298" y="6323"/>
                  </a:lnTo>
                  <a:lnTo>
                    <a:pt x="298" y="5656"/>
                  </a:lnTo>
                  <a:cubicBezTo>
                    <a:pt x="298" y="5585"/>
                    <a:pt x="239" y="5502"/>
                    <a:pt x="144" y="5502"/>
                  </a:cubicBezTo>
                  <a:cubicBezTo>
                    <a:pt x="72" y="5502"/>
                    <a:pt x="1" y="5561"/>
                    <a:pt x="1" y="5656"/>
                  </a:cubicBezTo>
                  <a:lnTo>
                    <a:pt x="1" y="6776"/>
                  </a:lnTo>
                  <a:cubicBezTo>
                    <a:pt x="1" y="7180"/>
                    <a:pt x="334" y="7490"/>
                    <a:pt x="715" y="7490"/>
                  </a:cubicBezTo>
                  <a:lnTo>
                    <a:pt x="4989" y="7490"/>
                  </a:lnTo>
                  <a:cubicBezTo>
                    <a:pt x="5394" y="7490"/>
                    <a:pt x="5704" y="7157"/>
                    <a:pt x="5704" y="6776"/>
                  </a:cubicBezTo>
                  <a:lnTo>
                    <a:pt x="5704" y="5787"/>
                  </a:lnTo>
                  <a:cubicBezTo>
                    <a:pt x="5775" y="5764"/>
                    <a:pt x="5847" y="5728"/>
                    <a:pt x="5906" y="5668"/>
                  </a:cubicBezTo>
                  <a:cubicBezTo>
                    <a:pt x="6097" y="5525"/>
                    <a:pt x="6216" y="5287"/>
                    <a:pt x="6263" y="4954"/>
                  </a:cubicBezTo>
                  <a:lnTo>
                    <a:pt x="6847" y="4954"/>
                  </a:lnTo>
                  <a:cubicBezTo>
                    <a:pt x="7335" y="4954"/>
                    <a:pt x="7728" y="4573"/>
                    <a:pt x="7728" y="4085"/>
                  </a:cubicBezTo>
                  <a:lnTo>
                    <a:pt x="7728" y="2311"/>
                  </a:lnTo>
                  <a:cubicBezTo>
                    <a:pt x="7740" y="1835"/>
                    <a:pt x="7359" y="1430"/>
                    <a:pt x="6859" y="1430"/>
                  </a:cubicBezTo>
                  <a:lnTo>
                    <a:pt x="5716" y="1430"/>
                  </a:lnTo>
                  <a:lnTo>
                    <a:pt x="5716" y="144"/>
                  </a:lnTo>
                  <a:cubicBezTo>
                    <a:pt x="5716" y="72"/>
                    <a:pt x="5656" y="1"/>
                    <a:pt x="5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0" name="Google Shape;13370;p64"/>
            <p:cNvSpPr/>
            <p:nvPr/>
          </p:nvSpPr>
          <p:spPr>
            <a:xfrm>
              <a:off x="6790627" y="3057885"/>
              <a:ext cx="52329" cy="60668"/>
            </a:xfrm>
            <a:custGeom>
              <a:avLst/>
              <a:gdLst/>
              <a:ahLst/>
              <a:cxnLst/>
              <a:rect l="l" t="t" r="r" b="b"/>
              <a:pathLst>
                <a:path w="1644" h="1906" extrusionOk="0">
                  <a:moveTo>
                    <a:pt x="822" y="286"/>
                  </a:moveTo>
                  <a:cubicBezTo>
                    <a:pt x="976" y="286"/>
                    <a:pt x="1084" y="405"/>
                    <a:pt x="1084" y="536"/>
                  </a:cubicBezTo>
                  <a:cubicBezTo>
                    <a:pt x="1084" y="679"/>
                    <a:pt x="964" y="786"/>
                    <a:pt x="822" y="786"/>
                  </a:cubicBezTo>
                  <a:cubicBezTo>
                    <a:pt x="691" y="786"/>
                    <a:pt x="572" y="667"/>
                    <a:pt x="572" y="536"/>
                  </a:cubicBezTo>
                  <a:cubicBezTo>
                    <a:pt x="572" y="405"/>
                    <a:pt x="691" y="286"/>
                    <a:pt x="822" y="286"/>
                  </a:cubicBezTo>
                  <a:close/>
                  <a:moveTo>
                    <a:pt x="936" y="1096"/>
                  </a:moveTo>
                  <a:cubicBezTo>
                    <a:pt x="1165" y="1096"/>
                    <a:pt x="1345" y="1305"/>
                    <a:pt x="1345" y="1548"/>
                  </a:cubicBezTo>
                  <a:cubicBezTo>
                    <a:pt x="1345" y="1572"/>
                    <a:pt x="1322" y="1608"/>
                    <a:pt x="1286" y="1608"/>
                  </a:cubicBezTo>
                  <a:lnTo>
                    <a:pt x="369" y="1608"/>
                  </a:lnTo>
                  <a:cubicBezTo>
                    <a:pt x="333" y="1608"/>
                    <a:pt x="298" y="1572"/>
                    <a:pt x="298" y="1548"/>
                  </a:cubicBezTo>
                  <a:lnTo>
                    <a:pt x="298" y="1537"/>
                  </a:lnTo>
                  <a:cubicBezTo>
                    <a:pt x="298" y="1298"/>
                    <a:pt x="500" y="1096"/>
                    <a:pt x="738" y="1096"/>
                  </a:cubicBezTo>
                  <a:lnTo>
                    <a:pt x="917" y="1096"/>
                  </a:lnTo>
                  <a:cubicBezTo>
                    <a:pt x="923" y="1096"/>
                    <a:pt x="929" y="1096"/>
                    <a:pt x="936" y="1096"/>
                  </a:cubicBezTo>
                  <a:close/>
                  <a:moveTo>
                    <a:pt x="822" y="1"/>
                  </a:moveTo>
                  <a:cubicBezTo>
                    <a:pt x="512" y="1"/>
                    <a:pt x="274" y="239"/>
                    <a:pt x="274" y="548"/>
                  </a:cubicBezTo>
                  <a:cubicBezTo>
                    <a:pt x="274" y="679"/>
                    <a:pt x="322" y="798"/>
                    <a:pt x="393" y="894"/>
                  </a:cubicBezTo>
                  <a:cubicBezTo>
                    <a:pt x="167" y="1013"/>
                    <a:pt x="0" y="1251"/>
                    <a:pt x="0" y="1537"/>
                  </a:cubicBezTo>
                  <a:lnTo>
                    <a:pt x="0" y="1548"/>
                  </a:lnTo>
                  <a:cubicBezTo>
                    <a:pt x="0" y="1739"/>
                    <a:pt x="167" y="1906"/>
                    <a:pt x="369" y="1906"/>
                  </a:cubicBezTo>
                  <a:lnTo>
                    <a:pt x="1286" y="1906"/>
                  </a:lnTo>
                  <a:cubicBezTo>
                    <a:pt x="1476" y="1906"/>
                    <a:pt x="1643" y="1739"/>
                    <a:pt x="1643" y="1548"/>
                  </a:cubicBezTo>
                  <a:lnTo>
                    <a:pt x="1643" y="1537"/>
                  </a:lnTo>
                  <a:cubicBezTo>
                    <a:pt x="1643" y="1251"/>
                    <a:pt x="1476" y="1013"/>
                    <a:pt x="1262" y="894"/>
                  </a:cubicBezTo>
                  <a:cubicBezTo>
                    <a:pt x="1334" y="798"/>
                    <a:pt x="1381" y="679"/>
                    <a:pt x="1381" y="548"/>
                  </a:cubicBezTo>
                  <a:cubicBezTo>
                    <a:pt x="1381" y="251"/>
                    <a:pt x="1143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1" name="Google Shape;13371;p64"/>
            <p:cNvSpPr/>
            <p:nvPr/>
          </p:nvSpPr>
          <p:spPr>
            <a:xfrm>
              <a:off x="6712166" y="2975286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0" y="60"/>
                    <a:pt x="0" y="155"/>
                  </a:cubicBezTo>
                  <a:cubicBezTo>
                    <a:pt x="0" y="238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51" y="298"/>
                    <a:pt x="2322" y="238"/>
                    <a:pt x="2322" y="155"/>
                  </a:cubicBezTo>
                  <a:cubicBezTo>
                    <a:pt x="2322" y="60"/>
                    <a:pt x="2263" y="0"/>
                    <a:pt x="2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2" name="Google Shape;13372;p64"/>
            <p:cNvSpPr/>
            <p:nvPr/>
          </p:nvSpPr>
          <p:spPr>
            <a:xfrm>
              <a:off x="6712166" y="2993461"/>
              <a:ext cx="73941" cy="9517"/>
            </a:xfrm>
            <a:custGeom>
              <a:avLst/>
              <a:gdLst/>
              <a:ahLst/>
              <a:cxnLst/>
              <a:rect l="l" t="t" r="r" b="b"/>
              <a:pathLst>
                <a:path w="2323" h="299" extrusionOk="0">
                  <a:moveTo>
                    <a:pt x="155" y="1"/>
                  </a:moveTo>
                  <a:cubicBezTo>
                    <a:pt x="72" y="1"/>
                    <a:pt x="0" y="60"/>
                    <a:pt x="0" y="143"/>
                  </a:cubicBezTo>
                  <a:cubicBezTo>
                    <a:pt x="0" y="239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51" y="298"/>
                    <a:pt x="2322" y="239"/>
                    <a:pt x="2322" y="143"/>
                  </a:cubicBezTo>
                  <a:cubicBezTo>
                    <a:pt x="2322" y="60"/>
                    <a:pt x="2263" y="1"/>
                    <a:pt x="2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3" name="Google Shape;13373;p64"/>
            <p:cNvSpPr/>
            <p:nvPr/>
          </p:nvSpPr>
          <p:spPr>
            <a:xfrm>
              <a:off x="6712166" y="3012050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0" y="60"/>
                    <a:pt x="0" y="143"/>
                  </a:cubicBezTo>
                  <a:cubicBezTo>
                    <a:pt x="0" y="238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63" y="274"/>
                    <a:pt x="2322" y="214"/>
                    <a:pt x="2322" y="143"/>
                  </a:cubicBezTo>
                  <a:cubicBezTo>
                    <a:pt x="2322" y="71"/>
                    <a:pt x="2263" y="0"/>
                    <a:pt x="2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4" name="Google Shape;13374;p64"/>
            <p:cNvSpPr/>
            <p:nvPr/>
          </p:nvSpPr>
          <p:spPr>
            <a:xfrm>
              <a:off x="6662511" y="3103752"/>
              <a:ext cx="73941" cy="27310"/>
            </a:xfrm>
            <a:custGeom>
              <a:avLst/>
              <a:gdLst/>
              <a:ahLst/>
              <a:cxnLst/>
              <a:rect l="l" t="t" r="r" b="b"/>
              <a:pathLst>
                <a:path w="2323" h="858" extrusionOk="0">
                  <a:moveTo>
                    <a:pt x="2037" y="298"/>
                  </a:moveTo>
                  <a:lnTo>
                    <a:pt x="2037" y="584"/>
                  </a:lnTo>
                  <a:lnTo>
                    <a:pt x="298" y="584"/>
                  </a:lnTo>
                  <a:lnTo>
                    <a:pt x="298" y="298"/>
                  </a:lnTo>
                  <a:close/>
                  <a:moveTo>
                    <a:pt x="144" y="0"/>
                  </a:moveTo>
                  <a:cubicBezTo>
                    <a:pt x="72" y="0"/>
                    <a:pt x="1" y="60"/>
                    <a:pt x="1" y="155"/>
                  </a:cubicBezTo>
                  <a:lnTo>
                    <a:pt x="1" y="715"/>
                  </a:lnTo>
                  <a:cubicBezTo>
                    <a:pt x="1" y="786"/>
                    <a:pt x="60" y="858"/>
                    <a:pt x="144" y="858"/>
                  </a:cubicBezTo>
                  <a:lnTo>
                    <a:pt x="2168" y="858"/>
                  </a:lnTo>
                  <a:cubicBezTo>
                    <a:pt x="2251" y="858"/>
                    <a:pt x="2322" y="798"/>
                    <a:pt x="2322" y="715"/>
                  </a:cubicBezTo>
                  <a:lnTo>
                    <a:pt x="2322" y="155"/>
                  </a:lnTo>
                  <a:cubicBezTo>
                    <a:pt x="2322" y="72"/>
                    <a:pt x="2263" y="0"/>
                    <a:pt x="2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5" name="Google Shape;13375;p64"/>
            <p:cNvSpPr/>
            <p:nvPr/>
          </p:nvSpPr>
          <p:spPr>
            <a:xfrm>
              <a:off x="6662893" y="3140134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1" y="60"/>
                    <a:pt x="1" y="155"/>
                  </a:cubicBezTo>
                  <a:cubicBezTo>
                    <a:pt x="1" y="238"/>
                    <a:pt x="60" y="298"/>
                    <a:pt x="155" y="298"/>
                  </a:cubicBezTo>
                  <a:lnTo>
                    <a:pt x="2180" y="298"/>
                  </a:lnTo>
                  <a:cubicBezTo>
                    <a:pt x="2251" y="298"/>
                    <a:pt x="2322" y="238"/>
                    <a:pt x="2322" y="155"/>
                  </a:cubicBezTo>
                  <a:cubicBezTo>
                    <a:pt x="2322" y="60"/>
                    <a:pt x="2251" y="0"/>
                    <a:pt x="2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76" name="Google Shape;13376;p64"/>
          <p:cNvGrpSpPr/>
          <p:nvPr/>
        </p:nvGrpSpPr>
        <p:grpSpPr>
          <a:xfrm>
            <a:off x="7500054" y="2934735"/>
            <a:ext cx="350576" cy="280454"/>
            <a:chOff x="7500054" y="2934735"/>
            <a:chExt cx="350576" cy="280454"/>
          </a:xfrm>
        </p:grpSpPr>
        <p:sp>
          <p:nvSpPr>
            <p:cNvPr id="13377" name="Google Shape;13377;p64"/>
            <p:cNvSpPr/>
            <p:nvPr/>
          </p:nvSpPr>
          <p:spPr>
            <a:xfrm>
              <a:off x="7571671" y="2959371"/>
              <a:ext cx="191426" cy="10249"/>
            </a:xfrm>
            <a:custGeom>
              <a:avLst/>
              <a:gdLst/>
              <a:ahLst/>
              <a:cxnLst/>
              <a:rect l="l" t="t" r="r" b="b"/>
              <a:pathLst>
                <a:path w="6014" h="322" extrusionOk="0">
                  <a:moveTo>
                    <a:pt x="156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5847" y="322"/>
                  </a:lnTo>
                  <a:cubicBezTo>
                    <a:pt x="5930" y="322"/>
                    <a:pt x="6014" y="250"/>
                    <a:pt x="6014" y="167"/>
                  </a:cubicBezTo>
                  <a:cubicBezTo>
                    <a:pt x="6014" y="71"/>
                    <a:pt x="5930" y="0"/>
                    <a:pt x="58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8" name="Google Shape;13378;p64"/>
            <p:cNvSpPr/>
            <p:nvPr/>
          </p:nvSpPr>
          <p:spPr>
            <a:xfrm>
              <a:off x="7500054" y="2934735"/>
              <a:ext cx="350576" cy="280454"/>
            </a:xfrm>
            <a:custGeom>
              <a:avLst/>
              <a:gdLst/>
              <a:ahLst/>
              <a:cxnLst/>
              <a:rect l="l" t="t" r="r" b="b"/>
              <a:pathLst>
                <a:path w="11014" h="8811" extrusionOk="0">
                  <a:moveTo>
                    <a:pt x="1501" y="310"/>
                  </a:moveTo>
                  <a:lnTo>
                    <a:pt x="1501" y="1560"/>
                  </a:lnTo>
                  <a:lnTo>
                    <a:pt x="310" y="1560"/>
                  </a:lnTo>
                  <a:lnTo>
                    <a:pt x="310" y="417"/>
                  </a:lnTo>
                  <a:cubicBezTo>
                    <a:pt x="310" y="357"/>
                    <a:pt x="358" y="310"/>
                    <a:pt x="417" y="310"/>
                  </a:cubicBezTo>
                  <a:close/>
                  <a:moveTo>
                    <a:pt x="8990" y="310"/>
                  </a:moveTo>
                  <a:cubicBezTo>
                    <a:pt x="9049" y="310"/>
                    <a:pt x="9097" y="357"/>
                    <a:pt x="9097" y="417"/>
                  </a:cubicBezTo>
                  <a:lnTo>
                    <a:pt x="9097" y="1560"/>
                  </a:lnTo>
                  <a:lnTo>
                    <a:pt x="1834" y="1560"/>
                  </a:lnTo>
                  <a:lnTo>
                    <a:pt x="1834" y="310"/>
                  </a:lnTo>
                  <a:close/>
                  <a:moveTo>
                    <a:pt x="10419" y="3453"/>
                  </a:moveTo>
                  <a:cubicBezTo>
                    <a:pt x="10561" y="3453"/>
                    <a:pt x="10704" y="3572"/>
                    <a:pt x="10704" y="3739"/>
                  </a:cubicBezTo>
                  <a:cubicBezTo>
                    <a:pt x="10704" y="3893"/>
                    <a:pt x="10561" y="4013"/>
                    <a:pt x="10419" y="4013"/>
                  </a:cubicBezTo>
                  <a:cubicBezTo>
                    <a:pt x="10264" y="4013"/>
                    <a:pt x="10133" y="3893"/>
                    <a:pt x="10133" y="3739"/>
                  </a:cubicBezTo>
                  <a:cubicBezTo>
                    <a:pt x="10133" y="3572"/>
                    <a:pt x="10252" y="3453"/>
                    <a:pt x="10419" y="3453"/>
                  </a:cubicBezTo>
                  <a:close/>
                  <a:moveTo>
                    <a:pt x="6537" y="4786"/>
                  </a:moveTo>
                  <a:cubicBezTo>
                    <a:pt x="6680" y="4786"/>
                    <a:pt x="6811" y="4906"/>
                    <a:pt x="6811" y="5072"/>
                  </a:cubicBezTo>
                  <a:cubicBezTo>
                    <a:pt x="6811" y="5239"/>
                    <a:pt x="6680" y="5358"/>
                    <a:pt x="6537" y="5358"/>
                  </a:cubicBezTo>
                  <a:cubicBezTo>
                    <a:pt x="6382" y="5358"/>
                    <a:pt x="6251" y="5239"/>
                    <a:pt x="6251" y="5072"/>
                  </a:cubicBezTo>
                  <a:cubicBezTo>
                    <a:pt x="6251" y="4906"/>
                    <a:pt x="6370" y="4786"/>
                    <a:pt x="6537" y="4786"/>
                  </a:cubicBezTo>
                  <a:close/>
                  <a:moveTo>
                    <a:pt x="8240" y="6156"/>
                  </a:moveTo>
                  <a:cubicBezTo>
                    <a:pt x="8394" y="6156"/>
                    <a:pt x="8525" y="6275"/>
                    <a:pt x="8525" y="6441"/>
                  </a:cubicBezTo>
                  <a:cubicBezTo>
                    <a:pt x="8525" y="6608"/>
                    <a:pt x="8394" y="6727"/>
                    <a:pt x="8240" y="6727"/>
                  </a:cubicBezTo>
                  <a:cubicBezTo>
                    <a:pt x="8097" y="6727"/>
                    <a:pt x="7966" y="6608"/>
                    <a:pt x="7966" y="6441"/>
                  </a:cubicBezTo>
                  <a:cubicBezTo>
                    <a:pt x="7966" y="6299"/>
                    <a:pt x="8073" y="6156"/>
                    <a:pt x="8240" y="6156"/>
                  </a:cubicBezTo>
                  <a:close/>
                  <a:moveTo>
                    <a:pt x="4811" y="6382"/>
                  </a:moveTo>
                  <a:cubicBezTo>
                    <a:pt x="4954" y="6382"/>
                    <a:pt x="5085" y="6501"/>
                    <a:pt x="5085" y="6668"/>
                  </a:cubicBezTo>
                  <a:cubicBezTo>
                    <a:pt x="5085" y="6834"/>
                    <a:pt x="4954" y="6953"/>
                    <a:pt x="4811" y="6953"/>
                  </a:cubicBezTo>
                  <a:cubicBezTo>
                    <a:pt x="4656" y="6953"/>
                    <a:pt x="4525" y="6834"/>
                    <a:pt x="4525" y="6668"/>
                  </a:cubicBezTo>
                  <a:cubicBezTo>
                    <a:pt x="4525" y="6501"/>
                    <a:pt x="4644" y="6382"/>
                    <a:pt x="4811" y="6382"/>
                  </a:cubicBezTo>
                  <a:close/>
                  <a:moveTo>
                    <a:pt x="417" y="0"/>
                  </a:moveTo>
                  <a:cubicBezTo>
                    <a:pt x="179" y="0"/>
                    <a:pt x="1" y="143"/>
                    <a:pt x="1" y="417"/>
                  </a:cubicBezTo>
                  <a:lnTo>
                    <a:pt x="1" y="8382"/>
                  </a:lnTo>
                  <a:cubicBezTo>
                    <a:pt x="1" y="8620"/>
                    <a:pt x="191" y="8787"/>
                    <a:pt x="417" y="8787"/>
                  </a:cubicBezTo>
                  <a:lnTo>
                    <a:pt x="4513" y="8787"/>
                  </a:lnTo>
                  <a:cubicBezTo>
                    <a:pt x="4596" y="8787"/>
                    <a:pt x="4668" y="8715"/>
                    <a:pt x="4668" y="8632"/>
                  </a:cubicBezTo>
                  <a:cubicBezTo>
                    <a:pt x="4668" y="8537"/>
                    <a:pt x="4596" y="8465"/>
                    <a:pt x="4513" y="8465"/>
                  </a:cubicBezTo>
                  <a:lnTo>
                    <a:pt x="417" y="8465"/>
                  </a:lnTo>
                  <a:cubicBezTo>
                    <a:pt x="358" y="8465"/>
                    <a:pt x="310" y="8418"/>
                    <a:pt x="310" y="8358"/>
                  </a:cubicBezTo>
                  <a:lnTo>
                    <a:pt x="310" y="1869"/>
                  </a:lnTo>
                  <a:lnTo>
                    <a:pt x="9073" y="1869"/>
                  </a:lnTo>
                  <a:lnTo>
                    <a:pt x="9073" y="5144"/>
                  </a:lnTo>
                  <a:lnTo>
                    <a:pt x="8502" y="5894"/>
                  </a:lnTo>
                  <a:cubicBezTo>
                    <a:pt x="8418" y="5846"/>
                    <a:pt x="8335" y="5834"/>
                    <a:pt x="8240" y="5834"/>
                  </a:cubicBezTo>
                  <a:cubicBezTo>
                    <a:pt x="8109" y="5834"/>
                    <a:pt x="7978" y="5870"/>
                    <a:pt x="7871" y="5965"/>
                  </a:cubicBezTo>
                  <a:lnTo>
                    <a:pt x="7073" y="5322"/>
                  </a:lnTo>
                  <a:cubicBezTo>
                    <a:pt x="7109" y="5251"/>
                    <a:pt x="7132" y="5156"/>
                    <a:pt x="7132" y="5060"/>
                  </a:cubicBezTo>
                  <a:cubicBezTo>
                    <a:pt x="7132" y="4727"/>
                    <a:pt x="6859" y="4441"/>
                    <a:pt x="6513" y="4441"/>
                  </a:cubicBezTo>
                  <a:cubicBezTo>
                    <a:pt x="6192" y="4441"/>
                    <a:pt x="5906" y="4715"/>
                    <a:pt x="5906" y="5060"/>
                  </a:cubicBezTo>
                  <a:cubicBezTo>
                    <a:pt x="5906" y="5167"/>
                    <a:pt x="5942" y="5263"/>
                    <a:pt x="5978" y="5358"/>
                  </a:cubicBezTo>
                  <a:lnTo>
                    <a:pt x="5108" y="6144"/>
                  </a:lnTo>
                  <a:cubicBezTo>
                    <a:pt x="5013" y="6084"/>
                    <a:pt x="4906" y="6049"/>
                    <a:pt x="4787" y="6049"/>
                  </a:cubicBezTo>
                  <a:cubicBezTo>
                    <a:pt x="4465" y="6049"/>
                    <a:pt x="4180" y="6322"/>
                    <a:pt x="4180" y="6668"/>
                  </a:cubicBezTo>
                  <a:cubicBezTo>
                    <a:pt x="4180" y="6989"/>
                    <a:pt x="4454" y="7275"/>
                    <a:pt x="4787" y="7275"/>
                  </a:cubicBezTo>
                  <a:cubicBezTo>
                    <a:pt x="5132" y="7275"/>
                    <a:pt x="5406" y="7001"/>
                    <a:pt x="5406" y="6668"/>
                  </a:cubicBezTo>
                  <a:cubicBezTo>
                    <a:pt x="5406" y="6560"/>
                    <a:pt x="5370" y="6465"/>
                    <a:pt x="5323" y="6382"/>
                  </a:cubicBezTo>
                  <a:lnTo>
                    <a:pt x="6204" y="5572"/>
                  </a:lnTo>
                  <a:cubicBezTo>
                    <a:pt x="6299" y="5620"/>
                    <a:pt x="6394" y="5656"/>
                    <a:pt x="6501" y="5656"/>
                  </a:cubicBezTo>
                  <a:cubicBezTo>
                    <a:pt x="6620" y="5656"/>
                    <a:pt x="6740" y="5620"/>
                    <a:pt x="6835" y="5548"/>
                  </a:cubicBezTo>
                  <a:lnTo>
                    <a:pt x="7644" y="6203"/>
                  </a:lnTo>
                  <a:cubicBezTo>
                    <a:pt x="7621" y="6263"/>
                    <a:pt x="7609" y="6334"/>
                    <a:pt x="7609" y="6406"/>
                  </a:cubicBezTo>
                  <a:cubicBezTo>
                    <a:pt x="7609" y="6739"/>
                    <a:pt x="7871" y="7025"/>
                    <a:pt x="8216" y="7025"/>
                  </a:cubicBezTo>
                  <a:cubicBezTo>
                    <a:pt x="8561" y="7025"/>
                    <a:pt x="8823" y="6751"/>
                    <a:pt x="8823" y="6406"/>
                  </a:cubicBezTo>
                  <a:cubicBezTo>
                    <a:pt x="8823" y="6287"/>
                    <a:pt x="8799" y="6168"/>
                    <a:pt x="8716" y="6084"/>
                  </a:cubicBezTo>
                  <a:lnTo>
                    <a:pt x="9061" y="5656"/>
                  </a:lnTo>
                  <a:lnTo>
                    <a:pt x="9061" y="8382"/>
                  </a:lnTo>
                  <a:cubicBezTo>
                    <a:pt x="9061" y="8442"/>
                    <a:pt x="9014" y="8477"/>
                    <a:pt x="8954" y="8477"/>
                  </a:cubicBezTo>
                  <a:lnTo>
                    <a:pt x="5227" y="8477"/>
                  </a:lnTo>
                  <a:cubicBezTo>
                    <a:pt x="5132" y="8477"/>
                    <a:pt x="5061" y="8561"/>
                    <a:pt x="5061" y="8644"/>
                  </a:cubicBezTo>
                  <a:cubicBezTo>
                    <a:pt x="5061" y="8739"/>
                    <a:pt x="5132" y="8811"/>
                    <a:pt x="5227" y="8811"/>
                  </a:cubicBezTo>
                  <a:lnTo>
                    <a:pt x="8954" y="8811"/>
                  </a:lnTo>
                  <a:cubicBezTo>
                    <a:pt x="9192" y="8811"/>
                    <a:pt x="9371" y="8620"/>
                    <a:pt x="9371" y="8394"/>
                  </a:cubicBezTo>
                  <a:lnTo>
                    <a:pt x="9371" y="5287"/>
                  </a:lnTo>
                  <a:lnTo>
                    <a:pt x="10145" y="4298"/>
                  </a:lnTo>
                  <a:cubicBezTo>
                    <a:pt x="10228" y="4334"/>
                    <a:pt x="10299" y="4346"/>
                    <a:pt x="10383" y="4346"/>
                  </a:cubicBezTo>
                  <a:cubicBezTo>
                    <a:pt x="10716" y="4346"/>
                    <a:pt x="10990" y="4072"/>
                    <a:pt x="10990" y="3739"/>
                  </a:cubicBezTo>
                  <a:cubicBezTo>
                    <a:pt x="11014" y="3405"/>
                    <a:pt x="10740" y="3131"/>
                    <a:pt x="10419" y="3131"/>
                  </a:cubicBezTo>
                  <a:cubicBezTo>
                    <a:pt x="10085" y="3131"/>
                    <a:pt x="9811" y="3405"/>
                    <a:pt x="9811" y="3751"/>
                  </a:cubicBezTo>
                  <a:cubicBezTo>
                    <a:pt x="9811" y="3882"/>
                    <a:pt x="9847" y="4001"/>
                    <a:pt x="9930" y="4108"/>
                  </a:cubicBezTo>
                  <a:lnTo>
                    <a:pt x="9407" y="4763"/>
                  </a:lnTo>
                  <a:lnTo>
                    <a:pt x="9407" y="381"/>
                  </a:lnTo>
                  <a:cubicBezTo>
                    <a:pt x="9407" y="191"/>
                    <a:pt x="9276" y="0"/>
                    <a:pt x="89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9" name="Google Shape;13379;p64"/>
            <p:cNvSpPr/>
            <p:nvPr/>
          </p:nvSpPr>
          <p:spPr>
            <a:xfrm>
              <a:off x="7539459" y="3074564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1"/>
                    <a:pt x="2596" y="155"/>
                  </a:cubicBezTo>
                  <a:cubicBezTo>
                    <a:pt x="2596" y="72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0" name="Google Shape;13380;p64"/>
            <p:cNvSpPr/>
            <p:nvPr/>
          </p:nvSpPr>
          <p:spPr>
            <a:xfrm>
              <a:off x="7539459" y="3099582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0"/>
                    <a:pt x="2596" y="167"/>
                  </a:cubicBezTo>
                  <a:cubicBezTo>
                    <a:pt x="2596" y="72"/>
                    <a:pt x="2525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1" name="Google Shape;13381;p64"/>
            <p:cNvSpPr/>
            <p:nvPr/>
          </p:nvSpPr>
          <p:spPr>
            <a:xfrm>
              <a:off x="7539459" y="3124601"/>
              <a:ext cx="82663" cy="10631"/>
            </a:xfrm>
            <a:custGeom>
              <a:avLst/>
              <a:gdLst/>
              <a:ahLst/>
              <a:cxnLst/>
              <a:rect l="l" t="t" r="r" b="b"/>
              <a:pathLst>
                <a:path w="2597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56" y="334"/>
                  </a:cubicBezTo>
                  <a:lnTo>
                    <a:pt x="2442" y="334"/>
                  </a:lnTo>
                  <a:cubicBezTo>
                    <a:pt x="2525" y="334"/>
                    <a:pt x="2596" y="250"/>
                    <a:pt x="2596" y="167"/>
                  </a:cubicBezTo>
                  <a:cubicBezTo>
                    <a:pt x="2596" y="72"/>
                    <a:pt x="2525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2" name="Google Shape;13382;p64"/>
            <p:cNvSpPr/>
            <p:nvPr/>
          </p:nvSpPr>
          <p:spPr>
            <a:xfrm>
              <a:off x="7539459" y="3149587"/>
              <a:ext cx="82663" cy="10663"/>
            </a:xfrm>
            <a:custGeom>
              <a:avLst/>
              <a:gdLst/>
              <a:ahLst/>
              <a:cxnLst/>
              <a:rect l="l" t="t" r="r" b="b"/>
              <a:pathLst>
                <a:path w="2597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2442" y="334"/>
                  </a:lnTo>
                  <a:cubicBezTo>
                    <a:pt x="2525" y="334"/>
                    <a:pt x="2596" y="263"/>
                    <a:pt x="2596" y="168"/>
                  </a:cubicBezTo>
                  <a:cubicBezTo>
                    <a:pt x="2596" y="84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3" name="Google Shape;13383;p64"/>
            <p:cNvSpPr/>
            <p:nvPr/>
          </p:nvSpPr>
          <p:spPr>
            <a:xfrm>
              <a:off x="7539459" y="3174988"/>
              <a:ext cx="82663" cy="10281"/>
            </a:xfrm>
            <a:custGeom>
              <a:avLst/>
              <a:gdLst/>
              <a:ahLst/>
              <a:cxnLst/>
              <a:rect l="l" t="t" r="r" b="b"/>
              <a:pathLst>
                <a:path w="2597" h="323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1"/>
                    <a:pt x="2596" y="155"/>
                  </a:cubicBezTo>
                  <a:cubicBezTo>
                    <a:pt x="2596" y="72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4" name="Google Shape;13384;p64"/>
            <p:cNvSpPr/>
            <p:nvPr/>
          </p:nvSpPr>
          <p:spPr>
            <a:xfrm>
              <a:off x="7539459" y="3011286"/>
              <a:ext cx="220614" cy="47395"/>
            </a:xfrm>
            <a:custGeom>
              <a:avLst/>
              <a:gdLst/>
              <a:ahLst/>
              <a:cxnLst/>
              <a:rect l="l" t="t" r="r" b="b"/>
              <a:pathLst>
                <a:path w="6931" h="1489" extrusionOk="0">
                  <a:moveTo>
                    <a:pt x="418" y="0"/>
                  </a:moveTo>
                  <a:cubicBezTo>
                    <a:pt x="179" y="0"/>
                    <a:pt x="1" y="191"/>
                    <a:pt x="1" y="417"/>
                  </a:cubicBezTo>
                  <a:lnTo>
                    <a:pt x="1" y="1072"/>
                  </a:lnTo>
                  <a:cubicBezTo>
                    <a:pt x="1" y="1310"/>
                    <a:pt x="191" y="1488"/>
                    <a:pt x="418" y="1488"/>
                  </a:cubicBezTo>
                  <a:lnTo>
                    <a:pt x="3251" y="1488"/>
                  </a:lnTo>
                  <a:cubicBezTo>
                    <a:pt x="3346" y="1488"/>
                    <a:pt x="3418" y="1417"/>
                    <a:pt x="3418" y="1322"/>
                  </a:cubicBezTo>
                  <a:cubicBezTo>
                    <a:pt x="3418" y="1238"/>
                    <a:pt x="3346" y="1167"/>
                    <a:pt x="3251" y="1167"/>
                  </a:cubicBezTo>
                  <a:lnTo>
                    <a:pt x="418" y="1167"/>
                  </a:lnTo>
                  <a:cubicBezTo>
                    <a:pt x="358" y="1167"/>
                    <a:pt x="310" y="1119"/>
                    <a:pt x="310" y="1060"/>
                  </a:cubicBezTo>
                  <a:lnTo>
                    <a:pt x="310" y="405"/>
                  </a:lnTo>
                  <a:cubicBezTo>
                    <a:pt x="310" y="345"/>
                    <a:pt x="358" y="298"/>
                    <a:pt x="418" y="298"/>
                  </a:cubicBezTo>
                  <a:lnTo>
                    <a:pt x="6502" y="298"/>
                  </a:lnTo>
                  <a:cubicBezTo>
                    <a:pt x="6561" y="298"/>
                    <a:pt x="6609" y="345"/>
                    <a:pt x="6609" y="405"/>
                  </a:cubicBezTo>
                  <a:lnTo>
                    <a:pt x="6609" y="1060"/>
                  </a:lnTo>
                  <a:cubicBezTo>
                    <a:pt x="6609" y="1119"/>
                    <a:pt x="6561" y="1167"/>
                    <a:pt x="6502" y="1167"/>
                  </a:cubicBezTo>
                  <a:lnTo>
                    <a:pt x="4013" y="1167"/>
                  </a:lnTo>
                  <a:cubicBezTo>
                    <a:pt x="3930" y="1167"/>
                    <a:pt x="3847" y="1238"/>
                    <a:pt x="3847" y="1322"/>
                  </a:cubicBezTo>
                  <a:cubicBezTo>
                    <a:pt x="3847" y="1417"/>
                    <a:pt x="3930" y="1488"/>
                    <a:pt x="4013" y="1488"/>
                  </a:cubicBezTo>
                  <a:lnTo>
                    <a:pt x="6502" y="1488"/>
                  </a:lnTo>
                  <a:cubicBezTo>
                    <a:pt x="6740" y="1488"/>
                    <a:pt x="6918" y="1298"/>
                    <a:pt x="6918" y="1072"/>
                  </a:cubicBezTo>
                  <a:lnTo>
                    <a:pt x="6918" y="417"/>
                  </a:lnTo>
                  <a:cubicBezTo>
                    <a:pt x="6930" y="203"/>
                    <a:pt x="6740" y="0"/>
                    <a:pt x="6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85" name="Google Shape;13385;p64"/>
          <p:cNvGrpSpPr/>
          <p:nvPr/>
        </p:nvGrpSpPr>
        <p:grpSpPr>
          <a:xfrm>
            <a:off x="7024430" y="2874662"/>
            <a:ext cx="332012" cy="355454"/>
            <a:chOff x="7055134" y="2919170"/>
            <a:chExt cx="290321" cy="310820"/>
          </a:xfrm>
        </p:grpSpPr>
        <p:sp>
          <p:nvSpPr>
            <p:cNvPr id="13386" name="Google Shape;13386;p64"/>
            <p:cNvSpPr/>
            <p:nvPr/>
          </p:nvSpPr>
          <p:spPr>
            <a:xfrm>
              <a:off x="7102497" y="2970989"/>
              <a:ext cx="191044" cy="259001"/>
            </a:xfrm>
            <a:custGeom>
              <a:avLst/>
              <a:gdLst/>
              <a:ahLst/>
              <a:cxnLst/>
              <a:rect l="l" t="t" r="r" b="b"/>
              <a:pathLst>
                <a:path w="6002" h="8137" extrusionOk="0">
                  <a:moveTo>
                    <a:pt x="3097" y="314"/>
                  </a:moveTo>
                  <a:cubicBezTo>
                    <a:pt x="3739" y="314"/>
                    <a:pt x="4347" y="552"/>
                    <a:pt x="4835" y="980"/>
                  </a:cubicBezTo>
                  <a:cubicBezTo>
                    <a:pt x="5394" y="1481"/>
                    <a:pt x="5716" y="2195"/>
                    <a:pt x="5716" y="2933"/>
                  </a:cubicBezTo>
                  <a:cubicBezTo>
                    <a:pt x="5704" y="3445"/>
                    <a:pt x="5549" y="3933"/>
                    <a:pt x="5287" y="4350"/>
                  </a:cubicBezTo>
                  <a:cubicBezTo>
                    <a:pt x="5013" y="4767"/>
                    <a:pt x="4644" y="5100"/>
                    <a:pt x="4204" y="5302"/>
                  </a:cubicBezTo>
                  <a:cubicBezTo>
                    <a:pt x="3930" y="5433"/>
                    <a:pt x="3751" y="5719"/>
                    <a:pt x="3751" y="6029"/>
                  </a:cubicBezTo>
                  <a:lnTo>
                    <a:pt x="3751" y="6207"/>
                  </a:lnTo>
                  <a:lnTo>
                    <a:pt x="2430" y="6207"/>
                  </a:lnTo>
                  <a:lnTo>
                    <a:pt x="2430" y="6029"/>
                  </a:lnTo>
                  <a:cubicBezTo>
                    <a:pt x="2430" y="5719"/>
                    <a:pt x="2251" y="5433"/>
                    <a:pt x="1965" y="5302"/>
                  </a:cubicBezTo>
                  <a:cubicBezTo>
                    <a:pt x="942" y="4814"/>
                    <a:pt x="346" y="3731"/>
                    <a:pt x="489" y="2588"/>
                  </a:cubicBezTo>
                  <a:cubicBezTo>
                    <a:pt x="644" y="1421"/>
                    <a:pt x="1608" y="457"/>
                    <a:pt x="2799" y="326"/>
                  </a:cubicBezTo>
                  <a:cubicBezTo>
                    <a:pt x="2906" y="314"/>
                    <a:pt x="3013" y="314"/>
                    <a:pt x="3097" y="314"/>
                  </a:cubicBezTo>
                  <a:close/>
                  <a:moveTo>
                    <a:pt x="3728" y="6505"/>
                  </a:moveTo>
                  <a:lnTo>
                    <a:pt x="3739" y="7017"/>
                  </a:lnTo>
                  <a:cubicBezTo>
                    <a:pt x="3739" y="7100"/>
                    <a:pt x="3668" y="7195"/>
                    <a:pt x="3561" y="7195"/>
                  </a:cubicBezTo>
                  <a:lnTo>
                    <a:pt x="2573" y="7195"/>
                  </a:lnTo>
                  <a:cubicBezTo>
                    <a:pt x="2489" y="7195"/>
                    <a:pt x="2394" y="7124"/>
                    <a:pt x="2394" y="7017"/>
                  </a:cubicBezTo>
                  <a:lnTo>
                    <a:pt x="2394" y="6505"/>
                  </a:lnTo>
                  <a:close/>
                  <a:moveTo>
                    <a:pt x="3394" y="7469"/>
                  </a:moveTo>
                  <a:lnTo>
                    <a:pt x="3406" y="7648"/>
                  </a:lnTo>
                  <a:cubicBezTo>
                    <a:pt x="3406" y="7743"/>
                    <a:pt x="3335" y="7838"/>
                    <a:pt x="3228" y="7838"/>
                  </a:cubicBezTo>
                  <a:lnTo>
                    <a:pt x="2906" y="7838"/>
                  </a:lnTo>
                  <a:cubicBezTo>
                    <a:pt x="2811" y="7838"/>
                    <a:pt x="2727" y="7755"/>
                    <a:pt x="2727" y="7648"/>
                  </a:cubicBezTo>
                  <a:lnTo>
                    <a:pt x="2727" y="7469"/>
                  </a:lnTo>
                  <a:close/>
                  <a:moveTo>
                    <a:pt x="3056" y="0"/>
                  </a:moveTo>
                  <a:cubicBezTo>
                    <a:pt x="2951" y="0"/>
                    <a:pt x="2845" y="6"/>
                    <a:pt x="2739" y="16"/>
                  </a:cubicBezTo>
                  <a:cubicBezTo>
                    <a:pt x="1418" y="171"/>
                    <a:pt x="322" y="1230"/>
                    <a:pt x="168" y="2552"/>
                  </a:cubicBezTo>
                  <a:cubicBezTo>
                    <a:pt x="1" y="3814"/>
                    <a:pt x="668" y="5040"/>
                    <a:pt x="1811" y="5564"/>
                  </a:cubicBezTo>
                  <a:cubicBezTo>
                    <a:pt x="1977" y="5648"/>
                    <a:pt x="2096" y="5826"/>
                    <a:pt x="2096" y="6017"/>
                  </a:cubicBezTo>
                  <a:lnTo>
                    <a:pt x="2096" y="7005"/>
                  </a:lnTo>
                  <a:cubicBezTo>
                    <a:pt x="2096" y="7207"/>
                    <a:pt x="2239" y="7386"/>
                    <a:pt x="2430" y="7457"/>
                  </a:cubicBezTo>
                  <a:lnTo>
                    <a:pt x="2430" y="7648"/>
                  </a:lnTo>
                  <a:cubicBezTo>
                    <a:pt x="2430" y="7922"/>
                    <a:pt x="2632" y="8136"/>
                    <a:pt x="2906" y="8136"/>
                  </a:cubicBezTo>
                  <a:lnTo>
                    <a:pt x="3228" y="8136"/>
                  </a:lnTo>
                  <a:cubicBezTo>
                    <a:pt x="3501" y="8136"/>
                    <a:pt x="3704" y="7922"/>
                    <a:pt x="3704" y="7648"/>
                  </a:cubicBezTo>
                  <a:lnTo>
                    <a:pt x="3704" y="7457"/>
                  </a:lnTo>
                  <a:cubicBezTo>
                    <a:pt x="3906" y="7398"/>
                    <a:pt x="4037" y="7219"/>
                    <a:pt x="4037" y="7005"/>
                  </a:cubicBezTo>
                  <a:lnTo>
                    <a:pt x="4037" y="6017"/>
                  </a:lnTo>
                  <a:cubicBezTo>
                    <a:pt x="4037" y="5826"/>
                    <a:pt x="4144" y="5648"/>
                    <a:pt x="4323" y="5564"/>
                  </a:cubicBezTo>
                  <a:cubicBezTo>
                    <a:pt x="4811" y="5326"/>
                    <a:pt x="5228" y="4969"/>
                    <a:pt x="5537" y="4517"/>
                  </a:cubicBezTo>
                  <a:cubicBezTo>
                    <a:pt x="5847" y="4040"/>
                    <a:pt x="6002" y="3481"/>
                    <a:pt x="6002" y="2921"/>
                  </a:cubicBezTo>
                  <a:cubicBezTo>
                    <a:pt x="6002" y="2100"/>
                    <a:pt x="5644" y="1302"/>
                    <a:pt x="5037" y="754"/>
                  </a:cubicBezTo>
                  <a:cubicBezTo>
                    <a:pt x="4485" y="254"/>
                    <a:pt x="3788" y="0"/>
                    <a:pt x="30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7" name="Google Shape;13387;p64"/>
            <p:cNvSpPr/>
            <p:nvPr/>
          </p:nvSpPr>
          <p:spPr>
            <a:xfrm>
              <a:off x="7304872" y="3059413"/>
              <a:ext cx="40583" cy="9485"/>
            </a:xfrm>
            <a:custGeom>
              <a:avLst/>
              <a:gdLst/>
              <a:ahLst/>
              <a:cxnLst/>
              <a:rect l="l" t="t" r="r" b="b"/>
              <a:pathLst>
                <a:path w="1275" h="298" extrusionOk="0">
                  <a:moveTo>
                    <a:pt x="144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38"/>
                    <a:pt x="72" y="298"/>
                    <a:pt x="144" y="298"/>
                  </a:cubicBezTo>
                  <a:lnTo>
                    <a:pt x="1132" y="298"/>
                  </a:lnTo>
                  <a:cubicBezTo>
                    <a:pt x="1215" y="298"/>
                    <a:pt x="1275" y="215"/>
                    <a:pt x="1275" y="143"/>
                  </a:cubicBezTo>
                  <a:cubicBezTo>
                    <a:pt x="1275" y="72"/>
                    <a:pt x="1203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8" name="Google Shape;13388;p64"/>
            <p:cNvSpPr/>
            <p:nvPr/>
          </p:nvSpPr>
          <p:spPr>
            <a:xfrm>
              <a:off x="7055134" y="3059413"/>
              <a:ext cx="41347" cy="9485"/>
            </a:xfrm>
            <a:custGeom>
              <a:avLst/>
              <a:gdLst/>
              <a:ahLst/>
              <a:cxnLst/>
              <a:rect l="l" t="t" r="r" b="b"/>
              <a:pathLst>
                <a:path w="1299" h="298" extrusionOk="0">
                  <a:moveTo>
                    <a:pt x="155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38"/>
                    <a:pt x="72" y="298"/>
                    <a:pt x="155" y="298"/>
                  </a:cubicBezTo>
                  <a:lnTo>
                    <a:pt x="1132" y="298"/>
                  </a:lnTo>
                  <a:cubicBezTo>
                    <a:pt x="1215" y="298"/>
                    <a:pt x="1287" y="215"/>
                    <a:pt x="1287" y="143"/>
                  </a:cubicBezTo>
                  <a:cubicBezTo>
                    <a:pt x="1298" y="72"/>
                    <a:pt x="1227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9" name="Google Shape;13389;p64"/>
            <p:cNvSpPr/>
            <p:nvPr/>
          </p:nvSpPr>
          <p:spPr>
            <a:xfrm>
              <a:off x="7195727" y="2919170"/>
              <a:ext cx="9517" cy="40583"/>
            </a:xfrm>
            <a:custGeom>
              <a:avLst/>
              <a:gdLst/>
              <a:ahLst/>
              <a:cxnLst/>
              <a:rect l="l" t="t" r="r" b="b"/>
              <a:pathLst>
                <a:path w="299" h="1275" extrusionOk="0">
                  <a:moveTo>
                    <a:pt x="156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1132"/>
                  </a:lnTo>
                  <a:cubicBezTo>
                    <a:pt x="1" y="1215"/>
                    <a:pt x="84" y="1275"/>
                    <a:pt x="156" y="1275"/>
                  </a:cubicBezTo>
                  <a:cubicBezTo>
                    <a:pt x="227" y="1275"/>
                    <a:pt x="299" y="1204"/>
                    <a:pt x="299" y="1132"/>
                  </a:cubicBezTo>
                  <a:lnTo>
                    <a:pt x="299" y="144"/>
                  </a:lnTo>
                  <a:cubicBezTo>
                    <a:pt x="299" y="72"/>
                    <a:pt x="227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0" name="Google Shape;13390;p64"/>
            <p:cNvSpPr/>
            <p:nvPr/>
          </p:nvSpPr>
          <p:spPr>
            <a:xfrm>
              <a:off x="7185128" y="3007116"/>
              <a:ext cx="30334" cy="92880"/>
            </a:xfrm>
            <a:custGeom>
              <a:avLst/>
              <a:gdLst/>
              <a:ahLst/>
              <a:cxnLst/>
              <a:rect l="l" t="t" r="r" b="b"/>
              <a:pathLst>
                <a:path w="953" h="2918" extrusionOk="0">
                  <a:moveTo>
                    <a:pt x="477" y="310"/>
                  </a:moveTo>
                  <a:cubicBezTo>
                    <a:pt x="512" y="310"/>
                    <a:pt x="560" y="334"/>
                    <a:pt x="596" y="357"/>
                  </a:cubicBezTo>
                  <a:cubicBezTo>
                    <a:pt x="620" y="393"/>
                    <a:pt x="632" y="429"/>
                    <a:pt x="632" y="476"/>
                  </a:cubicBezTo>
                  <a:lnTo>
                    <a:pt x="548" y="2608"/>
                  </a:lnTo>
                  <a:lnTo>
                    <a:pt x="405" y="2620"/>
                  </a:lnTo>
                  <a:cubicBezTo>
                    <a:pt x="405" y="2620"/>
                    <a:pt x="393" y="2620"/>
                    <a:pt x="393" y="2608"/>
                  </a:cubicBezTo>
                  <a:lnTo>
                    <a:pt x="310" y="476"/>
                  </a:lnTo>
                  <a:cubicBezTo>
                    <a:pt x="310" y="429"/>
                    <a:pt x="322" y="393"/>
                    <a:pt x="358" y="357"/>
                  </a:cubicBezTo>
                  <a:cubicBezTo>
                    <a:pt x="381" y="334"/>
                    <a:pt x="429" y="310"/>
                    <a:pt x="477" y="310"/>
                  </a:cubicBezTo>
                  <a:close/>
                  <a:moveTo>
                    <a:pt x="477" y="0"/>
                  </a:moveTo>
                  <a:cubicBezTo>
                    <a:pt x="334" y="0"/>
                    <a:pt x="215" y="48"/>
                    <a:pt x="131" y="155"/>
                  </a:cubicBezTo>
                  <a:cubicBezTo>
                    <a:pt x="36" y="238"/>
                    <a:pt x="0" y="357"/>
                    <a:pt x="0" y="488"/>
                  </a:cubicBezTo>
                  <a:lnTo>
                    <a:pt x="84" y="2620"/>
                  </a:lnTo>
                  <a:cubicBezTo>
                    <a:pt x="84" y="2786"/>
                    <a:pt x="239" y="2917"/>
                    <a:pt x="393" y="2917"/>
                  </a:cubicBezTo>
                  <a:lnTo>
                    <a:pt x="512" y="2917"/>
                  </a:lnTo>
                  <a:cubicBezTo>
                    <a:pt x="679" y="2917"/>
                    <a:pt x="822" y="2786"/>
                    <a:pt x="822" y="2620"/>
                  </a:cubicBezTo>
                  <a:lnTo>
                    <a:pt x="917" y="488"/>
                  </a:lnTo>
                  <a:cubicBezTo>
                    <a:pt x="953" y="369"/>
                    <a:pt x="905" y="238"/>
                    <a:pt x="810" y="155"/>
                  </a:cubicBezTo>
                  <a:cubicBezTo>
                    <a:pt x="727" y="60"/>
                    <a:pt x="608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1" name="Google Shape;13391;p64"/>
            <p:cNvSpPr/>
            <p:nvPr/>
          </p:nvSpPr>
          <p:spPr>
            <a:xfrm>
              <a:off x="7187770" y="3111328"/>
              <a:ext cx="25814" cy="25814"/>
            </a:xfrm>
            <a:custGeom>
              <a:avLst/>
              <a:gdLst/>
              <a:ahLst/>
              <a:cxnLst/>
              <a:rect l="l" t="t" r="r" b="b"/>
              <a:pathLst>
                <a:path w="811" h="811" extrusionOk="0">
                  <a:moveTo>
                    <a:pt x="406" y="310"/>
                  </a:moveTo>
                  <a:cubicBezTo>
                    <a:pt x="453" y="310"/>
                    <a:pt x="489" y="358"/>
                    <a:pt x="489" y="405"/>
                  </a:cubicBezTo>
                  <a:cubicBezTo>
                    <a:pt x="489" y="453"/>
                    <a:pt x="453" y="489"/>
                    <a:pt x="406" y="489"/>
                  </a:cubicBezTo>
                  <a:cubicBezTo>
                    <a:pt x="358" y="489"/>
                    <a:pt x="310" y="453"/>
                    <a:pt x="310" y="405"/>
                  </a:cubicBezTo>
                  <a:cubicBezTo>
                    <a:pt x="310" y="358"/>
                    <a:pt x="358" y="310"/>
                    <a:pt x="406" y="310"/>
                  </a:cubicBezTo>
                  <a:close/>
                  <a:moveTo>
                    <a:pt x="406" y="0"/>
                  </a:moveTo>
                  <a:cubicBezTo>
                    <a:pt x="179" y="0"/>
                    <a:pt x="1" y="179"/>
                    <a:pt x="1" y="405"/>
                  </a:cubicBezTo>
                  <a:cubicBezTo>
                    <a:pt x="1" y="631"/>
                    <a:pt x="179" y="810"/>
                    <a:pt x="406" y="810"/>
                  </a:cubicBezTo>
                  <a:cubicBezTo>
                    <a:pt x="632" y="810"/>
                    <a:pt x="810" y="631"/>
                    <a:pt x="810" y="405"/>
                  </a:cubicBezTo>
                  <a:cubicBezTo>
                    <a:pt x="787" y="179"/>
                    <a:pt x="608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2" name="Google Shape;13392;p64"/>
            <p:cNvSpPr/>
            <p:nvPr/>
          </p:nvSpPr>
          <p:spPr>
            <a:xfrm>
              <a:off x="7249552" y="2951477"/>
              <a:ext cx="18971" cy="23077"/>
            </a:xfrm>
            <a:custGeom>
              <a:avLst/>
              <a:gdLst/>
              <a:ahLst/>
              <a:cxnLst/>
              <a:rect l="l" t="t" r="r" b="b"/>
              <a:pathLst>
                <a:path w="596" h="725" extrusionOk="0">
                  <a:moveTo>
                    <a:pt x="417" y="0"/>
                  </a:moveTo>
                  <a:cubicBezTo>
                    <a:pt x="362" y="0"/>
                    <a:pt x="307" y="32"/>
                    <a:pt x="274" y="81"/>
                  </a:cubicBezTo>
                  <a:lnTo>
                    <a:pt x="36" y="498"/>
                  </a:lnTo>
                  <a:cubicBezTo>
                    <a:pt x="1" y="570"/>
                    <a:pt x="24" y="665"/>
                    <a:pt x="96" y="700"/>
                  </a:cubicBezTo>
                  <a:cubicBezTo>
                    <a:pt x="132" y="724"/>
                    <a:pt x="143" y="724"/>
                    <a:pt x="179" y="724"/>
                  </a:cubicBezTo>
                  <a:cubicBezTo>
                    <a:pt x="239" y="724"/>
                    <a:pt x="274" y="689"/>
                    <a:pt x="310" y="641"/>
                  </a:cubicBezTo>
                  <a:lnTo>
                    <a:pt x="548" y="224"/>
                  </a:lnTo>
                  <a:cubicBezTo>
                    <a:pt x="596" y="153"/>
                    <a:pt x="560" y="69"/>
                    <a:pt x="489" y="22"/>
                  </a:cubicBezTo>
                  <a:cubicBezTo>
                    <a:pt x="466" y="7"/>
                    <a:pt x="442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3" name="Google Shape;13393;p64"/>
            <p:cNvSpPr/>
            <p:nvPr/>
          </p:nvSpPr>
          <p:spPr>
            <a:xfrm>
              <a:off x="7132831" y="3153852"/>
              <a:ext cx="18589" cy="22695"/>
            </a:xfrm>
            <a:custGeom>
              <a:avLst/>
              <a:gdLst/>
              <a:ahLst/>
              <a:cxnLst/>
              <a:rect l="l" t="t" r="r" b="b"/>
              <a:pathLst>
                <a:path w="584" h="713" extrusionOk="0">
                  <a:moveTo>
                    <a:pt x="419" y="0"/>
                  </a:moveTo>
                  <a:cubicBezTo>
                    <a:pt x="368" y="0"/>
                    <a:pt x="319" y="32"/>
                    <a:pt x="286" y="81"/>
                  </a:cubicBezTo>
                  <a:lnTo>
                    <a:pt x="48" y="498"/>
                  </a:lnTo>
                  <a:cubicBezTo>
                    <a:pt x="0" y="569"/>
                    <a:pt x="36" y="665"/>
                    <a:pt x="108" y="700"/>
                  </a:cubicBezTo>
                  <a:cubicBezTo>
                    <a:pt x="131" y="712"/>
                    <a:pt x="155" y="712"/>
                    <a:pt x="179" y="712"/>
                  </a:cubicBezTo>
                  <a:cubicBezTo>
                    <a:pt x="239" y="712"/>
                    <a:pt x="286" y="689"/>
                    <a:pt x="310" y="641"/>
                  </a:cubicBezTo>
                  <a:lnTo>
                    <a:pt x="548" y="224"/>
                  </a:lnTo>
                  <a:cubicBezTo>
                    <a:pt x="584" y="153"/>
                    <a:pt x="572" y="69"/>
                    <a:pt x="489" y="22"/>
                  </a:cubicBezTo>
                  <a:cubicBezTo>
                    <a:pt x="466" y="7"/>
                    <a:pt x="443" y="0"/>
                    <a:pt x="4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4" name="Google Shape;13394;p64"/>
            <p:cNvSpPr/>
            <p:nvPr/>
          </p:nvSpPr>
          <p:spPr>
            <a:xfrm>
              <a:off x="7132449" y="2951477"/>
              <a:ext cx="18971" cy="23077"/>
            </a:xfrm>
            <a:custGeom>
              <a:avLst/>
              <a:gdLst/>
              <a:ahLst/>
              <a:cxnLst/>
              <a:rect l="l" t="t" r="r" b="b"/>
              <a:pathLst>
                <a:path w="596" h="725" extrusionOk="0">
                  <a:moveTo>
                    <a:pt x="177" y="0"/>
                  </a:moveTo>
                  <a:cubicBezTo>
                    <a:pt x="154" y="0"/>
                    <a:pt x="130" y="7"/>
                    <a:pt x="108" y="22"/>
                  </a:cubicBezTo>
                  <a:cubicBezTo>
                    <a:pt x="24" y="69"/>
                    <a:pt x="1" y="153"/>
                    <a:pt x="48" y="236"/>
                  </a:cubicBezTo>
                  <a:lnTo>
                    <a:pt x="274" y="653"/>
                  </a:lnTo>
                  <a:cubicBezTo>
                    <a:pt x="310" y="689"/>
                    <a:pt x="358" y="724"/>
                    <a:pt x="417" y="724"/>
                  </a:cubicBezTo>
                  <a:cubicBezTo>
                    <a:pt x="441" y="724"/>
                    <a:pt x="477" y="724"/>
                    <a:pt x="489" y="712"/>
                  </a:cubicBezTo>
                  <a:cubicBezTo>
                    <a:pt x="584" y="665"/>
                    <a:pt x="596" y="570"/>
                    <a:pt x="548" y="498"/>
                  </a:cubicBezTo>
                  <a:lnTo>
                    <a:pt x="310" y="81"/>
                  </a:lnTo>
                  <a:cubicBezTo>
                    <a:pt x="277" y="32"/>
                    <a:pt x="228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5" name="Google Shape;13395;p64"/>
            <p:cNvSpPr/>
            <p:nvPr/>
          </p:nvSpPr>
          <p:spPr>
            <a:xfrm>
              <a:off x="7249552" y="3153852"/>
              <a:ext cx="18971" cy="22695"/>
            </a:xfrm>
            <a:custGeom>
              <a:avLst/>
              <a:gdLst/>
              <a:ahLst/>
              <a:cxnLst/>
              <a:rect l="l" t="t" r="r" b="b"/>
              <a:pathLst>
                <a:path w="596" h="713" extrusionOk="0">
                  <a:moveTo>
                    <a:pt x="173" y="0"/>
                  </a:moveTo>
                  <a:cubicBezTo>
                    <a:pt x="148" y="0"/>
                    <a:pt x="122" y="7"/>
                    <a:pt x="96" y="22"/>
                  </a:cubicBezTo>
                  <a:cubicBezTo>
                    <a:pt x="24" y="69"/>
                    <a:pt x="1" y="153"/>
                    <a:pt x="36" y="224"/>
                  </a:cubicBezTo>
                  <a:lnTo>
                    <a:pt x="274" y="641"/>
                  </a:lnTo>
                  <a:cubicBezTo>
                    <a:pt x="310" y="689"/>
                    <a:pt x="358" y="712"/>
                    <a:pt x="417" y="712"/>
                  </a:cubicBezTo>
                  <a:cubicBezTo>
                    <a:pt x="441" y="712"/>
                    <a:pt x="477" y="712"/>
                    <a:pt x="489" y="700"/>
                  </a:cubicBezTo>
                  <a:cubicBezTo>
                    <a:pt x="560" y="665"/>
                    <a:pt x="596" y="569"/>
                    <a:pt x="548" y="498"/>
                  </a:cubicBezTo>
                  <a:lnTo>
                    <a:pt x="310" y="81"/>
                  </a:lnTo>
                  <a:cubicBezTo>
                    <a:pt x="277" y="32"/>
                    <a:pt x="228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6" name="Google Shape;13396;p64"/>
            <p:cNvSpPr/>
            <p:nvPr/>
          </p:nvSpPr>
          <p:spPr>
            <a:xfrm>
              <a:off x="7289721" y="3113969"/>
              <a:ext cx="24286" cy="17093"/>
            </a:xfrm>
            <a:custGeom>
              <a:avLst/>
              <a:gdLst/>
              <a:ahLst/>
              <a:cxnLst/>
              <a:rect l="l" t="t" r="r" b="b"/>
              <a:pathLst>
                <a:path w="763" h="537" extrusionOk="0">
                  <a:moveTo>
                    <a:pt x="172" y="0"/>
                  </a:moveTo>
                  <a:cubicBezTo>
                    <a:pt x="121" y="0"/>
                    <a:pt x="72" y="29"/>
                    <a:pt x="48" y="84"/>
                  </a:cubicBezTo>
                  <a:cubicBezTo>
                    <a:pt x="1" y="156"/>
                    <a:pt x="24" y="239"/>
                    <a:pt x="108" y="287"/>
                  </a:cubicBezTo>
                  <a:lnTo>
                    <a:pt x="524" y="525"/>
                  </a:lnTo>
                  <a:cubicBezTo>
                    <a:pt x="548" y="537"/>
                    <a:pt x="560" y="537"/>
                    <a:pt x="596" y="537"/>
                  </a:cubicBezTo>
                  <a:cubicBezTo>
                    <a:pt x="655" y="537"/>
                    <a:pt x="703" y="513"/>
                    <a:pt x="727" y="465"/>
                  </a:cubicBezTo>
                  <a:cubicBezTo>
                    <a:pt x="763" y="394"/>
                    <a:pt x="739" y="310"/>
                    <a:pt x="667" y="263"/>
                  </a:cubicBezTo>
                  <a:lnTo>
                    <a:pt x="251" y="25"/>
                  </a:lnTo>
                  <a:cubicBezTo>
                    <a:pt x="226" y="8"/>
                    <a:pt x="199" y="0"/>
                    <a:pt x="1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7" name="Google Shape;13397;p64"/>
            <p:cNvSpPr/>
            <p:nvPr/>
          </p:nvSpPr>
          <p:spPr>
            <a:xfrm>
              <a:off x="7086964" y="2996931"/>
              <a:ext cx="24668" cy="17411"/>
            </a:xfrm>
            <a:custGeom>
              <a:avLst/>
              <a:gdLst/>
              <a:ahLst/>
              <a:cxnLst/>
              <a:rect l="l" t="t" r="r" b="b"/>
              <a:pathLst>
                <a:path w="775" h="547" extrusionOk="0">
                  <a:moveTo>
                    <a:pt x="179" y="1"/>
                  </a:moveTo>
                  <a:cubicBezTo>
                    <a:pt x="125" y="1"/>
                    <a:pt x="73" y="33"/>
                    <a:pt x="48" y="82"/>
                  </a:cubicBezTo>
                  <a:cubicBezTo>
                    <a:pt x="1" y="154"/>
                    <a:pt x="25" y="249"/>
                    <a:pt x="108" y="285"/>
                  </a:cubicBezTo>
                  <a:lnTo>
                    <a:pt x="525" y="535"/>
                  </a:lnTo>
                  <a:cubicBezTo>
                    <a:pt x="548" y="546"/>
                    <a:pt x="560" y="546"/>
                    <a:pt x="596" y="546"/>
                  </a:cubicBezTo>
                  <a:cubicBezTo>
                    <a:pt x="656" y="546"/>
                    <a:pt x="703" y="511"/>
                    <a:pt x="727" y="475"/>
                  </a:cubicBezTo>
                  <a:cubicBezTo>
                    <a:pt x="775" y="415"/>
                    <a:pt x="739" y="308"/>
                    <a:pt x="668" y="261"/>
                  </a:cubicBezTo>
                  <a:lnTo>
                    <a:pt x="251" y="23"/>
                  </a:lnTo>
                  <a:cubicBezTo>
                    <a:pt x="228" y="8"/>
                    <a:pt x="20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8" name="Google Shape;13398;p64"/>
            <p:cNvSpPr/>
            <p:nvPr/>
          </p:nvSpPr>
          <p:spPr>
            <a:xfrm>
              <a:off x="7289339" y="2996931"/>
              <a:ext cx="24668" cy="17411"/>
            </a:xfrm>
            <a:custGeom>
              <a:avLst/>
              <a:gdLst/>
              <a:ahLst/>
              <a:cxnLst/>
              <a:rect l="l" t="t" r="r" b="b"/>
              <a:pathLst>
                <a:path w="775" h="547" extrusionOk="0">
                  <a:moveTo>
                    <a:pt x="590" y="1"/>
                  </a:moveTo>
                  <a:cubicBezTo>
                    <a:pt x="565" y="1"/>
                    <a:pt x="539" y="8"/>
                    <a:pt x="513" y="23"/>
                  </a:cubicBezTo>
                  <a:lnTo>
                    <a:pt x="96" y="261"/>
                  </a:lnTo>
                  <a:cubicBezTo>
                    <a:pt x="25" y="308"/>
                    <a:pt x="1" y="392"/>
                    <a:pt x="36" y="475"/>
                  </a:cubicBezTo>
                  <a:cubicBezTo>
                    <a:pt x="72" y="511"/>
                    <a:pt x="108" y="546"/>
                    <a:pt x="179" y="546"/>
                  </a:cubicBezTo>
                  <a:cubicBezTo>
                    <a:pt x="203" y="546"/>
                    <a:pt x="239" y="546"/>
                    <a:pt x="251" y="535"/>
                  </a:cubicBezTo>
                  <a:lnTo>
                    <a:pt x="667" y="285"/>
                  </a:lnTo>
                  <a:cubicBezTo>
                    <a:pt x="751" y="249"/>
                    <a:pt x="775" y="154"/>
                    <a:pt x="727" y="82"/>
                  </a:cubicBezTo>
                  <a:cubicBezTo>
                    <a:pt x="694" y="33"/>
                    <a:pt x="645" y="1"/>
                    <a:pt x="5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9" name="Google Shape;13399;p64"/>
            <p:cNvSpPr/>
            <p:nvPr/>
          </p:nvSpPr>
          <p:spPr>
            <a:xfrm>
              <a:off x="7086964" y="3113587"/>
              <a:ext cx="24668" cy="17093"/>
            </a:xfrm>
            <a:custGeom>
              <a:avLst/>
              <a:gdLst/>
              <a:ahLst/>
              <a:cxnLst/>
              <a:rect l="l" t="t" r="r" b="b"/>
              <a:pathLst>
                <a:path w="775" h="537" extrusionOk="0">
                  <a:moveTo>
                    <a:pt x="597" y="0"/>
                  </a:moveTo>
                  <a:cubicBezTo>
                    <a:pt x="570" y="0"/>
                    <a:pt x="541" y="8"/>
                    <a:pt x="513" y="25"/>
                  </a:cubicBezTo>
                  <a:lnTo>
                    <a:pt x="108" y="263"/>
                  </a:lnTo>
                  <a:cubicBezTo>
                    <a:pt x="25" y="299"/>
                    <a:pt x="1" y="394"/>
                    <a:pt x="36" y="465"/>
                  </a:cubicBezTo>
                  <a:cubicBezTo>
                    <a:pt x="72" y="513"/>
                    <a:pt x="120" y="537"/>
                    <a:pt x="179" y="537"/>
                  </a:cubicBezTo>
                  <a:cubicBezTo>
                    <a:pt x="203" y="537"/>
                    <a:pt x="239" y="537"/>
                    <a:pt x="251" y="525"/>
                  </a:cubicBezTo>
                  <a:lnTo>
                    <a:pt x="668" y="287"/>
                  </a:lnTo>
                  <a:cubicBezTo>
                    <a:pt x="739" y="263"/>
                    <a:pt x="775" y="156"/>
                    <a:pt x="727" y="84"/>
                  </a:cubicBezTo>
                  <a:cubicBezTo>
                    <a:pt x="696" y="29"/>
                    <a:pt x="649" y="0"/>
                    <a:pt x="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00" name="Google Shape;13400;p64"/>
          <p:cNvGrpSpPr/>
          <p:nvPr/>
        </p:nvGrpSpPr>
        <p:grpSpPr>
          <a:xfrm>
            <a:off x="7985143" y="2900613"/>
            <a:ext cx="330109" cy="347552"/>
            <a:chOff x="7985143" y="2900613"/>
            <a:chExt cx="330109" cy="347552"/>
          </a:xfrm>
        </p:grpSpPr>
        <p:sp>
          <p:nvSpPr>
            <p:cNvPr id="13401" name="Google Shape;13401;p64"/>
            <p:cNvSpPr/>
            <p:nvPr/>
          </p:nvSpPr>
          <p:spPr>
            <a:xfrm>
              <a:off x="8143943" y="3145449"/>
              <a:ext cx="13273" cy="10631"/>
            </a:xfrm>
            <a:custGeom>
              <a:avLst/>
              <a:gdLst/>
              <a:ahLst/>
              <a:cxnLst/>
              <a:rect l="l" t="t" r="r" b="b"/>
              <a:pathLst>
                <a:path w="417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250" y="333"/>
                  </a:lnTo>
                  <a:cubicBezTo>
                    <a:pt x="334" y="333"/>
                    <a:pt x="417" y="250"/>
                    <a:pt x="417" y="167"/>
                  </a:cubicBezTo>
                  <a:cubicBezTo>
                    <a:pt x="393" y="60"/>
                    <a:pt x="334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2" name="Google Shape;13402;p64"/>
            <p:cNvSpPr/>
            <p:nvPr/>
          </p:nvSpPr>
          <p:spPr>
            <a:xfrm>
              <a:off x="8163264" y="300597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3" name="Google Shape;13403;p64"/>
            <p:cNvSpPr/>
            <p:nvPr/>
          </p:nvSpPr>
          <p:spPr>
            <a:xfrm>
              <a:off x="8163264" y="3005970"/>
              <a:ext cx="5347" cy="11013"/>
            </a:xfrm>
            <a:custGeom>
              <a:avLst/>
              <a:gdLst/>
              <a:ahLst/>
              <a:cxnLst/>
              <a:rect l="l" t="t" r="r" b="b"/>
              <a:pathLst>
                <a:path w="168" h="346" extrusionOk="0">
                  <a:moveTo>
                    <a:pt x="1" y="1"/>
                  </a:moveTo>
                  <a:cubicBezTo>
                    <a:pt x="20" y="70"/>
                    <a:pt x="97" y="228"/>
                    <a:pt x="143" y="308"/>
                  </a:cubicBezTo>
                  <a:lnTo>
                    <a:pt x="143" y="308"/>
                  </a:lnTo>
                  <a:cubicBezTo>
                    <a:pt x="118" y="259"/>
                    <a:pt x="78" y="164"/>
                    <a:pt x="1" y="1"/>
                  </a:cubicBezTo>
                  <a:close/>
                  <a:moveTo>
                    <a:pt x="143" y="308"/>
                  </a:moveTo>
                  <a:lnTo>
                    <a:pt x="143" y="308"/>
                  </a:lnTo>
                  <a:cubicBezTo>
                    <a:pt x="153" y="327"/>
                    <a:pt x="161" y="339"/>
                    <a:pt x="167" y="346"/>
                  </a:cubicBezTo>
                  <a:cubicBezTo>
                    <a:pt x="161" y="338"/>
                    <a:pt x="153" y="325"/>
                    <a:pt x="143" y="308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4" name="Google Shape;13404;p64"/>
            <p:cNvSpPr/>
            <p:nvPr/>
          </p:nvSpPr>
          <p:spPr>
            <a:xfrm>
              <a:off x="8163264" y="3005588"/>
              <a:ext cx="32" cy="414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"/>
                  </a:moveTo>
                  <a:cubicBezTo>
                    <a:pt x="1" y="13"/>
                    <a:pt x="1" y="13"/>
                    <a:pt x="1" y="1"/>
                  </a:cubicBezTo>
                  <a:cubicBezTo>
                    <a:pt x="1" y="13"/>
                    <a:pt x="1" y="13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5" name="Google Shape;13405;p64"/>
            <p:cNvSpPr/>
            <p:nvPr/>
          </p:nvSpPr>
          <p:spPr>
            <a:xfrm>
              <a:off x="8168579" y="3016952"/>
              <a:ext cx="32" cy="796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1"/>
                  </a:moveTo>
                  <a:cubicBezTo>
                    <a:pt x="0" y="25"/>
                    <a:pt x="0" y="25"/>
                    <a:pt x="0" y="1"/>
                  </a:cubicBezTo>
                  <a:cubicBezTo>
                    <a:pt x="0" y="25"/>
                    <a:pt x="0" y="25"/>
                    <a:pt x="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6" name="Google Shape;13406;p64"/>
            <p:cNvSpPr/>
            <p:nvPr/>
          </p:nvSpPr>
          <p:spPr>
            <a:xfrm>
              <a:off x="7985143" y="2900613"/>
              <a:ext cx="330109" cy="347552"/>
            </a:xfrm>
            <a:custGeom>
              <a:avLst/>
              <a:gdLst/>
              <a:ahLst/>
              <a:cxnLst/>
              <a:rect l="l" t="t" r="r" b="b"/>
              <a:pathLst>
                <a:path w="10371" h="10919" extrusionOk="0">
                  <a:moveTo>
                    <a:pt x="5120" y="3060"/>
                  </a:moveTo>
                  <a:lnTo>
                    <a:pt x="5358" y="3572"/>
                  </a:lnTo>
                  <a:lnTo>
                    <a:pt x="4882" y="3572"/>
                  </a:lnTo>
                  <a:lnTo>
                    <a:pt x="5120" y="3060"/>
                  </a:lnTo>
                  <a:close/>
                  <a:moveTo>
                    <a:pt x="5501" y="3882"/>
                  </a:moveTo>
                  <a:lnTo>
                    <a:pt x="5644" y="4180"/>
                  </a:lnTo>
                  <a:lnTo>
                    <a:pt x="4596" y="4180"/>
                  </a:lnTo>
                  <a:lnTo>
                    <a:pt x="4727" y="3882"/>
                  </a:lnTo>
                  <a:close/>
                  <a:moveTo>
                    <a:pt x="3120" y="2799"/>
                  </a:moveTo>
                  <a:lnTo>
                    <a:pt x="3703" y="3644"/>
                  </a:lnTo>
                  <a:lnTo>
                    <a:pt x="3334" y="4037"/>
                  </a:lnTo>
                  <a:cubicBezTo>
                    <a:pt x="3239" y="4120"/>
                    <a:pt x="3239" y="4227"/>
                    <a:pt x="3239" y="4299"/>
                  </a:cubicBezTo>
                  <a:lnTo>
                    <a:pt x="2703" y="4299"/>
                  </a:lnTo>
                  <a:cubicBezTo>
                    <a:pt x="2703" y="4227"/>
                    <a:pt x="2727" y="4120"/>
                    <a:pt x="2620" y="4037"/>
                  </a:cubicBezTo>
                  <a:lnTo>
                    <a:pt x="2227" y="3644"/>
                  </a:lnTo>
                  <a:lnTo>
                    <a:pt x="2810" y="2799"/>
                  </a:lnTo>
                  <a:lnTo>
                    <a:pt x="2810" y="3465"/>
                  </a:lnTo>
                  <a:cubicBezTo>
                    <a:pt x="2739" y="3477"/>
                    <a:pt x="2668" y="3537"/>
                    <a:pt x="2668" y="3632"/>
                  </a:cubicBezTo>
                  <a:cubicBezTo>
                    <a:pt x="2668" y="3715"/>
                    <a:pt x="2739" y="3799"/>
                    <a:pt x="2822" y="3799"/>
                  </a:cubicBezTo>
                  <a:lnTo>
                    <a:pt x="3096" y="3799"/>
                  </a:lnTo>
                  <a:cubicBezTo>
                    <a:pt x="3180" y="3799"/>
                    <a:pt x="3263" y="3715"/>
                    <a:pt x="3263" y="3632"/>
                  </a:cubicBezTo>
                  <a:cubicBezTo>
                    <a:pt x="3263" y="3561"/>
                    <a:pt x="3203" y="3477"/>
                    <a:pt x="3120" y="3465"/>
                  </a:cubicBezTo>
                  <a:lnTo>
                    <a:pt x="3120" y="2799"/>
                  </a:lnTo>
                  <a:close/>
                  <a:moveTo>
                    <a:pt x="2414" y="4793"/>
                  </a:moveTo>
                  <a:cubicBezTo>
                    <a:pt x="2416" y="4793"/>
                    <a:pt x="2422" y="4795"/>
                    <a:pt x="2429" y="4799"/>
                  </a:cubicBezTo>
                  <a:cubicBezTo>
                    <a:pt x="2414" y="4799"/>
                    <a:pt x="2408" y="4793"/>
                    <a:pt x="2414" y="4793"/>
                  </a:cubicBezTo>
                  <a:close/>
                  <a:moveTo>
                    <a:pt x="3549" y="4620"/>
                  </a:moveTo>
                  <a:cubicBezTo>
                    <a:pt x="3549" y="4620"/>
                    <a:pt x="3572" y="4620"/>
                    <a:pt x="3572" y="4644"/>
                  </a:cubicBezTo>
                  <a:lnTo>
                    <a:pt x="3572" y="4787"/>
                  </a:lnTo>
                  <a:cubicBezTo>
                    <a:pt x="3572" y="4787"/>
                    <a:pt x="3572" y="4799"/>
                    <a:pt x="3549" y="4799"/>
                  </a:cubicBezTo>
                  <a:lnTo>
                    <a:pt x="2429" y="4799"/>
                  </a:lnTo>
                  <a:lnTo>
                    <a:pt x="2406" y="4644"/>
                  </a:lnTo>
                  <a:cubicBezTo>
                    <a:pt x="2406" y="4644"/>
                    <a:pt x="2406" y="4620"/>
                    <a:pt x="2429" y="4620"/>
                  </a:cubicBezTo>
                  <a:close/>
                  <a:moveTo>
                    <a:pt x="3251" y="5120"/>
                  </a:moveTo>
                  <a:lnTo>
                    <a:pt x="3251" y="5537"/>
                  </a:lnTo>
                  <a:lnTo>
                    <a:pt x="2727" y="5537"/>
                  </a:lnTo>
                  <a:lnTo>
                    <a:pt x="2727" y="5120"/>
                  </a:lnTo>
                  <a:close/>
                  <a:moveTo>
                    <a:pt x="3394" y="5858"/>
                  </a:moveTo>
                  <a:cubicBezTo>
                    <a:pt x="3418" y="5858"/>
                    <a:pt x="3441" y="5882"/>
                    <a:pt x="3441" y="5882"/>
                  </a:cubicBezTo>
                  <a:cubicBezTo>
                    <a:pt x="3453" y="5894"/>
                    <a:pt x="3453" y="5906"/>
                    <a:pt x="3453" y="5918"/>
                  </a:cubicBezTo>
                  <a:lnTo>
                    <a:pt x="3418" y="6811"/>
                  </a:lnTo>
                  <a:lnTo>
                    <a:pt x="2525" y="6811"/>
                  </a:lnTo>
                  <a:lnTo>
                    <a:pt x="2501" y="5918"/>
                  </a:lnTo>
                  <a:cubicBezTo>
                    <a:pt x="2501" y="5894"/>
                    <a:pt x="2513" y="5882"/>
                    <a:pt x="2513" y="5882"/>
                  </a:cubicBezTo>
                  <a:cubicBezTo>
                    <a:pt x="2513" y="5882"/>
                    <a:pt x="2537" y="5858"/>
                    <a:pt x="2560" y="5858"/>
                  </a:cubicBezTo>
                  <a:close/>
                  <a:moveTo>
                    <a:pt x="4954" y="4501"/>
                  </a:moveTo>
                  <a:lnTo>
                    <a:pt x="4954" y="6835"/>
                  </a:lnTo>
                  <a:lnTo>
                    <a:pt x="4489" y="6835"/>
                  </a:lnTo>
                  <a:lnTo>
                    <a:pt x="4489" y="4501"/>
                  </a:lnTo>
                  <a:close/>
                  <a:moveTo>
                    <a:pt x="5739" y="4501"/>
                  </a:moveTo>
                  <a:lnTo>
                    <a:pt x="5739" y="6835"/>
                  </a:lnTo>
                  <a:lnTo>
                    <a:pt x="5287" y="6835"/>
                  </a:lnTo>
                  <a:lnTo>
                    <a:pt x="5287" y="4501"/>
                  </a:lnTo>
                  <a:close/>
                  <a:moveTo>
                    <a:pt x="9252" y="1120"/>
                  </a:moveTo>
                  <a:cubicBezTo>
                    <a:pt x="9287" y="1120"/>
                    <a:pt x="9311" y="1144"/>
                    <a:pt x="9311" y="1179"/>
                  </a:cubicBezTo>
                  <a:lnTo>
                    <a:pt x="9311" y="6835"/>
                  </a:lnTo>
                  <a:lnTo>
                    <a:pt x="8335" y="6835"/>
                  </a:lnTo>
                  <a:lnTo>
                    <a:pt x="8335" y="1822"/>
                  </a:lnTo>
                  <a:cubicBezTo>
                    <a:pt x="8335" y="1691"/>
                    <a:pt x="8216" y="1572"/>
                    <a:pt x="8085" y="1572"/>
                  </a:cubicBezTo>
                  <a:lnTo>
                    <a:pt x="6692" y="1572"/>
                  </a:lnTo>
                  <a:cubicBezTo>
                    <a:pt x="6561" y="1572"/>
                    <a:pt x="6442" y="1691"/>
                    <a:pt x="6442" y="1822"/>
                  </a:cubicBezTo>
                  <a:lnTo>
                    <a:pt x="6442" y="6835"/>
                  </a:lnTo>
                  <a:lnTo>
                    <a:pt x="6061" y="6835"/>
                  </a:lnTo>
                  <a:lnTo>
                    <a:pt x="6061" y="4346"/>
                  </a:lnTo>
                  <a:cubicBezTo>
                    <a:pt x="6061" y="4311"/>
                    <a:pt x="6061" y="4299"/>
                    <a:pt x="6037" y="4263"/>
                  </a:cubicBezTo>
                  <a:cubicBezTo>
                    <a:pt x="5690" y="3506"/>
                    <a:pt x="5585" y="3288"/>
                    <a:pt x="5581" y="3288"/>
                  </a:cubicBezTo>
                  <a:lnTo>
                    <a:pt x="5581" y="3288"/>
                  </a:lnTo>
                  <a:cubicBezTo>
                    <a:pt x="5580" y="3288"/>
                    <a:pt x="5582" y="3292"/>
                    <a:pt x="5585" y="3299"/>
                  </a:cubicBezTo>
                  <a:cubicBezTo>
                    <a:pt x="5525" y="3168"/>
                    <a:pt x="5430" y="3001"/>
                    <a:pt x="5323" y="2775"/>
                  </a:cubicBezTo>
                  <a:cubicBezTo>
                    <a:pt x="5281" y="2679"/>
                    <a:pt x="5192" y="2632"/>
                    <a:pt x="5102" y="2632"/>
                  </a:cubicBezTo>
                  <a:cubicBezTo>
                    <a:pt x="5013" y="2632"/>
                    <a:pt x="4924" y="2679"/>
                    <a:pt x="4882" y="2775"/>
                  </a:cubicBezTo>
                  <a:cubicBezTo>
                    <a:pt x="4811" y="2941"/>
                    <a:pt x="4239" y="4132"/>
                    <a:pt x="4180" y="4263"/>
                  </a:cubicBezTo>
                  <a:cubicBezTo>
                    <a:pt x="4168" y="4287"/>
                    <a:pt x="4168" y="4311"/>
                    <a:pt x="4168" y="4346"/>
                  </a:cubicBezTo>
                  <a:lnTo>
                    <a:pt x="4168" y="6835"/>
                  </a:lnTo>
                  <a:lnTo>
                    <a:pt x="3739" y="6835"/>
                  </a:lnTo>
                  <a:lnTo>
                    <a:pt x="3763" y="5954"/>
                  </a:lnTo>
                  <a:cubicBezTo>
                    <a:pt x="3763" y="5847"/>
                    <a:pt x="3739" y="5739"/>
                    <a:pt x="3656" y="5668"/>
                  </a:cubicBezTo>
                  <a:cubicBezTo>
                    <a:pt x="3632" y="5644"/>
                    <a:pt x="3596" y="5608"/>
                    <a:pt x="3561" y="5597"/>
                  </a:cubicBezTo>
                  <a:lnTo>
                    <a:pt x="3561" y="5132"/>
                  </a:lnTo>
                  <a:cubicBezTo>
                    <a:pt x="3739" y="5120"/>
                    <a:pt x="3870" y="4965"/>
                    <a:pt x="3870" y="4799"/>
                  </a:cubicBezTo>
                  <a:lnTo>
                    <a:pt x="3870" y="4656"/>
                  </a:lnTo>
                  <a:cubicBezTo>
                    <a:pt x="3870" y="4477"/>
                    <a:pt x="3739" y="4323"/>
                    <a:pt x="3561" y="4323"/>
                  </a:cubicBezTo>
                  <a:lnTo>
                    <a:pt x="3561" y="4263"/>
                  </a:lnTo>
                  <a:lnTo>
                    <a:pt x="3942" y="3870"/>
                  </a:lnTo>
                  <a:cubicBezTo>
                    <a:pt x="4049" y="3763"/>
                    <a:pt x="4061" y="3608"/>
                    <a:pt x="3977" y="3489"/>
                  </a:cubicBezTo>
                  <a:lnTo>
                    <a:pt x="3120" y="2263"/>
                  </a:lnTo>
                  <a:cubicBezTo>
                    <a:pt x="3078" y="2203"/>
                    <a:pt x="3013" y="2173"/>
                    <a:pt x="2949" y="2173"/>
                  </a:cubicBezTo>
                  <a:cubicBezTo>
                    <a:pt x="2885" y="2173"/>
                    <a:pt x="2822" y="2203"/>
                    <a:pt x="2787" y="2263"/>
                  </a:cubicBezTo>
                  <a:lnTo>
                    <a:pt x="1929" y="3489"/>
                  </a:lnTo>
                  <a:cubicBezTo>
                    <a:pt x="1858" y="3608"/>
                    <a:pt x="1870" y="3775"/>
                    <a:pt x="1965" y="3870"/>
                  </a:cubicBezTo>
                  <a:lnTo>
                    <a:pt x="2346" y="4263"/>
                  </a:lnTo>
                  <a:lnTo>
                    <a:pt x="2346" y="4323"/>
                  </a:lnTo>
                  <a:cubicBezTo>
                    <a:pt x="2168" y="4346"/>
                    <a:pt x="2037" y="4489"/>
                    <a:pt x="2037" y="4656"/>
                  </a:cubicBezTo>
                  <a:lnTo>
                    <a:pt x="2037" y="4799"/>
                  </a:lnTo>
                  <a:cubicBezTo>
                    <a:pt x="2037" y="4989"/>
                    <a:pt x="2168" y="5132"/>
                    <a:pt x="2346" y="5132"/>
                  </a:cubicBezTo>
                  <a:lnTo>
                    <a:pt x="2346" y="5597"/>
                  </a:lnTo>
                  <a:cubicBezTo>
                    <a:pt x="2310" y="5608"/>
                    <a:pt x="2275" y="5644"/>
                    <a:pt x="2251" y="5668"/>
                  </a:cubicBezTo>
                  <a:cubicBezTo>
                    <a:pt x="2168" y="5739"/>
                    <a:pt x="2132" y="5847"/>
                    <a:pt x="2144" y="5954"/>
                  </a:cubicBezTo>
                  <a:lnTo>
                    <a:pt x="2168" y="6835"/>
                  </a:lnTo>
                  <a:lnTo>
                    <a:pt x="1013" y="6835"/>
                  </a:lnTo>
                  <a:lnTo>
                    <a:pt x="1013" y="1179"/>
                  </a:lnTo>
                  <a:lnTo>
                    <a:pt x="1060" y="1179"/>
                  </a:lnTo>
                  <a:cubicBezTo>
                    <a:pt x="1060" y="1144"/>
                    <a:pt x="1084" y="1120"/>
                    <a:pt x="1120" y="1120"/>
                  </a:cubicBezTo>
                  <a:close/>
                  <a:moveTo>
                    <a:pt x="8002" y="1917"/>
                  </a:moveTo>
                  <a:lnTo>
                    <a:pt x="8002" y="2644"/>
                  </a:lnTo>
                  <a:lnTo>
                    <a:pt x="7752" y="2644"/>
                  </a:lnTo>
                  <a:cubicBezTo>
                    <a:pt x="7668" y="2644"/>
                    <a:pt x="7585" y="2715"/>
                    <a:pt x="7585" y="2810"/>
                  </a:cubicBezTo>
                  <a:cubicBezTo>
                    <a:pt x="7585" y="2870"/>
                    <a:pt x="7668" y="2941"/>
                    <a:pt x="7752" y="2941"/>
                  </a:cubicBezTo>
                  <a:lnTo>
                    <a:pt x="8002" y="2941"/>
                  </a:lnTo>
                  <a:lnTo>
                    <a:pt x="8002" y="3668"/>
                  </a:lnTo>
                  <a:lnTo>
                    <a:pt x="7752" y="3668"/>
                  </a:lnTo>
                  <a:cubicBezTo>
                    <a:pt x="7668" y="3668"/>
                    <a:pt x="7585" y="3751"/>
                    <a:pt x="7585" y="3834"/>
                  </a:cubicBezTo>
                  <a:cubicBezTo>
                    <a:pt x="7585" y="3930"/>
                    <a:pt x="7668" y="4001"/>
                    <a:pt x="7752" y="4001"/>
                  </a:cubicBezTo>
                  <a:lnTo>
                    <a:pt x="8002" y="4001"/>
                  </a:lnTo>
                  <a:lnTo>
                    <a:pt x="8002" y="4727"/>
                  </a:lnTo>
                  <a:lnTo>
                    <a:pt x="7752" y="4727"/>
                  </a:lnTo>
                  <a:cubicBezTo>
                    <a:pt x="7668" y="4727"/>
                    <a:pt x="7585" y="4799"/>
                    <a:pt x="7585" y="4894"/>
                  </a:cubicBezTo>
                  <a:cubicBezTo>
                    <a:pt x="7585" y="4989"/>
                    <a:pt x="7668" y="5061"/>
                    <a:pt x="7752" y="5061"/>
                  </a:cubicBezTo>
                  <a:lnTo>
                    <a:pt x="8002" y="5061"/>
                  </a:lnTo>
                  <a:lnTo>
                    <a:pt x="8002" y="5787"/>
                  </a:lnTo>
                  <a:lnTo>
                    <a:pt x="7752" y="5787"/>
                  </a:lnTo>
                  <a:cubicBezTo>
                    <a:pt x="7668" y="5787"/>
                    <a:pt x="7585" y="5858"/>
                    <a:pt x="7585" y="5954"/>
                  </a:cubicBezTo>
                  <a:cubicBezTo>
                    <a:pt x="7585" y="6037"/>
                    <a:pt x="7668" y="6120"/>
                    <a:pt x="7752" y="6120"/>
                  </a:cubicBezTo>
                  <a:lnTo>
                    <a:pt x="8002" y="6120"/>
                  </a:lnTo>
                  <a:lnTo>
                    <a:pt x="8002" y="6847"/>
                  </a:lnTo>
                  <a:lnTo>
                    <a:pt x="6775" y="6847"/>
                  </a:lnTo>
                  <a:lnTo>
                    <a:pt x="6775" y="1917"/>
                  </a:lnTo>
                  <a:close/>
                  <a:moveTo>
                    <a:pt x="10049" y="7144"/>
                  </a:moveTo>
                  <a:lnTo>
                    <a:pt x="10049" y="8347"/>
                  </a:lnTo>
                  <a:cubicBezTo>
                    <a:pt x="10049" y="8454"/>
                    <a:pt x="9954" y="8561"/>
                    <a:pt x="9835" y="8561"/>
                  </a:cubicBezTo>
                  <a:lnTo>
                    <a:pt x="501" y="8561"/>
                  </a:lnTo>
                  <a:cubicBezTo>
                    <a:pt x="393" y="8561"/>
                    <a:pt x="298" y="8466"/>
                    <a:pt x="298" y="8347"/>
                  </a:cubicBezTo>
                  <a:lnTo>
                    <a:pt x="298" y="7144"/>
                  </a:lnTo>
                  <a:close/>
                  <a:moveTo>
                    <a:pt x="5966" y="8871"/>
                  </a:moveTo>
                  <a:lnTo>
                    <a:pt x="5966" y="9787"/>
                  </a:lnTo>
                  <a:lnTo>
                    <a:pt x="4299" y="9787"/>
                  </a:lnTo>
                  <a:lnTo>
                    <a:pt x="4299" y="8871"/>
                  </a:lnTo>
                  <a:close/>
                  <a:moveTo>
                    <a:pt x="524" y="1"/>
                  </a:moveTo>
                  <a:cubicBezTo>
                    <a:pt x="239" y="1"/>
                    <a:pt x="1" y="239"/>
                    <a:pt x="1" y="524"/>
                  </a:cubicBezTo>
                  <a:lnTo>
                    <a:pt x="1" y="8347"/>
                  </a:lnTo>
                  <a:cubicBezTo>
                    <a:pt x="1" y="8633"/>
                    <a:pt x="239" y="8871"/>
                    <a:pt x="524" y="8871"/>
                  </a:cubicBezTo>
                  <a:lnTo>
                    <a:pt x="3989" y="8871"/>
                  </a:lnTo>
                  <a:lnTo>
                    <a:pt x="3989" y="9787"/>
                  </a:lnTo>
                  <a:lnTo>
                    <a:pt x="3465" y="9787"/>
                  </a:lnTo>
                  <a:cubicBezTo>
                    <a:pt x="3215" y="9787"/>
                    <a:pt x="3001" y="10002"/>
                    <a:pt x="3001" y="10252"/>
                  </a:cubicBezTo>
                  <a:lnTo>
                    <a:pt x="3001" y="10466"/>
                  </a:lnTo>
                  <a:cubicBezTo>
                    <a:pt x="3001" y="10716"/>
                    <a:pt x="3215" y="10919"/>
                    <a:pt x="3465" y="10919"/>
                  </a:cubicBezTo>
                  <a:lnTo>
                    <a:pt x="4739" y="10919"/>
                  </a:lnTo>
                  <a:cubicBezTo>
                    <a:pt x="4835" y="10919"/>
                    <a:pt x="4906" y="10847"/>
                    <a:pt x="4906" y="10764"/>
                  </a:cubicBezTo>
                  <a:cubicBezTo>
                    <a:pt x="4906" y="10669"/>
                    <a:pt x="4835" y="10597"/>
                    <a:pt x="4739" y="10597"/>
                  </a:cubicBezTo>
                  <a:lnTo>
                    <a:pt x="3465" y="10597"/>
                  </a:lnTo>
                  <a:cubicBezTo>
                    <a:pt x="3394" y="10597"/>
                    <a:pt x="3322" y="10538"/>
                    <a:pt x="3322" y="10442"/>
                  </a:cubicBezTo>
                  <a:lnTo>
                    <a:pt x="3322" y="10240"/>
                  </a:lnTo>
                  <a:cubicBezTo>
                    <a:pt x="3322" y="10168"/>
                    <a:pt x="3382" y="10085"/>
                    <a:pt x="3465" y="10085"/>
                  </a:cubicBezTo>
                  <a:lnTo>
                    <a:pt x="6811" y="10085"/>
                  </a:lnTo>
                  <a:cubicBezTo>
                    <a:pt x="6894" y="10085"/>
                    <a:pt x="6966" y="10145"/>
                    <a:pt x="6966" y="10240"/>
                  </a:cubicBezTo>
                  <a:lnTo>
                    <a:pt x="6966" y="10442"/>
                  </a:lnTo>
                  <a:cubicBezTo>
                    <a:pt x="6966" y="10526"/>
                    <a:pt x="6906" y="10597"/>
                    <a:pt x="6811" y="10597"/>
                  </a:cubicBezTo>
                  <a:lnTo>
                    <a:pt x="5489" y="10597"/>
                  </a:lnTo>
                  <a:cubicBezTo>
                    <a:pt x="5406" y="10597"/>
                    <a:pt x="5323" y="10669"/>
                    <a:pt x="5323" y="10764"/>
                  </a:cubicBezTo>
                  <a:cubicBezTo>
                    <a:pt x="5323" y="10847"/>
                    <a:pt x="5406" y="10919"/>
                    <a:pt x="5489" y="10919"/>
                  </a:cubicBezTo>
                  <a:lnTo>
                    <a:pt x="6811" y="10919"/>
                  </a:lnTo>
                  <a:cubicBezTo>
                    <a:pt x="7073" y="10919"/>
                    <a:pt x="7275" y="10716"/>
                    <a:pt x="7275" y="10466"/>
                  </a:cubicBezTo>
                  <a:lnTo>
                    <a:pt x="7275" y="10252"/>
                  </a:lnTo>
                  <a:cubicBezTo>
                    <a:pt x="7275" y="10002"/>
                    <a:pt x="7061" y="9787"/>
                    <a:pt x="6811" y="9787"/>
                  </a:cubicBezTo>
                  <a:lnTo>
                    <a:pt x="6299" y="9787"/>
                  </a:lnTo>
                  <a:lnTo>
                    <a:pt x="6299" y="8871"/>
                  </a:lnTo>
                  <a:lnTo>
                    <a:pt x="9847" y="8871"/>
                  </a:lnTo>
                  <a:cubicBezTo>
                    <a:pt x="10133" y="8871"/>
                    <a:pt x="10371" y="8633"/>
                    <a:pt x="10371" y="8347"/>
                  </a:cubicBezTo>
                  <a:lnTo>
                    <a:pt x="10371" y="4727"/>
                  </a:lnTo>
                  <a:cubicBezTo>
                    <a:pt x="10371" y="4644"/>
                    <a:pt x="10299" y="4573"/>
                    <a:pt x="10204" y="4573"/>
                  </a:cubicBezTo>
                  <a:cubicBezTo>
                    <a:pt x="10121" y="4573"/>
                    <a:pt x="10049" y="4644"/>
                    <a:pt x="10049" y="4727"/>
                  </a:cubicBezTo>
                  <a:lnTo>
                    <a:pt x="10049" y="6811"/>
                  </a:lnTo>
                  <a:lnTo>
                    <a:pt x="9633" y="6811"/>
                  </a:lnTo>
                  <a:lnTo>
                    <a:pt x="9633" y="1155"/>
                  </a:lnTo>
                  <a:cubicBezTo>
                    <a:pt x="9633" y="953"/>
                    <a:pt x="9466" y="786"/>
                    <a:pt x="9252" y="786"/>
                  </a:cubicBezTo>
                  <a:lnTo>
                    <a:pt x="1120" y="786"/>
                  </a:lnTo>
                  <a:cubicBezTo>
                    <a:pt x="905" y="786"/>
                    <a:pt x="739" y="953"/>
                    <a:pt x="739" y="1155"/>
                  </a:cubicBezTo>
                  <a:lnTo>
                    <a:pt x="739" y="6811"/>
                  </a:lnTo>
                  <a:lnTo>
                    <a:pt x="322" y="6811"/>
                  </a:lnTo>
                  <a:lnTo>
                    <a:pt x="322" y="524"/>
                  </a:lnTo>
                  <a:cubicBezTo>
                    <a:pt x="322" y="417"/>
                    <a:pt x="417" y="310"/>
                    <a:pt x="536" y="310"/>
                  </a:cubicBezTo>
                  <a:lnTo>
                    <a:pt x="9871" y="310"/>
                  </a:lnTo>
                  <a:cubicBezTo>
                    <a:pt x="9966" y="310"/>
                    <a:pt x="10073" y="405"/>
                    <a:pt x="10073" y="524"/>
                  </a:cubicBezTo>
                  <a:lnTo>
                    <a:pt x="10073" y="3977"/>
                  </a:lnTo>
                  <a:cubicBezTo>
                    <a:pt x="10049" y="4073"/>
                    <a:pt x="10121" y="4156"/>
                    <a:pt x="10204" y="4156"/>
                  </a:cubicBezTo>
                  <a:cubicBezTo>
                    <a:pt x="10299" y="4156"/>
                    <a:pt x="10371" y="4073"/>
                    <a:pt x="10371" y="3989"/>
                  </a:cubicBezTo>
                  <a:lnTo>
                    <a:pt x="10371" y="524"/>
                  </a:lnTo>
                  <a:cubicBezTo>
                    <a:pt x="10371" y="239"/>
                    <a:pt x="10133" y="1"/>
                    <a:pt x="98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7" name="Google Shape;13407;p64"/>
            <p:cNvSpPr/>
            <p:nvPr/>
          </p:nvSpPr>
          <p:spPr>
            <a:xfrm>
              <a:off x="8168579" y="301695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8" name="Google Shape;13408;p64"/>
            <p:cNvSpPr/>
            <p:nvPr/>
          </p:nvSpPr>
          <p:spPr>
            <a:xfrm>
              <a:off x="8168579" y="30177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09" name="Google Shape;13409;p64"/>
          <p:cNvGrpSpPr/>
          <p:nvPr/>
        </p:nvGrpSpPr>
        <p:grpSpPr>
          <a:xfrm>
            <a:off x="7990840" y="2435226"/>
            <a:ext cx="354363" cy="353631"/>
            <a:chOff x="7990840" y="2435226"/>
            <a:chExt cx="354363" cy="353631"/>
          </a:xfrm>
        </p:grpSpPr>
        <p:sp>
          <p:nvSpPr>
            <p:cNvPr id="13410" name="Google Shape;13410;p64"/>
            <p:cNvSpPr/>
            <p:nvPr/>
          </p:nvSpPr>
          <p:spPr>
            <a:xfrm>
              <a:off x="7990840" y="2435226"/>
              <a:ext cx="354363" cy="353631"/>
            </a:xfrm>
            <a:custGeom>
              <a:avLst/>
              <a:gdLst/>
              <a:ahLst/>
              <a:cxnLst/>
              <a:rect l="l" t="t" r="r" b="b"/>
              <a:pathLst>
                <a:path w="11133" h="11110" extrusionOk="0">
                  <a:moveTo>
                    <a:pt x="3477" y="1727"/>
                  </a:moveTo>
                  <a:cubicBezTo>
                    <a:pt x="3679" y="1727"/>
                    <a:pt x="3834" y="1894"/>
                    <a:pt x="3834" y="2084"/>
                  </a:cubicBezTo>
                  <a:lnTo>
                    <a:pt x="3834" y="2430"/>
                  </a:lnTo>
                  <a:cubicBezTo>
                    <a:pt x="3834" y="2727"/>
                    <a:pt x="3596" y="2965"/>
                    <a:pt x="3298" y="2965"/>
                  </a:cubicBezTo>
                  <a:cubicBezTo>
                    <a:pt x="3024" y="2965"/>
                    <a:pt x="2786" y="2727"/>
                    <a:pt x="2786" y="2430"/>
                  </a:cubicBezTo>
                  <a:lnTo>
                    <a:pt x="2786" y="2084"/>
                  </a:lnTo>
                  <a:cubicBezTo>
                    <a:pt x="2786" y="1894"/>
                    <a:pt x="2941" y="1727"/>
                    <a:pt x="3143" y="1727"/>
                  </a:cubicBezTo>
                  <a:close/>
                  <a:moveTo>
                    <a:pt x="3477" y="3299"/>
                  </a:moveTo>
                  <a:lnTo>
                    <a:pt x="3477" y="3311"/>
                  </a:lnTo>
                  <a:cubicBezTo>
                    <a:pt x="3501" y="3382"/>
                    <a:pt x="3513" y="3454"/>
                    <a:pt x="3536" y="3537"/>
                  </a:cubicBezTo>
                  <a:lnTo>
                    <a:pt x="3322" y="3751"/>
                  </a:lnTo>
                  <a:lnTo>
                    <a:pt x="3286" y="3751"/>
                  </a:lnTo>
                  <a:lnTo>
                    <a:pt x="3060" y="3537"/>
                  </a:lnTo>
                  <a:cubicBezTo>
                    <a:pt x="3096" y="3489"/>
                    <a:pt x="3108" y="3430"/>
                    <a:pt x="3108" y="3370"/>
                  </a:cubicBezTo>
                  <a:lnTo>
                    <a:pt x="3108" y="3299"/>
                  </a:lnTo>
                  <a:close/>
                  <a:moveTo>
                    <a:pt x="5418" y="4966"/>
                  </a:moveTo>
                  <a:lnTo>
                    <a:pt x="5418" y="7025"/>
                  </a:lnTo>
                  <a:lnTo>
                    <a:pt x="5406" y="7025"/>
                  </a:lnTo>
                  <a:lnTo>
                    <a:pt x="4346" y="7787"/>
                  </a:lnTo>
                  <a:lnTo>
                    <a:pt x="4346" y="5180"/>
                  </a:lnTo>
                  <a:cubicBezTo>
                    <a:pt x="4429" y="5239"/>
                    <a:pt x="4536" y="5287"/>
                    <a:pt x="4656" y="5299"/>
                  </a:cubicBezTo>
                  <a:lnTo>
                    <a:pt x="4786" y="5299"/>
                  </a:lnTo>
                  <a:cubicBezTo>
                    <a:pt x="4929" y="5287"/>
                    <a:pt x="5060" y="5239"/>
                    <a:pt x="5167" y="5156"/>
                  </a:cubicBezTo>
                  <a:lnTo>
                    <a:pt x="5418" y="4966"/>
                  </a:lnTo>
                  <a:close/>
                  <a:moveTo>
                    <a:pt x="2846" y="3739"/>
                  </a:moveTo>
                  <a:lnTo>
                    <a:pt x="3096" y="3989"/>
                  </a:lnTo>
                  <a:cubicBezTo>
                    <a:pt x="3155" y="4049"/>
                    <a:pt x="3239" y="4096"/>
                    <a:pt x="3334" y="4096"/>
                  </a:cubicBezTo>
                  <a:cubicBezTo>
                    <a:pt x="3417" y="4096"/>
                    <a:pt x="3513" y="4073"/>
                    <a:pt x="3572" y="3989"/>
                  </a:cubicBezTo>
                  <a:lnTo>
                    <a:pt x="3798" y="3775"/>
                  </a:lnTo>
                  <a:cubicBezTo>
                    <a:pt x="3870" y="3799"/>
                    <a:pt x="3941" y="3823"/>
                    <a:pt x="4013" y="3823"/>
                  </a:cubicBezTo>
                  <a:cubicBezTo>
                    <a:pt x="4072" y="3823"/>
                    <a:pt x="4120" y="3858"/>
                    <a:pt x="4167" y="3906"/>
                  </a:cubicBezTo>
                  <a:lnTo>
                    <a:pt x="4644" y="4501"/>
                  </a:lnTo>
                  <a:cubicBezTo>
                    <a:pt x="4676" y="4541"/>
                    <a:pt x="4724" y="4558"/>
                    <a:pt x="4769" y="4558"/>
                  </a:cubicBezTo>
                  <a:cubicBezTo>
                    <a:pt x="4807" y="4558"/>
                    <a:pt x="4843" y="4547"/>
                    <a:pt x="4870" y="4525"/>
                  </a:cubicBezTo>
                  <a:lnTo>
                    <a:pt x="5441" y="4061"/>
                  </a:lnTo>
                  <a:cubicBezTo>
                    <a:pt x="5483" y="4031"/>
                    <a:pt x="5534" y="4016"/>
                    <a:pt x="5581" y="4016"/>
                  </a:cubicBezTo>
                  <a:cubicBezTo>
                    <a:pt x="5629" y="4016"/>
                    <a:pt x="5674" y="4031"/>
                    <a:pt x="5703" y="4061"/>
                  </a:cubicBezTo>
                  <a:cubicBezTo>
                    <a:pt x="5739" y="4108"/>
                    <a:pt x="5763" y="4156"/>
                    <a:pt x="5763" y="4216"/>
                  </a:cubicBezTo>
                  <a:cubicBezTo>
                    <a:pt x="5739" y="4227"/>
                    <a:pt x="5727" y="4275"/>
                    <a:pt x="5679" y="4311"/>
                  </a:cubicBezTo>
                  <a:lnTo>
                    <a:pt x="4953" y="4882"/>
                  </a:lnTo>
                  <a:cubicBezTo>
                    <a:pt x="4894" y="4930"/>
                    <a:pt x="4834" y="4966"/>
                    <a:pt x="4763" y="4966"/>
                  </a:cubicBezTo>
                  <a:lnTo>
                    <a:pt x="4691" y="4966"/>
                  </a:lnTo>
                  <a:cubicBezTo>
                    <a:pt x="4596" y="4942"/>
                    <a:pt x="4513" y="4906"/>
                    <a:pt x="4453" y="4823"/>
                  </a:cubicBezTo>
                  <a:lnTo>
                    <a:pt x="4310" y="4644"/>
                  </a:lnTo>
                  <a:cubicBezTo>
                    <a:pt x="4288" y="4607"/>
                    <a:pt x="4247" y="4588"/>
                    <a:pt x="4205" y="4588"/>
                  </a:cubicBezTo>
                  <a:cubicBezTo>
                    <a:pt x="4180" y="4588"/>
                    <a:pt x="4154" y="4595"/>
                    <a:pt x="4132" y="4608"/>
                  </a:cubicBezTo>
                  <a:cubicBezTo>
                    <a:pt x="4072" y="4632"/>
                    <a:pt x="4036" y="4692"/>
                    <a:pt x="4036" y="4751"/>
                  </a:cubicBezTo>
                  <a:lnTo>
                    <a:pt x="4036" y="8014"/>
                  </a:lnTo>
                  <a:lnTo>
                    <a:pt x="3655" y="8276"/>
                  </a:lnTo>
                  <a:lnTo>
                    <a:pt x="3655" y="6763"/>
                  </a:lnTo>
                  <a:cubicBezTo>
                    <a:pt x="3655" y="6668"/>
                    <a:pt x="3584" y="6597"/>
                    <a:pt x="3501" y="6597"/>
                  </a:cubicBezTo>
                  <a:cubicBezTo>
                    <a:pt x="3405" y="6597"/>
                    <a:pt x="3334" y="6668"/>
                    <a:pt x="3334" y="6763"/>
                  </a:cubicBezTo>
                  <a:lnTo>
                    <a:pt x="3334" y="8502"/>
                  </a:lnTo>
                  <a:lnTo>
                    <a:pt x="2798" y="8895"/>
                  </a:lnTo>
                  <a:lnTo>
                    <a:pt x="2798" y="6811"/>
                  </a:lnTo>
                  <a:cubicBezTo>
                    <a:pt x="2798" y="6644"/>
                    <a:pt x="2751" y="6490"/>
                    <a:pt x="2691" y="6347"/>
                  </a:cubicBezTo>
                  <a:lnTo>
                    <a:pt x="2524" y="6013"/>
                  </a:lnTo>
                  <a:cubicBezTo>
                    <a:pt x="2489" y="5918"/>
                    <a:pt x="2453" y="5811"/>
                    <a:pt x="2453" y="5704"/>
                  </a:cubicBezTo>
                  <a:lnTo>
                    <a:pt x="2453" y="4037"/>
                  </a:lnTo>
                  <a:cubicBezTo>
                    <a:pt x="2453" y="3966"/>
                    <a:pt x="2500" y="3906"/>
                    <a:pt x="2560" y="3870"/>
                  </a:cubicBezTo>
                  <a:lnTo>
                    <a:pt x="2846" y="3739"/>
                  </a:lnTo>
                  <a:close/>
                  <a:moveTo>
                    <a:pt x="5560" y="1"/>
                  </a:moveTo>
                  <a:cubicBezTo>
                    <a:pt x="5477" y="1"/>
                    <a:pt x="5406" y="84"/>
                    <a:pt x="5406" y="167"/>
                  </a:cubicBezTo>
                  <a:lnTo>
                    <a:pt x="5406" y="3680"/>
                  </a:lnTo>
                  <a:cubicBezTo>
                    <a:pt x="5346" y="3692"/>
                    <a:pt x="5287" y="3727"/>
                    <a:pt x="5239" y="3775"/>
                  </a:cubicBezTo>
                  <a:lnTo>
                    <a:pt x="4775" y="4132"/>
                  </a:lnTo>
                  <a:lnTo>
                    <a:pt x="4405" y="3656"/>
                  </a:lnTo>
                  <a:cubicBezTo>
                    <a:pt x="4298" y="3537"/>
                    <a:pt x="4167" y="3454"/>
                    <a:pt x="4001" y="3454"/>
                  </a:cubicBezTo>
                  <a:cubicBezTo>
                    <a:pt x="3894" y="3454"/>
                    <a:pt x="3822" y="3370"/>
                    <a:pt x="3822" y="3275"/>
                  </a:cubicBezTo>
                  <a:lnTo>
                    <a:pt x="3822" y="3096"/>
                  </a:lnTo>
                  <a:cubicBezTo>
                    <a:pt x="4036" y="2953"/>
                    <a:pt x="4167" y="2703"/>
                    <a:pt x="4167" y="2418"/>
                  </a:cubicBezTo>
                  <a:lnTo>
                    <a:pt x="4167" y="2072"/>
                  </a:lnTo>
                  <a:cubicBezTo>
                    <a:pt x="4167" y="1703"/>
                    <a:pt x="3858" y="1394"/>
                    <a:pt x="3477" y="1394"/>
                  </a:cubicBezTo>
                  <a:lnTo>
                    <a:pt x="3143" y="1394"/>
                  </a:lnTo>
                  <a:cubicBezTo>
                    <a:pt x="2762" y="1394"/>
                    <a:pt x="2453" y="1703"/>
                    <a:pt x="2453" y="2072"/>
                  </a:cubicBezTo>
                  <a:lnTo>
                    <a:pt x="2453" y="2418"/>
                  </a:lnTo>
                  <a:cubicBezTo>
                    <a:pt x="2453" y="2703"/>
                    <a:pt x="2584" y="2953"/>
                    <a:pt x="2798" y="3096"/>
                  </a:cubicBezTo>
                  <a:lnTo>
                    <a:pt x="2798" y="3358"/>
                  </a:lnTo>
                  <a:lnTo>
                    <a:pt x="2798" y="3370"/>
                  </a:lnTo>
                  <a:lnTo>
                    <a:pt x="2393" y="3573"/>
                  </a:lnTo>
                  <a:cubicBezTo>
                    <a:pt x="2215" y="3668"/>
                    <a:pt x="2108" y="3846"/>
                    <a:pt x="2108" y="4037"/>
                  </a:cubicBezTo>
                  <a:lnTo>
                    <a:pt x="2108" y="5704"/>
                  </a:lnTo>
                  <a:cubicBezTo>
                    <a:pt x="2108" y="5871"/>
                    <a:pt x="2155" y="6013"/>
                    <a:pt x="2215" y="6168"/>
                  </a:cubicBezTo>
                  <a:lnTo>
                    <a:pt x="2381" y="6490"/>
                  </a:lnTo>
                  <a:cubicBezTo>
                    <a:pt x="2429" y="6597"/>
                    <a:pt x="2453" y="6704"/>
                    <a:pt x="2453" y="6811"/>
                  </a:cubicBezTo>
                  <a:lnTo>
                    <a:pt x="2453" y="9133"/>
                  </a:lnTo>
                  <a:lnTo>
                    <a:pt x="84" y="10812"/>
                  </a:lnTo>
                  <a:cubicBezTo>
                    <a:pt x="12" y="10859"/>
                    <a:pt x="0" y="10954"/>
                    <a:pt x="48" y="11038"/>
                  </a:cubicBezTo>
                  <a:cubicBezTo>
                    <a:pt x="69" y="11081"/>
                    <a:pt x="116" y="11102"/>
                    <a:pt x="166" y="11102"/>
                  </a:cubicBezTo>
                  <a:cubicBezTo>
                    <a:pt x="199" y="11102"/>
                    <a:pt x="234" y="11093"/>
                    <a:pt x="262" y="11074"/>
                  </a:cubicBezTo>
                  <a:lnTo>
                    <a:pt x="5548" y="7323"/>
                  </a:lnTo>
                  <a:lnTo>
                    <a:pt x="10835" y="11074"/>
                  </a:lnTo>
                  <a:cubicBezTo>
                    <a:pt x="10859" y="11097"/>
                    <a:pt x="10894" y="11109"/>
                    <a:pt x="10918" y="11109"/>
                  </a:cubicBezTo>
                  <a:cubicBezTo>
                    <a:pt x="10966" y="11109"/>
                    <a:pt x="11025" y="11074"/>
                    <a:pt x="11061" y="11038"/>
                  </a:cubicBezTo>
                  <a:cubicBezTo>
                    <a:pt x="11133" y="10954"/>
                    <a:pt x="11121" y="10859"/>
                    <a:pt x="11037" y="10812"/>
                  </a:cubicBezTo>
                  <a:lnTo>
                    <a:pt x="5727" y="7049"/>
                  </a:lnTo>
                  <a:lnTo>
                    <a:pt x="5727" y="4692"/>
                  </a:lnTo>
                  <a:lnTo>
                    <a:pt x="5882" y="4573"/>
                  </a:lnTo>
                  <a:cubicBezTo>
                    <a:pt x="6001" y="4477"/>
                    <a:pt x="6072" y="4335"/>
                    <a:pt x="6072" y="4180"/>
                  </a:cubicBezTo>
                  <a:cubicBezTo>
                    <a:pt x="6072" y="4037"/>
                    <a:pt x="6013" y="3882"/>
                    <a:pt x="5906" y="3787"/>
                  </a:cubicBezTo>
                  <a:cubicBezTo>
                    <a:pt x="5858" y="3739"/>
                    <a:pt x="5787" y="3704"/>
                    <a:pt x="5727" y="3680"/>
                  </a:cubicBezTo>
                  <a:lnTo>
                    <a:pt x="5727" y="667"/>
                  </a:lnTo>
                  <a:lnTo>
                    <a:pt x="7906" y="667"/>
                  </a:lnTo>
                  <a:lnTo>
                    <a:pt x="7680" y="1132"/>
                  </a:lnTo>
                  <a:cubicBezTo>
                    <a:pt x="7644" y="1179"/>
                    <a:pt x="7644" y="1239"/>
                    <a:pt x="7680" y="1287"/>
                  </a:cubicBezTo>
                  <a:lnTo>
                    <a:pt x="7906" y="1751"/>
                  </a:lnTo>
                  <a:lnTo>
                    <a:pt x="6251" y="1751"/>
                  </a:lnTo>
                  <a:cubicBezTo>
                    <a:pt x="6156" y="1751"/>
                    <a:pt x="6084" y="1822"/>
                    <a:pt x="6084" y="1906"/>
                  </a:cubicBezTo>
                  <a:cubicBezTo>
                    <a:pt x="6084" y="2001"/>
                    <a:pt x="6156" y="2072"/>
                    <a:pt x="6251" y="2072"/>
                  </a:cubicBezTo>
                  <a:lnTo>
                    <a:pt x="8156" y="2072"/>
                  </a:lnTo>
                  <a:cubicBezTo>
                    <a:pt x="8215" y="2072"/>
                    <a:pt x="8263" y="2049"/>
                    <a:pt x="8287" y="2001"/>
                  </a:cubicBezTo>
                  <a:cubicBezTo>
                    <a:pt x="8323" y="1953"/>
                    <a:pt x="8323" y="1894"/>
                    <a:pt x="8287" y="1834"/>
                  </a:cubicBezTo>
                  <a:lnTo>
                    <a:pt x="7977" y="1215"/>
                  </a:lnTo>
                  <a:lnTo>
                    <a:pt x="8287" y="584"/>
                  </a:lnTo>
                  <a:cubicBezTo>
                    <a:pt x="8323" y="537"/>
                    <a:pt x="8323" y="477"/>
                    <a:pt x="8287" y="417"/>
                  </a:cubicBezTo>
                  <a:cubicBezTo>
                    <a:pt x="8263" y="382"/>
                    <a:pt x="8204" y="346"/>
                    <a:pt x="8156" y="346"/>
                  </a:cubicBezTo>
                  <a:lnTo>
                    <a:pt x="5727" y="346"/>
                  </a:lnTo>
                  <a:lnTo>
                    <a:pt x="5727" y="167"/>
                  </a:lnTo>
                  <a:cubicBezTo>
                    <a:pt x="5727" y="84"/>
                    <a:pt x="5656" y="1"/>
                    <a:pt x="5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1" name="Google Shape;13411;p64"/>
            <p:cNvSpPr/>
            <p:nvPr/>
          </p:nvSpPr>
          <p:spPr>
            <a:xfrm>
              <a:off x="8190160" y="2704158"/>
              <a:ext cx="61814" cy="45644"/>
            </a:xfrm>
            <a:custGeom>
              <a:avLst/>
              <a:gdLst/>
              <a:ahLst/>
              <a:cxnLst/>
              <a:rect l="l" t="t" r="r" b="b"/>
              <a:pathLst>
                <a:path w="1942" h="1434" extrusionOk="0">
                  <a:moveTo>
                    <a:pt x="173" y="0"/>
                  </a:moveTo>
                  <a:cubicBezTo>
                    <a:pt x="123" y="0"/>
                    <a:pt x="77" y="22"/>
                    <a:pt x="48" y="65"/>
                  </a:cubicBezTo>
                  <a:cubicBezTo>
                    <a:pt x="1" y="148"/>
                    <a:pt x="13" y="243"/>
                    <a:pt x="96" y="291"/>
                  </a:cubicBezTo>
                  <a:lnTo>
                    <a:pt x="1668" y="1410"/>
                  </a:lnTo>
                  <a:cubicBezTo>
                    <a:pt x="1703" y="1422"/>
                    <a:pt x="1727" y="1434"/>
                    <a:pt x="1763" y="1434"/>
                  </a:cubicBezTo>
                  <a:cubicBezTo>
                    <a:pt x="1799" y="1434"/>
                    <a:pt x="1858" y="1410"/>
                    <a:pt x="1894" y="1362"/>
                  </a:cubicBezTo>
                  <a:cubicBezTo>
                    <a:pt x="1942" y="1291"/>
                    <a:pt x="1918" y="1196"/>
                    <a:pt x="1846" y="1136"/>
                  </a:cubicBezTo>
                  <a:lnTo>
                    <a:pt x="275" y="29"/>
                  </a:lnTo>
                  <a:cubicBezTo>
                    <a:pt x="241" y="10"/>
                    <a:pt x="206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2" name="Google Shape;13412;p64"/>
            <p:cNvSpPr/>
            <p:nvPr/>
          </p:nvSpPr>
          <p:spPr>
            <a:xfrm>
              <a:off x="8162882" y="2684201"/>
              <a:ext cx="22026" cy="18239"/>
            </a:xfrm>
            <a:custGeom>
              <a:avLst/>
              <a:gdLst/>
              <a:ahLst/>
              <a:cxnLst/>
              <a:rect l="l" t="t" r="r" b="b"/>
              <a:pathLst>
                <a:path w="692" h="573" extrusionOk="0">
                  <a:moveTo>
                    <a:pt x="177" y="0"/>
                  </a:moveTo>
                  <a:cubicBezTo>
                    <a:pt x="123" y="0"/>
                    <a:pt x="67" y="26"/>
                    <a:pt x="36" y="73"/>
                  </a:cubicBezTo>
                  <a:cubicBezTo>
                    <a:pt x="1" y="144"/>
                    <a:pt x="13" y="251"/>
                    <a:pt x="84" y="299"/>
                  </a:cubicBezTo>
                  <a:lnTo>
                    <a:pt x="429" y="549"/>
                  </a:lnTo>
                  <a:cubicBezTo>
                    <a:pt x="453" y="561"/>
                    <a:pt x="489" y="573"/>
                    <a:pt x="513" y="573"/>
                  </a:cubicBezTo>
                  <a:cubicBezTo>
                    <a:pt x="560" y="573"/>
                    <a:pt x="620" y="549"/>
                    <a:pt x="655" y="501"/>
                  </a:cubicBezTo>
                  <a:cubicBezTo>
                    <a:pt x="691" y="430"/>
                    <a:pt x="679" y="323"/>
                    <a:pt x="608" y="275"/>
                  </a:cubicBezTo>
                  <a:lnTo>
                    <a:pt x="263" y="25"/>
                  </a:lnTo>
                  <a:cubicBezTo>
                    <a:pt x="237" y="8"/>
                    <a:pt x="207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13" name="Google Shape;13413;p64"/>
          <p:cNvGrpSpPr/>
          <p:nvPr/>
        </p:nvGrpSpPr>
        <p:grpSpPr>
          <a:xfrm>
            <a:off x="1817317" y="2480330"/>
            <a:ext cx="350958" cy="263043"/>
            <a:chOff x="1817317" y="2480330"/>
            <a:chExt cx="350958" cy="263043"/>
          </a:xfrm>
        </p:grpSpPr>
        <p:sp>
          <p:nvSpPr>
            <p:cNvPr id="13414" name="Google Shape;13414;p64"/>
            <p:cNvSpPr/>
            <p:nvPr/>
          </p:nvSpPr>
          <p:spPr>
            <a:xfrm>
              <a:off x="1817317" y="2480330"/>
              <a:ext cx="350958" cy="191426"/>
            </a:xfrm>
            <a:custGeom>
              <a:avLst/>
              <a:gdLst/>
              <a:ahLst/>
              <a:cxnLst/>
              <a:rect l="l" t="t" r="r" b="b"/>
              <a:pathLst>
                <a:path w="11026" h="6014" extrusionOk="0">
                  <a:moveTo>
                    <a:pt x="4477" y="1"/>
                  </a:moveTo>
                  <a:cubicBezTo>
                    <a:pt x="3918" y="1"/>
                    <a:pt x="3382" y="179"/>
                    <a:pt x="2917" y="524"/>
                  </a:cubicBezTo>
                  <a:cubicBezTo>
                    <a:pt x="2513" y="834"/>
                    <a:pt x="2203" y="1251"/>
                    <a:pt x="2036" y="1727"/>
                  </a:cubicBezTo>
                  <a:cubicBezTo>
                    <a:pt x="905" y="1787"/>
                    <a:pt x="0" y="2727"/>
                    <a:pt x="0" y="3870"/>
                  </a:cubicBezTo>
                  <a:cubicBezTo>
                    <a:pt x="0" y="5061"/>
                    <a:pt x="965" y="6013"/>
                    <a:pt x="2143" y="6013"/>
                  </a:cubicBezTo>
                  <a:lnTo>
                    <a:pt x="2917" y="6013"/>
                  </a:lnTo>
                  <a:cubicBezTo>
                    <a:pt x="3001" y="6013"/>
                    <a:pt x="3084" y="5942"/>
                    <a:pt x="3084" y="5847"/>
                  </a:cubicBezTo>
                  <a:cubicBezTo>
                    <a:pt x="3084" y="5763"/>
                    <a:pt x="3001" y="5692"/>
                    <a:pt x="2917" y="5692"/>
                  </a:cubicBezTo>
                  <a:lnTo>
                    <a:pt x="2143" y="5692"/>
                  </a:lnTo>
                  <a:cubicBezTo>
                    <a:pt x="1131" y="5692"/>
                    <a:pt x="310" y="4870"/>
                    <a:pt x="310" y="3858"/>
                  </a:cubicBezTo>
                  <a:cubicBezTo>
                    <a:pt x="310" y="2846"/>
                    <a:pt x="1131" y="2025"/>
                    <a:pt x="2132" y="2025"/>
                  </a:cubicBezTo>
                  <a:lnTo>
                    <a:pt x="2143" y="2025"/>
                  </a:lnTo>
                  <a:cubicBezTo>
                    <a:pt x="2215" y="2025"/>
                    <a:pt x="2274" y="1977"/>
                    <a:pt x="2286" y="1906"/>
                  </a:cubicBezTo>
                  <a:cubicBezTo>
                    <a:pt x="2429" y="1441"/>
                    <a:pt x="2703" y="1036"/>
                    <a:pt x="3096" y="739"/>
                  </a:cubicBezTo>
                  <a:cubicBezTo>
                    <a:pt x="3477" y="441"/>
                    <a:pt x="3953" y="286"/>
                    <a:pt x="4453" y="286"/>
                  </a:cubicBezTo>
                  <a:cubicBezTo>
                    <a:pt x="5239" y="286"/>
                    <a:pt x="5953" y="679"/>
                    <a:pt x="6370" y="1334"/>
                  </a:cubicBezTo>
                  <a:cubicBezTo>
                    <a:pt x="6412" y="1386"/>
                    <a:pt x="6471" y="1420"/>
                    <a:pt x="6533" y="1420"/>
                  </a:cubicBezTo>
                  <a:cubicBezTo>
                    <a:pt x="6542" y="1420"/>
                    <a:pt x="6551" y="1419"/>
                    <a:pt x="6561" y="1417"/>
                  </a:cubicBezTo>
                  <a:cubicBezTo>
                    <a:pt x="6751" y="1358"/>
                    <a:pt x="6954" y="1322"/>
                    <a:pt x="7144" y="1322"/>
                  </a:cubicBezTo>
                  <a:cubicBezTo>
                    <a:pt x="7942" y="1322"/>
                    <a:pt x="8644" y="1846"/>
                    <a:pt x="8882" y="2608"/>
                  </a:cubicBezTo>
                  <a:cubicBezTo>
                    <a:pt x="8918" y="2679"/>
                    <a:pt x="8978" y="2727"/>
                    <a:pt x="9061" y="2727"/>
                  </a:cubicBezTo>
                  <a:cubicBezTo>
                    <a:pt x="9121" y="2727"/>
                    <a:pt x="9168" y="2703"/>
                    <a:pt x="9228" y="2703"/>
                  </a:cubicBezTo>
                  <a:cubicBezTo>
                    <a:pt x="10049" y="2703"/>
                    <a:pt x="10704" y="3382"/>
                    <a:pt x="10704" y="4180"/>
                  </a:cubicBezTo>
                  <a:cubicBezTo>
                    <a:pt x="10704" y="4989"/>
                    <a:pt x="10025" y="5656"/>
                    <a:pt x="9228" y="5656"/>
                  </a:cubicBezTo>
                  <a:lnTo>
                    <a:pt x="8109" y="5656"/>
                  </a:lnTo>
                  <a:cubicBezTo>
                    <a:pt x="8025" y="5656"/>
                    <a:pt x="7942" y="5727"/>
                    <a:pt x="7942" y="5823"/>
                  </a:cubicBezTo>
                  <a:cubicBezTo>
                    <a:pt x="7942" y="5906"/>
                    <a:pt x="8025" y="5978"/>
                    <a:pt x="8109" y="5978"/>
                  </a:cubicBezTo>
                  <a:lnTo>
                    <a:pt x="9228" y="5978"/>
                  </a:lnTo>
                  <a:cubicBezTo>
                    <a:pt x="10228" y="5978"/>
                    <a:pt x="11026" y="5180"/>
                    <a:pt x="11026" y="4180"/>
                  </a:cubicBezTo>
                  <a:cubicBezTo>
                    <a:pt x="11026" y="3180"/>
                    <a:pt x="10204" y="2429"/>
                    <a:pt x="9228" y="2429"/>
                  </a:cubicBezTo>
                  <a:lnTo>
                    <a:pt x="9168" y="2429"/>
                  </a:lnTo>
                  <a:cubicBezTo>
                    <a:pt x="9013" y="2060"/>
                    <a:pt x="8763" y="1715"/>
                    <a:pt x="8442" y="1477"/>
                  </a:cubicBezTo>
                  <a:cubicBezTo>
                    <a:pt x="8061" y="1191"/>
                    <a:pt x="7620" y="1048"/>
                    <a:pt x="7156" y="1048"/>
                  </a:cubicBezTo>
                  <a:cubicBezTo>
                    <a:pt x="6966" y="1048"/>
                    <a:pt x="6787" y="1072"/>
                    <a:pt x="6596" y="1120"/>
                  </a:cubicBezTo>
                  <a:cubicBezTo>
                    <a:pt x="6096" y="417"/>
                    <a:pt x="5322" y="1"/>
                    <a:pt x="4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5" name="Google Shape;13415;p64"/>
            <p:cNvSpPr/>
            <p:nvPr/>
          </p:nvSpPr>
          <p:spPr>
            <a:xfrm>
              <a:off x="1926844" y="2568626"/>
              <a:ext cx="131140" cy="174747"/>
            </a:xfrm>
            <a:custGeom>
              <a:avLst/>
              <a:gdLst/>
              <a:ahLst/>
              <a:cxnLst/>
              <a:rect l="l" t="t" r="r" b="b"/>
              <a:pathLst>
                <a:path w="4120" h="5490" extrusionOk="0">
                  <a:moveTo>
                    <a:pt x="2417" y="322"/>
                  </a:moveTo>
                  <a:lnTo>
                    <a:pt x="2417" y="1370"/>
                  </a:lnTo>
                  <a:cubicBezTo>
                    <a:pt x="2417" y="1537"/>
                    <a:pt x="2572" y="1691"/>
                    <a:pt x="2751" y="1691"/>
                  </a:cubicBezTo>
                  <a:lnTo>
                    <a:pt x="3274" y="1691"/>
                  </a:lnTo>
                  <a:cubicBezTo>
                    <a:pt x="3358" y="1691"/>
                    <a:pt x="3429" y="1620"/>
                    <a:pt x="3429" y="1525"/>
                  </a:cubicBezTo>
                  <a:cubicBezTo>
                    <a:pt x="3429" y="1441"/>
                    <a:pt x="3358" y="1358"/>
                    <a:pt x="3274" y="1358"/>
                  </a:cubicBezTo>
                  <a:lnTo>
                    <a:pt x="2751" y="1358"/>
                  </a:lnTo>
                  <a:cubicBezTo>
                    <a:pt x="2751" y="1358"/>
                    <a:pt x="2727" y="1358"/>
                    <a:pt x="2727" y="1346"/>
                  </a:cubicBezTo>
                  <a:lnTo>
                    <a:pt x="2727" y="346"/>
                  </a:lnTo>
                  <a:lnTo>
                    <a:pt x="3751" y="1358"/>
                  </a:lnTo>
                  <a:cubicBezTo>
                    <a:pt x="3775" y="1394"/>
                    <a:pt x="3798" y="1441"/>
                    <a:pt x="3798" y="1501"/>
                  </a:cubicBezTo>
                  <a:lnTo>
                    <a:pt x="3798" y="5180"/>
                  </a:lnTo>
                  <a:lnTo>
                    <a:pt x="3810" y="5180"/>
                  </a:lnTo>
                  <a:lnTo>
                    <a:pt x="334" y="5192"/>
                  </a:lnTo>
                  <a:cubicBezTo>
                    <a:pt x="334" y="5192"/>
                    <a:pt x="322" y="5192"/>
                    <a:pt x="322" y="5180"/>
                  </a:cubicBezTo>
                  <a:lnTo>
                    <a:pt x="322" y="334"/>
                  </a:lnTo>
                  <a:cubicBezTo>
                    <a:pt x="322" y="334"/>
                    <a:pt x="322" y="322"/>
                    <a:pt x="334" y="322"/>
                  </a:cubicBezTo>
                  <a:close/>
                  <a:moveTo>
                    <a:pt x="322" y="1"/>
                  </a:moveTo>
                  <a:cubicBezTo>
                    <a:pt x="143" y="1"/>
                    <a:pt x="0" y="144"/>
                    <a:pt x="0" y="322"/>
                  </a:cubicBezTo>
                  <a:lnTo>
                    <a:pt x="0" y="5156"/>
                  </a:lnTo>
                  <a:cubicBezTo>
                    <a:pt x="0" y="5335"/>
                    <a:pt x="143" y="5489"/>
                    <a:pt x="322" y="5489"/>
                  </a:cubicBezTo>
                  <a:lnTo>
                    <a:pt x="3775" y="5489"/>
                  </a:lnTo>
                  <a:cubicBezTo>
                    <a:pt x="3953" y="5489"/>
                    <a:pt x="4108" y="5335"/>
                    <a:pt x="4108" y="5156"/>
                  </a:cubicBezTo>
                  <a:lnTo>
                    <a:pt x="4108" y="1501"/>
                  </a:lnTo>
                  <a:cubicBezTo>
                    <a:pt x="4120" y="1382"/>
                    <a:pt x="4072" y="1251"/>
                    <a:pt x="3965" y="1156"/>
                  </a:cubicBezTo>
                  <a:lnTo>
                    <a:pt x="2953" y="144"/>
                  </a:lnTo>
                  <a:cubicBezTo>
                    <a:pt x="2870" y="48"/>
                    <a:pt x="2739" y="1"/>
                    <a:pt x="2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6" name="Google Shape;13416;p64"/>
            <p:cNvSpPr/>
            <p:nvPr/>
          </p:nvSpPr>
          <p:spPr>
            <a:xfrm>
              <a:off x="1965485" y="2639893"/>
              <a:ext cx="55002" cy="70885"/>
            </a:xfrm>
            <a:custGeom>
              <a:avLst/>
              <a:gdLst/>
              <a:ahLst/>
              <a:cxnLst/>
              <a:rect l="l" t="t" r="r" b="b"/>
              <a:pathLst>
                <a:path w="1728" h="2227" extrusionOk="0">
                  <a:moveTo>
                    <a:pt x="870" y="0"/>
                  </a:moveTo>
                  <a:cubicBezTo>
                    <a:pt x="822" y="0"/>
                    <a:pt x="775" y="36"/>
                    <a:pt x="751" y="60"/>
                  </a:cubicBezTo>
                  <a:lnTo>
                    <a:pt x="60" y="929"/>
                  </a:lnTo>
                  <a:cubicBezTo>
                    <a:pt x="1" y="1000"/>
                    <a:pt x="13" y="1107"/>
                    <a:pt x="84" y="1155"/>
                  </a:cubicBezTo>
                  <a:cubicBezTo>
                    <a:pt x="117" y="1178"/>
                    <a:pt x="151" y="1189"/>
                    <a:pt x="183" y="1189"/>
                  </a:cubicBezTo>
                  <a:cubicBezTo>
                    <a:pt x="234" y="1189"/>
                    <a:pt x="281" y="1163"/>
                    <a:pt x="310" y="1119"/>
                  </a:cubicBezTo>
                  <a:lnTo>
                    <a:pt x="715" y="619"/>
                  </a:lnTo>
                  <a:lnTo>
                    <a:pt x="715" y="2060"/>
                  </a:lnTo>
                  <a:cubicBezTo>
                    <a:pt x="715" y="2143"/>
                    <a:pt x="787" y="2227"/>
                    <a:pt x="882" y="2227"/>
                  </a:cubicBezTo>
                  <a:cubicBezTo>
                    <a:pt x="965" y="2227"/>
                    <a:pt x="1048" y="2143"/>
                    <a:pt x="1048" y="2060"/>
                  </a:cubicBezTo>
                  <a:lnTo>
                    <a:pt x="1048" y="619"/>
                  </a:lnTo>
                  <a:lnTo>
                    <a:pt x="1441" y="1119"/>
                  </a:lnTo>
                  <a:cubicBezTo>
                    <a:pt x="1477" y="1167"/>
                    <a:pt x="1513" y="1179"/>
                    <a:pt x="1560" y="1179"/>
                  </a:cubicBezTo>
                  <a:cubicBezTo>
                    <a:pt x="1596" y="1179"/>
                    <a:pt x="1644" y="1167"/>
                    <a:pt x="1668" y="1155"/>
                  </a:cubicBezTo>
                  <a:cubicBezTo>
                    <a:pt x="1715" y="1107"/>
                    <a:pt x="1727" y="1000"/>
                    <a:pt x="1668" y="929"/>
                  </a:cubicBezTo>
                  <a:lnTo>
                    <a:pt x="989" y="60"/>
                  </a:lnTo>
                  <a:cubicBezTo>
                    <a:pt x="953" y="24"/>
                    <a:pt x="906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7" name="Google Shape;13417;p64"/>
            <p:cNvSpPr/>
            <p:nvPr/>
          </p:nvSpPr>
          <p:spPr>
            <a:xfrm>
              <a:off x="1965103" y="2503406"/>
              <a:ext cx="43989" cy="31162"/>
            </a:xfrm>
            <a:custGeom>
              <a:avLst/>
              <a:gdLst/>
              <a:ahLst/>
              <a:cxnLst/>
              <a:rect l="l" t="t" r="r" b="b"/>
              <a:pathLst>
                <a:path w="1382" h="979" extrusionOk="0">
                  <a:moveTo>
                    <a:pt x="181" y="0"/>
                  </a:moveTo>
                  <a:cubicBezTo>
                    <a:pt x="104" y="0"/>
                    <a:pt x="24" y="56"/>
                    <a:pt x="13" y="121"/>
                  </a:cubicBezTo>
                  <a:cubicBezTo>
                    <a:pt x="1" y="216"/>
                    <a:pt x="60" y="300"/>
                    <a:pt x="132" y="323"/>
                  </a:cubicBezTo>
                  <a:cubicBezTo>
                    <a:pt x="501" y="395"/>
                    <a:pt x="846" y="597"/>
                    <a:pt x="1072" y="919"/>
                  </a:cubicBezTo>
                  <a:cubicBezTo>
                    <a:pt x="1096" y="954"/>
                    <a:pt x="1144" y="978"/>
                    <a:pt x="1203" y="978"/>
                  </a:cubicBezTo>
                  <a:cubicBezTo>
                    <a:pt x="1227" y="978"/>
                    <a:pt x="1275" y="954"/>
                    <a:pt x="1310" y="942"/>
                  </a:cubicBezTo>
                  <a:cubicBezTo>
                    <a:pt x="1370" y="895"/>
                    <a:pt x="1382" y="800"/>
                    <a:pt x="1334" y="716"/>
                  </a:cubicBezTo>
                  <a:cubicBezTo>
                    <a:pt x="1060" y="347"/>
                    <a:pt x="656" y="97"/>
                    <a:pt x="203" y="2"/>
                  </a:cubicBezTo>
                  <a:cubicBezTo>
                    <a:pt x="196" y="1"/>
                    <a:pt x="189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8" name="Google Shape;13418;p64"/>
            <p:cNvSpPr/>
            <p:nvPr/>
          </p:nvSpPr>
          <p:spPr>
            <a:xfrm>
              <a:off x="2052668" y="2537369"/>
              <a:ext cx="34504" cy="30175"/>
            </a:xfrm>
            <a:custGeom>
              <a:avLst/>
              <a:gdLst/>
              <a:ahLst/>
              <a:cxnLst/>
              <a:rect l="l" t="t" r="r" b="b"/>
              <a:pathLst>
                <a:path w="1084" h="948" extrusionOk="0">
                  <a:moveTo>
                    <a:pt x="194" y="0"/>
                  </a:moveTo>
                  <a:cubicBezTo>
                    <a:pt x="124" y="0"/>
                    <a:pt x="56" y="45"/>
                    <a:pt x="36" y="114"/>
                  </a:cubicBezTo>
                  <a:cubicBezTo>
                    <a:pt x="0" y="209"/>
                    <a:pt x="48" y="292"/>
                    <a:pt x="131" y="328"/>
                  </a:cubicBezTo>
                  <a:cubicBezTo>
                    <a:pt x="405" y="411"/>
                    <a:pt x="631" y="602"/>
                    <a:pt x="762" y="864"/>
                  </a:cubicBezTo>
                  <a:cubicBezTo>
                    <a:pt x="786" y="923"/>
                    <a:pt x="845" y="947"/>
                    <a:pt x="905" y="947"/>
                  </a:cubicBezTo>
                  <a:cubicBezTo>
                    <a:pt x="941" y="947"/>
                    <a:pt x="953" y="947"/>
                    <a:pt x="988" y="935"/>
                  </a:cubicBezTo>
                  <a:cubicBezTo>
                    <a:pt x="1060" y="887"/>
                    <a:pt x="1084" y="804"/>
                    <a:pt x="1048" y="709"/>
                  </a:cubicBezTo>
                  <a:cubicBezTo>
                    <a:pt x="869" y="387"/>
                    <a:pt x="584" y="149"/>
                    <a:pt x="238" y="6"/>
                  </a:cubicBezTo>
                  <a:cubicBezTo>
                    <a:pt x="224" y="2"/>
                    <a:pt x="209" y="0"/>
                    <a:pt x="1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19" name="Google Shape;13419;p64"/>
          <p:cNvGrpSpPr/>
          <p:nvPr/>
        </p:nvGrpSpPr>
        <p:grpSpPr>
          <a:xfrm>
            <a:off x="1341727" y="2483349"/>
            <a:ext cx="419913" cy="308109"/>
            <a:chOff x="1341727" y="2483349"/>
            <a:chExt cx="419913" cy="308109"/>
          </a:xfrm>
        </p:grpSpPr>
        <p:sp>
          <p:nvSpPr>
            <p:cNvPr id="13420" name="Google Shape;13420;p64"/>
            <p:cNvSpPr/>
            <p:nvPr/>
          </p:nvSpPr>
          <p:spPr>
            <a:xfrm>
              <a:off x="1623896" y="2522310"/>
              <a:ext cx="53488" cy="18605"/>
            </a:xfrm>
            <a:custGeom>
              <a:avLst/>
              <a:gdLst/>
              <a:ahLst/>
              <a:cxnLst/>
              <a:rect l="l" t="t" r="r" b="b"/>
              <a:pathLst>
                <a:path w="1406" h="489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22"/>
                    <a:pt x="167" y="322"/>
                  </a:cubicBezTo>
                  <a:cubicBezTo>
                    <a:pt x="346" y="322"/>
                    <a:pt x="882" y="358"/>
                    <a:pt x="1144" y="477"/>
                  </a:cubicBezTo>
                  <a:cubicBezTo>
                    <a:pt x="1167" y="489"/>
                    <a:pt x="1179" y="489"/>
                    <a:pt x="1215" y="489"/>
                  </a:cubicBezTo>
                  <a:cubicBezTo>
                    <a:pt x="1275" y="489"/>
                    <a:pt x="1334" y="465"/>
                    <a:pt x="1358" y="406"/>
                  </a:cubicBezTo>
                  <a:cubicBezTo>
                    <a:pt x="1406" y="346"/>
                    <a:pt x="1358" y="239"/>
                    <a:pt x="1286" y="191"/>
                  </a:cubicBezTo>
                  <a:cubicBezTo>
                    <a:pt x="917" y="1"/>
                    <a:pt x="20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1" name="Google Shape;13421;p64"/>
            <p:cNvSpPr/>
            <p:nvPr/>
          </p:nvSpPr>
          <p:spPr>
            <a:xfrm>
              <a:off x="1341727" y="2483349"/>
              <a:ext cx="419913" cy="308109"/>
            </a:xfrm>
            <a:custGeom>
              <a:avLst/>
              <a:gdLst/>
              <a:ahLst/>
              <a:cxnLst/>
              <a:rect l="l" t="t" r="r" b="b"/>
              <a:pathLst>
                <a:path w="11038" h="8098" extrusionOk="0">
                  <a:moveTo>
                    <a:pt x="9156" y="501"/>
                  </a:moveTo>
                  <a:lnTo>
                    <a:pt x="9156" y="1168"/>
                  </a:lnTo>
                  <a:cubicBezTo>
                    <a:pt x="9156" y="1275"/>
                    <a:pt x="9120" y="1394"/>
                    <a:pt x="9073" y="1489"/>
                  </a:cubicBezTo>
                  <a:lnTo>
                    <a:pt x="9001" y="1644"/>
                  </a:lnTo>
                  <a:cubicBezTo>
                    <a:pt x="8989" y="1680"/>
                    <a:pt x="8989" y="1692"/>
                    <a:pt x="8989" y="1727"/>
                  </a:cubicBezTo>
                  <a:lnTo>
                    <a:pt x="8989" y="2061"/>
                  </a:lnTo>
                  <a:cubicBezTo>
                    <a:pt x="8989" y="2299"/>
                    <a:pt x="8894" y="2525"/>
                    <a:pt x="8715" y="2692"/>
                  </a:cubicBezTo>
                  <a:cubicBezTo>
                    <a:pt x="8537" y="2858"/>
                    <a:pt x="8311" y="2942"/>
                    <a:pt x="8072" y="2942"/>
                  </a:cubicBezTo>
                  <a:cubicBezTo>
                    <a:pt x="7620" y="2918"/>
                    <a:pt x="7227" y="2513"/>
                    <a:pt x="7227" y="2025"/>
                  </a:cubicBezTo>
                  <a:lnTo>
                    <a:pt x="7227" y="1727"/>
                  </a:lnTo>
                  <a:cubicBezTo>
                    <a:pt x="7227" y="1692"/>
                    <a:pt x="7227" y="1680"/>
                    <a:pt x="7215" y="1644"/>
                  </a:cubicBezTo>
                  <a:lnTo>
                    <a:pt x="7108" y="1453"/>
                  </a:lnTo>
                  <a:cubicBezTo>
                    <a:pt x="7084" y="1382"/>
                    <a:pt x="7049" y="1311"/>
                    <a:pt x="7049" y="1215"/>
                  </a:cubicBezTo>
                  <a:lnTo>
                    <a:pt x="7049" y="1203"/>
                  </a:lnTo>
                  <a:cubicBezTo>
                    <a:pt x="7049" y="810"/>
                    <a:pt x="7370" y="501"/>
                    <a:pt x="7751" y="501"/>
                  </a:cubicBezTo>
                  <a:close/>
                  <a:moveTo>
                    <a:pt x="3274" y="322"/>
                  </a:moveTo>
                  <a:cubicBezTo>
                    <a:pt x="3548" y="322"/>
                    <a:pt x="3786" y="429"/>
                    <a:pt x="3989" y="632"/>
                  </a:cubicBezTo>
                  <a:cubicBezTo>
                    <a:pt x="4179" y="834"/>
                    <a:pt x="4298" y="1108"/>
                    <a:pt x="4310" y="1394"/>
                  </a:cubicBezTo>
                  <a:cubicBezTo>
                    <a:pt x="4346" y="1739"/>
                    <a:pt x="4441" y="2442"/>
                    <a:pt x="4608" y="2858"/>
                  </a:cubicBezTo>
                  <a:cubicBezTo>
                    <a:pt x="4358" y="2942"/>
                    <a:pt x="3870" y="3096"/>
                    <a:pt x="3274" y="3096"/>
                  </a:cubicBezTo>
                  <a:cubicBezTo>
                    <a:pt x="3253" y="3097"/>
                    <a:pt x="3232" y="3097"/>
                    <a:pt x="3210" y="3097"/>
                  </a:cubicBezTo>
                  <a:cubicBezTo>
                    <a:pt x="2654" y="3097"/>
                    <a:pt x="2182" y="2951"/>
                    <a:pt x="1953" y="2870"/>
                  </a:cubicBezTo>
                  <a:cubicBezTo>
                    <a:pt x="2096" y="2442"/>
                    <a:pt x="2215" y="1739"/>
                    <a:pt x="2226" y="1394"/>
                  </a:cubicBezTo>
                  <a:cubicBezTo>
                    <a:pt x="2250" y="1096"/>
                    <a:pt x="2357" y="834"/>
                    <a:pt x="2560" y="632"/>
                  </a:cubicBezTo>
                  <a:cubicBezTo>
                    <a:pt x="2750" y="429"/>
                    <a:pt x="3000" y="322"/>
                    <a:pt x="3274" y="322"/>
                  </a:cubicBezTo>
                  <a:close/>
                  <a:moveTo>
                    <a:pt x="7751" y="3192"/>
                  </a:moveTo>
                  <a:cubicBezTo>
                    <a:pt x="7858" y="3227"/>
                    <a:pt x="7965" y="3251"/>
                    <a:pt x="8084" y="3251"/>
                  </a:cubicBezTo>
                  <a:lnTo>
                    <a:pt x="8120" y="3251"/>
                  </a:lnTo>
                  <a:cubicBezTo>
                    <a:pt x="8239" y="3251"/>
                    <a:pt x="8358" y="3239"/>
                    <a:pt x="8477" y="3192"/>
                  </a:cubicBezTo>
                  <a:lnTo>
                    <a:pt x="8477" y="3192"/>
                  </a:lnTo>
                  <a:cubicBezTo>
                    <a:pt x="8465" y="3251"/>
                    <a:pt x="8477" y="3299"/>
                    <a:pt x="8501" y="3346"/>
                  </a:cubicBezTo>
                  <a:lnTo>
                    <a:pt x="8358" y="3477"/>
                  </a:lnTo>
                  <a:cubicBezTo>
                    <a:pt x="8287" y="3549"/>
                    <a:pt x="8203" y="3585"/>
                    <a:pt x="8108" y="3585"/>
                  </a:cubicBezTo>
                  <a:cubicBezTo>
                    <a:pt x="8025" y="3585"/>
                    <a:pt x="7930" y="3549"/>
                    <a:pt x="7858" y="3477"/>
                  </a:cubicBezTo>
                  <a:lnTo>
                    <a:pt x="7727" y="3346"/>
                  </a:lnTo>
                  <a:cubicBezTo>
                    <a:pt x="7739" y="3299"/>
                    <a:pt x="7751" y="3251"/>
                    <a:pt x="7751" y="3192"/>
                  </a:cubicBezTo>
                  <a:close/>
                  <a:moveTo>
                    <a:pt x="3691" y="3418"/>
                  </a:moveTo>
                  <a:cubicBezTo>
                    <a:pt x="3750" y="3537"/>
                    <a:pt x="3870" y="3644"/>
                    <a:pt x="4001" y="3668"/>
                  </a:cubicBezTo>
                  <a:lnTo>
                    <a:pt x="4584" y="3835"/>
                  </a:lnTo>
                  <a:cubicBezTo>
                    <a:pt x="4727" y="3882"/>
                    <a:pt x="4834" y="4013"/>
                    <a:pt x="4834" y="4180"/>
                  </a:cubicBezTo>
                  <a:lnTo>
                    <a:pt x="4834" y="5680"/>
                  </a:lnTo>
                  <a:cubicBezTo>
                    <a:pt x="4834" y="5871"/>
                    <a:pt x="4667" y="6037"/>
                    <a:pt x="4477" y="6037"/>
                  </a:cubicBezTo>
                  <a:lnTo>
                    <a:pt x="4477" y="4811"/>
                  </a:lnTo>
                  <a:cubicBezTo>
                    <a:pt x="4477" y="4549"/>
                    <a:pt x="4239" y="4311"/>
                    <a:pt x="3977" y="4311"/>
                  </a:cubicBezTo>
                  <a:lnTo>
                    <a:pt x="2584" y="4311"/>
                  </a:lnTo>
                  <a:cubicBezTo>
                    <a:pt x="2310" y="4311"/>
                    <a:pt x="2084" y="4537"/>
                    <a:pt x="2084" y="4811"/>
                  </a:cubicBezTo>
                  <a:lnTo>
                    <a:pt x="2084" y="6037"/>
                  </a:lnTo>
                  <a:lnTo>
                    <a:pt x="2072" y="6037"/>
                  </a:lnTo>
                  <a:cubicBezTo>
                    <a:pt x="1869" y="6037"/>
                    <a:pt x="1715" y="5871"/>
                    <a:pt x="1715" y="5680"/>
                  </a:cubicBezTo>
                  <a:lnTo>
                    <a:pt x="1715" y="4180"/>
                  </a:lnTo>
                  <a:cubicBezTo>
                    <a:pt x="1715" y="4013"/>
                    <a:pt x="1810" y="3882"/>
                    <a:pt x="1965" y="3835"/>
                  </a:cubicBezTo>
                  <a:lnTo>
                    <a:pt x="2548" y="3668"/>
                  </a:lnTo>
                  <a:cubicBezTo>
                    <a:pt x="2679" y="3620"/>
                    <a:pt x="2798" y="3537"/>
                    <a:pt x="2858" y="3418"/>
                  </a:cubicBezTo>
                  <a:cubicBezTo>
                    <a:pt x="2988" y="3430"/>
                    <a:pt x="3119" y="3430"/>
                    <a:pt x="3274" y="3430"/>
                  </a:cubicBezTo>
                  <a:cubicBezTo>
                    <a:pt x="3417" y="3430"/>
                    <a:pt x="3560" y="3418"/>
                    <a:pt x="3691" y="3418"/>
                  </a:cubicBezTo>
                  <a:close/>
                  <a:moveTo>
                    <a:pt x="8668" y="3608"/>
                  </a:moveTo>
                  <a:cubicBezTo>
                    <a:pt x="8715" y="3644"/>
                    <a:pt x="8763" y="3656"/>
                    <a:pt x="8811" y="3668"/>
                  </a:cubicBezTo>
                  <a:lnTo>
                    <a:pt x="9382" y="3835"/>
                  </a:lnTo>
                  <a:cubicBezTo>
                    <a:pt x="9537" y="3882"/>
                    <a:pt x="9644" y="4013"/>
                    <a:pt x="9644" y="4180"/>
                  </a:cubicBezTo>
                  <a:lnTo>
                    <a:pt x="9644" y="5680"/>
                  </a:lnTo>
                  <a:cubicBezTo>
                    <a:pt x="9644" y="5871"/>
                    <a:pt x="9477" y="6037"/>
                    <a:pt x="9287" y="6037"/>
                  </a:cubicBezTo>
                  <a:lnTo>
                    <a:pt x="8584" y="6037"/>
                  </a:lnTo>
                  <a:lnTo>
                    <a:pt x="8584" y="6025"/>
                  </a:lnTo>
                  <a:lnTo>
                    <a:pt x="8584" y="5668"/>
                  </a:lnTo>
                  <a:lnTo>
                    <a:pt x="9120" y="5668"/>
                  </a:lnTo>
                  <a:cubicBezTo>
                    <a:pt x="9204" y="5668"/>
                    <a:pt x="9287" y="5597"/>
                    <a:pt x="9287" y="5502"/>
                  </a:cubicBezTo>
                  <a:lnTo>
                    <a:pt x="9287" y="4466"/>
                  </a:lnTo>
                  <a:cubicBezTo>
                    <a:pt x="9287" y="4370"/>
                    <a:pt x="9204" y="4299"/>
                    <a:pt x="9120" y="4299"/>
                  </a:cubicBezTo>
                  <a:cubicBezTo>
                    <a:pt x="9025" y="4299"/>
                    <a:pt x="8954" y="4370"/>
                    <a:pt x="8954" y="4466"/>
                  </a:cubicBezTo>
                  <a:lnTo>
                    <a:pt x="8954" y="5335"/>
                  </a:lnTo>
                  <a:lnTo>
                    <a:pt x="8584" y="5335"/>
                  </a:lnTo>
                  <a:lnTo>
                    <a:pt x="8584" y="4644"/>
                  </a:lnTo>
                  <a:cubicBezTo>
                    <a:pt x="8584" y="4466"/>
                    <a:pt x="8430" y="4311"/>
                    <a:pt x="8251" y="4311"/>
                  </a:cubicBezTo>
                  <a:lnTo>
                    <a:pt x="6513" y="4311"/>
                  </a:lnTo>
                  <a:lnTo>
                    <a:pt x="6513" y="4180"/>
                  </a:lnTo>
                  <a:lnTo>
                    <a:pt x="6548" y="4180"/>
                  </a:lnTo>
                  <a:cubicBezTo>
                    <a:pt x="6548" y="4013"/>
                    <a:pt x="6644" y="3882"/>
                    <a:pt x="6798" y="3835"/>
                  </a:cubicBezTo>
                  <a:lnTo>
                    <a:pt x="7382" y="3668"/>
                  </a:lnTo>
                  <a:cubicBezTo>
                    <a:pt x="7418" y="3656"/>
                    <a:pt x="7477" y="3644"/>
                    <a:pt x="7513" y="3608"/>
                  </a:cubicBezTo>
                  <a:lnTo>
                    <a:pt x="7620" y="3716"/>
                  </a:lnTo>
                  <a:cubicBezTo>
                    <a:pt x="7751" y="3847"/>
                    <a:pt x="7918" y="3906"/>
                    <a:pt x="8096" y="3906"/>
                  </a:cubicBezTo>
                  <a:cubicBezTo>
                    <a:pt x="8275" y="3906"/>
                    <a:pt x="8453" y="3835"/>
                    <a:pt x="8573" y="3716"/>
                  </a:cubicBezTo>
                  <a:lnTo>
                    <a:pt x="8668" y="3608"/>
                  </a:lnTo>
                  <a:close/>
                  <a:moveTo>
                    <a:pt x="8287" y="4644"/>
                  </a:moveTo>
                  <a:cubicBezTo>
                    <a:pt x="8287" y="4644"/>
                    <a:pt x="8299" y="4644"/>
                    <a:pt x="8299" y="4656"/>
                  </a:cubicBezTo>
                  <a:lnTo>
                    <a:pt x="8299" y="6037"/>
                  </a:lnTo>
                  <a:cubicBezTo>
                    <a:pt x="8299" y="6037"/>
                    <a:pt x="8299" y="6049"/>
                    <a:pt x="8287" y="6049"/>
                  </a:cubicBezTo>
                  <a:lnTo>
                    <a:pt x="6215" y="6049"/>
                  </a:lnTo>
                  <a:cubicBezTo>
                    <a:pt x="6215" y="6049"/>
                    <a:pt x="6203" y="6049"/>
                    <a:pt x="6203" y="6037"/>
                  </a:cubicBezTo>
                  <a:lnTo>
                    <a:pt x="6203" y="4656"/>
                  </a:lnTo>
                  <a:lnTo>
                    <a:pt x="8287" y="4644"/>
                  </a:lnTo>
                  <a:close/>
                  <a:moveTo>
                    <a:pt x="2084" y="6371"/>
                  </a:moveTo>
                  <a:lnTo>
                    <a:pt x="2084" y="6740"/>
                  </a:lnTo>
                  <a:lnTo>
                    <a:pt x="679" y="6740"/>
                  </a:lnTo>
                  <a:lnTo>
                    <a:pt x="679" y="6371"/>
                  </a:lnTo>
                  <a:close/>
                  <a:moveTo>
                    <a:pt x="10382" y="6371"/>
                  </a:moveTo>
                  <a:lnTo>
                    <a:pt x="10382" y="6740"/>
                  </a:lnTo>
                  <a:lnTo>
                    <a:pt x="4477" y="6740"/>
                  </a:lnTo>
                  <a:lnTo>
                    <a:pt x="4477" y="6371"/>
                  </a:lnTo>
                  <a:close/>
                  <a:moveTo>
                    <a:pt x="3953" y="4644"/>
                  </a:moveTo>
                  <a:cubicBezTo>
                    <a:pt x="4060" y="4644"/>
                    <a:pt x="4131" y="4728"/>
                    <a:pt x="4131" y="4823"/>
                  </a:cubicBezTo>
                  <a:lnTo>
                    <a:pt x="4131" y="7085"/>
                  </a:lnTo>
                  <a:lnTo>
                    <a:pt x="2393" y="7085"/>
                  </a:lnTo>
                  <a:lnTo>
                    <a:pt x="2393" y="4823"/>
                  </a:lnTo>
                  <a:cubicBezTo>
                    <a:pt x="2393" y="4716"/>
                    <a:pt x="2488" y="4644"/>
                    <a:pt x="2572" y="4644"/>
                  </a:cubicBezTo>
                  <a:close/>
                  <a:moveTo>
                    <a:pt x="3274" y="1"/>
                  </a:moveTo>
                  <a:cubicBezTo>
                    <a:pt x="2548" y="1"/>
                    <a:pt x="1965" y="596"/>
                    <a:pt x="1905" y="1370"/>
                  </a:cubicBezTo>
                  <a:cubicBezTo>
                    <a:pt x="1869" y="1692"/>
                    <a:pt x="1774" y="2346"/>
                    <a:pt x="1631" y="2751"/>
                  </a:cubicBezTo>
                  <a:cubicBezTo>
                    <a:pt x="1607" y="2835"/>
                    <a:pt x="1607" y="2930"/>
                    <a:pt x="1655" y="3001"/>
                  </a:cubicBezTo>
                  <a:cubicBezTo>
                    <a:pt x="1691" y="3073"/>
                    <a:pt x="1750" y="3156"/>
                    <a:pt x="1845" y="3180"/>
                  </a:cubicBezTo>
                  <a:cubicBezTo>
                    <a:pt x="1988" y="3227"/>
                    <a:pt x="2215" y="3299"/>
                    <a:pt x="2488" y="3358"/>
                  </a:cubicBezTo>
                  <a:lnTo>
                    <a:pt x="2465" y="3358"/>
                  </a:lnTo>
                  <a:lnTo>
                    <a:pt x="1893" y="3525"/>
                  </a:lnTo>
                  <a:cubicBezTo>
                    <a:pt x="1595" y="3608"/>
                    <a:pt x="1393" y="3882"/>
                    <a:pt x="1393" y="4180"/>
                  </a:cubicBezTo>
                  <a:lnTo>
                    <a:pt x="1393" y="5680"/>
                  </a:lnTo>
                  <a:cubicBezTo>
                    <a:pt x="1393" y="5811"/>
                    <a:pt x="1429" y="5930"/>
                    <a:pt x="1500" y="6037"/>
                  </a:cubicBezTo>
                  <a:lnTo>
                    <a:pt x="167" y="6037"/>
                  </a:lnTo>
                  <a:cubicBezTo>
                    <a:pt x="71" y="6037"/>
                    <a:pt x="0" y="6109"/>
                    <a:pt x="0" y="6204"/>
                  </a:cubicBezTo>
                  <a:cubicBezTo>
                    <a:pt x="0" y="6287"/>
                    <a:pt x="71" y="6371"/>
                    <a:pt x="167" y="6371"/>
                  </a:cubicBezTo>
                  <a:lnTo>
                    <a:pt x="345" y="6371"/>
                  </a:lnTo>
                  <a:lnTo>
                    <a:pt x="345" y="7930"/>
                  </a:lnTo>
                  <a:cubicBezTo>
                    <a:pt x="345" y="8014"/>
                    <a:pt x="417" y="8097"/>
                    <a:pt x="500" y="8097"/>
                  </a:cubicBezTo>
                  <a:cubicBezTo>
                    <a:pt x="595" y="8097"/>
                    <a:pt x="667" y="8014"/>
                    <a:pt x="667" y="7930"/>
                  </a:cubicBezTo>
                  <a:lnTo>
                    <a:pt x="667" y="7049"/>
                  </a:lnTo>
                  <a:lnTo>
                    <a:pt x="2072" y="7049"/>
                  </a:lnTo>
                  <a:lnTo>
                    <a:pt x="2072" y="7930"/>
                  </a:lnTo>
                  <a:cubicBezTo>
                    <a:pt x="2072" y="8014"/>
                    <a:pt x="2143" y="8097"/>
                    <a:pt x="2226" y="8097"/>
                  </a:cubicBezTo>
                  <a:cubicBezTo>
                    <a:pt x="2322" y="8097"/>
                    <a:pt x="2393" y="8014"/>
                    <a:pt x="2393" y="7930"/>
                  </a:cubicBezTo>
                  <a:lnTo>
                    <a:pt x="2393" y="7395"/>
                  </a:lnTo>
                  <a:lnTo>
                    <a:pt x="4155" y="7395"/>
                  </a:lnTo>
                  <a:lnTo>
                    <a:pt x="4155" y="7930"/>
                  </a:lnTo>
                  <a:cubicBezTo>
                    <a:pt x="4155" y="8014"/>
                    <a:pt x="4227" y="8097"/>
                    <a:pt x="4310" y="8097"/>
                  </a:cubicBezTo>
                  <a:cubicBezTo>
                    <a:pt x="4405" y="8097"/>
                    <a:pt x="4477" y="8014"/>
                    <a:pt x="4477" y="7930"/>
                  </a:cubicBezTo>
                  <a:lnTo>
                    <a:pt x="4477" y="7049"/>
                  </a:lnTo>
                  <a:lnTo>
                    <a:pt x="10370" y="7049"/>
                  </a:lnTo>
                  <a:lnTo>
                    <a:pt x="10370" y="7930"/>
                  </a:lnTo>
                  <a:cubicBezTo>
                    <a:pt x="10370" y="8014"/>
                    <a:pt x="10442" y="8097"/>
                    <a:pt x="10537" y="8097"/>
                  </a:cubicBezTo>
                  <a:cubicBezTo>
                    <a:pt x="10620" y="8097"/>
                    <a:pt x="10704" y="8014"/>
                    <a:pt x="10704" y="7930"/>
                  </a:cubicBezTo>
                  <a:lnTo>
                    <a:pt x="10704" y="6371"/>
                  </a:lnTo>
                  <a:lnTo>
                    <a:pt x="10882" y="6371"/>
                  </a:lnTo>
                  <a:cubicBezTo>
                    <a:pt x="10966" y="6371"/>
                    <a:pt x="11037" y="6287"/>
                    <a:pt x="11037" y="6204"/>
                  </a:cubicBezTo>
                  <a:cubicBezTo>
                    <a:pt x="11037" y="6109"/>
                    <a:pt x="10966" y="6037"/>
                    <a:pt x="10882" y="6037"/>
                  </a:cubicBezTo>
                  <a:lnTo>
                    <a:pt x="9894" y="6037"/>
                  </a:lnTo>
                  <a:cubicBezTo>
                    <a:pt x="9954" y="5930"/>
                    <a:pt x="10001" y="5811"/>
                    <a:pt x="10001" y="5680"/>
                  </a:cubicBezTo>
                  <a:lnTo>
                    <a:pt x="10001" y="4180"/>
                  </a:lnTo>
                  <a:cubicBezTo>
                    <a:pt x="10001" y="3882"/>
                    <a:pt x="9787" y="3608"/>
                    <a:pt x="9501" y="3525"/>
                  </a:cubicBezTo>
                  <a:lnTo>
                    <a:pt x="8930" y="3358"/>
                  </a:lnTo>
                  <a:cubicBezTo>
                    <a:pt x="8858" y="3335"/>
                    <a:pt x="8799" y="3275"/>
                    <a:pt x="8799" y="3180"/>
                  </a:cubicBezTo>
                  <a:lnTo>
                    <a:pt x="8799" y="3049"/>
                  </a:lnTo>
                  <a:cubicBezTo>
                    <a:pt x="8858" y="3001"/>
                    <a:pt x="8894" y="2977"/>
                    <a:pt x="8942" y="2918"/>
                  </a:cubicBezTo>
                  <a:cubicBezTo>
                    <a:pt x="9180" y="2692"/>
                    <a:pt x="9299" y="2382"/>
                    <a:pt x="9299" y="2049"/>
                  </a:cubicBezTo>
                  <a:lnTo>
                    <a:pt x="9299" y="1739"/>
                  </a:lnTo>
                  <a:lnTo>
                    <a:pt x="9358" y="1608"/>
                  </a:lnTo>
                  <a:cubicBezTo>
                    <a:pt x="9430" y="1453"/>
                    <a:pt x="9465" y="1311"/>
                    <a:pt x="9465" y="1144"/>
                  </a:cubicBezTo>
                  <a:lnTo>
                    <a:pt x="9465" y="310"/>
                  </a:lnTo>
                  <a:cubicBezTo>
                    <a:pt x="9465" y="215"/>
                    <a:pt x="9382" y="144"/>
                    <a:pt x="9299" y="144"/>
                  </a:cubicBezTo>
                  <a:lnTo>
                    <a:pt x="7739" y="144"/>
                  </a:lnTo>
                  <a:cubicBezTo>
                    <a:pt x="7168" y="144"/>
                    <a:pt x="6703" y="608"/>
                    <a:pt x="6703" y="1168"/>
                  </a:cubicBezTo>
                  <a:lnTo>
                    <a:pt x="6703" y="1191"/>
                  </a:lnTo>
                  <a:cubicBezTo>
                    <a:pt x="6703" y="1322"/>
                    <a:pt x="6739" y="1453"/>
                    <a:pt x="6798" y="1572"/>
                  </a:cubicBezTo>
                  <a:lnTo>
                    <a:pt x="6894" y="1739"/>
                  </a:lnTo>
                  <a:lnTo>
                    <a:pt x="6894" y="2001"/>
                  </a:lnTo>
                  <a:cubicBezTo>
                    <a:pt x="6894" y="2418"/>
                    <a:pt x="7096" y="2799"/>
                    <a:pt x="7406" y="3037"/>
                  </a:cubicBezTo>
                  <a:lnTo>
                    <a:pt x="7406" y="3180"/>
                  </a:lnTo>
                  <a:cubicBezTo>
                    <a:pt x="7406" y="3251"/>
                    <a:pt x="7346" y="3335"/>
                    <a:pt x="7275" y="3358"/>
                  </a:cubicBezTo>
                  <a:lnTo>
                    <a:pt x="6691" y="3525"/>
                  </a:lnTo>
                  <a:cubicBezTo>
                    <a:pt x="6394" y="3608"/>
                    <a:pt x="6203" y="3882"/>
                    <a:pt x="6203" y="4180"/>
                  </a:cubicBezTo>
                  <a:lnTo>
                    <a:pt x="6203" y="4311"/>
                  </a:lnTo>
                  <a:lnTo>
                    <a:pt x="6191" y="4311"/>
                  </a:lnTo>
                  <a:cubicBezTo>
                    <a:pt x="6013" y="4311"/>
                    <a:pt x="5858" y="4466"/>
                    <a:pt x="5858" y="4644"/>
                  </a:cubicBezTo>
                  <a:lnTo>
                    <a:pt x="5858" y="6025"/>
                  </a:lnTo>
                  <a:lnTo>
                    <a:pt x="5858" y="6037"/>
                  </a:lnTo>
                  <a:lnTo>
                    <a:pt x="5048" y="6037"/>
                  </a:lnTo>
                  <a:cubicBezTo>
                    <a:pt x="5108" y="5930"/>
                    <a:pt x="5144" y="5811"/>
                    <a:pt x="5144" y="5680"/>
                  </a:cubicBezTo>
                  <a:lnTo>
                    <a:pt x="5144" y="4180"/>
                  </a:lnTo>
                  <a:cubicBezTo>
                    <a:pt x="5144" y="3882"/>
                    <a:pt x="4941" y="3608"/>
                    <a:pt x="4655" y="3525"/>
                  </a:cubicBezTo>
                  <a:lnTo>
                    <a:pt x="4072" y="3358"/>
                  </a:lnTo>
                  <a:lnTo>
                    <a:pt x="4060" y="3358"/>
                  </a:lnTo>
                  <a:cubicBezTo>
                    <a:pt x="4346" y="3299"/>
                    <a:pt x="4560" y="3239"/>
                    <a:pt x="4703" y="3180"/>
                  </a:cubicBezTo>
                  <a:cubicBezTo>
                    <a:pt x="4786" y="3156"/>
                    <a:pt x="4846" y="3096"/>
                    <a:pt x="4893" y="3001"/>
                  </a:cubicBezTo>
                  <a:cubicBezTo>
                    <a:pt x="4941" y="2930"/>
                    <a:pt x="4941" y="2835"/>
                    <a:pt x="4905" y="2751"/>
                  </a:cubicBezTo>
                  <a:cubicBezTo>
                    <a:pt x="4763" y="2358"/>
                    <a:pt x="4655" y="1692"/>
                    <a:pt x="4643" y="1370"/>
                  </a:cubicBezTo>
                  <a:cubicBezTo>
                    <a:pt x="4584" y="572"/>
                    <a:pt x="4001" y="1"/>
                    <a:pt x="3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2" name="Google Shape;13422;p64"/>
            <p:cNvSpPr/>
            <p:nvPr/>
          </p:nvSpPr>
          <p:spPr>
            <a:xfrm>
              <a:off x="1611228" y="2679979"/>
              <a:ext cx="12250" cy="12708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250" y="334"/>
                    <a:pt x="322" y="262"/>
                    <a:pt x="322" y="167"/>
                  </a:cubicBezTo>
                  <a:cubicBezTo>
                    <a:pt x="322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23" name="Google Shape;13423;p64"/>
          <p:cNvGrpSpPr/>
          <p:nvPr/>
        </p:nvGrpSpPr>
        <p:grpSpPr>
          <a:xfrm>
            <a:off x="854332" y="2447736"/>
            <a:ext cx="376358" cy="330109"/>
            <a:chOff x="854332" y="2447736"/>
            <a:chExt cx="376358" cy="330109"/>
          </a:xfrm>
        </p:grpSpPr>
        <p:sp>
          <p:nvSpPr>
            <p:cNvPr id="13424" name="Google Shape;13424;p64"/>
            <p:cNvSpPr/>
            <p:nvPr/>
          </p:nvSpPr>
          <p:spPr>
            <a:xfrm>
              <a:off x="854332" y="2483353"/>
              <a:ext cx="376358" cy="294491"/>
            </a:xfrm>
            <a:custGeom>
              <a:avLst/>
              <a:gdLst/>
              <a:ahLst/>
              <a:cxnLst/>
              <a:rect l="l" t="t" r="r" b="b"/>
              <a:pathLst>
                <a:path w="11824" h="9252" extrusionOk="0">
                  <a:moveTo>
                    <a:pt x="3311" y="334"/>
                  </a:moveTo>
                  <a:cubicBezTo>
                    <a:pt x="3632" y="334"/>
                    <a:pt x="3882" y="549"/>
                    <a:pt x="3882" y="810"/>
                  </a:cubicBezTo>
                  <a:lnTo>
                    <a:pt x="3882" y="846"/>
                  </a:lnTo>
                  <a:cubicBezTo>
                    <a:pt x="3703" y="775"/>
                    <a:pt x="3513" y="727"/>
                    <a:pt x="3311" y="727"/>
                  </a:cubicBezTo>
                  <a:cubicBezTo>
                    <a:pt x="3120" y="727"/>
                    <a:pt x="2930" y="775"/>
                    <a:pt x="2751" y="846"/>
                  </a:cubicBezTo>
                  <a:lnTo>
                    <a:pt x="2751" y="810"/>
                  </a:lnTo>
                  <a:cubicBezTo>
                    <a:pt x="2751" y="549"/>
                    <a:pt x="3001" y="334"/>
                    <a:pt x="3311" y="334"/>
                  </a:cubicBezTo>
                  <a:close/>
                  <a:moveTo>
                    <a:pt x="3311" y="1084"/>
                  </a:moveTo>
                  <a:cubicBezTo>
                    <a:pt x="3942" y="1084"/>
                    <a:pt x="4430" y="1584"/>
                    <a:pt x="4430" y="2203"/>
                  </a:cubicBezTo>
                  <a:cubicBezTo>
                    <a:pt x="4430" y="2323"/>
                    <a:pt x="4418" y="2442"/>
                    <a:pt x="4370" y="2561"/>
                  </a:cubicBezTo>
                  <a:cubicBezTo>
                    <a:pt x="3882" y="2049"/>
                    <a:pt x="3013" y="1858"/>
                    <a:pt x="2977" y="1858"/>
                  </a:cubicBezTo>
                  <a:cubicBezTo>
                    <a:pt x="2961" y="1855"/>
                    <a:pt x="2946" y="1854"/>
                    <a:pt x="2932" y="1854"/>
                  </a:cubicBezTo>
                  <a:cubicBezTo>
                    <a:pt x="2892" y="1854"/>
                    <a:pt x="2857" y="1865"/>
                    <a:pt x="2822" y="1882"/>
                  </a:cubicBezTo>
                  <a:cubicBezTo>
                    <a:pt x="2775" y="1918"/>
                    <a:pt x="2763" y="1965"/>
                    <a:pt x="2763" y="2025"/>
                  </a:cubicBezTo>
                  <a:cubicBezTo>
                    <a:pt x="2763" y="2037"/>
                    <a:pt x="2751" y="2156"/>
                    <a:pt x="2632" y="2275"/>
                  </a:cubicBezTo>
                  <a:cubicBezTo>
                    <a:pt x="2560" y="2346"/>
                    <a:pt x="2560" y="2454"/>
                    <a:pt x="2632" y="2513"/>
                  </a:cubicBezTo>
                  <a:cubicBezTo>
                    <a:pt x="2668" y="2549"/>
                    <a:pt x="2712" y="2567"/>
                    <a:pt x="2755" y="2567"/>
                  </a:cubicBezTo>
                  <a:cubicBezTo>
                    <a:pt x="2799" y="2567"/>
                    <a:pt x="2840" y="2549"/>
                    <a:pt x="2870" y="2513"/>
                  </a:cubicBezTo>
                  <a:cubicBezTo>
                    <a:pt x="2965" y="2406"/>
                    <a:pt x="3013" y="2323"/>
                    <a:pt x="3060" y="2227"/>
                  </a:cubicBezTo>
                  <a:cubicBezTo>
                    <a:pt x="3358" y="2323"/>
                    <a:pt x="3953" y="2525"/>
                    <a:pt x="4227" y="2918"/>
                  </a:cubicBezTo>
                  <a:cubicBezTo>
                    <a:pt x="4144" y="3358"/>
                    <a:pt x="3763" y="3692"/>
                    <a:pt x="3299" y="3692"/>
                  </a:cubicBezTo>
                  <a:cubicBezTo>
                    <a:pt x="2834" y="3692"/>
                    <a:pt x="2441" y="3335"/>
                    <a:pt x="2394" y="2858"/>
                  </a:cubicBezTo>
                  <a:cubicBezTo>
                    <a:pt x="2394" y="2823"/>
                    <a:pt x="2382" y="2811"/>
                    <a:pt x="2358" y="2775"/>
                  </a:cubicBezTo>
                  <a:cubicBezTo>
                    <a:pt x="2263" y="2596"/>
                    <a:pt x="2203" y="2406"/>
                    <a:pt x="2203" y="2203"/>
                  </a:cubicBezTo>
                  <a:cubicBezTo>
                    <a:pt x="2203" y="1572"/>
                    <a:pt x="2703" y="1084"/>
                    <a:pt x="3311" y="1084"/>
                  </a:cubicBezTo>
                  <a:close/>
                  <a:moveTo>
                    <a:pt x="3715" y="3989"/>
                  </a:moveTo>
                  <a:lnTo>
                    <a:pt x="3715" y="4168"/>
                  </a:lnTo>
                  <a:cubicBezTo>
                    <a:pt x="3703" y="4228"/>
                    <a:pt x="3715" y="4287"/>
                    <a:pt x="3751" y="4323"/>
                  </a:cubicBezTo>
                  <a:lnTo>
                    <a:pt x="3584" y="4478"/>
                  </a:lnTo>
                  <a:cubicBezTo>
                    <a:pt x="3507" y="4543"/>
                    <a:pt x="3415" y="4576"/>
                    <a:pt x="3322" y="4576"/>
                  </a:cubicBezTo>
                  <a:cubicBezTo>
                    <a:pt x="3230" y="4576"/>
                    <a:pt x="3138" y="4543"/>
                    <a:pt x="3060" y="4478"/>
                  </a:cubicBezTo>
                  <a:lnTo>
                    <a:pt x="2894" y="4323"/>
                  </a:lnTo>
                  <a:cubicBezTo>
                    <a:pt x="2930" y="4287"/>
                    <a:pt x="2941" y="4228"/>
                    <a:pt x="2941" y="4168"/>
                  </a:cubicBezTo>
                  <a:lnTo>
                    <a:pt x="2941" y="3989"/>
                  </a:lnTo>
                  <a:cubicBezTo>
                    <a:pt x="3060" y="4025"/>
                    <a:pt x="3191" y="4049"/>
                    <a:pt x="3334" y="4049"/>
                  </a:cubicBezTo>
                  <a:cubicBezTo>
                    <a:pt x="3465" y="4049"/>
                    <a:pt x="3596" y="4025"/>
                    <a:pt x="3715" y="3989"/>
                  </a:cubicBezTo>
                  <a:close/>
                  <a:moveTo>
                    <a:pt x="4049" y="4549"/>
                  </a:moveTo>
                  <a:lnTo>
                    <a:pt x="4620" y="4835"/>
                  </a:lnTo>
                  <a:cubicBezTo>
                    <a:pt x="4763" y="4894"/>
                    <a:pt x="4835" y="5025"/>
                    <a:pt x="4835" y="5180"/>
                  </a:cubicBezTo>
                  <a:lnTo>
                    <a:pt x="3346" y="5180"/>
                  </a:lnTo>
                  <a:cubicBezTo>
                    <a:pt x="3156" y="5180"/>
                    <a:pt x="2989" y="5335"/>
                    <a:pt x="2989" y="5537"/>
                  </a:cubicBezTo>
                  <a:lnTo>
                    <a:pt x="2989" y="6275"/>
                  </a:lnTo>
                  <a:lnTo>
                    <a:pt x="2596" y="6275"/>
                  </a:lnTo>
                  <a:lnTo>
                    <a:pt x="2596" y="5561"/>
                  </a:lnTo>
                  <a:cubicBezTo>
                    <a:pt x="2596" y="5466"/>
                    <a:pt x="2525" y="5382"/>
                    <a:pt x="2418" y="5382"/>
                  </a:cubicBezTo>
                  <a:cubicBezTo>
                    <a:pt x="2322" y="5382"/>
                    <a:pt x="2239" y="5454"/>
                    <a:pt x="2239" y="5561"/>
                  </a:cubicBezTo>
                  <a:lnTo>
                    <a:pt x="2239" y="6442"/>
                  </a:lnTo>
                  <a:cubicBezTo>
                    <a:pt x="2239" y="6525"/>
                    <a:pt x="2322" y="6621"/>
                    <a:pt x="2418" y="6621"/>
                  </a:cubicBezTo>
                  <a:lnTo>
                    <a:pt x="2989" y="6621"/>
                  </a:lnTo>
                  <a:lnTo>
                    <a:pt x="2989" y="7002"/>
                  </a:lnTo>
                  <a:lnTo>
                    <a:pt x="2989" y="7026"/>
                  </a:lnTo>
                  <a:lnTo>
                    <a:pt x="2227" y="7026"/>
                  </a:lnTo>
                  <a:cubicBezTo>
                    <a:pt x="2025" y="7026"/>
                    <a:pt x="1846" y="6847"/>
                    <a:pt x="1846" y="6633"/>
                  </a:cubicBezTo>
                  <a:lnTo>
                    <a:pt x="1846" y="5180"/>
                  </a:lnTo>
                  <a:lnTo>
                    <a:pt x="1822" y="5180"/>
                  </a:lnTo>
                  <a:cubicBezTo>
                    <a:pt x="1822" y="5025"/>
                    <a:pt x="1906" y="4894"/>
                    <a:pt x="2037" y="4835"/>
                  </a:cubicBezTo>
                  <a:lnTo>
                    <a:pt x="2620" y="4549"/>
                  </a:lnTo>
                  <a:lnTo>
                    <a:pt x="2822" y="4740"/>
                  </a:lnTo>
                  <a:cubicBezTo>
                    <a:pt x="2953" y="4882"/>
                    <a:pt x="3156" y="4942"/>
                    <a:pt x="3334" y="4942"/>
                  </a:cubicBezTo>
                  <a:cubicBezTo>
                    <a:pt x="3513" y="4942"/>
                    <a:pt x="3692" y="4882"/>
                    <a:pt x="3834" y="4740"/>
                  </a:cubicBezTo>
                  <a:lnTo>
                    <a:pt x="4049" y="4549"/>
                  </a:lnTo>
                  <a:close/>
                  <a:moveTo>
                    <a:pt x="5537" y="5513"/>
                  </a:moveTo>
                  <a:lnTo>
                    <a:pt x="5549" y="7002"/>
                  </a:lnTo>
                  <a:cubicBezTo>
                    <a:pt x="5549" y="7002"/>
                    <a:pt x="5549" y="7026"/>
                    <a:pt x="5537" y="7026"/>
                  </a:cubicBezTo>
                  <a:lnTo>
                    <a:pt x="3311" y="7026"/>
                  </a:lnTo>
                  <a:cubicBezTo>
                    <a:pt x="3311" y="7026"/>
                    <a:pt x="3299" y="7026"/>
                    <a:pt x="3299" y="7002"/>
                  </a:cubicBezTo>
                  <a:lnTo>
                    <a:pt x="3299" y="5537"/>
                  </a:lnTo>
                  <a:cubicBezTo>
                    <a:pt x="3299" y="5537"/>
                    <a:pt x="3299" y="5513"/>
                    <a:pt x="3311" y="5513"/>
                  </a:cubicBezTo>
                  <a:close/>
                  <a:moveTo>
                    <a:pt x="11097" y="7359"/>
                  </a:moveTo>
                  <a:lnTo>
                    <a:pt x="11097" y="7752"/>
                  </a:lnTo>
                  <a:lnTo>
                    <a:pt x="727" y="7752"/>
                  </a:lnTo>
                  <a:lnTo>
                    <a:pt x="727" y="7359"/>
                  </a:lnTo>
                  <a:close/>
                  <a:moveTo>
                    <a:pt x="3311" y="1"/>
                  </a:moveTo>
                  <a:cubicBezTo>
                    <a:pt x="2810" y="1"/>
                    <a:pt x="2406" y="370"/>
                    <a:pt x="2406" y="810"/>
                  </a:cubicBezTo>
                  <a:cubicBezTo>
                    <a:pt x="2406" y="894"/>
                    <a:pt x="2418" y="965"/>
                    <a:pt x="2441" y="1025"/>
                  </a:cubicBezTo>
                  <a:cubicBezTo>
                    <a:pt x="2084" y="1287"/>
                    <a:pt x="1858" y="1727"/>
                    <a:pt x="1858" y="2203"/>
                  </a:cubicBezTo>
                  <a:cubicBezTo>
                    <a:pt x="1858" y="2454"/>
                    <a:pt x="1929" y="2704"/>
                    <a:pt x="2048" y="2930"/>
                  </a:cubicBezTo>
                  <a:cubicBezTo>
                    <a:pt x="2096" y="3299"/>
                    <a:pt x="2298" y="3608"/>
                    <a:pt x="2584" y="3811"/>
                  </a:cubicBezTo>
                  <a:lnTo>
                    <a:pt x="2584" y="4168"/>
                  </a:lnTo>
                  <a:lnTo>
                    <a:pt x="2584" y="4180"/>
                  </a:lnTo>
                  <a:lnTo>
                    <a:pt x="1882" y="4537"/>
                  </a:lnTo>
                  <a:cubicBezTo>
                    <a:pt x="1632" y="4656"/>
                    <a:pt x="1489" y="4906"/>
                    <a:pt x="1489" y="5192"/>
                  </a:cubicBezTo>
                  <a:lnTo>
                    <a:pt x="1489" y="6645"/>
                  </a:lnTo>
                  <a:cubicBezTo>
                    <a:pt x="1489" y="6787"/>
                    <a:pt x="1525" y="6918"/>
                    <a:pt x="1584" y="7037"/>
                  </a:cubicBezTo>
                  <a:lnTo>
                    <a:pt x="179" y="7037"/>
                  </a:lnTo>
                  <a:cubicBezTo>
                    <a:pt x="84" y="7037"/>
                    <a:pt x="1" y="7109"/>
                    <a:pt x="1" y="7216"/>
                  </a:cubicBezTo>
                  <a:cubicBezTo>
                    <a:pt x="1" y="7323"/>
                    <a:pt x="72" y="7395"/>
                    <a:pt x="179" y="7395"/>
                  </a:cubicBezTo>
                  <a:lnTo>
                    <a:pt x="370" y="7395"/>
                  </a:lnTo>
                  <a:lnTo>
                    <a:pt x="370" y="9073"/>
                  </a:lnTo>
                  <a:cubicBezTo>
                    <a:pt x="370" y="9169"/>
                    <a:pt x="441" y="9252"/>
                    <a:pt x="548" y="9252"/>
                  </a:cubicBezTo>
                  <a:cubicBezTo>
                    <a:pt x="655" y="9252"/>
                    <a:pt x="727" y="9181"/>
                    <a:pt x="727" y="9073"/>
                  </a:cubicBezTo>
                  <a:lnTo>
                    <a:pt x="727" y="8133"/>
                  </a:lnTo>
                  <a:lnTo>
                    <a:pt x="11097" y="8133"/>
                  </a:lnTo>
                  <a:lnTo>
                    <a:pt x="11097" y="9073"/>
                  </a:lnTo>
                  <a:cubicBezTo>
                    <a:pt x="11097" y="9169"/>
                    <a:pt x="11169" y="9252"/>
                    <a:pt x="11276" y="9252"/>
                  </a:cubicBezTo>
                  <a:cubicBezTo>
                    <a:pt x="11383" y="9252"/>
                    <a:pt x="11454" y="9181"/>
                    <a:pt x="11454" y="9073"/>
                  </a:cubicBezTo>
                  <a:lnTo>
                    <a:pt x="11454" y="7395"/>
                  </a:lnTo>
                  <a:lnTo>
                    <a:pt x="11645" y="7395"/>
                  </a:lnTo>
                  <a:cubicBezTo>
                    <a:pt x="11740" y="7395"/>
                    <a:pt x="11823" y="7323"/>
                    <a:pt x="11823" y="7216"/>
                  </a:cubicBezTo>
                  <a:cubicBezTo>
                    <a:pt x="11812" y="7097"/>
                    <a:pt x="11740" y="7026"/>
                    <a:pt x="11633" y="7026"/>
                  </a:cubicBezTo>
                  <a:lnTo>
                    <a:pt x="5894" y="7026"/>
                  </a:lnTo>
                  <a:lnTo>
                    <a:pt x="5894" y="7002"/>
                  </a:lnTo>
                  <a:lnTo>
                    <a:pt x="5894" y="5537"/>
                  </a:lnTo>
                  <a:cubicBezTo>
                    <a:pt x="5894" y="5335"/>
                    <a:pt x="5727" y="5180"/>
                    <a:pt x="5537" y="5180"/>
                  </a:cubicBezTo>
                  <a:lnTo>
                    <a:pt x="5144" y="5180"/>
                  </a:lnTo>
                  <a:cubicBezTo>
                    <a:pt x="5144" y="4894"/>
                    <a:pt x="5001" y="4656"/>
                    <a:pt x="4739" y="4537"/>
                  </a:cubicBezTo>
                  <a:lnTo>
                    <a:pt x="4049" y="4180"/>
                  </a:lnTo>
                  <a:lnTo>
                    <a:pt x="4049" y="4168"/>
                  </a:lnTo>
                  <a:lnTo>
                    <a:pt x="4049" y="3811"/>
                  </a:lnTo>
                  <a:cubicBezTo>
                    <a:pt x="4323" y="3608"/>
                    <a:pt x="4537" y="3299"/>
                    <a:pt x="4584" y="2930"/>
                  </a:cubicBezTo>
                  <a:cubicBezTo>
                    <a:pt x="4715" y="2704"/>
                    <a:pt x="4775" y="2454"/>
                    <a:pt x="4775" y="2203"/>
                  </a:cubicBezTo>
                  <a:cubicBezTo>
                    <a:pt x="4775" y="1727"/>
                    <a:pt x="4549" y="1287"/>
                    <a:pt x="4192" y="1025"/>
                  </a:cubicBezTo>
                  <a:cubicBezTo>
                    <a:pt x="4203" y="953"/>
                    <a:pt x="4227" y="894"/>
                    <a:pt x="4227" y="810"/>
                  </a:cubicBezTo>
                  <a:cubicBezTo>
                    <a:pt x="4227" y="370"/>
                    <a:pt x="3811" y="1"/>
                    <a:pt x="3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5" name="Google Shape;13425;p64"/>
            <p:cNvSpPr/>
            <p:nvPr/>
          </p:nvSpPr>
          <p:spPr>
            <a:xfrm>
              <a:off x="983561" y="2677389"/>
              <a:ext cx="23140" cy="11395"/>
            </a:xfrm>
            <a:custGeom>
              <a:avLst/>
              <a:gdLst/>
              <a:ahLst/>
              <a:cxnLst/>
              <a:rect l="l" t="t" r="r" b="b"/>
              <a:pathLst>
                <a:path w="727" h="358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548" y="358"/>
                  </a:lnTo>
                  <a:cubicBezTo>
                    <a:pt x="644" y="358"/>
                    <a:pt x="727" y="287"/>
                    <a:pt x="727" y="179"/>
                  </a:cubicBezTo>
                  <a:cubicBezTo>
                    <a:pt x="727" y="72"/>
                    <a:pt x="655" y="1"/>
                    <a:pt x="5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6" name="Google Shape;13426;p64"/>
            <p:cNvSpPr/>
            <p:nvPr/>
          </p:nvSpPr>
          <p:spPr>
            <a:xfrm>
              <a:off x="1030925" y="2447736"/>
              <a:ext cx="187638" cy="183086"/>
            </a:xfrm>
            <a:custGeom>
              <a:avLst/>
              <a:gdLst/>
              <a:ahLst/>
              <a:cxnLst/>
              <a:rect l="l" t="t" r="r" b="b"/>
              <a:pathLst>
                <a:path w="5895" h="5752" extrusionOk="0">
                  <a:moveTo>
                    <a:pt x="5168" y="358"/>
                  </a:moveTo>
                  <a:cubicBezTo>
                    <a:pt x="5371" y="358"/>
                    <a:pt x="5549" y="536"/>
                    <a:pt x="5549" y="739"/>
                  </a:cubicBezTo>
                  <a:lnTo>
                    <a:pt x="5549" y="3692"/>
                  </a:lnTo>
                  <a:cubicBezTo>
                    <a:pt x="5549" y="3894"/>
                    <a:pt x="5371" y="4073"/>
                    <a:pt x="5168" y="4073"/>
                  </a:cubicBezTo>
                  <a:lnTo>
                    <a:pt x="2942" y="4073"/>
                  </a:lnTo>
                  <a:cubicBezTo>
                    <a:pt x="2918" y="4073"/>
                    <a:pt x="2870" y="4096"/>
                    <a:pt x="2846" y="4108"/>
                  </a:cubicBezTo>
                  <a:lnTo>
                    <a:pt x="1192" y="5311"/>
                  </a:lnTo>
                  <a:lnTo>
                    <a:pt x="1192" y="5311"/>
                  </a:lnTo>
                  <a:lnTo>
                    <a:pt x="1442" y="4299"/>
                  </a:lnTo>
                  <a:cubicBezTo>
                    <a:pt x="1453" y="4251"/>
                    <a:pt x="1442" y="4192"/>
                    <a:pt x="1418" y="4156"/>
                  </a:cubicBezTo>
                  <a:cubicBezTo>
                    <a:pt x="1382" y="4108"/>
                    <a:pt x="1322" y="4096"/>
                    <a:pt x="1275" y="4096"/>
                  </a:cubicBezTo>
                  <a:lnTo>
                    <a:pt x="727" y="4096"/>
                  </a:lnTo>
                  <a:cubicBezTo>
                    <a:pt x="525" y="4096"/>
                    <a:pt x="346" y="3918"/>
                    <a:pt x="346" y="3703"/>
                  </a:cubicBezTo>
                  <a:lnTo>
                    <a:pt x="346" y="739"/>
                  </a:lnTo>
                  <a:cubicBezTo>
                    <a:pt x="346" y="536"/>
                    <a:pt x="525" y="358"/>
                    <a:pt x="727" y="358"/>
                  </a:cubicBezTo>
                  <a:close/>
                  <a:moveTo>
                    <a:pt x="727" y="1"/>
                  </a:moveTo>
                  <a:cubicBezTo>
                    <a:pt x="322" y="1"/>
                    <a:pt x="1" y="322"/>
                    <a:pt x="1" y="727"/>
                  </a:cubicBezTo>
                  <a:lnTo>
                    <a:pt x="1" y="3692"/>
                  </a:lnTo>
                  <a:cubicBezTo>
                    <a:pt x="1" y="4084"/>
                    <a:pt x="322" y="4418"/>
                    <a:pt x="727" y="4418"/>
                  </a:cubicBezTo>
                  <a:lnTo>
                    <a:pt x="1049" y="4418"/>
                  </a:lnTo>
                  <a:lnTo>
                    <a:pt x="799" y="5430"/>
                  </a:lnTo>
                  <a:cubicBezTo>
                    <a:pt x="775" y="5537"/>
                    <a:pt x="822" y="5656"/>
                    <a:pt x="906" y="5716"/>
                  </a:cubicBezTo>
                  <a:cubicBezTo>
                    <a:pt x="953" y="5739"/>
                    <a:pt x="1013" y="5751"/>
                    <a:pt x="1049" y="5751"/>
                  </a:cubicBezTo>
                  <a:cubicBezTo>
                    <a:pt x="1120" y="5751"/>
                    <a:pt x="1156" y="5739"/>
                    <a:pt x="1203" y="5716"/>
                  </a:cubicBezTo>
                  <a:lnTo>
                    <a:pt x="2989" y="4418"/>
                  </a:lnTo>
                  <a:lnTo>
                    <a:pt x="5168" y="4418"/>
                  </a:lnTo>
                  <a:cubicBezTo>
                    <a:pt x="5561" y="4418"/>
                    <a:pt x="5894" y="4084"/>
                    <a:pt x="5894" y="3692"/>
                  </a:cubicBezTo>
                  <a:lnTo>
                    <a:pt x="5894" y="727"/>
                  </a:lnTo>
                  <a:cubicBezTo>
                    <a:pt x="5894" y="322"/>
                    <a:pt x="5561" y="1"/>
                    <a:pt x="5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7" name="Google Shape;13427;p64"/>
            <p:cNvSpPr/>
            <p:nvPr/>
          </p:nvSpPr>
          <p:spPr>
            <a:xfrm>
              <a:off x="1066574" y="2483353"/>
              <a:ext cx="28806" cy="11045"/>
            </a:xfrm>
            <a:custGeom>
              <a:avLst/>
              <a:gdLst/>
              <a:ahLst/>
              <a:cxnLst/>
              <a:rect l="l" t="t" r="r" b="b"/>
              <a:pathLst>
                <a:path w="905" h="347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63"/>
                    <a:pt x="72" y="346"/>
                    <a:pt x="179" y="346"/>
                  </a:cubicBezTo>
                  <a:lnTo>
                    <a:pt x="726" y="346"/>
                  </a:lnTo>
                  <a:cubicBezTo>
                    <a:pt x="810" y="346"/>
                    <a:pt x="905" y="275"/>
                    <a:pt x="905" y="179"/>
                  </a:cubicBezTo>
                  <a:cubicBezTo>
                    <a:pt x="893" y="72"/>
                    <a:pt x="810" y="1"/>
                    <a:pt x="7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8" name="Google Shape;13428;p64"/>
            <p:cNvSpPr/>
            <p:nvPr/>
          </p:nvSpPr>
          <p:spPr>
            <a:xfrm>
              <a:off x="1107126" y="2483353"/>
              <a:ext cx="76201" cy="11045"/>
            </a:xfrm>
            <a:custGeom>
              <a:avLst/>
              <a:gdLst/>
              <a:ahLst/>
              <a:cxnLst/>
              <a:rect l="l" t="t" r="r" b="b"/>
              <a:pathLst>
                <a:path w="2394" h="347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63"/>
                    <a:pt x="71" y="346"/>
                    <a:pt x="179" y="346"/>
                  </a:cubicBezTo>
                  <a:lnTo>
                    <a:pt x="2215" y="346"/>
                  </a:lnTo>
                  <a:cubicBezTo>
                    <a:pt x="2310" y="346"/>
                    <a:pt x="2393" y="275"/>
                    <a:pt x="2393" y="179"/>
                  </a:cubicBezTo>
                  <a:cubicBezTo>
                    <a:pt x="2393" y="72"/>
                    <a:pt x="2310" y="1"/>
                    <a:pt x="2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9" name="Google Shape;13429;p64"/>
            <p:cNvSpPr/>
            <p:nvPr/>
          </p:nvSpPr>
          <p:spPr>
            <a:xfrm>
              <a:off x="1065810" y="2512542"/>
              <a:ext cx="117516" cy="11395"/>
            </a:xfrm>
            <a:custGeom>
              <a:avLst/>
              <a:gdLst/>
              <a:ahLst/>
              <a:cxnLst/>
              <a:rect l="l" t="t" r="r" b="b"/>
              <a:pathLst>
                <a:path w="3692" h="358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74"/>
                    <a:pt x="84" y="358"/>
                    <a:pt x="179" y="358"/>
                  </a:cubicBezTo>
                  <a:lnTo>
                    <a:pt x="3513" y="358"/>
                  </a:lnTo>
                  <a:cubicBezTo>
                    <a:pt x="3608" y="358"/>
                    <a:pt x="3691" y="286"/>
                    <a:pt x="3691" y="179"/>
                  </a:cubicBezTo>
                  <a:cubicBezTo>
                    <a:pt x="3691" y="72"/>
                    <a:pt x="3608" y="1"/>
                    <a:pt x="3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0" name="Google Shape;13430;p64"/>
            <p:cNvSpPr/>
            <p:nvPr/>
          </p:nvSpPr>
          <p:spPr>
            <a:xfrm>
              <a:off x="1065810" y="2542112"/>
              <a:ext cx="76583" cy="11395"/>
            </a:xfrm>
            <a:custGeom>
              <a:avLst/>
              <a:gdLst/>
              <a:ahLst/>
              <a:cxnLst/>
              <a:rect l="l" t="t" r="r" b="b"/>
              <a:pathLst>
                <a:path w="2406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62"/>
                    <a:pt x="84" y="357"/>
                    <a:pt x="179" y="357"/>
                  </a:cubicBezTo>
                  <a:lnTo>
                    <a:pt x="2227" y="357"/>
                  </a:lnTo>
                  <a:cubicBezTo>
                    <a:pt x="2310" y="357"/>
                    <a:pt x="2405" y="274"/>
                    <a:pt x="2405" y="179"/>
                  </a:cubicBezTo>
                  <a:cubicBezTo>
                    <a:pt x="2405" y="72"/>
                    <a:pt x="2310" y="0"/>
                    <a:pt x="2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1" name="Google Shape;13431;p64"/>
            <p:cNvSpPr/>
            <p:nvPr/>
          </p:nvSpPr>
          <p:spPr>
            <a:xfrm>
              <a:off x="1154489" y="2542112"/>
              <a:ext cx="28838" cy="11395"/>
            </a:xfrm>
            <a:custGeom>
              <a:avLst/>
              <a:gdLst/>
              <a:ahLst/>
              <a:cxnLst/>
              <a:rect l="l" t="t" r="r" b="b"/>
              <a:pathLst>
                <a:path w="906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62"/>
                    <a:pt x="72" y="357"/>
                    <a:pt x="179" y="357"/>
                  </a:cubicBezTo>
                  <a:lnTo>
                    <a:pt x="727" y="357"/>
                  </a:lnTo>
                  <a:cubicBezTo>
                    <a:pt x="822" y="357"/>
                    <a:pt x="905" y="274"/>
                    <a:pt x="905" y="179"/>
                  </a:cubicBezTo>
                  <a:cubicBezTo>
                    <a:pt x="905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32" name="Google Shape;13432;p64"/>
          <p:cNvGrpSpPr/>
          <p:nvPr/>
        </p:nvGrpSpPr>
        <p:grpSpPr>
          <a:xfrm>
            <a:off x="4206763" y="2450951"/>
            <a:ext cx="322151" cy="322374"/>
            <a:chOff x="4206763" y="2450951"/>
            <a:chExt cx="322151" cy="322374"/>
          </a:xfrm>
        </p:grpSpPr>
        <p:sp>
          <p:nvSpPr>
            <p:cNvPr id="13433" name="Google Shape;13433;p64"/>
            <p:cNvSpPr/>
            <p:nvPr/>
          </p:nvSpPr>
          <p:spPr>
            <a:xfrm>
              <a:off x="4206763" y="2571650"/>
              <a:ext cx="322151" cy="201675"/>
            </a:xfrm>
            <a:custGeom>
              <a:avLst/>
              <a:gdLst/>
              <a:ahLst/>
              <a:cxnLst/>
              <a:rect l="l" t="t" r="r" b="b"/>
              <a:pathLst>
                <a:path w="10121" h="6336" extrusionOk="0">
                  <a:moveTo>
                    <a:pt x="2691" y="2847"/>
                  </a:moveTo>
                  <a:lnTo>
                    <a:pt x="2691" y="6037"/>
                  </a:lnTo>
                  <a:lnTo>
                    <a:pt x="1393" y="6037"/>
                  </a:lnTo>
                  <a:lnTo>
                    <a:pt x="1393" y="2847"/>
                  </a:lnTo>
                  <a:close/>
                  <a:moveTo>
                    <a:pt x="5703" y="2049"/>
                  </a:moveTo>
                  <a:lnTo>
                    <a:pt x="5703" y="6037"/>
                  </a:lnTo>
                  <a:lnTo>
                    <a:pt x="4406" y="6037"/>
                  </a:lnTo>
                  <a:lnTo>
                    <a:pt x="4406" y="2049"/>
                  </a:lnTo>
                  <a:close/>
                  <a:moveTo>
                    <a:pt x="8704" y="299"/>
                  </a:moveTo>
                  <a:lnTo>
                    <a:pt x="8704" y="6037"/>
                  </a:lnTo>
                  <a:lnTo>
                    <a:pt x="7406" y="6037"/>
                  </a:lnTo>
                  <a:lnTo>
                    <a:pt x="7406" y="299"/>
                  </a:lnTo>
                  <a:close/>
                  <a:moveTo>
                    <a:pt x="7275" y="1"/>
                  </a:moveTo>
                  <a:cubicBezTo>
                    <a:pt x="7192" y="1"/>
                    <a:pt x="7132" y="61"/>
                    <a:pt x="7132" y="156"/>
                  </a:cubicBezTo>
                  <a:lnTo>
                    <a:pt x="7132" y="6037"/>
                  </a:lnTo>
                  <a:lnTo>
                    <a:pt x="6001" y="6037"/>
                  </a:lnTo>
                  <a:lnTo>
                    <a:pt x="6001" y="1894"/>
                  </a:lnTo>
                  <a:cubicBezTo>
                    <a:pt x="6001" y="1811"/>
                    <a:pt x="5941" y="1751"/>
                    <a:pt x="5846" y="1751"/>
                  </a:cubicBezTo>
                  <a:lnTo>
                    <a:pt x="4275" y="1751"/>
                  </a:lnTo>
                  <a:cubicBezTo>
                    <a:pt x="4179" y="1751"/>
                    <a:pt x="4120" y="1811"/>
                    <a:pt x="4120" y="1894"/>
                  </a:cubicBezTo>
                  <a:lnTo>
                    <a:pt x="4120" y="6037"/>
                  </a:lnTo>
                  <a:lnTo>
                    <a:pt x="2989" y="6037"/>
                  </a:lnTo>
                  <a:lnTo>
                    <a:pt x="2989" y="2704"/>
                  </a:lnTo>
                  <a:cubicBezTo>
                    <a:pt x="2989" y="2608"/>
                    <a:pt x="2929" y="2549"/>
                    <a:pt x="2846" y="2549"/>
                  </a:cubicBezTo>
                  <a:lnTo>
                    <a:pt x="1262" y="2549"/>
                  </a:lnTo>
                  <a:cubicBezTo>
                    <a:pt x="1167" y="2549"/>
                    <a:pt x="1119" y="2608"/>
                    <a:pt x="1119" y="2704"/>
                  </a:cubicBezTo>
                  <a:lnTo>
                    <a:pt x="1119" y="6037"/>
                  </a:lnTo>
                  <a:lnTo>
                    <a:pt x="143" y="6037"/>
                  </a:lnTo>
                  <a:cubicBezTo>
                    <a:pt x="60" y="6037"/>
                    <a:pt x="0" y="6097"/>
                    <a:pt x="0" y="6180"/>
                  </a:cubicBezTo>
                  <a:cubicBezTo>
                    <a:pt x="0" y="6276"/>
                    <a:pt x="60" y="6335"/>
                    <a:pt x="143" y="6335"/>
                  </a:cubicBezTo>
                  <a:lnTo>
                    <a:pt x="9966" y="6335"/>
                  </a:lnTo>
                  <a:cubicBezTo>
                    <a:pt x="10061" y="6335"/>
                    <a:pt x="10121" y="6276"/>
                    <a:pt x="10121" y="6180"/>
                  </a:cubicBezTo>
                  <a:cubicBezTo>
                    <a:pt x="10121" y="6109"/>
                    <a:pt x="10049" y="6037"/>
                    <a:pt x="9966" y="6037"/>
                  </a:cubicBezTo>
                  <a:lnTo>
                    <a:pt x="9001" y="6037"/>
                  </a:lnTo>
                  <a:lnTo>
                    <a:pt x="9001" y="156"/>
                  </a:lnTo>
                  <a:cubicBezTo>
                    <a:pt x="9001" y="61"/>
                    <a:pt x="8942" y="1"/>
                    <a:pt x="88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4" name="Google Shape;13434;p64"/>
            <p:cNvSpPr/>
            <p:nvPr/>
          </p:nvSpPr>
          <p:spPr>
            <a:xfrm>
              <a:off x="4210933" y="2450951"/>
              <a:ext cx="308878" cy="185537"/>
            </a:xfrm>
            <a:custGeom>
              <a:avLst/>
              <a:gdLst/>
              <a:ahLst/>
              <a:cxnLst/>
              <a:rect l="l" t="t" r="r" b="b"/>
              <a:pathLst>
                <a:path w="9704" h="5829" extrusionOk="0">
                  <a:moveTo>
                    <a:pt x="9212" y="1"/>
                  </a:moveTo>
                  <a:cubicBezTo>
                    <a:pt x="9189" y="1"/>
                    <a:pt x="9167" y="3"/>
                    <a:pt x="9144" y="7"/>
                  </a:cubicBezTo>
                  <a:lnTo>
                    <a:pt x="7870" y="162"/>
                  </a:lnTo>
                  <a:cubicBezTo>
                    <a:pt x="7620" y="197"/>
                    <a:pt x="7442" y="435"/>
                    <a:pt x="7477" y="685"/>
                  </a:cubicBezTo>
                  <a:cubicBezTo>
                    <a:pt x="7500" y="920"/>
                    <a:pt x="7711" y="1092"/>
                    <a:pt x="7944" y="1092"/>
                  </a:cubicBezTo>
                  <a:cubicBezTo>
                    <a:pt x="7959" y="1092"/>
                    <a:pt x="7974" y="1092"/>
                    <a:pt x="7989" y="1090"/>
                  </a:cubicBezTo>
                  <a:lnTo>
                    <a:pt x="8096" y="1066"/>
                  </a:lnTo>
                  <a:lnTo>
                    <a:pt x="8096" y="1066"/>
                  </a:lnTo>
                  <a:cubicBezTo>
                    <a:pt x="6537" y="2876"/>
                    <a:pt x="4691" y="3805"/>
                    <a:pt x="3382" y="4269"/>
                  </a:cubicBezTo>
                  <a:cubicBezTo>
                    <a:pt x="1739" y="4853"/>
                    <a:pt x="476" y="4912"/>
                    <a:pt x="465" y="4912"/>
                  </a:cubicBezTo>
                  <a:cubicBezTo>
                    <a:pt x="203" y="4924"/>
                    <a:pt x="0" y="5138"/>
                    <a:pt x="12" y="5388"/>
                  </a:cubicBezTo>
                  <a:cubicBezTo>
                    <a:pt x="36" y="5638"/>
                    <a:pt x="226" y="5829"/>
                    <a:pt x="476" y="5829"/>
                  </a:cubicBezTo>
                  <a:lnTo>
                    <a:pt x="488" y="5829"/>
                  </a:lnTo>
                  <a:cubicBezTo>
                    <a:pt x="548" y="5829"/>
                    <a:pt x="1893" y="5793"/>
                    <a:pt x="3667" y="5150"/>
                  </a:cubicBezTo>
                  <a:cubicBezTo>
                    <a:pt x="4656" y="4793"/>
                    <a:pt x="5596" y="4317"/>
                    <a:pt x="6442" y="3745"/>
                  </a:cubicBezTo>
                  <a:cubicBezTo>
                    <a:pt x="6525" y="3710"/>
                    <a:pt x="6537" y="3614"/>
                    <a:pt x="6489" y="3543"/>
                  </a:cubicBezTo>
                  <a:cubicBezTo>
                    <a:pt x="6458" y="3497"/>
                    <a:pt x="6413" y="3471"/>
                    <a:pt x="6365" y="3471"/>
                  </a:cubicBezTo>
                  <a:cubicBezTo>
                    <a:pt x="6339" y="3471"/>
                    <a:pt x="6312" y="3478"/>
                    <a:pt x="6287" y="3495"/>
                  </a:cubicBezTo>
                  <a:cubicBezTo>
                    <a:pt x="5453" y="4067"/>
                    <a:pt x="4537" y="4519"/>
                    <a:pt x="3560" y="4865"/>
                  </a:cubicBezTo>
                  <a:cubicBezTo>
                    <a:pt x="1834" y="5484"/>
                    <a:pt x="536" y="5519"/>
                    <a:pt x="476" y="5531"/>
                  </a:cubicBezTo>
                  <a:cubicBezTo>
                    <a:pt x="393" y="5531"/>
                    <a:pt x="310" y="5460"/>
                    <a:pt x="310" y="5377"/>
                  </a:cubicBezTo>
                  <a:cubicBezTo>
                    <a:pt x="310" y="5281"/>
                    <a:pt x="393" y="5210"/>
                    <a:pt x="476" y="5198"/>
                  </a:cubicBezTo>
                  <a:cubicBezTo>
                    <a:pt x="488" y="5198"/>
                    <a:pt x="1798" y="5150"/>
                    <a:pt x="3489" y="4543"/>
                  </a:cubicBezTo>
                  <a:cubicBezTo>
                    <a:pt x="4894" y="4031"/>
                    <a:pt x="6918" y="3007"/>
                    <a:pt x="8573" y="947"/>
                  </a:cubicBezTo>
                  <a:cubicBezTo>
                    <a:pt x="8664" y="856"/>
                    <a:pt x="8579" y="709"/>
                    <a:pt x="8456" y="709"/>
                  </a:cubicBezTo>
                  <a:cubicBezTo>
                    <a:pt x="8451" y="709"/>
                    <a:pt x="8447" y="709"/>
                    <a:pt x="8442" y="709"/>
                  </a:cubicBezTo>
                  <a:lnTo>
                    <a:pt x="7966" y="769"/>
                  </a:lnTo>
                  <a:cubicBezTo>
                    <a:pt x="7951" y="772"/>
                    <a:pt x="7937" y="774"/>
                    <a:pt x="7924" y="774"/>
                  </a:cubicBezTo>
                  <a:cubicBezTo>
                    <a:pt x="7850" y="774"/>
                    <a:pt x="7797" y="720"/>
                    <a:pt x="7787" y="650"/>
                  </a:cubicBezTo>
                  <a:cubicBezTo>
                    <a:pt x="7751" y="554"/>
                    <a:pt x="7835" y="459"/>
                    <a:pt x="7930" y="447"/>
                  </a:cubicBezTo>
                  <a:lnTo>
                    <a:pt x="9204" y="281"/>
                  </a:lnTo>
                  <a:cubicBezTo>
                    <a:pt x="9210" y="280"/>
                    <a:pt x="9216" y="280"/>
                    <a:pt x="9222" y="280"/>
                  </a:cubicBezTo>
                  <a:cubicBezTo>
                    <a:pt x="9311" y="280"/>
                    <a:pt x="9394" y="358"/>
                    <a:pt x="9394" y="447"/>
                  </a:cubicBezTo>
                  <a:lnTo>
                    <a:pt x="9394" y="1709"/>
                  </a:lnTo>
                  <a:cubicBezTo>
                    <a:pt x="9394" y="1805"/>
                    <a:pt x="9323" y="1876"/>
                    <a:pt x="9228" y="1876"/>
                  </a:cubicBezTo>
                  <a:cubicBezTo>
                    <a:pt x="9132" y="1876"/>
                    <a:pt x="9061" y="1805"/>
                    <a:pt x="9061" y="1709"/>
                  </a:cubicBezTo>
                  <a:lnTo>
                    <a:pt x="9061" y="1328"/>
                  </a:lnTo>
                  <a:cubicBezTo>
                    <a:pt x="9061" y="1269"/>
                    <a:pt x="9025" y="1209"/>
                    <a:pt x="8978" y="1186"/>
                  </a:cubicBezTo>
                  <a:cubicBezTo>
                    <a:pt x="8963" y="1183"/>
                    <a:pt x="8948" y="1181"/>
                    <a:pt x="8932" y="1181"/>
                  </a:cubicBezTo>
                  <a:cubicBezTo>
                    <a:pt x="8882" y="1181"/>
                    <a:pt x="8829" y="1197"/>
                    <a:pt x="8811" y="1233"/>
                  </a:cubicBezTo>
                  <a:cubicBezTo>
                    <a:pt x="8263" y="1924"/>
                    <a:pt x="7620" y="2531"/>
                    <a:pt x="6930" y="3067"/>
                  </a:cubicBezTo>
                  <a:cubicBezTo>
                    <a:pt x="6870" y="3114"/>
                    <a:pt x="6858" y="3210"/>
                    <a:pt x="6906" y="3269"/>
                  </a:cubicBezTo>
                  <a:cubicBezTo>
                    <a:pt x="6936" y="3307"/>
                    <a:pt x="6985" y="3330"/>
                    <a:pt x="7032" y="3330"/>
                  </a:cubicBezTo>
                  <a:cubicBezTo>
                    <a:pt x="7060" y="3330"/>
                    <a:pt x="7086" y="3322"/>
                    <a:pt x="7108" y="3305"/>
                  </a:cubicBezTo>
                  <a:cubicBezTo>
                    <a:pt x="7704" y="2840"/>
                    <a:pt x="8275" y="2305"/>
                    <a:pt x="8775" y="1745"/>
                  </a:cubicBezTo>
                  <a:cubicBezTo>
                    <a:pt x="8799" y="1995"/>
                    <a:pt x="8989" y="2186"/>
                    <a:pt x="9239" y="2186"/>
                  </a:cubicBezTo>
                  <a:cubicBezTo>
                    <a:pt x="9490" y="2186"/>
                    <a:pt x="9704" y="1983"/>
                    <a:pt x="9704" y="1721"/>
                  </a:cubicBezTo>
                  <a:lnTo>
                    <a:pt x="9704" y="459"/>
                  </a:lnTo>
                  <a:cubicBezTo>
                    <a:pt x="9680" y="328"/>
                    <a:pt x="9620" y="209"/>
                    <a:pt x="9513" y="126"/>
                  </a:cubicBezTo>
                  <a:cubicBezTo>
                    <a:pt x="9425" y="47"/>
                    <a:pt x="9319" y="1"/>
                    <a:pt x="92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35" name="Google Shape;13435;p64"/>
          <p:cNvGrpSpPr/>
          <p:nvPr/>
        </p:nvGrpSpPr>
        <p:grpSpPr>
          <a:xfrm>
            <a:off x="7528096" y="2450059"/>
            <a:ext cx="327976" cy="324316"/>
            <a:chOff x="7528096" y="2450059"/>
            <a:chExt cx="327976" cy="324316"/>
          </a:xfrm>
        </p:grpSpPr>
        <p:sp>
          <p:nvSpPr>
            <p:cNvPr id="13436" name="Google Shape;13436;p64"/>
            <p:cNvSpPr/>
            <p:nvPr/>
          </p:nvSpPr>
          <p:spPr>
            <a:xfrm>
              <a:off x="7569411" y="2697187"/>
              <a:ext cx="26928" cy="25623"/>
            </a:xfrm>
            <a:custGeom>
              <a:avLst/>
              <a:gdLst/>
              <a:ahLst/>
              <a:cxnLst/>
              <a:rect l="l" t="t" r="r" b="b"/>
              <a:pathLst>
                <a:path w="846" h="805" extrusionOk="0">
                  <a:moveTo>
                    <a:pt x="679" y="1"/>
                  </a:moveTo>
                  <a:cubicBezTo>
                    <a:pt x="640" y="1"/>
                    <a:pt x="602" y="16"/>
                    <a:pt x="572" y="46"/>
                  </a:cubicBezTo>
                  <a:lnTo>
                    <a:pt x="60" y="558"/>
                  </a:lnTo>
                  <a:cubicBezTo>
                    <a:pt x="0" y="617"/>
                    <a:pt x="0" y="700"/>
                    <a:pt x="60" y="760"/>
                  </a:cubicBezTo>
                  <a:cubicBezTo>
                    <a:pt x="96" y="790"/>
                    <a:pt x="134" y="805"/>
                    <a:pt x="172" y="805"/>
                  </a:cubicBezTo>
                  <a:cubicBezTo>
                    <a:pt x="209" y="805"/>
                    <a:pt x="244" y="790"/>
                    <a:pt x="274" y="760"/>
                  </a:cubicBezTo>
                  <a:lnTo>
                    <a:pt x="786" y="260"/>
                  </a:lnTo>
                  <a:cubicBezTo>
                    <a:pt x="846" y="200"/>
                    <a:pt x="846" y="105"/>
                    <a:pt x="786" y="46"/>
                  </a:cubicBezTo>
                  <a:cubicBezTo>
                    <a:pt x="756" y="16"/>
                    <a:pt x="718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7" name="Google Shape;13437;p64"/>
            <p:cNvSpPr/>
            <p:nvPr/>
          </p:nvSpPr>
          <p:spPr>
            <a:xfrm>
              <a:off x="7600859" y="2728667"/>
              <a:ext cx="26578" cy="25591"/>
            </a:xfrm>
            <a:custGeom>
              <a:avLst/>
              <a:gdLst/>
              <a:ahLst/>
              <a:cxnLst/>
              <a:rect l="l" t="t" r="r" b="b"/>
              <a:pathLst>
                <a:path w="835" h="804" extrusionOk="0">
                  <a:moveTo>
                    <a:pt x="673" y="0"/>
                  </a:moveTo>
                  <a:cubicBezTo>
                    <a:pt x="638" y="0"/>
                    <a:pt x="602" y="15"/>
                    <a:pt x="572" y="45"/>
                  </a:cubicBezTo>
                  <a:lnTo>
                    <a:pt x="60" y="545"/>
                  </a:lnTo>
                  <a:cubicBezTo>
                    <a:pt x="1" y="604"/>
                    <a:pt x="1" y="700"/>
                    <a:pt x="60" y="759"/>
                  </a:cubicBezTo>
                  <a:cubicBezTo>
                    <a:pt x="90" y="789"/>
                    <a:pt x="129" y="804"/>
                    <a:pt x="167" y="804"/>
                  </a:cubicBezTo>
                  <a:cubicBezTo>
                    <a:pt x="206" y="804"/>
                    <a:pt x="245" y="789"/>
                    <a:pt x="274" y="759"/>
                  </a:cubicBezTo>
                  <a:lnTo>
                    <a:pt x="775" y="247"/>
                  </a:lnTo>
                  <a:cubicBezTo>
                    <a:pt x="834" y="188"/>
                    <a:pt x="834" y="104"/>
                    <a:pt x="775" y="45"/>
                  </a:cubicBezTo>
                  <a:cubicBezTo>
                    <a:pt x="745" y="15"/>
                    <a:pt x="709" y="0"/>
                    <a:pt x="6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8" name="Google Shape;13438;p64"/>
            <p:cNvSpPr/>
            <p:nvPr/>
          </p:nvSpPr>
          <p:spPr>
            <a:xfrm>
              <a:off x="7585326" y="2713102"/>
              <a:ext cx="26546" cy="25241"/>
            </a:xfrm>
            <a:custGeom>
              <a:avLst/>
              <a:gdLst/>
              <a:ahLst/>
              <a:cxnLst/>
              <a:rect l="l" t="t" r="r" b="b"/>
              <a:pathLst>
                <a:path w="834" h="793" extrusionOk="0">
                  <a:moveTo>
                    <a:pt x="667" y="1"/>
                  </a:moveTo>
                  <a:cubicBezTo>
                    <a:pt x="629" y="1"/>
                    <a:pt x="590" y="16"/>
                    <a:pt x="560" y="46"/>
                  </a:cubicBezTo>
                  <a:lnTo>
                    <a:pt x="60" y="546"/>
                  </a:lnTo>
                  <a:cubicBezTo>
                    <a:pt x="0" y="605"/>
                    <a:pt x="0" y="700"/>
                    <a:pt x="60" y="748"/>
                  </a:cubicBezTo>
                  <a:cubicBezTo>
                    <a:pt x="90" y="778"/>
                    <a:pt x="125" y="793"/>
                    <a:pt x="161" y="793"/>
                  </a:cubicBezTo>
                  <a:cubicBezTo>
                    <a:pt x="197" y="793"/>
                    <a:pt x="233" y="778"/>
                    <a:pt x="262" y="748"/>
                  </a:cubicBezTo>
                  <a:lnTo>
                    <a:pt x="774" y="248"/>
                  </a:lnTo>
                  <a:cubicBezTo>
                    <a:pt x="834" y="189"/>
                    <a:pt x="834" y="105"/>
                    <a:pt x="774" y="46"/>
                  </a:cubicBezTo>
                  <a:cubicBezTo>
                    <a:pt x="745" y="16"/>
                    <a:pt x="706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9" name="Google Shape;13439;p64"/>
            <p:cNvSpPr/>
            <p:nvPr/>
          </p:nvSpPr>
          <p:spPr>
            <a:xfrm>
              <a:off x="7528096" y="2450059"/>
              <a:ext cx="327976" cy="324316"/>
            </a:xfrm>
            <a:custGeom>
              <a:avLst/>
              <a:gdLst/>
              <a:ahLst/>
              <a:cxnLst/>
              <a:rect l="l" t="t" r="r" b="b"/>
              <a:pathLst>
                <a:path w="10304" h="10189" extrusionOk="0">
                  <a:moveTo>
                    <a:pt x="9954" y="309"/>
                  </a:moveTo>
                  <a:lnTo>
                    <a:pt x="9538" y="1761"/>
                  </a:lnTo>
                  <a:lnTo>
                    <a:pt x="8514" y="725"/>
                  </a:lnTo>
                  <a:lnTo>
                    <a:pt x="9954" y="309"/>
                  </a:lnTo>
                  <a:close/>
                  <a:moveTo>
                    <a:pt x="4311" y="3369"/>
                  </a:moveTo>
                  <a:lnTo>
                    <a:pt x="2501" y="5178"/>
                  </a:lnTo>
                  <a:lnTo>
                    <a:pt x="429" y="5012"/>
                  </a:lnTo>
                  <a:cubicBezTo>
                    <a:pt x="394" y="5012"/>
                    <a:pt x="382" y="4988"/>
                    <a:pt x="417" y="4952"/>
                  </a:cubicBezTo>
                  <a:cubicBezTo>
                    <a:pt x="1310" y="4059"/>
                    <a:pt x="2477" y="3523"/>
                    <a:pt x="3727" y="3404"/>
                  </a:cubicBezTo>
                  <a:lnTo>
                    <a:pt x="4311" y="3369"/>
                  </a:lnTo>
                  <a:close/>
                  <a:moveTo>
                    <a:pt x="2537" y="5571"/>
                  </a:moveTo>
                  <a:lnTo>
                    <a:pt x="3358" y="6381"/>
                  </a:lnTo>
                  <a:lnTo>
                    <a:pt x="3049" y="6702"/>
                  </a:lnTo>
                  <a:cubicBezTo>
                    <a:pt x="2715" y="6369"/>
                    <a:pt x="2299" y="5952"/>
                    <a:pt x="2227" y="5893"/>
                  </a:cubicBezTo>
                  <a:lnTo>
                    <a:pt x="2537" y="5571"/>
                  </a:lnTo>
                  <a:close/>
                  <a:moveTo>
                    <a:pt x="2418" y="6464"/>
                  </a:moveTo>
                  <a:lnTo>
                    <a:pt x="2834" y="6881"/>
                  </a:lnTo>
                  <a:lnTo>
                    <a:pt x="2465" y="7250"/>
                  </a:lnTo>
                  <a:cubicBezTo>
                    <a:pt x="2453" y="7262"/>
                    <a:pt x="2441" y="7298"/>
                    <a:pt x="2418" y="7310"/>
                  </a:cubicBezTo>
                  <a:lnTo>
                    <a:pt x="2049" y="6940"/>
                  </a:lnTo>
                  <a:cubicBezTo>
                    <a:pt x="2025" y="6905"/>
                    <a:pt x="2025" y="6857"/>
                    <a:pt x="2049" y="6833"/>
                  </a:cubicBezTo>
                  <a:lnTo>
                    <a:pt x="2418" y="6464"/>
                  </a:lnTo>
                  <a:close/>
                  <a:moveTo>
                    <a:pt x="8168" y="821"/>
                  </a:moveTo>
                  <a:lnTo>
                    <a:pt x="9418" y="2071"/>
                  </a:lnTo>
                  <a:lnTo>
                    <a:pt x="9061" y="3380"/>
                  </a:lnTo>
                  <a:lnTo>
                    <a:pt x="4906" y="7536"/>
                  </a:lnTo>
                  <a:lnTo>
                    <a:pt x="4084" y="6714"/>
                  </a:lnTo>
                  <a:lnTo>
                    <a:pt x="5978" y="4821"/>
                  </a:lnTo>
                  <a:cubicBezTo>
                    <a:pt x="6109" y="4690"/>
                    <a:pt x="6144" y="4452"/>
                    <a:pt x="5966" y="4273"/>
                  </a:cubicBezTo>
                  <a:cubicBezTo>
                    <a:pt x="5888" y="4196"/>
                    <a:pt x="5790" y="4157"/>
                    <a:pt x="5693" y="4157"/>
                  </a:cubicBezTo>
                  <a:cubicBezTo>
                    <a:pt x="5597" y="4157"/>
                    <a:pt x="5501" y="4196"/>
                    <a:pt x="5430" y="4273"/>
                  </a:cubicBezTo>
                  <a:lnTo>
                    <a:pt x="3537" y="6167"/>
                  </a:lnTo>
                  <a:lnTo>
                    <a:pt x="2715" y="5345"/>
                  </a:lnTo>
                  <a:lnTo>
                    <a:pt x="6871" y="1190"/>
                  </a:lnTo>
                  <a:lnTo>
                    <a:pt x="8168" y="821"/>
                  </a:lnTo>
                  <a:close/>
                  <a:moveTo>
                    <a:pt x="5711" y="4485"/>
                  </a:moveTo>
                  <a:cubicBezTo>
                    <a:pt x="5733" y="4485"/>
                    <a:pt x="5757" y="4494"/>
                    <a:pt x="5775" y="4512"/>
                  </a:cubicBezTo>
                  <a:cubicBezTo>
                    <a:pt x="5799" y="4535"/>
                    <a:pt x="5799" y="4595"/>
                    <a:pt x="5775" y="4631"/>
                  </a:cubicBezTo>
                  <a:lnTo>
                    <a:pt x="3775" y="6619"/>
                  </a:lnTo>
                  <a:cubicBezTo>
                    <a:pt x="3692" y="6714"/>
                    <a:pt x="2894" y="7488"/>
                    <a:pt x="2811" y="7595"/>
                  </a:cubicBezTo>
                  <a:cubicBezTo>
                    <a:pt x="2793" y="7607"/>
                    <a:pt x="2769" y="7613"/>
                    <a:pt x="2747" y="7613"/>
                  </a:cubicBezTo>
                  <a:cubicBezTo>
                    <a:pt x="2724" y="7613"/>
                    <a:pt x="2703" y="7607"/>
                    <a:pt x="2691" y="7595"/>
                  </a:cubicBezTo>
                  <a:cubicBezTo>
                    <a:pt x="2656" y="7560"/>
                    <a:pt x="2656" y="7500"/>
                    <a:pt x="2691" y="7476"/>
                  </a:cubicBezTo>
                  <a:lnTo>
                    <a:pt x="5656" y="4512"/>
                  </a:lnTo>
                  <a:cubicBezTo>
                    <a:pt x="5668" y="4494"/>
                    <a:pt x="5689" y="4485"/>
                    <a:pt x="5711" y="4485"/>
                  </a:cubicBezTo>
                  <a:close/>
                  <a:moveTo>
                    <a:pt x="3894" y="6917"/>
                  </a:moveTo>
                  <a:lnTo>
                    <a:pt x="4716" y="7738"/>
                  </a:lnTo>
                  <a:lnTo>
                    <a:pt x="4406" y="8036"/>
                  </a:lnTo>
                  <a:lnTo>
                    <a:pt x="4382" y="8036"/>
                  </a:lnTo>
                  <a:lnTo>
                    <a:pt x="3584" y="7238"/>
                  </a:lnTo>
                  <a:lnTo>
                    <a:pt x="3894" y="6917"/>
                  </a:lnTo>
                  <a:close/>
                  <a:moveTo>
                    <a:pt x="3394" y="7452"/>
                  </a:moveTo>
                  <a:lnTo>
                    <a:pt x="3811" y="7869"/>
                  </a:lnTo>
                  <a:lnTo>
                    <a:pt x="3430" y="8226"/>
                  </a:lnTo>
                  <a:cubicBezTo>
                    <a:pt x="3418" y="8250"/>
                    <a:pt x="3394" y="8250"/>
                    <a:pt x="3394" y="8250"/>
                  </a:cubicBezTo>
                  <a:cubicBezTo>
                    <a:pt x="3370" y="8250"/>
                    <a:pt x="3358" y="8250"/>
                    <a:pt x="3346" y="8226"/>
                  </a:cubicBezTo>
                  <a:lnTo>
                    <a:pt x="2977" y="7857"/>
                  </a:lnTo>
                  <a:cubicBezTo>
                    <a:pt x="2989" y="7845"/>
                    <a:pt x="3013" y="7833"/>
                    <a:pt x="3037" y="7810"/>
                  </a:cubicBezTo>
                  <a:lnTo>
                    <a:pt x="3394" y="7452"/>
                  </a:lnTo>
                  <a:close/>
                  <a:moveTo>
                    <a:pt x="9971" y="1"/>
                  </a:moveTo>
                  <a:cubicBezTo>
                    <a:pt x="9946" y="1"/>
                    <a:pt x="9921" y="4"/>
                    <a:pt x="9895" y="11"/>
                  </a:cubicBezTo>
                  <a:cubicBezTo>
                    <a:pt x="9252" y="213"/>
                    <a:pt x="7394" y="749"/>
                    <a:pt x="6787" y="928"/>
                  </a:cubicBezTo>
                  <a:cubicBezTo>
                    <a:pt x="6751" y="928"/>
                    <a:pt x="6740" y="940"/>
                    <a:pt x="6716" y="963"/>
                  </a:cubicBezTo>
                  <a:lnTo>
                    <a:pt x="4632" y="3047"/>
                  </a:lnTo>
                  <a:lnTo>
                    <a:pt x="3703" y="3130"/>
                  </a:lnTo>
                  <a:cubicBezTo>
                    <a:pt x="2370" y="3226"/>
                    <a:pt x="1144" y="3809"/>
                    <a:pt x="191" y="4750"/>
                  </a:cubicBezTo>
                  <a:cubicBezTo>
                    <a:pt x="1" y="4940"/>
                    <a:pt x="120" y="5285"/>
                    <a:pt x="394" y="5309"/>
                  </a:cubicBezTo>
                  <a:lnTo>
                    <a:pt x="2215" y="5476"/>
                  </a:lnTo>
                  <a:lnTo>
                    <a:pt x="2025" y="5666"/>
                  </a:lnTo>
                  <a:cubicBezTo>
                    <a:pt x="1906" y="5786"/>
                    <a:pt x="1906" y="5964"/>
                    <a:pt x="2025" y="6083"/>
                  </a:cubicBezTo>
                  <a:lnTo>
                    <a:pt x="2203" y="6262"/>
                  </a:lnTo>
                  <a:lnTo>
                    <a:pt x="1822" y="6643"/>
                  </a:lnTo>
                  <a:cubicBezTo>
                    <a:pt x="1679" y="6786"/>
                    <a:pt x="1679" y="7012"/>
                    <a:pt x="1822" y="7155"/>
                  </a:cubicBezTo>
                  <a:lnTo>
                    <a:pt x="3108" y="8441"/>
                  </a:lnTo>
                  <a:cubicBezTo>
                    <a:pt x="3180" y="8512"/>
                    <a:pt x="3272" y="8548"/>
                    <a:pt x="3366" y="8548"/>
                  </a:cubicBezTo>
                  <a:cubicBezTo>
                    <a:pt x="3459" y="8548"/>
                    <a:pt x="3555" y="8512"/>
                    <a:pt x="3632" y="8441"/>
                  </a:cubicBezTo>
                  <a:lnTo>
                    <a:pt x="4001" y="8072"/>
                  </a:lnTo>
                  <a:lnTo>
                    <a:pt x="4180" y="8250"/>
                  </a:lnTo>
                  <a:cubicBezTo>
                    <a:pt x="4239" y="8310"/>
                    <a:pt x="4317" y="8339"/>
                    <a:pt x="4396" y="8339"/>
                  </a:cubicBezTo>
                  <a:cubicBezTo>
                    <a:pt x="4474" y="8339"/>
                    <a:pt x="4555" y="8310"/>
                    <a:pt x="4620" y="8250"/>
                  </a:cubicBezTo>
                  <a:lnTo>
                    <a:pt x="4799" y="8072"/>
                  </a:lnTo>
                  <a:lnTo>
                    <a:pt x="4966" y="9881"/>
                  </a:lnTo>
                  <a:cubicBezTo>
                    <a:pt x="4977" y="10012"/>
                    <a:pt x="5061" y="10119"/>
                    <a:pt x="5180" y="10167"/>
                  </a:cubicBezTo>
                  <a:cubicBezTo>
                    <a:pt x="5216" y="10182"/>
                    <a:pt x="5254" y="10188"/>
                    <a:pt x="5291" y="10188"/>
                  </a:cubicBezTo>
                  <a:cubicBezTo>
                    <a:pt x="5375" y="10188"/>
                    <a:pt x="5455" y="10153"/>
                    <a:pt x="5513" y="10096"/>
                  </a:cubicBezTo>
                  <a:cubicBezTo>
                    <a:pt x="6097" y="9512"/>
                    <a:pt x="6525" y="8822"/>
                    <a:pt x="6811" y="8072"/>
                  </a:cubicBezTo>
                  <a:cubicBezTo>
                    <a:pt x="6847" y="7988"/>
                    <a:pt x="6799" y="7905"/>
                    <a:pt x="6728" y="7869"/>
                  </a:cubicBezTo>
                  <a:cubicBezTo>
                    <a:pt x="6713" y="7865"/>
                    <a:pt x="6698" y="7863"/>
                    <a:pt x="6684" y="7863"/>
                  </a:cubicBezTo>
                  <a:cubicBezTo>
                    <a:pt x="6616" y="7863"/>
                    <a:pt x="6555" y="7906"/>
                    <a:pt x="6525" y="7964"/>
                  </a:cubicBezTo>
                  <a:cubicBezTo>
                    <a:pt x="6263" y="8691"/>
                    <a:pt x="5847" y="9334"/>
                    <a:pt x="5299" y="9881"/>
                  </a:cubicBezTo>
                  <a:cubicBezTo>
                    <a:pt x="5292" y="9885"/>
                    <a:pt x="5285" y="9886"/>
                    <a:pt x="5278" y="9886"/>
                  </a:cubicBezTo>
                  <a:cubicBezTo>
                    <a:pt x="5262" y="9886"/>
                    <a:pt x="5248" y="9878"/>
                    <a:pt x="5239" y="9869"/>
                  </a:cubicBezTo>
                  <a:lnTo>
                    <a:pt x="5061" y="7810"/>
                  </a:lnTo>
                  <a:lnTo>
                    <a:pt x="6871" y="6000"/>
                  </a:lnTo>
                  <a:lnTo>
                    <a:pt x="6871" y="6000"/>
                  </a:lnTo>
                  <a:cubicBezTo>
                    <a:pt x="6811" y="6738"/>
                    <a:pt x="6799" y="6940"/>
                    <a:pt x="6704" y="7310"/>
                  </a:cubicBezTo>
                  <a:cubicBezTo>
                    <a:pt x="6692" y="7381"/>
                    <a:pt x="6740" y="7476"/>
                    <a:pt x="6823" y="7488"/>
                  </a:cubicBezTo>
                  <a:cubicBezTo>
                    <a:pt x="6831" y="7489"/>
                    <a:pt x="6840" y="7490"/>
                    <a:pt x="6848" y="7490"/>
                  </a:cubicBezTo>
                  <a:cubicBezTo>
                    <a:pt x="6923" y="7490"/>
                    <a:pt x="6991" y="7444"/>
                    <a:pt x="7002" y="7369"/>
                  </a:cubicBezTo>
                  <a:cubicBezTo>
                    <a:pt x="7109" y="6905"/>
                    <a:pt x="7109" y="6702"/>
                    <a:pt x="7204" y="5666"/>
                  </a:cubicBezTo>
                  <a:lnTo>
                    <a:pt x="9288" y="3583"/>
                  </a:lnTo>
                  <a:cubicBezTo>
                    <a:pt x="9299" y="3571"/>
                    <a:pt x="9311" y="3547"/>
                    <a:pt x="9323" y="3523"/>
                  </a:cubicBezTo>
                  <a:lnTo>
                    <a:pt x="9740" y="2118"/>
                  </a:lnTo>
                  <a:lnTo>
                    <a:pt x="10240" y="416"/>
                  </a:lnTo>
                  <a:cubicBezTo>
                    <a:pt x="10303" y="194"/>
                    <a:pt x="10161" y="1"/>
                    <a:pt x="99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0" name="Google Shape;13440;p64"/>
            <p:cNvSpPr/>
            <p:nvPr/>
          </p:nvSpPr>
          <p:spPr>
            <a:xfrm>
              <a:off x="7712296" y="2525528"/>
              <a:ext cx="79989" cy="60954"/>
            </a:xfrm>
            <a:custGeom>
              <a:avLst/>
              <a:gdLst/>
              <a:ahLst/>
              <a:cxnLst/>
              <a:rect l="l" t="t" r="r" b="b"/>
              <a:pathLst>
                <a:path w="2513" h="1915" extrusionOk="0">
                  <a:moveTo>
                    <a:pt x="842" y="0"/>
                  </a:moveTo>
                  <a:cubicBezTo>
                    <a:pt x="823" y="0"/>
                    <a:pt x="804" y="3"/>
                    <a:pt x="786" y="9"/>
                  </a:cubicBezTo>
                  <a:cubicBezTo>
                    <a:pt x="167" y="295"/>
                    <a:pt x="0" y="1129"/>
                    <a:pt x="488" y="1617"/>
                  </a:cubicBezTo>
                  <a:cubicBezTo>
                    <a:pt x="679" y="1807"/>
                    <a:pt x="941" y="1914"/>
                    <a:pt x="1191" y="1914"/>
                  </a:cubicBezTo>
                  <a:cubicBezTo>
                    <a:pt x="2072" y="1914"/>
                    <a:pt x="2512" y="843"/>
                    <a:pt x="1893" y="224"/>
                  </a:cubicBezTo>
                  <a:cubicBezTo>
                    <a:pt x="1798" y="128"/>
                    <a:pt x="1715" y="69"/>
                    <a:pt x="1596" y="9"/>
                  </a:cubicBezTo>
                  <a:cubicBezTo>
                    <a:pt x="1575" y="3"/>
                    <a:pt x="1554" y="0"/>
                    <a:pt x="1534" y="0"/>
                  </a:cubicBezTo>
                  <a:cubicBezTo>
                    <a:pt x="1473" y="0"/>
                    <a:pt x="1420" y="27"/>
                    <a:pt x="1393" y="81"/>
                  </a:cubicBezTo>
                  <a:cubicBezTo>
                    <a:pt x="1369" y="164"/>
                    <a:pt x="1393" y="247"/>
                    <a:pt x="1476" y="283"/>
                  </a:cubicBezTo>
                  <a:cubicBezTo>
                    <a:pt x="1917" y="474"/>
                    <a:pt x="2024" y="1069"/>
                    <a:pt x="1679" y="1414"/>
                  </a:cubicBezTo>
                  <a:cubicBezTo>
                    <a:pt x="1548" y="1545"/>
                    <a:pt x="1369" y="1611"/>
                    <a:pt x="1191" y="1611"/>
                  </a:cubicBezTo>
                  <a:cubicBezTo>
                    <a:pt x="1012" y="1611"/>
                    <a:pt x="834" y="1545"/>
                    <a:pt x="703" y="1414"/>
                  </a:cubicBezTo>
                  <a:cubicBezTo>
                    <a:pt x="357" y="1069"/>
                    <a:pt x="464" y="486"/>
                    <a:pt x="905" y="283"/>
                  </a:cubicBezTo>
                  <a:cubicBezTo>
                    <a:pt x="976" y="247"/>
                    <a:pt x="1012" y="164"/>
                    <a:pt x="976" y="81"/>
                  </a:cubicBezTo>
                  <a:cubicBezTo>
                    <a:pt x="959" y="27"/>
                    <a:pt x="900" y="0"/>
                    <a:pt x="8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41" name="Google Shape;13441;p64"/>
          <p:cNvGrpSpPr/>
          <p:nvPr/>
        </p:nvGrpSpPr>
        <p:grpSpPr>
          <a:xfrm>
            <a:off x="7077129" y="2512542"/>
            <a:ext cx="282364" cy="198619"/>
            <a:chOff x="7077129" y="2512542"/>
            <a:chExt cx="282364" cy="198619"/>
          </a:xfrm>
        </p:grpSpPr>
        <p:sp>
          <p:nvSpPr>
            <p:cNvPr id="13442" name="Google Shape;13442;p64"/>
            <p:cNvSpPr/>
            <p:nvPr/>
          </p:nvSpPr>
          <p:spPr>
            <a:xfrm>
              <a:off x="7304872" y="2551533"/>
              <a:ext cx="25050" cy="19416"/>
            </a:xfrm>
            <a:custGeom>
              <a:avLst/>
              <a:gdLst/>
              <a:ahLst/>
              <a:cxnLst/>
              <a:rect l="l" t="t" r="r" b="b"/>
              <a:pathLst>
                <a:path w="787" h="610" extrusionOk="0">
                  <a:moveTo>
                    <a:pt x="166" y="1"/>
                  </a:moveTo>
                  <a:cubicBezTo>
                    <a:pt x="119" y="1"/>
                    <a:pt x="72" y="27"/>
                    <a:pt x="48" y="73"/>
                  </a:cubicBezTo>
                  <a:cubicBezTo>
                    <a:pt x="1" y="133"/>
                    <a:pt x="13" y="216"/>
                    <a:pt x="84" y="264"/>
                  </a:cubicBezTo>
                  <a:cubicBezTo>
                    <a:pt x="239" y="371"/>
                    <a:pt x="382" y="478"/>
                    <a:pt x="549" y="573"/>
                  </a:cubicBezTo>
                  <a:cubicBezTo>
                    <a:pt x="584" y="597"/>
                    <a:pt x="608" y="609"/>
                    <a:pt x="620" y="609"/>
                  </a:cubicBezTo>
                  <a:cubicBezTo>
                    <a:pt x="668" y="609"/>
                    <a:pt x="715" y="597"/>
                    <a:pt x="739" y="550"/>
                  </a:cubicBezTo>
                  <a:cubicBezTo>
                    <a:pt x="787" y="490"/>
                    <a:pt x="775" y="395"/>
                    <a:pt x="703" y="359"/>
                  </a:cubicBezTo>
                  <a:cubicBezTo>
                    <a:pt x="537" y="240"/>
                    <a:pt x="382" y="133"/>
                    <a:pt x="239" y="26"/>
                  </a:cubicBezTo>
                  <a:cubicBezTo>
                    <a:pt x="218" y="9"/>
                    <a:pt x="192" y="1"/>
                    <a:pt x="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3" name="Google Shape;13443;p64"/>
            <p:cNvSpPr/>
            <p:nvPr/>
          </p:nvSpPr>
          <p:spPr>
            <a:xfrm>
              <a:off x="7129043" y="2512542"/>
              <a:ext cx="164879" cy="42875"/>
            </a:xfrm>
            <a:custGeom>
              <a:avLst/>
              <a:gdLst/>
              <a:ahLst/>
              <a:cxnLst/>
              <a:rect l="l" t="t" r="r" b="b"/>
              <a:pathLst>
                <a:path w="5180" h="1347" extrusionOk="0">
                  <a:moveTo>
                    <a:pt x="2798" y="1"/>
                  </a:moveTo>
                  <a:cubicBezTo>
                    <a:pt x="2120" y="1"/>
                    <a:pt x="1227" y="358"/>
                    <a:pt x="96" y="1084"/>
                  </a:cubicBezTo>
                  <a:cubicBezTo>
                    <a:pt x="36" y="1132"/>
                    <a:pt x="0" y="1215"/>
                    <a:pt x="48" y="1286"/>
                  </a:cubicBezTo>
                  <a:cubicBezTo>
                    <a:pt x="72" y="1322"/>
                    <a:pt x="119" y="1346"/>
                    <a:pt x="167" y="1346"/>
                  </a:cubicBezTo>
                  <a:cubicBezTo>
                    <a:pt x="191" y="1346"/>
                    <a:pt x="215" y="1346"/>
                    <a:pt x="238" y="1322"/>
                  </a:cubicBezTo>
                  <a:cubicBezTo>
                    <a:pt x="1322" y="620"/>
                    <a:pt x="2179" y="286"/>
                    <a:pt x="2798" y="286"/>
                  </a:cubicBezTo>
                  <a:cubicBezTo>
                    <a:pt x="3346" y="286"/>
                    <a:pt x="4060" y="536"/>
                    <a:pt x="4953" y="1072"/>
                  </a:cubicBezTo>
                  <a:cubicBezTo>
                    <a:pt x="4973" y="1088"/>
                    <a:pt x="4996" y="1094"/>
                    <a:pt x="5019" y="1094"/>
                  </a:cubicBezTo>
                  <a:cubicBezTo>
                    <a:pt x="5069" y="1094"/>
                    <a:pt x="5124" y="1065"/>
                    <a:pt x="5156" y="1025"/>
                  </a:cubicBezTo>
                  <a:cubicBezTo>
                    <a:pt x="5180" y="965"/>
                    <a:pt x="5168" y="882"/>
                    <a:pt x="5108" y="834"/>
                  </a:cubicBezTo>
                  <a:cubicBezTo>
                    <a:pt x="4156" y="274"/>
                    <a:pt x="3406" y="1"/>
                    <a:pt x="2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4" name="Google Shape;13444;p64"/>
            <p:cNvSpPr/>
            <p:nvPr/>
          </p:nvSpPr>
          <p:spPr>
            <a:xfrm>
              <a:off x="7077129" y="2536796"/>
              <a:ext cx="282364" cy="174365"/>
            </a:xfrm>
            <a:custGeom>
              <a:avLst/>
              <a:gdLst/>
              <a:ahLst/>
              <a:cxnLst/>
              <a:rect l="l" t="t" r="r" b="b"/>
              <a:pathLst>
                <a:path w="8871" h="5478" extrusionOk="0">
                  <a:moveTo>
                    <a:pt x="4429" y="263"/>
                  </a:moveTo>
                  <a:cubicBezTo>
                    <a:pt x="5572" y="263"/>
                    <a:pt x="7858" y="2048"/>
                    <a:pt x="8525" y="2608"/>
                  </a:cubicBezTo>
                  <a:cubicBezTo>
                    <a:pt x="8573" y="2632"/>
                    <a:pt x="8585" y="2680"/>
                    <a:pt x="8585" y="2739"/>
                  </a:cubicBezTo>
                  <a:cubicBezTo>
                    <a:pt x="8585" y="2799"/>
                    <a:pt x="8549" y="2846"/>
                    <a:pt x="8525" y="2870"/>
                  </a:cubicBezTo>
                  <a:cubicBezTo>
                    <a:pt x="7858" y="3418"/>
                    <a:pt x="5572" y="5204"/>
                    <a:pt x="4429" y="5204"/>
                  </a:cubicBezTo>
                  <a:cubicBezTo>
                    <a:pt x="3286" y="5204"/>
                    <a:pt x="1012" y="3418"/>
                    <a:pt x="334" y="2870"/>
                  </a:cubicBezTo>
                  <a:cubicBezTo>
                    <a:pt x="298" y="2846"/>
                    <a:pt x="274" y="2799"/>
                    <a:pt x="274" y="2739"/>
                  </a:cubicBezTo>
                  <a:cubicBezTo>
                    <a:pt x="274" y="2691"/>
                    <a:pt x="310" y="2632"/>
                    <a:pt x="334" y="2608"/>
                  </a:cubicBezTo>
                  <a:cubicBezTo>
                    <a:pt x="1012" y="2048"/>
                    <a:pt x="3286" y="263"/>
                    <a:pt x="4429" y="263"/>
                  </a:cubicBezTo>
                  <a:close/>
                  <a:moveTo>
                    <a:pt x="4429" y="1"/>
                  </a:moveTo>
                  <a:cubicBezTo>
                    <a:pt x="3227" y="1"/>
                    <a:pt x="1036" y="1679"/>
                    <a:pt x="155" y="2394"/>
                  </a:cubicBezTo>
                  <a:cubicBezTo>
                    <a:pt x="48" y="2489"/>
                    <a:pt x="0" y="2608"/>
                    <a:pt x="0" y="2739"/>
                  </a:cubicBezTo>
                  <a:cubicBezTo>
                    <a:pt x="0" y="2870"/>
                    <a:pt x="60" y="3001"/>
                    <a:pt x="155" y="3084"/>
                  </a:cubicBezTo>
                  <a:cubicBezTo>
                    <a:pt x="1036" y="3811"/>
                    <a:pt x="3227" y="5477"/>
                    <a:pt x="4429" y="5477"/>
                  </a:cubicBezTo>
                  <a:cubicBezTo>
                    <a:pt x="5632" y="5477"/>
                    <a:pt x="7823" y="3799"/>
                    <a:pt x="8704" y="3084"/>
                  </a:cubicBezTo>
                  <a:cubicBezTo>
                    <a:pt x="8811" y="2989"/>
                    <a:pt x="8858" y="2870"/>
                    <a:pt x="8858" y="2739"/>
                  </a:cubicBezTo>
                  <a:cubicBezTo>
                    <a:pt x="8870" y="2608"/>
                    <a:pt x="8811" y="2489"/>
                    <a:pt x="8704" y="2394"/>
                  </a:cubicBezTo>
                  <a:cubicBezTo>
                    <a:pt x="7823" y="1667"/>
                    <a:pt x="5632" y="1"/>
                    <a:pt x="4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5" name="Google Shape;13445;p64"/>
            <p:cNvSpPr/>
            <p:nvPr/>
          </p:nvSpPr>
          <p:spPr>
            <a:xfrm>
              <a:off x="7153680" y="2560255"/>
              <a:ext cx="129230" cy="127129"/>
            </a:xfrm>
            <a:custGeom>
              <a:avLst/>
              <a:gdLst/>
              <a:ahLst/>
              <a:cxnLst/>
              <a:rect l="l" t="t" r="r" b="b"/>
              <a:pathLst>
                <a:path w="4060" h="3994" extrusionOk="0">
                  <a:moveTo>
                    <a:pt x="2016" y="1"/>
                  </a:moveTo>
                  <a:cubicBezTo>
                    <a:pt x="1995" y="1"/>
                    <a:pt x="1974" y="1"/>
                    <a:pt x="1953" y="2"/>
                  </a:cubicBezTo>
                  <a:cubicBezTo>
                    <a:pt x="905" y="38"/>
                    <a:pt x="48" y="883"/>
                    <a:pt x="12" y="1943"/>
                  </a:cubicBezTo>
                  <a:cubicBezTo>
                    <a:pt x="0" y="2466"/>
                    <a:pt x="179" y="2955"/>
                    <a:pt x="488" y="3312"/>
                  </a:cubicBezTo>
                  <a:cubicBezTo>
                    <a:pt x="518" y="3341"/>
                    <a:pt x="557" y="3356"/>
                    <a:pt x="596" y="3356"/>
                  </a:cubicBezTo>
                  <a:cubicBezTo>
                    <a:pt x="634" y="3356"/>
                    <a:pt x="673" y="3341"/>
                    <a:pt x="703" y="3312"/>
                  </a:cubicBezTo>
                  <a:cubicBezTo>
                    <a:pt x="750" y="3264"/>
                    <a:pt x="762" y="3181"/>
                    <a:pt x="703" y="3121"/>
                  </a:cubicBezTo>
                  <a:cubicBezTo>
                    <a:pt x="429" y="2788"/>
                    <a:pt x="274" y="2371"/>
                    <a:pt x="286" y="1907"/>
                  </a:cubicBezTo>
                  <a:cubicBezTo>
                    <a:pt x="334" y="1038"/>
                    <a:pt x="1048" y="311"/>
                    <a:pt x="1917" y="276"/>
                  </a:cubicBezTo>
                  <a:cubicBezTo>
                    <a:pt x="1945" y="274"/>
                    <a:pt x="1973" y="274"/>
                    <a:pt x="2001" y="274"/>
                  </a:cubicBezTo>
                  <a:cubicBezTo>
                    <a:pt x="2963" y="274"/>
                    <a:pt x="3750" y="1065"/>
                    <a:pt x="3727" y="2026"/>
                  </a:cubicBezTo>
                  <a:cubicBezTo>
                    <a:pt x="3703" y="2943"/>
                    <a:pt x="2965" y="3681"/>
                    <a:pt x="2060" y="3717"/>
                  </a:cubicBezTo>
                  <a:cubicBezTo>
                    <a:pt x="2037" y="3717"/>
                    <a:pt x="2014" y="3718"/>
                    <a:pt x="1991" y="3718"/>
                  </a:cubicBezTo>
                  <a:cubicBezTo>
                    <a:pt x="1695" y="3718"/>
                    <a:pt x="1411" y="3646"/>
                    <a:pt x="1179" y="3502"/>
                  </a:cubicBezTo>
                  <a:cubicBezTo>
                    <a:pt x="1159" y="3494"/>
                    <a:pt x="1139" y="3490"/>
                    <a:pt x="1120" y="3490"/>
                  </a:cubicBezTo>
                  <a:cubicBezTo>
                    <a:pt x="1081" y="3490"/>
                    <a:pt x="1044" y="3506"/>
                    <a:pt x="1012" y="3538"/>
                  </a:cubicBezTo>
                  <a:cubicBezTo>
                    <a:pt x="953" y="3586"/>
                    <a:pt x="965" y="3717"/>
                    <a:pt x="1048" y="3752"/>
                  </a:cubicBezTo>
                  <a:cubicBezTo>
                    <a:pt x="1315" y="3902"/>
                    <a:pt x="1611" y="3994"/>
                    <a:pt x="1928" y="3994"/>
                  </a:cubicBezTo>
                  <a:cubicBezTo>
                    <a:pt x="1964" y="3994"/>
                    <a:pt x="2000" y="3993"/>
                    <a:pt x="2036" y="3990"/>
                  </a:cubicBezTo>
                  <a:cubicBezTo>
                    <a:pt x="3096" y="3967"/>
                    <a:pt x="3965" y="3121"/>
                    <a:pt x="4001" y="2062"/>
                  </a:cubicBezTo>
                  <a:cubicBezTo>
                    <a:pt x="4059" y="939"/>
                    <a:pt x="3142" y="1"/>
                    <a:pt x="20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6" name="Google Shape;13446;p64"/>
            <p:cNvSpPr/>
            <p:nvPr/>
          </p:nvSpPr>
          <p:spPr>
            <a:xfrm>
              <a:off x="7183982" y="2590239"/>
              <a:ext cx="68244" cy="68244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0"/>
                  </a:moveTo>
                  <a:cubicBezTo>
                    <a:pt x="477" y="0"/>
                    <a:pt x="1" y="477"/>
                    <a:pt x="1" y="1072"/>
                  </a:cubicBezTo>
                  <a:cubicBezTo>
                    <a:pt x="1" y="1667"/>
                    <a:pt x="477" y="2144"/>
                    <a:pt x="1072" y="2144"/>
                  </a:cubicBezTo>
                  <a:cubicBezTo>
                    <a:pt x="1668" y="2144"/>
                    <a:pt x="2144" y="1667"/>
                    <a:pt x="2144" y="1072"/>
                  </a:cubicBezTo>
                  <a:cubicBezTo>
                    <a:pt x="2132" y="989"/>
                    <a:pt x="2072" y="929"/>
                    <a:pt x="2001" y="929"/>
                  </a:cubicBezTo>
                  <a:cubicBezTo>
                    <a:pt x="1918" y="929"/>
                    <a:pt x="1858" y="989"/>
                    <a:pt x="1858" y="1060"/>
                  </a:cubicBezTo>
                  <a:cubicBezTo>
                    <a:pt x="1858" y="1489"/>
                    <a:pt x="1501" y="1846"/>
                    <a:pt x="1072" y="1846"/>
                  </a:cubicBezTo>
                  <a:cubicBezTo>
                    <a:pt x="644" y="1846"/>
                    <a:pt x="287" y="1489"/>
                    <a:pt x="287" y="1060"/>
                  </a:cubicBezTo>
                  <a:cubicBezTo>
                    <a:pt x="287" y="620"/>
                    <a:pt x="644" y="262"/>
                    <a:pt x="1072" y="262"/>
                  </a:cubicBezTo>
                  <a:cubicBezTo>
                    <a:pt x="1144" y="262"/>
                    <a:pt x="1203" y="215"/>
                    <a:pt x="1203" y="131"/>
                  </a:cubicBezTo>
                  <a:cubicBezTo>
                    <a:pt x="1203" y="60"/>
                    <a:pt x="1144" y="0"/>
                    <a:pt x="1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7" name="Google Shape;13447;p64"/>
            <p:cNvSpPr/>
            <p:nvPr/>
          </p:nvSpPr>
          <p:spPr>
            <a:xfrm>
              <a:off x="7225297" y="2595904"/>
              <a:ext cx="20880" cy="20880"/>
            </a:xfrm>
            <a:custGeom>
              <a:avLst/>
              <a:gdLst/>
              <a:ahLst/>
              <a:cxnLst/>
              <a:rect l="l" t="t" r="r" b="b"/>
              <a:pathLst>
                <a:path w="656" h="656" extrusionOk="0">
                  <a:moveTo>
                    <a:pt x="322" y="1"/>
                  </a:moveTo>
                  <a:cubicBezTo>
                    <a:pt x="143" y="1"/>
                    <a:pt x="1" y="156"/>
                    <a:pt x="1" y="334"/>
                  </a:cubicBezTo>
                  <a:cubicBezTo>
                    <a:pt x="1" y="513"/>
                    <a:pt x="143" y="656"/>
                    <a:pt x="322" y="656"/>
                  </a:cubicBezTo>
                  <a:cubicBezTo>
                    <a:pt x="501" y="656"/>
                    <a:pt x="655" y="513"/>
                    <a:pt x="655" y="334"/>
                  </a:cubicBezTo>
                  <a:cubicBezTo>
                    <a:pt x="655" y="132"/>
                    <a:pt x="501" y="1"/>
                    <a:pt x="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48" name="Google Shape;13448;p64"/>
          <p:cNvGrpSpPr/>
          <p:nvPr/>
        </p:nvGrpSpPr>
        <p:grpSpPr>
          <a:xfrm>
            <a:off x="3725461" y="2444712"/>
            <a:ext cx="334279" cy="334661"/>
            <a:chOff x="3725461" y="2444712"/>
            <a:chExt cx="334279" cy="334661"/>
          </a:xfrm>
        </p:grpSpPr>
        <p:sp>
          <p:nvSpPr>
            <p:cNvPr id="13449" name="Google Shape;13449;p64"/>
            <p:cNvSpPr/>
            <p:nvPr/>
          </p:nvSpPr>
          <p:spPr>
            <a:xfrm>
              <a:off x="3939200" y="2554239"/>
              <a:ext cx="53092" cy="53092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08" y="334"/>
                    <a:pt x="1334" y="548"/>
                    <a:pt x="1334" y="834"/>
                  </a:cubicBezTo>
                  <a:cubicBezTo>
                    <a:pt x="1334" y="1119"/>
                    <a:pt x="1108" y="1346"/>
                    <a:pt x="834" y="1346"/>
                  </a:cubicBezTo>
                  <a:cubicBezTo>
                    <a:pt x="548" y="1346"/>
                    <a:pt x="322" y="1119"/>
                    <a:pt x="322" y="834"/>
                  </a:cubicBezTo>
                  <a:cubicBezTo>
                    <a:pt x="322" y="548"/>
                    <a:pt x="548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70" y="0"/>
                    <a:pt x="0" y="369"/>
                    <a:pt x="0" y="834"/>
                  </a:cubicBezTo>
                  <a:cubicBezTo>
                    <a:pt x="0" y="1298"/>
                    <a:pt x="370" y="1667"/>
                    <a:pt x="834" y="1667"/>
                  </a:cubicBezTo>
                  <a:cubicBezTo>
                    <a:pt x="1286" y="1667"/>
                    <a:pt x="1667" y="1298"/>
                    <a:pt x="1667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0" name="Google Shape;13450;p64"/>
            <p:cNvSpPr/>
            <p:nvPr/>
          </p:nvSpPr>
          <p:spPr>
            <a:xfrm>
              <a:off x="3941078" y="2618281"/>
              <a:ext cx="68625" cy="49305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775" y="0"/>
                  </a:moveTo>
                  <a:cubicBezTo>
                    <a:pt x="549" y="0"/>
                    <a:pt x="311" y="60"/>
                    <a:pt x="120" y="167"/>
                  </a:cubicBezTo>
                  <a:cubicBezTo>
                    <a:pt x="37" y="203"/>
                    <a:pt x="1" y="310"/>
                    <a:pt x="37" y="381"/>
                  </a:cubicBezTo>
                  <a:cubicBezTo>
                    <a:pt x="72" y="443"/>
                    <a:pt x="140" y="479"/>
                    <a:pt x="201" y="479"/>
                  </a:cubicBezTo>
                  <a:cubicBezTo>
                    <a:pt x="223" y="479"/>
                    <a:pt x="244" y="474"/>
                    <a:pt x="263" y="465"/>
                  </a:cubicBezTo>
                  <a:cubicBezTo>
                    <a:pt x="418" y="381"/>
                    <a:pt x="596" y="346"/>
                    <a:pt x="751" y="346"/>
                  </a:cubicBezTo>
                  <a:cubicBezTo>
                    <a:pt x="1275" y="346"/>
                    <a:pt x="1704" y="727"/>
                    <a:pt x="1799" y="1215"/>
                  </a:cubicBezTo>
                  <a:lnTo>
                    <a:pt x="751" y="1215"/>
                  </a:lnTo>
                  <a:cubicBezTo>
                    <a:pt x="668" y="1215"/>
                    <a:pt x="584" y="1298"/>
                    <a:pt x="584" y="1382"/>
                  </a:cubicBezTo>
                  <a:cubicBezTo>
                    <a:pt x="584" y="1477"/>
                    <a:pt x="668" y="1548"/>
                    <a:pt x="751" y="1548"/>
                  </a:cubicBezTo>
                  <a:lnTo>
                    <a:pt x="1977" y="1548"/>
                  </a:lnTo>
                  <a:cubicBezTo>
                    <a:pt x="2061" y="1548"/>
                    <a:pt x="2144" y="1477"/>
                    <a:pt x="2144" y="1382"/>
                  </a:cubicBezTo>
                  <a:cubicBezTo>
                    <a:pt x="2156" y="620"/>
                    <a:pt x="1525" y="0"/>
                    <a:pt x="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1" name="Google Shape;13451;p64"/>
            <p:cNvSpPr/>
            <p:nvPr/>
          </p:nvSpPr>
          <p:spPr>
            <a:xfrm>
              <a:off x="3775116" y="2618281"/>
              <a:ext cx="68625" cy="49305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1381" y="0"/>
                  </a:moveTo>
                  <a:cubicBezTo>
                    <a:pt x="631" y="0"/>
                    <a:pt x="0" y="620"/>
                    <a:pt x="0" y="1382"/>
                  </a:cubicBezTo>
                  <a:cubicBezTo>
                    <a:pt x="0" y="1477"/>
                    <a:pt x="71" y="1548"/>
                    <a:pt x="167" y="1548"/>
                  </a:cubicBezTo>
                  <a:lnTo>
                    <a:pt x="1405" y="1548"/>
                  </a:lnTo>
                  <a:cubicBezTo>
                    <a:pt x="1488" y="1548"/>
                    <a:pt x="1560" y="1477"/>
                    <a:pt x="1560" y="1382"/>
                  </a:cubicBezTo>
                  <a:cubicBezTo>
                    <a:pt x="1560" y="1298"/>
                    <a:pt x="1500" y="1215"/>
                    <a:pt x="1417" y="1215"/>
                  </a:cubicBezTo>
                  <a:lnTo>
                    <a:pt x="357" y="1215"/>
                  </a:lnTo>
                  <a:cubicBezTo>
                    <a:pt x="429" y="715"/>
                    <a:pt x="881" y="346"/>
                    <a:pt x="1405" y="346"/>
                  </a:cubicBezTo>
                  <a:cubicBezTo>
                    <a:pt x="1584" y="346"/>
                    <a:pt x="1738" y="381"/>
                    <a:pt x="1893" y="465"/>
                  </a:cubicBezTo>
                  <a:cubicBezTo>
                    <a:pt x="1914" y="475"/>
                    <a:pt x="1938" y="481"/>
                    <a:pt x="1962" y="481"/>
                  </a:cubicBezTo>
                  <a:cubicBezTo>
                    <a:pt x="2022" y="481"/>
                    <a:pt x="2086" y="449"/>
                    <a:pt x="2119" y="381"/>
                  </a:cubicBezTo>
                  <a:cubicBezTo>
                    <a:pt x="2155" y="310"/>
                    <a:pt x="2131" y="203"/>
                    <a:pt x="2036" y="167"/>
                  </a:cubicBezTo>
                  <a:cubicBezTo>
                    <a:pt x="1846" y="60"/>
                    <a:pt x="1607" y="0"/>
                    <a:pt x="13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2" name="Google Shape;13452;p64"/>
            <p:cNvSpPr/>
            <p:nvPr/>
          </p:nvSpPr>
          <p:spPr>
            <a:xfrm>
              <a:off x="3793291" y="2554239"/>
              <a:ext cx="53092" cy="53092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08" y="334"/>
                    <a:pt x="1334" y="548"/>
                    <a:pt x="1334" y="834"/>
                  </a:cubicBezTo>
                  <a:cubicBezTo>
                    <a:pt x="1334" y="1119"/>
                    <a:pt x="1108" y="1346"/>
                    <a:pt x="834" y="1346"/>
                  </a:cubicBezTo>
                  <a:cubicBezTo>
                    <a:pt x="548" y="1346"/>
                    <a:pt x="322" y="1119"/>
                    <a:pt x="322" y="834"/>
                  </a:cubicBezTo>
                  <a:cubicBezTo>
                    <a:pt x="322" y="548"/>
                    <a:pt x="560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70" y="0"/>
                    <a:pt x="1" y="369"/>
                    <a:pt x="1" y="834"/>
                  </a:cubicBezTo>
                  <a:cubicBezTo>
                    <a:pt x="1" y="1298"/>
                    <a:pt x="370" y="1667"/>
                    <a:pt x="834" y="1667"/>
                  </a:cubicBezTo>
                  <a:cubicBezTo>
                    <a:pt x="1286" y="1667"/>
                    <a:pt x="1667" y="1298"/>
                    <a:pt x="1667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3" name="Google Shape;13453;p64"/>
            <p:cNvSpPr/>
            <p:nvPr/>
          </p:nvSpPr>
          <p:spPr>
            <a:xfrm>
              <a:off x="3858097" y="2540584"/>
              <a:ext cx="69007" cy="69007"/>
            </a:xfrm>
            <a:custGeom>
              <a:avLst/>
              <a:gdLst/>
              <a:ahLst/>
              <a:cxnLst/>
              <a:rect l="l" t="t" r="r" b="b"/>
              <a:pathLst>
                <a:path w="2168" h="2168" extrusionOk="0">
                  <a:moveTo>
                    <a:pt x="1084" y="346"/>
                  </a:moveTo>
                  <a:cubicBezTo>
                    <a:pt x="1501" y="346"/>
                    <a:pt x="1834" y="667"/>
                    <a:pt x="1834" y="1084"/>
                  </a:cubicBezTo>
                  <a:cubicBezTo>
                    <a:pt x="1834" y="1501"/>
                    <a:pt x="1501" y="1834"/>
                    <a:pt x="1084" y="1834"/>
                  </a:cubicBezTo>
                  <a:cubicBezTo>
                    <a:pt x="667" y="1834"/>
                    <a:pt x="346" y="1501"/>
                    <a:pt x="346" y="1084"/>
                  </a:cubicBezTo>
                  <a:cubicBezTo>
                    <a:pt x="346" y="667"/>
                    <a:pt x="667" y="346"/>
                    <a:pt x="1084" y="346"/>
                  </a:cubicBezTo>
                  <a:close/>
                  <a:moveTo>
                    <a:pt x="1084" y="1"/>
                  </a:moveTo>
                  <a:cubicBezTo>
                    <a:pt x="489" y="1"/>
                    <a:pt x="1" y="489"/>
                    <a:pt x="1" y="1084"/>
                  </a:cubicBezTo>
                  <a:cubicBezTo>
                    <a:pt x="1" y="1679"/>
                    <a:pt x="489" y="2168"/>
                    <a:pt x="1084" y="2168"/>
                  </a:cubicBezTo>
                  <a:cubicBezTo>
                    <a:pt x="1679" y="2168"/>
                    <a:pt x="2167" y="1679"/>
                    <a:pt x="2167" y="1084"/>
                  </a:cubicBezTo>
                  <a:cubicBezTo>
                    <a:pt x="2167" y="489"/>
                    <a:pt x="16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4" name="Google Shape;13454;p64"/>
            <p:cNvSpPr/>
            <p:nvPr/>
          </p:nvSpPr>
          <p:spPr>
            <a:xfrm>
              <a:off x="3834224" y="2620159"/>
              <a:ext cx="116752" cy="63342"/>
            </a:xfrm>
            <a:custGeom>
              <a:avLst/>
              <a:gdLst/>
              <a:ahLst/>
              <a:cxnLst/>
              <a:rect l="l" t="t" r="r" b="b"/>
              <a:pathLst>
                <a:path w="3668" h="1990" extrusionOk="0">
                  <a:moveTo>
                    <a:pt x="1834" y="322"/>
                  </a:moveTo>
                  <a:cubicBezTo>
                    <a:pt x="2596" y="322"/>
                    <a:pt x="3239" y="906"/>
                    <a:pt x="3310" y="1656"/>
                  </a:cubicBezTo>
                  <a:lnTo>
                    <a:pt x="358" y="1656"/>
                  </a:lnTo>
                  <a:cubicBezTo>
                    <a:pt x="453" y="906"/>
                    <a:pt x="1072" y="322"/>
                    <a:pt x="1834" y="322"/>
                  </a:cubicBezTo>
                  <a:close/>
                  <a:moveTo>
                    <a:pt x="1834" y="1"/>
                  </a:moveTo>
                  <a:cubicBezTo>
                    <a:pt x="822" y="1"/>
                    <a:pt x="0" y="823"/>
                    <a:pt x="0" y="1835"/>
                  </a:cubicBezTo>
                  <a:cubicBezTo>
                    <a:pt x="0" y="1918"/>
                    <a:pt x="84" y="1989"/>
                    <a:pt x="167" y="1989"/>
                  </a:cubicBezTo>
                  <a:lnTo>
                    <a:pt x="3489" y="1989"/>
                  </a:lnTo>
                  <a:cubicBezTo>
                    <a:pt x="3572" y="1989"/>
                    <a:pt x="3656" y="1918"/>
                    <a:pt x="3656" y="1835"/>
                  </a:cubicBezTo>
                  <a:cubicBezTo>
                    <a:pt x="3668" y="823"/>
                    <a:pt x="2846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5" name="Google Shape;13455;p64"/>
            <p:cNvSpPr/>
            <p:nvPr/>
          </p:nvSpPr>
          <p:spPr>
            <a:xfrm>
              <a:off x="3725461" y="2444712"/>
              <a:ext cx="334279" cy="334661"/>
            </a:xfrm>
            <a:custGeom>
              <a:avLst/>
              <a:gdLst/>
              <a:ahLst/>
              <a:cxnLst/>
              <a:rect l="l" t="t" r="r" b="b"/>
              <a:pathLst>
                <a:path w="10502" h="10514" extrusionOk="0">
                  <a:moveTo>
                    <a:pt x="5418" y="905"/>
                  </a:moveTo>
                  <a:cubicBezTo>
                    <a:pt x="7680" y="1001"/>
                    <a:pt x="9513" y="2834"/>
                    <a:pt x="9597" y="5096"/>
                  </a:cubicBezTo>
                  <a:lnTo>
                    <a:pt x="9192" y="5096"/>
                  </a:lnTo>
                  <a:cubicBezTo>
                    <a:pt x="9109" y="5096"/>
                    <a:pt x="9037" y="5168"/>
                    <a:pt x="9037" y="5263"/>
                  </a:cubicBezTo>
                  <a:cubicBezTo>
                    <a:pt x="9037" y="5346"/>
                    <a:pt x="9109" y="5418"/>
                    <a:pt x="9192" y="5418"/>
                  </a:cubicBezTo>
                  <a:lnTo>
                    <a:pt x="9597" y="5418"/>
                  </a:lnTo>
                  <a:cubicBezTo>
                    <a:pt x="9513" y="7704"/>
                    <a:pt x="7692" y="9525"/>
                    <a:pt x="5418" y="9609"/>
                  </a:cubicBezTo>
                  <a:lnTo>
                    <a:pt x="5418" y="9204"/>
                  </a:lnTo>
                  <a:cubicBezTo>
                    <a:pt x="5418" y="9109"/>
                    <a:pt x="5346" y="9037"/>
                    <a:pt x="5251" y="9037"/>
                  </a:cubicBezTo>
                  <a:cubicBezTo>
                    <a:pt x="5168" y="9037"/>
                    <a:pt x="5084" y="9109"/>
                    <a:pt x="5084" y="9204"/>
                  </a:cubicBezTo>
                  <a:lnTo>
                    <a:pt x="5084" y="9609"/>
                  </a:lnTo>
                  <a:cubicBezTo>
                    <a:pt x="2822" y="9513"/>
                    <a:pt x="1000" y="7680"/>
                    <a:pt x="905" y="5418"/>
                  </a:cubicBezTo>
                  <a:lnTo>
                    <a:pt x="1310" y="5418"/>
                  </a:lnTo>
                  <a:cubicBezTo>
                    <a:pt x="1393" y="5418"/>
                    <a:pt x="1477" y="5346"/>
                    <a:pt x="1477" y="5263"/>
                  </a:cubicBezTo>
                  <a:cubicBezTo>
                    <a:pt x="1477" y="5168"/>
                    <a:pt x="1393" y="5096"/>
                    <a:pt x="1310" y="5096"/>
                  </a:cubicBezTo>
                  <a:lnTo>
                    <a:pt x="905" y="5096"/>
                  </a:lnTo>
                  <a:cubicBezTo>
                    <a:pt x="1000" y="2834"/>
                    <a:pt x="2822" y="1001"/>
                    <a:pt x="5084" y="905"/>
                  </a:cubicBezTo>
                  <a:lnTo>
                    <a:pt x="5084" y="1310"/>
                  </a:lnTo>
                  <a:cubicBezTo>
                    <a:pt x="5084" y="1405"/>
                    <a:pt x="5168" y="1477"/>
                    <a:pt x="5251" y="1477"/>
                  </a:cubicBezTo>
                  <a:cubicBezTo>
                    <a:pt x="5346" y="1477"/>
                    <a:pt x="5418" y="1405"/>
                    <a:pt x="5418" y="1310"/>
                  </a:cubicBezTo>
                  <a:lnTo>
                    <a:pt x="5418" y="905"/>
                  </a:lnTo>
                  <a:close/>
                  <a:moveTo>
                    <a:pt x="5251" y="0"/>
                  </a:moveTo>
                  <a:cubicBezTo>
                    <a:pt x="5168" y="0"/>
                    <a:pt x="5084" y="84"/>
                    <a:pt x="5084" y="167"/>
                  </a:cubicBezTo>
                  <a:lnTo>
                    <a:pt x="5084" y="572"/>
                  </a:lnTo>
                  <a:cubicBezTo>
                    <a:pt x="2632" y="655"/>
                    <a:pt x="655" y="2644"/>
                    <a:pt x="560" y="5096"/>
                  </a:cubicBezTo>
                  <a:lnTo>
                    <a:pt x="167" y="5096"/>
                  </a:lnTo>
                  <a:cubicBezTo>
                    <a:pt x="72" y="5096"/>
                    <a:pt x="0" y="5168"/>
                    <a:pt x="0" y="5263"/>
                  </a:cubicBezTo>
                  <a:cubicBezTo>
                    <a:pt x="0" y="5346"/>
                    <a:pt x="72" y="5418"/>
                    <a:pt x="167" y="5418"/>
                  </a:cubicBezTo>
                  <a:lnTo>
                    <a:pt x="560" y="5418"/>
                  </a:lnTo>
                  <a:cubicBezTo>
                    <a:pt x="655" y="7882"/>
                    <a:pt x="2632" y="9859"/>
                    <a:pt x="5084" y="9942"/>
                  </a:cubicBezTo>
                  <a:lnTo>
                    <a:pt x="5084" y="10347"/>
                  </a:lnTo>
                  <a:cubicBezTo>
                    <a:pt x="5084" y="10442"/>
                    <a:pt x="5168" y="10514"/>
                    <a:pt x="5251" y="10514"/>
                  </a:cubicBezTo>
                  <a:cubicBezTo>
                    <a:pt x="5346" y="10514"/>
                    <a:pt x="5418" y="10442"/>
                    <a:pt x="5418" y="10347"/>
                  </a:cubicBezTo>
                  <a:lnTo>
                    <a:pt x="5418" y="9942"/>
                  </a:lnTo>
                  <a:cubicBezTo>
                    <a:pt x="7870" y="9859"/>
                    <a:pt x="9847" y="7882"/>
                    <a:pt x="9942" y="5418"/>
                  </a:cubicBezTo>
                  <a:lnTo>
                    <a:pt x="10347" y="5418"/>
                  </a:lnTo>
                  <a:cubicBezTo>
                    <a:pt x="10430" y="5418"/>
                    <a:pt x="10502" y="5346"/>
                    <a:pt x="10502" y="5263"/>
                  </a:cubicBezTo>
                  <a:cubicBezTo>
                    <a:pt x="10502" y="5168"/>
                    <a:pt x="10442" y="5096"/>
                    <a:pt x="10347" y="5096"/>
                  </a:cubicBezTo>
                  <a:lnTo>
                    <a:pt x="9942" y="5096"/>
                  </a:lnTo>
                  <a:cubicBezTo>
                    <a:pt x="9847" y="2644"/>
                    <a:pt x="7870" y="655"/>
                    <a:pt x="5418" y="572"/>
                  </a:cubicBezTo>
                  <a:lnTo>
                    <a:pt x="5418" y="167"/>
                  </a:lnTo>
                  <a:cubicBezTo>
                    <a:pt x="5418" y="84"/>
                    <a:pt x="5346" y="0"/>
                    <a:pt x="5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56" name="Google Shape;13456;p64"/>
          <p:cNvGrpSpPr/>
          <p:nvPr/>
        </p:nvGrpSpPr>
        <p:grpSpPr>
          <a:xfrm>
            <a:off x="6577238" y="2457221"/>
            <a:ext cx="332019" cy="310788"/>
            <a:chOff x="6577238" y="2457221"/>
            <a:chExt cx="332019" cy="310788"/>
          </a:xfrm>
        </p:grpSpPr>
        <p:sp>
          <p:nvSpPr>
            <p:cNvPr id="13457" name="Google Shape;13457;p64"/>
            <p:cNvSpPr/>
            <p:nvPr/>
          </p:nvSpPr>
          <p:spPr>
            <a:xfrm>
              <a:off x="6577238" y="2457221"/>
              <a:ext cx="332019" cy="310788"/>
            </a:xfrm>
            <a:custGeom>
              <a:avLst/>
              <a:gdLst/>
              <a:ahLst/>
              <a:cxnLst/>
              <a:rect l="l" t="t" r="r" b="b"/>
              <a:pathLst>
                <a:path w="10431" h="9764" extrusionOk="0">
                  <a:moveTo>
                    <a:pt x="5478" y="346"/>
                  </a:moveTo>
                  <a:cubicBezTo>
                    <a:pt x="5823" y="346"/>
                    <a:pt x="6097" y="619"/>
                    <a:pt x="6097" y="965"/>
                  </a:cubicBezTo>
                  <a:lnTo>
                    <a:pt x="6097" y="1334"/>
                  </a:lnTo>
                  <a:cubicBezTo>
                    <a:pt x="6097" y="1620"/>
                    <a:pt x="6335" y="1858"/>
                    <a:pt x="6621" y="1858"/>
                  </a:cubicBezTo>
                  <a:lnTo>
                    <a:pt x="6776" y="1858"/>
                  </a:lnTo>
                  <a:cubicBezTo>
                    <a:pt x="6871" y="1858"/>
                    <a:pt x="6966" y="1953"/>
                    <a:pt x="6966" y="2048"/>
                  </a:cubicBezTo>
                  <a:lnTo>
                    <a:pt x="6966" y="3084"/>
                  </a:lnTo>
                  <a:cubicBezTo>
                    <a:pt x="6966" y="3179"/>
                    <a:pt x="6871" y="3275"/>
                    <a:pt x="6776" y="3275"/>
                  </a:cubicBezTo>
                  <a:lnTo>
                    <a:pt x="3537" y="3275"/>
                  </a:lnTo>
                  <a:cubicBezTo>
                    <a:pt x="3442" y="3275"/>
                    <a:pt x="3347" y="3179"/>
                    <a:pt x="3347" y="3084"/>
                  </a:cubicBezTo>
                  <a:lnTo>
                    <a:pt x="3394" y="2048"/>
                  </a:lnTo>
                  <a:cubicBezTo>
                    <a:pt x="3394" y="1953"/>
                    <a:pt x="3477" y="1858"/>
                    <a:pt x="3585" y="1858"/>
                  </a:cubicBezTo>
                  <a:lnTo>
                    <a:pt x="3739" y="1858"/>
                  </a:lnTo>
                  <a:cubicBezTo>
                    <a:pt x="4013" y="1858"/>
                    <a:pt x="4251" y="1620"/>
                    <a:pt x="4251" y="1334"/>
                  </a:cubicBezTo>
                  <a:lnTo>
                    <a:pt x="4251" y="965"/>
                  </a:lnTo>
                  <a:cubicBezTo>
                    <a:pt x="4251" y="619"/>
                    <a:pt x="4537" y="346"/>
                    <a:pt x="4882" y="346"/>
                  </a:cubicBezTo>
                  <a:close/>
                  <a:moveTo>
                    <a:pt x="9538" y="2286"/>
                  </a:moveTo>
                  <a:cubicBezTo>
                    <a:pt x="9871" y="2286"/>
                    <a:pt x="10121" y="2560"/>
                    <a:pt x="10121" y="2870"/>
                  </a:cubicBezTo>
                  <a:lnTo>
                    <a:pt x="10121" y="8823"/>
                  </a:lnTo>
                  <a:lnTo>
                    <a:pt x="10085" y="8823"/>
                  </a:lnTo>
                  <a:cubicBezTo>
                    <a:pt x="10085" y="9156"/>
                    <a:pt x="9824" y="9406"/>
                    <a:pt x="9514" y="9406"/>
                  </a:cubicBezTo>
                  <a:lnTo>
                    <a:pt x="918" y="9406"/>
                  </a:lnTo>
                  <a:cubicBezTo>
                    <a:pt x="596" y="9406"/>
                    <a:pt x="346" y="9132"/>
                    <a:pt x="346" y="8823"/>
                  </a:cubicBezTo>
                  <a:lnTo>
                    <a:pt x="346" y="2870"/>
                  </a:lnTo>
                  <a:cubicBezTo>
                    <a:pt x="346" y="2548"/>
                    <a:pt x="608" y="2286"/>
                    <a:pt x="918" y="2286"/>
                  </a:cubicBezTo>
                  <a:lnTo>
                    <a:pt x="3085" y="2286"/>
                  </a:lnTo>
                  <a:lnTo>
                    <a:pt x="3085" y="2846"/>
                  </a:lnTo>
                  <a:lnTo>
                    <a:pt x="1061" y="2846"/>
                  </a:lnTo>
                  <a:cubicBezTo>
                    <a:pt x="965" y="2846"/>
                    <a:pt x="894" y="2917"/>
                    <a:pt x="894" y="3001"/>
                  </a:cubicBezTo>
                  <a:lnTo>
                    <a:pt x="894" y="8704"/>
                  </a:lnTo>
                  <a:cubicBezTo>
                    <a:pt x="894" y="8799"/>
                    <a:pt x="965" y="8870"/>
                    <a:pt x="1061" y="8870"/>
                  </a:cubicBezTo>
                  <a:lnTo>
                    <a:pt x="6609" y="8870"/>
                  </a:lnTo>
                  <a:cubicBezTo>
                    <a:pt x="6692" y="8870"/>
                    <a:pt x="6776" y="8799"/>
                    <a:pt x="6776" y="8704"/>
                  </a:cubicBezTo>
                  <a:cubicBezTo>
                    <a:pt x="6776" y="8620"/>
                    <a:pt x="6692" y="8537"/>
                    <a:pt x="6609" y="8537"/>
                  </a:cubicBezTo>
                  <a:lnTo>
                    <a:pt x="1215" y="8537"/>
                  </a:lnTo>
                  <a:lnTo>
                    <a:pt x="1215" y="3167"/>
                  </a:lnTo>
                  <a:lnTo>
                    <a:pt x="3096" y="3167"/>
                  </a:lnTo>
                  <a:cubicBezTo>
                    <a:pt x="3132" y="3417"/>
                    <a:pt x="3347" y="3596"/>
                    <a:pt x="3620" y="3596"/>
                  </a:cubicBezTo>
                  <a:lnTo>
                    <a:pt x="6847" y="3596"/>
                  </a:lnTo>
                  <a:cubicBezTo>
                    <a:pt x="7097" y="3596"/>
                    <a:pt x="7323" y="3405"/>
                    <a:pt x="7371" y="3167"/>
                  </a:cubicBezTo>
                  <a:lnTo>
                    <a:pt x="9240" y="3167"/>
                  </a:lnTo>
                  <a:lnTo>
                    <a:pt x="9240" y="8537"/>
                  </a:lnTo>
                  <a:lnTo>
                    <a:pt x="7418" y="8537"/>
                  </a:lnTo>
                  <a:cubicBezTo>
                    <a:pt x="7335" y="8537"/>
                    <a:pt x="7264" y="8620"/>
                    <a:pt x="7264" y="8704"/>
                  </a:cubicBezTo>
                  <a:cubicBezTo>
                    <a:pt x="7264" y="8799"/>
                    <a:pt x="7335" y="8870"/>
                    <a:pt x="7418" y="8870"/>
                  </a:cubicBezTo>
                  <a:lnTo>
                    <a:pt x="9407" y="8870"/>
                  </a:lnTo>
                  <a:cubicBezTo>
                    <a:pt x="9490" y="8870"/>
                    <a:pt x="9562" y="8799"/>
                    <a:pt x="9562" y="8704"/>
                  </a:cubicBezTo>
                  <a:lnTo>
                    <a:pt x="9562" y="3001"/>
                  </a:lnTo>
                  <a:cubicBezTo>
                    <a:pt x="9562" y="2917"/>
                    <a:pt x="9490" y="2846"/>
                    <a:pt x="9407" y="2846"/>
                  </a:cubicBezTo>
                  <a:lnTo>
                    <a:pt x="7383" y="2846"/>
                  </a:lnTo>
                  <a:lnTo>
                    <a:pt x="7383" y="2286"/>
                  </a:lnTo>
                  <a:close/>
                  <a:moveTo>
                    <a:pt x="4906" y="0"/>
                  </a:moveTo>
                  <a:cubicBezTo>
                    <a:pt x="4370" y="0"/>
                    <a:pt x="3942" y="429"/>
                    <a:pt x="3942" y="965"/>
                  </a:cubicBezTo>
                  <a:lnTo>
                    <a:pt x="3942" y="1334"/>
                  </a:lnTo>
                  <a:cubicBezTo>
                    <a:pt x="3942" y="1441"/>
                    <a:pt x="3858" y="1536"/>
                    <a:pt x="3751" y="1536"/>
                  </a:cubicBezTo>
                  <a:lnTo>
                    <a:pt x="3597" y="1536"/>
                  </a:lnTo>
                  <a:cubicBezTo>
                    <a:pt x="3347" y="1536"/>
                    <a:pt x="3120" y="1727"/>
                    <a:pt x="3085" y="1965"/>
                  </a:cubicBezTo>
                  <a:lnTo>
                    <a:pt x="918" y="1965"/>
                  </a:lnTo>
                  <a:cubicBezTo>
                    <a:pt x="418" y="1965"/>
                    <a:pt x="1" y="2382"/>
                    <a:pt x="1" y="2882"/>
                  </a:cubicBezTo>
                  <a:lnTo>
                    <a:pt x="1" y="8835"/>
                  </a:lnTo>
                  <a:cubicBezTo>
                    <a:pt x="1" y="9347"/>
                    <a:pt x="418" y="9763"/>
                    <a:pt x="918" y="9763"/>
                  </a:cubicBezTo>
                  <a:lnTo>
                    <a:pt x="9514" y="9763"/>
                  </a:lnTo>
                  <a:cubicBezTo>
                    <a:pt x="10014" y="9763"/>
                    <a:pt x="10431" y="9347"/>
                    <a:pt x="10431" y="8835"/>
                  </a:cubicBezTo>
                  <a:lnTo>
                    <a:pt x="10431" y="2882"/>
                  </a:lnTo>
                  <a:cubicBezTo>
                    <a:pt x="10419" y="2370"/>
                    <a:pt x="10002" y="1965"/>
                    <a:pt x="9490" y="1965"/>
                  </a:cubicBezTo>
                  <a:lnTo>
                    <a:pt x="7335" y="1965"/>
                  </a:lnTo>
                  <a:cubicBezTo>
                    <a:pt x="7287" y="1715"/>
                    <a:pt x="7085" y="1536"/>
                    <a:pt x="6811" y="1536"/>
                  </a:cubicBezTo>
                  <a:lnTo>
                    <a:pt x="6668" y="1536"/>
                  </a:lnTo>
                  <a:cubicBezTo>
                    <a:pt x="6561" y="1536"/>
                    <a:pt x="6478" y="1441"/>
                    <a:pt x="6478" y="1334"/>
                  </a:cubicBezTo>
                  <a:lnTo>
                    <a:pt x="6478" y="965"/>
                  </a:lnTo>
                  <a:cubicBezTo>
                    <a:pt x="6478" y="429"/>
                    <a:pt x="6037" y="0"/>
                    <a:pt x="5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8" name="Google Shape;13458;p64"/>
            <p:cNvSpPr/>
            <p:nvPr/>
          </p:nvSpPr>
          <p:spPr>
            <a:xfrm>
              <a:off x="6723529" y="2512542"/>
              <a:ext cx="38705" cy="39055"/>
            </a:xfrm>
            <a:custGeom>
              <a:avLst/>
              <a:gdLst/>
              <a:ahLst/>
              <a:cxnLst/>
              <a:rect l="l" t="t" r="r" b="b"/>
              <a:pathLst>
                <a:path w="1216" h="1227" extrusionOk="0">
                  <a:moveTo>
                    <a:pt x="608" y="346"/>
                  </a:moveTo>
                  <a:cubicBezTo>
                    <a:pt x="763" y="346"/>
                    <a:pt x="882" y="465"/>
                    <a:pt x="882" y="608"/>
                  </a:cubicBezTo>
                  <a:cubicBezTo>
                    <a:pt x="882" y="763"/>
                    <a:pt x="763" y="882"/>
                    <a:pt x="608" y="882"/>
                  </a:cubicBezTo>
                  <a:cubicBezTo>
                    <a:pt x="465" y="882"/>
                    <a:pt x="346" y="763"/>
                    <a:pt x="346" y="608"/>
                  </a:cubicBezTo>
                  <a:cubicBezTo>
                    <a:pt x="346" y="465"/>
                    <a:pt x="465" y="346"/>
                    <a:pt x="608" y="346"/>
                  </a:cubicBezTo>
                  <a:close/>
                  <a:moveTo>
                    <a:pt x="608" y="1"/>
                  </a:moveTo>
                  <a:cubicBezTo>
                    <a:pt x="286" y="1"/>
                    <a:pt x="1" y="274"/>
                    <a:pt x="1" y="608"/>
                  </a:cubicBezTo>
                  <a:cubicBezTo>
                    <a:pt x="1" y="941"/>
                    <a:pt x="275" y="1227"/>
                    <a:pt x="608" y="1227"/>
                  </a:cubicBezTo>
                  <a:cubicBezTo>
                    <a:pt x="941" y="1227"/>
                    <a:pt x="1215" y="953"/>
                    <a:pt x="1215" y="608"/>
                  </a:cubicBezTo>
                  <a:cubicBezTo>
                    <a:pt x="1203" y="274"/>
                    <a:pt x="941" y="1"/>
                    <a:pt x="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9" name="Google Shape;13459;p64"/>
            <p:cNvSpPr/>
            <p:nvPr/>
          </p:nvSpPr>
          <p:spPr>
            <a:xfrm>
              <a:off x="6662893" y="2597050"/>
              <a:ext cx="169813" cy="108031"/>
            </a:xfrm>
            <a:custGeom>
              <a:avLst/>
              <a:gdLst/>
              <a:ahLst/>
              <a:cxnLst/>
              <a:rect l="l" t="t" r="r" b="b"/>
              <a:pathLst>
                <a:path w="5335" h="3394" extrusionOk="0">
                  <a:moveTo>
                    <a:pt x="763" y="2060"/>
                  </a:moveTo>
                  <a:cubicBezTo>
                    <a:pt x="1025" y="2060"/>
                    <a:pt x="1251" y="2287"/>
                    <a:pt x="1251" y="2561"/>
                  </a:cubicBezTo>
                  <a:cubicBezTo>
                    <a:pt x="1251" y="2822"/>
                    <a:pt x="1025" y="3049"/>
                    <a:pt x="763" y="3049"/>
                  </a:cubicBezTo>
                  <a:cubicBezTo>
                    <a:pt x="489" y="3049"/>
                    <a:pt x="275" y="2822"/>
                    <a:pt x="275" y="2561"/>
                  </a:cubicBezTo>
                  <a:cubicBezTo>
                    <a:pt x="275" y="2287"/>
                    <a:pt x="489" y="2060"/>
                    <a:pt x="763" y="2060"/>
                  </a:cubicBezTo>
                  <a:close/>
                  <a:moveTo>
                    <a:pt x="4918" y="1"/>
                  </a:moveTo>
                  <a:cubicBezTo>
                    <a:pt x="4918" y="1"/>
                    <a:pt x="4894" y="1"/>
                    <a:pt x="4894" y="13"/>
                  </a:cubicBezTo>
                  <a:lnTo>
                    <a:pt x="4466" y="239"/>
                  </a:lnTo>
                  <a:cubicBezTo>
                    <a:pt x="4394" y="275"/>
                    <a:pt x="4346" y="370"/>
                    <a:pt x="4394" y="453"/>
                  </a:cubicBezTo>
                  <a:cubicBezTo>
                    <a:pt x="4429" y="515"/>
                    <a:pt x="4484" y="550"/>
                    <a:pt x="4548" y="550"/>
                  </a:cubicBezTo>
                  <a:cubicBezTo>
                    <a:pt x="4571" y="550"/>
                    <a:pt x="4595" y="546"/>
                    <a:pt x="4620" y="536"/>
                  </a:cubicBezTo>
                  <a:lnTo>
                    <a:pt x="4739" y="477"/>
                  </a:lnTo>
                  <a:lnTo>
                    <a:pt x="4739" y="477"/>
                  </a:lnTo>
                  <a:cubicBezTo>
                    <a:pt x="4525" y="1191"/>
                    <a:pt x="4144" y="1727"/>
                    <a:pt x="3620" y="2060"/>
                  </a:cubicBezTo>
                  <a:cubicBezTo>
                    <a:pt x="3098" y="2398"/>
                    <a:pt x="2516" y="2470"/>
                    <a:pt x="2094" y="2470"/>
                  </a:cubicBezTo>
                  <a:cubicBezTo>
                    <a:pt x="1891" y="2470"/>
                    <a:pt x="1724" y="2453"/>
                    <a:pt x="1620" y="2441"/>
                  </a:cubicBezTo>
                  <a:cubicBezTo>
                    <a:pt x="1560" y="2049"/>
                    <a:pt x="1227" y="1751"/>
                    <a:pt x="822" y="1751"/>
                  </a:cubicBezTo>
                  <a:cubicBezTo>
                    <a:pt x="370" y="1751"/>
                    <a:pt x="1" y="2120"/>
                    <a:pt x="1" y="2572"/>
                  </a:cubicBezTo>
                  <a:cubicBezTo>
                    <a:pt x="1" y="3013"/>
                    <a:pt x="370" y="3394"/>
                    <a:pt x="822" y="3394"/>
                  </a:cubicBezTo>
                  <a:cubicBezTo>
                    <a:pt x="1203" y="3394"/>
                    <a:pt x="1537" y="3120"/>
                    <a:pt x="1620" y="2763"/>
                  </a:cubicBezTo>
                  <a:cubicBezTo>
                    <a:pt x="1739" y="2775"/>
                    <a:pt x="1906" y="2799"/>
                    <a:pt x="2120" y="2799"/>
                  </a:cubicBezTo>
                  <a:cubicBezTo>
                    <a:pt x="2572" y="2799"/>
                    <a:pt x="3215" y="2703"/>
                    <a:pt x="3799" y="2334"/>
                  </a:cubicBezTo>
                  <a:cubicBezTo>
                    <a:pt x="4382" y="1965"/>
                    <a:pt x="4799" y="1394"/>
                    <a:pt x="5037" y="620"/>
                  </a:cubicBezTo>
                  <a:lnTo>
                    <a:pt x="5061" y="667"/>
                  </a:lnTo>
                  <a:cubicBezTo>
                    <a:pt x="5097" y="727"/>
                    <a:pt x="5156" y="751"/>
                    <a:pt x="5216" y="751"/>
                  </a:cubicBezTo>
                  <a:cubicBezTo>
                    <a:pt x="5239" y="751"/>
                    <a:pt x="5251" y="751"/>
                    <a:pt x="5287" y="739"/>
                  </a:cubicBezTo>
                  <a:cubicBezTo>
                    <a:pt x="5299" y="691"/>
                    <a:pt x="5335" y="596"/>
                    <a:pt x="5287" y="501"/>
                  </a:cubicBezTo>
                  <a:lnTo>
                    <a:pt x="5061" y="72"/>
                  </a:lnTo>
                  <a:cubicBezTo>
                    <a:pt x="5061" y="72"/>
                    <a:pt x="5061" y="60"/>
                    <a:pt x="5049" y="60"/>
                  </a:cubicBezTo>
                  <a:lnTo>
                    <a:pt x="5013" y="25"/>
                  </a:lnTo>
                  <a:lnTo>
                    <a:pt x="5001" y="13"/>
                  </a:lnTo>
                  <a:cubicBezTo>
                    <a:pt x="5001" y="13"/>
                    <a:pt x="4989" y="13"/>
                    <a:pt x="4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0" name="Google Shape;13460;p64"/>
            <p:cNvSpPr/>
            <p:nvPr/>
          </p:nvSpPr>
          <p:spPr>
            <a:xfrm>
              <a:off x="6639402" y="2589188"/>
              <a:ext cx="32244" cy="31384"/>
            </a:xfrm>
            <a:custGeom>
              <a:avLst/>
              <a:gdLst/>
              <a:ahLst/>
              <a:cxnLst/>
              <a:rect l="l" t="t" r="r" b="b"/>
              <a:pathLst>
                <a:path w="1013" h="986" extrusionOk="0">
                  <a:moveTo>
                    <a:pt x="184" y="1"/>
                  </a:moveTo>
                  <a:cubicBezTo>
                    <a:pt x="140" y="1"/>
                    <a:pt x="96" y="16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lnTo>
                    <a:pt x="262" y="498"/>
                  </a:lnTo>
                  <a:lnTo>
                    <a:pt x="60" y="700"/>
                  </a:lnTo>
                  <a:cubicBezTo>
                    <a:pt x="0" y="760"/>
                    <a:pt x="0" y="867"/>
                    <a:pt x="60" y="938"/>
                  </a:cubicBezTo>
                  <a:cubicBezTo>
                    <a:pt x="84" y="974"/>
                    <a:pt x="131" y="986"/>
                    <a:pt x="179" y="986"/>
                  </a:cubicBezTo>
                  <a:cubicBezTo>
                    <a:pt x="215" y="986"/>
                    <a:pt x="262" y="974"/>
                    <a:pt x="298" y="938"/>
                  </a:cubicBezTo>
                  <a:lnTo>
                    <a:pt x="501" y="736"/>
                  </a:lnTo>
                  <a:lnTo>
                    <a:pt x="715" y="938"/>
                  </a:lnTo>
                  <a:cubicBezTo>
                    <a:pt x="739" y="974"/>
                    <a:pt x="786" y="986"/>
                    <a:pt x="834" y="986"/>
                  </a:cubicBezTo>
                  <a:cubicBezTo>
                    <a:pt x="870" y="986"/>
                    <a:pt x="917" y="974"/>
                    <a:pt x="953" y="938"/>
                  </a:cubicBezTo>
                  <a:cubicBezTo>
                    <a:pt x="1013" y="879"/>
                    <a:pt x="1013" y="783"/>
                    <a:pt x="953" y="700"/>
                  </a:cubicBezTo>
                  <a:lnTo>
                    <a:pt x="739" y="498"/>
                  </a:lnTo>
                  <a:lnTo>
                    <a:pt x="953" y="283"/>
                  </a:lnTo>
                  <a:cubicBezTo>
                    <a:pt x="1013" y="224"/>
                    <a:pt x="1013" y="129"/>
                    <a:pt x="953" y="45"/>
                  </a:cubicBezTo>
                  <a:cubicBezTo>
                    <a:pt x="923" y="16"/>
                    <a:pt x="882" y="1"/>
                    <a:pt x="838" y="1"/>
                  </a:cubicBezTo>
                  <a:cubicBezTo>
                    <a:pt x="795" y="1"/>
                    <a:pt x="751" y="16"/>
                    <a:pt x="715" y="45"/>
                  </a:cubicBezTo>
                  <a:lnTo>
                    <a:pt x="501" y="260"/>
                  </a:lnTo>
                  <a:lnTo>
                    <a:pt x="298" y="45"/>
                  </a:lnTo>
                  <a:cubicBezTo>
                    <a:pt x="268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1" name="Google Shape;13461;p64"/>
            <p:cNvSpPr/>
            <p:nvPr/>
          </p:nvSpPr>
          <p:spPr>
            <a:xfrm>
              <a:off x="6820547" y="2673315"/>
              <a:ext cx="32244" cy="31034"/>
            </a:xfrm>
            <a:custGeom>
              <a:avLst/>
              <a:gdLst/>
              <a:ahLst/>
              <a:cxnLst/>
              <a:rect l="l" t="t" r="r" b="b"/>
              <a:pathLst>
                <a:path w="1013" h="975" extrusionOk="0">
                  <a:moveTo>
                    <a:pt x="188" y="1"/>
                  </a:moveTo>
                  <a:cubicBezTo>
                    <a:pt x="147" y="1"/>
                    <a:pt x="102" y="16"/>
                    <a:pt x="60" y="45"/>
                  </a:cubicBezTo>
                  <a:cubicBezTo>
                    <a:pt x="1" y="105"/>
                    <a:pt x="1" y="200"/>
                    <a:pt x="60" y="284"/>
                  </a:cubicBezTo>
                  <a:lnTo>
                    <a:pt x="275" y="486"/>
                  </a:lnTo>
                  <a:lnTo>
                    <a:pt x="60" y="700"/>
                  </a:lnTo>
                  <a:cubicBezTo>
                    <a:pt x="1" y="760"/>
                    <a:pt x="1" y="855"/>
                    <a:pt x="60" y="938"/>
                  </a:cubicBezTo>
                  <a:cubicBezTo>
                    <a:pt x="96" y="962"/>
                    <a:pt x="144" y="974"/>
                    <a:pt x="179" y="974"/>
                  </a:cubicBezTo>
                  <a:cubicBezTo>
                    <a:pt x="227" y="974"/>
                    <a:pt x="275" y="962"/>
                    <a:pt x="298" y="938"/>
                  </a:cubicBezTo>
                  <a:lnTo>
                    <a:pt x="513" y="724"/>
                  </a:lnTo>
                  <a:lnTo>
                    <a:pt x="715" y="938"/>
                  </a:lnTo>
                  <a:cubicBezTo>
                    <a:pt x="751" y="962"/>
                    <a:pt x="798" y="974"/>
                    <a:pt x="834" y="974"/>
                  </a:cubicBezTo>
                  <a:cubicBezTo>
                    <a:pt x="882" y="974"/>
                    <a:pt x="929" y="962"/>
                    <a:pt x="953" y="938"/>
                  </a:cubicBezTo>
                  <a:cubicBezTo>
                    <a:pt x="1013" y="879"/>
                    <a:pt x="1013" y="772"/>
                    <a:pt x="953" y="700"/>
                  </a:cubicBezTo>
                  <a:lnTo>
                    <a:pt x="751" y="486"/>
                  </a:lnTo>
                  <a:lnTo>
                    <a:pt x="953" y="284"/>
                  </a:lnTo>
                  <a:cubicBezTo>
                    <a:pt x="1013" y="224"/>
                    <a:pt x="1013" y="117"/>
                    <a:pt x="953" y="45"/>
                  </a:cubicBezTo>
                  <a:cubicBezTo>
                    <a:pt x="923" y="16"/>
                    <a:pt x="885" y="1"/>
                    <a:pt x="843" y="1"/>
                  </a:cubicBezTo>
                  <a:cubicBezTo>
                    <a:pt x="801" y="1"/>
                    <a:pt x="757" y="16"/>
                    <a:pt x="715" y="45"/>
                  </a:cubicBezTo>
                  <a:lnTo>
                    <a:pt x="513" y="248"/>
                  </a:lnTo>
                  <a:lnTo>
                    <a:pt x="298" y="45"/>
                  </a:lnTo>
                  <a:cubicBezTo>
                    <a:pt x="269" y="16"/>
                    <a:pt x="230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2" name="Google Shape;13462;p64"/>
            <p:cNvSpPr/>
            <p:nvPr/>
          </p:nvSpPr>
          <p:spPr>
            <a:xfrm>
              <a:off x="6730341" y="2603607"/>
              <a:ext cx="32244" cy="31384"/>
            </a:xfrm>
            <a:custGeom>
              <a:avLst/>
              <a:gdLst/>
              <a:ahLst/>
              <a:cxnLst/>
              <a:rect l="l" t="t" r="r" b="b"/>
              <a:pathLst>
                <a:path w="1013" h="986" extrusionOk="0">
                  <a:moveTo>
                    <a:pt x="184" y="0"/>
                  </a:moveTo>
                  <a:cubicBezTo>
                    <a:pt x="141" y="0"/>
                    <a:pt x="96" y="15"/>
                    <a:pt x="61" y="45"/>
                  </a:cubicBezTo>
                  <a:cubicBezTo>
                    <a:pt x="1" y="104"/>
                    <a:pt x="1" y="211"/>
                    <a:pt x="61" y="283"/>
                  </a:cubicBezTo>
                  <a:lnTo>
                    <a:pt x="263" y="485"/>
                  </a:lnTo>
                  <a:lnTo>
                    <a:pt x="61" y="700"/>
                  </a:lnTo>
                  <a:cubicBezTo>
                    <a:pt x="1" y="759"/>
                    <a:pt x="1" y="866"/>
                    <a:pt x="61" y="938"/>
                  </a:cubicBezTo>
                  <a:cubicBezTo>
                    <a:pt x="84" y="962"/>
                    <a:pt x="132" y="985"/>
                    <a:pt x="180" y="985"/>
                  </a:cubicBezTo>
                  <a:cubicBezTo>
                    <a:pt x="215" y="985"/>
                    <a:pt x="263" y="962"/>
                    <a:pt x="299" y="938"/>
                  </a:cubicBezTo>
                  <a:lnTo>
                    <a:pt x="501" y="723"/>
                  </a:lnTo>
                  <a:lnTo>
                    <a:pt x="715" y="938"/>
                  </a:lnTo>
                  <a:cubicBezTo>
                    <a:pt x="739" y="962"/>
                    <a:pt x="787" y="985"/>
                    <a:pt x="834" y="985"/>
                  </a:cubicBezTo>
                  <a:cubicBezTo>
                    <a:pt x="870" y="985"/>
                    <a:pt x="918" y="962"/>
                    <a:pt x="953" y="938"/>
                  </a:cubicBezTo>
                  <a:cubicBezTo>
                    <a:pt x="1013" y="878"/>
                    <a:pt x="1013" y="771"/>
                    <a:pt x="953" y="700"/>
                  </a:cubicBezTo>
                  <a:lnTo>
                    <a:pt x="739" y="485"/>
                  </a:lnTo>
                  <a:lnTo>
                    <a:pt x="953" y="283"/>
                  </a:lnTo>
                  <a:cubicBezTo>
                    <a:pt x="1013" y="223"/>
                    <a:pt x="1013" y="116"/>
                    <a:pt x="953" y="45"/>
                  </a:cubicBezTo>
                  <a:cubicBezTo>
                    <a:pt x="924" y="15"/>
                    <a:pt x="882" y="0"/>
                    <a:pt x="839" y="0"/>
                  </a:cubicBezTo>
                  <a:cubicBezTo>
                    <a:pt x="796" y="0"/>
                    <a:pt x="751" y="15"/>
                    <a:pt x="715" y="45"/>
                  </a:cubicBezTo>
                  <a:lnTo>
                    <a:pt x="501" y="247"/>
                  </a:lnTo>
                  <a:lnTo>
                    <a:pt x="299" y="45"/>
                  </a:lnTo>
                  <a:cubicBezTo>
                    <a:pt x="269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63" name="Google Shape;13463;p64"/>
          <p:cNvGrpSpPr/>
          <p:nvPr/>
        </p:nvGrpSpPr>
        <p:grpSpPr>
          <a:xfrm>
            <a:off x="2818561" y="2439778"/>
            <a:ext cx="247892" cy="346024"/>
            <a:chOff x="2818561" y="2439778"/>
            <a:chExt cx="247892" cy="346024"/>
          </a:xfrm>
        </p:grpSpPr>
        <p:sp>
          <p:nvSpPr>
            <p:cNvPr id="13464" name="Google Shape;13464;p64"/>
            <p:cNvSpPr/>
            <p:nvPr/>
          </p:nvSpPr>
          <p:spPr>
            <a:xfrm>
              <a:off x="2818561" y="2439778"/>
              <a:ext cx="247892" cy="346024"/>
            </a:xfrm>
            <a:custGeom>
              <a:avLst/>
              <a:gdLst/>
              <a:ahLst/>
              <a:cxnLst/>
              <a:rect l="l" t="t" r="r" b="b"/>
              <a:pathLst>
                <a:path w="7788" h="10871" extrusionOk="0">
                  <a:moveTo>
                    <a:pt x="5882" y="9716"/>
                  </a:moveTo>
                  <a:lnTo>
                    <a:pt x="5882" y="9966"/>
                  </a:lnTo>
                  <a:lnTo>
                    <a:pt x="5894" y="9966"/>
                  </a:lnTo>
                  <a:cubicBezTo>
                    <a:pt x="5894" y="10276"/>
                    <a:pt x="5644" y="10550"/>
                    <a:pt x="5323" y="10550"/>
                  </a:cubicBezTo>
                  <a:lnTo>
                    <a:pt x="894" y="10550"/>
                  </a:lnTo>
                  <a:cubicBezTo>
                    <a:pt x="584" y="10550"/>
                    <a:pt x="310" y="10299"/>
                    <a:pt x="310" y="9966"/>
                  </a:cubicBezTo>
                  <a:lnTo>
                    <a:pt x="310" y="9716"/>
                  </a:lnTo>
                  <a:close/>
                  <a:moveTo>
                    <a:pt x="894" y="1"/>
                  </a:moveTo>
                  <a:cubicBezTo>
                    <a:pt x="405" y="1"/>
                    <a:pt x="1" y="394"/>
                    <a:pt x="1" y="894"/>
                  </a:cubicBezTo>
                  <a:lnTo>
                    <a:pt x="1" y="7835"/>
                  </a:lnTo>
                  <a:cubicBezTo>
                    <a:pt x="1" y="7930"/>
                    <a:pt x="72" y="8002"/>
                    <a:pt x="167" y="8002"/>
                  </a:cubicBezTo>
                  <a:cubicBezTo>
                    <a:pt x="263" y="8002"/>
                    <a:pt x="334" y="7930"/>
                    <a:pt x="334" y="7835"/>
                  </a:cubicBezTo>
                  <a:lnTo>
                    <a:pt x="334" y="1346"/>
                  </a:lnTo>
                  <a:lnTo>
                    <a:pt x="3382" y="1346"/>
                  </a:lnTo>
                  <a:cubicBezTo>
                    <a:pt x="3477" y="1346"/>
                    <a:pt x="3549" y="1275"/>
                    <a:pt x="3549" y="1179"/>
                  </a:cubicBezTo>
                  <a:cubicBezTo>
                    <a:pt x="3549" y="1096"/>
                    <a:pt x="3477" y="1025"/>
                    <a:pt x="3382" y="1025"/>
                  </a:cubicBezTo>
                  <a:lnTo>
                    <a:pt x="334" y="1025"/>
                  </a:lnTo>
                  <a:lnTo>
                    <a:pt x="334" y="882"/>
                  </a:lnTo>
                  <a:cubicBezTo>
                    <a:pt x="334" y="572"/>
                    <a:pt x="584" y="310"/>
                    <a:pt x="906" y="310"/>
                  </a:cubicBezTo>
                  <a:lnTo>
                    <a:pt x="5335" y="310"/>
                  </a:lnTo>
                  <a:cubicBezTo>
                    <a:pt x="5644" y="310"/>
                    <a:pt x="5918" y="560"/>
                    <a:pt x="5918" y="882"/>
                  </a:cubicBezTo>
                  <a:lnTo>
                    <a:pt x="5918" y="1025"/>
                  </a:lnTo>
                  <a:lnTo>
                    <a:pt x="4073" y="1025"/>
                  </a:lnTo>
                  <a:cubicBezTo>
                    <a:pt x="3977" y="1025"/>
                    <a:pt x="3906" y="1096"/>
                    <a:pt x="3906" y="1179"/>
                  </a:cubicBezTo>
                  <a:cubicBezTo>
                    <a:pt x="3906" y="1275"/>
                    <a:pt x="3977" y="1346"/>
                    <a:pt x="4073" y="1346"/>
                  </a:cubicBezTo>
                  <a:lnTo>
                    <a:pt x="5894" y="1346"/>
                  </a:lnTo>
                  <a:lnTo>
                    <a:pt x="5894" y="3287"/>
                  </a:lnTo>
                  <a:cubicBezTo>
                    <a:pt x="5751" y="3251"/>
                    <a:pt x="5597" y="3239"/>
                    <a:pt x="5454" y="3239"/>
                  </a:cubicBezTo>
                  <a:cubicBezTo>
                    <a:pt x="4811" y="3239"/>
                    <a:pt x="4215" y="3501"/>
                    <a:pt x="3799" y="3930"/>
                  </a:cubicBezTo>
                  <a:lnTo>
                    <a:pt x="989" y="3930"/>
                  </a:lnTo>
                  <a:cubicBezTo>
                    <a:pt x="894" y="3930"/>
                    <a:pt x="822" y="4001"/>
                    <a:pt x="822" y="4084"/>
                  </a:cubicBezTo>
                  <a:cubicBezTo>
                    <a:pt x="822" y="4180"/>
                    <a:pt x="894" y="4251"/>
                    <a:pt x="989" y="4251"/>
                  </a:cubicBezTo>
                  <a:lnTo>
                    <a:pt x="3537" y="4251"/>
                  </a:lnTo>
                  <a:cubicBezTo>
                    <a:pt x="3477" y="4346"/>
                    <a:pt x="3418" y="4430"/>
                    <a:pt x="3370" y="4537"/>
                  </a:cubicBezTo>
                  <a:lnTo>
                    <a:pt x="1787" y="4537"/>
                  </a:lnTo>
                  <a:cubicBezTo>
                    <a:pt x="1703" y="4537"/>
                    <a:pt x="1620" y="4608"/>
                    <a:pt x="1620" y="4704"/>
                  </a:cubicBezTo>
                  <a:cubicBezTo>
                    <a:pt x="1620" y="4787"/>
                    <a:pt x="1703" y="4858"/>
                    <a:pt x="1787" y="4858"/>
                  </a:cubicBezTo>
                  <a:lnTo>
                    <a:pt x="3239" y="4858"/>
                  </a:lnTo>
                  <a:cubicBezTo>
                    <a:pt x="3156" y="5085"/>
                    <a:pt x="3132" y="5323"/>
                    <a:pt x="3132" y="5573"/>
                  </a:cubicBezTo>
                  <a:lnTo>
                    <a:pt x="3132" y="5739"/>
                  </a:lnTo>
                  <a:lnTo>
                    <a:pt x="1418" y="5739"/>
                  </a:lnTo>
                  <a:cubicBezTo>
                    <a:pt x="1322" y="5739"/>
                    <a:pt x="1251" y="5811"/>
                    <a:pt x="1251" y="5906"/>
                  </a:cubicBezTo>
                  <a:cubicBezTo>
                    <a:pt x="1251" y="5989"/>
                    <a:pt x="1322" y="6073"/>
                    <a:pt x="1418" y="6073"/>
                  </a:cubicBezTo>
                  <a:lnTo>
                    <a:pt x="3180" y="6073"/>
                  </a:lnTo>
                  <a:cubicBezTo>
                    <a:pt x="3192" y="6132"/>
                    <a:pt x="3203" y="6168"/>
                    <a:pt x="3215" y="6216"/>
                  </a:cubicBezTo>
                  <a:lnTo>
                    <a:pt x="2382" y="6216"/>
                  </a:lnTo>
                  <a:cubicBezTo>
                    <a:pt x="2299" y="6216"/>
                    <a:pt x="2215" y="6287"/>
                    <a:pt x="2215" y="6382"/>
                  </a:cubicBezTo>
                  <a:cubicBezTo>
                    <a:pt x="2215" y="6466"/>
                    <a:pt x="2299" y="6549"/>
                    <a:pt x="2382" y="6549"/>
                  </a:cubicBezTo>
                  <a:lnTo>
                    <a:pt x="3334" y="6549"/>
                  </a:lnTo>
                  <a:cubicBezTo>
                    <a:pt x="3704" y="7347"/>
                    <a:pt x="4513" y="7894"/>
                    <a:pt x="5454" y="7894"/>
                  </a:cubicBezTo>
                  <a:cubicBezTo>
                    <a:pt x="5597" y="7894"/>
                    <a:pt x="5751" y="7883"/>
                    <a:pt x="5894" y="7859"/>
                  </a:cubicBezTo>
                  <a:lnTo>
                    <a:pt x="5894" y="9407"/>
                  </a:lnTo>
                  <a:lnTo>
                    <a:pt x="334" y="9407"/>
                  </a:lnTo>
                  <a:lnTo>
                    <a:pt x="334" y="8514"/>
                  </a:lnTo>
                  <a:cubicBezTo>
                    <a:pt x="334" y="8418"/>
                    <a:pt x="263" y="8347"/>
                    <a:pt x="167" y="8347"/>
                  </a:cubicBezTo>
                  <a:cubicBezTo>
                    <a:pt x="72" y="8347"/>
                    <a:pt x="1" y="8418"/>
                    <a:pt x="1" y="8514"/>
                  </a:cubicBezTo>
                  <a:lnTo>
                    <a:pt x="1" y="9978"/>
                  </a:lnTo>
                  <a:cubicBezTo>
                    <a:pt x="1" y="10478"/>
                    <a:pt x="405" y="10871"/>
                    <a:pt x="894" y="10871"/>
                  </a:cubicBezTo>
                  <a:lnTo>
                    <a:pt x="5323" y="10871"/>
                  </a:lnTo>
                  <a:cubicBezTo>
                    <a:pt x="5811" y="10871"/>
                    <a:pt x="6216" y="10478"/>
                    <a:pt x="6216" y="9978"/>
                  </a:cubicBezTo>
                  <a:lnTo>
                    <a:pt x="6216" y="9561"/>
                  </a:lnTo>
                  <a:lnTo>
                    <a:pt x="6216" y="7763"/>
                  </a:lnTo>
                  <a:cubicBezTo>
                    <a:pt x="7121" y="7454"/>
                    <a:pt x="7775" y="6573"/>
                    <a:pt x="7775" y="5561"/>
                  </a:cubicBezTo>
                  <a:cubicBezTo>
                    <a:pt x="7787" y="5204"/>
                    <a:pt x="7716" y="4858"/>
                    <a:pt x="7549" y="4537"/>
                  </a:cubicBezTo>
                  <a:cubicBezTo>
                    <a:pt x="7515" y="4485"/>
                    <a:pt x="7462" y="4446"/>
                    <a:pt x="7399" y="4446"/>
                  </a:cubicBezTo>
                  <a:cubicBezTo>
                    <a:pt x="7375" y="4446"/>
                    <a:pt x="7350" y="4452"/>
                    <a:pt x="7323" y="4465"/>
                  </a:cubicBezTo>
                  <a:cubicBezTo>
                    <a:pt x="7252" y="4501"/>
                    <a:pt x="7204" y="4596"/>
                    <a:pt x="7252" y="4680"/>
                  </a:cubicBezTo>
                  <a:cubicBezTo>
                    <a:pt x="7383" y="4954"/>
                    <a:pt x="7442" y="5251"/>
                    <a:pt x="7442" y="5561"/>
                  </a:cubicBezTo>
                  <a:cubicBezTo>
                    <a:pt x="7442" y="6656"/>
                    <a:pt x="6549" y="7573"/>
                    <a:pt x="5430" y="7573"/>
                  </a:cubicBezTo>
                  <a:cubicBezTo>
                    <a:pt x="4335" y="7573"/>
                    <a:pt x="3430" y="6680"/>
                    <a:pt x="3430" y="5561"/>
                  </a:cubicBezTo>
                  <a:cubicBezTo>
                    <a:pt x="3430" y="4442"/>
                    <a:pt x="4323" y="3549"/>
                    <a:pt x="5430" y="3549"/>
                  </a:cubicBezTo>
                  <a:cubicBezTo>
                    <a:pt x="5990" y="3549"/>
                    <a:pt x="6525" y="3787"/>
                    <a:pt x="6906" y="4192"/>
                  </a:cubicBezTo>
                  <a:cubicBezTo>
                    <a:pt x="6939" y="4224"/>
                    <a:pt x="6986" y="4243"/>
                    <a:pt x="7032" y="4243"/>
                  </a:cubicBezTo>
                  <a:cubicBezTo>
                    <a:pt x="7069" y="4243"/>
                    <a:pt x="7106" y="4230"/>
                    <a:pt x="7133" y="4204"/>
                  </a:cubicBezTo>
                  <a:cubicBezTo>
                    <a:pt x="7192" y="4144"/>
                    <a:pt x="7204" y="4049"/>
                    <a:pt x="7144" y="3989"/>
                  </a:cubicBezTo>
                  <a:cubicBezTo>
                    <a:pt x="6882" y="3703"/>
                    <a:pt x="6561" y="3489"/>
                    <a:pt x="6216" y="3370"/>
                  </a:cubicBezTo>
                  <a:lnTo>
                    <a:pt x="6216" y="1191"/>
                  </a:lnTo>
                  <a:lnTo>
                    <a:pt x="6216" y="894"/>
                  </a:lnTo>
                  <a:cubicBezTo>
                    <a:pt x="6216" y="394"/>
                    <a:pt x="5811" y="1"/>
                    <a:pt x="5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5" name="Google Shape;13465;p64"/>
            <p:cNvSpPr/>
            <p:nvPr/>
          </p:nvSpPr>
          <p:spPr>
            <a:xfrm>
              <a:off x="2939833" y="2603066"/>
              <a:ext cx="11395" cy="18652"/>
            </a:xfrm>
            <a:custGeom>
              <a:avLst/>
              <a:gdLst/>
              <a:ahLst/>
              <a:cxnLst/>
              <a:rect l="l" t="t" r="r" b="b"/>
              <a:pathLst>
                <a:path w="358" h="586" extrusionOk="0">
                  <a:moveTo>
                    <a:pt x="203" y="1"/>
                  </a:moveTo>
                  <a:cubicBezTo>
                    <a:pt x="118" y="1"/>
                    <a:pt x="47" y="57"/>
                    <a:pt x="36" y="133"/>
                  </a:cubicBezTo>
                  <a:cubicBezTo>
                    <a:pt x="24" y="228"/>
                    <a:pt x="1" y="324"/>
                    <a:pt x="1" y="419"/>
                  </a:cubicBezTo>
                  <a:cubicBezTo>
                    <a:pt x="1" y="502"/>
                    <a:pt x="72" y="586"/>
                    <a:pt x="167" y="586"/>
                  </a:cubicBezTo>
                  <a:cubicBezTo>
                    <a:pt x="263" y="586"/>
                    <a:pt x="334" y="502"/>
                    <a:pt x="334" y="419"/>
                  </a:cubicBezTo>
                  <a:cubicBezTo>
                    <a:pt x="334" y="336"/>
                    <a:pt x="334" y="252"/>
                    <a:pt x="346" y="181"/>
                  </a:cubicBezTo>
                  <a:cubicBezTo>
                    <a:pt x="358" y="109"/>
                    <a:pt x="322" y="14"/>
                    <a:pt x="227" y="2"/>
                  </a:cubicBezTo>
                  <a:cubicBezTo>
                    <a:pt x="219" y="1"/>
                    <a:pt x="211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6" name="Google Shape;13466;p64"/>
            <p:cNvSpPr/>
            <p:nvPr/>
          </p:nvSpPr>
          <p:spPr>
            <a:xfrm>
              <a:off x="2963706" y="2653103"/>
              <a:ext cx="19735" cy="14101"/>
            </a:xfrm>
            <a:custGeom>
              <a:avLst/>
              <a:gdLst/>
              <a:ahLst/>
              <a:cxnLst/>
              <a:rect l="l" t="t" r="r" b="b"/>
              <a:pathLst>
                <a:path w="620" h="443" extrusionOk="0">
                  <a:moveTo>
                    <a:pt x="178" y="1"/>
                  </a:moveTo>
                  <a:cubicBezTo>
                    <a:pt x="124" y="1"/>
                    <a:pt x="71" y="27"/>
                    <a:pt x="48" y="73"/>
                  </a:cubicBezTo>
                  <a:cubicBezTo>
                    <a:pt x="1" y="157"/>
                    <a:pt x="25" y="252"/>
                    <a:pt x="108" y="299"/>
                  </a:cubicBezTo>
                  <a:cubicBezTo>
                    <a:pt x="191" y="347"/>
                    <a:pt x="287" y="395"/>
                    <a:pt x="370" y="419"/>
                  </a:cubicBezTo>
                  <a:cubicBezTo>
                    <a:pt x="382" y="419"/>
                    <a:pt x="406" y="442"/>
                    <a:pt x="417" y="442"/>
                  </a:cubicBezTo>
                  <a:cubicBezTo>
                    <a:pt x="489" y="442"/>
                    <a:pt x="548" y="395"/>
                    <a:pt x="560" y="323"/>
                  </a:cubicBezTo>
                  <a:cubicBezTo>
                    <a:pt x="620" y="228"/>
                    <a:pt x="584" y="121"/>
                    <a:pt x="489" y="109"/>
                  </a:cubicBezTo>
                  <a:lnTo>
                    <a:pt x="263" y="26"/>
                  </a:lnTo>
                  <a:cubicBezTo>
                    <a:pt x="237" y="9"/>
                    <a:pt x="208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7" name="Google Shape;13467;p64"/>
            <p:cNvSpPr/>
            <p:nvPr/>
          </p:nvSpPr>
          <p:spPr>
            <a:xfrm>
              <a:off x="2948555" y="2577443"/>
              <a:ext cx="17093" cy="16615"/>
            </a:xfrm>
            <a:custGeom>
              <a:avLst/>
              <a:gdLst/>
              <a:ahLst/>
              <a:cxnLst/>
              <a:rect l="l" t="t" r="r" b="b"/>
              <a:pathLst>
                <a:path w="537" h="522" extrusionOk="0">
                  <a:moveTo>
                    <a:pt x="364" y="1"/>
                  </a:moveTo>
                  <a:cubicBezTo>
                    <a:pt x="322" y="1"/>
                    <a:pt x="280" y="15"/>
                    <a:pt x="251" y="45"/>
                  </a:cubicBezTo>
                  <a:cubicBezTo>
                    <a:pt x="179" y="117"/>
                    <a:pt x="120" y="200"/>
                    <a:pt x="60" y="271"/>
                  </a:cubicBezTo>
                  <a:cubicBezTo>
                    <a:pt x="1" y="343"/>
                    <a:pt x="24" y="450"/>
                    <a:pt x="84" y="498"/>
                  </a:cubicBezTo>
                  <a:cubicBezTo>
                    <a:pt x="120" y="510"/>
                    <a:pt x="143" y="521"/>
                    <a:pt x="179" y="521"/>
                  </a:cubicBezTo>
                  <a:cubicBezTo>
                    <a:pt x="227" y="521"/>
                    <a:pt x="286" y="498"/>
                    <a:pt x="310" y="462"/>
                  </a:cubicBezTo>
                  <a:cubicBezTo>
                    <a:pt x="358" y="402"/>
                    <a:pt x="417" y="343"/>
                    <a:pt x="465" y="283"/>
                  </a:cubicBezTo>
                  <a:cubicBezTo>
                    <a:pt x="536" y="224"/>
                    <a:pt x="536" y="117"/>
                    <a:pt x="477" y="45"/>
                  </a:cubicBezTo>
                  <a:cubicBezTo>
                    <a:pt x="447" y="15"/>
                    <a:pt x="405" y="1"/>
                    <a:pt x="3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8" name="Google Shape;13468;p64"/>
            <p:cNvSpPr/>
            <p:nvPr/>
          </p:nvSpPr>
          <p:spPr>
            <a:xfrm>
              <a:off x="2943621" y="2631299"/>
              <a:ext cx="16329" cy="17697"/>
            </a:xfrm>
            <a:custGeom>
              <a:avLst/>
              <a:gdLst/>
              <a:ahLst/>
              <a:cxnLst/>
              <a:rect l="l" t="t" r="r" b="b"/>
              <a:pathLst>
                <a:path w="513" h="556" extrusionOk="0">
                  <a:moveTo>
                    <a:pt x="196" y="1"/>
                  </a:moveTo>
                  <a:cubicBezTo>
                    <a:pt x="172" y="1"/>
                    <a:pt x="146" y="7"/>
                    <a:pt x="120" y="20"/>
                  </a:cubicBezTo>
                  <a:cubicBezTo>
                    <a:pt x="48" y="68"/>
                    <a:pt x="1" y="151"/>
                    <a:pt x="48" y="246"/>
                  </a:cubicBezTo>
                  <a:cubicBezTo>
                    <a:pt x="96" y="330"/>
                    <a:pt x="144" y="425"/>
                    <a:pt x="203" y="496"/>
                  </a:cubicBezTo>
                  <a:cubicBezTo>
                    <a:pt x="227" y="544"/>
                    <a:pt x="275" y="556"/>
                    <a:pt x="334" y="556"/>
                  </a:cubicBezTo>
                  <a:cubicBezTo>
                    <a:pt x="358" y="556"/>
                    <a:pt x="394" y="544"/>
                    <a:pt x="417" y="532"/>
                  </a:cubicBezTo>
                  <a:cubicBezTo>
                    <a:pt x="501" y="484"/>
                    <a:pt x="513" y="377"/>
                    <a:pt x="465" y="306"/>
                  </a:cubicBezTo>
                  <a:cubicBezTo>
                    <a:pt x="417" y="246"/>
                    <a:pt x="382" y="175"/>
                    <a:pt x="346" y="92"/>
                  </a:cubicBezTo>
                  <a:cubicBezTo>
                    <a:pt x="312" y="40"/>
                    <a:pt x="259" y="1"/>
                    <a:pt x="1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9" name="Google Shape;13469;p64"/>
            <p:cNvSpPr/>
            <p:nvPr/>
          </p:nvSpPr>
          <p:spPr>
            <a:xfrm>
              <a:off x="3019408" y="2638907"/>
              <a:ext cx="16711" cy="16170"/>
            </a:xfrm>
            <a:custGeom>
              <a:avLst/>
              <a:gdLst/>
              <a:ahLst/>
              <a:cxnLst/>
              <a:rect l="l" t="t" r="r" b="b"/>
              <a:pathLst>
                <a:path w="525" h="508" extrusionOk="0">
                  <a:moveTo>
                    <a:pt x="346" y="1"/>
                  </a:moveTo>
                  <a:cubicBezTo>
                    <a:pt x="290" y="1"/>
                    <a:pt x="238" y="29"/>
                    <a:pt x="215" y="67"/>
                  </a:cubicBezTo>
                  <a:cubicBezTo>
                    <a:pt x="168" y="126"/>
                    <a:pt x="108" y="186"/>
                    <a:pt x="61" y="245"/>
                  </a:cubicBezTo>
                  <a:cubicBezTo>
                    <a:pt x="1" y="305"/>
                    <a:pt x="1" y="412"/>
                    <a:pt x="61" y="472"/>
                  </a:cubicBezTo>
                  <a:cubicBezTo>
                    <a:pt x="96" y="495"/>
                    <a:pt x="144" y="507"/>
                    <a:pt x="180" y="507"/>
                  </a:cubicBezTo>
                  <a:cubicBezTo>
                    <a:pt x="227" y="507"/>
                    <a:pt x="251" y="495"/>
                    <a:pt x="299" y="472"/>
                  </a:cubicBezTo>
                  <a:cubicBezTo>
                    <a:pt x="370" y="388"/>
                    <a:pt x="430" y="317"/>
                    <a:pt x="489" y="245"/>
                  </a:cubicBezTo>
                  <a:cubicBezTo>
                    <a:pt x="525" y="186"/>
                    <a:pt x="513" y="79"/>
                    <a:pt x="442" y="31"/>
                  </a:cubicBezTo>
                  <a:cubicBezTo>
                    <a:pt x="411" y="10"/>
                    <a:pt x="378" y="1"/>
                    <a:pt x="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0" name="Google Shape;13470;p64"/>
            <p:cNvSpPr/>
            <p:nvPr/>
          </p:nvSpPr>
          <p:spPr>
            <a:xfrm>
              <a:off x="3033063" y="2611087"/>
              <a:ext cx="12159" cy="18971"/>
            </a:xfrm>
            <a:custGeom>
              <a:avLst/>
              <a:gdLst/>
              <a:ahLst/>
              <a:cxnLst/>
              <a:rect l="l" t="t" r="r" b="b"/>
              <a:pathLst>
                <a:path w="382" h="596" extrusionOk="0">
                  <a:moveTo>
                    <a:pt x="203" y="0"/>
                  </a:moveTo>
                  <a:cubicBezTo>
                    <a:pt x="108" y="0"/>
                    <a:pt x="36" y="72"/>
                    <a:pt x="36" y="167"/>
                  </a:cubicBezTo>
                  <a:cubicBezTo>
                    <a:pt x="36" y="238"/>
                    <a:pt x="36" y="334"/>
                    <a:pt x="24" y="405"/>
                  </a:cubicBezTo>
                  <a:cubicBezTo>
                    <a:pt x="1" y="488"/>
                    <a:pt x="60" y="584"/>
                    <a:pt x="155" y="596"/>
                  </a:cubicBezTo>
                  <a:lnTo>
                    <a:pt x="179" y="596"/>
                  </a:lnTo>
                  <a:cubicBezTo>
                    <a:pt x="263" y="596"/>
                    <a:pt x="334" y="536"/>
                    <a:pt x="346" y="465"/>
                  </a:cubicBezTo>
                  <a:cubicBezTo>
                    <a:pt x="370" y="369"/>
                    <a:pt x="382" y="274"/>
                    <a:pt x="382" y="167"/>
                  </a:cubicBezTo>
                  <a:cubicBezTo>
                    <a:pt x="346" y="72"/>
                    <a:pt x="286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1" name="Google Shape;13471;p64"/>
            <p:cNvSpPr/>
            <p:nvPr/>
          </p:nvSpPr>
          <p:spPr>
            <a:xfrm>
              <a:off x="3024342" y="2583363"/>
              <a:ext cx="15947" cy="17888"/>
            </a:xfrm>
            <a:custGeom>
              <a:avLst/>
              <a:gdLst/>
              <a:ahLst/>
              <a:cxnLst/>
              <a:rect l="l" t="t" r="r" b="b"/>
              <a:pathLst>
                <a:path w="501" h="562" extrusionOk="0">
                  <a:moveTo>
                    <a:pt x="187" y="1"/>
                  </a:moveTo>
                  <a:cubicBezTo>
                    <a:pt x="154" y="1"/>
                    <a:pt x="119" y="13"/>
                    <a:pt x="84" y="38"/>
                  </a:cubicBezTo>
                  <a:cubicBezTo>
                    <a:pt x="13" y="97"/>
                    <a:pt x="1" y="193"/>
                    <a:pt x="60" y="264"/>
                  </a:cubicBezTo>
                  <a:cubicBezTo>
                    <a:pt x="96" y="324"/>
                    <a:pt x="144" y="395"/>
                    <a:pt x="179" y="466"/>
                  </a:cubicBezTo>
                  <a:cubicBezTo>
                    <a:pt x="203" y="526"/>
                    <a:pt x="263" y="562"/>
                    <a:pt x="322" y="562"/>
                  </a:cubicBezTo>
                  <a:cubicBezTo>
                    <a:pt x="358" y="562"/>
                    <a:pt x="370" y="562"/>
                    <a:pt x="394" y="550"/>
                  </a:cubicBezTo>
                  <a:cubicBezTo>
                    <a:pt x="477" y="502"/>
                    <a:pt x="501" y="407"/>
                    <a:pt x="465" y="324"/>
                  </a:cubicBezTo>
                  <a:cubicBezTo>
                    <a:pt x="417" y="228"/>
                    <a:pt x="370" y="145"/>
                    <a:pt x="310" y="74"/>
                  </a:cubicBezTo>
                  <a:cubicBezTo>
                    <a:pt x="276" y="25"/>
                    <a:pt x="233" y="1"/>
                    <a:pt x="1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2" name="Google Shape;13472;p64"/>
            <p:cNvSpPr/>
            <p:nvPr/>
          </p:nvSpPr>
          <p:spPr>
            <a:xfrm>
              <a:off x="2992894" y="2655808"/>
              <a:ext cx="19735" cy="12159"/>
            </a:xfrm>
            <a:custGeom>
              <a:avLst/>
              <a:gdLst/>
              <a:ahLst/>
              <a:cxnLst/>
              <a:rect l="l" t="t" r="r" b="b"/>
              <a:pathLst>
                <a:path w="620" h="382" extrusionOk="0">
                  <a:moveTo>
                    <a:pt x="437" y="0"/>
                  </a:moveTo>
                  <a:cubicBezTo>
                    <a:pt x="419" y="0"/>
                    <a:pt x="400" y="4"/>
                    <a:pt x="382" y="12"/>
                  </a:cubicBezTo>
                  <a:cubicBezTo>
                    <a:pt x="298" y="36"/>
                    <a:pt x="227" y="60"/>
                    <a:pt x="155" y="72"/>
                  </a:cubicBezTo>
                  <a:cubicBezTo>
                    <a:pt x="60" y="84"/>
                    <a:pt x="1" y="155"/>
                    <a:pt x="24" y="250"/>
                  </a:cubicBezTo>
                  <a:cubicBezTo>
                    <a:pt x="36" y="322"/>
                    <a:pt x="96" y="381"/>
                    <a:pt x="179" y="381"/>
                  </a:cubicBezTo>
                  <a:lnTo>
                    <a:pt x="203" y="381"/>
                  </a:lnTo>
                  <a:cubicBezTo>
                    <a:pt x="298" y="369"/>
                    <a:pt x="393" y="357"/>
                    <a:pt x="477" y="322"/>
                  </a:cubicBezTo>
                  <a:cubicBezTo>
                    <a:pt x="572" y="298"/>
                    <a:pt x="620" y="203"/>
                    <a:pt x="584" y="119"/>
                  </a:cubicBezTo>
                  <a:cubicBezTo>
                    <a:pt x="556" y="45"/>
                    <a:pt x="500" y="0"/>
                    <a:pt x="4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3" name="Google Shape;13473;p64"/>
            <p:cNvSpPr/>
            <p:nvPr/>
          </p:nvSpPr>
          <p:spPr>
            <a:xfrm>
              <a:off x="3000469" y="2566366"/>
              <a:ext cx="20117" cy="13655"/>
            </a:xfrm>
            <a:custGeom>
              <a:avLst/>
              <a:gdLst/>
              <a:ahLst/>
              <a:cxnLst/>
              <a:rect l="l" t="t" r="r" b="b"/>
              <a:pathLst>
                <a:path w="632" h="429" extrusionOk="0">
                  <a:moveTo>
                    <a:pt x="181" y="0"/>
                  </a:moveTo>
                  <a:cubicBezTo>
                    <a:pt x="116" y="0"/>
                    <a:pt x="55" y="43"/>
                    <a:pt x="36" y="107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358" y="405"/>
                  </a:lnTo>
                  <a:cubicBezTo>
                    <a:pt x="394" y="429"/>
                    <a:pt x="405" y="429"/>
                    <a:pt x="441" y="429"/>
                  </a:cubicBezTo>
                  <a:cubicBezTo>
                    <a:pt x="501" y="429"/>
                    <a:pt x="560" y="393"/>
                    <a:pt x="584" y="334"/>
                  </a:cubicBezTo>
                  <a:cubicBezTo>
                    <a:pt x="632" y="274"/>
                    <a:pt x="596" y="167"/>
                    <a:pt x="513" y="131"/>
                  </a:cubicBezTo>
                  <a:cubicBezTo>
                    <a:pt x="417" y="84"/>
                    <a:pt x="334" y="36"/>
                    <a:pt x="239" y="12"/>
                  </a:cubicBezTo>
                  <a:cubicBezTo>
                    <a:pt x="220" y="4"/>
                    <a:pt x="20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4" name="Google Shape;13474;p64"/>
            <p:cNvSpPr/>
            <p:nvPr/>
          </p:nvSpPr>
          <p:spPr>
            <a:xfrm>
              <a:off x="2972045" y="2565188"/>
              <a:ext cx="18971" cy="12191"/>
            </a:xfrm>
            <a:custGeom>
              <a:avLst/>
              <a:gdLst/>
              <a:ahLst/>
              <a:cxnLst/>
              <a:rect l="l" t="t" r="r" b="b"/>
              <a:pathLst>
                <a:path w="596" h="383" extrusionOk="0">
                  <a:moveTo>
                    <a:pt x="441" y="0"/>
                  </a:moveTo>
                  <a:cubicBezTo>
                    <a:pt x="434" y="0"/>
                    <a:pt x="426" y="1"/>
                    <a:pt x="417" y="2"/>
                  </a:cubicBezTo>
                  <a:cubicBezTo>
                    <a:pt x="310" y="13"/>
                    <a:pt x="227" y="25"/>
                    <a:pt x="144" y="61"/>
                  </a:cubicBezTo>
                  <a:cubicBezTo>
                    <a:pt x="48" y="85"/>
                    <a:pt x="1" y="180"/>
                    <a:pt x="36" y="264"/>
                  </a:cubicBezTo>
                  <a:cubicBezTo>
                    <a:pt x="60" y="347"/>
                    <a:pt x="120" y="383"/>
                    <a:pt x="179" y="383"/>
                  </a:cubicBezTo>
                  <a:cubicBezTo>
                    <a:pt x="203" y="383"/>
                    <a:pt x="215" y="383"/>
                    <a:pt x="227" y="371"/>
                  </a:cubicBezTo>
                  <a:cubicBezTo>
                    <a:pt x="298" y="347"/>
                    <a:pt x="370" y="323"/>
                    <a:pt x="453" y="311"/>
                  </a:cubicBezTo>
                  <a:cubicBezTo>
                    <a:pt x="536" y="299"/>
                    <a:pt x="596" y="228"/>
                    <a:pt x="596" y="133"/>
                  </a:cubicBezTo>
                  <a:cubicBezTo>
                    <a:pt x="585" y="56"/>
                    <a:pt x="524" y="0"/>
                    <a:pt x="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5" name="Google Shape;13475;p64"/>
            <p:cNvSpPr/>
            <p:nvPr/>
          </p:nvSpPr>
          <p:spPr>
            <a:xfrm>
              <a:off x="2976597" y="2586451"/>
              <a:ext cx="32244" cy="61814"/>
            </a:xfrm>
            <a:custGeom>
              <a:avLst/>
              <a:gdLst/>
              <a:ahLst/>
              <a:cxnLst/>
              <a:rect l="l" t="t" r="r" b="b"/>
              <a:pathLst>
                <a:path w="1013" h="1942" extrusionOk="0">
                  <a:moveTo>
                    <a:pt x="501" y="0"/>
                  </a:moveTo>
                  <a:cubicBezTo>
                    <a:pt x="417" y="0"/>
                    <a:pt x="334" y="72"/>
                    <a:pt x="334" y="167"/>
                  </a:cubicBezTo>
                  <a:lnTo>
                    <a:pt x="334" y="310"/>
                  </a:lnTo>
                  <a:cubicBezTo>
                    <a:pt x="143" y="346"/>
                    <a:pt x="1" y="524"/>
                    <a:pt x="1" y="715"/>
                  </a:cubicBezTo>
                  <a:cubicBezTo>
                    <a:pt x="1" y="941"/>
                    <a:pt x="179" y="1131"/>
                    <a:pt x="417" y="1131"/>
                  </a:cubicBezTo>
                  <a:lnTo>
                    <a:pt x="608" y="1131"/>
                  </a:lnTo>
                  <a:cubicBezTo>
                    <a:pt x="655" y="1131"/>
                    <a:pt x="691" y="1179"/>
                    <a:pt x="691" y="1227"/>
                  </a:cubicBezTo>
                  <a:cubicBezTo>
                    <a:pt x="691" y="1262"/>
                    <a:pt x="655" y="1310"/>
                    <a:pt x="608" y="1310"/>
                  </a:cubicBezTo>
                  <a:lnTo>
                    <a:pt x="322" y="1310"/>
                  </a:lnTo>
                  <a:cubicBezTo>
                    <a:pt x="310" y="1239"/>
                    <a:pt x="251" y="1179"/>
                    <a:pt x="155" y="1179"/>
                  </a:cubicBezTo>
                  <a:cubicBezTo>
                    <a:pt x="72" y="1179"/>
                    <a:pt x="1" y="1250"/>
                    <a:pt x="1" y="1346"/>
                  </a:cubicBezTo>
                  <a:cubicBezTo>
                    <a:pt x="1" y="1501"/>
                    <a:pt x="132" y="1643"/>
                    <a:pt x="298" y="1643"/>
                  </a:cubicBezTo>
                  <a:lnTo>
                    <a:pt x="334" y="1643"/>
                  </a:lnTo>
                  <a:lnTo>
                    <a:pt x="334" y="1774"/>
                  </a:lnTo>
                  <a:cubicBezTo>
                    <a:pt x="334" y="1858"/>
                    <a:pt x="405" y="1941"/>
                    <a:pt x="501" y="1941"/>
                  </a:cubicBezTo>
                  <a:cubicBezTo>
                    <a:pt x="596" y="1941"/>
                    <a:pt x="667" y="1858"/>
                    <a:pt x="667" y="1774"/>
                  </a:cubicBezTo>
                  <a:lnTo>
                    <a:pt x="667" y="1620"/>
                  </a:lnTo>
                  <a:cubicBezTo>
                    <a:pt x="858" y="1596"/>
                    <a:pt x="1001" y="1417"/>
                    <a:pt x="1001" y="1227"/>
                  </a:cubicBezTo>
                  <a:cubicBezTo>
                    <a:pt x="1001" y="1000"/>
                    <a:pt x="834" y="810"/>
                    <a:pt x="596" y="810"/>
                  </a:cubicBezTo>
                  <a:lnTo>
                    <a:pt x="393" y="810"/>
                  </a:lnTo>
                  <a:cubicBezTo>
                    <a:pt x="358" y="810"/>
                    <a:pt x="310" y="762"/>
                    <a:pt x="310" y="715"/>
                  </a:cubicBezTo>
                  <a:cubicBezTo>
                    <a:pt x="310" y="667"/>
                    <a:pt x="358" y="631"/>
                    <a:pt x="393" y="631"/>
                  </a:cubicBezTo>
                  <a:lnTo>
                    <a:pt x="679" y="631"/>
                  </a:lnTo>
                  <a:cubicBezTo>
                    <a:pt x="691" y="703"/>
                    <a:pt x="751" y="762"/>
                    <a:pt x="846" y="762"/>
                  </a:cubicBezTo>
                  <a:cubicBezTo>
                    <a:pt x="929" y="762"/>
                    <a:pt x="1013" y="679"/>
                    <a:pt x="1013" y="596"/>
                  </a:cubicBezTo>
                  <a:cubicBezTo>
                    <a:pt x="1013" y="429"/>
                    <a:pt x="870" y="298"/>
                    <a:pt x="715" y="298"/>
                  </a:cubicBezTo>
                  <a:lnTo>
                    <a:pt x="667" y="298"/>
                  </a:lnTo>
                  <a:lnTo>
                    <a:pt x="667" y="167"/>
                  </a:lnTo>
                  <a:cubicBezTo>
                    <a:pt x="667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76" name="Google Shape;13476;p64"/>
          <p:cNvGrpSpPr/>
          <p:nvPr/>
        </p:nvGrpSpPr>
        <p:grpSpPr>
          <a:xfrm>
            <a:off x="3207778" y="2474632"/>
            <a:ext cx="419933" cy="275170"/>
            <a:chOff x="3207778" y="2474632"/>
            <a:chExt cx="419933" cy="275170"/>
          </a:xfrm>
        </p:grpSpPr>
        <p:sp>
          <p:nvSpPr>
            <p:cNvPr id="13477" name="Google Shape;13477;p64"/>
            <p:cNvSpPr/>
            <p:nvPr/>
          </p:nvSpPr>
          <p:spPr>
            <a:xfrm>
              <a:off x="3207778" y="2474632"/>
              <a:ext cx="419933" cy="275170"/>
            </a:xfrm>
            <a:custGeom>
              <a:avLst/>
              <a:gdLst/>
              <a:ahLst/>
              <a:cxnLst/>
              <a:rect l="l" t="t" r="r" b="b"/>
              <a:pathLst>
                <a:path w="13193" h="8645" extrusionOk="0">
                  <a:moveTo>
                    <a:pt x="9906" y="370"/>
                  </a:moveTo>
                  <a:lnTo>
                    <a:pt x="9906" y="3918"/>
                  </a:lnTo>
                  <a:lnTo>
                    <a:pt x="381" y="3918"/>
                  </a:lnTo>
                  <a:lnTo>
                    <a:pt x="381" y="370"/>
                  </a:lnTo>
                  <a:close/>
                  <a:moveTo>
                    <a:pt x="9906" y="4323"/>
                  </a:moveTo>
                  <a:lnTo>
                    <a:pt x="9906" y="7014"/>
                  </a:lnTo>
                  <a:cubicBezTo>
                    <a:pt x="9906" y="7514"/>
                    <a:pt x="10133" y="7966"/>
                    <a:pt x="10490" y="8264"/>
                  </a:cubicBezTo>
                  <a:lnTo>
                    <a:pt x="1632" y="8264"/>
                  </a:lnTo>
                  <a:cubicBezTo>
                    <a:pt x="953" y="8264"/>
                    <a:pt x="381" y="7692"/>
                    <a:pt x="381" y="7014"/>
                  </a:cubicBezTo>
                  <a:lnTo>
                    <a:pt x="381" y="4323"/>
                  </a:lnTo>
                  <a:close/>
                  <a:moveTo>
                    <a:pt x="12169" y="1620"/>
                  </a:moveTo>
                  <a:cubicBezTo>
                    <a:pt x="12514" y="1620"/>
                    <a:pt x="12812" y="1906"/>
                    <a:pt x="12812" y="2263"/>
                  </a:cubicBezTo>
                  <a:lnTo>
                    <a:pt x="12812" y="7014"/>
                  </a:lnTo>
                  <a:cubicBezTo>
                    <a:pt x="12812" y="7692"/>
                    <a:pt x="12240" y="8264"/>
                    <a:pt x="11561" y="8264"/>
                  </a:cubicBezTo>
                  <a:cubicBezTo>
                    <a:pt x="10871" y="8264"/>
                    <a:pt x="10311" y="7692"/>
                    <a:pt x="10311" y="7014"/>
                  </a:cubicBezTo>
                  <a:lnTo>
                    <a:pt x="10311" y="6371"/>
                  </a:lnTo>
                  <a:lnTo>
                    <a:pt x="11347" y="6371"/>
                  </a:lnTo>
                  <a:cubicBezTo>
                    <a:pt x="11454" y="6371"/>
                    <a:pt x="11549" y="6276"/>
                    <a:pt x="11549" y="6180"/>
                  </a:cubicBezTo>
                  <a:lnTo>
                    <a:pt x="11549" y="3799"/>
                  </a:lnTo>
                  <a:cubicBezTo>
                    <a:pt x="11549" y="3692"/>
                    <a:pt x="11454" y="3597"/>
                    <a:pt x="11347" y="3597"/>
                  </a:cubicBezTo>
                  <a:cubicBezTo>
                    <a:pt x="11252" y="3597"/>
                    <a:pt x="11157" y="3692"/>
                    <a:pt x="11157" y="3799"/>
                  </a:cubicBezTo>
                  <a:lnTo>
                    <a:pt x="11157" y="5978"/>
                  </a:lnTo>
                  <a:lnTo>
                    <a:pt x="10299" y="5978"/>
                  </a:lnTo>
                  <a:lnTo>
                    <a:pt x="10299" y="1620"/>
                  </a:lnTo>
                  <a:lnTo>
                    <a:pt x="11371" y="1620"/>
                  </a:lnTo>
                  <a:cubicBezTo>
                    <a:pt x="11228" y="1799"/>
                    <a:pt x="11145" y="2013"/>
                    <a:pt x="11145" y="2263"/>
                  </a:cubicBezTo>
                  <a:lnTo>
                    <a:pt x="11145" y="2906"/>
                  </a:lnTo>
                  <a:cubicBezTo>
                    <a:pt x="11145" y="3001"/>
                    <a:pt x="11228" y="3097"/>
                    <a:pt x="11335" y="3097"/>
                  </a:cubicBezTo>
                  <a:cubicBezTo>
                    <a:pt x="11442" y="3097"/>
                    <a:pt x="11526" y="3001"/>
                    <a:pt x="11526" y="2906"/>
                  </a:cubicBezTo>
                  <a:lnTo>
                    <a:pt x="11526" y="2263"/>
                  </a:lnTo>
                  <a:cubicBezTo>
                    <a:pt x="11526" y="1918"/>
                    <a:pt x="11811" y="1620"/>
                    <a:pt x="12169" y="1620"/>
                  </a:cubicBezTo>
                  <a:close/>
                  <a:moveTo>
                    <a:pt x="191" y="1"/>
                  </a:moveTo>
                  <a:cubicBezTo>
                    <a:pt x="84" y="1"/>
                    <a:pt x="0" y="96"/>
                    <a:pt x="0" y="191"/>
                  </a:cubicBezTo>
                  <a:lnTo>
                    <a:pt x="0" y="7014"/>
                  </a:lnTo>
                  <a:cubicBezTo>
                    <a:pt x="0" y="7919"/>
                    <a:pt x="727" y="8645"/>
                    <a:pt x="1632" y="8645"/>
                  </a:cubicBezTo>
                  <a:lnTo>
                    <a:pt x="11549" y="8645"/>
                  </a:lnTo>
                  <a:cubicBezTo>
                    <a:pt x="12454" y="8645"/>
                    <a:pt x="13181" y="7919"/>
                    <a:pt x="13181" y="7014"/>
                  </a:cubicBezTo>
                  <a:lnTo>
                    <a:pt x="13181" y="2263"/>
                  </a:lnTo>
                  <a:cubicBezTo>
                    <a:pt x="13193" y="1680"/>
                    <a:pt x="12740" y="1239"/>
                    <a:pt x="12169" y="1239"/>
                  </a:cubicBezTo>
                  <a:lnTo>
                    <a:pt x="10299" y="1239"/>
                  </a:lnTo>
                  <a:lnTo>
                    <a:pt x="10299" y="191"/>
                  </a:lnTo>
                  <a:cubicBezTo>
                    <a:pt x="10299" y="96"/>
                    <a:pt x="10204" y="1"/>
                    <a:pt x="10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8" name="Google Shape;13478;p64"/>
            <p:cNvSpPr/>
            <p:nvPr/>
          </p:nvSpPr>
          <p:spPr>
            <a:xfrm>
              <a:off x="3449559" y="2493985"/>
              <a:ext cx="46663" cy="98546"/>
            </a:xfrm>
            <a:custGeom>
              <a:avLst/>
              <a:gdLst/>
              <a:ahLst/>
              <a:cxnLst/>
              <a:rect l="l" t="t" r="r" b="b"/>
              <a:pathLst>
                <a:path w="1466" h="3096" extrusionOk="0">
                  <a:moveTo>
                    <a:pt x="739" y="0"/>
                  </a:moveTo>
                  <a:cubicBezTo>
                    <a:pt x="632" y="0"/>
                    <a:pt x="536" y="95"/>
                    <a:pt x="536" y="203"/>
                  </a:cubicBezTo>
                  <a:lnTo>
                    <a:pt x="536" y="417"/>
                  </a:lnTo>
                  <a:cubicBezTo>
                    <a:pt x="227" y="476"/>
                    <a:pt x="1" y="750"/>
                    <a:pt x="1" y="1072"/>
                  </a:cubicBezTo>
                  <a:cubicBezTo>
                    <a:pt x="1" y="1453"/>
                    <a:pt x="298" y="1750"/>
                    <a:pt x="679" y="1750"/>
                  </a:cubicBezTo>
                  <a:lnTo>
                    <a:pt x="810" y="1750"/>
                  </a:lnTo>
                  <a:cubicBezTo>
                    <a:pt x="953" y="1750"/>
                    <a:pt x="1096" y="1869"/>
                    <a:pt x="1096" y="2024"/>
                  </a:cubicBezTo>
                  <a:cubicBezTo>
                    <a:pt x="1096" y="2191"/>
                    <a:pt x="977" y="2310"/>
                    <a:pt x="810" y="2310"/>
                  </a:cubicBezTo>
                  <a:lnTo>
                    <a:pt x="596" y="2310"/>
                  </a:lnTo>
                  <a:cubicBezTo>
                    <a:pt x="477" y="2310"/>
                    <a:pt x="393" y="2215"/>
                    <a:pt x="393" y="2096"/>
                  </a:cubicBezTo>
                  <a:cubicBezTo>
                    <a:pt x="393" y="2000"/>
                    <a:pt x="298" y="1905"/>
                    <a:pt x="203" y="1905"/>
                  </a:cubicBezTo>
                  <a:cubicBezTo>
                    <a:pt x="96" y="1905"/>
                    <a:pt x="1" y="2000"/>
                    <a:pt x="1" y="2096"/>
                  </a:cubicBezTo>
                  <a:cubicBezTo>
                    <a:pt x="1" y="2417"/>
                    <a:pt x="239" y="2667"/>
                    <a:pt x="536" y="2691"/>
                  </a:cubicBezTo>
                  <a:lnTo>
                    <a:pt x="536" y="2905"/>
                  </a:lnTo>
                  <a:cubicBezTo>
                    <a:pt x="536" y="3012"/>
                    <a:pt x="632" y="3096"/>
                    <a:pt x="739" y="3096"/>
                  </a:cubicBezTo>
                  <a:cubicBezTo>
                    <a:pt x="834" y="3096"/>
                    <a:pt x="929" y="3012"/>
                    <a:pt x="929" y="2905"/>
                  </a:cubicBezTo>
                  <a:lnTo>
                    <a:pt x="929" y="2679"/>
                  </a:lnTo>
                  <a:cubicBezTo>
                    <a:pt x="1239" y="2620"/>
                    <a:pt x="1465" y="2358"/>
                    <a:pt x="1465" y="2024"/>
                  </a:cubicBezTo>
                  <a:cubicBezTo>
                    <a:pt x="1465" y="1655"/>
                    <a:pt x="1167" y="1358"/>
                    <a:pt x="798" y="1358"/>
                  </a:cubicBezTo>
                  <a:lnTo>
                    <a:pt x="655" y="1358"/>
                  </a:lnTo>
                  <a:cubicBezTo>
                    <a:pt x="513" y="1358"/>
                    <a:pt x="382" y="1238"/>
                    <a:pt x="382" y="1072"/>
                  </a:cubicBezTo>
                  <a:cubicBezTo>
                    <a:pt x="382" y="929"/>
                    <a:pt x="501" y="798"/>
                    <a:pt x="655" y="798"/>
                  </a:cubicBezTo>
                  <a:lnTo>
                    <a:pt x="870" y="798"/>
                  </a:lnTo>
                  <a:cubicBezTo>
                    <a:pt x="989" y="798"/>
                    <a:pt x="1072" y="881"/>
                    <a:pt x="1072" y="1000"/>
                  </a:cubicBezTo>
                  <a:lnTo>
                    <a:pt x="1072" y="1131"/>
                  </a:lnTo>
                  <a:cubicBezTo>
                    <a:pt x="1072" y="1238"/>
                    <a:pt x="1167" y="1334"/>
                    <a:pt x="1275" y="1334"/>
                  </a:cubicBezTo>
                  <a:cubicBezTo>
                    <a:pt x="1370" y="1334"/>
                    <a:pt x="1465" y="1238"/>
                    <a:pt x="1465" y="1131"/>
                  </a:cubicBezTo>
                  <a:lnTo>
                    <a:pt x="1465" y="1000"/>
                  </a:lnTo>
                  <a:cubicBezTo>
                    <a:pt x="1465" y="691"/>
                    <a:pt x="1227" y="441"/>
                    <a:pt x="929" y="405"/>
                  </a:cubicBezTo>
                  <a:lnTo>
                    <a:pt x="929" y="203"/>
                  </a:lnTo>
                  <a:cubicBezTo>
                    <a:pt x="929" y="95"/>
                    <a:pt x="834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9" name="Google Shape;13479;p64"/>
            <p:cNvSpPr/>
            <p:nvPr/>
          </p:nvSpPr>
          <p:spPr>
            <a:xfrm>
              <a:off x="3247566" y="2507226"/>
              <a:ext cx="51565" cy="71681"/>
            </a:xfrm>
            <a:custGeom>
              <a:avLst/>
              <a:gdLst/>
              <a:ahLst/>
              <a:cxnLst/>
              <a:rect l="l" t="t" r="r" b="b"/>
              <a:pathLst>
                <a:path w="1620" h="2252" extrusionOk="0">
                  <a:moveTo>
                    <a:pt x="1429" y="1"/>
                  </a:moveTo>
                  <a:cubicBezTo>
                    <a:pt x="1322" y="1"/>
                    <a:pt x="1227" y="96"/>
                    <a:pt x="1227" y="203"/>
                  </a:cubicBezTo>
                  <a:lnTo>
                    <a:pt x="1227" y="1418"/>
                  </a:lnTo>
                  <a:lnTo>
                    <a:pt x="358" y="96"/>
                  </a:lnTo>
                  <a:cubicBezTo>
                    <a:pt x="323" y="44"/>
                    <a:pt x="256" y="11"/>
                    <a:pt x="195" y="11"/>
                  </a:cubicBezTo>
                  <a:cubicBezTo>
                    <a:pt x="172" y="11"/>
                    <a:pt x="151" y="15"/>
                    <a:pt x="132" y="25"/>
                  </a:cubicBezTo>
                  <a:cubicBezTo>
                    <a:pt x="60" y="49"/>
                    <a:pt x="1" y="120"/>
                    <a:pt x="1" y="203"/>
                  </a:cubicBezTo>
                  <a:lnTo>
                    <a:pt x="1" y="2061"/>
                  </a:lnTo>
                  <a:cubicBezTo>
                    <a:pt x="1" y="2168"/>
                    <a:pt x="84" y="2251"/>
                    <a:pt x="191" y="2251"/>
                  </a:cubicBezTo>
                  <a:cubicBezTo>
                    <a:pt x="298" y="2251"/>
                    <a:pt x="382" y="2168"/>
                    <a:pt x="382" y="2061"/>
                  </a:cubicBezTo>
                  <a:lnTo>
                    <a:pt x="382" y="834"/>
                  </a:lnTo>
                  <a:lnTo>
                    <a:pt x="1263" y="2168"/>
                  </a:lnTo>
                  <a:cubicBezTo>
                    <a:pt x="1289" y="2221"/>
                    <a:pt x="1356" y="2248"/>
                    <a:pt x="1428" y="2248"/>
                  </a:cubicBezTo>
                  <a:cubicBezTo>
                    <a:pt x="1452" y="2248"/>
                    <a:pt x="1477" y="2245"/>
                    <a:pt x="1501" y="2239"/>
                  </a:cubicBezTo>
                  <a:cubicBezTo>
                    <a:pt x="1572" y="2204"/>
                    <a:pt x="1620" y="2132"/>
                    <a:pt x="1620" y="2061"/>
                  </a:cubicBezTo>
                  <a:lnTo>
                    <a:pt x="1620" y="203"/>
                  </a:lnTo>
                  <a:cubicBezTo>
                    <a:pt x="1620" y="96"/>
                    <a:pt x="152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0" name="Google Shape;13480;p64"/>
            <p:cNvSpPr/>
            <p:nvPr/>
          </p:nvSpPr>
          <p:spPr>
            <a:xfrm>
              <a:off x="3312754" y="2507990"/>
              <a:ext cx="45135" cy="71299"/>
            </a:xfrm>
            <a:custGeom>
              <a:avLst/>
              <a:gdLst/>
              <a:ahLst/>
              <a:cxnLst/>
              <a:rect l="l" t="t" r="r" b="b"/>
              <a:pathLst>
                <a:path w="1418" h="2240" extrusionOk="0">
                  <a:moveTo>
                    <a:pt x="191" y="1"/>
                  </a:moveTo>
                  <a:cubicBezTo>
                    <a:pt x="96" y="1"/>
                    <a:pt x="0" y="84"/>
                    <a:pt x="0" y="191"/>
                  </a:cubicBezTo>
                  <a:lnTo>
                    <a:pt x="0" y="2049"/>
                  </a:lnTo>
                  <a:cubicBezTo>
                    <a:pt x="0" y="2156"/>
                    <a:pt x="96" y="2239"/>
                    <a:pt x="191" y="2239"/>
                  </a:cubicBezTo>
                  <a:lnTo>
                    <a:pt x="1227" y="2239"/>
                  </a:lnTo>
                  <a:cubicBezTo>
                    <a:pt x="1322" y="2239"/>
                    <a:pt x="1417" y="2156"/>
                    <a:pt x="1417" y="2049"/>
                  </a:cubicBezTo>
                  <a:cubicBezTo>
                    <a:pt x="1417" y="1930"/>
                    <a:pt x="1346" y="1846"/>
                    <a:pt x="1227" y="1846"/>
                  </a:cubicBezTo>
                  <a:lnTo>
                    <a:pt x="393" y="1846"/>
                  </a:lnTo>
                  <a:lnTo>
                    <a:pt x="393" y="1203"/>
                  </a:lnTo>
                  <a:lnTo>
                    <a:pt x="1024" y="1203"/>
                  </a:lnTo>
                  <a:cubicBezTo>
                    <a:pt x="1132" y="1203"/>
                    <a:pt x="1227" y="1108"/>
                    <a:pt x="1227" y="1013"/>
                  </a:cubicBezTo>
                  <a:cubicBezTo>
                    <a:pt x="1227" y="906"/>
                    <a:pt x="1132" y="810"/>
                    <a:pt x="1024" y="810"/>
                  </a:cubicBezTo>
                  <a:lnTo>
                    <a:pt x="393" y="810"/>
                  </a:lnTo>
                  <a:lnTo>
                    <a:pt x="393" y="382"/>
                  </a:lnTo>
                  <a:lnTo>
                    <a:pt x="1227" y="382"/>
                  </a:lnTo>
                  <a:cubicBezTo>
                    <a:pt x="1322" y="382"/>
                    <a:pt x="1417" y="298"/>
                    <a:pt x="1417" y="191"/>
                  </a:cubicBezTo>
                  <a:cubicBezTo>
                    <a:pt x="1417" y="84"/>
                    <a:pt x="1322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1" name="Google Shape;13481;p64"/>
            <p:cNvSpPr/>
            <p:nvPr/>
          </p:nvSpPr>
          <p:spPr>
            <a:xfrm>
              <a:off x="3372626" y="2507194"/>
              <a:ext cx="65602" cy="71395"/>
            </a:xfrm>
            <a:custGeom>
              <a:avLst/>
              <a:gdLst/>
              <a:ahLst/>
              <a:cxnLst/>
              <a:rect l="l" t="t" r="r" b="b"/>
              <a:pathLst>
                <a:path w="2061" h="2243" extrusionOk="0">
                  <a:moveTo>
                    <a:pt x="200" y="1"/>
                  </a:moveTo>
                  <a:cubicBezTo>
                    <a:pt x="193" y="1"/>
                    <a:pt x="186" y="1"/>
                    <a:pt x="179" y="2"/>
                  </a:cubicBezTo>
                  <a:cubicBezTo>
                    <a:pt x="72" y="26"/>
                    <a:pt x="1" y="109"/>
                    <a:pt x="13" y="216"/>
                  </a:cubicBezTo>
                  <a:lnTo>
                    <a:pt x="215" y="2074"/>
                  </a:lnTo>
                  <a:cubicBezTo>
                    <a:pt x="239" y="2169"/>
                    <a:pt x="298" y="2228"/>
                    <a:pt x="382" y="2240"/>
                  </a:cubicBezTo>
                  <a:cubicBezTo>
                    <a:pt x="391" y="2242"/>
                    <a:pt x="401" y="2242"/>
                    <a:pt x="410" y="2242"/>
                  </a:cubicBezTo>
                  <a:cubicBezTo>
                    <a:pt x="493" y="2242"/>
                    <a:pt x="564" y="2196"/>
                    <a:pt x="596" y="2121"/>
                  </a:cubicBezTo>
                  <a:lnTo>
                    <a:pt x="1036" y="1097"/>
                  </a:lnTo>
                  <a:lnTo>
                    <a:pt x="1489" y="2121"/>
                  </a:lnTo>
                  <a:cubicBezTo>
                    <a:pt x="1510" y="2196"/>
                    <a:pt x="1589" y="2242"/>
                    <a:pt x="1665" y="2242"/>
                  </a:cubicBezTo>
                  <a:cubicBezTo>
                    <a:pt x="1674" y="2242"/>
                    <a:pt x="1683" y="2242"/>
                    <a:pt x="1691" y="2240"/>
                  </a:cubicBezTo>
                  <a:cubicBezTo>
                    <a:pt x="1787" y="2228"/>
                    <a:pt x="1846" y="2145"/>
                    <a:pt x="1858" y="2074"/>
                  </a:cubicBezTo>
                  <a:lnTo>
                    <a:pt x="2060" y="216"/>
                  </a:lnTo>
                  <a:cubicBezTo>
                    <a:pt x="2037" y="109"/>
                    <a:pt x="1965" y="26"/>
                    <a:pt x="1846" y="2"/>
                  </a:cubicBezTo>
                  <a:cubicBezTo>
                    <a:pt x="1838" y="1"/>
                    <a:pt x="1830" y="1"/>
                    <a:pt x="1823" y="1"/>
                  </a:cubicBezTo>
                  <a:cubicBezTo>
                    <a:pt x="1724" y="1"/>
                    <a:pt x="1632" y="69"/>
                    <a:pt x="1632" y="169"/>
                  </a:cubicBezTo>
                  <a:lnTo>
                    <a:pt x="1513" y="1300"/>
                  </a:lnTo>
                  <a:lnTo>
                    <a:pt x="1191" y="526"/>
                  </a:lnTo>
                  <a:cubicBezTo>
                    <a:pt x="1161" y="454"/>
                    <a:pt x="1087" y="419"/>
                    <a:pt x="1013" y="419"/>
                  </a:cubicBezTo>
                  <a:cubicBezTo>
                    <a:pt x="938" y="419"/>
                    <a:pt x="864" y="454"/>
                    <a:pt x="834" y="526"/>
                  </a:cubicBezTo>
                  <a:lnTo>
                    <a:pt x="501" y="1300"/>
                  </a:lnTo>
                  <a:lnTo>
                    <a:pt x="382" y="169"/>
                  </a:lnTo>
                  <a:cubicBezTo>
                    <a:pt x="371" y="69"/>
                    <a:pt x="288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2" name="Google Shape;13482;p64"/>
            <p:cNvSpPr/>
            <p:nvPr/>
          </p:nvSpPr>
          <p:spPr>
            <a:xfrm>
              <a:off x="3247566" y="2632286"/>
              <a:ext cx="97432" cy="12541"/>
            </a:xfrm>
            <a:custGeom>
              <a:avLst/>
              <a:gdLst/>
              <a:ahLst/>
              <a:cxnLst/>
              <a:rect l="l" t="t" r="r" b="b"/>
              <a:pathLst>
                <a:path w="3061" h="394" extrusionOk="0">
                  <a:moveTo>
                    <a:pt x="191" y="1"/>
                  </a:moveTo>
                  <a:cubicBezTo>
                    <a:pt x="84" y="1"/>
                    <a:pt x="1" y="96"/>
                    <a:pt x="1" y="203"/>
                  </a:cubicBezTo>
                  <a:cubicBezTo>
                    <a:pt x="1" y="299"/>
                    <a:pt x="84" y="394"/>
                    <a:pt x="191" y="394"/>
                  </a:cubicBezTo>
                  <a:lnTo>
                    <a:pt x="2870" y="394"/>
                  </a:lnTo>
                  <a:cubicBezTo>
                    <a:pt x="2977" y="394"/>
                    <a:pt x="3060" y="299"/>
                    <a:pt x="3060" y="203"/>
                  </a:cubicBezTo>
                  <a:cubicBezTo>
                    <a:pt x="3060" y="84"/>
                    <a:pt x="2977" y="1"/>
                    <a:pt x="2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3" name="Google Shape;13483;p64"/>
            <p:cNvSpPr/>
            <p:nvPr/>
          </p:nvSpPr>
          <p:spPr>
            <a:xfrm>
              <a:off x="3371862" y="2632286"/>
              <a:ext cx="124360" cy="12541"/>
            </a:xfrm>
            <a:custGeom>
              <a:avLst/>
              <a:gdLst/>
              <a:ahLst/>
              <a:cxnLst/>
              <a:rect l="l" t="t" r="r" b="b"/>
              <a:pathLst>
                <a:path w="3907" h="394" extrusionOk="0">
                  <a:moveTo>
                    <a:pt x="203" y="1"/>
                  </a:moveTo>
                  <a:cubicBezTo>
                    <a:pt x="96" y="1"/>
                    <a:pt x="1" y="96"/>
                    <a:pt x="1" y="203"/>
                  </a:cubicBezTo>
                  <a:cubicBezTo>
                    <a:pt x="1" y="299"/>
                    <a:pt x="96" y="394"/>
                    <a:pt x="203" y="394"/>
                  </a:cubicBezTo>
                  <a:lnTo>
                    <a:pt x="3716" y="394"/>
                  </a:lnTo>
                  <a:cubicBezTo>
                    <a:pt x="3811" y="394"/>
                    <a:pt x="3906" y="299"/>
                    <a:pt x="3906" y="203"/>
                  </a:cubicBezTo>
                  <a:cubicBezTo>
                    <a:pt x="3906" y="84"/>
                    <a:pt x="3811" y="1"/>
                    <a:pt x="37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4" name="Google Shape;13484;p64"/>
            <p:cNvSpPr/>
            <p:nvPr/>
          </p:nvSpPr>
          <p:spPr>
            <a:xfrm>
              <a:off x="3247566" y="2665262"/>
              <a:ext cx="51565" cy="12159"/>
            </a:xfrm>
            <a:custGeom>
              <a:avLst/>
              <a:gdLst/>
              <a:ahLst/>
              <a:cxnLst/>
              <a:rect l="l" t="t" r="r" b="b"/>
              <a:pathLst>
                <a:path w="1620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1429" y="382"/>
                  </a:lnTo>
                  <a:cubicBezTo>
                    <a:pt x="1525" y="382"/>
                    <a:pt x="1620" y="298"/>
                    <a:pt x="1620" y="191"/>
                  </a:cubicBezTo>
                  <a:cubicBezTo>
                    <a:pt x="1620" y="84"/>
                    <a:pt x="152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5" name="Google Shape;13485;p64"/>
            <p:cNvSpPr/>
            <p:nvPr/>
          </p:nvSpPr>
          <p:spPr>
            <a:xfrm>
              <a:off x="3247566" y="2697856"/>
              <a:ext cx="97432" cy="12159"/>
            </a:xfrm>
            <a:custGeom>
              <a:avLst/>
              <a:gdLst/>
              <a:ahLst/>
              <a:cxnLst/>
              <a:rect l="l" t="t" r="r" b="b"/>
              <a:pathLst>
                <a:path w="3061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2870" y="382"/>
                  </a:lnTo>
                  <a:cubicBezTo>
                    <a:pt x="2977" y="382"/>
                    <a:pt x="3060" y="298"/>
                    <a:pt x="3060" y="191"/>
                  </a:cubicBezTo>
                  <a:cubicBezTo>
                    <a:pt x="3060" y="84"/>
                    <a:pt x="2977" y="1"/>
                    <a:pt x="2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6" name="Google Shape;13486;p64"/>
            <p:cNvSpPr/>
            <p:nvPr/>
          </p:nvSpPr>
          <p:spPr>
            <a:xfrm>
              <a:off x="3312754" y="2665262"/>
              <a:ext cx="32244" cy="12159"/>
            </a:xfrm>
            <a:custGeom>
              <a:avLst/>
              <a:gdLst/>
              <a:ahLst/>
              <a:cxnLst/>
              <a:rect l="l" t="t" r="r" b="b"/>
              <a:pathLst>
                <a:path w="1013" h="382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cubicBezTo>
                    <a:pt x="0" y="298"/>
                    <a:pt x="96" y="382"/>
                    <a:pt x="191" y="382"/>
                  </a:cubicBezTo>
                  <a:lnTo>
                    <a:pt x="822" y="382"/>
                  </a:lnTo>
                  <a:cubicBezTo>
                    <a:pt x="929" y="382"/>
                    <a:pt x="1012" y="298"/>
                    <a:pt x="1012" y="191"/>
                  </a:cubicBezTo>
                  <a:cubicBezTo>
                    <a:pt x="1012" y="84"/>
                    <a:pt x="929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7" name="Google Shape;13487;p64"/>
            <p:cNvSpPr/>
            <p:nvPr/>
          </p:nvSpPr>
          <p:spPr>
            <a:xfrm>
              <a:off x="3371862" y="2665262"/>
              <a:ext cx="58408" cy="12159"/>
            </a:xfrm>
            <a:custGeom>
              <a:avLst/>
              <a:gdLst/>
              <a:ahLst/>
              <a:cxnLst/>
              <a:rect l="l" t="t" r="r" b="b"/>
              <a:pathLst>
                <a:path w="1835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1644" y="382"/>
                  </a:lnTo>
                  <a:cubicBezTo>
                    <a:pt x="1751" y="382"/>
                    <a:pt x="1834" y="298"/>
                    <a:pt x="1834" y="191"/>
                  </a:cubicBezTo>
                  <a:cubicBezTo>
                    <a:pt x="1834" y="84"/>
                    <a:pt x="1751" y="1"/>
                    <a:pt x="1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8" name="Google Shape;13488;p64"/>
            <p:cNvSpPr/>
            <p:nvPr/>
          </p:nvSpPr>
          <p:spPr>
            <a:xfrm>
              <a:off x="3444625" y="2665262"/>
              <a:ext cx="51596" cy="12159"/>
            </a:xfrm>
            <a:custGeom>
              <a:avLst/>
              <a:gdLst/>
              <a:ahLst/>
              <a:cxnLst/>
              <a:rect l="l" t="t" r="r" b="b"/>
              <a:pathLst>
                <a:path w="1621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1430" y="382"/>
                  </a:lnTo>
                  <a:cubicBezTo>
                    <a:pt x="1525" y="382"/>
                    <a:pt x="1620" y="298"/>
                    <a:pt x="1620" y="191"/>
                  </a:cubicBezTo>
                  <a:cubicBezTo>
                    <a:pt x="1620" y="84"/>
                    <a:pt x="1525" y="1"/>
                    <a:pt x="1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9" name="Google Shape;13489;p64"/>
            <p:cNvSpPr/>
            <p:nvPr/>
          </p:nvSpPr>
          <p:spPr>
            <a:xfrm>
              <a:off x="3371862" y="2697856"/>
              <a:ext cx="84922" cy="12159"/>
            </a:xfrm>
            <a:custGeom>
              <a:avLst/>
              <a:gdLst/>
              <a:ahLst/>
              <a:cxnLst/>
              <a:rect l="l" t="t" r="r" b="b"/>
              <a:pathLst>
                <a:path w="2668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2477" y="382"/>
                  </a:lnTo>
                  <a:cubicBezTo>
                    <a:pt x="2584" y="382"/>
                    <a:pt x="2668" y="298"/>
                    <a:pt x="2668" y="191"/>
                  </a:cubicBezTo>
                  <a:cubicBezTo>
                    <a:pt x="2668" y="84"/>
                    <a:pt x="2584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0" name="Google Shape;13490;p64"/>
            <p:cNvSpPr/>
            <p:nvPr/>
          </p:nvSpPr>
          <p:spPr>
            <a:xfrm>
              <a:off x="3470408" y="2697856"/>
              <a:ext cx="25814" cy="12159"/>
            </a:xfrm>
            <a:custGeom>
              <a:avLst/>
              <a:gdLst/>
              <a:ahLst/>
              <a:cxnLst/>
              <a:rect l="l" t="t" r="r" b="b"/>
              <a:pathLst>
                <a:path w="811" h="382" extrusionOk="0">
                  <a:moveTo>
                    <a:pt x="203" y="1"/>
                  </a:moveTo>
                  <a:cubicBezTo>
                    <a:pt x="96" y="1"/>
                    <a:pt x="0" y="84"/>
                    <a:pt x="0" y="191"/>
                  </a:cubicBezTo>
                  <a:cubicBezTo>
                    <a:pt x="0" y="298"/>
                    <a:pt x="96" y="382"/>
                    <a:pt x="203" y="382"/>
                  </a:cubicBezTo>
                  <a:lnTo>
                    <a:pt x="620" y="382"/>
                  </a:lnTo>
                  <a:cubicBezTo>
                    <a:pt x="715" y="382"/>
                    <a:pt x="810" y="298"/>
                    <a:pt x="810" y="191"/>
                  </a:cubicBezTo>
                  <a:cubicBezTo>
                    <a:pt x="810" y="84"/>
                    <a:pt x="715" y="1"/>
                    <a:pt x="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1" name="Google Shape;13491;p64"/>
          <p:cNvGrpSpPr/>
          <p:nvPr/>
        </p:nvGrpSpPr>
        <p:grpSpPr>
          <a:xfrm>
            <a:off x="6099375" y="2456075"/>
            <a:ext cx="337684" cy="314194"/>
            <a:chOff x="6099375" y="2456075"/>
            <a:chExt cx="337684" cy="314194"/>
          </a:xfrm>
        </p:grpSpPr>
        <p:sp>
          <p:nvSpPr>
            <p:cNvPr id="13492" name="Google Shape;13492;p64"/>
            <p:cNvSpPr/>
            <p:nvPr/>
          </p:nvSpPr>
          <p:spPr>
            <a:xfrm>
              <a:off x="6099375" y="2456075"/>
              <a:ext cx="337684" cy="314194"/>
            </a:xfrm>
            <a:custGeom>
              <a:avLst/>
              <a:gdLst/>
              <a:ahLst/>
              <a:cxnLst/>
              <a:rect l="l" t="t" r="r" b="b"/>
              <a:pathLst>
                <a:path w="10609" h="9871" extrusionOk="0">
                  <a:moveTo>
                    <a:pt x="322" y="5025"/>
                  </a:moveTo>
                  <a:cubicBezTo>
                    <a:pt x="536" y="5227"/>
                    <a:pt x="857" y="5418"/>
                    <a:pt x="1274" y="5585"/>
                  </a:cubicBezTo>
                  <a:cubicBezTo>
                    <a:pt x="2048" y="5882"/>
                    <a:pt x="3060" y="6049"/>
                    <a:pt x="4143" y="6049"/>
                  </a:cubicBezTo>
                  <a:lnTo>
                    <a:pt x="4417" y="6049"/>
                  </a:lnTo>
                  <a:cubicBezTo>
                    <a:pt x="4429" y="6061"/>
                    <a:pt x="4465" y="6073"/>
                    <a:pt x="4477" y="6097"/>
                  </a:cubicBezTo>
                  <a:lnTo>
                    <a:pt x="4905" y="6347"/>
                  </a:lnTo>
                  <a:cubicBezTo>
                    <a:pt x="4894" y="6466"/>
                    <a:pt x="4882" y="6585"/>
                    <a:pt x="4882" y="6692"/>
                  </a:cubicBezTo>
                  <a:cubicBezTo>
                    <a:pt x="4882" y="6811"/>
                    <a:pt x="4894" y="6930"/>
                    <a:pt x="4905" y="7025"/>
                  </a:cubicBezTo>
                  <a:lnTo>
                    <a:pt x="4477" y="7287"/>
                  </a:lnTo>
                  <a:cubicBezTo>
                    <a:pt x="4405" y="7323"/>
                    <a:pt x="4358" y="7382"/>
                    <a:pt x="4346" y="7466"/>
                  </a:cubicBezTo>
                  <a:cubicBezTo>
                    <a:pt x="4322" y="7537"/>
                    <a:pt x="4322" y="7609"/>
                    <a:pt x="4370" y="7680"/>
                  </a:cubicBezTo>
                  <a:lnTo>
                    <a:pt x="4608" y="8085"/>
                  </a:lnTo>
                  <a:cubicBezTo>
                    <a:pt x="4564" y="8081"/>
                    <a:pt x="4517" y="8080"/>
                    <a:pt x="4467" y="8080"/>
                  </a:cubicBezTo>
                  <a:cubicBezTo>
                    <a:pt x="4368" y="8080"/>
                    <a:pt x="4263" y="8085"/>
                    <a:pt x="4167" y="8085"/>
                  </a:cubicBezTo>
                  <a:cubicBezTo>
                    <a:pt x="3120" y="8085"/>
                    <a:pt x="2143" y="7942"/>
                    <a:pt x="1393" y="7656"/>
                  </a:cubicBezTo>
                  <a:cubicBezTo>
                    <a:pt x="714" y="7406"/>
                    <a:pt x="322" y="7061"/>
                    <a:pt x="322" y="6728"/>
                  </a:cubicBezTo>
                  <a:lnTo>
                    <a:pt x="322" y="5025"/>
                  </a:lnTo>
                  <a:close/>
                  <a:moveTo>
                    <a:pt x="4132" y="1"/>
                  </a:moveTo>
                  <a:cubicBezTo>
                    <a:pt x="3048" y="1"/>
                    <a:pt x="2036" y="167"/>
                    <a:pt x="1262" y="465"/>
                  </a:cubicBezTo>
                  <a:cubicBezTo>
                    <a:pt x="441" y="774"/>
                    <a:pt x="0" y="1215"/>
                    <a:pt x="0" y="1691"/>
                  </a:cubicBezTo>
                  <a:lnTo>
                    <a:pt x="0" y="6751"/>
                  </a:lnTo>
                  <a:cubicBezTo>
                    <a:pt x="0" y="7228"/>
                    <a:pt x="441" y="7656"/>
                    <a:pt x="1262" y="7966"/>
                  </a:cubicBezTo>
                  <a:cubicBezTo>
                    <a:pt x="2036" y="8264"/>
                    <a:pt x="3048" y="8430"/>
                    <a:pt x="4132" y="8430"/>
                  </a:cubicBezTo>
                  <a:cubicBezTo>
                    <a:pt x="4346" y="8430"/>
                    <a:pt x="4548" y="8430"/>
                    <a:pt x="4763" y="8418"/>
                  </a:cubicBezTo>
                  <a:lnTo>
                    <a:pt x="5025" y="8871"/>
                  </a:lnTo>
                  <a:cubicBezTo>
                    <a:pt x="5072" y="8954"/>
                    <a:pt x="5132" y="8990"/>
                    <a:pt x="5203" y="9014"/>
                  </a:cubicBezTo>
                  <a:cubicBezTo>
                    <a:pt x="5227" y="9018"/>
                    <a:pt x="5252" y="9020"/>
                    <a:pt x="5278" y="9020"/>
                  </a:cubicBezTo>
                  <a:cubicBezTo>
                    <a:pt x="5329" y="9020"/>
                    <a:pt x="5382" y="9010"/>
                    <a:pt x="5429" y="8978"/>
                  </a:cubicBezTo>
                  <a:lnTo>
                    <a:pt x="5858" y="8728"/>
                  </a:lnTo>
                  <a:cubicBezTo>
                    <a:pt x="6037" y="8871"/>
                    <a:pt x="6251" y="8990"/>
                    <a:pt x="6465" y="9085"/>
                  </a:cubicBezTo>
                  <a:lnTo>
                    <a:pt x="6465" y="9573"/>
                  </a:lnTo>
                  <a:cubicBezTo>
                    <a:pt x="6465" y="9740"/>
                    <a:pt x="6608" y="9871"/>
                    <a:pt x="6763" y="9871"/>
                  </a:cubicBezTo>
                  <a:lnTo>
                    <a:pt x="8108" y="9871"/>
                  </a:lnTo>
                  <a:cubicBezTo>
                    <a:pt x="8275" y="9871"/>
                    <a:pt x="8406" y="9740"/>
                    <a:pt x="8406" y="9573"/>
                  </a:cubicBezTo>
                  <a:lnTo>
                    <a:pt x="8406" y="9085"/>
                  </a:lnTo>
                  <a:cubicBezTo>
                    <a:pt x="8632" y="8990"/>
                    <a:pt x="8823" y="8871"/>
                    <a:pt x="9013" y="8728"/>
                  </a:cubicBezTo>
                  <a:lnTo>
                    <a:pt x="9442" y="8978"/>
                  </a:lnTo>
                  <a:cubicBezTo>
                    <a:pt x="9497" y="9010"/>
                    <a:pt x="9548" y="9020"/>
                    <a:pt x="9596" y="9020"/>
                  </a:cubicBezTo>
                  <a:cubicBezTo>
                    <a:pt x="9620" y="9020"/>
                    <a:pt x="9644" y="9018"/>
                    <a:pt x="9668" y="9014"/>
                  </a:cubicBezTo>
                  <a:cubicBezTo>
                    <a:pt x="9739" y="8990"/>
                    <a:pt x="9799" y="8930"/>
                    <a:pt x="9847" y="8871"/>
                  </a:cubicBezTo>
                  <a:lnTo>
                    <a:pt x="10513" y="7716"/>
                  </a:lnTo>
                  <a:cubicBezTo>
                    <a:pt x="10561" y="7597"/>
                    <a:pt x="10561" y="7525"/>
                    <a:pt x="10549" y="7442"/>
                  </a:cubicBezTo>
                  <a:cubicBezTo>
                    <a:pt x="10537" y="7371"/>
                    <a:pt x="10478" y="7311"/>
                    <a:pt x="10406" y="7263"/>
                  </a:cubicBezTo>
                  <a:lnTo>
                    <a:pt x="9978" y="7013"/>
                  </a:lnTo>
                  <a:cubicBezTo>
                    <a:pt x="9989" y="6894"/>
                    <a:pt x="10013" y="6775"/>
                    <a:pt x="10013" y="6668"/>
                  </a:cubicBezTo>
                  <a:cubicBezTo>
                    <a:pt x="10013" y="6549"/>
                    <a:pt x="10001" y="6430"/>
                    <a:pt x="9978" y="6335"/>
                  </a:cubicBezTo>
                  <a:lnTo>
                    <a:pt x="10406" y="6073"/>
                  </a:lnTo>
                  <a:cubicBezTo>
                    <a:pt x="10549" y="6001"/>
                    <a:pt x="10609" y="5823"/>
                    <a:pt x="10513" y="5680"/>
                  </a:cubicBezTo>
                  <a:lnTo>
                    <a:pt x="10311" y="5323"/>
                  </a:lnTo>
                  <a:cubicBezTo>
                    <a:pt x="10280" y="5268"/>
                    <a:pt x="10228" y="5239"/>
                    <a:pt x="10176" y="5239"/>
                  </a:cubicBezTo>
                  <a:cubicBezTo>
                    <a:pt x="10148" y="5239"/>
                    <a:pt x="10121" y="5247"/>
                    <a:pt x="10097" y="5263"/>
                  </a:cubicBezTo>
                  <a:cubicBezTo>
                    <a:pt x="10025" y="5299"/>
                    <a:pt x="9989" y="5394"/>
                    <a:pt x="10037" y="5466"/>
                  </a:cubicBezTo>
                  <a:lnTo>
                    <a:pt x="10228" y="5811"/>
                  </a:lnTo>
                  <a:lnTo>
                    <a:pt x="9727" y="6108"/>
                  </a:lnTo>
                  <a:cubicBezTo>
                    <a:pt x="9668" y="6132"/>
                    <a:pt x="9632" y="6216"/>
                    <a:pt x="9656" y="6275"/>
                  </a:cubicBezTo>
                  <a:cubicBezTo>
                    <a:pt x="9680" y="6406"/>
                    <a:pt x="9680" y="6537"/>
                    <a:pt x="9680" y="6668"/>
                  </a:cubicBezTo>
                  <a:cubicBezTo>
                    <a:pt x="9680" y="6811"/>
                    <a:pt x="9668" y="6942"/>
                    <a:pt x="9656" y="7073"/>
                  </a:cubicBezTo>
                  <a:cubicBezTo>
                    <a:pt x="9632" y="7132"/>
                    <a:pt x="9668" y="7204"/>
                    <a:pt x="9727" y="7240"/>
                  </a:cubicBezTo>
                  <a:lnTo>
                    <a:pt x="10228" y="7537"/>
                  </a:lnTo>
                  <a:lnTo>
                    <a:pt x="9573" y="8668"/>
                  </a:lnTo>
                  <a:lnTo>
                    <a:pt x="9073" y="8371"/>
                  </a:lnTo>
                  <a:cubicBezTo>
                    <a:pt x="9045" y="8354"/>
                    <a:pt x="9015" y="8345"/>
                    <a:pt x="8986" y="8345"/>
                  </a:cubicBezTo>
                  <a:cubicBezTo>
                    <a:pt x="8952" y="8345"/>
                    <a:pt x="8920" y="8357"/>
                    <a:pt x="8894" y="8383"/>
                  </a:cubicBezTo>
                  <a:cubicBezTo>
                    <a:pt x="8680" y="8561"/>
                    <a:pt x="8442" y="8692"/>
                    <a:pt x="8192" y="8787"/>
                  </a:cubicBezTo>
                  <a:cubicBezTo>
                    <a:pt x="8132" y="8799"/>
                    <a:pt x="8084" y="8859"/>
                    <a:pt x="8084" y="8930"/>
                  </a:cubicBezTo>
                  <a:lnTo>
                    <a:pt x="8084" y="9514"/>
                  </a:lnTo>
                  <a:lnTo>
                    <a:pt x="6775" y="9514"/>
                  </a:lnTo>
                  <a:lnTo>
                    <a:pt x="6775" y="8930"/>
                  </a:lnTo>
                  <a:cubicBezTo>
                    <a:pt x="6775" y="8871"/>
                    <a:pt x="6739" y="8811"/>
                    <a:pt x="6679" y="8787"/>
                  </a:cubicBezTo>
                  <a:cubicBezTo>
                    <a:pt x="6418" y="8692"/>
                    <a:pt x="6179" y="8561"/>
                    <a:pt x="5977" y="8383"/>
                  </a:cubicBezTo>
                  <a:cubicBezTo>
                    <a:pt x="5951" y="8357"/>
                    <a:pt x="5919" y="8345"/>
                    <a:pt x="5885" y="8345"/>
                  </a:cubicBezTo>
                  <a:cubicBezTo>
                    <a:pt x="5856" y="8345"/>
                    <a:pt x="5826" y="8354"/>
                    <a:pt x="5798" y="8371"/>
                  </a:cubicBezTo>
                  <a:lnTo>
                    <a:pt x="5286" y="8668"/>
                  </a:lnTo>
                  <a:lnTo>
                    <a:pt x="4632" y="7537"/>
                  </a:lnTo>
                  <a:lnTo>
                    <a:pt x="5144" y="7240"/>
                  </a:lnTo>
                  <a:cubicBezTo>
                    <a:pt x="5203" y="7204"/>
                    <a:pt x="5227" y="7132"/>
                    <a:pt x="5215" y="7073"/>
                  </a:cubicBezTo>
                  <a:cubicBezTo>
                    <a:pt x="5191" y="6942"/>
                    <a:pt x="5191" y="6811"/>
                    <a:pt x="5191" y="6668"/>
                  </a:cubicBezTo>
                  <a:cubicBezTo>
                    <a:pt x="5191" y="6537"/>
                    <a:pt x="5203" y="6406"/>
                    <a:pt x="5215" y="6275"/>
                  </a:cubicBezTo>
                  <a:cubicBezTo>
                    <a:pt x="5227" y="6216"/>
                    <a:pt x="5203" y="6132"/>
                    <a:pt x="5144" y="6108"/>
                  </a:cubicBezTo>
                  <a:lnTo>
                    <a:pt x="4632" y="5811"/>
                  </a:lnTo>
                  <a:lnTo>
                    <a:pt x="5286" y="4680"/>
                  </a:lnTo>
                  <a:lnTo>
                    <a:pt x="5798" y="4977"/>
                  </a:lnTo>
                  <a:cubicBezTo>
                    <a:pt x="5825" y="4988"/>
                    <a:pt x="5854" y="4994"/>
                    <a:pt x="5883" y="4994"/>
                  </a:cubicBezTo>
                  <a:cubicBezTo>
                    <a:pt x="5917" y="4994"/>
                    <a:pt x="5951" y="4985"/>
                    <a:pt x="5977" y="4965"/>
                  </a:cubicBezTo>
                  <a:cubicBezTo>
                    <a:pt x="6179" y="4787"/>
                    <a:pt x="6418" y="4644"/>
                    <a:pt x="6679" y="4561"/>
                  </a:cubicBezTo>
                  <a:cubicBezTo>
                    <a:pt x="6739" y="4549"/>
                    <a:pt x="6775" y="4489"/>
                    <a:pt x="6775" y="4406"/>
                  </a:cubicBezTo>
                  <a:lnTo>
                    <a:pt x="6775" y="3834"/>
                  </a:lnTo>
                  <a:lnTo>
                    <a:pt x="8084" y="3834"/>
                  </a:lnTo>
                  <a:lnTo>
                    <a:pt x="8084" y="4406"/>
                  </a:lnTo>
                  <a:cubicBezTo>
                    <a:pt x="8084" y="4465"/>
                    <a:pt x="8132" y="4525"/>
                    <a:pt x="8192" y="4561"/>
                  </a:cubicBezTo>
                  <a:cubicBezTo>
                    <a:pt x="8442" y="4644"/>
                    <a:pt x="8680" y="4787"/>
                    <a:pt x="8894" y="4965"/>
                  </a:cubicBezTo>
                  <a:cubicBezTo>
                    <a:pt x="8920" y="4985"/>
                    <a:pt x="8954" y="4994"/>
                    <a:pt x="8988" y="4994"/>
                  </a:cubicBezTo>
                  <a:cubicBezTo>
                    <a:pt x="9017" y="4994"/>
                    <a:pt x="9046" y="4988"/>
                    <a:pt x="9073" y="4977"/>
                  </a:cubicBezTo>
                  <a:lnTo>
                    <a:pt x="9573" y="4680"/>
                  </a:lnTo>
                  <a:lnTo>
                    <a:pt x="9716" y="4906"/>
                  </a:lnTo>
                  <a:cubicBezTo>
                    <a:pt x="9740" y="4955"/>
                    <a:pt x="9793" y="4982"/>
                    <a:pt x="9847" y="4982"/>
                  </a:cubicBezTo>
                  <a:cubicBezTo>
                    <a:pt x="9871" y="4982"/>
                    <a:pt x="9896" y="4977"/>
                    <a:pt x="9918" y="4965"/>
                  </a:cubicBezTo>
                  <a:cubicBezTo>
                    <a:pt x="9989" y="4918"/>
                    <a:pt x="10025" y="4823"/>
                    <a:pt x="9978" y="4751"/>
                  </a:cubicBezTo>
                  <a:lnTo>
                    <a:pt x="9847" y="4513"/>
                  </a:lnTo>
                  <a:cubicBezTo>
                    <a:pt x="9798" y="4424"/>
                    <a:pt x="9699" y="4367"/>
                    <a:pt x="9592" y="4367"/>
                  </a:cubicBezTo>
                  <a:cubicBezTo>
                    <a:pt x="9542" y="4367"/>
                    <a:pt x="9491" y="4379"/>
                    <a:pt x="9442" y="4406"/>
                  </a:cubicBezTo>
                  <a:lnTo>
                    <a:pt x="9013" y="4668"/>
                  </a:lnTo>
                  <a:cubicBezTo>
                    <a:pt x="8835" y="4513"/>
                    <a:pt x="8620" y="4394"/>
                    <a:pt x="8406" y="4311"/>
                  </a:cubicBezTo>
                  <a:lnTo>
                    <a:pt x="8406" y="3811"/>
                  </a:lnTo>
                  <a:cubicBezTo>
                    <a:pt x="8406" y="3727"/>
                    <a:pt x="8358" y="3632"/>
                    <a:pt x="8299" y="3596"/>
                  </a:cubicBezTo>
                  <a:lnTo>
                    <a:pt x="8299" y="1656"/>
                  </a:lnTo>
                  <a:cubicBezTo>
                    <a:pt x="8299" y="1060"/>
                    <a:pt x="7596" y="536"/>
                    <a:pt x="6394" y="239"/>
                  </a:cubicBezTo>
                  <a:cubicBezTo>
                    <a:pt x="6384" y="237"/>
                    <a:pt x="6375" y="237"/>
                    <a:pt x="6365" y="237"/>
                  </a:cubicBezTo>
                  <a:cubicBezTo>
                    <a:pt x="6284" y="237"/>
                    <a:pt x="6225" y="283"/>
                    <a:pt x="6203" y="358"/>
                  </a:cubicBezTo>
                  <a:cubicBezTo>
                    <a:pt x="6179" y="453"/>
                    <a:pt x="6227" y="524"/>
                    <a:pt x="6322" y="560"/>
                  </a:cubicBezTo>
                  <a:cubicBezTo>
                    <a:pt x="7346" y="810"/>
                    <a:pt x="7989" y="1239"/>
                    <a:pt x="7989" y="1667"/>
                  </a:cubicBezTo>
                  <a:cubicBezTo>
                    <a:pt x="7989" y="2001"/>
                    <a:pt x="7596" y="2346"/>
                    <a:pt x="6918" y="2596"/>
                  </a:cubicBezTo>
                  <a:cubicBezTo>
                    <a:pt x="6179" y="2882"/>
                    <a:pt x="5203" y="3025"/>
                    <a:pt x="4143" y="3025"/>
                  </a:cubicBezTo>
                  <a:cubicBezTo>
                    <a:pt x="3703" y="3025"/>
                    <a:pt x="3262" y="3001"/>
                    <a:pt x="2846" y="2941"/>
                  </a:cubicBezTo>
                  <a:cubicBezTo>
                    <a:pt x="2833" y="2938"/>
                    <a:pt x="2821" y="2936"/>
                    <a:pt x="2809" y="2936"/>
                  </a:cubicBezTo>
                  <a:cubicBezTo>
                    <a:pt x="2742" y="2936"/>
                    <a:pt x="2687" y="2991"/>
                    <a:pt x="2667" y="3072"/>
                  </a:cubicBezTo>
                  <a:cubicBezTo>
                    <a:pt x="2655" y="3156"/>
                    <a:pt x="2715" y="3239"/>
                    <a:pt x="2810" y="3251"/>
                  </a:cubicBezTo>
                  <a:cubicBezTo>
                    <a:pt x="3239" y="3311"/>
                    <a:pt x="3679" y="3334"/>
                    <a:pt x="4143" y="3334"/>
                  </a:cubicBezTo>
                  <a:cubicBezTo>
                    <a:pt x="5227" y="3334"/>
                    <a:pt x="6239" y="3168"/>
                    <a:pt x="7013" y="2870"/>
                  </a:cubicBezTo>
                  <a:cubicBezTo>
                    <a:pt x="7430" y="2715"/>
                    <a:pt x="7763" y="2525"/>
                    <a:pt x="7965" y="2310"/>
                  </a:cubicBezTo>
                  <a:lnTo>
                    <a:pt x="7965" y="3525"/>
                  </a:lnTo>
                  <a:lnTo>
                    <a:pt x="6751" y="3525"/>
                  </a:lnTo>
                  <a:cubicBezTo>
                    <a:pt x="6584" y="3525"/>
                    <a:pt x="6453" y="3668"/>
                    <a:pt x="6453" y="3822"/>
                  </a:cubicBezTo>
                  <a:lnTo>
                    <a:pt x="6453" y="4323"/>
                  </a:lnTo>
                  <a:cubicBezTo>
                    <a:pt x="6227" y="4406"/>
                    <a:pt x="6037" y="4525"/>
                    <a:pt x="5846" y="4680"/>
                  </a:cubicBezTo>
                  <a:lnTo>
                    <a:pt x="5406" y="4418"/>
                  </a:lnTo>
                  <a:cubicBezTo>
                    <a:pt x="5360" y="4395"/>
                    <a:pt x="5315" y="4387"/>
                    <a:pt x="5270" y="4387"/>
                  </a:cubicBezTo>
                  <a:cubicBezTo>
                    <a:pt x="5243" y="4387"/>
                    <a:pt x="5217" y="4390"/>
                    <a:pt x="5191" y="4394"/>
                  </a:cubicBezTo>
                  <a:cubicBezTo>
                    <a:pt x="5108" y="4406"/>
                    <a:pt x="5048" y="4465"/>
                    <a:pt x="5013" y="4525"/>
                  </a:cubicBezTo>
                  <a:lnTo>
                    <a:pt x="4334" y="5692"/>
                  </a:lnTo>
                  <a:cubicBezTo>
                    <a:pt x="4322" y="5704"/>
                    <a:pt x="4322" y="5716"/>
                    <a:pt x="4322" y="5727"/>
                  </a:cubicBezTo>
                  <a:lnTo>
                    <a:pt x="4132" y="5727"/>
                  </a:lnTo>
                  <a:cubicBezTo>
                    <a:pt x="3084" y="5727"/>
                    <a:pt x="2107" y="5585"/>
                    <a:pt x="1357" y="5299"/>
                  </a:cubicBezTo>
                  <a:cubicBezTo>
                    <a:pt x="679" y="5049"/>
                    <a:pt x="286" y="4704"/>
                    <a:pt x="286" y="4382"/>
                  </a:cubicBezTo>
                  <a:lnTo>
                    <a:pt x="286" y="2322"/>
                  </a:lnTo>
                  <a:cubicBezTo>
                    <a:pt x="643" y="2668"/>
                    <a:pt x="1274" y="2965"/>
                    <a:pt x="2131" y="3144"/>
                  </a:cubicBezTo>
                  <a:lnTo>
                    <a:pt x="2167" y="3144"/>
                  </a:lnTo>
                  <a:cubicBezTo>
                    <a:pt x="2238" y="3144"/>
                    <a:pt x="2298" y="3096"/>
                    <a:pt x="2322" y="3025"/>
                  </a:cubicBezTo>
                  <a:cubicBezTo>
                    <a:pt x="2334" y="2930"/>
                    <a:pt x="2286" y="2858"/>
                    <a:pt x="2203" y="2846"/>
                  </a:cubicBezTo>
                  <a:cubicBezTo>
                    <a:pt x="1036" y="2596"/>
                    <a:pt x="298" y="2132"/>
                    <a:pt x="298" y="1667"/>
                  </a:cubicBezTo>
                  <a:cubicBezTo>
                    <a:pt x="298" y="1346"/>
                    <a:pt x="679" y="1001"/>
                    <a:pt x="1369" y="751"/>
                  </a:cubicBezTo>
                  <a:cubicBezTo>
                    <a:pt x="2096" y="465"/>
                    <a:pt x="3072" y="322"/>
                    <a:pt x="4132" y="322"/>
                  </a:cubicBezTo>
                  <a:cubicBezTo>
                    <a:pt x="4667" y="322"/>
                    <a:pt x="5191" y="358"/>
                    <a:pt x="5679" y="441"/>
                  </a:cubicBezTo>
                  <a:cubicBezTo>
                    <a:pt x="5687" y="442"/>
                    <a:pt x="5695" y="443"/>
                    <a:pt x="5703" y="443"/>
                  </a:cubicBezTo>
                  <a:cubicBezTo>
                    <a:pt x="5786" y="443"/>
                    <a:pt x="5847" y="385"/>
                    <a:pt x="5858" y="298"/>
                  </a:cubicBezTo>
                  <a:cubicBezTo>
                    <a:pt x="5870" y="215"/>
                    <a:pt x="5810" y="143"/>
                    <a:pt x="5727" y="120"/>
                  </a:cubicBezTo>
                  <a:cubicBezTo>
                    <a:pt x="5215" y="36"/>
                    <a:pt x="4679" y="1"/>
                    <a:pt x="4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3" name="Google Shape;13493;p64"/>
            <p:cNvSpPr/>
            <p:nvPr/>
          </p:nvSpPr>
          <p:spPr>
            <a:xfrm>
              <a:off x="6306652" y="2638748"/>
              <a:ext cx="59904" cy="59522"/>
            </a:xfrm>
            <a:custGeom>
              <a:avLst/>
              <a:gdLst/>
              <a:ahLst/>
              <a:cxnLst/>
              <a:rect l="l" t="t" r="r" b="b"/>
              <a:pathLst>
                <a:path w="1882" h="1870" extrusionOk="0">
                  <a:moveTo>
                    <a:pt x="941" y="310"/>
                  </a:moveTo>
                  <a:cubicBezTo>
                    <a:pt x="1287" y="310"/>
                    <a:pt x="1561" y="596"/>
                    <a:pt x="1561" y="929"/>
                  </a:cubicBezTo>
                  <a:cubicBezTo>
                    <a:pt x="1561" y="1274"/>
                    <a:pt x="1287" y="1560"/>
                    <a:pt x="941" y="1560"/>
                  </a:cubicBezTo>
                  <a:cubicBezTo>
                    <a:pt x="596" y="1560"/>
                    <a:pt x="310" y="1274"/>
                    <a:pt x="310" y="929"/>
                  </a:cubicBezTo>
                  <a:cubicBezTo>
                    <a:pt x="310" y="596"/>
                    <a:pt x="596" y="310"/>
                    <a:pt x="941" y="310"/>
                  </a:cubicBezTo>
                  <a:close/>
                  <a:moveTo>
                    <a:pt x="941" y="0"/>
                  </a:moveTo>
                  <a:cubicBezTo>
                    <a:pt x="418" y="0"/>
                    <a:pt x="1" y="417"/>
                    <a:pt x="1" y="929"/>
                  </a:cubicBezTo>
                  <a:cubicBezTo>
                    <a:pt x="1" y="1453"/>
                    <a:pt x="418" y="1870"/>
                    <a:pt x="941" y="1870"/>
                  </a:cubicBezTo>
                  <a:cubicBezTo>
                    <a:pt x="1465" y="1870"/>
                    <a:pt x="1882" y="1453"/>
                    <a:pt x="1882" y="929"/>
                  </a:cubicBezTo>
                  <a:cubicBezTo>
                    <a:pt x="1882" y="417"/>
                    <a:pt x="1465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4" name="Google Shape;13494;p64"/>
          <p:cNvGrpSpPr/>
          <p:nvPr/>
        </p:nvGrpSpPr>
        <p:grpSpPr>
          <a:xfrm>
            <a:off x="2312623" y="2468584"/>
            <a:ext cx="312698" cy="286534"/>
            <a:chOff x="2312623" y="2468584"/>
            <a:chExt cx="312698" cy="286534"/>
          </a:xfrm>
        </p:grpSpPr>
        <p:sp>
          <p:nvSpPr>
            <p:cNvPr id="13495" name="Google Shape;13495;p64"/>
            <p:cNvSpPr/>
            <p:nvPr/>
          </p:nvSpPr>
          <p:spPr>
            <a:xfrm>
              <a:off x="2416866" y="2706195"/>
              <a:ext cx="34122" cy="34154"/>
            </a:xfrm>
            <a:custGeom>
              <a:avLst/>
              <a:gdLst/>
              <a:ahLst/>
              <a:cxnLst/>
              <a:rect l="l" t="t" r="r" b="b"/>
              <a:pathLst>
                <a:path w="1072" h="1073" extrusionOk="0">
                  <a:moveTo>
                    <a:pt x="536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6" y="775"/>
                  </a:cubicBezTo>
                  <a:cubicBezTo>
                    <a:pt x="405" y="775"/>
                    <a:pt x="286" y="656"/>
                    <a:pt x="286" y="525"/>
                  </a:cubicBezTo>
                  <a:cubicBezTo>
                    <a:pt x="286" y="394"/>
                    <a:pt x="393" y="275"/>
                    <a:pt x="536" y="275"/>
                  </a:cubicBezTo>
                  <a:close/>
                  <a:moveTo>
                    <a:pt x="536" y="1"/>
                  </a:moveTo>
                  <a:cubicBezTo>
                    <a:pt x="238" y="1"/>
                    <a:pt x="0" y="239"/>
                    <a:pt x="0" y="536"/>
                  </a:cubicBezTo>
                  <a:cubicBezTo>
                    <a:pt x="0" y="834"/>
                    <a:pt x="238" y="1072"/>
                    <a:pt x="536" y="1072"/>
                  </a:cubicBezTo>
                  <a:cubicBezTo>
                    <a:pt x="833" y="1072"/>
                    <a:pt x="1072" y="834"/>
                    <a:pt x="1072" y="536"/>
                  </a:cubicBezTo>
                  <a:cubicBezTo>
                    <a:pt x="1072" y="239"/>
                    <a:pt x="833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6" name="Google Shape;13496;p64"/>
            <p:cNvSpPr/>
            <p:nvPr/>
          </p:nvSpPr>
          <p:spPr>
            <a:xfrm>
              <a:off x="2527126" y="2706195"/>
              <a:ext cx="34536" cy="34154"/>
            </a:xfrm>
            <a:custGeom>
              <a:avLst/>
              <a:gdLst/>
              <a:ahLst/>
              <a:cxnLst/>
              <a:rect l="l" t="t" r="r" b="b"/>
              <a:pathLst>
                <a:path w="1085" h="1073" extrusionOk="0">
                  <a:moveTo>
                    <a:pt x="537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7" y="775"/>
                  </a:cubicBezTo>
                  <a:cubicBezTo>
                    <a:pt x="406" y="775"/>
                    <a:pt x="287" y="656"/>
                    <a:pt x="287" y="525"/>
                  </a:cubicBezTo>
                  <a:cubicBezTo>
                    <a:pt x="287" y="394"/>
                    <a:pt x="406" y="275"/>
                    <a:pt x="537" y="275"/>
                  </a:cubicBezTo>
                  <a:close/>
                  <a:moveTo>
                    <a:pt x="537" y="1"/>
                  </a:moveTo>
                  <a:cubicBezTo>
                    <a:pt x="239" y="1"/>
                    <a:pt x="1" y="239"/>
                    <a:pt x="1" y="536"/>
                  </a:cubicBezTo>
                  <a:cubicBezTo>
                    <a:pt x="1" y="834"/>
                    <a:pt x="239" y="1072"/>
                    <a:pt x="537" y="1072"/>
                  </a:cubicBezTo>
                  <a:cubicBezTo>
                    <a:pt x="834" y="1072"/>
                    <a:pt x="1084" y="834"/>
                    <a:pt x="1084" y="536"/>
                  </a:cubicBezTo>
                  <a:cubicBezTo>
                    <a:pt x="1084" y="239"/>
                    <a:pt x="834" y="1"/>
                    <a:pt x="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7" name="Google Shape;13497;p64"/>
            <p:cNvSpPr/>
            <p:nvPr/>
          </p:nvSpPr>
          <p:spPr>
            <a:xfrm>
              <a:off x="2312623" y="2468584"/>
              <a:ext cx="312698" cy="286534"/>
            </a:xfrm>
            <a:custGeom>
              <a:avLst/>
              <a:gdLst/>
              <a:ahLst/>
              <a:cxnLst/>
              <a:rect l="l" t="t" r="r" b="b"/>
              <a:pathLst>
                <a:path w="9824" h="9002" extrusionOk="0">
                  <a:moveTo>
                    <a:pt x="3370" y="1679"/>
                  </a:moveTo>
                  <a:lnTo>
                    <a:pt x="3370" y="2513"/>
                  </a:lnTo>
                  <a:lnTo>
                    <a:pt x="2799" y="2513"/>
                  </a:lnTo>
                  <a:lnTo>
                    <a:pt x="2501" y="1679"/>
                  </a:lnTo>
                  <a:close/>
                  <a:moveTo>
                    <a:pt x="4513" y="1679"/>
                  </a:moveTo>
                  <a:lnTo>
                    <a:pt x="4513" y="2513"/>
                  </a:lnTo>
                  <a:lnTo>
                    <a:pt x="3656" y="2513"/>
                  </a:lnTo>
                  <a:lnTo>
                    <a:pt x="3656" y="1679"/>
                  </a:lnTo>
                  <a:close/>
                  <a:moveTo>
                    <a:pt x="5656" y="1679"/>
                  </a:moveTo>
                  <a:lnTo>
                    <a:pt x="5656" y="2513"/>
                  </a:lnTo>
                  <a:lnTo>
                    <a:pt x="4799" y="2513"/>
                  </a:lnTo>
                  <a:lnTo>
                    <a:pt x="4799" y="1679"/>
                  </a:lnTo>
                  <a:close/>
                  <a:moveTo>
                    <a:pt x="6811" y="1679"/>
                  </a:moveTo>
                  <a:lnTo>
                    <a:pt x="6811" y="2513"/>
                  </a:lnTo>
                  <a:lnTo>
                    <a:pt x="5942" y="2513"/>
                  </a:lnTo>
                  <a:lnTo>
                    <a:pt x="5942" y="1679"/>
                  </a:lnTo>
                  <a:close/>
                  <a:moveTo>
                    <a:pt x="7954" y="1679"/>
                  </a:moveTo>
                  <a:lnTo>
                    <a:pt x="7954" y="2513"/>
                  </a:lnTo>
                  <a:lnTo>
                    <a:pt x="7085" y="2513"/>
                  </a:lnTo>
                  <a:lnTo>
                    <a:pt x="7085" y="1679"/>
                  </a:lnTo>
                  <a:close/>
                  <a:moveTo>
                    <a:pt x="8633" y="1679"/>
                  </a:moveTo>
                  <a:lnTo>
                    <a:pt x="8442" y="2513"/>
                  </a:lnTo>
                  <a:lnTo>
                    <a:pt x="8240" y="2513"/>
                  </a:lnTo>
                  <a:lnTo>
                    <a:pt x="8240" y="1679"/>
                  </a:lnTo>
                  <a:close/>
                  <a:moveTo>
                    <a:pt x="8383" y="2810"/>
                  </a:moveTo>
                  <a:lnTo>
                    <a:pt x="8252" y="3406"/>
                  </a:lnTo>
                  <a:lnTo>
                    <a:pt x="8252" y="2810"/>
                  </a:lnTo>
                  <a:close/>
                  <a:moveTo>
                    <a:pt x="3370" y="2810"/>
                  </a:moveTo>
                  <a:lnTo>
                    <a:pt x="3370" y="3680"/>
                  </a:lnTo>
                  <a:lnTo>
                    <a:pt x="3204" y="3680"/>
                  </a:lnTo>
                  <a:lnTo>
                    <a:pt x="2894" y="2810"/>
                  </a:lnTo>
                  <a:close/>
                  <a:moveTo>
                    <a:pt x="4513" y="2810"/>
                  </a:moveTo>
                  <a:lnTo>
                    <a:pt x="4513" y="3680"/>
                  </a:lnTo>
                  <a:lnTo>
                    <a:pt x="3656" y="3680"/>
                  </a:lnTo>
                  <a:lnTo>
                    <a:pt x="3656" y="2810"/>
                  </a:lnTo>
                  <a:close/>
                  <a:moveTo>
                    <a:pt x="5656" y="2810"/>
                  </a:moveTo>
                  <a:lnTo>
                    <a:pt x="5656" y="3680"/>
                  </a:lnTo>
                  <a:lnTo>
                    <a:pt x="4799" y="3680"/>
                  </a:lnTo>
                  <a:lnTo>
                    <a:pt x="4799" y="2810"/>
                  </a:lnTo>
                  <a:close/>
                  <a:moveTo>
                    <a:pt x="6811" y="2810"/>
                  </a:moveTo>
                  <a:lnTo>
                    <a:pt x="6811" y="3680"/>
                  </a:lnTo>
                  <a:lnTo>
                    <a:pt x="5942" y="3680"/>
                  </a:lnTo>
                  <a:lnTo>
                    <a:pt x="5942" y="2810"/>
                  </a:lnTo>
                  <a:close/>
                  <a:moveTo>
                    <a:pt x="7954" y="2810"/>
                  </a:moveTo>
                  <a:lnTo>
                    <a:pt x="7954" y="3680"/>
                  </a:lnTo>
                  <a:lnTo>
                    <a:pt x="7085" y="3680"/>
                  </a:lnTo>
                  <a:lnTo>
                    <a:pt x="7085" y="2810"/>
                  </a:lnTo>
                  <a:close/>
                  <a:moveTo>
                    <a:pt x="3370" y="3953"/>
                  </a:moveTo>
                  <a:lnTo>
                    <a:pt x="3370" y="4132"/>
                  </a:lnTo>
                  <a:lnTo>
                    <a:pt x="3311" y="3953"/>
                  </a:lnTo>
                  <a:close/>
                  <a:moveTo>
                    <a:pt x="4513" y="3941"/>
                  </a:moveTo>
                  <a:lnTo>
                    <a:pt x="4513" y="4608"/>
                  </a:lnTo>
                  <a:cubicBezTo>
                    <a:pt x="4305" y="4608"/>
                    <a:pt x="4153" y="4629"/>
                    <a:pt x="4022" y="4629"/>
                  </a:cubicBezTo>
                  <a:cubicBezTo>
                    <a:pt x="3891" y="4629"/>
                    <a:pt x="3781" y="4608"/>
                    <a:pt x="3656" y="4525"/>
                  </a:cubicBezTo>
                  <a:lnTo>
                    <a:pt x="3656" y="3941"/>
                  </a:lnTo>
                  <a:close/>
                  <a:moveTo>
                    <a:pt x="5656" y="3953"/>
                  </a:moveTo>
                  <a:lnTo>
                    <a:pt x="5656" y="4632"/>
                  </a:lnTo>
                  <a:lnTo>
                    <a:pt x="4799" y="4632"/>
                  </a:lnTo>
                  <a:lnTo>
                    <a:pt x="4799" y="3953"/>
                  </a:lnTo>
                  <a:close/>
                  <a:moveTo>
                    <a:pt x="6799" y="3953"/>
                  </a:moveTo>
                  <a:lnTo>
                    <a:pt x="6799" y="4632"/>
                  </a:lnTo>
                  <a:lnTo>
                    <a:pt x="5942" y="4632"/>
                  </a:lnTo>
                  <a:lnTo>
                    <a:pt x="5942" y="3953"/>
                  </a:lnTo>
                  <a:close/>
                  <a:moveTo>
                    <a:pt x="7954" y="3953"/>
                  </a:moveTo>
                  <a:lnTo>
                    <a:pt x="7954" y="4632"/>
                  </a:lnTo>
                  <a:lnTo>
                    <a:pt x="7085" y="4632"/>
                  </a:lnTo>
                  <a:lnTo>
                    <a:pt x="7085" y="3953"/>
                  </a:lnTo>
                  <a:close/>
                  <a:moveTo>
                    <a:pt x="3811" y="7263"/>
                  </a:moveTo>
                  <a:cubicBezTo>
                    <a:pt x="4216" y="7263"/>
                    <a:pt x="4549" y="7585"/>
                    <a:pt x="4549" y="7990"/>
                  </a:cubicBezTo>
                  <a:cubicBezTo>
                    <a:pt x="4549" y="8394"/>
                    <a:pt x="4216" y="8716"/>
                    <a:pt x="3811" y="8716"/>
                  </a:cubicBezTo>
                  <a:cubicBezTo>
                    <a:pt x="3418" y="8716"/>
                    <a:pt x="3085" y="8394"/>
                    <a:pt x="3085" y="7990"/>
                  </a:cubicBezTo>
                  <a:cubicBezTo>
                    <a:pt x="3085" y="7585"/>
                    <a:pt x="3418" y="7263"/>
                    <a:pt x="3811" y="7263"/>
                  </a:cubicBezTo>
                  <a:close/>
                  <a:moveTo>
                    <a:pt x="7287" y="7263"/>
                  </a:moveTo>
                  <a:cubicBezTo>
                    <a:pt x="7680" y="7263"/>
                    <a:pt x="8014" y="7585"/>
                    <a:pt x="8014" y="7990"/>
                  </a:cubicBezTo>
                  <a:cubicBezTo>
                    <a:pt x="8014" y="8394"/>
                    <a:pt x="7680" y="8716"/>
                    <a:pt x="7287" y="8716"/>
                  </a:cubicBezTo>
                  <a:cubicBezTo>
                    <a:pt x="6883" y="8716"/>
                    <a:pt x="6549" y="8394"/>
                    <a:pt x="6549" y="7990"/>
                  </a:cubicBezTo>
                  <a:cubicBezTo>
                    <a:pt x="6549" y="7585"/>
                    <a:pt x="6883" y="7263"/>
                    <a:pt x="7287" y="7263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lnTo>
                    <a:pt x="1168" y="1036"/>
                  </a:lnTo>
                  <a:lnTo>
                    <a:pt x="1965" y="3299"/>
                  </a:lnTo>
                  <a:cubicBezTo>
                    <a:pt x="1995" y="3357"/>
                    <a:pt x="2048" y="3400"/>
                    <a:pt x="2106" y="3400"/>
                  </a:cubicBezTo>
                  <a:cubicBezTo>
                    <a:pt x="2119" y="3400"/>
                    <a:pt x="2131" y="3398"/>
                    <a:pt x="2144" y="3394"/>
                  </a:cubicBezTo>
                  <a:cubicBezTo>
                    <a:pt x="2227" y="3358"/>
                    <a:pt x="2263" y="3287"/>
                    <a:pt x="2239" y="3215"/>
                  </a:cubicBezTo>
                  <a:cubicBezTo>
                    <a:pt x="1453" y="1001"/>
                    <a:pt x="1418" y="905"/>
                    <a:pt x="1418" y="893"/>
                  </a:cubicBezTo>
                  <a:cubicBezTo>
                    <a:pt x="1394" y="798"/>
                    <a:pt x="1299" y="762"/>
                    <a:pt x="1215" y="762"/>
                  </a:cubicBezTo>
                  <a:lnTo>
                    <a:pt x="525" y="762"/>
                  </a:lnTo>
                  <a:cubicBezTo>
                    <a:pt x="394" y="762"/>
                    <a:pt x="287" y="655"/>
                    <a:pt x="287" y="512"/>
                  </a:cubicBezTo>
                  <a:cubicBezTo>
                    <a:pt x="287" y="381"/>
                    <a:pt x="394" y="274"/>
                    <a:pt x="525" y="274"/>
                  </a:cubicBezTo>
                  <a:lnTo>
                    <a:pt x="1215" y="274"/>
                  </a:lnTo>
                  <a:cubicBezTo>
                    <a:pt x="1489" y="274"/>
                    <a:pt x="1751" y="441"/>
                    <a:pt x="1846" y="691"/>
                  </a:cubicBezTo>
                  <a:cubicBezTo>
                    <a:pt x="2013" y="1167"/>
                    <a:pt x="3001" y="3918"/>
                    <a:pt x="3132" y="4322"/>
                  </a:cubicBezTo>
                  <a:cubicBezTo>
                    <a:pt x="3239" y="4620"/>
                    <a:pt x="3573" y="4906"/>
                    <a:pt x="3989" y="4906"/>
                  </a:cubicBezTo>
                  <a:lnTo>
                    <a:pt x="9192" y="4906"/>
                  </a:lnTo>
                  <a:cubicBezTo>
                    <a:pt x="9323" y="4906"/>
                    <a:pt x="9431" y="5013"/>
                    <a:pt x="9431" y="5144"/>
                  </a:cubicBezTo>
                  <a:cubicBezTo>
                    <a:pt x="9431" y="5275"/>
                    <a:pt x="9323" y="5382"/>
                    <a:pt x="9192" y="5382"/>
                  </a:cubicBezTo>
                  <a:lnTo>
                    <a:pt x="3989" y="5382"/>
                  </a:lnTo>
                  <a:cubicBezTo>
                    <a:pt x="3430" y="5382"/>
                    <a:pt x="2918" y="5061"/>
                    <a:pt x="2704" y="4537"/>
                  </a:cubicBezTo>
                  <a:lnTo>
                    <a:pt x="2418" y="3715"/>
                  </a:lnTo>
                  <a:cubicBezTo>
                    <a:pt x="2390" y="3660"/>
                    <a:pt x="2342" y="3620"/>
                    <a:pt x="2289" y="3620"/>
                  </a:cubicBezTo>
                  <a:cubicBezTo>
                    <a:pt x="2273" y="3620"/>
                    <a:pt x="2256" y="3624"/>
                    <a:pt x="2239" y="3632"/>
                  </a:cubicBezTo>
                  <a:cubicBezTo>
                    <a:pt x="2168" y="3656"/>
                    <a:pt x="2120" y="3727"/>
                    <a:pt x="2144" y="3810"/>
                  </a:cubicBezTo>
                  <a:cubicBezTo>
                    <a:pt x="2370" y="4406"/>
                    <a:pt x="2382" y="4656"/>
                    <a:pt x="2668" y="5013"/>
                  </a:cubicBezTo>
                  <a:lnTo>
                    <a:pt x="2346" y="5477"/>
                  </a:lnTo>
                  <a:cubicBezTo>
                    <a:pt x="1870" y="6168"/>
                    <a:pt x="2287" y="7132"/>
                    <a:pt x="3120" y="7239"/>
                  </a:cubicBezTo>
                  <a:cubicBezTo>
                    <a:pt x="2442" y="7871"/>
                    <a:pt x="2882" y="9002"/>
                    <a:pt x="3811" y="9002"/>
                  </a:cubicBezTo>
                  <a:cubicBezTo>
                    <a:pt x="4740" y="9002"/>
                    <a:pt x="5168" y="7882"/>
                    <a:pt x="4513" y="7263"/>
                  </a:cubicBezTo>
                  <a:lnTo>
                    <a:pt x="6585" y="7263"/>
                  </a:lnTo>
                  <a:cubicBezTo>
                    <a:pt x="5930" y="7882"/>
                    <a:pt x="6371" y="9002"/>
                    <a:pt x="7287" y="9002"/>
                  </a:cubicBezTo>
                  <a:cubicBezTo>
                    <a:pt x="8204" y="9002"/>
                    <a:pt x="8633" y="7882"/>
                    <a:pt x="7978" y="7263"/>
                  </a:cubicBezTo>
                  <a:lnTo>
                    <a:pt x="8180" y="7263"/>
                  </a:lnTo>
                  <a:cubicBezTo>
                    <a:pt x="8454" y="7263"/>
                    <a:pt x="8692" y="7025"/>
                    <a:pt x="8692" y="6739"/>
                  </a:cubicBezTo>
                  <a:cubicBezTo>
                    <a:pt x="8692" y="6454"/>
                    <a:pt x="8454" y="6216"/>
                    <a:pt x="8180" y="6216"/>
                  </a:cubicBezTo>
                  <a:lnTo>
                    <a:pt x="6883" y="6216"/>
                  </a:lnTo>
                  <a:cubicBezTo>
                    <a:pt x="6811" y="6216"/>
                    <a:pt x="6728" y="6275"/>
                    <a:pt x="6728" y="6370"/>
                  </a:cubicBezTo>
                  <a:cubicBezTo>
                    <a:pt x="6728" y="6442"/>
                    <a:pt x="6787" y="6513"/>
                    <a:pt x="6883" y="6513"/>
                  </a:cubicBezTo>
                  <a:lnTo>
                    <a:pt x="8180" y="6513"/>
                  </a:lnTo>
                  <a:cubicBezTo>
                    <a:pt x="8311" y="6513"/>
                    <a:pt x="8419" y="6620"/>
                    <a:pt x="8419" y="6751"/>
                  </a:cubicBezTo>
                  <a:cubicBezTo>
                    <a:pt x="8419" y="6894"/>
                    <a:pt x="8311" y="6989"/>
                    <a:pt x="8180" y="6989"/>
                  </a:cubicBezTo>
                  <a:lnTo>
                    <a:pt x="3275" y="6989"/>
                  </a:lnTo>
                  <a:cubicBezTo>
                    <a:pt x="2596" y="6989"/>
                    <a:pt x="2192" y="6216"/>
                    <a:pt x="2584" y="5656"/>
                  </a:cubicBezTo>
                  <a:lnTo>
                    <a:pt x="2858" y="5239"/>
                  </a:lnTo>
                  <a:cubicBezTo>
                    <a:pt x="2977" y="5346"/>
                    <a:pt x="3120" y="5430"/>
                    <a:pt x="3251" y="5501"/>
                  </a:cubicBezTo>
                  <a:lnTo>
                    <a:pt x="2965" y="5918"/>
                  </a:lnTo>
                  <a:cubicBezTo>
                    <a:pt x="2787" y="6180"/>
                    <a:pt x="2965" y="6513"/>
                    <a:pt x="3275" y="6513"/>
                  </a:cubicBezTo>
                  <a:lnTo>
                    <a:pt x="6347" y="6513"/>
                  </a:lnTo>
                  <a:cubicBezTo>
                    <a:pt x="6418" y="6513"/>
                    <a:pt x="6490" y="6454"/>
                    <a:pt x="6490" y="6370"/>
                  </a:cubicBezTo>
                  <a:cubicBezTo>
                    <a:pt x="6490" y="6299"/>
                    <a:pt x="6430" y="6216"/>
                    <a:pt x="6347" y="6216"/>
                  </a:cubicBezTo>
                  <a:lnTo>
                    <a:pt x="3275" y="6216"/>
                  </a:lnTo>
                  <a:cubicBezTo>
                    <a:pt x="3204" y="6216"/>
                    <a:pt x="3156" y="6132"/>
                    <a:pt x="3204" y="6073"/>
                  </a:cubicBezTo>
                  <a:lnTo>
                    <a:pt x="3537" y="5596"/>
                  </a:lnTo>
                  <a:cubicBezTo>
                    <a:pt x="3723" y="5653"/>
                    <a:pt x="3776" y="5666"/>
                    <a:pt x="4361" y="5666"/>
                  </a:cubicBezTo>
                  <a:cubicBezTo>
                    <a:pt x="4909" y="5666"/>
                    <a:pt x="5923" y="5655"/>
                    <a:pt x="7950" y="5655"/>
                  </a:cubicBezTo>
                  <a:cubicBezTo>
                    <a:pt x="8328" y="5655"/>
                    <a:pt x="8741" y="5655"/>
                    <a:pt x="9192" y="5656"/>
                  </a:cubicBezTo>
                  <a:cubicBezTo>
                    <a:pt x="9466" y="5656"/>
                    <a:pt x="9704" y="5418"/>
                    <a:pt x="9704" y="5132"/>
                  </a:cubicBezTo>
                  <a:cubicBezTo>
                    <a:pt x="9704" y="4870"/>
                    <a:pt x="9466" y="4632"/>
                    <a:pt x="9192" y="4632"/>
                  </a:cubicBezTo>
                  <a:lnTo>
                    <a:pt x="9038" y="4632"/>
                  </a:lnTo>
                  <a:lnTo>
                    <a:pt x="9704" y="1703"/>
                  </a:lnTo>
                  <a:cubicBezTo>
                    <a:pt x="9823" y="1155"/>
                    <a:pt x="9407" y="643"/>
                    <a:pt x="8859" y="643"/>
                  </a:cubicBezTo>
                  <a:lnTo>
                    <a:pt x="6085" y="643"/>
                  </a:lnTo>
                  <a:cubicBezTo>
                    <a:pt x="6013" y="643"/>
                    <a:pt x="5942" y="691"/>
                    <a:pt x="5942" y="786"/>
                  </a:cubicBezTo>
                  <a:cubicBezTo>
                    <a:pt x="5942" y="858"/>
                    <a:pt x="6002" y="941"/>
                    <a:pt x="6085" y="941"/>
                  </a:cubicBezTo>
                  <a:lnTo>
                    <a:pt x="8859" y="941"/>
                  </a:lnTo>
                  <a:cubicBezTo>
                    <a:pt x="9252" y="941"/>
                    <a:pt x="9526" y="1286"/>
                    <a:pt x="9442" y="1667"/>
                  </a:cubicBezTo>
                  <a:lnTo>
                    <a:pt x="8752" y="4644"/>
                  </a:lnTo>
                  <a:lnTo>
                    <a:pt x="8264" y="4644"/>
                  </a:lnTo>
                  <a:cubicBezTo>
                    <a:pt x="8335" y="4322"/>
                    <a:pt x="8871" y="2001"/>
                    <a:pt x="8966" y="1584"/>
                  </a:cubicBezTo>
                  <a:cubicBezTo>
                    <a:pt x="8978" y="1501"/>
                    <a:pt x="8919" y="1405"/>
                    <a:pt x="8835" y="1405"/>
                  </a:cubicBezTo>
                  <a:lnTo>
                    <a:pt x="2406" y="1405"/>
                  </a:lnTo>
                  <a:lnTo>
                    <a:pt x="2239" y="941"/>
                  </a:lnTo>
                  <a:lnTo>
                    <a:pt x="5537" y="941"/>
                  </a:lnTo>
                  <a:cubicBezTo>
                    <a:pt x="5621" y="941"/>
                    <a:pt x="5692" y="882"/>
                    <a:pt x="5692" y="786"/>
                  </a:cubicBezTo>
                  <a:cubicBezTo>
                    <a:pt x="5692" y="715"/>
                    <a:pt x="5632" y="643"/>
                    <a:pt x="5537" y="643"/>
                  </a:cubicBezTo>
                  <a:lnTo>
                    <a:pt x="2132" y="643"/>
                  </a:lnTo>
                  <a:cubicBezTo>
                    <a:pt x="2001" y="286"/>
                    <a:pt x="1644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8" name="Google Shape;13498;p64"/>
          <p:cNvGrpSpPr/>
          <p:nvPr/>
        </p:nvGrpSpPr>
        <p:grpSpPr>
          <a:xfrm>
            <a:off x="5618805" y="2440924"/>
            <a:ext cx="345292" cy="342618"/>
            <a:chOff x="5618805" y="2440924"/>
            <a:chExt cx="345292" cy="342618"/>
          </a:xfrm>
        </p:grpSpPr>
        <p:sp>
          <p:nvSpPr>
            <p:cNvPr id="13499" name="Google Shape;13499;p64"/>
            <p:cNvSpPr/>
            <p:nvPr/>
          </p:nvSpPr>
          <p:spPr>
            <a:xfrm>
              <a:off x="5742751" y="2440924"/>
              <a:ext cx="221346" cy="222110"/>
            </a:xfrm>
            <a:custGeom>
              <a:avLst/>
              <a:gdLst/>
              <a:ahLst/>
              <a:cxnLst/>
              <a:rect l="l" t="t" r="r" b="b"/>
              <a:pathLst>
                <a:path w="6954" h="6978" extrusionOk="0">
                  <a:moveTo>
                    <a:pt x="3477" y="346"/>
                  </a:moveTo>
                  <a:cubicBezTo>
                    <a:pt x="5203" y="346"/>
                    <a:pt x="6596" y="1453"/>
                    <a:pt x="6596" y="2798"/>
                  </a:cubicBezTo>
                  <a:cubicBezTo>
                    <a:pt x="6596" y="3989"/>
                    <a:pt x="5513" y="5001"/>
                    <a:pt x="4025" y="5215"/>
                  </a:cubicBezTo>
                  <a:cubicBezTo>
                    <a:pt x="3941" y="5227"/>
                    <a:pt x="3882" y="5299"/>
                    <a:pt x="3882" y="5394"/>
                  </a:cubicBezTo>
                  <a:cubicBezTo>
                    <a:pt x="3786" y="5953"/>
                    <a:pt x="3370" y="6418"/>
                    <a:pt x="2846" y="6573"/>
                  </a:cubicBezTo>
                  <a:cubicBezTo>
                    <a:pt x="3060" y="6227"/>
                    <a:pt x="3144" y="5811"/>
                    <a:pt x="3084" y="5394"/>
                  </a:cubicBezTo>
                  <a:cubicBezTo>
                    <a:pt x="3084" y="5299"/>
                    <a:pt x="3024" y="5215"/>
                    <a:pt x="2941" y="5215"/>
                  </a:cubicBezTo>
                  <a:cubicBezTo>
                    <a:pt x="1429" y="5001"/>
                    <a:pt x="346" y="3989"/>
                    <a:pt x="346" y="2798"/>
                  </a:cubicBezTo>
                  <a:cubicBezTo>
                    <a:pt x="346" y="1453"/>
                    <a:pt x="1751" y="346"/>
                    <a:pt x="3477" y="346"/>
                  </a:cubicBezTo>
                  <a:close/>
                  <a:moveTo>
                    <a:pt x="3477" y="0"/>
                  </a:moveTo>
                  <a:cubicBezTo>
                    <a:pt x="2548" y="0"/>
                    <a:pt x="1691" y="286"/>
                    <a:pt x="1036" y="810"/>
                  </a:cubicBezTo>
                  <a:cubicBezTo>
                    <a:pt x="357" y="1346"/>
                    <a:pt x="0" y="2048"/>
                    <a:pt x="0" y="2798"/>
                  </a:cubicBezTo>
                  <a:cubicBezTo>
                    <a:pt x="0" y="4120"/>
                    <a:pt x="1155" y="5251"/>
                    <a:pt x="2739" y="5537"/>
                  </a:cubicBezTo>
                  <a:cubicBezTo>
                    <a:pt x="2774" y="5953"/>
                    <a:pt x="2620" y="6382"/>
                    <a:pt x="2322" y="6680"/>
                  </a:cubicBezTo>
                  <a:cubicBezTo>
                    <a:pt x="2286" y="6727"/>
                    <a:pt x="2262" y="6799"/>
                    <a:pt x="2298" y="6882"/>
                  </a:cubicBezTo>
                  <a:cubicBezTo>
                    <a:pt x="2322" y="6942"/>
                    <a:pt x="2382" y="6977"/>
                    <a:pt x="2465" y="6977"/>
                  </a:cubicBezTo>
                  <a:cubicBezTo>
                    <a:pt x="3310" y="6977"/>
                    <a:pt x="4037" y="6370"/>
                    <a:pt x="4215" y="5537"/>
                  </a:cubicBezTo>
                  <a:cubicBezTo>
                    <a:pt x="4965" y="5418"/>
                    <a:pt x="5632" y="5096"/>
                    <a:pt x="6120" y="4632"/>
                  </a:cubicBezTo>
                  <a:cubicBezTo>
                    <a:pt x="6656" y="4120"/>
                    <a:pt x="6954" y="3465"/>
                    <a:pt x="6954" y="2798"/>
                  </a:cubicBezTo>
                  <a:cubicBezTo>
                    <a:pt x="6942" y="2048"/>
                    <a:pt x="6584" y="1334"/>
                    <a:pt x="5918" y="810"/>
                  </a:cubicBezTo>
                  <a:cubicBezTo>
                    <a:pt x="5263" y="286"/>
                    <a:pt x="4394" y="0"/>
                    <a:pt x="3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0" name="Google Shape;13500;p64"/>
            <p:cNvSpPr/>
            <p:nvPr/>
          </p:nvSpPr>
          <p:spPr>
            <a:xfrm>
              <a:off x="5810581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84" y="1"/>
                    <a:pt x="1" y="96"/>
                    <a:pt x="1" y="179"/>
                  </a:cubicBezTo>
                  <a:cubicBezTo>
                    <a:pt x="1" y="263"/>
                    <a:pt x="96" y="358"/>
                    <a:pt x="179" y="358"/>
                  </a:cubicBezTo>
                  <a:cubicBezTo>
                    <a:pt x="286" y="358"/>
                    <a:pt x="358" y="263"/>
                    <a:pt x="358" y="179"/>
                  </a:cubicBezTo>
                  <a:cubicBezTo>
                    <a:pt x="358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1" name="Google Shape;13501;p64"/>
            <p:cNvSpPr/>
            <p:nvPr/>
          </p:nvSpPr>
          <p:spPr>
            <a:xfrm>
              <a:off x="5884490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cubicBezTo>
                    <a:pt x="0" y="263"/>
                    <a:pt x="95" y="358"/>
                    <a:pt x="179" y="358"/>
                  </a:cubicBezTo>
                  <a:cubicBezTo>
                    <a:pt x="286" y="358"/>
                    <a:pt x="357" y="263"/>
                    <a:pt x="357" y="179"/>
                  </a:cubicBezTo>
                  <a:cubicBezTo>
                    <a:pt x="357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2" name="Google Shape;13502;p64"/>
            <p:cNvSpPr/>
            <p:nvPr/>
          </p:nvSpPr>
          <p:spPr>
            <a:xfrm>
              <a:off x="5847727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cubicBezTo>
                    <a:pt x="0" y="263"/>
                    <a:pt x="84" y="358"/>
                    <a:pt x="179" y="358"/>
                  </a:cubicBezTo>
                  <a:cubicBezTo>
                    <a:pt x="286" y="358"/>
                    <a:pt x="358" y="263"/>
                    <a:pt x="358" y="179"/>
                  </a:cubicBezTo>
                  <a:cubicBezTo>
                    <a:pt x="358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3" name="Google Shape;13503;p64"/>
            <p:cNvSpPr/>
            <p:nvPr/>
          </p:nvSpPr>
          <p:spPr>
            <a:xfrm>
              <a:off x="5618805" y="2516616"/>
              <a:ext cx="270269" cy="266926"/>
            </a:xfrm>
            <a:custGeom>
              <a:avLst/>
              <a:gdLst/>
              <a:ahLst/>
              <a:cxnLst/>
              <a:rect l="l" t="t" r="r" b="b"/>
              <a:pathLst>
                <a:path w="8491" h="8386" extrusionOk="0">
                  <a:moveTo>
                    <a:pt x="1269" y="0"/>
                  </a:moveTo>
                  <a:cubicBezTo>
                    <a:pt x="1224" y="0"/>
                    <a:pt x="1177" y="18"/>
                    <a:pt x="1144" y="51"/>
                  </a:cubicBezTo>
                  <a:cubicBezTo>
                    <a:pt x="1108" y="87"/>
                    <a:pt x="168" y="956"/>
                    <a:pt x="96" y="1706"/>
                  </a:cubicBezTo>
                  <a:cubicBezTo>
                    <a:pt x="1" y="2671"/>
                    <a:pt x="989" y="4385"/>
                    <a:pt x="2549" y="5933"/>
                  </a:cubicBezTo>
                  <a:cubicBezTo>
                    <a:pt x="4037" y="7421"/>
                    <a:pt x="5656" y="8386"/>
                    <a:pt x="6645" y="8386"/>
                  </a:cubicBezTo>
                  <a:lnTo>
                    <a:pt x="6776" y="8386"/>
                  </a:lnTo>
                  <a:cubicBezTo>
                    <a:pt x="7514" y="8314"/>
                    <a:pt x="8395" y="7374"/>
                    <a:pt x="8431" y="7326"/>
                  </a:cubicBezTo>
                  <a:cubicBezTo>
                    <a:pt x="8490" y="7266"/>
                    <a:pt x="8490" y="7159"/>
                    <a:pt x="8442" y="7100"/>
                  </a:cubicBezTo>
                  <a:cubicBezTo>
                    <a:pt x="8407" y="7076"/>
                    <a:pt x="7990" y="6540"/>
                    <a:pt x="7502" y="6052"/>
                  </a:cubicBezTo>
                  <a:cubicBezTo>
                    <a:pt x="7002" y="5540"/>
                    <a:pt x="6478" y="5123"/>
                    <a:pt x="6442" y="5111"/>
                  </a:cubicBezTo>
                  <a:cubicBezTo>
                    <a:pt x="6410" y="5085"/>
                    <a:pt x="6375" y="5072"/>
                    <a:pt x="6342" y="5072"/>
                  </a:cubicBezTo>
                  <a:cubicBezTo>
                    <a:pt x="6301" y="5072"/>
                    <a:pt x="6261" y="5091"/>
                    <a:pt x="6228" y="5123"/>
                  </a:cubicBezTo>
                  <a:lnTo>
                    <a:pt x="5573" y="5778"/>
                  </a:lnTo>
                  <a:lnTo>
                    <a:pt x="3442" y="3659"/>
                  </a:lnTo>
                  <a:cubicBezTo>
                    <a:pt x="3406" y="3617"/>
                    <a:pt x="3361" y="3596"/>
                    <a:pt x="3318" y="3596"/>
                  </a:cubicBezTo>
                  <a:cubicBezTo>
                    <a:pt x="3275" y="3596"/>
                    <a:pt x="3233" y="3617"/>
                    <a:pt x="3204" y="3659"/>
                  </a:cubicBezTo>
                  <a:cubicBezTo>
                    <a:pt x="3132" y="3730"/>
                    <a:pt x="3132" y="3837"/>
                    <a:pt x="3204" y="3897"/>
                  </a:cubicBezTo>
                  <a:lnTo>
                    <a:pt x="5466" y="6159"/>
                  </a:lnTo>
                  <a:cubicBezTo>
                    <a:pt x="5490" y="6183"/>
                    <a:pt x="5537" y="6195"/>
                    <a:pt x="5585" y="6195"/>
                  </a:cubicBezTo>
                  <a:cubicBezTo>
                    <a:pt x="5633" y="6195"/>
                    <a:pt x="5668" y="6183"/>
                    <a:pt x="5704" y="6159"/>
                  </a:cubicBezTo>
                  <a:lnTo>
                    <a:pt x="6371" y="5480"/>
                  </a:lnTo>
                  <a:cubicBezTo>
                    <a:pt x="6549" y="5635"/>
                    <a:pt x="6918" y="5945"/>
                    <a:pt x="7264" y="6290"/>
                  </a:cubicBezTo>
                  <a:cubicBezTo>
                    <a:pt x="7609" y="6635"/>
                    <a:pt x="7919" y="7004"/>
                    <a:pt x="8085" y="7195"/>
                  </a:cubicBezTo>
                  <a:cubicBezTo>
                    <a:pt x="7788" y="7481"/>
                    <a:pt x="7204" y="7981"/>
                    <a:pt x="6764" y="8028"/>
                  </a:cubicBezTo>
                  <a:cubicBezTo>
                    <a:pt x="6733" y="8031"/>
                    <a:pt x="6702" y="8032"/>
                    <a:pt x="6670" y="8032"/>
                  </a:cubicBezTo>
                  <a:cubicBezTo>
                    <a:pt x="5782" y="8032"/>
                    <a:pt x="4224" y="7085"/>
                    <a:pt x="2811" y="5683"/>
                  </a:cubicBezTo>
                  <a:cubicBezTo>
                    <a:pt x="1358" y="4218"/>
                    <a:pt x="394" y="2599"/>
                    <a:pt x="465" y="1730"/>
                  </a:cubicBezTo>
                  <a:cubicBezTo>
                    <a:pt x="513" y="1289"/>
                    <a:pt x="1013" y="706"/>
                    <a:pt x="1299" y="408"/>
                  </a:cubicBezTo>
                  <a:cubicBezTo>
                    <a:pt x="1477" y="563"/>
                    <a:pt x="1846" y="873"/>
                    <a:pt x="2204" y="1230"/>
                  </a:cubicBezTo>
                  <a:cubicBezTo>
                    <a:pt x="2549" y="1575"/>
                    <a:pt x="2858" y="1944"/>
                    <a:pt x="3013" y="2123"/>
                  </a:cubicBezTo>
                  <a:lnTo>
                    <a:pt x="2335" y="2790"/>
                  </a:lnTo>
                  <a:cubicBezTo>
                    <a:pt x="2263" y="2861"/>
                    <a:pt x="2263" y="2968"/>
                    <a:pt x="2335" y="3028"/>
                  </a:cubicBezTo>
                  <a:lnTo>
                    <a:pt x="2716" y="3397"/>
                  </a:lnTo>
                  <a:cubicBezTo>
                    <a:pt x="2751" y="3439"/>
                    <a:pt x="2796" y="3459"/>
                    <a:pt x="2838" y="3459"/>
                  </a:cubicBezTo>
                  <a:cubicBezTo>
                    <a:pt x="2879" y="3459"/>
                    <a:pt x="2918" y="3439"/>
                    <a:pt x="2942" y="3397"/>
                  </a:cubicBezTo>
                  <a:cubicBezTo>
                    <a:pt x="3025" y="3325"/>
                    <a:pt x="3025" y="3218"/>
                    <a:pt x="2942" y="3159"/>
                  </a:cubicBezTo>
                  <a:lnTo>
                    <a:pt x="2692" y="2909"/>
                  </a:lnTo>
                  <a:lnTo>
                    <a:pt x="3347" y="2254"/>
                  </a:lnTo>
                  <a:cubicBezTo>
                    <a:pt x="3406" y="2194"/>
                    <a:pt x="3430" y="2087"/>
                    <a:pt x="3359" y="2028"/>
                  </a:cubicBezTo>
                  <a:cubicBezTo>
                    <a:pt x="3347" y="2016"/>
                    <a:pt x="2930" y="1480"/>
                    <a:pt x="2430" y="980"/>
                  </a:cubicBezTo>
                  <a:cubicBezTo>
                    <a:pt x="1918" y="468"/>
                    <a:pt x="1394" y="51"/>
                    <a:pt x="1370" y="39"/>
                  </a:cubicBezTo>
                  <a:cubicBezTo>
                    <a:pt x="1343" y="12"/>
                    <a:pt x="1307" y="0"/>
                    <a:pt x="12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04" name="Google Shape;13504;p64"/>
          <p:cNvGrpSpPr/>
          <p:nvPr/>
        </p:nvGrpSpPr>
        <p:grpSpPr>
          <a:xfrm>
            <a:off x="4653179" y="2446590"/>
            <a:ext cx="377886" cy="331255"/>
            <a:chOff x="4653179" y="2446590"/>
            <a:chExt cx="377886" cy="331255"/>
          </a:xfrm>
        </p:grpSpPr>
        <p:sp>
          <p:nvSpPr>
            <p:cNvPr id="13505" name="Google Shape;13505;p64"/>
            <p:cNvSpPr/>
            <p:nvPr/>
          </p:nvSpPr>
          <p:spPr>
            <a:xfrm>
              <a:off x="4767639" y="2584541"/>
              <a:ext cx="145941" cy="109177"/>
            </a:xfrm>
            <a:custGeom>
              <a:avLst/>
              <a:gdLst/>
              <a:ahLst/>
              <a:cxnLst/>
              <a:rect l="l" t="t" r="r" b="b"/>
              <a:pathLst>
                <a:path w="4585" h="3430" extrusionOk="0">
                  <a:moveTo>
                    <a:pt x="2370" y="310"/>
                  </a:moveTo>
                  <a:cubicBezTo>
                    <a:pt x="2560" y="310"/>
                    <a:pt x="2739" y="429"/>
                    <a:pt x="2810" y="608"/>
                  </a:cubicBezTo>
                  <a:lnTo>
                    <a:pt x="1929" y="608"/>
                  </a:lnTo>
                  <a:cubicBezTo>
                    <a:pt x="1989" y="453"/>
                    <a:pt x="2156" y="310"/>
                    <a:pt x="2370" y="310"/>
                  </a:cubicBezTo>
                  <a:close/>
                  <a:moveTo>
                    <a:pt x="3049" y="965"/>
                  </a:moveTo>
                  <a:cubicBezTo>
                    <a:pt x="3168" y="965"/>
                    <a:pt x="3275" y="1072"/>
                    <a:pt x="3275" y="1191"/>
                  </a:cubicBezTo>
                  <a:lnTo>
                    <a:pt x="3275" y="2192"/>
                  </a:lnTo>
                  <a:cubicBezTo>
                    <a:pt x="3275" y="2323"/>
                    <a:pt x="3239" y="2442"/>
                    <a:pt x="3203" y="2561"/>
                  </a:cubicBezTo>
                  <a:cubicBezTo>
                    <a:pt x="3203" y="2561"/>
                    <a:pt x="3203" y="2573"/>
                    <a:pt x="3179" y="2573"/>
                  </a:cubicBezTo>
                  <a:cubicBezTo>
                    <a:pt x="3037" y="2870"/>
                    <a:pt x="2727" y="3085"/>
                    <a:pt x="2382" y="3085"/>
                  </a:cubicBezTo>
                  <a:cubicBezTo>
                    <a:pt x="1894" y="3085"/>
                    <a:pt x="1489" y="2680"/>
                    <a:pt x="1489" y="2192"/>
                  </a:cubicBezTo>
                  <a:lnTo>
                    <a:pt x="1453" y="1191"/>
                  </a:lnTo>
                  <a:cubicBezTo>
                    <a:pt x="1453" y="1072"/>
                    <a:pt x="1560" y="965"/>
                    <a:pt x="1679" y="965"/>
                  </a:cubicBezTo>
                  <a:close/>
                  <a:moveTo>
                    <a:pt x="2275" y="1"/>
                  </a:moveTo>
                  <a:cubicBezTo>
                    <a:pt x="1870" y="1"/>
                    <a:pt x="1548" y="298"/>
                    <a:pt x="1465" y="668"/>
                  </a:cubicBezTo>
                  <a:cubicBezTo>
                    <a:pt x="1286" y="715"/>
                    <a:pt x="1144" y="834"/>
                    <a:pt x="1072" y="1013"/>
                  </a:cubicBezTo>
                  <a:lnTo>
                    <a:pt x="751" y="1013"/>
                  </a:lnTo>
                  <a:cubicBezTo>
                    <a:pt x="715" y="1013"/>
                    <a:pt x="667" y="1025"/>
                    <a:pt x="620" y="1072"/>
                  </a:cubicBezTo>
                  <a:lnTo>
                    <a:pt x="72" y="1632"/>
                  </a:lnTo>
                  <a:cubicBezTo>
                    <a:pt x="12" y="1715"/>
                    <a:pt x="12" y="1811"/>
                    <a:pt x="72" y="1870"/>
                  </a:cubicBezTo>
                  <a:cubicBezTo>
                    <a:pt x="96" y="1906"/>
                    <a:pt x="143" y="1918"/>
                    <a:pt x="191" y="1918"/>
                  </a:cubicBezTo>
                  <a:cubicBezTo>
                    <a:pt x="239" y="1918"/>
                    <a:pt x="274" y="1906"/>
                    <a:pt x="310" y="1858"/>
                  </a:cubicBezTo>
                  <a:lnTo>
                    <a:pt x="798" y="1334"/>
                  </a:lnTo>
                  <a:lnTo>
                    <a:pt x="1013" y="1334"/>
                  </a:lnTo>
                  <a:lnTo>
                    <a:pt x="1013" y="1739"/>
                  </a:lnTo>
                  <a:lnTo>
                    <a:pt x="739" y="1739"/>
                  </a:lnTo>
                  <a:cubicBezTo>
                    <a:pt x="691" y="1739"/>
                    <a:pt x="655" y="1763"/>
                    <a:pt x="608" y="1799"/>
                  </a:cubicBezTo>
                  <a:lnTo>
                    <a:pt x="60" y="2370"/>
                  </a:lnTo>
                  <a:cubicBezTo>
                    <a:pt x="1" y="2442"/>
                    <a:pt x="1" y="2549"/>
                    <a:pt x="60" y="2608"/>
                  </a:cubicBezTo>
                  <a:cubicBezTo>
                    <a:pt x="84" y="2632"/>
                    <a:pt x="131" y="2656"/>
                    <a:pt x="179" y="2656"/>
                  </a:cubicBezTo>
                  <a:cubicBezTo>
                    <a:pt x="215" y="2656"/>
                    <a:pt x="262" y="2632"/>
                    <a:pt x="298" y="2596"/>
                  </a:cubicBezTo>
                  <a:lnTo>
                    <a:pt x="786" y="2072"/>
                  </a:lnTo>
                  <a:lnTo>
                    <a:pt x="989" y="2072"/>
                  </a:lnTo>
                  <a:lnTo>
                    <a:pt x="989" y="2192"/>
                  </a:lnTo>
                  <a:cubicBezTo>
                    <a:pt x="989" y="2275"/>
                    <a:pt x="1013" y="2382"/>
                    <a:pt x="1024" y="2477"/>
                  </a:cubicBezTo>
                  <a:lnTo>
                    <a:pt x="846" y="2477"/>
                  </a:lnTo>
                  <a:cubicBezTo>
                    <a:pt x="798" y="2477"/>
                    <a:pt x="763" y="2489"/>
                    <a:pt x="727" y="2525"/>
                  </a:cubicBezTo>
                  <a:lnTo>
                    <a:pt x="179" y="3096"/>
                  </a:lnTo>
                  <a:cubicBezTo>
                    <a:pt x="120" y="3168"/>
                    <a:pt x="120" y="3275"/>
                    <a:pt x="179" y="3335"/>
                  </a:cubicBezTo>
                  <a:cubicBezTo>
                    <a:pt x="203" y="3370"/>
                    <a:pt x="251" y="3382"/>
                    <a:pt x="298" y="3382"/>
                  </a:cubicBezTo>
                  <a:cubicBezTo>
                    <a:pt x="334" y="3382"/>
                    <a:pt x="382" y="3370"/>
                    <a:pt x="417" y="3323"/>
                  </a:cubicBezTo>
                  <a:lnTo>
                    <a:pt x="905" y="2799"/>
                  </a:lnTo>
                  <a:lnTo>
                    <a:pt x="1274" y="2799"/>
                  </a:lnTo>
                  <a:cubicBezTo>
                    <a:pt x="1501" y="3168"/>
                    <a:pt x="1906" y="3430"/>
                    <a:pt x="2346" y="3430"/>
                  </a:cubicBezTo>
                  <a:cubicBezTo>
                    <a:pt x="2810" y="3430"/>
                    <a:pt x="3215" y="3168"/>
                    <a:pt x="3418" y="2799"/>
                  </a:cubicBezTo>
                  <a:lnTo>
                    <a:pt x="3775" y="2799"/>
                  </a:lnTo>
                  <a:lnTo>
                    <a:pt x="4275" y="3323"/>
                  </a:lnTo>
                  <a:cubicBezTo>
                    <a:pt x="4299" y="3346"/>
                    <a:pt x="4346" y="3382"/>
                    <a:pt x="4382" y="3382"/>
                  </a:cubicBezTo>
                  <a:cubicBezTo>
                    <a:pt x="4430" y="3382"/>
                    <a:pt x="4477" y="3370"/>
                    <a:pt x="4501" y="3335"/>
                  </a:cubicBezTo>
                  <a:cubicBezTo>
                    <a:pt x="4584" y="3275"/>
                    <a:pt x="4584" y="3156"/>
                    <a:pt x="4501" y="3096"/>
                  </a:cubicBezTo>
                  <a:lnTo>
                    <a:pt x="3953" y="2525"/>
                  </a:lnTo>
                  <a:cubicBezTo>
                    <a:pt x="3930" y="2501"/>
                    <a:pt x="3882" y="2477"/>
                    <a:pt x="3834" y="2477"/>
                  </a:cubicBezTo>
                  <a:lnTo>
                    <a:pt x="3537" y="2477"/>
                  </a:lnTo>
                  <a:cubicBezTo>
                    <a:pt x="3549" y="2382"/>
                    <a:pt x="3572" y="2299"/>
                    <a:pt x="3572" y="2192"/>
                  </a:cubicBezTo>
                  <a:lnTo>
                    <a:pt x="3572" y="2072"/>
                  </a:lnTo>
                  <a:lnTo>
                    <a:pt x="3763" y="2072"/>
                  </a:lnTo>
                  <a:lnTo>
                    <a:pt x="4251" y="2596"/>
                  </a:lnTo>
                  <a:cubicBezTo>
                    <a:pt x="4287" y="2620"/>
                    <a:pt x="4322" y="2656"/>
                    <a:pt x="4370" y="2656"/>
                  </a:cubicBezTo>
                  <a:cubicBezTo>
                    <a:pt x="4418" y="2656"/>
                    <a:pt x="4465" y="2632"/>
                    <a:pt x="4489" y="2608"/>
                  </a:cubicBezTo>
                  <a:cubicBezTo>
                    <a:pt x="4561" y="2549"/>
                    <a:pt x="4561" y="2430"/>
                    <a:pt x="4489" y="2370"/>
                  </a:cubicBezTo>
                  <a:lnTo>
                    <a:pt x="3941" y="1799"/>
                  </a:lnTo>
                  <a:cubicBezTo>
                    <a:pt x="3906" y="1775"/>
                    <a:pt x="3870" y="1739"/>
                    <a:pt x="3822" y="1739"/>
                  </a:cubicBezTo>
                  <a:lnTo>
                    <a:pt x="3549" y="1739"/>
                  </a:lnTo>
                  <a:lnTo>
                    <a:pt x="3549" y="1334"/>
                  </a:lnTo>
                  <a:lnTo>
                    <a:pt x="3751" y="1334"/>
                  </a:lnTo>
                  <a:lnTo>
                    <a:pt x="4239" y="1858"/>
                  </a:lnTo>
                  <a:cubicBezTo>
                    <a:pt x="4263" y="1894"/>
                    <a:pt x="4311" y="1918"/>
                    <a:pt x="4358" y="1918"/>
                  </a:cubicBezTo>
                  <a:cubicBezTo>
                    <a:pt x="4406" y="1918"/>
                    <a:pt x="4442" y="1906"/>
                    <a:pt x="4477" y="1870"/>
                  </a:cubicBezTo>
                  <a:cubicBezTo>
                    <a:pt x="4549" y="1811"/>
                    <a:pt x="4549" y="1691"/>
                    <a:pt x="4477" y="1632"/>
                  </a:cubicBezTo>
                  <a:lnTo>
                    <a:pt x="3930" y="1072"/>
                  </a:lnTo>
                  <a:cubicBezTo>
                    <a:pt x="3894" y="1037"/>
                    <a:pt x="3846" y="1013"/>
                    <a:pt x="3787" y="1013"/>
                  </a:cubicBezTo>
                  <a:lnTo>
                    <a:pt x="3477" y="1013"/>
                  </a:lnTo>
                  <a:cubicBezTo>
                    <a:pt x="3406" y="846"/>
                    <a:pt x="3251" y="715"/>
                    <a:pt x="3072" y="668"/>
                  </a:cubicBezTo>
                  <a:cubicBezTo>
                    <a:pt x="3001" y="287"/>
                    <a:pt x="2679" y="1"/>
                    <a:pt x="2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6" name="Google Shape;13506;p64"/>
            <p:cNvSpPr/>
            <p:nvPr/>
          </p:nvSpPr>
          <p:spPr>
            <a:xfrm>
              <a:off x="4794918" y="2446590"/>
              <a:ext cx="96286" cy="53856"/>
            </a:xfrm>
            <a:custGeom>
              <a:avLst/>
              <a:gdLst/>
              <a:ahLst/>
              <a:cxnLst/>
              <a:rect l="l" t="t" r="r" b="b"/>
              <a:pathLst>
                <a:path w="3025" h="1692" extrusionOk="0">
                  <a:moveTo>
                    <a:pt x="1525" y="1"/>
                  </a:moveTo>
                  <a:cubicBezTo>
                    <a:pt x="691" y="1"/>
                    <a:pt x="25" y="680"/>
                    <a:pt x="25" y="1513"/>
                  </a:cubicBezTo>
                  <a:cubicBezTo>
                    <a:pt x="1" y="1596"/>
                    <a:pt x="84" y="1692"/>
                    <a:pt x="167" y="1692"/>
                  </a:cubicBezTo>
                  <a:cubicBezTo>
                    <a:pt x="263" y="1692"/>
                    <a:pt x="346" y="1608"/>
                    <a:pt x="346" y="1513"/>
                  </a:cubicBezTo>
                  <a:cubicBezTo>
                    <a:pt x="346" y="870"/>
                    <a:pt x="870" y="346"/>
                    <a:pt x="1513" y="346"/>
                  </a:cubicBezTo>
                  <a:cubicBezTo>
                    <a:pt x="2144" y="346"/>
                    <a:pt x="2668" y="870"/>
                    <a:pt x="2668" y="1513"/>
                  </a:cubicBezTo>
                  <a:cubicBezTo>
                    <a:pt x="2668" y="1596"/>
                    <a:pt x="2739" y="1692"/>
                    <a:pt x="2846" y="1692"/>
                  </a:cubicBezTo>
                  <a:cubicBezTo>
                    <a:pt x="2954" y="1692"/>
                    <a:pt x="3025" y="1608"/>
                    <a:pt x="3025" y="1513"/>
                  </a:cubicBezTo>
                  <a:cubicBezTo>
                    <a:pt x="3025" y="680"/>
                    <a:pt x="2358" y="1"/>
                    <a:pt x="1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7" name="Google Shape;13507;p64"/>
            <p:cNvSpPr/>
            <p:nvPr/>
          </p:nvSpPr>
          <p:spPr>
            <a:xfrm>
              <a:off x="4816530" y="2465179"/>
              <a:ext cx="53856" cy="32244"/>
            </a:xfrm>
            <a:custGeom>
              <a:avLst/>
              <a:gdLst/>
              <a:ahLst/>
              <a:cxnLst/>
              <a:rect l="l" t="t" r="r" b="b"/>
              <a:pathLst>
                <a:path w="1692" h="1013" extrusionOk="0">
                  <a:moveTo>
                    <a:pt x="834" y="0"/>
                  </a:moveTo>
                  <a:cubicBezTo>
                    <a:pt x="370" y="0"/>
                    <a:pt x="0" y="369"/>
                    <a:pt x="0" y="834"/>
                  </a:cubicBezTo>
                  <a:cubicBezTo>
                    <a:pt x="0" y="929"/>
                    <a:pt x="72" y="1012"/>
                    <a:pt x="179" y="1012"/>
                  </a:cubicBezTo>
                  <a:cubicBezTo>
                    <a:pt x="274" y="1012"/>
                    <a:pt x="358" y="941"/>
                    <a:pt x="358" y="834"/>
                  </a:cubicBezTo>
                  <a:cubicBezTo>
                    <a:pt x="358" y="572"/>
                    <a:pt x="572" y="346"/>
                    <a:pt x="846" y="346"/>
                  </a:cubicBezTo>
                  <a:cubicBezTo>
                    <a:pt x="1108" y="346"/>
                    <a:pt x="1334" y="572"/>
                    <a:pt x="1334" y="834"/>
                  </a:cubicBezTo>
                  <a:cubicBezTo>
                    <a:pt x="1334" y="929"/>
                    <a:pt x="1405" y="1012"/>
                    <a:pt x="1513" y="1012"/>
                  </a:cubicBezTo>
                  <a:cubicBezTo>
                    <a:pt x="1620" y="1012"/>
                    <a:pt x="1691" y="941"/>
                    <a:pt x="1691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8" name="Google Shape;13508;p64"/>
            <p:cNvSpPr/>
            <p:nvPr/>
          </p:nvSpPr>
          <p:spPr>
            <a:xfrm>
              <a:off x="4653179" y="2522409"/>
              <a:ext cx="377886" cy="255436"/>
            </a:xfrm>
            <a:custGeom>
              <a:avLst/>
              <a:gdLst/>
              <a:ahLst/>
              <a:cxnLst/>
              <a:rect l="l" t="t" r="r" b="b"/>
              <a:pathLst>
                <a:path w="11872" h="8025" extrusionOk="0">
                  <a:moveTo>
                    <a:pt x="11526" y="6822"/>
                  </a:moveTo>
                  <a:lnTo>
                    <a:pt x="11526" y="7025"/>
                  </a:lnTo>
                  <a:cubicBezTo>
                    <a:pt x="11526" y="7382"/>
                    <a:pt x="11228" y="7680"/>
                    <a:pt x="10871" y="7680"/>
                  </a:cubicBezTo>
                  <a:lnTo>
                    <a:pt x="1025" y="7680"/>
                  </a:lnTo>
                  <a:cubicBezTo>
                    <a:pt x="668" y="7680"/>
                    <a:pt x="370" y="7382"/>
                    <a:pt x="370" y="7025"/>
                  </a:cubicBezTo>
                  <a:lnTo>
                    <a:pt x="370" y="6822"/>
                  </a:lnTo>
                  <a:lnTo>
                    <a:pt x="4537" y="6822"/>
                  </a:lnTo>
                  <a:lnTo>
                    <a:pt x="4728" y="6953"/>
                  </a:lnTo>
                  <a:cubicBezTo>
                    <a:pt x="4751" y="6965"/>
                    <a:pt x="4787" y="6989"/>
                    <a:pt x="4835" y="6989"/>
                  </a:cubicBezTo>
                  <a:lnTo>
                    <a:pt x="7073" y="6989"/>
                  </a:lnTo>
                  <a:cubicBezTo>
                    <a:pt x="7109" y="6989"/>
                    <a:pt x="7156" y="6965"/>
                    <a:pt x="7180" y="6953"/>
                  </a:cubicBezTo>
                  <a:lnTo>
                    <a:pt x="7371" y="6822"/>
                  </a:lnTo>
                  <a:close/>
                  <a:moveTo>
                    <a:pt x="1537" y="0"/>
                  </a:moveTo>
                  <a:cubicBezTo>
                    <a:pt x="977" y="0"/>
                    <a:pt x="513" y="465"/>
                    <a:pt x="513" y="1036"/>
                  </a:cubicBezTo>
                  <a:lnTo>
                    <a:pt x="513" y="6477"/>
                  </a:lnTo>
                  <a:lnTo>
                    <a:pt x="179" y="6477"/>
                  </a:lnTo>
                  <a:cubicBezTo>
                    <a:pt x="96" y="6477"/>
                    <a:pt x="1" y="6549"/>
                    <a:pt x="1" y="6656"/>
                  </a:cubicBezTo>
                  <a:lnTo>
                    <a:pt x="1" y="7025"/>
                  </a:lnTo>
                  <a:cubicBezTo>
                    <a:pt x="1" y="7584"/>
                    <a:pt x="453" y="8025"/>
                    <a:pt x="1001" y="8025"/>
                  </a:cubicBezTo>
                  <a:lnTo>
                    <a:pt x="10859" y="8025"/>
                  </a:lnTo>
                  <a:cubicBezTo>
                    <a:pt x="11407" y="8025"/>
                    <a:pt x="11848" y="7584"/>
                    <a:pt x="11848" y="7025"/>
                  </a:cubicBezTo>
                  <a:lnTo>
                    <a:pt x="11848" y="6656"/>
                  </a:lnTo>
                  <a:cubicBezTo>
                    <a:pt x="11871" y="6549"/>
                    <a:pt x="11800" y="6477"/>
                    <a:pt x="11705" y="6477"/>
                  </a:cubicBezTo>
                  <a:lnTo>
                    <a:pt x="11371" y="6477"/>
                  </a:lnTo>
                  <a:lnTo>
                    <a:pt x="11371" y="1036"/>
                  </a:lnTo>
                  <a:cubicBezTo>
                    <a:pt x="11371" y="465"/>
                    <a:pt x="10919" y="0"/>
                    <a:pt x="10347" y="0"/>
                  </a:cubicBezTo>
                  <a:lnTo>
                    <a:pt x="9609" y="0"/>
                  </a:lnTo>
                  <a:cubicBezTo>
                    <a:pt x="9514" y="0"/>
                    <a:pt x="9431" y="84"/>
                    <a:pt x="9431" y="179"/>
                  </a:cubicBezTo>
                  <a:cubicBezTo>
                    <a:pt x="9431" y="274"/>
                    <a:pt x="9502" y="357"/>
                    <a:pt x="9609" y="357"/>
                  </a:cubicBezTo>
                  <a:lnTo>
                    <a:pt x="10347" y="357"/>
                  </a:lnTo>
                  <a:cubicBezTo>
                    <a:pt x="10716" y="357"/>
                    <a:pt x="11038" y="679"/>
                    <a:pt x="11038" y="1048"/>
                  </a:cubicBezTo>
                  <a:lnTo>
                    <a:pt x="11038" y="6489"/>
                  </a:lnTo>
                  <a:lnTo>
                    <a:pt x="10645" y="6489"/>
                  </a:lnTo>
                  <a:lnTo>
                    <a:pt x="10645" y="1048"/>
                  </a:lnTo>
                  <a:cubicBezTo>
                    <a:pt x="10645" y="881"/>
                    <a:pt x="10514" y="750"/>
                    <a:pt x="10347" y="750"/>
                  </a:cubicBezTo>
                  <a:lnTo>
                    <a:pt x="1572" y="750"/>
                  </a:lnTo>
                  <a:cubicBezTo>
                    <a:pt x="1406" y="750"/>
                    <a:pt x="1275" y="881"/>
                    <a:pt x="1275" y="1048"/>
                  </a:cubicBezTo>
                  <a:lnTo>
                    <a:pt x="1275" y="3298"/>
                  </a:lnTo>
                  <a:cubicBezTo>
                    <a:pt x="1275" y="3382"/>
                    <a:pt x="1346" y="3477"/>
                    <a:pt x="1453" y="3477"/>
                  </a:cubicBezTo>
                  <a:cubicBezTo>
                    <a:pt x="1537" y="3477"/>
                    <a:pt x="1632" y="3393"/>
                    <a:pt x="1632" y="3298"/>
                  </a:cubicBezTo>
                  <a:lnTo>
                    <a:pt x="1632" y="1096"/>
                  </a:lnTo>
                  <a:lnTo>
                    <a:pt x="10300" y="1096"/>
                  </a:lnTo>
                  <a:lnTo>
                    <a:pt x="10300" y="6489"/>
                  </a:lnTo>
                  <a:lnTo>
                    <a:pt x="7323" y="6489"/>
                  </a:lnTo>
                  <a:cubicBezTo>
                    <a:pt x="7299" y="6489"/>
                    <a:pt x="7252" y="6513"/>
                    <a:pt x="7228" y="6525"/>
                  </a:cubicBezTo>
                  <a:lnTo>
                    <a:pt x="7026" y="6656"/>
                  </a:lnTo>
                  <a:lnTo>
                    <a:pt x="4882" y="6656"/>
                  </a:lnTo>
                  <a:lnTo>
                    <a:pt x="4692" y="6525"/>
                  </a:lnTo>
                  <a:cubicBezTo>
                    <a:pt x="4668" y="6513"/>
                    <a:pt x="4632" y="6489"/>
                    <a:pt x="4585" y="6489"/>
                  </a:cubicBezTo>
                  <a:lnTo>
                    <a:pt x="1596" y="6489"/>
                  </a:lnTo>
                  <a:lnTo>
                    <a:pt x="1596" y="4155"/>
                  </a:lnTo>
                  <a:cubicBezTo>
                    <a:pt x="1596" y="4072"/>
                    <a:pt x="1525" y="3977"/>
                    <a:pt x="1418" y="3977"/>
                  </a:cubicBezTo>
                  <a:cubicBezTo>
                    <a:pt x="1311" y="3977"/>
                    <a:pt x="1239" y="4048"/>
                    <a:pt x="1239" y="4155"/>
                  </a:cubicBezTo>
                  <a:lnTo>
                    <a:pt x="1239" y="6489"/>
                  </a:lnTo>
                  <a:lnTo>
                    <a:pt x="858" y="6489"/>
                  </a:lnTo>
                  <a:lnTo>
                    <a:pt x="858" y="1048"/>
                  </a:lnTo>
                  <a:cubicBezTo>
                    <a:pt x="858" y="679"/>
                    <a:pt x="1168" y="357"/>
                    <a:pt x="1537" y="357"/>
                  </a:cubicBezTo>
                  <a:lnTo>
                    <a:pt x="8871" y="357"/>
                  </a:lnTo>
                  <a:cubicBezTo>
                    <a:pt x="8966" y="357"/>
                    <a:pt x="9050" y="286"/>
                    <a:pt x="9050" y="179"/>
                  </a:cubicBezTo>
                  <a:cubicBezTo>
                    <a:pt x="9050" y="95"/>
                    <a:pt x="8978" y="0"/>
                    <a:pt x="8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09" name="Google Shape;13509;p64"/>
          <p:cNvGrpSpPr/>
          <p:nvPr/>
        </p:nvGrpSpPr>
        <p:grpSpPr>
          <a:xfrm>
            <a:off x="5184517" y="2459481"/>
            <a:ext cx="252062" cy="305122"/>
            <a:chOff x="5184517" y="2459481"/>
            <a:chExt cx="252062" cy="305122"/>
          </a:xfrm>
        </p:grpSpPr>
        <p:sp>
          <p:nvSpPr>
            <p:cNvPr id="13510" name="Google Shape;13510;p64"/>
            <p:cNvSpPr/>
            <p:nvPr/>
          </p:nvSpPr>
          <p:spPr>
            <a:xfrm>
              <a:off x="5383486" y="2674747"/>
              <a:ext cx="13273" cy="1330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03" y="0"/>
                  </a:moveTo>
                  <a:cubicBezTo>
                    <a:pt x="107" y="0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1" name="Google Shape;13511;p64"/>
            <p:cNvSpPr/>
            <p:nvPr/>
          </p:nvSpPr>
          <p:spPr>
            <a:xfrm>
              <a:off x="5350128" y="2724402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96" y="0"/>
                    <a:pt x="0" y="84"/>
                    <a:pt x="0" y="179"/>
                  </a:cubicBezTo>
                  <a:cubicBezTo>
                    <a:pt x="0" y="262"/>
                    <a:pt x="96" y="357"/>
                    <a:pt x="179" y="357"/>
                  </a:cubicBezTo>
                  <a:cubicBezTo>
                    <a:pt x="274" y="357"/>
                    <a:pt x="358" y="286"/>
                    <a:pt x="358" y="179"/>
                  </a:cubicBezTo>
                  <a:cubicBezTo>
                    <a:pt x="358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2" name="Google Shape;13512;p64"/>
            <p:cNvSpPr/>
            <p:nvPr/>
          </p:nvSpPr>
          <p:spPr>
            <a:xfrm>
              <a:off x="5254638" y="2666376"/>
              <a:ext cx="11395" cy="11427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93" y="1"/>
                  </a:moveTo>
                  <a:cubicBezTo>
                    <a:pt x="188" y="1"/>
                    <a:pt x="183" y="1"/>
                    <a:pt x="179" y="2"/>
                  </a:cubicBezTo>
                  <a:cubicBezTo>
                    <a:pt x="83" y="2"/>
                    <a:pt x="0" y="97"/>
                    <a:pt x="0" y="180"/>
                  </a:cubicBezTo>
                  <a:cubicBezTo>
                    <a:pt x="0" y="275"/>
                    <a:pt x="71" y="359"/>
                    <a:pt x="179" y="359"/>
                  </a:cubicBezTo>
                  <a:cubicBezTo>
                    <a:pt x="262" y="359"/>
                    <a:pt x="357" y="287"/>
                    <a:pt x="357" y="180"/>
                  </a:cubicBezTo>
                  <a:cubicBezTo>
                    <a:pt x="357" y="90"/>
                    <a:pt x="273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3" name="Google Shape;13513;p64"/>
            <p:cNvSpPr/>
            <p:nvPr/>
          </p:nvSpPr>
          <p:spPr>
            <a:xfrm>
              <a:off x="5273959" y="2724402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84" y="0"/>
                    <a:pt x="0" y="84"/>
                    <a:pt x="0" y="179"/>
                  </a:cubicBezTo>
                  <a:cubicBezTo>
                    <a:pt x="0" y="262"/>
                    <a:pt x="84" y="357"/>
                    <a:pt x="179" y="357"/>
                  </a:cubicBezTo>
                  <a:cubicBezTo>
                    <a:pt x="274" y="357"/>
                    <a:pt x="357" y="286"/>
                    <a:pt x="357" y="179"/>
                  </a:cubicBez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4" name="Google Shape;13514;p64"/>
            <p:cNvSpPr/>
            <p:nvPr/>
          </p:nvSpPr>
          <p:spPr>
            <a:xfrm>
              <a:off x="5308049" y="2678917"/>
              <a:ext cx="14451" cy="14037"/>
            </a:xfrm>
            <a:custGeom>
              <a:avLst/>
              <a:gdLst/>
              <a:ahLst/>
              <a:cxnLst/>
              <a:rect l="l" t="t" r="r" b="b"/>
              <a:pathLst>
                <a:path w="454" h="441" extrusionOk="0">
                  <a:moveTo>
                    <a:pt x="227" y="0"/>
                  </a:moveTo>
                  <a:cubicBezTo>
                    <a:pt x="108" y="0"/>
                    <a:pt x="1" y="108"/>
                    <a:pt x="1" y="227"/>
                  </a:cubicBezTo>
                  <a:cubicBezTo>
                    <a:pt x="1" y="346"/>
                    <a:pt x="108" y="441"/>
                    <a:pt x="227" y="441"/>
                  </a:cubicBezTo>
                  <a:cubicBezTo>
                    <a:pt x="346" y="441"/>
                    <a:pt x="453" y="346"/>
                    <a:pt x="453" y="227"/>
                  </a:cubicBezTo>
                  <a:cubicBezTo>
                    <a:pt x="453" y="84"/>
                    <a:pt x="358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5" name="Google Shape;13515;p64"/>
            <p:cNvSpPr/>
            <p:nvPr/>
          </p:nvSpPr>
          <p:spPr>
            <a:xfrm>
              <a:off x="5184517" y="2459481"/>
              <a:ext cx="252062" cy="305122"/>
            </a:xfrm>
            <a:custGeom>
              <a:avLst/>
              <a:gdLst/>
              <a:ahLst/>
              <a:cxnLst/>
              <a:rect l="l" t="t" r="r" b="b"/>
              <a:pathLst>
                <a:path w="7919" h="9586" extrusionOk="0">
                  <a:moveTo>
                    <a:pt x="2597" y="5657"/>
                  </a:moveTo>
                  <a:cubicBezTo>
                    <a:pt x="3126" y="5657"/>
                    <a:pt x="3630" y="5793"/>
                    <a:pt x="4096" y="6061"/>
                  </a:cubicBezTo>
                  <a:cubicBezTo>
                    <a:pt x="4607" y="6347"/>
                    <a:pt x="5099" y="6442"/>
                    <a:pt x="5531" y="6442"/>
                  </a:cubicBezTo>
                  <a:cubicBezTo>
                    <a:pt x="5853" y="6442"/>
                    <a:pt x="6143" y="6389"/>
                    <a:pt x="6382" y="6323"/>
                  </a:cubicBezTo>
                  <a:cubicBezTo>
                    <a:pt x="6751" y="6228"/>
                    <a:pt x="7037" y="6061"/>
                    <a:pt x="7204" y="5954"/>
                  </a:cubicBezTo>
                  <a:lnTo>
                    <a:pt x="7204" y="5954"/>
                  </a:lnTo>
                  <a:cubicBezTo>
                    <a:pt x="7525" y="7037"/>
                    <a:pt x="7263" y="8204"/>
                    <a:pt x="6442" y="9038"/>
                  </a:cubicBezTo>
                  <a:cubicBezTo>
                    <a:pt x="6275" y="9204"/>
                    <a:pt x="6037" y="9299"/>
                    <a:pt x="5799" y="9299"/>
                  </a:cubicBezTo>
                  <a:lnTo>
                    <a:pt x="2560" y="9299"/>
                  </a:lnTo>
                  <a:cubicBezTo>
                    <a:pt x="2322" y="9299"/>
                    <a:pt x="2084" y="9204"/>
                    <a:pt x="1917" y="9038"/>
                  </a:cubicBezTo>
                  <a:cubicBezTo>
                    <a:pt x="1179" y="8276"/>
                    <a:pt x="834" y="7180"/>
                    <a:pt x="1120" y="6025"/>
                  </a:cubicBezTo>
                  <a:cubicBezTo>
                    <a:pt x="1239" y="5966"/>
                    <a:pt x="1560" y="5811"/>
                    <a:pt x="1989" y="5716"/>
                  </a:cubicBezTo>
                  <a:cubicBezTo>
                    <a:pt x="2195" y="5677"/>
                    <a:pt x="2398" y="5657"/>
                    <a:pt x="2597" y="5657"/>
                  </a:cubicBezTo>
                  <a:close/>
                  <a:moveTo>
                    <a:pt x="2834" y="1"/>
                  </a:moveTo>
                  <a:cubicBezTo>
                    <a:pt x="2632" y="1"/>
                    <a:pt x="2465" y="167"/>
                    <a:pt x="2465" y="370"/>
                  </a:cubicBezTo>
                  <a:lnTo>
                    <a:pt x="2465" y="703"/>
                  </a:lnTo>
                  <a:cubicBezTo>
                    <a:pt x="2465" y="906"/>
                    <a:pt x="2632" y="1072"/>
                    <a:pt x="2834" y="1072"/>
                  </a:cubicBezTo>
                  <a:lnTo>
                    <a:pt x="3036" y="1072"/>
                  </a:lnTo>
                  <a:lnTo>
                    <a:pt x="3036" y="2239"/>
                  </a:lnTo>
                  <a:cubicBezTo>
                    <a:pt x="3036" y="2311"/>
                    <a:pt x="3096" y="2370"/>
                    <a:pt x="3167" y="2370"/>
                  </a:cubicBezTo>
                  <a:cubicBezTo>
                    <a:pt x="3239" y="2370"/>
                    <a:pt x="3298" y="2311"/>
                    <a:pt x="3298" y="2239"/>
                  </a:cubicBezTo>
                  <a:lnTo>
                    <a:pt x="3298" y="1072"/>
                  </a:lnTo>
                  <a:lnTo>
                    <a:pt x="4977" y="1072"/>
                  </a:lnTo>
                  <a:lnTo>
                    <a:pt x="4977" y="3406"/>
                  </a:lnTo>
                  <a:cubicBezTo>
                    <a:pt x="4977" y="3620"/>
                    <a:pt x="5096" y="3799"/>
                    <a:pt x="5311" y="3882"/>
                  </a:cubicBezTo>
                  <a:cubicBezTo>
                    <a:pt x="6144" y="4216"/>
                    <a:pt x="6763" y="4882"/>
                    <a:pt x="7097" y="5692"/>
                  </a:cubicBezTo>
                  <a:cubicBezTo>
                    <a:pt x="6966" y="5775"/>
                    <a:pt x="6668" y="5954"/>
                    <a:pt x="6275" y="6061"/>
                  </a:cubicBezTo>
                  <a:cubicBezTo>
                    <a:pt x="6015" y="6135"/>
                    <a:pt x="5758" y="6172"/>
                    <a:pt x="5506" y="6172"/>
                  </a:cubicBezTo>
                  <a:cubicBezTo>
                    <a:pt x="5064" y="6172"/>
                    <a:pt x="4636" y="6058"/>
                    <a:pt x="4227" y="5823"/>
                  </a:cubicBezTo>
                  <a:cubicBezTo>
                    <a:pt x="3710" y="5528"/>
                    <a:pt x="3145" y="5385"/>
                    <a:pt x="2580" y="5385"/>
                  </a:cubicBezTo>
                  <a:cubicBezTo>
                    <a:pt x="2117" y="5385"/>
                    <a:pt x="1654" y="5481"/>
                    <a:pt x="1215" y="5668"/>
                  </a:cubicBezTo>
                  <a:cubicBezTo>
                    <a:pt x="1524" y="4870"/>
                    <a:pt x="2155" y="4216"/>
                    <a:pt x="2989" y="3882"/>
                  </a:cubicBezTo>
                  <a:cubicBezTo>
                    <a:pt x="3179" y="3811"/>
                    <a:pt x="3322" y="3620"/>
                    <a:pt x="3322" y="3406"/>
                  </a:cubicBezTo>
                  <a:lnTo>
                    <a:pt x="3322" y="2930"/>
                  </a:lnTo>
                  <a:cubicBezTo>
                    <a:pt x="3322" y="2858"/>
                    <a:pt x="3263" y="2799"/>
                    <a:pt x="3179" y="2799"/>
                  </a:cubicBezTo>
                  <a:cubicBezTo>
                    <a:pt x="3108" y="2799"/>
                    <a:pt x="3048" y="2858"/>
                    <a:pt x="3048" y="2930"/>
                  </a:cubicBezTo>
                  <a:lnTo>
                    <a:pt x="3048" y="3406"/>
                  </a:lnTo>
                  <a:cubicBezTo>
                    <a:pt x="3048" y="3501"/>
                    <a:pt x="2989" y="3585"/>
                    <a:pt x="2894" y="3620"/>
                  </a:cubicBezTo>
                  <a:cubicBezTo>
                    <a:pt x="608" y="4525"/>
                    <a:pt x="0" y="7490"/>
                    <a:pt x="1703" y="9228"/>
                  </a:cubicBezTo>
                  <a:cubicBezTo>
                    <a:pt x="1929" y="9454"/>
                    <a:pt x="2227" y="9585"/>
                    <a:pt x="2560" y="9585"/>
                  </a:cubicBezTo>
                  <a:lnTo>
                    <a:pt x="5799" y="9585"/>
                  </a:lnTo>
                  <a:cubicBezTo>
                    <a:pt x="6108" y="9585"/>
                    <a:pt x="6430" y="9454"/>
                    <a:pt x="6656" y="9228"/>
                  </a:cubicBezTo>
                  <a:cubicBezTo>
                    <a:pt x="7870" y="7990"/>
                    <a:pt x="7918" y="6132"/>
                    <a:pt x="6989" y="4835"/>
                  </a:cubicBezTo>
                  <a:cubicBezTo>
                    <a:pt x="6608" y="4287"/>
                    <a:pt x="6073" y="3870"/>
                    <a:pt x="5442" y="3620"/>
                  </a:cubicBezTo>
                  <a:cubicBezTo>
                    <a:pt x="5358" y="3585"/>
                    <a:pt x="5299" y="3501"/>
                    <a:pt x="5299" y="3406"/>
                  </a:cubicBezTo>
                  <a:lnTo>
                    <a:pt x="5299" y="1072"/>
                  </a:lnTo>
                  <a:lnTo>
                    <a:pt x="5489" y="1072"/>
                  </a:lnTo>
                  <a:cubicBezTo>
                    <a:pt x="5692" y="1072"/>
                    <a:pt x="5858" y="906"/>
                    <a:pt x="5858" y="703"/>
                  </a:cubicBezTo>
                  <a:lnTo>
                    <a:pt x="5858" y="370"/>
                  </a:lnTo>
                  <a:cubicBezTo>
                    <a:pt x="5858" y="167"/>
                    <a:pt x="5692" y="1"/>
                    <a:pt x="5489" y="1"/>
                  </a:cubicBezTo>
                  <a:lnTo>
                    <a:pt x="4739" y="1"/>
                  </a:lnTo>
                  <a:cubicBezTo>
                    <a:pt x="4668" y="1"/>
                    <a:pt x="4608" y="60"/>
                    <a:pt x="4608" y="132"/>
                  </a:cubicBezTo>
                  <a:cubicBezTo>
                    <a:pt x="4608" y="215"/>
                    <a:pt x="4668" y="275"/>
                    <a:pt x="4739" y="275"/>
                  </a:cubicBezTo>
                  <a:lnTo>
                    <a:pt x="5489" y="275"/>
                  </a:lnTo>
                  <a:cubicBezTo>
                    <a:pt x="5537" y="275"/>
                    <a:pt x="5573" y="310"/>
                    <a:pt x="5573" y="358"/>
                  </a:cubicBezTo>
                  <a:lnTo>
                    <a:pt x="5573" y="691"/>
                  </a:lnTo>
                  <a:cubicBezTo>
                    <a:pt x="5573" y="727"/>
                    <a:pt x="5537" y="775"/>
                    <a:pt x="5489" y="775"/>
                  </a:cubicBezTo>
                  <a:lnTo>
                    <a:pt x="2834" y="775"/>
                  </a:lnTo>
                  <a:cubicBezTo>
                    <a:pt x="2798" y="775"/>
                    <a:pt x="2751" y="727"/>
                    <a:pt x="2751" y="691"/>
                  </a:cubicBezTo>
                  <a:lnTo>
                    <a:pt x="2751" y="358"/>
                  </a:lnTo>
                  <a:cubicBezTo>
                    <a:pt x="2751" y="310"/>
                    <a:pt x="2798" y="275"/>
                    <a:pt x="2834" y="275"/>
                  </a:cubicBezTo>
                  <a:lnTo>
                    <a:pt x="4060" y="275"/>
                  </a:lnTo>
                  <a:cubicBezTo>
                    <a:pt x="4132" y="275"/>
                    <a:pt x="4191" y="215"/>
                    <a:pt x="4191" y="132"/>
                  </a:cubicBezTo>
                  <a:cubicBezTo>
                    <a:pt x="4191" y="60"/>
                    <a:pt x="4132" y="1"/>
                    <a:pt x="4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516" name="Google Shape;13516;p64"/>
          <p:cNvSpPr/>
          <p:nvPr/>
        </p:nvSpPr>
        <p:spPr>
          <a:xfrm>
            <a:off x="1801020" y="1970604"/>
            <a:ext cx="354363" cy="354395"/>
          </a:xfrm>
          <a:custGeom>
            <a:avLst/>
            <a:gdLst/>
            <a:ahLst/>
            <a:cxnLst/>
            <a:rect l="l" t="t" r="r" b="b"/>
            <a:pathLst>
              <a:path w="11133" h="11134" extrusionOk="0">
                <a:moveTo>
                  <a:pt x="2876" y="2961"/>
                </a:moveTo>
                <a:cubicBezTo>
                  <a:pt x="2929" y="2961"/>
                  <a:pt x="2983" y="2967"/>
                  <a:pt x="3036" y="2977"/>
                </a:cubicBezTo>
                <a:cubicBezTo>
                  <a:pt x="3358" y="3037"/>
                  <a:pt x="3584" y="3287"/>
                  <a:pt x="3656" y="3596"/>
                </a:cubicBezTo>
                <a:cubicBezTo>
                  <a:pt x="3703" y="3882"/>
                  <a:pt x="3608" y="4180"/>
                  <a:pt x="3382" y="4358"/>
                </a:cubicBezTo>
                <a:cubicBezTo>
                  <a:pt x="3239" y="4489"/>
                  <a:pt x="3144" y="4680"/>
                  <a:pt x="3144" y="4882"/>
                </a:cubicBezTo>
                <a:lnTo>
                  <a:pt x="3144" y="5239"/>
                </a:lnTo>
                <a:cubicBezTo>
                  <a:pt x="3144" y="5525"/>
                  <a:pt x="3370" y="5740"/>
                  <a:pt x="3644" y="5740"/>
                </a:cubicBezTo>
                <a:lnTo>
                  <a:pt x="5406" y="5740"/>
                </a:lnTo>
                <a:lnTo>
                  <a:pt x="5406" y="7502"/>
                </a:lnTo>
                <a:cubicBezTo>
                  <a:pt x="5406" y="7609"/>
                  <a:pt x="5311" y="7680"/>
                  <a:pt x="5227" y="7680"/>
                </a:cubicBezTo>
                <a:lnTo>
                  <a:pt x="4870" y="7680"/>
                </a:lnTo>
                <a:cubicBezTo>
                  <a:pt x="4763" y="7680"/>
                  <a:pt x="4668" y="7633"/>
                  <a:pt x="4596" y="7561"/>
                </a:cubicBezTo>
                <a:cubicBezTo>
                  <a:pt x="4386" y="7313"/>
                  <a:pt x="4084" y="7164"/>
                  <a:pt x="3770" y="7164"/>
                </a:cubicBezTo>
                <a:cubicBezTo>
                  <a:pt x="3693" y="7164"/>
                  <a:pt x="3614" y="7173"/>
                  <a:pt x="3537" y="7192"/>
                </a:cubicBezTo>
                <a:cubicBezTo>
                  <a:pt x="3096" y="7264"/>
                  <a:pt x="2739" y="7621"/>
                  <a:pt x="2655" y="8049"/>
                </a:cubicBezTo>
                <a:cubicBezTo>
                  <a:pt x="2584" y="8395"/>
                  <a:pt x="2667" y="8740"/>
                  <a:pt x="2882" y="9002"/>
                </a:cubicBezTo>
                <a:cubicBezTo>
                  <a:pt x="3084" y="9276"/>
                  <a:pt x="3417" y="9419"/>
                  <a:pt x="3739" y="9419"/>
                </a:cubicBezTo>
                <a:cubicBezTo>
                  <a:pt x="4084" y="9419"/>
                  <a:pt x="4394" y="9276"/>
                  <a:pt x="4608" y="9014"/>
                </a:cubicBezTo>
                <a:cubicBezTo>
                  <a:pt x="4668" y="8942"/>
                  <a:pt x="4763" y="8895"/>
                  <a:pt x="4870" y="8895"/>
                </a:cubicBezTo>
                <a:lnTo>
                  <a:pt x="5215" y="8895"/>
                </a:lnTo>
                <a:cubicBezTo>
                  <a:pt x="5322" y="8895"/>
                  <a:pt x="5394" y="8990"/>
                  <a:pt x="5394" y="9073"/>
                </a:cubicBezTo>
                <a:lnTo>
                  <a:pt x="5394" y="10812"/>
                </a:lnTo>
                <a:lnTo>
                  <a:pt x="870" y="10812"/>
                </a:lnTo>
                <a:cubicBezTo>
                  <a:pt x="572" y="10812"/>
                  <a:pt x="334" y="10573"/>
                  <a:pt x="334" y="10276"/>
                </a:cubicBezTo>
                <a:lnTo>
                  <a:pt x="334" y="5728"/>
                </a:lnTo>
                <a:lnTo>
                  <a:pt x="2084" y="5728"/>
                </a:lnTo>
                <a:cubicBezTo>
                  <a:pt x="2370" y="5728"/>
                  <a:pt x="2596" y="5513"/>
                  <a:pt x="2596" y="5228"/>
                </a:cubicBezTo>
                <a:lnTo>
                  <a:pt x="2596" y="4882"/>
                </a:lnTo>
                <a:cubicBezTo>
                  <a:pt x="2596" y="4680"/>
                  <a:pt x="2501" y="4477"/>
                  <a:pt x="2358" y="4358"/>
                </a:cubicBezTo>
                <a:cubicBezTo>
                  <a:pt x="2179" y="4216"/>
                  <a:pt x="2072" y="3989"/>
                  <a:pt x="2072" y="3751"/>
                </a:cubicBezTo>
                <a:cubicBezTo>
                  <a:pt x="2072" y="3513"/>
                  <a:pt x="2179" y="3287"/>
                  <a:pt x="2370" y="3144"/>
                </a:cubicBezTo>
                <a:cubicBezTo>
                  <a:pt x="2517" y="3024"/>
                  <a:pt x="2694" y="2961"/>
                  <a:pt x="2876" y="2961"/>
                </a:cubicBezTo>
                <a:close/>
                <a:moveTo>
                  <a:pt x="10287" y="334"/>
                </a:moveTo>
                <a:cubicBezTo>
                  <a:pt x="10585" y="334"/>
                  <a:pt x="10823" y="572"/>
                  <a:pt x="10823" y="870"/>
                </a:cubicBezTo>
                <a:lnTo>
                  <a:pt x="10823" y="5406"/>
                </a:lnTo>
                <a:lnTo>
                  <a:pt x="10633" y="5406"/>
                </a:lnTo>
                <a:cubicBezTo>
                  <a:pt x="10537" y="5406"/>
                  <a:pt x="10466" y="5478"/>
                  <a:pt x="10466" y="5573"/>
                </a:cubicBezTo>
                <a:cubicBezTo>
                  <a:pt x="10466" y="5656"/>
                  <a:pt x="10537" y="5728"/>
                  <a:pt x="10633" y="5728"/>
                </a:cubicBezTo>
                <a:lnTo>
                  <a:pt x="10811" y="5728"/>
                </a:lnTo>
                <a:lnTo>
                  <a:pt x="10811" y="10276"/>
                </a:lnTo>
                <a:cubicBezTo>
                  <a:pt x="10811" y="10573"/>
                  <a:pt x="10573" y="10812"/>
                  <a:pt x="10275" y="10812"/>
                </a:cubicBezTo>
                <a:lnTo>
                  <a:pt x="5739" y="10812"/>
                </a:lnTo>
                <a:lnTo>
                  <a:pt x="5739" y="9049"/>
                </a:lnTo>
                <a:cubicBezTo>
                  <a:pt x="5739" y="8764"/>
                  <a:pt x="5513" y="8549"/>
                  <a:pt x="5227" y="8549"/>
                </a:cubicBezTo>
                <a:lnTo>
                  <a:pt x="4882" y="8549"/>
                </a:lnTo>
                <a:cubicBezTo>
                  <a:pt x="4680" y="8549"/>
                  <a:pt x="4489" y="8633"/>
                  <a:pt x="4370" y="8788"/>
                </a:cubicBezTo>
                <a:cubicBezTo>
                  <a:pt x="4215" y="8966"/>
                  <a:pt x="3989" y="9061"/>
                  <a:pt x="3751" y="9061"/>
                </a:cubicBezTo>
                <a:cubicBezTo>
                  <a:pt x="3513" y="9061"/>
                  <a:pt x="3287" y="8966"/>
                  <a:pt x="3144" y="8764"/>
                </a:cubicBezTo>
                <a:cubicBezTo>
                  <a:pt x="2989" y="8573"/>
                  <a:pt x="2941" y="8335"/>
                  <a:pt x="2977" y="8097"/>
                </a:cubicBezTo>
                <a:cubicBezTo>
                  <a:pt x="3036" y="7787"/>
                  <a:pt x="3287" y="7549"/>
                  <a:pt x="3608" y="7490"/>
                </a:cubicBezTo>
                <a:cubicBezTo>
                  <a:pt x="3659" y="7479"/>
                  <a:pt x="3710" y="7473"/>
                  <a:pt x="3761" y="7473"/>
                </a:cubicBezTo>
                <a:cubicBezTo>
                  <a:pt x="3988" y="7473"/>
                  <a:pt x="4212" y="7577"/>
                  <a:pt x="4358" y="7752"/>
                </a:cubicBezTo>
                <a:cubicBezTo>
                  <a:pt x="4501" y="7906"/>
                  <a:pt x="4680" y="7990"/>
                  <a:pt x="4882" y="7990"/>
                </a:cubicBezTo>
                <a:lnTo>
                  <a:pt x="5239" y="7990"/>
                </a:lnTo>
                <a:cubicBezTo>
                  <a:pt x="5525" y="7990"/>
                  <a:pt x="5751" y="7775"/>
                  <a:pt x="5751" y="7490"/>
                </a:cubicBezTo>
                <a:lnTo>
                  <a:pt x="5751" y="5728"/>
                </a:lnTo>
                <a:lnTo>
                  <a:pt x="7501" y="5728"/>
                </a:lnTo>
                <a:cubicBezTo>
                  <a:pt x="7608" y="5728"/>
                  <a:pt x="7680" y="5823"/>
                  <a:pt x="7680" y="5906"/>
                </a:cubicBezTo>
                <a:lnTo>
                  <a:pt x="7680" y="6263"/>
                </a:lnTo>
                <a:cubicBezTo>
                  <a:pt x="7680" y="6371"/>
                  <a:pt x="7632" y="6478"/>
                  <a:pt x="7561" y="6537"/>
                </a:cubicBezTo>
                <a:cubicBezTo>
                  <a:pt x="7251" y="6799"/>
                  <a:pt x="7097" y="7204"/>
                  <a:pt x="7192" y="7609"/>
                </a:cubicBezTo>
                <a:cubicBezTo>
                  <a:pt x="7263" y="8037"/>
                  <a:pt x="7620" y="8395"/>
                  <a:pt x="8049" y="8490"/>
                </a:cubicBezTo>
                <a:cubicBezTo>
                  <a:pt x="8132" y="8502"/>
                  <a:pt x="8216" y="8514"/>
                  <a:pt x="8287" y="8514"/>
                </a:cubicBezTo>
                <a:cubicBezTo>
                  <a:pt x="8549" y="8514"/>
                  <a:pt x="8799" y="8418"/>
                  <a:pt x="9002" y="8264"/>
                </a:cubicBezTo>
                <a:cubicBezTo>
                  <a:pt x="9275" y="8049"/>
                  <a:pt x="9418" y="7728"/>
                  <a:pt x="9418" y="7394"/>
                </a:cubicBezTo>
                <a:cubicBezTo>
                  <a:pt x="9418" y="7061"/>
                  <a:pt x="9275" y="6740"/>
                  <a:pt x="9025" y="6537"/>
                </a:cubicBezTo>
                <a:cubicBezTo>
                  <a:pt x="8942" y="6478"/>
                  <a:pt x="8906" y="6371"/>
                  <a:pt x="8906" y="6263"/>
                </a:cubicBezTo>
                <a:lnTo>
                  <a:pt x="8906" y="5930"/>
                </a:lnTo>
                <a:cubicBezTo>
                  <a:pt x="8906" y="5823"/>
                  <a:pt x="8990" y="5751"/>
                  <a:pt x="9085" y="5751"/>
                </a:cubicBezTo>
                <a:lnTo>
                  <a:pt x="9954" y="5751"/>
                </a:lnTo>
                <a:cubicBezTo>
                  <a:pt x="10049" y="5751"/>
                  <a:pt x="10121" y="5668"/>
                  <a:pt x="10121" y="5585"/>
                </a:cubicBezTo>
                <a:cubicBezTo>
                  <a:pt x="10121" y="5489"/>
                  <a:pt x="10049" y="5418"/>
                  <a:pt x="9954" y="5418"/>
                </a:cubicBezTo>
                <a:lnTo>
                  <a:pt x="9085" y="5418"/>
                </a:lnTo>
                <a:cubicBezTo>
                  <a:pt x="8799" y="5418"/>
                  <a:pt x="8573" y="5644"/>
                  <a:pt x="8573" y="5918"/>
                </a:cubicBezTo>
                <a:lnTo>
                  <a:pt x="8573" y="6263"/>
                </a:lnTo>
                <a:cubicBezTo>
                  <a:pt x="8573" y="6478"/>
                  <a:pt x="8668" y="6668"/>
                  <a:pt x="8811" y="6787"/>
                </a:cubicBezTo>
                <a:cubicBezTo>
                  <a:pt x="8990" y="6930"/>
                  <a:pt x="9097" y="7156"/>
                  <a:pt x="9097" y="7394"/>
                </a:cubicBezTo>
                <a:cubicBezTo>
                  <a:pt x="9097" y="7633"/>
                  <a:pt x="8990" y="7859"/>
                  <a:pt x="8799" y="8014"/>
                </a:cubicBezTo>
                <a:cubicBezTo>
                  <a:pt x="8652" y="8124"/>
                  <a:pt x="8477" y="8185"/>
                  <a:pt x="8295" y="8185"/>
                </a:cubicBezTo>
                <a:cubicBezTo>
                  <a:pt x="8241" y="8185"/>
                  <a:pt x="8187" y="8179"/>
                  <a:pt x="8132" y="8168"/>
                </a:cubicBezTo>
                <a:cubicBezTo>
                  <a:pt x="7811" y="8109"/>
                  <a:pt x="7573" y="7859"/>
                  <a:pt x="7513" y="7549"/>
                </a:cubicBezTo>
                <a:cubicBezTo>
                  <a:pt x="7454" y="7264"/>
                  <a:pt x="7561" y="6966"/>
                  <a:pt x="7787" y="6787"/>
                </a:cubicBezTo>
                <a:cubicBezTo>
                  <a:pt x="7930" y="6656"/>
                  <a:pt x="8025" y="6478"/>
                  <a:pt x="8025" y="6263"/>
                </a:cubicBezTo>
                <a:lnTo>
                  <a:pt x="8025" y="5930"/>
                </a:lnTo>
                <a:cubicBezTo>
                  <a:pt x="8025" y="5644"/>
                  <a:pt x="7799" y="5418"/>
                  <a:pt x="7525" y="5418"/>
                </a:cubicBezTo>
                <a:lnTo>
                  <a:pt x="5763" y="5418"/>
                </a:lnTo>
                <a:lnTo>
                  <a:pt x="5763" y="3668"/>
                </a:lnTo>
                <a:cubicBezTo>
                  <a:pt x="5763" y="3561"/>
                  <a:pt x="5858" y="3489"/>
                  <a:pt x="5942" y="3489"/>
                </a:cubicBezTo>
                <a:lnTo>
                  <a:pt x="6299" y="3489"/>
                </a:lnTo>
                <a:cubicBezTo>
                  <a:pt x="6406" y="3489"/>
                  <a:pt x="6501" y="3525"/>
                  <a:pt x="6561" y="3608"/>
                </a:cubicBezTo>
                <a:cubicBezTo>
                  <a:pt x="6783" y="3859"/>
                  <a:pt x="7091" y="4001"/>
                  <a:pt x="7409" y="4001"/>
                </a:cubicBezTo>
                <a:cubicBezTo>
                  <a:pt x="7483" y="4001"/>
                  <a:pt x="7558" y="3993"/>
                  <a:pt x="7632" y="3977"/>
                </a:cubicBezTo>
                <a:cubicBezTo>
                  <a:pt x="8073" y="3906"/>
                  <a:pt x="8430" y="3549"/>
                  <a:pt x="8513" y="3108"/>
                </a:cubicBezTo>
                <a:cubicBezTo>
                  <a:pt x="8585" y="2775"/>
                  <a:pt x="8501" y="2430"/>
                  <a:pt x="8287" y="2156"/>
                </a:cubicBezTo>
                <a:cubicBezTo>
                  <a:pt x="8085" y="1894"/>
                  <a:pt x="7751" y="1739"/>
                  <a:pt x="7430" y="1739"/>
                </a:cubicBezTo>
                <a:cubicBezTo>
                  <a:pt x="7085" y="1739"/>
                  <a:pt x="6775" y="1894"/>
                  <a:pt x="6561" y="2144"/>
                </a:cubicBezTo>
                <a:cubicBezTo>
                  <a:pt x="6501" y="2215"/>
                  <a:pt x="6406" y="2263"/>
                  <a:pt x="6299" y="2263"/>
                </a:cubicBezTo>
                <a:lnTo>
                  <a:pt x="5954" y="2263"/>
                </a:lnTo>
                <a:cubicBezTo>
                  <a:pt x="5846" y="2263"/>
                  <a:pt x="5775" y="2180"/>
                  <a:pt x="5775" y="2084"/>
                </a:cubicBezTo>
                <a:lnTo>
                  <a:pt x="5775" y="1203"/>
                </a:lnTo>
                <a:cubicBezTo>
                  <a:pt x="5775" y="1120"/>
                  <a:pt x="5703" y="1048"/>
                  <a:pt x="5608" y="1048"/>
                </a:cubicBezTo>
                <a:cubicBezTo>
                  <a:pt x="5525" y="1048"/>
                  <a:pt x="5453" y="1120"/>
                  <a:pt x="5453" y="1203"/>
                </a:cubicBezTo>
                <a:lnTo>
                  <a:pt x="5453" y="2084"/>
                </a:lnTo>
                <a:cubicBezTo>
                  <a:pt x="5453" y="2370"/>
                  <a:pt x="5668" y="2596"/>
                  <a:pt x="5954" y="2596"/>
                </a:cubicBezTo>
                <a:lnTo>
                  <a:pt x="6299" y="2596"/>
                </a:lnTo>
                <a:cubicBezTo>
                  <a:pt x="6501" y="2596"/>
                  <a:pt x="6704" y="2501"/>
                  <a:pt x="6823" y="2358"/>
                </a:cubicBezTo>
                <a:cubicBezTo>
                  <a:pt x="6966" y="2180"/>
                  <a:pt x="7192" y="2072"/>
                  <a:pt x="7430" y="2072"/>
                </a:cubicBezTo>
                <a:cubicBezTo>
                  <a:pt x="7668" y="2072"/>
                  <a:pt x="7894" y="2180"/>
                  <a:pt x="8037" y="2370"/>
                </a:cubicBezTo>
                <a:cubicBezTo>
                  <a:pt x="8192" y="2561"/>
                  <a:pt x="8251" y="2799"/>
                  <a:pt x="8204" y="3037"/>
                </a:cubicBezTo>
                <a:cubicBezTo>
                  <a:pt x="8144" y="3346"/>
                  <a:pt x="7894" y="3584"/>
                  <a:pt x="7573" y="3644"/>
                </a:cubicBezTo>
                <a:cubicBezTo>
                  <a:pt x="7519" y="3656"/>
                  <a:pt x="7465" y="3661"/>
                  <a:pt x="7411" y="3661"/>
                </a:cubicBezTo>
                <a:cubicBezTo>
                  <a:pt x="7187" y="3661"/>
                  <a:pt x="6966" y="3564"/>
                  <a:pt x="6823" y="3382"/>
                </a:cubicBezTo>
                <a:cubicBezTo>
                  <a:pt x="6680" y="3227"/>
                  <a:pt x="6501" y="3144"/>
                  <a:pt x="6299" y="3144"/>
                </a:cubicBezTo>
                <a:lnTo>
                  <a:pt x="5942" y="3144"/>
                </a:lnTo>
                <a:cubicBezTo>
                  <a:pt x="5656" y="3144"/>
                  <a:pt x="5430" y="3370"/>
                  <a:pt x="5430" y="3644"/>
                </a:cubicBezTo>
                <a:lnTo>
                  <a:pt x="5430" y="5406"/>
                </a:lnTo>
                <a:lnTo>
                  <a:pt x="3679" y="5406"/>
                </a:lnTo>
                <a:cubicBezTo>
                  <a:pt x="3572" y="5406"/>
                  <a:pt x="3501" y="5311"/>
                  <a:pt x="3501" y="5228"/>
                </a:cubicBezTo>
                <a:lnTo>
                  <a:pt x="3501" y="4870"/>
                </a:lnTo>
                <a:cubicBezTo>
                  <a:pt x="3501" y="4763"/>
                  <a:pt x="3548" y="4656"/>
                  <a:pt x="3620" y="4597"/>
                </a:cubicBezTo>
                <a:cubicBezTo>
                  <a:pt x="3929" y="4335"/>
                  <a:pt x="4084" y="3930"/>
                  <a:pt x="3989" y="3525"/>
                </a:cubicBezTo>
                <a:cubicBezTo>
                  <a:pt x="3918" y="3096"/>
                  <a:pt x="3560" y="2739"/>
                  <a:pt x="3132" y="2656"/>
                </a:cubicBezTo>
                <a:cubicBezTo>
                  <a:pt x="3047" y="2635"/>
                  <a:pt x="2962" y="2626"/>
                  <a:pt x="2879" y="2626"/>
                </a:cubicBezTo>
                <a:cubicBezTo>
                  <a:pt x="2622" y="2626"/>
                  <a:pt x="2377" y="2717"/>
                  <a:pt x="2179" y="2870"/>
                </a:cubicBezTo>
                <a:cubicBezTo>
                  <a:pt x="1905" y="3084"/>
                  <a:pt x="1763" y="3406"/>
                  <a:pt x="1763" y="3739"/>
                </a:cubicBezTo>
                <a:cubicBezTo>
                  <a:pt x="1763" y="4085"/>
                  <a:pt x="1905" y="4394"/>
                  <a:pt x="2155" y="4597"/>
                </a:cubicBezTo>
                <a:cubicBezTo>
                  <a:pt x="2239" y="4656"/>
                  <a:pt x="2274" y="4763"/>
                  <a:pt x="2274" y="4870"/>
                </a:cubicBezTo>
                <a:lnTo>
                  <a:pt x="2274" y="5216"/>
                </a:lnTo>
                <a:cubicBezTo>
                  <a:pt x="2274" y="5311"/>
                  <a:pt x="2191" y="5394"/>
                  <a:pt x="2096" y="5394"/>
                </a:cubicBezTo>
                <a:lnTo>
                  <a:pt x="346" y="5394"/>
                </a:lnTo>
                <a:lnTo>
                  <a:pt x="346" y="870"/>
                </a:lnTo>
                <a:cubicBezTo>
                  <a:pt x="346" y="572"/>
                  <a:pt x="584" y="334"/>
                  <a:pt x="881" y="334"/>
                </a:cubicBezTo>
                <a:lnTo>
                  <a:pt x="5418" y="334"/>
                </a:lnTo>
                <a:lnTo>
                  <a:pt x="5418" y="513"/>
                </a:lnTo>
                <a:cubicBezTo>
                  <a:pt x="5418" y="596"/>
                  <a:pt x="5489" y="667"/>
                  <a:pt x="5584" y="667"/>
                </a:cubicBezTo>
                <a:cubicBezTo>
                  <a:pt x="5680" y="667"/>
                  <a:pt x="5751" y="596"/>
                  <a:pt x="5751" y="513"/>
                </a:cubicBezTo>
                <a:lnTo>
                  <a:pt x="5751" y="334"/>
                </a:lnTo>
                <a:close/>
                <a:moveTo>
                  <a:pt x="870" y="1"/>
                </a:moveTo>
                <a:cubicBezTo>
                  <a:pt x="393" y="1"/>
                  <a:pt x="0" y="394"/>
                  <a:pt x="0" y="870"/>
                </a:cubicBezTo>
                <a:lnTo>
                  <a:pt x="0" y="10276"/>
                </a:lnTo>
                <a:cubicBezTo>
                  <a:pt x="0" y="10752"/>
                  <a:pt x="393" y="11133"/>
                  <a:pt x="870" y="11133"/>
                </a:cubicBezTo>
                <a:lnTo>
                  <a:pt x="10275" y="11133"/>
                </a:lnTo>
                <a:cubicBezTo>
                  <a:pt x="10752" y="11133"/>
                  <a:pt x="11133" y="10752"/>
                  <a:pt x="11133" y="10276"/>
                </a:cubicBezTo>
                <a:lnTo>
                  <a:pt x="11133" y="870"/>
                </a:lnTo>
                <a:cubicBezTo>
                  <a:pt x="11133" y="394"/>
                  <a:pt x="10752" y="1"/>
                  <a:pt x="1027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517" name="Google Shape;13517;p64"/>
          <p:cNvGrpSpPr/>
          <p:nvPr/>
        </p:nvGrpSpPr>
        <p:grpSpPr>
          <a:xfrm>
            <a:off x="6155459" y="1969108"/>
            <a:ext cx="249770" cy="363849"/>
            <a:chOff x="6155459" y="1969108"/>
            <a:chExt cx="249770" cy="363849"/>
          </a:xfrm>
        </p:grpSpPr>
        <p:sp>
          <p:nvSpPr>
            <p:cNvPr id="13518" name="Google Shape;13518;p64"/>
            <p:cNvSpPr/>
            <p:nvPr/>
          </p:nvSpPr>
          <p:spPr>
            <a:xfrm>
              <a:off x="6195628" y="1969108"/>
              <a:ext cx="169813" cy="227012"/>
            </a:xfrm>
            <a:custGeom>
              <a:avLst/>
              <a:gdLst/>
              <a:ahLst/>
              <a:cxnLst/>
              <a:rect l="l" t="t" r="r" b="b"/>
              <a:pathLst>
                <a:path w="5335" h="7132" extrusionOk="0">
                  <a:moveTo>
                    <a:pt x="4120" y="333"/>
                  </a:moveTo>
                  <a:lnTo>
                    <a:pt x="4120" y="1750"/>
                  </a:lnTo>
                  <a:cubicBezTo>
                    <a:pt x="4120" y="1869"/>
                    <a:pt x="4084" y="1965"/>
                    <a:pt x="4036" y="2072"/>
                  </a:cubicBezTo>
                  <a:lnTo>
                    <a:pt x="3953" y="2238"/>
                  </a:lnTo>
                  <a:cubicBezTo>
                    <a:pt x="3941" y="2262"/>
                    <a:pt x="3941" y="2286"/>
                    <a:pt x="3941" y="2310"/>
                  </a:cubicBezTo>
                  <a:lnTo>
                    <a:pt x="3941" y="2667"/>
                  </a:lnTo>
                  <a:cubicBezTo>
                    <a:pt x="3941" y="3024"/>
                    <a:pt x="3786" y="3358"/>
                    <a:pt x="3536" y="3584"/>
                  </a:cubicBezTo>
                  <a:cubicBezTo>
                    <a:pt x="3292" y="3807"/>
                    <a:pt x="3011" y="3935"/>
                    <a:pt x="2699" y="3935"/>
                  </a:cubicBezTo>
                  <a:cubicBezTo>
                    <a:pt x="2661" y="3935"/>
                    <a:pt x="2623" y="3933"/>
                    <a:pt x="2584" y="3929"/>
                  </a:cubicBezTo>
                  <a:cubicBezTo>
                    <a:pt x="1917" y="3893"/>
                    <a:pt x="1405" y="3310"/>
                    <a:pt x="1405" y="2619"/>
                  </a:cubicBezTo>
                  <a:lnTo>
                    <a:pt x="1405" y="2310"/>
                  </a:lnTo>
                  <a:cubicBezTo>
                    <a:pt x="1405" y="2286"/>
                    <a:pt x="1405" y="2262"/>
                    <a:pt x="1393" y="2238"/>
                  </a:cubicBezTo>
                  <a:lnTo>
                    <a:pt x="1298" y="2072"/>
                  </a:lnTo>
                  <a:cubicBezTo>
                    <a:pt x="1262" y="1965"/>
                    <a:pt x="1227" y="1869"/>
                    <a:pt x="1227" y="1750"/>
                  </a:cubicBezTo>
                  <a:lnTo>
                    <a:pt x="1227" y="1238"/>
                  </a:lnTo>
                  <a:cubicBezTo>
                    <a:pt x="1227" y="738"/>
                    <a:pt x="1631" y="333"/>
                    <a:pt x="2131" y="333"/>
                  </a:cubicBezTo>
                  <a:close/>
                  <a:moveTo>
                    <a:pt x="3227" y="4155"/>
                  </a:moveTo>
                  <a:lnTo>
                    <a:pt x="3227" y="4346"/>
                  </a:lnTo>
                  <a:cubicBezTo>
                    <a:pt x="3227" y="4405"/>
                    <a:pt x="3239" y="4465"/>
                    <a:pt x="3251" y="4513"/>
                  </a:cubicBezTo>
                  <a:lnTo>
                    <a:pt x="2667" y="4965"/>
                  </a:lnTo>
                  <a:lnTo>
                    <a:pt x="2096" y="4524"/>
                  </a:lnTo>
                  <a:cubicBezTo>
                    <a:pt x="2108" y="4489"/>
                    <a:pt x="2120" y="4429"/>
                    <a:pt x="2120" y="4370"/>
                  </a:cubicBezTo>
                  <a:lnTo>
                    <a:pt x="2120" y="4155"/>
                  </a:lnTo>
                  <a:cubicBezTo>
                    <a:pt x="2251" y="4215"/>
                    <a:pt x="2405" y="4251"/>
                    <a:pt x="2572" y="4251"/>
                  </a:cubicBezTo>
                  <a:lnTo>
                    <a:pt x="2667" y="4251"/>
                  </a:lnTo>
                  <a:cubicBezTo>
                    <a:pt x="2870" y="4251"/>
                    <a:pt x="3048" y="4215"/>
                    <a:pt x="3227" y="4155"/>
                  </a:cubicBezTo>
                  <a:close/>
                  <a:moveTo>
                    <a:pt x="2131" y="0"/>
                  </a:moveTo>
                  <a:cubicBezTo>
                    <a:pt x="1453" y="0"/>
                    <a:pt x="905" y="560"/>
                    <a:pt x="905" y="1238"/>
                  </a:cubicBezTo>
                  <a:lnTo>
                    <a:pt x="905" y="1750"/>
                  </a:lnTo>
                  <a:cubicBezTo>
                    <a:pt x="905" y="1905"/>
                    <a:pt x="941" y="2072"/>
                    <a:pt x="1024" y="2215"/>
                  </a:cubicBezTo>
                  <a:lnTo>
                    <a:pt x="1084" y="2358"/>
                  </a:lnTo>
                  <a:lnTo>
                    <a:pt x="1084" y="2619"/>
                  </a:lnTo>
                  <a:cubicBezTo>
                    <a:pt x="1084" y="3191"/>
                    <a:pt x="1358" y="3703"/>
                    <a:pt x="1798" y="3989"/>
                  </a:cubicBezTo>
                  <a:lnTo>
                    <a:pt x="1798" y="4358"/>
                  </a:lnTo>
                  <a:cubicBezTo>
                    <a:pt x="1798" y="4453"/>
                    <a:pt x="1739" y="4524"/>
                    <a:pt x="1655" y="4536"/>
                  </a:cubicBezTo>
                  <a:lnTo>
                    <a:pt x="631" y="4858"/>
                  </a:lnTo>
                  <a:cubicBezTo>
                    <a:pt x="262" y="4977"/>
                    <a:pt x="0" y="5298"/>
                    <a:pt x="0" y="5703"/>
                  </a:cubicBezTo>
                  <a:lnTo>
                    <a:pt x="0" y="6965"/>
                  </a:lnTo>
                  <a:cubicBezTo>
                    <a:pt x="0" y="7060"/>
                    <a:pt x="84" y="7132"/>
                    <a:pt x="167" y="7132"/>
                  </a:cubicBezTo>
                  <a:cubicBezTo>
                    <a:pt x="262" y="7132"/>
                    <a:pt x="334" y="7060"/>
                    <a:pt x="334" y="6965"/>
                  </a:cubicBezTo>
                  <a:lnTo>
                    <a:pt x="334" y="5703"/>
                  </a:lnTo>
                  <a:cubicBezTo>
                    <a:pt x="334" y="5465"/>
                    <a:pt x="500" y="5239"/>
                    <a:pt x="715" y="5179"/>
                  </a:cubicBezTo>
                  <a:lnTo>
                    <a:pt x="1750" y="4870"/>
                  </a:lnTo>
                  <a:cubicBezTo>
                    <a:pt x="1810" y="4858"/>
                    <a:pt x="1846" y="4822"/>
                    <a:pt x="1893" y="4798"/>
                  </a:cubicBezTo>
                  <a:lnTo>
                    <a:pt x="2465" y="5227"/>
                  </a:lnTo>
                  <a:cubicBezTo>
                    <a:pt x="2524" y="5275"/>
                    <a:pt x="2596" y="5298"/>
                    <a:pt x="2667" y="5298"/>
                  </a:cubicBezTo>
                  <a:cubicBezTo>
                    <a:pt x="2739" y="5298"/>
                    <a:pt x="2822" y="5275"/>
                    <a:pt x="2882" y="5227"/>
                  </a:cubicBezTo>
                  <a:lnTo>
                    <a:pt x="3441" y="4798"/>
                  </a:lnTo>
                  <a:cubicBezTo>
                    <a:pt x="3489" y="4822"/>
                    <a:pt x="3536" y="4858"/>
                    <a:pt x="3596" y="4870"/>
                  </a:cubicBezTo>
                  <a:lnTo>
                    <a:pt x="4620" y="5179"/>
                  </a:lnTo>
                  <a:cubicBezTo>
                    <a:pt x="4858" y="5251"/>
                    <a:pt x="5001" y="5465"/>
                    <a:pt x="5001" y="5703"/>
                  </a:cubicBezTo>
                  <a:lnTo>
                    <a:pt x="5001" y="6965"/>
                  </a:lnTo>
                  <a:cubicBezTo>
                    <a:pt x="5001" y="7060"/>
                    <a:pt x="5084" y="7132"/>
                    <a:pt x="5168" y="7132"/>
                  </a:cubicBezTo>
                  <a:cubicBezTo>
                    <a:pt x="5263" y="7132"/>
                    <a:pt x="5334" y="7060"/>
                    <a:pt x="5334" y="6965"/>
                  </a:cubicBezTo>
                  <a:lnTo>
                    <a:pt x="5334" y="5703"/>
                  </a:lnTo>
                  <a:cubicBezTo>
                    <a:pt x="5334" y="5322"/>
                    <a:pt x="5084" y="4977"/>
                    <a:pt x="4715" y="4870"/>
                  </a:cubicBezTo>
                  <a:lnTo>
                    <a:pt x="3679" y="4560"/>
                  </a:lnTo>
                  <a:cubicBezTo>
                    <a:pt x="3608" y="4524"/>
                    <a:pt x="3548" y="4453"/>
                    <a:pt x="3548" y="4382"/>
                  </a:cubicBezTo>
                  <a:lnTo>
                    <a:pt x="3548" y="4012"/>
                  </a:lnTo>
                  <a:cubicBezTo>
                    <a:pt x="3620" y="3965"/>
                    <a:pt x="3703" y="3905"/>
                    <a:pt x="3763" y="3846"/>
                  </a:cubicBezTo>
                  <a:cubicBezTo>
                    <a:pt x="4084" y="3548"/>
                    <a:pt x="4263" y="3120"/>
                    <a:pt x="4263" y="2679"/>
                  </a:cubicBezTo>
                  <a:lnTo>
                    <a:pt x="4263" y="2369"/>
                  </a:lnTo>
                  <a:lnTo>
                    <a:pt x="4322" y="2238"/>
                  </a:lnTo>
                  <a:cubicBezTo>
                    <a:pt x="4394" y="2084"/>
                    <a:pt x="4441" y="1917"/>
                    <a:pt x="4441" y="1762"/>
                  </a:cubicBezTo>
                  <a:lnTo>
                    <a:pt x="4441" y="167"/>
                  </a:lnTo>
                  <a:cubicBezTo>
                    <a:pt x="4441" y="83"/>
                    <a:pt x="4370" y="0"/>
                    <a:pt x="4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9" name="Google Shape;13519;p64"/>
            <p:cNvSpPr/>
            <p:nvPr/>
          </p:nvSpPr>
          <p:spPr>
            <a:xfrm>
              <a:off x="6275585" y="2146083"/>
              <a:ext cx="10249" cy="50037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405"/>
                  </a:lnTo>
                  <a:cubicBezTo>
                    <a:pt x="0" y="1500"/>
                    <a:pt x="72" y="1572"/>
                    <a:pt x="155" y="1572"/>
                  </a:cubicBezTo>
                  <a:cubicBezTo>
                    <a:pt x="251" y="1572"/>
                    <a:pt x="322" y="1500"/>
                    <a:pt x="322" y="1405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0" name="Google Shape;13520;p64"/>
            <p:cNvSpPr/>
            <p:nvPr/>
          </p:nvSpPr>
          <p:spPr>
            <a:xfrm>
              <a:off x="6223671" y="2157446"/>
              <a:ext cx="10631" cy="38673"/>
            </a:xfrm>
            <a:custGeom>
              <a:avLst/>
              <a:gdLst/>
              <a:ahLst/>
              <a:cxnLst/>
              <a:rect l="l" t="t" r="r" b="b"/>
              <a:pathLst>
                <a:path w="334" h="1215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lnTo>
                    <a:pt x="0" y="1048"/>
                  </a:lnTo>
                  <a:cubicBezTo>
                    <a:pt x="0" y="1143"/>
                    <a:pt x="84" y="1215"/>
                    <a:pt x="167" y="1215"/>
                  </a:cubicBezTo>
                  <a:cubicBezTo>
                    <a:pt x="250" y="1215"/>
                    <a:pt x="334" y="1143"/>
                    <a:pt x="334" y="1048"/>
                  </a:cubicBezTo>
                  <a:lnTo>
                    <a:pt x="334" y="155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1" name="Google Shape;13521;p64"/>
            <p:cNvSpPr/>
            <p:nvPr/>
          </p:nvSpPr>
          <p:spPr>
            <a:xfrm>
              <a:off x="6326736" y="2157446"/>
              <a:ext cx="10281" cy="38673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1048"/>
                  </a:lnTo>
                  <a:cubicBezTo>
                    <a:pt x="1" y="1143"/>
                    <a:pt x="72" y="1215"/>
                    <a:pt x="156" y="1215"/>
                  </a:cubicBezTo>
                  <a:cubicBezTo>
                    <a:pt x="251" y="1215"/>
                    <a:pt x="322" y="1143"/>
                    <a:pt x="322" y="1048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2" name="Google Shape;13522;p64"/>
            <p:cNvSpPr/>
            <p:nvPr/>
          </p:nvSpPr>
          <p:spPr>
            <a:xfrm>
              <a:off x="6264222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2" y="322"/>
                  </a:moveTo>
                  <a:cubicBezTo>
                    <a:pt x="619" y="322"/>
                    <a:pt x="715" y="417"/>
                    <a:pt x="715" y="524"/>
                  </a:cubicBezTo>
                  <a:cubicBezTo>
                    <a:pt x="715" y="619"/>
                    <a:pt x="619" y="715"/>
                    <a:pt x="512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12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79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3" name="Google Shape;13523;p64"/>
            <p:cNvSpPr/>
            <p:nvPr/>
          </p:nvSpPr>
          <p:spPr>
            <a:xfrm>
              <a:off x="6155459" y="2299949"/>
              <a:ext cx="33358" cy="33008"/>
            </a:xfrm>
            <a:custGeom>
              <a:avLst/>
              <a:gdLst/>
              <a:ahLst/>
              <a:cxnLst/>
              <a:rect l="l" t="t" r="r" b="b"/>
              <a:pathLst>
                <a:path w="1048" h="1037" extrusionOk="0">
                  <a:moveTo>
                    <a:pt x="524" y="322"/>
                  </a:moveTo>
                  <a:cubicBezTo>
                    <a:pt x="631" y="322"/>
                    <a:pt x="715" y="417"/>
                    <a:pt x="715" y="524"/>
                  </a:cubicBezTo>
                  <a:cubicBezTo>
                    <a:pt x="715" y="619"/>
                    <a:pt x="631" y="715"/>
                    <a:pt x="524" y="715"/>
                  </a:cubicBezTo>
                  <a:cubicBezTo>
                    <a:pt x="417" y="715"/>
                    <a:pt x="334" y="619"/>
                    <a:pt x="334" y="524"/>
                  </a:cubicBezTo>
                  <a:cubicBezTo>
                    <a:pt x="334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810" y="1036"/>
                    <a:pt x="1048" y="798"/>
                    <a:pt x="1048" y="524"/>
                  </a:cubicBezTo>
                  <a:cubicBezTo>
                    <a:pt x="1048" y="238"/>
                    <a:pt x="81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4" name="Google Shape;13524;p64"/>
            <p:cNvSpPr/>
            <p:nvPr/>
          </p:nvSpPr>
          <p:spPr>
            <a:xfrm>
              <a:off x="6372221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24"/>
                  </a:cubicBezTo>
                  <a:cubicBezTo>
                    <a:pt x="715" y="619"/>
                    <a:pt x="620" y="715"/>
                    <a:pt x="513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810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5" name="Google Shape;13525;p64"/>
            <p:cNvSpPr/>
            <p:nvPr/>
          </p:nvSpPr>
          <p:spPr>
            <a:xfrm>
              <a:off x="6185379" y="2208597"/>
              <a:ext cx="189134" cy="84763"/>
            </a:xfrm>
            <a:custGeom>
              <a:avLst/>
              <a:gdLst/>
              <a:ahLst/>
              <a:cxnLst/>
              <a:rect l="l" t="t" r="r" b="b"/>
              <a:pathLst>
                <a:path w="5942" h="2663" extrusionOk="0">
                  <a:moveTo>
                    <a:pt x="2977" y="1"/>
                  </a:moveTo>
                  <a:cubicBezTo>
                    <a:pt x="2894" y="1"/>
                    <a:pt x="2811" y="72"/>
                    <a:pt x="2811" y="156"/>
                  </a:cubicBezTo>
                  <a:lnTo>
                    <a:pt x="2811" y="715"/>
                  </a:lnTo>
                  <a:lnTo>
                    <a:pt x="1644" y="715"/>
                  </a:lnTo>
                  <a:cubicBezTo>
                    <a:pt x="1418" y="715"/>
                    <a:pt x="1191" y="810"/>
                    <a:pt x="1060" y="1013"/>
                  </a:cubicBezTo>
                  <a:lnTo>
                    <a:pt x="60" y="2394"/>
                  </a:lnTo>
                  <a:cubicBezTo>
                    <a:pt x="1" y="2465"/>
                    <a:pt x="25" y="2573"/>
                    <a:pt x="108" y="2632"/>
                  </a:cubicBezTo>
                  <a:cubicBezTo>
                    <a:pt x="133" y="2653"/>
                    <a:pt x="162" y="2662"/>
                    <a:pt x="193" y="2662"/>
                  </a:cubicBezTo>
                  <a:cubicBezTo>
                    <a:pt x="249" y="2662"/>
                    <a:pt x="307" y="2631"/>
                    <a:pt x="346" y="2584"/>
                  </a:cubicBezTo>
                  <a:lnTo>
                    <a:pt x="1334" y="1203"/>
                  </a:lnTo>
                  <a:cubicBezTo>
                    <a:pt x="1418" y="1096"/>
                    <a:pt x="1513" y="1049"/>
                    <a:pt x="1632" y="1049"/>
                  </a:cubicBezTo>
                  <a:lnTo>
                    <a:pt x="2811" y="1049"/>
                  </a:lnTo>
                  <a:lnTo>
                    <a:pt x="2811" y="2323"/>
                  </a:lnTo>
                  <a:cubicBezTo>
                    <a:pt x="2811" y="2406"/>
                    <a:pt x="2894" y="2477"/>
                    <a:pt x="2977" y="2477"/>
                  </a:cubicBezTo>
                  <a:cubicBezTo>
                    <a:pt x="3061" y="2477"/>
                    <a:pt x="3144" y="2406"/>
                    <a:pt x="3144" y="2323"/>
                  </a:cubicBezTo>
                  <a:lnTo>
                    <a:pt x="3144" y="1049"/>
                  </a:lnTo>
                  <a:lnTo>
                    <a:pt x="4323" y="1049"/>
                  </a:lnTo>
                  <a:cubicBezTo>
                    <a:pt x="4430" y="1049"/>
                    <a:pt x="4549" y="1108"/>
                    <a:pt x="4620" y="1203"/>
                  </a:cubicBezTo>
                  <a:lnTo>
                    <a:pt x="5609" y="2584"/>
                  </a:lnTo>
                  <a:cubicBezTo>
                    <a:pt x="5644" y="2632"/>
                    <a:pt x="5704" y="2656"/>
                    <a:pt x="5752" y="2656"/>
                  </a:cubicBezTo>
                  <a:cubicBezTo>
                    <a:pt x="5775" y="2656"/>
                    <a:pt x="5823" y="2644"/>
                    <a:pt x="5847" y="2632"/>
                  </a:cubicBezTo>
                  <a:cubicBezTo>
                    <a:pt x="5930" y="2573"/>
                    <a:pt x="5942" y="2465"/>
                    <a:pt x="5882" y="2394"/>
                  </a:cubicBezTo>
                  <a:lnTo>
                    <a:pt x="4882" y="1013"/>
                  </a:lnTo>
                  <a:cubicBezTo>
                    <a:pt x="4751" y="834"/>
                    <a:pt x="4537" y="715"/>
                    <a:pt x="4299" y="715"/>
                  </a:cubicBezTo>
                  <a:lnTo>
                    <a:pt x="3144" y="715"/>
                  </a:lnTo>
                  <a:lnTo>
                    <a:pt x="3144" y="156"/>
                  </a:lnTo>
                  <a:cubicBezTo>
                    <a:pt x="3144" y="72"/>
                    <a:pt x="3073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6" name="Google Shape;13526;p64"/>
            <p:cNvSpPr/>
            <p:nvPr/>
          </p:nvSpPr>
          <p:spPr>
            <a:xfrm>
              <a:off x="6246397" y="2010773"/>
              <a:ext cx="69007" cy="25814"/>
            </a:xfrm>
            <a:custGeom>
              <a:avLst/>
              <a:gdLst/>
              <a:ahLst/>
              <a:cxnLst/>
              <a:rect l="l" t="t" r="r" b="b"/>
              <a:pathLst>
                <a:path w="2168" h="811" extrusionOk="0">
                  <a:moveTo>
                    <a:pt x="951" y="1"/>
                  </a:moveTo>
                  <a:cubicBezTo>
                    <a:pt x="505" y="1"/>
                    <a:pt x="146" y="113"/>
                    <a:pt x="120" y="120"/>
                  </a:cubicBezTo>
                  <a:cubicBezTo>
                    <a:pt x="48" y="156"/>
                    <a:pt x="1" y="215"/>
                    <a:pt x="1" y="287"/>
                  </a:cubicBezTo>
                  <a:lnTo>
                    <a:pt x="1" y="644"/>
                  </a:lnTo>
                  <a:cubicBezTo>
                    <a:pt x="1" y="739"/>
                    <a:pt x="84" y="810"/>
                    <a:pt x="167" y="810"/>
                  </a:cubicBezTo>
                  <a:cubicBezTo>
                    <a:pt x="263" y="810"/>
                    <a:pt x="334" y="739"/>
                    <a:pt x="334" y="644"/>
                  </a:cubicBezTo>
                  <a:lnTo>
                    <a:pt x="334" y="406"/>
                  </a:lnTo>
                  <a:cubicBezTo>
                    <a:pt x="467" y="372"/>
                    <a:pt x="695" y="329"/>
                    <a:pt x="951" y="329"/>
                  </a:cubicBezTo>
                  <a:cubicBezTo>
                    <a:pt x="1246" y="329"/>
                    <a:pt x="1578" y="387"/>
                    <a:pt x="1846" y="584"/>
                  </a:cubicBezTo>
                  <a:cubicBezTo>
                    <a:pt x="1882" y="610"/>
                    <a:pt x="1920" y="622"/>
                    <a:pt x="1957" y="622"/>
                  </a:cubicBezTo>
                  <a:cubicBezTo>
                    <a:pt x="2005" y="622"/>
                    <a:pt x="2050" y="601"/>
                    <a:pt x="2084" y="560"/>
                  </a:cubicBezTo>
                  <a:cubicBezTo>
                    <a:pt x="2168" y="501"/>
                    <a:pt x="2132" y="394"/>
                    <a:pt x="2072" y="334"/>
                  </a:cubicBezTo>
                  <a:cubicBezTo>
                    <a:pt x="1727" y="74"/>
                    <a:pt x="1311" y="1"/>
                    <a:pt x="9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27" name="Google Shape;13527;p64"/>
          <p:cNvGrpSpPr/>
          <p:nvPr/>
        </p:nvGrpSpPr>
        <p:grpSpPr>
          <a:xfrm>
            <a:off x="2280029" y="1970604"/>
            <a:ext cx="353631" cy="354395"/>
            <a:chOff x="2280029" y="1970604"/>
            <a:chExt cx="353631" cy="354395"/>
          </a:xfrm>
        </p:grpSpPr>
        <p:sp>
          <p:nvSpPr>
            <p:cNvPr id="13528" name="Google Shape;13528;p64"/>
            <p:cNvSpPr/>
            <p:nvPr/>
          </p:nvSpPr>
          <p:spPr>
            <a:xfrm>
              <a:off x="2309981" y="2069086"/>
              <a:ext cx="323679" cy="255913"/>
            </a:xfrm>
            <a:custGeom>
              <a:avLst/>
              <a:gdLst/>
              <a:ahLst/>
              <a:cxnLst/>
              <a:rect l="l" t="t" r="r" b="b"/>
              <a:pathLst>
                <a:path w="10169" h="8040" extrusionOk="0">
                  <a:moveTo>
                    <a:pt x="9473" y="0"/>
                  </a:moveTo>
                  <a:cubicBezTo>
                    <a:pt x="9451" y="0"/>
                    <a:pt x="9428" y="5"/>
                    <a:pt x="9406" y="14"/>
                  </a:cubicBezTo>
                  <a:cubicBezTo>
                    <a:pt x="9335" y="62"/>
                    <a:pt x="9287" y="157"/>
                    <a:pt x="9335" y="240"/>
                  </a:cubicBezTo>
                  <a:cubicBezTo>
                    <a:pt x="9656" y="943"/>
                    <a:pt x="9835" y="1705"/>
                    <a:pt x="9835" y="2491"/>
                  </a:cubicBezTo>
                  <a:cubicBezTo>
                    <a:pt x="9835" y="3884"/>
                    <a:pt x="9287" y="5193"/>
                    <a:pt x="8299" y="6194"/>
                  </a:cubicBezTo>
                  <a:cubicBezTo>
                    <a:pt x="7323" y="7182"/>
                    <a:pt x="6001" y="7729"/>
                    <a:pt x="4596" y="7729"/>
                  </a:cubicBezTo>
                  <a:cubicBezTo>
                    <a:pt x="3763" y="7729"/>
                    <a:pt x="2977" y="7539"/>
                    <a:pt x="2251" y="7158"/>
                  </a:cubicBezTo>
                  <a:cubicBezTo>
                    <a:pt x="1632" y="6848"/>
                    <a:pt x="1084" y="6420"/>
                    <a:pt x="620" y="5896"/>
                  </a:cubicBezTo>
                  <a:lnTo>
                    <a:pt x="620" y="5896"/>
                  </a:lnTo>
                  <a:lnTo>
                    <a:pt x="1263" y="6110"/>
                  </a:lnTo>
                  <a:cubicBezTo>
                    <a:pt x="1279" y="6114"/>
                    <a:pt x="1295" y="6116"/>
                    <a:pt x="1311" y="6116"/>
                  </a:cubicBezTo>
                  <a:cubicBezTo>
                    <a:pt x="1385" y="6116"/>
                    <a:pt x="1447" y="6072"/>
                    <a:pt x="1477" y="6003"/>
                  </a:cubicBezTo>
                  <a:cubicBezTo>
                    <a:pt x="1501" y="5908"/>
                    <a:pt x="1453" y="5824"/>
                    <a:pt x="1370" y="5789"/>
                  </a:cubicBezTo>
                  <a:lnTo>
                    <a:pt x="203" y="5408"/>
                  </a:lnTo>
                  <a:cubicBezTo>
                    <a:pt x="187" y="5405"/>
                    <a:pt x="171" y="5403"/>
                    <a:pt x="156" y="5403"/>
                  </a:cubicBezTo>
                  <a:cubicBezTo>
                    <a:pt x="114" y="5403"/>
                    <a:pt x="77" y="5414"/>
                    <a:pt x="60" y="5432"/>
                  </a:cubicBezTo>
                  <a:cubicBezTo>
                    <a:pt x="12" y="5467"/>
                    <a:pt x="0" y="5527"/>
                    <a:pt x="0" y="5586"/>
                  </a:cubicBezTo>
                  <a:lnTo>
                    <a:pt x="191" y="6944"/>
                  </a:lnTo>
                  <a:cubicBezTo>
                    <a:pt x="203" y="7015"/>
                    <a:pt x="262" y="7075"/>
                    <a:pt x="358" y="7075"/>
                  </a:cubicBezTo>
                  <a:lnTo>
                    <a:pt x="381" y="7075"/>
                  </a:lnTo>
                  <a:cubicBezTo>
                    <a:pt x="477" y="7063"/>
                    <a:pt x="536" y="6979"/>
                    <a:pt x="524" y="6896"/>
                  </a:cubicBezTo>
                  <a:lnTo>
                    <a:pt x="417" y="6134"/>
                  </a:lnTo>
                  <a:lnTo>
                    <a:pt x="417" y="6134"/>
                  </a:lnTo>
                  <a:cubicBezTo>
                    <a:pt x="893" y="6670"/>
                    <a:pt x="1453" y="7122"/>
                    <a:pt x="2096" y="7444"/>
                  </a:cubicBezTo>
                  <a:cubicBezTo>
                    <a:pt x="2870" y="7849"/>
                    <a:pt x="3715" y="8039"/>
                    <a:pt x="4596" y="8039"/>
                  </a:cubicBezTo>
                  <a:cubicBezTo>
                    <a:pt x="6085" y="8039"/>
                    <a:pt x="7490" y="7456"/>
                    <a:pt x="8525" y="6420"/>
                  </a:cubicBezTo>
                  <a:cubicBezTo>
                    <a:pt x="9585" y="5360"/>
                    <a:pt x="10145" y="3979"/>
                    <a:pt x="10145" y="2491"/>
                  </a:cubicBezTo>
                  <a:cubicBezTo>
                    <a:pt x="10168" y="1645"/>
                    <a:pt x="9990" y="836"/>
                    <a:pt x="9633" y="98"/>
                  </a:cubicBezTo>
                  <a:cubicBezTo>
                    <a:pt x="9597" y="36"/>
                    <a:pt x="9536" y="0"/>
                    <a:pt x="94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9" name="Google Shape;13529;p64"/>
            <p:cNvSpPr/>
            <p:nvPr/>
          </p:nvSpPr>
          <p:spPr>
            <a:xfrm>
              <a:off x="2280029" y="1970604"/>
              <a:ext cx="322565" cy="255468"/>
            </a:xfrm>
            <a:custGeom>
              <a:avLst/>
              <a:gdLst/>
              <a:ahLst/>
              <a:cxnLst/>
              <a:rect l="l" t="t" r="r" b="b"/>
              <a:pathLst>
                <a:path w="10134" h="8026" extrusionOk="0">
                  <a:moveTo>
                    <a:pt x="5549" y="1"/>
                  </a:moveTo>
                  <a:cubicBezTo>
                    <a:pt x="4061" y="1"/>
                    <a:pt x="2668" y="584"/>
                    <a:pt x="1620" y="1620"/>
                  </a:cubicBezTo>
                  <a:cubicBezTo>
                    <a:pt x="572" y="2680"/>
                    <a:pt x="1" y="4061"/>
                    <a:pt x="1" y="5549"/>
                  </a:cubicBezTo>
                  <a:cubicBezTo>
                    <a:pt x="1" y="6382"/>
                    <a:pt x="179" y="7192"/>
                    <a:pt x="537" y="7930"/>
                  </a:cubicBezTo>
                  <a:cubicBezTo>
                    <a:pt x="572" y="7990"/>
                    <a:pt x="632" y="8026"/>
                    <a:pt x="691" y="8026"/>
                  </a:cubicBezTo>
                  <a:cubicBezTo>
                    <a:pt x="715" y="8026"/>
                    <a:pt x="727" y="8026"/>
                    <a:pt x="763" y="8002"/>
                  </a:cubicBezTo>
                  <a:cubicBezTo>
                    <a:pt x="834" y="7966"/>
                    <a:pt x="882" y="7871"/>
                    <a:pt x="834" y="7787"/>
                  </a:cubicBezTo>
                  <a:cubicBezTo>
                    <a:pt x="513" y="7085"/>
                    <a:pt x="334" y="6323"/>
                    <a:pt x="334" y="5537"/>
                  </a:cubicBezTo>
                  <a:cubicBezTo>
                    <a:pt x="334" y="4132"/>
                    <a:pt x="882" y="2822"/>
                    <a:pt x="1858" y="1834"/>
                  </a:cubicBezTo>
                  <a:cubicBezTo>
                    <a:pt x="2846" y="834"/>
                    <a:pt x="4168" y="298"/>
                    <a:pt x="5573" y="298"/>
                  </a:cubicBezTo>
                  <a:cubicBezTo>
                    <a:pt x="7097" y="298"/>
                    <a:pt x="8550" y="965"/>
                    <a:pt x="9538" y="2132"/>
                  </a:cubicBezTo>
                  <a:lnTo>
                    <a:pt x="8907" y="1918"/>
                  </a:lnTo>
                  <a:cubicBezTo>
                    <a:pt x="8890" y="1913"/>
                    <a:pt x="8874" y="1911"/>
                    <a:pt x="8858" y="1911"/>
                  </a:cubicBezTo>
                  <a:cubicBezTo>
                    <a:pt x="8784" y="1911"/>
                    <a:pt x="8722" y="1956"/>
                    <a:pt x="8692" y="2025"/>
                  </a:cubicBezTo>
                  <a:cubicBezTo>
                    <a:pt x="8669" y="2120"/>
                    <a:pt x="8704" y="2203"/>
                    <a:pt x="8800" y="2227"/>
                  </a:cubicBezTo>
                  <a:lnTo>
                    <a:pt x="9955" y="2620"/>
                  </a:lnTo>
                  <a:cubicBezTo>
                    <a:pt x="9978" y="2620"/>
                    <a:pt x="9990" y="2632"/>
                    <a:pt x="10002" y="2632"/>
                  </a:cubicBezTo>
                  <a:cubicBezTo>
                    <a:pt x="10050" y="2632"/>
                    <a:pt x="10074" y="2620"/>
                    <a:pt x="10109" y="2596"/>
                  </a:cubicBezTo>
                  <a:cubicBezTo>
                    <a:pt x="10121" y="2572"/>
                    <a:pt x="10133" y="2513"/>
                    <a:pt x="10133" y="2453"/>
                  </a:cubicBezTo>
                  <a:lnTo>
                    <a:pt x="9943" y="1108"/>
                  </a:lnTo>
                  <a:cubicBezTo>
                    <a:pt x="9932" y="1021"/>
                    <a:pt x="9871" y="964"/>
                    <a:pt x="9788" y="964"/>
                  </a:cubicBezTo>
                  <a:cubicBezTo>
                    <a:pt x="9780" y="964"/>
                    <a:pt x="9772" y="964"/>
                    <a:pt x="9764" y="965"/>
                  </a:cubicBezTo>
                  <a:cubicBezTo>
                    <a:pt x="9681" y="989"/>
                    <a:pt x="9621" y="1060"/>
                    <a:pt x="9633" y="1144"/>
                  </a:cubicBezTo>
                  <a:lnTo>
                    <a:pt x="9740" y="1906"/>
                  </a:lnTo>
                  <a:cubicBezTo>
                    <a:pt x="8681" y="703"/>
                    <a:pt x="7157" y="1"/>
                    <a:pt x="5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0" name="Google Shape;13530;p64"/>
            <p:cNvSpPr/>
            <p:nvPr/>
          </p:nvSpPr>
          <p:spPr>
            <a:xfrm>
              <a:off x="2411169" y="2064598"/>
              <a:ext cx="17093" cy="26928"/>
            </a:xfrm>
            <a:custGeom>
              <a:avLst/>
              <a:gdLst/>
              <a:ahLst/>
              <a:cxnLst/>
              <a:rect l="l" t="t" r="r" b="b"/>
              <a:pathLst>
                <a:path w="537" h="846" extrusionOk="0">
                  <a:moveTo>
                    <a:pt x="358" y="0"/>
                  </a:moveTo>
                  <a:cubicBezTo>
                    <a:pt x="274" y="0"/>
                    <a:pt x="191" y="72"/>
                    <a:pt x="191" y="155"/>
                  </a:cubicBezTo>
                  <a:lnTo>
                    <a:pt x="191" y="453"/>
                  </a:lnTo>
                  <a:lnTo>
                    <a:pt x="72" y="572"/>
                  </a:lnTo>
                  <a:cubicBezTo>
                    <a:pt x="12" y="631"/>
                    <a:pt x="0" y="739"/>
                    <a:pt x="72" y="798"/>
                  </a:cubicBezTo>
                  <a:cubicBezTo>
                    <a:pt x="108" y="834"/>
                    <a:pt x="155" y="846"/>
                    <a:pt x="191" y="846"/>
                  </a:cubicBezTo>
                  <a:cubicBezTo>
                    <a:pt x="239" y="846"/>
                    <a:pt x="274" y="834"/>
                    <a:pt x="310" y="798"/>
                  </a:cubicBezTo>
                  <a:lnTo>
                    <a:pt x="489" y="631"/>
                  </a:lnTo>
                  <a:cubicBezTo>
                    <a:pt x="524" y="608"/>
                    <a:pt x="536" y="560"/>
                    <a:pt x="536" y="512"/>
                  </a:cubicBezTo>
                  <a:lnTo>
                    <a:pt x="524" y="155"/>
                  </a:lnTo>
                  <a:cubicBezTo>
                    <a:pt x="524" y="72"/>
                    <a:pt x="453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1" name="Google Shape;13531;p64"/>
            <p:cNvSpPr/>
            <p:nvPr/>
          </p:nvSpPr>
          <p:spPr>
            <a:xfrm>
              <a:off x="2323254" y="2017458"/>
              <a:ext cx="267213" cy="264316"/>
            </a:xfrm>
            <a:custGeom>
              <a:avLst/>
              <a:gdLst/>
              <a:ahLst/>
              <a:cxnLst/>
              <a:rect l="l" t="t" r="r" b="b"/>
              <a:pathLst>
                <a:path w="8395" h="8304" extrusionOk="0">
                  <a:moveTo>
                    <a:pt x="2739" y="3125"/>
                  </a:moveTo>
                  <a:lnTo>
                    <a:pt x="2965" y="3160"/>
                  </a:lnTo>
                  <a:lnTo>
                    <a:pt x="3060" y="3160"/>
                  </a:lnTo>
                  <a:lnTo>
                    <a:pt x="2905" y="3529"/>
                  </a:lnTo>
                  <a:lnTo>
                    <a:pt x="2620" y="3458"/>
                  </a:lnTo>
                  <a:lnTo>
                    <a:pt x="2739" y="3125"/>
                  </a:lnTo>
                  <a:close/>
                  <a:moveTo>
                    <a:pt x="3834" y="3041"/>
                  </a:moveTo>
                  <a:lnTo>
                    <a:pt x="4167" y="3446"/>
                  </a:lnTo>
                  <a:lnTo>
                    <a:pt x="4120" y="3541"/>
                  </a:lnTo>
                  <a:cubicBezTo>
                    <a:pt x="4096" y="3636"/>
                    <a:pt x="4132" y="3720"/>
                    <a:pt x="4227" y="3756"/>
                  </a:cubicBezTo>
                  <a:cubicBezTo>
                    <a:pt x="4239" y="3756"/>
                    <a:pt x="4251" y="3767"/>
                    <a:pt x="4286" y="3767"/>
                  </a:cubicBezTo>
                  <a:cubicBezTo>
                    <a:pt x="4358" y="3767"/>
                    <a:pt x="4417" y="3720"/>
                    <a:pt x="4429" y="3660"/>
                  </a:cubicBezTo>
                  <a:lnTo>
                    <a:pt x="4477" y="3541"/>
                  </a:lnTo>
                  <a:cubicBezTo>
                    <a:pt x="4501" y="3446"/>
                    <a:pt x="4489" y="3339"/>
                    <a:pt x="4429" y="3267"/>
                  </a:cubicBezTo>
                  <a:lnTo>
                    <a:pt x="4346" y="3160"/>
                  </a:lnTo>
                  <a:lnTo>
                    <a:pt x="4620" y="3386"/>
                  </a:lnTo>
                  <a:cubicBezTo>
                    <a:pt x="4649" y="3401"/>
                    <a:pt x="4683" y="3411"/>
                    <a:pt x="4719" y="3411"/>
                  </a:cubicBezTo>
                  <a:cubicBezTo>
                    <a:pt x="4741" y="3411"/>
                    <a:pt x="4764" y="3407"/>
                    <a:pt x="4787" y="3398"/>
                  </a:cubicBezTo>
                  <a:lnTo>
                    <a:pt x="5001" y="3303"/>
                  </a:lnTo>
                  <a:lnTo>
                    <a:pt x="5132" y="3458"/>
                  </a:lnTo>
                  <a:cubicBezTo>
                    <a:pt x="5156" y="3506"/>
                    <a:pt x="5215" y="3517"/>
                    <a:pt x="5263" y="3517"/>
                  </a:cubicBezTo>
                  <a:lnTo>
                    <a:pt x="5668" y="3482"/>
                  </a:lnTo>
                  <a:lnTo>
                    <a:pt x="5679" y="3565"/>
                  </a:lnTo>
                  <a:cubicBezTo>
                    <a:pt x="5703" y="3601"/>
                    <a:pt x="5668" y="3636"/>
                    <a:pt x="5668" y="3648"/>
                  </a:cubicBezTo>
                  <a:cubicBezTo>
                    <a:pt x="5656" y="3660"/>
                    <a:pt x="5620" y="3696"/>
                    <a:pt x="5596" y="3696"/>
                  </a:cubicBezTo>
                  <a:lnTo>
                    <a:pt x="4894" y="3756"/>
                  </a:lnTo>
                  <a:cubicBezTo>
                    <a:pt x="4798" y="3756"/>
                    <a:pt x="4727" y="3815"/>
                    <a:pt x="4679" y="3875"/>
                  </a:cubicBezTo>
                  <a:cubicBezTo>
                    <a:pt x="4656" y="3934"/>
                    <a:pt x="4620" y="3994"/>
                    <a:pt x="4644" y="4053"/>
                  </a:cubicBezTo>
                  <a:lnTo>
                    <a:pt x="4179" y="3898"/>
                  </a:lnTo>
                  <a:cubicBezTo>
                    <a:pt x="4167" y="3898"/>
                    <a:pt x="4167" y="3887"/>
                    <a:pt x="4144" y="3875"/>
                  </a:cubicBezTo>
                  <a:cubicBezTo>
                    <a:pt x="4120" y="3696"/>
                    <a:pt x="3965" y="3577"/>
                    <a:pt x="3798" y="3577"/>
                  </a:cubicBezTo>
                  <a:lnTo>
                    <a:pt x="3774" y="3577"/>
                  </a:lnTo>
                  <a:lnTo>
                    <a:pt x="3274" y="3589"/>
                  </a:lnTo>
                  <a:lnTo>
                    <a:pt x="3393" y="3220"/>
                  </a:lnTo>
                  <a:cubicBezTo>
                    <a:pt x="3405" y="3184"/>
                    <a:pt x="3441" y="3172"/>
                    <a:pt x="3465" y="3160"/>
                  </a:cubicBezTo>
                  <a:lnTo>
                    <a:pt x="3834" y="3041"/>
                  </a:lnTo>
                  <a:close/>
                  <a:moveTo>
                    <a:pt x="7596" y="3601"/>
                  </a:moveTo>
                  <a:cubicBezTo>
                    <a:pt x="7620" y="3601"/>
                    <a:pt x="7656" y="3601"/>
                    <a:pt x="7692" y="3636"/>
                  </a:cubicBezTo>
                  <a:lnTo>
                    <a:pt x="8025" y="3958"/>
                  </a:lnTo>
                  <a:lnTo>
                    <a:pt x="8025" y="4256"/>
                  </a:lnTo>
                  <a:cubicBezTo>
                    <a:pt x="7977" y="5232"/>
                    <a:pt x="7584" y="6137"/>
                    <a:pt x="6906" y="6815"/>
                  </a:cubicBezTo>
                  <a:cubicBezTo>
                    <a:pt x="6799" y="6923"/>
                    <a:pt x="6692" y="7030"/>
                    <a:pt x="6572" y="7113"/>
                  </a:cubicBezTo>
                  <a:cubicBezTo>
                    <a:pt x="6632" y="7030"/>
                    <a:pt x="6680" y="6935"/>
                    <a:pt x="6727" y="6851"/>
                  </a:cubicBezTo>
                  <a:lnTo>
                    <a:pt x="7465" y="5125"/>
                  </a:lnTo>
                  <a:cubicBezTo>
                    <a:pt x="7501" y="5065"/>
                    <a:pt x="7489" y="5006"/>
                    <a:pt x="7454" y="4958"/>
                  </a:cubicBezTo>
                  <a:cubicBezTo>
                    <a:pt x="7418" y="4910"/>
                    <a:pt x="7358" y="4887"/>
                    <a:pt x="7299" y="4887"/>
                  </a:cubicBezTo>
                  <a:lnTo>
                    <a:pt x="7227" y="4887"/>
                  </a:lnTo>
                  <a:lnTo>
                    <a:pt x="7632" y="4077"/>
                  </a:lnTo>
                  <a:cubicBezTo>
                    <a:pt x="7704" y="3946"/>
                    <a:pt x="7668" y="3779"/>
                    <a:pt x="7525" y="3696"/>
                  </a:cubicBezTo>
                  <a:lnTo>
                    <a:pt x="7501" y="3660"/>
                  </a:lnTo>
                  <a:lnTo>
                    <a:pt x="7513" y="3648"/>
                  </a:lnTo>
                  <a:cubicBezTo>
                    <a:pt x="7537" y="3601"/>
                    <a:pt x="7573" y="3601"/>
                    <a:pt x="7596" y="3601"/>
                  </a:cubicBezTo>
                  <a:close/>
                  <a:moveTo>
                    <a:pt x="4239" y="1"/>
                  </a:moveTo>
                  <a:cubicBezTo>
                    <a:pt x="4176" y="1"/>
                    <a:pt x="4112" y="2"/>
                    <a:pt x="4048" y="5"/>
                  </a:cubicBezTo>
                  <a:cubicBezTo>
                    <a:pt x="3001" y="41"/>
                    <a:pt x="2000" y="481"/>
                    <a:pt x="1262" y="1220"/>
                  </a:cubicBezTo>
                  <a:cubicBezTo>
                    <a:pt x="512" y="1970"/>
                    <a:pt x="84" y="2946"/>
                    <a:pt x="36" y="4006"/>
                  </a:cubicBezTo>
                  <a:cubicBezTo>
                    <a:pt x="0" y="5041"/>
                    <a:pt x="334" y="6053"/>
                    <a:pt x="1012" y="6863"/>
                  </a:cubicBezTo>
                  <a:cubicBezTo>
                    <a:pt x="1036" y="6911"/>
                    <a:pt x="1084" y="6923"/>
                    <a:pt x="1131" y="6923"/>
                  </a:cubicBezTo>
                  <a:cubicBezTo>
                    <a:pt x="1155" y="6923"/>
                    <a:pt x="1203" y="6911"/>
                    <a:pt x="1227" y="6875"/>
                  </a:cubicBezTo>
                  <a:cubicBezTo>
                    <a:pt x="1310" y="6815"/>
                    <a:pt x="1310" y="6708"/>
                    <a:pt x="1250" y="6649"/>
                  </a:cubicBezTo>
                  <a:cubicBezTo>
                    <a:pt x="631" y="5922"/>
                    <a:pt x="310" y="4982"/>
                    <a:pt x="357" y="4017"/>
                  </a:cubicBezTo>
                  <a:cubicBezTo>
                    <a:pt x="393" y="3053"/>
                    <a:pt x="786" y="2148"/>
                    <a:pt x="1465" y="1458"/>
                  </a:cubicBezTo>
                  <a:cubicBezTo>
                    <a:pt x="2155" y="779"/>
                    <a:pt x="3060" y="374"/>
                    <a:pt x="4025" y="338"/>
                  </a:cubicBezTo>
                  <a:cubicBezTo>
                    <a:pt x="4081" y="335"/>
                    <a:pt x="4137" y="334"/>
                    <a:pt x="4192" y="334"/>
                  </a:cubicBezTo>
                  <a:cubicBezTo>
                    <a:pt x="4358" y="334"/>
                    <a:pt x="4519" y="347"/>
                    <a:pt x="4679" y="374"/>
                  </a:cubicBezTo>
                  <a:lnTo>
                    <a:pt x="4906" y="636"/>
                  </a:lnTo>
                  <a:lnTo>
                    <a:pt x="4822" y="862"/>
                  </a:lnTo>
                  <a:lnTo>
                    <a:pt x="4679" y="624"/>
                  </a:lnTo>
                  <a:cubicBezTo>
                    <a:pt x="4656" y="577"/>
                    <a:pt x="4596" y="541"/>
                    <a:pt x="4536" y="541"/>
                  </a:cubicBezTo>
                  <a:lnTo>
                    <a:pt x="4001" y="541"/>
                  </a:lnTo>
                  <a:cubicBezTo>
                    <a:pt x="3941" y="541"/>
                    <a:pt x="3882" y="565"/>
                    <a:pt x="3858" y="624"/>
                  </a:cubicBezTo>
                  <a:lnTo>
                    <a:pt x="3477" y="1327"/>
                  </a:lnTo>
                  <a:cubicBezTo>
                    <a:pt x="3441" y="1410"/>
                    <a:pt x="3441" y="1529"/>
                    <a:pt x="3477" y="1624"/>
                  </a:cubicBezTo>
                  <a:cubicBezTo>
                    <a:pt x="3524" y="1708"/>
                    <a:pt x="3632" y="1767"/>
                    <a:pt x="3739" y="1791"/>
                  </a:cubicBezTo>
                  <a:lnTo>
                    <a:pt x="4036" y="1815"/>
                  </a:lnTo>
                  <a:cubicBezTo>
                    <a:pt x="4096" y="1815"/>
                    <a:pt x="4155" y="1803"/>
                    <a:pt x="4179" y="1743"/>
                  </a:cubicBezTo>
                  <a:lnTo>
                    <a:pt x="4286" y="1577"/>
                  </a:lnTo>
                  <a:lnTo>
                    <a:pt x="4346" y="1648"/>
                  </a:lnTo>
                  <a:lnTo>
                    <a:pt x="4298" y="1934"/>
                  </a:lnTo>
                  <a:lnTo>
                    <a:pt x="3798" y="2005"/>
                  </a:lnTo>
                  <a:cubicBezTo>
                    <a:pt x="3763" y="2005"/>
                    <a:pt x="3751" y="2029"/>
                    <a:pt x="3715" y="2041"/>
                  </a:cubicBezTo>
                  <a:lnTo>
                    <a:pt x="3072" y="2517"/>
                  </a:lnTo>
                  <a:cubicBezTo>
                    <a:pt x="3048" y="2541"/>
                    <a:pt x="3024" y="2577"/>
                    <a:pt x="3024" y="2601"/>
                  </a:cubicBezTo>
                  <a:lnTo>
                    <a:pt x="2941" y="2898"/>
                  </a:lnTo>
                  <a:lnTo>
                    <a:pt x="2727" y="2874"/>
                  </a:lnTo>
                  <a:cubicBezTo>
                    <a:pt x="2716" y="2874"/>
                    <a:pt x="2706" y="2873"/>
                    <a:pt x="2696" y="2873"/>
                  </a:cubicBezTo>
                  <a:cubicBezTo>
                    <a:pt x="2565" y="2873"/>
                    <a:pt x="2449" y="2943"/>
                    <a:pt x="2405" y="3065"/>
                  </a:cubicBezTo>
                  <a:lnTo>
                    <a:pt x="2274" y="3422"/>
                  </a:lnTo>
                  <a:cubicBezTo>
                    <a:pt x="2250" y="3494"/>
                    <a:pt x="2250" y="3589"/>
                    <a:pt x="2286" y="3660"/>
                  </a:cubicBezTo>
                  <a:cubicBezTo>
                    <a:pt x="2334" y="3732"/>
                    <a:pt x="2393" y="3791"/>
                    <a:pt x="2465" y="3815"/>
                  </a:cubicBezTo>
                  <a:cubicBezTo>
                    <a:pt x="2322" y="3887"/>
                    <a:pt x="2215" y="4029"/>
                    <a:pt x="2203" y="4196"/>
                  </a:cubicBezTo>
                  <a:lnTo>
                    <a:pt x="2203" y="4268"/>
                  </a:lnTo>
                  <a:lnTo>
                    <a:pt x="1739" y="4791"/>
                  </a:lnTo>
                  <a:cubicBezTo>
                    <a:pt x="1667" y="4863"/>
                    <a:pt x="1631" y="4970"/>
                    <a:pt x="1631" y="5077"/>
                  </a:cubicBezTo>
                  <a:lnTo>
                    <a:pt x="1631" y="5684"/>
                  </a:lnTo>
                  <a:cubicBezTo>
                    <a:pt x="1631" y="5839"/>
                    <a:pt x="1691" y="5994"/>
                    <a:pt x="1810" y="6101"/>
                  </a:cubicBezTo>
                  <a:lnTo>
                    <a:pt x="2239" y="6518"/>
                  </a:lnTo>
                  <a:cubicBezTo>
                    <a:pt x="2334" y="6613"/>
                    <a:pt x="2465" y="6673"/>
                    <a:pt x="2596" y="6684"/>
                  </a:cubicBezTo>
                  <a:lnTo>
                    <a:pt x="3882" y="6792"/>
                  </a:lnTo>
                  <a:lnTo>
                    <a:pt x="3882" y="6827"/>
                  </a:lnTo>
                  <a:cubicBezTo>
                    <a:pt x="3870" y="6994"/>
                    <a:pt x="3929" y="7149"/>
                    <a:pt x="4060" y="7232"/>
                  </a:cubicBezTo>
                  <a:lnTo>
                    <a:pt x="4286" y="7399"/>
                  </a:lnTo>
                  <a:lnTo>
                    <a:pt x="4263" y="7446"/>
                  </a:lnTo>
                  <a:cubicBezTo>
                    <a:pt x="4203" y="7601"/>
                    <a:pt x="4263" y="7804"/>
                    <a:pt x="4406" y="7899"/>
                  </a:cubicBezTo>
                  <a:lnTo>
                    <a:pt x="4465" y="7958"/>
                  </a:lnTo>
                  <a:cubicBezTo>
                    <a:pt x="4406" y="7958"/>
                    <a:pt x="4358" y="7982"/>
                    <a:pt x="4298" y="7982"/>
                  </a:cubicBezTo>
                  <a:cubicBezTo>
                    <a:pt x="4250" y="7984"/>
                    <a:pt x="4202" y="7985"/>
                    <a:pt x="4153" y="7985"/>
                  </a:cubicBezTo>
                  <a:cubicBezTo>
                    <a:pt x="3241" y="7985"/>
                    <a:pt x="2368" y="7666"/>
                    <a:pt x="1667" y="7089"/>
                  </a:cubicBezTo>
                  <a:cubicBezTo>
                    <a:pt x="1630" y="7062"/>
                    <a:pt x="1590" y="7050"/>
                    <a:pt x="1553" y="7050"/>
                  </a:cubicBezTo>
                  <a:cubicBezTo>
                    <a:pt x="1508" y="7050"/>
                    <a:pt x="1467" y="7068"/>
                    <a:pt x="1441" y="7101"/>
                  </a:cubicBezTo>
                  <a:cubicBezTo>
                    <a:pt x="1381" y="7173"/>
                    <a:pt x="1393" y="7280"/>
                    <a:pt x="1453" y="7327"/>
                  </a:cubicBezTo>
                  <a:cubicBezTo>
                    <a:pt x="2215" y="7958"/>
                    <a:pt x="3155" y="8304"/>
                    <a:pt x="4132" y="8304"/>
                  </a:cubicBezTo>
                  <a:lnTo>
                    <a:pt x="4298" y="8304"/>
                  </a:lnTo>
                  <a:cubicBezTo>
                    <a:pt x="5334" y="8256"/>
                    <a:pt x="6334" y="7827"/>
                    <a:pt x="7084" y="7089"/>
                  </a:cubicBezTo>
                  <a:cubicBezTo>
                    <a:pt x="7823" y="6339"/>
                    <a:pt x="8251" y="5363"/>
                    <a:pt x="8299" y="4303"/>
                  </a:cubicBezTo>
                  <a:cubicBezTo>
                    <a:pt x="8394" y="3220"/>
                    <a:pt x="8049" y="2208"/>
                    <a:pt x="7382" y="1422"/>
                  </a:cubicBezTo>
                  <a:cubicBezTo>
                    <a:pt x="7350" y="1377"/>
                    <a:pt x="7304" y="1356"/>
                    <a:pt x="7258" y="1356"/>
                  </a:cubicBezTo>
                  <a:cubicBezTo>
                    <a:pt x="7220" y="1356"/>
                    <a:pt x="7183" y="1371"/>
                    <a:pt x="7156" y="1398"/>
                  </a:cubicBezTo>
                  <a:cubicBezTo>
                    <a:pt x="7084" y="1458"/>
                    <a:pt x="7084" y="1565"/>
                    <a:pt x="7144" y="1624"/>
                  </a:cubicBezTo>
                  <a:cubicBezTo>
                    <a:pt x="7584" y="2148"/>
                    <a:pt x="7870" y="2791"/>
                    <a:pt x="7989" y="3458"/>
                  </a:cubicBezTo>
                  <a:lnTo>
                    <a:pt x="7942" y="3410"/>
                  </a:lnTo>
                  <a:cubicBezTo>
                    <a:pt x="7867" y="3335"/>
                    <a:pt x="7754" y="3289"/>
                    <a:pt x="7628" y="3289"/>
                  </a:cubicBezTo>
                  <a:cubicBezTo>
                    <a:pt x="7614" y="3289"/>
                    <a:pt x="7599" y="3290"/>
                    <a:pt x="7584" y="3291"/>
                  </a:cubicBezTo>
                  <a:cubicBezTo>
                    <a:pt x="7454" y="3303"/>
                    <a:pt x="7334" y="3386"/>
                    <a:pt x="7263" y="3506"/>
                  </a:cubicBezTo>
                  <a:lnTo>
                    <a:pt x="7227" y="3541"/>
                  </a:lnTo>
                  <a:cubicBezTo>
                    <a:pt x="7156" y="3541"/>
                    <a:pt x="7084" y="3577"/>
                    <a:pt x="7025" y="3625"/>
                  </a:cubicBezTo>
                  <a:lnTo>
                    <a:pt x="6811" y="3363"/>
                  </a:lnTo>
                  <a:cubicBezTo>
                    <a:pt x="6779" y="3325"/>
                    <a:pt x="6739" y="3307"/>
                    <a:pt x="6698" y="3307"/>
                  </a:cubicBezTo>
                  <a:cubicBezTo>
                    <a:pt x="6661" y="3307"/>
                    <a:pt x="6625" y="3322"/>
                    <a:pt x="6596" y="3351"/>
                  </a:cubicBezTo>
                  <a:cubicBezTo>
                    <a:pt x="6513" y="3410"/>
                    <a:pt x="6513" y="3517"/>
                    <a:pt x="6572" y="3577"/>
                  </a:cubicBezTo>
                  <a:lnTo>
                    <a:pt x="6906" y="3958"/>
                  </a:lnTo>
                  <a:cubicBezTo>
                    <a:pt x="6930" y="3994"/>
                    <a:pt x="6977" y="4017"/>
                    <a:pt x="7025" y="4017"/>
                  </a:cubicBezTo>
                  <a:cubicBezTo>
                    <a:pt x="7073" y="4017"/>
                    <a:pt x="7108" y="4006"/>
                    <a:pt x="7144" y="3970"/>
                  </a:cubicBezTo>
                  <a:lnTo>
                    <a:pt x="7251" y="3875"/>
                  </a:lnTo>
                  <a:lnTo>
                    <a:pt x="7382" y="3958"/>
                  </a:lnTo>
                  <a:lnTo>
                    <a:pt x="6894" y="4934"/>
                  </a:lnTo>
                  <a:lnTo>
                    <a:pt x="6858" y="4934"/>
                  </a:lnTo>
                  <a:cubicBezTo>
                    <a:pt x="6834" y="4934"/>
                    <a:pt x="6787" y="4910"/>
                    <a:pt x="6775" y="4887"/>
                  </a:cubicBezTo>
                  <a:lnTo>
                    <a:pt x="6132" y="4101"/>
                  </a:lnTo>
                  <a:cubicBezTo>
                    <a:pt x="6098" y="4053"/>
                    <a:pt x="6049" y="4033"/>
                    <a:pt x="6001" y="4033"/>
                  </a:cubicBezTo>
                  <a:cubicBezTo>
                    <a:pt x="5966" y="4033"/>
                    <a:pt x="5931" y="4045"/>
                    <a:pt x="5906" y="4065"/>
                  </a:cubicBezTo>
                  <a:cubicBezTo>
                    <a:pt x="5834" y="4125"/>
                    <a:pt x="5834" y="4232"/>
                    <a:pt x="5882" y="4291"/>
                  </a:cubicBezTo>
                  <a:lnTo>
                    <a:pt x="6513" y="5077"/>
                  </a:lnTo>
                  <a:cubicBezTo>
                    <a:pt x="6608" y="5184"/>
                    <a:pt x="6739" y="5244"/>
                    <a:pt x="6894" y="5244"/>
                  </a:cubicBezTo>
                  <a:lnTo>
                    <a:pt x="7096" y="5232"/>
                  </a:lnTo>
                  <a:lnTo>
                    <a:pt x="6453" y="6720"/>
                  </a:lnTo>
                  <a:cubicBezTo>
                    <a:pt x="6418" y="6815"/>
                    <a:pt x="6346" y="6923"/>
                    <a:pt x="6275" y="7018"/>
                  </a:cubicBezTo>
                  <a:lnTo>
                    <a:pt x="5775" y="7625"/>
                  </a:lnTo>
                  <a:cubicBezTo>
                    <a:pt x="5513" y="7744"/>
                    <a:pt x="5251" y="7816"/>
                    <a:pt x="4965" y="7875"/>
                  </a:cubicBezTo>
                  <a:lnTo>
                    <a:pt x="4691" y="7625"/>
                  </a:lnTo>
                  <a:cubicBezTo>
                    <a:pt x="4656" y="7589"/>
                    <a:pt x="4644" y="7554"/>
                    <a:pt x="4656" y="7506"/>
                  </a:cubicBezTo>
                  <a:lnTo>
                    <a:pt x="4703" y="7339"/>
                  </a:lnTo>
                  <a:cubicBezTo>
                    <a:pt x="4715" y="7280"/>
                    <a:pt x="4703" y="7208"/>
                    <a:pt x="4644" y="7161"/>
                  </a:cubicBezTo>
                  <a:lnTo>
                    <a:pt x="4322" y="6923"/>
                  </a:lnTo>
                  <a:cubicBezTo>
                    <a:pt x="4298" y="6899"/>
                    <a:pt x="4286" y="6863"/>
                    <a:pt x="4286" y="6815"/>
                  </a:cubicBezTo>
                  <a:lnTo>
                    <a:pt x="4310" y="6613"/>
                  </a:lnTo>
                  <a:cubicBezTo>
                    <a:pt x="4310" y="6565"/>
                    <a:pt x="4310" y="6518"/>
                    <a:pt x="4286" y="6494"/>
                  </a:cubicBezTo>
                  <a:cubicBezTo>
                    <a:pt x="4251" y="6458"/>
                    <a:pt x="4203" y="6434"/>
                    <a:pt x="4167" y="6434"/>
                  </a:cubicBezTo>
                  <a:lnTo>
                    <a:pt x="2703" y="6315"/>
                  </a:lnTo>
                  <a:cubicBezTo>
                    <a:pt x="2643" y="6315"/>
                    <a:pt x="2596" y="6280"/>
                    <a:pt x="2560" y="6244"/>
                  </a:cubicBezTo>
                  <a:lnTo>
                    <a:pt x="2120" y="5827"/>
                  </a:lnTo>
                  <a:cubicBezTo>
                    <a:pt x="2084" y="5780"/>
                    <a:pt x="2048" y="5708"/>
                    <a:pt x="2048" y="5649"/>
                  </a:cubicBezTo>
                  <a:lnTo>
                    <a:pt x="2048" y="5030"/>
                  </a:lnTo>
                  <a:cubicBezTo>
                    <a:pt x="2048" y="5006"/>
                    <a:pt x="2060" y="4970"/>
                    <a:pt x="2084" y="4958"/>
                  </a:cubicBezTo>
                  <a:lnTo>
                    <a:pt x="2572" y="4398"/>
                  </a:lnTo>
                  <a:cubicBezTo>
                    <a:pt x="2596" y="4363"/>
                    <a:pt x="2620" y="4339"/>
                    <a:pt x="2620" y="4291"/>
                  </a:cubicBezTo>
                  <a:lnTo>
                    <a:pt x="2620" y="4160"/>
                  </a:lnTo>
                  <a:cubicBezTo>
                    <a:pt x="2620" y="4113"/>
                    <a:pt x="2643" y="4065"/>
                    <a:pt x="2691" y="4053"/>
                  </a:cubicBezTo>
                  <a:lnTo>
                    <a:pt x="3072" y="3887"/>
                  </a:lnTo>
                  <a:lnTo>
                    <a:pt x="3810" y="3875"/>
                  </a:lnTo>
                  <a:cubicBezTo>
                    <a:pt x="3822" y="3875"/>
                    <a:pt x="3834" y="3887"/>
                    <a:pt x="3834" y="3898"/>
                  </a:cubicBezTo>
                  <a:cubicBezTo>
                    <a:pt x="3846" y="4029"/>
                    <a:pt x="3953" y="4137"/>
                    <a:pt x="4072" y="4184"/>
                  </a:cubicBezTo>
                  <a:lnTo>
                    <a:pt x="4596" y="4363"/>
                  </a:lnTo>
                  <a:cubicBezTo>
                    <a:pt x="4628" y="4370"/>
                    <a:pt x="4661" y="4374"/>
                    <a:pt x="4693" y="4374"/>
                  </a:cubicBezTo>
                  <a:cubicBezTo>
                    <a:pt x="4766" y="4374"/>
                    <a:pt x="4836" y="4353"/>
                    <a:pt x="4894" y="4303"/>
                  </a:cubicBezTo>
                  <a:cubicBezTo>
                    <a:pt x="4953" y="4244"/>
                    <a:pt x="5001" y="4148"/>
                    <a:pt x="4989" y="4065"/>
                  </a:cubicBezTo>
                  <a:lnTo>
                    <a:pt x="5644" y="4017"/>
                  </a:lnTo>
                  <a:cubicBezTo>
                    <a:pt x="5751" y="4006"/>
                    <a:pt x="5882" y="3946"/>
                    <a:pt x="5953" y="3839"/>
                  </a:cubicBezTo>
                  <a:cubicBezTo>
                    <a:pt x="6025" y="3732"/>
                    <a:pt x="6060" y="3613"/>
                    <a:pt x="6025" y="3482"/>
                  </a:cubicBezTo>
                  <a:lnTo>
                    <a:pt x="6013" y="3398"/>
                  </a:lnTo>
                  <a:cubicBezTo>
                    <a:pt x="5980" y="3258"/>
                    <a:pt x="5870" y="3157"/>
                    <a:pt x="5725" y="3157"/>
                  </a:cubicBezTo>
                  <a:cubicBezTo>
                    <a:pt x="5710" y="3157"/>
                    <a:pt x="5695" y="3158"/>
                    <a:pt x="5679" y="3160"/>
                  </a:cubicBezTo>
                  <a:lnTo>
                    <a:pt x="5346" y="3184"/>
                  </a:lnTo>
                  <a:lnTo>
                    <a:pt x="5298" y="3125"/>
                  </a:lnTo>
                  <a:lnTo>
                    <a:pt x="5739" y="2684"/>
                  </a:lnTo>
                  <a:cubicBezTo>
                    <a:pt x="5799" y="2624"/>
                    <a:pt x="5799" y="2517"/>
                    <a:pt x="5739" y="2458"/>
                  </a:cubicBezTo>
                  <a:cubicBezTo>
                    <a:pt x="5709" y="2428"/>
                    <a:pt x="5671" y="2413"/>
                    <a:pt x="5632" y="2413"/>
                  </a:cubicBezTo>
                  <a:cubicBezTo>
                    <a:pt x="5593" y="2413"/>
                    <a:pt x="5554" y="2428"/>
                    <a:pt x="5525" y="2458"/>
                  </a:cubicBezTo>
                  <a:lnTo>
                    <a:pt x="4965" y="3005"/>
                  </a:lnTo>
                  <a:lnTo>
                    <a:pt x="4787" y="3077"/>
                  </a:lnTo>
                  <a:lnTo>
                    <a:pt x="4286" y="2696"/>
                  </a:lnTo>
                  <a:cubicBezTo>
                    <a:pt x="4251" y="2669"/>
                    <a:pt x="4208" y="2656"/>
                    <a:pt x="4169" y="2656"/>
                  </a:cubicBezTo>
                  <a:cubicBezTo>
                    <a:pt x="4156" y="2656"/>
                    <a:pt x="4144" y="2657"/>
                    <a:pt x="4132" y="2660"/>
                  </a:cubicBezTo>
                  <a:lnTo>
                    <a:pt x="3417" y="2886"/>
                  </a:lnTo>
                  <a:cubicBezTo>
                    <a:pt x="3405" y="2886"/>
                    <a:pt x="3370" y="2898"/>
                    <a:pt x="3358" y="2922"/>
                  </a:cubicBezTo>
                  <a:lnTo>
                    <a:pt x="3405" y="2708"/>
                  </a:lnTo>
                  <a:lnTo>
                    <a:pt x="3977" y="2291"/>
                  </a:lnTo>
                  <a:lnTo>
                    <a:pt x="4548" y="2208"/>
                  </a:lnTo>
                  <a:cubicBezTo>
                    <a:pt x="4632" y="2184"/>
                    <a:pt x="4691" y="2148"/>
                    <a:pt x="4691" y="2065"/>
                  </a:cubicBezTo>
                  <a:lnTo>
                    <a:pt x="4751" y="1589"/>
                  </a:lnTo>
                  <a:cubicBezTo>
                    <a:pt x="4751" y="1553"/>
                    <a:pt x="4751" y="1505"/>
                    <a:pt x="4715" y="1470"/>
                  </a:cubicBezTo>
                  <a:lnTo>
                    <a:pt x="4477" y="1172"/>
                  </a:lnTo>
                  <a:cubicBezTo>
                    <a:pt x="4441" y="1136"/>
                    <a:pt x="4406" y="1112"/>
                    <a:pt x="4346" y="1112"/>
                  </a:cubicBezTo>
                  <a:cubicBezTo>
                    <a:pt x="4298" y="1112"/>
                    <a:pt x="4239" y="1148"/>
                    <a:pt x="4215" y="1196"/>
                  </a:cubicBezTo>
                  <a:lnTo>
                    <a:pt x="4036" y="1446"/>
                  </a:lnTo>
                  <a:lnTo>
                    <a:pt x="3834" y="1434"/>
                  </a:lnTo>
                  <a:lnTo>
                    <a:pt x="4155" y="815"/>
                  </a:lnTo>
                  <a:lnTo>
                    <a:pt x="4477" y="815"/>
                  </a:lnTo>
                  <a:lnTo>
                    <a:pt x="4727" y="1267"/>
                  </a:lnTo>
                  <a:cubicBezTo>
                    <a:pt x="4763" y="1327"/>
                    <a:pt x="4822" y="1350"/>
                    <a:pt x="4882" y="1350"/>
                  </a:cubicBezTo>
                  <a:cubicBezTo>
                    <a:pt x="4941" y="1350"/>
                    <a:pt x="5001" y="1315"/>
                    <a:pt x="5025" y="1255"/>
                  </a:cubicBezTo>
                  <a:lnTo>
                    <a:pt x="5251" y="719"/>
                  </a:lnTo>
                  <a:cubicBezTo>
                    <a:pt x="5298" y="624"/>
                    <a:pt x="5287" y="505"/>
                    <a:pt x="5215" y="434"/>
                  </a:cubicBezTo>
                  <a:lnTo>
                    <a:pt x="5215" y="434"/>
                  </a:lnTo>
                  <a:cubicBezTo>
                    <a:pt x="5751" y="577"/>
                    <a:pt x="6263" y="839"/>
                    <a:pt x="6692" y="1208"/>
                  </a:cubicBezTo>
                  <a:cubicBezTo>
                    <a:pt x="6724" y="1234"/>
                    <a:pt x="6763" y="1247"/>
                    <a:pt x="6801" y="1247"/>
                  </a:cubicBezTo>
                  <a:cubicBezTo>
                    <a:pt x="6847" y="1247"/>
                    <a:pt x="6892" y="1228"/>
                    <a:pt x="6918" y="1196"/>
                  </a:cubicBezTo>
                  <a:cubicBezTo>
                    <a:pt x="6977" y="1112"/>
                    <a:pt x="6965" y="1017"/>
                    <a:pt x="6906" y="969"/>
                  </a:cubicBezTo>
                  <a:cubicBezTo>
                    <a:pt x="6157" y="343"/>
                    <a:pt x="5219" y="1"/>
                    <a:pt x="4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32" name="Google Shape;13532;p64"/>
          <p:cNvGrpSpPr/>
          <p:nvPr/>
        </p:nvGrpSpPr>
        <p:grpSpPr>
          <a:xfrm>
            <a:off x="8065100" y="2000174"/>
            <a:ext cx="255086" cy="301685"/>
            <a:chOff x="8065100" y="2000174"/>
            <a:chExt cx="255086" cy="301685"/>
          </a:xfrm>
        </p:grpSpPr>
        <p:sp>
          <p:nvSpPr>
            <p:cNvPr id="13533" name="Google Shape;13533;p64"/>
            <p:cNvSpPr/>
            <p:nvPr/>
          </p:nvSpPr>
          <p:spPr>
            <a:xfrm>
              <a:off x="8085185" y="2151016"/>
              <a:ext cx="65220" cy="150842"/>
            </a:xfrm>
            <a:custGeom>
              <a:avLst/>
              <a:gdLst/>
              <a:ahLst/>
              <a:cxnLst/>
              <a:rect l="l" t="t" r="r" b="b"/>
              <a:pathLst>
                <a:path w="2049" h="4739" extrusionOk="0">
                  <a:moveTo>
                    <a:pt x="1144" y="274"/>
                  </a:moveTo>
                  <a:cubicBezTo>
                    <a:pt x="1299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53" y="1155"/>
                    <a:pt x="1251" y="1345"/>
                    <a:pt x="989" y="1345"/>
                  </a:cubicBezTo>
                  <a:cubicBezTo>
                    <a:pt x="739" y="1345"/>
                    <a:pt x="537" y="1131"/>
                    <a:pt x="537" y="881"/>
                  </a:cubicBezTo>
                  <a:lnTo>
                    <a:pt x="537" y="583"/>
                  </a:lnTo>
                  <a:cubicBezTo>
                    <a:pt x="537" y="417"/>
                    <a:pt x="668" y="274"/>
                    <a:pt x="846" y="274"/>
                  </a:cubicBezTo>
                  <a:close/>
                  <a:moveTo>
                    <a:pt x="1144" y="1631"/>
                  </a:moveTo>
                  <a:lnTo>
                    <a:pt x="1144" y="1691"/>
                  </a:lnTo>
                  <a:cubicBezTo>
                    <a:pt x="1144" y="1726"/>
                    <a:pt x="1156" y="1786"/>
                    <a:pt x="1180" y="1834"/>
                  </a:cubicBezTo>
                  <a:lnTo>
                    <a:pt x="989" y="2024"/>
                  </a:lnTo>
                  <a:lnTo>
                    <a:pt x="787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8" y="0"/>
                  </a:moveTo>
                  <a:cubicBezTo>
                    <a:pt x="537" y="0"/>
                    <a:pt x="275" y="274"/>
                    <a:pt x="275" y="583"/>
                  </a:cubicBezTo>
                  <a:lnTo>
                    <a:pt x="275" y="881"/>
                  </a:lnTo>
                  <a:cubicBezTo>
                    <a:pt x="275" y="1119"/>
                    <a:pt x="394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9" y="1881"/>
                  </a:lnTo>
                  <a:cubicBezTo>
                    <a:pt x="84" y="1953"/>
                    <a:pt x="1" y="2107"/>
                    <a:pt x="1" y="2262"/>
                  </a:cubicBezTo>
                  <a:lnTo>
                    <a:pt x="1" y="3572"/>
                  </a:lnTo>
                  <a:cubicBezTo>
                    <a:pt x="1" y="3691"/>
                    <a:pt x="25" y="3798"/>
                    <a:pt x="96" y="3905"/>
                  </a:cubicBezTo>
                  <a:lnTo>
                    <a:pt x="251" y="4132"/>
                  </a:lnTo>
                  <a:cubicBezTo>
                    <a:pt x="275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8" y="4739"/>
                    <a:pt x="429" y="4739"/>
                  </a:cubicBezTo>
                  <a:cubicBezTo>
                    <a:pt x="501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7" y="4072"/>
                    <a:pt x="453" y="3965"/>
                  </a:cubicBezTo>
                  <a:lnTo>
                    <a:pt x="310" y="3739"/>
                  </a:lnTo>
                  <a:cubicBezTo>
                    <a:pt x="275" y="3691"/>
                    <a:pt x="263" y="3631"/>
                    <a:pt x="263" y="3572"/>
                  </a:cubicBezTo>
                  <a:lnTo>
                    <a:pt x="263" y="2262"/>
                  </a:lnTo>
                  <a:cubicBezTo>
                    <a:pt x="263" y="2203"/>
                    <a:pt x="298" y="2143"/>
                    <a:pt x="358" y="2119"/>
                  </a:cubicBezTo>
                  <a:lnTo>
                    <a:pt x="596" y="2000"/>
                  </a:lnTo>
                  <a:lnTo>
                    <a:pt x="810" y="2227"/>
                  </a:lnTo>
                  <a:cubicBezTo>
                    <a:pt x="870" y="2286"/>
                    <a:pt x="953" y="2310"/>
                    <a:pt x="1025" y="2310"/>
                  </a:cubicBezTo>
                  <a:cubicBezTo>
                    <a:pt x="1096" y="2310"/>
                    <a:pt x="1168" y="2286"/>
                    <a:pt x="1227" y="2227"/>
                  </a:cubicBezTo>
                  <a:lnTo>
                    <a:pt x="1453" y="2000"/>
                  </a:lnTo>
                  <a:lnTo>
                    <a:pt x="1692" y="2119"/>
                  </a:lnTo>
                  <a:cubicBezTo>
                    <a:pt x="1751" y="2143"/>
                    <a:pt x="1787" y="2191"/>
                    <a:pt x="1787" y="2262"/>
                  </a:cubicBezTo>
                  <a:lnTo>
                    <a:pt x="1787" y="3572"/>
                  </a:lnTo>
                  <a:cubicBezTo>
                    <a:pt x="1787" y="3631"/>
                    <a:pt x="1763" y="3691"/>
                    <a:pt x="1739" y="3739"/>
                  </a:cubicBezTo>
                  <a:lnTo>
                    <a:pt x="1584" y="3965"/>
                  </a:lnTo>
                  <a:cubicBezTo>
                    <a:pt x="1525" y="4048"/>
                    <a:pt x="1489" y="4167"/>
                    <a:pt x="1489" y="4286"/>
                  </a:cubicBezTo>
                  <a:lnTo>
                    <a:pt x="1489" y="4608"/>
                  </a:lnTo>
                  <a:cubicBezTo>
                    <a:pt x="1489" y="4679"/>
                    <a:pt x="1549" y="4739"/>
                    <a:pt x="1620" y="4739"/>
                  </a:cubicBezTo>
                  <a:cubicBezTo>
                    <a:pt x="1692" y="4739"/>
                    <a:pt x="1751" y="4679"/>
                    <a:pt x="1751" y="4608"/>
                  </a:cubicBezTo>
                  <a:lnTo>
                    <a:pt x="1751" y="4286"/>
                  </a:lnTo>
                  <a:cubicBezTo>
                    <a:pt x="1751" y="4227"/>
                    <a:pt x="1763" y="4167"/>
                    <a:pt x="1799" y="4132"/>
                  </a:cubicBezTo>
                  <a:lnTo>
                    <a:pt x="1942" y="3905"/>
                  </a:lnTo>
                  <a:cubicBezTo>
                    <a:pt x="2001" y="3810"/>
                    <a:pt x="2049" y="3691"/>
                    <a:pt x="2049" y="3572"/>
                  </a:cubicBezTo>
                  <a:lnTo>
                    <a:pt x="2049" y="2262"/>
                  </a:lnTo>
                  <a:cubicBezTo>
                    <a:pt x="2025" y="2107"/>
                    <a:pt x="1930" y="1953"/>
                    <a:pt x="1787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20" y="1345"/>
                    <a:pt x="1739" y="1131"/>
                    <a:pt x="1739" y="881"/>
                  </a:cubicBezTo>
                  <a:lnTo>
                    <a:pt x="1739" y="583"/>
                  </a:lnTo>
                  <a:cubicBezTo>
                    <a:pt x="1739" y="262"/>
                    <a:pt x="1465" y="0"/>
                    <a:pt x="1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4" name="Google Shape;13534;p64"/>
            <p:cNvSpPr/>
            <p:nvPr/>
          </p:nvSpPr>
          <p:spPr>
            <a:xfrm>
              <a:off x="8161004" y="2151016"/>
              <a:ext cx="65188" cy="150842"/>
            </a:xfrm>
            <a:custGeom>
              <a:avLst/>
              <a:gdLst/>
              <a:ahLst/>
              <a:cxnLst/>
              <a:rect l="l" t="t" r="r" b="b"/>
              <a:pathLst>
                <a:path w="2048" h="4739" extrusionOk="0">
                  <a:moveTo>
                    <a:pt x="1143" y="274"/>
                  </a:moveTo>
                  <a:cubicBezTo>
                    <a:pt x="1298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41" y="1155"/>
                    <a:pt x="1250" y="1345"/>
                    <a:pt x="988" y="1345"/>
                  </a:cubicBezTo>
                  <a:cubicBezTo>
                    <a:pt x="738" y="1345"/>
                    <a:pt x="536" y="1131"/>
                    <a:pt x="536" y="881"/>
                  </a:cubicBezTo>
                  <a:lnTo>
                    <a:pt x="536" y="583"/>
                  </a:lnTo>
                  <a:cubicBezTo>
                    <a:pt x="536" y="417"/>
                    <a:pt x="667" y="274"/>
                    <a:pt x="845" y="274"/>
                  </a:cubicBezTo>
                  <a:close/>
                  <a:moveTo>
                    <a:pt x="1143" y="1631"/>
                  </a:moveTo>
                  <a:lnTo>
                    <a:pt x="1143" y="1691"/>
                  </a:lnTo>
                  <a:cubicBezTo>
                    <a:pt x="1143" y="1726"/>
                    <a:pt x="1155" y="1786"/>
                    <a:pt x="1179" y="1834"/>
                  </a:cubicBezTo>
                  <a:lnTo>
                    <a:pt x="988" y="2024"/>
                  </a:lnTo>
                  <a:lnTo>
                    <a:pt x="786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7" y="0"/>
                  </a:moveTo>
                  <a:cubicBezTo>
                    <a:pt x="536" y="0"/>
                    <a:pt x="274" y="274"/>
                    <a:pt x="274" y="583"/>
                  </a:cubicBezTo>
                  <a:lnTo>
                    <a:pt x="274" y="881"/>
                  </a:lnTo>
                  <a:cubicBezTo>
                    <a:pt x="274" y="1119"/>
                    <a:pt x="393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8" y="1881"/>
                  </a:lnTo>
                  <a:cubicBezTo>
                    <a:pt x="83" y="1953"/>
                    <a:pt x="0" y="2107"/>
                    <a:pt x="0" y="2262"/>
                  </a:cubicBezTo>
                  <a:lnTo>
                    <a:pt x="0" y="3572"/>
                  </a:lnTo>
                  <a:cubicBezTo>
                    <a:pt x="0" y="3691"/>
                    <a:pt x="24" y="3798"/>
                    <a:pt x="95" y="3905"/>
                  </a:cubicBezTo>
                  <a:lnTo>
                    <a:pt x="250" y="4132"/>
                  </a:lnTo>
                  <a:cubicBezTo>
                    <a:pt x="274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7" y="4739"/>
                    <a:pt x="429" y="4739"/>
                  </a:cubicBezTo>
                  <a:cubicBezTo>
                    <a:pt x="500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6" y="4072"/>
                    <a:pt x="453" y="3965"/>
                  </a:cubicBezTo>
                  <a:lnTo>
                    <a:pt x="310" y="3739"/>
                  </a:lnTo>
                  <a:cubicBezTo>
                    <a:pt x="274" y="3691"/>
                    <a:pt x="262" y="3631"/>
                    <a:pt x="262" y="3572"/>
                  </a:cubicBezTo>
                  <a:lnTo>
                    <a:pt x="262" y="2262"/>
                  </a:lnTo>
                  <a:cubicBezTo>
                    <a:pt x="262" y="2203"/>
                    <a:pt x="298" y="2143"/>
                    <a:pt x="357" y="2119"/>
                  </a:cubicBezTo>
                  <a:lnTo>
                    <a:pt x="595" y="2000"/>
                  </a:lnTo>
                  <a:lnTo>
                    <a:pt x="810" y="2227"/>
                  </a:lnTo>
                  <a:cubicBezTo>
                    <a:pt x="869" y="2286"/>
                    <a:pt x="953" y="2310"/>
                    <a:pt x="1024" y="2310"/>
                  </a:cubicBezTo>
                  <a:cubicBezTo>
                    <a:pt x="1095" y="2310"/>
                    <a:pt x="1167" y="2286"/>
                    <a:pt x="1226" y="2227"/>
                  </a:cubicBezTo>
                  <a:lnTo>
                    <a:pt x="1453" y="2000"/>
                  </a:lnTo>
                  <a:lnTo>
                    <a:pt x="1691" y="2119"/>
                  </a:lnTo>
                  <a:cubicBezTo>
                    <a:pt x="1750" y="2143"/>
                    <a:pt x="1786" y="2191"/>
                    <a:pt x="1786" y="2262"/>
                  </a:cubicBezTo>
                  <a:lnTo>
                    <a:pt x="1786" y="3572"/>
                  </a:lnTo>
                  <a:cubicBezTo>
                    <a:pt x="1786" y="3631"/>
                    <a:pt x="1762" y="3691"/>
                    <a:pt x="1738" y="3739"/>
                  </a:cubicBezTo>
                  <a:lnTo>
                    <a:pt x="1584" y="3965"/>
                  </a:lnTo>
                  <a:cubicBezTo>
                    <a:pt x="1524" y="4048"/>
                    <a:pt x="1488" y="4167"/>
                    <a:pt x="1488" y="4286"/>
                  </a:cubicBezTo>
                  <a:lnTo>
                    <a:pt x="1488" y="4608"/>
                  </a:lnTo>
                  <a:cubicBezTo>
                    <a:pt x="1488" y="4679"/>
                    <a:pt x="1548" y="4739"/>
                    <a:pt x="1619" y="4739"/>
                  </a:cubicBezTo>
                  <a:cubicBezTo>
                    <a:pt x="1691" y="4739"/>
                    <a:pt x="1750" y="4679"/>
                    <a:pt x="1750" y="4608"/>
                  </a:cubicBezTo>
                  <a:lnTo>
                    <a:pt x="1750" y="4286"/>
                  </a:lnTo>
                  <a:cubicBezTo>
                    <a:pt x="1750" y="4227"/>
                    <a:pt x="1762" y="4167"/>
                    <a:pt x="1798" y="4132"/>
                  </a:cubicBezTo>
                  <a:lnTo>
                    <a:pt x="1941" y="3905"/>
                  </a:lnTo>
                  <a:cubicBezTo>
                    <a:pt x="2000" y="3810"/>
                    <a:pt x="2048" y="3691"/>
                    <a:pt x="2048" y="3572"/>
                  </a:cubicBezTo>
                  <a:lnTo>
                    <a:pt x="2048" y="2262"/>
                  </a:lnTo>
                  <a:cubicBezTo>
                    <a:pt x="2024" y="2107"/>
                    <a:pt x="1929" y="1953"/>
                    <a:pt x="1786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19" y="1345"/>
                    <a:pt x="1738" y="1131"/>
                    <a:pt x="1738" y="881"/>
                  </a:cubicBezTo>
                  <a:lnTo>
                    <a:pt x="1738" y="583"/>
                  </a:lnTo>
                  <a:cubicBezTo>
                    <a:pt x="1738" y="262"/>
                    <a:pt x="1465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5" name="Google Shape;13535;p64"/>
            <p:cNvSpPr/>
            <p:nvPr/>
          </p:nvSpPr>
          <p:spPr>
            <a:xfrm>
              <a:off x="8236791" y="2151016"/>
              <a:ext cx="65220" cy="150842"/>
            </a:xfrm>
            <a:custGeom>
              <a:avLst/>
              <a:gdLst/>
              <a:ahLst/>
              <a:cxnLst/>
              <a:rect l="l" t="t" r="r" b="b"/>
              <a:pathLst>
                <a:path w="2049" h="4739" extrusionOk="0">
                  <a:moveTo>
                    <a:pt x="1143" y="274"/>
                  </a:moveTo>
                  <a:cubicBezTo>
                    <a:pt x="1298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41" y="1155"/>
                    <a:pt x="1250" y="1345"/>
                    <a:pt x="989" y="1345"/>
                  </a:cubicBezTo>
                  <a:cubicBezTo>
                    <a:pt x="739" y="1345"/>
                    <a:pt x="536" y="1131"/>
                    <a:pt x="536" y="881"/>
                  </a:cubicBezTo>
                  <a:lnTo>
                    <a:pt x="536" y="583"/>
                  </a:lnTo>
                  <a:cubicBezTo>
                    <a:pt x="536" y="417"/>
                    <a:pt x="667" y="274"/>
                    <a:pt x="846" y="274"/>
                  </a:cubicBezTo>
                  <a:close/>
                  <a:moveTo>
                    <a:pt x="1143" y="1631"/>
                  </a:moveTo>
                  <a:lnTo>
                    <a:pt x="1143" y="1691"/>
                  </a:lnTo>
                  <a:cubicBezTo>
                    <a:pt x="1143" y="1726"/>
                    <a:pt x="1155" y="1786"/>
                    <a:pt x="1179" y="1834"/>
                  </a:cubicBezTo>
                  <a:lnTo>
                    <a:pt x="989" y="2024"/>
                  </a:lnTo>
                  <a:lnTo>
                    <a:pt x="786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8" y="0"/>
                  </a:moveTo>
                  <a:cubicBezTo>
                    <a:pt x="536" y="0"/>
                    <a:pt x="274" y="274"/>
                    <a:pt x="274" y="583"/>
                  </a:cubicBezTo>
                  <a:lnTo>
                    <a:pt x="274" y="881"/>
                  </a:lnTo>
                  <a:cubicBezTo>
                    <a:pt x="274" y="1119"/>
                    <a:pt x="393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8" y="1881"/>
                  </a:lnTo>
                  <a:cubicBezTo>
                    <a:pt x="84" y="1953"/>
                    <a:pt x="0" y="2107"/>
                    <a:pt x="0" y="2262"/>
                  </a:cubicBezTo>
                  <a:lnTo>
                    <a:pt x="0" y="3572"/>
                  </a:lnTo>
                  <a:cubicBezTo>
                    <a:pt x="0" y="3691"/>
                    <a:pt x="24" y="3798"/>
                    <a:pt x="96" y="3905"/>
                  </a:cubicBezTo>
                  <a:lnTo>
                    <a:pt x="250" y="4132"/>
                  </a:lnTo>
                  <a:cubicBezTo>
                    <a:pt x="274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8" y="4739"/>
                    <a:pt x="429" y="4739"/>
                  </a:cubicBezTo>
                  <a:cubicBezTo>
                    <a:pt x="500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6" y="4072"/>
                    <a:pt x="453" y="3965"/>
                  </a:cubicBezTo>
                  <a:lnTo>
                    <a:pt x="310" y="3739"/>
                  </a:lnTo>
                  <a:cubicBezTo>
                    <a:pt x="274" y="3691"/>
                    <a:pt x="262" y="3631"/>
                    <a:pt x="262" y="3572"/>
                  </a:cubicBezTo>
                  <a:lnTo>
                    <a:pt x="262" y="2262"/>
                  </a:lnTo>
                  <a:cubicBezTo>
                    <a:pt x="262" y="2203"/>
                    <a:pt x="298" y="2143"/>
                    <a:pt x="358" y="2119"/>
                  </a:cubicBezTo>
                  <a:lnTo>
                    <a:pt x="596" y="2000"/>
                  </a:lnTo>
                  <a:lnTo>
                    <a:pt x="810" y="2227"/>
                  </a:lnTo>
                  <a:cubicBezTo>
                    <a:pt x="869" y="2286"/>
                    <a:pt x="953" y="2310"/>
                    <a:pt x="1024" y="2310"/>
                  </a:cubicBezTo>
                  <a:cubicBezTo>
                    <a:pt x="1096" y="2310"/>
                    <a:pt x="1167" y="2286"/>
                    <a:pt x="1227" y="2227"/>
                  </a:cubicBezTo>
                  <a:lnTo>
                    <a:pt x="1453" y="2000"/>
                  </a:lnTo>
                  <a:lnTo>
                    <a:pt x="1691" y="2119"/>
                  </a:lnTo>
                  <a:cubicBezTo>
                    <a:pt x="1751" y="2143"/>
                    <a:pt x="1786" y="2191"/>
                    <a:pt x="1786" y="2262"/>
                  </a:cubicBezTo>
                  <a:lnTo>
                    <a:pt x="1786" y="3572"/>
                  </a:lnTo>
                  <a:cubicBezTo>
                    <a:pt x="1786" y="3631"/>
                    <a:pt x="1762" y="3691"/>
                    <a:pt x="1739" y="3739"/>
                  </a:cubicBezTo>
                  <a:lnTo>
                    <a:pt x="1584" y="3965"/>
                  </a:lnTo>
                  <a:cubicBezTo>
                    <a:pt x="1524" y="4048"/>
                    <a:pt x="1489" y="4167"/>
                    <a:pt x="1489" y="4286"/>
                  </a:cubicBezTo>
                  <a:lnTo>
                    <a:pt x="1489" y="4608"/>
                  </a:lnTo>
                  <a:cubicBezTo>
                    <a:pt x="1489" y="4679"/>
                    <a:pt x="1548" y="4739"/>
                    <a:pt x="1620" y="4739"/>
                  </a:cubicBezTo>
                  <a:cubicBezTo>
                    <a:pt x="1691" y="4739"/>
                    <a:pt x="1751" y="4679"/>
                    <a:pt x="1751" y="4608"/>
                  </a:cubicBezTo>
                  <a:lnTo>
                    <a:pt x="1751" y="4286"/>
                  </a:lnTo>
                  <a:cubicBezTo>
                    <a:pt x="1751" y="4227"/>
                    <a:pt x="1762" y="4167"/>
                    <a:pt x="1798" y="4132"/>
                  </a:cubicBezTo>
                  <a:lnTo>
                    <a:pt x="1941" y="3905"/>
                  </a:lnTo>
                  <a:cubicBezTo>
                    <a:pt x="2001" y="3810"/>
                    <a:pt x="2048" y="3691"/>
                    <a:pt x="2048" y="3572"/>
                  </a:cubicBezTo>
                  <a:lnTo>
                    <a:pt x="2048" y="2262"/>
                  </a:lnTo>
                  <a:cubicBezTo>
                    <a:pt x="2024" y="2107"/>
                    <a:pt x="1929" y="1953"/>
                    <a:pt x="1786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20" y="1345"/>
                    <a:pt x="1739" y="1131"/>
                    <a:pt x="1739" y="881"/>
                  </a:cubicBezTo>
                  <a:lnTo>
                    <a:pt x="1739" y="583"/>
                  </a:lnTo>
                  <a:cubicBezTo>
                    <a:pt x="1739" y="262"/>
                    <a:pt x="1465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6" name="Google Shape;13536;p64"/>
            <p:cNvSpPr/>
            <p:nvPr/>
          </p:nvSpPr>
          <p:spPr>
            <a:xfrm>
              <a:off x="8065100" y="2000174"/>
              <a:ext cx="255086" cy="178916"/>
            </a:xfrm>
            <a:custGeom>
              <a:avLst/>
              <a:gdLst/>
              <a:ahLst/>
              <a:cxnLst/>
              <a:rect l="l" t="t" r="r" b="b"/>
              <a:pathLst>
                <a:path w="8014" h="5621" extrusionOk="0">
                  <a:moveTo>
                    <a:pt x="2680" y="512"/>
                  </a:moveTo>
                  <a:lnTo>
                    <a:pt x="2680" y="512"/>
                  </a:lnTo>
                  <a:cubicBezTo>
                    <a:pt x="2477" y="691"/>
                    <a:pt x="2275" y="917"/>
                    <a:pt x="2096" y="1191"/>
                  </a:cubicBezTo>
                  <a:cubicBezTo>
                    <a:pt x="1977" y="1370"/>
                    <a:pt x="1882" y="1572"/>
                    <a:pt x="1787" y="1786"/>
                  </a:cubicBezTo>
                  <a:lnTo>
                    <a:pt x="1013" y="1786"/>
                  </a:lnTo>
                  <a:cubicBezTo>
                    <a:pt x="1430" y="1215"/>
                    <a:pt x="2013" y="774"/>
                    <a:pt x="2680" y="512"/>
                  </a:cubicBezTo>
                  <a:close/>
                  <a:moveTo>
                    <a:pt x="3870" y="274"/>
                  </a:moveTo>
                  <a:lnTo>
                    <a:pt x="3870" y="1786"/>
                  </a:lnTo>
                  <a:lnTo>
                    <a:pt x="2096" y="1786"/>
                  </a:lnTo>
                  <a:cubicBezTo>
                    <a:pt x="2513" y="917"/>
                    <a:pt x="3156" y="346"/>
                    <a:pt x="3870" y="274"/>
                  </a:cubicBezTo>
                  <a:close/>
                  <a:moveTo>
                    <a:pt x="4144" y="274"/>
                  </a:moveTo>
                  <a:cubicBezTo>
                    <a:pt x="4870" y="334"/>
                    <a:pt x="5513" y="917"/>
                    <a:pt x="5906" y="1786"/>
                  </a:cubicBezTo>
                  <a:lnTo>
                    <a:pt x="4144" y="1786"/>
                  </a:lnTo>
                  <a:lnTo>
                    <a:pt x="4144" y="274"/>
                  </a:lnTo>
                  <a:close/>
                  <a:moveTo>
                    <a:pt x="5335" y="512"/>
                  </a:moveTo>
                  <a:lnTo>
                    <a:pt x="5335" y="512"/>
                  </a:lnTo>
                  <a:cubicBezTo>
                    <a:pt x="6002" y="774"/>
                    <a:pt x="6561" y="1215"/>
                    <a:pt x="7002" y="1786"/>
                  </a:cubicBezTo>
                  <a:lnTo>
                    <a:pt x="6228" y="1786"/>
                  </a:lnTo>
                  <a:cubicBezTo>
                    <a:pt x="6133" y="1572"/>
                    <a:pt x="6025" y="1382"/>
                    <a:pt x="5906" y="1191"/>
                  </a:cubicBezTo>
                  <a:cubicBezTo>
                    <a:pt x="5728" y="917"/>
                    <a:pt x="5537" y="691"/>
                    <a:pt x="5335" y="512"/>
                  </a:cubicBezTo>
                  <a:close/>
                  <a:moveTo>
                    <a:pt x="1680" y="2048"/>
                  </a:moveTo>
                  <a:cubicBezTo>
                    <a:pt x="1465" y="2596"/>
                    <a:pt x="1358" y="3215"/>
                    <a:pt x="1346" y="3846"/>
                  </a:cubicBezTo>
                  <a:lnTo>
                    <a:pt x="287" y="3846"/>
                  </a:lnTo>
                  <a:cubicBezTo>
                    <a:pt x="310" y="3191"/>
                    <a:pt x="513" y="2572"/>
                    <a:pt x="834" y="2048"/>
                  </a:cubicBezTo>
                  <a:close/>
                  <a:moveTo>
                    <a:pt x="3870" y="2048"/>
                  </a:moveTo>
                  <a:lnTo>
                    <a:pt x="3870" y="3846"/>
                  </a:lnTo>
                  <a:lnTo>
                    <a:pt x="1620" y="3846"/>
                  </a:lnTo>
                  <a:cubicBezTo>
                    <a:pt x="1644" y="3191"/>
                    <a:pt x="1763" y="2572"/>
                    <a:pt x="1965" y="2048"/>
                  </a:cubicBezTo>
                  <a:close/>
                  <a:moveTo>
                    <a:pt x="6049" y="2048"/>
                  </a:moveTo>
                  <a:cubicBezTo>
                    <a:pt x="6252" y="2584"/>
                    <a:pt x="6371" y="3191"/>
                    <a:pt x="6383" y="3846"/>
                  </a:cubicBezTo>
                  <a:lnTo>
                    <a:pt x="4144" y="3846"/>
                  </a:lnTo>
                  <a:lnTo>
                    <a:pt x="4144" y="2048"/>
                  </a:lnTo>
                  <a:close/>
                  <a:moveTo>
                    <a:pt x="7192" y="2048"/>
                  </a:moveTo>
                  <a:cubicBezTo>
                    <a:pt x="7514" y="2584"/>
                    <a:pt x="7716" y="3191"/>
                    <a:pt x="7740" y="3846"/>
                  </a:cubicBezTo>
                  <a:lnTo>
                    <a:pt x="6668" y="3846"/>
                  </a:lnTo>
                  <a:cubicBezTo>
                    <a:pt x="6656" y="3215"/>
                    <a:pt x="6537" y="2596"/>
                    <a:pt x="6347" y="2048"/>
                  </a:cubicBezTo>
                  <a:close/>
                  <a:moveTo>
                    <a:pt x="4001" y="0"/>
                  </a:moveTo>
                  <a:cubicBezTo>
                    <a:pt x="2930" y="0"/>
                    <a:pt x="1930" y="417"/>
                    <a:pt x="1180" y="1167"/>
                  </a:cubicBezTo>
                  <a:cubicBezTo>
                    <a:pt x="418" y="1929"/>
                    <a:pt x="1" y="2929"/>
                    <a:pt x="1" y="4001"/>
                  </a:cubicBezTo>
                  <a:cubicBezTo>
                    <a:pt x="1" y="4537"/>
                    <a:pt x="108" y="5061"/>
                    <a:pt x="310" y="5537"/>
                  </a:cubicBezTo>
                  <a:cubicBezTo>
                    <a:pt x="337" y="5590"/>
                    <a:pt x="384" y="5617"/>
                    <a:pt x="436" y="5617"/>
                  </a:cubicBezTo>
                  <a:cubicBezTo>
                    <a:pt x="453" y="5617"/>
                    <a:pt x="471" y="5614"/>
                    <a:pt x="489" y="5608"/>
                  </a:cubicBezTo>
                  <a:cubicBezTo>
                    <a:pt x="560" y="5573"/>
                    <a:pt x="596" y="5501"/>
                    <a:pt x="560" y="5430"/>
                  </a:cubicBezTo>
                  <a:cubicBezTo>
                    <a:pt x="382" y="5013"/>
                    <a:pt x="298" y="4584"/>
                    <a:pt x="287" y="4132"/>
                  </a:cubicBezTo>
                  <a:lnTo>
                    <a:pt x="1334" y="4132"/>
                  </a:lnTo>
                  <a:lnTo>
                    <a:pt x="1334" y="4299"/>
                  </a:lnTo>
                  <a:cubicBezTo>
                    <a:pt x="1334" y="4370"/>
                    <a:pt x="1418" y="4430"/>
                    <a:pt x="1489" y="4430"/>
                  </a:cubicBezTo>
                  <a:cubicBezTo>
                    <a:pt x="1561" y="4430"/>
                    <a:pt x="1620" y="4358"/>
                    <a:pt x="1620" y="4287"/>
                  </a:cubicBezTo>
                  <a:lnTo>
                    <a:pt x="1620" y="4132"/>
                  </a:lnTo>
                  <a:lnTo>
                    <a:pt x="3870" y="4132"/>
                  </a:lnTo>
                  <a:lnTo>
                    <a:pt x="3870" y="4299"/>
                  </a:lnTo>
                  <a:cubicBezTo>
                    <a:pt x="3870" y="4370"/>
                    <a:pt x="3930" y="4430"/>
                    <a:pt x="4001" y="4430"/>
                  </a:cubicBezTo>
                  <a:cubicBezTo>
                    <a:pt x="4073" y="4430"/>
                    <a:pt x="4132" y="4370"/>
                    <a:pt x="4132" y="4299"/>
                  </a:cubicBezTo>
                  <a:lnTo>
                    <a:pt x="4132" y="4132"/>
                  </a:lnTo>
                  <a:lnTo>
                    <a:pt x="6383" y="4132"/>
                  </a:lnTo>
                  <a:lnTo>
                    <a:pt x="6383" y="4287"/>
                  </a:lnTo>
                  <a:cubicBezTo>
                    <a:pt x="6383" y="4358"/>
                    <a:pt x="6442" y="4430"/>
                    <a:pt x="6514" y="4430"/>
                  </a:cubicBezTo>
                  <a:cubicBezTo>
                    <a:pt x="6597" y="4430"/>
                    <a:pt x="6656" y="4370"/>
                    <a:pt x="6656" y="4299"/>
                  </a:cubicBezTo>
                  <a:lnTo>
                    <a:pt x="6656" y="4132"/>
                  </a:lnTo>
                  <a:lnTo>
                    <a:pt x="7704" y="4132"/>
                  </a:lnTo>
                  <a:cubicBezTo>
                    <a:pt x="7692" y="4584"/>
                    <a:pt x="7609" y="5013"/>
                    <a:pt x="7430" y="5430"/>
                  </a:cubicBezTo>
                  <a:cubicBezTo>
                    <a:pt x="7395" y="5501"/>
                    <a:pt x="7430" y="5573"/>
                    <a:pt x="7502" y="5608"/>
                  </a:cubicBezTo>
                  <a:cubicBezTo>
                    <a:pt x="7514" y="5608"/>
                    <a:pt x="7526" y="5620"/>
                    <a:pt x="7561" y="5620"/>
                  </a:cubicBezTo>
                  <a:cubicBezTo>
                    <a:pt x="7621" y="5620"/>
                    <a:pt x="7668" y="5596"/>
                    <a:pt x="7692" y="5537"/>
                  </a:cubicBezTo>
                  <a:cubicBezTo>
                    <a:pt x="7907" y="5037"/>
                    <a:pt x="8002" y="4525"/>
                    <a:pt x="8002" y="4001"/>
                  </a:cubicBezTo>
                  <a:cubicBezTo>
                    <a:pt x="8014" y="2929"/>
                    <a:pt x="7597" y="1917"/>
                    <a:pt x="6835" y="1167"/>
                  </a:cubicBezTo>
                  <a:cubicBezTo>
                    <a:pt x="6073" y="417"/>
                    <a:pt x="5073" y="0"/>
                    <a:pt x="4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37" name="Google Shape;13537;p64"/>
          <p:cNvGrpSpPr/>
          <p:nvPr/>
        </p:nvGrpSpPr>
        <p:grpSpPr>
          <a:xfrm>
            <a:off x="6633705" y="1969108"/>
            <a:ext cx="249420" cy="363849"/>
            <a:chOff x="6633705" y="1969108"/>
            <a:chExt cx="249420" cy="363849"/>
          </a:xfrm>
        </p:grpSpPr>
        <p:sp>
          <p:nvSpPr>
            <p:cNvPr id="13538" name="Google Shape;13538;p64"/>
            <p:cNvSpPr/>
            <p:nvPr/>
          </p:nvSpPr>
          <p:spPr>
            <a:xfrm>
              <a:off x="6678426" y="1969108"/>
              <a:ext cx="159214" cy="238407"/>
            </a:xfrm>
            <a:custGeom>
              <a:avLst/>
              <a:gdLst/>
              <a:ahLst/>
              <a:cxnLst/>
              <a:rect l="l" t="t" r="r" b="b"/>
              <a:pathLst>
                <a:path w="5002" h="7490" extrusionOk="0">
                  <a:moveTo>
                    <a:pt x="2525" y="333"/>
                  </a:moveTo>
                  <a:cubicBezTo>
                    <a:pt x="2906" y="333"/>
                    <a:pt x="3239" y="572"/>
                    <a:pt x="3251" y="857"/>
                  </a:cubicBezTo>
                  <a:cubicBezTo>
                    <a:pt x="3025" y="762"/>
                    <a:pt x="2775" y="714"/>
                    <a:pt x="2525" y="714"/>
                  </a:cubicBezTo>
                  <a:cubicBezTo>
                    <a:pt x="2263" y="714"/>
                    <a:pt x="2013" y="762"/>
                    <a:pt x="1787" y="857"/>
                  </a:cubicBezTo>
                  <a:cubicBezTo>
                    <a:pt x="1811" y="560"/>
                    <a:pt x="2120" y="333"/>
                    <a:pt x="2525" y="333"/>
                  </a:cubicBezTo>
                  <a:close/>
                  <a:moveTo>
                    <a:pt x="2525" y="1036"/>
                  </a:moveTo>
                  <a:cubicBezTo>
                    <a:pt x="3418" y="1036"/>
                    <a:pt x="4144" y="1762"/>
                    <a:pt x="4144" y="2655"/>
                  </a:cubicBezTo>
                  <a:cubicBezTo>
                    <a:pt x="4144" y="2786"/>
                    <a:pt x="4132" y="2905"/>
                    <a:pt x="4097" y="3036"/>
                  </a:cubicBezTo>
                  <a:cubicBezTo>
                    <a:pt x="4073" y="2905"/>
                    <a:pt x="3989" y="2786"/>
                    <a:pt x="3870" y="2679"/>
                  </a:cubicBezTo>
                  <a:cubicBezTo>
                    <a:pt x="3216" y="2107"/>
                    <a:pt x="2049" y="1953"/>
                    <a:pt x="2001" y="1941"/>
                  </a:cubicBezTo>
                  <a:cubicBezTo>
                    <a:pt x="1994" y="1940"/>
                    <a:pt x="1987" y="1939"/>
                    <a:pt x="1980" y="1939"/>
                  </a:cubicBezTo>
                  <a:cubicBezTo>
                    <a:pt x="1894" y="1939"/>
                    <a:pt x="1822" y="2006"/>
                    <a:pt x="1811" y="2084"/>
                  </a:cubicBezTo>
                  <a:cubicBezTo>
                    <a:pt x="1787" y="2179"/>
                    <a:pt x="1870" y="2262"/>
                    <a:pt x="1953" y="2286"/>
                  </a:cubicBezTo>
                  <a:cubicBezTo>
                    <a:pt x="1965" y="2286"/>
                    <a:pt x="3073" y="2429"/>
                    <a:pt x="3656" y="2941"/>
                  </a:cubicBezTo>
                  <a:cubicBezTo>
                    <a:pt x="3727" y="3012"/>
                    <a:pt x="3787" y="3120"/>
                    <a:pt x="3787" y="3215"/>
                  </a:cubicBezTo>
                  <a:lnTo>
                    <a:pt x="3787" y="3370"/>
                  </a:lnTo>
                  <a:cubicBezTo>
                    <a:pt x="3787" y="4084"/>
                    <a:pt x="3216" y="4644"/>
                    <a:pt x="2525" y="4644"/>
                  </a:cubicBezTo>
                  <a:cubicBezTo>
                    <a:pt x="1822" y="4644"/>
                    <a:pt x="1251" y="4084"/>
                    <a:pt x="1251" y="3381"/>
                  </a:cubicBezTo>
                  <a:cubicBezTo>
                    <a:pt x="1251" y="3334"/>
                    <a:pt x="1287" y="3274"/>
                    <a:pt x="1311" y="3250"/>
                  </a:cubicBezTo>
                  <a:cubicBezTo>
                    <a:pt x="1453" y="3143"/>
                    <a:pt x="1644" y="2977"/>
                    <a:pt x="1763" y="2727"/>
                  </a:cubicBezTo>
                  <a:cubicBezTo>
                    <a:pt x="1811" y="2643"/>
                    <a:pt x="1775" y="2548"/>
                    <a:pt x="1692" y="2500"/>
                  </a:cubicBezTo>
                  <a:cubicBezTo>
                    <a:pt x="1664" y="2490"/>
                    <a:pt x="1637" y="2485"/>
                    <a:pt x="1612" y="2485"/>
                  </a:cubicBezTo>
                  <a:cubicBezTo>
                    <a:pt x="1551" y="2485"/>
                    <a:pt x="1499" y="2516"/>
                    <a:pt x="1465" y="2584"/>
                  </a:cubicBezTo>
                  <a:cubicBezTo>
                    <a:pt x="1370" y="2762"/>
                    <a:pt x="1227" y="2893"/>
                    <a:pt x="1120" y="2965"/>
                  </a:cubicBezTo>
                  <a:cubicBezTo>
                    <a:pt x="1060" y="3012"/>
                    <a:pt x="1001" y="3072"/>
                    <a:pt x="977" y="3143"/>
                  </a:cubicBezTo>
                  <a:cubicBezTo>
                    <a:pt x="930" y="2977"/>
                    <a:pt x="894" y="2822"/>
                    <a:pt x="894" y="2655"/>
                  </a:cubicBezTo>
                  <a:cubicBezTo>
                    <a:pt x="894" y="1762"/>
                    <a:pt x="1632" y="1036"/>
                    <a:pt x="2525" y="1036"/>
                  </a:cubicBezTo>
                  <a:close/>
                  <a:moveTo>
                    <a:pt x="3061" y="4882"/>
                  </a:moveTo>
                  <a:lnTo>
                    <a:pt x="3061" y="5120"/>
                  </a:lnTo>
                  <a:cubicBezTo>
                    <a:pt x="3061" y="5167"/>
                    <a:pt x="3061" y="5215"/>
                    <a:pt x="3073" y="5263"/>
                  </a:cubicBezTo>
                  <a:lnTo>
                    <a:pt x="2525" y="5679"/>
                  </a:lnTo>
                  <a:lnTo>
                    <a:pt x="1942" y="5263"/>
                  </a:lnTo>
                  <a:cubicBezTo>
                    <a:pt x="1953" y="5215"/>
                    <a:pt x="1953" y="5167"/>
                    <a:pt x="1953" y="5120"/>
                  </a:cubicBezTo>
                  <a:lnTo>
                    <a:pt x="1953" y="4882"/>
                  </a:lnTo>
                  <a:cubicBezTo>
                    <a:pt x="2132" y="4941"/>
                    <a:pt x="2311" y="4989"/>
                    <a:pt x="2501" y="4989"/>
                  </a:cubicBezTo>
                  <a:cubicBezTo>
                    <a:pt x="2704" y="4989"/>
                    <a:pt x="2882" y="4965"/>
                    <a:pt x="3061" y="4882"/>
                  </a:cubicBezTo>
                  <a:close/>
                  <a:moveTo>
                    <a:pt x="2525" y="5679"/>
                  </a:moveTo>
                  <a:cubicBezTo>
                    <a:pt x="2525" y="5685"/>
                    <a:pt x="2519" y="5688"/>
                    <a:pt x="2516" y="5688"/>
                  </a:cubicBezTo>
                  <a:cubicBezTo>
                    <a:pt x="2513" y="5688"/>
                    <a:pt x="2513" y="5685"/>
                    <a:pt x="2525" y="5679"/>
                  </a:cubicBezTo>
                  <a:close/>
                  <a:moveTo>
                    <a:pt x="2501" y="0"/>
                  </a:moveTo>
                  <a:cubicBezTo>
                    <a:pt x="1930" y="0"/>
                    <a:pt x="1453" y="405"/>
                    <a:pt x="1453" y="881"/>
                  </a:cubicBezTo>
                  <a:cubicBezTo>
                    <a:pt x="1453" y="929"/>
                    <a:pt x="1453" y="976"/>
                    <a:pt x="1465" y="1012"/>
                  </a:cubicBezTo>
                  <a:cubicBezTo>
                    <a:pt x="918" y="1357"/>
                    <a:pt x="560" y="1965"/>
                    <a:pt x="560" y="2667"/>
                  </a:cubicBezTo>
                  <a:cubicBezTo>
                    <a:pt x="560" y="3120"/>
                    <a:pt x="715" y="3560"/>
                    <a:pt x="1001" y="3917"/>
                  </a:cubicBezTo>
                  <a:cubicBezTo>
                    <a:pt x="1120" y="4251"/>
                    <a:pt x="1346" y="4524"/>
                    <a:pt x="1632" y="4727"/>
                  </a:cubicBezTo>
                  <a:lnTo>
                    <a:pt x="1632" y="5120"/>
                  </a:lnTo>
                  <a:cubicBezTo>
                    <a:pt x="1632" y="5203"/>
                    <a:pt x="1584" y="5275"/>
                    <a:pt x="1513" y="5298"/>
                  </a:cubicBezTo>
                  <a:lnTo>
                    <a:pt x="418" y="5775"/>
                  </a:lnTo>
                  <a:cubicBezTo>
                    <a:pt x="168" y="5894"/>
                    <a:pt x="1" y="6156"/>
                    <a:pt x="1" y="6418"/>
                  </a:cubicBezTo>
                  <a:lnTo>
                    <a:pt x="1" y="7322"/>
                  </a:lnTo>
                  <a:cubicBezTo>
                    <a:pt x="1" y="7418"/>
                    <a:pt x="84" y="7489"/>
                    <a:pt x="168" y="7489"/>
                  </a:cubicBezTo>
                  <a:cubicBezTo>
                    <a:pt x="263" y="7489"/>
                    <a:pt x="334" y="7418"/>
                    <a:pt x="334" y="7322"/>
                  </a:cubicBezTo>
                  <a:lnTo>
                    <a:pt x="334" y="6418"/>
                  </a:lnTo>
                  <a:cubicBezTo>
                    <a:pt x="334" y="6275"/>
                    <a:pt x="418" y="6132"/>
                    <a:pt x="560" y="6072"/>
                  </a:cubicBezTo>
                  <a:lnTo>
                    <a:pt x="1644" y="5596"/>
                  </a:lnTo>
                  <a:cubicBezTo>
                    <a:pt x="1692" y="5584"/>
                    <a:pt x="1715" y="5560"/>
                    <a:pt x="1751" y="5536"/>
                  </a:cubicBezTo>
                  <a:lnTo>
                    <a:pt x="2299" y="5941"/>
                  </a:lnTo>
                  <a:cubicBezTo>
                    <a:pt x="2358" y="5989"/>
                    <a:pt x="2430" y="6013"/>
                    <a:pt x="2501" y="6013"/>
                  </a:cubicBezTo>
                  <a:cubicBezTo>
                    <a:pt x="2584" y="6013"/>
                    <a:pt x="2656" y="5989"/>
                    <a:pt x="2715" y="5941"/>
                  </a:cubicBezTo>
                  <a:lnTo>
                    <a:pt x="3263" y="5536"/>
                  </a:lnTo>
                  <a:cubicBezTo>
                    <a:pt x="3299" y="5572"/>
                    <a:pt x="3335" y="5584"/>
                    <a:pt x="3370" y="5596"/>
                  </a:cubicBezTo>
                  <a:lnTo>
                    <a:pt x="4454" y="6072"/>
                  </a:lnTo>
                  <a:cubicBezTo>
                    <a:pt x="4585" y="6132"/>
                    <a:pt x="4680" y="6275"/>
                    <a:pt x="4680" y="6418"/>
                  </a:cubicBezTo>
                  <a:lnTo>
                    <a:pt x="4680" y="7322"/>
                  </a:lnTo>
                  <a:cubicBezTo>
                    <a:pt x="4680" y="7418"/>
                    <a:pt x="4751" y="7489"/>
                    <a:pt x="4847" y="7489"/>
                  </a:cubicBezTo>
                  <a:cubicBezTo>
                    <a:pt x="4930" y="7489"/>
                    <a:pt x="5001" y="7418"/>
                    <a:pt x="5001" y="7322"/>
                  </a:cubicBezTo>
                  <a:lnTo>
                    <a:pt x="5001" y="6418"/>
                  </a:lnTo>
                  <a:cubicBezTo>
                    <a:pt x="5001" y="6156"/>
                    <a:pt x="4847" y="5894"/>
                    <a:pt x="4585" y="5775"/>
                  </a:cubicBezTo>
                  <a:lnTo>
                    <a:pt x="3501" y="5298"/>
                  </a:lnTo>
                  <a:cubicBezTo>
                    <a:pt x="3430" y="5275"/>
                    <a:pt x="3382" y="5203"/>
                    <a:pt x="3382" y="5120"/>
                  </a:cubicBezTo>
                  <a:lnTo>
                    <a:pt x="3382" y="4727"/>
                  </a:lnTo>
                  <a:cubicBezTo>
                    <a:pt x="3668" y="4524"/>
                    <a:pt x="3894" y="4251"/>
                    <a:pt x="4013" y="3917"/>
                  </a:cubicBezTo>
                  <a:cubicBezTo>
                    <a:pt x="4287" y="3560"/>
                    <a:pt x="4454" y="3131"/>
                    <a:pt x="4454" y="2667"/>
                  </a:cubicBezTo>
                  <a:cubicBezTo>
                    <a:pt x="4454" y="1965"/>
                    <a:pt x="4097" y="1357"/>
                    <a:pt x="3549" y="1012"/>
                  </a:cubicBezTo>
                  <a:cubicBezTo>
                    <a:pt x="3561" y="976"/>
                    <a:pt x="3561" y="929"/>
                    <a:pt x="3561" y="881"/>
                  </a:cubicBezTo>
                  <a:cubicBezTo>
                    <a:pt x="3561" y="393"/>
                    <a:pt x="3085" y="0"/>
                    <a:pt x="2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9" name="Google Shape;13539;p64"/>
            <p:cNvSpPr/>
            <p:nvPr/>
          </p:nvSpPr>
          <p:spPr>
            <a:xfrm>
              <a:off x="6753481" y="2168809"/>
              <a:ext cx="10249" cy="38705"/>
            </a:xfrm>
            <a:custGeom>
              <a:avLst/>
              <a:gdLst/>
              <a:ahLst/>
              <a:cxnLst/>
              <a:rect l="l" t="t" r="r" b="b"/>
              <a:pathLst>
                <a:path w="322" h="1216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1048"/>
                  </a:lnTo>
                  <a:cubicBezTo>
                    <a:pt x="0" y="1144"/>
                    <a:pt x="72" y="1215"/>
                    <a:pt x="167" y="1215"/>
                  </a:cubicBezTo>
                  <a:cubicBezTo>
                    <a:pt x="250" y="1215"/>
                    <a:pt x="322" y="1144"/>
                    <a:pt x="322" y="1048"/>
                  </a:cubicBezTo>
                  <a:lnTo>
                    <a:pt x="322" y="155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0" name="Google Shape;13540;p64"/>
            <p:cNvSpPr/>
            <p:nvPr/>
          </p:nvSpPr>
          <p:spPr>
            <a:xfrm>
              <a:off x="6707614" y="2180173"/>
              <a:ext cx="10631" cy="27342"/>
            </a:xfrm>
            <a:custGeom>
              <a:avLst/>
              <a:gdLst/>
              <a:ahLst/>
              <a:cxnLst/>
              <a:rect l="l" t="t" r="r" b="b"/>
              <a:pathLst>
                <a:path w="334" h="859" extrusionOk="0">
                  <a:moveTo>
                    <a:pt x="155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691"/>
                  </a:lnTo>
                  <a:cubicBezTo>
                    <a:pt x="1" y="787"/>
                    <a:pt x="72" y="858"/>
                    <a:pt x="155" y="858"/>
                  </a:cubicBezTo>
                  <a:cubicBezTo>
                    <a:pt x="251" y="858"/>
                    <a:pt x="322" y="787"/>
                    <a:pt x="322" y="691"/>
                  </a:cubicBezTo>
                  <a:lnTo>
                    <a:pt x="322" y="156"/>
                  </a:lnTo>
                  <a:cubicBezTo>
                    <a:pt x="334" y="72"/>
                    <a:pt x="263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1" name="Google Shape;13541;p64"/>
            <p:cNvSpPr/>
            <p:nvPr/>
          </p:nvSpPr>
          <p:spPr>
            <a:xfrm>
              <a:off x="6798966" y="2180173"/>
              <a:ext cx="10249" cy="27342"/>
            </a:xfrm>
            <a:custGeom>
              <a:avLst/>
              <a:gdLst/>
              <a:ahLst/>
              <a:cxnLst/>
              <a:rect l="l" t="t" r="r" b="b"/>
              <a:pathLst>
                <a:path w="322" h="859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lnTo>
                    <a:pt x="0" y="691"/>
                  </a:lnTo>
                  <a:cubicBezTo>
                    <a:pt x="0" y="787"/>
                    <a:pt x="71" y="858"/>
                    <a:pt x="167" y="858"/>
                  </a:cubicBezTo>
                  <a:cubicBezTo>
                    <a:pt x="250" y="858"/>
                    <a:pt x="321" y="787"/>
                    <a:pt x="321" y="691"/>
                  </a:cubicBezTo>
                  <a:lnTo>
                    <a:pt x="321" y="156"/>
                  </a:lnTo>
                  <a:cubicBezTo>
                    <a:pt x="321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2" name="Google Shape;13542;p64"/>
            <p:cNvSpPr/>
            <p:nvPr/>
          </p:nvSpPr>
          <p:spPr>
            <a:xfrm>
              <a:off x="6742118" y="2299949"/>
              <a:ext cx="32976" cy="33008"/>
            </a:xfrm>
            <a:custGeom>
              <a:avLst/>
              <a:gdLst/>
              <a:ahLst/>
              <a:cxnLst/>
              <a:rect l="l" t="t" r="r" b="b"/>
              <a:pathLst>
                <a:path w="1036" h="1037" extrusionOk="0">
                  <a:moveTo>
                    <a:pt x="524" y="322"/>
                  </a:moveTo>
                  <a:cubicBezTo>
                    <a:pt x="619" y="322"/>
                    <a:pt x="714" y="417"/>
                    <a:pt x="714" y="524"/>
                  </a:cubicBezTo>
                  <a:cubicBezTo>
                    <a:pt x="714" y="619"/>
                    <a:pt x="619" y="715"/>
                    <a:pt x="524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3" name="Google Shape;13543;p64"/>
            <p:cNvSpPr/>
            <p:nvPr/>
          </p:nvSpPr>
          <p:spPr>
            <a:xfrm>
              <a:off x="6633705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24"/>
                  </a:cubicBezTo>
                  <a:cubicBezTo>
                    <a:pt x="715" y="619"/>
                    <a:pt x="620" y="715"/>
                    <a:pt x="513" y="715"/>
                  </a:cubicBezTo>
                  <a:cubicBezTo>
                    <a:pt x="418" y="715"/>
                    <a:pt x="322" y="619"/>
                    <a:pt x="322" y="524"/>
                  </a:cubicBezTo>
                  <a:cubicBezTo>
                    <a:pt x="322" y="417"/>
                    <a:pt x="418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9" y="1036"/>
                    <a:pt x="1037" y="798"/>
                    <a:pt x="1037" y="524"/>
                  </a:cubicBezTo>
                  <a:cubicBezTo>
                    <a:pt x="1037" y="238"/>
                    <a:pt x="799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4" name="Google Shape;13544;p64"/>
            <p:cNvSpPr/>
            <p:nvPr/>
          </p:nvSpPr>
          <p:spPr>
            <a:xfrm>
              <a:off x="6850117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24"/>
                  </a:cubicBezTo>
                  <a:cubicBezTo>
                    <a:pt x="715" y="619"/>
                    <a:pt x="619" y="715"/>
                    <a:pt x="524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5" name="Google Shape;13545;p64"/>
            <p:cNvSpPr/>
            <p:nvPr/>
          </p:nvSpPr>
          <p:spPr>
            <a:xfrm>
              <a:off x="6664039" y="2219610"/>
              <a:ext cx="188370" cy="73750"/>
            </a:xfrm>
            <a:custGeom>
              <a:avLst/>
              <a:gdLst/>
              <a:ahLst/>
              <a:cxnLst/>
              <a:rect l="l" t="t" r="r" b="b"/>
              <a:pathLst>
                <a:path w="5918" h="2317" extrusionOk="0">
                  <a:moveTo>
                    <a:pt x="2977" y="0"/>
                  </a:moveTo>
                  <a:cubicBezTo>
                    <a:pt x="2882" y="0"/>
                    <a:pt x="2810" y="83"/>
                    <a:pt x="2810" y="167"/>
                  </a:cubicBezTo>
                  <a:lnTo>
                    <a:pt x="2810" y="369"/>
                  </a:lnTo>
                  <a:lnTo>
                    <a:pt x="1632" y="369"/>
                  </a:lnTo>
                  <a:cubicBezTo>
                    <a:pt x="1405" y="369"/>
                    <a:pt x="1191" y="464"/>
                    <a:pt x="1048" y="667"/>
                  </a:cubicBezTo>
                  <a:lnTo>
                    <a:pt x="60" y="2048"/>
                  </a:lnTo>
                  <a:cubicBezTo>
                    <a:pt x="0" y="2119"/>
                    <a:pt x="24" y="2227"/>
                    <a:pt x="96" y="2286"/>
                  </a:cubicBezTo>
                  <a:cubicBezTo>
                    <a:pt x="125" y="2307"/>
                    <a:pt x="156" y="2316"/>
                    <a:pt x="186" y="2316"/>
                  </a:cubicBezTo>
                  <a:cubicBezTo>
                    <a:pt x="241" y="2316"/>
                    <a:pt x="295" y="2285"/>
                    <a:pt x="334" y="2238"/>
                  </a:cubicBezTo>
                  <a:lnTo>
                    <a:pt x="1334" y="857"/>
                  </a:lnTo>
                  <a:cubicBezTo>
                    <a:pt x="1405" y="750"/>
                    <a:pt x="1512" y="703"/>
                    <a:pt x="1632" y="703"/>
                  </a:cubicBezTo>
                  <a:lnTo>
                    <a:pt x="2810" y="703"/>
                  </a:lnTo>
                  <a:lnTo>
                    <a:pt x="2810" y="1977"/>
                  </a:lnTo>
                  <a:cubicBezTo>
                    <a:pt x="2810" y="2060"/>
                    <a:pt x="2882" y="2131"/>
                    <a:pt x="2977" y="2131"/>
                  </a:cubicBezTo>
                  <a:cubicBezTo>
                    <a:pt x="3060" y="2131"/>
                    <a:pt x="3132" y="2060"/>
                    <a:pt x="3132" y="1977"/>
                  </a:cubicBezTo>
                  <a:lnTo>
                    <a:pt x="3132" y="703"/>
                  </a:lnTo>
                  <a:lnTo>
                    <a:pt x="4310" y="703"/>
                  </a:lnTo>
                  <a:cubicBezTo>
                    <a:pt x="4430" y="703"/>
                    <a:pt x="4549" y="762"/>
                    <a:pt x="4608" y="857"/>
                  </a:cubicBezTo>
                  <a:lnTo>
                    <a:pt x="5608" y="2238"/>
                  </a:lnTo>
                  <a:cubicBezTo>
                    <a:pt x="5632" y="2286"/>
                    <a:pt x="5692" y="2310"/>
                    <a:pt x="5739" y="2310"/>
                  </a:cubicBezTo>
                  <a:cubicBezTo>
                    <a:pt x="5775" y="2310"/>
                    <a:pt x="5811" y="2298"/>
                    <a:pt x="5846" y="2286"/>
                  </a:cubicBezTo>
                  <a:cubicBezTo>
                    <a:pt x="5906" y="2227"/>
                    <a:pt x="5918" y="2119"/>
                    <a:pt x="5870" y="2048"/>
                  </a:cubicBezTo>
                  <a:lnTo>
                    <a:pt x="4882" y="667"/>
                  </a:lnTo>
                  <a:cubicBezTo>
                    <a:pt x="4739" y="488"/>
                    <a:pt x="4537" y="369"/>
                    <a:pt x="4299" y="369"/>
                  </a:cubicBezTo>
                  <a:lnTo>
                    <a:pt x="3132" y="369"/>
                  </a:lnTo>
                  <a:lnTo>
                    <a:pt x="3132" y="167"/>
                  </a:lnTo>
                  <a:cubicBezTo>
                    <a:pt x="3132" y="83"/>
                    <a:pt x="3060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46" name="Google Shape;13546;p64"/>
          <p:cNvGrpSpPr/>
          <p:nvPr/>
        </p:nvGrpSpPr>
        <p:grpSpPr>
          <a:xfrm>
            <a:off x="5211031" y="1969108"/>
            <a:ext cx="226661" cy="363467"/>
            <a:chOff x="5211031" y="1969108"/>
            <a:chExt cx="226661" cy="363467"/>
          </a:xfrm>
        </p:grpSpPr>
        <p:sp>
          <p:nvSpPr>
            <p:cNvPr id="13547" name="Google Shape;13547;p64"/>
            <p:cNvSpPr/>
            <p:nvPr/>
          </p:nvSpPr>
          <p:spPr>
            <a:xfrm>
              <a:off x="5211031" y="1969108"/>
              <a:ext cx="226661" cy="363467"/>
            </a:xfrm>
            <a:custGeom>
              <a:avLst/>
              <a:gdLst/>
              <a:ahLst/>
              <a:cxnLst/>
              <a:rect l="l" t="t" r="r" b="b"/>
              <a:pathLst>
                <a:path w="7121" h="11419" extrusionOk="0">
                  <a:moveTo>
                    <a:pt x="6787" y="869"/>
                  </a:moveTo>
                  <a:cubicBezTo>
                    <a:pt x="6787" y="869"/>
                    <a:pt x="6799" y="869"/>
                    <a:pt x="6799" y="881"/>
                  </a:cubicBezTo>
                  <a:lnTo>
                    <a:pt x="6799" y="1238"/>
                  </a:lnTo>
                  <a:lnTo>
                    <a:pt x="6252" y="1250"/>
                  </a:lnTo>
                  <a:cubicBezTo>
                    <a:pt x="6156" y="1250"/>
                    <a:pt x="6085" y="1334"/>
                    <a:pt x="6085" y="1417"/>
                  </a:cubicBezTo>
                  <a:cubicBezTo>
                    <a:pt x="6085" y="1512"/>
                    <a:pt x="6156" y="1584"/>
                    <a:pt x="6252" y="1584"/>
                  </a:cubicBezTo>
                  <a:lnTo>
                    <a:pt x="6442" y="1584"/>
                  </a:lnTo>
                  <a:lnTo>
                    <a:pt x="6442" y="7501"/>
                  </a:lnTo>
                  <a:cubicBezTo>
                    <a:pt x="6442" y="7501"/>
                    <a:pt x="6442" y="7525"/>
                    <a:pt x="6430" y="7525"/>
                  </a:cubicBezTo>
                  <a:lnTo>
                    <a:pt x="703" y="7525"/>
                  </a:lnTo>
                  <a:cubicBezTo>
                    <a:pt x="703" y="7525"/>
                    <a:pt x="679" y="7525"/>
                    <a:pt x="679" y="7501"/>
                  </a:cubicBezTo>
                  <a:lnTo>
                    <a:pt x="679" y="1584"/>
                  </a:lnTo>
                  <a:lnTo>
                    <a:pt x="5537" y="1584"/>
                  </a:lnTo>
                  <a:cubicBezTo>
                    <a:pt x="5621" y="1584"/>
                    <a:pt x="5704" y="1512"/>
                    <a:pt x="5704" y="1417"/>
                  </a:cubicBezTo>
                  <a:cubicBezTo>
                    <a:pt x="5704" y="1334"/>
                    <a:pt x="5621" y="1250"/>
                    <a:pt x="5537" y="1250"/>
                  </a:cubicBezTo>
                  <a:lnTo>
                    <a:pt x="346" y="1250"/>
                  </a:lnTo>
                  <a:cubicBezTo>
                    <a:pt x="346" y="1250"/>
                    <a:pt x="322" y="1250"/>
                    <a:pt x="322" y="1238"/>
                  </a:cubicBezTo>
                  <a:lnTo>
                    <a:pt x="322" y="881"/>
                  </a:lnTo>
                  <a:cubicBezTo>
                    <a:pt x="322" y="881"/>
                    <a:pt x="322" y="869"/>
                    <a:pt x="346" y="869"/>
                  </a:cubicBezTo>
                  <a:close/>
                  <a:moveTo>
                    <a:pt x="5406" y="7858"/>
                  </a:moveTo>
                  <a:lnTo>
                    <a:pt x="5906" y="10394"/>
                  </a:lnTo>
                  <a:lnTo>
                    <a:pt x="3739" y="10394"/>
                  </a:lnTo>
                  <a:lnTo>
                    <a:pt x="3739" y="8418"/>
                  </a:lnTo>
                  <a:cubicBezTo>
                    <a:pt x="3739" y="8323"/>
                    <a:pt x="3656" y="8251"/>
                    <a:pt x="3573" y="8251"/>
                  </a:cubicBezTo>
                  <a:cubicBezTo>
                    <a:pt x="3477" y="8251"/>
                    <a:pt x="3406" y="8323"/>
                    <a:pt x="3406" y="8418"/>
                  </a:cubicBezTo>
                  <a:lnTo>
                    <a:pt x="3406" y="10394"/>
                  </a:lnTo>
                  <a:lnTo>
                    <a:pt x="1239" y="10394"/>
                  </a:lnTo>
                  <a:lnTo>
                    <a:pt x="1739" y="7858"/>
                  </a:lnTo>
                  <a:close/>
                  <a:moveTo>
                    <a:pt x="3573" y="0"/>
                  </a:moveTo>
                  <a:cubicBezTo>
                    <a:pt x="3477" y="0"/>
                    <a:pt x="3406" y="83"/>
                    <a:pt x="3406" y="167"/>
                  </a:cubicBezTo>
                  <a:lnTo>
                    <a:pt x="3406" y="536"/>
                  </a:lnTo>
                  <a:lnTo>
                    <a:pt x="346" y="536"/>
                  </a:lnTo>
                  <a:cubicBezTo>
                    <a:pt x="144" y="536"/>
                    <a:pt x="1" y="691"/>
                    <a:pt x="1" y="881"/>
                  </a:cubicBezTo>
                  <a:lnTo>
                    <a:pt x="1" y="1238"/>
                  </a:lnTo>
                  <a:cubicBezTo>
                    <a:pt x="1" y="1429"/>
                    <a:pt x="144" y="1584"/>
                    <a:pt x="346" y="1584"/>
                  </a:cubicBezTo>
                  <a:lnTo>
                    <a:pt x="358" y="1584"/>
                  </a:lnTo>
                  <a:lnTo>
                    <a:pt x="358" y="7501"/>
                  </a:lnTo>
                  <a:cubicBezTo>
                    <a:pt x="358" y="7703"/>
                    <a:pt x="501" y="7846"/>
                    <a:pt x="691" y="7846"/>
                  </a:cubicBezTo>
                  <a:lnTo>
                    <a:pt x="1382" y="7846"/>
                  </a:lnTo>
                  <a:lnTo>
                    <a:pt x="715" y="11228"/>
                  </a:lnTo>
                  <a:cubicBezTo>
                    <a:pt x="691" y="11311"/>
                    <a:pt x="751" y="11406"/>
                    <a:pt x="846" y="11418"/>
                  </a:cubicBezTo>
                  <a:lnTo>
                    <a:pt x="870" y="11418"/>
                  </a:lnTo>
                  <a:cubicBezTo>
                    <a:pt x="953" y="11418"/>
                    <a:pt x="1025" y="11359"/>
                    <a:pt x="1037" y="11287"/>
                  </a:cubicBezTo>
                  <a:lnTo>
                    <a:pt x="1156" y="10704"/>
                  </a:lnTo>
                  <a:lnTo>
                    <a:pt x="3394" y="10704"/>
                  </a:lnTo>
                  <a:lnTo>
                    <a:pt x="3394" y="11251"/>
                  </a:lnTo>
                  <a:cubicBezTo>
                    <a:pt x="3394" y="11347"/>
                    <a:pt x="3466" y="11418"/>
                    <a:pt x="3549" y="11418"/>
                  </a:cubicBezTo>
                  <a:cubicBezTo>
                    <a:pt x="3644" y="11418"/>
                    <a:pt x="3716" y="11347"/>
                    <a:pt x="3716" y="11251"/>
                  </a:cubicBezTo>
                  <a:lnTo>
                    <a:pt x="3716" y="10704"/>
                  </a:lnTo>
                  <a:lnTo>
                    <a:pt x="5954" y="10704"/>
                  </a:lnTo>
                  <a:lnTo>
                    <a:pt x="6073" y="11287"/>
                  </a:lnTo>
                  <a:cubicBezTo>
                    <a:pt x="6085" y="11359"/>
                    <a:pt x="6156" y="11418"/>
                    <a:pt x="6228" y="11418"/>
                  </a:cubicBezTo>
                  <a:lnTo>
                    <a:pt x="6264" y="11418"/>
                  </a:lnTo>
                  <a:cubicBezTo>
                    <a:pt x="6347" y="11406"/>
                    <a:pt x="6406" y="11311"/>
                    <a:pt x="6394" y="11228"/>
                  </a:cubicBezTo>
                  <a:lnTo>
                    <a:pt x="5728" y="7846"/>
                  </a:lnTo>
                  <a:lnTo>
                    <a:pt x="6406" y="7846"/>
                  </a:lnTo>
                  <a:cubicBezTo>
                    <a:pt x="6609" y="7846"/>
                    <a:pt x="6752" y="7703"/>
                    <a:pt x="6752" y="7501"/>
                  </a:cubicBezTo>
                  <a:lnTo>
                    <a:pt x="6752" y="1584"/>
                  </a:lnTo>
                  <a:lnTo>
                    <a:pt x="6764" y="1584"/>
                  </a:lnTo>
                  <a:cubicBezTo>
                    <a:pt x="6966" y="1584"/>
                    <a:pt x="7109" y="1429"/>
                    <a:pt x="7109" y="1238"/>
                  </a:cubicBezTo>
                  <a:lnTo>
                    <a:pt x="7109" y="881"/>
                  </a:lnTo>
                  <a:cubicBezTo>
                    <a:pt x="7121" y="691"/>
                    <a:pt x="6978" y="524"/>
                    <a:pt x="6787" y="524"/>
                  </a:cubicBezTo>
                  <a:lnTo>
                    <a:pt x="3739" y="524"/>
                  </a:lnTo>
                  <a:lnTo>
                    <a:pt x="3739" y="167"/>
                  </a:lnTo>
                  <a:cubicBezTo>
                    <a:pt x="3739" y="83"/>
                    <a:pt x="3656" y="0"/>
                    <a:pt x="35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8" name="Google Shape;13548;p64"/>
            <p:cNvSpPr/>
            <p:nvPr/>
          </p:nvSpPr>
          <p:spPr>
            <a:xfrm>
              <a:off x="5250468" y="2060046"/>
              <a:ext cx="147819" cy="107649"/>
            </a:xfrm>
            <a:custGeom>
              <a:avLst/>
              <a:gdLst/>
              <a:ahLst/>
              <a:cxnLst/>
              <a:rect l="l" t="t" r="r" b="b"/>
              <a:pathLst>
                <a:path w="4644" h="3382" extrusionOk="0">
                  <a:moveTo>
                    <a:pt x="3584" y="1"/>
                  </a:moveTo>
                  <a:cubicBezTo>
                    <a:pt x="3489" y="1"/>
                    <a:pt x="3417" y="84"/>
                    <a:pt x="3417" y="167"/>
                  </a:cubicBezTo>
                  <a:cubicBezTo>
                    <a:pt x="3417" y="263"/>
                    <a:pt x="3489" y="334"/>
                    <a:pt x="3584" y="334"/>
                  </a:cubicBezTo>
                  <a:lnTo>
                    <a:pt x="4072" y="334"/>
                  </a:lnTo>
                  <a:lnTo>
                    <a:pt x="2417" y="1989"/>
                  </a:lnTo>
                  <a:lnTo>
                    <a:pt x="2405" y="1989"/>
                  </a:lnTo>
                  <a:lnTo>
                    <a:pt x="2036" y="1608"/>
                  </a:lnTo>
                  <a:cubicBezTo>
                    <a:pt x="1971" y="1542"/>
                    <a:pt x="1881" y="1510"/>
                    <a:pt x="1792" y="1510"/>
                  </a:cubicBezTo>
                  <a:cubicBezTo>
                    <a:pt x="1703" y="1510"/>
                    <a:pt x="1613" y="1542"/>
                    <a:pt x="1548" y="1608"/>
                  </a:cubicBezTo>
                  <a:lnTo>
                    <a:pt x="60" y="3096"/>
                  </a:lnTo>
                  <a:cubicBezTo>
                    <a:pt x="0" y="3156"/>
                    <a:pt x="0" y="3275"/>
                    <a:pt x="60" y="3334"/>
                  </a:cubicBezTo>
                  <a:cubicBezTo>
                    <a:pt x="83" y="3370"/>
                    <a:pt x="131" y="3382"/>
                    <a:pt x="179" y="3382"/>
                  </a:cubicBezTo>
                  <a:cubicBezTo>
                    <a:pt x="214" y="3382"/>
                    <a:pt x="262" y="3370"/>
                    <a:pt x="298" y="3334"/>
                  </a:cubicBezTo>
                  <a:lnTo>
                    <a:pt x="1786" y="1846"/>
                  </a:lnTo>
                  <a:lnTo>
                    <a:pt x="1798" y="1846"/>
                  </a:lnTo>
                  <a:lnTo>
                    <a:pt x="2167" y="2227"/>
                  </a:lnTo>
                  <a:cubicBezTo>
                    <a:pt x="2227" y="2287"/>
                    <a:pt x="2310" y="2322"/>
                    <a:pt x="2405" y="2322"/>
                  </a:cubicBezTo>
                  <a:cubicBezTo>
                    <a:pt x="2488" y="2322"/>
                    <a:pt x="2584" y="2298"/>
                    <a:pt x="2643" y="2227"/>
                  </a:cubicBezTo>
                  <a:lnTo>
                    <a:pt x="4298" y="572"/>
                  </a:lnTo>
                  <a:lnTo>
                    <a:pt x="4298" y="1060"/>
                  </a:lnTo>
                  <a:cubicBezTo>
                    <a:pt x="4298" y="1155"/>
                    <a:pt x="4370" y="1227"/>
                    <a:pt x="4453" y="1227"/>
                  </a:cubicBezTo>
                  <a:cubicBezTo>
                    <a:pt x="4548" y="1227"/>
                    <a:pt x="4620" y="1155"/>
                    <a:pt x="4620" y="1060"/>
                  </a:cubicBezTo>
                  <a:lnTo>
                    <a:pt x="4620" y="167"/>
                  </a:lnTo>
                  <a:cubicBezTo>
                    <a:pt x="4644" y="84"/>
                    <a:pt x="4560" y="1"/>
                    <a:pt x="4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49" name="Google Shape;13549;p64"/>
          <p:cNvGrpSpPr/>
          <p:nvPr/>
        </p:nvGrpSpPr>
        <p:grpSpPr>
          <a:xfrm>
            <a:off x="3712952" y="1970604"/>
            <a:ext cx="354363" cy="354395"/>
            <a:chOff x="3712952" y="1970604"/>
            <a:chExt cx="354363" cy="354395"/>
          </a:xfrm>
        </p:grpSpPr>
        <p:sp>
          <p:nvSpPr>
            <p:cNvPr id="13550" name="Google Shape;13550;p64"/>
            <p:cNvSpPr/>
            <p:nvPr/>
          </p:nvSpPr>
          <p:spPr>
            <a:xfrm>
              <a:off x="3868314" y="2281360"/>
              <a:ext cx="43639" cy="43639"/>
            </a:xfrm>
            <a:custGeom>
              <a:avLst/>
              <a:gdLst/>
              <a:ahLst/>
              <a:cxnLst/>
              <a:rect l="l" t="t" r="r" b="b"/>
              <a:pathLst>
                <a:path w="1371" h="1371" extrusionOk="0">
                  <a:moveTo>
                    <a:pt x="692" y="334"/>
                  </a:moveTo>
                  <a:cubicBezTo>
                    <a:pt x="882" y="334"/>
                    <a:pt x="1049" y="489"/>
                    <a:pt x="1049" y="691"/>
                  </a:cubicBezTo>
                  <a:cubicBezTo>
                    <a:pt x="1049" y="882"/>
                    <a:pt x="894" y="1049"/>
                    <a:pt x="692" y="1049"/>
                  </a:cubicBezTo>
                  <a:cubicBezTo>
                    <a:pt x="501" y="1049"/>
                    <a:pt x="334" y="882"/>
                    <a:pt x="334" y="691"/>
                  </a:cubicBezTo>
                  <a:cubicBezTo>
                    <a:pt x="334" y="489"/>
                    <a:pt x="501" y="334"/>
                    <a:pt x="692" y="334"/>
                  </a:cubicBezTo>
                  <a:close/>
                  <a:moveTo>
                    <a:pt x="692" y="1"/>
                  </a:moveTo>
                  <a:cubicBezTo>
                    <a:pt x="322" y="1"/>
                    <a:pt x="1" y="310"/>
                    <a:pt x="1" y="691"/>
                  </a:cubicBezTo>
                  <a:cubicBezTo>
                    <a:pt x="1" y="1060"/>
                    <a:pt x="322" y="1370"/>
                    <a:pt x="692" y="1370"/>
                  </a:cubicBezTo>
                  <a:cubicBezTo>
                    <a:pt x="1061" y="1370"/>
                    <a:pt x="1370" y="1060"/>
                    <a:pt x="1370" y="691"/>
                  </a:cubicBezTo>
                  <a:cubicBezTo>
                    <a:pt x="1370" y="310"/>
                    <a:pt x="1073" y="1"/>
                    <a:pt x="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1" name="Google Shape;13551;p64"/>
            <p:cNvSpPr/>
            <p:nvPr/>
          </p:nvSpPr>
          <p:spPr>
            <a:xfrm>
              <a:off x="3940346" y="2120300"/>
              <a:ext cx="54970" cy="55002"/>
            </a:xfrm>
            <a:custGeom>
              <a:avLst/>
              <a:gdLst/>
              <a:ahLst/>
              <a:cxnLst/>
              <a:rect l="l" t="t" r="r" b="b"/>
              <a:pathLst>
                <a:path w="1727" h="1728" extrusionOk="0">
                  <a:moveTo>
                    <a:pt x="869" y="322"/>
                  </a:moveTo>
                  <a:cubicBezTo>
                    <a:pt x="1167" y="322"/>
                    <a:pt x="1405" y="572"/>
                    <a:pt x="1405" y="870"/>
                  </a:cubicBezTo>
                  <a:cubicBezTo>
                    <a:pt x="1405" y="1167"/>
                    <a:pt x="1167" y="1406"/>
                    <a:pt x="869" y="1406"/>
                  </a:cubicBezTo>
                  <a:cubicBezTo>
                    <a:pt x="572" y="1406"/>
                    <a:pt x="334" y="1167"/>
                    <a:pt x="334" y="870"/>
                  </a:cubicBezTo>
                  <a:cubicBezTo>
                    <a:pt x="334" y="572"/>
                    <a:pt x="572" y="322"/>
                    <a:pt x="869" y="322"/>
                  </a:cubicBezTo>
                  <a:close/>
                  <a:moveTo>
                    <a:pt x="869" y="1"/>
                  </a:moveTo>
                  <a:cubicBezTo>
                    <a:pt x="393" y="1"/>
                    <a:pt x="0" y="394"/>
                    <a:pt x="0" y="870"/>
                  </a:cubicBezTo>
                  <a:cubicBezTo>
                    <a:pt x="0" y="1346"/>
                    <a:pt x="393" y="1727"/>
                    <a:pt x="869" y="1727"/>
                  </a:cubicBezTo>
                  <a:cubicBezTo>
                    <a:pt x="1346" y="1727"/>
                    <a:pt x="1727" y="1346"/>
                    <a:pt x="1727" y="870"/>
                  </a:cubicBezTo>
                  <a:cubicBezTo>
                    <a:pt x="1727" y="394"/>
                    <a:pt x="1346" y="1"/>
                    <a:pt x="8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2" name="Google Shape;13552;p64"/>
            <p:cNvSpPr/>
            <p:nvPr/>
          </p:nvSpPr>
          <p:spPr>
            <a:xfrm>
              <a:off x="3784952" y="2120300"/>
              <a:ext cx="54970" cy="55002"/>
            </a:xfrm>
            <a:custGeom>
              <a:avLst/>
              <a:gdLst/>
              <a:ahLst/>
              <a:cxnLst/>
              <a:rect l="l" t="t" r="r" b="b"/>
              <a:pathLst>
                <a:path w="1727" h="1728" extrusionOk="0">
                  <a:moveTo>
                    <a:pt x="870" y="322"/>
                  </a:moveTo>
                  <a:cubicBezTo>
                    <a:pt x="1167" y="322"/>
                    <a:pt x="1406" y="572"/>
                    <a:pt x="1406" y="870"/>
                  </a:cubicBezTo>
                  <a:cubicBezTo>
                    <a:pt x="1406" y="1167"/>
                    <a:pt x="1167" y="1406"/>
                    <a:pt x="870" y="1406"/>
                  </a:cubicBezTo>
                  <a:cubicBezTo>
                    <a:pt x="572" y="1406"/>
                    <a:pt x="334" y="1167"/>
                    <a:pt x="334" y="870"/>
                  </a:cubicBezTo>
                  <a:cubicBezTo>
                    <a:pt x="334" y="572"/>
                    <a:pt x="572" y="322"/>
                    <a:pt x="870" y="322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46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3" name="Google Shape;13553;p64"/>
            <p:cNvSpPr/>
            <p:nvPr/>
          </p:nvSpPr>
          <p:spPr>
            <a:xfrm>
              <a:off x="3712952" y="2281360"/>
              <a:ext cx="44371" cy="43639"/>
            </a:xfrm>
            <a:custGeom>
              <a:avLst/>
              <a:gdLst/>
              <a:ahLst/>
              <a:cxnLst/>
              <a:rect l="l" t="t" r="r" b="b"/>
              <a:pathLst>
                <a:path w="1394" h="1371" extrusionOk="0">
                  <a:moveTo>
                    <a:pt x="691" y="334"/>
                  </a:moveTo>
                  <a:cubicBezTo>
                    <a:pt x="881" y="334"/>
                    <a:pt x="1048" y="489"/>
                    <a:pt x="1048" y="691"/>
                  </a:cubicBezTo>
                  <a:cubicBezTo>
                    <a:pt x="1048" y="882"/>
                    <a:pt x="893" y="1049"/>
                    <a:pt x="691" y="1049"/>
                  </a:cubicBezTo>
                  <a:cubicBezTo>
                    <a:pt x="500" y="1049"/>
                    <a:pt x="334" y="882"/>
                    <a:pt x="334" y="691"/>
                  </a:cubicBezTo>
                  <a:cubicBezTo>
                    <a:pt x="334" y="489"/>
                    <a:pt x="500" y="334"/>
                    <a:pt x="691" y="334"/>
                  </a:cubicBezTo>
                  <a:close/>
                  <a:moveTo>
                    <a:pt x="691" y="1"/>
                  </a:moveTo>
                  <a:cubicBezTo>
                    <a:pt x="322" y="1"/>
                    <a:pt x="0" y="310"/>
                    <a:pt x="0" y="691"/>
                  </a:cubicBezTo>
                  <a:cubicBezTo>
                    <a:pt x="0" y="1060"/>
                    <a:pt x="322" y="1370"/>
                    <a:pt x="691" y="1370"/>
                  </a:cubicBezTo>
                  <a:cubicBezTo>
                    <a:pt x="1060" y="1370"/>
                    <a:pt x="1370" y="1060"/>
                    <a:pt x="1370" y="691"/>
                  </a:cubicBezTo>
                  <a:cubicBezTo>
                    <a:pt x="1393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4" name="Google Shape;13554;p64"/>
            <p:cNvSpPr/>
            <p:nvPr/>
          </p:nvSpPr>
          <p:spPr>
            <a:xfrm>
              <a:off x="4023708" y="2281360"/>
              <a:ext cx="43607" cy="43639"/>
            </a:xfrm>
            <a:custGeom>
              <a:avLst/>
              <a:gdLst/>
              <a:ahLst/>
              <a:cxnLst/>
              <a:rect l="l" t="t" r="r" b="b"/>
              <a:pathLst>
                <a:path w="1370" h="1371" extrusionOk="0">
                  <a:moveTo>
                    <a:pt x="691" y="334"/>
                  </a:moveTo>
                  <a:cubicBezTo>
                    <a:pt x="882" y="334"/>
                    <a:pt x="1048" y="489"/>
                    <a:pt x="1048" y="691"/>
                  </a:cubicBezTo>
                  <a:cubicBezTo>
                    <a:pt x="1048" y="882"/>
                    <a:pt x="882" y="1049"/>
                    <a:pt x="691" y="1049"/>
                  </a:cubicBezTo>
                  <a:cubicBezTo>
                    <a:pt x="501" y="1049"/>
                    <a:pt x="334" y="882"/>
                    <a:pt x="334" y="691"/>
                  </a:cubicBezTo>
                  <a:cubicBezTo>
                    <a:pt x="334" y="489"/>
                    <a:pt x="501" y="334"/>
                    <a:pt x="691" y="334"/>
                  </a:cubicBezTo>
                  <a:close/>
                  <a:moveTo>
                    <a:pt x="691" y="1"/>
                  </a:moveTo>
                  <a:cubicBezTo>
                    <a:pt x="322" y="1"/>
                    <a:pt x="1" y="310"/>
                    <a:pt x="1" y="691"/>
                  </a:cubicBezTo>
                  <a:cubicBezTo>
                    <a:pt x="1" y="1060"/>
                    <a:pt x="322" y="1370"/>
                    <a:pt x="691" y="1370"/>
                  </a:cubicBezTo>
                  <a:cubicBezTo>
                    <a:pt x="1060" y="1370"/>
                    <a:pt x="1370" y="1060"/>
                    <a:pt x="1370" y="691"/>
                  </a:cubicBezTo>
                  <a:cubicBezTo>
                    <a:pt x="1370" y="310"/>
                    <a:pt x="1060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5" name="Google Shape;13555;p64"/>
            <p:cNvSpPr/>
            <p:nvPr/>
          </p:nvSpPr>
          <p:spPr>
            <a:xfrm>
              <a:off x="3852049" y="1970604"/>
              <a:ext cx="76583" cy="76965"/>
            </a:xfrm>
            <a:custGeom>
              <a:avLst/>
              <a:gdLst/>
              <a:ahLst/>
              <a:cxnLst/>
              <a:rect l="l" t="t" r="r" b="b"/>
              <a:pathLst>
                <a:path w="2406" h="2418" extrusionOk="0">
                  <a:moveTo>
                    <a:pt x="1203" y="346"/>
                  </a:moveTo>
                  <a:cubicBezTo>
                    <a:pt x="1679" y="346"/>
                    <a:pt x="2084" y="751"/>
                    <a:pt x="2084" y="1227"/>
                  </a:cubicBezTo>
                  <a:cubicBezTo>
                    <a:pt x="2084" y="1703"/>
                    <a:pt x="1691" y="2096"/>
                    <a:pt x="1203" y="2096"/>
                  </a:cubicBezTo>
                  <a:cubicBezTo>
                    <a:pt x="714" y="2096"/>
                    <a:pt x="321" y="1703"/>
                    <a:pt x="321" y="1227"/>
                  </a:cubicBezTo>
                  <a:cubicBezTo>
                    <a:pt x="321" y="727"/>
                    <a:pt x="726" y="346"/>
                    <a:pt x="1203" y="346"/>
                  </a:cubicBezTo>
                  <a:close/>
                  <a:moveTo>
                    <a:pt x="1203" y="1"/>
                  </a:moveTo>
                  <a:cubicBezTo>
                    <a:pt x="536" y="1"/>
                    <a:pt x="0" y="536"/>
                    <a:pt x="0" y="1203"/>
                  </a:cubicBezTo>
                  <a:cubicBezTo>
                    <a:pt x="0" y="1882"/>
                    <a:pt x="536" y="2418"/>
                    <a:pt x="1203" y="2418"/>
                  </a:cubicBezTo>
                  <a:cubicBezTo>
                    <a:pt x="1869" y="2418"/>
                    <a:pt x="2405" y="1882"/>
                    <a:pt x="2405" y="1203"/>
                  </a:cubicBezTo>
                  <a:cubicBezTo>
                    <a:pt x="2405" y="548"/>
                    <a:pt x="1869" y="1"/>
                    <a:pt x="1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6" name="Google Shape;13556;p64"/>
            <p:cNvSpPr/>
            <p:nvPr/>
          </p:nvSpPr>
          <p:spPr>
            <a:xfrm>
              <a:off x="3746310" y="2187016"/>
              <a:ext cx="132667" cy="88710"/>
            </a:xfrm>
            <a:custGeom>
              <a:avLst/>
              <a:gdLst/>
              <a:ahLst/>
              <a:cxnLst/>
              <a:rect l="l" t="t" r="r" b="b"/>
              <a:pathLst>
                <a:path w="4168" h="2787" extrusionOk="0">
                  <a:moveTo>
                    <a:pt x="2084" y="0"/>
                  </a:moveTo>
                  <a:cubicBezTo>
                    <a:pt x="1989" y="0"/>
                    <a:pt x="1917" y="84"/>
                    <a:pt x="1917" y="167"/>
                  </a:cubicBezTo>
                  <a:lnTo>
                    <a:pt x="1917" y="1405"/>
                  </a:lnTo>
                  <a:lnTo>
                    <a:pt x="1060" y="1405"/>
                  </a:lnTo>
                  <a:cubicBezTo>
                    <a:pt x="798" y="1405"/>
                    <a:pt x="560" y="1536"/>
                    <a:pt x="441" y="1774"/>
                  </a:cubicBezTo>
                  <a:lnTo>
                    <a:pt x="48" y="2548"/>
                  </a:lnTo>
                  <a:cubicBezTo>
                    <a:pt x="0" y="2620"/>
                    <a:pt x="24" y="2727"/>
                    <a:pt x="119" y="2774"/>
                  </a:cubicBezTo>
                  <a:cubicBezTo>
                    <a:pt x="143" y="2786"/>
                    <a:pt x="155" y="2786"/>
                    <a:pt x="191" y="2786"/>
                  </a:cubicBezTo>
                  <a:cubicBezTo>
                    <a:pt x="250" y="2786"/>
                    <a:pt x="310" y="2762"/>
                    <a:pt x="345" y="2703"/>
                  </a:cubicBezTo>
                  <a:lnTo>
                    <a:pt x="738" y="1929"/>
                  </a:lnTo>
                  <a:cubicBezTo>
                    <a:pt x="798" y="1810"/>
                    <a:pt x="917" y="1727"/>
                    <a:pt x="1060" y="1727"/>
                  </a:cubicBezTo>
                  <a:lnTo>
                    <a:pt x="3096" y="1727"/>
                  </a:lnTo>
                  <a:cubicBezTo>
                    <a:pt x="3227" y="1727"/>
                    <a:pt x="3346" y="1810"/>
                    <a:pt x="3405" y="1929"/>
                  </a:cubicBezTo>
                  <a:lnTo>
                    <a:pt x="3810" y="2703"/>
                  </a:lnTo>
                  <a:cubicBezTo>
                    <a:pt x="3846" y="2756"/>
                    <a:pt x="3902" y="2783"/>
                    <a:pt x="3968" y="2783"/>
                  </a:cubicBezTo>
                  <a:cubicBezTo>
                    <a:pt x="3989" y="2783"/>
                    <a:pt x="4013" y="2780"/>
                    <a:pt x="4036" y="2774"/>
                  </a:cubicBezTo>
                  <a:cubicBezTo>
                    <a:pt x="4132" y="2715"/>
                    <a:pt x="4167" y="2608"/>
                    <a:pt x="4120" y="2536"/>
                  </a:cubicBezTo>
                  <a:lnTo>
                    <a:pt x="3715" y="1762"/>
                  </a:lnTo>
                  <a:cubicBezTo>
                    <a:pt x="3596" y="1536"/>
                    <a:pt x="3358" y="1393"/>
                    <a:pt x="3108" y="1393"/>
                  </a:cubicBezTo>
                  <a:lnTo>
                    <a:pt x="2250" y="1393"/>
                  </a:lnTo>
                  <a:lnTo>
                    <a:pt x="2250" y="167"/>
                  </a:lnTo>
                  <a:cubicBezTo>
                    <a:pt x="2250" y="84"/>
                    <a:pt x="2167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7" name="Google Shape;13557;p64"/>
            <p:cNvSpPr/>
            <p:nvPr/>
          </p:nvSpPr>
          <p:spPr>
            <a:xfrm>
              <a:off x="3831583" y="2059664"/>
              <a:ext cx="117485" cy="54748"/>
            </a:xfrm>
            <a:custGeom>
              <a:avLst/>
              <a:gdLst/>
              <a:ahLst/>
              <a:cxnLst/>
              <a:rect l="l" t="t" r="r" b="b"/>
              <a:pathLst>
                <a:path w="3691" h="1720" extrusionOk="0">
                  <a:moveTo>
                    <a:pt x="1846" y="1"/>
                  </a:moveTo>
                  <a:cubicBezTo>
                    <a:pt x="1750" y="1"/>
                    <a:pt x="1679" y="72"/>
                    <a:pt x="1679" y="167"/>
                  </a:cubicBezTo>
                  <a:lnTo>
                    <a:pt x="1679" y="703"/>
                  </a:lnTo>
                  <a:lnTo>
                    <a:pt x="750" y="703"/>
                  </a:lnTo>
                  <a:cubicBezTo>
                    <a:pt x="560" y="703"/>
                    <a:pt x="405" y="810"/>
                    <a:pt x="310" y="965"/>
                  </a:cubicBezTo>
                  <a:lnTo>
                    <a:pt x="48" y="1477"/>
                  </a:lnTo>
                  <a:cubicBezTo>
                    <a:pt x="0" y="1548"/>
                    <a:pt x="24" y="1656"/>
                    <a:pt x="119" y="1703"/>
                  </a:cubicBezTo>
                  <a:cubicBezTo>
                    <a:pt x="140" y="1714"/>
                    <a:pt x="164" y="1719"/>
                    <a:pt x="188" y="1719"/>
                  </a:cubicBezTo>
                  <a:cubicBezTo>
                    <a:pt x="248" y="1719"/>
                    <a:pt x="312" y="1687"/>
                    <a:pt x="345" y="1620"/>
                  </a:cubicBezTo>
                  <a:lnTo>
                    <a:pt x="607" y="1120"/>
                  </a:lnTo>
                  <a:cubicBezTo>
                    <a:pt x="643" y="1060"/>
                    <a:pt x="703" y="1013"/>
                    <a:pt x="774" y="1013"/>
                  </a:cubicBezTo>
                  <a:lnTo>
                    <a:pt x="2929" y="1013"/>
                  </a:lnTo>
                  <a:cubicBezTo>
                    <a:pt x="3000" y="1013"/>
                    <a:pt x="3060" y="1060"/>
                    <a:pt x="3096" y="1120"/>
                  </a:cubicBezTo>
                  <a:lnTo>
                    <a:pt x="3358" y="1620"/>
                  </a:lnTo>
                  <a:cubicBezTo>
                    <a:pt x="3393" y="1679"/>
                    <a:pt x="3453" y="1715"/>
                    <a:pt x="3512" y="1715"/>
                  </a:cubicBezTo>
                  <a:cubicBezTo>
                    <a:pt x="3536" y="1715"/>
                    <a:pt x="3548" y="1715"/>
                    <a:pt x="3584" y="1703"/>
                  </a:cubicBezTo>
                  <a:cubicBezTo>
                    <a:pt x="3655" y="1656"/>
                    <a:pt x="3691" y="1548"/>
                    <a:pt x="3643" y="1477"/>
                  </a:cubicBezTo>
                  <a:lnTo>
                    <a:pt x="3381" y="965"/>
                  </a:lnTo>
                  <a:cubicBezTo>
                    <a:pt x="3286" y="810"/>
                    <a:pt x="3108" y="703"/>
                    <a:pt x="2929" y="703"/>
                  </a:cubicBezTo>
                  <a:lnTo>
                    <a:pt x="2012" y="703"/>
                  </a:lnTo>
                  <a:lnTo>
                    <a:pt x="2012" y="167"/>
                  </a:lnTo>
                  <a:cubicBezTo>
                    <a:pt x="2012" y="72"/>
                    <a:pt x="1929" y="1"/>
                    <a:pt x="1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8" name="Google Shape;13558;p64"/>
            <p:cNvSpPr/>
            <p:nvPr/>
          </p:nvSpPr>
          <p:spPr>
            <a:xfrm>
              <a:off x="3901672" y="2187016"/>
              <a:ext cx="132285" cy="88997"/>
            </a:xfrm>
            <a:custGeom>
              <a:avLst/>
              <a:gdLst/>
              <a:ahLst/>
              <a:cxnLst/>
              <a:rect l="l" t="t" r="r" b="b"/>
              <a:pathLst>
                <a:path w="4156" h="2796" extrusionOk="0">
                  <a:moveTo>
                    <a:pt x="2084" y="0"/>
                  </a:moveTo>
                  <a:cubicBezTo>
                    <a:pt x="1989" y="0"/>
                    <a:pt x="1918" y="84"/>
                    <a:pt x="1918" y="167"/>
                  </a:cubicBezTo>
                  <a:lnTo>
                    <a:pt x="1918" y="1405"/>
                  </a:lnTo>
                  <a:lnTo>
                    <a:pt x="1060" y="1405"/>
                  </a:lnTo>
                  <a:cubicBezTo>
                    <a:pt x="798" y="1405"/>
                    <a:pt x="560" y="1536"/>
                    <a:pt x="441" y="1774"/>
                  </a:cubicBezTo>
                  <a:lnTo>
                    <a:pt x="36" y="2548"/>
                  </a:lnTo>
                  <a:cubicBezTo>
                    <a:pt x="1" y="2620"/>
                    <a:pt x="25" y="2727"/>
                    <a:pt x="120" y="2774"/>
                  </a:cubicBezTo>
                  <a:cubicBezTo>
                    <a:pt x="142" y="2789"/>
                    <a:pt x="167" y="2796"/>
                    <a:pt x="192" y="2796"/>
                  </a:cubicBezTo>
                  <a:cubicBezTo>
                    <a:pt x="250" y="2796"/>
                    <a:pt x="309" y="2761"/>
                    <a:pt x="334" y="2703"/>
                  </a:cubicBezTo>
                  <a:lnTo>
                    <a:pt x="739" y="1929"/>
                  </a:lnTo>
                  <a:cubicBezTo>
                    <a:pt x="798" y="1810"/>
                    <a:pt x="918" y="1727"/>
                    <a:pt x="1060" y="1727"/>
                  </a:cubicBezTo>
                  <a:lnTo>
                    <a:pt x="3096" y="1727"/>
                  </a:lnTo>
                  <a:cubicBezTo>
                    <a:pt x="3227" y="1727"/>
                    <a:pt x="3346" y="1810"/>
                    <a:pt x="3406" y="1929"/>
                  </a:cubicBezTo>
                  <a:lnTo>
                    <a:pt x="3811" y="2703"/>
                  </a:lnTo>
                  <a:cubicBezTo>
                    <a:pt x="3835" y="2762"/>
                    <a:pt x="3894" y="2786"/>
                    <a:pt x="3954" y="2786"/>
                  </a:cubicBezTo>
                  <a:cubicBezTo>
                    <a:pt x="3989" y="2786"/>
                    <a:pt x="4001" y="2786"/>
                    <a:pt x="4037" y="2774"/>
                  </a:cubicBezTo>
                  <a:cubicBezTo>
                    <a:pt x="4120" y="2715"/>
                    <a:pt x="4156" y="2608"/>
                    <a:pt x="4120" y="2536"/>
                  </a:cubicBezTo>
                  <a:lnTo>
                    <a:pt x="3715" y="1762"/>
                  </a:lnTo>
                  <a:cubicBezTo>
                    <a:pt x="3596" y="1536"/>
                    <a:pt x="3358" y="1393"/>
                    <a:pt x="3108" y="1393"/>
                  </a:cubicBezTo>
                  <a:lnTo>
                    <a:pt x="2251" y="1393"/>
                  </a:lnTo>
                  <a:lnTo>
                    <a:pt x="2251" y="167"/>
                  </a:lnTo>
                  <a:cubicBezTo>
                    <a:pt x="2251" y="84"/>
                    <a:pt x="2168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59" name="Google Shape;13559;p64"/>
          <p:cNvGrpSpPr/>
          <p:nvPr/>
        </p:nvGrpSpPr>
        <p:grpSpPr>
          <a:xfrm>
            <a:off x="3235438" y="1970604"/>
            <a:ext cx="354363" cy="354745"/>
            <a:chOff x="3235438" y="1970604"/>
            <a:chExt cx="354363" cy="354745"/>
          </a:xfrm>
        </p:grpSpPr>
        <p:sp>
          <p:nvSpPr>
            <p:cNvPr id="13560" name="Google Shape;13560;p64"/>
            <p:cNvSpPr/>
            <p:nvPr/>
          </p:nvSpPr>
          <p:spPr>
            <a:xfrm>
              <a:off x="3235438" y="2125712"/>
              <a:ext cx="132667" cy="199288"/>
            </a:xfrm>
            <a:custGeom>
              <a:avLst/>
              <a:gdLst/>
              <a:ahLst/>
              <a:cxnLst/>
              <a:rect l="l" t="t" r="r" b="b"/>
              <a:pathLst>
                <a:path w="4168" h="6261" extrusionOk="0">
                  <a:moveTo>
                    <a:pt x="2102" y="325"/>
                  </a:moveTo>
                  <a:cubicBezTo>
                    <a:pt x="2147" y="325"/>
                    <a:pt x="2191" y="331"/>
                    <a:pt x="2239" y="343"/>
                  </a:cubicBezTo>
                  <a:cubicBezTo>
                    <a:pt x="2953" y="402"/>
                    <a:pt x="3501" y="1021"/>
                    <a:pt x="3501" y="1748"/>
                  </a:cubicBezTo>
                  <a:cubicBezTo>
                    <a:pt x="3501" y="2438"/>
                    <a:pt x="3668" y="3081"/>
                    <a:pt x="3811" y="3414"/>
                  </a:cubicBezTo>
                  <a:lnTo>
                    <a:pt x="3811" y="3438"/>
                  </a:lnTo>
                  <a:cubicBezTo>
                    <a:pt x="3632" y="3534"/>
                    <a:pt x="3310" y="3736"/>
                    <a:pt x="2775" y="3831"/>
                  </a:cubicBezTo>
                  <a:lnTo>
                    <a:pt x="2775" y="3795"/>
                  </a:lnTo>
                  <a:lnTo>
                    <a:pt x="2775" y="3462"/>
                  </a:lnTo>
                  <a:cubicBezTo>
                    <a:pt x="2977" y="3343"/>
                    <a:pt x="3156" y="3164"/>
                    <a:pt x="3299" y="2938"/>
                  </a:cubicBezTo>
                  <a:cubicBezTo>
                    <a:pt x="3513" y="2545"/>
                    <a:pt x="3441" y="2021"/>
                    <a:pt x="3096" y="1712"/>
                  </a:cubicBezTo>
                  <a:cubicBezTo>
                    <a:pt x="2858" y="1486"/>
                    <a:pt x="2429" y="1236"/>
                    <a:pt x="1751" y="1236"/>
                  </a:cubicBezTo>
                  <a:cubicBezTo>
                    <a:pt x="1703" y="1236"/>
                    <a:pt x="1656" y="1248"/>
                    <a:pt x="1632" y="1271"/>
                  </a:cubicBezTo>
                  <a:lnTo>
                    <a:pt x="1286" y="1617"/>
                  </a:lnTo>
                  <a:cubicBezTo>
                    <a:pt x="1227" y="1676"/>
                    <a:pt x="1227" y="1783"/>
                    <a:pt x="1286" y="1843"/>
                  </a:cubicBezTo>
                  <a:cubicBezTo>
                    <a:pt x="1316" y="1873"/>
                    <a:pt x="1358" y="1887"/>
                    <a:pt x="1400" y="1887"/>
                  </a:cubicBezTo>
                  <a:cubicBezTo>
                    <a:pt x="1441" y="1887"/>
                    <a:pt x="1483" y="1873"/>
                    <a:pt x="1513" y="1843"/>
                  </a:cubicBezTo>
                  <a:lnTo>
                    <a:pt x="1810" y="1545"/>
                  </a:lnTo>
                  <a:cubicBezTo>
                    <a:pt x="2239" y="1557"/>
                    <a:pt x="2596" y="1688"/>
                    <a:pt x="2882" y="1950"/>
                  </a:cubicBezTo>
                  <a:cubicBezTo>
                    <a:pt x="3120" y="2152"/>
                    <a:pt x="3156" y="2510"/>
                    <a:pt x="3013" y="2783"/>
                  </a:cubicBezTo>
                  <a:cubicBezTo>
                    <a:pt x="2822" y="3105"/>
                    <a:pt x="2477" y="3319"/>
                    <a:pt x="2084" y="3319"/>
                  </a:cubicBezTo>
                  <a:cubicBezTo>
                    <a:pt x="1513" y="3319"/>
                    <a:pt x="1036" y="2843"/>
                    <a:pt x="1036" y="2260"/>
                  </a:cubicBezTo>
                  <a:cubicBezTo>
                    <a:pt x="1036" y="2164"/>
                    <a:pt x="953" y="2093"/>
                    <a:pt x="870" y="2093"/>
                  </a:cubicBezTo>
                  <a:cubicBezTo>
                    <a:pt x="774" y="2093"/>
                    <a:pt x="703" y="2164"/>
                    <a:pt x="703" y="2260"/>
                  </a:cubicBezTo>
                  <a:cubicBezTo>
                    <a:pt x="703" y="2760"/>
                    <a:pt x="989" y="3224"/>
                    <a:pt x="1405" y="3462"/>
                  </a:cubicBezTo>
                  <a:lnTo>
                    <a:pt x="1405" y="3795"/>
                  </a:lnTo>
                  <a:lnTo>
                    <a:pt x="1405" y="3831"/>
                  </a:lnTo>
                  <a:cubicBezTo>
                    <a:pt x="858" y="3712"/>
                    <a:pt x="524" y="3534"/>
                    <a:pt x="393" y="3438"/>
                  </a:cubicBezTo>
                  <a:cubicBezTo>
                    <a:pt x="393" y="3438"/>
                    <a:pt x="382" y="3438"/>
                    <a:pt x="393" y="3414"/>
                  </a:cubicBezTo>
                  <a:cubicBezTo>
                    <a:pt x="524" y="3081"/>
                    <a:pt x="691" y="2438"/>
                    <a:pt x="703" y="1748"/>
                  </a:cubicBezTo>
                  <a:cubicBezTo>
                    <a:pt x="703" y="1021"/>
                    <a:pt x="1275" y="402"/>
                    <a:pt x="1965" y="343"/>
                  </a:cubicBezTo>
                  <a:cubicBezTo>
                    <a:pt x="2013" y="331"/>
                    <a:pt x="2057" y="325"/>
                    <a:pt x="2102" y="325"/>
                  </a:cubicBezTo>
                  <a:close/>
                  <a:moveTo>
                    <a:pt x="2429" y="3581"/>
                  </a:moveTo>
                  <a:lnTo>
                    <a:pt x="2429" y="3772"/>
                  </a:lnTo>
                  <a:cubicBezTo>
                    <a:pt x="2429" y="3974"/>
                    <a:pt x="2537" y="4153"/>
                    <a:pt x="2715" y="4236"/>
                  </a:cubicBezTo>
                  <a:lnTo>
                    <a:pt x="2822" y="4296"/>
                  </a:lnTo>
                  <a:cubicBezTo>
                    <a:pt x="2668" y="4546"/>
                    <a:pt x="2382" y="4712"/>
                    <a:pt x="2072" y="4712"/>
                  </a:cubicBezTo>
                  <a:cubicBezTo>
                    <a:pt x="1775" y="4712"/>
                    <a:pt x="1489" y="4546"/>
                    <a:pt x="1334" y="4296"/>
                  </a:cubicBezTo>
                  <a:lnTo>
                    <a:pt x="1429" y="4236"/>
                  </a:lnTo>
                  <a:cubicBezTo>
                    <a:pt x="1608" y="4153"/>
                    <a:pt x="1715" y="3974"/>
                    <a:pt x="1715" y="3772"/>
                  </a:cubicBezTo>
                  <a:lnTo>
                    <a:pt x="1715" y="3581"/>
                  </a:lnTo>
                  <a:cubicBezTo>
                    <a:pt x="1834" y="3617"/>
                    <a:pt x="1953" y="3629"/>
                    <a:pt x="2072" y="3629"/>
                  </a:cubicBezTo>
                  <a:cubicBezTo>
                    <a:pt x="2191" y="3629"/>
                    <a:pt x="2310" y="3617"/>
                    <a:pt x="2429" y="3581"/>
                  </a:cubicBezTo>
                  <a:close/>
                  <a:moveTo>
                    <a:pt x="2072" y="0"/>
                  </a:moveTo>
                  <a:cubicBezTo>
                    <a:pt x="2016" y="0"/>
                    <a:pt x="1959" y="3"/>
                    <a:pt x="1906" y="9"/>
                  </a:cubicBezTo>
                  <a:cubicBezTo>
                    <a:pt x="1036" y="81"/>
                    <a:pt x="346" y="855"/>
                    <a:pt x="346" y="1748"/>
                  </a:cubicBezTo>
                  <a:cubicBezTo>
                    <a:pt x="346" y="2391"/>
                    <a:pt x="203" y="2986"/>
                    <a:pt x="60" y="3295"/>
                  </a:cubicBezTo>
                  <a:cubicBezTo>
                    <a:pt x="1" y="3450"/>
                    <a:pt x="48" y="3617"/>
                    <a:pt x="179" y="3700"/>
                  </a:cubicBezTo>
                  <a:cubicBezTo>
                    <a:pt x="322" y="3795"/>
                    <a:pt x="584" y="3950"/>
                    <a:pt x="1036" y="4093"/>
                  </a:cubicBezTo>
                  <a:lnTo>
                    <a:pt x="382" y="4415"/>
                  </a:lnTo>
                  <a:cubicBezTo>
                    <a:pt x="143" y="4534"/>
                    <a:pt x="1" y="4772"/>
                    <a:pt x="1" y="5022"/>
                  </a:cubicBezTo>
                  <a:lnTo>
                    <a:pt x="1" y="6093"/>
                  </a:lnTo>
                  <a:cubicBezTo>
                    <a:pt x="1" y="6189"/>
                    <a:pt x="84" y="6260"/>
                    <a:pt x="167" y="6260"/>
                  </a:cubicBezTo>
                  <a:cubicBezTo>
                    <a:pt x="262" y="6260"/>
                    <a:pt x="334" y="6189"/>
                    <a:pt x="334" y="6093"/>
                  </a:cubicBezTo>
                  <a:lnTo>
                    <a:pt x="334" y="5022"/>
                  </a:lnTo>
                  <a:cubicBezTo>
                    <a:pt x="334" y="4891"/>
                    <a:pt x="405" y="4772"/>
                    <a:pt x="524" y="4700"/>
                  </a:cubicBezTo>
                  <a:lnTo>
                    <a:pt x="1048" y="4450"/>
                  </a:lnTo>
                  <a:cubicBezTo>
                    <a:pt x="1275" y="4807"/>
                    <a:pt x="1656" y="5046"/>
                    <a:pt x="2084" y="5046"/>
                  </a:cubicBezTo>
                  <a:cubicBezTo>
                    <a:pt x="2525" y="5046"/>
                    <a:pt x="2906" y="4819"/>
                    <a:pt x="3132" y="4450"/>
                  </a:cubicBezTo>
                  <a:lnTo>
                    <a:pt x="3656" y="4700"/>
                  </a:lnTo>
                  <a:cubicBezTo>
                    <a:pt x="3775" y="4760"/>
                    <a:pt x="3846" y="4879"/>
                    <a:pt x="3846" y="5022"/>
                  </a:cubicBezTo>
                  <a:lnTo>
                    <a:pt x="3846" y="6093"/>
                  </a:lnTo>
                  <a:cubicBezTo>
                    <a:pt x="3846" y="6189"/>
                    <a:pt x="3918" y="6260"/>
                    <a:pt x="4013" y="6260"/>
                  </a:cubicBezTo>
                  <a:cubicBezTo>
                    <a:pt x="4096" y="6260"/>
                    <a:pt x="4168" y="6189"/>
                    <a:pt x="4168" y="6093"/>
                  </a:cubicBezTo>
                  <a:lnTo>
                    <a:pt x="4168" y="5022"/>
                  </a:lnTo>
                  <a:cubicBezTo>
                    <a:pt x="4156" y="4772"/>
                    <a:pt x="4013" y="4534"/>
                    <a:pt x="3775" y="4415"/>
                  </a:cubicBezTo>
                  <a:lnTo>
                    <a:pt x="3120" y="4093"/>
                  </a:lnTo>
                  <a:cubicBezTo>
                    <a:pt x="3549" y="3974"/>
                    <a:pt x="3834" y="3807"/>
                    <a:pt x="3965" y="3700"/>
                  </a:cubicBezTo>
                  <a:cubicBezTo>
                    <a:pt x="4096" y="3617"/>
                    <a:pt x="4144" y="3450"/>
                    <a:pt x="4084" y="3295"/>
                  </a:cubicBezTo>
                  <a:cubicBezTo>
                    <a:pt x="3953" y="2986"/>
                    <a:pt x="3799" y="2391"/>
                    <a:pt x="3799" y="1748"/>
                  </a:cubicBezTo>
                  <a:cubicBezTo>
                    <a:pt x="3799" y="855"/>
                    <a:pt x="3096" y="81"/>
                    <a:pt x="2239" y="9"/>
                  </a:cubicBezTo>
                  <a:cubicBezTo>
                    <a:pt x="2185" y="3"/>
                    <a:pt x="212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1" name="Google Shape;13561;p64"/>
            <p:cNvSpPr/>
            <p:nvPr/>
          </p:nvSpPr>
          <p:spPr>
            <a:xfrm>
              <a:off x="3257433" y="2292373"/>
              <a:ext cx="10249" cy="32626"/>
            </a:xfrm>
            <a:custGeom>
              <a:avLst/>
              <a:gdLst/>
              <a:ahLst/>
              <a:cxnLst/>
              <a:rect l="l" t="t" r="r" b="b"/>
              <a:pathLst>
                <a:path w="322" h="1025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57"/>
                  </a:lnTo>
                  <a:cubicBezTo>
                    <a:pt x="0" y="953"/>
                    <a:pt x="72" y="1024"/>
                    <a:pt x="167" y="1024"/>
                  </a:cubicBezTo>
                  <a:cubicBezTo>
                    <a:pt x="250" y="1024"/>
                    <a:pt x="322" y="953"/>
                    <a:pt x="322" y="85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2" name="Google Shape;13562;p64"/>
            <p:cNvSpPr/>
            <p:nvPr/>
          </p:nvSpPr>
          <p:spPr>
            <a:xfrm>
              <a:off x="3335098" y="2292373"/>
              <a:ext cx="10281" cy="32626"/>
            </a:xfrm>
            <a:custGeom>
              <a:avLst/>
              <a:gdLst/>
              <a:ahLst/>
              <a:cxnLst/>
              <a:rect l="l" t="t" r="r" b="b"/>
              <a:pathLst>
                <a:path w="323" h="1025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857"/>
                  </a:lnTo>
                  <a:cubicBezTo>
                    <a:pt x="1" y="953"/>
                    <a:pt x="72" y="1024"/>
                    <a:pt x="168" y="1024"/>
                  </a:cubicBezTo>
                  <a:cubicBezTo>
                    <a:pt x="251" y="1024"/>
                    <a:pt x="322" y="953"/>
                    <a:pt x="322" y="857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3" name="Google Shape;13563;p64"/>
            <p:cNvSpPr/>
            <p:nvPr/>
          </p:nvSpPr>
          <p:spPr>
            <a:xfrm>
              <a:off x="3490110" y="2163685"/>
              <a:ext cx="55734" cy="18430"/>
            </a:xfrm>
            <a:custGeom>
              <a:avLst/>
              <a:gdLst/>
              <a:ahLst/>
              <a:cxnLst/>
              <a:rect l="l" t="t" r="r" b="b"/>
              <a:pathLst>
                <a:path w="1751" h="579" extrusionOk="0">
                  <a:moveTo>
                    <a:pt x="649" y="0"/>
                  </a:moveTo>
                  <a:cubicBezTo>
                    <a:pt x="492" y="0"/>
                    <a:pt x="319" y="16"/>
                    <a:pt x="132" y="55"/>
                  </a:cubicBezTo>
                  <a:cubicBezTo>
                    <a:pt x="60" y="66"/>
                    <a:pt x="1" y="138"/>
                    <a:pt x="1" y="221"/>
                  </a:cubicBezTo>
                  <a:lnTo>
                    <a:pt x="1" y="400"/>
                  </a:lnTo>
                  <a:cubicBezTo>
                    <a:pt x="1" y="483"/>
                    <a:pt x="72" y="555"/>
                    <a:pt x="155" y="555"/>
                  </a:cubicBezTo>
                  <a:cubicBezTo>
                    <a:pt x="251" y="555"/>
                    <a:pt x="322" y="483"/>
                    <a:pt x="322" y="400"/>
                  </a:cubicBezTo>
                  <a:lnTo>
                    <a:pt x="322" y="364"/>
                  </a:lnTo>
                  <a:cubicBezTo>
                    <a:pt x="434" y="349"/>
                    <a:pt x="539" y="342"/>
                    <a:pt x="636" y="342"/>
                  </a:cubicBezTo>
                  <a:cubicBezTo>
                    <a:pt x="841" y="342"/>
                    <a:pt x="1011" y="371"/>
                    <a:pt x="1132" y="412"/>
                  </a:cubicBezTo>
                  <a:cubicBezTo>
                    <a:pt x="1334" y="471"/>
                    <a:pt x="1453" y="543"/>
                    <a:pt x="1465" y="543"/>
                  </a:cubicBezTo>
                  <a:cubicBezTo>
                    <a:pt x="1501" y="555"/>
                    <a:pt x="1525" y="578"/>
                    <a:pt x="1560" y="578"/>
                  </a:cubicBezTo>
                  <a:cubicBezTo>
                    <a:pt x="1620" y="578"/>
                    <a:pt x="1667" y="543"/>
                    <a:pt x="1691" y="495"/>
                  </a:cubicBezTo>
                  <a:cubicBezTo>
                    <a:pt x="1751" y="400"/>
                    <a:pt x="1727" y="293"/>
                    <a:pt x="1644" y="245"/>
                  </a:cubicBezTo>
                  <a:cubicBezTo>
                    <a:pt x="1625" y="236"/>
                    <a:pt x="1259" y="0"/>
                    <a:pt x="6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4" name="Google Shape;13564;p64"/>
            <p:cNvSpPr/>
            <p:nvPr/>
          </p:nvSpPr>
          <p:spPr>
            <a:xfrm>
              <a:off x="3445771" y="2131664"/>
              <a:ext cx="144031" cy="192953"/>
            </a:xfrm>
            <a:custGeom>
              <a:avLst/>
              <a:gdLst/>
              <a:ahLst/>
              <a:cxnLst/>
              <a:rect l="l" t="t" r="r" b="b"/>
              <a:pathLst>
                <a:path w="4525" h="6062" extrusionOk="0">
                  <a:moveTo>
                    <a:pt x="3489" y="310"/>
                  </a:moveTo>
                  <a:lnTo>
                    <a:pt x="3489" y="1120"/>
                  </a:lnTo>
                  <a:cubicBezTo>
                    <a:pt x="3489" y="1251"/>
                    <a:pt x="3453" y="1382"/>
                    <a:pt x="3394" y="1525"/>
                  </a:cubicBezTo>
                  <a:lnTo>
                    <a:pt x="3334" y="1656"/>
                  </a:lnTo>
                  <a:cubicBezTo>
                    <a:pt x="3322" y="1680"/>
                    <a:pt x="3322" y="1703"/>
                    <a:pt x="3322" y="1727"/>
                  </a:cubicBezTo>
                  <a:lnTo>
                    <a:pt x="3322" y="2073"/>
                  </a:lnTo>
                  <a:cubicBezTo>
                    <a:pt x="3322" y="2370"/>
                    <a:pt x="3203" y="2632"/>
                    <a:pt x="3001" y="2835"/>
                  </a:cubicBezTo>
                  <a:cubicBezTo>
                    <a:pt x="2796" y="3016"/>
                    <a:pt x="2549" y="3133"/>
                    <a:pt x="2268" y="3133"/>
                  </a:cubicBezTo>
                  <a:cubicBezTo>
                    <a:pt x="2254" y="3133"/>
                    <a:pt x="2241" y="3133"/>
                    <a:pt x="2227" y="3132"/>
                  </a:cubicBezTo>
                  <a:cubicBezTo>
                    <a:pt x="1655" y="3108"/>
                    <a:pt x="1191" y="2608"/>
                    <a:pt x="1191" y="2025"/>
                  </a:cubicBezTo>
                  <a:lnTo>
                    <a:pt x="1191" y="1727"/>
                  </a:lnTo>
                  <a:cubicBezTo>
                    <a:pt x="1191" y="1703"/>
                    <a:pt x="1191" y="1680"/>
                    <a:pt x="1179" y="1656"/>
                  </a:cubicBezTo>
                  <a:lnTo>
                    <a:pt x="1120" y="1525"/>
                  </a:lnTo>
                  <a:cubicBezTo>
                    <a:pt x="1060" y="1406"/>
                    <a:pt x="1036" y="1263"/>
                    <a:pt x="1036" y="1120"/>
                  </a:cubicBezTo>
                  <a:cubicBezTo>
                    <a:pt x="1036" y="668"/>
                    <a:pt x="1394" y="310"/>
                    <a:pt x="1834" y="310"/>
                  </a:cubicBezTo>
                  <a:close/>
                  <a:moveTo>
                    <a:pt x="1727" y="3335"/>
                  </a:moveTo>
                  <a:cubicBezTo>
                    <a:pt x="1882" y="3406"/>
                    <a:pt x="2048" y="3442"/>
                    <a:pt x="2215" y="3454"/>
                  </a:cubicBezTo>
                  <a:lnTo>
                    <a:pt x="2263" y="3454"/>
                  </a:lnTo>
                  <a:cubicBezTo>
                    <a:pt x="2453" y="3454"/>
                    <a:pt x="2632" y="3430"/>
                    <a:pt x="2798" y="3347"/>
                  </a:cubicBezTo>
                  <a:lnTo>
                    <a:pt x="2798" y="3573"/>
                  </a:lnTo>
                  <a:cubicBezTo>
                    <a:pt x="2798" y="3620"/>
                    <a:pt x="2810" y="3680"/>
                    <a:pt x="2810" y="3728"/>
                  </a:cubicBezTo>
                  <a:lnTo>
                    <a:pt x="2263" y="4144"/>
                  </a:lnTo>
                  <a:lnTo>
                    <a:pt x="1715" y="3728"/>
                  </a:lnTo>
                  <a:cubicBezTo>
                    <a:pt x="1727" y="3680"/>
                    <a:pt x="1727" y="3632"/>
                    <a:pt x="1727" y="3573"/>
                  </a:cubicBezTo>
                  <a:lnTo>
                    <a:pt x="1727" y="3335"/>
                  </a:lnTo>
                  <a:close/>
                  <a:moveTo>
                    <a:pt x="1834" y="1"/>
                  </a:moveTo>
                  <a:cubicBezTo>
                    <a:pt x="1203" y="1"/>
                    <a:pt x="703" y="501"/>
                    <a:pt x="703" y="1132"/>
                  </a:cubicBezTo>
                  <a:cubicBezTo>
                    <a:pt x="703" y="1322"/>
                    <a:pt x="751" y="1501"/>
                    <a:pt x="834" y="1668"/>
                  </a:cubicBezTo>
                  <a:lnTo>
                    <a:pt x="882" y="1751"/>
                  </a:lnTo>
                  <a:lnTo>
                    <a:pt x="882" y="2013"/>
                  </a:lnTo>
                  <a:cubicBezTo>
                    <a:pt x="882" y="2454"/>
                    <a:pt x="1084" y="2858"/>
                    <a:pt x="1405" y="3120"/>
                  </a:cubicBezTo>
                  <a:lnTo>
                    <a:pt x="1405" y="3561"/>
                  </a:lnTo>
                  <a:cubicBezTo>
                    <a:pt x="1405" y="3632"/>
                    <a:pt x="1358" y="3704"/>
                    <a:pt x="1286" y="3739"/>
                  </a:cubicBezTo>
                  <a:lnTo>
                    <a:pt x="453" y="4049"/>
                  </a:lnTo>
                  <a:cubicBezTo>
                    <a:pt x="179" y="4156"/>
                    <a:pt x="1" y="4406"/>
                    <a:pt x="1" y="4692"/>
                  </a:cubicBezTo>
                  <a:lnTo>
                    <a:pt x="1" y="5894"/>
                  </a:lnTo>
                  <a:cubicBezTo>
                    <a:pt x="1" y="5990"/>
                    <a:pt x="72" y="6061"/>
                    <a:pt x="167" y="6061"/>
                  </a:cubicBezTo>
                  <a:cubicBezTo>
                    <a:pt x="251" y="6061"/>
                    <a:pt x="334" y="5990"/>
                    <a:pt x="334" y="5894"/>
                  </a:cubicBezTo>
                  <a:lnTo>
                    <a:pt x="334" y="4692"/>
                  </a:lnTo>
                  <a:cubicBezTo>
                    <a:pt x="334" y="4537"/>
                    <a:pt x="417" y="4406"/>
                    <a:pt x="572" y="4347"/>
                  </a:cubicBezTo>
                  <a:lnTo>
                    <a:pt x="1405" y="4037"/>
                  </a:lnTo>
                  <a:cubicBezTo>
                    <a:pt x="1441" y="4013"/>
                    <a:pt x="1489" y="3989"/>
                    <a:pt x="1525" y="3954"/>
                  </a:cubicBezTo>
                  <a:lnTo>
                    <a:pt x="2096" y="4394"/>
                  </a:lnTo>
                  <a:lnTo>
                    <a:pt x="2096" y="5883"/>
                  </a:lnTo>
                  <a:cubicBezTo>
                    <a:pt x="2096" y="5966"/>
                    <a:pt x="2179" y="6037"/>
                    <a:pt x="2263" y="6037"/>
                  </a:cubicBezTo>
                  <a:cubicBezTo>
                    <a:pt x="2358" y="6037"/>
                    <a:pt x="2429" y="5966"/>
                    <a:pt x="2429" y="5883"/>
                  </a:cubicBezTo>
                  <a:lnTo>
                    <a:pt x="2429" y="4394"/>
                  </a:lnTo>
                  <a:lnTo>
                    <a:pt x="3013" y="3954"/>
                  </a:lnTo>
                  <a:cubicBezTo>
                    <a:pt x="3049" y="3989"/>
                    <a:pt x="3084" y="4001"/>
                    <a:pt x="3132" y="4037"/>
                  </a:cubicBezTo>
                  <a:lnTo>
                    <a:pt x="3965" y="4347"/>
                  </a:lnTo>
                  <a:cubicBezTo>
                    <a:pt x="4096" y="4406"/>
                    <a:pt x="4203" y="4537"/>
                    <a:pt x="4203" y="4692"/>
                  </a:cubicBezTo>
                  <a:lnTo>
                    <a:pt x="4203" y="5894"/>
                  </a:lnTo>
                  <a:cubicBezTo>
                    <a:pt x="4203" y="5990"/>
                    <a:pt x="4275" y="6061"/>
                    <a:pt x="4358" y="6061"/>
                  </a:cubicBezTo>
                  <a:cubicBezTo>
                    <a:pt x="4453" y="6061"/>
                    <a:pt x="4525" y="5990"/>
                    <a:pt x="4525" y="5894"/>
                  </a:cubicBezTo>
                  <a:lnTo>
                    <a:pt x="4525" y="4692"/>
                  </a:lnTo>
                  <a:cubicBezTo>
                    <a:pt x="4513" y="4418"/>
                    <a:pt x="4334" y="4168"/>
                    <a:pt x="4072" y="4061"/>
                  </a:cubicBezTo>
                  <a:lnTo>
                    <a:pt x="3239" y="3751"/>
                  </a:lnTo>
                  <a:cubicBezTo>
                    <a:pt x="3156" y="3728"/>
                    <a:pt x="3120" y="3644"/>
                    <a:pt x="3120" y="3573"/>
                  </a:cubicBezTo>
                  <a:lnTo>
                    <a:pt x="3120" y="3156"/>
                  </a:lnTo>
                  <a:cubicBezTo>
                    <a:pt x="3144" y="3132"/>
                    <a:pt x="3191" y="3096"/>
                    <a:pt x="3215" y="3061"/>
                  </a:cubicBezTo>
                  <a:cubicBezTo>
                    <a:pt x="3489" y="2799"/>
                    <a:pt x="3632" y="2454"/>
                    <a:pt x="3632" y="2073"/>
                  </a:cubicBezTo>
                  <a:lnTo>
                    <a:pt x="3632" y="1751"/>
                  </a:lnTo>
                  <a:lnTo>
                    <a:pt x="3680" y="1668"/>
                  </a:lnTo>
                  <a:cubicBezTo>
                    <a:pt x="3775" y="1501"/>
                    <a:pt x="3811" y="1311"/>
                    <a:pt x="3811" y="1132"/>
                  </a:cubicBezTo>
                  <a:lnTo>
                    <a:pt x="3811" y="168"/>
                  </a:lnTo>
                  <a:cubicBezTo>
                    <a:pt x="3811" y="72"/>
                    <a:pt x="3739" y="1"/>
                    <a:pt x="3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5" name="Google Shape;13565;p64"/>
            <p:cNvSpPr/>
            <p:nvPr/>
          </p:nvSpPr>
          <p:spPr>
            <a:xfrm>
              <a:off x="3473813" y="2287058"/>
              <a:ext cx="10631" cy="38291"/>
            </a:xfrm>
            <a:custGeom>
              <a:avLst/>
              <a:gdLst/>
              <a:ahLst/>
              <a:cxnLst/>
              <a:rect l="l" t="t" r="r" b="b"/>
              <a:pathLst>
                <a:path w="334" h="120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048"/>
                  </a:lnTo>
                  <a:cubicBezTo>
                    <a:pt x="1" y="1131"/>
                    <a:pt x="72" y="1203"/>
                    <a:pt x="167" y="1203"/>
                  </a:cubicBezTo>
                  <a:cubicBezTo>
                    <a:pt x="251" y="1203"/>
                    <a:pt x="334" y="1131"/>
                    <a:pt x="334" y="1048"/>
                  </a:cubicBezTo>
                  <a:lnTo>
                    <a:pt x="334" y="155"/>
                  </a:lnTo>
                  <a:cubicBezTo>
                    <a:pt x="334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6" name="Google Shape;13566;p64"/>
            <p:cNvSpPr/>
            <p:nvPr/>
          </p:nvSpPr>
          <p:spPr>
            <a:xfrm>
              <a:off x="3551128" y="2287058"/>
              <a:ext cx="10249" cy="38291"/>
            </a:xfrm>
            <a:custGeom>
              <a:avLst/>
              <a:gdLst/>
              <a:ahLst/>
              <a:cxnLst/>
              <a:rect l="l" t="t" r="r" b="b"/>
              <a:pathLst>
                <a:path w="322" h="120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048"/>
                  </a:lnTo>
                  <a:cubicBezTo>
                    <a:pt x="0" y="1131"/>
                    <a:pt x="72" y="1203"/>
                    <a:pt x="167" y="1203"/>
                  </a:cubicBezTo>
                  <a:cubicBezTo>
                    <a:pt x="250" y="1203"/>
                    <a:pt x="322" y="1131"/>
                    <a:pt x="322" y="1048"/>
                  </a:cubicBezTo>
                  <a:lnTo>
                    <a:pt x="322" y="155"/>
                  </a:lnTo>
                  <a:cubicBezTo>
                    <a:pt x="322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7" name="Google Shape;13567;p64"/>
            <p:cNvSpPr/>
            <p:nvPr/>
          </p:nvSpPr>
          <p:spPr>
            <a:xfrm>
              <a:off x="3290377" y="1970604"/>
              <a:ext cx="221378" cy="185346"/>
            </a:xfrm>
            <a:custGeom>
              <a:avLst/>
              <a:gdLst/>
              <a:ahLst/>
              <a:cxnLst/>
              <a:rect l="l" t="t" r="r" b="b"/>
              <a:pathLst>
                <a:path w="6955" h="5823" extrusionOk="0">
                  <a:moveTo>
                    <a:pt x="2406" y="4168"/>
                  </a:moveTo>
                  <a:lnTo>
                    <a:pt x="2311" y="4537"/>
                  </a:lnTo>
                  <a:lnTo>
                    <a:pt x="2085" y="4537"/>
                  </a:lnTo>
                  <a:cubicBezTo>
                    <a:pt x="1894" y="4537"/>
                    <a:pt x="1727" y="4382"/>
                    <a:pt x="1727" y="4180"/>
                  </a:cubicBezTo>
                  <a:lnTo>
                    <a:pt x="1727" y="4168"/>
                  </a:lnTo>
                  <a:close/>
                  <a:moveTo>
                    <a:pt x="5573" y="358"/>
                  </a:moveTo>
                  <a:cubicBezTo>
                    <a:pt x="5764" y="358"/>
                    <a:pt x="5930" y="525"/>
                    <a:pt x="5930" y="715"/>
                  </a:cubicBezTo>
                  <a:lnTo>
                    <a:pt x="5930" y="3501"/>
                  </a:lnTo>
                  <a:cubicBezTo>
                    <a:pt x="5930" y="3692"/>
                    <a:pt x="5764" y="3858"/>
                    <a:pt x="5573" y="3858"/>
                  </a:cubicBezTo>
                  <a:lnTo>
                    <a:pt x="4168" y="3858"/>
                  </a:lnTo>
                  <a:cubicBezTo>
                    <a:pt x="4144" y="3858"/>
                    <a:pt x="4097" y="3870"/>
                    <a:pt x="4085" y="3882"/>
                  </a:cubicBezTo>
                  <a:lnTo>
                    <a:pt x="2537" y="5001"/>
                  </a:lnTo>
                  <a:lnTo>
                    <a:pt x="2537" y="5001"/>
                  </a:lnTo>
                  <a:lnTo>
                    <a:pt x="2775" y="4049"/>
                  </a:lnTo>
                  <a:cubicBezTo>
                    <a:pt x="2787" y="4001"/>
                    <a:pt x="2775" y="3942"/>
                    <a:pt x="2739" y="3918"/>
                  </a:cubicBezTo>
                  <a:cubicBezTo>
                    <a:pt x="2716" y="3870"/>
                    <a:pt x="2668" y="3858"/>
                    <a:pt x="2608" y="3858"/>
                  </a:cubicBezTo>
                  <a:lnTo>
                    <a:pt x="692" y="3858"/>
                  </a:lnTo>
                  <a:cubicBezTo>
                    <a:pt x="501" y="3858"/>
                    <a:pt x="334" y="3692"/>
                    <a:pt x="334" y="3501"/>
                  </a:cubicBezTo>
                  <a:lnTo>
                    <a:pt x="334" y="715"/>
                  </a:lnTo>
                  <a:cubicBezTo>
                    <a:pt x="334" y="525"/>
                    <a:pt x="501" y="358"/>
                    <a:pt x="692" y="358"/>
                  </a:cubicBezTo>
                  <a:close/>
                  <a:moveTo>
                    <a:pt x="6287" y="1025"/>
                  </a:moveTo>
                  <a:cubicBezTo>
                    <a:pt x="6478" y="1025"/>
                    <a:pt x="6645" y="1191"/>
                    <a:pt x="6645" y="1382"/>
                  </a:cubicBezTo>
                  <a:lnTo>
                    <a:pt x="6645" y="4180"/>
                  </a:lnTo>
                  <a:lnTo>
                    <a:pt x="6633" y="4180"/>
                  </a:lnTo>
                  <a:cubicBezTo>
                    <a:pt x="6633" y="4382"/>
                    <a:pt x="6466" y="4537"/>
                    <a:pt x="6276" y="4537"/>
                  </a:cubicBezTo>
                  <a:lnTo>
                    <a:pt x="4871" y="4537"/>
                  </a:lnTo>
                  <a:cubicBezTo>
                    <a:pt x="4823" y="4537"/>
                    <a:pt x="4787" y="4561"/>
                    <a:pt x="4752" y="4597"/>
                  </a:cubicBezTo>
                  <a:cubicBezTo>
                    <a:pt x="4728" y="4632"/>
                    <a:pt x="4704" y="4692"/>
                    <a:pt x="4728" y="4727"/>
                  </a:cubicBezTo>
                  <a:lnTo>
                    <a:pt x="4847" y="5406"/>
                  </a:lnTo>
                  <a:lnTo>
                    <a:pt x="4847" y="5406"/>
                  </a:lnTo>
                  <a:lnTo>
                    <a:pt x="3656" y="4597"/>
                  </a:lnTo>
                  <a:lnTo>
                    <a:pt x="4251" y="4168"/>
                  </a:lnTo>
                  <a:lnTo>
                    <a:pt x="5585" y="4168"/>
                  </a:lnTo>
                  <a:cubicBezTo>
                    <a:pt x="5954" y="4168"/>
                    <a:pt x="6276" y="3858"/>
                    <a:pt x="6276" y="3489"/>
                  </a:cubicBezTo>
                  <a:lnTo>
                    <a:pt x="6276" y="1025"/>
                  </a:lnTo>
                  <a:close/>
                  <a:moveTo>
                    <a:pt x="692" y="1"/>
                  </a:moveTo>
                  <a:cubicBezTo>
                    <a:pt x="322" y="1"/>
                    <a:pt x="1" y="310"/>
                    <a:pt x="1" y="691"/>
                  </a:cubicBezTo>
                  <a:lnTo>
                    <a:pt x="1" y="3465"/>
                  </a:lnTo>
                  <a:cubicBezTo>
                    <a:pt x="1" y="3846"/>
                    <a:pt x="322" y="4156"/>
                    <a:pt x="692" y="4156"/>
                  </a:cubicBezTo>
                  <a:lnTo>
                    <a:pt x="1406" y="4156"/>
                  </a:lnTo>
                  <a:lnTo>
                    <a:pt x="1406" y="4168"/>
                  </a:lnTo>
                  <a:cubicBezTo>
                    <a:pt x="1406" y="4537"/>
                    <a:pt x="1715" y="4858"/>
                    <a:pt x="2085" y="4858"/>
                  </a:cubicBezTo>
                  <a:lnTo>
                    <a:pt x="2227" y="4858"/>
                  </a:lnTo>
                  <a:lnTo>
                    <a:pt x="2168" y="5120"/>
                  </a:lnTo>
                  <a:cubicBezTo>
                    <a:pt x="2132" y="5228"/>
                    <a:pt x="2180" y="5335"/>
                    <a:pt x="2263" y="5394"/>
                  </a:cubicBezTo>
                  <a:cubicBezTo>
                    <a:pt x="2311" y="5418"/>
                    <a:pt x="2358" y="5430"/>
                    <a:pt x="2406" y="5430"/>
                  </a:cubicBezTo>
                  <a:cubicBezTo>
                    <a:pt x="2442" y="5430"/>
                    <a:pt x="2501" y="5418"/>
                    <a:pt x="2549" y="5394"/>
                  </a:cubicBezTo>
                  <a:lnTo>
                    <a:pt x="3263" y="4870"/>
                  </a:lnTo>
                  <a:lnTo>
                    <a:pt x="3430" y="4870"/>
                  </a:lnTo>
                  <a:lnTo>
                    <a:pt x="4787" y="5775"/>
                  </a:lnTo>
                  <a:cubicBezTo>
                    <a:pt x="4823" y="5811"/>
                    <a:pt x="4871" y="5823"/>
                    <a:pt x="4918" y="5823"/>
                  </a:cubicBezTo>
                  <a:cubicBezTo>
                    <a:pt x="4954" y="5823"/>
                    <a:pt x="5002" y="5811"/>
                    <a:pt x="5049" y="5775"/>
                  </a:cubicBezTo>
                  <a:cubicBezTo>
                    <a:pt x="5144" y="5716"/>
                    <a:pt x="5180" y="5632"/>
                    <a:pt x="5156" y="5525"/>
                  </a:cubicBezTo>
                  <a:lnTo>
                    <a:pt x="5049" y="4870"/>
                  </a:lnTo>
                  <a:lnTo>
                    <a:pt x="6252" y="4870"/>
                  </a:lnTo>
                  <a:cubicBezTo>
                    <a:pt x="6633" y="4870"/>
                    <a:pt x="6942" y="4561"/>
                    <a:pt x="6942" y="4180"/>
                  </a:cubicBezTo>
                  <a:lnTo>
                    <a:pt x="6942" y="1406"/>
                  </a:lnTo>
                  <a:cubicBezTo>
                    <a:pt x="6954" y="1013"/>
                    <a:pt x="6645" y="703"/>
                    <a:pt x="6276" y="703"/>
                  </a:cubicBezTo>
                  <a:cubicBezTo>
                    <a:pt x="6252" y="310"/>
                    <a:pt x="5954" y="1"/>
                    <a:pt x="5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8" name="Google Shape;13568;p64"/>
            <p:cNvSpPr/>
            <p:nvPr/>
          </p:nvSpPr>
          <p:spPr>
            <a:xfrm>
              <a:off x="3329432" y="2004344"/>
              <a:ext cx="26928" cy="10249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679" y="322"/>
                  </a:lnTo>
                  <a:cubicBezTo>
                    <a:pt x="774" y="322"/>
                    <a:pt x="846" y="250"/>
                    <a:pt x="846" y="167"/>
                  </a:cubicBezTo>
                  <a:cubicBezTo>
                    <a:pt x="846" y="72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9" name="Google Shape;13569;p64"/>
            <p:cNvSpPr/>
            <p:nvPr/>
          </p:nvSpPr>
          <p:spPr>
            <a:xfrm>
              <a:off x="3368074" y="2004344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2430" y="322"/>
                  </a:lnTo>
                  <a:cubicBezTo>
                    <a:pt x="2525" y="322"/>
                    <a:pt x="2596" y="250"/>
                    <a:pt x="2596" y="167"/>
                  </a:cubicBezTo>
                  <a:cubicBezTo>
                    <a:pt x="2596" y="72"/>
                    <a:pt x="2525" y="0"/>
                    <a:pt x="2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0" name="Google Shape;13570;p64"/>
            <p:cNvSpPr/>
            <p:nvPr/>
          </p:nvSpPr>
          <p:spPr>
            <a:xfrm>
              <a:off x="3329432" y="2031622"/>
              <a:ext cx="121304" cy="10631"/>
            </a:xfrm>
            <a:custGeom>
              <a:avLst/>
              <a:gdLst/>
              <a:ahLst/>
              <a:cxnLst/>
              <a:rect l="l" t="t" r="r" b="b"/>
              <a:pathLst>
                <a:path w="3811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3644" y="334"/>
                  </a:lnTo>
                  <a:cubicBezTo>
                    <a:pt x="3739" y="334"/>
                    <a:pt x="3810" y="263"/>
                    <a:pt x="3810" y="167"/>
                  </a:cubicBezTo>
                  <a:cubicBezTo>
                    <a:pt x="3810" y="84"/>
                    <a:pt x="3739" y="1"/>
                    <a:pt x="3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1" name="Google Shape;13571;p64"/>
            <p:cNvSpPr/>
            <p:nvPr/>
          </p:nvSpPr>
          <p:spPr>
            <a:xfrm>
              <a:off x="3329432" y="2059664"/>
              <a:ext cx="82249" cy="10663"/>
            </a:xfrm>
            <a:custGeom>
              <a:avLst/>
              <a:gdLst/>
              <a:ahLst/>
              <a:cxnLst/>
              <a:rect l="l" t="t" r="r" b="b"/>
              <a:pathLst>
                <a:path w="2584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2429" y="334"/>
                  </a:lnTo>
                  <a:cubicBezTo>
                    <a:pt x="2513" y="334"/>
                    <a:pt x="2584" y="251"/>
                    <a:pt x="2584" y="167"/>
                  </a:cubicBezTo>
                  <a:cubicBezTo>
                    <a:pt x="2584" y="72"/>
                    <a:pt x="2513" y="1"/>
                    <a:pt x="2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2" name="Google Shape;13572;p64"/>
            <p:cNvSpPr/>
            <p:nvPr/>
          </p:nvSpPr>
          <p:spPr>
            <a:xfrm>
              <a:off x="3423777" y="2059664"/>
              <a:ext cx="26960" cy="10663"/>
            </a:xfrm>
            <a:custGeom>
              <a:avLst/>
              <a:gdLst/>
              <a:ahLst/>
              <a:cxnLst/>
              <a:rect l="l" t="t" r="r" b="b"/>
              <a:pathLst>
                <a:path w="847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680" y="334"/>
                  </a:lnTo>
                  <a:cubicBezTo>
                    <a:pt x="775" y="334"/>
                    <a:pt x="846" y="251"/>
                    <a:pt x="846" y="167"/>
                  </a:cubicBezTo>
                  <a:cubicBezTo>
                    <a:pt x="846" y="72"/>
                    <a:pt x="775" y="1"/>
                    <a:pt x="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73" name="Google Shape;13573;p64"/>
          <p:cNvGrpSpPr/>
          <p:nvPr/>
        </p:nvGrpSpPr>
        <p:grpSpPr>
          <a:xfrm>
            <a:off x="1329585" y="1989925"/>
            <a:ext cx="341472" cy="335074"/>
            <a:chOff x="1329585" y="1989925"/>
            <a:chExt cx="341472" cy="335074"/>
          </a:xfrm>
        </p:grpSpPr>
        <p:sp>
          <p:nvSpPr>
            <p:cNvPr id="13574" name="Google Shape;13574;p64"/>
            <p:cNvSpPr/>
            <p:nvPr/>
          </p:nvSpPr>
          <p:spPr>
            <a:xfrm>
              <a:off x="1562263" y="2097956"/>
              <a:ext cx="108795" cy="226661"/>
            </a:xfrm>
            <a:custGeom>
              <a:avLst/>
              <a:gdLst/>
              <a:ahLst/>
              <a:cxnLst/>
              <a:rect l="l" t="t" r="r" b="b"/>
              <a:pathLst>
                <a:path w="3418" h="7121" extrusionOk="0">
                  <a:moveTo>
                    <a:pt x="1155" y="345"/>
                  </a:moveTo>
                  <a:cubicBezTo>
                    <a:pt x="1215" y="345"/>
                    <a:pt x="1274" y="405"/>
                    <a:pt x="1274" y="465"/>
                  </a:cubicBezTo>
                  <a:lnTo>
                    <a:pt x="1274" y="536"/>
                  </a:lnTo>
                  <a:lnTo>
                    <a:pt x="1274" y="1107"/>
                  </a:lnTo>
                  <a:cubicBezTo>
                    <a:pt x="1274" y="1191"/>
                    <a:pt x="1346" y="1274"/>
                    <a:pt x="1429" y="1274"/>
                  </a:cubicBezTo>
                  <a:cubicBezTo>
                    <a:pt x="1524" y="1274"/>
                    <a:pt x="1596" y="1191"/>
                    <a:pt x="1596" y="1107"/>
                  </a:cubicBezTo>
                  <a:lnTo>
                    <a:pt x="1596" y="584"/>
                  </a:lnTo>
                  <a:cubicBezTo>
                    <a:pt x="1608" y="536"/>
                    <a:pt x="1655" y="524"/>
                    <a:pt x="1703" y="524"/>
                  </a:cubicBezTo>
                  <a:lnTo>
                    <a:pt x="1715" y="524"/>
                  </a:lnTo>
                  <a:cubicBezTo>
                    <a:pt x="1774" y="524"/>
                    <a:pt x="1834" y="584"/>
                    <a:pt x="1834" y="643"/>
                  </a:cubicBezTo>
                  <a:lnTo>
                    <a:pt x="1834" y="679"/>
                  </a:lnTo>
                  <a:lnTo>
                    <a:pt x="1834" y="1131"/>
                  </a:lnTo>
                  <a:cubicBezTo>
                    <a:pt x="1834" y="1227"/>
                    <a:pt x="1905" y="1298"/>
                    <a:pt x="2001" y="1298"/>
                  </a:cubicBezTo>
                  <a:cubicBezTo>
                    <a:pt x="2084" y="1298"/>
                    <a:pt x="2167" y="1227"/>
                    <a:pt x="2167" y="1131"/>
                  </a:cubicBezTo>
                  <a:lnTo>
                    <a:pt x="2167" y="715"/>
                  </a:lnTo>
                  <a:cubicBezTo>
                    <a:pt x="2179" y="679"/>
                    <a:pt x="2227" y="655"/>
                    <a:pt x="2263" y="655"/>
                  </a:cubicBezTo>
                  <a:lnTo>
                    <a:pt x="2286" y="655"/>
                  </a:lnTo>
                  <a:cubicBezTo>
                    <a:pt x="2346" y="655"/>
                    <a:pt x="2406" y="715"/>
                    <a:pt x="2406" y="774"/>
                  </a:cubicBezTo>
                  <a:lnTo>
                    <a:pt x="2406" y="893"/>
                  </a:lnTo>
                  <a:lnTo>
                    <a:pt x="2406" y="1238"/>
                  </a:lnTo>
                  <a:cubicBezTo>
                    <a:pt x="2406" y="1334"/>
                    <a:pt x="2477" y="1405"/>
                    <a:pt x="2560" y="1405"/>
                  </a:cubicBezTo>
                  <a:cubicBezTo>
                    <a:pt x="2656" y="1405"/>
                    <a:pt x="2727" y="1334"/>
                    <a:pt x="2727" y="1238"/>
                  </a:cubicBezTo>
                  <a:lnTo>
                    <a:pt x="2727" y="893"/>
                  </a:lnTo>
                  <a:cubicBezTo>
                    <a:pt x="2727" y="834"/>
                    <a:pt x="2787" y="774"/>
                    <a:pt x="2846" y="774"/>
                  </a:cubicBezTo>
                  <a:lnTo>
                    <a:pt x="2858" y="774"/>
                  </a:lnTo>
                  <a:cubicBezTo>
                    <a:pt x="2917" y="774"/>
                    <a:pt x="2977" y="834"/>
                    <a:pt x="2977" y="893"/>
                  </a:cubicBezTo>
                  <a:lnTo>
                    <a:pt x="2977" y="1691"/>
                  </a:lnTo>
                  <a:lnTo>
                    <a:pt x="2977" y="1703"/>
                  </a:lnTo>
                  <a:cubicBezTo>
                    <a:pt x="3001" y="1893"/>
                    <a:pt x="2977" y="2477"/>
                    <a:pt x="2679" y="2727"/>
                  </a:cubicBezTo>
                  <a:cubicBezTo>
                    <a:pt x="2644" y="2762"/>
                    <a:pt x="2620" y="2798"/>
                    <a:pt x="2620" y="2858"/>
                  </a:cubicBezTo>
                  <a:lnTo>
                    <a:pt x="2620" y="3393"/>
                  </a:lnTo>
                  <a:lnTo>
                    <a:pt x="1012" y="3393"/>
                  </a:lnTo>
                  <a:lnTo>
                    <a:pt x="1012" y="3024"/>
                  </a:lnTo>
                  <a:cubicBezTo>
                    <a:pt x="1012" y="2965"/>
                    <a:pt x="989" y="2917"/>
                    <a:pt x="941" y="2893"/>
                  </a:cubicBezTo>
                  <a:cubicBezTo>
                    <a:pt x="989" y="2846"/>
                    <a:pt x="417" y="2417"/>
                    <a:pt x="393" y="1953"/>
                  </a:cubicBezTo>
                  <a:cubicBezTo>
                    <a:pt x="381" y="1691"/>
                    <a:pt x="358" y="1358"/>
                    <a:pt x="465" y="1274"/>
                  </a:cubicBezTo>
                  <a:cubicBezTo>
                    <a:pt x="501" y="1247"/>
                    <a:pt x="550" y="1234"/>
                    <a:pt x="617" y="1234"/>
                  </a:cubicBezTo>
                  <a:cubicBezTo>
                    <a:pt x="640" y="1234"/>
                    <a:pt x="664" y="1235"/>
                    <a:pt x="691" y="1238"/>
                  </a:cubicBezTo>
                  <a:lnTo>
                    <a:pt x="691" y="1465"/>
                  </a:lnTo>
                  <a:cubicBezTo>
                    <a:pt x="691" y="1548"/>
                    <a:pt x="762" y="1631"/>
                    <a:pt x="858" y="1631"/>
                  </a:cubicBezTo>
                  <a:cubicBezTo>
                    <a:pt x="941" y="1631"/>
                    <a:pt x="1012" y="1548"/>
                    <a:pt x="1012" y="1465"/>
                  </a:cubicBezTo>
                  <a:lnTo>
                    <a:pt x="1012" y="465"/>
                  </a:lnTo>
                  <a:cubicBezTo>
                    <a:pt x="1012" y="405"/>
                    <a:pt x="1072" y="345"/>
                    <a:pt x="1132" y="345"/>
                  </a:cubicBezTo>
                  <a:close/>
                  <a:moveTo>
                    <a:pt x="2941" y="3691"/>
                  </a:moveTo>
                  <a:lnTo>
                    <a:pt x="2941" y="4215"/>
                  </a:lnTo>
                  <a:lnTo>
                    <a:pt x="810" y="4215"/>
                  </a:lnTo>
                  <a:lnTo>
                    <a:pt x="810" y="3691"/>
                  </a:lnTo>
                  <a:close/>
                  <a:moveTo>
                    <a:pt x="2941" y="4548"/>
                  </a:moveTo>
                  <a:lnTo>
                    <a:pt x="2941" y="6787"/>
                  </a:lnTo>
                  <a:lnTo>
                    <a:pt x="810" y="6787"/>
                  </a:lnTo>
                  <a:lnTo>
                    <a:pt x="810" y="4548"/>
                  </a:lnTo>
                  <a:close/>
                  <a:moveTo>
                    <a:pt x="1132" y="0"/>
                  </a:moveTo>
                  <a:cubicBezTo>
                    <a:pt x="882" y="0"/>
                    <a:pt x="667" y="215"/>
                    <a:pt x="667" y="465"/>
                  </a:cubicBezTo>
                  <a:lnTo>
                    <a:pt x="667" y="893"/>
                  </a:lnTo>
                  <a:cubicBezTo>
                    <a:pt x="645" y="892"/>
                    <a:pt x="623" y="891"/>
                    <a:pt x="602" y="891"/>
                  </a:cubicBezTo>
                  <a:cubicBezTo>
                    <a:pt x="453" y="891"/>
                    <a:pt x="332" y="927"/>
                    <a:pt x="239" y="1000"/>
                  </a:cubicBezTo>
                  <a:cubicBezTo>
                    <a:pt x="0" y="1191"/>
                    <a:pt x="36" y="1584"/>
                    <a:pt x="48" y="1965"/>
                  </a:cubicBezTo>
                  <a:cubicBezTo>
                    <a:pt x="72" y="2489"/>
                    <a:pt x="536" y="2905"/>
                    <a:pt x="715" y="3060"/>
                  </a:cubicBezTo>
                  <a:lnTo>
                    <a:pt x="715" y="3334"/>
                  </a:lnTo>
                  <a:lnTo>
                    <a:pt x="631" y="3334"/>
                  </a:lnTo>
                  <a:cubicBezTo>
                    <a:pt x="536" y="3334"/>
                    <a:pt x="465" y="3405"/>
                    <a:pt x="465" y="3501"/>
                  </a:cubicBezTo>
                  <a:lnTo>
                    <a:pt x="465" y="4370"/>
                  </a:lnTo>
                  <a:lnTo>
                    <a:pt x="465" y="6953"/>
                  </a:lnTo>
                  <a:cubicBezTo>
                    <a:pt x="465" y="7049"/>
                    <a:pt x="536" y="7120"/>
                    <a:pt x="631" y="7120"/>
                  </a:cubicBezTo>
                  <a:lnTo>
                    <a:pt x="3096" y="7120"/>
                  </a:lnTo>
                  <a:cubicBezTo>
                    <a:pt x="3191" y="7120"/>
                    <a:pt x="3263" y="7049"/>
                    <a:pt x="3263" y="6953"/>
                  </a:cubicBezTo>
                  <a:lnTo>
                    <a:pt x="3263" y="4370"/>
                  </a:lnTo>
                  <a:lnTo>
                    <a:pt x="3263" y="3501"/>
                  </a:lnTo>
                  <a:cubicBezTo>
                    <a:pt x="3263" y="3429"/>
                    <a:pt x="3191" y="3358"/>
                    <a:pt x="3096" y="3358"/>
                  </a:cubicBezTo>
                  <a:lnTo>
                    <a:pt x="3001" y="3358"/>
                  </a:lnTo>
                  <a:lnTo>
                    <a:pt x="3001" y="2893"/>
                  </a:lnTo>
                  <a:cubicBezTo>
                    <a:pt x="3418" y="2477"/>
                    <a:pt x="3370" y="1727"/>
                    <a:pt x="3358" y="1643"/>
                  </a:cubicBezTo>
                  <a:lnTo>
                    <a:pt x="3358" y="869"/>
                  </a:lnTo>
                  <a:cubicBezTo>
                    <a:pt x="3358" y="619"/>
                    <a:pt x="3144" y="405"/>
                    <a:pt x="2894" y="405"/>
                  </a:cubicBezTo>
                  <a:lnTo>
                    <a:pt x="2870" y="405"/>
                  </a:lnTo>
                  <a:cubicBezTo>
                    <a:pt x="2798" y="405"/>
                    <a:pt x="2727" y="417"/>
                    <a:pt x="2656" y="465"/>
                  </a:cubicBezTo>
                  <a:cubicBezTo>
                    <a:pt x="2560" y="357"/>
                    <a:pt x="2441" y="286"/>
                    <a:pt x="2298" y="286"/>
                  </a:cubicBezTo>
                  <a:lnTo>
                    <a:pt x="2275" y="286"/>
                  </a:lnTo>
                  <a:cubicBezTo>
                    <a:pt x="2203" y="286"/>
                    <a:pt x="2132" y="298"/>
                    <a:pt x="2072" y="345"/>
                  </a:cubicBezTo>
                  <a:cubicBezTo>
                    <a:pt x="1977" y="238"/>
                    <a:pt x="1870" y="179"/>
                    <a:pt x="1727" y="179"/>
                  </a:cubicBezTo>
                  <a:lnTo>
                    <a:pt x="1715" y="179"/>
                  </a:lnTo>
                  <a:cubicBezTo>
                    <a:pt x="1655" y="179"/>
                    <a:pt x="1596" y="203"/>
                    <a:pt x="1536" y="215"/>
                  </a:cubicBezTo>
                  <a:cubicBezTo>
                    <a:pt x="1465" y="95"/>
                    <a:pt x="1310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5" name="Google Shape;13575;p64"/>
            <p:cNvSpPr/>
            <p:nvPr/>
          </p:nvSpPr>
          <p:spPr>
            <a:xfrm>
              <a:off x="1406137" y="1989925"/>
              <a:ext cx="198587" cy="335074"/>
            </a:xfrm>
            <a:custGeom>
              <a:avLst/>
              <a:gdLst/>
              <a:ahLst/>
              <a:cxnLst/>
              <a:rect l="l" t="t" r="r" b="b"/>
              <a:pathLst>
                <a:path w="6239" h="10527" extrusionOk="0">
                  <a:moveTo>
                    <a:pt x="643" y="346"/>
                  </a:moveTo>
                  <a:lnTo>
                    <a:pt x="1060" y="382"/>
                  </a:lnTo>
                  <a:lnTo>
                    <a:pt x="941" y="644"/>
                  </a:lnTo>
                  <a:lnTo>
                    <a:pt x="643" y="346"/>
                  </a:lnTo>
                  <a:close/>
                  <a:moveTo>
                    <a:pt x="1393" y="453"/>
                  </a:moveTo>
                  <a:lnTo>
                    <a:pt x="2465" y="894"/>
                  </a:lnTo>
                  <a:lnTo>
                    <a:pt x="2346" y="1334"/>
                  </a:lnTo>
                  <a:lnTo>
                    <a:pt x="1203" y="858"/>
                  </a:lnTo>
                  <a:lnTo>
                    <a:pt x="1393" y="453"/>
                  </a:lnTo>
                  <a:close/>
                  <a:moveTo>
                    <a:pt x="4965" y="1942"/>
                  </a:moveTo>
                  <a:lnTo>
                    <a:pt x="5346" y="2108"/>
                  </a:lnTo>
                  <a:lnTo>
                    <a:pt x="5144" y="2525"/>
                  </a:lnTo>
                  <a:lnTo>
                    <a:pt x="4834" y="2382"/>
                  </a:lnTo>
                  <a:cubicBezTo>
                    <a:pt x="4846" y="2370"/>
                    <a:pt x="4846" y="2370"/>
                    <a:pt x="4846" y="2358"/>
                  </a:cubicBezTo>
                  <a:lnTo>
                    <a:pt x="4965" y="1942"/>
                  </a:lnTo>
                  <a:close/>
                  <a:moveTo>
                    <a:pt x="5656" y="2239"/>
                  </a:moveTo>
                  <a:lnTo>
                    <a:pt x="5834" y="2311"/>
                  </a:lnTo>
                  <a:cubicBezTo>
                    <a:pt x="5858" y="2323"/>
                    <a:pt x="5882" y="2346"/>
                    <a:pt x="5894" y="2370"/>
                  </a:cubicBezTo>
                  <a:cubicBezTo>
                    <a:pt x="5906" y="2406"/>
                    <a:pt x="5906" y="2430"/>
                    <a:pt x="5894" y="2442"/>
                  </a:cubicBezTo>
                  <a:lnTo>
                    <a:pt x="5798" y="2668"/>
                  </a:lnTo>
                  <a:cubicBezTo>
                    <a:pt x="5787" y="2704"/>
                    <a:pt x="5775" y="2716"/>
                    <a:pt x="5739" y="2727"/>
                  </a:cubicBezTo>
                  <a:cubicBezTo>
                    <a:pt x="5727" y="2733"/>
                    <a:pt x="5712" y="2736"/>
                    <a:pt x="5699" y="2736"/>
                  </a:cubicBezTo>
                  <a:cubicBezTo>
                    <a:pt x="5685" y="2736"/>
                    <a:pt x="5673" y="2733"/>
                    <a:pt x="5667" y="2727"/>
                  </a:cubicBezTo>
                  <a:lnTo>
                    <a:pt x="5477" y="2632"/>
                  </a:lnTo>
                  <a:lnTo>
                    <a:pt x="5656" y="2239"/>
                  </a:lnTo>
                  <a:close/>
                  <a:moveTo>
                    <a:pt x="3060" y="453"/>
                  </a:moveTo>
                  <a:cubicBezTo>
                    <a:pt x="3096" y="453"/>
                    <a:pt x="3120" y="477"/>
                    <a:pt x="3143" y="513"/>
                  </a:cubicBezTo>
                  <a:cubicBezTo>
                    <a:pt x="3155" y="537"/>
                    <a:pt x="3155" y="572"/>
                    <a:pt x="3155" y="596"/>
                  </a:cubicBezTo>
                  <a:lnTo>
                    <a:pt x="3143" y="668"/>
                  </a:lnTo>
                  <a:lnTo>
                    <a:pt x="2941" y="1358"/>
                  </a:lnTo>
                  <a:cubicBezTo>
                    <a:pt x="2917" y="1453"/>
                    <a:pt x="2977" y="1537"/>
                    <a:pt x="3060" y="1561"/>
                  </a:cubicBezTo>
                  <a:lnTo>
                    <a:pt x="3108" y="1561"/>
                  </a:lnTo>
                  <a:cubicBezTo>
                    <a:pt x="3179" y="1561"/>
                    <a:pt x="3239" y="1525"/>
                    <a:pt x="3274" y="1442"/>
                  </a:cubicBezTo>
                  <a:lnTo>
                    <a:pt x="3465" y="799"/>
                  </a:lnTo>
                  <a:cubicBezTo>
                    <a:pt x="3501" y="763"/>
                    <a:pt x="3536" y="751"/>
                    <a:pt x="3584" y="751"/>
                  </a:cubicBezTo>
                  <a:lnTo>
                    <a:pt x="3596" y="751"/>
                  </a:lnTo>
                  <a:cubicBezTo>
                    <a:pt x="3631" y="751"/>
                    <a:pt x="3655" y="775"/>
                    <a:pt x="3679" y="811"/>
                  </a:cubicBezTo>
                  <a:cubicBezTo>
                    <a:pt x="3691" y="834"/>
                    <a:pt x="3691" y="870"/>
                    <a:pt x="3691" y="894"/>
                  </a:cubicBezTo>
                  <a:lnTo>
                    <a:pt x="3512" y="1489"/>
                  </a:lnTo>
                  <a:cubicBezTo>
                    <a:pt x="3477" y="1584"/>
                    <a:pt x="3536" y="1668"/>
                    <a:pt x="3631" y="1704"/>
                  </a:cubicBezTo>
                  <a:lnTo>
                    <a:pt x="3679" y="1704"/>
                  </a:lnTo>
                  <a:cubicBezTo>
                    <a:pt x="3751" y="1704"/>
                    <a:pt x="3810" y="1656"/>
                    <a:pt x="3834" y="1584"/>
                  </a:cubicBezTo>
                  <a:lnTo>
                    <a:pt x="4001" y="1025"/>
                  </a:lnTo>
                  <a:cubicBezTo>
                    <a:pt x="4026" y="999"/>
                    <a:pt x="4052" y="980"/>
                    <a:pt x="4082" y="980"/>
                  </a:cubicBezTo>
                  <a:cubicBezTo>
                    <a:pt x="4094" y="980"/>
                    <a:pt x="4106" y="982"/>
                    <a:pt x="4120" y="989"/>
                  </a:cubicBezTo>
                  <a:lnTo>
                    <a:pt x="4132" y="989"/>
                  </a:lnTo>
                  <a:cubicBezTo>
                    <a:pt x="4191" y="1001"/>
                    <a:pt x="4239" y="1061"/>
                    <a:pt x="4227" y="1132"/>
                  </a:cubicBezTo>
                  <a:lnTo>
                    <a:pt x="4191" y="1239"/>
                  </a:lnTo>
                  <a:lnTo>
                    <a:pt x="4048" y="1704"/>
                  </a:lnTo>
                  <a:cubicBezTo>
                    <a:pt x="4012" y="1787"/>
                    <a:pt x="4060" y="1882"/>
                    <a:pt x="4155" y="1906"/>
                  </a:cubicBezTo>
                  <a:cubicBezTo>
                    <a:pt x="4167" y="1906"/>
                    <a:pt x="4179" y="1918"/>
                    <a:pt x="4191" y="1918"/>
                  </a:cubicBezTo>
                  <a:cubicBezTo>
                    <a:pt x="4274" y="1918"/>
                    <a:pt x="4334" y="1882"/>
                    <a:pt x="4358" y="1799"/>
                  </a:cubicBezTo>
                  <a:lnTo>
                    <a:pt x="4513" y="1346"/>
                  </a:lnTo>
                  <a:cubicBezTo>
                    <a:pt x="4523" y="1293"/>
                    <a:pt x="4572" y="1249"/>
                    <a:pt x="4633" y="1249"/>
                  </a:cubicBezTo>
                  <a:cubicBezTo>
                    <a:pt x="4641" y="1249"/>
                    <a:pt x="4648" y="1250"/>
                    <a:pt x="4655" y="1251"/>
                  </a:cubicBezTo>
                  <a:lnTo>
                    <a:pt x="4667" y="1251"/>
                  </a:lnTo>
                  <a:cubicBezTo>
                    <a:pt x="4727" y="1263"/>
                    <a:pt x="4774" y="1323"/>
                    <a:pt x="4763" y="1406"/>
                  </a:cubicBezTo>
                  <a:lnTo>
                    <a:pt x="4513" y="2299"/>
                  </a:lnTo>
                  <a:lnTo>
                    <a:pt x="4513" y="2311"/>
                  </a:lnTo>
                  <a:cubicBezTo>
                    <a:pt x="4524" y="2311"/>
                    <a:pt x="4417" y="3025"/>
                    <a:pt x="3989" y="3239"/>
                  </a:cubicBezTo>
                  <a:cubicBezTo>
                    <a:pt x="3929" y="3263"/>
                    <a:pt x="3893" y="3323"/>
                    <a:pt x="3893" y="3382"/>
                  </a:cubicBezTo>
                  <a:lnTo>
                    <a:pt x="3893" y="3894"/>
                  </a:lnTo>
                  <a:lnTo>
                    <a:pt x="2310" y="3894"/>
                  </a:lnTo>
                  <a:lnTo>
                    <a:pt x="2310" y="3085"/>
                  </a:lnTo>
                  <a:cubicBezTo>
                    <a:pt x="2310" y="3037"/>
                    <a:pt x="2286" y="3013"/>
                    <a:pt x="2262" y="2977"/>
                  </a:cubicBezTo>
                  <a:cubicBezTo>
                    <a:pt x="2262" y="2977"/>
                    <a:pt x="1798" y="2430"/>
                    <a:pt x="1893" y="1965"/>
                  </a:cubicBezTo>
                  <a:cubicBezTo>
                    <a:pt x="1917" y="1823"/>
                    <a:pt x="1941" y="1656"/>
                    <a:pt x="1977" y="1537"/>
                  </a:cubicBezTo>
                  <a:lnTo>
                    <a:pt x="2274" y="1668"/>
                  </a:lnTo>
                  <a:cubicBezTo>
                    <a:pt x="2286" y="1715"/>
                    <a:pt x="2334" y="1763"/>
                    <a:pt x="2393" y="1775"/>
                  </a:cubicBezTo>
                  <a:cubicBezTo>
                    <a:pt x="2412" y="1782"/>
                    <a:pt x="2431" y="1785"/>
                    <a:pt x="2449" y="1785"/>
                  </a:cubicBezTo>
                  <a:cubicBezTo>
                    <a:pt x="2520" y="1785"/>
                    <a:pt x="2579" y="1732"/>
                    <a:pt x="2608" y="1656"/>
                  </a:cubicBezTo>
                  <a:lnTo>
                    <a:pt x="2905" y="537"/>
                  </a:lnTo>
                  <a:cubicBezTo>
                    <a:pt x="2905" y="513"/>
                    <a:pt x="2929" y="477"/>
                    <a:pt x="2953" y="465"/>
                  </a:cubicBezTo>
                  <a:cubicBezTo>
                    <a:pt x="2989" y="453"/>
                    <a:pt x="3012" y="453"/>
                    <a:pt x="3048" y="453"/>
                  </a:cubicBezTo>
                  <a:close/>
                  <a:moveTo>
                    <a:pt x="4132" y="4263"/>
                  </a:moveTo>
                  <a:lnTo>
                    <a:pt x="4132" y="4787"/>
                  </a:lnTo>
                  <a:lnTo>
                    <a:pt x="2012" y="4787"/>
                  </a:lnTo>
                  <a:lnTo>
                    <a:pt x="2012" y="4263"/>
                  </a:lnTo>
                  <a:close/>
                  <a:moveTo>
                    <a:pt x="191" y="1"/>
                  </a:moveTo>
                  <a:cubicBezTo>
                    <a:pt x="119" y="1"/>
                    <a:pt x="60" y="37"/>
                    <a:pt x="24" y="108"/>
                  </a:cubicBezTo>
                  <a:cubicBezTo>
                    <a:pt x="0" y="168"/>
                    <a:pt x="12" y="239"/>
                    <a:pt x="60" y="299"/>
                  </a:cubicBezTo>
                  <a:lnTo>
                    <a:pt x="845" y="1072"/>
                  </a:lnTo>
                  <a:lnTo>
                    <a:pt x="857" y="1084"/>
                  </a:lnTo>
                  <a:lnTo>
                    <a:pt x="869" y="1084"/>
                  </a:lnTo>
                  <a:cubicBezTo>
                    <a:pt x="893" y="1108"/>
                    <a:pt x="917" y="1120"/>
                    <a:pt x="953" y="1120"/>
                  </a:cubicBezTo>
                  <a:lnTo>
                    <a:pt x="1667" y="1418"/>
                  </a:lnTo>
                  <a:cubicBezTo>
                    <a:pt x="1607" y="1561"/>
                    <a:pt x="1572" y="1763"/>
                    <a:pt x="1548" y="1918"/>
                  </a:cubicBezTo>
                  <a:cubicBezTo>
                    <a:pt x="1453" y="2442"/>
                    <a:pt x="1822" y="2989"/>
                    <a:pt x="1941" y="3156"/>
                  </a:cubicBezTo>
                  <a:lnTo>
                    <a:pt x="1941" y="3918"/>
                  </a:lnTo>
                  <a:lnTo>
                    <a:pt x="1810" y="3918"/>
                  </a:lnTo>
                  <a:cubicBezTo>
                    <a:pt x="1726" y="3918"/>
                    <a:pt x="1643" y="3990"/>
                    <a:pt x="1643" y="4085"/>
                  </a:cubicBezTo>
                  <a:lnTo>
                    <a:pt x="1643" y="4942"/>
                  </a:lnTo>
                  <a:lnTo>
                    <a:pt x="1643" y="10359"/>
                  </a:lnTo>
                  <a:cubicBezTo>
                    <a:pt x="1643" y="10455"/>
                    <a:pt x="1726" y="10526"/>
                    <a:pt x="1810" y="10526"/>
                  </a:cubicBezTo>
                  <a:lnTo>
                    <a:pt x="4286" y="10526"/>
                  </a:lnTo>
                  <a:cubicBezTo>
                    <a:pt x="4370" y="10526"/>
                    <a:pt x="4453" y="10455"/>
                    <a:pt x="4453" y="10359"/>
                  </a:cubicBezTo>
                  <a:lnTo>
                    <a:pt x="4453" y="6168"/>
                  </a:lnTo>
                  <a:cubicBezTo>
                    <a:pt x="4453" y="6073"/>
                    <a:pt x="4370" y="6002"/>
                    <a:pt x="4286" y="6002"/>
                  </a:cubicBezTo>
                  <a:cubicBezTo>
                    <a:pt x="4191" y="6002"/>
                    <a:pt x="4120" y="6073"/>
                    <a:pt x="4120" y="6168"/>
                  </a:cubicBezTo>
                  <a:lnTo>
                    <a:pt x="4120" y="10181"/>
                  </a:lnTo>
                  <a:lnTo>
                    <a:pt x="2012" y="10181"/>
                  </a:lnTo>
                  <a:lnTo>
                    <a:pt x="2012" y="5109"/>
                  </a:lnTo>
                  <a:lnTo>
                    <a:pt x="4132" y="5109"/>
                  </a:lnTo>
                  <a:lnTo>
                    <a:pt x="4132" y="5394"/>
                  </a:lnTo>
                  <a:lnTo>
                    <a:pt x="4132" y="5585"/>
                  </a:lnTo>
                  <a:cubicBezTo>
                    <a:pt x="4132" y="5668"/>
                    <a:pt x="4215" y="5752"/>
                    <a:pt x="4298" y="5752"/>
                  </a:cubicBezTo>
                  <a:cubicBezTo>
                    <a:pt x="4393" y="5752"/>
                    <a:pt x="4465" y="5668"/>
                    <a:pt x="4465" y="5585"/>
                  </a:cubicBezTo>
                  <a:lnTo>
                    <a:pt x="4465" y="5394"/>
                  </a:lnTo>
                  <a:lnTo>
                    <a:pt x="4465" y="4942"/>
                  </a:lnTo>
                  <a:lnTo>
                    <a:pt x="4465" y="4085"/>
                  </a:lnTo>
                  <a:cubicBezTo>
                    <a:pt x="4465" y="3990"/>
                    <a:pt x="4393" y="3918"/>
                    <a:pt x="4298" y="3918"/>
                  </a:cubicBezTo>
                  <a:lnTo>
                    <a:pt x="4239" y="3918"/>
                  </a:lnTo>
                  <a:lnTo>
                    <a:pt x="4239" y="3489"/>
                  </a:lnTo>
                  <a:cubicBezTo>
                    <a:pt x="4524" y="3299"/>
                    <a:pt x="4667" y="2966"/>
                    <a:pt x="4763" y="2716"/>
                  </a:cubicBezTo>
                  <a:lnTo>
                    <a:pt x="5525" y="3037"/>
                  </a:lnTo>
                  <a:cubicBezTo>
                    <a:pt x="5584" y="3073"/>
                    <a:pt x="5644" y="3073"/>
                    <a:pt x="5703" y="3073"/>
                  </a:cubicBezTo>
                  <a:cubicBezTo>
                    <a:pt x="5763" y="3073"/>
                    <a:pt x="5822" y="3049"/>
                    <a:pt x="5858" y="3037"/>
                  </a:cubicBezTo>
                  <a:cubicBezTo>
                    <a:pt x="5965" y="3001"/>
                    <a:pt x="6060" y="2906"/>
                    <a:pt x="6096" y="2799"/>
                  </a:cubicBezTo>
                  <a:lnTo>
                    <a:pt x="6191" y="2585"/>
                  </a:lnTo>
                  <a:cubicBezTo>
                    <a:pt x="6239" y="2477"/>
                    <a:pt x="6239" y="2358"/>
                    <a:pt x="6191" y="2239"/>
                  </a:cubicBezTo>
                  <a:cubicBezTo>
                    <a:pt x="6144" y="2132"/>
                    <a:pt x="6060" y="2037"/>
                    <a:pt x="5953" y="2001"/>
                  </a:cubicBezTo>
                  <a:lnTo>
                    <a:pt x="5048" y="1608"/>
                  </a:lnTo>
                  <a:lnTo>
                    <a:pt x="5084" y="1465"/>
                  </a:lnTo>
                  <a:cubicBezTo>
                    <a:pt x="5120" y="1346"/>
                    <a:pt x="5108" y="1227"/>
                    <a:pt x="5025" y="1120"/>
                  </a:cubicBezTo>
                  <a:cubicBezTo>
                    <a:pt x="4965" y="1013"/>
                    <a:pt x="4870" y="942"/>
                    <a:pt x="4751" y="906"/>
                  </a:cubicBezTo>
                  <a:lnTo>
                    <a:pt x="4727" y="906"/>
                  </a:lnTo>
                  <a:cubicBezTo>
                    <a:pt x="4691" y="900"/>
                    <a:pt x="4655" y="897"/>
                    <a:pt x="4620" y="897"/>
                  </a:cubicBezTo>
                  <a:cubicBezTo>
                    <a:pt x="4584" y="897"/>
                    <a:pt x="4548" y="900"/>
                    <a:pt x="4513" y="906"/>
                  </a:cubicBezTo>
                  <a:cubicBezTo>
                    <a:pt x="4453" y="787"/>
                    <a:pt x="4346" y="691"/>
                    <a:pt x="4191" y="656"/>
                  </a:cubicBezTo>
                  <a:lnTo>
                    <a:pt x="4179" y="656"/>
                  </a:lnTo>
                  <a:cubicBezTo>
                    <a:pt x="4143" y="650"/>
                    <a:pt x="4108" y="647"/>
                    <a:pt x="4071" y="647"/>
                  </a:cubicBezTo>
                  <a:cubicBezTo>
                    <a:pt x="4033" y="647"/>
                    <a:pt x="3995" y="650"/>
                    <a:pt x="3953" y="656"/>
                  </a:cubicBezTo>
                  <a:cubicBezTo>
                    <a:pt x="3953" y="644"/>
                    <a:pt x="3941" y="632"/>
                    <a:pt x="3941" y="632"/>
                  </a:cubicBezTo>
                  <a:cubicBezTo>
                    <a:pt x="3882" y="525"/>
                    <a:pt x="3774" y="453"/>
                    <a:pt x="3655" y="418"/>
                  </a:cubicBezTo>
                  <a:lnTo>
                    <a:pt x="3643" y="418"/>
                  </a:lnTo>
                  <a:cubicBezTo>
                    <a:pt x="3614" y="412"/>
                    <a:pt x="3584" y="409"/>
                    <a:pt x="3554" y="409"/>
                  </a:cubicBezTo>
                  <a:cubicBezTo>
                    <a:pt x="3524" y="409"/>
                    <a:pt x="3495" y="412"/>
                    <a:pt x="3465" y="418"/>
                  </a:cubicBezTo>
                  <a:lnTo>
                    <a:pt x="3417" y="334"/>
                  </a:lnTo>
                  <a:cubicBezTo>
                    <a:pt x="3358" y="227"/>
                    <a:pt x="3250" y="156"/>
                    <a:pt x="3143" y="120"/>
                  </a:cubicBezTo>
                  <a:lnTo>
                    <a:pt x="3120" y="120"/>
                  </a:lnTo>
                  <a:cubicBezTo>
                    <a:pt x="3083" y="113"/>
                    <a:pt x="3047" y="109"/>
                    <a:pt x="3012" y="109"/>
                  </a:cubicBezTo>
                  <a:cubicBezTo>
                    <a:pt x="2931" y="109"/>
                    <a:pt x="2853" y="130"/>
                    <a:pt x="2786" y="180"/>
                  </a:cubicBezTo>
                  <a:cubicBezTo>
                    <a:pt x="2679" y="239"/>
                    <a:pt x="2608" y="346"/>
                    <a:pt x="2572" y="465"/>
                  </a:cubicBezTo>
                  <a:lnTo>
                    <a:pt x="2548" y="572"/>
                  </a:lnTo>
                  <a:lnTo>
                    <a:pt x="1369" y="72"/>
                  </a:lnTo>
                  <a:lnTo>
                    <a:pt x="1310" y="72"/>
                  </a:lnTo>
                  <a:lnTo>
                    <a:pt x="19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6" name="Google Shape;13576;p64"/>
            <p:cNvSpPr/>
            <p:nvPr/>
          </p:nvSpPr>
          <p:spPr>
            <a:xfrm>
              <a:off x="1329585" y="2127494"/>
              <a:ext cx="108795" cy="197123"/>
            </a:xfrm>
            <a:custGeom>
              <a:avLst/>
              <a:gdLst/>
              <a:ahLst/>
              <a:cxnLst/>
              <a:rect l="l" t="t" r="r" b="b"/>
              <a:pathLst>
                <a:path w="3418" h="6193" extrusionOk="0">
                  <a:moveTo>
                    <a:pt x="1155" y="358"/>
                  </a:moveTo>
                  <a:cubicBezTo>
                    <a:pt x="1214" y="358"/>
                    <a:pt x="1274" y="418"/>
                    <a:pt x="1274" y="477"/>
                  </a:cubicBezTo>
                  <a:lnTo>
                    <a:pt x="1274" y="549"/>
                  </a:lnTo>
                  <a:lnTo>
                    <a:pt x="1274" y="1120"/>
                  </a:lnTo>
                  <a:cubicBezTo>
                    <a:pt x="1274" y="1203"/>
                    <a:pt x="1345" y="1275"/>
                    <a:pt x="1441" y="1275"/>
                  </a:cubicBezTo>
                  <a:cubicBezTo>
                    <a:pt x="1524" y="1275"/>
                    <a:pt x="1595" y="1203"/>
                    <a:pt x="1595" y="1120"/>
                  </a:cubicBezTo>
                  <a:lnTo>
                    <a:pt x="1595" y="584"/>
                  </a:lnTo>
                  <a:cubicBezTo>
                    <a:pt x="1619" y="537"/>
                    <a:pt x="1655" y="525"/>
                    <a:pt x="1703" y="525"/>
                  </a:cubicBezTo>
                  <a:lnTo>
                    <a:pt x="1715" y="525"/>
                  </a:lnTo>
                  <a:cubicBezTo>
                    <a:pt x="1774" y="525"/>
                    <a:pt x="1834" y="584"/>
                    <a:pt x="1834" y="644"/>
                  </a:cubicBezTo>
                  <a:lnTo>
                    <a:pt x="1834" y="668"/>
                  </a:lnTo>
                  <a:lnTo>
                    <a:pt x="1834" y="1132"/>
                  </a:lnTo>
                  <a:cubicBezTo>
                    <a:pt x="1834" y="1215"/>
                    <a:pt x="1917" y="1299"/>
                    <a:pt x="2000" y="1299"/>
                  </a:cubicBezTo>
                  <a:cubicBezTo>
                    <a:pt x="2096" y="1299"/>
                    <a:pt x="2167" y="1215"/>
                    <a:pt x="2167" y="1132"/>
                  </a:cubicBezTo>
                  <a:lnTo>
                    <a:pt x="2167" y="715"/>
                  </a:lnTo>
                  <a:cubicBezTo>
                    <a:pt x="2179" y="668"/>
                    <a:pt x="2226" y="656"/>
                    <a:pt x="2274" y="656"/>
                  </a:cubicBezTo>
                  <a:lnTo>
                    <a:pt x="2286" y="656"/>
                  </a:lnTo>
                  <a:cubicBezTo>
                    <a:pt x="2346" y="656"/>
                    <a:pt x="2405" y="715"/>
                    <a:pt x="2405" y="775"/>
                  </a:cubicBezTo>
                  <a:lnTo>
                    <a:pt x="2405" y="894"/>
                  </a:lnTo>
                  <a:lnTo>
                    <a:pt x="2405" y="1239"/>
                  </a:lnTo>
                  <a:cubicBezTo>
                    <a:pt x="2405" y="1322"/>
                    <a:pt x="2477" y="1394"/>
                    <a:pt x="2572" y="1394"/>
                  </a:cubicBezTo>
                  <a:cubicBezTo>
                    <a:pt x="2655" y="1394"/>
                    <a:pt x="2727" y="1322"/>
                    <a:pt x="2727" y="1239"/>
                  </a:cubicBezTo>
                  <a:lnTo>
                    <a:pt x="2727" y="894"/>
                  </a:lnTo>
                  <a:cubicBezTo>
                    <a:pt x="2727" y="834"/>
                    <a:pt x="2786" y="775"/>
                    <a:pt x="2846" y="775"/>
                  </a:cubicBezTo>
                  <a:lnTo>
                    <a:pt x="2869" y="775"/>
                  </a:lnTo>
                  <a:cubicBezTo>
                    <a:pt x="2929" y="775"/>
                    <a:pt x="2988" y="834"/>
                    <a:pt x="2988" y="894"/>
                  </a:cubicBezTo>
                  <a:lnTo>
                    <a:pt x="2988" y="1680"/>
                  </a:lnTo>
                  <a:lnTo>
                    <a:pt x="2988" y="1692"/>
                  </a:lnTo>
                  <a:cubicBezTo>
                    <a:pt x="3060" y="1858"/>
                    <a:pt x="3048" y="2442"/>
                    <a:pt x="2727" y="2692"/>
                  </a:cubicBezTo>
                  <a:cubicBezTo>
                    <a:pt x="2679" y="2727"/>
                    <a:pt x="2667" y="2763"/>
                    <a:pt x="2667" y="2823"/>
                  </a:cubicBezTo>
                  <a:lnTo>
                    <a:pt x="2667" y="3358"/>
                  </a:lnTo>
                  <a:lnTo>
                    <a:pt x="1060" y="3358"/>
                  </a:lnTo>
                  <a:lnTo>
                    <a:pt x="1060" y="2989"/>
                  </a:lnTo>
                  <a:cubicBezTo>
                    <a:pt x="1060" y="2930"/>
                    <a:pt x="1036" y="2882"/>
                    <a:pt x="988" y="2858"/>
                  </a:cubicBezTo>
                  <a:cubicBezTo>
                    <a:pt x="822" y="2739"/>
                    <a:pt x="405" y="2346"/>
                    <a:pt x="393" y="1965"/>
                  </a:cubicBezTo>
                  <a:cubicBezTo>
                    <a:pt x="381" y="1692"/>
                    <a:pt x="369" y="1370"/>
                    <a:pt x="464" y="1275"/>
                  </a:cubicBezTo>
                  <a:cubicBezTo>
                    <a:pt x="499" y="1257"/>
                    <a:pt x="547" y="1246"/>
                    <a:pt x="612" y="1246"/>
                  </a:cubicBezTo>
                  <a:cubicBezTo>
                    <a:pt x="636" y="1246"/>
                    <a:pt x="662" y="1248"/>
                    <a:pt x="691" y="1251"/>
                  </a:cubicBezTo>
                  <a:lnTo>
                    <a:pt x="691" y="1477"/>
                  </a:lnTo>
                  <a:cubicBezTo>
                    <a:pt x="691" y="1561"/>
                    <a:pt x="762" y="1632"/>
                    <a:pt x="857" y="1632"/>
                  </a:cubicBezTo>
                  <a:cubicBezTo>
                    <a:pt x="941" y="1632"/>
                    <a:pt x="1024" y="1561"/>
                    <a:pt x="1024" y="1477"/>
                  </a:cubicBezTo>
                  <a:lnTo>
                    <a:pt x="1024" y="477"/>
                  </a:lnTo>
                  <a:cubicBezTo>
                    <a:pt x="1024" y="418"/>
                    <a:pt x="1083" y="358"/>
                    <a:pt x="1143" y="358"/>
                  </a:cubicBezTo>
                  <a:close/>
                  <a:moveTo>
                    <a:pt x="2941" y="3692"/>
                  </a:moveTo>
                  <a:lnTo>
                    <a:pt x="2941" y="4216"/>
                  </a:lnTo>
                  <a:lnTo>
                    <a:pt x="810" y="4216"/>
                  </a:lnTo>
                  <a:lnTo>
                    <a:pt x="810" y="3692"/>
                  </a:lnTo>
                  <a:close/>
                  <a:moveTo>
                    <a:pt x="2941" y="4537"/>
                  </a:moveTo>
                  <a:lnTo>
                    <a:pt x="2941" y="5859"/>
                  </a:lnTo>
                  <a:lnTo>
                    <a:pt x="810" y="5859"/>
                  </a:lnTo>
                  <a:lnTo>
                    <a:pt x="810" y="4537"/>
                  </a:lnTo>
                  <a:close/>
                  <a:moveTo>
                    <a:pt x="1143" y="1"/>
                  </a:moveTo>
                  <a:cubicBezTo>
                    <a:pt x="881" y="1"/>
                    <a:pt x="679" y="203"/>
                    <a:pt x="679" y="465"/>
                  </a:cubicBezTo>
                  <a:lnTo>
                    <a:pt x="679" y="894"/>
                  </a:lnTo>
                  <a:cubicBezTo>
                    <a:pt x="642" y="889"/>
                    <a:pt x="607" y="887"/>
                    <a:pt x="573" y="887"/>
                  </a:cubicBezTo>
                  <a:cubicBezTo>
                    <a:pt x="439" y="887"/>
                    <a:pt x="326" y="923"/>
                    <a:pt x="250" y="989"/>
                  </a:cubicBezTo>
                  <a:cubicBezTo>
                    <a:pt x="0" y="1192"/>
                    <a:pt x="36" y="1573"/>
                    <a:pt x="48" y="1965"/>
                  </a:cubicBezTo>
                  <a:cubicBezTo>
                    <a:pt x="83" y="2477"/>
                    <a:pt x="548" y="2894"/>
                    <a:pt x="726" y="3049"/>
                  </a:cubicBezTo>
                  <a:lnTo>
                    <a:pt x="726" y="3335"/>
                  </a:lnTo>
                  <a:lnTo>
                    <a:pt x="631" y="3335"/>
                  </a:lnTo>
                  <a:cubicBezTo>
                    <a:pt x="536" y="3335"/>
                    <a:pt x="464" y="3406"/>
                    <a:pt x="464" y="3489"/>
                  </a:cubicBezTo>
                  <a:lnTo>
                    <a:pt x="464" y="4359"/>
                  </a:lnTo>
                  <a:lnTo>
                    <a:pt x="464" y="6025"/>
                  </a:lnTo>
                  <a:cubicBezTo>
                    <a:pt x="464" y="6121"/>
                    <a:pt x="536" y="6192"/>
                    <a:pt x="631" y="6192"/>
                  </a:cubicBezTo>
                  <a:lnTo>
                    <a:pt x="3108" y="6192"/>
                  </a:lnTo>
                  <a:cubicBezTo>
                    <a:pt x="3191" y="6192"/>
                    <a:pt x="3262" y="6121"/>
                    <a:pt x="3262" y="6025"/>
                  </a:cubicBezTo>
                  <a:lnTo>
                    <a:pt x="3262" y="4359"/>
                  </a:lnTo>
                  <a:lnTo>
                    <a:pt x="3262" y="3489"/>
                  </a:lnTo>
                  <a:cubicBezTo>
                    <a:pt x="3262" y="3406"/>
                    <a:pt x="3191" y="3335"/>
                    <a:pt x="3108" y="3335"/>
                  </a:cubicBezTo>
                  <a:lnTo>
                    <a:pt x="3000" y="3335"/>
                  </a:lnTo>
                  <a:lnTo>
                    <a:pt x="3000" y="2870"/>
                  </a:lnTo>
                  <a:cubicBezTo>
                    <a:pt x="3417" y="2465"/>
                    <a:pt x="3369" y="1727"/>
                    <a:pt x="3369" y="1632"/>
                  </a:cubicBezTo>
                  <a:lnTo>
                    <a:pt x="3369" y="858"/>
                  </a:lnTo>
                  <a:cubicBezTo>
                    <a:pt x="3369" y="608"/>
                    <a:pt x="3167" y="406"/>
                    <a:pt x="2905" y="406"/>
                  </a:cubicBezTo>
                  <a:lnTo>
                    <a:pt x="2893" y="406"/>
                  </a:lnTo>
                  <a:cubicBezTo>
                    <a:pt x="2822" y="406"/>
                    <a:pt x="2738" y="418"/>
                    <a:pt x="2667" y="465"/>
                  </a:cubicBezTo>
                  <a:cubicBezTo>
                    <a:pt x="2584" y="358"/>
                    <a:pt x="2465" y="287"/>
                    <a:pt x="2310" y="287"/>
                  </a:cubicBezTo>
                  <a:lnTo>
                    <a:pt x="2298" y="287"/>
                  </a:lnTo>
                  <a:cubicBezTo>
                    <a:pt x="2226" y="287"/>
                    <a:pt x="2143" y="299"/>
                    <a:pt x="2084" y="346"/>
                  </a:cubicBezTo>
                  <a:cubicBezTo>
                    <a:pt x="2000" y="239"/>
                    <a:pt x="1881" y="179"/>
                    <a:pt x="1750" y="179"/>
                  </a:cubicBezTo>
                  <a:lnTo>
                    <a:pt x="1726" y="179"/>
                  </a:lnTo>
                  <a:cubicBezTo>
                    <a:pt x="1667" y="179"/>
                    <a:pt x="1607" y="191"/>
                    <a:pt x="1548" y="203"/>
                  </a:cubicBezTo>
                  <a:cubicBezTo>
                    <a:pt x="1476" y="84"/>
                    <a:pt x="1334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77" name="Google Shape;13577;p64"/>
          <p:cNvGrpSpPr/>
          <p:nvPr/>
        </p:nvGrpSpPr>
        <p:grpSpPr>
          <a:xfrm>
            <a:off x="5591871" y="1989906"/>
            <a:ext cx="416649" cy="325597"/>
            <a:chOff x="5626763" y="2013829"/>
            <a:chExt cx="351722" cy="274788"/>
          </a:xfrm>
        </p:grpSpPr>
        <p:sp>
          <p:nvSpPr>
            <p:cNvPr id="13578" name="Google Shape;13578;p64"/>
            <p:cNvSpPr/>
            <p:nvPr/>
          </p:nvSpPr>
          <p:spPr>
            <a:xfrm>
              <a:off x="5626763" y="2013829"/>
              <a:ext cx="351722" cy="274788"/>
            </a:xfrm>
            <a:custGeom>
              <a:avLst/>
              <a:gdLst/>
              <a:ahLst/>
              <a:cxnLst/>
              <a:rect l="l" t="t" r="r" b="b"/>
              <a:pathLst>
                <a:path w="11050" h="8633" extrusionOk="0">
                  <a:moveTo>
                    <a:pt x="10657" y="345"/>
                  </a:moveTo>
                  <a:lnTo>
                    <a:pt x="10681" y="714"/>
                  </a:lnTo>
                  <a:lnTo>
                    <a:pt x="9395" y="714"/>
                  </a:lnTo>
                  <a:cubicBezTo>
                    <a:pt x="9312" y="714"/>
                    <a:pt x="9216" y="786"/>
                    <a:pt x="9216" y="893"/>
                  </a:cubicBezTo>
                  <a:cubicBezTo>
                    <a:pt x="9216" y="1000"/>
                    <a:pt x="9288" y="1072"/>
                    <a:pt x="9395" y="1072"/>
                  </a:cubicBezTo>
                  <a:lnTo>
                    <a:pt x="10383" y="1072"/>
                  </a:lnTo>
                  <a:lnTo>
                    <a:pt x="10383" y="6191"/>
                  </a:lnTo>
                  <a:lnTo>
                    <a:pt x="4466" y="6191"/>
                  </a:lnTo>
                  <a:lnTo>
                    <a:pt x="4466" y="6025"/>
                  </a:lnTo>
                  <a:cubicBezTo>
                    <a:pt x="4466" y="5929"/>
                    <a:pt x="4394" y="5846"/>
                    <a:pt x="4287" y="5846"/>
                  </a:cubicBezTo>
                  <a:lnTo>
                    <a:pt x="4001" y="5846"/>
                  </a:lnTo>
                  <a:cubicBezTo>
                    <a:pt x="3978" y="5739"/>
                    <a:pt x="3930" y="5644"/>
                    <a:pt x="3871" y="5536"/>
                  </a:cubicBezTo>
                  <a:lnTo>
                    <a:pt x="4085" y="5322"/>
                  </a:lnTo>
                  <a:cubicBezTo>
                    <a:pt x="4156" y="5251"/>
                    <a:pt x="4156" y="5144"/>
                    <a:pt x="4085" y="5072"/>
                  </a:cubicBezTo>
                  <a:lnTo>
                    <a:pt x="3549" y="4536"/>
                  </a:lnTo>
                  <a:cubicBezTo>
                    <a:pt x="3513" y="4512"/>
                    <a:pt x="3478" y="4489"/>
                    <a:pt x="3430" y="4489"/>
                  </a:cubicBezTo>
                  <a:cubicBezTo>
                    <a:pt x="3382" y="4489"/>
                    <a:pt x="3335" y="4512"/>
                    <a:pt x="3311" y="4536"/>
                  </a:cubicBezTo>
                  <a:lnTo>
                    <a:pt x="3097" y="4739"/>
                  </a:lnTo>
                  <a:cubicBezTo>
                    <a:pt x="2989" y="4679"/>
                    <a:pt x="2894" y="4643"/>
                    <a:pt x="2787" y="4608"/>
                  </a:cubicBezTo>
                  <a:lnTo>
                    <a:pt x="2787" y="4334"/>
                  </a:lnTo>
                  <a:cubicBezTo>
                    <a:pt x="2787" y="4239"/>
                    <a:pt x="2716" y="4155"/>
                    <a:pt x="2608" y="4155"/>
                  </a:cubicBezTo>
                  <a:lnTo>
                    <a:pt x="2180" y="4155"/>
                  </a:lnTo>
                  <a:lnTo>
                    <a:pt x="2180" y="1060"/>
                  </a:lnTo>
                  <a:lnTo>
                    <a:pt x="8788" y="1060"/>
                  </a:lnTo>
                  <a:cubicBezTo>
                    <a:pt x="8871" y="1060"/>
                    <a:pt x="8966" y="976"/>
                    <a:pt x="8966" y="881"/>
                  </a:cubicBezTo>
                  <a:cubicBezTo>
                    <a:pt x="8966" y="786"/>
                    <a:pt x="8895" y="702"/>
                    <a:pt x="8788" y="702"/>
                  </a:cubicBezTo>
                  <a:lnTo>
                    <a:pt x="1894" y="702"/>
                  </a:lnTo>
                  <a:lnTo>
                    <a:pt x="1894" y="345"/>
                  </a:lnTo>
                  <a:close/>
                  <a:moveTo>
                    <a:pt x="10681" y="6537"/>
                  </a:moveTo>
                  <a:lnTo>
                    <a:pt x="10681" y="6870"/>
                  </a:lnTo>
                  <a:lnTo>
                    <a:pt x="4430" y="6870"/>
                  </a:lnTo>
                  <a:cubicBezTo>
                    <a:pt x="4454" y="6846"/>
                    <a:pt x="4466" y="6798"/>
                    <a:pt x="4466" y="6751"/>
                  </a:cubicBezTo>
                  <a:lnTo>
                    <a:pt x="4466" y="6560"/>
                  </a:lnTo>
                  <a:lnTo>
                    <a:pt x="10562" y="6560"/>
                  </a:lnTo>
                  <a:cubicBezTo>
                    <a:pt x="10598" y="6560"/>
                    <a:pt x="10633" y="6548"/>
                    <a:pt x="10657" y="6537"/>
                  </a:cubicBezTo>
                  <a:close/>
                  <a:moveTo>
                    <a:pt x="2477" y="4524"/>
                  </a:moveTo>
                  <a:lnTo>
                    <a:pt x="2477" y="4763"/>
                  </a:lnTo>
                  <a:cubicBezTo>
                    <a:pt x="2477" y="4834"/>
                    <a:pt x="2537" y="4905"/>
                    <a:pt x="2608" y="4929"/>
                  </a:cubicBezTo>
                  <a:cubicBezTo>
                    <a:pt x="2775" y="4965"/>
                    <a:pt x="2942" y="5024"/>
                    <a:pt x="3073" y="5120"/>
                  </a:cubicBezTo>
                  <a:cubicBezTo>
                    <a:pt x="3099" y="5137"/>
                    <a:pt x="3128" y="5145"/>
                    <a:pt x="3157" y="5145"/>
                  </a:cubicBezTo>
                  <a:cubicBezTo>
                    <a:pt x="3206" y="5145"/>
                    <a:pt x="3253" y="5122"/>
                    <a:pt x="3275" y="5084"/>
                  </a:cubicBezTo>
                  <a:lnTo>
                    <a:pt x="3454" y="4905"/>
                  </a:lnTo>
                  <a:lnTo>
                    <a:pt x="3740" y="5191"/>
                  </a:lnTo>
                  <a:lnTo>
                    <a:pt x="3561" y="5370"/>
                  </a:lnTo>
                  <a:cubicBezTo>
                    <a:pt x="3501" y="5429"/>
                    <a:pt x="3490" y="5525"/>
                    <a:pt x="3537" y="5584"/>
                  </a:cubicBezTo>
                  <a:cubicBezTo>
                    <a:pt x="3620" y="5727"/>
                    <a:pt x="3680" y="5882"/>
                    <a:pt x="3728" y="6036"/>
                  </a:cubicBezTo>
                  <a:cubicBezTo>
                    <a:pt x="3740" y="6120"/>
                    <a:pt x="3811" y="6179"/>
                    <a:pt x="3894" y="6179"/>
                  </a:cubicBezTo>
                  <a:lnTo>
                    <a:pt x="4132" y="6179"/>
                  </a:lnTo>
                  <a:lnTo>
                    <a:pt x="4132" y="6572"/>
                  </a:lnTo>
                  <a:lnTo>
                    <a:pt x="3894" y="6572"/>
                  </a:lnTo>
                  <a:cubicBezTo>
                    <a:pt x="3811" y="6572"/>
                    <a:pt x="3740" y="6632"/>
                    <a:pt x="3728" y="6715"/>
                  </a:cubicBezTo>
                  <a:cubicBezTo>
                    <a:pt x="3680" y="6870"/>
                    <a:pt x="3620" y="7037"/>
                    <a:pt x="3537" y="7168"/>
                  </a:cubicBezTo>
                  <a:cubicBezTo>
                    <a:pt x="3490" y="7251"/>
                    <a:pt x="3501" y="7334"/>
                    <a:pt x="3561" y="7382"/>
                  </a:cubicBezTo>
                  <a:lnTo>
                    <a:pt x="3740" y="7560"/>
                  </a:lnTo>
                  <a:lnTo>
                    <a:pt x="3454" y="7834"/>
                  </a:lnTo>
                  <a:lnTo>
                    <a:pt x="3275" y="7656"/>
                  </a:lnTo>
                  <a:cubicBezTo>
                    <a:pt x="3238" y="7626"/>
                    <a:pt x="3193" y="7606"/>
                    <a:pt x="3149" y="7606"/>
                  </a:cubicBezTo>
                  <a:cubicBezTo>
                    <a:pt x="3122" y="7606"/>
                    <a:pt x="3096" y="7614"/>
                    <a:pt x="3073" y="7632"/>
                  </a:cubicBezTo>
                  <a:cubicBezTo>
                    <a:pt x="2918" y="7727"/>
                    <a:pt x="2775" y="7787"/>
                    <a:pt x="2608" y="7822"/>
                  </a:cubicBezTo>
                  <a:cubicBezTo>
                    <a:pt x="2537" y="7846"/>
                    <a:pt x="2477" y="7918"/>
                    <a:pt x="2477" y="7989"/>
                  </a:cubicBezTo>
                  <a:lnTo>
                    <a:pt x="2477" y="8227"/>
                  </a:lnTo>
                  <a:lnTo>
                    <a:pt x="2073" y="8227"/>
                  </a:lnTo>
                  <a:lnTo>
                    <a:pt x="2073" y="7989"/>
                  </a:lnTo>
                  <a:cubicBezTo>
                    <a:pt x="2073" y="7918"/>
                    <a:pt x="2013" y="7846"/>
                    <a:pt x="1942" y="7822"/>
                  </a:cubicBezTo>
                  <a:cubicBezTo>
                    <a:pt x="1775" y="7787"/>
                    <a:pt x="1608" y="7727"/>
                    <a:pt x="1477" y="7632"/>
                  </a:cubicBezTo>
                  <a:cubicBezTo>
                    <a:pt x="1450" y="7614"/>
                    <a:pt x="1419" y="7606"/>
                    <a:pt x="1390" y="7606"/>
                  </a:cubicBezTo>
                  <a:cubicBezTo>
                    <a:pt x="1342" y="7606"/>
                    <a:pt x="1297" y="7626"/>
                    <a:pt x="1275" y="7656"/>
                  </a:cubicBezTo>
                  <a:lnTo>
                    <a:pt x="1096" y="7834"/>
                  </a:lnTo>
                  <a:lnTo>
                    <a:pt x="811" y="7560"/>
                  </a:lnTo>
                  <a:lnTo>
                    <a:pt x="989" y="7382"/>
                  </a:lnTo>
                  <a:cubicBezTo>
                    <a:pt x="1049" y="7322"/>
                    <a:pt x="1061" y="7227"/>
                    <a:pt x="1013" y="7168"/>
                  </a:cubicBezTo>
                  <a:cubicBezTo>
                    <a:pt x="930" y="7025"/>
                    <a:pt x="870" y="6870"/>
                    <a:pt x="823" y="6715"/>
                  </a:cubicBezTo>
                  <a:cubicBezTo>
                    <a:pt x="811" y="6632"/>
                    <a:pt x="739" y="6572"/>
                    <a:pt x="656" y="6572"/>
                  </a:cubicBezTo>
                  <a:lnTo>
                    <a:pt x="418" y="6572"/>
                  </a:lnTo>
                  <a:lnTo>
                    <a:pt x="418" y="6179"/>
                  </a:lnTo>
                  <a:lnTo>
                    <a:pt x="656" y="6179"/>
                  </a:lnTo>
                  <a:cubicBezTo>
                    <a:pt x="739" y="6179"/>
                    <a:pt x="811" y="6120"/>
                    <a:pt x="823" y="6036"/>
                  </a:cubicBezTo>
                  <a:cubicBezTo>
                    <a:pt x="870" y="5882"/>
                    <a:pt x="930" y="5715"/>
                    <a:pt x="1013" y="5584"/>
                  </a:cubicBezTo>
                  <a:cubicBezTo>
                    <a:pt x="1061" y="5501"/>
                    <a:pt x="1049" y="5417"/>
                    <a:pt x="989" y="5370"/>
                  </a:cubicBezTo>
                  <a:lnTo>
                    <a:pt x="811" y="5191"/>
                  </a:lnTo>
                  <a:lnTo>
                    <a:pt x="1096" y="4905"/>
                  </a:lnTo>
                  <a:lnTo>
                    <a:pt x="1275" y="5084"/>
                  </a:lnTo>
                  <a:cubicBezTo>
                    <a:pt x="1313" y="5122"/>
                    <a:pt x="1360" y="5145"/>
                    <a:pt x="1405" y="5145"/>
                  </a:cubicBezTo>
                  <a:cubicBezTo>
                    <a:pt x="1430" y="5145"/>
                    <a:pt x="1456" y="5137"/>
                    <a:pt x="1477" y="5120"/>
                  </a:cubicBezTo>
                  <a:cubicBezTo>
                    <a:pt x="1632" y="5024"/>
                    <a:pt x="1775" y="4965"/>
                    <a:pt x="1942" y="4929"/>
                  </a:cubicBezTo>
                  <a:cubicBezTo>
                    <a:pt x="2013" y="4905"/>
                    <a:pt x="2073" y="4834"/>
                    <a:pt x="2073" y="4763"/>
                  </a:cubicBezTo>
                  <a:lnTo>
                    <a:pt x="2073" y="4524"/>
                  </a:lnTo>
                  <a:close/>
                  <a:moveTo>
                    <a:pt x="1715" y="0"/>
                  </a:moveTo>
                  <a:cubicBezTo>
                    <a:pt x="1632" y="0"/>
                    <a:pt x="1537" y="71"/>
                    <a:pt x="1537" y="179"/>
                  </a:cubicBezTo>
                  <a:lnTo>
                    <a:pt x="1537" y="881"/>
                  </a:lnTo>
                  <a:cubicBezTo>
                    <a:pt x="1537" y="964"/>
                    <a:pt x="1608" y="1060"/>
                    <a:pt x="1715" y="1060"/>
                  </a:cubicBezTo>
                  <a:lnTo>
                    <a:pt x="1835" y="1060"/>
                  </a:lnTo>
                  <a:lnTo>
                    <a:pt x="1835" y="4155"/>
                  </a:lnTo>
                  <a:cubicBezTo>
                    <a:pt x="1751" y="4167"/>
                    <a:pt x="1692" y="4239"/>
                    <a:pt x="1692" y="4310"/>
                  </a:cubicBezTo>
                  <a:lnTo>
                    <a:pt x="1692" y="4596"/>
                  </a:lnTo>
                  <a:cubicBezTo>
                    <a:pt x="1585" y="4632"/>
                    <a:pt x="1477" y="4667"/>
                    <a:pt x="1370" y="4727"/>
                  </a:cubicBezTo>
                  <a:lnTo>
                    <a:pt x="1168" y="4524"/>
                  </a:lnTo>
                  <a:cubicBezTo>
                    <a:pt x="1132" y="4489"/>
                    <a:pt x="1096" y="4477"/>
                    <a:pt x="1049" y="4477"/>
                  </a:cubicBezTo>
                  <a:cubicBezTo>
                    <a:pt x="1001" y="4477"/>
                    <a:pt x="953" y="4489"/>
                    <a:pt x="930" y="4524"/>
                  </a:cubicBezTo>
                  <a:lnTo>
                    <a:pt x="394" y="5060"/>
                  </a:lnTo>
                  <a:cubicBezTo>
                    <a:pt x="322" y="5132"/>
                    <a:pt x="322" y="5239"/>
                    <a:pt x="394" y="5310"/>
                  </a:cubicBezTo>
                  <a:lnTo>
                    <a:pt x="596" y="5525"/>
                  </a:lnTo>
                  <a:cubicBezTo>
                    <a:pt x="537" y="5620"/>
                    <a:pt x="501" y="5727"/>
                    <a:pt x="465" y="5834"/>
                  </a:cubicBezTo>
                  <a:lnTo>
                    <a:pt x="180" y="5834"/>
                  </a:lnTo>
                  <a:cubicBezTo>
                    <a:pt x="96" y="5834"/>
                    <a:pt x="1" y="5906"/>
                    <a:pt x="1" y="6013"/>
                  </a:cubicBezTo>
                  <a:lnTo>
                    <a:pt x="1" y="6751"/>
                  </a:lnTo>
                  <a:cubicBezTo>
                    <a:pt x="1" y="6846"/>
                    <a:pt x="84" y="6929"/>
                    <a:pt x="180" y="6929"/>
                  </a:cubicBezTo>
                  <a:lnTo>
                    <a:pt x="465" y="6929"/>
                  </a:lnTo>
                  <a:cubicBezTo>
                    <a:pt x="501" y="7037"/>
                    <a:pt x="537" y="7144"/>
                    <a:pt x="596" y="7251"/>
                  </a:cubicBezTo>
                  <a:lnTo>
                    <a:pt x="394" y="7453"/>
                  </a:lnTo>
                  <a:cubicBezTo>
                    <a:pt x="322" y="7525"/>
                    <a:pt x="322" y="7632"/>
                    <a:pt x="394" y="7703"/>
                  </a:cubicBezTo>
                  <a:lnTo>
                    <a:pt x="930" y="8239"/>
                  </a:lnTo>
                  <a:cubicBezTo>
                    <a:pt x="965" y="8281"/>
                    <a:pt x="1010" y="8302"/>
                    <a:pt x="1055" y="8302"/>
                  </a:cubicBezTo>
                  <a:cubicBezTo>
                    <a:pt x="1099" y="8302"/>
                    <a:pt x="1144" y="8281"/>
                    <a:pt x="1180" y="8239"/>
                  </a:cubicBezTo>
                  <a:lnTo>
                    <a:pt x="1394" y="8037"/>
                  </a:lnTo>
                  <a:cubicBezTo>
                    <a:pt x="1489" y="8096"/>
                    <a:pt x="1596" y="8144"/>
                    <a:pt x="1704" y="8168"/>
                  </a:cubicBezTo>
                  <a:lnTo>
                    <a:pt x="1704" y="8453"/>
                  </a:lnTo>
                  <a:cubicBezTo>
                    <a:pt x="1704" y="8537"/>
                    <a:pt x="1775" y="8632"/>
                    <a:pt x="1882" y="8632"/>
                  </a:cubicBezTo>
                  <a:lnTo>
                    <a:pt x="2620" y="8632"/>
                  </a:lnTo>
                  <a:cubicBezTo>
                    <a:pt x="2716" y="8632"/>
                    <a:pt x="2799" y="8549"/>
                    <a:pt x="2799" y="8453"/>
                  </a:cubicBezTo>
                  <a:lnTo>
                    <a:pt x="2799" y="8168"/>
                  </a:lnTo>
                  <a:cubicBezTo>
                    <a:pt x="2906" y="8144"/>
                    <a:pt x="3013" y="8096"/>
                    <a:pt x="3120" y="8037"/>
                  </a:cubicBezTo>
                  <a:lnTo>
                    <a:pt x="3323" y="8239"/>
                  </a:lnTo>
                  <a:cubicBezTo>
                    <a:pt x="3359" y="8281"/>
                    <a:pt x="3403" y="8302"/>
                    <a:pt x="3448" y="8302"/>
                  </a:cubicBezTo>
                  <a:cubicBezTo>
                    <a:pt x="3492" y="8302"/>
                    <a:pt x="3537" y="8281"/>
                    <a:pt x="3573" y="8239"/>
                  </a:cubicBezTo>
                  <a:lnTo>
                    <a:pt x="4109" y="7703"/>
                  </a:lnTo>
                  <a:cubicBezTo>
                    <a:pt x="4192" y="7632"/>
                    <a:pt x="4192" y="7525"/>
                    <a:pt x="4109" y="7453"/>
                  </a:cubicBezTo>
                  <a:lnTo>
                    <a:pt x="3906" y="7251"/>
                  </a:lnTo>
                  <a:cubicBezTo>
                    <a:pt x="3906" y="7227"/>
                    <a:pt x="3918" y="7227"/>
                    <a:pt x="3918" y="7215"/>
                  </a:cubicBezTo>
                  <a:lnTo>
                    <a:pt x="10871" y="7215"/>
                  </a:lnTo>
                  <a:cubicBezTo>
                    <a:pt x="10955" y="7215"/>
                    <a:pt x="11050" y="7144"/>
                    <a:pt x="11050" y="7037"/>
                  </a:cubicBezTo>
                  <a:lnTo>
                    <a:pt x="11050" y="6358"/>
                  </a:lnTo>
                  <a:cubicBezTo>
                    <a:pt x="11050" y="6263"/>
                    <a:pt x="10979" y="6179"/>
                    <a:pt x="10871" y="6179"/>
                  </a:cubicBezTo>
                  <a:lnTo>
                    <a:pt x="10752" y="6179"/>
                  </a:lnTo>
                  <a:lnTo>
                    <a:pt x="10752" y="1060"/>
                  </a:lnTo>
                  <a:lnTo>
                    <a:pt x="10836" y="1060"/>
                  </a:lnTo>
                  <a:cubicBezTo>
                    <a:pt x="10931" y="1060"/>
                    <a:pt x="11014" y="976"/>
                    <a:pt x="11014" y="881"/>
                  </a:cubicBezTo>
                  <a:lnTo>
                    <a:pt x="11014" y="179"/>
                  </a:lnTo>
                  <a:cubicBezTo>
                    <a:pt x="11014" y="83"/>
                    <a:pt x="10943" y="0"/>
                    <a:pt x="108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9" name="Google Shape;13579;p64"/>
            <p:cNvSpPr/>
            <p:nvPr/>
          </p:nvSpPr>
          <p:spPr>
            <a:xfrm>
              <a:off x="5784799" y="2125234"/>
              <a:ext cx="33390" cy="70503"/>
            </a:xfrm>
            <a:custGeom>
              <a:avLst/>
              <a:gdLst/>
              <a:ahLst/>
              <a:cxnLst/>
              <a:rect l="l" t="t" r="r" b="b"/>
              <a:pathLst>
                <a:path w="1049" h="2215" extrusionOk="0">
                  <a:moveTo>
                    <a:pt x="691" y="334"/>
                  </a:moveTo>
                  <a:lnTo>
                    <a:pt x="691" y="1858"/>
                  </a:lnTo>
                  <a:lnTo>
                    <a:pt x="334" y="1858"/>
                  </a:lnTo>
                  <a:lnTo>
                    <a:pt x="334" y="334"/>
                  </a:lnTo>
                  <a:close/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lnTo>
                    <a:pt x="1" y="2036"/>
                  </a:lnTo>
                  <a:cubicBezTo>
                    <a:pt x="1" y="2120"/>
                    <a:pt x="72" y="2215"/>
                    <a:pt x="179" y="2215"/>
                  </a:cubicBezTo>
                  <a:lnTo>
                    <a:pt x="870" y="2215"/>
                  </a:lnTo>
                  <a:cubicBezTo>
                    <a:pt x="965" y="2215"/>
                    <a:pt x="1049" y="2144"/>
                    <a:pt x="1049" y="2036"/>
                  </a:cubicBezTo>
                  <a:lnTo>
                    <a:pt x="1049" y="179"/>
                  </a:lnTo>
                  <a:cubicBezTo>
                    <a:pt x="1049" y="72"/>
                    <a:pt x="965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0" name="Google Shape;13580;p64"/>
            <p:cNvSpPr/>
            <p:nvPr/>
          </p:nvSpPr>
          <p:spPr>
            <a:xfrm>
              <a:off x="5824236" y="2097956"/>
              <a:ext cx="33740" cy="97782"/>
            </a:xfrm>
            <a:custGeom>
              <a:avLst/>
              <a:gdLst/>
              <a:ahLst/>
              <a:cxnLst/>
              <a:rect l="l" t="t" r="r" b="b"/>
              <a:pathLst>
                <a:path w="1060" h="3072" extrusionOk="0">
                  <a:moveTo>
                    <a:pt x="703" y="345"/>
                  </a:moveTo>
                  <a:lnTo>
                    <a:pt x="703" y="2715"/>
                  </a:lnTo>
                  <a:lnTo>
                    <a:pt x="345" y="2715"/>
                  </a:lnTo>
                  <a:lnTo>
                    <a:pt x="345" y="345"/>
                  </a:lnTo>
                  <a:close/>
                  <a:moveTo>
                    <a:pt x="179" y="0"/>
                  </a:moveTo>
                  <a:cubicBezTo>
                    <a:pt x="95" y="0"/>
                    <a:pt x="0" y="84"/>
                    <a:pt x="0" y="179"/>
                  </a:cubicBezTo>
                  <a:lnTo>
                    <a:pt x="0" y="2893"/>
                  </a:lnTo>
                  <a:cubicBezTo>
                    <a:pt x="0" y="2977"/>
                    <a:pt x="83" y="3072"/>
                    <a:pt x="179" y="3072"/>
                  </a:cubicBezTo>
                  <a:lnTo>
                    <a:pt x="881" y="3072"/>
                  </a:lnTo>
                  <a:cubicBezTo>
                    <a:pt x="976" y="3072"/>
                    <a:pt x="1060" y="3001"/>
                    <a:pt x="1060" y="2893"/>
                  </a:cubicBezTo>
                  <a:lnTo>
                    <a:pt x="1060" y="179"/>
                  </a:lnTo>
                  <a:cubicBezTo>
                    <a:pt x="1048" y="84"/>
                    <a:pt x="976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1" name="Google Shape;13581;p64"/>
            <p:cNvSpPr/>
            <p:nvPr/>
          </p:nvSpPr>
          <p:spPr>
            <a:xfrm>
              <a:off x="5864024" y="2111961"/>
              <a:ext cx="33740" cy="83426"/>
            </a:xfrm>
            <a:custGeom>
              <a:avLst/>
              <a:gdLst/>
              <a:ahLst/>
              <a:cxnLst/>
              <a:rect l="l" t="t" r="r" b="b"/>
              <a:pathLst>
                <a:path w="1060" h="2621" extrusionOk="0">
                  <a:moveTo>
                    <a:pt x="703" y="358"/>
                  </a:moveTo>
                  <a:lnTo>
                    <a:pt x="703" y="2275"/>
                  </a:lnTo>
                  <a:lnTo>
                    <a:pt x="346" y="2275"/>
                  </a:lnTo>
                  <a:lnTo>
                    <a:pt x="346" y="358"/>
                  </a:lnTo>
                  <a:close/>
                  <a:moveTo>
                    <a:pt x="191" y="1"/>
                  </a:moveTo>
                  <a:cubicBezTo>
                    <a:pt x="96" y="1"/>
                    <a:pt x="0" y="72"/>
                    <a:pt x="0" y="179"/>
                  </a:cubicBezTo>
                  <a:lnTo>
                    <a:pt x="0" y="2442"/>
                  </a:lnTo>
                  <a:cubicBezTo>
                    <a:pt x="0" y="2525"/>
                    <a:pt x="84" y="2620"/>
                    <a:pt x="191" y="2620"/>
                  </a:cubicBezTo>
                  <a:lnTo>
                    <a:pt x="881" y="2620"/>
                  </a:lnTo>
                  <a:cubicBezTo>
                    <a:pt x="977" y="2620"/>
                    <a:pt x="1060" y="2537"/>
                    <a:pt x="1060" y="2442"/>
                  </a:cubicBezTo>
                  <a:lnTo>
                    <a:pt x="1060" y="179"/>
                  </a:lnTo>
                  <a:cubicBezTo>
                    <a:pt x="1048" y="84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2" name="Google Shape;13582;p64"/>
            <p:cNvSpPr/>
            <p:nvPr/>
          </p:nvSpPr>
          <p:spPr>
            <a:xfrm>
              <a:off x="5904193" y="2065744"/>
              <a:ext cx="33390" cy="129644"/>
            </a:xfrm>
            <a:custGeom>
              <a:avLst/>
              <a:gdLst/>
              <a:ahLst/>
              <a:cxnLst/>
              <a:rect l="l" t="t" r="r" b="b"/>
              <a:pathLst>
                <a:path w="1049" h="4073" extrusionOk="0">
                  <a:moveTo>
                    <a:pt x="691" y="357"/>
                  </a:moveTo>
                  <a:lnTo>
                    <a:pt x="691" y="3727"/>
                  </a:lnTo>
                  <a:lnTo>
                    <a:pt x="334" y="3727"/>
                  </a:lnTo>
                  <a:lnTo>
                    <a:pt x="334" y="357"/>
                  </a:lnTo>
                  <a:close/>
                  <a:moveTo>
                    <a:pt x="179" y="0"/>
                  </a:moveTo>
                  <a:cubicBezTo>
                    <a:pt x="72" y="24"/>
                    <a:pt x="0" y="95"/>
                    <a:pt x="0" y="179"/>
                  </a:cubicBezTo>
                  <a:lnTo>
                    <a:pt x="0" y="3894"/>
                  </a:lnTo>
                  <a:cubicBezTo>
                    <a:pt x="0" y="3977"/>
                    <a:pt x="72" y="4072"/>
                    <a:pt x="179" y="4072"/>
                  </a:cubicBezTo>
                  <a:lnTo>
                    <a:pt x="870" y="4072"/>
                  </a:lnTo>
                  <a:cubicBezTo>
                    <a:pt x="965" y="4072"/>
                    <a:pt x="1048" y="3989"/>
                    <a:pt x="1048" y="3894"/>
                  </a:cubicBezTo>
                  <a:lnTo>
                    <a:pt x="1048" y="179"/>
                  </a:lnTo>
                  <a:cubicBezTo>
                    <a:pt x="1048" y="95"/>
                    <a:pt x="977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3" name="Google Shape;13583;p64"/>
            <p:cNvSpPr/>
            <p:nvPr/>
          </p:nvSpPr>
          <p:spPr>
            <a:xfrm>
              <a:off x="5713563" y="2080131"/>
              <a:ext cx="40965" cy="11395"/>
            </a:xfrm>
            <a:custGeom>
              <a:avLst/>
              <a:gdLst/>
              <a:ahLst/>
              <a:cxnLst/>
              <a:rect l="l" t="t" r="r" b="b"/>
              <a:pathLst>
                <a:path w="1287" h="358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cubicBezTo>
                    <a:pt x="12" y="263"/>
                    <a:pt x="96" y="358"/>
                    <a:pt x="179" y="358"/>
                  </a:cubicBezTo>
                  <a:lnTo>
                    <a:pt x="1108" y="358"/>
                  </a:lnTo>
                  <a:cubicBezTo>
                    <a:pt x="1191" y="358"/>
                    <a:pt x="1286" y="286"/>
                    <a:pt x="1286" y="179"/>
                  </a:cubicBezTo>
                  <a:cubicBezTo>
                    <a:pt x="1286" y="72"/>
                    <a:pt x="1203" y="1"/>
                    <a:pt x="1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4" name="Google Shape;13584;p64"/>
            <p:cNvSpPr/>
            <p:nvPr/>
          </p:nvSpPr>
          <p:spPr>
            <a:xfrm>
              <a:off x="5713945" y="2097574"/>
              <a:ext cx="56880" cy="11395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74"/>
                    <a:pt x="84" y="357"/>
                    <a:pt x="179" y="357"/>
                  </a:cubicBezTo>
                  <a:lnTo>
                    <a:pt x="1608" y="357"/>
                  </a:lnTo>
                  <a:cubicBezTo>
                    <a:pt x="1703" y="357"/>
                    <a:pt x="1786" y="286"/>
                    <a:pt x="1786" y="179"/>
                  </a:cubicBezTo>
                  <a:cubicBezTo>
                    <a:pt x="1774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5" name="Google Shape;13585;p64"/>
            <p:cNvSpPr/>
            <p:nvPr/>
          </p:nvSpPr>
          <p:spPr>
            <a:xfrm>
              <a:off x="5713945" y="2114985"/>
              <a:ext cx="56880" cy="11427"/>
            </a:xfrm>
            <a:custGeom>
              <a:avLst/>
              <a:gdLst/>
              <a:ahLst/>
              <a:cxnLst/>
              <a:rect l="l" t="t" r="r" b="b"/>
              <a:pathLst>
                <a:path w="1787" h="359" extrusionOk="0">
                  <a:moveTo>
                    <a:pt x="179" y="1"/>
                  </a:moveTo>
                  <a:cubicBezTo>
                    <a:pt x="96" y="1"/>
                    <a:pt x="0" y="84"/>
                    <a:pt x="0" y="180"/>
                  </a:cubicBezTo>
                  <a:cubicBezTo>
                    <a:pt x="0" y="275"/>
                    <a:pt x="84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7"/>
                    <a:pt x="1786" y="180"/>
                  </a:cubicBezTo>
                  <a:cubicBezTo>
                    <a:pt x="1774" y="84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6" name="Google Shape;13586;p64"/>
            <p:cNvSpPr/>
            <p:nvPr/>
          </p:nvSpPr>
          <p:spPr>
            <a:xfrm>
              <a:off x="5713945" y="2132810"/>
              <a:ext cx="56880" cy="11013"/>
            </a:xfrm>
            <a:custGeom>
              <a:avLst/>
              <a:gdLst/>
              <a:ahLst/>
              <a:cxnLst/>
              <a:rect l="l" t="t" r="r" b="b"/>
              <a:pathLst>
                <a:path w="1787" h="346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46"/>
                    <a:pt x="179" y="346"/>
                  </a:cubicBezTo>
                  <a:lnTo>
                    <a:pt x="1608" y="346"/>
                  </a:lnTo>
                  <a:cubicBezTo>
                    <a:pt x="1703" y="346"/>
                    <a:pt x="1786" y="274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7" name="Google Shape;13587;p64"/>
            <p:cNvSpPr/>
            <p:nvPr/>
          </p:nvSpPr>
          <p:spPr>
            <a:xfrm>
              <a:off x="5663526" y="2182464"/>
              <a:ext cx="69389" cy="68625"/>
            </a:xfrm>
            <a:custGeom>
              <a:avLst/>
              <a:gdLst/>
              <a:ahLst/>
              <a:cxnLst/>
              <a:rect l="l" t="t" r="r" b="b"/>
              <a:pathLst>
                <a:path w="2180" h="2156" extrusionOk="0">
                  <a:moveTo>
                    <a:pt x="1084" y="0"/>
                  </a:moveTo>
                  <a:cubicBezTo>
                    <a:pt x="489" y="0"/>
                    <a:pt x="1" y="488"/>
                    <a:pt x="1" y="1084"/>
                  </a:cubicBezTo>
                  <a:cubicBezTo>
                    <a:pt x="1" y="1322"/>
                    <a:pt x="72" y="1548"/>
                    <a:pt x="215" y="1739"/>
                  </a:cubicBezTo>
                  <a:cubicBezTo>
                    <a:pt x="250" y="1780"/>
                    <a:pt x="300" y="1806"/>
                    <a:pt x="351" y="1806"/>
                  </a:cubicBezTo>
                  <a:cubicBezTo>
                    <a:pt x="387" y="1806"/>
                    <a:pt x="423" y="1792"/>
                    <a:pt x="453" y="1762"/>
                  </a:cubicBezTo>
                  <a:cubicBezTo>
                    <a:pt x="537" y="1715"/>
                    <a:pt x="549" y="1608"/>
                    <a:pt x="489" y="1524"/>
                  </a:cubicBezTo>
                  <a:cubicBezTo>
                    <a:pt x="382" y="1393"/>
                    <a:pt x="334" y="1250"/>
                    <a:pt x="334" y="1084"/>
                  </a:cubicBezTo>
                  <a:cubicBezTo>
                    <a:pt x="334" y="679"/>
                    <a:pt x="668" y="334"/>
                    <a:pt x="1084" y="334"/>
                  </a:cubicBezTo>
                  <a:cubicBezTo>
                    <a:pt x="1489" y="334"/>
                    <a:pt x="1823" y="667"/>
                    <a:pt x="1823" y="1084"/>
                  </a:cubicBezTo>
                  <a:cubicBezTo>
                    <a:pt x="1823" y="1334"/>
                    <a:pt x="1703" y="1560"/>
                    <a:pt x="1501" y="1691"/>
                  </a:cubicBezTo>
                  <a:cubicBezTo>
                    <a:pt x="1489" y="1691"/>
                    <a:pt x="1489" y="1715"/>
                    <a:pt x="1465" y="1715"/>
                  </a:cubicBezTo>
                  <a:lnTo>
                    <a:pt x="1453" y="1715"/>
                  </a:lnTo>
                  <a:lnTo>
                    <a:pt x="1442" y="1727"/>
                  </a:lnTo>
                  <a:lnTo>
                    <a:pt x="1430" y="1727"/>
                  </a:lnTo>
                  <a:cubicBezTo>
                    <a:pt x="1406" y="1727"/>
                    <a:pt x="1406" y="1739"/>
                    <a:pt x="1394" y="1739"/>
                  </a:cubicBezTo>
                  <a:cubicBezTo>
                    <a:pt x="1382" y="1739"/>
                    <a:pt x="1382" y="1751"/>
                    <a:pt x="1370" y="1751"/>
                  </a:cubicBezTo>
                  <a:lnTo>
                    <a:pt x="1346" y="1751"/>
                  </a:lnTo>
                  <a:cubicBezTo>
                    <a:pt x="1346" y="1751"/>
                    <a:pt x="1334" y="1751"/>
                    <a:pt x="1334" y="1774"/>
                  </a:cubicBezTo>
                  <a:lnTo>
                    <a:pt x="1322" y="1774"/>
                  </a:lnTo>
                  <a:cubicBezTo>
                    <a:pt x="1311" y="1774"/>
                    <a:pt x="1311" y="1774"/>
                    <a:pt x="1287" y="1786"/>
                  </a:cubicBezTo>
                  <a:cubicBezTo>
                    <a:pt x="1275" y="1786"/>
                    <a:pt x="1275" y="1786"/>
                    <a:pt x="1263" y="1798"/>
                  </a:cubicBezTo>
                  <a:lnTo>
                    <a:pt x="834" y="1798"/>
                  </a:lnTo>
                  <a:cubicBezTo>
                    <a:pt x="811" y="1798"/>
                    <a:pt x="811" y="1798"/>
                    <a:pt x="799" y="1786"/>
                  </a:cubicBezTo>
                  <a:cubicBezTo>
                    <a:pt x="787" y="1786"/>
                    <a:pt x="787" y="1786"/>
                    <a:pt x="775" y="1774"/>
                  </a:cubicBezTo>
                  <a:lnTo>
                    <a:pt x="751" y="1774"/>
                  </a:lnTo>
                  <a:cubicBezTo>
                    <a:pt x="732" y="1766"/>
                    <a:pt x="712" y="1762"/>
                    <a:pt x="691" y="1762"/>
                  </a:cubicBezTo>
                  <a:cubicBezTo>
                    <a:pt x="623" y="1762"/>
                    <a:pt x="555" y="1805"/>
                    <a:pt x="537" y="1870"/>
                  </a:cubicBezTo>
                  <a:cubicBezTo>
                    <a:pt x="501" y="1965"/>
                    <a:pt x="549" y="2072"/>
                    <a:pt x="632" y="2096"/>
                  </a:cubicBezTo>
                  <a:lnTo>
                    <a:pt x="656" y="2096"/>
                  </a:lnTo>
                  <a:cubicBezTo>
                    <a:pt x="668" y="2096"/>
                    <a:pt x="680" y="2108"/>
                    <a:pt x="691" y="2108"/>
                  </a:cubicBezTo>
                  <a:cubicBezTo>
                    <a:pt x="715" y="2108"/>
                    <a:pt x="727" y="2132"/>
                    <a:pt x="739" y="2132"/>
                  </a:cubicBezTo>
                  <a:lnTo>
                    <a:pt x="751" y="2132"/>
                  </a:lnTo>
                  <a:cubicBezTo>
                    <a:pt x="775" y="2132"/>
                    <a:pt x="787" y="2132"/>
                    <a:pt x="787" y="2143"/>
                  </a:cubicBezTo>
                  <a:lnTo>
                    <a:pt x="799" y="2143"/>
                  </a:lnTo>
                  <a:cubicBezTo>
                    <a:pt x="811" y="2143"/>
                    <a:pt x="834" y="2143"/>
                    <a:pt x="846" y="2155"/>
                  </a:cubicBezTo>
                  <a:lnTo>
                    <a:pt x="1156" y="2155"/>
                  </a:lnTo>
                  <a:cubicBezTo>
                    <a:pt x="1168" y="2155"/>
                    <a:pt x="1180" y="2155"/>
                    <a:pt x="1203" y="2143"/>
                  </a:cubicBezTo>
                  <a:lnTo>
                    <a:pt x="1215" y="2143"/>
                  </a:lnTo>
                  <a:cubicBezTo>
                    <a:pt x="1227" y="2143"/>
                    <a:pt x="1239" y="2143"/>
                    <a:pt x="1239" y="2132"/>
                  </a:cubicBezTo>
                  <a:lnTo>
                    <a:pt x="1263" y="2132"/>
                  </a:lnTo>
                  <a:cubicBezTo>
                    <a:pt x="1275" y="2132"/>
                    <a:pt x="1287" y="2108"/>
                    <a:pt x="1299" y="2108"/>
                  </a:cubicBezTo>
                  <a:cubicBezTo>
                    <a:pt x="1322" y="2108"/>
                    <a:pt x="1334" y="2096"/>
                    <a:pt x="1346" y="2096"/>
                  </a:cubicBezTo>
                  <a:lnTo>
                    <a:pt x="1358" y="2096"/>
                  </a:lnTo>
                  <a:cubicBezTo>
                    <a:pt x="1382" y="2096"/>
                    <a:pt x="1382" y="2084"/>
                    <a:pt x="1394" y="2084"/>
                  </a:cubicBezTo>
                  <a:lnTo>
                    <a:pt x="1406" y="2084"/>
                  </a:lnTo>
                  <a:cubicBezTo>
                    <a:pt x="1418" y="2084"/>
                    <a:pt x="1442" y="2072"/>
                    <a:pt x="1453" y="2072"/>
                  </a:cubicBezTo>
                  <a:cubicBezTo>
                    <a:pt x="1465" y="2072"/>
                    <a:pt x="1477" y="2048"/>
                    <a:pt x="1501" y="2048"/>
                  </a:cubicBezTo>
                  <a:lnTo>
                    <a:pt x="1513" y="2048"/>
                  </a:lnTo>
                  <a:cubicBezTo>
                    <a:pt x="1525" y="2048"/>
                    <a:pt x="1525" y="2036"/>
                    <a:pt x="1537" y="2036"/>
                  </a:cubicBezTo>
                  <a:lnTo>
                    <a:pt x="1561" y="2036"/>
                  </a:lnTo>
                  <a:cubicBezTo>
                    <a:pt x="1573" y="2024"/>
                    <a:pt x="1584" y="2024"/>
                    <a:pt x="1596" y="2012"/>
                  </a:cubicBezTo>
                  <a:cubicBezTo>
                    <a:pt x="1894" y="1798"/>
                    <a:pt x="2073" y="1465"/>
                    <a:pt x="2073" y="1096"/>
                  </a:cubicBezTo>
                  <a:cubicBezTo>
                    <a:pt x="2180" y="488"/>
                    <a:pt x="1692" y="0"/>
                    <a:pt x="1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88" name="Google Shape;13588;p64"/>
          <p:cNvGrpSpPr/>
          <p:nvPr/>
        </p:nvGrpSpPr>
        <p:grpSpPr>
          <a:xfrm>
            <a:off x="7576605" y="1983877"/>
            <a:ext cx="276698" cy="333133"/>
            <a:chOff x="7576605" y="1983877"/>
            <a:chExt cx="276698" cy="333133"/>
          </a:xfrm>
        </p:grpSpPr>
        <p:sp>
          <p:nvSpPr>
            <p:cNvPr id="13589" name="Google Shape;13589;p64"/>
            <p:cNvSpPr/>
            <p:nvPr/>
          </p:nvSpPr>
          <p:spPr>
            <a:xfrm>
              <a:off x="7576605" y="1983877"/>
              <a:ext cx="276698" cy="333133"/>
            </a:xfrm>
            <a:custGeom>
              <a:avLst/>
              <a:gdLst/>
              <a:ahLst/>
              <a:cxnLst/>
              <a:rect l="l" t="t" r="r" b="b"/>
              <a:pathLst>
                <a:path w="8693" h="10466" extrusionOk="0">
                  <a:moveTo>
                    <a:pt x="417" y="1024"/>
                  </a:moveTo>
                  <a:cubicBezTo>
                    <a:pt x="655" y="1024"/>
                    <a:pt x="894" y="1143"/>
                    <a:pt x="1036" y="1358"/>
                  </a:cubicBezTo>
                  <a:lnTo>
                    <a:pt x="1156" y="1536"/>
                  </a:lnTo>
                  <a:cubicBezTo>
                    <a:pt x="1275" y="1715"/>
                    <a:pt x="1477" y="1822"/>
                    <a:pt x="1703" y="1822"/>
                  </a:cubicBezTo>
                  <a:lnTo>
                    <a:pt x="1703" y="2477"/>
                  </a:lnTo>
                  <a:cubicBezTo>
                    <a:pt x="1703" y="2941"/>
                    <a:pt x="1775" y="3406"/>
                    <a:pt x="1906" y="3834"/>
                  </a:cubicBezTo>
                  <a:cubicBezTo>
                    <a:pt x="1810" y="3763"/>
                    <a:pt x="1656" y="3703"/>
                    <a:pt x="1513" y="3644"/>
                  </a:cubicBezTo>
                  <a:cubicBezTo>
                    <a:pt x="1215" y="3525"/>
                    <a:pt x="894" y="3394"/>
                    <a:pt x="655" y="3144"/>
                  </a:cubicBezTo>
                  <a:cubicBezTo>
                    <a:pt x="394" y="2846"/>
                    <a:pt x="274" y="2417"/>
                    <a:pt x="274" y="1822"/>
                  </a:cubicBezTo>
                  <a:lnTo>
                    <a:pt x="274" y="1179"/>
                  </a:lnTo>
                  <a:cubicBezTo>
                    <a:pt x="274" y="1132"/>
                    <a:pt x="286" y="1108"/>
                    <a:pt x="322" y="1072"/>
                  </a:cubicBezTo>
                  <a:cubicBezTo>
                    <a:pt x="346" y="1048"/>
                    <a:pt x="394" y="1024"/>
                    <a:pt x="417" y="1024"/>
                  </a:cubicBezTo>
                  <a:close/>
                  <a:moveTo>
                    <a:pt x="8204" y="1024"/>
                  </a:moveTo>
                  <a:cubicBezTo>
                    <a:pt x="8252" y="1024"/>
                    <a:pt x="8275" y="1048"/>
                    <a:pt x="8311" y="1072"/>
                  </a:cubicBezTo>
                  <a:cubicBezTo>
                    <a:pt x="8335" y="1108"/>
                    <a:pt x="8359" y="1143"/>
                    <a:pt x="8359" y="1179"/>
                  </a:cubicBezTo>
                  <a:lnTo>
                    <a:pt x="8359" y="1822"/>
                  </a:lnTo>
                  <a:lnTo>
                    <a:pt x="8383" y="1822"/>
                  </a:lnTo>
                  <a:cubicBezTo>
                    <a:pt x="8383" y="2417"/>
                    <a:pt x="8252" y="2858"/>
                    <a:pt x="8002" y="3144"/>
                  </a:cubicBezTo>
                  <a:cubicBezTo>
                    <a:pt x="7775" y="3394"/>
                    <a:pt x="7466" y="3525"/>
                    <a:pt x="7144" y="3644"/>
                  </a:cubicBezTo>
                  <a:cubicBezTo>
                    <a:pt x="7002" y="3703"/>
                    <a:pt x="6871" y="3763"/>
                    <a:pt x="6716" y="3834"/>
                  </a:cubicBezTo>
                  <a:cubicBezTo>
                    <a:pt x="6847" y="3394"/>
                    <a:pt x="6930" y="2929"/>
                    <a:pt x="6930" y="2477"/>
                  </a:cubicBezTo>
                  <a:lnTo>
                    <a:pt x="6930" y="1822"/>
                  </a:lnTo>
                  <a:cubicBezTo>
                    <a:pt x="7144" y="1822"/>
                    <a:pt x="7359" y="1715"/>
                    <a:pt x="7478" y="1536"/>
                  </a:cubicBezTo>
                  <a:lnTo>
                    <a:pt x="7597" y="1358"/>
                  </a:lnTo>
                  <a:cubicBezTo>
                    <a:pt x="7728" y="1167"/>
                    <a:pt x="7966" y="1024"/>
                    <a:pt x="8204" y="1024"/>
                  </a:cubicBezTo>
                  <a:close/>
                  <a:moveTo>
                    <a:pt x="6954" y="334"/>
                  </a:moveTo>
                  <a:lnTo>
                    <a:pt x="6954" y="703"/>
                  </a:lnTo>
                  <a:lnTo>
                    <a:pt x="5632" y="703"/>
                  </a:lnTo>
                  <a:cubicBezTo>
                    <a:pt x="5537" y="703"/>
                    <a:pt x="5478" y="774"/>
                    <a:pt x="5478" y="846"/>
                  </a:cubicBezTo>
                  <a:cubicBezTo>
                    <a:pt x="5478" y="929"/>
                    <a:pt x="5561" y="1001"/>
                    <a:pt x="5632" y="1001"/>
                  </a:cubicBezTo>
                  <a:lnTo>
                    <a:pt x="6632" y="1001"/>
                  </a:lnTo>
                  <a:lnTo>
                    <a:pt x="6632" y="2477"/>
                  </a:lnTo>
                  <a:cubicBezTo>
                    <a:pt x="6632" y="3810"/>
                    <a:pt x="5989" y="5072"/>
                    <a:pt x="4906" y="5882"/>
                  </a:cubicBezTo>
                  <a:lnTo>
                    <a:pt x="4799" y="5954"/>
                  </a:lnTo>
                  <a:cubicBezTo>
                    <a:pt x="4763" y="5954"/>
                    <a:pt x="4739" y="5942"/>
                    <a:pt x="4704" y="5942"/>
                  </a:cubicBezTo>
                  <a:lnTo>
                    <a:pt x="3954" y="5942"/>
                  </a:lnTo>
                  <a:cubicBezTo>
                    <a:pt x="3918" y="5942"/>
                    <a:pt x="3894" y="5942"/>
                    <a:pt x="3858" y="5954"/>
                  </a:cubicBezTo>
                  <a:lnTo>
                    <a:pt x="3751" y="5882"/>
                  </a:lnTo>
                  <a:cubicBezTo>
                    <a:pt x="2668" y="5096"/>
                    <a:pt x="2025" y="3810"/>
                    <a:pt x="2025" y="2477"/>
                  </a:cubicBezTo>
                  <a:lnTo>
                    <a:pt x="2025" y="1001"/>
                  </a:lnTo>
                  <a:lnTo>
                    <a:pt x="4918" y="1001"/>
                  </a:lnTo>
                  <a:cubicBezTo>
                    <a:pt x="5001" y="1001"/>
                    <a:pt x="5061" y="929"/>
                    <a:pt x="5061" y="846"/>
                  </a:cubicBezTo>
                  <a:cubicBezTo>
                    <a:pt x="5061" y="774"/>
                    <a:pt x="4989" y="703"/>
                    <a:pt x="4918" y="703"/>
                  </a:cubicBezTo>
                  <a:lnTo>
                    <a:pt x="1715" y="703"/>
                  </a:lnTo>
                  <a:lnTo>
                    <a:pt x="1715" y="334"/>
                  </a:lnTo>
                  <a:close/>
                  <a:moveTo>
                    <a:pt x="4704" y="6263"/>
                  </a:moveTo>
                  <a:cubicBezTo>
                    <a:pt x="4763" y="6263"/>
                    <a:pt x="4811" y="6311"/>
                    <a:pt x="4811" y="6370"/>
                  </a:cubicBezTo>
                  <a:lnTo>
                    <a:pt x="4811" y="6477"/>
                  </a:lnTo>
                  <a:cubicBezTo>
                    <a:pt x="4811" y="6537"/>
                    <a:pt x="4763" y="6585"/>
                    <a:pt x="4704" y="6585"/>
                  </a:cubicBezTo>
                  <a:lnTo>
                    <a:pt x="3954" y="6585"/>
                  </a:lnTo>
                  <a:cubicBezTo>
                    <a:pt x="3882" y="6585"/>
                    <a:pt x="3846" y="6537"/>
                    <a:pt x="3846" y="6477"/>
                  </a:cubicBezTo>
                  <a:lnTo>
                    <a:pt x="3846" y="6370"/>
                  </a:lnTo>
                  <a:cubicBezTo>
                    <a:pt x="3846" y="6311"/>
                    <a:pt x="3882" y="6263"/>
                    <a:pt x="3954" y="6263"/>
                  </a:cubicBezTo>
                  <a:close/>
                  <a:moveTo>
                    <a:pt x="4513" y="6882"/>
                  </a:moveTo>
                  <a:lnTo>
                    <a:pt x="4513" y="8382"/>
                  </a:lnTo>
                  <a:lnTo>
                    <a:pt x="4156" y="8382"/>
                  </a:lnTo>
                  <a:lnTo>
                    <a:pt x="4156" y="6882"/>
                  </a:lnTo>
                  <a:close/>
                  <a:moveTo>
                    <a:pt x="5287" y="8692"/>
                  </a:moveTo>
                  <a:cubicBezTo>
                    <a:pt x="5394" y="8692"/>
                    <a:pt x="5478" y="8787"/>
                    <a:pt x="5478" y="8882"/>
                  </a:cubicBezTo>
                  <a:lnTo>
                    <a:pt x="5478" y="9061"/>
                  </a:lnTo>
                  <a:lnTo>
                    <a:pt x="4108" y="9061"/>
                  </a:lnTo>
                  <a:cubicBezTo>
                    <a:pt x="4025" y="9061"/>
                    <a:pt x="3965" y="9144"/>
                    <a:pt x="3965" y="9216"/>
                  </a:cubicBezTo>
                  <a:cubicBezTo>
                    <a:pt x="3965" y="9287"/>
                    <a:pt x="4037" y="9359"/>
                    <a:pt x="4108" y="9359"/>
                  </a:cubicBezTo>
                  <a:lnTo>
                    <a:pt x="6204" y="9359"/>
                  </a:lnTo>
                  <a:cubicBezTo>
                    <a:pt x="6228" y="9359"/>
                    <a:pt x="6240" y="9383"/>
                    <a:pt x="6251" y="9394"/>
                  </a:cubicBezTo>
                  <a:lnTo>
                    <a:pt x="6406" y="10133"/>
                  </a:lnTo>
                  <a:cubicBezTo>
                    <a:pt x="6406" y="10156"/>
                    <a:pt x="6406" y="10168"/>
                    <a:pt x="6382" y="10168"/>
                  </a:cubicBezTo>
                  <a:cubicBezTo>
                    <a:pt x="6382" y="10168"/>
                    <a:pt x="6370" y="10180"/>
                    <a:pt x="6359" y="10180"/>
                  </a:cubicBezTo>
                  <a:lnTo>
                    <a:pt x="2299" y="10180"/>
                  </a:lnTo>
                  <a:cubicBezTo>
                    <a:pt x="2287" y="10180"/>
                    <a:pt x="2263" y="10168"/>
                    <a:pt x="2263" y="10168"/>
                  </a:cubicBezTo>
                  <a:cubicBezTo>
                    <a:pt x="2263" y="10168"/>
                    <a:pt x="2251" y="10145"/>
                    <a:pt x="2251" y="10133"/>
                  </a:cubicBezTo>
                  <a:lnTo>
                    <a:pt x="2394" y="9394"/>
                  </a:lnTo>
                  <a:cubicBezTo>
                    <a:pt x="2394" y="9371"/>
                    <a:pt x="2418" y="9359"/>
                    <a:pt x="2441" y="9359"/>
                  </a:cubicBezTo>
                  <a:lnTo>
                    <a:pt x="3394" y="9359"/>
                  </a:lnTo>
                  <a:cubicBezTo>
                    <a:pt x="3489" y="9359"/>
                    <a:pt x="3549" y="9287"/>
                    <a:pt x="3549" y="9216"/>
                  </a:cubicBezTo>
                  <a:cubicBezTo>
                    <a:pt x="3549" y="9144"/>
                    <a:pt x="3477" y="9061"/>
                    <a:pt x="3394" y="9061"/>
                  </a:cubicBezTo>
                  <a:lnTo>
                    <a:pt x="3192" y="9061"/>
                  </a:lnTo>
                  <a:lnTo>
                    <a:pt x="3192" y="8882"/>
                  </a:lnTo>
                  <a:cubicBezTo>
                    <a:pt x="3192" y="8787"/>
                    <a:pt x="3275" y="8692"/>
                    <a:pt x="3382" y="8692"/>
                  </a:cubicBezTo>
                  <a:close/>
                  <a:moveTo>
                    <a:pt x="1715" y="0"/>
                  </a:moveTo>
                  <a:cubicBezTo>
                    <a:pt x="1548" y="0"/>
                    <a:pt x="1417" y="131"/>
                    <a:pt x="1417" y="298"/>
                  </a:cubicBezTo>
                  <a:lnTo>
                    <a:pt x="1417" y="703"/>
                  </a:lnTo>
                  <a:cubicBezTo>
                    <a:pt x="1417" y="870"/>
                    <a:pt x="1548" y="1001"/>
                    <a:pt x="1715" y="1001"/>
                  </a:cubicBezTo>
                  <a:lnTo>
                    <a:pt x="1751" y="1001"/>
                  </a:lnTo>
                  <a:lnTo>
                    <a:pt x="1751" y="1501"/>
                  </a:lnTo>
                  <a:cubicBezTo>
                    <a:pt x="1632" y="1501"/>
                    <a:pt x="1525" y="1441"/>
                    <a:pt x="1453" y="1334"/>
                  </a:cubicBezTo>
                  <a:lnTo>
                    <a:pt x="1334" y="1155"/>
                  </a:lnTo>
                  <a:cubicBezTo>
                    <a:pt x="1132" y="881"/>
                    <a:pt x="810" y="715"/>
                    <a:pt x="465" y="703"/>
                  </a:cubicBezTo>
                  <a:cubicBezTo>
                    <a:pt x="346" y="703"/>
                    <a:pt x="227" y="739"/>
                    <a:pt x="144" y="834"/>
                  </a:cubicBezTo>
                  <a:cubicBezTo>
                    <a:pt x="48" y="917"/>
                    <a:pt x="1" y="1036"/>
                    <a:pt x="1" y="1155"/>
                  </a:cubicBezTo>
                  <a:lnTo>
                    <a:pt x="1" y="1798"/>
                  </a:lnTo>
                  <a:cubicBezTo>
                    <a:pt x="1" y="3334"/>
                    <a:pt x="798" y="3656"/>
                    <a:pt x="1429" y="3918"/>
                  </a:cubicBezTo>
                  <a:cubicBezTo>
                    <a:pt x="1787" y="4060"/>
                    <a:pt x="2096" y="4180"/>
                    <a:pt x="2251" y="4489"/>
                  </a:cubicBezTo>
                  <a:cubicBezTo>
                    <a:pt x="2299" y="4584"/>
                    <a:pt x="2287" y="4656"/>
                    <a:pt x="2215" y="4715"/>
                  </a:cubicBezTo>
                  <a:cubicBezTo>
                    <a:pt x="2164" y="4767"/>
                    <a:pt x="2075" y="4806"/>
                    <a:pt x="1994" y="4806"/>
                  </a:cubicBezTo>
                  <a:cubicBezTo>
                    <a:pt x="1963" y="4806"/>
                    <a:pt x="1932" y="4800"/>
                    <a:pt x="1906" y="4787"/>
                  </a:cubicBezTo>
                  <a:cubicBezTo>
                    <a:pt x="1798" y="4751"/>
                    <a:pt x="1775" y="4608"/>
                    <a:pt x="1787" y="4489"/>
                  </a:cubicBezTo>
                  <a:cubicBezTo>
                    <a:pt x="1787" y="4406"/>
                    <a:pt x="1727" y="4334"/>
                    <a:pt x="1644" y="4334"/>
                  </a:cubicBezTo>
                  <a:cubicBezTo>
                    <a:pt x="1548" y="4334"/>
                    <a:pt x="1477" y="4394"/>
                    <a:pt x="1477" y="4477"/>
                  </a:cubicBezTo>
                  <a:cubicBezTo>
                    <a:pt x="1477" y="4608"/>
                    <a:pt x="1489" y="4942"/>
                    <a:pt x="1787" y="5072"/>
                  </a:cubicBezTo>
                  <a:cubicBezTo>
                    <a:pt x="1846" y="5108"/>
                    <a:pt x="1929" y="5120"/>
                    <a:pt x="2001" y="5120"/>
                  </a:cubicBezTo>
                  <a:cubicBezTo>
                    <a:pt x="2168" y="5120"/>
                    <a:pt x="2322" y="5061"/>
                    <a:pt x="2441" y="4930"/>
                  </a:cubicBezTo>
                  <a:cubicBezTo>
                    <a:pt x="2465" y="4906"/>
                    <a:pt x="2477" y="4894"/>
                    <a:pt x="2477" y="4882"/>
                  </a:cubicBezTo>
                  <a:cubicBezTo>
                    <a:pt x="2775" y="5346"/>
                    <a:pt x="3156" y="5763"/>
                    <a:pt x="3608" y="6096"/>
                  </a:cubicBezTo>
                  <a:lnTo>
                    <a:pt x="3632" y="6120"/>
                  </a:lnTo>
                  <a:cubicBezTo>
                    <a:pt x="3596" y="6180"/>
                    <a:pt x="3573" y="6251"/>
                    <a:pt x="3573" y="6323"/>
                  </a:cubicBezTo>
                  <a:lnTo>
                    <a:pt x="3573" y="6430"/>
                  </a:lnTo>
                  <a:cubicBezTo>
                    <a:pt x="3573" y="6620"/>
                    <a:pt x="3715" y="6775"/>
                    <a:pt x="3870" y="6835"/>
                  </a:cubicBezTo>
                  <a:lnTo>
                    <a:pt x="3870" y="8347"/>
                  </a:lnTo>
                  <a:lnTo>
                    <a:pt x="3394" y="8347"/>
                  </a:lnTo>
                  <a:cubicBezTo>
                    <a:pt x="3108" y="8347"/>
                    <a:pt x="2894" y="8573"/>
                    <a:pt x="2894" y="8859"/>
                  </a:cubicBezTo>
                  <a:lnTo>
                    <a:pt x="2894" y="9037"/>
                  </a:lnTo>
                  <a:lnTo>
                    <a:pt x="2453" y="9037"/>
                  </a:lnTo>
                  <a:cubicBezTo>
                    <a:pt x="2299" y="9037"/>
                    <a:pt x="2144" y="9156"/>
                    <a:pt x="2120" y="9311"/>
                  </a:cubicBezTo>
                  <a:lnTo>
                    <a:pt x="1965" y="10061"/>
                  </a:lnTo>
                  <a:cubicBezTo>
                    <a:pt x="1953" y="10168"/>
                    <a:pt x="1965" y="10264"/>
                    <a:pt x="2037" y="10347"/>
                  </a:cubicBezTo>
                  <a:cubicBezTo>
                    <a:pt x="2096" y="10418"/>
                    <a:pt x="2203" y="10466"/>
                    <a:pt x="2310" y="10466"/>
                  </a:cubicBezTo>
                  <a:lnTo>
                    <a:pt x="6370" y="10466"/>
                  </a:lnTo>
                  <a:cubicBezTo>
                    <a:pt x="6478" y="10466"/>
                    <a:pt x="6585" y="10418"/>
                    <a:pt x="6644" y="10347"/>
                  </a:cubicBezTo>
                  <a:cubicBezTo>
                    <a:pt x="6704" y="10264"/>
                    <a:pt x="6728" y="10168"/>
                    <a:pt x="6716" y="10061"/>
                  </a:cubicBezTo>
                  <a:lnTo>
                    <a:pt x="6561" y="9311"/>
                  </a:lnTo>
                  <a:cubicBezTo>
                    <a:pt x="6537" y="9156"/>
                    <a:pt x="6382" y="9037"/>
                    <a:pt x="6228" y="9037"/>
                  </a:cubicBezTo>
                  <a:lnTo>
                    <a:pt x="5787" y="9037"/>
                  </a:lnTo>
                  <a:lnTo>
                    <a:pt x="5787" y="8859"/>
                  </a:lnTo>
                  <a:cubicBezTo>
                    <a:pt x="5787" y="8573"/>
                    <a:pt x="5573" y="8347"/>
                    <a:pt x="5287" y="8347"/>
                  </a:cubicBezTo>
                  <a:lnTo>
                    <a:pt x="4811" y="8347"/>
                  </a:lnTo>
                  <a:lnTo>
                    <a:pt x="4811" y="6835"/>
                  </a:lnTo>
                  <a:cubicBezTo>
                    <a:pt x="4989" y="6787"/>
                    <a:pt x="5108" y="6620"/>
                    <a:pt x="5108" y="6430"/>
                  </a:cubicBezTo>
                  <a:lnTo>
                    <a:pt x="5108" y="6323"/>
                  </a:lnTo>
                  <a:cubicBezTo>
                    <a:pt x="5108" y="6251"/>
                    <a:pt x="5073" y="6180"/>
                    <a:pt x="5049" y="6120"/>
                  </a:cubicBezTo>
                  <a:lnTo>
                    <a:pt x="5073" y="6096"/>
                  </a:lnTo>
                  <a:cubicBezTo>
                    <a:pt x="5537" y="5763"/>
                    <a:pt x="5906" y="5358"/>
                    <a:pt x="6204" y="4882"/>
                  </a:cubicBezTo>
                  <a:cubicBezTo>
                    <a:pt x="6228" y="4894"/>
                    <a:pt x="6228" y="4906"/>
                    <a:pt x="6240" y="4930"/>
                  </a:cubicBezTo>
                  <a:cubicBezTo>
                    <a:pt x="6359" y="5049"/>
                    <a:pt x="6525" y="5120"/>
                    <a:pt x="6680" y="5120"/>
                  </a:cubicBezTo>
                  <a:cubicBezTo>
                    <a:pt x="6763" y="5120"/>
                    <a:pt x="6835" y="5108"/>
                    <a:pt x="6894" y="5072"/>
                  </a:cubicBezTo>
                  <a:cubicBezTo>
                    <a:pt x="7192" y="4942"/>
                    <a:pt x="7204" y="4608"/>
                    <a:pt x="7204" y="4477"/>
                  </a:cubicBezTo>
                  <a:cubicBezTo>
                    <a:pt x="7204" y="4394"/>
                    <a:pt x="7132" y="4334"/>
                    <a:pt x="7037" y="4334"/>
                  </a:cubicBezTo>
                  <a:cubicBezTo>
                    <a:pt x="6954" y="4334"/>
                    <a:pt x="6894" y="4406"/>
                    <a:pt x="6894" y="4489"/>
                  </a:cubicBezTo>
                  <a:cubicBezTo>
                    <a:pt x="6894" y="4596"/>
                    <a:pt x="6882" y="4727"/>
                    <a:pt x="6775" y="4787"/>
                  </a:cubicBezTo>
                  <a:cubicBezTo>
                    <a:pt x="6749" y="4800"/>
                    <a:pt x="6718" y="4806"/>
                    <a:pt x="6687" y="4806"/>
                  </a:cubicBezTo>
                  <a:cubicBezTo>
                    <a:pt x="6606" y="4806"/>
                    <a:pt x="6517" y="4767"/>
                    <a:pt x="6466" y="4715"/>
                  </a:cubicBezTo>
                  <a:cubicBezTo>
                    <a:pt x="6406" y="4656"/>
                    <a:pt x="6382" y="4584"/>
                    <a:pt x="6430" y="4489"/>
                  </a:cubicBezTo>
                  <a:cubicBezTo>
                    <a:pt x="6585" y="4191"/>
                    <a:pt x="6894" y="4060"/>
                    <a:pt x="7252" y="3918"/>
                  </a:cubicBezTo>
                  <a:cubicBezTo>
                    <a:pt x="7894" y="3656"/>
                    <a:pt x="8680" y="3334"/>
                    <a:pt x="8680" y="1798"/>
                  </a:cubicBezTo>
                  <a:lnTo>
                    <a:pt x="8680" y="1155"/>
                  </a:lnTo>
                  <a:cubicBezTo>
                    <a:pt x="8692" y="1048"/>
                    <a:pt x="8633" y="941"/>
                    <a:pt x="8561" y="846"/>
                  </a:cubicBezTo>
                  <a:cubicBezTo>
                    <a:pt x="8478" y="762"/>
                    <a:pt x="8347" y="715"/>
                    <a:pt x="8240" y="715"/>
                  </a:cubicBezTo>
                  <a:cubicBezTo>
                    <a:pt x="7894" y="715"/>
                    <a:pt x="7561" y="881"/>
                    <a:pt x="7371" y="1179"/>
                  </a:cubicBezTo>
                  <a:lnTo>
                    <a:pt x="7252" y="1358"/>
                  </a:lnTo>
                  <a:cubicBezTo>
                    <a:pt x="7180" y="1465"/>
                    <a:pt x="7073" y="1524"/>
                    <a:pt x="6954" y="1524"/>
                  </a:cubicBezTo>
                  <a:lnTo>
                    <a:pt x="6954" y="1012"/>
                  </a:lnTo>
                  <a:lnTo>
                    <a:pt x="6990" y="1012"/>
                  </a:lnTo>
                  <a:cubicBezTo>
                    <a:pt x="7144" y="1012"/>
                    <a:pt x="7287" y="881"/>
                    <a:pt x="7287" y="715"/>
                  </a:cubicBezTo>
                  <a:lnTo>
                    <a:pt x="7287" y="298"/>
                  </a:lnTo>
                  <a:cubicBezTo>
                    <a:pt x="7287" y="131"/>
                    <a:pt x="7144" y="0"/>
                    <a:pt x="69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0" name="Google Shape;13590;p64"/>
            <p:cNvSpPr/>
            <p:nvPr/>
          </p:nvSpPr>
          <p:spPr>
            <a:xfrm>
              <a:off x="7670981" y="2041871"/>
              <a:ext cx="87182" cy="83076"/>
            </a:xfrm>
            <a:custGeom>
              <a:avLst/>
              <a:gdLst/>
              <a:ahLst/>
              <a:cxnLst/>
              <a:rect l="l" t="t" r="r" b="b"/>
              <a:pathLst>
                <a:path w="2739" h="2610" extrusionOk="0">
                  <a:moveTo>
                    <a:pt x="1334" y="476"/>
                  </a:moveTo>
                  <a:lnTo>
                    <a:pt x="1572" y="953"/>
                  </a:lnTo>
                  <a:cubicBezTo>
                    <a:pt x="1608" y="1012"/>
                    <a:pt x="1655" y="1036"/>
                    <a:pt x="1715" y="1048"/>
                  </a:cubicBezTo>
                  <a:lnTo>
                    <a:pt x="2251" y="1131"/>
                  </a:lnTo>
                  <a:lnTo>
                    <a:pt x="1893" y="1500"/>
                  </a:lnTo>
                  <a:cubicBezTo>
                    <a:pt x="1846" y="1548"/>
                    <a:pt x="1834" y="1607"/>
                    <a:pt x="1834" y="1667"/>
                  </a:cubicBezTo>
                  <a:lnTo>
                    <a:pt x="1917" y="2203"/>
                  </a:lnTo>
                  <a:lnTo>
                    <a:pt x="1441" y="1941"/>
                  </a:lnTo>
                  <a:cubicBezTo>
                    <a:pt x="1417" y="1929"/>
                    <a:pt x="1381" y="1929"/>
                    <a:pt x="1358" y="1929"/>
                  </a:cubicBezTo>
                  <a:cubicBezTo>
                    <a:pt x="1322" y="1929"/>
                    <a:pt x="1298" y="1929"/>
                    <a:pt x="1262" y="1941"/>
                  </a:cubicBezTo>
                  <a:lnTo>
                    <a:pt x="786" y="2203"/>
                  </a:lnTo>
                  <a:lnTo>
                    <a:pt x="786" y="2203"/>
                  </a:lnTo>
                  <a:lnTo>
                    <a:pt x="881" y="1667"/>
                  </a:lnTo>
                  <a:cubicBezTo>
                    <a:pt x="893" y="1607"/>
                    <a:pt x="869" y="1548"/>
                    <a:pt x="822" y="1500"/>
                  </a:cubicBezTo>
                  <a:lnTo>
                    <a:pt x="429" y="1131"/>
                  </a:lnTo>
                  <a:lnTo>
                    <a:pt x="965" y="1048"/>
                  </a:lnTo>
                  <a:cubicBezTo>
                    <a:pt x="1024" y="1036"/>
                    <a:pt x="1084" y="1012"/>
                    <a:pt x="1108" y="953"/>
                  </a:cubicBezTo>
                  <a:lnTo>
                    <a:pt x="1334" y="476"/>
                  </a:lnTo>
                  <a:close/>
                  <a:moveTo>
                    <a:pt x="1370" y="0"/>
                  </a:moveTo>
                  <a:cubicBezTo>
                    <a:pt x="1298" y="0"/>
                    <a:pt x="1239" y="36"/>
                    <a:pt x="1203" y="95"/>
                  </a:cubicBezTo>
                  <a:lnTo>
                    <a:pt x="881" y="750"/>
                  </a:lnTo>
                  <a:lnTo>
                    <a:pt x="167" y="857"/>
                  </a:lnTo>
                  <a:cubicBezTo>
                    <a:pt x="96" y="869"/>
                    <a:pt x="36" y="917"/>
                    <a:pt x="12" y="976"/>
                  </a:cubicBezTo>
                  <a:cubicBezTo>
                    <a:pt x="0" y="1048"/>
                    <a:pt x="12" y="1107"/>
                    <a:pt x="60" y="1167"/>
                  </a:cubicBezTo>
                  <a:lnTo>
                    <a:pt x="584" y="1679"/>
                  </a:lnTo>
                  <a:lnTo>
                    <a:pt x="465" y="2393"/>
                  </a:lnTo>
                  <a:cubicBezTo>
                    <a:pt x="453" y="2465"/>
                    <a:pt x="477" y="2524"/>
                    <a:pt x="536" y="2572"/>
                  </a:cubicBezTo>
                  <a:cubicBezTo>
                    <a:pt x="568" y="2597"/>
                    <a:pt x="603" y="2609"/>
                    <a:pt x="638" y="2609"/>
                  </a:cubicBezTo>
                  <a:cubicBezTo>
                    <a:pt x="669" y="2609"/>
                    <a:pt x="699" y="2600"/>
                    <a:pt x="727" y="2584"/>
                  </a:cubicBezTo>
                  <a:lnTo>
                    <a:pt x="1370" y="2238"/>
                  </a:lnTo>
                  <a:lnTo>
                    <a:pt x="2012" y="2584"/>
                  </a:lnTo>
                  <a:cubicBezTo>
                    <a:pt x="2036" y="2596"/>
                    <a:pt x="2072" y="2596"/>
                    <a:pt x="2096" y="2596"/>
                  </a:cubicBezTo>
                  <a:cubicBezTo>
                    <a:pt x="2143" y="2596"/>
                    <a:pt x="2179" y="2584"/>
                    <a:pt x="2203" y="2572"/>
                  </a:cubicBezTo>
                  <a:cubicBezTo>
                    <a:pt x="2262" y="2524"/>
                    <a:pt x="2298" y="2465"/>
                    <a:pt x="2274" y="2393"/>
                  </a:cubicBezTo>
                  <a:lnTo>
                    <a:pt x="2155" y="1679"/>
                  </a:lnTo>
                  <a:lnTo>
                    <a:pt x="2679" y="1167"/>
                  </a:lnTo>
                  <a:cubicBezTo>
                    <a:pt x="2727" y="1107"/>
                    <a:pt x="2739" y="1048"/>
                    <a:pt x="2727" y="976"/>
                  </a:cubicBezTo>
                  <a:cubicBezTo>
                    <a:pt x="2715" y="905"/>
                    <a:pt x="2655" y="857"/>
                    <a:pt x="2572" y="857"/>
                  </a:cubicBezTo>
                  <a:lnTo>
                    <a:pt x="1858" y="750"/>
                  </a:lnTo>
                  <a:lnTo>
                    <a:pt x="1536" y="95"/>
                  </a:lnTo>
                  <a:cubicBezTo>
                    <a:pt x="1500" y="36"/>
                    <a:pt x="1441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91" name="Google Shape;13591;p64"/>
          <p:cNvGrpSpPr/>
          <p:nvPr/>
        </p:nvGrpSpPr>
        <p:grpSpPr>
          <a:xfrm>
            <a:off x="853568" y="1975538"/>
            <a:ext cx="337334" cy="353599"/>
            <a:chOff x="853568" y="1975538"/>
            <a:chExt cx="337334" cy="353599"/>
          </a:xfrm>
        </p:grpSpPr>
        <p:sp>
          <p:nvSpPr>
            <p:cNvPr id="13592" name="Google Shape;13592;p64"/>
            <p:cNvSpPr/>
            <p:nvPr/>
          </p:nvSpPr>
          <p:spPr>
            <a:xfrm>
              <a:off x="853568" y="1975538"/>
              <a:ext cx="337334" cy="353599"/>
            </a:xfrm>
            <a:custGeom>
              <a:avLst/>
              <a:gdLst/>
              <a:ahLst/>
              <a:cxnLst/>
              <a:rect l="l" t="t" r="r" b="b"/>
              <a:pathLst>
                <a:path w="10598" h="11109" extrusionOk="0">
                  <a:moveTo>
                    <a:pt x="8180" y="322"/>
                  </a:moveTo>
                  <a:lnTo>
                    <a:pt x="5823" y="3596"/>
                  </a:lnTo>
                  <a:lnTo>
                    <a:pt x="5501" y="3132"/>
                  </a:lnTo>
                  <a:lnTo>
                    <a:pt x="7502" y="322"/>
                  </a:lnTo>
                  <a:close/>
                  <a:moveTo>
                    <a:pt x="9252" y="322"/>
                  </a:moveTo>
                  <a:lnTo>
                    <a:pt x="6371" y="4346"/>
                  </a:lnTo>
                  <a:lnTo>
                    <a:pt x="6049" y="3882"/>
                  </a:lnTo>
                  <a:lnTo>
                    <a:pt x="8597" y="322"/>
                  </a:lnTo>
                  <a:close/>
                  <a:moveTo>
                    <a:pt x="2072" y="322"/>
                  </a:moveTo>
                  <a:lnTo>
                    <a:pt x="4966" y="4358"/>
                  </a:lnTo>
                  <a:cubicBezTo>
                    <a:pt x="4906" y="4382"/>
                    <a:pt x="4859" y="4430"/>
                    <a:pt x="4811" y="4477"/>
                  </a:cubicBezTo>
                  <a:cubicBezTo>
                    <a:pt x="4750" y="4538"/>
                    <a:pt x="4652" y="4579"/>
                    <a:pt x="4557" y="4579"/>
                  </a:cubicBezTo>
                  <a:cubicBezTo>
                    <a:pt x="4521" y="4579"/>
                    <a:pt x="4486" y="4574"/>
                    <a:pt x="4454" y="4561"/>
                  </a:cubicBezTo>
                  <a:lnTo>
                    <a:pt x="1418" y="322"/>
                  </a:lnTo>
                  <a:close/>
                  <a:moveTo>
                    <a:pt x="3084" y="322"/>
                  </a:moveTo>
                  <a:lnTo>
                    <a:pt x="6121" y="4584"/>
                  </a:lnTo>
                  <a:cubicBezTo>
                    <a:pt x="6100" y="4589"/>
                    <a:pt x="6079" y="4591"/>
                    <a:pt x="6057" y="4591"/>
                  </a:cubicBezTo>
                  <a:cubicBezTo>
                    <a:pt x="5957" y="4591"/>
                    <a:pt x="5854" y="4546"/>
                    <a:pt x="5775" y="4477"/>
                  </a:cubicBezTo>
                  <a:cubicBezTo>
                    <a:pt x="5644" y="4346"/>
                    <a:pt x="5466" y="4287"/>
                    <a:pt x="5287" y="4287"/>
                  </a:cubicBezTo>
                  <a:lnTo>
                    <a:pt x="2453" y="334"/>
                  </a:lnTo>
                  <a:lnTo>
                    <a:pt x="3084" y="334"/>
                  </a:lnTo>
                  <a:lnTo>
                    <a:pt x="3084" y="322"/>
                  </a:lnTo>
                  <a:close/>
                  <a:moveTo>
                    <a:pt x="1013" y="322"/>
                  </a:moveTo>
                  <a:lnTo>
                    <a:pt x="4025" y="4537"/>
                  </a:lnTo>
                  <a:cubicBezTo>
                    <a:pt x="3858" y="4584"/>
                    <a:pt x="3716" y="4668"/>
                    <a:pt x="3608" y="4823"/>
                  </a:cubicBezTo>
                  <a:lnTo>
                    <a:pt x="394" y="322"/>
                  </a:lnTo>
                  <a:close/>
                  <a:moveTo>
                    <a:pt x="10216" y="322"/>
                  </a:moveTo>
                  <a:lnTo>
                    <a:pt x="7002" y="4823"/>
                  </a:lnTo>
                  <a:cubicBezTo>
                    <a:pt x="6906" y="4680"/>
                    <a:pt x="6775" y="4596"/>
                    <a:pt x="6633" y="4549"/>
                  </a:cubicBezTo>
                  <a:lnTo>
                    <a:pt x="9645" y="322"/>
                  </a:lnTo>
                  <a:close/>
                  <a:moveTo>
                    <a:pt x="5268" y="4599"/>
                  </a:moveTo>
                  <a:cubicBezTo>
                    <a:pt x="5362" y="4599"/>
                    <a:pt x="5454" y="4638"/>
                    <a:pt x="5525" y="4715"/>
                  </a:cubicBezTo>
                  <a:cubicBezTo>
                    <a:pt x="5652" y="4842"/>
                    <a:pt x="5822" y="4911"/>
                    <a:pt x="5994" y="4911"/>
                  </a:cubicBezTo>
                  <a:cubicBezTo>
                    <a:pt x="6081" y="4911"/>
                    <a:pt x="6168" y="4894"/>
                    <a:pt x="6252" y="4858"/>
                  </a:cubicBezTo>
                  <a:cubicBezTo>
                    <a:pt x="6295" y="4843"/>
                    <a:pt x="6338" y="4836"/>
                    <a:pt x="6380" y="4836"/>
                  </a:cubicBezTo>
                  <a:cubicBezTo>
                    <a:pt x="6534" y="4836"/>
                    <a:pt x="6672" y="4932"/>
                    <a:pt x="6728" y="5073"/>
                  </a:cubicBezTo>
                  <a:cubicBezTo>
                    <a:pt x="6728" y="5084"/>
                    <a:pt x="6752" y="5096"/>
                    <a:pt x="6752" y="5120"/>
                  </a:cubicBezTo>
                  <a:cubicBezTo>
                    <a:pt x="6823" y="5311"/>
                    <a:pt x="6954" y="5382"/>
                    <a:pt x="6954" y="5382"/>
                  </a:cubicBezTo>
                  <a:cubicBezTo>
                    <a:pt x="7109" y="5454"/>
                    <a:pt x="7240" y="5513"/>
                    <a:pt x="7371" y="5513"/>
                  </a:cubicBezTo>
                  <a:cubicBezTo>
                    <a:pt x="7561" y="5537"/>
                    <a:pt x="7728" y="5692"/>
                    <a:pt x="7716" y="5906"/>
                  </a:cubicBezTo>
                  <a:cubicBezTo>
                    <a:pt x="7704" y="6168"/>
                    <a:pt x="7847" y="6430"/>
                    <a:pt x="8085" y="6561"/>
                  </a:cubicBezTo>
                  <a:cubicBezTo>
                    <a:pt x="8264" y="6644"/>
                    <a:pt x="8335" y="6870"/>
                    <a:pt x="8252" y="7049"/>
                  </a:cubicBezTo>
                  <a:cubicBezTo>
                    <a:pt x="8133" y="7287"/>
                    <a:pt x="8157" y="7585"/>
                    <a:pt x="8323" y="7799"/>
                  </a:cubicBezTo>
                  <a:cubicBezTo>
                    <a:pt x="8442" y="7954"/>
                    <a:pt x="8430" y="8180"/>
                    <a:pt x="8264" y="8311"/>
                  </a:cubicBezTo>
                  <a:cubicBezTo>
                    <a:pt x="8061" y="8490"/>
                    <a:pt x="7966" y="8763"/>
                    <a:pt x="8026" y="9025"/>
                  </a:cubicBezTo>
                  <a:cubicBezTo>
                    <a:pt x="8073" y="9228"/>
                    <a:pt x="7966" y="9430"/>
                    <a:pt x="7776" y="9478"/>
                  </a:cubicBezTo>
                  <a:cubicBezTo>
                    <a:pt x="7502" y="9549"/>
                    <a:pt x="7311" y="9775"/>
                    <a:pt x="7264" y="10026"/>
                  </a:cubicBezTo>
                  <a:cubicBezTo>
                    <a:pt x="7242" y="10196"/>
                    <a:pt x="7087" y="10329"/>
                    <a:pt x="6909" y="10329"/>
                  </a:cubicBezTo>
                  <a:cubicBezTo>
                    <a:pt x="6889" y="10329"/>
                    <a:pt x="6868" y="10327"/>
                    <a:pt x="6847" y="10323"/>
                  </a:cubicBezTo>
                  <a:cubicBezTo>
                    <a:pt x="6809" y="10316"/>
                    <a:pt x="6770" y="10313"/>
                    <a:pt x="6732" y="10313"/>
                  </a:cubicBezTo>
                  <a:cubicBezTo>
                    <a:pt x="6508" y="10313"/>
                    <a:pt x="6290" y="10429"/>
                    <a:pt x="6168" y="10633"/>
                  </a:cubicBezTo>
                  <a:cubicBezTo>
                    <a:pt x="6100" y="10740"/>
                    <a:pt x="5977" y="10802"/>
                    <a:pt x="5854" y="10802"/>
                  </a:cubicBezTo>
                  <a:cubicBezTo>
                    <a:pt x="5785" y="10802"/>
                    <a:pt x="5716" y="10783"/>
                    <a:pt x="5656" y="10740"/>
                  </a:cubicBezTo>
                  <a:cubicBezTo>
                    <a:pt x="5537" y="10668"/>
                    <a:pt x="5418" y="10633"/>
                    <a:pt x="5287" y="10633"/>
                  </a:cubicBezTo>
                  <a:cubicBezTo>
                    <a:pt x="5156" y="10633"/>
                    <a:pt x="5025" y="10668"/>
                    <a:pt x="4918" y="10740"/>
                  </a:cubicBezTo>
                  <a:cubicBezTo>
                    <a:pt x="4858" y="10779"/>
                    <a:pt x="4788" y="10797"/>
                    <a:pt x="4719" y="10797"/>
                  </a:cubicBezTo>
                  <a:cubicBezTo>
                    <a:pt x="4596" y="10797"/>
                    <a:pt x="4475" y="10739"/>
                    <a:pt x="4406" y="10633"/>
                  </a:cubicBezTo>
                  <a:cubicBezTo>
                    <a:pt x="4275" y="10437"/>
                    <a:pt x="4035" y="10320"/>
                    <a:pt x="3794" y="10320"/>
                  </a:cubicBezTo>
                  <a:cubicBezTo>
                    <a:pt x="3772" y="10320"/>
                    <a:pt x="3750" y="10321"/>
                    <a:pt x="3727" y="10323"/>
                  </a:cubicBezTo>
                  <a:cubicBezTo>
                    <a:pt x="3708" y="10327"/>
                    <a:pt x="3688" y="10329"/>
                    <a:pt x="3668" y="10329"/>
                  </a:cubicBezTo>
                  <a:cubicBezTo>
                    <a:pt x="3497" y="10329"/>
                    <a:pt x="3332" y="10196"/>
                    <a:pt x="3311" y="10026"/>
                  </a:cubicBezTo>
                  <a:cubicBezTo>
                    <a:pt x="3263" y="9764"/>
                    <a:pt x="3073" y="9537"/>
                    <a:pt x="2799" y="9478"/>
                  </a:cubicBezTo>
                  <a:cubicBezTo>
                    <a:pt x="2608" y="9418"/>
                    <a:pt x="2489" y="9228"/>
                    <a:pt x="2549" y="9025"/>
                  </a:cubicBezTo>
                  <a:cubicBezTo>
                    <a:pt x="2620" y="8763"/>
                    <a:pt x="2537" y="8490"/>
                    <a:pt x="2311" y="8311"/>
                  </a:cubicBezTo>
                  <a:cubicBezTo>
                    <a:pt x="2168" y="8180"/>
                    <a:pt x="2132" y="7954"/>
                    <a:pt x="2251" y="7799"/>
                  </a:cubicBezTo>
                  <a:cubicBezTo>
                    <a:pt x="2418" y="7585"/>
                    <a:pt x="2442" y="7287"/>
                    <a:pt x="2322" y="7049"/>
                  </a:cubicBezTo>
                  <a:cubicBezTo>
                    <a:pt x="2239" y="6870"/>
                    <a:pt x="2311" y="6644"/>
                    <a:pt x="2489" y="6561"/>
                  </a:cubicBezTo>
                  <a:cubicBezTo>
                    <a:pt x="2727" y="6442"/>
                    <a:pt x="2882" y="6192"/>
                    <a:pt x="2858" y="5906"/>
                  </a:cubicBezTo>
                  <a:cubicBezTo>
                    <a:pt x="2846" y="5715"/>
                    <a:pt x="3013" y="5537"/>
                    <a:pt x="3204" y="5513"/>
                  </a:cubicBezTo>
                  <a:cubicBezTo>
                    <a:pt x="3418" y="5501"/>
                    <a:pt x="3608" y="5394"/>
                    <a:pt x="3727" y="5215"/>
                  </a:cubicBezTo>
                  <a:lnTo>
                    <a:pt x="3727" y="5204"/>
                  </a:lnTo>
                  <a:cubicBezTo>
                    <a:pt x="3751" y="5156"/>
                    <a:pt x="3787" y="5120"/>
                    <a:pt x="3799" y="5073"/>
                  </a:cubicBezTo>
                  <a:cubicBezTo>
                    <a:pt x="3854" y="4925"/>
                    <a:pt x="3995" y="4835"/>
                    <a:pt x="4145" y="4835"/>
                  </a:cubicBezTo>
                  <a:cubicBezTo>
                    <a:pt x="4188" y="4835"/>
                    <a:pt x="4232" y="4842"/>
                    <a:pt x="4275" y="4858"/>
                  </a:cubicBezTo>
                  <a:cubicBezTo>
                    <a:pt x="4355" y="4889"/>
                    <a:pt x="4438" y="4903"/>
                    <a:pt x="4521" y="4903"/>
                  </a:cubicBezTo>
                  <a:cubicBezTo>
                    <a:pt x="4698" y="4903"/>
                    <a:pt x="4872" y="4837"/>
                    <a:pt x="5001" y="4715"/>
                  </a:cubicBezTo>
                  <a:cubicBezTo>
                    <a:pt x="5079" y="4638"/>
                    <a:pt x="5174" y="4599"/>
                    <a:pt x="5268" y="4599"/>
                  </a:cubicBezTo>
                  <a:close/>
                  <a:moveTo>
                    <a:pt x="298" y="0"/>
                  </a:moveTo>
                  <a:cubicBezTo>
                    <a:pt x="203" y="0"/>
                    <a:pt x="108" y="60"/>
                    <a:pt x="48" y="143"/>
                  </a:cubicBezTo>
                  <a:cubicBezTo>
                    <a:pt x="1" y="239"/>
                    <a:pt x="1" y="358"/>
                    <a:pt x="60" y="429"/>
                  </a:cubicBezTo>
                  <a:lnTo>
                    <a:pt x="3418" y="5096"/>
                  </a:lnTo>
                  <a:cubicBezTo>
                    <a:pt x="3358" y="5144"/>
                    <a:pt x="3275" y="5168"/>
                    <a:pt x="3204" y="5168"/>
                  </a:cubicBezTo>
                  <a:cubicBezTo>
                    <a:pt x="2834" y="5192"/>
                    <a:pt x="2537" y="5513"/>
                    <a:pt x="2549" y="5906"/>
                  </a:cubicBezTo>
                  <a:cubicBezTo>
                    <a:pt x="2549" y="6049"/>
                    <a:pt x="2477" y="6180"/>
                    <a:pt x="2358" y="6239"/>
                  </a:cubicBezTo>
                  <a:cubicBezTo>
                    <a:pt x="2013" y="6418"/>
                    <a:pt x="1882" y="6835"/>
                    <a:pt x="2061" y="7168"/>
                  </a:cubicBezTo>
                  <a:cubicBezTo>
                    <a:pt x="2120" y="7299"/>
                    <a:pt x="2108" y="7454"/>
                    <a:pt x="2013" y="7573"/>
                  </a:cubicBezTo>
                  <a:cubicBezTo>
                    <a:pt x="1775" y="7871"/>
                    <a:pt x="1822" y="8299"/>
                    <a:pt x="2120" y="8537"/>
                  </a:cubicBezTo>
                  <a:cubicBezTo>
                    <a:pt x="2215" y="8621"/>
                    <a:pt x="2275" y="8775"/>
                    <a:pt x="2239" y="8906"/>
                  </a:cubicBezTo>
                  <a:cubicBezTo>
                    <a:pt x="2132" y="9275"/>
                    <a:pt x="2358" y="9656"/>
                    <a:pt x="2727" y="9752"/>
                  </a:cubicBezTo>
                  <a:cubicBezTo>
                    <a:pt x="2858" y="9799"/>
                    <a:pt x="2965" y="9906"/>
                    <a:pt x="3001" y="10049"/>
                  </a:cubicBezTo>
                  <a:cubicBezTo>
                    <a:pt x="3056" y="10399"/>
                    <a:pt x="3361" y="10639"/>
                    <a:pt x="3697" y="10639"/>
                  </a:cubicBezTo>
                  <a:cubicBezTo>
                    <a:pt x="3727" y="10639"/>
                    <a:pt x="3757" y="10637"/>
                    <a:pt x="3787" y="10633"/>
                  </a:cubicBezTo>
                  <a:cubicBezTo>
                    <a:pt x="3799" y="10632"/>
                    <a:pt x="3811" y="10631"/>
                    <a:pt x="3823" y="10631"/>
                  </a:cubicBezTo>
                  <a:cubicBezTo>
                    <a:pt x="3953" y="10631"/>
                    <a:pt x="4079" y="10690"/>
                    <a:pt x="4144" y="10799"/>
                  </a:cubicBezTo>
                  <a:cubicBezTo>
                    <a:pt x="4274" y="10998"/>
                    <a:pt x="4502" y="11109"/>
                    <a:pt x="4731" y="11109"/>
                  </a:cubicBezTo>
                  <a:cubicBezTo>
                    <a:pt x="4858" y="11109"/>
                    <a:pt x="4986" y="11074"/>
                    <a:pt x="5097" y="11002"/>
                  </a:cubicBezTo>
                  <a:cubicBezTo>
                    <a:pt x="5156" y="10966"/>
                    <a:pt x="5228" y="10948"/>
                    <a:pt x="5299" y="10948"/>
                  </a:cubicBezTo>
                  <a:cubicBezTo>
                    <a:pt x="5370" y="10948"/>
                    <a:pt x="5442" y="10966"/>
                    <a:pt x="5501" y="11002"/>
                  </a:cubicBezTo>
                  <a:cubicBezTo>
                    <a:pt x="5621" y="11085"/>
                    <a:pt x="5740" y="11109"/>
                    <a:pt x="5871" y="11109"/>
                  </a:cubicBezTo>
                  <a:cubicBezTo>
                    <a:pt x="6097" y="11109"/>
                    <a:pt x="6311" y="11002"/>
                    <a:pt x="6454" y="10799"/>
                  </a:cubicBezTo>
                  <a:cubicBezTo>
                    <a:pt x="6519" y="10690"/>
                    <a:pt x="6645" y="10631"/>
                    <a:pt x="6775" y="10631"/>
                  </a:cubicBezTo>
                  <a:cubicBezTo>
                    <a:pt x="6787" y="10631"/>
                    <a:pt x="6799" y="10632"/>
                    <a:pt x="6811" y="10633"/>
                  </a:cubicBezTo>
                  <a:cubicBezTo>
                    <a:pt x="6848" y="10639"/>
                    <a:pt x="6884" y="10641"/>
                    <a:pt x="6920" y="10641"/>
                  </a:cubicBezTo>
                  <a:cubicBezTo>
                    <a:pt x="7248" y="10641"/>
                    <a:pt x="7543" y="10403"/>
                    <a:pt x="7597" y="10049"/>
                  </a:cubicBezTo>
                  <a:cubicBezTo>
                    <a:pt x="7621" y="9906"/>
                    <a:pt x="7728" y="9799"/>
                    <a:pt x="7859" y="9752"/>
                  </a:cubicBezTo>
                  <a:cubicBezTo>
                    <a:pt x="8240" y="9656"/>
                    <a:pt x="8442" y="9275"/>
                    <a:pt x="8359" y="8906"/>
                  </a:cubicBezTo>
                  <a:cubicBezTo>
                    <a:pt x="8323" y="8775"/>
                    <a:pt x="8371" y="8621"/>
                    <a:pt x="8478" y="8537"/>
                  </a:cubicBezTo>
                  <a:cubicBezTo>
                    <a:pt x="8776" y="8299"/>
                    <a:pt x="8811" y="7871"/>
                    <a:pt x="8573" y="7573"/>
                  </a:cubicBezTo>
                  <a:cubicBezTo>
                    <a:pt x="8490" y="7454"/>
                    <a:pt x="8478" y="7299"/>
                    <a:pt x="8538" y="7168"/>
                  </a:cubicBezTo>
                  <a:cubicBezTo>
                    <a:pt x="8692" y="6823"/>
                    <a:pt x="8561" y="6406"/>
                    <a:pt x="8240" y="6239"/>
                  </a:cubicBezTo>
                  <a:cubicBezTo>
                    <a:pt x="8097" y="6180"/>
                    <a:pt x="8026" y="6037"/>
                    <a:pt x="8037" y="5906"/>
                  </a:cubicBezTo>
                  <a:cubicBezTo>
                    <a:pt x="8061" y="5525"/>
                    <a:pt x="7776" y="5204"/>
                    <a:pt x="7383" y="5168"/>
                  </a:cubicBezTo>
                  <a:cubicBezTo>
                    <a:pt x="7311" y="5168"/>
                    <a:pt x="7240" y="5144"/>
                    <a:pt x="7180" y="5096"/>
                  </a:cubicBezTo>
                  <a:lnTo>
                    <a:pt x="10526" y="429"/>
                  </a:lnTo>
                  <a:cubicBezTo>
                    <a:pt x="10585" y="358"/>
                    <a:pt x="10597" y="251"/>
                    <a:pt x="10538" y="143"/>
                  </a:cubicBezTo>
                  <a:cubicBezTo>
                    <a:pt x="10490" y="60"/>
                    <a:pt x="10395" y="0"/>
                    <a:pt x="10288" y="0"/>
                  </a:cubicBezTo>
                  <a:lnTo>
                    <a:pt x="7478" y="0"/>
                  </a:lnTo>
                  <a:cubicBezTo>
                    <a:pt x="7383" y="0"/>
                    <a:pt x="7299" y="36"/>
                    <a:pt x="7252" y="120"/>
                  </a:cubicBezTo>
                  <a:lnTo>
                    <a:pt x="5287" y="2858"/>
                  </a:lnTo>
                  <a:lnTo>
                    <a:pt x="3335" y="120"/>
                  </a:lnTo>
                  <a:cubicBezTo>
                    <a:pt x="3299" y="36"/>
                    <a:pt x="3204" y="0"/>
                    <a:pt x="3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3" name="Google Shape;13593;p64"/>
            <p:cNvSpPr/>
            <p:nvPr/>
          </p:nvSpPr>
          <p:spPr>
            <a:xfrm>
              <a:off x="938458" y="2136979"/>
              <a:ext cx="166789" cy="76742"/>
            </a:xfrm>
            <a:custGeom>
              <a:avLst/>
              <a:gdLst/>
              <a:ahLst/>
              <a:cxnLst/>
              <a:rect l="l" t="t" r="r" b="b"/>
              <a:pathLst>
                <a:path w="5240" h="2411" extrusionOk="0">
                  <a:moveTo>
                    <a:pt x="2620" y="1"/>
                  </a:moveTo>
                  <a:cubicBezTo>
                    <a:pt x="2001" y="1"/>
                    <a:pt x="1370" y="227"/>
                    <a:pt x="894" y="643"/>
                  </a:cubicBezTo>
                  <a:cubicBezTo>
                    <a:pt x="417" y="1036"/>
                    <a:pt x="108" y="1608"/>
                    <a:pt x="13" y="2227"/>
                  </a:cubicBezTo>
                  <a:cubicBezTo>
                    <a:pt x="1" y="2322"/>
                    <a:pt x="60" y="2406"/>
                    <a:pt x="156" y="2406"/>
                  </a:cubicBezTo>
                  <a:lnTo>
                    <a:pt x="179" y="2406"/>
                  </a:lnTo>
                  <a:cubicBezTo>
                    <a:pt x="251" y="2406"/>
                    <a:pt x="334" y="2346"/>
                    <a:pt x="346" y="2275"/>
                  </a:cubicBezTo>
                  <a:cubicBezTo>
                    <a:pt x="429" y="1739"/>
                    <a:pt x="703" y="1251"/>
                    <a:pt x="1120" y="894"/>
                  </a:cubicBezTo>
                  <a:cubicBezTo>
                    <a:pt x="1537" y="536"/>
                    <a:pt x="2072" y="322"/>
                    <a:pt x="2620" y="322"/>
                  </a:cubicBezTo>
                  <a:cubicBezTo>
                    <a:pt x="3168" y="322"/>
                    <a:pt x="3704" y="524"/>
                    <a:pt x="4120" y="894"/>
                  </a:cubicBezTo>
                  <a:cubicBezTo>
                    <a:pt x="4537" y="1251"/>
                    <a:pt x="4811" y="1739"/>
                    <a:pt x="4894" y="2275"/>
                  </a:cubicBezTo>
                  <a:cubicBezTo>
                    <a:pt x="4904" y="2356"/>
                    <a:pt x="4975" y="2411"/>
                    <a:pt x="5040" y="2411"/>
                  </a:cubicBezTo>
                  <a:cubicBezTo>
                    <a:pt x="5051" y="2411"/>
                    <a:pt x="5062" y="2409"/>
                    <a:pt x="5073" y="2406"/>
                  </a:cubicBezTo>
                  <a:cubicBezTo>
                    <a:pt x="5180" y="2394"/>
                    <a:pt x="5240" y="2322"/>
                    <a:pt x="5228" y="2227"/>
                  </a:cubicBezTo>
                  <a:cubicBezTo>
                    <a:pt x="5132" y="1620"/>
                    <a:pt x="4823" y="1060"/>
                    <a:pt x="4347" y="643"/>
                  </a:cubicBezTo>
                  <a:cubicBezTo>
                    <a:pt x="3870" y="227"/>
                    <a:pt x="326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4" name="Google Shape;13594;p64"/>
            <p:cNvSpPr/>
            <p:nvPr/>
          </p:nvSpPr>
          <p:spPr>
            <a:xfrm>
              <a:off x="938840" y="2227377"/>
              <a:ext cx="166407" cy="76774"/>
            </a:xfrm>
            <a:custGeom>
              <a:avLst/>
              <a:gdLst/>
              <a:ahLst/>
              <a:cxnLst/>
              <a:rect l="l" t="t" r="r" b="b"/>
              <a:pathLst>
                <a:path w="5228" h="2412" extrusionOk="0">
                  <a:moveTo>
                    <a:pt x="193" y="1"/>
                  </a:moveTo>
                  <a:cubicBezTo>
                    <a:pt x="181" y="1"/>
                    <a:pt x="168" y="3"/>
                    <a:pt x="155" y="6"/>
                  </a:cubicBezTo>
                  <a:cubicBezTo>
                    <a:pt x="60" y="18"/>
                    <a:pt x="1" y="101"/>
                    <a:pt x="24" y="197"/>
                  </a:cubicBezTo>
                  <a:cubicBezTo>
                    <a:pt x="108" y="804"/>
                    <a:pt x="417" y="1375"/>
                    <a:pt x="894" y="1768"/>
                  </a:cubicBezTo>
                  <a:cubicBezTo>
                    <a:pt x="1370" y="2185"/>
                    <a:pt x="1989" y="2411"/>
                    <a:pt x="2608" y="2411"/>
                  </a:cubicBezTo>
                  <a:cubicBezTo>
                    <a:pt x="3239" y="2411"/>
                    <a:pt x="3858" y="2185"/>
                    <a:pt x="4335" y="1768"/>
                  </a:cubicBezTo>
                  <a:cubicBezTo>
                    <a:pt x="4811" y="1375"/>
                    <a:pt x="5120" y="804"/>
                    <a:pt x="5216" y="185"/>
                  </a:cubicBezTo>
                  <a:cubicBezTo>
                    <a:pt x="5228" y="101"/>
                    <a:pt x="5168" y="18"/>
                    <a:pt x="5085" y="6"/>
                  </a:cubicBezTo>
                  <a:cubicBezTo>
                    <a:pt x="5070" y="3"/>
                    <a:pt x="5056" y="1"/>
                    <a:pt x="5043" y="1"/>
                  </a:cubicBezTo>
                  <a:cubicBezTo>
                    <a:pt x="4966" y="1"/>
                    <a:pt x="4906" y="56"/>
                    <a:pt x="4906" y="137"/>
                  </a:cubicBezTo>
                  <a:cubicBezTo>
                    <a:pt x="4811" y="673"/>
                    <a:pt x="4549" y="1161"/>
                    <a:pt x="4132" y="1518"/>
                  </a:cubicBezTo>
                  <a:cubicBezTo>
                    <a:pt x="3715" y="1875"/>
                    <a:pt x="3180" y="2090"/>
                    <a:pt x="2620" y="2090"/>
                  </a:cubicBezTo>
                  <a:cubicBezTo>
                    <a:pt x="2072" y="2090"/>
                    <a:pt x="1537" y="1887"/>
                    <a:pt x="1120" y="1518"/>
                  </a:cubicBezTo>
                  <a:cubicBezTo>
                    <a:pt x="703" y="1161"/>
                    <a:pt x="441" y="673"/>
                    <a:pt x="346" y="137"/>
                  </a:cubicBezTo>
                  <a:cubicBezTo>
                    <a:pt x="336" y="56"/>
                    <a:pt x="265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5" name="Google Shape;13595;p64"/>
            <p:cNvSpPr/>
            <p:nvPr/>
          </p:nvSpPr>
          <p:spPr>
            <a:xfrm>
              <a:off x="1007052" y="2185106"/>
              <a:ext cx="19003" cy="70153"/>
            </a:xfrm>
            <a:custGeom>
              <a:avLst/>
              <a:gdLst/>
              <a:ahLst/>
              <a:cxnLst/>
              <a:rect l="l" t="t" r="r" b="b"/>
              <a:pathLst>
                <a:path w="597" h="2204" extrusionOk="0">
                  <a:moveTo>
                    <a:pt x="453" y="1"/>
                  </a:moveTo>
                  <a:cubicBezTo>
                    <a:pt x="418" y="1"/>
                    <a:pt x="394" y="24"/>
                    <a:pt x="382" y="36"/>
                  </a:cubicBezTo>
                  <a:lnTo>
                    <a:pt x="60" y="334"/>
                  </a:lnTo>
                  <a:cubicBezTo>
                    <a:pt x="25" y="358"/>
                    <a:pt x="1" y="405"/>
                    <a:pt x="1" y="453"/>
                  </a:cubicBezTo>
                  <a:cubicBezTo>
                    <a:pt x="1" y="513"/>
                    <a:pt x="48" y="584"/>
                    <a:pt x="108" y="584"/>
                  </a:cubicBezTo>
                  <a:cubicBezTo>
                    <a:pt x="120" y="584"/>
                    <a:pt x="156" y="572"/>
                    <a:pt x="167" y="560"/>
                  </a:cubicBezTo>
                  <a:lnTo>
                    <a:pt x="275" y="417"/>
                  </a:lnTo>
                  <a:lnTo>
                    <a:pt x="275" y="2108"/>
                  </a:lnTo>
                  <a:cubicBezTo>
                    <a:pt x="275" y="2179"/>
                    <a:pt x="346" y="2203"/>
                    <a:pt x="441" y="2203"/>
                  </a:cubicBezTo>
                  <a:cubicBezTo>
                    <a:pt x="513" y="2203"/>
                    <a:pt x="596" y="2179"/>
                    <a:pt x="596" y="2108"/>
                  </a:cubicBezTo>
                  <a:lnTo>
                    <a:pt x="596" y="96"/>
                  </a:lnTo>
                  <a:cubicBezTo>
                    <a:pt x="584" y="48"/>
                    <a:pt x="513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96" name="Google Shape;13596;p64"/>
          <p:cNvGrpSpPr/>
          <p:nvPr/>
        </p:nvGrpSpPr>
        <p:grpSpPr>
          <a:xfrm>
            <a:off x="2770052" y="2009628"/>
            <a:ext cx="327085" cy="277080"/>
            <a:chOff x="2770052" y="2009628"/>
            <a:chExt cx="327085" cy="277080"/>
          </a:xfrm>
        </p:grpSpPr>
        <p:sp>
          <p:nvSpPr>
            <p:cNvPr id="13597" name="Google Shape;13597;p64"/>
            <p:cNvSpPr/>
            <p:nvPr/>
          </p:nvSpPr>
          <p:spPr>
            <a:xfrm>
              <a:off x="2770052" y="2023537"/>
              <a:ext cx="327085" cy="263170"/>
            </a:xfrm>
            <a:custGeom>
              <a:avLst/>
              <a:gdLst/>
              <a:ahLst/>
              <a:cxnLst/>
              <a:rect l="l" t="t" r="r" b="b"/>
              <a:pathLst>
                <a:path w="10276" h="8268" extrusionOk="0">
                  <a:moveTo>
                    <a:pt x="6251" y="2267"/>
                  </a:moveTo>
                  <a:lnTo>
                    <a:pt x="7061" y="2541"/>
                  </a:lnTo>
                  <a:cubicBezTo>
                    <a:pt x="7073" y="2544"/>
                    <a:pt x="7086" y="2545"/>
                    <a:pt x="7098" y="2545"/>
                  </a:cubicBezTo>
                  <a:cubicBezTo>
                    <a:pt x="7136" y="2545"/>
                    <a:pt x="7174" y="2532"/>
                    <a:pt x="7192" y="2505"/>
                  </a:cubicBezTo>
                  <a:lnTo>
                    <a:pt x="7454" y="2314"/>
                  </a:lnTo>
                  <a:lnTo>
                    <a:pt x="9240" y="4660"/>
                  </a:lnTo>
                  <a:lnTo>
                    <a:pt x="8978" y="4874"/>
                  </a:lnTo>
                  <a:cubicBezTo>
                    <a:pt x="8966" y="4862"/>
                    <a:pt x="8942" y="4839"/>
                    <a:pt x="8930" y="4839"/>
                  </a:cubicBezTo>
                  <a:lnTo>
                    <a:pt x="5811" y="3148"/>
                  </a:lnTo>
                  <a:lnTo>
                    <a:pt x="5930" y="2969"/>
                  </a:lnTo>
                  <a:cubicBezTo>
                    <a:pt x="5978" y="2898"/>
                    <a:pt x="5966" y="2803"/>
                    <a:pt x="5894" y="2755"/>
                  </a:cubicBezTo>
                  <a:cubicBezTo>
                    <a:pt x="5864" y="2742"/>
                    <a:pt x="5834" y="2735"/>
                    <a:pt x="5806" y="2735"/>
                  </a:cubicBezTo>
                  <a:cubicBezTo>
                    <a:pt x="5756" y="2735"/>
                    <a:pt x="5710" y="2757"/>
                    <a:pt x="5680" y="2803"/>
                  </a:cubicBezTo>
                  <a:lnTo>
                    <a:pt x="5358" y="3326"/>
                  </a:lnTo>
                  <a:cubicBezTo>
                    <a:pt x="5335" y="3350"/>
                    <a:pt x="5323" y="3374"/>
                    <a:pt x="5323" y="3398"/>
                  </a:cubicBezTo>
                  <a:lnTo>
                    <a:pt x="5323" y="4684"/>
                  </a:lnTo>
                  <a:cubicBezTo>
                    <a:pt x="5323" y="4946"/>
                    <a:pt x="5097" y="5172"/>
                    <a:pt x="4835" y="5172"/>
                  </a:cubicBezTo>
                  <a:cubicBezTo>
                    <a:pt x="4561" y="5172"/>
                    <a:pt x="4346" y="4946"/>
                    <a:pt x="4346" y="4684"/>
                  </a:cubicBezTo>
                  <a:lnTo>
                    <a:pt x="4346" y="3410"/>
                  </a:lnTo>
                  <a:lnTo>
                    <a:pt x="4620" y="2267"/>
                  </a:lnTo>
                  <a:close/>
                  <a:moveTo>
                    <a:pt x="2680" y="1767"/>
                  </a:moveTo>
                  <a:lnTo>
                    <a:pt x="2918" y="1898"/>
                  </a:lnTo>
                  <a:lnTo>
                    <a:pt x="941" y="5303"/>
                  </a:lnTo>
                  <a:lnTo>
                    <a:pt x="703" y="5172"/>
                  </a:lnTo>
                  <a:lnTo>
                    <a:pt x="2680" y="1767"/>
                  </a:lnTo>
                  <a:close/>
                  <a:moveTo>
                    <a:pt x="3180" y="4743"/>
                  </a:moveTo>
                  <a:cubicBezTo>
                    <a:pt x="3287" y="4743"/>
                    <a:pt x="3370" y="4779"/>
                    <a:pt x="3442" y="4874"/>
                  </a:cubicBezTo>
                  <a:cubicBezTo>
                    <a:pt x="3561" y="5017"/>
                    <a:pt x="3525" y="5231"/>
                    <a:pt x="3370" y="5339"/>
                  </a:cubicBezTo>
                  <a:lnTo>
                    <a:pt x="2322" y="6112"/>
                  </a:lnTo>
                  <a:cubicBezTo>
                    <a:pt x="2262" y="6150"/>
                    <a:pt x="2194" y="6169"/>
                    <a:pt x="2127" y="6169"/>
                  </a:cubicBezTo>
                  <a:cubicBezTo>
                    <a:pt x="2023" y="6169"/>
                    <a:pt x="1923" y="6123"/>
                    <a:pt x="1858" y="6029"/>
                  </a:cubicBezTo>
                  <a:cubicBezTo>
                    <a:pt x="1751" y="5886"/>
                    <a:pt x="1787" y="5672"/>
                    <a:pt x="1929" y="5565"/>
                  </a:cubicBezTo>
                  <a:lnTo>
                    <a:pt x="2989" y="4803"/>
                  </a:lnTo>
                  <a:cubicBezTo>
                    <a:pt x="3049" y="4755"/>
                    <a:pt x="3120" y="4743"/>
                    <a:pt x="3180" y="4743"/>
                  </a:cubicBezTo>
                  <a:close/>
                  <a:moveTo>
                    <a:pt x="3775" y="5493"/>
                  </a:moveTo>
                  <a:cubicBezTo>
                    <a:pt x="3870" y="5493"/>
                    <a:pt x="3954" y="5553"/>
                    <a:pt x="4013" y="5636"/>
                  </a:cubicBezTo>
                  <a:cubicBezTo>
                    <a:pt x="4132" y="5779"/>
                    <a:pt x="4085" y="5993"/>
                    <a:pt x="3942" y="6089"/>
                  </a:cubicBezTo>
                  <a:lnTo>
                    <a:pt x="3132" y="6708"/>
                  </a:lnTo>
                  <a:cubicBezTo>
                    <a:pt x="3076" y="6745"/>
                    <a:pt x="3013" y="6764"/>
                    <a:pt x="2949" y="6764"/>
                  </a:cubicBezTo>
                  <a:cubicBezTo>
                    <a:pt x="2851" y="6764"/>
                    <a:pt x="2752" y="6718"/>
                    <a:pt x="2680" y="6624"/>
                  </a:cubicBezTo>
                  <a:cubicBezTo>
                    <a:pt x="2572" y="6482"/>
                    <a:pt x="2596" y="6255"/>
                    <a:pt x="2751" y="6148"/>
                  </a:cubicBezTo>
                  <a:lnTo>
                    <a:pt x="3537" y="5589"/>
                  </a:lnTo>
                  <a:cubicBezTo>
                    <a:pt x="3573" y="5565"/>
                    <a:pt x="3596" y="5541"/>
                    <a:pt x="3620" y="5529"/>
                  </a:cubicBezTo>
                  <a:cubicBezTo>
                    <a:pt x="3668" y="5517"/>
                    <a:pt x="3715" y="5493"/>
                    <a:pt x="3775" y="5493"/>
                  </a:cubicBezTo>
                  <a:close/>
                  <a:moveTo>
                    <a:pt x="4359" y="6281"/>
                  </a:moveTo>
                  <a:cubicBezTo>
                    <a:pt x="4454" y="6281"/>
                    <a:pt x="4550" y="6321"/>
                    <a:pt x="4620" y="6398"/>
                  </a:cubicBezTo>
                  <a:cubicBezTo>
                    <a:pt x="4739" y="6553"/>
                    <a:pt x="4704" y="6755"/>
                    <a:pt x="4549" y="6863"/>
                  </a:cubicBezTo>
                  <a:lnTo>
                    <a:pt x="3954" y="7303"/>
                  </a:lnTo>
                  <a:cubicBezTo>
                    <a:pt x="3898" y="7331"/>
                    <a:pt x="3829" y="7358"/>
                    <a:pt x="3767" y="7358"/>
                  </a:cubicBezTo>
                  <a:cubicBezTo>
                    <a:pt x="3749" y="7358"/>
                    <a:pt x="3732" y="7356"/>
                    <a:pt x="3715" y="7351"/>
                  </a:cubicBezTo>
                  <a:cubicBezTo>
                    <a:pt x="3620" y="7339"/>
                    <a:pt x="3549" y="7303"/>
                    <a:pt x="3513" y="7220"/>
                  </a:cubicBezTo>
                  <a:cubicBezTo>
                    <a:pt x="3406" y="7077"/>
                    <a:pt x="3430" y="6863"/>
                    <a:pt x="3584" y="6755"/>
                  </a:cubicBezTo>
                  <a:lnTo>
                    <a:pt x="4144" y="6363"/>
                  </a:lnTo>
                  <a:lnTo>
                    <a:pt x="4168" y="6339"/>
                  </a:lnTo>
                  <a:cubicBezTo>
                    <a:pt x="4226" y="6300"/>
                    <a:pt x="4292" y="6281"/>
                    <a:pt x="4359" y="6281"/>
                  </a:cubicBezTo>
                  <a:close/>
                  <a:moveTo>
                    <a:pt x="2870" y="2553"/>
                  </a:moveTo>
                  <a:lnTo>
                    <a:pt x="3156" y="2707"/>
                  </a:lnTo>
                  <a:cubicBezTo>
                    <a:pt x="3173" y="2725"/>
                    <a:pt x="3197" y="2736"/>
                    <a:pt x="3218" y="2736"/>
                  </a:cubicBezTo>
                  <a:cubicBezTo>
                    <a:pt x="3226" y="2736"/>
                    <a:pt x="3233" y="2734"/>
                    <a:pt x="3239" y="2731"/>
                  </a:cubicBezTo>
                  <a:lnTo>
                    <a:pt x="3942" y="2636"/>
                  </a:lnTo>
                  <a:lnTo>
                    <a:pt x="4192" y="2743"/>
                  </a:lnTo>
                  <a:lnTo>
                    <a:pt x="4049" y="3338"/>
                  </a:lnTo>
                  <a:lnTo>
                    <a:pt x="4049" y="3362"/>
                  </a:lnTo>
                  <a:lnTo>
                    <a:pt x="4049" y="4648"/>
                  </a:lnTo>
                  <a:cubicBezTo>
                    <a:pt x="4049" y="5077"/>
                    <a:pt x="4406" y="5434"/>
                    <a:pt x="4835" y="5434"/>
                  </a:cubicBezTo>
                  <a:cubicBezTo>
                    <a:pt x="5263" y="5434"/>
                    <a:pt x="5620" y="5077"/>
                    <a:pt x="5620" y="4648"/>
                  </a:cubicBezTo>
                  <a:lnTo>
                    <a:pt x="5620" y="3410"/>
                  </a:lnTo>
                  <a:lnTo>
                    <a:pt x="5656" y="3362"/>
                  </a:lnTo>
                  <a:lnTo>
                    <a:pt x="8776" y="5065"/>
                  </a:lnTo>
                  <a:cubicBezTo>
                    <a:pt x="8942" y="5184"/>
                    <a:pt x="9002" y="5374"/>
                    <a:pt x="8907" y="5541"/>
                  </a:cubicBezTo>
                  <a:cubicBezTo>
                    <a:pt x="8850" y="5654"/>
                    <a:pt x="8745" y="5717"/>
                    <a:pt x="8631" y="5717"/>
                  </a:cubicBezTo>
                  <a:cubicBezTo>
                    <a:pt x="8576" y="5717"/>
                    <a:pt x="8520" y="5703"/>
                    <a:pt x="8466" y="5672"/>
                  </a:cubicBezTo>
                  <a:lnTo>
                    <a:pt x="6740" y="4743"/>
                  </a:lnTo>
                  <a:cubicBezTo>
                    <a:pt x="6711" y="4727"/>
                    <a:pt x="6682" y="4719"/>
                    <a:pt x="6655" y="4719"/>
                  </a:cubicBezTo>
                  <a:cubicBezTo>
                    <a:pt x="6603" y="4719"/>
                    <a:pt x="6557" y="4748"/>
                    <a:pt x="6525" y="4803"/>
                  </a:cubicBezTo>
                  <a:cubicBezTo>
                    <a:pt x="6490" y="4874"/>
                    <a:pt x="6513" y="4958"/>
                    <a:pt x="6585" y="5005"/>
                  </a:cubicBezTo>
                  <a:lnTo>
                    <a:pt x="8037" y="5791"/>
                  </a:lnTo>
                  <a:cubicBezTo>
                    <a:pt x="8192" y="5886"/>
                    <a:pt x="8252" y="6077"/>
                    <a:pt x="8168" y="6243"/>
                  </a:cubicBezTo>
                  <a:cubicBezTo>
                    <a:pt x="8104" y="6356"/>
                    <a:pt x="7996" y="6415"/>
                    <a:pt x="7881" y="6415"/>
                  </a:cubicBezTo>
                  <a:cubicBezTo>
                    <a:pt x="7826" y="6415"/>
                    <a:pt x="7770" y="6401"/>
                    <a:pt x="7716" y="6374"/>
                  </a:cubicBezTo>
                  <a:lnTo>
                    <a:pt x="6251" y="5565"/>
                  </a:lnTo>
                  <a:cubicBezTo>
                    <a:pt x="6226" y="5554"/>
                    <a:pt x="6200" y="5548"/>
                    <a:pt x="6175" y="5548"/>
                  </a:cubicBezTo>
                  <a:cubicBezTo>
                    <a:pt x="6120" y="5548"/>
                    <a:pt x="6070" y="5575"/>
                    <a:pt x="6037" y="5624"/>
                  </a:cubicBezTo>
                  <a:cubicBezTo>
                    <a:pt x="5990" y="5708"/>
                    <a:pt x="6025" y="5791"/>
                    <a:pt x="6097" y="5839"/>
                  </a:cubicBezTo>
                  <a:lnTo>
                    <a:pt x="7287" y="6493"/>
                  </a:lnTo>
                  <a:cubicBezTo>
                    <a:pt x="7454" y="6577"/>
                    <a:pt x="7514" y="6779"/>
                    <a:pt x="7418" y="6934"/>
                  </a:cubicBezTo>
                  <a:cubicBezTo>
                    <a:pt x="7360" y="7050"/>
                    <a:pt x="7250" y="7114"/>
                    <a:pt x="7132" y="7114"/>
                  </a:cubicBezTo>
                  <a:cubicBezTo>
                    <a:pt x="7081" y="7114"/>
                    <a:pt x="7028" y="7102"/>
                    <a:pt x="6978" y="7077"/>
                  </a:cubicBezTo>
                  <a:lnTo>
                    <a:pt x="5728" y="6386"/>
                  </a:lnTo>
                  <a:cubicBezTo>
                    <a:pt x="5705" y="6371"/>
                    <a:pt x="5680" y="6365"/>
                    <a:pt x="5655" y="6365"/>
                  </a:cubicBezTo>
                  <a:cubicBezTo>
                    <a:pt x="5601" y="6365"/>
                    <a:pt x="5546" y="6397"/>
                    <a:pt x="5513" y="6446"/>
                  </a:cubicBezTo>
                  <a:cubicBezTo>
                    <a:pt x="5478" y="6517"/>
                    <a:pt x="5501" y="6613"/>
                    <a:pt x="5573" y="6660"/>
                  </a:cubicBezTo>
                  <a:lnTo>
                    <a:pt x="6549" y="7172"/>
                  </a:lnTo>
                  <a:cubicBezTo>
                    <a:pt x="6704" y="7267"/>
                    <a:pt x="6763" y="7458"/>
                    <a:pt x="6680" y="7625"/>
                  </a:cubicBezTo>
                  <a:cubicBezTo>
                    <a:pt x="6616" y="7737"/>
                    <a:pt x="6508" y="7801"/>
                    <a:pt x="6393" y="7801"/>
                  </a:cubicBezTo>
                  <a:cubicBezTo>
                    <a:pt x="6338" y="7801"/>
                    <a:pt x="6282" y="7786"/>
                    <a:pt x="6228" y="7756"/>
                  </a:cubicBezTo>
                  <a:lnTo>
                    <a:pt x="5549" y="7386"/>
                  </a:lnTo>
                  <a:cubicBezTo>
                    <a:pt x="5549" y="7255"/>
                    <a:pt x="5501" y="7101"/>
                    <a:pt x="5406" y="6994"/>
                  </a:cubicBezTo>
                  <a:cubicBezTo>
                    <a:pt x="5299" y="6851"/>
                    <a:pt x="5132" y="6755"/>
                    <a:pt x="4954" y="6744"/>
                  </a:cubicBezTo>
                  <a:lnTo>
                    <a:pt x="4954" y="6696"/>
                  </a:lnTo>
                  <a:cubicBezTo>
                    <a:pt x="4977" y="6541"/>
                    <a:pt x="4930" y="6363"/>
                    <a:pt x="4835" y="6220"/>
                  </a:cubicBezTo>
                  <a:cubicBezTo>
                    <a:pt x="4716" y="6077"/>
                    <a:pt x="4549" y="5982"/>
                    <a:pt x="4370" y="5970"/>
                  </a:cubicBezTo>
                  <a:lnTo>
                    <a:pt x="4370" y="5922"/>
                  </a:lnTo>
                  <a:cubicBezTo>
                    <a:pt x="4406" y="5767"/>
                    <a:pt x="4358" y="5589"/>
                    <a:pt x="4251" y="5446"/>
                  </a:cubicBezTo>
                  <a:cubicBezTo>
                    <a:pt x="4132" y="5303"/>
                    <a:pt x="3965" y="5208"/>
                    <a:pt x="3787" y="5196"/>
                  </a:cubicBezTo>
                  <a:lnTo>
                    <a:pt x="3787" y="5148"/>
                  </a:lnTo>
                  <a:cubicBezTo>
                    <a:pt x="3823" y="4993"/>
                    <a:pt x="3775" y="4815"/>
                    <a:pt x="3668" y="4672"/>
                  </a:cubicBezTo>
                  <a:cubicBezTo>
                    <a:pt x="3547" y="4516"/>
                    <a:pt x="3359" y="4432"/>
                    <a:pt x="3172" y="4432"/>
                  </a:cubicBezTo>
                  <a:cubicBezTo>
                    <a:pt x="3044" y="4432"/>
                    <a:pt x="2917" y="4471"/>
                    <a:pt x="2811" y="4553"/>
                  </a:cubicBezTo>
                  <a:lnTo>
                    <a:pt x="1763" y="5315"/>
                  </a:lnTo>
                  <a:lnTo>
                    <a:pt x="1394" y="5112"/>
                  </a:lnTo>
                  <a:lnTo>
                    <a:pt x="2870" y="2553"/>
                  </a:lnTo>
                  <a:close/>
                  <a:moveTo>
                    <a:pt x="4936" y="7026"/>
                  </a:moveTo>
                  <a:cubicBezTo>
                    <a:pt x="5036" y="7026"/>
                    <a:pt x="5132" y="7070"/>
                    <a:pt x="5204" y="7148"/>
                  </a:cubicBezTo>
                  <a:cubicBezTo>
                    <a:pt x="5251" y="7244"/>
                    <a:pt x="5275" y="7315"/>
                    <a:pt x="5263" y="7398"/>
                  </a:cubicBezTo>
                  <a:cubicBezTo>
                    <a:pt x="5251" y="7494"/>
                    <a:pt x="5204" y="7565"/>
                    <a:pt x="5132" y="7625"/>
                  </a:cubicBezTo>
                  <a:lnTo>
                    <a:pt x="4787" y="7875"/>
                  </a:lnTo>
                  <a:cubicBezTo>
                    <a:pt x="4729" y="7918"/>
                    <a:pt x="4658" y="7940"/>
                    <a:pt x="4588" y="7940"/>
                  </a:cubicBezTo>
                  <a:cubicBezTo>
                    <a:pt x="4487" y="7940"/>
                    <a:pt x="4386" y="7895"/>
                    <a:pt x="4323" y="7803"/>
                  </a:cubicBezTo>
                  <a:cubicBezTo>
                    <a:pt x="4215" y="7660"/>
                    <a:pt x="4251" y="7446"/>
                    <a:pt x="4406" y="7339"/>
                  </a:cubicBezTo>
                  <a:lnTo>
                    <a:pt x="4727" y="7101"/>
                  </a:lnTo>
                  <a:lnTo>
                    <a:pt x="4739" y="7089"/>
                  </a:lnTo>
                  <a:cubicBezTo>
                    <a:pt x="4802" y="7046"/>
                    <a:pt x="4870" y="7026"/>
                    <a:pt x="4936" y="7026"/>
                  </a:cubicBezTo>
                  <a:close/>
                  <a:moveTo>
                    <a:pt x="180" y="0"/>
                  </a:moveTo>
                  <a:cubicBezTo>
                    <a:pt x="125" y="0"/>
                    <a:pt x="69" y="27"/>
                    <a:pt x="36" y="76"/>
                  </a:cubicBezTo>
                  <a:cubicBezTo>
                    <a:pt x="1" y="159"/>
                    <a:pt x="24" y="243"/>
                    <a:pt x="96" y="290"/>
                  </a:cubicBezTo>
                  <a:lnTo>
                    <a:pt x="2382" y="1600"/>
                  </a:lnTo>
                  <a:lnTo>
                    <a:pt x="405" y="5005"/>
                  </a:lnTo>
                  <a:lnTo>
                    <a:pt x="251" y="4922"/>
                  </a:lnTo>
                  <a:cubicBezTo>
                    <a:pt x="221" y="4905"/>
                    <a:pt x="192" y="4897"/>
                    <a:pt x="164" y="4897"/>
                  </a:cubicBezTo>
                  <a:cubicBezTo>
                    <a:pt x="113" y="4897"/>
                    <a:pt x="67" y="4923"/>
                    <a:pt x="36" y="4969"/>
                  </a:cubicBezTo>
                  <a:cubicBezTo>
                    <a:pt x="1" y="5053"/>
                    <a:pt x="24" y="5136"/>
                    <a:pt x="96" y="5184"/>
                  </a:cubicBezTo>
                  <a:lnTo>
                    <a:pt x="882" y="5648"/>
                  </a:lnTo>
                  <a:cubicBezTo>
                    <a:pt x="908" y="5663"/>
                    <a:pt x="934" y="5670"/>
                    <a:pt x="959" y="5670"/>
                  </a:cubicBezTo>
                  <a:cubicBezTo>
                    <a:pt x="1014" y="5670"/>
                    <a:pt x="1063" y="5638"/>
                    <a:pt x="1096" y="5589"/>
                  </a:cubicBezTo>
                  <a:lnTo>
                    <a:pt x="1215" y="5398"/>
                  </a:lnTo>
                  <a:lnTo>
                    <a:pt x="1537" y="5565"/>
                  </a:lnTo>
                  <a:cubicBezTo>
                    <a:pt x="1441" y="5779"/>
                    <a:pt x="1453" y="6029"/>
                    <a:pt x="1584" y="6220"/>
                  </a:cubicBezTo>
                  <a:cubicBezTo>
                    <a:pt x="1703" y="6386"/>
                    <a:pt x="1894" y="6482"/>
                    <a:pt x="2096" y="6482"/>
                  </a:cubicBezTo>
                  <a:cubicBezTo>
                    <a:pt x="2156" y="6482"/>
                    <a:pt x="2227" y="6458"/>
                    <a:pt x="2287" y="6446"/>
                  </a:cubicBezTo>
                  <a:cubicBezTo>
                    <a:pt x="2287" y="6577"/>
                    <a:pt x="2334" y="6720"/>
                    <a:pt x="2406" y="6815"/>
                  </a:cubicBezTo>
                  <a:cubicBezTo>
                    <a:pt x="2525" y="6982"/>
                    <a:pt x="2715" y="7077"/>
                    <a:pt x="2906" y="7077"/>
                  </a:cubicBezTo>
                  <a:cubicBezTo>
                    <a:pt x="2965" y="7077"/>
                    <a:pt x="3049" y="7053"/>
                    <a:pt x="3108" y="7041"/>
                  </a:cubicBezTo>
                  <a:cubicBezTo>
                    <a:pt x="3108" y="7160"/>
                    <a:pt x="3144" y="7291"/>
                    <a:pt x="3227" y="7398"/>
                  </a:cubicBezTo>
                  <a:cubicBezTo>
                    <a:pt x="3323" y="7529"/>
                    <a:pt x="3465" y="7625"/>
                    <a:pt x="3644" y="7648"/>
                  </a:cubicBezTo>
                  <a:cubicBezTo>
                    <a:pt x="3668" y="7648"/>
                    <a:pt x="3715" y="7672"/>
                    <a:pt x="3739" y="7672"/>
                  </a:cubicBezTo>
                  <a:cubicBezTo>
                    <a:pt x="3799" y="7672"/>
                    <a:pt x="3882" y="7648"/>
                    <a:pt x="3942" y="7636"/>
                  </a:cubicBezTo>
                  <a:cubicBezTo>
                    <a:pt x="3942" y="7767"/>
                    <a:pt x="3977" y="7886"/>
                    <a:pt x="4061" y="7994"/>
                  </a:cubicBezTo>
                  <a:cubicBezTo>
                    <a:pt x="4156" y="8125"/>
                    <a:pt x="4299" y="8220"/>
                    <a:pt x="4477" y="8244"/>
                  </a:cubicBezTo>
                  <a:cubicBezTo>
                    <a:pt x="4501" y="8244"/>
                    <a:pt x="4549" y="8267"/>
                    <a:pt x="4573" y="8267"/>
                  </a:cubicBezTo>
                  <a:cubicBezTo>
                    <a:pt x="4716" y="8267"/>
                    <a:pt x="4835" y="8220"/>
                    <a:pt x="4954" y="8148"/>
                  </a:cubicBezTo>
                  <a:lnTo>
                    <a:pt x="5287" y="7886"/>
                  </a:lnTo>
                  <a:cubicBezTo>
                    <a:pt x="5370" y="7827"/>
                    <a:pt x="5430" y="7767"/>
                    <a:pt x="5466" y="7684"/>
                  </a:cubicBezTo>
                  <a:lnTo>
                    <a:pt x="6085" y="8029"/>
                  </a:lnTo>
                  <a:cubicBezTo>
                    <a:pt x="6168" y="8077"/>
                    <a:pt x="6275" y="8101"/>
                    <a:pt x="6382" y="8101"/>
                  </a:cubicBezTo>
                  <a:cubicBezTo>
                    <a:pt x="6442" y="8101"/>
                    <a:pt x="6501" y="8089"/>
                    <a:pt x="6561" y="8077"/>
                  </a:cubicBezTo>
                  <a:cubicBezTo>
                    <a:pt x="6716" y="8029"/>
                    <a:pt x="6859" y="7922"/>
                    <a:pt x="6930" y="7779"/>
                  </a:cubicBezTo>
                  <a:cubicBezTo>
                    <a:pt x="6990" y="7648"/>
                    <a:pt x="7013" y="7529"/>
                    <a:pt x="7002" y="7398"/>
                  </a:cubicBezTo>
                  <a:cubicBezTo>
                    <a:pt x="7049" y="7398"/>
                    <a:pt x="7073" y="7422"/>
                    <a:pt x="7121" y="7422"/>
                  </a:cubicBezTo>
                  <a:cubicBezTo>
                    <a:pt x="7347" y="7422"/>
                    <a:pt x="7573" y="7303"/>
                    <a:pt x="7668" y="7089"/>
                  </a:cubicBezTo>
                  <a:cubicBezTo>
                    <a:pt x="7728" y="6970"/>
                    <a:pt x="7764" y="6839"/>
                    <a:pt x="7752" y="6720"/>
                  </a:cubicBezTo>
                  <a:cubicBezTo>
                    <a:pt x="7787" y="6720"/>
                    <a:pt x="7823" y="6732"/>
                    <a:pt x="7871" y="6732"/>
                  </a:cubicBezTo>
                  <a:cubicBezTo>
                    <a:pt x="8085" y="6732"/>
                    <a:pt x="8311" y="6613"/>
                    <a:pt x="8418" y="6410"/>
                  </a:cubicBezTo>
                  <a:cubicBezTo>
                    <a:pt x="8478" y="6291"/>
                    <a:pt x="8502" y="6172"/>
                    <a:pt x="8490" y="6029"/>
                  </a:cubicBezTo>
                  <a:cubicBezTo>
                    <a:pt x="8537" y="6029"/>
                    <a:pt x="8561" y="6053"/>
                    <a:pt x="8609" y="6053"/>
                  </a:cubicBezTo>
                  <a:cubicBezTo>
                    <a:pt x="8668" y="6053"/>
                    <a:pt x="8728" y="6029"/>
                    <a:pt x="8787" y="6017"/>
                  </a:cubicBezTo>
                  <a:cubicBezTo>
                    <a:pt x="8954" y="5970"/>
                    <a:pt x="9085" y="5874"/>
                    <a:pt x="9157" y="5720"/>
                  </a:cubicBezTo>
                  <a:cubicBezTo>
                    <a:pt x="9240" y="5577"/>
                    <a:pt x="9264" y="5410"/>
                    <a:pt x="9204" y="5243"/>
                  </a:cubicBezTo>
                  <a:cubicBezTo>
                    <a:pt x="9192" y="5196"/>
                    <a:pt x="9180" y="5172"/>
                    <a:pt x="9157" y="5136"/>
                  </a:cubicBezTo>
                  <a:lnTo>
                    <a:pt x="9430" y="4946"/>
                  </a:lnTo>
                  <a:lnTo>
                    <a:pt x="9561" y="5124"/>
                  </a:lnTo>
                  <a:cubicBezTo>
                    <a:pt x="9591" y="5161"/>
                    <a:pt x="9644" y="5180"/>
                    <a:pt x="9694" y="5180"/>
                  </a:cubicBezTo>
                  <a:cubicBezTo>
                    <a:pt x="9724" y="5180"/>
                    <a:pt x="9753" y="5173"/>
                    <a:pt x="9776" y="5160"/>
                  </a:cubicBezTo>
                  <a:lnTo>
                    <a:pt x="10192" y="4827"/>
                  </a:lnTo>
                  <a:cubicBezTo>
                    <a:pt x="10264" y="4743"/>
                    <a:pt x="10276" y="4648"/>
                    <a:pt x="10240" y="4577"/>
                  </a:cubicBezTo>
                  <a:cubicBezTo>
                    <a:pt x="10210" y="4539"/>
                    <a:pt x="10157" y="4521"/>
                    <a:pt x="10107" y="4521"/>
                  </a:cubicBezTo>
                  <a:cubicBezTo>
                    <a:pt x="10077" y="4521"/>
                    <a:pt x="10048" y="4527"/>
                    <a:pt x="10026" y="4541"/>
                  </a:cubicBezTo>
                  <a:lnTo>
                    <a:pt x="9728" y="4779"/>
                  </a:lnTo>
                  <a:lnTo>
                    <a:pt x="7347" y="1671"/>
                  </a:lnTo>
                  <a:lnTo>
                    <a:pt x="8704" y="790"/>
                  </a:lnTo>
                  <a:cubicBezTo>
                    <a:pt x="8776" y="755"/>
                    <a:pt x="8787" y="659"/>
                    <a:pt x="8752" y="588"/>
                  </a:cubicBezTo>
                  <a:cubicBezTo>
                    <a:pt x="8721" y="542"/>
                    <a:pt x="8670" y="516"/>
                    <a:pt x="8619" y="516"/>
                  </a:cubicBezTo>
                  <a:cubicBezTo>
                    <a:pt x="8591" y="516"/>
                    <a:pt x="8563" y="523"/>
                    <a:pt x="8537" y="540"/>
                  </a:cubicBezTo>
                  <a:lnTo>
                    <a:pt x="7049" y="1493"/>
                  </a:lnTo>
                  <a:cubicBezTo>
                    <a:pt x="6978" y="1540"/>
                    <a:pt x="6966" y="1648"/>
                    <a:pt x="7002" y="1719"/>
                  </a:cubicBezTo>
                  <a:lnTo>
                    <a:pt x="7275" y="2076"/>
                  </a:lnTo>
                  <a:lnTo>
                    <a:pt x="7085" y="2219"/>
                  </a:lnTo>
                  <a:lnTo>
                    <a:pt x="6311" y="1969"/>
                  </a:lnTo>
                  <a:cubicBezTo>
                    <a:pt x="6287" y="1969"/>
                    <a:pt x="6275" y="1957"/>
                    <a:pt x="6263" y="1957"/>
                  </a:cubicBezTo>
                  <a:lnTo>
                    <a:pt x="4501" y="1957"/>
                  </a:lnTo>
                  <a:cubicBezTo>
                    <a:pt x="4430" y="1957"/>
                    <a:pt x="4370" y="2005"/>
                    <a:pt x="4358" y="2076"/>
                  </a:cubicBezTo>
                  <a:lnTo>
                    <a:pt x="4251" y="2481"/>
                  </a:lnTo>
                  <a:lnTo>
                    <a:pt x="4001" y="2374"/>
                  </a:lnTo>
                  <a:cubicBezTo>
                    <a:pt x="3965" y="2362"/>
                    <a:pt x="3954" y="2362"/>
                    <a:pt x="3930" y="2362"/>
                  </a:cubicBezTo>
                  <a:lnTo>
                    <a:pt x="3227" y="2433"/>
                  </a:lnTo>
                  <a:lnTo>
                    <a:pt x="2989" y="2302"/>
                  </a:lnTo>
                  <a:lnTo>
                    <a:pt x="3215" y="1910"/>
                  </a:lnTo>
                  <a:cubicBezTo>
                    <a:pt x="3251" y="1838"/>
                    <a:pt x="3227" y="1743"/>
                    <a:pt x="3156" y="1707"/>
                  </a:cubicBezTo>
                  <a:lnTo>
                    <a:pt x="251" y="16"/>
                  </a:lnTo>
                  <a:cubicBezTo>
                    <a:pt x="229" y="5"/>
                    <a:pt x="20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8" name="Google Shape;13598;p64"/>
            <p:cNvSpPr/>
            <p:nvPr/>
          </p:nvSpPr>
          <p:spPr>
            <a:xfrm>
              <a:off x="3059960" y="2009628"/>
              <a:ext cx="37177" cy="26960"/>
            </a:xfrm>
            <a:custGeom>
              <a:avLst/>
              <a:gdLst/>
              <a:ahLst/>
              <a:cxnLst/>
              <a:rect l="l" t="t" r="r" b="b"/>
              <a:pathLst>
                <a:path w="1168" h="847" extrusionOk="0">
                  <a:moveTo>
                    <a:pt x="999" y="0"/>
                  </a:moveTo>
                  <a:cubicBezTo>
                    <a:pt x="971" y="0"/>
                    <a:pt x="943" y="8"/>
                    <a:pt x="918" y="25"/>
                  </a:cubicBezTo>
                  <a:lnTo>
                    <a:pt x="84" y="561"/>
                  </a:lnTo>
                  <a:cubicBezTo>
                    <a:pt x="13" y="608"/>
                    <a:pt x="1" y="692"/>
                    <a:pt x="37" y="775"/>
                  </a:cubicBezTo>
                  <a:cubicBezTo>
                    <a:pt x="72" y="811"/>
                    <a:pt x="120" y="846"/>
                    <a:pt x="156" y="846"/>
                  </a:cubicBezTo>
                  <a:cubicBezTo>
                    <a:pt x="191" y="846"/>
                    <a:pt x="215" y="823"/>
                    <a:pt x="239" y="811"/>
                  </a:cubicBezTo>
                  <a:lnTo>
                    <a:pt x="1073" y="275"/>
                  </a:lnTo>
                  <a:cubicBezTo>
                    <a:pt x="1156" y="239"/>
                    <a:pt x="1168" y="144"/>
                    <a:pt x="1132" y="72"/>
                  </a:cubicBezTo>
                  <a:cubicBezTo>
                    <a:pt x="1101" y="26"/>
                    <a:pt x="1051" y="0"/>
                    <a:pt x="9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599" name="Google Shape;13599;p64"/>
          <p:cNvSpPr/>
          <p:nvPr/>
        </p:nvSpPr>
        <p:spPr>
          <a:xfrm>
            <a:off x="7060068" y="1989129"/>
            <a:ext cx="354363" cy="324093"/>
          </a:xfrm>
          <a:custGeom>
            <a:avLst/>
            <a:gdLst/>
            <a:ahLst/>
            <a:cxnLst/>
            <a:rect l="l" t="t" r="r" b="b"/>
            <a:pathLst>
              <a:path w="11133" h="10182" extrusionOk="0">
                <a:moveTo>
                  <a:pt x="4132" y="3622"/>
                </a:moveTo>
                <a:cubicBezTo>
                  <a:pt x="4299" y="3622"/>
                  <a:pt x="4430" y="3753"/>
                  <a:pt x="4430" y="3919"/>
                </a:cubicBezTo>
                <a:cubicBezTo>
                  <a:pt x="4430" y="4074"/>
                  <a:pt x="4299" y="4217"/>
                  <a:pt x="4132" y="4217"/>
                </a:cubicBezTo>
                <a:cubicBezTo>
                  <a:pt x="3965" y="4217"/>
                  <a:pt x="3834" y="4074"/>
                  <a:pt x="3834" y="3919"/>
                </a:cubicBezTo>
                <a:cubicBezTo>
                  <a:pt x="3846" y="3753"/>
                  <a:pt x="3965" y="3622"/>
                  <a:pt x="4132" y="3622"/>
                </a:cubicBezTo>
                <a:close/>
                <a:moveTo>
                  <a:pt x="5334" y="1252"/>
                </a:moveTo>
                <a:lnTo>
                  <a:pt x="5334" y="1776"/>
                </a:lnTo>
                <a:lnTo>
                  <a:pt x="5358" y="3645"/>
                </a:lnTo>
                <a:lnTo>
                  <a:pt x="5370" y="5300"/>
                </a:lnTo>
                <a:lnTo>
                  <a:pt x="1405" y="4419"/>
                </a:lnTo>
                <a:cubicBezTo>
                  <a:pt x="1679" y="3455"/>
                  <a:pt x="2322" y="2574"/>
                  <a:pt x="3156" y="2014"/>
                </a:cubicBezTo>
                <a:lnTo>
                  <a:pt x="3870" y="3324"/>
                </a:lnTo>
                <a:cubicBezTo>
                  <a:pt x="3644" y="3419"/>
                  <a:pt x="3489" y="3645"/>
                  <a:pt x="3489" y="3895"/>
                </a:cubicBezTo>
                <a:cubicBezTo>
                  <a:pt x="3489" y="4253"/>
                  <a:pt x="3775" y="4538"/>
                  <a:pt x="4132" y="4538"/>
                </a:cubicBezTo>
                <a:cubicBezTo>
                  <a:pt x="4489" y="4538"/>
                  <a:pt x="4775" y="4253"/>
                  <a:pt x="4775" y="3895"/>
                </a:cubicBezTo>
                <a:cubicBezTo>
                  <a:pt x="4775" y="3586"/>
                  <a:pt x="4537" y="3324"/>
                  <a:pt x="4239" y="3264"/>
                </a:cubicBezTo>
                <a:lnTo>
                  <a:pt x="3453" y="1800"/>
                </a:lnTo>
                <a:cubicBezTo>
                  <a:pt x="4013" y="1490"/>
                  <a:pt x="4656" y="1300"/>
                  <a:pt x="5334" y="1252"/>
                </a:cubicBezTo>
                <a:close/>
                <a:moveTo>
                  <a:pt x="5715" y="3860"/>
                </a:moveTo>
                <a:cubicBezTo>
                  <a:pt x="6573" y="3943"/>
                  <a:pt x="7239" y="4657"/>
                  <a:pt x="7239" y="5550"/>
                </a:cubicBezTo>
                <a:cubicBezTo>
                  <a:pt x="7239" y="5896"/>
                  <a:pt x="7144" y="6217"/>
                  <a:pt x="6942" y="6503"/>
                </a:cubicBezTo>
                <a:lnTo>
                  <a:pt x="5715" y="5455"/>
                </a:lnTo>
                <a:lnTo>
                  <a:pt x="5715" y="3860"/>
                </a:lnTo>
                <a:close/>
                <a:moveTo>
                  <a:pt x="5846" y="347"/>
                </a:moveTo>
                <a:cubicBezTo>
                  <a:pt x="8597" y="502"/>
                  <a:pt x="10752" y="2776"/>
                  <a:pt x="10752" y="5550"/>
                </a:cubicBezTo>
                <a:cubicBezTo>
                  <a:pt x="10752" y="6682"/>
                  <a:pt x="10395" y="7741"/>
                  <a:pt x="9728" y="8646"/>
                </a:cubicBezTo>
                <a:cubicBezTo>
                  <a:pt x="9704" y="8682"/>
                  <a:pt x="9656" y="8706"/>
                  <a:pt x="9609" y="8706"/>
                </a:cubicBezTo>
                <a:cubicBezTo>
                  <a:pt x="9561" y="8706"/>
                  <a:pt x="9537" y="8694"/>
                  <a:pt x="9502" y="8658"/>
                </a:cubicBezTo>
                <a:lnTo>
                  <a:pt x="8644" y="7932"/>
                </a:lnTo>
                <a:cubicBezTo>
                  <a:pt x="9073" y="7372"/>
                  <a:pt x="9347" y="6717"/>
                  <a:pt x="9430" y="6015"/>
                </a:cubicBezTo>
                <a:cubicBezTo>
                  <a:pt x="9442" y="5908"/>
                  <a:pt x="9359" y="5824"/>
                  <a:pt x="9252" y="5824"/>
                </a:cubicBezTo>
                <a:cubicBezTo>
                  <a:pt x="9168" y="5824"/>
                  <a:pt x="9085" y="5884"/>
                  <a:pt x="9073" y="5967"/>
                </a:cubicBezTo>
                <a:cubicBezTo>
                  <a:pt x="9002" y="6562"/>
                  <a:pt x="8775" y="7146"/>
                  <a:pt x="8418" y="7634"/>
                </a:cubicBezTo>
                <a:cubicBezTo>
                  <a:pt x="8406" y="7646"/>
                  <a:pt x="8394" y="7682"/>
                  <a:pt x="8371" y="7694"/>
                </a:cubicBezTo>
                <a:cubicBezTo>
                  <a:pt x="8371" y="7694"/>
                  <a:pt x="8371" y="7705"/>
                  <a:pt x="8359" y="7705"/>
                </a:cubicBezTo>
                <a:lnTo>
                  <a:pt x="7204" y="6729"/>
                </a:lnTo>
                <a:cubicBezTo>
                  <a:pt x="7442" y="6384"/>
                  <a:pt x="7573" y="5967"/>
                  <a:pt x="7573" y="5550"/>
                </a:cubicBezTo>
                <a:cubicBezTo>
                  <a:pt x="7573" y="4479"/>
                  <a:pt x="6739" y="3586"/>
                  <a:pt x="5680" y="3514"/>
                </a:cubicBezTo>
                <a:lnTo>
                  <a:pt x="5680" y="1979"/>
                </a:lnTo>
                <a:lnTo>
                  <a:pt x="5787" y="1979"/>
                </a:lnTo>
                <a:cubicBezTo>
                  <a:pt x="5811" y="1979"/>
                  <a:pt x="5846" y="1979"/>
                  <a:pt x="5894" y="1990"/>
                </a:cubicBezTo>
                <a:cubicBezTo>
                  <a:pt x="7561" y="2169"/>
                  <a:pt x="8894" y="3503"/>
                  <a:pt x="9073" y="5169"/>
                </a:cubicBezTo>
                <a:cubicBezTo>
                  <a:pt x="9085" y="5253"/>
                  <a:pt x="9168" y="5312"/>
                  <a:pt x="9252" y="5312"/>
                </a:cubicBezTo>
                <a:cubicBezTo>
                  <a:pt x="9359" y="5312"/>
                  <a:pt x="9430" y="5229"/>
                  <a:pt x="9430" y="5122"/>
                </a:cubicBezTo>
                <a:cubicBezTo>
                  <a:pt x="9228" y="3205"/>
                  <a:pt x="7632" y="1693"/>
                  <a:pt x="5680" y="1621"/>
                </a:cubicBezTo>
                <a:lnTo>
                  <a:pt x="5680" y="490"/>
                </a:lnTo>
                <a:cubicBezTo>
                  <a:pt x="5680" y="443"/>
                  <a:pt x="5692" y="419"/>
                  <a:pt x="5727" y="383"/>
                </a:cubicBezTo>
                <a:cubicBezTo>
                  <a:pt x="5751" y="359"/>
                  <a:pt x="5799" y="347"/>
                  <a:pt x="5846" y="347"/>
                </a:cubicBezTo>
                <a:close/>
                <a:moveTo>
                  <a:pt x="1334" y="4788"/>
                </a:moveTo>
                <a:lnTo>
                  <a:pt x="5323" y="5681"/>
                </a:lnTo>
                <a:lnTo>
                  <a:pt x="4239" y="9622"/>
                </a:lnTo>
                <a:cubicBezTo>
                  <a:pt x="2513" y="9063"/>
                  <a:pt x="1262" y="7455"/>
                  <a:pt x="1262" y="5550"/>
                </a:cubicBezTo>
                <a:cubicBezTo>
                  <a:pt x="1262" y="5300"/>
                  <a:pt x="1286" y="5050"/>
                  <a:pt x="1334" y="4788"/>
                </a:cubicBezTo>
                <a:close/>
                <a:moveTo>
                  <a:pt x="5656" y="5848"/>
                </a:moveTo>
                <a:lnTo>
                  <a:pt x="6870" y="6872"/>
                </a:lnTo>
                <a:lnTo>
                  <a:pt x="8299" y="8086"/>
                </a:lnTo>
                <a:lnTo>
                  <a:pt x="8704" y="8420"/>
                </a:lnTo>
                <a:cubicBezTo>
                  <a:pt x="7882" y="9313"/>
                  <a:pt x="6751" y="9825"/>
                  <a:pt x="5549" y="9825"/>
                </a:cubicBezTo>
                <a:cubicBezTo>
                  <a:pt x="5203" y="9825"/>
                  <a:pt x="4894" y="9777"/>
                  <a:pt x="4584" y="9706"/>
                </a:cubicBezTo>
                <a:lnTo>
                  <a:pt x="5656" y="5848"/>
                </a:lnTo>
                <a:close/>
                <a:moveTo>
                  <a:pt x="5837" y="1"/>
                </a:moveTo>
                <a:cubicBezTo>
                  <a:pt x="5717" y="1"/>
                  <a:pt x="5599" y="57"/>
                  <a:pt x="5501" y="133"/>
                </a:cubicBezTo>
                <a:cubicBezTo>
                  <a:pt x="5394" y="228"/>
                  <a:pt x="5334" y="359"/>
                  <a:pt x="5358" y="502"/>
                </a:cubicBezTo>
                <a:lnTo>
                  <a:pt x="5358" y="943"/>
                </a:lnTo>
                <a:cubicBezTo>
                  <a:pt x="4620" y="967"/>
                  <a:pt x="3929" y="1181"/>
                  <a:pt x="3298" y="1514"/>
                </a:cubicBezTo>
                <a:lnTo>
                  <a:pt x="2894" y="788"/>
                </a:lnTo>
                <a:cubicBezTo>
                  <a:pt x="2870" y="728"/>
                  <a:pt x="2810" y="693"/>
                  <a:pt x="2751" y="693"/>
                </a:cubicBezTo>
                <a:lnTo>
                  <a:pt x="358" y="693"/>
                </a:lnTo>
                <a:lnTo>
                  <a:pt x="358" y="395"/>
                </a:lnTo>
                <a:cubicBezTo>
                  <a:pt x="358" y="300"/>
                  <a:pt x="274" y="228"/>
                  <a:pt x="179" y="228"/>
                </a:cubicBezTo>
                <a:cubicBezTo>
                  <a:pt x="72" y="228"/>
                  <a:pt x="0" y="300"/>
                  <a:pt x="0" y="395"/>
                </a:cubicBezTo>
                <a:lnTo>
                  <a:pt x="0" y="1336"/>
                </a:lnTo>
                <a:cubicBezTo>
                  <a:pt x="0" y="1443"/>
                  <a:pt x="72" y="1514"/>
                  <a:pt x="179" y="1514"/>
                </a:cubicBezTo>
                <a:cubicBezTo>
                  <a:pt x="274" y="1514"/>
                  <a:pt x="358" y="1443"/>
                  <a:pt x="358" y="1336"/>
                </a:cubicBezTo>
                <a:lnTo>
                  <a:pt x="358" y="1038"/>
                </a:lnTo>
                <a:lnTo>
                  <a:pt x="2644" y="1038"/>
                </a:lnTo>
                <a:lnTo>
                  <a:pt x="3001" y="1693"/>
                </a:lnTo>
                <a:cubicBezTo>
                  <a:pt x="2751" y="1871"/>
                  <a:pt x="2501" y="2062"/>
                  <a:pt x="2275" y="2288"/>
                </a:cubicBezTo>
                <a:cubicBezTo>
                  <a:pt x="1405" y="3169"/>
                  <a:pt x="929" y="4312"/>
                  <a:pt x="929" y="5550"/>
                </a:cubicBezTo>
                <a:cubicBezTo>
                  <a:pt x="929" y="8098"/>
                  <a:pt x="3001" y="10182"/>
                  <a:pt x="5561" y="10182"/>
                </a:cubicBezTo>
                <a:cubicBezTo>
                  <a:pt x="6870" y="10182"/>
                  <a:pt x="8109" y="9622"/>
                  <a:pt x="8990" y="8658"/>
                </a:cubicBezTo>
                <a:lnTo>
                  <a:pt x="9311" y="8944"/>
                </a:lnTo>
                <a:cubicBezTo>
                  <a:pt x="9406" y="9015"/>
                  <a:pt x="9525" y="9063"/>
                  <a:pt x="9644" y="9063"/>
                </a:cubicBezTo>
                <a:lnTo>
                  <a:pt x="9704" y="9063"/>
                </a:lnTo>
                <a:cubicBezTo>
                  <a:pt x="9835" y="9051"/>
                  <a:pt x="9966" y="8967"/>
                  <a:pt x="10037" y="8872"/>
                </a:cubicBezTo>
                <a:cubicBezTo>
                  <a:pt x="10752" y="7896"/>
                  <a:pt x="11133" y="6765"/>
                  <a:pt x="11133" y="5562"/>
                </a:cubicBezTo>
                <a:cubicBezTo>
                  <a:pt x="11109" y="2610"/>
                  <a:pt x="8811" y="169"/>
                  <a:pt x="5870" y="2"/>
                </a:cubicBezTo>
                <a:cubicBezTo>
                  <a:pt x="5859" y="1"/>
                  <a:pt x="5848" y="1"/>
                  <a:pt x="583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600" name="Google Shape;13600;p64"/>
          <p:cNvGrpSpPr/>
          <p:nvPr/>
        </p:nvGrpSpPr>
        <p:grpSpPr>
          <a:xfrm>
            <a:off x="4195399" y="1970604"/>
            <a:ext cx="344878" cy="343573"/>
            <a:chOff x="4195399" y="1970604"/>
            <a:chExt cx="344878" cy="343573"/>
          </a:xfrm>
        </p:grpSpPr>
        <p:sp>
          <p:nvSpPr>
            <p:cNvPr id="13601" name="Google Shape;13601;p64"/>
            <p:cNvSpPr/>
            <p:nvPr/>
          </p:nvSpPr>
          <p:spPr>
            <a:xfrm>
              <a:off x="4195399" y="1970604"/>
              <a:ext cx="344878" cy="343573"/>
            </a:xfrm>
            <a:custGeom>
              <a:avLst/>
              <a:gdLst/>
              <a:ahLst/>
              <a:cxnLst/>
              <a:rect l="l" t="t" r="r" b="b"/>
              <a:pathLst>
                <a:path w="10835" h="10794" extrusionOk="0">
                  <a:moveTo>
                    <a:pt x="4155" y="6287"/>
                  </a:moveTo>
                  <a:cubicBezTo>
                    <a:pt x="4274" y="6418"/>
                    <a:pt x="4417" y="6561"/>
                    <a:pt x="4572" y="6704"/>
                  </a:cubicBezTo>
                  <a:lnTo>
                    <a:pt x="3977" y="7299"/>
                  </a:lnTo>
                  <a:lnTo>
                    <a:pt x="3929" y="7252"/>
                  </a:lnTo>
                  <a:lnTo>
                    <a:pt x="3596" y="6918"/>
                  </a:lnTo>
                  <a:lnTo>
                    <a:pt x="3560" y="6883"/>
                  </a:lnTo>
                  <a:lnTo>
                    <a:pt x="4155" y="6287"/>
                  </a:lnTo>
                  <a:close/>
                  <a:moveTo>
                    <a:pt x="3203" y="7064"/>
                  </a:moveTo>
                  <a:cubicBezTo>
                    <a:pt x="3271" y="7064"/>
                    <a:pt x="3340" y="7091"/>
                    <a:pt x="3393" y="7144"/>
                  </a:cubicBezTo>
                  <a:lnTo>
                    <a:pt x="3715" y="7478"/>
                  </a:lnTo>
                  <a:cubicBezTo>
                    <a:pt x="3810" y="7573"/>
                    <a:pt x="3822" y="7740"/>
                    <a:pt x="3715" y="7847"/>
                  </a:cubicBezTo>
                  <a:lnTo>
                    <a:pt x="3524" y="8037"/>
                  </a:lnTo>
                  <a:lnTo>
                    <a:pt x="2822" y="7335"/>
                  </a:lnTo>
                  <a:lnTo>
                    <a:pt x="3012" y="7144"/>
                  </a:lnTo>
                  <a:cubicBezTo>
                    <a:pt x="3066" y="7091"/>
                    <a:pt x="3134" y="7064"/>
                    <a:pt x="3203" y="7064"/>
                  </a:cubicBezTo>
                  <a:close/>
                  <a:moveTo>
                    <a:pt x="2608" y="7549"/>
                  </a:moveTo>
                  <a:lnTo>
                    <a:pt x="3298" y="8252"/>
                  </a:lnTo>
                  <a:lnTo>
                    <a:pt x="1143" y="10407"/>
                  </a:lnTo>
                  <a:cubicBezTo>
                    <a:pt x="1089" y="10460"/>
                    <a:pt x="1024" y="10487"/>
                    <a:pt x="959" y="10487"/>
                  </a:cubicBezTo>
                  <a:cubicBezTo>
                    <a:pt x="893" y="10487"/>
                    <a:pt x="828" y="10460"/>
                    <a:pt x="774" y="10407"/>
                  </a:cubicBezTo>
                  <a:lnTo>
                    <a:pt x="441" y="10073"/>
                  </a:lnTo>
                  <a:cubicBezTo>
                    <a:pt x="345" y="9978"/>
                    <a:pt x="345" y="9811"/>
                    <a:pt x="441" y="9704"/>
                  </a:cubicBezTo>
                  <a:lnTo>
                    <a:pt x="2608" y="7549"/>
                  </a:lnTo>
                  <a:close/>
                  <a:moveTo>
                    <a:pt x="7037" y="1"/>
                  </a:moveTo>
                  <a:cubicBezTo>
                    <a:pt x="3941" y="1"/>
                    <a:pt x="2155" y="3513"/>
                    <a:pt x="3953" y="6013"/>
                  </a:cubicBezTo>
                  <a:lnTo>
                    <a:pt x="3239" y="6728"/>
                  </a:lnTo>
                  <a:cubicBezTo>
                    <a:pt x="3224" y="6727"/>
                    <a:pt x="3209" y="6726"/>
                    <a:pt x="3194" y="6726"/>
                  </a:cubicBezTo>
                  <a:cubicBezTo>
                    <a:pt x="3036" y="6726"/>
                    <a:pt x="2907" y="6785"/>
                    <a:pt x="2798" y="6894"/>
                  </a:cubicBezTo>
                  <a:lnTo>
                    <a:pt x="226" y="9466"/>
                  </a:lnTo>
                  <a:cubicBezTo>
                    <a:pt x="0" y="9692"/>
                    <a:pt x="0" y="10061"/>
                    <a:pt x="226" y="10288"/>
                  </a:cubicBezTo>
                  <a:lnTo>
                    <a:pt x="548" y="10633"/>
                  </a:lnTo>
                  <a:cubicBezTo>
                    <a:pt x="661" y="10740"/>
                    <a:pt x="810" y="10794"/>
                    <a:pt x="959" y="10794"/>
                  </a:cubicBezTo>
                  <a:cubicBezTo>
                    <a:pt x="1107" y="10794"/>
                    <a:pt x="1256" y="10740"/>
                    <a:pt x="1369" y="10633"/>
                  </a:cubicBezTo>
                  <a:lnTo>
                    <a:pt x="3631" y="8371"/>
                  </a:lnTo>
                  <a:lnTo>
                    <a:pt x="3941" y="8049"/>
                  </a:lnTo>
                  <a:cubicBezTo>
                    <a:pt x="4060" y="7930"/>
                    <a:pt x="4120" y="7775"/>
                    <a:pt x="4108" y="7609"/>
                  </a:cubicBezTo>
                  <a:lnTo>
                    <a:pt x="4822" y="6894"/>
                  </a:lnTo>
                  <a:cubicBezTo>
                    <a:pt x="5358" y="7275"/>
                    <a:pt x="6001" y="7514"/>
                    <a:pt x="6656" y="7597"/>
                  </a:cubicBezTo>
                  <a:lnTo>
                    <a:pt x="6668" y="7597"/>
                  </a:lnTo>
                  <a:cubicBezTo>
                    <a:pt x="6739" y="7597"/>
                    <a:pt x="6810" y="7537"/>
                    <a:pt x="6834" y="7442"/>
                  </a:cubicBezTo>
                  <a:cubicBezTo>
                    <a:pt x="6846" y="7359"/>
                    <a:pt x="6775" y="7275"/>
                    <a:pt x="6691" y="7264"/>
                  </a:cubicBezTo>
                  <a:cubicBezTo>
                    <a:pt x="6013" y="7192"/>
                    <a:pt x="5370" y="6918"/>
                    <a:pt x="4846" y="6502"/>
                  </a:cubicBezTo>
                  <a:cubicBezTo>
                    <a:pt x="2286" y="4442"/>
                    <a:pt x="3798" y="334"/>
                    <a:pt x="7037" y="334"/>
                  </a:cubicBezTo>
                  <a:cubicBezTo>
                    <a:pt x="8870" y="334"/>
                    <a:pt x="10323" y="1715"/>
                    <a:pt x="10501" y="3454"/>
                  </a:cubicBezTo>
                  <a:cubicBezTo>
                    <a:pt x="10522" y="3535"/>
                    <a:pt x="10576" y="3590"/>
                    <a:pt x="10644" y="3590"/>
                  </a:cubicBezTo>
                  <a:cubicBezTo>
                    <a:pt x="10655" y="3590"/>
                    <a:pt x="10668" y="3588"/>
                    <a:pt x="10680" y="3584"/>
                  </a:cubicBezTo>
                  <a:cubicBezTo>
                    <a:pt x="10775" y="3573"/>
                    <a:pt x="10835" y="3501"/>
                    <a:pt x="10823" y="3406"/>
                  </a:cubicBezTo>
                  <a:cubicBezTo>
                    <a:pt x="10620" y="1525"/>
                    <a:pt x="9037" y="1"/>
                    <a:pt x="7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2" name="Google Shape;13602;p64"/>
            <p:cNvSpPr/>
            <p:nvPr/>
          </p:nvSpPr>
          <p:spPr>
            <a:xfrm>
              <a:off x="4311356" y="1993458"/>
              <a:ext cx="206959" cy="197378"/>
            </a:xfrm>
            <a:custGeom>
              <a:avLst/>
              <a:gdLst/>
              <a:ahLst/>
              <a:cxnLst/>
              <a:rect l="l" t="t" r="r" b="b"/>
              <a:pathLst>
                <a:path w="6502" h="6201" extrusionOk="0">
                  <a:moveTo>
                    <a:pt x="3394" y="295"/>
                  </a:moveTo>
                  <a:cubicBezTo>
                    <a:pt x="4930" y="295"/>
                    <a:pt x="6180" y="1533"/>
                    <a:pt x="6180" y="3081"/>
                  </a:cubicBezTo>
                  <a:cubicBezTo>
                    <a:pt x="6180" y="4641"/>
                    <a:pt x="4930" y="5879"/>
                    <a:pt x="3394" y="5879"/>
                  </a:cubicBezTo>
                  <a:cubicBezTo>
                    <a:pt x="2679" y="5879"/>
                    <a:pt x="1965" y="5605"/>
                    <a:pt x="1429" y="5057"/>
                  </a:cubicBezTo>
                  <a:cubicBezTo>
                    <a:pt x="346" y="3974"/>
                    <a:pt x="346" y="2200"/>
                    <a:pt x="1429" y="1116"/>
                  </a:cubicBezTo>
                  <a:cubicBezTo>
                    <a:pt x="1977" y="569"/>
                    <a:pt x="2679" y="295"/>
                    <a:pt x="3394" y="295"/>
                  </a:cubicBezTo>
                  <a:close/>
                  <a:moveTo>
                    <a:pt x="3404" y="0"/>
                  </a:moveTo>
                  <a:cubicBezTo>
                    <a:pt x="2608" y="0"/>
                    <a:pt x="1810" y="301"/>
                    <a:pt x="1203" y="902"/>
                  </a:cubicBezTo>
                  <a:cubicBezTo>
                    <a:pt x="0" y="2116"/>
                    <a:pt x="0" y="4093"/>
                    <a:pt x="1203" y="5295"/>
                  </a:cubicBezTo>
                  <a:cubicBezTo>
                    <a:pt x="1822" y="5903"/>
                    <a:pt x="2608" y="6200"/>
                    <a:pt x="3394" y="6200"/>
                  </a:cubicBezTo>
                  <a:cubicBezTo>
                    <a:pt x="5108" y="6188"/>
                    <a:pt x="6501" y="4819"/>
                    <a:pt x="6501" y="3093"/>
                  </a:cubicBezTo>
                  <a:cubicBezTo>
                    <a:pt x="6501" y="2259"/>
                    <a:pt x="6180" y="1485"/>
                    <a:pt x="5596" y="902"/>
                  </a:cubicBezTo>
                  <a:cubicBezTo>
                    <a:pt x="4995" y="301"/>
                    <a:pt x="4200" y="0"/>
                    <a:pt x="34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3" name="Google Shape;13603;p64"/>
            <p:cNvSpPr/>
            <p:nvPr/>
          </p:nvSpPr>
          <p:spPr>
            <a:xfrm>
              <a:off x="4372374" y="2030476"/>
              <a:ext cx="94026" cy="114493"/>
            </a:xfrm>
            <a:custGeom>
              <a:avLst/>
              <a:gdLst/>
              <a:ahLst/>
              <a:cxnLst/>
              <a:rect l="l" t="t" r="r" b="b"/>
              <a:pathLst>
                <a:path w="2954" h="3597" extrusionOk="0">
                  <a:moveTo>
                    <a:pt x="1477" y="310"/>
                  </a:moveTo>
                  <a:cubicBezTo>
                    <a:pt x="1834" y="310"/>
                    <a:pt x="2120" y="584"/>
                    <a:pt x="2120" y="953"/>
                  </a:cubicBezTo>
                  <a:cubicBezTo>
                    <a:pt x="2120" y="1311"/>
                    <a:pt x="1834" y="1584"/>
                    <a:pt x="1477" y="1584"/>
                  </a:cubicBezTo>
                  <a:cubicBezTo>
                    <a:pt x="1119" y="1584"/>
                    <a:pt x="834" y="1311"/>
                    <a:pt x="834" y="953"/>
                  </a:cubicBezTo>
                  <a:cubicBezTo>
                    <a:pt x="834" y="596"/>
                    <a:pt x="1119" y="310"/>
                    <a:pt x="1477" y="310"/>
                  </a:cubicBezTo>
                  <a:close/>
                  <a:moveTo>
                    <a:pt x="1905" y="1918"/>
                  </a:moveTo>
                  <a:cubicBezTo>
                    <a:pt x="2298" y="1918"/>
                    <a:pt x="2608" y="2227"/>
                    <a:pt x="2608" y="2620"/>
                  </a:cubicBezTo>
                  <a:lnTo>
                    <a:pt x="2608" y="3287"/>
                  </a:lnTo>
                  <a:lnTo>
                    <a:pt x="2298" y="3287"/>
                  </a:lnTo>
                  <a:lnTo>
                    <a:pt x="2298" y="2585"/>
                  </a:lnTo>
                  <a:cubicBezTo>
                    <a:pt x="2298" y="2501"/>
                    <a:pt x="2227" y="2418"/>
                    <a:pt x="2132" y="2418"/>
                  </a:cubicBezTo>
                  <a:cubicBezTo>
                    <a:pt x="2048" y="2418"/>
                    <a:pt x="1965" y="2501"/>
                    <a:pt x="1965" y="2585"/>
                  </a:cubicBezTo>
                  <a:lnTo>
                    <a:pt x="1965" y="3287"/>
                  </a:lnTo>
                  <a:lnTo>
                    <a:pt x="977" y="3287"/>
                  </a:lnTo>
                  <a:lnTo>
                    <a:pt x="977" y="2585"/>
                  </a:lnTo>
                  <a:cubicBezTo>
                    <a:pt x="977" y="2501"/>
                    <a:pt x="893" y="2418"/>
                    <a:pt x="810" y="2418"/>
                  </a:cubicBezTo>
                  <a:cubicBezTo>
                    <a:pt x="715" y="2418"/>
                    <a:pt x="643" y="2501"/>
                    <a:pt x="643" y="2585"/>
                  </a:cubicBezTo>
                  <a:lnTo>
                    <a:pt x="643" y="3287"/>
                  </a:lnTo>
                  <a:lnTo>
                    <a:pt x="298" y="3287"/>
                  </a:lnTo>
                  <a:lnTo>
                    <a:pt x="298" y="2620"/>
                  </a:lnTo>
                  <a:cubicBezTo>
                    <a:pt x="298" y="2227"/>
                    <a:pt x="619" y="1918"/>
                    <a:pt x="1000" y="1918"/>
                  </a:cubicBezTo>
                  <a:close/>
                  <a:moveTo>
                    <a:pt x="1477" y="1"/>
                  </a:moveTo>
                  <a:cubicBezTo>
                    <a:pt x="941" y="1"/>
                    <a:pt x="512" y="430"/>
                    <a:pt x="512" y="965"/>
                  </a:cubicBezTo>
                  <a:cubicBezTo>
                    <a:pt x="512" y="1227"/>
                    <a:pt x="619" y="1465"/>
                    <a:pt x="798" y="1632"/>
                  </a:cubicBezTo>
                  <a:cubicBezTo>
                    <a:pt x="346" y="1739"/>
                    <a:pt x="0" y="2144"/>
                    <a:pt x="0" y="2632"/>
                  </a:cubicBezTo>
                  <a:lnTo>
                    <a:pt x="0" y="3299"/>
                  </a:lnTo>
                  <a:cubicBezTo>
                    <a:pt x="0" y="3466"/>
                    <a:pt x="143" y="3597"/>
                    <a:pt x="298" y="3597"/>
                  </a:cubicBezTo>
                  <a:lnTo>
                    <a:pt x="2643" y="3597"/>
                  </a:lnTo>
                  <a:cubicBezTo>
                    <a:pt x="2798" y="3597"/>
                    <a:pt x="2941" y="3466"/>
                    <a:pt x="2941" y="3299"/>
                  </a:cubicBezTo>
                  <a:lnTo>
                    <a:pt x="2941" y="2632"/>
                  </a:lnTo>
                  <a:cubicBezTo>
                    <a:pt x="2953" y="2144"/>
                    <a:pt x="2620" y="1739"/>
                    <a:pt x="2167" y="1632"/>
                  </a:cubicBezTo>
                  <a:cubicBezTo>
                    <a:pt x="2322" y="1453"/>
                    <a:pt x="2441" y="1215"/>
                    <a:pt x="2441" y="965"/>
                  </a:cubicBezTo>
                  <a:cubicBezTo>
                    <a:pt x="2441" y="430"/>
                    <a:pt x="2012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4" name="Google Shape;13604;p64"/>
            <p:cNvSpPr/>
            <p:nvPr/>
          </p:nvSpPr>
          <p:spPr>
            <a:xfrm>
              <a:off x="4426167" y="2098561"/>
              <a:ext cx="114111" cy="113474"/>
            </a:xfrm>
            <a:custGeom>
              <a:avLst/>
              <a:gdLst/>
              <a:ahLst/>
              <a:cxnLst/>
              <a:rect l="l" t="t" r="r" b="b"/>
              <a:pathLst>
                <a:path w="3585" h="3565" extrusionOk="0">
                  <a:moveTo>
                    <a:pt x="3401" y="1"/>
                  </a:moveTo>
                  <a:cubicBezTo>
                    <a:pt x="3330" y="1"/>
                    <a:pt x="3272" y="73"/>
                    <a:pt x="3251" y="136"/>
                  </a:cubicBezTo>
                  <a:cubicBezTo>
                    <a:pt x="3097" y="1767"/>
                    <a:pt x="1799" y="3077"/>
                    <a:pt x="144" y="3244"/>
                  </a:cubicBezTo>
                  <a:cubicBezTo>
                    <a:pt x="61" y="3255"/>
                    <a:pt x="1" y="3339"/>
                    <a:pt x="13" y="3422"/>
                  </a:cubicBezTo>
                  <a:cubicBezTo>
                    <a:pt x="25" y="3494"/>
                    <a:pt x="84" y="3565"/>
                    <a:pt x="180" y="3565"/>
                  </a:cubicBezTo>
                  <a:lnTo>
                    <a:pt x="191" y="3565"/>
                  </a:lnTo>
                  <a:cubicBezTo>
                    <a:pt x="1966" y="3398"/>
                    <a:pt x="3394" y="1970"/>
                    <a:pt x="3573" y="184"/>
                  </a:cubicBezTo>
                  <a:cubicBezTo>
                    <a:pt x="3585" y="88"/>
                    <a:pt x="3513" y="17"/>
                    <a:pt x="3430" y="5"/>
                  </a:cubicBezTo>
                  <a:cubicBezTo>
                    <a:pt x="3420" y="2"/>
                    <a:pt x="3410" y="1"/>
                    <a:pt x="34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05" name="Google Shape;13605;p64"/>
          <p:cNvGrpSpPr/>
          <p:nvPr/>
        </p:nvGrpSpPr>
        <p:grpSpPr>
          <a:xfrm>
            <a:off x="4674791" y="1977447"/>
            <a:ext cx="344528" cy="344114"/>
            <a:chOff x="4674791" y="1977447"/>
            <a:chExt cx="344528" cy="344114"/>
          </a:xfrm>
        </p:grpSpPr>
        <p:sp>
          <p:nvSpPr>
            <p:cNvPr id="13606" name="Google Shape;13606;p64"/>
            <p:cNvSpPr/>
            <p:nvPr/>
          </p:nvSpPr>
          <p:spPr>
            <a:xfrm>
              <a:off x="4696022" y="1996768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76" y="310"/>
                  </a:moveTo>
                  <a:cubicBezTo>
                    <a:pt x="548" y="310"/>
                    <a:pt x="631" y="369"/>
                    <a:pt x="631" y="465"/>
                  </a:cubicBezTo>
                  <a:cubicBezTo>
                    <a:pt x="631" y="536"/>
                    <a:pt x="572" y="607"/>
                    <a:pt x="476" y="607"/>
                  </a:cubicBezTo>
                  <a:cubicBezTo>
                    <a:pt x="405" y="607"/>
                    <a:pt x="334" y="548"/>
                    <a:pt x="334" y="465"/>
                  </a:cubicBezTo>
                  <a:cubicBezTo>
                    <a:pt x="334" y="381"/>
                    <a:pt x="393" y="310"/>
                    <a:pt x="476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0" y="203"/>
                    <a:pt x="0" y="465"/>
                  </a:cubicBezTo>
                  <a:cubicBezTo>
                    <a:pt x="0" y="715"/>
                    <a:pt x="215" y="917"/>
                    <a:pt x="465" y="917"/>
                  </a:cubicBezTo>
                  <a:cubicBezTo>
                    <a:pt x="715" y="917"/>
                    <a:pt x="929" y="715"/>
                    <a:pt x="929" y="465"/>
                  </a:cubicBezTo>
                  <a:cubicBezTo>
                    <a:pt x="929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7" name="Google Shape;13607;p64"/>
            <p:cNvSpPr/>
            <p:nvPr/>
          </p:nvSpPr>
          <p:spPr>
            <a:xfrm>
              <a:off x="4733899" y="1996768"/>
              <a:ext cx="29602" cy="29220"/>
            </a:xfrm>
            <a:custGeom>
              <a:avLst/>
              <a:gdLst/>
              <a:ahLst/>
              <a:cxnLst/>
              <a:rect l="l" t="t" r="r" b="b"/>
              <a:pathLst>
                <a:path w="930" h="918" extrusionOk="0">
                  <a:moveTo>
                    <a:pt x="465" y="310"/>
                  </a:moveTo>
                  <a:cubicBezTo>
                    <a:pt x="549" y="310"/>
                    <a:pt x="608" y="369"/>
                    <a:pt x="608" y="465"/>
                  </a:cubicBezTo>
                  <a:cubicBezTo>
                    <a:pt x="608" y="536"/>
                    <a:pt x="549" y="607"/>
                    <a:pt x="465" y="607"/>
                  </a:cubicBezTo>
                  <a:cubicBezTo>
                    <a:pt x="394" y="607"/>
                    <a:pt x="310" y="548"/>
                    <a:pt x="310" y="465"/>
                  </a:cubicBezTo>
                  <a:cubicBezTo>
                    <a:pt x="310" y="381"/>
                    <a:pt x="370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1" y="203"/>
                    <a:pt x="1" y="465"/>
                  </a:cubicBezTo>
                  <a:cubicBezTo>
                    <a:pt x="1" y="715"/>
                    <a:pt x="215" y="917"/>
                    <a:pt x="465" y="917"/>
                  </a:cubicBezTo>
                  <a:cubicBezTo>
                    <a:pt x="715" y="917"/>
                    <a:pt x="930" y="715"/>
                    <a:pt x="930" y="465"/>
                  </a:cubicBezTo>
                  <a:cubicBezTo>
                    <a:pt x="930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8" name="Google Shape;13608;p64"/>
            <p:cNvSpPr/>
            <p:nvPr/>
          </p:nvSpPr>
          <p:spPr>
            <a:xfrm>
              <a:off x="4771809" y="1996768"/>
              <a:ext cx="29602" cy="29220"/>
            </a:xfrm>
            <a:custGeom>
              <a:avLst/>
              <a:gdLst/>
              <a:ahLst/>
              <a:cxnLst/>
              <a:rect l="l" t="t" r="r" b="b"/>
              <a:pathLst>
                <a:path w="930" h="918" extrusionOk="0">
                  <a:moveTo>
                    <a:pt x="465" y="310"/>
                  </a:moveTo>
                  <a:cubicBezTo>
                    <a:pt x="536" y="310"/>
                    <a:pt x="608" y="369"/>
                    <a:pt x="608" y="465"/>
                  </a:cubicBezTo>
                  <a:cubicBezTo>
                    <a:pt x="608" y="536"/>
                    <a:pt x="548" y="607"/>
                    <a:pt x="465" y="607"/>
                  </a:cubicBezTo>
                  <a:cubicBezTo>
                    <a:pt x="393" y="607"/>
                    <a:pt x="310" y="548"/>
                    <a:pt x="310" y="465"/>
                  </a:cubicBezTo>
                  <a:cubicBezTo>
                    <a:pt x="310" y="381"/>
                    <a:pt x="370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0" y="203"/>
                    <a:pt x="0" y="465"/>
                  </a:cubicBezTo>
                  <a:cubicBezTo>
                    <a:pt x="0" y="715"/>
                    <a:pt x="215" y="917"/>
                    <a:pt x="465" y="917"/>
                  </a:cubicBezTo>
                  <a:cubicBezTo>
                    <a:pt x="715" y="917"/>
                    <a:pt x="929" y="715"/>
                    <a:pt x="929" y="465"/>
                  </a:cubicBezTo>
                  <a:cubicBezTo>
                    <a:pt x="929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9" name="Google Shape;13609;p64"/>
            <p:cNvSpPr/>
            <p:nvPr/>
          </p:nvSpPr>
          <p:spPr>
            <a:xfrm>
              <a:off x="4674791" y="1977447"/>
              <a:ext cx="344528" cy="344114"/>
            </a:xfrm>
            <a:custGeom>
              <a:avLst/>
              <a:gdLst/>
              <a:ahLst/>
              <a:cxnLst/>
              <a:rect l="l" t="t" r="r" b="b"/>
              <a:pathLst>
                <a:path w="10824" h="10811" extrusionOk="0">
                  <a:moveTo>
                    <a:pt x="10466" y="2155"/>
                  </a:moveTo>
                  <a:lnTo>
                    <a:pt x="10466" y="10120"/>
                  </a:lnTo>
                  <a:lnTo>
                    <a:pt x="10478" y="10120"/>
                  </a:lnTo>
                  <a:cubicBezTo>
                    <a:pt x="10478" y="10323"/>
                    <a:pt x="10311" y="10501"/>
                    <a:pt x="10085" y="10501"/>
                  </a:cubicBezTo>
                  <a:lnTo>
                    <a:pt x="667" y="10501"/>
                  </a:lnTo>
                  <a:cubicBezTo>
                    <a:pt x="465" y="10501"/>
                    <a:pt x="286" y="10335"/>
                    <a:pt x="286" y="10120"/>
                  </a:cubicBezTo>
                  <a:lnTo>
                    <a:pt x="286" y="2155"/>
                  </a:ln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691"/>
                  </a:cubicBezTo>
                  <a:lnTo>
                    <a:pt x="0" y="10120"/>
                  </a:lnTo>
                  <a:cubicBezTo>
                    <a:pt x="0" y="10501"/>
                    <a:pt x="310" y="10811"/>
                    <a:pt x="703" y="10811"/>
                  </a:cubicBezTo>
                  <a:lnTo>
                    <a:pt x="10121" y="10811"/>
                  </a:lnTo>
                  <a:cubicBezTo>
                    <a:pt x="10502" y="10811"/>
                    <a:pt x="10823" y="10501"/>
                    <a:pt x="10823" y="10120"/>
                  </a:cubicBezTo>
                  <a:lnTo>
                    <a:pt x="10823" y="691"/>
                  </a:lnTo>
                  <a:cubicBezTo>
                    <a:pt x="10799" y="310"/>
                    <a:pt x="10490" y="0"/>
                    <a:pt x="10109" y="0"/>
                  </a:cubicBezTo>
                  <a:lnTo>
                    <a:pt x="5025" y="0"/>
                  </a:lnTo>
                  <a:cubicBezTo>
                    <a:pt x="4942" y="0"/>
                    <a:pt x="4870" y="71"/>
                    <a:pt x="4870" y="155"/>
                  </a:cubicBezTo>
                  <a:cubicBezTo>
                    <a:pt x="4870" y="250"/>
                    <a:pt x="4942" y="321"/>
                    <a:pt x="5025" y="321"/>
                  </a:cubicBezTo>
                  <a:lnTo>
                    <a:pt x="10109" y="321"/>
                  </a:lnTo>
                  <a:cubicBezTo>
                    <a:pt x="10311" y="321"/>
                    <a:pt x="10490" y="488"/>
                    <a:pt x="10490" y="714"/>
                  </a:cubicBezTo>
                  <a:lnTo>
                    <a:pt x="10490" y="1857"/>
                  </a:lnTo>
                  <a:lnTo>
                    <a:pt x="310" y="1857"/>
                  </a:lnTo>
                  <a:lnTo>
                    <a:pt x="310" y="714"/>
                  </a:lnTo>
                  <a:cubicBezTo>
                    <a:pt x="310" y="500"/>
                    <a:pt x="477" y="321"/>
                    <a:pt x="703" y="321"/>
                  </a:cubicBezTo>
                  <a:lnTo>
                    <a:pt x="4049" y="321"/>
                  </a:lnTo>
                  <a:cubicBezTo>
                    <a:pt x="4132" y="321"/>
                    <a:pt x="4215" y="250"/>
                    <a:pt x="4215" y="155"/>
                  </a:cubicBezTo>
                  <a:cubicBezTo>
                    <a:pt x="4215" y="71"/>
                    <a:pt x="4132" y="0"/>
                    <a:pt x="4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0" name="Google Shape;13610;p64"/>
            <p:cNvSpPr/>
            <p:nvPr/>
          </p:nvSpPr>
          <p:spPr>
            <a:xfrm>
              <a:off x="4696022" y="2073160"/>
              <a:ext cx="13655" cy="27469"/>
            </a:xfrm>
            <a:custGeom>
              <a:avLst/>
              <a:gdLst/>
              <a:ahLst/>
              <a:cxnLst/>
              <a:rect l="l" t="t" r="r" b="b"/>
              <a:pathLst>
                <a:path w="429" h="863" extrusionOk="0">
                  <a:moveTo>
                    <a:pt x="249" y="1"/>
                  </a:moveTo>
                  <a:cubicBezTo>
                    <a:pt x="198" y="1"/>
                    <a:pt x="148" y="22"/>
                    <a:pt x="119" y="65"/>
                  </a:cubicBezTo>
                  <a:cubicBezTo>
                    <a:pt x="48" y="184"/>
                    <a:pt x="0" y="327"/>
                    <a:pt x="0" y="470"/>
                  </a:cubicBezTo>
                  <a:lnTo>
                    <a:pt x="0" y="708"/>
                  </a:lnTo>
                  <a:cubicBezTo>
                    <a:pt x="0" y="779"/>
                    <a:pt x="72" y="863"/>
                    <a:pt x="167" y="863"/>
                  </a:cubicBezTo>
                  <a:cubicBezTo>
                    <a:pt x="250" y="863"/>
                    <a:pt x="334" y="779"/>
                    <a:pt x="334" y="696"/>
                  </a:cubicBezTo>
                  <a:lnTo>
                    <a:pt x="334" y="470"/>
                  </a:lnTo>
                  <a:cubicBezTo>
                    <a:pt x="334" y="398"/>
                    <a:pt x="357" y="303"/>
                    <a:pt x="393" y="243"/>
                  </a:cubicBezTo>
                  <a:cubicBezTo>
                    <a:pt x="429" y="172"/>
                    <a:pt x="417" y="65"/>
                    <a:pt x="346" y="29"/>
                  </a:cubicBezTo>
                  <a:cubicBezTo>
                    <a:pt x="317" y="10"/>
                    <a:pt x="283" y="1"/>
                    <a:pt x="2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1" name="Google Shape;13611;p64"/>
            <p:cNvSpPr/>
            <p:nvPr/>
          </p:nvSpPr>
          <p:spPr>
            <a:xfrm>
              <a:off x="4711173" y="2279419"/>
              <a:ext cx="28456" cy="10695"/>
            </a:xfrm>
            <a:custGeom>
              <a:avLst/>
              <a:gdLst/>
              <a:ahLst/>
              <a:cxnLst/>
              <a:rect l="l" t="t" r="r" b="b"/>
              <a:pathLst>
                <a:path w="894" h="336" extrusionOk="0">
                  <a:moveTo>
                    <a:pt x="170" y="1"/>
                  </a:moveTo>
                  <a:cubicBezTo>
                    <a:pt x="96" y="1"/>
                    <a:pt x="34" y="57"/>
                    <a:pt x="12" y="133"/>
                  </a:cubicBezTo>
                  <a:cubicBezTo>
                    <a:pt x="0" y="228"/>
                    <a:pt x="60" y="300"/>
                    <a:pt x="131" y="312"/>
                  </a:cubicBezTo>
                  <a:cubicBezTo>
                    <a:pt x="179" y="312"/>
                    <a:pt x="215" y="336"/>
                    <a:pt x="251" y="336"/>
                  </a:cubicBezTo>
                  <a:lnTo>
                    <a:pt x="727" y="336"/>
                  </a:lnTo>
                  <a:cubicBezTo>
                    <a:pt x="822" y="336"/>
                    <a:pt x="893" y="252"/>
                    <a:pt x="893" y="169"/>
                  </a:cubicBezTo>
                  <a:cubicBezTo>
                    <a:pt x="893" y="74"/>
                    <a:pt x="822" y="2"/>
                    <a:pt x="727" y="2"/>
                  </a:cubicBezTo>
                  <a:lnTo>
                    <a:pt x="191" y="2"/>
                  </a:lnTo>
                  <a:cubicBezTo>
                    <a:pt x="184" y="1"/>
                    <a:pt x="177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2" name="Google Shape;13612;p64"/>
            <p:cNvSpPr/>
            <p:nvPr/>
          </p:nvSpPr>
          <p:spPr>
            <a:xfrm>
              <a:off x="4714197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3" y="262"/>
                    <a:pt x="72" y="334"/>
                    <a:pt x="156" y="334"/>
                  </a:cubicBezTo>
                  <a:lnTo>
                    <a:pt x="727" y="334"/>
                  </a:lnTo>
                  <a:cubicBezTo>
                    <a:pt x="810" y="334"/>
                    <a:pt x="894" y="262"/>
                    <a:pt x="894" y="167"/>
                  </a:cubicBezTo>
                  <a:cubicBezTo>
                    <a:pt x="894" y="84"/>
                    <a:pt x="810" y="1"/>
                    <a:pt x="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3" name="Google Shape;13613;p64"/>
            <p:cNvSpPr/>
            <p:nvPr/>
          </p:nvSpPr>
          <p:spPr>
            <a:xfrm>
              <a:off x="4747173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4" name="Google Shape;13614;p64"/>
            <p:cNvSpPr/>
            <p:nvPr/>
          </p:nvSpPr>
          <p:spPr>
            <a:xfrm>
              <a:off x="4750196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727" y="334"/>
                  </a:lnTo>
                  <a:cubicBezTo>
                    <a:pt x="810" y="334"/>
                    <a:pt x="894" y="262"/>
                    <a:pt x="894" y="167"/>
                  </a:cubicBezTo>
                  <a:cubicBezTo>
                    <a:pt x="894" y="84"/>
                    <a:pt x="810" y="1"/>
                    <a:pt x="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5" name="Google Shape;13615;p64"/>
            <p:cNvSpPr/>
            <p:nvPr/>
          </p:nvSpPr>
          <p:spPr>
            <a:xfrm>
              <a:off x="4696022" y="2107791"/>
              <a:ext cx="10631" cy="28838"/>
            </a:xfrm>
            <a:custGeom>
              <a:avLst/>
              <a:gdLst/>
              <a:ahLst/>
              <a:cxnLst/>
              <a:rect l="l" t="t" r="r" b="b"/>
              <a:pathLst>
                <a:path w="334" h="906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739"/>
                  </a:lnTo>
                  <a:cubicBezTo>
                    <a:pt x="0" y="822"/>
                    <a:pt x="72" y="906"/>
                    <a:pt x="167" y="906"/>
                  </a:cubicBezTo>
                  <a:cubicBezTo>
                    <a:pt x="250" y="906"/>
                    <a:pt x="334" y="822"/>
                    <a:pt x="334" y="739"/>
                  </a:cubicBezTo>
                  <a:lnTo>
                    <a:pt x="334" y="167"/>
                  </a:lnTo>
                  <a:cubicBezTo>
                    <a:pt x="334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6" name="Google Shape;13616;p64"/>
            <p:cNvSpPr/>
            <p:nvPr/>
          </p:nvSpPr>
          <p:spPr>
            <a:xfrm>
              <a:off x="4695640" y="2251058"/>
              <a:ext cx="12541" cy="28074"/>
            </a:xfrm>
            <a:custGeom>
              <a:avLst/>
              <a:gdLst/>
              <a:ahLst/>
              <a:cxnLst/>
              <a:rect l="l" t="t" r="r" b="b"/>
              <a:pathLst>
                <a:path w="394" h="88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488"/>
                  </a:lnTo>
                  <a:cubicBezTo>
                    <a:pt x="0" y="596"/>
                    <a:pt x="12" y="703"/>
                    <a:pt x="60" y="786"/>
                  </a:cubicBezTo>
                  <a:cubicBezTo>
                    <a:pt x="107" y="846"/>
                    <a:pt x="167" y="881"/>
                    <a:pt x="227" y="881"/>
                  </a:cubicBezTo>
                  <a:cubicBezTo>
                    <a:pt x="238" y="881"/>
                    <a:pt x="262" y="881"/>
                    <a:pt x="286" y="869"/>
                  </a:cubicBezTo>
                  <a:cubicBezTo>
                    <a:pt x="358" y="834"/>
                    <a:pt x="393" y="727"/>
                    <a:pt x="358" y="655"/>
                  </a:cubicBezTo>
                  <a:cubicBezTo>
                    <a:pt x="322" y="596"/>
                    <a:pt x="322" y="548"/>
                    <a:pt x="322" y="488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7" name="Google Shape;13617;p64"/>
            <p:cNvSpPr/>
            <p:nvPr/>
          </p:nvSpPr>
          <p:spPr>
            <a:xfrm>
              <a:off x="4782790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3" y="250"/>
                    <a:pt x="72" y="334"/>
                    <a:pt x="167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8" name="Google Shape;13618;p64"/>
            <p:cNvSpPr/>
            <p:nvPr/>
          </p:nvSpPr>
          <p:spPr>
            <a:xfrm>
              <a:off x="4696022" y="2143409"/>
              <a:ext cx="10631" cy="28456"/>
            </a:xfrm>
            <a:custGeom>
              <a:avLst/>
              <a:gdLst/>
              <a:ahLst/>
              <a:cxnLst/>
              <a:rect l="l" t="t" r="r" b="b"/>
              <a:pathLst>
                <a:path w="334" h="894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739"/>
                  </a:lnTo>
                  <a:cubicBezTo>
                    <a:pt x="0" y="822"/>
                    <a:pt x="72" y="894"/>
                    <a:pt x="167" y="894"/>
                  </a:cubicBezTo>
                  <a:cubicBezTo>
                    <a:pt x="250" y="894"/>
                    <a:pt x="334" y="822"/>
                    <a:pt x="334" y="739"/>
                  </a:cubicBezTo>
                  <a:lnTo>
                    <a:pt x="334" y="168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9" name="Google Shape;13619;p64"/>
            <p:cNvSpPr/>
            <p:nvPr/>
          </p:nvSpPr>
          <p:spPr>
            <a:xfrm>
              <a:off x="4696022" y="2215440"/>
              <a:ext cx="10631" cy="28074"/>
            </a:xfrm>
            <a:custGeom>
              <a:avLst/>
              <a:gdLst/>
              <a:ahLst/>
              <a:cxnLst/>
              <a:rect l="l" t="t" r="r" b="b"/>
              <a:pathLst>
                <a:path w="334" h="882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738"/>
                  </a:lnTo>
                  <a:cubicBezTo>
                    <a:pt x="0" y="810"/>
                    <a:pt x="72" y="881"/>
                    <a:pt x="167" y="881"/>
                  </a:cubicBezTo>
                  <a:cubicBezTo>
                    <a:pt x="250" y="881"/>
                    <a:pt x="334" y="810"/>
                    <a:pt x="334" y="715"/>
                  </a:cubicBezTo>
                  <a:lnTo>
                    <a:pt x="334" y="167"/>
                  </a:lnTo>
                  <a:cubicBezTo>
                    <a:pt x="334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0" name="Google Shape;13620;p64"/>
            <p:cNvSpPr/>
            <p:nvPr/>
          </p:nvSpPr>
          <p:spPr>
            <a:xfrm>
              <a:off x="4696022" y="2179441"/>
              <a:ext cx="10631" cy="28424"/>
            </a:xfrm>
            <a:custGeom>
              <a:avLst/>
              <a:gdLst/>
              <a:ahLst/>
              <a:cxnLst/>
              <a:rect l="l" t="t" r="r" b="b"/>
              <a:pathLst>
                <a:path w="334" h="893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738"/>
                  </a:lnTo>
                  <a:cubicBezTo>
                    <a:pt x="0" y="822"/>
                    <a:pt x="72" y="893"/>
                    <a:pt x="167" y="893"/>
                  </a:cubicBezTo>
                  <a:cubicBezTo>
                    <a:pt x="250" y="893"/>
                    <a:pt x="334" y="822"/>
                    <a:pt x="334" y="738"/>
                  </a:cubicBezTo>
                  <a:lnTo>
                    <a:pt x="334" y="167"/>
                  </a:lnTo>
                  <a:cubicBezTo>
                    <a:pt x="334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1" name="Google Shape;13621;p64"/>
            <p:cNvSpPr/>
            <p:nvPr/>
          </p:nvSpPr>
          <p:spPr>
            <a:xfrm>
              <a:off x="4854790" y="2146847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67"/>
                  </a:lnTo>
                  <a:cubicBezTo>
                    <a:pt x="311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2" name="Google Shape;13622;p64"/>
            <p:cNvSpPr/>
            <p:nvPr/>
          </p:nvSpPr>
          <p:spPr>
            <a:xfrm>
              <a:off x="4854790" y="2110847"/>
              <a:ext cx="10281" cy="28424"/>
            </a:xfrm>
            <a:custGeom>
              <a:avLst/>
              <a:gdLst/>
              <a:ahLst/>
              <a:cxnLst/>
              <a:rect l="l" t="t" r="r" b="b"/>
              <a:pathLst>
                <a:path w="323" h="893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67"/>
                  </a:lnTo>
                  <a:cubicBezTo>
                    <a:pt x="311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3" name="Google Shape;13623;p64"/>
            <p:cNvSpPr/>
            <p:nvPr/>
          </p:nvSpPr>
          <p:spPr>
            <a:xfrm>
              <a:off x="4854790" y="2182846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55"/>
                  </a:lnTo>
                  <a:cubicBezTo>
                    <a:pt x="311" y="60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4" name="Google Shape;13624;p64"/>
            <p:cNvSpPr/>
            <p:nvPr/>
          </p:nvSpPr>
          <p:spPr>
            <a:xfrm>
              <a:off x="4852912" y="2075738"/>
              <a:ext cx="12159" cy="27915"/>
            </a:xfrm>
            <a:custGeom>
              <a:avLst/>
              <a:gdLst/>
              <a:ahLst/>
              <a:cxnLst/>
              <a:rect l="l" t="t" r="r" b="b"/>
              <a:pathLst>
                <a:path w="382" h="877" extrusionOk="0">
                  <a:moveTo>
                    <a:pt x="185" y="0"/>
                  </a:moveTo>
                  <a:cubicBezTo>
                    <a:pt x="162" y="0"/>
                    <a:pt x="139" y="6"/>
                    <a:pt x="119" y="20"/>
                  </a:cubicBezTo>
                  <a:cubicBezTo>
                    <a:pt x="48" y="43"/>
                    <a:pt x="0" y="151"/>
                    <a:pt x="48" y="222"/>
                  </a:cubicBezTo>
                  <a:cubicBezTo>
                    <a:pt x="48" y="270"/>
                    <a:pt x="60" y="329"/>
                    <a:pt x="60" y="389"/>
                  </a:cubicBezTo>
                  <a:lnTo>
                    <a:pt x="60" y="722"/>
                  </a:lnTo>
                  <a:cubicBezTo>
                    <a:pt x="60" y="805"/>
                    <a:pt x="131" y="877"/>
                    <a:pt x="227" y="877"/>
                  </a:cubicBezTo>
                  <a:cubicBezTo>
                    <a:pt x="310" y="877"/>
                    <a:pt x="381" y="805"/>
                    <a:pt x="381" y="722"/>
                  </a:cubicBezTo>
                  <a:lnTo>
                    <a:pt x="381" y="389"/>
                  </a:lnTo>
                  <a:cubicBezTo>
                    <a:pt x="381" y="281"/>
                    <a:pt x="370" y="186"/>
                    <a:pt x="322" y="91"/>
                  </a:cubicBezTo>
                  <a:cubicBezTo>
                    <a:pt x="305" y="39"/>
                    <a:pt x="244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5" name="Google Shape;13625;p64"/>
            <p:cNvSpPr/>
            <p:nvPr/>
          </p:nvSpPr>
          <p:spPr>
            <a:xfrm>
              <a:off x="4854790" y="2218464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7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7"/>
                  </a:cubicBezTo>
                  <a:lnTo>
                    <a:pt x="322" y="167"/>
                  </a:lnTo>
                  <a:cubicBezTo>
                    <a:pt x="311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6" name="Google Shape;13626;p64"/>
            <p:cNvSpPr/>
            <p:nvPr/>
          </p:nvSpPr>
          <p:spPr>
            <a:xfrm>
              <a:off x="4821464" y="2064598"/>
              <a:ext cx="29188" cy="10249"/>
            </a:xfrm>
            <a:custGeom>
              <a:avLst/>
              <a:gdLst/>
              <a:ahLst/>
              <a:cxnLst/>
              <a:rect l="l" t="t" r="r" b="b"/>
              <a:pathLst>
                <a:path w="917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738" y="322"/>
                  </a:lnTo>
                  <a:cubicBezTo>
                    <a:pt x="810" y="322"/>
                    <a:pt x="881" y="262"/>
                    <a:pt x="893" y="191"/>
                  </a:cubicBezTo>
                  <a:cubicBezTo>
                    <a:pt x="917" y="96"/>
                    <a:pt x="857" y="24"/>
                    <a:pt x="762" y="12"/>
                  </a:cubicBezTo>
                  <a:cubicBezTo>
                    <a:pt x="715" y="12"/>
                    <a:pt x="691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7" name="Google Shape;13627;p64"/>
            <p:cNvSpPr/>
            <p:nvPr/>
          </p:nvSpPr>
          <p:spPr>
            <a:xfrm>
              <a:off x="4785464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cubicBezTo>
                    <a:pt x="24" y="262"/>
                    <a:pt x="83" y="334"/>
                    <a:pt x="167" y="334"/>
                  </a:cubicBezTo>
                  <a:lnTo>
                    <a:pt x="738" y="334"/>
                  </a:lnTo>
                  <a:cubicBezTo>
                    <a:pt x="822" y="334"/>
                    <a:pt x="893" y="262"/>
                    <a:pt x="893" y="167"/>
                  </a:cubicBezTo>
                  <a:cubicBezTo>
                    <a:pt x="893" y="84"/>
                    <a:pt x="822" y="1"/>
                    <a:pt x="7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8" name="Google Shape;13628;p64"/>
            <p:cNvSpPr/>
            <p:nvPr/>
          </p:nvSpPr>
          <p:spPr>
            <a:xfrm>
              <a:off x="4818790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9" name="Google Shape;13629;p64"/>
            <p:cNvSpPr/>
            <p:nvPr/>
          </p:nvSpPr>
          <p:spPr>
            <a:xfrm>
              <a:off x="4851002" y="2253700"/>
              <a:ext cx="14069" cy="28074"/>
            </a:xfrm>
            <a:custGeom>
              <a:avLst/>
              <a:gdLst/>
              <a:ahLst/>
              <a:cxnLst/>
              <a:rect l="l" t="t" r="r" b="b"/>
              <a:pathLst>
                <a:path w="442" h="882" extrusionOk="0">
                  <a:moveTo>
                    <a:pt x="275" y="1"/>
                  </a:moveTo>
                  <a:cubicBezTo>
                    <a:pt x="191" y="1"/>
                    <a:pt x="120" y="84"/>
                    <a:pt x="120" y="167"/>
                  </a:cubicBezTo>
                  <a:lnTo>
                    <a:pt x="120" y="405"/>
                  </a:lnTo>
                  <a:cubicBezTo>
                    <a:pt x="120" y="489"/>
                    <a:pt x="84" y="572"/>
                    <a:pt x="60" y="632"/>
                  </a:cubicBezTo>
                  <a:cubicBezTo>
                    <a:pt x="1" y="703"/>
                    <a:pt x="25" y="810"/>
                    <a:pt x="108" y="858"/>
                  </a:cubicBezTo>
                  <a:cubicBezTo>
                    <a:pt x="132" y="870"/>
                    <a:pt x="168" y="882"/>
                    <a:pt x="191" y="882"/>
                  </a:cubicBezTo>
                  <a:cubicBezTo>
                    <a:pt x="239" y="882"/>
                    <a:pt x="299" y="858"/>
                    <a:pt x="322" y="810"/>
                  </a:cubicBezTo>
                  <a:cubicBezTo>
                    <a:pt x="406" y="691"/>
                    <a:pt x="441" y="560"/>
                    <a:pt x="441" y="405"/>
                  </a:cubicBezTo>
                  <a:lnTo>
                    <a:pt x="441" y="167"/>
                  </a:lnTo>
                  <a:cubicBezTo>
                    <a:pt x="441" y="84"/>
                    <a:pt x="370" y="1"/>
                    <a:pt x="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0" name="Google Shape;13630;p64"/>
            <p:cNvSpPr/>
            <p:nvPr/>
          </p:nvSpPr>
          <p:spPr>
            <a:xfrm>
              <a:off x="4883596" y="2064980"/>
              <a:ext cx="107299" cy="99310"/>
            </a:xfrm>
            <a:custGeom>
              <a:avLst/>
              <a:gdLst/>
              <a:ahLst/>
              <a:cxnLst/>
              <a:rect l="l" t="t" r="r" b="b"/>
              <a:pathLst>
                <a:path w="3371" h="3120" extrusionOk="0">
                  <a:moveTo>
                    <a:pt x="2620" y="310"/>
                  </a:moveTo>
                  <a:cubicBezTo>
                    <a:pt x="2680" y="310"/>
                    <a:pt x="2739" y="322"/>
                    <a:pt x="2787" y="346"/>
                  </a:cubicBezTo>
                  <a:lnTo>
                    <a:pt x="1656" y="1334"/>
                  </a:lnTo>
                  <a:lnTo>
                    <a:pt x="525" y="346"/>
                  </a:lnTo>
                  <a:cubicBezTo>
                    <a:pt x="584" y="322"/>
                    <a:pt x="644" y="310"/>
                    <a:pt x="703" y="310"/>
                  </a:cubicBezTo>
                  <a:close/>
                  <a:moveTo>
                    <a:pt x="3013" y="572"/>
                  </a:moveTo>
                  <a:cubicBezTo>
                    <a:pt x="3025" y="619"/>
                    <a:pt x="3037" y="667"/>
                    <a:pt x="3037" y="727"/>
                  </a:cubicBezTo>
                  <a:lnTo>
                    <a:pt x="3037" y="2394"/>
                  </a:lnTo>
                  <a:cubicBezTo>
                    <a:pt x="3037" y="2453"/>
                    <a:pt x="3025" y="2501"/>
                    <a:pt x="3013" y="2548"/>
                  </a:cubicBezTo>
                  <a:lnTo>
                    <a:pt x="1906" y="1560"/>
                  </a:lnTo>
                  <a:lnTo>
                    <a:pt x="3013" y="572"/>
                  </a:lnTo>
                  <a:close/>
                  <a:moveTo>
                    <a:pt x="310" y="596"/>
                  </a:moveTo>
                  <a:lnTo>
                    <a:pt x="1418" y="1572"/>
                  </a:lnTo>
                  <a:lnTo>
                    <a:pt x="310" y="2560"/>
                  </a:lnTo>
                  <a:cubicBezTo>
                    <a:pt x="298" y="2513"/>
                    <a:pt x="287" y="2465"/>
                    <a:pt x="287" y="2405"/>
                  </a:cubicBezTo>
                  <a:lnTo>
                    <a:pt x="287" y="727"/>
                  </a:lnTo>
                  <a:cubicBezTo>
                    <a:pt x="287" y="679"/>
                    <a:pt x="298" y="619"/>
                    <a:pt x="310" y="596"/>
                  </a:cubicBezTo>
                  <a:close/>
                  <a:moveTo>
                    <a:pt x="715" y="0"/>
                  </a:moveTo>
                  <a:cubicBezTo>
                    <a:pt x="501" y="0"/>
                    <a:pt x="322" y="84"/>
                    <a:pt x="191" y="227"/>
                  </a:cubicBezTo>
                  <a:lnTo>
                    <a:pt x="179" y="238"/>
                  </a:lnTo>
                  <a:cubicBezTo>
                    <a:pt x="60" y="369"/>
                    <a:pt x="1" y="536"/>
                    <a:pt x="1" y="715"/>
                  </a:cubicBezTo>
                  <a:lnTo>
                    <a:pt x="1" y="2382"/>
                  </a:lnTo>
                  <a:cubicBezTo>
                    <a:pt x="1" y="2560"/>
                    <a:pt x="60" y="2727"/>
                    <a:pt x="168" y="2846"/>
                  </a:cubicBezTo>
                  <a:cubicBezTo>
                    <a:pt x="156" y="2870"/>
                    <a:pt x="156" y="2870"/>
                    <a:pt x="168" y="2882"/>
                  </a:cubicBezTo>
                  <a:lnTo>
                    <a:pt x="191" y="2917"/>
                  </a:lnTo>
                  <a:cubicBezTo>
                    <a:pt x="334" y="3048"/>
                    <a:pt x="513" y="3120"/>
                    <a:pt x="703" y="3120"/>
                  </a:cubicBezTo>
                  <a:lnTo>
                    <a:pt x="1132" y="3120"/>
                  </a:lnTo>
                  <a:cubicBezTo>
                    <a:pt x="1227" y="3120"/>
                    <a:pt x="1299" y="3048"/>
                    <a:pt x="1299" y="2953"/>
                  </a:cubicBezTo>
                  <a:cubicBezTo>
                    <a:pt x="1299" y="2870"/>
                    <a:pt x="1227" y="2798"/>
                    <a:pt x="1132" y="2798"/>
                  </a:cubicBezTo>
                  <a:lnTo>
                    <a:pt x="703" y="2798"/>
                  </a:lnTo>
                  <a:cubicBezTo>
                    <a:pt x="644" y="2798"/>
                    <a:pt x="584" y="2775"/>
                    <a:pt x="537" y="2763"/>
                  </a:cubicBezTo>
                  <a:lnTo>
                    <a:pt x="1668" y="1762"/>
                  </a:lnTo>
                  <a:lnTo>
                    <a:pt x="2799" y="2763"/>
                  </a:lnTo>
                  <a:cubicBezTo>
                    <a:pt x="2751" y="2775"/>
                    <a:pt x="2692" y="2798"/>
                    <a:pt x="2632" y="2798"/>
                  </a:cubicBezTo>
                  <a:lnTo>
                    <a:pt x="2096" y="2798"/>
                  </a:lnTo>
                  <a:cubicBezTo>
                    <a:pt x="2013" y="2798"/>
                    <a:pt x="1942" y="2870"/>
                    <a:pt x="1942" y="2953"/>
                  </a:cubicBezTo>
                  <a:cubicBezTo>
                    <a:pt x="1942" y="3048"/>
                    <a:pt x="2013" y="3120"/>
                    <a:pt x="2096" y="3120"/>
                  </a:cubicBezTo>
                  <a:lnTo>
                    <a:pt x="2632" y="3120"/>
                  </a:lnTo>
                  <a:cubicBezTo>
                    <a:pt x="2846" y="3120"/>
                    <a:pt x="3025" y="3036"/>
                    <a:pt x="3156" y="2905"/>
                  </a:cubicBezTo>
                  <a:lnTo>
                    <a:pt x="3168" y="2882"/>
                  </a:lnTo>
                  <a:cubicBezTo>
                    <a:pt x="3287" y="2751"/>
                    <a:pt x="3370" y="2584"/>
                    <a:pt x="3370" y="2394"/>
                  </a:cubicBezTo>
                  <a:lnTo>
                    <a:pt x="3370" y="727"/>
                  </a:lnTo>
                  <a:cubicBezTo>
                    <a:pt x="3370" y="322"/>
                    <a:pt x="3037" y="0"/>
                    <a:pt x="2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1" name="Google Shape;13631;p64"/>
            <p:cNvSpPr/>
            <p:nvPr/>
          </p:nvSpPr>
          <p:spPr>
            <a:xfrm>
              <a:off x="4882864" y="2190422"/>
              <a:ext cx="107267" cy="99692"/>
            </a:xfrm>
            <a:custGeom>
              <a:avLst/>
              <a:gdLst/>
              <a:ahLst/>
              <a:cxnLst/>
              <a:rect l="l" t="t" r="r" b="b"/>
              <a:pathLst>
                <a:path w="3370" h="3132" extrusionOk="0">
                  <a:moveTo>
                    <a:pt x="2643" y="310"/>
                  </a:moveTo>
                  <a:cubicBezTo>
                    <a:pt x="2703" y="310"/>
                    <a:pt x="2762" y="334"/>
                    <a:pt x="2810" y="346"/>
                  </a:cubicBezTo>
                  <a:lnTo>
                    <a:pt x="1679" y="1346"/>
                  </a:lnTo>
                  <a:lnTo>
                    <a:pt x="548" y="346"/>
                  </a:lnTo>
                  <a:cubicBezTo>
                    <a:pt x="607" y="334"/>
                    <a:pt x="667" y="310"/>
                    <a:pt x="726" y="310"/>
                  </a:cubicBezTo>
                  <a:close/>
                  <a:moveTo>
                    <a:pt x="333" y="584"/>
                  </a:moveTo>
                  <a:lnTo>
                    <a:pt x="1441" y="1560"/>
                  </a:lnTo>
                  <a:lnTo>
                    <a:pt x="333" y="2548"/>
                  </a:lnTo>
                  <a:cubicBezTo>
                    <a:pt x="321" y="2501"/>
                    <a:pt x="310" y="2453"/>
                    <a:pt x="310" y="2393"/>
                  </a:cubicBezTo>
                  <a:lnTo>
                    <a:pt x="310" y="727"/>
                  </a:lnTo>
                  <a:cubicBezTo>
                    <a:pt x="310" y="691"/>
                    <a:pt x="321" y="631"/>
                    <a:pt x="333" y="584"/>
                  </a:cubicBezTo>
                  <a:close/>
                  <a:moveTo>
                    <a:pt x="3036" y="584"/>
                  </a:moveTo>
                  <a:cubicBezTo>
                    <a:pt x="3048" y="631"/>
                    <a:pt x="3060" y="667"/>
                    <a:pt x="3060" y="727"/>
                  </a:cubicBezTo>
                  <a:lnTo>
                    <a:pt x="3060" y="2393"/>
                  </a:lnTo>
                  <a:cubicBezTo>
                    <a:pt x="3060" y="2441"/>
                    <a:pt x="3048" y="2501"/>
                    <a:pt x="3036" y="2548"/>
                  </a:cubicBezTo>
                  <a:lnTo>
                    <a:pt x="1929" y="1560"/>
                  </a:lnTo>
                  <a:lnTo>
                    <a:pt x="3036" y="584"/>
                  </a:lnTo>
                  <a:close/>
                  <a:moveTo>
                    <a:pt x="1691" y="1786"/>
                  </a:moveTo>
                  <a:lnTo>
                    <a:pt x="2822" y="2786"/>
                  </a:lnTo>
                  <a:cubicBezTo>
                    <a:pt x="2762" y="2798"/>
                    <a:pt x="2703" y="2810"/>
                    <a:pt x="2643" y="2810"/>
                  </a:cubicBezTo>
                  <a:lnTo>
                    <a:pt x="726" y="2810"/>
                  </a:lnTo>
                  <a:cubicBezTo>
                    <a:pt x="667" y="2810"/>
                    <a:pt x="607" y="2798"/>
                    <a:pt x="560" y="2786"/>
                  </a:cubicBezTo>
                  <a:lnTo>
                    <a:pt x="1691" y="1786"/>
                  </a:lnTo>
                  <a:close/>
                  <a:moveTo>
                    <a:pt x="726" y="0"/>
                  </a:moveTo>
                  <a:cubicBezTo>
                    <a:pt x="512" y="0"/>
                    <a:pt x="333" y="96"/>
                    <a:pt x="202" y="227"/>
                  </a:cubicBezTo>
                  <a:lnTo>
                    <a:pt x="191" y="238"/>
                  </a:lnTo>
                  <a:cubicBezTo>
                    <a:pt x="71" y="369"/>
                    <a:pt x="0" y="536"/>
                    <a:pt x="0" y="727"/>
                  </a:cubicBezTo>
                  <a:lnTo>
                    <a:pt x="0" y="2393"/>
                  </a:lnTo>
                  <a:cubicBezTo>
                    <a:pt x="0" y="2596"/>
                    <a:pt x="71" y="2751"/>
                    <a:pt x="191" y="2894"/>
                  </a:cubicBezTo>
                  <a:cubicBezTo>
                    <a:pt x="333" y="3036"/>
                    <a:pt x="512" y="3132"/>
                    <a:pt x="726" y="3132"/>
                  </a:cubicBezTo>
                  <a:lnTo>
                    <a:pt x="2643" y="3132"/>
                  </a:lnTo>
                  <a:cubicBezTo>
                    <a:pt x="2858" y="3132"/>
                    <a:pt x="3036" y="3036"/>
                    <a:pt x="3167" y="2905"/>
                  </a:cubicBezTo>
                  <a:lnTo>
                    <a:pt x="3179" y="2894"/>
                  </a:lnTo>
                  <a:cubicBezTo>
                    <a:pt x="3298" y="2751"/>
                    <a:pt x="3369" y="2596"/>
                    <a:pt x="3369" y="2393"/>
                  </a:cubicBezTo>
                  <a:lnTo>
                    <a:pt x="3369" y="727"/>
                  </a:lnTo>
                  <a:cubicBezTo>
                    <a:pt x="3369" y="536"/>
                    <a:pt x="3298" y="369"/>
                    <a:pt x="3179" y="238"/>
                  </a:cubicBezTo>
                  <a:lnTo>
                    <a:pt x="3167" y="227"/>
                  </a:lnTo>
                  <a:cubicBezTo>
                    <a:pt x="3036" y="96"/>
                    <a:pt x="2858" y="0"/>
                    <a:pt x="2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32" name="Google Shape;13632;p64"/>
          <p:cNvGrpSpPr/>
          <p:nvPr/>
        </p:nvGrpSpPr>
        <p:grpSpPr>
          <a:xfrm>
            <a:off x="6083810" y="1547297"/>
            <a:ext cx="382819" cy="310788"/>
            <a:chOff x="6083810" y="1547297"/>
            <a:chExt cx="382819" cy="310788"/>
          </a:xfrm>
        </p:grpSpPr>
        <p:sp>
          <p:nvSpPr>
            <p:cNvPr id="13633" name="Google Shape;13633;p64"/>
            <p:cNvSpPr/>
            <p:nvPr/>
          </p:nvSpPr>
          <p:spPr>
            <a:xfrm>
              <a:off x="6083810" y="1547297"/>
              <a:ext cx="382819" cy="310788"/>
            </a:xfrm>
            <a:custGeom>
              <a:avLst/>
              <a:gdLst/>
              <a:ahLst/>
              <a:cxnLst/>
              <a:rect l="l" t="t" r="r" b="b"/>
              <a:pathLst>
                <a:path w="12027" h="9764" extrusionOk="0">
                  <a:moveTo>
                    <a:pt x="1834" y="334"/>
                  </a:moveTo>
                  <a:cubicBezTo>
                    <a:pt x="1834" y="334"/>
                    <a:pt x="1846" y="334"/>
                    <a:pt x="1846" y="358"/>
                  </a:cubicBezTo>
                  <a:lnTo>
                    <a:pt x="1846" y="1108"/>
                  </a:lnTo>
                  <a:cubicBezTo>
                    <a:pt x="1846" y="1108"/>
                    <a:pt x="1846" y="1132"/>
                    <a:pt x="1834" y="1132"/>
                  </a:cubicBezTo>
                  <a:lnTo>
                    <a:pt x="1465" y="1132"/>
                  </a:lnTo>
                  <a:cubicBezTo>
                    <a:pt x="1465" y="1132"/>
                    <a:pt x="1453" y="1132"/>
                    <a:pt x="1453" y="1108"/>
                  </a:cubicBezTo>
                  <a:lnTo>
                    <a:pt x="1453" y="358"/>
                  </a:lnTo>
                  <a:lnTo>
                    <a:pt x="1834" y="334"/>
                  </a:lnTo>
                  <a:close/>
                  <a:moveTo>
                    <a:pt x="10502" y="334"/>
                  </a:moveTo>
                  <a:cubicBezTo>
                    <a:pt x="10502" y="334"/>
                    <a:pt x="10514" y="334"/>
                    <a:pt x="10514" y="358"/>
                  </a:cubicBezTo>
                  <a:lnTo>
                    <a:pt x="10514" y="1108"/>
                  </a:lnTo>
                  <a:cubicBezTo>
                    <a:pt x="10514" y="1108"/>
                    <a:pt x="10514" y="1132"/>
                    <a:pt x="10502" y="1132"/>
                  </a:cubicBezTo>
                  <a:lnTo>
                    <a:pt x="10133" y="1132"/>
                  </a:lnTo>
                  <a:cubicBezTo>
                    <a:pt x="10133" y="1132"/>
                    <a:pt x="10109" y="1132"/>
                    <a:pt x="10109" y="1108"/>
                  </a:cubicBezTo>
                  <a:lnTo>
                    <a:pt x="10109" y="358"/>
                  </a:lnTo>
                  <a:lnTo>
                    <a:pt x="10502" y="334"/>
                  </a:lnTo>
                  <a:close/>
                  <a:moveTo>
                    <a:pt x="11229" y="1096"/>
                  </a:moveTo>
                  <a:cubicBezTo>
                    <a:pt x="11443" y="1096"/>
                    <a:pt x="11621" y="1274"/>
                    <a:pt x="11621" y="1477"/>
                  </a:cubicBezTo>
                  <a:lnTo>
                    <a:pt x="11621" y="9013"/>
                  </a:lnTo>
                  <a:cubicBezTo>
                    <a:pt x="11645" y="9240"/>
                    <a:pt x="11467" y="9406"/>
                    <a:pt x="11264" y="9406"/>
                  </a:cubicBezTo>
                  <a:lnTo>
                    <a:pt x="727" y="9406"/>
                  </a:lnTo>
                  <a:cubicBezTo>
                    <a:pt x="513" y="9406"/>
                    <a:pt x="334" y="9228"/>
                    <a:pt x="334" y="9013"/>
                  </a:cubicBezTo>
                  <a:lnTo>
                    <a:pt x="334" y="1477"/>
                  </a:lnTo>
                  <a:cubicBezTo>
                    <a:pt x="334" y="1274"/>
                    <a:pt x="513" y="1096"/>
                    <a:pt x="727" y="1096"/>
                  </a:cubicBezTo>
                  <a:lnTo>
                    <a:pt x="1108" y="1096"/>
                  </a:lnTo>
                  <a:lnTo>
                    <a:pt x="1108" y="1108"/>
                  </a:lnTo>
                  <a:cubicBezTo>
                    <a:pt x="1108" y="1322"/>
                    <a:pt x="1275" y="1465"/>
                    <a:pt x="1465" y="1465"/>
                  </a:cubicBezTo>
                  <a:lnTo>
                    <a:pt x="1834" y="1465"/>
                  </a:lnTo>
                  <a:cubicBezTo>
                    <a:pt x="2049" y="1465"/>
                    <a:pt x="2192" y="1298"/>
                    <a:pt x="2192" y="1108"/>
                  </a:cubicBezTo>
                  <a:lnTo>
                    <a:pt x="2192" y="1096"/>
                  </a:lnTo>
                  <a:lnTo>
                    <a:pt x="9752" y="1096"/>
                  </a:lnTo>
                  <a:lnTo>
                    <a:pt x="9752" y="1108"/>
                  </a:lnTo>
                  <a:cubicBezTo>
                    <a:pt x="9752" y="1322"/>
                    <a:pt x="9919" y="1465"/>
                    <a:pt x="10109" y="1465"/>
                  </a:cubicBezTo>
                  <a:lnTo>
                    <a:pt x="10490" y="1465"/>
                  </a:lnTo>
                  <a:cubicBezTo>
                    <a:pt x="10693" y="1465"/>
                    <a:pt x="10848" y="1298"/>
                    <a:pt x="10848" y="1108"/>
                  </a:cubicBezTo>
                  <a:lnTo>
                    <a:pt x="10848" y="1096"/>
                  </a:lnTo>
                  <a:close/>
                  <a:moveTo>
                    <a:pt x="1489" y="0"/>
                  </a:moveTo>
                  <a:cubicBezTo>
                    <a:pt x="1287" y="0"/>
                    <a:pt x="1132" y="155"/>
                    <a:pt x="1132" y="358"/>
                  </a:cubicBezTo>
                  <a:lnTo>
                    <a:pt x="1132" y="739"/>
                  </a:lnTo>
                  <a:lnTo>
                    <a:pt x="751" y="739"/>
                  </a:lnTo>
                  <a:cubicBezTo>
                    <a:pt x="346" y="739"/>
                    <a:pt x="1" y="1072"/>
                    <a:pt x="1" y="1489"/>
                  </a:cubicBezTo>
                  <a:lnTo>
                    <a:pt x="1" y="9013"/>
                  </a:lnTo>
                  <a:cubicBezTo>
                    <a:pt x="1" y="9418"/>
                    <a:pt x="334" y="9764"/>
                    <a:pt x="751" y="9764"/>
                  </a:cubicBezTo>
                  <a:lnTo>
                    <a:pt x="11288" y="9764"/>
                  </a:lnTo>
                  <a:cubicBezTo>
                    <a:pt x="11693" y="9764"/>
                    <a:pt x="12026" y="9430"/>
                    <a:pt x="12026" y="9013"/>
                  </a:cubicBezTo>
                  <a:lnTo>
                    <a:pt x="12026" y="1489"/>
                  </a:lnTo>
                  <a:cubicBezTo>
                    <a:pt x="12002" y="1084"/>
                    <a:pt x="11657" y="739"/>
                    <a:pt x="11264" y="739"/>
                  </a:cubicBezTo>
                  <a:lnTo>
                    <a:pt x="10871" y="739"/>
                  </a:lnTo>
                  <a:lnTo>
                    <a:pt x="10871" y="358"/>
                  </a:lnTo>
                  <a:cubicBezTo>
                    <a:pt x="10871" y="143"/>
                    <a:pt x="10705" y="0"/>
                    <a:pt x="10514" y="0"/>
                  </a:cubicBezTo>
                  <a:lnTo>
                    <a:pt x="10145" y="0"/>
                  </a:lnTo>
                  <a:cubicBezTo>
                    <a:pt x="9931" y="0"/>
                    <a:pt x="9788" y="155"/>
                    <a:pt x="9788" y="358"/>
                  </a:cubicBezTo>
                  <a:lnTo>
                    <a:pt x="9788" y="739"/>
                  </a:lnTo>
                  <a:lnTo>
                    <a:pt x="2227" y="739"/>
                  </a:lnTo>
                  <a:lnTo>
                    <a:pt x="2227" y="358"/>
                  </a:lnTo>
                  <a:cubicBezTo>
                    <a:pt x="2227" y="143"/>
                    <a:pt x="2061" y="0"/>
                    <a:pt x="1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4" name="Google Shape;13634;p64"/>
            <p:cNvSpPr/>
            <p:nvPr/>
          </p:nvSpPr>
          <p:spPr>
            <a:xfrm>
              <a:off x="6106950" y="1606787"/>
              <a:ext cx="334661" cy="11395"/>
            </a:xfrm>
            <a:custGeom>
              <a:avLst/>
              <a:gdLst/>
              <a:ahLst/>
              <a:cxnLst/>
              <a:rect l="l" t="t" r="r" b="b"/>
              <a:pathLst>
                <a:path w="10514" h="358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86"/>
                    <a:pt x="72" y="358"/>
                    <a:pt x="179" y="358"/>
                  </a:cubicBezTo>
                  <a:lnTo>
                    <a:pt x="10335" y="358"/>
                  </a:lnTo>
                  <a:cubicBezTo>
                    <a:pt x="10442" y="358"/>
                    <a:pt x="10513" y="286"/>
                    <a:pt x="10513" y="179"/>
                  </a:cubicBezTo>
                  <a:cubicBezTo>
                    <a:pt x="10513" y="72"/>
                    <a:pt x="10442" y="1"/>
                    <a:pt x="10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5" name="Google Shape;13635;p64"/>
            <p:cNvSpPr/>
            <p:nvPr/>
          </p:nvSpPr>
          <p:spPr>
            <a:xfrm>
              <a:off x="6124743" y="1655296"/>
              <a:ext cx="47427" cy="11395"/>
            </a:xfrm>
            <a:custGeom>
              <a:avLst/>
              <a:gdLst/>
              <a:ahLst/>
              <a:cxnLst/>
              <a:rect l="l" t="t" r="r" b="b"/>
              <a:pathLst>
                <a:path w="1490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8" y="358"/>
                    <a:pt x="1489" y="275"/>
                    <a:pt x="1489" y="179"/>
                  </a:cubicBezTo>
                  <a:cubicBezTo>
                    <a:pt x="1489" y="72"/>
                    <a:pt x="1406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6" name="Google Shape;13636;p64"/>
            <p:cNvSpPr/>
            <p:nvPr/>
          </p:nvSpPr>
          <p:spPr>
            <a:xfrm>
              <a:off x="6208520" y="1655296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75"/>
                    <a:pt x="83" y="358"/>
                    <a:pt x="179" y="358"/>
                  </a:cubicBezTo>
                  <a:lnTo>
                    <a:pt x="1310" y="358"/>
                  </a:lnTo>
                  <a:cubicBezTo>
                    <a:pt x="1417" y="358"/>
                    <a:pt x="1488" y="275"/>
                    <a:pt x="1488" y="179"/>
                  </a:cubicBezTo>
                  <a:cubicBezTo>
                    <a:pt x="1488" y="72"/>
                    <a:pt x="1405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7" name="Google Shape;13637;p64"/>
            <p:cNvSpPr/>
            <p:nvPr/>
          </p:nvSpPr>
          <p:spPr>
            <a:xfrm>
              <a:off x="6376391" y="1655296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7" y="358"/>
                    <a:pt x="1489" y="275"/>
                    <a:pt x="1489" y="179"/>
                  </a:cubicBezTo>
                  <a:cubicBezTo>
                    <a:pt x="1489" y="72"/>
                    <a:pt x="1417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8" name="Google Shape;13638;p64"/>
            <p:cNvSpPr/>
            <p:nvPr/>
          </p:nvSpPr>
          <p:spPr>
            <a:xfrm>
              <a:off x="6124743" y="1703041"/>
              <a:ext cx="47427" cy="11427"/>
            </a:xfrm>
            <a:custGeom>
              <a:avLst/>
              <a:gdLst/>
              <a:ahLst/>
              <a:cxnLst/>
              <a:rect l="l" t="t" r="r" b="b"/>
              <a:pathLst>
                <a:path w="1490" h="359" extrusionOk="0">
                  <a:moveTo>
                    <a:pt x="179" y="1"/>
                  </a:moveTo>
                  <a:cubicBezTo>
                    <a:pt x="72" y="1"/>
                    <a:pt x="1" y="72"/>
                    <a:pt x="1" y="180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8" y="358"/>
                    <a:pt x="1489" y="275"/>
                    <a:pt x="1489" y="180"/>
                  </a:cubicBezTo>
                  <a:cubicBezTo>
                    <a:pt x="1489" y="72"/>
                    <a:pt x="1406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9" name="Google Shape;13639;p64"/>
            <p:cNvSpPr/>
            <p:nvPr/>
          </p:nvSpPr>
          <p:spPr>
            <a:xfrm>
              <a:off x="6292646" y="1703041"/>
              <a:ext cx="47395" cy="11427"/>
            </a:xfrm>
            <a:custGeom>
              <a:avLst/>
              <a:gdLst/>
              <a:ahLst/>
              <a:cxnLst/>
              <a:rect l="l" t="t" r="r" b="b"/>
              <a:pathLst>
                <a:path w="1489" h="359" extrusionOk="0">
                  <a:moveTo>
                    <a:pt x="179" y="1"/>
                  </a:moveTo>
                  <a:cubicBezTo>
                    <a:pt x="72" y="1"/>
                    <a:pt x="0" y="72"/>
                    <a:pt x="0" y="180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05" y="358"/>
                    <a:pt x="1489" y="275"/>
                    <a:pt x="1489" y="180"/>
                  </a:cubicBezTo>
                  <a:cubicBezTo>
                    <a:pt x="1489" y="72"/>
                    <a:pt x="1405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0" name="Google Shape;13640;p64"/>
            <p:cNvSpPr/>
            <p:nvPr/>
          </p:nvSpPr>
          <p:spPr>
            <a:xfrm>
              <a:off x="6124743" y="1750818"/>
              <a:ext cx="47427" cy="11395"/>
            </a:xfrm>
            <a:custGeom>
              <a:avLst/>
              <a:gdLst/>
              <a:ahLst/>
              <a:cxnLst/>
              <a:rect l="l" t="t" r="r" b="b"/>
              <a:pathLst>
                <a:path w="1490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8" y="357"/>
                    <a:pt x="1489" y="286"/>
                    <a:pt x="1489" y="179"/>
                  </a:cubicBezTo>
                  <a:cubicBezTo>
                    <a:pt x="1489" y="72"/>
                    <a:pt x="1406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1" name="Google Shape;13641;p64"/>
            <p:cNvSpPr/>
            <p:nvPr/>
          </p:nvSpPr>
          <p:spPr>
            <a:xfrm>
              <a:off x="6208520" y="1750818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83" y="0"/>
                    <a:pt x="0" y="72"/>
                    <a:pt x="0" y="179"/>
                  </a:cubicBezTo>
                  <a:cubicBezTo>
                    <a:pt x="0" y="286"/>
                    <a:pt x="83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8" y="286"/>
                    <a:pt x="1488" y="179"/>
                  </a:cubicBezTo>
                  <a:cubicBezTo>
                    <a:pt x="1488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2" name="Google Shape;13642;p64"/>
            <p:cNvSpPr/>
            <p:nvPr/>
          </p:nvSpPr>
          <p:spPr>
            <a:xfrm>
              <a:off x="6376391" y="1750818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9" y="286"/>
                    <a:pt x="1489" y="179"/>
                  </a:cubicBezTo>
                  <a:cubicBezTo>
                    <a:pt x="1489" y="72"/>
                    <a:pt x="1417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3" name="Google Shape;13643;p64"/>
            <p:cNvSpPr/>
            <p:nvPr/>
          </p:nvSpPr>
          <p:spPr>
            <a:xfrm>
              <a:off x="6208520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83" y="0"/>
                    <a:pt x="0" y="72"/>
                    <a:pt x="0" y="179"/>
                  </a:cubicBezTo>
                  <a:cubicBezTo>
                    <a:pt x="0" y="286"/>
                    <a:pt x="83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8" y="286"/>
                    <a:pt x="1488" y="179"/>
                  </a:cubicBezTo>
                  <a:cubicBezTo>
                    <a:pt x="1488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4" name="Google Shape;13644;p64"/>
            <p:cNvSpPr/>
            <p:nvPr/>
          </p:nvSpPr>
          <p:spPr>
            <a:xfrm>
              <a:off x="6292646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05" y="357"/>
                    <a:pt x="1489" y="286"/>
                    <a:pt x="1489" y="179"/>
                  </a:cubicBezTo>
                  <a:cubicBezTo>
                    <a:pt x="1489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5" name="Google Shape;13645;p64"/>
            <p:cNvSpPr/>
            <p:nvPr/>
          </p:nvSpPr>
          <p:spPr>
            <a:xfrm>
              <a:off x="6376391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9" y="286"/>
                    <a:pt x="1489" y="179"/>
                  </a:cubicBezTo>
                  <a:cubicBezTo>
                    <a:pt x="1489" y="72"/>
                    <a:pt x="1417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6" name="Google Shape;13646;p64"/>
            <p:cNvSpPr/>
            <p:nvPr/>
          </p:nvSpPr>
          <p:spPr>
            <a:xfrm>
              <a:off x="6207756" y="1690723"/>
              <a:ext cx="48923" cy="35108"/>
            </a:xfrm>
            <a:custGeom>
              <a:avLst/>
              <a:gdLst/>
              <a:ahLst/>
              <a:cxnLst/>
              <a:rect l="l" t="t" r="r" b="b"/>
              <a:pathLst>
                <a:path w="1537" h="1103" extrusionOk="0">
                  <a:moveTo>
                    <a:pt x="1328" y="1"/>
                  </a:moveTo>
                  <a:cubicBezTo>
                    <a:pt x="1283" y="1"/>
                    <a:pt x="1239" y="19"/>
                    <a:pt x="1203" y="55"/>
                  </a:cubicBezTo>
                  <a:lnTo>
                    <a:pt x="584" y="686"/>
                  </a:lnTo>
                  <a:lnTo>
                    <a:pt x="322" y="436"/>
                  </a:lnTo>
                  <a:cubicBezTo>
                    <a:pt x="286" y="394"/>
                    <a:pt x="241" y="373"/>
                    <a:pt x="197" y="373"/>
                  </a:cubicBezTo>
                  <a:cubicBezTo>
                    <a:pt x="152" y="373"/>
                    <a:pt x="107" y="394"/>
                    <a:pt x="72" y="436"/>
                  </a:cubicBezTo>
                  <a:cubicBezTo>
                    <a:pt x="0" y="507"/>
                    <a:pt x="0" y="614"/>
                    <a:pt x="72" y="686"/>
                  </a:cubicBezTo>
                  <a:lnTo>
                    <a:pt x="441" y="1055"/>
                  </a:lnTo>
                  <a:cubicBezTo>
                    <a:pt x="477" y="1078"/>
                    <a:pt x="512" y="1102"/>
                    <a:pt x="560" y="1102"/>
                  </a:cubicBezTo>
                  <a:cubicBezTo>
                    <a:pt x="607" y="1102"/>
                    <a:pt x="655" y="1078"/>
                    <a:pt x="679" y="1055"/>
                  </a:cubicBezTo>
                  <a:lnTo>
                    <a:pt x="1441" y="293"/>
                  </a:lnTo>
                  <a:cubicBezTo>
                    <a:pt x="1536" y="233"/>
                    <a:pt x="1536" y="138"/>
                    <a:pt x="1453" y="55"/>
                  </a:cubicBezTo>
                  <a:cubicBezTo>
                    <a:pt x="1417" y="19"/>
                    <a:pt x="1372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7" name="Google Shape;13647;p64"/>
            <p:cNvSpPr/>
            <p:nvPr/>
          </p:nvSpPr>
          <p:spPr>
            <a:xfrm>
              <a:off x="6376009" y="1690723"/>
              <a:ext cx="48159" cy="35108"/>
            </a:xfrm>
            <a:custGeom>
              <a:avLst/>
              <a:gdLst/>
              <a:ahLst/>
              <a:cxnLst/>
              <a:rect l="l" t="t" r="r" b="b"/>
              <a:pathLst>
                <a:path w="1513" h="1103" extrusionOk="0">
                  <a:moveTo>
                    <a:pt x="1328" y="1"/>
                  </a:moveTo>
                  <a:cubicBezTo>
                    <a:pt x="1284" y="1"/>
                    <a:pt x="1239" y="19"/>
                    <a:pt x="1203" y="55"/>
                  </a:cubicBezTo>
                  <a:lnTo>
                    <a:pt x="572" y="686"/>
                  </a:lnTo>
                  <a:lnTo>
                    <a:pt x="322" y="436"/>
                  </a:lnTo>
                  <a:cubicBezTo>
                    <a:pt x="286" y="394"/>
                    <a:pt x="242" y="373"/>
                    <a:pt x="197" y="373"/>
                  </a:cubicBezTo>
                  <a:cubicBezTo>
                    <a:pt x="152" y="373"/>
                    <a:pt x="108" y="394"/>
                    <a:pt x="72" y="436"/>
                  </a:cubicBezTo>
                  <a:cubicBezTo>
                    <a:pt x="1" y="507"/>
                    <a:pt x="1" y="614"/>
                    <a:pt x="72" y="686"/>
                  </a:cubicBezTo>
                  <a:lnTo>
                    <a:pt x="441" y="1055"/>
                  </a:lnTo>
                  <a:cubicBezTo>
                    <a:pt x="477" y="1078"/>
                    <a:pt x="513" y="1102"/>
                    <a:pt x="560" y="1102"/>
                  </a:cubicBezTo>
                  <a:cubicBezTo>
                    <a:pt x="608" y="1102"/>
                    <a:pt x="644" y="1078"/>
                    <a:pt x="679" y="1055"/>
                  </a:cubicBezTo>
                  <a:lnTo>
                    <a:pt x="1441" y="293"/>
                  </a:lnTo>
                  <a:cubicBezTo>
                    <a:pt x="1513" y="233"/>
                    <a:pt x="1513" y="138"/>
                    <a:pt x="1453" y="55"/>
                  </a:cubicBezTo>
                  <a:cubicBezTo>
                    <a:pt x="1417" y="19"/>
                    <a:pt x="1373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8" name="Google Shape;13648;p64"/>
            <p:cNvSpPr/>
            <p:nvPr/>
          </p:nvSpPr>
          <p:spPr>
            <a:xfrm>
              <a:off x="6291500" y="1738595"/>
              <a:ext cx="48923" cy="34981"/>
            </a:xfrm>
            <a:custGeom>
              <a:avLst/>
              <a:gdLst/>
              <a:ahLst/>
              <a:cxnLst/>
              <a:rect l="l" t="t" r="r" b="b"/>
              <a:pathLst>
                <a:path w="1537" h="1099" extrusionOk="0">
                  <a:moveTo>
                    <a:pt x="1334" y="0"/>
                  </a:moveTo>
                  <a:cubicBezTo>
                    <a:pt x="1289" y="0"/>
                    <a:pt x="1245" y="21"/>
                    <a:pt x="1203" y="63"/>
                  </a:cubicBezTo>
                  <a:lnTo>
                    <a:pt x="584" y="682"/>
                  </a:lnTo>
                  <a:lnTo>
                    <a:pt x="322" y="432"/>
                  </a:lnTo>
                  <a:cubicBezTo>
                    <a:pt x="286" y="396"/>
                    <a:pt x="242" y="378"/>
                    <a:pt x="197" y="378"/>
                  </a:cubicBezTo>
                  <a:cubicBezTo>
                    <a:pt x="152" y="378"/>
                    <a:pt x="108" y="396"/>
                    <a:pt x="72" y="432"/>
                  </a:cubicBezTo>
                  <a:cubicBezTo>
                    <a:pt x="1" y="503"/>
                    <a:pt x="1" y="610"/>
                    <a:pt x="72" y="682"/>
                  </a:cubicBezTo>
                  <a:lnTo>
                    <a:pt x="441" y="1051"/>
                  </a:lnTo>
                  <a:cubicBezTo>
                    <a:pt x="477" y="1087"/>
                    <a:pt x="524" y="1098"/>
                    <a:pt x="560" y="1098"/>
                  </a:cubicBezTo>
                  <a:cubicBezTo>
                    <a:pt x="608" y="1098"/>
                    <a:pt x="655" y="1087"/>
                    <a:pt x="679" y="1051"/>
                  </a:cubicBezTo>
                  <a:lnTo>
                    <a:pt x="1441" y="301"/>
                  </a:lnTo>
                  <a:cubicBezTo>
                    <a:pt x="1536" y="241"/>
                    <a:pt x="1536" y="134"/>
                    <a:pt x="1465" y="63"/>
                  </a:cubicBezTo>
                  <a:cubicBezTo>
                    <a:pt x="1423" y="21"/>
                    <a:pt x="1379" y="0"/>
                    <a:pt x="1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9" name="Google Shape;13649;p64"/>
            <p:cNvSpPr/>
            <p:nvPr/>
          </p:nvSpPr>
          <p:spPr>
            <a:xfrm>
              <a:off x="6123629" y="1786627"/>
              <a:ext cx="48891" cy="34695"/>
            </a:xfrm>
            <a:custGeom>
              <a:avLst/>
              <a:gdLst/>
              <a:ahLst/>
              <a:cxnLst/>
              <a:rect l="l" t="t" r="r" b="b"/>
              <a:pathLst>
                <a:path w="1536" h="1090" extrusionOk="0">
                  <a:moveTo>
                    <a:pt x="1340" y="0"/>
                  </a:moveTo>
                  <a:cubicBezTo>
                    <a:pt x="1295" y="0"/>
                    <a:pt x="1250" y="18"/>
                    <a:pt x="1215" y="54"/>
                  </a:cubicBezTo>
                  <a:lnTo>
                    <a:pt x="583" y="673"/>
                  </a:lnTo>
                  <a:lnTo>
                    <a:pt x="333" y="423"/>
                  </a:lnTo>
                  <a:cubicBezTo>
                    <a:pt x="298" y="387"/>
                    <a:pt x="253" y="369"/>
                    <a:pt x="208" y="369"/>
                  </a:cubicBezTo>
                  <a:cubicBezTo>
                    <a:pt x="164" y="369"/>
                    <a:pt x="119" y="387"/>
                    <a:pt x="83" y="423"/>
                  </a:cubicBezTo>
                  <a:cubicBezTo>
                    <a:pt x="0" y="494"/>
                    <a:pt x="0" y="601"/>
                    <a:pt x="83" y="673"/>
                  </a:cubicBezTo>
                  <a:lnTo>
                    <a:pt x="453" y="1042"/>
                  </a:lnTo>
                  <a:cubicBezTo>
                    <a:pt x="476" y="1078"/>
                    <a:pt x="524" y="1090"/>
                    <a:pt x="572" y="1090"/>
                  </a:cubicBezTo>
                  <a:cubicBezTo>
                    <a:pt x="619" y="1090"/>
                    <a:pt x="655" y="1078"/>
                    <a:pt x="691" y="1042"/>
                  </a:cubicBezTo>
                  <a:lnTo>
                    <a:pt x="1453" y="292"/>
                  </a:lnTo>
                  <a:cubicBezTo>
                    <a:pt x="1536" y="232"/>
                    <a:pt x="1536" y="125"/>
                    <a:pt x="1465" y="54"/>
                  </a:cubicBezTo>
                  <a:cubicBezTo>
                    <a:pt x="1429" y="18"/>
                    <a:pt x="1384" y="0"/>
                    <a:pt x="1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0" name="Google Shape;13650;p64"/>
            <p:cNvSpPr/>
            <p:nvPr/>
          </p:nvSpPr>
          <p:spPr>
            <a:xfrm>
              <a:off x="6291500" y="1642978"/>
              <a:ext cx="48923" cy="34727"/>
            </a:xfrm>
            <a:custGeom>
              <a:avLst/>
              <a:gdLst/>
              <a:ahLst/>
              <a:cxnLst/>
              <a:rect l="l" t="t" r="r" b="b"/>
              <a:pathLst>
                <a:path w="1537" h="1091" extrusionOk="0">
                  <a:moveTo>
                    <a:pt x="1334" y="1"/>
                  </a:moveTo>
                  <a:cubicBezTo>
                    <a:pt x="1289" y="1"/>
                    <a:pt x="1245" y="19"/>
                    <a:pt x="1203" y="54"/>
                  </a:cubicBezTo>
                  <a:lnTo>
                    <a:pt x="584" y="673"/>
                  </a:lnTo>
                  <a:lnTo>
                    <a:pt x="322" y="423"/>
                  </a:lnTo>
                  <a:cubicBezTo>
                    <a:pt x="286" y="388"/>
                    <a:pt x="242" y="370"/>
                    <a:pt x="197" y="370"/>
                  </a:cubicBezTo>
                  <a:cubicBezTo>
                    <a:pt x="152" y="370"/>
                    <a:pt x="108" y="388"/>
                    <a:pt x="72" y="423"/>
                  </a:cubicBezTo>
                  <a:cubicBezTo>
                    <a:pt x="1" y="495"/>
                    <a:pt x="1" y="602"/>
                    <a:pt x="72" y="673"/>
                  </a:cubicBezTo>
                  <a:lnTo>
                    <a:pt x="441" y="1054"/>
                  </a:lnTo>
                  <a:cubicBezTo>
                    <a:pt x="477" y="1078"/>
                    <a:pt x="524" y="1090"/>
                    <a:pt x="560" y="1090"/>
                  </a:cubicBezTo>
                  <a:cubicBezTo>
                    <a:pt x="608" y="1090"/>
                    <a:pt x="655" y="1078"/>
                    <a:pt x="679" y="1054"/>
                  </a:cubicBezTo>
                  <a:lnTo>
                    <a:pt x="1441" y="292"/>
                  </a:lnTo>
                  <a:cubicBezTo>
                    <a:pt x="1536" y="233"/>
                    <a:pt x="1536" y="114"/>
                    <a:pt x="1465" y="54"/>
                  </a:cubicBezTo>
                  <a:cubicBezTo>
                    <a:pt x="1423" y="19"/>
                    <a:pt x="1379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1" name="Google Shape;13651;p64"/>
          <p:cNvGrpSpPr/>
          <p:nvPr/>
        </p:nvGrpSpPr>
        <p:grpSpPr>
          <a:xfrm>
            <a:off x="6558300" y="1538193"/>
            <a:ext cx="382788" cy="328613"/>
            <a:chOff x="6558300" y="1538193"/>
            <a:chExt cx="382788" cy="328613"/>
          </a:xfrm>
        </p:grpSpPr>
        <p:sp>
          <p:nvSpPr>
            <p:cNvPr id="13652" name="Google Shape;13652;p64"/>
            <p:cNvSpPr/>
            <p:nvPr/>
          </p:nvSpPr>
          <p:spPr>
            <a:xfrm>
              <a:off x="6558300" y="1538193"/>
              <a:ext cx="382788" cy="328613"/>
            </a:xfrm>
            <a:custGeom>
              <a:avLst/>
              <a:gdLst/>
              <a:ahLst/>
              <a:cxnLst/>
              <a:rect l="l" t="t" r="r" b="b"/>
              <a:pathLst>
                <a:path w="12026" h="10324" extrusionOk="0">
                  <a:moveTo>
                    <a:pt x="6859" y="358"/>
                  </a:moveTo>
                  <a:cubicBezTo>
                    <a:pt x="7037" y="358"/>
                    <a:pt x="7204" y="477"/>
                    <a:pt x="7228" y="656"/>
                  </a:cubicBezTo>
                  <a:lnTo>
                    <a:pt x="7454" y="1691"/>
                  </a:lnTo>
                  <a:lnTo>
                    <a:pt x="4513" y="1691"/>
                  </a:lnTo>
                  <a:lnTo>
                    <a:pt x="4763" y="656"/>
                  </a:lnTo>
                  <a:cubicBezTo>
                    <a:pt x="4811" y="477"/>
                    <a:pt x="4954" y="358"/>
                    <a:pt x="5132" y="358"/>
                  </a:cubicBezTo>
                  <a:close/>
                  <a:moveTo>
                    <a:pt x="2822" y="2037"/>
                  </a:moveTo>
                  <a:lnTo>
                    <a:pt x="2822" y="5835"/>
                  </a:lnTo>
                  <a:lnTo>
                    <a:pt x="2429" y="5835"/>
                  </a:lnTo>
                  <a:lnTo>
                    <a:pt x="2429" y="2037"/>
                  </a:lnTo>
                  <a:close/>
                  <a:moveTo>
                    <a:pt x="9597" y="2037"/>
                  </a:moveTo>
                  <a:lnTo>
                    <a:pt x="9597" y="5835"/>
                  </a:lnTo>
                  <a:lnTo>
                    <a:pt x="9192" y="5835"/>
                  </a:lnTo>
                  <a:lnTo>
                    <a:pt x="9192" y="2037"/>
                  </a:lnTo>
                  <a:close/>
                  <a:moveTo>
                    <a:pt x="8835" y="2037"/>
                  </a:moveTo>
                  <a:lnTo>
                    <a:pt x="8835" y="5835"/>
                  </a:lnTo>
                  <a:lnTo>
                    <a:pt x="8823" y="5835"/>
                  </a:lnTo>
                  <a:cubicBezTo>
                    <a:pt x="8621" y="5835"/>
                    <a:pt x="8466" y="6001"/>
                    <a:pt x="8466" y="6192"/>
                  </a:cubicBezTo>
                  <a:lnTo>
                    <a:pt x="8466" y="6573"/>
                  </a:lnTo>
                  <a:lnTo>
                    <a:pt x="3561" y="6573"/>
                  </a:lnTo>
                  <a:lnTo>
                    <a:pt x="3561" y="6192"/>
                  </a:lnTo>
                  <a:cubicBezTo>
                    <a:pt x="3561" y="5978"/>
                    <a:pt x="3394" y="5835"/>
                    <a:pt x="3203" y="5835"/>
                  </a:cubicBezTo>
                  <a:lnTo>
                    <a:pt x="3180" y="5835"/>
                  </a:lnTo>
                  <a:lnTo>
                    <a:pt x="3180" y="2037"/>
                  </a:lnTo>
                  <a:close/>
                  <a:moveTo>
                    <a:pt x="2084" y="2037"/>
                  </a:moveTo>
                  <a:lnTo>
                    <a:pt x="2084" y="5835"/>
                  </a:lnTo>
                  <a:lnTo>
                    <a:pt x="2072" y="5835"/>
                  </a:lnTo>
                  <a:cubicBezTo>
                    <a:pt x="1858" y="5835"/>
                    <a:pt x="1715" y="6001"/>
                    <a:pt x="1715" y="6192"/>
                  </a:cubicBezTo>
                  <a:lnTo>
                    <a:pt x="1715" y="6573"/>
                  </a:lnTo>
                  <a:lnTo>
                    <a:pt x="1691" y="6573"/>
                  </a:lnTo>
                  <a:cubicBezTo>
                    <a:pt x="1677" y="6573"/>
                    <a:pt x="1663" y="6574"/>
                    <a:pt x="1648" y="6574"/>
                  </a:cubicBezTo>
                  <a:cubicBezTo>
                    <a:pt x="930" y="6574"/>
                    <a:pt x="358" y="5987"/>
                    <a:pt x="358" y="5251"/>
                  </a:cubicBezTo>
                  <a:lnTo>
                    <a:pt x="358" y="2620"/>
                  </a:lnTo>
                  <a:cubicBezTo>
                    <a:pt x="358" y="2299"/>
                    <a:pt x="608" y="2037"/>
                    <a:pt x="941" y="2037"/>
                  </a:cubicBezTo>
                  <a:close/>
                  <a:moveTo>
                    <a:pt x="11097" y="2049"/>
                  </a:moveTo>
                  <a:cubicBezTo>
                    <a:pt x="11419" y="2049"/>
                    <a:pt x="11681" y="2299"/>
                    <a:pt x="11681" y="2632"/>
                  </a:cubicBezTo>
                  <a:lnTo>
                    <a:pt x="11681" y="5263"/>
                  </a:lnTo>
                  <a:cubicBezTo>
                    <a:pt x="11669" y="6001"/>
                    <a:pt x="11073" y="6597"/>
                    <a:pt x="10347" y="6597"/>
                  </a:cubicBezTo>
                  <a:lnTo>
                    <a:pt x="10323" y="6204"/>
                  </a:lnTo>
                  <a:cubicBezTo>
                    <a:pt x="10323" y="6001"/>
                    <a:pt x="10168" y="5847"/>
                    <a:pt x="9966" y="5847"/>
                  </a:cubicBezTo>
                  <a:lnTo>
                    <a:pt x="9954" y="5847"/>
                  </a:lnTo>
                  <a:lnTo>
                    <a:pt x="9954" y="2049"/>
                  </a:lnTo>
                  <a:close/>
                  <a:moveTo>
                    <a:pt x="3180" y="6192"/>
                  </a:moveTo>
                  <a:cubicBezTo>
                    <a:pt x="3180" y="6192"/>
                    <a:pt x="3203" y="6192"/>
                    <a:pt x="3203" y="6204"/>
                  </a:cubicBezTo>
                  <a:lnTo>
                    <a:pt x="3203" y="7144"/>
                  </a:lnTo>
                  <a:cubicBezTo>
                    <a:pt x="3203" y="7144"/>
                    <a:pt x="3203" y="7156"/>
                    <a:pt x="3180" y="7156"/>
                  </a:cubicBezTo>
                  <a:lnTo>
                    <a:pt x="2048" y="7156"/>
                  </a:lnTo>
                  <a:cubicBezTo>
                    <a:pt x="2048" y="7156"/>
                    <a:pt x="2037" y="7156"/>
                    <a:pt x="2037" y="7144"/>
                  </a:cubicBezTo>
                  <a:lnTo>
                    <a:pt x="2037" y="6204"/>
                  </a:lnTo>
                  <a:cubicBezTo>
                    <a:pt x="2037" y="6204"/>
                    <a:pt x="2037" y="6192"/>
                    <a:pt x="2048" y="6192"/>
                  </a:cubicBezTo>
                  <a:lnTo>
                    <a:pt x="2441" y="6192"/>
                  </a:lnTo>
                  <a:lnTo>
                    <a:pt x="2441" y="6573"/>
                  </a:lnTo>
                  <a:cubicBezTo>
                    <a:pt x="2441" y="6668"/>
                    <a:pt x="2525" y="6752"/>
                    <a:pt x="2620" y="6752"/>
                  </a:cubicBezTo>
                  <a:cubicBezTo>
                    <a:pt x="2727" y="6752"/>
                    <a:pt x="2799" y="6680"/>
                    <a:pt x="2799" y="6573"/>
                  </a:cubicBezTo>
                  <a:lnTo>
                    <a:pt x="2799" y="6192"/>
                  </a:lnTo>
                  <a:close/>
                  <a:moveTo>
                    <a:pt x="9966" y="6192"/>
                  </a:moveTo>
                  <a:cubicBezTo>
                    <a:pt x="9966" y="6192"/>
                    <a:pt x="9978" y="6192"/>
                    <a:pt x="9978" y="6204"/>
                  </a:cubicBezTo>
                  <a:lnTo>
                    <a:pt x="9990" y="7144"/>
                  </a:lnTo>
                  <a:lnTo>
                    <a:pt x="8835" y="7156"/>
                  </a:lnTo>
                  <a:cubicBezTo>
                    <a:pt x="8835" y="7156"/>
                    <a:pt x="8823" y="7156"/>
                    <a:pt x="8823" y="7144"/>
                  </a:cubicBezTo>
                  <a:lnTo>
                    <a:pt x="8823" y="6204"/>
                  </a:lnTo>
                  <a:cubicBezTo>
                    <a:pt x="8823" y="6204"/>
                    <a:pt x="8823" y="6192"/>
                    <a:pt x="8835" y="6192"/>
                  </a:cubicBezTo>
                  <a:lnTo>
                    <a:pt x="9228" y="6192"/>
                  </a:lnTo>
                  <a:lnTo>
                    <a:pt x="9228" y="6573"/>
                  </a:lnTo>
                  <a:cubicBezTo>
                    <a:pt x="9228" y="6680"/>
                    <a:pt x="9299" y="6752"/>
                    <a:pt x="9406" y="6752"/>
                  </a:cubicBezTo>
                  <a:cubicBezTo>
                    <a:pt x="9514" y="6752"/>
                    <a:pt x="9585" y="6680"/>
                    <a:pt x="9585" y="6573"/>
                  </a:cubicBezTo>
                  <a:lnTo>
                    <a:pt x="9585" y="6192"/>
                  </a:lnTo>
                  <a:close/>
                  <a:moveTo>
                    <a:pt x="727" y="6632"/>
                  </a:moveTo>
                  <a:cubicBezTo>
                    <a:pt x="989" y="6823"/>
                    <a:pt x="1322" y="6930"/>
                    <a:pt x="1679" y="6930"/>
                  </a:cubicBezTo>
                  <a:lnTo>
                    <a:pt x="1691" y="6930"/>
                  </a:lnTo>
                  <a:lnTo>
                    <a:pt x="1691" y="7121"/>
                  </a:lnTo>
                  <a:cubicBezTo>
                    <a:pt x="1691" y="7335"/>
                    <a:pt x="1858" y="7478"/>
                    <a:pt x="2048" y="7478"/>
                  </a:cubicBezTo>
                  <a:lnTo>
                    <a:pt x="2810" y="7478"/>
                  </a:lnTo>
                  <a:lnTo>
                    <a:pt x="2810" y="9966"/>
                  </a:lnTo>
                  <a:lnTo>
                    <a:pt x="2429" y="9966"/>
                  </a:lnTo>
                  <a:lnTo>
                    <a:pt x="2429" y="8085"/>
                  </a:lnTo>
                  <a:cubicBezTo>
                    <a:pt x="2429" y="7978"/>
                    <a:pt x="2346" y="7906"/>
                    <a:pt x="2239" y="7906"/>
                  </a:cubicBezTo>
                  <a:cubicBezTo>
                    <a:pt x="2144" y="7906"/>
                    <a:pt x="2060" y="7978"/>
                    <a:pt x="2060" y="8085"/>
                  </a:cubicBezTo>
                  <a:lnTo>
                    <a:pt x="2060" y="9966"/>
                  </a:lnTo>
                  <a:lnTo>
                    <a:pt x="1108" y="9966"/>
                  </a:lnTo>
                  <a:cubicBezTo>
                    <a:pt x="905" y="9966"/>
                    <a:pt x="727" y="9788"/>
                    <a:pt x="727" y="9585"/>
                  </a:cubicBezTo>
                  <a:lnTo>
                    <a:pt x="727" y="6632"/>
                  </a:lnTo>
                  <a:close/>
                  <a:moveTo>
                    <a:pt x="8466" y="6942"/>
                  </a:moveTo>
                  <a:lnTo>
                    <a:pt x="8466" y="7144"/>
                  </a:lnTo>
                  <a:cubicBezTo>
                    <a:pt x="8466" y="7347"/>
                    <a:pt x="8633" y="7502"/>
                    <a:pt x="8823" y="7502"/>
                  </a:cubicBezTo>
                  <a:lnTo>
                    <a:pt x="9585" y="7502"/>
                  </a:lnTo>
                  <a:lnTo>
                    <a:pt x="9597" y="9966"/>
                  </a:lnTo>
                  <a:lnTo>
                    <a:pt x="9192" y="9966"/>
                  </a:lnTo>
                  <a:lnTo>
                    <a:pt x="9192" y="8085"/>
                  </a:lnTo>
                  <a:cubicBezTo>
                    <a:pt x="9192" y="7978"/>
                    <a:pt x="9121" y="7906"/>
                    <a:pt x="9014" y="7906"/>
                  </a:cubicBezTo>
                  <a:cubicBezTo>
                    <a:pt x="8906" y="7906"/>
                    <a:pt x="8835" y="7978"/>
                    <a:pt x="8835" y="8085"/>
                  </a:cubicBezTo>
                  <a:lnTo>
                    <a:pt x="8835" y="9966"/>
                  </a:lnTo>
                  <a:lnTo>
                    <a:pt x="3168" y="9966"/>
                  </a:lnTo>
                  <a:lnTo>
                    <a:pt x="3168" y="7502"/>
                  </a:lnTo>
                  <a:lnTo>
                    <a:pt x="3180" y="7502"/>
                  </a:lnTo>
                  <a:cubicBezTo>
                    <a:pt x="3394" y="7502"/>
                    <a:pt x="3537" y="7335"/>
                    <a:pt x="3537" y="7144"/>
                  </a:cubicBezTo>
                  <a:lnTo>
                    <a:pt x="3537" y="6942"/>
                  </a:lnTo>
                  <a:close/>
                  <a:moveTo>
                    <a:pt x="11300" y="6656"/>
                  </a:moveTo>
                  <a:lnTo>
                    <a:pt x="11300" y="9585"/>
                  </a:lnTo>
                  <a:cubicBezTo>
                    <a:pt x="11300" y="9788"/>
                    <a:pt x="11121" y="9966"/>
                    <a:pt x="10907" y="9966"/>
                  </a:cubicBezTo>
                  <a:lnTo>
                    <a:pt x="9954" y="9966"/>
                  </a:lnTo>
                  <a:lnTo>
                    <a:pt x="9954" y="7502"/>
                  </a:lnTo>
                  <a:lnTo>
                    <a:pt x="9966" y="7502"/>
                  </a:lnTo>
                  <a:cubicBezTo>
                    <a:pt x="10180" y="7502"/>
                    <a:pt x="10323" y="7335"/>
                    <a:pt x="10323" y="7144"/>
                  </a:cubicBezTo>
                  <a:lnTo>
                    <a:pt x="10323" y="6954"/>
                  </a:lnTo>
                  <a:lnTo>
                    <a:pt x="10347" y="6954"/>
                  </a:lnTo>
                  <a:cubicBezTo>
                    <a:pt x="10704" y="6954"/>
                    <a:pt x="11026" y="6847"/>
                    <a:pt x="11300" y="6656"/>
                  </a:cubicBezTo>
                  <a:close/>
                  <a:moveTo>
                    <a:pt x="5144" y="1"/>
                  </a:moveTo>
                  <a:cubicBezTo>
                    <a:pt x="4787" y="1"/>
                    <a:pt x="4489" y="239"/>
                    <a:pt x="4418" y="584"/>
                  </a:cubicBezTo>
                  <a:lnTo>
                    <a:pt x="4168" y="1691"/>
                  </a:lnTo>
                  <a:lnTo>
                    <a:pt x="917" y="1691"/>
                  </a:lnTo>
                  <a:cubicBezTo>
                    <a:pt x="417" y="1691"/>
                    <a:pt x="1" y="2108"/>
                    <a:pt x="1" y="2620"/>
                  </a:cubicBezTo>
                  <a:lnTo>
                    <a:pt x="1" y="5251"/>
                  </a:lnTo>
                  <a:cubicBezTo>
                    <a:pt x="1" y="5656"/>
                    <a:pt x="132" y="6025"/>
                    <a:pt x="370" y="6311"/>
                  </a:cubicBezTo>
                  <a:lnTo>
                    <a:pt x="370" y="9585"/>
                  </a:lnTo>
                  <a:cubicBezTo>
                    <a:pt x="370" y="9990"/>
                    <a:pt x="703" y="10323"/>
                    <a:pt x="1120" y="10323"/>
                  </a:cubicBezTo>
                  <a:lnTo>
                    <a:pt x="10907" y="10323"/>
                  </a:lnTo>
                  <a:cubicBezTo>
                    <a:pt x="11311" y="10323"/>
                    <a:pt x="11657" y="10002"/>
                    <a:pt x="11657" y="9585"/>
                  </a:cubicBezTo>
                  <a:lnTo>
                    <a:pt x="11657" y="6311"/>
                  </a:lnTo>
                  <a:cubicBezTo>
                    <a:pt x="11883" y="6025"/>
                    <a:pt x="12026" y="5656"/>
                    <a:pt x="12026" y="5251"/>
                  </a:cubicBezTo>
                  <a:lnTo>
                    <a:pt x="12026" y="2620"/>
                  </a:lnTo>
                  <a:cubicBezTo>
                    <a:pt x="12026" y="2108"/>
                    <a:pt x="11609" y="1691"/>
                    <a:pt x="11097" y="1691"/>
                  </a:cubicBezTo>
                  <a:lnTo>
                    <a:pt x="7859" y="1691"/>
                  </a:lnTo>
                  <a:lnTo>
                    <a:pt x="7609" y="584"/>
                  </a:lnTo>
                  <a:cubicBezTo>
                    <a:pt x="7525" y="239"/>
                    <a:pt x="7228" y="1"/>
                    <a:pt x="6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3" name="Google Shape;13653;p64"/>
            <p:cNvSpPr/>
            <p:nvPr/>
          </p:nvSpPr>
          <p:spPr>
            <a:xfrm>
              <a:off x="6714426" y="1699635"/>
              <a:ext cx="70917" cy="34536"/>
            </a:xfrm>
            <a:custGeom>
              <a:avLst/>
              <a:gdLst/>
              <a:ahLst/>
              <a:cxnLst/>
              <a:rect l="l" t="t" r="r" b="b"/>
              <a:pathLst>
                <a:path w="2228" h="1085" extrusionOk="0">
                  <a:moveTo>
                    <a:pt x="358" y="1"/>
                  </a:moveTo>
                  <a:cubicBezTo>
                    <a:pt x="156" y="1"/>
                    <a:pt x="1" y="167"/>
                    <a:pt x="1" y="358"/>
                  </a:cubicBezTo>
                  <a:lnTo>
                    <a:pt x="1" y="727"/>
                  </a:lnTo>
                  <a:cubicBezTo>
                    <a:pt x="1" y="941"/>
                    <a:pt x="168" y="1084"/>
                    <a:pt x="358" y="1084"/>
                  </a:cubicBezTo>
                  <a:lnTo>
                    <a:pt x="1870" y="1084"/>
                  </a:lnTo>
                  <a:cubicBezTo>
                    <a:pt x="2073" y="1084"/>
                    <a:pt x="2227" y="918"/>
                    <a:pt x="2227" y="727"/>
                  </a:cubicBezTo>
                  <a:lnTo>
                    <a:pt x="2227" y="358"/>
                  </a:lnTo>
                  <a:cubicBezTo>
                    <a:pt x="2227" y="167"/>
                    <a:pt x="2061" y="1"/>
                    <a:pt x="1870" y="1"/>
                  </a:cubicBezTo>
                  <a:lnTo>
                    <a:pt x="1668" y="1"/>
                  </a:lnTo>
                  <a:cubicBezTo>
                    <a:pt x="1573" y="1"/>
                    <a:pt x="1489" y="72"/>
                    <a:pt x="1489" y="179"/>
                  </a:cubicBezTo>
                  <a:cubicBezTo>
                    <a:pt x="1489" y="287"/>
                    <a:pt x="1573" y="358"/>
                    <a:pt x="1668" y="358"/>
                  </a:cubicBezTo>
                  <a:lnTo>
                    <a:pt x="1870" y="358"/>
                  </a:lnTo>
                  <a:cubicBezTo>
                    <a:pt x="1870" y="358"/>
                    <a:pt x="1882" y="358"/>
                    <a:pt x="1882" y="370"/>
                  </a:cubicBezTo>
                  <a:lnTo>
                    <a:pt x="1882" y="751"/>
                  </a:lnTo>
                  <a:cubicBezTo>
                    <a:pt x="1882" y="751"/>
                    <a:pt x="1882" y="763"/>
                    <a:pt x="1870" y="763"/>
                  </a:cubicBezTo>
                  <a:lnTo>
                    <a:pt x="358" y="763"/>
                  </a:lnTo>
                  <a:cubicBezTo>
                    <a:pt x="358" y="763"/>
                    <a:pt x="346" y="763"/>
                    <a:pt x="346" y="751"/>
                  </a:cubicBezTo>
                  <a:lnTo>
                    <a:pt x="346" y="370"/>
                  </a:lnTo>
                  <a:cubicBezTo>
                    <a:pt x="346" y="370"/>
                    <a:pt x="346" y="358"/>
                    <a:pt x="358" y="358"/>
                  </a:cubicBezTo>
                  <a:lnTo>
                    <a:pt x="930" y="358"/>
                  </a:lnTo>
                  <a:cubicBezTo>
                    <a:pt x="1037" y="358"/>
                    <a:pt x="1108" y="287"/>
                    <a:pt x="1108" y="179"/>
                  </a:cubicBezTo>
                  <a:cubicBezTo>
                    <a:pt x="1108" y="72"/>
                    <a:pt x="1037" y="1"/>
                    <a:pt x="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4" name="Google Shape;13654;p64"/>
          <p:cNvGrpSpPr/>
          <p:nvPr/>
        </p:nvGrpSpPr>
        <p:grpSpPr>
          <a:xfrm>
            <a:off x="5194002" y="1511297"/>
            <a:ext cx="259605" cy="346024"/>
            <a:chOff x="5194002" y="1511297"/>
            <a:chExt cx="259605" cy="346024"/>
          </a:xfrm>
        </p:grpSpPr>
        <p:sp>
          <p:nvSpPr>
            <p:cNvPr id="13655" name="Google Shape;13655;p64"/>
            <p:cNvSpPr/>
            <p:nvPr/>
          </p:nvSpPr>
          <p:spPr>
            <a:xfrm>
              <a:off x="5216729" y="1543636"/>
              <a:ext cx="169431" cy="159436"/>
            </a:xfrm>
            <a:custGeom>
              <a:avLst/>
              <a:gdLst/>
              <a:ahLst/>
              <a:cxnLst/>
              <a:rect l="l" t="t" r="r" b="b"/>
              <a:pathLst>
                <a:path w="5323" h="5009" extrusionOk="0">
                  <a:moveTo>
                    <a:pt x="3353" y="0"/>
                  </a:moveTo>
                  <a:cubicBezTo>
                    <a:pt x="2568" y="0"/>
                    <a:pt x="1788" y="303"/>
                    <a:pt x="1203" y="901"/>
                  </a:cubicBezTo>
                  <a:cubicBezTo>
                    <a:pt x="96" y="1997"/>
                    <a:pt x="0" y="3747"/>
                    <a:pt x="965" y="4949"/>
                  </a:cubicBezTo>
                  <a:cubicBezTo>
                    <a:pt x="1001" y="4997"/>
                    <a:pt x="1036" y="5009"/>
                    <a:pt x="1084" y="5009"/>
                  </a:cubicBezTo>
                  <a:cubicBezTo>
                    <a:pt x="1120" y="5009"/>
                    <a:pt x="1155" y="4985"/>
                    <a:pt x="1191" y="4973"/>
                  </a:cubicBezTo>
                  <a:cubicBezTo>
                    <a:pt x="1262" y="4914"/>
                    <a:pt x="1262" y="4830"/>
                    <a:pt x="1215" y="4759"/>
                  </a:cubicBezTo>
                  <a:cubicBezTo>
                    <a:pt x="358" y="3664"/>
                    <a:pt x="441" y="2104"/>
                    <a:pt x="1429" y="1127"/>
                  </a:cubicBezTo>
                  <a:cubicBezTo>
                    <a:pt x="1957" y="594"/>
                    <a:pt x="2658" y="324"/>
                    <a:pt x="3362" y="324"/>
                  </a:cubicBezTo>
                  <a:cubicBezTo>
                    <a:pt x="3961" y="324"/>
                    <a:pt x="4562" y="519"/>
                    <a:pt x="5061" y="913"/>
                  </a:cubicBezTo>
                  <a:cubicBezTo>
                    <a:pt x="5091" y="939"/>
                    <a:pt x="5127" y="951"/>
                    <a:pt x="5162" y="951"/>
                  </a:cubicBezTo>
                  <a:cubicBezTo>
                    <a:pt x="5208" y="951"/>
                    <a:pt x="5253" y="930"/>
                    <a:pt x="5287" y="889"/>
                  </a:cubicBezTo>
                  <a:cubicBezTo>
                    <a:pt x="5323" y="806"/>
                    <a:pt x="5311" y="711"/>
                    <a:pt x="5251" y="663"/>
                  </a:cubicBezTo>
                  <a:cubicBezTo>
                    <a:pt x="4693" y="220"/>
                    <a:pt x="4021" y="0"/>
                    <a:pt x="33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6" name="Google Shape;13656;p64"/>
            <p:cNvSpPr/>
            <p:nvPr/>
          </p:nvSpPr>
          <p:spPr>
            <a:xfrm>
              <a:off x="5194002" y="1511297"/>
              <a:ext cx="259605" cy="346024"/>
            </a:xfrm>
            <a:custGeom>
              <a:avLst/>
              <a:gdLst/>
              <a:ahLst/>
              <a:cxnLst/>
              <a:rect l="l" t="t" r="r" b="b"/>
              <a:pathLst>
                <a:path w="8156" h="10871" extrusionOk="0">
                  <a:moveTo>
                    <a:pt x="4060" y="322"/>
                  </a:moveTo>
                  <a:cubicBezTo>
                    <a:pt x="6132" y="322"/>
                    <a:pt x="7822" y="2001"/>
                    <a:pt x="7822" y="4084"/>
                  </a:cubicBezTo>
                  <a:cubicBezTo>
                    <a:pt x="7822" y="4977"/>
                    <a:pt x="7632" y="5894"/>
                    <a:pt x="7227" y="6763"/>
                  </a:cubicBezTo>
                  <a:cubicBezTo>
                    <a:pt x="6918" y="7466"/>
                    <a:pt x="6477" y="8168"/>
                    <a:pt x="5906" y="8823"/>
                  </a:cubicBezTo>
                  <a:cubicBezTo>
                    <a:pt x="5120" y="9740"/>
                    <a:pt x="4310" y="10335"/>
                    <a:pt x="4060" y="10537"/>
                  </a:cubicBezTo>
                  <a:cubicBezTo>
                    <a:pt x="3810" y="10359"/>
                    <a:pt x="3000" y="9763"/>
                    <a:pt x="2215" y="8835"/>
                  </a:cubicBezTo>
                  <a:cubicBezTo>
                    <a:pt x="1643" y="8180"/>
                    <a:pt x="1203" y="7477"/>
                    <a:pt x="893" y="6787"/>
                  </a:cubicBezTo>
                  <a:cubicBezTo>
                    <a:pt x="488" y="5906"/>
                    <a:pt x="298" y="5001"/>
                    <a:pt x="298" y="4084"/>
                  </a:cubicBezTo>
                  <a:cubicBezTo>
                    <a:pt x="298" y="2024"/>
                    <a:pt x="1976" y="322"/>
                    <a:pt x="4060" y="322"/>
                  </a:cubicBezTo>
                  <a:close/>
                  <a:moveTo>
                    <a:pt x="4072" y="0"/>
                  </a:moveTo>
                  <a:cubicBezTo>
                    <a:pt x="1834" y="0"/>
                    <a:pt x="0" y="1822"/>
                    <a:pt x="0" y="4072"/>
                  </a:cubicBezTo>
                  <a:cubicBezTo>
                    <a:pt x="0" y="5025"/>
                    <a:pt x="202" y="5977"/>
                    <a:pt x="619" y="6894"/>
                  </a:cubicBezTo>
                  <a:cubicBezTo>
                    <a:pt x="953" y="7632"/>
                    <a:pt x="1405" y="8359"/>
                    <a:pt x="1988" y="9025"/>
                  </a:cubicBezTo>
                  <a:cubicBezTo>
                    <a:pt x="2977" y="10192"/>
                    <a:pt x="3941" y="10835"/>
                    <a:pt x="3989" y="10847"/>
                  </a:cubicBezTo>
                  <a:cubicBezTo>
                    <a:pt x="4012" y="10859"/>
                    <a:pt x="4048" y="10871"/>
                    <a:pt x="4072" y="10871"/>
                  </a:cubicBezTo>
                  <a:cubicBezTo>
                    <a:pt x="4108" y="10871"/>
                    <a:pt x="4132" y="10859"/>
                    <a:pt x="4167" y="10847"/>
                  </a:cubicBezTo>
                  <a:cubicBezTo>
                    <a:pt x="4203" y="10811"/>
                    <a:pt x="5179" y="10168"/>
                    <a:pt x="6156" y="9025"/>
                  </a:cubicBezTo>
                  <a:cubicBezTo>
                    <a:pt x="6739" y="8347"/>
                    <a:pt x="7203" y="7632"/>
                    <a:pt x="7525" y="6894"/>
                  </a:cubicBezTo>
                  <a:cubicBezTo>
                    <a:pt x="7942" y="5977"/>
                    <a:pt x="8156" y="5025"/>
                    <a:pt x="8156" y="4072"/>
                  </a:cubicBezTo>
                  <a:cubicBezTo>
                    <a:pt x="8156" y="1822"/>
                    <a:pt x="6322" y="0"/>
                    <a:pt x="4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7" name="Google Shape;13657;p64"/>
            <p:cNvSpPr/>
            <p:nvPr/>
          </p:nvSpPr>
          <p:spPr>
            <a:xfrm>
              <a:off x="5296304" y="1607105"/>
              <a:ext cx="55002" cy="17156"/>
            </a:xfrm>
            <a:custGeom>
              <a:avLst/>
              <a:gdLst/>
              <a:ahLst/>
              <a:cxnLst/>
              <a:rect l="l" t="t" r="r" b="b"/>
              <a:pathLst>
                <a:path w="1728" h="539" extrusionOk="0">
                  <a:moveTo>
                    <a:pt x="629" y="0"/>
                  </a:moveTo>
                  <a:cubicBezTo>
                    <a:pt x="478" y="0"/>
                    <a:pt x="312" y="15"/>
                    <a:pt x="132" y="50"/>
                  </a:cubicBezTo>
                  <a:cubicBezTo>
                    <a:pt x="60" y="62"/>
                    <a:pt x="1" y="122"/>
                    <a:pt x="1" y="217"/>
                  </a:cubicBezTo>
                  <a:lnTo>
                    <a:pt x="1" y="384"/>
                  </a:lnTo>
                  <a:cubicBezTo>
                    <a:pt x="1" y="467"/>
                    <a:pt x="72" y="538"/>
                    <a:pt x="156" y="538"/>
                  </a:cubicBezTo>
                  <a:cubicBezTo>
                    <a:pt x="251" y="538"/>
                    <a:pt x="322" y="467"/>
                    <a:pt x="322" y="384"/>
                  </a:cubicBezTo>
                  <a:lnTo>
                    <a:pt x="322" y="348"/>
                  </a:lnTo>
                  <a:cubicBezTo>
                    <a:pt x="437" y="332"/>
                    <a:pt x="543" y="325"/>
                    <a:pt x="640" y="325"/>
                  </a:cubicBezTo>
                  <a:cubicBezTo>
                    <a:pt x="833" y="325"/>
                    <a:pt x="989" y="352"/>
                    <a:pt x="1108" y="384"/>
                  </a:cubicBezTo>
                  <a:cubicBezTo>
                    <a:pt x="1322" y="443"/>
                    <a:pt x="1441" y="515"/>
                    <a:pt x="1441" y="515"/>
                  </a:cubicBezTo>
                  <a:cubicBezTo>
                    <a:pt x="1465" y="527"/>
                    <a:pt x="1501" y="538"/>
                    <a:pt x="1525" y="538"/>
                  </a:cubicBezTo>
                  <a:cubicBezTo>
                    <a:pt x="1572" y="538"/>
                    <a:pt x="1632" y="515"/>
                    <a:pt x="1668" y="467"/>
                  </a:cubicBezTo>
                  <a:cubicBezTo>
                    <a:pt x="1727" y="396"/>
                    <a:pt x="1691" y="300"/>
                    <a:pt x="1620" y="241"/>
                  </a:cubicBezTo>
                  <a:cubicBezTo>
                    <a:pt x="1591" y="231"/>
                    <a:pt x="1235" y="0"/>
                    <a:pt x="6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8" name="Google Shape;13658;p64"/>
            <p:cNvSpPr/>
            <p:nvPr/>
          </p:nvSpPr>
          <p:spPr>
            <a:xfrm>
              <a:off x="5260686" y="1576103"/>
              <a:ext cx="169813" cy="162970"/>
            </a:xfrm>
            <a:custGeom>
              <a:avLst/>
              <a:gdLst/>
              <a:ahLst/>
              <a:cxnLst/>
              <a:rect l="l" t="t" r="r" b="b"/>
              <a:pathLst>
                <a:path w="5335" h="5120" extrusionOk="0">
                  <a:moveTo>
                    <a:pt x="3191" y="322"/>
                  </a:moveTo>
                  <a:lnTo>
                    <a:pt x="3191" y="1108"/>
                  </a:lnTo>
                  <a:cubicBezTo>
                    <a:pt x="3191" y="1250"/>
                    <a:pt x="3156" y="1381"/>
                    <a:pt x="3096" y="1501"/>
                  </a:cubicBezTo>
                  <a:lnTo>
                    <a:pt x="3037" y="1620"/>
                  </a:lnTo>
                  <a:cubicBezTo>
                    <a:pt x="3025" y="1631"/>
                    <a:pt x="3025" y="1667"/>
                    <a:pt x="3025" y="1691"/>
                  </a:cubicBezTo>
                  <a:lnTo>
                    <a:pt x="3025" y="2036"/>
                  </a:lnTo>
                  <a:cubicBezTo>
                    <a:pt x="3025" y="2322"/>
                    <a:pt x="2918" y="2584"/>
                    <a:pt x="2715" y="2786"/>
                  </a:cubicBezTo>
                  <a:cubicBezTo>
                    <a:pt x="2501" y="2977"/>
                    <a:pt x="2239" y="3084"/>
                    <a:pt x="1953" y="3084"/>
                  </a:cubicBezTo>
                  <a:cubicBezTo>
                    <a:pt x="1382" y="3048"/>
                    <a:pt x="941" y="2572"/>
                    <a:pt x="941" y="1989"/>
                  </a:cubicBezTo>
                  <a:lnTo>
                    <a:pt x="941" y="1691"/>
                  </a:lnTo>
                  <a:cubicBezTo>
                    <a:pt x="941" y="1667"/>
                    <a:pt x="941" y="1655"/>
                    <a:pt x="929" y="1620"/>
                  </a:cubicBezTo>
                  <a:lnTo>
                    <a:pt x="870" y="1501"/>
                  </a:lnTo>
                  <a:cubicBezTo>
                    <a:pt x="798" y="1381"/>
                    <a:pt x="774" y="1250"/>
                    <a:pt x="774" y="1108"/>
                  </a:cubicBezTo>
                  <a:cubicBezTo>
                    <a:pt x="774" y="679"/>
                    <a:pt x="1132" y="322"/>
                    <a:pt x="1560" y="322"/>
                  </a:cubicBezTo>
                  <a:close/>
                  <a:moveTo>
                    <a:pt x="2489" y="3286"/>
                  </a:moveTo>
                  <a:lnTo>
                    <a:pt x="2489" y="3513"/>
                  </a:lnTo>
                  <a:cubicBezTo>
                    <a:pt x="2489" y="3560"/>
                    <a:pt x="2489" y="3596"/>
                    <a:pt x="2501" y="3644"/>
                  </a:cubicBezTo>
                  <a:lnTo>
                    <a:pt x="1965" y="4048"/>
                  </a:lnTo>
                  <a:lnTo>
                    <a:pt x="1429" y="3644"/>
                  </a:lnTo>
                  <a:cubicBezTo>
                    <a:pt x="1441" y="3596"/>
                    <a:pt x="1441" y="3548"/>
                    <a:pt x="1441" y="3513"/>
                  </a:cubicBezTo>
                  <a:lnTo>
                    <a:pt x="1441" y="3286"/>
                  </a:lnTo>
                  <a:cubicBezTo>
                    <a:pt x="1596" y="3346"/>
                    <a:pt x="1751" y="3394"/>
                    <a:pt x="1917" y="3394"/>
                  </a:cubicBezTo>
                  <a:lnTo>
                    <a:pt x="1965" y="3394"/>
                  </a:lnTo>
                  <a:cubicBezTo>
                    <a:pt x="2144" y="3394"/>
                    <a:pt x="2322" y="3358"/>
                    <a:pt x="2489" y="3286"/>
                  </a:cubicBezTo>
                  <a:close/>
                  <a:moveTo>
                    <a:pt x="1251" y="3917"/>
                  </a:moveTo>
                  <a:lnTo>
                    <a:pt x="1822" y="4346"/>
                  </a:lnTo>
                  <a:lnTo>
                    <a:pt x="1822" y="4775"/>
                  </a:lnTo>
                  <a:cubicBezTo>
                    <a:pt x="1322" y="4751"/>
                    <a:pt x="834" y="4584"/>
                    <a:pt x="405" y="4287"/>
                  </a:cubicBezTo>
                  <a:cubicBezTo>
                    <a:pt x="429" y="4251"/>
                    <a:pt x="477" y="4227"/>
                    <a:pt x="513" y="4215"/>
                  </a:cubicBezTo>
                  <a:lnTo>
                    <a:pt x="1132" y="3965"/>
                  </a:lnTo>
                  <a:cubicBezTo>
                    <a:pt x="1179" y="3953"/>
                    <a:pt x="1227" y="3929"/>
                    <a:pt x="1251" y="3917"/>
                  </a:cubicBezTo>
                  <a:close/>
                  <a:moveTo>
                    <a:pt x="2691" y="3894"/>
                  </a:moveTo>
                  <a:cubicBezTo>
                    <a:pt x="2727" y="3929"/>
                    <a:pt x="2775" y="3941"/>
                    <a:pt x="2810" y="3953"/>
                  </a:cubicBezTo>
                  <a:lnTo>
                    <a:pt x="3572" y="4239"/>
                  </a:lnTo>
                  <a:cubicBezTo>
                    <a:pt x="3144" y="4572"/>
                    <a:pt x="2656" y="4751"/>
                    <a:pt x="2132" y="4775"/>
                  </a:cubicBezTo>
                  <a:lnTo>
                    <a:pt x="2132" y="4334"/>
                  </a:lnTo>
                  <a:lnTo>
                    <a:pt x="2691" y="3894"/>
                  </a:lnTo>
                  <a:close/>
                  <a:moveTo>
                    <a:pt x="1572" y="0"/>
                  </a:moveTo>
                  <a:cubicBezTo>
                    <a:pt x="965" y="0"/>
                    <a:pt x="465" y="488"/>
                    <a:pt x="465" y="1108"/>
                  </a:cubicBezTo>
                  <a:cubicBezTo>
                    <a:pt x="465" y="1286"/>
                    <a:pt x="501" y="1489"/>
                    <a:pt x="584" y="1655"/>
                  </a:cubicBezTo>
                  <a:lnTo>
                    <a:pt x="620" y="1739"/>
                  </a:lnTo>
                  <a:lnTo>
                    <a:pt x="620" y="1989"/>
                  </a:lnTo>
                  <a:cubicBezTo>
                    <a:pt x="620" y="2429"/>
                    <a:pt x="822" y="2822"/>
                    <a:pt x="1132" y="3096"/>
                  </a:cubicBezTo>
                  <a:lnTo>
                    <a:pt x="1132" y="3525"/>
                  </a:lnTo>
                  <a:cubicBezTo>
                    <a:pt x="1132" y="3596"/>
                    <a:pt x="1084" y="3667"/>
                    <a:pt x="1013" y="3691"/>
                  </a:cubicBezTo>
                  <a:lnTo>
                    <a:pt x="382" y="3929"/>
                  </a:lnTo>
                  <a:cubicBezTo>
                    <a:pt x="227" y="3989"/>
                    <a:pt x="84" y="4108"/>
                    <a:pt x="24" y="4275"/>
                  </a:cubicBezTo>
                  <a:cubicBezTo>
                    <a:pt x="1" y="4334"/>
                    <a:pt x="12" y="4418"/>
                    <a:pt x="72" y="4465"/>
                  </a:cubicBezTo>
                  <a:cubicBezTo>
                    <a:pt x="620" y="4906"/>
                    <a:pt x="1298" y="5120"/>
                    <a:pt x="1965" y="5120"/>
                  </a:cubicBezTo>
                  <a:cubicBezTo>
                    <a:pt x="2751" y="5120"/>
                    <a:pt x="3525" y="4822"/>
                    <a:pt x="4120" y="4227"/>
                  </a:cubicBezTo>
                  <a:cubicBezTo>
                    <a:pt x="5227" y="3108"/>
                    <a:pt x="5335" y="1370"/>
                    <a:pt x="4370" y="143"/>
                  </a:cubicBezTo>
                  <a:cubicBezTo>
                    <a:pt x="4337" y="104"/>
                    <a:pt x="4297" y="86"/>
                    <a:pt x="4256" y="86"/>
                  </a:cubicBezTo>
                  <a:cubicBezTo>
                    <a:pt x="4222" y="86"/>
                    <a:pt x="4188" y="98"/>
                    <a:pt x="4156" y="119"/>
                  </a:cubicBezTo>
                  <a:cubicBezTo>
                    <a:pt x="4072" y="179"/>
                    <a:pt x="4072" y="262"/>
                    <a:pt x="4120" y="346"/>
                  </a:cubicBezTo>
                  <a:cubicBezTo>
                    <a:pt x="4989" y="1429"/>
                    <a:pt x="4894" y="2989"/>
                    <a:pt x="3918" y="3965"/>
                  </a:cubicBezTo>
                  <a:lnTo>
                    <a:pt x="3858" y="4025"/>
                  </a:lnTo>
                  <a:cubicBezTo>
                    <a:pt x="3822" y="4013"/>
                    <a:pt x="3775" y="3989"/>
                    <a:pt x="3751" y="3989"/>
                  </a:cubicBezTo>
                  <a:lnTo>
                    <a:pt x="2941" y="3691"/>
                  </a:lnTo>
                  <a:cubicBezTo>
                    <a:pt x="2870" y="3656"/>
                    <a:pt x="2822" y="3596"/>
                    <a:pt x="2822" y="3525"/>
                  </a:cubicBezTo>
                  <a:lnTo>
                    <a:pt x="2822" y="3120"/>
                  </a:lnTo>
                  <a:cubicBezTo>
                    <a:pt x="2858" y="3096"/>
                    <a:pt x="2906" y="3060"/>
                    <a:pt x="2929" y="3036"/>
                  </a:cubicBezTo>
                  <a:cubicBezTo>
                    <a:pt x="3203" y="2774"/>
                    <a:pt x="3346" y="2441"/>
                    <a:pt x="3346" y="2060"/>
                  </a:cubicBezTo>
                  <a:lnTo>
                    <a:pt x="3346" y="1762"/>
                  </a:lnTo>
                  <a:lnTo>
                    <a:pt x="3394" y="1679"/>
                  </a:lnTo>
                  <a:cubicBezTo>
                    <a:pt x="3465" y="1512"/>
                    <a:pt x="3513" y="1334"/>
                    <a:pt x="3513" y="1143"/>
                  </a:cubicBezTo>
                  <a:lnTo>
                    <a:pt x="3513" y="167"/>
                  </a:lnTo>
                  <a:cubicBezTo>
                    <a:pt x="3513" y="72"/>
                    <a:pt x="3441" y="0"/>
                    <a:pt x="3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9" name="Google Shape;13659;p64"/>
          <p:cNvGrpSpPr/>
          <p:nvPr/>
        </p:nvGrpSpPr>
        <p:grpSpPr>
          <a:xfrm>
            <a:off x="1394741" y="1512061"/>
            <a:ext cx="252444" cy="351722"/>
            <a:chOff x="1394741" y="1512061"/>
            <a:chExt cx="252444" cy="351722"/>
          </a:xfrm>
        </p:grpSpPr>
        <p:sp>
          <p:nvSpPr>
            <p:cNvPr id="13660" name="Google Shape;13660;p64"/>
            <p:cNvSpPr/>
            <p:nvPr/>
          </p:nvSpPr>
          <p:spPr>
            <a:xfrm>
              <a:off x="1394741" y="1512061"/>
              <a:ext cx="252444" cy="351722"/>
            </a:xfrm>
            <a:custGeom>
              <a:avLst/>
              <a:gdLst/>
              <a:ahLst/>
              <a:cxnLst/>
              <a:rect l="l" t="t" r="r" b="b"/>
              <a:pathLst>
                <a:path w="7931" h="11050" extrusionOk="0">
                  <a:moveTo>
                    <a:pt x="3942" y="334"/>
                  </a:moveTo>
                  <a:cubicBezTo>
                    <a:pt x="4132" y="334"/>
                    <a:pt x="4299" y="429"/>
                    <a:pt x="4406" y="595"/>
                  </a:cubicBezTo>
                  <a:cubicBezTo>
                    <a:pt x="4430" y="643"/>
                    <a:pt x="4490" y="667"/>
                    <a:pt x="4537" y="667"/>
                  </a:cubicBezTo>
                  <a:lnTo>
                    <a:pt x="5144" y="667"/>
                  </a:lnTo>
                  <a:cubicBezTo>
                    <a:pt x="5252" y="667"/>
                    <a:pt x="5323" y="762"/>
                    <a:pt x="5323" y="846"/>
                  </a:cubicBezTo>
                  <a:lnTo>
                    <a:pt x="5323" y="1381"/>
                  </a:lnTo>
                  <a:lnTo>
                    <a:pt x="2549" y="1381"/>
                  </a:lnTo>
                  <a:lnTo>
                    <a:pt x="2549" y="846"/>
                  </a:lnTo>
                  <a:lnTo>
                    <a:pt x="2561" y="846"/>
                  </a:lnTo>
                  <a:cubicBezTo>
                    <a:pt x="2561" y="750"/>
                    <a:pt x="2644" y="667"/>
                    <a:pt x="2739" y="667"/>
                  </a:cubicBezTo>
                  <a:lnTo>
                    <a:pt x="3347" y="667"/>
                  </a:lnTo>
                  <a:cubicBezTo>
                    <a:pt x="3406" y="667"/>
                    <a:pt x="3454" y="643"/>
                    <a:pt x="3478" y="595"/>
                  </a:cubicBezTo>
                  <a:cubicBezTo>
                    <a:pt x="3573" y="429"/>
                    <a:pt x="3751" y="334"/>
                    <a:pt x="3942" y="334"/>
                  </a:cubicBezTo>
                  <a:close/>
                  <a:moveTo>
                    <a:pt x="7228" y="1000"/>
                  </a:moveTo>
                  <a:cubicBezTo>
                    <a:pt x="7430" y="1000"/>
                    <a:pt x="7585" y="1167"/>
                    <a:pt x="7585" y="1357"/>
                  </a:cubicBezTo>
                  <a:lnTo>
                    <a:pt x="7585" y="10347"/>
                  </a:lnTo>
                  <a:cubicBezTo>
                    <a:pt x="7585" y="10537"/>
                    <a:pt x="7430" y="10704"/>
                    <a:pt x="7228" y="10704"/>
                  </a:cubicBezTo>
                  <a:lnTo>
                    <a:pt x="668" y="10704"/>
                  </a:lnTo>
                  <a:cubicBezTo>
                    <a:pt x="477" y="10704"/>
                    <a:pt x="310" y="10537"/>
                    <a:pt x="310" y="10347"/>
                  </a:cubicBezTo>
                  <a:lnTo>
                    <a:pt x="310" y="1357"/>
                  </a:lnTo>
                  <a:cubicBezTo>
                    <a:pt x="310" y="1155"/>
                    <a:pt x="477" y="1000"/>
                    <a:pt x="668" y="1000"/>
                  </a:cubicBezTo>
                  <a:lnTo>
                    <a:pt x="2227" y="1000"/>
                  </a:lnTo>
                  <a:lnTo>
                    <a:pt x="2227" y="1536"/>
                  </a:lnTo>
                  <a:cubicBezTo>
                    <a:pt x="2227" y="1619"/>
                    <a:pt x="2311" y="1703"/>
                    <a:pt x="2394" y="1703"/>
                  </a:cubicBezTo>
                  <a:lnTo>
                    <a:pt x="5502" y="1703"/>
                  </a:lnTo>
                  <a:cubicBezTo>
                    <a:pt x="5597" y="1703"/>
                    <a:pt x="5668" y="1619"/>
                    <a:pt x="5668" y="1536"/>
                  </a:cubicBezTo>
                  <a:lnTo>
                    <a:pt x="5668" y="1000"/>
                  </a:lnTo>
                  <a:close/>
                  <a:moveTo>
                    <a:pt x="3954" y="0"/>
                  </a:moveTo>
                  <a:cubicBezTo>
                    <a:pt x="3692" y="0"/>
                    <a:pt x="3442" y="131"/>
                    <a:pt x="3275" y="345"/>
                  </a:cubicBezTo>
                  <a:lnTo>
                    <a:pt x="2751" y="345"/>
                  </a:lnTo>
                  <a:cubicBezTo>
                    <a:pt x="2525" y="345"/>
                    <a:pt x="2335" y="488"/>
                    <a:pt x="2275" y="691"/>
                  </a:cubicBezTo>
                  <a:lnTo>
                    <a:pt x="680" y="691"/>
                  </a:lnTo>
                  <a:cubicBezTo>
                    <a:pt x="310" y="691"/>
                    <a:pt x="1" y="988"/>
                    <a:pt x="1" y="1369"/>
                  </a:cubicBezTo>
                  <a:lnTo>
                    <a:pt x="1" y="10359"/>
                  </a:lnTo>
                  <a:cubicBezTo>
                    <a:pt x="1" y="10728"/>
                    <a:pt x="299" y="11049"/>
                    <a:pt x="680" y="11049"/>
                  </a:cubicBezTo>
                  <a:lnTo>
                    <a:pt x="7252" y="11049"/>
                  </a:lnTo>
                  <a:cubicBezTo>
                    <a:pt x="7621" y="11049"/>
                    <a:pt x="7930" y="10751"/>
                    <a:pt x="7930" y="10359"/>
                  </a:cubicBezTo>
                  <a:lnTo>
                    <a:pt x="7930" y="1369"/>
                  </a:lnTo>
                  <a:cubicBezTo>
                    <a:pt x="7919" y="1000"/>
                    <a:pt x="7609" y="691"/>
                    <a:pt x="7228" y="691"/>
                  </a:cubicBezTo>
                  <a:lnTo>
                    <a:pt x="5644" y="691"/>
                  </a:lnTo>
                  <a:cubicBezTo>
                    <a:pt x="5561" y="488"/>
                    <a:pt x="5383" y="345"/>
                    <a:pt x="5168" y="345"/>
                  </a:cubicBezTo>
                  <a:lnTo>
                    <a:pt x="4644" y="345"/>
                  </a:lnTo>
                  <a:cubicBezTo>
                    <a:pt x="4478" y="131"/>
                    <a:pt x="4228" y="0"/>
                    <a:pt x="3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1" name="Google Shape;13661;p64"/>
            <p:cNvSpPr/>
            <p:nvPr/>
          </p:nvSpPr>
          <p:spPr>
            <a:xfrm>
              <a:off x="1515282" y="1534024"/>
              <a:ext cx="10631" cy="10281"/>
            </a:xfrm>
            <a:custGeom>
              <a:avLst/>
              <a:gdLst/>
              <a:ahLst/>
              <a:cxnLst/>
              <a:rect l="l" t="t" r="r" b="b"/>
              <a:pathLst>
                <a:path w="334" h="323" extrusionOk="0">
                  <a:moveTo>
                    <a:pt x="167" y="1"/>
                  </a:moveTo>
                  <a:cubicBezTo>
                    <a:pt x="83" y="1"/>
                    <a:pt x="0" y="72"/>
                    <a:pt x="0" y="156"/>
                  </a:cubicBezTo>
                  <a:cubicBezTo>
                    <a:pt x="0" y="251"/>
                    <a:pt x="83" y="322"/>
                    <a:pt x="167" y="322"/>
                  </a:cubicBezTo>
                  <a:cubicBezTo>
                    <a:pt x="262" y="322"/>
                    <a:pt x="333" y="251"/>
                    <a:pt x="333" y="156"/>
                  </a:cubicBez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2" name="Google Shape;13662;p64"/>
            <p:cNvSpPr/>
            <p:nvPr/>
          </p:nvSpPr>
          <p:spPr>
            <a:xfrm>
              <a:off x="1415972" y="1556018"/>
              <a:ext cx="208486" cy="274406"/>
            </a:xfrm>
            <a:custGeom>
              <a:avLst/>
              <a:gdLst/>
              <a:ahLst/>
              <a:cxnLst/>
              <a:rect l="l" t="t" r="r" b="b"/>
              <a:pathLst>
                <a:path w="6550" h="8621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8454"/>
                  </a:lnTo>
                  <a:cubicBezTo>
                    <a:pt x="1" y="8549"/>
                    <a:pt x="72" y="8620"/>
                    <a:pt x="167" y="8620"/>
                  </a:cubicBezTo>
                  <a:lnTo>
                    <a:pt x="6382" y="8620"/>
                  </a:lnTo>
                  <a:cubicBezTo>
                    <a:pt x="6478" y="8620"/>
                    <a:pt x="6549" y="8549"/>
                    <a:pt x="6549" y="8454"/>
                  </a:cubicBezTo>
                  <a:lnTo>
                    <a:pt x="6549" y="167"/>
                  </a:lnTo>
                  <a:cubicBezTo>
                    <a:pt x="6549" y="60"/>
                    <a:pt x="6478" y="0"/>
                    <a:pt x="6382" y="0"/>
                  </a:cubicBezTo>
                  <a:lnTo>
                    <a:pt x="5525" y="0"/>
                  </a:lnTo>
                  <a:cubicBezTo>
                    <a:pt x="5430" y="0"/>
                    <a:pt x="5358" y="84"/>
                    <a:pt x="5358" y="167"/>
                  </a:cubicBezTo>
                  <a:cubicBezTo>
                    <a:pt x="5358" y="262"/>
                    <a:pt x="5430" y="334"/>
                    <a:pt x="5525" y="334"/>
                  </a:cubicBezTo>
                  <a:lnTo>
                    <a:pt x="6228" y="334"/>
                  </a:lnTo>
                  <a:lnTo>
                    <a:pt x="6228" y="8311"/>
                  </a:lnTo>
                  <a:lnTo>
                    <a:pt x="322" y="8311"/>
                  </a:lnTo>
                  <a:lnTo>
                    <a:pt x="322" y="334"/>
                  </a:lnTo>
                  <a:lnTo>
                    <a:pt x="1025" y="334"/>
                  </a:lnTo>
                  <a:cubicBezTo>
                    <a:pt x="1120" y="334"/>
                    <a:pt x="1191" y="262"/>
                    <a:pt x="1191" y="167"/>
                  </a:cubicBezTo>
                  <a:cubicBezTo>
                    <a:pt x="1191" y="84"/>
                    <a:pt x="1120" y="0"/>
                    <a:pt x="1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3" name="Google Shape;13663;p64"/>
            <p:cNvSpPr/>
            <p:nvPr/>
          </p:nvSpPr>
          <p:spPr>
            <a:xfrm>
              <a:off x="1449330" y="1665927"/>
              <a:ext cx="31862" cy="32244"/>
            </a:xfrm>
            <a:custGeom>
              <a:avLst/>
              <a:gdLst/>
              <a:ahLst/>
              <a:cxnLst/>
              <a:rect l="l" t="t" r="r" b="b"/>
              <a:pathLst>
                <a:path w="1001" h="1013" extrusionOk="0">
                  <a:moveTo>
                    <a:pt x="500" y="333"/>
                  </a:moveTo>
                  <a:cubicBezTo>
                    <a:pt x="608" y="333"/>
                    <a:pt x="679" y="417"/>
                    <a:pt x="679" y="512"/>
                  </a:cubicBezTo>
                  <a:cubicBezTo>
                    <a:pt x="679" y="595"/>
                    <a:pt x="608" y="691"/>
                    <a:pt x="500" y="691"/>
                  </a:cubicBezTo>
                  <a:cubicBezTo>
                    <a:pt x="393" y="691"/>
                    <a:pt x="322" y="595"/>
                    <a:pt x="322" y="512"/>
                  </a:cubicBezTo>
                  <a:cubicBezTo>
                    <a:pt x="322" y="417"/>
                    <a:pt x="417" y="333"/>
                    <a:pt x="500" y="333"/>
                  </a:cubicBezTo>
                  <a:close/>
                  <a:moveTo>
                    <a:pt x="500" y="0"/>
                  </a:moveTo>
                  <a:cubicBezTo>
                    <a:pt x="215" y="0"/>
                    <a:pt x="0" y="226"/>
                    <a:pt x="0" y="512"/>
                  </a:cubicBezTo>
                  <a:cubicBezTo>
                    <a:pt x="0" y="786"/>
                    <a:pt x="215" y="1012"/>
                    <a:pt x="500" y="1012"/>
                  </a:cubicBezTo>
                  <a:cubicBezTo>
                    <a:pt x="786" y="1012"/>
                    <a:pt x="1001" y="786"/>
                    <a:pt x="1001" y="512"/>
                  </a:cubicBezTo>
                  <a:cubicBezTo>
                    <a:pt x="1001" y="226"/>
                    <a:pt x="78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4" name="Google Shape;13664;p64"/>
            <p:cNvSpPr/>
            <p:nvPr/>
          </p:nvSpPr>
          <p:spPr>
            <a:xfrm>
              <a:off x="1449330" y="1715168"/>
              <a:ext cx="31862" cy="32244"/>
            </a:xfrm>
            <a:custGeom>
              <a:avLst/>
              <a:gdLst/>
              <a:ahLst/>
              <a:cxnLst/>
              <a:rect l="l" t="t" r="r" b="b"/>
              <a:pathLst>
                <a:path w="1001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5"/>
                  </a:cubicBezTo>
                  <a:cubicBezTo>
                    <a:pt x="679" y="608"/>
                    <a:pt x="608" y="703"/>
                    <a:pt x="500" y="703"/>
                  </a:cubicBezTo>
                  <a:cubicBezTo>
                    <a:pt x="393" y="703"/>
                    <a:pt x="322" y="608"/>
                    <a:pt x="322" y="525"/>
                  </a:cubicBezTo>
                  <a:cubicBezTo>
                    <a:pt x="322" y="441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15" y="1"/>
                    <a:pt x="0" y="227"/>
                    <a:pt x="0" y="513"/>
                  </a:cubicBezTo>
                  <a:cubicBezTo>
                    <a:pt x="0" y="787"/>
                    <a:pt x="215" y="1013"/>
                    <a:pt x="500" y="1013"/>
                  </a:cubicBezTo>
                  <a:cubicBezTo>
                    <a:pt x="786" y="1013"/>
                    <a:pt x="1001" y="787"/>
                    <a:pt x="1001" y="513"/>
                  </a:cubicBezTo>
                  <a:cubicBezTo>
                    <a:pt x="1001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5" name="Google Shape;13665;p64"/>
            <p:cNvSpPr/>
            <p:nvPr/>
          </p:nvSpPr>
          <p:spPr>
            <a:xfrm>
              <a:off x="1449330" y="1765205"/>
              <a:ext cx="31862" cy="31862"/>
            </a:xfrm>
            <a:custGeom>
              <a:avLst/>
              <a:gdLst/>
              <a:ahLst/>
              <a:cxnLst/>
              <a:rect l="l" t="t" r="r" b="b"/>
              <a:pathLst>
                <a:path w="1001" h="1001" extrusionOk="0">
                  <a:moveTo>
                    <a:pt x="500" y="322"/>
                  </a:moveTo>
                  <a:cubicBezTo>
                    <a:pt x="608" y="322"/>
                    <a:pt x="679" y="417"/>
                    <a:pt x="679" y="501"/>
                  </a:cubicBezTo>
                  <a:cubicBezTo>
                    <a:pt x="691" y="608"/>
                    <a:pt x="608" y="679"/>
                    <a:pt x="500" y="679"/>
                  </a:cubicBezTo>
                  <a:cubicBezTo>
                    <a:pt x="393" y="679"/>
                    <a:pt x="322" y="584"/>
                    <a:pt x="322" y="501"/>
                  </a:cubicBezTo>
                  <a:cubicBezTo>
                    <a:pt x="322" y="393"/>
                    <a:pt x="417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15" y="1"/>
                    <a:pt x="0" y="215"/>
                    <a:pt x="0" y="501"/>
                  </a:cubicBezTo>
                  <a:cubicBezTo>
                    <a:pt x="0" y="786"/>
                    <a:pt x="215" y="1001"/>
                    <a:pt x="500" y="1001"/>
                  </a:cubicBezTo>
                  <a:cubicBezTo>
                    <a:pt x="786" y="1001"/>
                    <a:pt x="1001" y="786"/>
                    <a:pt x="1001" y="501"/>
                  </a:cubicBezTo>
                  <a:cubicBezTo>
                    <a:pt x="1001" y="215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6" name="Google Shape;13666;p64"/>
            <p:cNvSpPr/>
            <p:nvPr/>
          </p:nvSpPr>
          <p:spPr>
            <a:xfrm>
              <a:off x="1493287" y="1665927"/>
              <a:ext cx="59522" cy="10631"/>
            </a:xfrm>
            <a:custGeom>
              <a:avLst/>
              <a:gdLst/>
              <a:ahLst/>
              <a:cxnLst/>
              <a:rect l="l" t="t" r="r" b="b"/>
              <a:pathLst>
                <a:path w="1870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1703" y="333"/>
                  </a:lnTo>
                  <a:cubicBezTo>
                    <a:pt x="1798" y="333"/>
                    <a:pt x="1870" y="262"/>
                    <a:pt x="1870" y="167"/>
                  </a:cubicBezTo>
                  <a:cubicBezTo>
                    <a:pt x="1870" y="72"/>
                    <a:pt x="1798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7" name="Google Shape;13667;p64"/>
            <p:cNvSpPr/>
            <p:nvPr/>
          </p:nvSpPr>
          <p:spPr>
            <a:xfrm>
              <a:off x="1493287" y="1687890"/>
              <a:ext cx="98578" cy="10281"/>
            </a:xfrm>
            <a:custGeom>
              <a:avLst/>
              <a:gdLst/>
              <a:ahLst/>
              <a:cxnLst/>
              <a:rect l="l" t="t" r="r" b="b"/>
              <a:pathLst>
                <a:path w="3097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2929" y="322"/>
                  </a:lnTo>
                  <a:cubicBezTo>
                    <a:pt x="3025" y="322"/>
                    <a:pt x="3096" y="251"/>
                    <a:pt x="3096" y="167"/>
                  </a:cubicBezTo>
                  <a:cubicBezTo>
                    <a:pt x="3096" y="72"/>
                    <a:pt x="3025" y="1"/>
                    <a:pt x="2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8" name="Google Shape;13668;p64"/>
            <p:cNvSpPr/>
            <p:nvPr/>
          </p:nvSpPr>
          <p:spPr>
            <a:xfrm>
              <a:off x="1493287" y="1715168"/>
              <a:ext cx="59522" cy="10663"/>
            </a:xfrm>
            <a:custGeom>
              <a:avLst/>
              <a:gdLst/>
              <a:ahLst/>
              <a:cxnLst/>
              <a:rect l="l" t="t" r="r" b="b"/>
              <a:pathLst>
                <a:path w="1870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lnTo>
                    <a:pt x="1703" y="334"/>
                  </a:lnTo>
                  <a:cubicBezTo>
                    <a:pt x="1798" y="334"/>
                    <a:pt x="1870" y="263"/>
                    <a:pt x="1870" y="168"/>
                  </a:cubicBezTo>
                  <a:cubicBezTo>
                    <a:pt x="1870" y="84"/>
                    <a:pt x="1798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9" name="Google Shape;13669;p64"/>
            <p:cNvSpPr/>
            <p:nvPr/>
          </p:nvSpPr>
          <p:spPr>
            <a:xfrm>
              <a:off x="1493287" y="1737545"/>
              <a:ext cx="98578" cy="10631"/>
            </a:xfrm>
            <a:custGeom>
              <a:avLst/>
              <a:gdLst/>
              <a:ahLst/>
              <a:cxnLst/>
              <a:rect l="l" t="t" r="r" b="b"/>
              <a:pathLst>
                <a:path w="309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929" y="334"/>
                  </a:lnTo>
                  <a:cubicBezTo>
                    <a:pt x="3025" y="334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0" name="Google Shape;13670;p64"/>
            <p:cNvSpPr/>
            <p:nvPr/>
          </p:nvSpPr>
          <p:spPr>
            <a:xfrm>
              <a:off x="1493287" y="1765205"/>
              <a:ext cx="59522" cy="10249"/>
            </a:xfrm>
            <a:custGeom>
              <a:avLst/>
              <a:gdLst/>
              <a:ahLst/>
              <a:cxnLst/>
              <a:rect l="l" t="t" r="r" b="b"/>
              <a:pathLst>
                <a:path w="1870" h="322" extrusionOk="0">
                  <a:moveTo>
                    <a:pt x="167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703" y="322"/>
                  </a:lnTo>
                  <a:cubicBezTo>
                    <a:pt x="1798" y="322"/>
                    <a:pt x="1870" y="251"/>
                    <a:pt x="1870" y="155"/>
                  </a:cubicBezTo>
                  <a:cubicBezTo>
                    <a:pt x="1870" y="72"/>
                    <a:pt x="1798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1" name="Google Shape;13671;p64"/>
            <p:cNvSpPr/>
            <p:nvPr/>
          </p:nvSpPr>
          <p:spPr>
            <a:xfrm>
              <a:off x="1493287" y="1786818"/>
              <a:ext cx="98578" cy="10631"/>
            </a:xfrm>
            <a:custGeom>
              <a:avLst/>
              <a:gdLst/>
              <a:ahLst/>
              <a:cxnLst/>
              <a:rect l="l" t="t" r="r" b="b"/>
              <a:pathLst>
                <a:path w="309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929" y="334"/>
                  </a:lnTo>
                  <a:cubicBezTo>
                    <a:pt x="3025" y="334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2" name="Google Shape;13672;p64"/>
            <p:cNvSpPr/>
            <p:nvPr/>
          </p:nvSpPr>
          <p:spPr>
            <a:xfrm>
              <a:off x="1493287" y="1583679"/>
              <a:ext cx="98578" cy="10249"/>
            </a:xfrm>
            <a:custGeom>
              <a:avLst/>
              <a:gdLst/>
              <a:ahLst/>
              <a:cxnLst/>
              <a:rect l="l" t="t" r="r" b="b"/>
              <a:pathLst>
                <a:path w="3097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2929" y="322"/>
                  </a:lnTo>
                  <a:cubicBezTo>
                    <a:pt x="3025" y="322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3" name="Google Shape;13673;p64"/>
            <p:cNvSpPr/>
            <p:nvPr/>
          </p:nvSpPr>
          <p:spPr>
            <a:xfrm>
              <a:off x="1449330" y="1632951"/>
              <a:ext cx="142535" cy="10249"/>
            </a:xfrm>
            <a:custGeom>
              <a:avLst/>
              <a:gdLst/>
              <a:ahLst/>
              <a:cxnLst/>
              <a:rect l="l" t="t" r="r" b="b"/>
              <a:pathLst>
                <a:path w="4478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4310" y="322"/>
                  </a:lnTo>
                  <a:cubicBezTo>
                    <a:pt x="4406" y="322"/>
                    <a:pt x="4477" y="250"/>
                    <a:pt x="4477" y="167"/>
                  </a:cubicBezTo>
                  <a:cubicBezTo>
                    <a:pt x="4477" y="72"/>
                    <a:pt x="4406" y="0"/>
                    <a:pt x="4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4" name="Google Shape;13674;p64"/>
            <p:cNvSpPr/>
            <p:nvPr/>
          </p:nvSpPr>
          <p:spPr>
            <a:xfrm>
              <a:off x="1493287" y="1605291"/>
              <a:ext cx="26928" cy="10631"/>
            </a:xfrm>
            <a:custGeom>
              <a:avLst/>
              <a:gdLst/>
              <a:ahLst/>
              <a:cxnLst/>
              <a:rect l="l" t="t" r="r" b="b"/>
              <a:pathLst>
                <a:path w="846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679" y="333"/>
                  </a:lnTo>
                  <a:cubicBezTo>
                    <a:pt x="774" y="333"/>
                    <a:pt x="846" y="262"/>
                    <a:pt x="846" y="167"/>
                  </a:cubicBezTo>
                  <a:cubicBezTo>
                    <a:pt x="846" y="83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5" name="Google Shape;13675;p64"/>
            <p:cNvSpPr/>
            <p:nvPr/>
          </p:nvSpPr>
          <p:spPr>
            <a:xfrm>
              <a:off x="1531579" y="1605291"/>
              <a:ext cx="26928" cy="10631"/>
            </a:xfrm>
            <a:custGeom>
              <a:avLst/>
              <a:gdLst/>
              <a:ahLst/>
              <a:cxnLst/>
              <a:rect l="l" t="t" r="r" b="b"/>
              <a:pathLst>
                <a:path w="846" h="334" extrusionOk="0">
                  <a:moveTo>
                    <a:pt x="167" y="0"/>
                  </a:moveTo>
                  <a:cubicBezTo>
                    <a:pt x="71" y="0"/>
                    <a:pt x="0" y="83"/>
                    <a:pt x="0" y="167"/>
                  </a:cubicBezTo>
                  <a:cubicBezTo>
                    <a:pt x="0" y="262"/>
                    <a:pt x="71" y="333"/>
                    <a:pt x="167" y="333"/>
                  </a:cubicBezTo>
                  <a:lnTo>
                    <a:pt x="691" y="333"/>
                  </a:lnTo>
                  <a:cubicBezTo>
                    <a:pt x="774" y="333"/>
                    <a:pt x="845" y="262"/>
                    <a:pt x="845" y="167"/>
                  </a:cubicBezTo>
                  <a:cubicBezTo>
                    <a:pt x="845" y="83"/>
                    <a:pt x="77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6" name="Google Shape;13676;p64"/>
            <p:cNvSpPr/>
            <p:nvPr/>
          </p:nvSpPr>
          <p:spPr>
            <a:xfrm>
              <a:off x="1449712" y="1583679"/>
              <a:ext cx="32244" cy="32244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679" y="310"/>
                  </a:moveTo>
                  <a:lnTo>
                    <a:pt x="679" y="679"/>
                  </a:lnTo>
                  <a:lnTo>
                    <a:pt x="310" y="679"/>
                  </a:lnTo>
                  <a:lnTo>
                    <a:pt x="310" y="310"/>
                  </a:lnTo>
                  <a:close/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55" y="1012"/>
                  </a:cubicBezTo>
                  <a:lnTo>
                    <a:pt x="846" y="1012"/>
                  </a:lnTo>
                  <a:cubicBezTo>
                    <a:pt x="941" y="1012"/>
                    <a:pt x="1012" y="941"/>
                    <a:pt x="1012" y="846"/>
                  </a:cubicBezTo>
                  <a:lnTo>
                    <a:pt x="1012" y="167"/>
                  </a:lnTo>
                  <a:cubicBezTo>
                    <a:pt x="989" y="60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77" name="Google Shape;13677;p64"/>
          <p:cNvGrpSpPr/>
          <p:nvPr/>
        </p:nvGrpSpPr>
        <p:grpSpPr>
          <a:xfrm>
            <a:off x="855096" y="1504485"/>
            <a:ext cx="380910" cy="339594"/>
            <a:chOff x="855096" y="1504485"/>
            <a:chExt cx="380910" cy="339594"/>
          </a:xfrm>
        </p:grpSpPr>
        <p:sp>
          <p:nvSpPr>
            <p:cNvPr id="13678" name="Google Shape;13678;p64"/>
            <p:cNvSpPr/>
            <p:nvPr/>
          </p:nvSpPr>
          <p:spPr>
            <a:xfrm>
              <a:off x="1092707" y="1504485"/>
              <a:ext cx="107299" cy="136837"/>
            </a:xfrm>
            <a:custGeom>
              <a:avLst/>
              <a:gdLst/>
              <a:ahLst/>
              <a:cxnLst/>
              <a:rect l="l" t="t" r="r" b="b"/>
              <a:pathLst>
                <a:path w="3371" h="4299" extrusionOk="0">
                  <a:moveTo>
                    <a:pt x="1691" y="357"/>
                  </a:moveTo>
                  <a:cubicBezTo>
                    <a:pt x="2418" y="357"/>
                    <a:pt x="3013" y="953"/>
                    <a:pt x="3013" y="1679"/>
                  </a:cubicBezTo>
                  <a:cubicBezTo>
                    <a:pt x="3013" y="2250"/>
                    <a:pt x="2644" y="2750"/>
                    <a:pt x="2108" y="2929"/>
                  </a:cubicBezTo>
                  <a:lnTo>
                    <a:pt x="2418" y="1726"/>
                  </a:lnTo>
                  <a:cubicBezTo>
                    <a:pt x="2453" y="1643"/>
                    <a:pt x="2394" y="1536"/>
                    <a:pt x="2287" y="1512"/>
                  </a:cubicBezTo>
                  <a:cubicBezTo>
                    <a:pt x="2273" y="1509"/>
                    <a:pt x="2258" y="1507"/>
                    <a:pt x="2244" y="1507"/>
                  </a:cubicBezTo>
                  <a:cubicBezTo>
                    <a:pt x="2162" y="1507"/>
                    <a:pt x="2082" y="1564"/>
                    <a:pt x="2072" y="1655"/>
                  </a:cubicBezTo>
                  <a:lnTo>
                    <a:pt x="2060" y="1715"/>
                  </a:lnTo>
                  <a:lnTo>
                    <a:pt x="1322" y="1715"/>
                  </a:lnTo>
                  <a:lnTo>
                    <a:pt x="1298" y="1655"/>
                  </a:lnTo>
                  <a:cubicBezTo>
                    <a:pt x="1277" y="1568"/>
                    <a:pt x="1195" y="1511"/>
                    <a:pt x="1117" y="1511"/>
                  </a:cubicBezTo>
                  <a:cubicBezTo>
                    <a:pt x="1110" y="1511"/>
                    <a:pt x="1103" y="1511"/>
                    <a:pt x="1096" y="1512"/>
                  </a:cubicBezTo>
                  <a:cubicBezTo>
                    <a:pt x="1001" y="1548"/>
                    <a:pt x="941" y="1631"/>
                    <a:pt x="965" y="1726"/>
                  </a:cubicBezTo>
                  <a:lnTo>
                    <a:pt x="1275" y="2929"/>
                  </a:lnTo>
                  <a:cubicBezTo>
                    <a:pt x="751" y="2750"/>
                    <a:pt x="370" y="2262"/>
                    <a:pt x="370" y="1679"/>
                  </a:cubicBezTo>
                  <a:cubicBezTo>
                    <a:pt x="370" y="953"/>
                    <a:pt x="965" y="357"/>
                    <a:pt x="1691" y="357"/>
                  </a:cubicBezTo>
                  <a:close/>
                  <a:moveTo>
                    <a:pt x="1989" y="2036"/>
                  </a:moveTo>
                  <a:lnTo>
                    <a:pt x="1751" y="3012"/>
                  </a:lnTo>
                  <a:lnTo>
                    <a:pt x="1656" y="3012"/>
                  </a:lnTo>
                  <a:lnTo>
                    <a:pt x="1406" y="2036"/>
                  </a:lnTo>
                  <a:close/>
                  <a:moveTo>
                    <a:pt x="2072" y="3310"/>
                  </a:moveTo>
                  <a:lnTo>
                    <a:pt x="2072" y="3739"/>
                  </a:lnTo>
                  <a:lnTo>
                    <a:pt x="1322" y="3751"/>
                  </a:lnTo>
                  <a:cubicBezTo>
                    <a:pt x="1322" y="3751"/>
                    <a:pt x="1298" y="3751"/>
                    <a:pt x="1298" y="3739"/>
                  </a:cubicBezTo>
                  <a:lnTo>
                    <a:pt x="1298" y="3310"/>
                  </a:lnTo>
                  <a:cubicBezTo>
                    <a:pt x="1417" y="3334"/>
                    <a:pt x="1560" y="3346"/>
                    <a:pt x="1691" y="3346"/>
                  </a:cubicBezTo>
                  <a:cubicBezTo>
                    <a:pt x="1822" y="3346"/>
                    <a:pt x="1953" y="3334"/>
                    <a:pt x="2072" y="3310"/>
                  </a:cubicBezTo>
                  <a:close/>
                  <a:moveTo>
                    <a:pt x="1691" y="0"/>
                  </a:moveTo>
                  <a:cubicBezTo>
                    <a:pt x="763" y="0"/>
                    <a:pt x="1" y="750"/>
                    <a:pt x="1" y="1679"/>
                  </a:cubicBezTo>
                  <a:cubicBezTo>
                    <a:pt x="1" y="2334"/>
                    <a:pt x="394" y="2917"/>
                    <a:pt x="941" y="3191"/>
                  </a:cubicBezTo>
                  <a:lnTo>
                    <a:pt x="941" y="3751"/>
                  </a:lnTo>
                  <a:cubicBezTo>
                    <a:pt x="941" y="3941"/>
                    <a:pt x="1108" y="4108"/>
                    <a:pt x="1298" y="4108"/>
                  </a:cubicBezTo>
                  <a:lnTo>
                    <a:pt x="1501" y="4108"/>
                  </a:lnTo>
                  <a:lnTo>
                    <a:pt x="1501" y="4120"/>
                  </a:lnTo>
                  <a:cubicBezTo>
                    <a:pt x="1501" y="4227"/>
                    <a:pt x="1572" y="4298"/>
                    <a:pt x="1679" y="4298"/>
                  </a:cubicBezTo>
                  <a:cubicBezTo>
                    <a:pt x="1775" y="4298"/>
                    <a:pt x="1858" y="4227"/>
                    <a:pt x="1858" y="4120"/>
                  </a:cubicBezTo>
                  <a:lnTo>
                    <a:pt x="1858" y="4108"/>
                  </a:lnTo>
                  <a:lnTo>
                    <a:pt x="2048" y="4108"/>
                  </a:lnTo>
                  <a:cubicBezTo>
                    <a:pt x="2239" y="4108"/>
                    <a:pt x="2406" y="3941"/>
                    <a:pt x="2406" y="3751"/>
                  </a:cubicBezTo>
                  <a:lnTo>
                    <a:pt x="2406" y="3191"/>
                  </a:lnTo>
                  <a:cubicBezTo>
                    <a:pt x="2953" y="2917"/>
                    <a:pt x="3346" y="2334"/>
                    <a:pt x="3346" y="1679"/>
                  </a:cubicBezTo>
                  <a:cubicBezTo>
                    <a:pt x="3370" y="750"/>
                    <a:pt x="2608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9" name="Google Shape;13679;p64"/>
            <p:cNvSpPr/>
            <p:nvPr/>
          </p:nvSpPr>
          <p:spPr>
            <a:xfrm>
              <a:off x="855096" y="1521896"/>
              <a:ext cx="214152" cy="322183"/>
            </a:xfrm>
            <a:custGeom>
              <a:avLst/>
              <a:gdLst/>
              <a:ahLst/>
              <a:cxnLst/>
              <a:rect l="l" t="t" r="r" b="b"/>
              <a:pathLst>
                <a:path w="6728" h="10122" extrusionOk="0">
                  <a:moveTo>
                    <a:pt x="3346" y="358"/>
                  </a:moveTo>
                  <a:cubicBezTo>
                    <a:pt x="3870" y="358"/>
                    <a:pt x="4299" y="703"/>
                    <a:pt x="4299" y="1120"/>
                  </a:cubicBezTo>
                  <a:cubicBezTo>
                    <a:pt x="4001" y="1001"/>
                    <a:pt x="3691" y="941"/>
                    <a:pt x="3346" y="941"/>
                  </a:cubicBezTo>
                  <a:cubicBezTo>
                    <a:pt x="3001" y="941"/>
                    <a:pt x="2691" y="1001"/>
                    <a:pt x="2394" y="1120"/>
                  </a:cubicBezTo>
                  <a:cubicBezTo>
                    <a:pt x="2394" y="703"/>
                    <a:pt x="2810" y="358"/>
                    <a:pt x="3346" y="358"/>
                  </a:cubicBezTo>
                  <a:close/>
                  <a:moveTo>
                    <a:pt x="3370" y="1299"/>
                  </a:moveTo>
                  <a:cubicBezTo>
                    <a:pt x="4620" y="1299"/>
                    <a:pt x="5620" y="2311"/>
                    <a:pt x="5620" y="3561"/>
                  </a:cubicBezTo>
                  <a:cubicBezTo>
                    <a:pt x="5620" y="3882"/>
                    <a:pt x="5549" y="4216"/>
                    <a:pt x="5418" y="4513"/>
                  </a:cubicBezTo>
                  <a:lnTo>
                    <a:pt x="5418" y="4347"/>
                  </a:lnTo>
                  <a:cubicBezTo>
                    <a:pt x="5418" y="4144"/>
                    <a:pt x="5322" y="3930"/>
                    <a:pt x="5168" y="3799"/>
                  </a:cubicBezTo>
                  <a:cubicBezTo>
                    <a:pt x="4811" y="3489"/>
                    <a:pt x="4025" y="2953"/>
                    <a:pt x="2632" y="2811"/>
                  </a:cubicBezTo>
                  <a:cubicBezTo>
                    <a:pt x="2626" y="2810"/>
                    <a:pt x="2619" y="2809"/>
                    <a:pt x="2613" y="2809"/>
                  </a:cubicBezTo>
                  <a:cubicBezTo>
                    <a:pt x="2535" y="2809"/>
                    <a:pt x="2452" y="2878"/>
                    <a:pt x="2441" y="2977"/>
                  </a:cubicBezTo>
                  <a:cubicBezTo>
                    <a:pt x="2429" y="3073"/>
                    <a:pt x="2501" y="3156"/>
                    <a:pt x="2608" y="3168"/>
                  </a:cubicBezTo>
                  <a:cubicBezTo>
                    <a:pt x="3882" y="3311"/>
                    <a:pt x="4632" y="3787"/>
                    <a:pt x="4941" y="4061"/>
                  </a:cubicBezTo>
                  <a:cubicBezTo>
                    <a:pt x="5013" y="4144"/>
                    <a:pt x="5072" y="4239"/>
                    <a:pt x="5072" y="4347"/>
                  </a:cubicBezTo>
                  <a:lnTo>
                    <a:pt x="5072" y="4680"/>
                  </a:lnTo>
                  <a:cubicBezTo>
                    <a:pt x="5072" y="5609"/>
                    <a:pt x="4310" y="6371"/>
                    <a:pt x="3382" y="6371"/>
                  </a:cubicBezTo>
                  <a:cubicBezTo>
                    <a:pt x="3374" y="6371"/>
                    <a:pt x="3367" y="6371"/>
                    <a:pt x="3359" y="6371"/>
                  </a:cubicBezTo>
                  <a:cubicBezTo>
                    <a:pt x="2405" y="6371"/>
                    <a:pt x="1643" y="5625"/>
                    <a:pt x="1643" y="4692"/>
                  </a:cubicBezTo>
                  <a:lnTo>
                    <a:pt x="1643" y="4549"/>
                  </a:lnTo>
                  <a:cubicBezTo>
                    <a:pt x="1643" y="4466"/>
                    <a:pt x="1679" y="4406"/>
                    <a:pt x="1739" y="4382"/>
                  </a:cubicBezTo>
                  <a:cubicBezTo>
                    <a:pt x="1965" y="4263"/>
                    <a:pt x="2251" y="4025"/>
                    <a:pt x="2382" y="3620"/>
                  </a:cubicBezTo>
                  <a:cubicBezTo>
                    <a:pt x="2405" y="3525"/>
                    <a:pt x="2370" y="3430"/>
                    <a:pt x="2274" y="3394"/>
                  </a:cubicBezTo>
                  <a:cubicBezTo>
                    <a:pt x="2258" y="3389"/>
                    <a:pt x="2240" y="3387"/>
                    <a:pt x="2222" y="3387"/>
                  </a:cubicBezTo>
                  <a:cubicBezTo>
                    <a:pt x="2152" y="3387"/>
                    <a:pt x="2079" y="3425"/>
                    <a:pt x="2060" y="3501"/>
                  </a:cubicBezTo>
                  <a:cubicBezTo>
                    <a:pt x="1953" y="3799"/>
                    <a:pt x="1739" y="3966"/>
                    <a:pt x="1584" y="4061"/>
                  </a:cubicBezTo>
                  <a:cubicBezTo>
                    <a:pt x="1417" y="4156"/>
                    <a:pt x="1310" y="4335"/>
                    <a:pt x="1310" y="4513"/>
                  </a:cubicBezTo>
                  <a:cubicBezTo>
                    <a:pt x="1179" y="4216"/>
                    <a:pt x="1108" y="3882"/>
                    <a:pt x="1108" y="3561"/>
                  </a:cubicBezTo>
                  <a:cubicBezTo>
                    <a:pt x="1108" y="2311"/>
                    <a:pt x="2120" y="1299"/>
                    <a:pt x="3370" y="1299"/>
                  </a:cubicBezTo>
                  <a:close/>
                  <a:moveTo>
                    <a:pt x="4108" y="6585"/>
                  </a:moveTo>
                  <a:lnTo>
                    <a:pt x="4108" y="7002"/>
                  </a:lnTo>
                  <a:cubicBezTo>
                    <a:pt x="4108" y="7228"/>
                    <a:pt x="4239" y="7418"/>
                    <a:pt x="4430" y="7502"/>
                  </a:cubicBezTo>
                  <a:lnTo>
                    <a:pt x="4691" y="7621"/>
                  </a:lnTo>
                  <a:cubicBezTo>
                    <a:pt x="4441" y="8133"/>
                    <a:pt x="3918" y="8442"/>
                    <a:pt x="3346" y="8442"/>
                  </a:cubicBezTo>
                  <a:cubicBezTo>
                    <a:pt x="2786" y="8442"/>
                    <a:pt x="2263" y="8133"/>
                    <a:pt x="2013" y="7621"/>
                  </a:cubicBezTo>
                  <a:lnTo>
                    <a:pt x="2263" y="7502"/>
                  </a:lnTo>
                  <a:cubicBezTo>
                    <a:pt x="2453" y="7418"/>
                    <a:pt x="2584" y="7228"/>
                    <a:pt x="2584" y="7002"/>
                  </a:cubicBezTo>
                  <a:lnTo>
                    <a:pt x="2584" y="6585"/>
                  </a:lnTo>
                  <a:cubicBezTo>
                    <a:pt x="2822" y="6668"/>
                    <a:pt x="3084" y="6728"/>
                    <a:pt x="3346" y="6728"/>
                  </a:cubicBezTo>
                  <a:cubicBezTo>
                    <a:pt x="3620" y="6728"/>
                    <a:pt x="3870" y="6668"/>
                    <a:pt x="4108" y="6585"/>
                  </a:cubicBezTo>
                  <a:close/>
                  <a:moveTo>
                    <a:pt x="3346" y="1"/>
                  </a:moveTo>
                  <a:cubicBezTo>
                    <a:pt x="2632" y="1"/>
                    <a:pt x="2060" y="513"/>
                    <a:pt x="2060" y="1120"/>
                  </a:cubicBezTo>
                  <a:cubicBezTo>
                    <a:pt x="2060" y="1179"/>
                    <a:pt x="2060" y="1227"/>
                    <a:pt x="2072" y="1287"/>
                  </a:cubicBezTo>
                  <a:cubicBezTo>
                    <a:pt x="1286" y="1727"/>
                    <a:pt x="750" y="2572"/>
                    <a:pt x="750" y="3561"/>
                  </a:cubicBezTo>
                  <a:cubicBezTo>
                    <a:pt x="750" y="4204"/>
                    <a:pt x="989" y="4811"/>
                    <a:pt x="1405" y="5287"/>
                  </a:cubicBezTo>
                  <a:cubicBezTo>
                    <a:pt x="1548" y="5751"/>
                    <a:pt x="1846" y="6156"/>
                    <a:pt x="2251" y="6406"/>
                  </a:cubicBezTo>
                  <a:lnTo>
                    <a:pt x="2251" y="7014"/>
                  </a:lnTo>
                  <a:cubicBezTo>
                    <a:pt x="2251" y="7085"/>
                    <a:pt x="2203" y="7168"/>
                    <a:pt x="2132" y="7192"/>
                  </a:cubicBezTo>
                  <a:lnTo>
                    <a:pt x="548" y="7895"/>
                  </a:lnTo>
                  <a:cubicBezTo>
                    <a:pt x="203" y="8037"/>
                    <a:pt x="0" y="8371"/>
                    <a:pt x="0" y="8740"/>
                  </a:cubicBezTo>
                  <a:lnTo>
                    <a:pt x="0" y="9942"/>
                  </a:lnTo>
                  <a:cubicBezTo>
                    <a:pt x="0" y="10050"/>
                    <a:pt x="72" y="10121"/>
                    <a:pt x="179" y="10121"/>
                  </a:cubicBezTo>
                  <a:cubicBezTo>
                    <a:pt x="286" y="10121"/>
                    <a:pt x="358" y="10050"/>
                    <a:pt x="358" y="9942"/>
                  </a:cubicBezTo>
                  <a:lnTo>
                    <a:pt x="358" y="8740"/>
                  </a:lnTo>
                  <a:cubicBezTo>
                    <a:pt x="358" y="8514"/>
                    <a:pt x="489" y="8311"/>
                    <a:pt x="703" y="8216"/>
                  </a:cubicBezTo>
                  <a:lnTo>
                    <a:pt x="1691" y="7776"/>
                  </a:lnTo>
                  <a:cubicBezTo>
                    <a:pt x="2013" y="8395"/>
                    <a:pt x="2644" y="8799"/>
                    <a:pt x="3358" y="8799"/>
                  </a:cubicBezTo>
                  <a:cubicBezTo>
                    <a:pt x="4072" y="8799"/>
                    <a:pt x="4715" y="8395"/>
                    <a:pt x="5025" y="7776"/>
                  </a:cubicBezTo>
                  <a:lnTo>
                    <a:pt x="6025" y="8216"/>
                  </a:lnTo>
                  <a:cubicBezTo>
                    <a:pt x="6239" y="8311"/>
                    <a:pt x="6370" y="8514"/>
                    <a:pt x="6370" y="8740"/>
                  </a:cubicBezTo>
                  <a:lnTo>
                    <a:pt x="6370" y="9942"/>
                  </a:lnTo>
                  <a:cubicBezTo>
                    <a:pt x="6370" y="10050"/>
                    <a:pt x="6442" y="10121"/>
                    <a:pt x="6549" y="10121"/>
                  </a:cubicBezTo>
                  <a:cubicBezTo>
                    <a:pt x="6656" y="10121"/>
                    <a:pt x="6727" y="10050"/>
                    <a:pt x="6727" y="9942"/>
                  </a:cubicBezTo>
                  <a:lnTo>
                    <a:pt x="6727" y="8740"/>
                  </a:lnTo>
                  <a:cubicBezTo>
                    <a:pt x="6704" y="8371"/>
                    <a:pt x="6489" y="8037"/>
                    <a:pt x="6144" y="7895"/>
                  </a:cubicBezTo>
                  <a:lnTo>
                    <a:pt x="4572" y="7192"/>
                  </a:lnTo>
                  <a:cubicBezTo>
                    <a:pt x="4501" y="7168"/>
                    <a:pt x="4453" y="7085"/>
                    <a:pt x="4453" y="7014"/>
                  </a:cubicBezTo>
                  <a:lnTo>
                    <a:pt x="4453" y="6406"/>
                  </a:lnTo>
                  <a:cubicBezTo>
                    <a:pt x="4858" y="6156"/>
                    <a:pt x="5156" y="5751"/>
                    <a:pt x="5299" y="5287"/>
                  </a:cubicBezTo>
                  <a:cubicBezTo>
                    <a:pt x="5715" y="4811"/>
                    <a:pt x="5954" y="4204"/>
                    <a:pt x="5954" y="3561"/>
                  </a:cubicBezTo>
                  <a:cubicBezTo>
                    <a:pt x="5954" y="2596"/>
                    <a:pt x="5418" y="1727"/>
                    <a:pt x="4632" y="1287"/>
                  </a:cubicBezTo>
                  <a:cubicBezTo>
                    <a:pt x="4644" y="1227"/>
                    <a:pt x="4644" y="1179"/>
                    <a:pt x="4644" y="1120"/>
                  </a:cubicBezTo>
                  <a:cubicBezTo>
                    <a:pt x="4644" y="513"/>
                    <a:pt x="4060" y="1"/>
                    <a:pt x="3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0" name="Google Shape;13680;p64"/>
            <p:cNvSpPr/>
            <p:nvPr/>
          </p:nvSpPr>
          <p:spPr>
            <a:xfrm>
              <a:off x="896411" y="1808780"/>
              <a:ext cx="11395" cy="34918"/>
            </a:xfrm>
            <a:custGeom>
              <a:avLst/>
              <a:gdLst/>
              <a:ahLst/>
              <a:cxnLst/>
              <a:rect l="l" t="t" r="r" b="b"/>
              <a:pathLst>
                <a:path w="358" h="1097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lnTo>
                    <a:pt x="0" y="918"/>
                  </a:lnTo>
                  <a:cubicBezTo>
                    <a:pt x="0" y="1025"/>
                    <a:pt x="72" y="1096"/>
                    <a:pt x="179" y="1096"/>
                  </a:cubicBezTo>
                  <a:cubicBezTo>
                    <a:pt x="286" y="1096"/>
                    <a:pt x="357" y="1025"/>
                    <a:pt x="357" y="918"/>
                  </a:cubicBezTo>
                  <a:lnTo>
                    <a:pt x="357" y="179"/>
                  </a:lnTo>
                  <a:cubicBezTo>
                    <a:pt x="345" y="84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1" name="Google Shape;13681;p64"/>
            <p:cNvSpPr/>
            <p:nvPr/>
          </p:nvSpPr>
          <p:spPr>
            <a:xfrm>
              <a:off x="1015391" y="1808780"/>
              <a:ext cx="11395" cy="34918"/>
            </a:xfrm>
            <a:custGeom>
              <a:avLst/>
              <a:gdLst/>
              <a:ahLst/>
              <a:cxnLst/>
              <a:rect l="l" t="t" r="r" b="b"/>
              <a:pathLst>
                <a:path w="358" h="1097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918"/>
                  </a:lnTo>
                  <a:cubicBezTo>
                    <a:pt x="1" y="1025"/>
                    <a:pt x="72" y="1096"/>
                    <a:pt x="179" y="1096"/>
                  </a:cubicBezTo>
                  <a:cubicBezTo>
                    <a:pt x="275" y="1096"/>
                    <a:pt x="346" y="1025"/>
                    <a:pt x="346" y="918"/>
                  </a:cubicBezTo>
                  <a:lnTo>
                    <a:pt x="346" y="179"/>
                  </a:lnTo>
                  <a:cubicBezTo>
                    <a:pt x="358" y="84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2" name="Google Shape;13682;p64"/>
            <p:cNvSpPr/>
            <p:nvPr/>
          </p:nvSpPr>
          <p:spPr>
            <a:xfrm>
              <a:off x="1057471" y="1522660"/>
              <a:ext cx="178534" cy="186110"/>
            </a:xfrm>
            <a:custGeom>
              <a:avLst/>
              <a:gdLst/>
              <a:ahLst/>
              <a:cxnLst/>
              <a:rect l="l" t="t" r="r" b="b"/>
              <a:pathLst>
                <a:path w="5609" h="5847" extrusionOk="0">
                  <a:moveTo>
                    <a:pt x="739" y="1"/>
                  </a:moveTo>
                  <a:cubicBezTo>
                    <a:pt x="346" y="1"/>
                    <a:pt x="0" y="322"/>
                    <a:pt x="0" y="739"/>
                  </a:cubicBezTo>
                  <a:lnTo>
                    <a:pt x="0" y="3751"/>
                  </a:lnTo>
                  <a:cubicBezTo>
                    <a:pt x="0" y="4144"/>
                    <a:pt x="322" y="4489"/>
                    <a:pt x="739" y="4489"/>
                  </a:cubicBezTo>
                  <a:lnTo>
                    <a:pt x="1084" y="4489"/>
                  </a:lnTo>
                  <a:lnTo>
                    <a:pt x="834" y="5513"/>
                  </a:lnTo>
                  <a:cubicBezTo>
                    <a:pt x="798" y="5620"/>
                    <a:pt x="846" y="5739"/>
                    <a:pt x="941" y="5799"/>
                  </a:cubicBezTo>
                  <a:cubicBezTo>
                    <a:pt x="977" y="5823"/>
                    <a:pt x="1036" y="5847"/>
                    <a:pt x="1084" y="5847"/>
                  </a:cubicBezTo>
                  <a:cubicBezTo>
                    <a:pt x="1143" y="5847"/>
                    <a:pt x="1191" y="5823"/>
                    <a:pt x="1250" y="5799"/>
                  </a:cubicBezTo>
                  <a:lnTo>
                    <a:pt x="3048" y="4489"/>
                  </a:lnTo>
                  <a:lnTo>
                    <a:pt x="4870" y="4489"/>
                  </a:lnTo>
                  <a:cubicBezTo>
                    <a:pt x="5263" y="4489"/>
                    <a:pt x="5608" y="4156"/>
                    <a:pt x="5608" y="3739"/>
                  </a:cubicBezTo>
                  <a:lnTo>
                    <a:pt x="5608" y="739"/>
                  </a:lnTo>
                  <a:cubicBezTo>
                    <a:pt x="5596" y="322"/>
                    <a:pt x="5263" y="1"/>
                    <a:pt x="4870" y="1"/>
                  </a:cubicBezTo>
                  <a:cubicBezTo>
                    <a:pt x="4763" y="1"/>
                    <a:pt x="4691" y="72"/>
                    <a:pt x="4691" y="179"/>
                  </a:cubicBezTo>
                  <a:cubicBezTo>
                    <a:pt x="4691" y="274"/>
                    <a:pt x="4763" y="346"/>
                    <a:pt x="4870" y="346"/>
                  </a:cubicBezTo>
                  <a:cubicBezTo>
                    <a:pt x="5072" y="346"/>
                    <a:pt x="5251" y="524"/>
                    <a:pt x="5251" y="739"/>
                  </a:cubicBezTo>
                  <a:lnTo>
                    <a:pt x="5251" y="3739"/>
                  </a:lnTo>
                  <a:cubicBezTo>
                    <a:pt x="5251" y="3953"/>
                    <a:pt x="5072" y="4132"/>
                    <a:pt x="4870" y="4132"/>
                  </a:cubicBezTo>
                  <a:lnTo>
                    <a:pt x="2989" y="4132"/>
                  </a:lnTo>
                  <a:cubicBezTo>
                    <a:pt x="2965" y="4132"/>
                    <a:pt x="2917" y="4144"/>
                    <a:pt x="2882" y="4156"/>
                  </a:cubicBezTo>
                  <a:lnTo>
                    <a:pt x="1215" y="5382"/>
                  </a:lnTo>
                  <a:lnTo>
                    <a:pt x="1477" y="4358"/>
                  </a:lnTo>
                  <a:cubicBezTo>
                    <a:pt x="1489" y="4299"/>
                    <a:pt x="1477" y="4251"/>
                    <a:pt x="1441" y="4203"/>
                  </a:cubicBezTo>
                  <a:cubicBezTo>
                    <a:pt x="1417" y="4156"/>
                    <a:pt x="1358" y="4132"/>
                    <a:pt x="1310" y="4132"/>
                  </a:cubicBezTo>
                  <a:lnTo>
                    <a:pt x="739" y="4132"/>
                  </a:lnTo>
                  <a:cubicBezTo>
                    <a:pt x="536" y="4132"/>
                    <a:pt x="358" y="3953"/>
                    <a:pt x="358" y="3739"/>
                  </a:cubicBezTo>
                  <a:lnTo>
                    <a:pt x="358" y="739"/>
                  </a:lnTo>
                  <a:cubicBezTo>
                    <a:pt x="358" y="524"/>
                    <a:pt x="536" y="346"/>
                    <a:pt x="739" y="346"/>
                  </a:cubicBezTo>
                  <a:cubicBezTo>
                    <a:pt x="846" y="346"/>
                    <a:pt x="917" y="274"/>
                    <a:pt x="917" y="179"/>
                  </a:cubicBezTo>
                  <a:cubicBezTo>
                    <a:pt x="917" y="72"/>
                    <a:pt x="846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83" name="Google Shape;13683;p64"/>
          <p:cNvGrpSpPr/>
          <p:nvPr/>
        </p:nvGrpSpPr>
        <p:grpSpPr>
          <a:xfrm>
            <a:off x="1819576" y="1511679"/>
            <a:ext cx="352103" cy="352103"/>
            <a:chOff x="1819576" y="1511679"/>
            <a:chExt cx="352103" cy="352103"/>
          </a:xfrm>
        </p:grpSpPr>
        <p:sp>
          <p:nvSpPr>
            <p:cNvPr id="13684" name="Google Shape;13684;p64"/>
            <p:cNvSpPr/>
            <p:nvPr/>
          </p:nvSpPr>
          <p:spPr>
            <a:xfrm>
              <a:off x="1819576" y="1511679"/>
              <a:ext cx="352103" cy="352103"/>
            </a:xfrm>
            <a:custGeom>
              <a:avLst/>
              <a:gdLst/>
              <a:ahLst/>
              <a:cxnLst/>
              <a:rect l="l" t="t" r="r" b="b"/>
              <a:pathLst>
                <a:path w="11062" h="11062" extrusionOk="0">
                  <a:moveTo>
                    <a:pt x="6216" y="310"/>
                  </a:moveTo>
                  <a:cubicBezTo>
                    <a:pt x="6216" y="310"/>
                    <a:pt x="6240" y="310"/>
                    <a:pt x="6240" y="322"/>
                  </a:cubicBezTo>
                  <a:lnTo>
                    <a:pt x="6240" y="786"/>
                  </a:lnTo>
                  <a:cubicBezTo>
                    <a:pt x="6240" y="953"/>
                    <a:pt x="6335" y="1084"/>
                    <a:pt x="6502" y="1108"/>
                  </a:cubicBezTo>
                  <a:cubicBezTo>
                    <a:pt x="7025" y="1227"/>
                    <a:pt x="7514" y="1429"/>
                    <a:pt x="7966" y="1727"/>
                  </a:cubicBezTo>
                  <a:cubicBezTo>
                    <a:pt x="8022" y="1762"/>
                    <a:pt x="8086" y="1780"/>
                    <a:pt x="8150" y="1780"/>
                  </a:cubicBezTo>
                  <a:cubicBezTo>
                    <a:pt x="8236" y="1780"/>
                    <a:pt x="8321" y="1747"/>
                    <a:pt x="8383" y="1679"/>
                  </a:cubicBezTo>
                  <a:lnTo>
                    <a:pt x="8704" y="1346"/>
                  </a:lnTo>
                  <a:lnTo>
                    <a:pt x="8716" y="1346"/>
                  </a:lnTo>
                  <a:lnTo>
                    <a:pt x="9704" y="2334"/>
                  </a:lnTo>
                  <a:lnTo>
                    <a:pt x="9704" y="2346"/>
                  </a:lnTo>
                  <a:lnTo>
                    <a:pt x="9371" y="2679"/>
                  </a:lnTo>
                  <a:cubicBezTo>
                    <a:pt x="9252" y="2798"/>
                    <a:pt x="9240" y="2953"/>
                    <a:pt x="9335" y="3096"/>
                  </a:cubicBezTo>
                  <a:cubicBezTo>
                    <a:pt x="9609" y="3536"/>
                    <a:pt x="9823" y="4025"/>
                    <a:pt x="9943" y="4548"/>
                  </a:cubicBezTo>
                  <a:cubicBezTo>
                    <a:pt x="9966" y="4703"/>
                    <a:pt x="10109" y="4822"/>
                    <a:pt x="10264" y="4822"/>
                  </a:cubicBezTo>
                  <a:lnTo>
                    <a:pt x="10728" y="4822"/>
                  </a:lnTo>
                  <a:cubicBezTo>
                    <a:pt x="10728" y="4822"/>
                    <a:pt x="10752" y="4822"/>
                    <a:pt x="10752" y="4834"/>
                  </a:cubicBezTo>
                  <a:lnTo>
                    <a:pt x="10728" y="6239"/>
                  </a:lnTo>
                  <a:lnTo>
                    <a:pt x="10264" y="6239"/>
                  </a:lnTo>
                  <a:cubicBezTo>
                    <a:pt x="10109" y="6239"/>
                    <a:pt x="9966" y="6334"/>
                    <a:pt x="9943" y="6501"/>
                  </a:cubicBezTo>
                  <a:cubicBezTo>
                    <a:pt x="9823" y="7025"/>
                    <a:pt x="9633" y="7513"/>
                    <a:pt x="9335" y="7966"/>
                  </a:cubicBezTo>
                  <a:cubicBezTo>
                    <a:pt x="9240" y="8097"/>
                    <a:pt x="9252" y="8275"/>
                    <a:pt x="9371" y="8382"/>
                  </a:cubicBezTo>
                  <a:lnTo>
                    <a:pt x="9704" y="8704"/>
                  </a:lnTo>
                  <a:lnTo>
                    <a:pt x="9704" y="8716"/>
                  </a:lnTo>
                  <a:lnTo>
                    <a:pt x="8716" y="9704"/>
                  </a:lnTo>
                  <a:lnTo>
                    <a:pt x="8704" y="9704"/>
                  </a:lnTo>
                  <a:lnTo>
                    <a:pt x="8383" y="9370"/>
                  </a:lnTo>
                  <a:cubicBezTo>
                    <a:pt x="8317" y="9304"/>
                    <a:pt x="8236" y="9271"/>
                    <a:pt x="8155" y="9271"/>
                  </a:cubicBezTo>
                  <a:cubicBezTo>
                    <a:pt x="8090" y="9271"/>
                    <a:pt x="8024" y="9292"/>
                    <a:pt x="7966" y="9335"/>
                  </a:cubicBezTo>
                  <a:cubicBezTo>
                    <a:pt x="7514" y="9609"/>
                    <a:pt x="7025" y="9823"/>
                    <a:pt x="6502" y="9942"/>
                  </a:cubicBezTo>
                  <a:cubicBezTo>
                    <a:pt x="6359" y="9966"/>
                    <a:pt x="6240" y="10109"/>
                    <a:pt x="6240" y="10263"/>
                  </a:cubicBezTo>
                  <a:lnTo>
                    <a:pt x="6240" y="10728"/>
                  </a:lnTo>
                  <a:cubicBezTo>
                    <a:pt x="6240" y="10728"/>
                    <a:pt x="6240" y="10740"/>
                    <a:pt x="6216" y="10740"/>
                  </a:cubicBezTo>
                  <a:lnTo>
                    <a:pt x="4835" y="10740"/>
                  </a:lnTo>
                  <a:cubicBezTo>
                    <a:pt x="4835" y="10740"/>
                    <a:pt x="4823" y="10740"/>
                    <a:pt x="4823" y="10728"/>
                  </a:cubicBezTo>
                  <a:lnTo>
                    <a:pt x="4823" y="10263"/>
                  </a:lnTo>
                  <a:cubicBezTo>
                    <a:pt x="4823" y="10109"/>
                    <a:pt x="4716" y="9966"/>
                    <a:pt x="4549" y="9942"/>
                  </a:cubicBezTo>
                  <a:cubicBezTo>
                    <a:pt x="4037" y="9823"/>
                    <a:pt x="3537" y="9632"/>
                    <a:pt x="3096" y="9335"/>
                  </a:cubicBezTo>
                  <a:cubicBezTo>
                    <a:pt x="3037" y="9299"/>
                    <a:pt x="2977" y="9275"/>
                    <a:pt x="2918" y="9275"/>
                  </a:cubicBezTo>
                  <a:cubicBezTo>
                    <a:pt x="2823" y="9275"/>
                    <a:pt x="2751" y="9299"/>
                    <a:pt x="2680" y="9370"/>
                  </a:cubicBezTo>
                  <a:lnTo>
                    <a:pt x="2346" y="9704"/>
                  </a:lnTo>
                  <a:lnTo>
                    <a:pt x="2334" y="9704"/>
                  </a:lnTo>
                  <a:lnTo>
                    <a:pt x="1358" y="8716"/>
                  </a:lnTo>
                  <a:lnTo>
                    <a:pt x="1358" y="8704"/>
                  </a:lnTo>
                  <a:lnTo>
                    <a:pt x="1680" y="8382"/>
                  </a:lnTo>
                  <a:cubicBezTo>
                    <a:pt x="1799" y="8263"/>
                    <a:pt x="1811" y="8097"/>
                    <a:pt x="1727" y="7966"/>
                  </a:cubicBezTo>
                  <a:cubicBezTo>
                    <a:pt x="1441" y="7513"/>
                    <a:pt x="1239" y="7025"/>
                    <a:pt x="1120" y="6501"/>
                  </a:cubicBezTo>
                  <a:cubicBezTo>
                    <a:pt x="1084" y="6358"/>
                    <a:pt x="953" y="6239"/>
                    <a:pt x="787" y="6239"/>
                  </a:cubicBezTo>
                  <a:lnTo>
                    <a:pt x="322" y="6239"/>
                  </a:lnTo>
                  <a:cubicBezTo>
                    <a:pt x="322" y="6239"/>
                    <a:pt x="310" y="6239"/>
                    <a:pt x="310" y="6215"/>
                  </a:cubicBezTo>
                  <a:lnTo>
                    <a:pt x="310" y="4834"/>
                  </a:lnTo>
                  <a:cubicBezTo>
                    <a:pt x="310" y="4834"/>
                    <a:pt x="310" y="4822"/>
                    <a:pt x="322" y="4822"/>
                  </a:cubicBezTo>
                  <a:lnTo>
                    <a:pt x="787" y="4822"/>
                  </a:lnTo>
                  <a:cubicBezTo>
                    <a:pt x="953" y="4822"/>
                    <a:pt x="1084" y="4715"/>
                    <a:pt x="1120" y="4548"/>
                  </a:cubicBezTo>
                  <a:cubicBezTo>
                    <a:pt x="1239" y="4025"/>
                    <a:pt x="1430" y="3536"/>
                    <a:pt x="1727" y="3096"/>
                  </a:cubicBezTo>
                  <a:cubicBezTo>
                    <a:pt x="1811" y="2953"/>
                    <a:pt x="1799" y="2774"/>
                    <a:pt x="1680" y="2679"/>
                  </a:cubicBezTo>
                  <a:lnTo>
                    <a:pt x="1358" y="2346"/>
                  </a:lnTo>
                  <a:lnTo>
                    <a:pt x="1358" y="2334"/>
                  </a:lnTo>
                  <a:lnTo>
                    <a:pt x="2334" y="1346"/>
                  </a:lnTo>
                  <a:lnTo>
                    <a:pt x="2346" y="1346"/>
                  </a:lnTo>
                  <a:lnTo>
                    <a:pt x="2680" y="1679"/>
                  </a:lnTo>
                  <a:cubicBezTo>
                    <a:pt x="2748" y="1747"/>
                    <a:pt x="2832" y="1780"/>
                    <a:pt x="2916" y="1780"/>
                  </a:cubicBezTo>
                  <a:cubicBezTo>
                    <a:pt x="2978" y="1780"/>
                    <a:pt x="3041" y="1762"/>
                    <a:pt x="3096" y="1727"/>
                  </a:cubicBezTo>
                  <a:cubicBezTo>
                    <a:pt x="3537" y="1441"/>
                    <a:pt x="4037" y="1227"/>
                    <a:pt x="4549" y="1108"/>
                  </a:cubicBezTo>
                  <a:cubicBezTo>
                    <a:pt x="4704" y="1084"/>
                    <a:pt x="4823" y="953"/>
                    <a:pt x="4823" y="786"/>
                  </a:cubicBezTo>
                  <a:lnTo>
                    <a:pt x="4823" y="322"/>
                  </a:lnTo>
                  <a:cubicBezTo>
                    <a:pt x="4823" y="322"/>
                    <a:pt x="4823" y="310"/>
                    <a:pt x="4835" y="310"/>
                  </a:cubicBezTo>
                  <a:close/>
                  <a:moveTo>
                    <a:pt x="4835" y="0"/>
                  </a:moveTo>
                  <a:cubicBezTo>
                    <a:pt x="4656" y="0"/>
                    <a:pt x="4513" y="143"/>
                    <a:pt x="4513" y="322"/>
                  </a:cubicBezTo>
                  <a:lnTo>
                    <a:pt x="4513" y="786"/>
                  </a:lnTo>
                  <a:cubicBezTo>
                    <a:pt x="4513" y="786"/>
                    <a:pt x="4513" y="798"/>
                    <a:pt x="4489" y="798"/>
                  </a:cubicBezTo>
                  <a:cubicBezTo>
                    <a:pt x="3930" y="917"/>
                    <a:pt x="3406" y="1143"/>
                    <a:pt x="2930" y="1453"/>
                  </a:cubicBezTo>
                  <a:lnTo>
                    <a:pt x="2918" y="1453"/>
                  </a:lnTo>
                  <a:lnTo>
                    <a:pt x="2584" y="1131"/>
                  </a:lnTo>
                  <a:cubicBezTo>
                    <a:pt x="2519" y="1066"/>
                    <a:pt x="2436" y="1033"/>
                    <a:pt x="2351" y="1033"/>
                  </a:cubicBezTo>
                  <a:cubicBezTo>
                    <a:pt x="2266" y="1033"/>
                    <a:pt x="2180" y="1066"/>
                    <a:pt x="2108" y="1131"/>
                  </a:cubicBezTo>
                  <a:lnTo>
                    <a:pt x="1132" y="2108"/>
                  </a:lnTo>
                  <a:cubicBezTo>
                    <a:pt x="1001" y="2251"/>
                    <a:pt x="1001" y="2453"/>
                    <a:pt x="1132" y="2584"/>
                  </a:cubicBezTo>
                  <a:lnTo>
                    <a:pt x="1453" y="2917"/>
                  </a:lnTo>
                  <a:lnTo>
                    <a:pt x="1453" y="2929"/>
                  </a:lnTo>
                  <a:cubicBezTo>
                    <a:pt x="1144" y="3405"/>
                    <a:pt x="941" y="3941"/>
                    <a:pt x="799" y="4489"/>
                  </a:cubicBezTo>
                  <a:cubicBezTo>
                    <a:pt x="799" y="4489"/>
                    <a:pt x="799" y="4513"/>
                    <a:pt x="787" y="4513"/>
                  </a:cubicBezTo>
                  <a:lnTo>
                    <a:pt x="322" y="4513"/>
                  </a:lnTo>
                  <a:cubicBezTo>
                    <a:pt x="144" y="4513"/>
                    <a:pt x="1" y="4656"/>
                    <a:pt x="1" y="4834"/>
                  </a:cubicBezTo>
                  <a:lnTo>
                    <a:pt x="1" y="6215"/>
                  </a:lnTo>
                  <a:cubicBezTo>
                    <a:pt x="1" y="6394"/>
                    <a:pt x="144" y="6549"/>
                    <a:pt x="322" y="6549"/>
                  </a:cubicBezTo>
                  <a:lnTo>
                    <a:pt x="787" y="6549"/>
                  </a:lnTo>
                  <a:cubicBezTo>
                    <a:pt x="787" y="6549"/>
                    <a:pt x="799" y="6549"/>
                    <a:pt x="799" y="6561"/>
                  </a:cubicBezTo>
                  <a:cubicBezTo>
                    <a:pt x="918" y="7132"/>
                    <a:pt x="1144" y="7644"/>
                    <a:pt x="1453" y="8120"/>
                  </a:cubicBezTo>
                  <a:lnTo>
                    <a:pt x="1453" y="8144"/>
                  </a:lnTo>
                  <a:lnTo>
                    <a:pt x="1132" y="8466"/>
                  </a:lnTo>
                  <a:cubicBezTo>
                    <a:pt x="1001" y="8597"/>
                    <a:pt x="1001" y="8811"/>
                    <a:pt x="1132" y="8942"/>
                  </a:cubicBezTo>
                  <a:lnTo>
                    <a:pt x="2108" y="9930"/>
                  </a:lnTo>
                  <a:cubicBezTo>
                    <a:pt x="2180" y="9996"/>
                    <a:pt x="2266" y="10028"/>
                    <a:pt x="2351" y="10028"/>
                  </a:cubicBezTo>
                  <a:cubicBezTo>
                    <a:pt x="2436" y="10028"/>
                    <a:pt x="2519" y="9996"/>
                    <a:pt x="2584" y="9930"/>
                  </a:cubicBezTo>
                  <a:lnTo>
                    <a:pt x="2918" y="9597"/>
                  </a:lnTo>
                  <a:lnTo>
                    <a:pt x="2930" y="9597"/>
                  </a:lnTo>
                  <a:cubicBezTo>
                    <a:pt x="3406" y="9906"/>
                    <a:pt x="3942" y="10121"/>
                    <a:pt x="4489" y="10252"/>
                  </a:cubicBezTo>
                  <a:cubicBezTo>
                    <a:pt x="4489" y="10252"/>
                    <a:pt x="4513" y="10252"/>
                    <a:pt x="4513" y="10263"/>
                  </a:cubicBezTo>
                  <a:lnTo>
                    <a:pt x="4513" y="10728"/>
                  </a:lnTo>
                  <a:cubicBezTo>
                    <a:pt x="4513" y="10906"/>
                    <a:pt x="4656" y="11061"/>
                    <a:pt x="4835" y="11061"/>
                  </a:cubicBezTo>
                  <a:lnTo>
                    <a:pt x="6216" y="11061"/>
                  </a:lnTo>
                  <a:cubicBezTo>
                    <a:pt x="6394" y="11061"/>
                    <a:pt x="6549" y="10906"/>
                    <a:pt x="6549" y="10728"/>
                  </a:cubicBezTo>
                  <a:lnTo>
                    <a:pt x="6549" y="10263"/>
                  </a:lnTo>
                  <a:cubicBezTo>
                    <a:pt x="6549" y="10263"/>
                    <a:pt x="6549" y="10252"/>
                    <a:pt x="6561" y="10252"/>
                  </a:cubicBezTo>
                  <a:cubicBezTo>
                    <a:pt x="7133" y="10132"/>
                    <a:pt x="7645" y="9906"/>
                    <a:pt x="8121" y="9597"/>
                  </a:cubicBezTo>
                  <a:lnTo>
                    <a:pt x="8145" y="9597"/>
                  </a:lnTo>
                  <a:lnTo>
                    <a:pt x="8466" y="9930"/>
                  </a:lnTo>
                  <a:cubicBezTo>
                    <a:pt x="8532" y="9996"/>
                    <a:pt x="8618" y="10028"/>
                    <a:pt x="8704" y="10028"/>
                  </a:cubicBezTo>
                  <a:cubicBezTo>
                    <a:pt x="8791" y="10028"/>
                    <a:pt x="8877" y="9996"/>
                    <a:pt x="8942" y="9930"/>
                  </a:cubicBezTo>
                  <a:lnTo>
                    <a:pt x="9931" y="8942"/>
                  </a:lnTo>
                  <a:cubicBezTo>
                    <a:pt x="10062" y="8811"/>
                    <a:pt x="10062" y="8597"/>
                    <a:pt x="9931" y="8466"/>
                  </a:cubicBezTo>
                  <a:lnTo>
                    <a:pt x="9597" y="8144"/>
                  </a:lnTo>
                  <a:lnTo>
                    <a:pt x="9597" y="8120"/>
                  </a:lnTo>
                  <a:cubicBezTo>
                    <a:pt x="9919" y="7644"/>
                    <a:pt x="10121" y="7108"/>
                    <a:pt x="10252" y="6561"/>
                  </a:cubicBezTo>
                  <a:cubicBezTo>
                    <a:pt x="10252" y="6561"/>
                    <a:pt x="10252" y="6549"/>
                    <a:pt x="10264" y="6549"/>
                  </a:cubicBezTo>
                  <a:lnTo>
                    <a:pt x="10728" y="6549"/>
                  </a:lnTo>
                  <a:cubicBezTo>
                    <a:pt x="10907" y="6549"/>
                    <a:pt x="11062" y="6394"/>
                    <a:pt x="11062" y="6215"/>
                  </a:cubicBezTo>
                  <a:lnTo>
                    <a:pt x="11062" y="4834"/>
                  </a:lnTo>
                  <a:cubicBezTo>
                    <a:pt x="11062" y="4656"/>
                    <a:pt x="10907" y="4513"/>
                    <a:pt x="10728" y="4513"/>
                  </a:cubicBezTo>
                  <a:lnTo>
                    <a:pt x="10264" y="4513"/>
                  </a:lnTo>
                  <a:cubicBezTo>
                    <a:pt x="10264" y="4513"/>
                    <a:pt x="10252" y="4513"/>
                    <a:pt x="10252" y="4489"/>
                  </a:cubicBezTo>
                  <a:cubicBezTo>
                    <a:pt x="10133" y="3929"/>
                    <a:pt x="9907" y="3405"/>
                    <a:pt x="9597" y="2929"/>
                  </a:cubicBezTo>
                  <a:lnTo>
                    <a:pt x="9597" y="2917"/>
                  </a:lnTo>
                  <a:lnTo>
                    <a:pt x="9931" y="2584"/>
                  </a:lnTo>
                  <a:cubicBezTo>
                    <a:pt x="10062" y="2453"/>
                    <a:pt x="10062" y="2239"/>
                    <a:pt x="9931" y="2108"/>
                  </a:cubicBezTo>
                  <a:lnTo>
                    <a:pt x="8942" y="1131"/>
                  </a:lnTo>
                  <a:cubicBezTo>
                    <a:pt x="8877" y="1066"/>
                    <a:pt x="8791" y="1033"/>
                    <a:pt x="8704" y="1033"/>
                  </a:cubicBezTo>
                  <a:cubicBezTo>
                    <a:pt x="8618" y="1033"/>
                    <a:pt x="8532" y="1066"/>
                    <a:pt x="8466" y="1131"/>
                  </a:cubicBezTo>
                  <a:lnTo>
                    <a:pt x="8145" y="1453"/>
                  </a:lnTo>
                  <a:lnTo>
                    <a:pt x="8121" y="1453"/>
                  </a:lnTo>
                  <a:cubicBezTo>
                    <a:pt x="7645" y="1143"/>
                    <a:pt x="7109" y="941"/>
                    <a:pt x="6561" y="798"/>
                  </a:cubicBezTo>
                  <a:cubicBezTo>
                    <a:pt x="6561" y="798"/>
                    <a:pt x="6549" y="798"/>
                    <a:pt x="6549" y="786"/>
                  </a:cubicBezTo>
                  <a:lnTo>
                    <a:pt x="6549" y="322"/>
                  </a:lnTo>
                  <a:cubicBezTo>
                    <a:pt x="6549" y="143"/>
                    <a:pt x="6394" y="0"/>
                    <a:pt x="62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5" name="Google Shape;13685;p64"/>
            <p:cNvSpPr/>
            <p:nvPr/>
          </p:nvSpPr>
          <p:spPr>
            <a:xfrm>
              <a:off x="1885146" y="1578204"/>
              <a:ext cx="182322" cy="180603"/>
            </a:xfrm>
            <a:custGeom>
              <a:avLst/>
              <a:gdLst/>
              <a:ahLst/>
              <a:cxnLst/>
              <a:rect l="l" t="t" r="r" b="b"/>
              <a:pathLst>
                <a:path w="5728" h="5674" extrusionOk="0">
                  <a:moveTo>
                    <a:pt x="3502" y="0"/>
                  </a:moveTo>
                  <a:cubicBezTo>
                    <a:pt x="3438" y="0"/>
                    <a:pt x="3374" y="2"/>
                    <a:pt x="3311" y="6"/>
                  </a:cubicBezTo>
                  <a:cubicBezTo>
                    <a:pt x="2453" y="53"/>
                    <a:pt x="1644" y="411"/>
                    <a:pt x="1048" y="1018"/>
                  </a:cubicBezTo>
                  <a:cubicBezTo>
                    <a:pt x="441" y="1625"/>
                    <a:pt x="84" y="2435"/>
                    <a:pt x="36" y="3280"/>
                  </a:cubicBezTo>
                  <a:cubicBezTo>
                    <a:pt x="1" y="4125"/>
                    <a:pt x="263" y="4959"/>
                    <a:pt x="798" y="5614"/>
                  </a:cubicBezTo>
                  <a:cubicBezTo>
                    <a:pt x="834" y="5661"/>
                    <a:pt x="870" y="5673"/>
                    <a:pt x="917" y="5673"/>
                  </a:cubicBezTo>
                  <a:cubicBezTo>
                    <a:pt x="953" y="5673"/>
                    <a:pt x="989" y="5661"/>
                    <a:pt x="1025" y="5649"/>
                  </a:cubicBezTo>
                  <a:cubicBezTo>
                    <a:pt x="1096" y="5590"/>
                    <a:pt x="1096" y="5483"/>
                    <a:pt x="1048" y="5423"/>
                  </a:cubicBezTo>
                  <a:cubicBezTo>
                    <a:pt x="572" y="4828"/>
                    <a:pt x="322" y="4066"/>
                    <a:pt x="370" y="3304"/>
                  </a:cubicBezTo>
                  <a:cubicBezTo>
                    <a:pt x="417" y="2530"/>
                    <a:pt x="727" y="1804"/>
                    <a:pt x="1275" y="1256"/>
                  </a:cubicBezTo>
                  <a:cubicBezTo>
                    <a:pt x="1822" y="708"/>
                    <a:pt x="2560" y="375"/>
                    <a:pt x="3334" y="351"/>
                  </a:cubicBezTo>
                  <a:cubicBezTo>
                    <a:pt x="3397" y="347"/>
                    <a:pt x="3459" y="345"/>
                    <a:pt x="3521" y="345"/>
                  </a:cubicBezTo>
                  <a:cubicBezTo>
                    <a:pt x="4227" y="345"/>
                    <a:pt x="4895" y="592"/>
                    <a:pt x="5442" y="1030"/>
                  </a:cubicBezTo>
                  <a:cubicBezTo>
                    <a:pt x="5473" y="1055"/>
                    <a:pt x="5510" y="1068"/>
                    <a:pt x="5547" y="1068"/>
                  </a:cubicBezTo>
                  <a:cubicBezTo>
                    <a:pt x="5595" y="1068"/>
                    <a:pt x="5641" y="1046"/>
                    <a:pt x="5668" y="1006"/>
                  </a:cubicBezTo>
                  <a:cubicBezTo>
                    <a:pt x="5727" y="911"/>
                    <a:pt x="5716" y="815"/>
                    <a:pt x="5656" y="768"/>
                  </a:cubicBezTo>
                  <a:cubicBezTo>
                    <a:pt x="5050" y="272"/>
                    <a:pt x="4291" y="0"/>
                    <a:pt x="3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6" name="Google Shape;13686;p64"/>
            <p:cNvSpPr/>
            <p:nvPr/>
          </p:nvSpPr>
          <p:spPr>
            <a:xfrm>
              <a:off x="1923820" y="1610193"/>
              <a:ext cx="183054" cy="186874"/>
            </a:xfrm>
            <a:custGeom>
              <a:avLst/>
              <a:gdLst/>
              <a:ahLst/>
              <a:cxnLst/>
              <a:rect l="l" t="t" r="r" b="b"/>
              <a:pathLst>
                <a:path w="5751" h="5871" extrusionOk="0">
                  <a:moveTo>
                    <a:pt x="3310" y="358"/>
                  </a:moveTo>
                  <a:lnTo>
                    <a:pt x="3310" y="1025"/>
                  </a:lnTo>
                  <a:cubicBezTo>
                    <a:pt x="3310" y="1132"/>
                    <a:pt x="3274" y="1251"/>
                    <a:pt x="3227" y="1334"/>
                  </a:cubicBezTo>
                  <a:lnTo>
                    <a:pt x="3155" y="1501"/>
                  </a:lnTo>
                  <a:cubicBezTo>
                    <a:pt x="3143" y="1525"/>
                    <a:pt x="3143" y="1549"/>
                    <a:pt x="3143" y="1573"/>
                  </a:cubicBezTo>
                  <a:lnTo>
                    <a:pt x="3143" y="1918"/>
                  </a:lnTo>
                  <a:cubicBezTo>
                    <a:pt x="3143" y="2156"/>
                    <a:pt x="3048" y="2382"/>
                    <a:pt x="2869" y="2549"/>
                  </a:cubicBezTo>
                  <a:cubicBezTo>
                    <a:pt x="2691" y="2704"/>
                    <a:pt x="2477" y="2799"/>
                    <a:pt x="2226" y="2799"/>
                  </a:cubicBezTo>
                  <a:cubicBezTo>
                    <a:pt x="1774" y="2787"/>
                    <a:pt x="1381" y="2370"/>
                    <a:pt x="1381" y="1870"/>
                  </a:cubicBezTo>
                  <a:lnTo>
                    <a:pt x="1381" y="1573"/>
                  </a:lnTo>
                  <a:cubicBezTo>
                    <a:pt x="1381" y="1549"/>
                    <a:pt x="1381" y="1525"/>
                    <a:pt x="1369" y="1501"/>
                  </a:cubicBezTo>
                  <a:lnTo>
                    <a:pt x="1262" y="1311"/>
                  </a:lnTo>
                  <a:cubicBezTo>
                    <a:pt x="1238" y="1227"/>
                    <a:pt x="1203" y="1156"/>
                    <a:pt x="1203" y="1072"/>
                  </a:cubicBezTo>
                  <a:lnTo>
                    <a:pt x="1203" y="1049"/>
                  </a:lnTo>
                  <a:cubicBezTo>
                    <a:pt x="1203" y="668"/>
                    <a:pt x="1524" y="358"/>
                    <a:pt x="1905" y="358"/>
                  </a:cubicBezTo>
                  <a:close/>
                  <a:moveTo>
                    <a:pt x="1905" y="3049"/>
                  </a:moveTo>
                  <a:cubicBezTo>
                    <a:pt x="2012" y="3085"/>
                    <a:pt x="2119" y="3108"/>
                    <a:pt x="2238" y="3108"/>
                  </a:cubicBezTo>
                  <a:lnTo>
                    <a:pt x="2274" y="3108"/>
                  </a:lnTo>
                  <a:cubicBezTo>
                    <a:pt x="2393" y="3108"/>
                    <a:pt x="2512" y="3097"/>
                    <a:pt x="2631" y="3049"/>
                  </a:cubicBezTo>
                  <a:lnTo>
                    <a:pt x="2631" y="3049"/>
                  </a:lnTo>
                  <a:cubicBezTo>
                    <a:pt x="2619" y="3108"/>
                    <a:pt x="2631" y="3156"/>
                    <a:pt x="2655" y="3204"/>
                  </a:cubicBezTo>
                  <a:lnTo>
                    <a:pt x="2512" y="3335"/>
                  </a:lnTo>
                  <a:cubicBezTo>
                    <a:pt x="2441" y="3406"/>
                    <a:pt x="2357" y="3442"/>
                    <a:pt x="2262" y="3442"/>
                  </a:cubicBezTo>
                  <a:cubicBezTo>
                    <a:pt x="2179" y="3442"/>
                    <a:pt x="2084" y="3406"/>
                    <a:pt x="2012" y="3335"/>
                  </a:cubicBezTo>
                  <a:lnTo>
                    <a:pt x="1881" y="3204"/>
                  </a:lnTo>
                  <a:cubicBezTo>
                    <a:pt x="1893" y="3156"/>
                    <a:pt x="1905" y="3108"/>
                    <a:pt x="1905" y="3049"/>
                  </a:cubicBezTo>
                  <a:close/>
                  <a:moveTo>
                    <a:pt x="2810" y="3466"/>
                  </a:moveTo>
                  <a:cubicBezTo>
                    <a:pt x="2858" y="3501"/>
                    <a:pt x="2905" y="3513"/>
                    <a:pt x="2941" y="3525"/>
                  </a:cubicBezTo>
                  <a:lnTo>
                    <a:pt x="3524" y="3692"/>
                  </a:lnTo>
                  <a:cubicBezTo>
                    <a:pt x="3679" y="3739"/>
                    <a:pt x="3774" y="3870"/>
                    <a:pt x="3774" y="4037"/>
                  </a:cubicBezTo>
                  <a:lnTo>
                    <a:pt x="3774" y="5132"/>
                  </a:lnTo>
                  <a:lnTo>
                    <a:pt x="3822" y="5132"/>
                  </a:lnTo>
                  <a:cubicBezTo>
                    <a:pt x="3703" y="5204"/>
                    <a:pt x="3584" y="5263"/>
                    <a:pt x="3453" y="5311"/>
                  </a:cubicBezTo>
                  <a:lnTo>
                    <a:pt x="3453" y="4335"/>
                  </a:lnTo>
                  <a:cubicBezTo>
                    <a:pt x="3453" y="4240"/>
                    <a:pt x="3381" y="4168"/>
                    <a:pt x="3286" y="4168"/>
                  </a:cubicBezTo>
                  <a:cubicBezTo>
                    <a:pt x="3203" y="4168"/>
                    <a:pt x="3119" y="4240"/>
                    <a:pt x="3119" y="4335"/>
                  </a:cubicBezTo>
                  <a:lnTo>
                    <a:pt x="3119" y="5430"/>
                  </a:lnTo>
                  <a:cubicBezTo>
                    <a:pt x="2881" y="5502"/>
                    <a:pt x="2655" y="5537"/>
                    <a:pt x="2405" y="5549"/>
                  </a:cubicBezTo>
                  <a:lnTo>
                    <a:pt x="2262" y="5549"/>
                  </a:lnTo>
                  <a:cubicBezTo>
                    <a:pt x="1965" y="5549"/>
                    <a:pt x="1667" y="5502"/>
                    <a:pt x="1381" y="5430"/>
                  </a:cubicBezTo>
                  <a:lnTo>
                    <a:pt x="1381" y="4335"/>
                  </a:lnTo>
                  <a:cubicBezTo>
                    <a:pt x="1381" y="4240"/>
                    <a:pt x="1310" y="4168"/>
                    <a:pt x="1214" y="4168"/>
                  </a:cubicBezTo>
                  <a:cubicBezTo>
                    <a:pt x="1131" y="4168"/>
                    <a:pt x="1060" y="4240"/>
                    <a:pt x="1060" y="4335"/>
                  </a:cubicBezTo>
                  <a:lnTo>
                    <a:pt x="1060" y="5311"/>
                  </a:lnTo>
                  <a:cubicBezTo>
                    <a:pt x="941" y="5252"/>
                    <a:pt x="798" y="5192"/>
                    <a:pt x="679" y="5132"/>
                  </a:cubicBezTo>
                  <a:lnTo>
                    <a:pt x="679" y="4037"/>
                  </a:lnTo>
                  <a:cubicBezTo>
                    <a:pt x="679" y="3870"/>
                    <a:pt x="786" y="3739"/>
                    <a:pt x="941" y="3692"/>
                  </a:cubicBezTo>
                  <a:lnTo>
                    <a:pt x="1512" y="3525"/>
                  </a:lnTo>
                  <a:cubicBezTo>
                    <a:pt x="1560" y="3513"/>
                    <a:pt x="1619" y="3501"/>
                    <a:pt x="1655" y="3466"/>
                  </a:cubicBezTo>
                  <a:lnTo>
                    <a:pt x="1750" y="3573"/>
                  </a:lnTo>
                  <a:cubicBezTo>
                    <a:pt x="1893" y="3704"/>
                    <a:pt x="2072" y="3763"/>
                    <a:pt x="2226" y="3763"/>
                  </a:cubicBezTo>
                  <a:cubicBezTo>
                    <a:pt x="2405" y="3763"/>
                    <a:pt x="2572" y="3704"/>
                    <a:pt x="2703" y="3573"/>
                  </a:cubicBezTo>
                  <a:lnTo>
                    <a:pt x="2810" y="3466"/>
                  </a:lnTo>
                  <a:close/>
                  <a:moveTo>
                    <a:pt x="1893" y="1"/>
                  </a:moveTo>
                  <a:cubicBezTo>
                    <a:pt x="1322" y="1"/>
                    <a:pt x="869" y="465"/>
                    <a:pt x="869" y="1025"/>
                  </a:cubicBezTo>
                  <a:lnTo>
                    <a:pt x="869" y="1037"/>
                  </a:lnTo>
                  <a:cubicBezTo>
                    <a:pt x="869" y="1168"/>
                    <a:pt x="893" y="1311"/>
                    <a:pt x="953" y="1430"/>
                  </a:cubicBezTo>
                  <a:lnTo>
                    <a:pt x="1048" y="1596"/>
                  </a:lnTo>
                  <a:lnTo>
                    <a:pt x="1048" y="1858"/>
                  </a:lnTo>
                  <a:cubicBezTo>
                    <a:pt x="1048" y="2275"/>
                    <a:pt x="1250" y="2644"/>
                    <a:pt x="1560" y="2882"/>
                  </a:cubicBezTo>
                  <a:lnTo>
                    <a:pt x="1560" y="3037"/>
                  </a:lnTo>
                  <a:cubicBezTo>
                    <a:pt x="1560" y="3108"/>
                    <a:pt x="1500" y="3180"/>
                    <a:pt x="1429" y="3216"/>
                  </a:cubicBezTo>
                  <a:lnTo>
                    <a:pt x="845" y="3382"/>
                  </a:lnTo>
                  <a:cubicBezTo>
                    <a:pt x="548" y="3466"/>
                    <a:pt x="357" y="3739"/>
                    <a:pt x="357" y="4037"/>
                  </a:cubicBezTo>
                  <a:lnTo>
                    <a:pt x="357" y="4906"/>
                  </a:lnTo>
                  <a:cubicBezTo>
                    <a:pt x="333" y="4894"/>
                    <a:pt x="310" y="4859"/>
                    <a:pt x="286" y="4847"/>
                  </a:cubicBezTo>
                  <a:cubicBezTo>
                    <a:pt x="256" y="4822"/>
                    <a:pt x="220" y="4810"/>
                    <a:pt x="185" y="4810"/>
                  </a:cubicBezTo>
                  <a:cubicBezTo>
                    <a:pt x="135" y="4810"/>
                    <a:pt x="87" y="4834"/>
                    <a:pt x="60" y="4882"/>
                  </a:cubicBezTo>
                  <a:cubicBezTo>
                    <a:pt x="0" y="4954"/>
                    <a:pt x="12" y="5061"/>
                    <a:pt x="95" y="5097"/>
                  </a:cubicBezTo>
                  <a:cubicBezTo>
                    <a:pt x="702" y="5597"/>
                    <a:pt x="1476" y="5871"/>
                    <a:pt x="2262" y="5871"/>
                  </a:cubicBezTo>
                  <a:lnTo>
                    <a:pt x="2429" y="5871"/>
                  </a:lnTo>
                  <a:cubicBezTo>
                    <a:pt x="3286" y="5835"/>
                    <a:pt x="4096" y="5478"/>
                    <a:pt x="4691" y="4859"/>
                  </a:cubicBezTo>
                  <a:cubicBezTo>
                    <a:pt x="5298" y="4251"/>
                    <a:pt x="5655" y="3454"/>
                    <a:pt x="5703" y="2596"/>
                  </a:cubicBezTo>
                  <a:cubicBezTo>
                    <a:pt x="5751" y="1751"/>
                    <a:pt x="5477" y="918"/>
                    <a:pt x="4941" y="263"/>
                  </a:cubicBezTo>
                  <a:cubicBezTo>
                    <a:pt x="4908" y="223"/>
                    <a:pt x="4861" y="206"/>
                    <a:pt x="4815" y="206"/>
                  </a:cubicBezTo>
                  <a:cubicBezTo>
                    <a:pt x="4778" y="206"/>
                    <a:pt x="4742" y="218"/>
                    <a:pt x="4715" y="239"/>
                  </a:cubicBezTo>
                  <a:cubicBezTo>
                    <a:pt x="4643" y="299"/>
                    <a:pt x="4643" y="406"/>
                    <a:pt x="4691" y="465"/>
                  </a:cubicBezTo>
                  <a:cubicBezTo>
                    <a:pt x="5167" y="1061"/>
                    <a:pt x="5417" y="1811"/>
                    <a:pt x="5370" y="2573"/>
                  </a:cubicBezTo>
                  <a:cubicBezTo>
                    <a:pt x="5334" y="3347"/>
                    <a:pt x="5013" y="4073"/>
                    <a:pt x="4465" y="4632"/>
                  </a:cubicBezTo>
                  <a:cubicBezTo>
                    <a:pt x="4358" y="4728"/>
                    <a:pt x="4262" y="4823"/>
                    <a:pt x="4155" y="4906"/>
                  </a:cubicBezTo>
                  <a:lnTo>
                    <a:pt x="4155" y="4037"/>
                  </a:lnTo>
                  <a:cubicBezTo>
                    <a:pt x="4155" y="3739"/>
                    <a:pt x="3941" y="3466"/>
                    <a:pt x="3667" y="3382"/>
                  </a:cubicBezTo>
                  <a:lnTo>
                    <a:pt x="3084" y="3216"/>
                  </a:lnTo>
                  <a:cubicBezTo>
                    <a:pt x="3012" y="3180"/>
                    <a:pt x="2953" y="3120"/>
                    <a:pt x="2953" y="3037"/>
                  </a:cubicBezTo>
                  <a:lnTo>
                    <a:pt x="2953" y="2906"/>
                  </a:lnTo>
                  <a:cubicBezTo>
                    <a:pt x="3012" y="2858"/>
                    <a:pt x="3048" y="2823"/>
                    <a:pt x="3096" y="2763"/>
                  </a:cubicBezTo>
                  <a:cubicBezTo>
                    <a:pt x="3334" y="2549"/>
                    <a:pt x="3453" y="2227"/>
                    <a:pt x="3453" y="1906"/>
                  </a:cubicBezTo>
                  <a:lnTo>
                    <a:pt x="3453" y="1596"/>
                  </a:lnTo>
                  <a:lnTo>
                    <a:pt x="3512" y="1453"/>
                  </a:lnTo>
                  <a:cubicBezTo>
                    <a:pt x="3584" y="1311"/>
                    <a:pt x="3620" y="1156"/>
                    <a:pt x="3620" y="1001"/>
                  </a:cubicBezTo>
                  <a:lnTo>
                    <a:pt x="3620" y="168"/>
                  </a:lnTo>
                  <a:cubicBezTo>
                    <a:pt x="3620" y="72"/>
                    <a:pt x="3548" y="1"/>
                    <a:pt x="3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7" name="Google Shape;13687;p64"/>
            <p:cNvSpPr/>
            <p:nvPr/>
          </p:nvSpPr>
          <p:spPr>
            <a:xfrm>
              <a:off x="1974207" y="1638617"/>
              <a:ext cx="43989" cy="15597"/>
            </a:xfrm>
            <a:custGeom>
              <a:avLst/>
              <a:gdLst/>
              <a:ahLst/>
              <a:cxnLst/>
              <a:rect l="l" t="t" r="r" b="b"/>
              <a:pathLst>
                <a:path w="1382" h="490" extrusionOk="0">
                  <a:moveTo>
                    <a:pt x="155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55" y="322"/>
                  </a:cubicBezTo>
                  <a:cubicBezTo>
                    <a:pt x="334" y="322"/>
                    <a:pt x="870" y="358"/>
                    <a:pt x="1132" y="477"/>
                  </a:cubicBezTo>
                  <a:cubicBezTo>
                    <a:pt x="1155" y="489"/>
                    <a:pt x="1167" y="489"/>
                    <a:pt x="1203" y="489"/>
                  </a:cubicBezTo>
                  <a:cubicBezTo>
                    <a:pt x="1263" y="489"/>
                    <a:pt x="1322" y="465"/>
                    <a:pt x="1346" y="406"/>
                  </a:cubicBezTo>
                  <a:cubicBezTo>
                    <a:pt x="1382" y="322"/>
                    <a:pt x="1346" y="227"/>
                    <a:pt x="1275" y="191"/>
                  </a:cubicBezTo>
                  <a:cubicBezTo>
                    <a:pt x="905" y="1"/>
                    <a:pt x="19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88" name="Google Shape;13688;p64"/>
          <p:cNvGrpSpPr/>
          <p:nvPr/>
        </p:nvGrpSpPr>
        <p:grpSpPr>
          <a:xfrm>
            <a:off x="5621097" y="1500761"/>
            <a:ext cx="371424" cy="355446"/>
            <a:chOff x="5621097" y="1500761"/>
            <a:chExt cx="371424" cy="355446"/>
          </a:xfrm>
        </p:grpSpPr>
        <p:sp>
          <p:nvSpPr>
            <p:cNvPr id="13689" name="Google Shape;13689;p64"/>
            <p:cNvSpPr/>
            <p:nvPr/>
          </p:nvSpPr>
          <p:spPr>
            <a:xfrm>
              <a:off x="5621097" y="1539721"/>
              <a:ext cx="324061" cy="316486"/>
            </a:xfrm>
            <a:custGeom>
              <a:avLst/>
              <a:gdLst/>
              <a:ahLst/>
              <a:cxnLst/>
              <a:rect l="l" t="t" r="r" b="b"/>
              <a:pathLst>
                <a:path w="10181" h="9943" extrusionOk="0">
                  <a:moveTo>
                    <a:pt x="8811" y="0"/>
                  </a:moveTo>
                  <a:cubicBezTo>
                    <a:pt x="8454" y="0"/>
                    <a:pt x="8109" y="143"/>
                    <a:pt x="7847" y="393"/>
                  </a:cubicBezTo>
                  <a:lnTo>
                    <a:pt x="6906" y="1334"/>
                  </a:lnTo>
                  <a:cubicBezTo>
                    <a:pt x="6835" y="1405"/>
                    <a:pt x="6835" y="1512"/>
                    <a:pt x="6906" y="1584"/>
                  </a:cubicBezTo>
                  <a:cubicBezTo>
                    <a:pt x="6942" y="1620"/>
                    <a:pt x="6986" y="1637"/>
                    <a:pt x="7031" y="1637"/>
                  </a:cubicBezTo>
                  <a:cubicBezTo>
                    <a:pt x="7076" y="1637"/>
                    <a:pt x="7120" y="1620"/>
                    <a:pt x="7156" y="1584"/>
                  </a:cubicBezTo>
                  <a:lnTo>
                    <a:pt x="8097" y="643"/>
                  </a:lnTo>
                  <a:cubicBezTo>
                    <a:pt x="8287" y="453"/>
                    <a:pt x="8549" y="346"/>
                    <a:pt x="8811" y="346"/>
                  </a:cubicBezTo>
                  <a:cubicBezTo>
                    <a:pt x="9085" y="346"/>
                    <a:pt x="9335" y="453"/>
                    <a:pt x="9525" y="643"/>
                  </a:cubicBezTo>
                  <a:cubicBezTo>
                    <a:pt x="9716" y="846"/>
                    <a:pt x="9823" y="1096"/>
                    <a:pt x="9823" y="1358"/>
                  </a:cubicBezTo>
                  <a:cubicBezTo>
                    <a:pt x="9823" y="1631"/>
                    <a:pt x="9716" y="1882"/>
                    <a:pt x="9525" y="2084"/>
                  </a:cubicBezTo>
                  <a:lnTo>
                    <a:pt x="8228" y="3370"/>
                  </a:lnTo>
                  <a:cubicBezTo>
                    <a:pt x="8097" y="3060"/>
                    <a:pt x="7906" y="2763"/>
                    <a:pt x="7668" y="2524"/>
                  </a:cubicBezTo>
                  <a:cubicBezTo>
                    <a:pt x="7162" y="2018"/>
                    <a:pt x="6498" y="1765"/>
                    <a:pt x="5834" y="1765"/>
                  </a:cubicBezTo>
                  <a:cubicBezTo>
                    <a:pt x="5171" y="1765"/>
                    <a:pt x="4507" y="2018"/>
                    <a:pt x="4001" y="2524"/>
                  </a:cubicBezTo>
                  <a:lnTo>
                    <a:pt x="1012" y="5513"/>
                  </a:lnTo>
                  <a:cubicBezTo>
                    <a:pt x="0" y="6525"/>
                    <a:pt x="0" y="8168"/>
                    <a:pt x="1012" y="9180"/>
                  </a:cubicBezTo>
                  <a:cubicBezTo>
                    <a:pt x="1524" y="9680"/>
                    <a:pt x="2191" y="9942"/>
                    <a:pt x="2846" y="9942"/>
                  </a:cubicBezTo>
                  <a:cubicBezTo>
                    <a:pt x="3501" y="9942"/>
                    <a:pt x="4168" y="9680"/>
                    <a:pt x="4680" y="9180"/>
                  </a:cubicBezTo>
                  <a:lnTo>
                    <a:pt x="6263" y="7585"/>
                  </a:lnTo>
                  <a:cubicBezTo>
                    <a:pt x="6346" y="7513"/>
                    <a:pt x="6346" y="7406"/>
                    <a:pt x="6263" y="7335"/>
                  </a:cubicBezTo>
                  <a:cubicBezTo>
                    <a:pt x="6239" y="7305"/>
                    <a:pt x="6201" y="7290"/>
                    <a:pt x="6159" y="7290"/>
                  </a:cubicBezTo>
                  <a:cubicBezTo>
                    <a:pt x="6117" y="7290"/>
                    <a:pt x="6073" y="7305"/>
                    <a:pt x="6037" y="7335"/>
                  </a:cubicBezTo>
                  <a:lnTo>
                    <a:pt x="4441" y="8930"/>
                  </a:lnTo>
                  <a:cubicBezTo>
                    <a:pt x="4025" y="9347"/>
                    <a:pt x="3453" y="9573"/>
                    <a:pt x="2858" y="9573"/>
                  </a:cubicBezTo>
                  <a:cubicBezTo>
                    <a:pt x="2263" y="9573"/>
                    <a:pt x="1703" y="9335"/>
                    <a:pt x="1286" y="8930"/>
                  </a:cubicBezTo>
                  <a:cubicBezTo>
                    <a:pt x="405" y="8049"/>
                    <a:pt x="405" y="6632"/>
                    <a:pt x="1286" y="5775"/>
                  </a:cubicBezTo>
                  <a:lnTo>
                    <a:pt x="4275" y="2774"/>
                  </a:lnTo>
                  <a:cubicBezTo>
                    <a:pt x="4691" y="2358"/>
                    <a:pt x="5251" y="2120"/>
                    <a:pt x="5846" y="2120"/>
                  </a:cubicBezTo>
                  <a:cubicBezTo>
                    <a:pt x="6442" y="2120"/>
                    <a:pt x="7013" y="2358"/>
                    <a:pt x="7430" y="2774"/>
                  </a:cubicBezTo>
                  <a:cubicBezTo>
                    <a:pt x="7680" y="3025"/>
                    <a:pt x="7859" y="3322"/>
                    <a:pt x="7966" y="3656"/>
                  </a:cubicBezTo>
                  <a:lnTo>
                    <a:pt x="6549" y="5072"/>
                  </a:lnTo>
                  <a:cubicBezTo>
                    <a:pt x="6358" y="5263"/>
                    <a:pt x="6108" y="5370"/>
                    <a:pt x="5834" y="5370"/>
                  </a:cubicBezTo>
                  <a:cubicBezTo>
                    <a:pt x="5573" y="5370"/>
                    <a:pt x="5311" y="5263"/>
                    <a:pt x="5120" y="5072"/>
                  </a:cubicBezTo>
                  <a:cubicBezTo>
                    <a:pt x="5037" y="4977"/>
                    <a:pt x="4953" y="4858"/>
                    <a:pt x="4894" y="4739"/>
                  </a:cubicBezTo>
                  <a:cubicBezTo>
                    <a:pt x="4874" y="4670"/>
                    <a:pt x="4798" y="4626"/>
                    <a:pt x="4711" y="4626"/>
                  </a:cubicBezTo>
                  <a:cubicBezTo>
                    <a:pt x="4693" y="4626"/>
                    <a:pt x="4674" y="4628"/>
                    <a:pt x="4656" y="4632"/>
                  </a:cubicBezTo>
                  <a:cubicBezTo>
                    <a:pt x="4572" y="4668"/>
                    <a:pt x="4525" y="4775"/>
                    <a:pt x="4560" y="4882"/>
                  </a:cubicBezTo>
                  <a:cubicBezTo>
                    <a:pt x="4632" y="5037"/>
                    <a:pt x="4715" y="5203"/>
                    <a:pt x="4858" y="5322"/>
                  </a:cubicBezTo>
                  <a:cubicBezTo>
                    <a:pt x="5108" y="5572"/>
                    <a:pt x="5453" y="5727"/>
                    <a:pt x="5823" y="5727"/>
                  </a:cubicBezTo>
                  <a:cubicBezTo>
                    <a:pt x="6192" y="5727"/>
                    <a:pt x="6525" y="5572"/>
                    <a:pt x="6787" y="5322"/>
                  </a:cubicBezTo>
                  <a:lnTo>
                    <a:pt x="9775" y="2334"/>
                  </a:lnTo>
                  <a:cubicBezTo>
                    <a:pt x="10037" y="2084"/>
                    <a:pt x="10180" y="1739"/>
                    <a:pt x="10180" y="1358"/>
                  </a:cubicBezTo>
                  <a:cubicBezTo>
                    <a:pt x="10180" y="989"/>
                    <a:pt x="10037" y="667"/>
                    <a:pt x="9775" y="393"/>
                  </a:cubicBezTo>
                  <a:cubicBezTo>
                    <a:pt x="9525" y="131"/>
                    <a:pt x="9180" y="0"/>
                    <a:pt x="8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0" name="Google Shape;13690;p64"/>
            <p:cNvSpPr/>
            <p:nvPr/>
          </p:nvSpPr>
          <p:spPr>
            <a:xfrm>
              <a:off x="5669606" y="1500761"/>
              <a:ext cx="322915" cy="316390"/>
            </a:xfrm>
            <a:custGeom>
              <a:avLst/>
              <a:gdLst/>
              <a:ahLst/>
              <a:cxnLst/>
              <a:rect l="l" t="t" r="r" b="b"/>
              <a:pathLst>
                <a:path w="10145" h="9940" extrusionOk="0">
                  <a:moveTo>
                    <a:pt x="7323" y="1"/>
                  </a:moveTo>
                  <a:cubicBezTo>
                    <a:pt x="6659" y="1"/>
                    <a:pt x="5995" y="254"/>
                    <a:pt x="5489" y="760"/>
                  </a:cubicBezTo>
                  <a:lnTo>
                    <a:pt x="3894" y="2355"/>
                  </a:lnTo>
                  <a:cubicBezTo>
                    <a:pt x="3822" y="2427"/>
                    <a:pt x="3822" y="2534"/>
                    <a:pt x="3894" y="2605"/>
                  </a:cubicBezTo>
                  <a:cubicBezTo>
                    <a:pt x="3935" y="2641"/>
                    <a:pt x="3980" y="2659"/>
                    <a:pt x="4025" y="2659"/>
                  </a:cubicBezTo>
                  <a:cubicBezTo>
                    <a:pt x="4069" y="2659"/>
                    <a:pt x="4114" y="2641"/>
                    <a:pt x="4156" y="2605"/>
                  </a:cubicBezTo>
                  <a:lnTo>
                    <a:pt x="5739" y="1010"/>
                  </a:lnTo>
                  <a:cubicBezTo>
                    <a:pt x="6180" y="569"/>
                    <a:pt x="6754" y="349"/>
                    <a:pt x="7326" y="349"/>
                  </a:cubicBezTo>
                  <a:cubicBezTo>
                    <a:pt x="7897" y="349"/>
                    <a:pt x="8466" y="569"/>
                    <a:pt x="8894" y="1010"/>
                  </a:cubicBezTo>
                  <a:cubicBezTo>
                    <a:pt x="9775" y="1891"/>
                    <a:pt x="9775" y="3308"/>
                    <a:pt x="8894" y="4165"/>
                  </a:cubicBezTo>
                  <a:lnTo>
                    <a:pt x="5906" y="7154"/>
                  </a:lnTo>
                  <a:cubicBezTo>
                    <a:pt x="5489" y="7570"/>
                    <a:pt x="4930" y="7808"/>
                    <a:pt x="4334" y="7808"/>
                  </a:cubicBezTo>
                  <a:cubicBezTo>
                    <a:pt x="3739" y="7808"/>
                    <a:pt x="3167" y="7570"/>
                    <a:pt x="2751" y="7154"/>
                  </a:cubicBezTo>
                  <a:cubicBezTo>
                    <a:pt x="2501" y="6904"/>
                    <a:pt x="2322" y="6606"/>
                    <a:pt x="2215" y="6284"/>
                  </a:cubicBezTo>
                  <a:lnTo>
                    <a:pt x="3632" y="4868"/>
                  </a:lnTo>
                  <a:cubicBezTo>
                    <a:pt x="3822" y="4677"/>
                    <a:pt x="4072" y="4570"/>
                    <a:pt x="4346" y="4570"/>
                  </a:cubicBezTo>
                  <a:cubicBezTo>
                    <a:pt x="4608" y="4570"/>
                    <a:pt x="4870" y="4677"/>
                    <a:pt x="5061" y="4868"/>
                  </a:cubicBezTo>
                  <a:cubicBezTo>
                    <a:pt x="5144" y="4951"/>
                    <a:pt x="5227" y="5070"/>
                    <a:pt x="5287" y="5189"/>
                  </a:cubicBezTo>
                  <a:cubicBezTo>
                    <a:pt x="5305" y="5263"/>
                    <a:pt x="5374" y="5308"/>
                    <a:pt x="5453" y="5308"/>
                  </a:cubicBezTo>
                  <a:cubicBezTo>
                    <a:pt x="5477" y="5308"/>
                    <a:pt x="5501" y="5304"/>
                    <a:pt x="5525" y="5296"/>
                  </a:cubicBezTo>
                  <a:cubicBezTo>
                    <a:pt x="5608" y="5272"/>
                    <a:pt x="5656" y="5165"/>
                    <a:pt x="5620" y="5058"/>
                  </a:cubicBezTo>
                  <a:cubicBezTo>
                    <a:pt x="5549" y="4891"/>
                    <a:pt x="5465" y="4737"/>
                    <a:pt x="5322" y="4618"/>
                  </a:cubicBezTo>
                  <a:cubicBezTo>
                    <a:pt x="5072" y="4356"/>
                    <a:pt x="4727" y="4213"/>
                    <a:pt x="4358" y="4213"/>
                  </a:cubicBezTo>
                  <a:cubicBezTo>
                    <a:pt x="3989" y="4213"/>
                    <a:pt x="3656" y="4356"/>
                    <a:pt x="3394" y="4618"/>
                  </a:cubicBezTo>
                  <a:lnTo>
                    <a:pt x="1929" y="6070"/>
                  </a:lnTo>
                  <a:cubicBezTo>
                    <a:pt x="1905" y="6082"/>
                    <a:pt x="1893" y="6106"/>
                    <a:pt x="1870" y="6130"/>
                  </a:cubicBezTo>
                  <a:lnTo>
                    <a:pt x="405" y="7606"/>
                  </a:lnTo>
                  <a:cubicBezTo>
                    <a:pt x="143" y="7856"/>
                    <a:pt x="0" y="8201"/>
                    <a:pt x="0" y="8570"/>
                  </a:cubicBezTo>
                  <a:cubicBezTo>
                    <a:pt x="0" y="8928"/>
                    <a:pt x="143" y="9273"/>
                    <a:pt x="405" y="9535"/>
                  </a:cubicBezTo>
                  <a:cubicBezTo>
                    <a:pt x="655" y="9785"/>
                    <a:pt x="1001" y="9940"/>
                    <a:pt x="1370" y="9940"/>
                  </a:cubicBezTo>
                  <a:cubicBezTo>
                    <a:pt x="1739" y="9940"/>
                    <a:pt x="2072" y="9785"/>
                    <a:pt x="2334" y="9535"/>
                  </a:cubicBezTo>
                  <a:lnTo>
                    <a:pt x="3275" y="8594"/>
                  </a:lnTo>
                  <a:cubicBezTo>
                    <a:pt x="3346" y="8523"/>
                    <a:pt x="3346" y="8416"/>
                    <a:pt x="3275" y="8344"/>
                  </a:cubicBezTo>
                  <a:cubicBezTo>
                    <a:pt x="3239" y="8309"/>
                    <a:pt x="3194" y="8291"/>
                    <a:pt x="3150" y="8291"/>
                  </a:cubicBezTo>
                  <a:cubicBezTo>
                    <a:pt x="3105" y="8291"/>
                    <a:pt x="3060" y="8309"/>
                    <a:pt x="3025" y="8344"/>
                  </a:cubicBezTo>
                  <a:lnTo>
                    <a:pt x="2084" y="9285"/>
                  </a:lnTo>
                  <a:cubicBezTo>
                    <a:pt x="1893" y="9475"/>
                    <a:pt x="1632" y="9582"/>
                    <a:pt x="1370" y="9582"/>
                  </a:cubicBezTo>
                  <a:cubicBezTo>
                    <a:pt x="1096" y="9582"/>
                    <a:pt x="846" y="9475"/>
                    <a:pt x="655" y="9285"/>
                  </a:cubicBezTo>
                  <a:cubicBezTo>
                    <a:pt x="465" y="9094"/>
                    <a:pt x="358" y="8832"/>
                    <a:pt x="358" y="8570"/>
                  </a:cubicBezTo>
                  <a:cubicBezTo>
                    <a:pt x="358" y="8297"/>
                    <a:pt x="465" y="8047"/>
                    <a:pt x="655" y="7856"/>
                  </a:cubicBezTo>
                  <a:lnTo>
                    <a:pt x="1953" y="6558"/>
                  </a:lnTo>
                  <a:cubicBezTo>
                    <a:pt x="2084" y="6880"/>
                    <a:pt x="2274" y="7177"/>
                    <a:pt x="2513" y="7404"/>
                  </a:cubicBezTo>
                  <a:cubicBezTo>
                    <a:pt x="3001" y="7904"/>
                    <a:pt x="3656" y="8166"/>
                    <a:pt x="4346" y="8166"/>
                  </a:cubicBezTo>
                  <a:cubicBezTo>
                    <a:pt x="5049" y="8166"/>
                    <a:pt x="5680" y="7904"/>
                    <a:pt x="6180" y="7404"/>
                  </a:cubicBezTo>
                  <a:lnTo>
                    <a:pt x="9168" y="4415"/>
                  </a:lnTo>
                  <a:cubicBezTo>
                    <a:pt x="10145" y="3403"/>
                    <a:pt x="10145" y="1772"/>
                    <a:pt x="9156" y="760"/>
                  </a:cubicBezTo>
                  <a:cubicBezTo>
                    <a:pt x="8650" y="254"/>
                    <a:pt x="7987" y="1"/>
                    <a:pt x="7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91" name="Google Shape;13691;p64"/>
          <p:cNvGrpSpPr/>
          <p:nvPr/>
        </p:nvGrpSpPr>
        <p:grpSpPr>
          <a:xfrm>
            <a:off x="4670239" y="1541599"/>
            <a:ext cx="359679" cy="321833"/>
            <a:chOff x="4670239" y="1541599"/>
            <a:chExt cx="359679" cy="321833"/>
          </a:xfrm>
        </p:grpSpPr>
        <p:sp>
          <p:nvSpPr>
            <p:cNvPr id="13692" name="Google Shape;13692;p64"/>
            <p:cNvSpPr/>
            <p:nvPr/>
          </p:nvSpPr>
          <p:spPr>
            <a:xfrm>
              <a:off x="4818790" y="1606787"/>
              <a:ext cx="28838" cy="49687"/>
            </a:xfrm>
            <a:custGeom>
              <a:avLst/>
              <a:gdLst/>
              <a:ahLst/>
              <a:cxnLst/>
              <a:rect l="l" t="t" r="r" b="b"/>
              <a:pathLst>
                <a:path w="906" h="1561" extrusionOk="0">
                  <a:moveTo>
                    <a:pt x="429" y="298"/>
                  </a:moveTo>
                  <a:lnTo>
                    <a:pt x="429" y="584"/>
                  </a:lnTo>
                  <a:cubicBezTo>
                    <a:pt x="310" y="537"/>
                    <a:pt x="287" y="489"/>
                    <a:pt x="287" y="429"/>
                  </a:cubicBezTo>
                  <a:cubicBezTo>
                    <a:pt x="287" y="346"/>
                    <a:pt x="358" y="310"/>
                    <a:pt x="429" y="298"/>
                  </a:cubicBezTo>
                  <a:close/>
                  <a:moveTo>
                    <a:pt x="537" y="882"/>
                  </a:moveTo>
                  <a:cubicBezTo>
                    <a:pt x="656" y="929"/>
                    <a:pt x="680" y="989"/>
                    <a:pt x="680" y="1060"/>
                  </a:cubicBezTo>
                  <a:cubicBezTo>
                    <a:pt x="680" y="1132"/>
                    <a:pt x="620" y="1191"/>
                    <a:pt x="537" y="1203"/>
                  </a:cubicBezTo>
                  <a:lnTo>
                    <a:pt x="537" y="882"/>
                  </a:lnTo>
                  <a:close/>
                  <a:moveTo>
                    <a:pt x="477" y="1"/>
                  </a:moveTo>
                  <a:cubicBezTo>
                    <a:pt x="441" y="1"/>
                    <a:pt x="418" y="13"/>
                    <a:pt x="418" y="48"/>
                  </a:cubicBezTo>
                  <a:lnTo>
                    <a:pt x="418" y="108"/>
                  </a:lnTo>
                  <a:cubicBezTo>
                    <a:pt x="191" y="132"/>
                    <a:pt x="48" y="251"/>
                    <a:pt x="48" y="477"/>
                  </a:cubicBezTo>
                  <a:cubicBezTo>
                    <a:pt x="48" y="715"/>
                    <a:pt x="227" y="787"/>
                    <a:pt x="418" y="870"/>
                  </a:cubicBezTo>
                  <a:lnTo>
                    <a:pt x="418" y="1239"/>
                  </a:lnTo>
                  <a:cubicBezTo>
                    <a:pt x="310" y="1215"/>
                    <a:pt x="263" y="1191"/>
                    <a:pt x="179" y="1120"/>
                  </a:cubicBezTo>
                  <a:cubicBezTo>
                    <a:pt x="159" y="1104"/>
                    <a:pt x="138" y="1096"/>
                    <a:pt x="118" y="1096"/>
                  </a:cubicBezTo>
                  <a:cubicBezTo>
                    <a:pt x="93" y="1096"/>
                    <a:pt x="69" y="1110"/>
                    <a:pt x="48" y="1144"/>
                  </a:cubicBezTo>
                  <a:cubicBezTo>
                    <a:pt x="1" y="1203"/>
                    <a:pt x="1" y="1263"/>
                    <a:pt x="48" y="1310"/>
                  </a:cubicBezTo>
                  <a:cubicBezTo>
                    <a:pt x="120" y="1418"/>
                    <a:pt x="287" y="1465"/>
                    <a:pt x="418" y="1465"/>
                  </a:cubicBezTo>
                  <a:lnTo>
                    <a:pt x="418" y="1513"/>
                  </a:lnTo>
                  <a:cubicBezTo>
                    <a:pt x="418" y="1549"/>
                    <a:pt x="441" y="1560"/>
                    <a:pt x="477" y="1560"/>
                  </a:cubicBezTo>
                  <a:cubicBezTo>
                    <a:pt x="501" y="1560"/>
                    <a:pt x="537" y="1549"/>
                    <a:pt x="537" y="1513"/>
                  </a:cubicBezTo>
                  <a:lnTo>
                    <a:pt x="537" y="1429"/>
                  </a:lnTo>
                  <a:cubicBezTo>
                    <a:pt x="727" y="1406"/>
                    <a:pt x="894" y="1263"/>
                    <a:pt x="894" y="1025"/>
                  </a:cubicBezTo>
                  <a:cubicBezTo>
                    <a:pt x="906" y="787"/>
                    <a:pt x="763" y="703"/>
                    <a:pt x="549" y="632"/>
                  </a:cubicBezTo>
                  <a:lnTo>
                    <a:pt x="549" y="286"/>
                  </a:lnTo>
                  <a:cubicBezTo>
                    <a:pt x="596" y="286"/>
                    <a:pt x="644" y="298"/>
                    <a:pt x="680" y="334"/>
                  </a:cubicBezTo>
                  <a:cubicBezTo>
                    <a:pt x="707" y="341"/>
                    <a:pt x="738" y="363"/>
                    <a:pt x="771" y="363"/>
                  </a:cubicBezTo>
                  <a:cubicBezTo>
                    <a:pt x="795" y="363"/>
                    <a:pt x="821" y="351"/>
                    <a:pt x="846" y="310"/>
                  </a:cubicBezTo>
                  <a:cubicBezTo>
                    <a:pt x="882" y="275"/>
                    <a:pt x="894" y="215"/>
                    <a:pt x="834" y="167"/>
                  </a:cubicBezTo>
                  <a:cubicBezTo>
                    <a:pt x="763" y="108"/>
                    <a:pt x="644" y="96"/>
                    <a:pt x="537" y="96"/>
                  </a:cubicBezTo>
                  <a:lnTo>
                    <a:pt x="537" y="48"/>
                  </a:lnTo>
                  <a:cubicBezTo>
                    <a:pt x="537" y="13"/>
                    <a:pt x="501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3" name="Google Shape;13693;p64"/>
            <p:cNvSpPr/>
            <p:nvPr/>
          </p:nvSpPr>
          <p:spPr>
            <a:xfrm>
              <a:off x="4875256" y="1557896"/>
              <a:ext cx="82281" cy="82663"/>
            </a:xfrm>
            <a:custGeom>
              <a:avLst/>
              <a:gdLst/>
              <a:ahLst/>
              <a:cxnLst/>
              <a:rect l="l" t="t" r="r" b="b"/>
              <a:pathLst>
                <a:path w="2585" h="2597" extrusionOk="0">
                  <a:moveTo>
                    <a:pt x="1287" y="310"/>
                  </a:moveTo>
                  <a:cubicBezTo>
                    <a:pt x="1823" y="310"/>
                    <a:pt x="2275" y="751"/>
                    <a:pt x="2275" y="1299"/>
                  </a:cubicBezTo>
                  <a:cubicBezTo>
                    <a:pt x="2263" y="1834"/>
                    <a:pt x="1823" y="2275"/>
                    <a:pt x="1287" y="2275"/>
                  </a:cubicBezTo>
                  <a:cubicBezTo>
                    <a:pt x="751" y="2275"/>
                    <a:pt x="310" y="1846"/>
                    <a:pt x="310" y="1299"/>
                  </a:cubicBezTo>
                  <a:cubicBezTo>
                    <a:pt x="310" y="763"/>
                    <a:pt x="739" y="310"/>
                    <a:pt x="1287" y="310"/>
                  </a:cubicBezTo>
                  <a:close/>
                  <a:moveTo>
                    <a:pt x="1287" y="1"/>
                  </a:moveTo>
                  <a:cubicBezTo>
                    <a:pt x="572" y="1"/>
                    <a:pt x="1" y="584"/>
                    <a:pt x="1" y="1299"/>
                  </a:cubicBezTo>
                  <a:cubicBezTo>
                    <a:pt x="1" y="2013"/>
                    <a:pt x="572" y="2596"/>
                    <a:pt x="1287" y="2596"/>
                  </a:cubicBezTo>
                  <a:cubicBezTo>
                    <a:pt x="2001" y="2596"/>
                    <a:pt x="2585" y="2013"/>
                    <a:pt x="2585" y="1299"/>
                  </a:cubicBezTo>
                  <a:cubicBezTo>
                    <a:pt x="2585" y="584"/>
                    <a:pt x="2001" y="1"/>
                    <a:pt x="1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4" name="Google Shape;13694;p64"/>
            <p:cNvSpPr/>
            <p:nvPr/>
          </p:nvSpPr>
          <p:spPr>
            <a:xfrm>
              <a:off x="4775215" y="1541599"/>
              <a:ext cx="199001" cy="147850"/>
            </a:xfrm>
            <a:custGeom>
              <a:avLst/>
              <a:gdLst/>
              <a:ahLst/>
              <a:cxnLst/>
              <a:rect l="l" t="t" r="r" b="b"/>
              <a:pathLst>
                <a:path w="6252" h="4645" extrusionOk="0">
                  <a:moveTo>
                    <a:pt x="1834" y="1811"/>
                  </a:moveTo>
                  <a:cubicBezTo>
                    <a:pt x="2168" y="1811"/>
                    <a:pt x="2465" y="1989"/>
                    <a:pt x="2644" y="2239"/>
                  </a:cubicBezTo>
                  <a:cubicBezTo>
                    <a:pt x="2680" y="2394"/>
                    <a:pt x="2739" y="2525"/>
                    <a:pt x="2799" y="2656"/>
                  </a:cubicBezTo>
                  <a:cubicBezTo>
                    <a:pt x="2799" y="2704"/>
                    <a:pt x="2811" y="2751"/>
                    <a:pt x="2811" y="2787"/>
                  </a:cubicBezTo>
                  <a:cubicBezTo>
                    <a:pt x="2811" y="3335"/>
                    <a:pt x="2382" y="3775"/>
                    <a:pt x="1834" y="3775"/>
                  </a:cubicBezTo>
                  <a:cubicBezTo>
                    <a:pt x="1298" y="3775"/>
                    <a:pt x="846" y="3347"/>
                    <a:pt x="846" y="2787"/>
                  </a:cubicBezTo>
                  <a:cubicBezTo>
                    <a:pt x="846" y="2251"/>
                    <a:pt x="1275" y="1811"/>
                    <a:pt x="1834" y="1811"/>
                  </a:cubicBezTo>
                  <a:close/>
                  <a:moveTo>
                    <a:pt x="1834" y="1263"/>
                  </a:moveTo>
                  <a:cubicBezTo>
                    <a:pt x="2108" y="1263"/>
                    <a:pt x="2382" y="1334"/>
                    <a:pt x="2620" y="1489"/>
                  </a:cubicBezTo>
                  <a:cubicBezTo>
                    <a:pt x="2608" y="1561"/>
                    <a:pt x="2608" y="1644"/>
                    <a:pt x="2584" y="1727"/>
                  </a:cubicBezTo>
                  <a:cubicBezTo>
                    <a:pt x="2382" y="1572"/>
                    <a:pt x="2108" y="1465"/>
                    <a:pt x="1822" y="1465"/>
                  </a:cubicBezTo>
                  <a:cubicBezTo>
                    <a:pt x="1120" y="1465"/>
                    <a:pt x="536" y="2049"/>
                    <a:pt x="536" y="2763"/>
                  </a:cubicBezTo>
                  <a:cubicBezTo>
                    <a:pt x="536" y="3477"/>
                    <a:pt x="1108" y="4061"/>
                    <a:pt x="1822" y="4061"/>
                  </a:cubicBezTo>
                  <a:cubicBezTo>
                    <a:pt x="2453" y="4061"/>
                    <a:pt x="2953" y="3632"/>
                    <a:pt x="3096" y="3049"/>
                  </a:cubicBezTo>
                  <a:cubicBezTo>
                    <a:pt x="3156" y="3108"/>
                    <a:pt x="3215" y="3156"/>
                    <a:pt x="3275" y="3216"/>
                  </a:cubicBezTo>
                  <a:cubicBezTo>
                    <a:pt x="3084" y="3870"/>
                    <a:pt x="2501" y="4299"/>
                    <a:pt x="1834" y="4299"/>
                  </a:cubicBezTo>
                  <a:cubicBezTo>
                    <a:pt x="1001" y="4299"/>
                    <a:pt x="310" y="3608"/>
                    <a:pt x="310" y="2775"/>
                  </a:cubicBezTo>
                  <a:cubicBezTo>
                    <a:pt x="310" y="1942"/>
                    <a:pt x="1001" y="1263"/>
                    <a:pt x="1834" y="1263"/>
                  </a:cubicBezTo>
                  <a:close/>
                  <a:moveTo>
                    <a:pt x="4430" y="1"/>
                  </a:moveTo>
                  <a:cubicBezTo>
                    <a:pt x="3644" y="1"/>
                    <a:pt x="2977" y="501"/>
                    <a:pt x="2703" y="1203"/>
                  </a:cubicBezTo>
                  <a:cubicBezTo>
                    <a:pt x="2441" y="1049"/>
                    <a:pt x="2144" y="977"/>
                    <a:pt x="1834" y="977"/>
                  </a:cubicBezTo>
                  <a:cubicBezTo>
                    <a:pt x="822" y="977"/>
                    <a:pt x="1" y="1799"/>
                    <a:pt x="1" y="2811"/>
                  </a:cubicBezTo>
                  <a:cubicBezTo>
                    <a:pt x="1" y="3823"/>
                    <a:pt x="822" y="4644"/>
                    <a:pt x="1834" y="4644"/>
                  </a:cubicBezTo>
                  <a:cubicBezTo>
                    <a:pt x="2608" y="4644"/>
                    <a:pt x="3287" y="4168"/>
                    <a:pt x="3561" y="3430"/>
                  </a:cubicBezTo>
                  <a:cubicBezTo>
                    <a:pt x="3811" y="3573"/>
                    <a:pt x="4108" y="3656"/>
                    <a:pt x="4430" y="3656"/>
                  </a:cubicBezTo>
                  <a:cubicBezTo>
                    <a:pt x="4846" y="3656"/>
                    <a:pt x="5251" y="3513"/>
                    <a:pt x="5585" y="3251"/>
                  </a:cubicBezTo>
                  <a:cubicBezTo>
                    <a:pt x="5894" y="3001"/>
                    <a:pt x="6132" y="2632"/>
                    <a:pt x="6216" y="2239"/>
                  </a:cubicBezTo>
                  <a:cubicBezTo>
                    <a:pt x="6228" y="2144"/>
                    <a:pt x="6192" y="2049"/>
                    <a:pt x="6097" y="2037"/>
                  </a:cubicBezTo>
                  <a:cubicBezTo>
                    <a:pt x="6086" y="2035"/>
                    <a:pt x="6076" y="2035"/>
                    <a:pt x="6065" y="2035"/>
                  </a:cubicBezTo>
                  <a:cubicBezTo>
                    <a:pt x="5991" y="2035"/>
                    <a:pt x="5917" y="2072"/>
                    <a:pt x="5906" y="2156"/>
                  </a:cubicBezTo>
                  <a:cubicBezTo>
                    <a:pt x="5739" y="2835"/>
                    <a:pt x="5144" y="3335"/>
                    <a:pt x="4430" y="3335"/>
                  </a:cubicBezTo>
                  <a:cubicBezTo>
                    <a:pt x="3882" y="3335"/>
                    <a:pt x="3394" y="3037"/>
                    <a:pt x="3120" y="2561"/>
                  </a:cubicBezTo>
                  <a:cubicBezTo>
                    <a:pt x="3096" y="2406"/>
                    <a:pt x="3037" y="2263"/>
                    <a:pt x="2965" y="2120"/>
                  </a:cubicBezTo>
                  <a:cubicBezTo>
                    <a:pt x="2763" y="1191"/>
                    <a:pt x="3477" y="310"/>
                    <a:pt x="4430" y="310"/>
                  </a:cubicBezTo>
                  <a:cubicBezTo>
                    <a:pt x="5144" y="310"/>
                    <a:pt x="5739" y="787"/>
                    <a:pt x="5906" y="1489"/>
                  </a:cubicBezTo>
                  <a:cubicBezTo>
                    <a:pt x="5916" y="1560"/>
                    <a:pt x="5986" y="1613"/>
                    <a:pt x="6058" y="1613"/>
                  </a:cubicBezTo>
                  <a:cubicBezTo>
                    <a:pt x="6071" y="1613"/>
                    <a:pt x="6084" y="1612"/>
                    <a:pt x="6097" y="1608"/>
                  </a:cubicBezTo>
                  <a:cubicBezTo>
                    <a:pt x="6192" y="1584"/>
                    <a:pt x="6251" y="1501"/>
                    <a:pt x="6216" y="1406"/>
                  </a:cubicBezTo>
                  <a:cubicBezTo>
                    <a:pt x="6132" y="1013"/>
                    <a:pt x="5906" y="656"/>
                    <a:pt x="5585" y="394"/>
                  </a:cubicBezTo>
                  <a:cubicBezTo>
                    <a:pt x="5251" y="132"/>
                    <a:pt x="4846" y="1"/>
                    <a:pt x="4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5" name="Google Shape;13695;p64"/>
            <p:cNvSpPr/>
            <p:nvPr/>
          </p:nvSpPr>
          <p:spPr>
            <a:xfrm>
              <a:off x="4901803" y="1574957"/>
              <a:ext cx="28838" cy="50069"/>
            </a:xfrm>
            <a:custGeom>
              <a:avLst/>
              <a:gdLst/>
              <a:ahLst/>
              <a:cxnLst/>
              <a:rect l="l" t="t" r="r" b="b"/>
              <a:pathLst>
                <a:path w="906" h="1573" extrusionOk="0">
                  <a:moveTo>
                    <a:pt x="429" y="322"/>
                  </a:moveTo>
                  <a:lnTo>
                    <a:pt x="429" y="596"/>
                  </a:lnTo>
                  <a:cubicBezTo>
                    <a:pt x="310" y="548"/>
                    <a:pt x="274" y="513"/>
                    <a:pt x="274" y="453"/>
                  </a:cubicBezTo>
                  <a:cubicBezTo>
                    <a:pt x="274" y="358"/>
                    <a:pt x="358" y="334"/>
                    <a:pt x="429" y="322"/>
                  </a:cubicBezTo>
                  <a:close/>
                  <a:moveTo>
                    <a:pt x="512" y="894"/>
                  </a:moveTo>
                  <a:cubicBezTo>
                    <a:pt x="631" y="941"/>
                    <a:pt x="667" y="1001"/>
                    <a:pt x="667" y="1072"/>
                  </a:cubicBezTo>
                  <a:cubicBezTo>
                    <a:pt x="667" y="1167"/>
                    <a:pt x="608" y="1215"/>
                    <a:pt x="512" y="1227"/>
                  </a:cubicBezTo>
                  <a:lnTo>
                    <a:pt x="512" y="894"/>
                  </a:lnTo>
                  <a:close/>
                  <a:moveTo>
                    <a:pt x="453" y="1"/>
                  </a:moveTo>
                  <a:cubicBezTo>
                    <a:pt x="429" y="1"/>
                    <a:pt x="393" y="24"/>
                    <a:pt x="393" y="48"/>
                  </a:cubicBezTo>
                  <a:lnTo>
                    <a:pt x="393" y="108"/>
                  </a:lnTo>
                  <a:cubicBezTo>
                    <a:pt x="167" y="132"/>
                    <a:pt x="24" y="251"/>
                    <a:pt x="24" y="477"/>
                  </a:cubicBezTo>
                  <a:cubicBezTo>
                    <a:pt x="24" y="715"/>
                    <a:pt x="203" y="798"/>
                    <a:pt x="393" y="870"/>
                  </a:cubicBezTo>
                  <a:lnTo>
                    <a:pt x="393" y="1239"/>
                  </a:lnTo>
                  <a:cubicBezTo>
                    <a:pt x="286" y="1227"/>
                    <a:pt x="250" y="1179"/>
                    <a:pt x="155" y="1120"/>
                  </a:cubicBezTo>
                  <a:cubicBezTo>
                    <a:pt x="138" y="1108"/>
                    <a:pt x="122" y="1102"/>
                    <a:pt x="106" y="1102"/>
                  </a:cubicBezTo>
                  <a:cubicBezTo>
                    <a:pt x="46" y="1102"/>
                    <a:pt x="0" y="1182"/>
                    <a:pt x="0" y="1239"/>
                  </a:cubicBezTo>
                  <a:cubicBezTo>
                    <a:pt x="0" y="1275"/>
                    <a:pt x="12" y="1298"/>
                    <a:pt x="24" y="1310"/>
                  </a:cubicBezTo>
                  <a:cubicBezTo>
                    <a:pt x="96" y="1417"/>
                    <a:pt x="262" y="1465"/>
                    <a:pt x="393" y="1465"/>
                  </a:cubicBezTo>
                  <a:lnTo>
                    <a:pt x="393" y="1525"/>
                  </a:lnTo>
                  <a:cubicBezTo>
                    <a:pt x="393" y="1548"/>
                    <a:pt x="429" y="1572"/>
                    <a:pt x="453" y="1572"/>
                  </a:cubicBezTo>
                  <a:cubicBezTo>
                    <a:pt x="488" y="1572"/>
                    <a:pt x="512" y="1548"/>
                    <a:pt x="512" y="1525"/>
                  </a:cubicBezTo>
                  <a:lnTo>
                    <a:pt x="512" y="1465"/>
                  </a:lnTo>
                  <a:cubicBezTo>
                    <a:pt x="715" y="1429"/>
                    <a:pt x="869" y="1298"/>
                    <a:pt x="869" y="1060"/>
                  </a:cubicBezTo>
                  <a:cubicBezTo>
                    <a:pt x="905" y="810"/>
                    <a:pt x="739" y="715"/>
                    <a:pt x="536" y="644"/>
                  </a:cubicBezTo>
                  <a:lnTo>
                    <a:pt x="536" y="298"/>
                  </a:lnTo>
                  <a:cubicBezTo>
                    <a:pt x="608" y="298"/>
                    <a:pt x="631" y="322"/>
                    <a:pt x="715" y="358"/>
                  </a:cubicBezTo>
                  <a:cubicBezTo>
                    <a:pt x="728" y="367"/>
                    <a:pt x="742" y="372"/>
                    <a:pt x="758" y="372"/>
                  </a:cubicBezTo>
                  <a:cubicBezTo>
                    <a:pt x="784" y="372"/>
                    <a:pt x="811" y="355"/>
                    <a:pt x="834" y="310"/>
                  </a:cubicBezTo>
                  <a:cubicBezTo>
                    <a:pt x="858" y="274"/>
                    <a:pt x="869" y="215"/>
                    <a:pt x="810" y="167"/>
                  </a:cubicBezTo>
                  <a:cubicBezTo>
                    <a:pt x="739" y="108"/>
                    <a:pt x="619" y="96"/>
                    <a:pt x="512" y="96"/>
                  </a:cubicBezTo>
                  <a:lnTo>
                    <a:pt x="512" y="48"/>
                  </a:lnTo>
                  <a:cubicBezTo>
                    <a:pt x="512" y="24"/>
                    <a:pt x="488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6" name="Google Shape;13696;p64"/>
            <p:cNvSpPr/>
            <p:nvPr/>
          </p:nvSpPr>
          <p:spPr>
            <a:xfrm>
              <a:off x="4670239" y="1657269"/>
              <a:ext cx="359679" cy="206163"/>
            </a:xfrm>
            <a:custGeom>
              <a:avLst/>
              <a:gdLst/>
              <a:ahLst/>
              <a:cxnLst/>
              <a:rect l="l" t="t" r="r" b="b"/>
              <a:pathLst>
                <a:path w="11300" h="6477" extrusionOk="0">
                  <a:moveTo>
                    <a:pt x="3590" y="1935"/>
                  </a:moveTo>
                  <a:cubicBezTo>
                    <a:pt x="3607" y="1935"/>
                    <a:pt x="3623" y="1948"/>
                    <a:pt x="3632" y="1975"/>
                  </a:cubicBezTo>
                  <a:cubicBezTo>
                    <a:pt x="3715" y="2129"/>
                    <a:pt x="4727" y="4832"/>
                    <a:pt x="4751" y="4939"/>
                  </a:cubicBezTo>
                  <a:cubicBezTo>
                    <a:pt x="4775" y="4951"/>
                    <a:pt x="4751" y="4975"/>
                    <a:pt x="4727" y="4987"/>
                  </a:cubicBezTo>
                  <a:lnTo>
                    <a:pt x="4013" y="5261"/>
                  </a:lnTo>
                  <a:cubicBezTo>
                    <a:pt x="3965" y="5130"/>
                    <a:pt x="2941" y="2403"/>
                    <a:pt x="2870" y="2213"/>
                  </a:cubicBezTo>
                  <a:lnTo>
                    <a:pt x="3572" y="1939"/>
                  </a:lnTo>
                  <a:cubicBezTo>
                    <a:pt x="3578" y="1936"/>
                    <a:pt x="3584" y="1935"/>
                    <a:pt x="3590" y="1935"/>
                  </a:cubicBezTo>
                  <a:close/>
                  <a:moveTo>
                    <a:pt x="2584" y="2308"/>
                  </a:moveTo>
                  <a:lnTo>
                    <a:pt x="3727" y="5368"/>
                  </a:lnTo>
                  <a:cubicBezTo>
                    <a:pt x="3180" y="5570"/>
                    <a:pt x="1810" y="6082"/>
                    <a:pt x="1584" y="6166"/>
                  </a:cubicBezTo>
                  <a:cubicBezTo>
                    <a:pt x="1577" y="6172"/>
                    <a:pt x="1569" y="6175"/>
                    <a:pt x="1560" y="6175"/>
                  </a:cubicBezTo>
                  <a:cubicBezTo>
                    <a:pt x="1537" y="6175"/>
                    <a:pt x="1509" y="6156"/>
                    <a:pt x="1501" y="6130"/>
                  </a:cubicBezTo>
                  <a:lnTo>
                    <a:pt x="394" y="3201"/>
                  </a:lnTo>
                  <a:cubicBezTo>
                    <a:pt x="382" y="3177"/>
                    <a:pt x="394" y="3130"/>
                    <a:pt x="441" y="3118"/>
                  </a:cubicBezTo>
                  <a:cubicBezTo>
                    <a:pt x="1144" y="2844"/>
                    <a:pt x="2096" y="2487"/>
                    <a:pt x="2584" y="2308"/>
                  </a:cubicBezTo>
                  <a:close/>
                  <a:moveTo>
                    <a:pt x="10358" y="1"/>
                  </a:moveTo>
                  <a:cubicBezTo>
                    <a:pt x="10108" y="1"/>
                    <a:pt x="9869" y="131"/>
                    <a:pt x="9692" y="308"/>
                  </a:cubicBezTo>
                  <a:lnTo>
                    <a:pt x="7966" y="1737"/>
                  </a:lnTo>
                  <a:cubicBezTo>
                    <a:pt x="7883" y="1522"/>
                    <a:pt x="7668" y="1308"/>
                    <a:pt x="7263" y="1308"/>
                  </a:cubicBezTo>
                  <a:cubicBezTo>
                    <a:pt x="6756" y="1308"/>
                    <a:pt x="6387" y="1304"/>
                    <a:pt x="6108" y="1304"/>
                  </a:cubicBezTo>
                  <a:cubicBezTo>
                    <a:pt x="5503" y="1304"/>
                    <a:pt x="5318" y="1321"/>
                    <a:pt x="5049" y="1427"/>
                  </a:cubicBezTo>
                  <a:lnTo>
                    <a:pt x="3953" y="1868"/>
                  </a:lnTo>
                  <a:lnTo>
                    <a:pt x="3930" y="1820"/>
                  </a:lnTo>
                  <a:cubicBezTo>
                    <a:pt x="3875" y="1675"/>
                    <a:pt x="3745" y="1592"/>
                    <a:pt x="3597" y="1592"/>
                  </a:cubicBezTo>
                  <a:cubicBezTo>
                    <a:pt x="3550" y="1592"/>
                    <a:pt x="3502" y="1600"/>
                    <a:pt x="3453" y="1618"/>
                  </a:cubicBezTo>
                  <a:lnTo>
                    <a:pt x="2620" y="1927"/>
                  </a:lnTo>
                  <a:cubicBezTo>
                    <a:pt x="2251" y="2058"/>
                    <a:pt x="1108" y="2510"/>
                    <a:pt x="298" y="2808"/>
                  </a:cubicBezTo>
                  <a:cubicBezTo>
                    <a:pt x="96" y="2880"/>
                    <a:pt x="1" y="3106"/>
                    <a:pt x="84" y="3308"/>
                  </a:cubicBezTo>
                  <a:lnTo>
                    <a:pt x="1179" y="6225"/>
                  </a:lnTo>
                  <a:cubicBezTo>
                    <a:pt x="1234" y="6389"/>
                    <a:pt x="1379" y="6476"/>
                    <a:pt x="1540" y="6476"/>
                  </a:cubicBezTo>
                  <a:cubicBezTo>
                    <a:pt x="1590" y="6476"/>
                    <a:pt x="1641" y="6468"/>
                    <a:pt x="1691" y="6451"/>
                  </a:cubicBezTo>
                  <a:cubicBezTo>
                    <a:pt x="1941" y="6368"/>
                    <a:pt x="3608" y="5725"/>
                    <a:pt x="3977" y="5594"/>
                  </a:cubicBezTo>
                  <a:lnTo>
                    <a:pt x="4858" y="5261"/>
                  </a:lnTo>
                  <a:cubicBezTo>
                    <a:pt x="5049" y="5189"/>
                    <a:pt x="5144" y="4975"/>
                    <a:pt x="5061" y="4785"/>
                  </a:cubicBezTo>
                  <a:lnTo>
                    <a:pt x="5049" y="4737"/>
                  </a:lnTo>
                  <a:cubicBezTo>
                    <a:pt x="5620" y="4499"/>
                    <a:pt x="5632" y="4475"/>
                    <a:pt x="6228" y="4475"/>
                  </a:cubicBezTo>
                  <a:cubicBezTo>
                    <a:pt x="6311" y="4475"/>
                    <a:pt x="6394" y="4404"/>
                    <a:pt x="6394" y="4308"/>
                  </a:cubicBezTo>
                  <a:cubicBezTo>
                    <a:pt x="6394" y="4225"/>
                    <a:pt x="6311" y="4142"/>
                    <a:pt x="6228" y="4142"/>
                  </a:cubicBezTo>
                  <a:cubicBezTo>
                    <a:pt x="5585" y="4142"/>
                    <a:pt x="5525" y="4189"/>
                    <a:pt x="4930" y="4439"/>
                  </a:cubicBezTo>
                  <a:lnTo>
                    <a:pt x="4073" y="2153"/>
                  </a:lnTo>
                  <a:lnTo>
                    <a:pt x="5168" y="1689"/>
                  </a:lnTo>
                  <a:cubicBezTo>
                    <a:pt x="5361" y="1615"/>
                    <a:pt x="5513" y="1601"/>
                    <a:pt x="5986" y="1601"/>
                  </a:cubicBezTo>
                  <a:cubicBezTo>
                    <a:pt x="6270" y="1601"/>
                    <a:pt x="6670" y="1606"/>
                    <a:pt x="7263" y="1606"/>
                  </a:cubicBezTo>
                  <a:cubicBezTo>
                    <a:pt x="7442" y="1606"/>
                    <a:pt x="7561" y="1665"/>
                    <a:pt x="7644" y="1784"/>
                  </a:cubicBezTo>
                  <a:cubicBezTo>
                    <a:pt x="7704" y="1868"/>
                    <a:pt x="7704" y="1963"/>
                    <a:pt x="7716" y="1987"/>
                  </a:cubicBezTo>
                  <a:cubicBezTo>
                    <a:pt x="7716" y="2046"/>
                    <a:pt x="7668" y="2344"/>
                    <a:pt x="7382" y="2391"/>
                  </a:cubicBezTo>
                  <a:cubicBezTo>
                    <a:pt x="6942" y="2463"/>
                    <a:pt x="5989" y="2594"/>
                    <a:pt x="5978" y="2594"/>
                  </a:cubicBezTo>
                  <a:cubicBezTo>
                    <a:pt x="5882" y="2606"/>
                    <a:pt x="5823" y="2689"/>
                    <a:pt x="5835" y="2772"/>
                  </a:cubicBezTo>
                  <a:cubicBezTo>
                    <a:pt x="5858" y="2844"/>
                    <a:pt x="5918" y="2903"/>
                    <a:pt x="6001" y="2903"/>
                  </a:cubicBezTo>
                  <a:lnTo>
                    <a:pt x="6037" y="2903"/>
                  </a:lnTo>
                  <a:cubicBezTo>
                    <a:pt x="6049" y="2903"/>
                    <a:pt x="7001" y="2772"/>
                    <a:pt x="7442" y="2701"/>
                  </a:cubicBezTo>
                  <a:cubicBezTo>
                    <a:pt x="7859" y="2630"/>
                    <a:pt x="8014" y="2284"/>
                    <a:pt x="8037" y="2046"/>
                  </a:cubicBezTo>
                  <a:lnTo>
                    <a:pt x="9919" y="498"/>
                  </a:lnTo>
                  <a:cubicBezTo>
                    <a:pt x="10039" y="385"/>
                    <a:pt x="10193" y="287"/>
                    <a:pt x="10356" y="287"/>
                  </a:cubicBezTo>
                  <a:cubicBezTo>
                    <a:pt x="10451" y="287"/>
                    <a:pt x="10549" y="320"/>
                    <a:pt x="10645" y="403"/>
                  </a:cubicBezTo>
                  <a:cubicBezTo>
                    <a:pt x="10942" y="701"/>
                    <a:pt x="10681" y="1058"/>
                    <a:pt x="10597" y="1141"/>
                  </a:cubicBezTo>
                  <a:cubicBezTo>
                    <a:pt x="10526" y="1213"/>
                    <a:pt x="8240" y="3677"/>
                    <a:pt x="8240" y="3677"/>
                  </a:cubicBezTo>
                  <a:cubicBezTo>
                    <a:pt x="7906" y="4070"/>
                    <a:pt x="7466" y="4130"/>
                    <a:pt x="7263" y="4130"/>
                  </a:cubicBezTo>
                  <a:lnTo>
                    <a:pt x="6966" y="4130"/>
                  </a:lnTo>
                  <a:cubicBezTo>
                    <a:pt x="6882" y="4130"/>
                    <a:pt x="6811" y="4201"/>
                    <a:pt x="6811" y="4296"/>
                  </a:cubicBezTo>
                  <a:cubicBezTo>
                    <a:pt x="6811" y="4380"/>
                    <a:pt x="6882" y="4463"/>
                    <a:pt x="6966" y="4463"/>
                  </a:cubicBezTo>
                  <a:lnTo>
                    <a:pt x="7287" y="4463"/>
                  </a:lnTo>
                  <a:cubicBezTo>
                    <a:pt x="7502" y="4439"/>
                    <a:pt x="8061" y="4368"/>
                    <a:pt x="8478" y="3892"/>
                  </a:cubicBezTo>
                  <a:lnTo>
                    <a:pt x="10835" y="1344"/>
                  </a:lnTo>
                  <a:cubicBezTo>
                    <a:pt x="11062" y="1153"/>
                    <a:pt x="11300" y="629"/>
                    <a:pt x="10871" y="213"/>
                  </a:cubicBezTo>
                  <a:cubicBezTo>
                    <a:pt x="10706" y="62"/>
                    <a:pt x="10530" y="1"/>
                    <a:pt x="10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97" name="Google Shape;13697;p64"/>
          <p:cNvGrpSpPr/>
          <p:nvPr/>
        </p:nvGrpSpPr>
        <p:grpSpPr>
          <a:xfrm>
            <a:off x="4212429" y="1502385"/>
            <a:ext cx="321037" cy="353822"/>
            <a:chOff x="4212429" y="1502385"/>
            <a:chExt cx="321037" cy="353822"/>
          </a:xfrm>
        </p:grpSpPr>
        <p:sp>
          <p:nvSpPr>
            <p:cNvPr id="13698" name="Google Shape;13698;p64"/>
            <p:cNvSpPr/>
            <p:nvPr/>
          </p:nvSpPr>
          <p:spPr>
            <a:xfrm>
              <a:off x="4310592" y="1585938"/>
              <a:ext cx="125092" cy="163001"/>
            </a:xfrm>
            <a:custGeom>
              <a:avLst/>
              <a:gdLst/>
              <a:ahLst/>
              <a:cxnLst/>
              <a:rect l="l" t="t" r="r" b="b"/>
              <a:pathLst>
                <a:path w="3930" h="5121" extrusionOk="0">
                  <a:moveTo>
                    <a:pt x="1941" y="310"/>
                  </a:moveTo>
                  <a:cubicBezTo>
                    <a:pt x="2227" y="310"/>
                    <a:pt x="2477" y="489"/>
                    <a:pt x="2584" y="751"/>
                  </a:cubicBezTo>
                  <a:cubicBezTo>
                    <a:pt x="2620" y="834"/>
                    <a:pt x="2644" y="930"/>
                    <a:pt x="2644" y="1013"/>
                  </a:cubicBezTo>
                  <a:lnTo>
                    <a:pt x="2644" y="1192"/>
                  </a:lnTo>
                  <a:cubicBezTo>
                    <a:pt x="2370" y="1096"/>
                    <a:pt x="2275" y="834"/>
                    <a:pt x="2251" y="822"/>
                  </a:cubicBezTo>
                  <a:cubicBezTo>
                    <a:pt x="2227" y="763"/>
                    <a:pt x="2179" y="715"/>
                    <a:pt x="2108" y="715"/>
                  </a:cubicBezTo>
                  <a:cubicBezTo>
                    <a:pt x="2048" y="715"/>
                    <a:pt x="1989" y="751"/>
                    <a:pt x="1953" y="811"/>
                  </a:cubicBezTo>
                  <a:cubicBezTo>
                    <a:pt x="1953" y="811"/>
                    <a:pt x="1763" y="1168"/>
                    <a:pt x="1239" y="1227"/>
                  </a:cubicBezTo>
                  <a:lnTo>
                    <a:pt x="1239" y="1025"/>
                  </a:lnTo>
                  <a:cubicBezTo>
                    <a:pt x="1263" y="930"/>
                    <a:pt x="1275" y="834"/>
                    <a:pt x="1310" y="751"/>
                  </a:cubicBezTo>
                  <a:cubicBezTo>
                    <a:pt x="1406" y="489"/>
                    <a:pt x="1667" y="310"/>
                    <a:pt x="1941" y="310"/>
                  </a:cubicBezTo>
                  <a:close/>
                  <a:moveTo>
                    <a:pt x="2108" y="1180"/>
                  </a:moveTo>
                  <a:cubicBezTo>
                    <a:pt x="2215" y="1322"/>
                    <a:pt x="2394" y="1489"/>
                    <a:pt x="2656" y="1549"/>
                  </a:cubicBezTo>
                  <a:lnTo>
                    <a:pt x="2656" y="1775"/>
                  </a:lnTo>
                  <a:cubicBezTo>
                    <a:pt x="2656" y="2144"/>
                    <a:pt x="2358" y="2454"/>
                    <a:pt x="1989" y="2477"/>
                  </a:cubicBezTo>
                  <a:lnTo>
                    <a:pt x="1929" y="2477"/>
                  </a:lnTo>
                  <a:cubicBezTo>
                    <a:pt x="1560" y="2442"/>
                    <a:pt x="1263" y="2144"/>
                    <a:pt x="1263" y="1763"/>
                  </a:cubicBezTo>
                  <a:lnTo>
                    <a:pt x="1263" y="1549"/>
                  </a:lnTo>
                  <a:cubicBezTo>
                    <a:pt x="1679" y="1501"/>
                    <a:pt x="1941" y="1322"/>
                    <a:pt x="2108" y="1180"/>
                  </a:cubicBezTo>
                  <a:close/>
                  <a:moveTo>
                    <a:pt x="2132" y="2799"/>
                  </a:moveTo>
                  <a:lnTo>
                    <a:pt x="2048" y="2966"/>
                  </a:lnTo>
                  <a:lnTo>
                    <a:pt x="1846" y="2966"/>
                  </a:lnTo>
                  <a:lnTo>
                    <a:pt x="1751" y="2799"/>
                  </a:lnTo>
                  <a:close/>
                  <a:moveTo>
                    <a:pt x="2025" y="3287"/>
                  </a:moveTo>
                  <a:lnTo>
                    <a:pt x="2215" y="4109"/>
                  </a:lnTo>
                  <a:lnTo>
                    <a:pt x="1941" y="4347"/>
                  </a:lnTo>
                  <a:lnTo>
                    <a:pt x="1679" y="4109"/>
                  </a:lnTo>
                  <a:lnTo>
                    <a:pt x="1870" y="3287"/>
                  </a:lnTo>
                  <a:close/>
                  <a:moveTo>
                    <a:pt x="2453" y="2870"/>
                  </a:moveTo>
                  <a:cubicBezTo>
                    <a:pt x="2668" y="2954"/>
                    <a:pt x="2894" y="3085"/>
                    <a:pt x="3072" y="3263"/>
                  </a:cubicBezTo>
                  <a:cubicBezTo>
                    <a:pt x="3394" y="3561"/>
                    <a:pt x="3561" y="3966"/>
                    <a:pt x="3561" y="4359"/>
                  </a:cubicBezTo>
                  <a:lnTo>
                    <a:pt x="3596" y="4775"/>
                  </a:lnTo>
                  <a:lnTo>
                    <a:pt x="322" y="4775"/>
                  </a:lnTo>
                  <a:lnTo>
                    <a:pt x="322" y="4359"/>
                  </a:lnTo>
                  <a:cubicBezTo>
                    <a:pt x="322" y="3942"/>
                    <a:pt x="501" y="3561"/>
                    <a:pt x="810" y="3263"/>
                  </a:cubicBezTo>
                  <a:cubicBezTo>
                    <a:pt x="989" y="3097"/>
                    <a:pt x="1215" y="2966"/>
                    <a:pt x="1441" y="2870"/>
                  </a:cubicBezTo>
                  <a:lnTo>
                    <a:pt x="1572" y="3144"/>
                  </a:lnTo>
                  <a:lnTo>
                    <a:pt x="1346" y="4120"/>
                  </a:lnTo>
                  <a:cubicBezTo>
                    <a:pt x="1334" y="4180"/>
                    <a:pt x="1346" y="4240"/>
                    <a:pt x="1394" y="4287"/>
                  </a:cubicBezTo>
                  <a:lnTo>
                    <a:pt x="1834" y="4692"/>
                  </a:lnTo>
                  <a:cubicBezTo>
                    <a:pt x="1870" y="4716"/>
                    <a:pt x="1917" y="4740"/>
                    <a:pt x="1941" y="4740"/>
                  </a:cubicBezTo>
                  <a:cubicBezTo>
                    <a:pt x="1989" y="4740"/>
                    <a:pt x="2025" y="4716"/>
                    <a:pt x="2048" y="4692"/>
                  </a:cubicBezTo>
                  <a:lnTo>
                    <a:pt x="2501" y="4287"/>
                  </a:lnTo>
                  <a:cubicBezTo>
                    <a:pt x="2537" y="4240"/>
                    <a:pt x="2560" y="4180"/>
                    <a:pt x="2537" y="4120"/>
                  </a:cubicBezTo>
                  <a:lnTo>
                    <a:pt x="2322" y="3144"/>
                  </a:lnTo>
                  <a:lnTo>
                    <a:pt x="2453" y="2870"/>
                  </a:lnTo>
                  <a:close/>
                  <a:moveTo>
                    <a:pt x="1965" y="1"/>
                  </a:moveTo>
                  <a:cubicBezTo>
                    <a:pt x="1394" y="1"/>
                    <a:pt x="929" y="465"/>
                    <a:pt x="929" y="1025"/>
                  </a:cubicBezTo>
                  <a:lnTo>
                    <a:pt x="929" y="1406"/>
                  </a:lnTo>
                  <a:lnTo>
                    <a:pt x="929" y="1775"/>
                  </a:lnTo>
                  <a:cubicBezTo>
                    <a:pt x="929" y="2096"/>
                    <a:pt x="1084" y="2394"/>
                    <a:pt x="1334" y="2573"/>
                  </a:cubicBezTo>
                  <a:cubicBezTo>
                    <a:pt x="560" y="2846"/>
                    <a:pt x="1" y="3561"/>
                    <a:pt x="1" y="4382"/>
                  </a:cubicBezTo>
                  <a:lnTo>
                    <a:pt x="1" y="4954"/>
                  </a:lnTo>
                  <a:cubicBezTo>
                    <a:pt x="1" y="5049"/>
                    <a:pt x="72" y="5121"/>
                    <a:pt x="155" y="5121"/>
                  </a:cubicBezTo>
                  <a:lnTo>
                    <a:pt x="3763" y="5121"/>
                  </a:lnTo>
                  <a:cubicBezTo>
                    <a:pt x="3846" y="5121"/>
                    <a:pt x="3930" y="5049"/>
                    <a:pt x="3930" y="4954"/>
                  </a:cubicBezTo>
                  <a:lnTo>
                    <a:pt x="3930" y="4382"/>
                  </a:lnTo>
                  <a:cubicBezTo>
                    <a:pt x="3930" y="3561"/>
                    <a:pt x="3346" y="2846"/>
                    <a:pt x="2584" y="2573"/>
                  </a:cubicBezTo>
                  <a:cubicBezTo>
                    <a:pt x="2822" y="2382"/>
                    <a:pt x="2989" y="2096"/>
                    <a:pt x="2989" y="1775"/>
                  </a:cubicBezTo>
                  <a:lnTo>
                    <a:pt x="2989" y="1406"/>
                  </a:lnTo>
                  <a:lnTo>
                    <a:pt x="2989" y="1025"/>
                  </a:lnTo>
                  <a:cubicBezTo>
                    <a:pt x="2989" y="465"/>
                    <a:pt x="2525" y="1"/>
                    <a:pt x="1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9" name="Google Shape;13699;p64"/>
            <p:cNvSpPr/>
            <p:nvPr/>
          </p:nvSpPr>
          <p:spPr>
            <a:xfrm>
              <a:off x="4248428" y="1536124"/>
              <a:ext cx="253972" cy="152179"/>
            </a:xfrm>
            <a:custGeom>
              <a:avLst/>
              <a:gdLst/>
              <a:ahLst/>
              <a:cxnLst/>
              <a:rect l="l" t="t" r="r" b="b"/>
              <a:pathLst>
                <a:path w="7979" h="4781" extrusionOk="0">
                  <a:moveTo>
                    <a:pt x="3906" y="0"/>
                  </a:moveTo>
                  <a:cubicBezTo>
                    <a:pt x="3876" y="0"/>
                    <a:pt x="3847" y="6"/>
                    <a:pt x="3823" y="18"/>
                  </a:cubicBezTo>
                  <a:cubicBezTo>
                    <a:pt x="3811" y="30"/>
                    <a:pt x="1775" y="1244"/>
                    <a:pt x="239" y="1244"/>
                  </a:cubicBezTo>
                  <a:cubicBezTo>
                    <a:pt x="156" y="1244"/>
                    <a:pt x="84" y="1304"/>
                    <a:pt x="72" y="1375"/>
                  </a:cubicBezTo>
                  <a:cubicBezTo>
                    <a:pt x="72" y="1387"/>
                    <a:pt x="1" y="1875"/>
                    <a:pt x="1" y="2614"/>
                  </a:cubicBezTo>
                  <a:cubicBezTo>
                    <a:pt x="1" y="2697"/>
                    <a:pt x="72" y="2768"/>
                    <a:pt x="156" y="2768"/>
                  </a:cubicBezTo>
                  <a:cubicBezTo>
                    <a:pt x="251" y="2768"/>
                    <a:pt x="322" y="2697"/>
                    <a:pt x="322" y="2614"/>
                  </a:cubicBezTo>
                  <a:cubicBezTo>
                    <a:pt x="322" y="2137"/>
                    <a:pt x="358" y="1744"/>
                    <a:pt x="382" y="1566"/>
                  </a:cubicBezTo>
                  <a:cubicBezTo>
                    <a:pt x="1037" y="1542"/>
                    <a:pt x="1835" y="1328"/>
                    <a:pt x="2739" y="923"/>
                  </a:cubicBezTo>
                  <a:cubicBezTo>
                    <a:pt x="3299" y="685"/>
                    <a:pt x="3728" y="435"/>
                    <a:pt x="3906" y="351"/>
                  </a:cubicBezTo>
                  <a:cubicBezTo>
                    <a:pt x="4085" y="447"/>
                    <a:pt x="4525" y="685"/>
                    <a:pt x="5085" y="923"/>
                  </a:cubicBezTo>
                  <a:cubicBezTo>
                    <a:pt x="5990" y="1316"/>
                    <a:pt x="6788" y="1542"/>
                    <a:pt x="7442" y="1566"/>
                  </a:cubicBezTo>
                  <a:cubicBezTo>
                    <a:pt x="7478" y="1971"/>
                    <a:pt x="7585" y="3233"/>
                    <a:pt x="7288" y="4590"/>
                  </a:cubicBezTo>
                  <a:cubicBezTo>
                    <a:pt x="7276" y="4673"/>
                    <a:pt x="7323" y="4769"/>
                    <a:pt x="7407" y="4781"/>
                  </a:cubicBezTo>
                  <a:lnTo>
                    <a:pt x="7442" y="4781"/>
                  </a:lnTo>
                  <a:cubicBezTo>
                    <a:pt x="7514" y="4781"/>
                    <a:pt x="7585" y="4733"/>
                    <a:pt x="7597" y="4650"/>
                  </a:cubicBezTo>
                  <a:cubicBezTo>
                    <a:pt x="7978" y="2947"/>
                    <a:pt x="7752" y="1435"/>
                    <a:pt x="7740" y="1375"/>
                  </a:cubicBezTo>
                  <a:cubicBezTo>
                    <a:pt x="7728" y="1304"/>
                    <a:pt x="7669" y="1244"/>
                    <a:pt x="7573" y="1244"/>
                  </a:cubicBezTo>
                  <a:cubicBezTo>
                    <a:pt x="6037" y="1244"/>
                    <a:pt x="4001" y="30"/>
                    <a:pt x="3990" y="18"/>
                  </a:cubicBezTo>
                  <a:cubicBezTo>
                    <a:pt x="3966" y="6"/>
                    <a:pt x="3936" y="0"/>
                    <a:pt x="3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0" name="Google Shape;13700;p64"/>
            <p:cNvSpPr/>
            <p:nvPr/>
          </p:nvSpPr>
          <p:spPr>
            <a:xfrm>
              <a:off x="4248428" y="1633270"/>
              <a:ext cx="238407" cy="187288"/>
            </a:xfrm>
            <a:custGeom>
              <a:avLst/>
              <a:gdLst/>
              <a:ahLst/>
              <a:cxnLst/>
              <a:rect l="l" t="t" r="r" b="b"/>
              <a:pathLst>
                <a:path w="7490" h="5884" extrusionOk="0">
                  <a:moveTo>
                    <a:pt x="186" y="1"/>
                  </a:moveTo>
                  <a:cubicBezTo>
                    <a:pt x="180" y="1"/>
                    <a:pt x="174" y="1"/>
                    <a:pt x="168" y="2"/>
                  </a:cubicBezTo>
                  <a:cubicBezTo>
                    <a:pt x="72" y="2"/>
                    <a:pt x="1" y="97"/>
                    <a:pt x="13" y="181"/>
                  </a:cubicBezTo>
                  <a:cubicBezTo>
                    <a:pt x="84" y="1383"/>
                    <a:pt x="370" y="2455"/>
                    <a:pt x="846" y="3348"/>
                  </a:cubicBezTo>
                  <a:cubicBezTo>
                    <a:pt x="1501" y="4574"/>
                    <a:pt x="2513" y="5419"/>
                    <a:pt x="3859" y="5860"/>
                  </a:cubicBezTo>
                  <a:cubicBezTo>
                    <a:pt x="3870" y="5860"/>
                    <a:pt x="3882" y="5884"/>
                    <a:pt x="3894" y="5884"/>
                  </a:cubicBezTo>
                  <a:cubicBezTo>
                    <a:pt x="3918" y="5884"/>
                    <a:pt x="3930" y="5884"/>
                    <a:pt x="3942" y="5860"/>
                  </a:cubicBezTo>
                  <a:cubicBezTo>
                    <a:pt x="4811" y="5586"/>
                    <a:pt x="5549" y="5110"/>
                    <a:pt x="6133" y="4503"/>
                  </a:cubicBezTo>
                  <a:cubicBezTo>
                    <a:pt x="6716" y="3872"/>
                    <a:pt x="7157" y="3086"/>
                    <a:pt x="7442" y="2145"/>
                  </a:cubicBezTo>
                  <a:cubicBezTo>
                    <a:pt x="7490" y="2062"/>
                    <a:pt x="7442" y="1967"/>
                    <a:pt x="7347" y="1955"/>
                  </a:cubicBezTo>
                  <a:cubicBezTo>
                    <a:pt x="7330" y="1948"/>
                    <a:pt x="7313" y="1944"/>
                    <a:pt x="7296" y="1944"/>
                  </a:cubicBezTo>
                  <a:cubicBezTo>
                    <a:pt x="7228" y="1944"/>
                    <a:pt x="7164" y="1996"/>
                    <a:pt x="7145" y="2062"/>
                  </a:cubicBezTo>
                  <a:cubicBezTo>
                    <a:pt x="6871" y="2931"/>
                    <a:pt x="6454" y="3693"/>
                    <a:pt x="5906" y="4277"/>
                  </a:cubicBezTo>
                  <a:cubicBezTo>
                    <a:pt x="5371" y="4836"/>
                    <a:pt x="4704" y="5265"/>
                    <a:pt x="3894" y="5539"/>
                  </a:cubicBezTo>
                  <a:cubicBezTo>
                    <a:pt x="2668" y="5122"/>
                    <a:pt x="1727" y="4336"/>
                    <a:pt x="1132" y="3181"/>
                  </a:cubicBezTo>
                  <a:cubicBezTo>
                    <a:pt x="680" y="2336"/>
                    <a:pt x="418" y="1312"/>
                    <a:pt x="346" y="157"/>
                  </a:cubicBezTo>
                  <a:cubicBezTo>
                    <a:pt x="346" y="69"/>
                    <a:pt x="264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1" name="Google Shape;13701;p64"/>
            <p:cNvSpPr/>
            <p:nvPr/>
          </p:nvSpPr>
          <p:spPr>
            <a:xfrm>
              <a:off x="4212429" y="1502385"/>
              <a:ext cx="321037" cy="353822"/>
            </a:xfrm>
            <a:custGeom>
              <a:avLst/>
              <a:gdLst/>
              <a:ahLst/>
              <a:cxnLst/>
              <a:rect l="l" t="t" r="r" b="b"/>
              <a:pathLst>
                <a:path w="10086" h="11116" extrusionOk="0">
                  <a:moveTo>
                    <a:pt x="5061" y="316"/>
                  </a:moveTo>
                  <a:cubicBezTo>
                    <a:pt x="5263" y="435"/>
                    <a:pt x="5811" y="757"/>
                    <a:pt x="6549" y="1066"/>
                  </a:cubicBezTo>
                  <a:cubicBezTo>
                    <a:pt x="7692" y="1554"/>
                    <a:pt x="8692" y="1828"/>
                    <a:pt x="9526" y="1852"/>
                  </a:cubicBezTo>
                  <a:cubicBezTo>
                    <a:pt x="9550" y="2328"/>
                    <a:pt x="9693" y="3876"/>
                    <a:pt x="9335" y="5579"/>
                  </a:cubicBezTo>
                  <a:cubicBezTo>
                    <a:pt x="9073" y="6745"/>
                    <a:pt x="8645" y="7757"/>
                    <a:pt x="8049" y="8591"/>
                  </a:cubicBezTo>
                  <a:cubicBezTo>
                    <a:pt x="7311" y="9603"/>
                    <a:pt x="6299" y="10341"/>
                    <a:pt x="5049" y="10770"/>
                  </a:cubicBezTo>
                  <a:cubicBezTo>
                    <a:pt x="3799" y="10341"/>
                    <a:pt x="2775" y="9603"/>
                    <a:pt x="2037" y="8591"/>
                  </a:cubicBezTo>
                  <a:cubicBezTo>
                    <a:pt x="1430" y="7781"/>
                    <a:pt x="989" y="6745"/>
                    <a:pt x="751" y="5579"/>
                  </a:cubicBezTo>
                  <a:cubicBezTo>
                    <a:pt x="394" y="3876"/>
                    <a:pt x="537" y="2316"/>
                    <a:pt x="596" y="1852"/>
                  </a:cubicBezTo>
                  <a:cubicBezTo>
                    <a:pt x="1406" y="1828"/>
                    <a:pt x="2418" y="1554"/>
                    <a:pt x="3573" y="1066"/>
                  </a:cubicBezTo>
                  <a:cubicBezTo>
                    <a:pt x="4299" y="757"/>
                    <a:pt x="4847" y="435"/>
                    <a:pt x="5061" y="316"/>
                  </a:cubicBezTo>
                  <a:close/>
                  <a:moveTo>
                    <a:pt x="5037" y="1"/>
                  </a:moveTo>
                  <a:cubicBezTo>
                    <a:pt x="5007" y="1"/>
                    <a:pt x="4978" y="7"/>
                    <a:pt x="4954" y="18"/>
                  </a:cubicBezTo>
                  <a:cubicBezTo>
                    <a:pt x="4930" y="30"/>
                    <a:pt x="2370" y="1554"/>
                    <a:pt x="441" y="1554"/>
                  </a:cubicBezTo>
                  <a:cubicBezTo>
                    <a:pt x="370" y="1554"/>
                    <a:pt x="299" y="1614"/>
                    <a:pt x="287" y="1685"/>
                  </a:cubicBezTo>
                  <a:cubicBezTo>
                    <a:pt x="263" y="1769"/>
                    <a:pt x="1" y="3578"/>
                    <a:pt x="429" y="5650"/>
                  </a:cubicBezTo>
                  <a:cubicBezTo>
                    <a:pt x="680" y="6865"/>
                    <a:pt x="1132" y="7924"/>
                    <a:pt x="1775" y="8793"/>
                  </a:cubicBezTo>
                  <a:cubicBezTo>
                    <a:pt x="2561" y="9877"/>
                    <a:pt x="3644" y="10651"/>
                    <a:pt x="5001" y="11091"/>
                  </a:cubicBezTo>
                  <a:cubicBezTo>
                    <a:pt x="5013" y="11091"/>
                    <a:pt x="5025" y="11115"/>
                    <a:pt x="5049" y="11115"/>
                  </a:cubicBezTo>
                  <a:cubicBezTo>
                    <a:pt x="5061" y="11115"/>
                    <a:pt x="5073" y="11115"/>
                    <a:pt x="5085" y="11091"/>
                  </a:cubicBezTo>
                  <a:cubicBezTo>
                    <a:pt x="6430" y="10651"/>
                    <a:pt x="7514" y="9877"/>
                    <a:pt x="8323" y="8793"/>
                  </a:cubicBezTo>
                  <a:cubicBezTo>
                    <a:pt x="8954" y="7924"/>
                    <a:pt x="9407" y="6865"/>
                    <a:pt x="9657" y="5650"/>
                  </a:cubicBezTo>
                  <a:cubicBezTo>
                    <a:pt x="10085" y="3566"/>
                    <a:pt x="9812" y="1769"/>
                    <a:pt x="9788" y="1685"/>
                  </a:cubicBezTo>
                  <a:cubicBezTo>
                    <a:pt x="9776" y="1614"/>
                    <a:pt x="9716" y="1554"/>
                    <a:pt x="9633" y="1554"/>
                  </a:cubicBezTo>
                  <a:cubicBezTo>
                    <a:pt x="7692" y="1554"/>
                    <a:pt x="5132" y="42"/>
                    <a:pt x="5121" y="18"/>
                  </a:cubicBezTo>
                  <a:cubicBezTo>
                    <a:pt x="5097" y="7"/>
                    <a:pt x="5067" y="1"/>
                    <a:pt x="5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02" name="Google Shape;13702;p64"/>
          <p:cNvGrpSpPr/>
          <p:nvPr/>
        </p:nvGrpSpPr>
        <p:grpSpPr>
          <a:xfrm>
            <a:off x="2302788" y="1505981"/>
            <a:ext cx="336188" cy="335425"/>
            <a:chOff x="2302788" y="1505981"/>
            <a:chExt cx="336188" cy="335425"/>
          </a:xfrm>
        </p:grpSpPr>
        <p:sp>
          <p:nvSpPr>
            <p:cNvPr id="13703" name="Google Shape;13703;p64"/>
            <p:cNvSpPr/>
            <p:nvPr/>
          </p:nvSpPr>
          <p:spPr>
            <a:xfrm>
              <a:off x="2302788" y="1505981"/>
              <a:ext cx="336188" cy="335425"/>
            </a:xfrm>
            <a:custGeom>
              <a:avLst/>
              <a:gdLst/>
              <a:ahLst/>
              <a:cxnLst/>
              <a:rect l="l" t="t" r="r" b="b"/>
              <a:pathLst>
                <a:path w="10562" h="10538" extrusionOk="0">
                  <a:moveTo>
                    <a:pt x="5275" y="1"/>
                  </a:moveTo>
                  <a:cubicBezTo>
                    <a:pt x="3858" y="1"/>
                    <a:pt x="2536" y="548"/>
                    <a:pt x="1548" y="1548"/>
                  </a:cubicBezTo>
                  <a:cubicBezTo>
                    <a:pt x="548" y="2549"/>
                    <a:pt x="0" y="3870"/>
                    <a:pt x="0" y="5263"/>
                  </a:cubicBezTo>
                  <a:cubicBezTo>
                    <a:pt x="0" y="6668"/>
                    <a:pt x="548" y="8002"/>
                    <a:pt x="1548" y="8990"/>
                  </a:cubicBezTo>
                  <a:cubicBezTo>
                    <a:pt x="2548" y="9990"/>
                    <a:pt x="3870" y="10538"/>
                    <a:pt x="5275" y="10538"/>
                  </a:cubicBezTo>
                  <a:cubicBezTo>
                    <a:pt x="6680" y="10538"/>
                    <a:pt x="8013" y="9990"/>
                    <a:pt x="8989" y="8990"/>
                  </a:cubicBezTo>
                  <a:cubicBezTo>
                    <a:pt x="9990" y="7990"/>
                    <a:pt x="10537" y="6668"/>
                    <a:pt x="10537" y="5263"/>
                  </a:cubicBezTo>
                  <a:cubicBezTo>
                    <a:pt x="10561" y="5192"/>
                    <a:pt x="10549" y="5085"/>
                    <a:pt x="10549" y="5001"/>
                  </a:cubicBezTo>
                  <a:cubicBezTo>
                    <a:pt x="10549" y="4906"/>
                    <a:pt x="10478" y="4847"/>
                    <a:pt x="10394" y="4847"/>
                  </a:cubicBezTo>
                  <a:cubicBezTo>
                    <a:pt x="10299" y="4847"/>
                    <a:pt x="10240" y="4930"/>
                    <a:pt x="10240" y="5013"/>
                  </a:cubicBezTo>
                  <a:lnTo>
                    <a:pt x="10240" y="5287"/>
                  </a:lnTo>
                  <a:cubicBezTo>
                    <a:pt x="10240" y="6609"/>
                    <a:pt x="9716" y="7859"/>
                    <a:pt x="8787" y="8799"/>
                  </a:cubicBezTo>
                  <a:cubicBezTo>
                    <a:pt x="7846" y="9728"/>
                    <a:pt x="6596" y="10252"/>
                    <a:pt x="5275" y="10252"/>
                  </a:cubicBezTo>
                  <a:cubicBezTo>
                    <a:pt x="3941" y="10252"/>
                    <a:pt x="2691" y="9728"/>
                    <a:pt x="1762" y="8799"/>
                  </a:cubicBezTo>
                  <a:cubicBezTo>
                    <a:pt x="822" y="7859"/>
                    <a:pt x="298" y="6609"/>
                    <a:pt x="298" y="5287"/>
                  </a:cubicBezTo>
                  <a:cubicBezTo>
                    <a:pt x="298" y="3954"/>
                    <a:pt x="822" y="2703"/>
                    <a:pt x="1762" y="1775"/>
                  </a:cubicBezTo>
                  <a:cubicBezTo>
                    <a:pt x="2691" y="834"/>
                    <a:pt x="3941" y="310"/>
                    <a:pt x="5275" y="310"/>
                  </a:cubicBezTo>
                  <a:cubicBezTo>
                    <a:pt x="6442" y="310"/>
                    <a:pt x="7573" y="727"/>
                    <a:pt x="8466" y="1477"/>
                  </a:cubicBezTo>
                  <a:cubicBezTo>
                    <a:pt x="9347" y="2215"/>
                    <a:pt x="9942" y="3239"/>
                    <a:pt x="10156" y="4370"/>
                  </a:cubicBezTo>
                  <a:cubicBezTo>
                    <a:pt x="10167" y="4454"/>
                    <a:pt x="10223" y="4492"/>
                    <a:pt x="10301" y="4492"/>
                  </a:cubicBezTo>
                  <a:cubicBezTo>
                    <a:pt x="10312" y="4492"/>
                    <a:pt x="10323" y="4491"/>
                    <a:pt x="10335" y="4489"/>
                  </a:cubicBezTo>
                  <a:cubicBezTo>
                    <a:pt x="10418" y="4477"/>
                    <a:pt x="10466" y="4406"/>
                    <a:pt x="10454" y="4311"/>
                  </a:cubicBezTo>
                  <a:cubicBezTo>
                    <a:pt x="10228" y="3108"/>
                    <a:pt x="9597" y="2025"/>
                    <a:pt x="8668" y="1239"/>
                  </a:cubicBezTo>
                  <a:cubicBezTo>
                    <a:pt x="7716" y="429"/>
                    <a:pt x="6501" y="1"/>
                    <a:pt x="5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4" name="Google Shape;13704;p64"/>
            <p:cNvSpPr/>
            <p:nvPr/>
          </p:nvSpPr>
          <p:spPr>
            <a:xfrm>
              <a:off x="2327806" y="1530618"/>
              <a:ext cx="287266" cy="286916"/>
            </a:xfrm>
            <a:custGeom>
              <a:avLst/>
              <a:gdLst/>
              <a:ahLst/>
              <a:cxnLst/>
              <a:rect l="l" t="t" r="r" b="b"/>
              <a:pathLst>
                <a:path w="9025" h="9014" extrusionOk="0">
                  <a:moveTo>
                    <a:pt x="4513" y="1"/>
                  </a:moveTo>
                  <a:cubicBezTo>
                    <a:pt x="3870" y="1"/>
                    <a:pt x="3262" y="132"/>
                    <a:pt x="2679" y="382"/>
                  </a:cubicBezTo>
                  <a:cubicBezTo>
                    <a:pt x="2119" y="644"/>
                    <a:pt x="1619" y="1001"/>
                    <a:pt x="1215" y="1441"/>
                  </a:cubicBezTo>
                  <a:cubicBezTo>
                    <a:pt x="1155" y="1501"/>
                    <a:pt x="1155" y="1608"/>
                    <a:pt x="1226" y="1667"/>
                  </a:cubicBezTo>
                  <a:cubicBezTo>
                    <a:pt x="1255" y="1696"/>
                    <a:pt x="1294" y="1711"/>
                    <a:pt x="1334" y="1711"/>
                  </a:cubicBezTo>
                  <a:cubicBezTo>
                    <a:pt x="1377" y="1711"/>
                    <a:pt x="1422" y="1693"/>
                    <a:pt x="1453" y="1656"/>
                  </a:cubicBezTo>
                  <a:cubicBezTo>
                    <a:pt x="1834" y="1239"/>
                    <a:pt x="2298" y="894"/>
                    <a:pt x="2822" y="667"/>
                  </a:cubicBezTo>
                  <a:cubicBezTo>
                    <a:pt x="3358" y="429"/>
                    <a:pt x="3929" y="310"/>
                    <a:pt x="4524" y="310"/>
                  </a:cubicBezTo>
                  <a:cubicBezTo>
                    <a:pt x="6834" y="310"/>
                    <a:pt x="8727" y="2191"/>
                    <a:pt x="8727" y="4513"/>
                  </a:cubicBezTo>
                  <a:cubicBezTo>
                    <a:pt x="8727" y="6811"/>
                    <a:pt x="6846" y="8704"/>
                    <a:pt x="4524" y="8704"/>
                  </a:cubicBezTo>
                  <a:cubicBezTo>
                    <a:pt x="2227" y="8704"/>
                    <a:pt x="333" y="6835"/>
                    <a:pt x="333" y="4513"/>
                  </a:cubicBezTo>
                  <a:cubicBezTo>
                    <a:pt x="333" y="3692"/>
                    <a:pt x="572" y="2882"/>
                    <a:pt x="1036" y="2203"/>
                  </a:cubicBezTo>
                  <a:cubicBezTo>
                    <a:pt x="1048" y="2132"/>
                    <a:pt x="1036" y="2037"/>
                    <a:pt x="953" y="1977"/>
                  </a:cubicBezTo>
                  <a:cubicBezTo>
                    <a:pt x="927" y="1960"/>
                    <a:pt x="900" y="1952"/>
                    <a:pt x="874" y="1952"/>
                  </a:cubicBezTo>
                  <a:cubicBezTo>
                    <a:pt x="827" y="1952"/>
                    <a:pt x="781" y="1979"/>
                    <a:pt x="750" y="2025"/>
                  </a:cubicBezTo>
                  <a:cubicBezTo>
                    <a:pt x="262" y="2751"/>
                    <a:pt x="0" y="3620"/>
                    <a:pt x="0" y="4513"/>
                  </a:cubicBezTo>
                  <a:cubicBezTo>
                    <a:pt x="0" y="5716"/>
                    <a:pt x="464" y="6847"/>
                    <a:pt x="1334" y="7692"/>
                  </a:cubicBezTo>
                  <a:cubicBezTo>
                    <a:pt x="2191" y="8537"/>
                    <a:pt x="3310" y="9014"/>
                    <a:pt x="4513" y="9014"/>
                  </a:cubicBezTo>
                  <a:cubicBezTo>
                    <a:pt x="5715" y="9014"/>
                    <a:pt x="6846" y="8549"/>
                    <a:pt x="7692" y="7692"/>
                  </a:cubicBezTo>
                  <a:cubicBezTo>
                    <a:pt x="8549" y="6835"/>
                    <a:pt x="9025" y="5716"/>
                    <a:pt x="9025" y="4513"/>
                  </a:cubicBezTo>
                  <a:cubicBezTo>
                    <a:pt x="9025" y="3299"/>
                    <a:pt x="8561" y="2168"/>
                    <a:pt x="7692" y="1322"/>
                  </a:cubicBezTo>
                  <a:cubicBezTo>
                    <a:pt x="6846" y="477"/>
                    <a:pt x="5715" y="1"/>
                    <a:pt x="4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5" name="Google Shape;13705;p64"/>
            <p:cNvSpPr/>
            <p:nvPr/>
          </p:nvSpPr>
          <p:spPr>
            <a:xfrm>
              <a:off x="2352061" y="1669333"/>
              <a:ext cx="16679" cy="9485"/>
            </a:xfrm>
            <a:custGeom>
              <a:avLst/>
              <a:gdLst/>
              <a:ahLst/>
              <a:cxnLst/>
              <a:rect l="l" t="t" r="r" b="b"/>
              <a:pathLst>
                <a:path w="524" h="298" extrusionOk="0">
                  <a:moveTo>
                    <a:pt x="155" y="0"/>
                  </a:moveTo>
                  <a:cubicBezTo>
                    <a:pt x="60" y="0"/>
                    <a:pt x="0" y="60"/>
                    <a:pt x="0" y="155"/>
                  </a:cubicBezTo>
                  <a:cubicBezTo>
                    <a:pt x="0" y="238"/>
                    <a:pt x="72" y="298"/>
                    <a:pt x="155" y="298"/>
                  </a:cubicBezTo>
                  <a:lnTo>
                    <a:pt x="369" y="298"/>
                  </a:lnTo>
                  <a:cubicBezTo>
                    <a:pt x="464" y="298"/>
                    <a:pt x="524" y="226"/>
                    <a:pt x="524" y="155"/>
                  </a:cubicBezTo>
                  <a:cubicBezTo>
                    <a:pt x="524" y="60"/>
                    <a:pt x="453" y="0"/>
                    <a:pt x="3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6" name="Google Shape;13706;p64"/>
            <p:cNvSpPr/>
            <p:nvPr/>
          </p:nvSpPr>
          <p:spPr>
            <a:xfrm>
              <a:off x="2466871" y="1554490"/>
              <a:ext cx="123946" cy="124328"/>
            </a:xfrm>
            <a:custGeom>
              <a:avLst/>
              <a:gdLst/>
              <a:ahLst/>
              <a:cxnLst/>
              <a:rect l="l" t="t" r="r" b="b"/>
              <a:pathLst>
                <a:path w="3894" h="3906" extrusionOk="0">
                  <a:moveTo>
                    <a:pt x="144" y="1"/>
                  </a:moveTo>
                  <a:cubicBezTo>
                    <a:pt x="48" y="1"/>
                    <a:pt x="1" y="84"/>
                    <a:pt x="1" y="155"/>
                  </a:cubicBezTo>
                  <a:lnTo>
                    <a:pt x="1" y="3751"/>
                  </a:lnTo>
                  <a:cubicBezTo>
                    <a:pt x="1" y="3846"/>
                    <a:pt x="72" y="3906"/>
                    <a:pt x="144" y="3906"/>
                  </a:cubicBezTo>
                  <a:lnTo>
                    <a:pt x="3751" y="3906"/>
                  </a:lnTo>
                  <a:cubicBezTo>
                    <a:pt x="3834" y="3906"/>
                    <a:pt x="3894" y="3834"/>
                    <a:pt x="3894" y="3751"/>
                  </a:cubicBezTo>
                  <a:cubicBezTo>
                    <a:pt x="3894" y="3668"/>
                    <a:pt x="3823" y="3608"/>
                    <a:pt x="3751" y="3608"/>
                  </a:cubicBezTo>
                  <a:lnTo>
                    <a:pt x="310" y="3608"/>
                  </a:lnTo>
                  <a:lnTo>
                    <a:pt x="310" y="155"/>
                  </a:lnTo>
                  <a:lnTo>
                    <a:pt x="298" y="155"/>
                  </a:lnTo>
                  <a:cubicBezTo>
                    <a:pt x="298" y="72"/>
                    <a:pt x="215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7" name="Google Shape;13707;p64"/>
            <p:cNvSpPr/>
            <p:nvPr/>
          </p:nvSpPr>
          <p:spPr>
            <a:xfrm>
              <a:off x="2466107" y="1776950"/>
              <a:ext cx="9517" cy="16711"/>
            </a:xfrm>
            <a:custGeom>
              <a:avLst/>
              <a:gdLst/>
              <a:ahLst/>
              <a:cxnLst/>
              <a:rect l="l" t="t" r="r" b="b"/>
              <a:pathLst>
                <a:path w="299" h="525" extrusionOk="0">
                  <a:moveTo>
                    <a:pt x="156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370"/>
                  </a:lnTo>
                  <a:cubicBezTo>
                    <a:pt x="1" y="465"/>
                    <a:pt x="84" y="525"/>
                    <a:pt x="156" y="525"/>
                  </a:cubicBezTo>
                  <a:cubicBezTo>
                    <a:pt x="239" y="525"/>
                    <a:pt x="299" y="441"/>
                    <a:pt x="299" y="370"/>
                  </a:cubicBezTo>
                  <a:lnTo>
                    <a:pt x="299" y="144"/>
                  </a:lnTo>
                  <a:cubicBezTo>
                    <a:pt x="299" y="60"/>
                    <a:pt x="227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8" name="Google Shape;13708;p64"/>
            <p:cNvSpPr/>
            <p:nvPr/>
          </p:nvSpPr>
          <p:spPr>
            <a:xfrm>
              <a:off x="2384272" y="1587944"/>
              <a:ext cx="16329" cy="15087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lnTo>
                    <a:pt x="238" y="426"/>
                  </a:lnTo>
                  <a:cubicBezTo>
                    <a:pt x="274" y="462"/>
                    <a:pt x="310" y="474"/>
                    <a:pt x="345" y="474"/>
                  </a:cubicBezTo>
                  <a:cubicBezTo>
                    <a:pt x="393" y="474"/>
                    <a:pt x="417" y="462"/>
                    <a:pt x="453" y="426"/>
                  </a:cubicBezTo>
                  <a:cubicBezTo>
                    <a:pt x="512" y="367"/>
                    <a:pt x="512" y="271"/>
                    <a:pt x="453" y="212"/>
                  </a:cubicBezTo>
                  <a:lnTo>
                    <a:pt x="286" y="45"/>
                  </a:ln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9" name="Google Shape;13709;p64"/>
            <p:cNvSpPr/>
            <p:nvPr/>
          </p:nvSpPr>
          <p:spPr>
            <a:xfrm>
              <a:off x="2541544" y="1745216"/>
              <a:ext cx="15565" cy="15087"/>
            </a:xfrm>
            <a:custGeom>
              <a:avLst/>
              <a:gdLst/>
              <a:ahLst/>
              <a:cxnLst/>
              <a:rect l="l" t="t" r="r" b="b"/>
              <a:pathLst>
                <a:path w="489" h="474" extrusionOk="0">
                  <a:moveTo>
                    <a:pt x="171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5"/>
                    <a:pt x="0" y="212"/>
                    <a:pt x="60" y="259"/>
                  </a:cubicBezTo>
                  <a:lnTo>
                    <a:pt x="226" y="426"/>
                  </a:lnTo>
                  <a:cubicBezTo>
                    <a:pt x="250" y="462"/>
                    <a:pt x="298" y="474"/>
                    <a:pt x="334" y="474"/>
                  </a:cubicBezTo>
                  <a:cubicBezTo>
                    <a:pt x="369" y="474"/>
                    <a:pt x="405" y="462"/>
                    <a:pt x="429" y="426"/>
                  </a:cubicBezTo>
                  <a:cubicBezTo>
                    <a:pt x="488" y="367"/>
                    <a:pt x="488" y="259"/>
                    <a:pt x="429" y="212"/>
                  </a:cubicBezTo>
                  <a:lnTo>
                    <a:pt x="274" y="45"/>
                  </a:lnTo>
                  <a:cubicBezTo>
                    <a:pt x="250" y="15"/>
                    <a:pt x="212" y="0"/>
                    <a:pt x="1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0" name="Google Shape;13710;p64"/>
            <p:cNvSpPr/>
            <p:nvPr/>
          </p:nvSpPr>
          <p:spPr>
            <a:xfrm>
              <a:off x="2541544" y="1587944"/>
              <a:ext cx="16329" cy="15087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340" y="0"/>
                  </a:moveTo>
                  <a:cubicBezTo>
                    <a:pt x="298" y="0"/>
                    <a:pt x="256" y="15"/>
                    <a:pt x="226" y="45"/>
                  </a:cubicBezTo>
                  <a:lnTo>
                    <a:pt x="60" y="212"/>
                  </a:lnTo>
                  <a:cubicBezTo>
                    <a:pt x="0" y="271"/>
                    <a:pt x="0" y="367"/>
                    <a:pt x="60" y="426"/>
                  </a:cubicBezTo>
                  <a:cubicBezTo>
                    <a:pt x="95" y="462"/>
                    <a:pt x="131" y="474"/>
                    <a:pt x="167" y="474"/>
                  </a:cubicBezTo>
                  <a:cubicBezTo>
                    <a:pt x="215" y="474"/>
                    <a:pt x="250" y="462"/>
                    <a:pt x="286" y="426"/>
                  </a:cubicBezTo>
                  <a:lnTo>
                    <a:pt x="453" y="271"/>
                  </a:lnTo>
                  <a:cubicBezTo>
                    <a:pt x="512" y="212"/>
                    <a:pt x="512" y="105"/>
                    <a:pt x="453" y="45"/>
                  </a:cubicBezTo>
                  <a:cubicBezTo>
                    <a:pt x="423" y="15"/>
                    <a:pt x="381" y="0"/>
                    <a:pt x="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1" name="Google Shape;13711;p64"/>
            <p:cNvSpPr/>
            <p:nvPr/>
          </p:nvSpPr>
          <p:spPr>
            <a:xfrm>
              <a:off x="2384654" y="1744452"/>
              <a:ext cx="15947" cy="15469"/>
            </a:xfrm>
            <a:custGeom>
              <a:avLst/>
              <a:gdLst/>
              <a:ahLst/>
              <a:cxnLst/>
              <a:rect l="l" t="t" r="r" b="b"/>
              <a:pathLst>
                <a:path w="501" h="486" extrusionOk="0">
                  <a:moveTo>
                    <a:pt x="327" y="1"/>
                  </a:moveTo>
                  <a:cubicBezTo>
                    <a:pt x="286" y="1"/>
                    <a:pt x="244" y="16"/>
                    <a:pt x="214" y="45"/>
                  </a:cubicBezTo>
                  <a:lnTo>
                    <a:pt x="48" y="212"/>
                  </a:lnTo>
                  <a:cubicBezTo>
                    <a:pt x="0" y="272"/>
                    <a:pt x="0" y="379"/>
                    <a:pt x="60" y="438"/>
                  </a:cubicBezTo>
                  <a:cubicBezTo>
                    <a:pt x="95" y="462"/>
                    <a:pt x="143" y="486"/>
                    <a:pt x="167" y="486"/>
                  </a:cubicBezTo>
                  <a:cubicBezTo>
                    <a:pt x="202" y="486"/>
                    <a:pt x="238" y="462"/>
                    <a:pt x="274" y="438"/>
                  </a:cubicBezTo>
                  <a:lnTo>
                    <a:pt x="441" y="272"/>
                  </a:lnTo>
                  <a:cubicBezTo>
                    <a:pt x="500" y="212"/>
                    <a:pt x="500" y="105"/>
                    <a:pt x="441" y="45"/>
                  </a:cubicBezTo>
                  <a:cubicBezTo>
                    <a:pt x="411" y="16"/>
                    <a:pt x="369" y="1"/>
                    <a:pt x="3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2" name="Google Shape;13712;p64"/>
            <p:cNvSpPr/>
            <p:nvPr/>
          </p:nvSpPr>
          <p:spPr>
            <a:xfrm>
              <a:off x="2360018" y="1624548"/>
              <a:ext cx="18207" cy="12605"/>
            </a:xfrm>
            <a:custGeom>
              <a:avLst/>
              <a:gdLst/>
              <a:ahLst/>
              <a:cxnLst/>
              <a:rect l="l" t="t" r="r" b="b"/>
              <a:pathLst>
                <a:path w="572" h="396" extrusionOk="0">
                  <a:moveTo>
                    <a:pt x="179" y="0"/>
                  </a:moveTo>
                  <a:cubicBezTo>
                    <a:pt x="125" y="0"/>
                    <a:pt x="71" y="33"/>
                    <a:pt x="36" y="86"/>
                  </a:cubicBezTo>
                  <a:cubicBezTo>
                    <a:pt x="0" y="157"/>
                    <a:pt x="36" y="252"/>
                    <a:pt x="107" y="288"/>
                  </a:cubicBezTo>
                  <a:lnTo>
                    <a:pt x="322" y="383"/>
                  </a:lnTo>
                  <a:cubicBezTo>
                    <a:pt x="333" y="395"/>
                    <a:pt x="357" y="395"/>
                    <a:pt x="381" y="395"/>
                  </a:cubicBezTo>
                  <a:cubicBezTo>
                    <a:pt x="429" y="395"/>
                    <a:pt x="500" y="371"/>
                    <a:pt x="524" y="312"/>
                  </a:cubicBezTo>
                  <a:cubicBezTo>
                    <a:pt x="572" y="217"/>
                    <a:pt x="524" y="133"/>
                    <a:pt x="453" y="98"/>
                  </a:cubicBezTo>
                  <a:lnTo>
                    <a:pt x="238" y="14"/>
                  </a:lnTo>
                  <a:cubicBezTo>
                    <a:pt x="219" y="5"/>
                    <a:pt x="199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3" name="Google Shape;13713;p64"/>
            <p:cNvSpPr/>
            <p:nvPr/>
          </p:nvSpPr>
          <p:spPr>
            <a:xfrm>
              <a:off x="2564271" y="1711126"/>
              <a:ext cx="17475" cy="12796"/>
            </a:xfrm>
            <a:custGeom>
              <a:avLst/>
              <a:gdLst/>
              <a:ahLst/>
              <a:cxnLst/>
              <a:rect l="l" t="t" r="r" b="b"/>
              <a:pathLst>
                <a:path w="549" h="402" extrusionOk="0">
                  <a:moveTo>
                    <a:pt x="184" y="0"/>
                  </a:moveTo>
                  <a:cubicBezTo>
                    <a:pt x="125" y="0"/>
                    <a:pt x="63" y="29"/>
                    <a:pt x="36" y="92"/>
                  </a:cubicBezTo>
                  <a:cubicBezTo>
                    <a:pt x="1" y="164"/>
                    <a:pt x="36" y="247"/>
                    <a:pt x="108" y="295"/>
                  </a:cubicBezTo>
                  <a:lnTo>
                    <a:pt x="310" y="390"/>
                  </a:lnTo>
                  <a:cubicBezTo>
                    <a:pt x="334" y="402"/>
                    <a:pt x="358" y="402"/>
                    <a:pt x="370" y="402"/>
                  </a:cubicBezTo>
                  <a:cubicBezTo>
                    <a:pt x="429" y="402"/>
                    <a:pt x="489" y="366"/>
                    <a:pt x="524" y="307"/>
                  </a:cubicBezTo>
                  <a:cubicBezTo>
                    <a:pt x="548" y="235"/>
                    <a:pt x="524" y="140"/>
                    <a:pt x="453" y="104"/>
                  </a:cubicBezTo>
                  <a:lnTo>
                    <a:pt x="239" y="9"/>
                  </a:lnTo>
                  <a:cubicBezTo>
                    <a:pt x="221" y="3"/>
                    <a:pt x="203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4" name="Google Shape;13714;p64"/>
            <p:cNvSpPr/>
            <p:nvPr/>
          </p:nvSpPr>
          <p:spPr>
            <a:xfrm>
              <a:off x="2507805" y="1563912"/>
              <a:ext cx="14069" cy="16392"/>
            </a:xfrm>
            <a:custGeom>
              <a:avLst/>
              <a:gdLst/>
              <a:ahLst/>
              <a:cxnLst/>
              <a:rect l="l" t="t" r="r" b="b"/>
              <a:pathLst>
                <a:path w="442" h="515" extrusionOk="0">
                  <a:moveTo>
                    <a:pt x="273" y="0"/>
                  </a:moveTo>
                  <a:cubicBezTo>
                    <a:pt x="215" y="0"/>
                    <a:pt x="154" y="33"/>
                    <a:pt x="120" y="86"/>
                  </a:cubicBezTo>
                  <a:lnTo>
                    <a:pt x="36" y="288"/>
                  </a:lnTo>
                  <a:cubicBezTo>
                    <a:pt x="1" y="371"/>
                    <a:pt x="36" y="455"/>
                    <a:pt x="108" y="502"/>
                  </a:cubicBezTo>
                  <a:cubicBezTo>
                    <a:pt x="120" y="514"/>
                    <a:pt x="155" y="514"/>
                    <a:pt x="167" y="514"/>
                  </a:cubicBezTo>
                  <a:cubicBezTo>
                    <a:pt x="227" y="514"/>
                    <a:pt x="286" y="490"/>
                    <a:pt x="322" y="431"/>
                  </a:cubicBezTo>
                  <a:lnTo>
                    <a:pt x="405" y="217"/>
                  </a:lnTo>
                  <a:cubicBezTo>
                    <a:pt x="441" y="145"/>
                    <a:pt x="405" y="50"/>
                    <a:pt x="334" y="14"/>
                  </a:cubicBezTo>
                  <a:cubicBezTo>
                    <a:pt x="315" y="5"/>
                    <a:pt x="294" y="0"/>
                    <a:pt x="2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5" name="Google Shape;13715;p64"/>
            <p:cNvSpPr/>
            <p:nvPr/>
          </p:nvSpPr>
          <p:spPr>
            <a:xfrm>
              <a:off x="2420654" y="1767974"/>
              <a:ext cx="14419" cy="16583"/>
            </a:xfrm>
            <a:custGeom>
              <a:avLst/>
              <a:gdLst/>
              <a:ahLst/>
              <a:cxnLst/>
              <a:rect l="l" t="t" r="r" b="b"/>
              <a:pathLst>
                <a:path w="453" h="521" extrusionOk="0">
                  <a:moveTo>
                    <a:pt x="290" y="0"/>
                  </a:moveTo>
                  <a:cubicBezTo>
                    <a:pt x="231" y="0"/>
                    <a:pt x="170" y="29"/>
                    <a:pt x="143" y="92"/>
                  </a:cubicBezTo>
                  <a:lnTo>
                    <a:pt x="48" y="295"/>
                  </a:lnTo>
                  <a:cubicBezTo>
                    <a:pt x="0" y="366"/>
                    <a:pt x="48" y="473"/>
                    <a:pt x="119" y="509"/>
                  </a:cubicBezTo>
                  <a:cubicBezTo>
                    <a:pt x="143" y="521"/>
                    <a:pt x="167" y="521"/>
                    <a:pt x="179" y="521"/>
                  </a:cubicBezTo>
                  <a:cubicBezTo>
                    <a:pt x="238" y="521"/>
                    <a:pt x="298" y="485"/>
                    <a:pt x="333" y="426"/>
                  </a:cubicBezTo>
                  <a:lnTo>
                    <a:pt x="417" y="223"/>
                  </a:lnTo>
                  <a:cubicBezTo>
                    <a:pt x="453" y="152"/>
                    <a:pt x="417" y="56"/>
                    <a:pt x="345" y="9"/>
                  </a:cubicBezTo>
                  <a:cubicBezTo>
                    <a:pt x="328" y="3"/>
                    <a:pt x="309" y="0"/>
                    <a:pt x="2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6" name="Google Shape;13716;p64"/>
            <p:cNvSpPr/>
            <p:nvPr/>
          </p:nvSpPr>
          <p:spPr>
            <a:xfrm>
              <a:off x="2422532" y="1562448"/>
              <a:ext cx="14451" cy="17093"/>
            </a:xfrm>
            <a:custGeom>
              <a:avLst/>
              <a:gdLst/>
              <a:ahLst/>
              <a:cxnLst/>
              <a:rect l="l" t="t" r="r" b="b"/>
              <a:pathLst>
                <a:path w="454" h="537" extrusionOk="0">
                  <a:moveTo>
                    <a:pt x="184" y="0"/>
                  </a:moveTo>
                  <a:cubicBezTo>
                    <a:pt x="164" y="0"/>
                    <a:pt x="142" y="4"/>
                    <a:pt x="120" y="13"/>
                  </a:cubicBezTo>
                  <a:cubicBezTo>
                    <a:pt x="48" y="36"/>
                    <a:pt x="1" y="132"/>
                    <a:pt x="36" y="215"/>
                  </a:cubicBezTo>
                  <a:lnTo>
                    <a:pt x="120" y="429"/>
                  </a:lnTo>
                  <a:cubicBezTo>
                    <a:pt x="155" y="501"/>
                    <a:pt x="215" y="536"/>
                    <a:pt x="274" y="536"/>
                  </a:cubicBezTo>
                  <a:cubicBezTo>
                    <a:pt x="286" y="536"/>
                    <a:pt x="322" y="536"/>
                    <a:pt x="334" y="513"/>
                  </a:cubicBezTo>
                  <a:cubicBezTo>
                    <a:pt x="405" y="489"/>
                    <a:pt x="453" y="394"/>
                    <a:pt x="417" y="310"/>
                  </a:cubicBezTo>
                  <a:lnTo>
                    <a:pt x="334" y="96"/>
                  </a:lnTo>
                  <a:cubicBezTo>
                    <a:pt x="307" y="41"/>
                    <a:pt x="251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7" name="Google Shape;13717;p64"/>
            <p:cNvSpPr/>
            <p:nvPr/>
          </p:nvSpPr>
          <p:spPr>
            <a:xfrm>
              <a:off x="2505545" y="1768770"/>
              <a:ext cx="14037" cy="16552"/>
            </a:xfrm>
            <a:custGeom>
              <a:avLst/>
              <a:gdLst/>
              <a:ahLst/>
              <a:cxnLst/>
              <a:rect l="l" t="t" r="r" b="b"/>
              <a:pathLst>
                <a:path w="441" h="520" extrusionOk="0">
                  <a:moveTo>
                    <a:pt x="195" y="0"/>
                  </a:moveTo>
                  <a:cubicBezTo>
                    <a:pt x="171" y="0"/>
                    <a:pt x="146" y="6"/>
                    <a:pt x="119" y="20"/>
                  </a:cubicBezTo>
                  <a:cubicBezTo>
                    <a:pt x="48" y="43"/>
                    <a:pt x="0" y="139"/>
                    <a:pt x="24" y="222"/>
                  </a:cubicBezTo>
                  <a:lnTo>
                    <a:pt x="119" y="436"/>
                  </a:lnTo>
                  <a:cubicBezTo>
                    <a:pt x="155" y="496"/>
                    <a:pt x="214" y="520"/>
                    <a:pt x="274" y="520"/>
                  </a:cubicBezTo>
                  <a:cubicBezTo>
                    <a:pt x="286" y="520"/>
                    <a:pt x="310" y="520"/>
                    <a:pt x="322" y="508"/>
                  </a:cubicBezTo>
                  <a:cubicBezTo>
                    <a:pt x="405" y="472"/>
                    <a:pt x="441" y="389"/>
                    <a:pt x="417" y="293"/>
                  </a:cubicBezTo>
                  <a:lnTo>
                    <a:pt x="322" y="91"/>
                  </a:lnTo>
                  <a:cubicBezTo>
                    <a:pt x="304" y="39"/>
                    <a:pt x="256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8" name="Google Shape;13718;p64"/>
            <p:cNvSpPr/>
            <p:nvPr/>
          </p:nvSpPr>
          <p:spPr>
            <a:xfrm>
              <a:off x="2565417" y="1625885"/>
              <a:ext cx="17825" cy="13146"/>
            </a:xfrm>
            <a:custGeom>
              <a:avLst/>
              <a:gdLst/>
              <a:ahLst/>
              <a:cxnLst/>
              <a:rect l="l" t="t" r="r" b="b"/>
              <a:pathLst>
                <a:path w="560" h="413" extrusionOk="0">
                  <a:moveTo>
                    <a:pt x="378" y="1"/>
                  </a:moveTo>
                  <a:cubicBezTo>
                    <a:pt x="360" y="1"/>
                    <a:pt x="341" y="3"/>
                    <a:pt x="322" y="8"/>
                  </a:cubicBezTo>
                  <a:lnTo>
                    <a:pt x="119" y="103"/>
                  </a:lnTo>
                  <a:cubicBezTo>
                    <a:pt x="36" y="127"/>
                    <a:pt x="0" y="222"/>
                    <a:pt x="24" y="306"/>
                  </a:cubicBezTo>
                  <a:cubicBezTo>
                    <a:pt x="60" y="365"/>
                    <a:pt x="96" y="413"/>
                    <a:pt x="179" y="413"/>
                  </a:cubicBezTo>
                  <a:cubicBezTo>
                    <a:pt x="191" y="413"/>
                    <a:pt x="215" y="413"/>
                    <a:pt x="227" y="401"/>
                  </a:cubicBezTo>
                  <a:lnTo>
                    <a:pt x="441" y="306"/>
                  </a:lnTo>
                  <a:cubicBezTo>
                    <a:pt x="512" y="282"/>
                    <a:pt x="560" y="187"/>
                    <a:pt x="524" y="103"/>
                  </a:cubicBezTo>
                  <a:cubicBezTo>
                    <a:pt x="505" y="37"/>
                    <a:pt x="449" y="1"/>
                    <a:pt x="3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9" name="Google Shape;13719;p64"/>
            <p:cNvSpPr/>
            <p:nvPr/>
          </p:nvSpPr>
          <p:spPr>
            <a:xfrm>
              <a:off x="2359254" y="1709312"/>
              <a:ext cx="17825" cy="12732"/>
            </a:xfrm>
            <a:custGeom>
              <a:avLst/>
              <a:gdLst/>
              <a:ahLst/>
              <a:cxnLst/>
              <a:rect l="l" t="t" r="r" b="b"/>
              <a:pathLst>
                <a:path w="560" h="400" extrusionOk="0">
                  <a:moveTo>
                    <a:pt x="372" y="0"/>
                  </a:moveTo>
                  <a:cubicBezTo>
                    <a:pt x="356" y="0"/>
                    <a:pt x="339" y="2"/>
                    <a:pt x="322" y="6"/>
                  </a:cubicBezTo>
                  <a:lnTo>
                    <a:pt x="119" y="102"/>
                  </a:lnTo>
                  <a:cubicBezTo>
                    <a:pt x="48" y="125"/>
                    <a:pt x="0" y="221"/>
                    <a:pt x="24" y="304"/>
                  </a:cubicBezTo>
                  <a:cubicBezTo>
                    <a:pt x="60" y="364"/>
                    <a:pt x="119" y="399"/>
                    <a:pt x="179" y="399"/>
                  </a:cubicBezTo>
                  <a:cubicBezTo>
                    <a:pt x="191" y="399"/>
                    <a:pt x="227" y="399"/>
                    <a:pt x="238" y="387"/>
                  </a:cubicBezTo>
                  <a:lnTo>
                    <a:pt x="441" y="292"/>
                  </a:lnTo>
                  <a:cubicBezTo>
                    <a:pt x="512" y="268"/>
                    <a:pt x="560" y="173"/>
                    <a:pt x="536" y="90"/>
                  </a:cubicBezTo>
                  <a:cubicBezTo>
                    <a:pt x="507" y="41"/>
                    <a:pt x="445" y="0"/>
                    <a:pt x="3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20" name="Google Shape;13720;p64"/>
          <p:cNvGrpSpPr/>
          <p:nvPr/>
        </p:nvGrpSpPr>
        <p:grpSpPr>
          <a:xfrm>
            <a:off x="2780301" y="1521896"/>
            <a:ext cx="333133" cy="321037"/>
            <a:chOff x="2780301" y="1521896"/>
            <a:chExt cx="333133" cy="321037"/>
          </a:xfrm>
        </p:grpSpPr>
        <p:sp>
          <p:nvSpPr>
            <p:cNvPr id="13721" name="Google Shape;13721;p64"/>
            <p:cNvSpPr/>
            <p:nvPr/>
          </p:nvSpPr>
          <p:spPr>
            <a:xfrm>
              <a:off x="3009573" y="1542745"/>
              <a:ext cx="72031" cy="9517"/>
            </a:xfrm>
            <a:custGeom>
              <a:avLst/>
              <a:gdLst/>
              <a:ahLst/>
              <a:cxnLst/>
              <a:rect l="l" t="t" r="r" b="b"/>
              <a:pathLst>
                <a:path w="2263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cubicBezTo>
                    <a:pt x="0" y="227"/>
                    <a:pt x="72" y="298"/>
                    <a:pt x="155" y="298"/>
                  </a:cubicBezTo>
                  <a:lnTo>
                    <a:pt x="2120" y="298"/>
                  </a:lnTo>
                  <a:cubicBezTo>
                    <a:pt x="2203" y="298"/>
                    <a:pt x="2263" y="227"/>
                    <a:pt x="2263" y="155"/>
                  </a:cubicBezTo>
                  <a:cubicBezTo>
                    <a:pt x="2263" y="60"/>
                    <a:pt x="2203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2" name="Google Shape;13722;p64"/>
            <p:cNvSpPr/>
            <p:nvPr/>
          </p:nvSpPr>
          <p:spPr>
            <a:xfrm>
              <a:off x="2967876" y="1542745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56" y="1"/>
                  </a:moveTo>
                  <a:cubicBezTo>
                    <a:pt x="60" y="1"/>
                    <a:pt x="1" y="84"/>
                    <a:pt x="1" y="155"/>
                  </a:cubicBezTo>
                  <a:cubicBezTo>
                    <a:pt x="1" y="227"/>
                    <a:pt x="72" y="298"/>
                    <a:pt x="156" y="298"/>
                  </a:cubicBezTo>
                  <a:lnTo>
                    <a:pt x="810" y="298"/>
                  </a:lnTo>
                  <a:cubicBezTo>
                    <a:pt x="894" y="298"/>
                    <a:pt x="953" y="227"/>
                    <a:pt x="953" y="155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3" name="Google Shape;13723;p64"/>
            <p:cNvSpPr/>
            <p:nvPr/>
          </p:nvSpPr>
          <p:spPr>
            <a:xfrm>
              <a:off x="3061870" y="1563594"/>
              <a:ext cx="19735" cy="9517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3" y="0"/>
                  </a:moveTo>
                  <a:cubicBezTo>
                    <a:pt x="60" y="0"/>
                    <a:pt x="0" y="84"/>
                    <a:pt x="0" y="155"/>
                  </a:cubicBezTo>
                  <a:cubicBezTo>
                    <a:pt x="0" y="239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60" y="298"/>
                    <a:pt x="620" y="227"/>
                    <a:pt x="620" y="155"/>
                  </a:cubicBezTo>
                  <a:cubicBezTo>
                    <a:pt x="620" y="60"/>
                    <a:pt x="560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4" name="Google Shape;13724;p64"/>
            <p:cNvSpPr/>
            <p:nvPr/>
          </p:nvSpPr>
          <p:spPr>
            <a:xfrm>
              <a:off x="2967876" y="1563594"/>
              <a:ext cx="82663" cy="9517"/>
            </a:xfrm>
            <a:custGeom>
              <a:avLst/>
              <a:gdLst/>
              <a:ahLst/>
              <a:cxnLst/>
              <a:rect l="l" t="t" r="r" b="b"/>
              <a:pathLst>
                <a:path w="2597" h="299" extrusionOk="0">
                  <a:moveTo>
                    <a:pt x="156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9"/>
                    <a:pt x="72" y="298"/>
                    <a:pt x="156" y="298"/>
                  </a:cubicBezTo>
                  <a:lnTo>
                    <a:pt x="2442" y="298"/>
                  </a:lnTo>
                  <a:cubicBezTo>
                    <a:pt x="2537" y="298"/>
                    <a:pt x="2596" y="227"/>
                    <a:pt x="2596" y="155"/>
                  </a:cubicBezTo>
                  <a:cubicBezTo>
                    <a:pt x="2596" y="60"/>
                    <a:pt x="2537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5" name="Google Shape;13725;p64"/>
            <p:cNvSpPr/>
            <p:nvPr/>
          </p:nvSpPr>
          <p:spPr>
            <a:xfrm>
              <a:off x="2936809" y="1521896"/>
              <a:ext cx="176625" cy="96286"/>
            </a:xfrm>
            <a:custGeom>
              <a:avLst/>
              <a:gdLst/>
              <a:ahLst/>
              <a:cxnLst/>
              <a:rect l="l" t="t" r="r" b="b"/>
              <a:pathLst>
                <a:path w="5549" h="3025" extrusionOk="0">
                  <a:moveTo>
                    <a:pt x="4894" y="298"/>
                  </a:moveTo>
                  <a:cubicBezTo>
                    <a:pt x="5084" y="298"/>
                    <a:pt x="5227" y="453"/>
                    <a:pt x="5227" y="644"/>
                  </a:cubicBezTo>
                  <a:lnTo>
                    <a:pt x="5227" y="1620"/>
                  </a:lnTo>
                  <a:cubicBezTo>
                    <a:pt x="5227" y="1822"/>
                    <a:pt x="5084" y="1965"/>
                    <a:pt x="4894" y="1965"/>
                  </a:cubicBezTo>
                  <a:lnTo>
                    <a:pt x="4406" y="1965"/>
                  </a:lnTo>
                  <a:cubicBezTo>
                    <a:pt x="4358" y="1965"/>
                    <a:pt x="4310" y="1989"/>
                    <a:pt x="4287" y="2025"/>
                  </a:cubicBezTo>
                  <a:cubicBezTo>
                    <a:pt x="4251" y="2061"/>
                    <a:pt x="4239" y="2096"/>
                    <a:pt x="4251" y="2144"/>
                  </a:cubicBezTo>
                  <a:lnTo>
                    <a:pt x="4346" y="2727"/>
                  </a:lnTo>
                  <a:lnTo>
                    <a:pt x="4346" y="2739"/>
                  </a:lnTo>
                  <a:lnTo>
                    <a:pt x="4322" y="2739"/>
                  </a:lnTo>
                  <a:lnTo>
                    <a:pt x="3346" y="2001"/>
                  </a:lnTo>
                  <a:cubicBezTo>
                    <a:pt x="3310" y="1977"/>
                    <a:pt x="3287" y="1965"/>
                    <a:pt x="3251" y="1965"/>
                  </a:cubicBezTo>
                  <a:lnTo>
                    <a:pt x="631" y="1965"/>
                  </a:lnTo>
                  <a:cubicBezTo>
                    <a:pt x="441" y="1965"/>
                    <a:pt x="298" y="1822"/>
                    <a:pt x="298" y="1620"/>
                  </a:cubicBezTo>
                  <a:lnTo>
                    <a:pt x="298" y="644"/>
                  </a:lnTo>
                  <a:cubicBezTo>
                    <a:pt x="298" y="453"/>
                    <a:pt x="441" y="298"/>
                    <a:pt x="631" y="298"/>
                  </a:cubicBezTo>
                  <a:close/>
                  <a:moveTo>
                    <a:pt x="631" y="1"/>
                  </a:moveTo>
                  <a:cubicBezTo>
                    <a:pt x="274" y="1"/>
                    <a:pt x="0" y="286"/>
                    <a:pt x="0" y="644"/>
                  </a:cubicBezTo>
                  <a:lnTo>
                    <a:pt x="0" y="1632"/>
                  </a:lnTo>
                  <a:cubicBezTo>
                    <a:pt x="0" y="1989"/>
                    <a:pt x="274" y="2263"/>
                    <a:pt x="631" y="2263"/>
                  </a:cubicBezTo>
                  <a:lnTo>
                    <a:pt x="3203" y="2263"/>
                  </a:lnTo>
                  <a:lnTo>
                    <a:pt x="4144" y="2965"/>
                  </a:lnTo>
                  <a:cubicBezTo>
                    <a:pt x="4203" y="3013"/>
                    <a:pt x="4263" y="3025"/>
                    <a:pt x="4334" y="3025"/>
                  </a:cubicBezTo>
                  <a:cubicBezTo>
                    <a:pt x="4394" y="3025"/>
                    <a:pt x="4453" y="3013"/>
                    <a:pt x="4501" y="2977"/>
                  </a:cubicBezTo>
                  <a:cubicBezTo>
                    <a:pt x="4608" y="2906"/>
                    <a:pt x="4668" y="2787"/>
                    <a:pt x="4656" y="2656"/>
                  </a:cubicBezTo>
                  <a:lnTo>
                    <a:pt x="4596" y="2251"/>
                  </a:lnTo>
                  <a:lnTo>
                    <a:pt x="4906" y="2251"/>
                  </a:lnTo>
                  <a:cubicBezTo>
                    <a:pt x="5263" y="2251"/>
                    <a:pt x="5549" y="1965"/>
                    <a:pt x="5549" y="1608"/>
                  </a:cubicBezTo>
                  <a:lnTo>
                    <a:pt x="5549" y="632"/>
                  </a:lnTo>
                  <a:cubicBezTo>
                    <a:pt x="5525" y="286"/>
                    <a:pt x="5251" y="1"/>
                    <a:pt x="4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6" name="Google Shape;13726;p64"/>
            <p:cNvSpPr/>
            <p:nvPr/>
          </p:nvSpPr>
          <p:spPr>
            <a:xfrm>
              <a:off x="2811367" y="1767115"/>
              <a:ext cx="72413" cy="9485"/>
            </a:xfrm>
            <a:custGeom>
              <a:avLst/>
              <a:gdLst/>
              <a:ahLst/>
              <a:cxnLst/>
              <a:rect l="l" t="t" r="r" b="b"/>
              <a:pathLst>
                <a:path w="227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14"/>
                    <a:pt x="84" y="298"/>
                    <a:pt x="155" y="298"/>
                  </a:cubicBezTo>
                  <a:lnTo>
                    <a:pt x="2120" y="298"/>
                  </a:lnTo>
                  <a:cubicBezTo>
                    <a:pt x="2215" y="298"/>
                    <a:pt x="2275" y="214"/>
                    <a:pt x="2275" y="143"/>
                  </a:cubicBezTo>
                  <a:cubicBezTo>
                    <a:pt x="2275" y="72"/>
                    <a:pt x="2215" y="0"/>
                    <a:pt x="2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7" name="Google Shape;13727;p64"/>
            <p:cNvSpPr/>
            <p:nvPr/>
          </p:nvSpPr>
          <p:spPr>
            <a:xfrm>
              <a:off x="2894730" y="1767115"/>
              <a:ext cx="20117" cy="9485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56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14"/>
                    <a:pt x="84" y="298"/>
                    <a:pt x="156" y="298"/>
                  </a:cubicBezTo>
                  <a:lnTo>
                    <a:pt x="489" y="298"/>
                  </a:lnTo>
                  <a:cubicBezTo>
                    <a:pt x="572" y="298"/>
                    <a:pt x="632" y="214"/>
                    <a:pt x="632" y="143"/>
                  </a:cubicBezTo>
                  <a:cubicBezTo>
                    <a:pt x="632" y="72"/>
                    <a:pt x="572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8" name="Google Shape;13728;p64"/>
            <p:cNvSpPr/>
            <p:nvPr/>
          </p:nvSpPr>
          <p:spPr>
            <a:xfrm>
              <a:off x="2811367" y="1787932"/>
              <a:ext cx="20117" cy="9517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44"/>
                  </a:cubicBezTo>
                  <a:cubicBezTo>
                    <a:pt x="0" y="239"/>
                    <a:pt x="84" y="299"/>
                    <a:pt x="155" y="299"/>
                  </a:cubicBezTo>
                  <a:lnTo>
                    <a:pt x="489" y="299"/>
                  </a:lnTo>
                  <a:cubicBezTo>
                    <a:pt x="572" y="299"/>
                    <a:pt x="631" y="215"/>
                    <a:pt x="631" y="144"/>
                  </a:cubicBezTo>
                  <a:cubicBezTo>
                    <a:pt x="631" y="60"/>
                    <a:pt x="572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9" name="Google Shape;13729;p64"/>
            <p:cNvSpPr/>
            <p:nvPr/>
          </p:nvSpPr>
          <p:spPr>
            <a:xfrm>
              <a:off x="2842815" y="1787932"/>
              <a:ext cx="72031" cy="9517"/>
            </a:xfrm>
            <a:custGeom>
              <a:avLst/>
              <a:gdLst/>
              <a:ahLst/>
              <a:cxnLst/>
              <a:rect l="l" t="t" r="r" b="b"/>
              <a:pathLst>
                <a:path w="2263" h="299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9"/>
                    <a:pt x="144" y="299"/>
                  </a:cubicBezTo>
                  <a:lnTo>
                    <a:pt x="2120" y="299"/>
                  </a:lnTo>
                  <a:cubicBezTo>
                    <a:pt x="2203" y="299"/>
                    <a:pt x="2263" y="215"/>
                    <a:pt x="2263" y="144"/>
                  </a:cubicBezTo>
                  <a:cubicBezTo>
                    <a:pt x="2263" y="60"/>
                    <a:pt x="2203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0" name="Google Shape;13730;p64"/>
            <p:cNvSpPr/>
            <p:nvPr/>
          </p:nvSpPr>
          <p:spPr>
            <a:xfrm>
              <a:off x="2780301" y="1746266"/>
              <a:ext cx="166375" cy="96668"/>
            </a:xfrm>
            <a:custGeom>
              <a:avLst/>
              <a:gdLst/>
              <a:ahLst/>
              <a:cxnLst/>
              <a:rect l="l" t="t" r="r" b="b"/>
              <a:pathLst>
                <a:path w="5227" h="3037" extrusionOk="0">
                  <a:moveTo>
                    <a:pt x="4572" y="286"/>
                  </a:moveTo>
                  <a:cubicBezTo>
                    <a:pt x="4763" y="286"/>
                    <a:pt x="4917" y="441"/>
                    <a:pt x="4917" y="631"/>
                  </a:cubicBezTo>
                  <a:lnTo>
                    <a:pt x="4917" y="1619"/>
                  </a:lnTo>
                  <a:cubicBezTo>
                    <a:pt x="4917" y="1810"/>
                    <a:pt x="4763" y="1965"/>
                    <a:pt x="4572" y="1965"/>
                  </a:cubicBezTo>
                  <a:lnTo>
                    <a:pt x="2274" y="1965"/>
                  </a:lnTo>
                  <a:cubicBezTo>
                    <a:pt x="2250" y="1965"/>
                    <a:pt x="2215" y="1977"/>
                    <a:pt x="2191" y="1989"/>
                  </a:cubicBezTo>
                  <a:lnTo>
                    <a:pt x="1203" y="2739"/>
                  </a:lnTo>
                  <a:lnTo>
                    <a:pt x="1191" y="2739"/>
                  </a:lnTo>
                  <a:lnTo>
                    <a:pt x="1191" y="2715"/>
                  </a:lnTo>
                  <a:lnTo>
                    <a:pt x="1286" y="2143"/>
                  </a:lnTo>
                  <a:cubicBezTo>
                    <a:pt x="1286" y="2096"/>
                    <a:pt x="1286" y="2048"/>
                    <a:pt x="1250" y="2012"/>
                  </a:cubicBezTo>
                  <a:cubicBezTo>
                    <a:pt x="1215" y="1989"/>
                    <a:pt x="1179" y="1965"/>
                    <a:pt x="1131" y="1965"/>
                  </a:cubicBezTo>
                  <a:lnTo>
                    <a:pt x="643" y="1965"/>
                  </a:lnTo>
                  <a:cubicBezTo>
                    <a:pt x="453" y="1965"/>
                    <a:pt x="298" y="1810"/>
                    <a:pt x="298" y="1619"/>
                  </a:cubicBezTo>
                  <a:lnTo>
                    <a:pt x="298" y="631"/>
                  </a:lnTo>
                  <a:cubicBezTo>
                    <a:pt x="298" y="441"/>
                    <a:pt x="453" y="286"/>
                    <a:pt x="643" y="286"/>
                  </a:cubicBezTo>
                  <a:close/>
                  <a:moveTo>
                    <a:pt x="643" y="0"/>
                  </a:moveTo>
                  <a:cubicBezTo>
                    <a:pt x="286" y="0"/>
                    <a:pt x="0" y="274"/>
                    <a:pt x="0" y="631"/>
                  </a:cubicBezTo>
                  <a:lnTo>
                    <a:pt x="0" y="1619"/>
                  </a:lnTo>
                  <a:cubicBezTo>
                    <a:pt x="0" y="1977"/>
                    <a:pt x="286" y="2262"/>
                    <a:pt x="643" y="2262"/>
                  </a:cubicBezTo>
                  <a:lnTo>
                    <a:pt x="953" y="2262"/>
                  </a:lnTo>
                  <a:lnTo>
                    <a:pt x="893" y="2655"/>
                  </a:lnTo>
                  <a:cubicBezTo>
                    <a:pt x="881" y="2798"/>
                    <a:pt x="929" y="2917"/>
                    <a:pt x="1048" y="2989"/>
                  </a:cubicBezTo>
                  <a:cubicBezTo>
                    <a:pt x="1084" y="3012"/>
                    <a:pt x="1143" y="3036"/>
                    <a:pt x="1203" y="3036"/>
                  </a:cubicBezTo>
                  <a:cubicBezTo>
                    <a:pt x="1262" y="3036"/>
                    <a:pt x="1346" y="3012"/>
                    <a:pt x="1405" y="2977"/>
                  </a:cubicBezTo>
                  <a:lnTo>
                    <a:pt x="2334" y="2274"/>
                  </a:lnTo>
                  <a:lnTo>
                    <a:pt x="4584" y="2274"/>
                  </a:lnTo>
                  <a:cubicBezTo>
                    <a:pt x="4941" y="2274"/>
                    <a:pt x="5227" y="1989"/>
                    <a:pt x="5227" y="1631"/>
                  </a:cubicBezTo>
                  <a:lnTo>
                    <a:pt x="5227" y="655"/>
                  </a:lnTo>
                  <a:cubicBezTo>
                    <a:pt x="5215" y="274"/>
                    <a:pt x="4929" y="0"/>
                    <a:pt x="4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1" name="Google Shape;13731;p64"/>
            <p:cNvSpPr/>
            <p:nvPr/>
          </p:nvSpPr>
          <p:spPr>
            <a:xfrm>
              <a:off x="3020172" y="1720102"/>
              <a:ext cx="61432" cy="9517"/>
            </a:xfrm>
            <a:custGeom>
              <a:avLst/>
              <a:gdLst/>
              <a:ahLst/>
              <a:cxnLst/>
              <a:rect l="l" t="t" r="r" b="b"/>
              <a:pathLst>
                <a:path w="1930" h="299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4" y="298"/>
                  </a:cubicBezTo>
                  <a:lnTo>
                    <a:pt x="1787" y="298"/>
                  </a:lnTo>
                  <a:cubicBezTo>
                    <a:pt x="1870" y="298"/>
                    <a:pt x="1930" y="227"/>
                    <a:pt x="1930" y="144"/>
                  </a:cubicBezTo>
                  <a:cubicBezTo>
                    <a:pt x="1930" y="60"/>
                    <a:pt x="1870" y="1"/>
                    <a:pt x="1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2" name="Google Shape;13732;p64"/>
            <p:cNvSpPr/>
            <p:nvPr/>
          </p:nvSpPr>
          <p:spPr>
            <a:xfrm>
              <a:off x="2988724" y="1720102"/>
              <a:ext cx="19735" cy="9517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3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72" y="298"/>
                    <a:pt x="620" y="227"/>
                    <a:pt x="620" y="144"/>
                  </a:cubicBezTo>
                  <a:cubicBezTo>
                    <a:pt x="620" y="60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3" name="Google Shape;13733;p64"/>
            <p:cNvSpPr/>
            <p:nvPr/>
          </p:nvSpPr>
          <p:spPr>
            <a:xfrm>
              <a:off x="2957658" y="1699253"/>
              <a:ext cx="155776" cy="75087"/>
            </a:xfrm>
            <a:custGeom>
              <a:avLst/>
              <a:gdLst/>
              <a:ahLst/>
              <a:cxnLst/>
              <a:rect l="l" t="t" r="r" b="b"/>
              <a:pathLst>
                <a:path w="4894" h="2359" extrusionOk="0">
                  <a:moveTo>
                    <a:pt x="4239" y="299"/>
                  </a:moveTo>
                  <a:cubicBezTo>
                    <a:pt x="4429" y="299"/>
                    <a:pt x="4572" y="441"/>
                    <a:pt x="4572" y="644"/>
                  </a:cubicBezTo>
                  <a:lnTo>
                    <a:pt x="4572" y="965"/>
                  </a:lnTo>
                  <a:cubicBezTo>
                    <a:pt x="4572" y="1156"/>
                    <a:pt x="4429" y="1311"/>
                    <a:pt x="4239" y="1311"/>
                  </a:cubicBezTo>
                  <a:lnTo>
                    <a:pt x="3751" y="1311"/>
                  </a:lnTo>
                  <a:cubicBezTo>
                    <a:pt x="3703" y="1311"/>
                    <a:pt x="3655" y="1322"/>
                    <a:pt x="3632" y="1370"/>
                  </a:cubicBezTo>
                  <a:cubicBezTo>
                    <a:pt x="3596" y="1394"/>
                    <a:pt x="3584" y="1442"/>
                    <a:pt x="3596" y="1489"/>
                  </a:cubicBezTo>
                  <a:lnTo>
                    <a:pt x="3691" y="2061"/>
                  </a:lnTo>
                  <a:lnTo>
                    <a:pt x="3691" y="2084"/>
                  </a:lnTo>
                  <a:cubicBezTo>
                    <a:pt x="3691" y="2088"/>
                    <a:pt x="3689" y="2090"/>
                    <a:pt x="3685" y="2090"/>
                  </a:cubicBezTo>
                  <a:cubicBezTo>
                    <a:pt x="3678" y="2090"/>
                    <a:pt x="3667" y="2084"/>
                    <a:pt x="3667" y="2084"/>
                  </a:cubicBezTo>
                  <a:lnTo>
                    <a:pt x="2691" y="1334"/>
                  </a:lnTo>
                  <a:cubicBezTo>
                    <a:pt x="2655" y="1322"/>
                    <a:pt x="2632" y="1311"/>
                    <a:pt x="2596" y="1311"/>
                  </a:cubicBezTo>
                  <a:lnTo>
                    <a:pt x="631" y="1311"/>
                  </a:lnTo>
                  <a:cubicBezTo>
                    <a:pt x="441" y="1311"/>
                    <a:pt x="298" y="1156"/>
                    <a:pt x="298" y="965"/>
                  </a:cubicBezTo>
                  <a:lnTo>
                    <a:pt x="298" y="644"/>
                  </a:lnTo>
                  <a:cubicBezTo>
                    <a:pt x="298" y="441"/>
                    <a:pt x="441" y="299"/>
                    <a:pt x="631" y="299"/>
                  </a:cubicBezTo>
                  <a:close/>
                  <a:moveTo>
                    <a:pt x="631" y="1"/>
                  </a:moveTo>
                  <a:cubicBezTo>
                    <a:pt x="274" y="1"/>
                    <a:pt x="0" y="275"/>
                    <a:pt x="0" y="644"/>
                  </a:cubicBezTo>
                  <a:lnTo>
                    <a:pt x="0" y="965"/>
                  </a:lnTo>
                  <a:cubicBezTo>
                    <a:pt x="0" y="1322"/>
                    <a:pt x="274" y="1608"/>
                    <a:pt x="631" y="1608"/>
                  </a:cubicBezTo>
                  <a:lnTo>
                    <a:pt x="2548" y="1608"/>
                  </a:lnTo>
                  <a:lnTo>
                    <a:pt x="3489" y="2299"/>
                  </a:lnTo>
                  <a:cubicBezTo>
                    <a:pt x="3548" y="2346"/>
                    <a:pt x="3608" y="2358"/>
                    <a:pt x="3679" y="2358"/>
                  </a:cubicBezTo>
                  <a:cubicBezTo>
                    <a:pt x="3739" y="2358"/>
                    <a:pt x="3798" y="2346"/>
                    <a:pt x="3846" y="2323"/>
                  </a:cubicBezTo>
                  <a:cubicBezTo>
                    <a:pt x="3953" y="2239"/>
                    <a:pt x="4013" y="2120"/>
                    <a:pt x="4001" y="1989"/>
                  </a:cubicBezTo>
                  <a:lnTo>
                    <a:pt x="3941" y="1584"/>
                  </a:lnTo>
                  <a:lnTo>
                    <a:pt x="4251" y="1584"/>
                  </a:lnTo>
                  <a:cubicBezTo>
                    <a:pt x="4608" y="1584"/>
                    <a:pt x="4894" y="1311"/>
                    <a:pt x="4894" y="953"/>
                  </a:cubicBezTo>
                  <a:lnTo>
                    <a:pt x="4894" y="620"/>
                  </a:lnTo>
                  <a:cubicBezTo>
                    <a:pt x="4870" y="287"/>
                    <a:pt x="4596" y="1"/>
                    <a:pt x="4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4" name="Google Shape;13734;p64"/>
            <p:cNvSpPr/>
            <p:nvPr/>
          </p:nvSpPr>
          <p:spPr>
            <a:xfrm>
              <a:off x="2811367" y="1626108"/>
              <a:ext cx="72413" cy="9517"/>
            </a:xfrm>
            <a:custGeom>
              <a:avLst/>
              <a:gdLst/>
              <a:ahLst/>
              <a:cxnLst/>
              <a:rect l="l" t="t" r="r" b="b"/>
              <a:pathLst>
                <a:path w="2275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6"/>
                  </a:cubicBezTo>
                  <a:cubicBezTo>
                    <a:pt x="0" y="227"/>
                    <a:pt x="84" y="299"/>
                    <a:pt x="155" y="299"/>
                  </a:cubicBezTo>
                  <a:lnTo>
                    <a:pt x="2120" y="299"/>
                  </a:lnTo>
                  <a:cubicBezTo>
                    <a:pt x="2215" y="299"/>
                    <a:pt x="2275" y="227"/>
                    <a:pt x="2275" y="156"/>
                  </a:cubicBezTo>
                  <a:cubicBezTo>
                    <a:pt x="2275" y="60"/>
                    <a:pt x="2215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5" name="Google Shape;13735;p64"/>
            <p:cNvSpPr/>
            <p:nvPr/>
          </p:nvSpPr>
          <p:spPr>
            <a:xfrm>
              <a:off x="2895112" y="1626108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44" y="1"/>
                  </a:moveTo>
                  <a:cubicBezTo>
                    <a:pt x="60" y="1"/>
                    <a:pt x="1" y="84"/>
                    <a:pt x="1" y="156"/>
                  </a:cubicBezTo>
                  <a:cubicBezTo>
                    <a:pt x="1" y="227"/>
                    <a:pt x="72" y="299"/>
                    <a:pt x="144" y="299"/>
                  </a:cubicBezTo>
                  <a:lnTo>
                    <a:pt x="798" y="299"/>
                  </a:lnTo>
                  <a:cubicBezTo>
                    <a:pt x="894" y="299"/>
                    <a:pt x="953" y="227"/>
                    <a:pt x="953" y="156"/>
                  </a:cubicBezTo>
                  <a:cubicBezTo>
                    <a:pt x="953" y="60"/>
                    <a:pt x="882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6" name="Google Shape;13736;p64"/>
            <p:cNvSpPr/>
            <p:nvPr/>
          </p:nvSpPr>
          <p:spPr>
            <a:xfrm>
              <a:off x="2811367" y="1667805"/>
              <a:ext cx="72413" cy="9517"/>
            </a:xfrm>
            <a:custGeom>
              <a:avLst/>
              <a:gdLst/>
              <a:ahLst/>
              <a:cxnLst/>
              <a:rect l="l" t="t" r="r" b="b"/>
              <a:pathLst>
                <a:path w="2275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cubicBezTo>
                    <a:pt x="0" y="227"/>
                    <a:pt x="84" y="298"/>
                    <a:pt x="155" y="298"/>
                  </a:cubicBezTo>
                  <a:lnTo>
                    <a:pt x="2120" y="298"/>
                  </a:lnTo>
                  <a:cubicBezTo>
                    <a:pt x="2215" y="298"/>
                    <a:pt x="2275" y="227"/>
                    <a:pt x="2275" y="155"/>
                  </a:cubicBezTo>
                  <a:cubicBezTo>
                    <a:pt x="2275" y="60"/>
                    <a:pt x="2215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7" name="Google Shape;13737;p64"/>
            <p:cNvSpPr/>
            <p:nvPr/>
          </p:nvSpPr>
          <p:spPr>
            <a:xfrm>
              <a:off x="2895112" y="1667805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44" y="1"/>
                  </a:moveTo>
                  <a:cubicBezTo>
                    <a:pt x="60" y="1"/>
                    <a:pt x="1" y="84"/>
                    <a:pt x="1" y="155"/>
                  </a:cubicBezTo>
                  <a:cubicBezTo>
                    <a:pt x="1" y="227"/>
                    <a:pt x="72" y="298"/>
                    <a:pt x="144" y="298"/>
                  </a:cubicBezTo>
                  <a:lnTo>
                    <a:pt x="798" y="298"/>
                  </a:lnTo>
                  <a:cubicBezTo>
                    <a:pt x="894" y="298"/>
                    <a:pt x="953" y="227"/>
                    <a:pt x="953" y="155"/>
                  </a:cubicBezTo>
                  <a:cubicBezTo>
                    <a:pt x="953" y="60"/>
                    <a:pt x="882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8" name="Google Shape;13738;p64"/>
            <p:cNvSpPr/>
            <p:nvPr/>
          </p:nvSpPr>
          <p:spPr>
            <a:xfrm>
              <a:off x="2811367" y="1646957"/>
              <a:ext cx="20117" cy="9517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56"/>
                  </a:cubicBezTo>
                  <a:cubicBezTo>
                    <a:pt x="0" y="239"/>
                    <a:pt x="84" y="298"/>
                    <a:pt x="155" y="298"/>
                  </a:cubicBezTo>
                  <a:lnTo>
                    <a:pt x="489" y="298"/>
                  </a:lnTo>
                  <a:cubicBezTo>
                    <a:pt x="572" y="298"/>
                    <a:pt x="631" y="227"/>
                    <a:pt x="631" y="156"/>
                  </a:cubicBezTo>
                  <a:cubicBezTo>
                    <a:pt x="631" y="60"/>
                    <a:pt x="572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9" name="Google Shape;13739;p64"/>
            <p:cNvSpPr/>
            <p:nvPr/>
          </p:nvSpPr>
          <p:spPr>
            <a:xfrm>
              <a:off x="2842815" y="1646957"/>
              <a:ext cx="82663" cy="9517"/>
            </a:xfrm>
            <a:custGeom>
              <a:avLst/>
              <a:gdLst/>
              <a:ahLst/>
              <a:cxnLst/>
              <a:rect l="l" t="t" r="r" b="b"/>
              <a:pathLst>
                <a:path w="2597" h="299" extrusionOk="0">
                  <a:moveTo>
                    <a:pt x="155" y="1"/>
                  </a:moveTo>
                  <a:cubicBezTo>
                    <a:pt x="60" y="1"/>
                    <a:pt x="1" y="72"/>
                    <a:pt x="1" y="156"/>
                  </a:cubicBezTo>
                  <a:cubicBezTo>
                    <a:pt x="1" y="239"/>
                    <a:pt x="72" y="298"/>
                    <a:pt x="155" y="298"/>
                  </a:cubicBezTo>
                  <a:lnTo>
                    <a:pt x="2441" y="298"/>
                  </a:lnTo>
                  <a:cubicBezTo>
                    <a:pt x="2537" y="298"/>
                    <a:pt x="2596" y="227"/>
                    <a:pt x="2596" y="156"/>
                  </a:cubicBezTo>
                  <a:cubicBezTo>
                    <a:pt x="2596" y="60"/>
                    <a:pt x="2525" y="1"/>
                    <a:pt x="2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0" name="Google Shape;13740;p64"/>
            <p:cNvSpPr/>
            <p:nvPr/>
          </p:nvSpPr>
          <p:spPr>
            <a:xfrm>
              <a:off x="2780301" y="1605291"/>
              <a:ext cx="176625" cy="117516"/>
            </a:xfrm>
            <a:custGeom>
              <a:avLst/>
              <a:gdLst/>
              <a:ahLst/>
              <a:cxnLst/>
              <a:rect l="l" t="t" r="r" b="b"/>
              <a:pathLst>
                <a:path w="5549" h="3692" extrusionOk="0">
                  <a:moveTo>
                    <a:pt x="4894" y="298"/>
                  </a:moveTo>
                  <a:cubicBezTo>
                    <a:pt x="5084" y="298"/>
                    <a:pt x="5239" y="453"/>
                    <a:pt x="5239" y="643"/>
                  </a:cubicBezTo>
                  <a:lnTo>
                    <a:pt x="5239" y="2274"/>
                  </a:lnTo>
                  <a:cubicBezTo>
                    <a:pt x="5239" y="2477"/>
                    <a:pt x="5084" y="2619"/>
                    <a:pt x="4894" y="2619"/>
                  </a:cubicBezTo>
                  <a:lnTo>
                    <a:pt x="2274" y="2619"/>
                  </a:lnTo>
                  <a:cubicBezTo>
                    <a:pt x="2250" y="2619"/>
                    <a:pt x="2215" y="2643"/>
                    <a:pt x="2191" y="2655"/>
                  </a:cubicBezTo>
                  <a:lnTo>
                    <a:pt x="1203" y="3393"/>
                  </a:lnTo>
                  <a:lnTo>
                    <a:pt x="1191" y="3393"/>
                  </a:lnTo>
                  <a:lnTo>
                    <a:pt x="1191" y="3381"/>
                  </a:lnTo>
                  <a:lnTo>
                    <a:pt x="1274" y="2798"/>
                  </a:lnTo>
                  <a:cubicBezTo>
                    <a:pt x="1274" y="2750"/>
                    <a:pt x="1274" y="2715"/>
                    <a:pt x="1250" y="2679"/>
                  </a:cubicBezTo>
                  <a:cubicBezTo>
                    <a:pt x="1215" y="2655"/>
                    <a:pt x="1179" y="2619"/>
                    <a:pt x="1131" y="2619"/>
                  </a:cubicBezTo>
                  <a:lnTo>
                    <a:pt x="643" y="2619"/>
                  </a:lnTo>
                  <a:cubicBezTo>
                    <a:pt x="453" y="2619"/>
                    <a:pt x="298" y="2477"/>
                    <a:pt x="298" y="2274"/>
                  </a:cubicBezTo>
                  <a:lnTo>
                    <a:pt x="298" y="643"/>
                  </a:lnTo>
                  <a:cubicBezTo>
                    <a:pt x="298" y="453"/>
                    <a:pt x="453" y="298"/>
                    <a:pt x="643" y="298"/>
                  </a:cubicBezTo>
                  <a:close/>
                  <a:moveTo>
                    <a:pt x="643" y="0"/>
                  </a:moveTo>
                  <a:cubicBezTo>
                    <a:pt x="286" y="0"/>
                    <a:pt x="0" y="286"/>
                    <a:pt x="0" y="643"/>
                  </a:cubicBezTo>
                  <a:lnTo>
                    <a:pt x="0" y="2286"/>
                  </a:lnTo>
                  <a:cubicBezTo>
                    <a:pt x="0" y="2643"/>
                    <a:pt x="286" y="2917"/>
                    <a:pt x="643" y="2917"/>
                  </a:cubicBezTo>
                  <a:lnTo>
                    <a:pt x="953" y="2917"/>
                  </a:lnTo>
                  <a:lnTo>
                    <a:pt x="893" y="3322"/>
                  </a:lnTo>
                  <a:cubicBezTo>
                    <a:pt x="881" y="3453"/>
                    <a:pt x="929" y="3572"/>
                    <a:pt x="1048" y="3655"/>
                  </a:cubicBezTo>
                  <a:cubicBezTo>
                    <a:pt x="1084" y="3679"/>
                    <a:pt x="1143" y="3691"/>
                    <a:pt x="1203" y="3691"/>
                  </a:cubicBezTo>
                  <a:cubicBezTo>
                    <a:pt x="1262" y="3691"/>
                    <a:pt x="1346" y="3679"/>
                    <a:pt x="1405" y="3632"/>
                  </a:cubicBezTo>
                  <a:lnTo>
                    <a:pt x="2334" y="2941"/>
                  </a:lnTo>
                  <a:lnTo>
                    <a:pt x="4906" y="2941"/>
                  </a:lnTo>
                  <a:cubicBezTo>
                    <a:pt x="5263" y="2941"/>
                    <a:pt x="5548" y="2655"/>
                    <a:pt x="5548" y="2298"/>
                  </a:cubicBezTo>
                  <a:lnTo>
                    <a:pt x="5548" y="655"/>
                  </a:lnTo>
                  <a:cubicBezTo>
                    <a:pt x="5537" y="286"/>
                    <a:pt x="5251" y="0"/>
                    <a:pt x="4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41" name="Google Shape;13741;p64"/>
          <p:cNvGrpSpPr/>
          <p:nvPr/>
        </p:nvGrpSpPr>
        <p:grpSpPr>
          <a:xfrm>
            <a:off x="3316159" y="1515085"/>
            <a:ext cx="211892" cy="339594"/>
            <a:chOff x="3316159" y="1515085"/>
            <a:chExt cx="211892" cy="339594"/>
          </a:xfrm>
        </p:grpSpPr>
        <p:sp>
          <p:nvSpPr>
            <p:cNvPr id="13742" name="Google Shape;13742;p64"/>
            <p:cNvSpPr/>
            <p:nvPr/>
          </p:nvSpPr>
          <p:spPr>
            <a:xfrm>
              <a:off x="3358621" y="1823199"/>
              <a:ext cx="15183" cy="9485"/>
            </a:xfrm>
            <a:custGeom>
              <a:avLst/>
              <a:gdLst/>
              <a:ahLst/>
              <a:cxnLst/>
              <a:rect l="l" t="t" r="r" b="b"/>
              <a:pathLst>
                <a:path w="477" h="298" extrusionOk="0">
                  <a:moveTo>
                    <a:pt x="155" y="0"/>
                  </a:moveTo>
                  <a:cubicBezTo>
                    <a:pt x="60" y="0"/>
                    <a:pt x="0" y="84"/>
                    <a:pt x="0" y="155"/>
                  </a:cubicBezTo>
                  <a:cubicBezTo>
                    <a:pt x="0" y="238"/>
                    <a:pt x="83" y="298"/>
                    <a:pt x="155" y="298"/>
                  </a:cubicBezTo>
                  <a:lnTo>
                    <a:pt x="322" y="298"/>
                  </a:lnTo>
                  <a:cubicBezTo>
                    <a:pt x="405" y="298"/>
                    <a:pt x="464" y="226"/>
                    <a:pt x="464" y="155"/>
                  </a:cubicBezTo>
                  <a:cubicBezTo>
                    <a:pt x="476" y="84"/>
                    <a:pt x="405" y="0"/>
                    <a:pt x="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3" name="Google Shape;13743;p64"/>
            <p:cNvSpPr/>
            <p:nvPr/>
          </p:nvSpPr>
          <p:spPr>
            <a:xfrm>
              <a:off x="3427946" y="1823199"/>
              <a:ext cx="15215" cy="9485"/>
            </a:xfrm>
            <a:custGeom>
              <a:avLst/>
              <a:gdLst/>
              <a:ahLst/>
              <a:cxnLst/>
              <a:rect l="l" t="t" r="r" b="b"/>
              <a:pathLst>
                <a:path w="478" h="298" extrusionOk="0">
                  <a:moveTo>
                    <a:pt x="144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8"/>
                    <a:pt x="72" y="298"/>
                    <a:pt x="144" y="298"/>
                  </a:cubicBezTo>
                  <a:lnTo>
                    <a:pt x="310" y="298"/>
                  </a:lnTo>
                  <a:cubicBezTo>
                    <a:pt x="406" y="298"/>
                    <a:pt x="465" y="226"/>
                    <a:pt x="465" y="155"/>
                  </a:cubicBezTo>
                  <a:cubicBezTo>
                    <a:pt x="477" y="84"/>
                    <a:pt x="406" y="0"/>
                    <a:pt x="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4" name="Google Shape;13744;p64"/>
            <p:cNvSpPr/>
            <p:nvPr/>
          </p:nvSpPr>
          <p:spPr>
            <a:xfrm>
              <a:off x="3385135" y="1823199"/>
              <a:ext cx="31480" cy="9485"/>
            </a:xfrm>
            <a:custGeom>
              <a:avLst/>
              <a:gdLst/>
              <a:ahLst/>
              <a:cxnLst/>
              <a:rect l="l" t="t" r="r" b="b"/>
              <a:pathLst>
                <a:path w="989" h="298" extrusionOk="0">
                  <a:moveTo>
                    <a:pt x="155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8"/>
                    <a:pt x="84" y="298"/>
                    <a:pt x="155" y="298"/>
                  </a:cubicBezTo>
                  <a:lnTo>
                    <a:pt x="822" y="298"/>
                  </a:lnTo>
                  <a:cubicBezTo>
                    <a:pt x="917" y="298"/>
                    <a:pt x="977" y="226"/>
                    <a:pt x="977" y="155"/>
                  </a:cubicBezTo>
                  <a:cubicBezTo>
                    <a:pt x="989" y="84"/>
                    <a:pt x="917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745" name="Google Shape;13745;p64"/>
            <p:cNvGrpSpPr/>
            <p:nvPr/>
          </p:nvGrpSpPr>
          <p:grpSpPr>
            <a:xfrm>
              <a:off x="3316159" y="1515085"/>
              <a:ext cx="211892" cy="339594"/>
              <a:chOff x="3316159" y="1515085"/>
              <a:chExt cx="211892" cy="339594"/>
            </a:xfrm>
          </p:grpSpPr>
          <p:sp>
            <p:nvSpPr>
              <p:cNvPr id="13746" name="Google Shape;13746;p64"/>
              <p:cNvSpPr/>
              <p:nvPr/>
            </p:nvSpPr>
            <p:spPr>
              <a:xfrm>
                <a:off x="3316159" y="1557514"/>
                <a:ext cx="169049" cy="297165"/>
              </a:xfrm>
              <a:custGeom>
                <a:avLst/>
                <a:gdLst/>
                <a:ahLst/>
                <a:cxnLst/>
                <a:rect l="l" t="t" r="r" b="b"/>
                <a:pathLst>
                  <a:path w="5311" h="9336" extrusionOk="0">
                    <a:moveTo>
                      <a:pt x="4656" y="310"/>
                    </a:moveTo>
                    <a:cubicBezTo>
                      <a:pt x="4846" y="310"/>
                      <a:pt x="5001" y="477"/>
                      <a:pt x="5001" y="668"/>
                    </a:cubicBezTo>
                    <a:lnTo>
                      <a:pt x="298" y="668"/>
                    </a:lnTo>
                    <a:lnTo>
                      <a:pt x="298" y="656"/>
                    </a:lnTo>
                    <a:cubicBezTo>
                      <a:pt x="298" y="465"/>
                      <a:pt x="441" y="310"/>
                      <a:pt x="632" y="310"/>
                    </a:cubicBezTo>
                    <a:close/>
                    <a:moveTo>
                      <a:pt x="5001" y="989"/>
                    </a:moveTo>
                    <a:lnTo>
                      <a:pt x="5001" y="7680"/>
                    </a:lnTo>
                    <a:lnTo>
                      <a:pt x="298" y="7680"/>
                    </a:lnTo>
                    <a:lnTo>
                      <a:pt x="298" y="989"/>
                    </a:lnTo>
                    <a:close/>
                    <a:moveTo>
                      <a:pt x="5013" y="7990"/>
                    </a:moveTo>
                    <a:lnTo>
                      <a:pt x="5013" y="8681"/>
                    </a:lnTo>
                    <a:lnTo>
                      <a:pt x="5001" y="8681"/>
                    </a:lnTo>
                    <a:cubicBezTo>
                      <a:pt x="5001" y="8871"/>
                      <a:pt x="4846" y="9026"/>
                      <a:pt x="4656" y="9026"/>
                    </a:cubicBezTo>
                    <a:lnTo>
                      <a:pt x="655" y="9026"/>
                    </a:lnTo>
                    <a:cubicBezTo>
                      <a:pt x="465" y="9026"/>
                      <a:pt x="310" y="8871"/>
                      <a:pt x="310" y="8681"/>
                    </a:cubicBezTo>
                    <a:lnTo>
                      <a:pt x="310" y="7990"/>
                    </a:lnTo>
                    <a:close/>
                    <a:moveTo>
                      <a:pt x="655" y="1"/>
                    </a:moveTo>
                    <a:cubicBezTo>
                      <a:pt x="298" y="1"/>
                      <a:pt x="1" y="299"/>
                      <a:pt x="1" y="656"/>
                    </a:cubicBezTo>
                    <a:lnTo>
                      <a:pt x="1" y="8681"/>
                    </a:lnTo>
                    <a:cubicBezTo>
                      <a:pt x="1" y="9038"/>
                      <a:pt x="298" y="9335"/>
                      <a:pt x="655" y="9335"/>
                    </a:cubicBezTo>
                    <a:lnTo>
                      <a:pt x="4656" y="9335"/>
                    </a:lnTo>
                    <a:cubicBezTo>
                      <a:pt x="5013" y="9335"/>
                      <a:pt x="5311" y="9038"/>
                      <a:pt x="5311" y="8681"/>
                    </a:cubicBezTo>
                    <a:lnTo>
                      <a:pt x="5311" y="656"/>
                    </a:lnTo>
                    <a:cubicBezTo>
                      <a:pt x="5311" y="299"/>
                      <a:pt x="5025" y="1"/>
                      <a:pt x="4656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7" name="Google Shape;13747;p64"/>
              <p:cNvSpPr/>
              <p:nvPr/>
            </p:nvSpPr>
            <p:spPr>
              <a:xfrm>
                <a:off x="3337772" y="1610161"/>
                <a:ext cx="132667" cy="127415"/>
              </a:xfrm>
              <a:custGeom>
                <a:avLst/>
                <a:gdLst/>
                <a:ahLst/>
                <a:cxnLst/>
                <a:rect l="l" t="t" r="r" b="b"/>
                <a:pathLst>
                  <a:path w="4168" h="4003" extrusionOk="0">
                    <a:moveTo>
                      <a:pt x="2131" y="1014"/>
                    </a:moveTo>
                    <a:cubicBezTo>
                      <a:pt x="2322" y="1014"/>
                      <a:pt x="2477" y="1157"/>
                      <a:pt x="2477" y="1359"/>
                    </a:cubicBezTo>
                    <a:lnTo>
                      <a:pt x="2477" y="1681"/>
                    </a:lnTo>
                    <a:cubicBezTo>
                      <a:pt x="2477" y="1966"/>
                      <a:pt x="2251" y="2181"/>
                      <a:pt x="1965" y="2181"/>
                    </a:cubicBezTo>
                    <a:cubicBezTo>
                      <a:pt x="1958" y="2181"/>
                      <a:pt x="1952" y="2181"/>
                      <a:pt x="1945" y="2181"/>
                    </a:cubicBezTo>
                    <a:cubicBezTo>
                      <a:pt x="1691" y="2181"/>
                      <a:pt x="1465" y="1959"/>
                      <a:pt x="1465" y="1681"/>
                    </a:cubicBezTo>
                    <a:lnTo>
                      <a:pt x="1465" y="1359"/>
                    </a:lnTo>
                    <a:cubicBezTo>
                      <a:pt x="1465" y="1157"/>
                      <a:pt x="1608" y="1014"/>
                      <a:pt x="1810" y="1014"/>
                    </a:cubicBezTo>
                    <a:close/>
                    <a:moveTo>
                      <a:pt x="2143" y="2478"/>
                    </a:moveTo>
                    <a:lnTo>
                      <a:pt x="2143" y="2574"/>
                    </a:lnTo>
                    <a:cubicBezTo>
                      <a:pt x="2167" y="2633"/>
                      <a:pt x="2179" y="2693"/>
                      <a:pt x="2191" y="2740"/>
                    </a:cubicBezTo>
                    <a:lnTo>
                      <a:pt x="1989" y="2943"/>
                    </a:lnTo>
                    <a:lnTo>
                      <a:pt x="1953" y="2943"/>
                    </a:lnTo>
                    <a:lnTo>
                      <a:pt x="1750" y="2740"/>
                    </a:lnTo>
                    <a:cubicBezTo>
                      <a:pt x="1774" y="2693"/>
                      <a:pt x="1786" y="2633"/>
                      <a:pt x="1786" y="2574"/>
                    </a:cubicBezTo>
                    <a:lnTo>
                      <a:pt x="1786" y="2478"/>
                    </a:lnTo>
                    <a:cubicBezTo>
                      <a:pt x="1846" y="2502"/>
                      <a:pt x="1905" y="2502"/>
                      <a:pt x="1965" y="2502"/>
                    </a:cubicBezTo>
                    <a:cubicBezTo>
                      <a:pt x="2024" y="2502"/>
                      <a:pt x="2084" y="2502"/>
                      <a:pt x="2143" y="2478"/>
                    </a:cubicBezTo>
                    <a:close/>
                    <a:moveTo>
                      <a:pt x="2441" y="2931"/>
                    </a:moveTo>
                    <a:lnTo>
                      <a:pt x="2715" y="3062"/>
                    </a:lnTo>
                    <a:cubicBezTo>
                      <a:pt x="2774" y="3098"/>
                      <a:pt x="2822" y="3157"/>
                      <a:pt x="2822" y="3228"/>
                    </a:cubicBezTo>
                    <a:lnTo>
                      <a:pt x="2822" y="3467"/>
                    </a:lnTo>
                    <a:cubicBezTo>
                      <a:pt x="2560" y="3609"/>
                      <a:pt x="2262" y="3693"/>
                      <a:pt x="1965" y="3693"/>
                    </a:cubicBezTo>
                    <a:cubicBezTo>
                      <a:pt x="1667" y="3693"/>
                      <a:pt x="1369" y="3609"/>
                      <a:pt x="1119" y="3467"/>
                    </a:cubicBezTo>
                    <a:lnTo>
                      <a:pt x="1119" y="3228"/>
                    </a:lnTo>
                    <a:cubicBezTo>
                      <a:pt x="1119" y="3157"/>
                      <a:pt x="1167" y="3098"/>
                      <a:pt x="1227" y="3062"/>
                    </a:cubicBezTo>
                    <a:lnTo>
                      <a:pt x="1489" y="2931"/>
                    </a:lnTo>
                    <a:lnTo>
                      <a:pt x="1750" y="3181"/>
                    </a:lnTo>
                    <a:cubicBezTo>
                      <a:pt x="1810" y="3240"/>
                      <a:pt x="1893" y="3276"/>
                      <a:pt x="1965" y="3276"/>
                    </a:cubicBezTo>
                    <a:cubicBezTo>
                      <a:pt x="2048" y="3276"/>
                      <a:pt x="2131" y="3240"/>
                      <a:pt x="2191" y="3181"/>
                    </a:cubicBezTo>
                    <a:lnTo>
                      <a:pt x="2441" y="2931"/>
                    </a:lnTo>
                    <a:close/>
                    <a:moveTo>
                      <a:pt x="2009" y="0"/>
                    </a:moveTo>
                    <a:cubicBezTo>
                      <a:pt x="1492" y="0"/>
                      <a:pt x="976" y="204"/>
                      <a:pt x="584" y="597"/>
                    </a:cubicBezTo>
                    <a:cubicBezTo>
                      <a:pt x="215" y="966"/>
                      <a:pt x="0" y="1466"/>
                      <a:pt x="0" y="2002"/>
                    </a:cubicBezTo>
                    <a:cubicBezTo>
                      <a:pt x="0" y="2550"/>
                      <a:pt x="215" y="3038"/>
                      <a:pt x="584" y="3419"/>
                    </a:cubicBezTo>
                    <a:cubicBezTo>
                      <a:pt x="977" y="3812"/>
                      <a:pt x="1477" y="4002"/>
                      <a:pt x="2000" y="4002"/>
                    </a:cubicBezTo>
                    <a:cubicBezTo>
                      <a:pt x="2501" y="4002"/>
                      <a:pt x="3024" y="3812"/>
                      <a:pt x="3417" y="3419"/>
                    </a:cubicBezTo>
                    <a:cubicBezTo>
                      <a:pt x="4072" y="2740"/>
                      <a:pt x="4167" y="1681"/>
                      <a:pt x="3620" y="883"/>
                    </a:cubicBezTo>
                    <a:cubicBezTo>
                      <a:pt x="3590" y="832"/>
                      <a:pt x="3543" y="807"/>
                      <a:pt x="3492" y="807"/>
                    </a:cubicBezTo>
                    <a:cubicBezTo>
                      <a:pt x="3459" y="807"/>
                      <a:pt x="3426" y="817"/>
                      <a:pt x="3394" y="835"/>
                    </a:cubicBezTo>
                    <a:cubicBezTo>
                      <a:pt x="3322" y="883"/>
                      <a:pt x="3310" y="978"/>
                      <a:pt x="3358" y="1062"/>
                    </a:cubicBezTo>
                    <a:cubicBezTo>
                      <a:pt x="3810" y="1728"/>
                      <a:pt x="3727" y="2621"/>
                      <a:pt x="3155" y="3193"/>
                    </a:cubicBezTo>
                    <a:lnTo>
                      <a:pt x="3132" y="3228"/>
                    </a:lnTo>
                    <a:lnTo>
                      <a:pt x="3132" y="3217"/>
                    </a:lnTo>
                    <a:cubicBezTo>
                      <a:pt x="3132" y="3014"/>
                      <a:pt x="3024" y="2859"/>
                      <a:pt x="2858" y="2776"/>
                    </a:cubicBezTo>
                    <a:lnTo>
                      <a:pt x="2477" y="2586"/>
                    </a:lnTo>
                    <a:lnTo>
                      <a:pt x="2477" y="2574"/>
                    </a:lnTo>
                    <a:lnTo>
                      <a:pt x="2477" y="2336"/>
                    </a:lnTo>
                    <a:cubicBezTo>
                      <a:pt x="2679" y="2181"/>
                      <a:pt x="2798" y="1943"/>
                      <a:pt x="2798" y="1681"/>
                    </a:cubicBezTo>
                    <a:lnTo>
                      <a:pt x="2798" y="1347"/>
                    </a:lnTo>
                    <a:cubicBezTo>
                      <a:pt x="2798" y="990"/>
                      <a:pt x="2501" y="692"/>
                      <a:pt x="2143" y="692"/>
                    </a:cubicBezTo>
                    <a:lnTo>
                      <a:pt x="1822" y="692"/>
                    </a:lnTo>
                    <a:cubicBezTo>
                      <a:pt x="1465" y="692"/>
                      <a:pt x="1167" y="990"/>
                      <a:pt x="1167" y="1347"/>
                    </a:cubicBezTo>
                    <a:lnTo>
                      <a:pt x="1167" y="1681"/>
                    </a:lnTo>
                    <a:cubicBezTo>
                      <a:pt x="1167" y="1943"/>
                      <a:pt x="1298" y="2181"/>
                      <a:pt x="1489" y="2336"/>
                    </a:cubicBezTo>
                    <a:lnTo>
                      <a:pt x="1489" y="2574"/>
                    </a:lnTo>
                    <a:lnTo>
                      <a:pt x="1489" y="2586"/>
                    </a:lnTo>
                    <a:lnTo>
                      <a:pt x="1108" y="2776"/>
                    </a:lnTo>
                    <a:cubicBezTo>
                      <a:pt x="941" y="2871"/>
                      <a:pt x="834" y="3038"/>
                      <a:pt x="834" y="3217"/>
                    </a:cubicBezTo>
                    <a:lnTo>
                      <a:pt x="834" y="3228"/>
                    </a:lnTo>
                    <a:lnTo>
                      <a:pt x="810" y="3193"/>
                    </a:lnTo>
                    <a:cubicBezTo>
                      <a:pt x="500" y="2883"/>
                      <a:pt x="322" y="2455"/>
                      <a:pt x="322" y="2002"/>
                    </a:cubicBezTo>
                    <a:cubicBezTo>
                      <a:pt x="322" y="1562"/>
                      <a:pt x="500" y="1133"/>
                      <a:pt x="810" y="812"/>
                    </a:cubicBezTo>
                    <a:cubicBezTo>
                      <a:pt x="1139" y="489"/>
                      <a:pt x="1566" y="326"/>
                      <a:pt x="1996" y="326"/>
                    </a:cubicBezTo>
                    <a:cubicBezTo>
                      <a:pt x="2328" y="326"/>
                      <a:pt x="2662" y="424"/>
                      <a:pt x="2953" y="621"/>
                    </a:cubicBezTo>
                    <a:cubicBezTo>
                      <a:pt x="2980" y="639"/>
                      <a:pt x="3012" y="649"/>
                      <a:pt x="3043" y="649"/>
                    </a:cubicBezTo>
                    <a:cubicBezTo>
                      <a:pt x="3092" y="649"/>
                      <a:pt x="3143" y="625"/>
                      <a:pt x="3179" y="573"/>
                    </a:cubicBezTo>
                    <a:cubicBezTo>
                      <a:pt x="3215" y="502"/>
                      <a:pt x="3203" y="419"/>
                      <a:pt x="3132" y="359"/>
                    </a:cubicBezTo>
                    <a:cubicBezTo>
                      <a:pt x="2793" y="118"/>
                      <a:pt x="2401" y="0"/>
                      <a:pt x="2009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8" name="Google Shape;13748;p64"/>
              <p:cNvSpPr/>
              <p:nvPr/>
            </p:nvSpPr>
            <p:spPr>
              <a:xfrm>
                <a:off x="3343056" y="1749290"/>
                <a:ext cx="41729" cy="41729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311" extrusionOk="0">
                    <a:moveTo>
                      <a:pt x="656" y="0"/>
                    </a:moveTo>
                    <a:cubicBezTo>
                      <a:pt x="299" y="0"/>
                      <a:pt x="1" y="298"/>
                      <a:pt x="1" y="655"/>
                    </a:cubicBezTo>
                    <a:cubicBezTo>
                      <a:pt x="1" y="1013"/>
                      <a:pt x="299" y="1310"/>
                      <a:pt x="656" y="1310"/>
                    </a:cubicBezTo>
                    <a:cubicBezTo>
                      <a:pt x="1013" y="1310"/>
                      <a:pt x="1311" y="1013"/>
                      <a:pt x="1311" y="655"/>
                    </a:cubicBezTo>
                    <a:cubicBezTo>
                      <a:pt x="1299" y="560"/>
                      <a:pt x="1227" y="501"/>
                      <a:pt x="1144" y="501"/>
                    </a:cubicBezTo>
                    <a:cubicBezTo>
                      <a:pt x="1061" y="501"/>
                      <a:pt x="1001" y="572"/>
                      <a:pt x="1001" y="643"/>
                    </a:cubicBezTo>
                    <a:cubicBezTo>
                      <a:pt x="1001" y="834"/>
                      <a:pt x="846" y="989"/>
                      <a:pt x="656" y="989"/>
                    </a:cubicBezTo>
                    <a:cubicBezTo>
                      <a:pt x="465" y="989"/>
                      <a:pt x="310" y="834"/>
                      <a:pt x="310" y="643"/>
                    </a:cubicBezTo>
                    <a:cubicBezTo>
                      <a:pt x="310" y="453"/>
                      <a:pt x="465" y="298"/>
                      <a:pt x="656" y="298"/>
                    </a:cubicBezTo>
                    <a:cubicBezTo>
                      <a:pt x="751" y="298"/>
                      <a:pt x="811" y="227"/>
                      <a:pt x="811" y="155"/>
                    </a:cubicBezTo>
                    <a:cubicBezTo>
                      <a:pt x="811" y="84"/>
                      <a:pt x="727" y="0"/>
                      <a:pt x="6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9" name="Google Shape;13749;p64"/>
              <p:cNvSpPr/>
              <p:nvPr/>
            </p:nvSpPr>
            <p:spPr>
              <a:xfrm>
                <a:off x="3417347" y="1749290"/>
                <a:ext cx="41729" cy="41729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311" extrusionOk="0">
                    <a:moveTo>
                      <a:pt x="655" y="0"/>
                    </a:moveTo>
                    <a:cubicBezTo>
                      <a:pt x="298" y="0"/>
                      <a:pt x="1" y="298"/>
                      <a:pt x="1" y="655"/>
                    </a:cubicBezTo>
                    <a:cubicBezTo>
                      <a:pt x="1" y="1013"/>
                      <a:pt x="298" y="1310"/>
                      <a:pt x="655" y="1310"/>
                    </a:cubicBezTo>
                    <a:cubicBezTo>
                      <a:pt x="1013" y="1310"/>
                      <a:pt x="1310" y="1013"/>
                      <a:pt x="1310" y="655"/>
                    </a:cubicBezTo>
                    <a:cubicBezTo>
                      <a:pt x="1298" y="560"/>
                      <a:pt x="1239" y="501"/>
                      <a:pt x="1155" y="501"/>
                    </a:cubicBezTo>
                    <a:cubicBezTo>
                      <a:pt x="1060" y="501"/>
                      <a:pt x="1001" y="572"/>
                      <a:pt x="1001" y="643"/>
                    </a:cubicBezTo>
                    <a:cubicBezTo>
                      <a:pt x="1001" y="834"/>
                      <a:pt x="858" y="989"/>
                      <a:pt x="655" y="989"/>
                    </a:cubicBezTo>
                    <a:cubicBezTo>
                      <a:pt x="465" y="989"/>
                      <a:pt x="322" y="834"/>
                      <a:pt x="322" y="643"/>
                    </a:cubicBezTo>
                    <a:cubicBezTo>
                      <a:pt x="322" y="453"/>
                      <a:pt x="465" y="298"/>
                      <a:pt x="655" y="298"/>
                    </a:cubicBezTo>
                    <a:cubicBezTo>
                      <a:pt x="751" y="298"/>
                      <a:pt x="810" y="227"/>
                      <a:pt x="810" y="155"/>
                    </a:cubicBezTo>
                    <a:cubicBezTo>
                      <a:pt x="810" y="84"/>
                      <a:pt x="739" y="0"/>
                      <a:pt x="655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50" name="Google Shape;13750;p64"/>
              <p:cNvSpPr/>
              <p:nvPr/>
            </p:nvSpPr>
            <p:spPr>
              <a:xfrm>
                <a:off x="3464710" y="1536315"/>
                <a:ext cx="41729" cy="41315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298" extrusionOk="0">
                    <a:moveTo>
                      <a:pt x="156" y="0"/>
                    </a:moveTo>
                    <a:cubicBezTo>
                      <a:pt x="60" y="0"/>
                      <a:pt x="1" y="72"/>
                      <a:pt x="1" y="143"/>
                    </a:cubicBezTo>
                    <a:cubicBezTo>
                      <a:pt x="1" y="238"/>
                      <a:pt x="84" y="298"/>
                      <a:pt x="156" y="298"/>
                    </a:cubicBezTo>
                    <a:cubicBezTo>
                      <a:pt x="620" y="298"/>
                      <a:pt x="1001" y="667"/>
                      <a:pt x="1001" y="1143"/>
                    </a:cubicBezTo>
                    <a:cubicBezTo>
                      <a:pt x="1001" y="1238"/>
                      <a:pt x="1072" y="1298"/>
                      <a:pt x="1156" y="1298"/>
                    </a:cubicBezTo>
                    <a:cubicBezTo>
                      <a:pt x="1239" y="1298"/>
                      <a:pt x="1299" y="1215"/>
                      <a:pt x="1299" y="1143"/>
                    </a:cubicBezTo>
                    <a:cubicBezTo>
                      <a:pt x="1311" y="524"/>
                      <a:pt x="799" y="0"/>
                      <a:pt x="1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51" name="Google Shape;13751;p64"/>
              <p:cNvSpPr/>
              <p:nvPr/>
            </p:nvSpPr>
            <p:spPr>
              <a:xfrm>
                <a:off x="3464710" y="1515085"/>
                <a:ext cx="63342" cy="62546"/>
              </a:xfrm>
              <a:custGeom>
                <a:avLst/>
                <a:gdLst/>
                <a:ahLst/>
                <a:cxnLst/>
                <a:rect l="l" t="t" r="r" b="b"/>
                <a:pathLst>
                  <a:path w="1990" h="1965" extrusionOk="0">
                    <a:moveTo>
                      <a:pt x="156" y="0"/>
                    </a:moveTo>
                    <a:cubicBezTo>
                      <a:pt x="60" y="0"/>
                      <a:pt x="1" y="72"/>
                      <a:pt x="1" y="143"/>
                    </a:cubicBezTo>
                    <a:cubicBezTo>
                      <a:pt x="1" y="239"/>
                      <a:pt x="84" y="298"/>
                      <a:pt x="156" y="298"/>
                    </a:cubicBezTo>
                    <a:cubicBezTo>
                      <a:pt x="989" y="298"/>
                      <a:pt x="1668" y="977"/>
                      <a:pt x="1668" y="1810"/>
                    </a:cubicBezTo>
                    <a:cubicBezTo>
                      <a:pt x="1668" y="1905"/>
                      <a:pt x="1751" y="1965"/>
                      <a:pt x="1822" y="1965"/>
                    </a:cubicBezTo>
                    <a:cubicBezTo>
                      <a:pt x="1894" y="1965"/>
                      <a:pt x="1965" y="1882"/>
                      <a:pt x="1965" y="1810"/>
                    </a:cubicBezTo>
                    <a:cubicBezTo>
                      <a:pt x="1989" y="810"/>
                      <a:pt x="1168" y="0"/>
                      <a:pt x="1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752" name="Google Shape;13752;p64"/>
          <p:cNvGrpSpPr/>
          <p:nvPr/>
        </p:nvGrpSpPr>
        <p:grpSpPr>
          <a:xfrm>
            <a:off x="3716358" y="1544655"/>
            <a:ext cx="361971" cy="314958"/>
            <a:chOff x="3716358" y="1544655"/>
            <a:chExt cx="361971" cy="314958"/>
          </a:xfrm>
        </p:grpSpPr>
        <p:sp>
          <p:nvSpPr>
            <p:cNvPr id="13753" name="Google Shape;13753;p64"/>
            <p:cNvSpPr/>
            <p:nvPr/>
          </p:nvSpPr>
          <p:spPr>
            <a:xfrm>
              <a:off x="3767509" y="1646957"/>
              <a:ext cx="231213" cy="10663"/>
            </a:xfrm>
            <a:custGeom>
              <a:avLst/>
              <a:gdLst/>
              <a:ahLst/>
              <a:cxnLst/>
              <a:rect l="l" t="t" r="r" b="b"/>
              <a:pathLst>
                <a:path w="7264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7097" y="334"/>
                  </a:lnTo>
                  <a:cubicBezTo>
                    <a:pt x="7192" y="334"/>
                    <a:pt x="7264" y="263"/>
                    <a:pt x="7264" y="167"/>
                  </a:cubicBezTo>
                  <a:cubicBezTo>
                    <a:pt x="7264" y="72"/>
                    <a:pt x="7192" y="1"/>
                    <a:pt x="7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4" name="Google Shape;13754;p64"/>
            <p:cNvSpPr/>
            <p:nvPr/>
          </p:nvSpPr>
          <p:spPr>
            <a:xfrm>
              <a:off x="3767509" y="1618532"/>
              <a:ext cx="152020" cy="10663"/>
            </a:xfrm>
            <a:custGeom>
              <a:avLst/>
              <a:gdLst/>
              <a:ahLst/>
              <a:cxnLst/>
              <a:rect l="l" t="t" r="r" b="b"/>
              <a:pathLst>
                <a:path w="4776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4621" y="334"/>
                  </a:lnTo>
                  <a:cubicBezTo>
                    <a:pt x="4704" y="334"/>
                    <a:pt x="4775" y="263"/>
                    <a:pt x="4775" y="168"/>
                  </a:cubicBezTo>
                  <a:cubicBezTo>
                    <a:pt x="4775" y="72"/>
                    <a:pt x="4704" y="1"/>
                    <a:pt x="4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5" name="Google Shape;13755;p64"/>
            <p:cNvSpPr/>
            <p:nvPr/>
          </p:nvSpPr>
          <p:spPr>
            <a:xfrm>
              <a:off x="3931624" y="1618532"/>
              <a:ext cx="67098" cy="10663"/>
            </a:xfrm>
            <a:custGeom>
              <a:avLst/>
              <a:gdLst/>
              <a:ahLst/>
              <a:cxnLst/>
              <a:rect l="l" t="t" r="r" b="b"/>
              <a:pathLst>
                <a:path w="2108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1941" y="334"/>
                  </a:lnTo>
                  <a:cubicBezTo>
                    <a:pt x="2036" y="334"/>
                    <a:pt x="2108" y="263"/>
                    <a:pt x="2108" y="168"/>
                  </a:cubicBezTo>
                  <a:cubicBezTo>
                    <a:pt x="2108" y="72"/>
                    <a:pt x="2036" y="1"/>
                    <a:pt x="1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6" name="Google Shape;13756;p64"/>
            <p:cNvSpPr/>
            <p:nvPr/>
          </p:nvSpPr>
          <p:spPr>
            <a:xfrm>
              <a:off x="3767509" y="1590108"/>
              <a:ext cx="39087" cy="10663"/>
            </a:xfrm>
            <a:custGeom>
              <a:avLst/>
              <a:gdLst/>
              <a:ahLst/>
              <a:cxnLst/>
              <a:rect l="l" t="t" r="r" b="b"/>
              <a:pathLst>
                <a:path w="1228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1061" y="334"/>
                  </a:lnTo>
                  <a:cubicBezTo>
                    <a:pt x="1144" y="334"/>
                    <a:pt x="1227" y="263"/>
                    <a:pt x="1227" y="168"/>
                  </a:cubicBezTo>
                  <a:cubicBezTo>
                    <a:pt x="1227" y="72"/>
                    <a:pt x="1144" y="1"/>
                    <a:pt x="1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7" name="Google Shape;13757;p64"/>
            <p:cNvSpPr/>
            <p:nvPr/>
          </p:nvSpPr>
          <p:spPr>
            <a:xfrm>
              <a:off x="3818309" y="1590108"/>
              <a:ext cx="180412" cy="10663"/>
            </a:xfrm>
            <a:custGeom>
              <a:avLst/>
              <a:gdLst/>
              <a:ahLst/>
              <a:cxnLst/>
              <a:rect l="l" t="t" r="r" b="b"/>
              <a:pathLst>
                <a:path w="5668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501" y="334"/>
                  </a:lnTo>
                  <a:cubicBezTo>
                    <a:pt x="5596" y="334"/>
                    <a:pt x="5668" y="263"/>
                    <a:pt x="5668" y="168"/>
                  </a:cubicBezTo>
                  <a:cubicBezTo>
                    <a:pt x="5668" y="72"/>
                    <a:pt x="5596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758" name="Google Shape;13758;p64"/>
            <p:cNvGrpSpPr/>
            <p:nvPr/>
          </p:nvGrpSpPr>
          <p:grpSpPr>
            <a:xfrm>
              <a:off x="3716358" y="1544655"/>
              <a:ext cx="361971" cy="314958"/>
              <a:chOff x="3716358" y="1544655"/>
              <a:chExt cx="361971" cy="314958"/>
            </a:xfrm>
          </p:grpSpPr>
          <p:sp>
            <p:nvSpPr>
              <p:cNvPr id="13759" name="Google Shape;13759;p64"/>
              <p:cNvSpPr/>
              <p:nvPr/>
            </p:nvSpPr>
            <p:spPr>
              <a:xfrm>
                <a:off x="3767509" y="1675381"/>
                <a:ext cx="84540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2656" h="335" extrusionOk="0">
                    <a:moveTo>
                      <a:pt x="168" y="1"/>
                    </a:moveTo>
                    <a:cubicBezTo>
                      <a:pt x="72" y="1"/>
                      <a:pt x="1" y="72"/>
                      <a:pt x="1" y="167"/>
                    </a:cubicBezTo>
                    <a:cubicBezTo>
                      <a:pt x="1" y="263"/>
                      <a:pt x="72" y="334"/>
                      <a:pt x="168" y="334"/>
                    </a:cubicBezTo>
                    <a:lnTo>
                      <a:pt x="2477" y="334"/>
                    </a:lnTo>
                    <a:cubicBezTo>
                      <a:pt x="2561" y="334"/>
                      <a:pt x="2632" y="263"/>
                      <a:pt x="2632" y="167"/>
                    </a:cubicBezTo>
                    <a:cubicBezTo>
                      <a:pt x="2656" y="72"/>
                      <a:pt x="2573" y="1"/>
                      <a:pt x="2477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0" name="Google Shape;13760;p64"/>
              <p:cNvSpPr/>
              <p:nvPr/>
            </p:nvSpPr>
            <p:spPr>
              <a:xfrm>
                <a:off x="3875158" y="1675381"/>
                <a:ext cx="123564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3882" h="335" extrusionOk="0">
                    <a:moveTo>
                      <a:pt x="167" y="1"/>
                    </a:moveTo>
                    <a:cubicBezTo>
                      <a:pt x="72" y="1"/>
                      <a:pt x="0" y="72"/>
                      <a:pt x="0" y="167"/>
                    </a:cubicBezTo>
                    <a:cubicBezTo>
                      <a:pt x="0" y="263"/>
                      <a:pt x="72" y="334"/>
                      <a:pt x="167" y="334"/>
                    </a:cubicBezTo>
                    <a:lnTo>
                      <a:pt x="3715" y="334"/>
                    </a:lnTo>
                    <a:cubicBezTo>
                      <a:pt x="3810" y="334"/>
                      <a:pt x="3882" y="263"/>
                      <a:pt x="3882" y="167"/>
                    </a:cubicBezTo>
                    <a:cubicBezTo>
                      <a:pt x="3882" y="72"/>
                      <a:pt x="3810" y="1"/>
                      <a:pt x="3715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1" name="Google Shape;13761;p64"/>
              <p:cNvSpPr/>
              <p:nvPr/>
            </p:nvSpPr>
            <p:spPr>
              <a:xfrm>
                <a:off x="3767509" y="1703423"/>
                <a:ext cx="174747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5490" h="335" extrusionOk="0">
                    <a:moveTo>
                      <a:pt x="168" y="1"/>
                    </a:moveTo>
                    <a:cubicBezTo>
                      <a:pt x="72" y="1"/>
                      <a:pt x="1" y="72"/>
                      <a:pt x="1" y="168"/>
                    </a:cubicBezTo>
                    <a:cubicBezTo>
                      <a:pt x="1" y="251"/>
                      <a:pt x="72" y="334"/>
                      <a:pt x="168" y="334"/>
                    </a:cubicBezTo>
                    <a:lnTo>
                      <a:pt x="5335" y="334"/>
                    </a:lnTo>
                    <a:cubicBezTo>
                      <a:pt x="5418" y="334"/>
                      <a:pt x="5490" y="251"/>
                      <a:pt x="5490" y="168"/>
                    </a:cubicBezTo>
                    <a:cubicBezTo>
                      <a:pt x="5490" y="72"/>
                      <a:pt x="5418" y="1"/>
                      <a:pt x="5335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2" name="Google Shape;13762;p64"/>
              <p:cNvSpPr/>
              <p:nvPr/>
            </p:nvSpPr>
            <p:spPr>
              <a:xfrm>
                <a:off x="3954351" y="1703423"/>
                <a:ext cx="44371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1394" h="335" extrusionOk="0">
                    <a:moveTo>
                      <a:pt x="155" y="1"/>
                    </a:moveTo>
                    <a:cubicBezTo>
                      <a:pt x="72" y="1"/>
                      <a:pt x="1" y="72"/>
                      <a:pt x="1" y="168"/>
                    </a:cubicBezTo>
                    <a:cubicBezTo>
                      <a:pt x="1" y="251"/>
                      <a:pt x="72" y="334"/>
                      <a:pt x="155" y="334"/>
                    </a:cubicBezTo>
                    <a:lnTo>
                      <a:pt x="1227" y="334"/>
                    </a:lnTo>
                    <a:cubicBezTo>
                      <a:pt x="1322" y="334"/>
                      <a:pt x="1394" y="251"/>
                      <a:pt x="1394" y="168"/>
                    </a:cubicBezTo>
                    <a:cubicBezTo>
                      <a:pt x="1394" y="72"/>
                      <a:pt x="1322" y="1"/>
                      <a:pt x="1227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3" name="Google Shape;13763;p64"/>
              <p:cNvSpPr/>
              <p:nvPr/>
            </p:nvSpPr>
            <p:spPr>
              <a:xfrm>
                <a:off x="3716358" y="1544655"/>
                <a:ext cx="361971" cy="314958"/>
              </a:xfrm>
              <a:custGeom>
                <a:avLst/>
                <a:gdLst/>
                <a:ahLst/>
                <a:cxnLst/>
                <a:rect l="l" t="t" r="r" b="b"/>
                <a:pathLst>
                  <a:path w="11372" h="9895" extrusionOk="0">
                    <a:moveTo>
                      <a:pt x="3513" y="6751"/>
                    </a:moveTo>
                    <a:lnTo>
                      <a:pt x="3346" y="7477"/>
                    </a:lnTo>
                    <a:lnTo>
                      <a:pt x="1953" y="7477"/>
                    </a:lnTo>
                    <a:lnTo>
                      <a:pt x="1953" y="7489"/>
                    </a:lnTo>
                    <a:cubicBezTo>
                      <a:pt x="1656" y="7489"/>
                      <a:pt x="1394" y="7251"/>
                      <a:pt x="1394" y="6941"/>
                    </a:cubicBezTo>
                    <a:lnTo>
                      <a:pt x="1394" y="6751"/>
                    </a:lnTo>
                    <a:close/>
                    <a:moveTo>
                      <a:pt x="9430" y="333"/>
                    </a:moveTo>
                    <a:cubicBezTo>
                      <a:pt x="9728" y="333"/>
                      <a:pt x="9990" y="572"/>
                      <a:pt x="9990" y="881"/>
                    </a:cubicBezTo>
                    <a:lnTo>
                      <a:pt x="9990" y="5870"/>
                    </a:lnTo>
                    <a:cubicBezTo>
                      <a:pt x="9990" y="6168"/>
                      <a:pt x="9752" y="6418"/>
                      <a:pt x="9430" y="6418"/>
                    </a:cubicBezTo>
                    <a:lnTo>
                      <a:pt x="6597" y="6418"/>
                    </a:lnTo>
                    <a:cubicBezTo>
                      <a:pt x="6561" y="6418"/>
                      <a:pt x="6537" y="6429"/>
                      <a:pt x="6501" y="6441"/>
                    </a:cubicBezTo>
                    <a:lnTo>
                      <a:pt x="3489" y="8501"/>
                    </a:lnTo>
                    <a:cubicBezTo>
                      <a:pt x="3465" y="8501"/>
                      <a:pt x="3465" y="8489"/>
                      <a:pt x="3465" y="8489"/>
                    </a:cubicBezTo>
                    <a:lnTo>
                      <a:pt x="3906" y="6608"/>
                    </a:lnTo>
                    <a:cubicBezTo>
                      <a:pt x="3918" y="6560"/>
                      <a:pt x="3906" y="6501"/>
                      <a:pt x="3870" y="6477"/>
                    </a:cubicBezTo>
                    <a:cubicBezTo>
                      <a:pt x="3834" y="6429"/>
                      <a:pt x="3799" y="6418"/>
                      <a:pt x="3739" y="6418"/>
                    </a:cubicBezTo>
                    <a:lnTo>
                      <a:pt x="894" y="6418"/>
                    </a:lnTo>
                    <a:cubicBezTo>
                      <a:pt x="596" y="6418"/>
                      <a:pt x="346" y="6179"/>
                      <a:pt x="346" y="5870"/>
                    </a:cubicBezTo>
                    <a:lnTo>
                      <a:pt x="346" y="881"/>
                    </a:lnTo>
                    <a:cubicBezTo>
                      <a:pt x="346" y="584"/>
                      <a:pt x="584" y="333"/>
                      <a:pt x="894" y="333"/>
                    </a:cubicBezTo>
                    <a:close/>
                    <a:moveTo>
                      <a:pt x="10502" y="1405"/>
                    </a:moveTo>
                    <a:cubicBezTo>
                      <a:pt x="10800" y="1405"/>
                      <a:pt x="11061" y="1643"/>
                      <a:pt x="11061" y="1953"/>
                    </a:cubicBezTo>
                    <a:lnTo>
                      <a:pt x="11061" y="6941"/>
                    </a:lnTo>
                    <a:cubicBezTo>
                      <a:pt x="11050" y="7239"/>
                      <a:pt x="10788" y="7489"/>
                      <a:pt x="10490" y="7489"/>
                    </a:cubicBezTo>
                    <a:lnTo>
                      <a:pt x="7656" y="7489"/>
                    </a:lnTo>
                    <a:cubicBezTo>
                      <a:pt x="7609" y="7489"/>
                      <a:pt x="7549" y="7525"/>
                      <a:pt x="7513" y="7549"/>
                    </a:cubicBezTo>
                    <a:cubicBezTo>
                      <a:pt x="7490" y="7596"/>
                      <a:pt x="7478" y="7644"/>
                      <a:pt x="7490" y="7680"/>
                    </a:cubicBezTo>
                    <a:lnTo>
                      <a:pt x="7918" y="9561"/>
                    </a:lnTo>
                    <a:lnTo>
                      <a:pt x="7918" y="9573"/>
                    </a:lnTo>
                    <a:lnTo>
                      <a:pt x="7906" y="9573"/>
                    </a:lnTo>
                    <a:lnTo>
                      <a:pt x="5216" y="7727"/>
                    </a:lnTo>
                    <a:lnTo>
                      <a:pt x="6644" y="6751"/>
                    </a:lnTo>
                    <a:lnTo>
                      <a:pt x="9430" y="6751"/>
                    </a:lnTo>
                    <a:cubicBezTo>
                      <a:pt x="9930" y="6751"/>
                      <a:pt x="10311" y="6358"/>
                      <a:pt x="10311" y="5870"/>
                    </a:cubicBezTo>
                    <a:lnTo>
                      <a:pt x="10311" y="1405"/>
                    </a:lnTo>
                    <a:close/>
                    <a:moveTo>
                      <a:pt x="882" y="0"/>
                    </a:moveTo>
                    <a:cubicBezTo>
                      <a:pt x="393" y="0"/>
                      <a:pt x="1" y="393"/>
                      <a:pt x="1" y="881"/>
                    </a:cubicBezTo>
                    <a:lnTo>
                      <a:pt x="1" y="5870"/>
                    </a:lnTo>
                    <a:cubicBezTo>
                      <a:pt x="1" y="6358"/>
                      <a:pt x="393" y="6739"/>
                      <a:pt x="882" y="6739"/>
                    </a:cubicBezTo>
                    <a:lnTo>
                      <a:pt x="1072" y="6739"/>
                    </a:lnTo>
                    <a:lnTo>
                      <a:pt x="1072" y="6941"/>
                    </a:lnTo>
                    <a:cubicBezTo>
                      <a:pt x="1072" y="7430"/>
                      <a:pt x="1465" y="7811"/>
                      <a:pt x="1953" y="7811"/>
                    </a:cubicBezTo>
                    <a:lnTo>
                      <a:pt x="3275" y="7811"/>
                    </a:lnTo>
                    <a:lnTo>
                      <a:pt x="3144" y="8406"/>
                    </a:lnTo>
                    <a:cubicBezTo>
                      <a:pt x="3108" y="8549"/>
                      <a:pt x="3168" y="8692"/>
                      <a:pt x="3287" y="8763"/>
                    </a:cubicBezTo>
                    <a:cubicBezTo>
                      <a:pt x="3346" y="8811"/>
                      <a:pt x="3430" y="8823"/>
                      <a:pt x="3489" y="8823"/>
                    </a:cubicBezTo>
                    <a:cubicBezTo>
                      <a:pt x="3561" y="8823"/>
                      <a:pt x="3620" y="8811"/>
                      <a:pt x="3680" y="8763"/>
                    </a:cubicBezTo>
                    <a:lnTo>
                      <a:pt x="4918" y="7918"/>
                    </a:lnTo>
                    <a:lnTo>
                      <a:pt x="7704" y="9835"/>
                    </a:lnTo>
                    <a:cubicBezTo>
                      <a:pt x="7763" y="9882"/>
                      <a:pt x="7847" y="9894"/>
                      <a:pt x="7906" y="9894"/>
                    </a:cubicBezTo>
                    <a:cubicBezTo>
                      <a:pt x="7978" y="9894"/>
                      <a:pt x="8037" y="9882"/>
                      <a:pt x="8097" y="9835"/>
                    </a:cubicBezTo>
                    <a:cubicBezTo>
                      <a:pt x="8216" y="9763"/>
                      <a:pt x="8275" y="9620"/>
                      <a:pt x="8240" y="9477"/>
                    </a:cubicBezTo>
                    <a:lnTo>
                      <a:pt x="7859" y="7811"/>
                    </a:lnTo>
                    <a:lnTo>
                      <a:pt x="10490" y="7811"/>
                    </a:lnTo>
                    <a:cubicBezTo>
                      <a:pt x="10978" y="7811"/>
                      <a:pt x="11371" y="7430"/>
                      <a:pt x="11371" y="6941"/>
                    </a:cubicBezTo>
                    <a:lnTo>
                      <a:pt x="11371" y="1953"/>
                    </a:lnTo>
                    <a:cubicBezTo>
                      <a:pt x="11371" y="1476"/>
                      <a:pt x="10966" y="1072"/>
                      <a:pt x="10490" y="1072"/>
                    </a:cubicBezTo>
                    <a:lnTo>
                      <a:pt x="10299" y="1072"/>
                    </a:lnTo>
                    <a:lnTo>
                      <a:pt x="10299" y="881"/>
                    </a:lnTo>
                    <a:cubicBezTo>
                      <a:pt x="10299" y="393"/>
                      <a:pt x="9918" y="0"/>
                      <a:pt x="9418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764" name="Google Shape;13764;p64"/>
          <p:cNvGrpSpPr/>
          <p:nvPr/>
        </p:nvGrpSpPr>
        <p:grpSpPr>
          <a:xfrm>
            <a:off x="7011924" y="1557552"/>
            <a:ext cx="499533" cy="305136"/>
            <a:chOff x="7009649" y="1541981"/>
            <a:chExt cx="524940" cy="320655"/>
          </a:xfrm>
        </p:grpSpPr>
        <p:sp>
          <p:nvSpPr>
            <p:cNvPr id="13765" name="Google Shape;13765;p64"/>
            <p:cNvSpPr/>
            <p:nvPr/>
          </p:nvSpPr>
          <p:spPr>
            <a:xfrm>
              <a:off x="7009649" y="1541981"/>
              <a:ext cx="524940" cy="320655"/>
            </a:xfrm>
            <a:custGeom>
              <a:avLst/>
              <a:gdLst/>
              <a:ahLst/>
              <a:cxnLst/>
              <a:rect l="l" t="t" r="r" b="b"/>
              <a:pathLst>
                <a:path w="16492" h="10074" extrusionOk="0">
                  <a:moveTo>
                    <a:pt x="13979" y="1227"/>
                  </a:moveTo>
                  <a:lnTo>
                    <a:pt x="13979" y="6764"/>
                  </a:lnTo>
                  <a:lnTo>
                    <a:pt x="11348" y="6764"/>
                  </a:lnTo>
                  <a:cubicBezTo>
                    <a:pt x="11205" y="6764"/>
                    <a:pt x="11109" y="6871"/>
                    <a:pt x="11109" y="7002"/>
                  </a:cubicBezTo>
                  <a:cubicBezTo>
                    <a:pt x="11109" y="7145"/>
                    <a:pt x="11205" y="7240"/>
                    <a:pt x="11348" y="7240"/>
                  </a:cubicBezTo>
                  <a:lnTo>
                    <a:pt x="13979" y="7240"/>
                  </a:lnTo>
                  <a:lnTo>
                    <a:pt x="13979" y="7514"/>
                  </a:lnTo>
                  <a:lnTo>
                    <a:pt x="2537" y="7514"/>
                  </a:lnTo>
                  <a:lnTo>
                    <a:pt x="2537" y="7240"/>
                  </a:lnTo>
                  <a:lnTo>
                    <a:pt x="10336" y="7240"/>
                  </a:lnTo>
                  <a:cubicBezTo>
                    <a:pt x="10466" y="7240"/>
                    <a:pt x="10574" y="7145"/>
                    <a:pt x="10574" y="7002"/>
                  </a:cubicBezTo>
                  <a:cubicBezTo>
                    <a:pt x="10574" y="6871"/>
                    <a:pt x="10466" y="6764"/>
                    <a:pt x="10336" y="6764"/>
                  </a:cubicBezTo>
                  <a:lnTo>
                    <a:pt x="7014" y="6764"/>
                  </a:lnTo>
                  <a:lnTo>
                    <a:pt x="7014" y="1227"/>
                  </a:lnTo>
                  <a:close/>
                  <a:moveTo>
                    <a:pt x="14169" y="7990"/>
                  </a:moveTo>
                  <a:lnTo>
                    <a:pt x="14943" y="8287"/>
                  </a:lnTo>
                  <a:lnTo>
                    <a:pt x="1537" y="8287"/>
                  </a:lnTo>
                  <a:lnTo>
                    <a:pt x="2323" y="7990"/>
                  </a:lnTo>
                  <a:close/>
                  <a:moveTo>
                    <a:pt x="10240" y="8776"/>
                  </a:moveTo>
                  <a:lnTo>
                    <a:pt x="10014" y="9002"/>
                  </a:lnTo>
                  <a:lnTo>
                    <a:pt x="6526" y="9002"/>
                  </a:lnTo>
                  <a:lnTo>
                    <a:pt x="6299" y="8776"/>
                  </a:lnTo>
                  <a:close/>
                  <a:moveTo>
                    <a:pt x="16003" y="8776"/>
                  </a:moveTo>
                  <a:lnTo>
                    <a:pt x="16003" y="8823"/>
                  </a:lnTo>
                  <a:lnTo>
                    <a:pt x="16015" y="8823"/>
                  </a:lnTo>
                  <a:cubicBezTo>
                    <a:pt x="16015" y="9252"/>
                    <a:pt x="15658" y="9609"/>
                    <a:pt x="15229" y="9609"/>
                  </a:cubicBezTo>
                  <a:lnTo>
                    <a:pt x="1287" y="9609"/>
                  </a:lnTo>
                  <a:cubicBezTo>
                    <a:pt x="846" y="9609"/>
                    <a:pt x="489" y="9252"/>
                    <a:pt x="489" y="8823"/>
                  </a:cubicBezTo>
                  <a:lnTo>
                    <a:pt x="489" y="8776"/>
                  </a:lnTo>
                  <a:lnTo>
                    <a:pt x="5633" y="8776"/>
                  </a:lnTo>
                  <a:lnTo>
                    <a:pt x="6252" y="9407"/>
                  </a:lnTo>
                  <a:cubicBezTo>
                    <a:pt x="6299" y="9454"/>
                    <a:pt x="6359" y="9478"/>
                    <a:pt x="6418" y="9478"/>
                  </a:cubicBezTo>
                  <a:lnTo>
                    <a:pt x="10121" y="9478"/>
                  </a:lnTo>
                  <a:cubicBezTo>
                    <a:pt x="10181" y="9478"/>
                    <a:pt x="10240" y="9454"/>
                    <a:pt x="10288" y="9407"/>
                  </a:cubicBezTo>
                  <a:lnTo>
                    <a:pt x="10907" y="8776"/>
                  </a:lnTo>
                  <a:close/>
                  <a:moveTo>
                    <a:pt x="2811" y="1"/>
                  </a:moveTo>
                  <a:cubicBezTo>
                    <a:pt x="2382" y="1"/>
                    <a:pt x="2037" y="346"/>
                    <a:pt x="2037" y="775"/>
                  </a:cubicBezTo>
                  <a:lnTo>
                    <a:pt x="2037" y="3799"/>
                  </a:lnTo>
                  <a:cubicBezTo>
                    <a:pt x="2037" y="3930"/>
                    <a:pt x="2144" y="4037"/>
                    <a:pt x="2275" y="4037"/>
                  </a:cubicBezTo>
                  <a:cubicBezTo>
                    <a:pt x="2418" y="4037"/>
                    <a:pt x="2513" y="3930"/>
                    <a:pt x="2513" y="3799"/>
                  </a:cubicBezTo>
                  <a:lnTo>
                    <a:pt x="2513" y="1215"/>
                  </a:lnTo>
                  <a:lnTo>
                    <a:pt x="6526" y="1215"/>
                  </a:lnTo>
                  <a:lnTo>
                    <a:pt x="6526" y="6752"/>
                  </a:lnTo>
                  <a:lnTo>
                    <a:pt x="2513" y="6752"/>
                  </a:lnTo>
                  <a:lnTo>
                    <a:pt x="2513" y="4763"/>
                  </a:lnTo>
                  <a:cubicBezTo>
                    <a:pt x="2513" y="4632"/>
                    <a:pt x="2418" y="4525"/>
                    <a:pt x="2275" y="4525"/>
                  </a:cubicBezTo>
                  <a:cubicBezTo>
                    <a:pt x="2144" y="4525"/>
                    <a:pt x="2037" y="4632"/>
                    <a:pt x="2037" y="4763"/>
                  </a:cubicBezTo>
                  <a:lnTo>
                    <a:pt x="2037" y="7573"/>
                  </a:lnTo>
                  <a:lnTo>
                    <a:pt x="156" y="8299"/>
                  </a:lnTo>
                  <a:cubicBezTo>
                    <a:pt x="60" y="8335"/>
                    <a:pt x="1" y="8430"/>
                    <a:pt x="1" y="8526"/>
                  </a:cubicBezTo>
                  <a:lnTo>
                    <a:pt x="1" y="8811"/>
                  </a:lnTo>
                  <a:cubicBezTo>
                    <a:pt x="1" y="9502"/>
                    <a:pt x="572" y="10073"/>
                    <a:pt x="1263" y="10073"/>
                  </a:cubicBezTo>
                  <a:lnTo>
                    <a:pt x="15217" y="10073"/>
                  </a:lnTo>
                  <a:cubicBezTo>
                    <a:pt x="15908" y="10073"/>
                    <a:pt x="16479" y="9502"/>
                    <a:pt x="16479" y="8811"/>
                  </a:cubicBezTo>
                  <a:lnTo>
                    <a:pt x="16479" y="8526"/>
                  </a:lnTo>
                  <a:cubicBezTo>
                    <a:pt x="16491" y="8430"/>
                    <a:pt x="16432" y="8347"/>
                    <a:pt x="16348" y="8323"/>
                  </a:cubicBezTo>
                  <a:lnTo>
                    <a:pt x="14467" y="7585"/>
                  </a:lnTo>
                  <a:lnTo>
                    <a:pt x="14467" y="775"/>
                  </a:lnTo>
                  <a:cubicBezTo>
                    <a:pt x="14467" y="346"/>
                    <a:pt x="14122" y="1"/>
                    <a:pt x="13693" y="1"/>
                  </a:cubicBezTo>
                  <a:lnTo>
                    <a:pt x="11550" y="1"/>
                  </a:lnTo>
                  <a:cubicBezTo>
                    <a:pt x="11419" y="1"/>
                    <a:pt x="11312" y="108"/>
                    <a:pt x="11312" y="239"/>
                  </a:cubicBezTo>
                  <a:cubicBezTo>
                    <a:pt x="11312" y="370"/>
                    <a:pt x="11419" y="477"/>
                    <a:pt x="11550" y="477"/>
                  </a:cubicBezTo>
                  <a:lnTo>
                    <a:pt x="13693" y="477"/>
                  </a:lnTo>
                  <a:cubicBezTo>
                    <a:pt x="13848" y="477"/>
                    <a:pt x="13967" y="596"/>
                    <a:pt x="13979" y="739"/>
                  </a:cubicBezTo>
                  <a:lnTo>
                    <a:pt x="2537" y="739"/>
                  </a:lnTo>
                  <a:cubicBezTo>
                    <a:pt x="2549" y="596"/>
                    <a:pt x="2668" y="477"/>
                    <a:pt x="2811" y="477"/>
                  </a:cubicBezTo>
                  <a:lnTo>
                    <a:pt x="10586" y="477"/>
                  </a:lnTo>
                  <a:cubicBezTo>
                    <a:pt x="10717" y="477"/>
                    <a:pt x="10824" y="370"/>
                    <a:pt x="10824" y="239"/>
                  </a:cubicBezTo>
                  <a:cubicBezTo>
                    <a:pt x="10824" y="108"/>
                    <a:pt x="10717" y="1"/>
                    <a:pt x="105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6" name="Google Shape;13766;p64"/>
            <p:cNvSpPr/>
            <p:nvPr/>
          </p:nvSpPr>
          <p:spPr>
            <a:xfrm>
              <a:off x="7110104" y="1604909"/>
              <a:ext cx="61782" cy="41697"/>
            </a:xfrm>
            <a:custGeom>
              <a:avLst/>
              <a:gdLst/>
              <a:ahLst/>
              <a:cxnLst/>
              <a:rect l="l" t="t" r="r" b="b"/>
              <a:pathLst>
                <a:path w="1941" h="1310" extrusionOk="0">
                  <a:moveTo>
                    <a:pt x="1441" y="488"/>
                  </a:moveTo>
                  <a:lnTo>
                    <a:pt x="1441" y="834"/>
                  </a:lnTo>
                  <a:lnTo>
                    <a:pt x="488" y="834"/>
                  </a:lnTo>
                  <a:lnTo>
                    <a:pt x="488" y="488"/>
                  </a:lnTo>
                  <a:close/>
                  <a:moveTo>
                    <a:pt x="238" y="0"/>
                  </a:moveTo>
                  <a:cubicBezTo>
                    <a:pt x="107" y="0"/>
                    <a:pt x="0" y="107"/>
                    <a:pt x="0" y="238"/>
                  </a:cubicBezTo>
                  <a:lnTo>
                    <a:pt x="0" y="1072"/>
                  </a:lnTo>
                  <a:cubicBezTo>
                    <a:pt x="0" y="1203"/>
                    <a:pt x="107" y="1310"/>
                    <a:pt x="238" y="1310"/>
                  </a:cubicBezTo>
                  <a:lnTo>
                    <a:pt x="1679" y="1310"/>
                  </a:lnTo>
                  <a:cubicBezTo>
                    <a:pt x="1822" y="1310"/>
                    <a:pt x="1917" y="1203"/>
                    <a:pt x="1917" y="1072"/>
                  </a:cubicBezTo>
                  <a:lnTo>
                    <a:pt x="1917" y="238"/>
                  </a:lnTo>
                  <a:cubicBezTo>
                    <a:pt x="1941" y="119"/>
                    <a:pt x="1822" y="0"/>
                    <a:pt x="1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7" name="Google Shape;13767;p64"/>
            <p:cNvSpPr/>
            <p:nvPr/>
          </p:nvSpPr>
          <p:spPr>
            <a:xfrm>
              <a:off x="7110455" y="1655296"/>
              <a:ext cx="96700" cy="15183"/>
            </a:xfrm>
            <a:custGeom>
              <a:avLst/>
              <a:gdLst/>
              <a:ahLst/>
              <a:cxnLst/>
              <a:rect l="l" t="t" r="r" b="b"/>
              <a:pathLst>
                <a:path w="3038" h="477" extrusionOk="0">
                  <a:moveTo>
                    <a:pt x="239" y="1"/>
                  </a:moveTo>
                  <a:cubicBezTo>
                    <a:pt x="108" y="1"/>
                    <a:pt x="1" y="96"/>
                    <a:pt x="1" y="239"/>
                  </a:cubicBezTo>
                  <a:cubicBezTo>
                    <a:pt x="1" y="370"/>
                    <a:pt x="108" y="477"/>
                    <a:pt x="239" y="477"/>
                  </a:cubicBezTo>
                  <a:lnTo>
                    <a:pt x="2799" y="477"/>
                  </a:lnTo>
                  <a:cubicBezTo>
                    <a:pt x="2942" y="477"/>
                    <a:pt x="3037" y="370"/>
                    <a:pt x="3037" y="239"/>
                  </a:cubicBezTo>
                  <a:cubicBezTo>
                    <a:pt x="3037" y="96"/>
                    <a:pt x="294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8" name="Google Shape;13768;p64"/>
            <p:cNvSpPr/>
            <p:nvPr/>
          </p:nvSpPr>
          <p:spPr>
            <a:xfrm>
              <a:off x="7146104" y="1676909"/>
              <a:ext cx="61050" cy="41729"/>
            </a:xfrm>
            <a:custGeom>
              <a:avLst/>
              <a:gdLst/>
              <a:ahLst/>
              <a:cxnLst/>
              <a:rect l="l" t="t" r="r" b="b"/>
              <a:pathLst>
                <a:path w="1918" h="1311" extrusionOk="0">
                  <a:moveTo>
                    <a:pt x="1441" y="489"/>
                  </a:moveTo>
                  <a:lnTo>
                    <a:pt x="1441" y="834"/>
                  </a:lnTo>
                  <a:lnTo>
                    <a:pt x="488" y="834"/>
                  </a:lnTo>
                  <a:lnTo>
                    <a:pt x="488" y="489"/>
                  </a:lnTo>
                  <a:close/>
                  <a:moveTo>
                    <a:pt x="238" y="0"/>
                  </a:moveTo>
                  <a:cubicBezTo>
                    <a:pt x="107" y="0"/>
                    <a:pt x="0" y="108"/>
                    <a:pt x="0" y="239"/>
                  </a:cubicBezTo>
                  <a:lnTo>
                    <a:pt x="0" y="1072"/>
                  </a:lnTo>
                  <a:cubicBezTo>
                    <a:pt x="0" y="1203"/>
                    <a:pt x="107" y="1310"/>
                    <a:pt x="238" y="1310"/>
                  </a:cubicBezTo>
                  <a:lnTo>
                    <a:pt x="1679" y="1310"/>
                  </a:lnTo>
                  <a:cubicBezTo>
                    <a:pt x="1822" y="1310"/>
                    <a:pt x="1917" y="1203"/>
                    <a:pt x="1917" y="1072"/>
                  </a:cubicBezTo>
                  <a:lnTo>
                    <a:pt x="1917" y="239"/>
                  </a:lnTo>
                  <a:cubicBezTo>
                    <a:pt x="1917" y="108"/>
                    <a:pt x="1822" y="0"/>
                    <a:pt x="1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9" name="Google Shape;13769;p64"/>
            <p:cNvSpPr/>
            <p:nvPr/>
          </p:nvSpPr>
          <p:spPr>
            <a:xfrm>
              <a:off x="7110455" y="1726563"/>
              <a:ext cx="96700" cy="15183"/>
            </a:xfrm>
            <a:custGeom>
              <a:avLst/>
              <a:gdLst/>
              <a:ahLst/>
              <a:cxnLst/>
              <a:rect l="l" t="t" r="r" b="b"/>
              <a:pathLst>
                <a:path w="3038" h="477" extrusionOk="0">
                  <a:moveTo>
                    <a:pt x="239" y="0"/>
                  </a:moveTo>
                  <a:cubicBezTo>
                    <a:pt x="108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lnTo>
                    <a:pt x="2799" y="476"/>
                  </a:lnTo>
                  <a:cubicBezTo>
                    <a:pt x="2942" y="476"/>
                    <a:pt x="3037" y="381"/>
                    <a:pt x="3037" y="238"/>
                  </a:cubicBezTo>
                  <a:cubicBezTo>
                    <a:pt x="3037" y="107"/>
                    <a:pt x="294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0" name="Google Shape;13770;p64"/>
            <p:cNvSpPr/>
            <p:nvPr/>
          </p:nvSpPr>
          <p:spPr>
            <a:xfrm>
              <a:off x="7262825" y="1636739"/>
              <a:ext cx="48541" cy="80371"/>
            </a:xfrm>
            <a:custGeom>
              <a:avLst/>
              <a:gdLst/>
              <a:ahLst/>
              <a:cxnLst/>
              <a:rect l="l" t="t" r="r" b="b"/>
              <a:pathLst>
                <a:path w="1525" h="2525" extrusionOk="0">
                  <a:moveTo>
                    <a:pt x="1268" y="0"/>
                  </a:moveTo>
                  <a:cubicBezTo>
                    <a:pt x="1206" y="0"/>
                    <a:pt x="1143" y="24"/>
                    <a:pt x="1096" y="72"/>
                  </a:cubicBezTo>
                  <a:lnTo>
                    <a:pt x="72" y="1096"/>
                  </a:lnTo>
                  <a:cubicBezTo>
                    <a:pt x="24" y="1143"/>
                    <a:pt x="0" y="1203"/>
                    <a:pt x="0" y="1262"/>
                  </a:cubicBezTo>
                  <a:cubicBezTo>
                    <a:pt x="0" y="1322"/>
                    <a:pt x="24" y="1381"/>
                    <a:pt x="72" y="1429"/>
                  </a:cubicBezTo>
                  <a:lnTo>
                    <a:pt x="1096" y="2453"/>
                  </a:lnTo>
                  <a:cubicBezTo>
                    <a:pt x="1143" y="2501"/>
                    <a:pt x="1203" y="2524"/>
                    <a:pt x="1262" y="2524"/>
                  </a:cubicBezTo>
                  <a:cubicBezTo>
                    <a:pt x="1322" y="2524"/>
                    <a:pt x="1381" y="2501"/>
                    <a:pt x="1429" y="2453"/>
                  </a:cubicBezTo>
                  <a:cubicBezTo>
                    <a:pt x="1524" y="2370"/>
                    <a:pt x="1524" y="2215"/>
                    <a:pt x="1441" y="2108"/>
                  </a:cubicBezTo>
                  <a:lnTo>
                    <a:pt x="596" y="1262"/>
                  </a:lnTo>
                  <a:lnTo>
                    <a:pt x="1441" y="417"/>
                  </a:lnTo>
                  <a:cubicBezTo>
                    <a:pt x="1524" y="322"/>
                    <a:pt x="1524" y="167"/>
                    <a:pt x="1441" y="72"/>
                  </a:cubicBezTo>
                  <a:cubicBezTo>
                    <a:pt x="1393" y="24"/>
                    <a:pt x="1331" y="0"/>
                    <a:pt x="12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1" name="Google Shape;13771;p64"/>
            <p:cNvSpPr/>
            <p:nvPr/>
          </p:nvSpPr>
          <p:spPr>
            <a:xfrm>
              <a:off x="7380691" y="1636357"/>
              <a:ext cx="48891" cy="80371"/>
            </a:xfrm>
            <a:custGeom>
              <a:avLst/>
              <a:gdLst/>
              <a:ahLst/>
              <a:cxnLst/>
              <a:rect l="l" t="t" r="r" b="b"/>
              <a:pathLst>
                <a:path w="1536" h="2525" extrusionOk="0">
                  <a:moveTo>
                    <a:pt x="261" y="0"/>
                  </a:moveTo>
                  <a:cubicBezTo>
                    <a:pt x="197" y="0"/>
                    <a:pt x="131" y="24"/>
                    <a:pt x="83" y="72"/>
                  </a:cubicBezTo>
                  <a:cubicBezTo>
                    <a:pt x="0" y="155"/>
                    <a:pt x="0" y="322"/>
                    <a:pt x="83" y="417"/>
                  </a:cubicBezTo>
                  <a:lnTo>
                    <a:pt x="941" y="1262"/>
                  </a:lnTo>
                  <a:lnTo>
                    <a:pt x="83" y="2108"/>
                  </a:lnTo>
                  <a:cubicBezTo>
                    <a:pt x="0" y="2203"/>
                    <a:pt x="0" y="2358"/>
                    <a:pt x="83" y="2453"/>
                  </a:cubicBezTo>
                  <a:cubicBezTo>
                    <a:pt x="131" y="2501"/>
                    <a:pt x="191" y="2525"/>
                    <a:pt x="250" y="2525"/>
                  </a:cubicBezTo>
                  <a:cubicBezTo>
                    <a:pt x="310" y="2525"/>
                    <a:pt x="369" y="2501"/>
                    <a:pt x="417" y="2453"/>
                  </a:cubicBezTo>
                  <a:lnTo>
                    <a:pt x="1441" y="1429"/>
                  </a:lnTo>
                  <a:cubicBezTo>
                    <a:pt x="1488" y="1382"/>
                    <a:pt x="1512" y="1322"/>
                    <a:pt x="1512" y="1262"/>
                  </a:cubicBezTo>
                  <a:cubicBezTo>
                    <a:pt x="1536" y="1203"/>
                    <a:pt x="1500" y="1143"/>
                    <a:pt x="1453" y="1096"/>
                  </a:cubicBezTo>
                  <a:lnTo>
                    <a:pt x="429" y="72"/>
                  </a:lnTo>
                  <a:cubicBezTo>
                    <a:pt x="387" y="24"/>
                    <a:pt x="325" y="0"/>
                    <a:pt x="2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2" name="Google Shape;13772;p64"/>
            <p:cNvSpPr/>
            <p:nvPr/>
          </p:nvSpPr>
          <p:spPr>
            <a:xfrm>
              <a:off x="7321933" y="1626744"/>
              <a:ext cx="48923" cy="99851"/>
            </a:xfrm>
            <a:custGeom>
              <a:avLst/>
              <a:gdLst/>
              <a:ahLst/>
              <a:cxnLst/>
              <a:rect l="l" t="t" r="r" b="b"/>
              <a:pathLst>
                <a:path w="1537" h="3137" extrusionOk="0">
                  <a:moveTo>
                    <a:pt x="1249" y="0"/>
                  </a:moveTo>
                  <a:cubicBezTo>
                    <a:pt x="1154" y="0"/>
                    <a:pt x="1061" y="59"/>
                    <a:pt x="1025" y="160"/>
                  </a:cubicBezTo>
                  <a:lnTo>
                    <a:pt x="48" y="2815"/>
                  </a:lnTo>
                  <a:cubicBezTo>
                    <a:pt x="1" y="2934"/>
                    <a:pt x="60" y="3077"/>
                    <a:pt x="191" y="3124"/>
                  </a:cubicBezTo>
                  <a:cubicBezTo>
                    <a:pt x="227" y="3136"/>
                    <a:pt x="251" y="3136"/>
                    <a:pt x="286" y="3136"/>
                  </a:cubicBezTo>
                  <a:cubicBezTo>
                    <a:pt x="382" y="3136"/>
                    <a:pt x="477" y="3077"/>
                    <a:pt x="501" y="2981"/>
                  </a:cubicBezTo>
                  <a:lnTo>
                    <a:pt x="1489" y="326"/>
                  </a:lnTo>
                  <a:cubicBezTo>
                    <a:pt x="1537" y="207"/>
                    <a:pt x="1477" y="64"/>
                    <a:pt x="1334" y="17"/>
                  </a:cubicBezTo>
                  <a:cubicBezTo>
                    <a:pt x="1307" y="6"/>
                    <a:pt x="1278" y="0"/>
                    <a:pt x="12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73" name="Google Shape;13773;p64"/>
          <p:cNvGrpSpPr/>
          <p:nvPr/>
        </p:nvGrpSpPr>
        <p:grpSpPr>
          <a:xfrm>
            <a:off x="8034034" y="1518109"/>
            <a:ext cx="282746" cy="340358"/>
            <a:chOff x="8034034" y="1518109"/>
            <a:chExt cx="282746" cy="340358"/>
          </a:xfrm>
        </p:grpSpPr>
        <p:sp>
          <p:nvSpPr>
            <p:cNvPr id="13774" name="Google Shape;13774;p64"/>
            <p:cNvSpPr/>
            <p:nvPr/>
          </p:nvSpPr>
          <p:spPr>
            <a:xfrm>
              <a:off x="8034034" y="1518109"/>
              <a:ext cx="282746" cy="340358"/>
            </a:xfrm>
            <a:custGeom>
              <a:avLst/>
              <a:gdLst/>
              <a:ahLst/>
              <a:cxnLst/>
              <a:rect l="l" t="t" r="r" b="b"/>
              <a:pathLst>
                <a:path w="8883" h="10693" extrusionOk="0">
                  <a:moveTo>
                    <a:pt x="4525" y="322"/>
                  </a:moveTo>
                  <a:cubicBezTo>
                    <a:pt x="4858" y="322"/>
                    <a:pt x="5144" y="560"/>
                    <a:pt x="5204" y="882"/>
                  </a:cubicBezTo>
                  <a:lnTo>
                    <a:pt x="3715" y="882"/>
                  </a:lnTo>
                  <a:cubicBezTo>
                    <a:pt x="3775" y="560"/>
                    <a:pt x="4061" y="322"/>
                    <a:pt x="4406" y="322"/>
                  </a:cubicBezTo>
                  <a:close/>
                  <a:moveTo>
                    <a:pt x="6347" y="1191"/>
                  </a:moveTo>
                  <a:cubicBezTo>
                    <a:pt x="6728" y="1191"/>
                    <a:pt x="7085" y="1370"/>
                    <a:pt x="7287" y="1668"/>
                  </a:cubicBezTo>
                  <a:lnTo>
                    <a:pt x="1608" y="1668"/>
                  </a:lnTo>
                  <a:cubicBezTo>
                    <a:pt x="1810" y="1370"/>
                    <a:pt x="2167" y="1191"/>
                    <a:pt x="2537" y="1191"/>
                  </a:cubicBezTo>
                  <a:close/>
                  <a:moveTo>
                    <a:pt x="4382" y="1"/>
                  </a:moveTo>
                  <a:cubicBezTo>
                    <a:pt x="3882" y="1"/>
                    <a:pt x="3453" y="394"/>
                    <a:pt x="3370" y="882"/>
                  </a:cubicBezTo>
                  <a:lnTo>
                    <a:pt x="2525" y="882"/>
                  </a:lnTo>
                  <a:cubicBezTo>
                    <a:pt x="1977" y="882"/>
                    <a:pt x="1465" y="1191"/>
                    <a:pt x="1215" y="1668"/>
                  </a:cubicBezTo>
                  <a:lnTo>
                    <a:pt x="632" y="1668"/>
                  </a:lnTo>
                  <a:cubicBezTo>
                    <a:pt x="274" y="1668"/>
                    <a:pt x="0" y="1953"/>
                    <a:pt x="0" y="2310"/>
                  </a:cubicBezTo>
                  <a:cubicBezTo>
                    <a:pt x="0" y="2668"/>
                    <a:pt x="274" y="2953"/>
                    <a:pt x="632" y="2953"/>
                  </a:cubicBezTo>
                  <a:lnTo>
                    <a:pt x="1072" y="2953"/>
                  </a:lnTo>
                  <a:lnTo>
                    <a:pt x="1453" y="10002"/>
                  </a:lnTo>
                  <a:cubicBezTo>
                    <a:pt x="1465" y="10395"/>
                    <a:pt x="1798" y="10692"/>
                    <a:pt x="2167" y="10692"/>
                  </a:cubicBezTo>
                  <a:lnTo>
                    <a:pt x="4763" y="10692"/>
                  </a:lnTo>
                  <a:cubicBezTo>
                    <a:pt x="4846" y="10692"/>
                    <a:pt x="4906" y="10621"/>
                    <a:pt x="4906" y="10538"/>
                  </a:cubicBezTo>
                  <a:cubicBezTo>
                    <a:pt x="4906" y="10454"/>
                    <a:pt x="4834" y="10395"/>
                    <a:pt x="4763" y="10395"/>
                  </a:cubicBezTo>
                  <a:lnTo>
                    <a:pt x="2167" y="10395"/>
                  </a:lnTo>
                  <a:cubicBezTo>
                    <a:pt x="1941" y="10395"/>
                    <a:pt x="1763" y="10228"/>
                    <a:pt x="1763" y="10002"/>
                  </a:cubicBezTo>
                  <a:lnTo>
                    <a:pt x="1382" y="2965"/>
                  </a:lnTo>
                  <a:lnTo>
                    <a:pt x="2215" y="2965"/>
                  </a:lnTo>
                  <a:cubicBezTo>
                    <a:pt x="2298" y="2965"/>
                    <a:pt x="2358" y="2894"/>
                    <a:pt x="2358" y="2811"/>
                  </a:cubicBezTo>
                  <a:cubicBezTo>
                    <a:pt x="2358" y="2727"/>
                    <a:pt x="2286" y="2668"/>
                    <a:pt x="2215" y="2668"/>
                  </a:cubicBezTo>
                  <a:lnTo>
                    <a:pt x="620" y="2668"/>
                  </a:lnTo>
                  <a:cubicBezTo>
                    <a:pt x="441" y="2668"/>
                    <a:pt x="298" y="2513"/>
                    <a:pt x="298" y="2334"/>
                  </a:cubicBezTo>
                  <a:cubicBezTo>
                    <a:pt x="298" y="2168"/>
                    <a:pt x="441" y="2013"/>
                    <a:pt x="620" y="2013"/>
                  </a:cubicBezTo>
                  <a:lnTo>
                    <a:pt x="8216" y="2013"/>
                  </a:lnTo>
                  <a:cubicBezTo>
                    <a:pt x="8394" y="2013"/>
                    <a:pt x="8537" y="2168"/>
                    <a:pt x="8537" y="2334"/>
                  </a:cubicBezTo>
                  <a:cubicBezTo>
                    <a:pt x="8537" y="2513"/>
                    <a:pt x="8394" y="2668"/>
                    <a:pt x="8216" y="2668"/>
                  </a:cubicBezTo>
                  <a:lnTo>
                    <a:pt x="2941" y="2668"/>
                  </a:lnTo>
                  <a:cubicBezTo>
                    <a:pt x="2858" y="2668"/>
                    <a:pt x="2798" y="2739"/>
                    <a:pt x="2798" y="2811"/>
                  </a:cubicBezTo>
                  <a:cubicBezTo>
                    <a:pt x="2798" y="2906"/>
                    <a:pt x="2870" y="2965"/>
                    <a:pt x="2941" y="2965"/>
                  </a:cubicBezTo>
                  <a:lnTo>
                    <a:pt x="7466" y="2965"/>
                  </a:lnTo>
                  <a:lnTo>
                    <a:pt x="7061" y="10002"/>
                  </a:lnTo>
                  <a:cubicBezTo>
                    <a:pt x="7049" y="10228"/>
                    <a:pt x="6870" y="10395"/>
                    <a:pt x="6668" y="10395"/>
                  </a:cubicBezTo>
                  <a:lnTo>
                    <a:pt x="5501" y="10395"/>
                  </a:lnTo>
                  <a:cubicBezTo>
                    <a:pt x="5418" y="10395"/>
                    <a:pt x="5358" y="10466"/>
                    <a:pt x="5358" y="10538"/>
                  </a:cubicBezTo>
                  <a:cubicBezTo>
                    <a:pt x="5358" y="10633"/>
                    <a:pt x="5430" y="10692"/>
                    <a:pt x="5501" y="10692"/>
                  </a:cubicBezTo>
                  <a:lnTo>
                    <a:pt x="6668" y="10692"/>
                  </a:lnTo>
                  <a:cubicBezTo>
                    <a:pt x="7049" y="10692"/>
                    <a:pt x="7359" y="10395"/>
                    <a:pt x="7370" y="10002"/>
                  </a:cubicBezTo>
                  <a:lnTo>
                    <a:pt x="7775" y="2930"/>
                  </a:lnTo>
                  <a:lnTo>
                    <a:pt x="8216" y="2930"/>
                  </a:lnTo>
                  <a:cubicBezTo>
                    <a:pt x="8573" y="2930"/>
                    <a:pt x="8847" y="2656"/>
                    <a:pt x="8847" y="2299"/>
                  </a:cubicBezTo>
                  <a:cubicBezTo>
                    <a:pt x="8883" y="1953"/>
                    <a:pt x="8597" y="1668"/>
                    <a:pt x="8252" y="1668"/>
                  </a:cubicBezTo>
                  <a:lnTo>
                    <a:pt x="7656" y="1668"/>
                  </a:lnTo>
                  <a:cubicBezTo>
                    <a:pt x="7406" y="1179"/>
                    <a:pt x="6918" y="882"/>
                    <a:pt x="6347" y="882"/>
                  </a:cubicBezTo>
                  <a:lnTo>
                    <a:pt x="5513" y="882"/>
                  </a:lnTo>
                  <a:cubicBezTo>
                    <a:pt x="5442" y="394"/>
                    <a:pt x="5025" y="1"/>
                    <a:pt x="4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5" name="Google Shape;13775;p64"/>
            <p:cNvSpPr/>
            <p:nvPr/>
          </p:nvSpPr>
          <p:spPr>
            <a:xfrm>
              <a:off x="8161736" y="1632569"/>
              <a:ext cx="28456" cy="173601"/>
            </a:xfrm>
            <a:custGeom>
              <a:avLst/>
              <a:gdLst/>
              <a:ahLst/>
              <a:cxnLst/>
              <a:rect l="l" t="t" r="r" b="b"/>
              <a:pathLst>
                <a:path w="894" h="5454" extrusionOk="0">
                  <a:moveTo>
                    <a:pt x="469" y="321"/>
                  </a:moveTo>
                  <a:cubicBezTo>
                    <a:pt x="533" y="321"/>
                    <a:pt x="584" y="387"/>
                    <a:pt x="584" y="453"/>
                  </a:cubicBezTo>
                  <a:lnTo>
                    <a:pt x="584" y="5025"/>
                  </a:lnTo>
                  <a:cubicBezTo>
                    <a:pt x="584" y="5096"/>
                    <a:pt x="525" y="5156"/>
                    <a:pt x="453" y="5156"/>
                  </a:cubicBezTo>
                  <a:cubicBezTo>
                    <a:pt x="370" y="5156"/>
                    <a:pt x="310" y="5096"/>
                    <a:pt x="310" y="5025"/>
                  </a:cubicBezTo>
                  <a:lnTo>
                    <a:pt x="310" y="453"/>
                  </a:lnTo>
                  <a:cubicBezTo>
                    <a:pt x="310" y="381"/>
                    <a:pt x="370" y="322"/>
                    <a:pt x="453" y="322"/>
                  </a:cubicBezTo>
                  <a:cubicBezTo>
                    <a:pt x="459" y="321"/>
                    <a:pt x="464" y="321"/>
                    <a:pt x="469" y="321"/>
                  </a:cubicBezTo>
                  <a:close/>
                  <a:moveTo>
                    <a:pt x="453" y="0"/>
                  </a:moveTo>
                  <a:cubicBezTo>
                    <a:pt x="191" y="0"/>
                    <a:pt x="1" y="203"/>
                    <a:pt x="1" y="441"/>
                  </a:cubicBezTo>
                  <a:lnTo>
                    <a:pt x="1" y="5013"/>
                  </a:lnTo>
                  <a:cubicBezTo>
                    <a:pt x="1" y="5263"/>
                    <a:pt x="215" y="5453"/>
                    <a:pt x="453" y="5453"/>
                  </a:cubicBezTo>
                  <a:cubicBezTo>
                    <a:pt x="703" y="5453"/>
                    <a:pt x="894" y="5251"/>
                    <a:pt x="894" y="5013"/>
                  </a:cubicBezTo>
                  <a:lnTo>
                    <a:pt x="894" y="441"/>
                  </a:lnTo>
                  <a:cubicBezTo>
                    <a:pt x="894" y="203"/>
                    <a:pt x="691" y="0"/>
                    <a:pt x="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6" name="Google Shape;13776;p64"/>
            <p:cNvSpPr/>
            <p:nvPr/>
          </p:nvSpPr>
          <p:spPr>
            <a:xfrm>
              <a:off x="8214796" y="1632951"/>
              <a:ext cx="33008" cy="173601"/>
            </a:xfrm>
            <a:custGeom>
              <a:avLst/>
              <a:gdLst/>
              <a:ahLst/>
              <a:cxnLst/>
              <a:rect l="l" t="t" r="r" b="b"/>
              <a:pathLst>
                <a:path w="1037" h="5454" extrusionOk="0">
                  <a:moveTo>
                    <a:pt x="584" y="0"/>
                  </a:moveTo>
                  <a:cubicBezTo>
                    <a:pt x="322" y="0"/>
                    <a:pt x="132" y="191"/>
                    <a:pt x="132" y="429"/>
                  </a:cubicBezTo>
                  <a:lnTo>
                    <a:pt x="1" y="5001"/>
                  </a:lnTo>
                  <a:cubicBezTo>
                    <a:pt x="1" y="5120"/>
                    <a:pt x="48" y="5239"/>
                    <a:pt x="132" y="5322"/>
                  </a:cubicBezTo>
                  <a:cubicBezTo>
                    <a:pt x="227" y="5418"/>
                    <a:pt x="322" y="5453"/>
                    <a:pt x="465" y="5453"/>
                  </a:cubicBezTo>
                  <a:cubicBezTo>
                    <a:pt x="715" y="5453"/>
                    <a:pt x="906" y="5263"/>
                    <a:pt x="906" y="5025"/>
                  </a:cubicBezTo>
                  <a:lnTo>
                    <a:pt x="918" y="4298"/>
                  </a:lnTo>
                  <a:cubicBezTo>
                    <a:pt x="918" y="4215"/>
                    <a:pt x="858" y="4132"/>
                    <a:pt x="775" y="4132"/>
                  </a:cubicBezTo>
                  <a:cubicBezTo>
                    <a:pt x="679" y="4132"/>
                    <a:pt x="608" y="4191"/>
                    <a:pt x="608" y="4287"/>
                  </a:cubicBezTo>
                  <a:lnTo>
                    <a:pt x="596" y="5013"/>
                  </a:lnTo>
                  <a:cubicBezTo>
                    <a:pt x="596" y="5084"/>
                    <a:pt x="537" y="5144"/>
                    <a:pt x="465" y="5144"/>
                  </a:cubicBezTo>
                  <a:cubicBezTo>
                    <a:pt x="417" y="5144"/>
                    <a:pt x="382" y="5132"/>
                    <a:pt x="358" y="5096"/>
                  </a:cubicBezTo>
                  <a:cubicBezTo>
                    <a:pt x="322" y="5072"/>
                    <a:pt x="310" y="5037"/>
                    <a:pt x="310" y="5001"/>
                  </a:cubicBezTo>
                  <a:lnTo>
                    <a:pt x="441" y="429"/>
                  </a:lnTo>
                  <a:cubicBezTo>
                    <a:pt x="441" y="357"/>
                    <a:pt x="501" y="298"/>
                    <a:pt x="584" y="298"/>
                  </a:cubicBezTo>
                  <a:cubicBezTo>
                    <a:pt x="620" y="298"/>
                    <a:pt x="656" y="310"/>
                    <a:pt x="691" y="346"/>
                  </a:cubicBezTo>
                  <a:cubicBezTo>
                    <a:pt x="715" y="369"/>
                    <a:pt x="727" y="393"/>
                    <a:pt x="727" y="441"/>
                  </a:cubicBezTo>
                  <a:lnTo>
                    <a:pt x="644" y="3548"/>
                  </a:lnTo>
                  <a:cubicBezTo>
                    <a:pt x="632" y="3644"/>
                    <a:pt x="703" y="3715"/>
                    <a:pt x="787" y="3715"/>
                  </a:cubicBezTo>
                  <a:cubicBezTo>
                    <a:pt x="882" y="3715"/>
                    <a:pt x="953" y="3655"/>
                    <a:pt x="953" y="3572"/>
                  </a:cubicBezTo>
                  <a:lnTo>
                    <a:pt x="1037" y="465"/>
                  </a:lnTo>
                  <a:cubicBezTo>
                    <a:pt x="1037" y="346"/>
                    <a:pt x="1001" y="215"/>
                    <a:pt x="906" y="131"/>
                  </a:cubicBezTo>
                  <a:cubicBezTo>
                    <a:pt x="822" y="48"/>
                    <a:pt x="71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7" name="Google Shape;13777;p64"/>
            <p:cNvSpPr/>
            <p:nvPr/>
          </p:nvSpPr>
          <p:spPr>
            <a:xfrm>
              <a:off x="8103391" y="1632569"/>
              <a:ext cx="33390" cy="173601"/>
            </a:xfrm>
            <a:custGeom>
              <a:avLst/>
              <a:gdLst/>
              <a:ahLst/>
              <a:cxnLst/>
              <a:rect l="l" t="t" r="r" b="b"/>
              <a:pathLst>
                <a:path w="1049" h="5454" extrusionOk="0">
                  <a:moveTo>
                    <a:pt x="465" y="310"/>
                  </a:moveTo>
                  <a:cubicBezTo>
                    <a:pt x="536" y="310"/>
                    <a:pt x="596" y="369"/>
                    <a:pt x="596" y="441"/>
                  </a:cubicBezTo>
                  <a:lnTo>
                    <a:pt x="739" y="5013"/>
                  </a:lnTo>
                  <a:cubicBezTo>
                    <a:pt x="739" y="5061"/>
                    <a:pt x="715" y="5084"/>
                    <a:pt x="691" y="5120"/>
                  </a:cubicBezTo>
                  <a:cubicBezTo>
                    <a:pt x="655" y="5144"/>
                    <a:pt x="631" y="5156"/>
                    <a:pt x="584" y="5156"/>
                  </a:cubicBezTo>
                  <a:cubicBezTo>
                    <a:pt x="512" y="5156"/>
                    <a:pt x="453" y="5096"/>
                    <a:pt x="453" y="5025"/>
                  </a:cubicBezTo>
                  <a:lnTo>
                    <a:pt x="322" y="453"/>
                  </a:lnTo>
                  <a:cubicBezTo>
                    <a:pt x="322" y="417"/>
                    <a:pt x="334" y="381"/>
                    <a:pt x="358" y="358"/>
                  </a:cubicBezTo>
                  <a:cubicBezTo>
                    <a:pt x="393" y="322"/>
                    <a:pt x="417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346" y="0"/>
                    <a:pt x="227" y="36"/>
                    <a:pt x="143" y="131"/>
                  </a:cubicBezTo>
                  <a:cubicBezTo>
                    <a:pt x="48" y="215"/>
                    <a:pt x="0" y="334"/>
                    <a:pt x="0" y="453"/>
                  </a:cubicBezTo>
                  <a:lnTo>
                    <a:pt x="143" y="5025"/>
                  </a:lnTo>
                  <a:cubicBezTo>
                    <a:pt x="143" y="5275"/>
                    <a:pt x="346" y="5453"/>
                    <a:pt x="584" y="5453"/>
                  </a:cubicBezTo>
                  <a:cubicBezTo>
                    <a:pt x="703" y="5453"/>
                    <a:pt x="822" y="5406"/>
                    <a:pt x="917" y="5322"/>
                  </a:cubicBezTo>
                  <a:cubicBezTo>
                    <a:pt x="1000" y="5227"/>
                    <a:pt x="1048" y="5120"/>
                    <a:pt x="1048" y="4989"/>
                  </a:cubicBezTo>
                  <a:lnTo>
                    <a:pt x="917" y="429"/>
                  </a:lnTo>
                  <a:cubicBezTo>
                    <a:pt x="917" y="191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78" name="Google Shape;13778;p64"/>
          <p:cNvGrpSpPr/>
          <p:nvPr/>
        </p:nvGrpSpPr>
        <p:grpSpPr>
          <a:xfrm>
            <a:off x="7582302" y="1499934"/>
            <a:ext cx="369133" cy="360411"/>
            <a:chOff x="7582302" y="1499934"/>
            <a:chExt cx="369133" cy="360411"/>
          </a:xfrm>
        </p:grpSpPr>
        <p:sp>
          <p:nvSpPr>
            <p:cNvPr id="13779" name="Google Shape;13779;p64"/>
            <p:cNvSpPr/>
            <p:nvPr/>
          </p:nvSpPr>
          <p:spPr>
            <a:xfrm>
              <a:off x="7582302" y="1499934"/>
              <a:ext cx="369133" cy="360411"/>
            </a:xfrm>
            <a:custGeom>
              <a:avLst/>
              <a:gdLst/>
              <a:ahLst/>
              <a:cxnLst/>
              <a:rect l="l" t="t" r="r" b="b"/>
              <a:pathLst>
                <a:path w="11597" h="11323" extrusionOk="0">
                  <a:moveTo>
                    <a:pt x="7204" y="595"/>
                  </a:moveTo>
                  <a:cubicBezTo>
                    <a:pt x="7418" y="595"/>
                    <a:pt x="7573" y="738"/>
                    <a:pt x="7608" y="917"/>
                  </a:cubicBezTo>
                  <a:cubicBezTo>
                    <a:pt x="7608" y="941"/>
                    <a:pt x="7620" y="976"/>
                    <a:pt x="7620" y="1000"/>
                  </a:cubicBezTo>
                  <a:lnTo>
                    <a:pt x="7620" y="1750"/>
                  </a:lnTo>
                  <a:lnTo>
                    <a:pt x="3322" y="1750"/>
                  </a:lnTo>
                  <a:lnTo>
                    <a:pt x="3322" y="1631"/>
                  </a:lnTo>
                  <a:cubicBezTo>
                    <a:pt x="3322" y="1227"/>
                    <a:pt x="3191" y="869"/>
                    <a:pt x="2953" y="595"/>
                  </a:cubicBezTo>
                  <a:close/>
                  <a:moveTo>
                    <a:pt x="1667" y="310"/>
                  </a:moveTo>
                  <a:cubicBezTo>
                    <a:pt x="2405" y="310"/>
                    <a:pt x="3001" y="905"/>
                    <a:pt x="3001" y="1631"/>
                  </a:cubicBezTo>
                  <a:cubicBezTo>
                    <a:pt x="3001" y="2358"/>
                    <a:pt x="2405" y="2953"/>
                    <a:pt x="1667" y="2953"/>
                  </a:cubicBezTo>
                  <a:cubicBezTo>
                    <a:pt x="941" y="2953"/>
                    <a:pt x="346" y="2358"/>
                    <a:pt x="346" y="1631"/>
                  </a:cubicBezTo>
                  <a:cubicBezTo>
                    <a:pt x="346" y="905"/>
                    <a:pt x="941" y="310"/>
                    <a:pt x="1667" y="310"/>
                  </a:cubicBezTo>
                  <a:close/>
                  <a:moveTo>
                    <a:pt x="7644" y="9775"/>
                  </a:moveTo>
                  <a:lnTo>
                    <a:pt x="7644" y="10513"/>
                  </a:lnTo>
                  <a:cubicBezTo>
                    <a:pt x="7644" y="10549"/>
                    <a:pt x="7644" y="10573"/>
                    <a:pt x="7620" y="10609"/>
                  </a:cubicBezTo>
                  <a:cubicBezTo>
                    <a:pt x="7585" y="10799"/>
                    <a:pt x="7418" y="10930"/>
                    <a:pt x="7227" y="10930"/>
                  </a:cubicBezTo>
                  <a:lnTo>
                    <a:pt x="2358" y="10930"/>
                  </a:lnTo>
                  <a:cubicBezTo>
                    <a:pt x="2131" y="10930"/>
                    <a:pt x="1941" y="10740"/>
                    <a:pt x="1941" y="10513"/>
                  </a:cubicBezTo>
                  <a:lnTo>
                    <a:pt x="1941" y="9775"/>
                  </a:lnTo>
                  <a:close/>
                  <a:moveTo>
                    <a:pt x="1667" y="0"/>
                  </a:moveTo>
                  <a:cubicBezTo>
                    <a:pt x="750" y="0"/>
                    <a:pt x="0" y="738"/>
                    <a:pt x="0" y="1667"/>
                  </a:cubicBezTo>
                  <a:cubicBezTo>
                    <a:pt x="0" y="2560"/>
                    <a:pt x="715" y="3298"/>
                    <a:pt x="1608" y="3334"/>
                  </a:cubicBezTo>
                  <a:lnTo>
                    <a:pt x="1608" y="4917"/>
                  </a:lnTo>
                  <a:cubicBezTo>
                    <a:pt x="1608" y="5013"/>
                    <a:pt x="1691" y="5084"/>
                    <a:pt x="1774" y="5084"/>
                  </a:cubicBezTo>
                  <a:cubicBezTo>
                    <a:pt x="1858" y="5084"/>
                    <a:pt x="1941" y="5013"/>
                    <a:pt x="1941" y="4917"/>
                  </a:cubicBezTo>
                  <a:lnTo>
                    <a:pt x="1941" y="3310"/>
                  </a:lnTo>
                  <a:cubicBezTo>
                    <a:pt x="2572" y="3203"/>
                    <a:pt x="3096" y="2739"/>
                    <a:pt x="3263" y="2119"/>
                  </a:cubicBezTo>
                  <a:lnTo>
                    <a:pt x="7644" y="2119"/>
                  </a:lnTo>
                  <a:lnTo>
                    <a:pt x="7644" y="3489"/>
                  </a:lnTo>
                  <a:lnTo>
                    <a:pt x="4929" y="3489"/>
                  </a:lnTo>
                  <a:lnTo>
                    <a:pt x="4929" y="2905"/>
                  </a:lnTo>
                  <a:cubicBezTo>
                    <a:pt x="4929" y="2822"/>
                    <a:pt x="4858" y="2751"/>
                    <a:pt x="4763" y="2751"/>
                  </a:cubicBezTo>
                  <a:cubicBezTo>
                    <a:pt x="4679" y="2751"/>
                    <a:pt x="4608" y="2822"/>
                    <a:pt x="4608" y="2905"/>
                  </a:cubicBezTo>
                  <a:lnTo>
                    <a:pt x="4608" y="3882"/>
                  </a:lnTo>
                  <a:lnTo>
                    <a:pt x="4608" y="7715"/>
                  </a:lnTo>
                  <a:lnTo>
                    <a:pt x="4608" y="8692"/>
                  </a:lnTo>
                  <a:cubicBezTo>
                    <a:pt x="4608" y="8775"/>
                    <a:pt x="4679" y="8847"/>
                    <a:pt x="4763" y="8847"/>
                  </a:cubicBezTo>
                  <a:cubicBezTo>
                    <a:pt x="4858" y="8847"/>
                    <a:pt x="4929" y="8775"/>
                    <a:pt x="4929" y="8692"/>
                  </a:cubicBezTo>
                  <a:lnTo>
                    <a:pt x="4929" y="8096"/>
                  </a:lnTo>
                  <a:lnTo>
                    <a:pt x="7644" y="8096"/>
                  </a:lnTo>
                  <a:lnTo>
                    <a:pt x="7644" y="9478"/>
                  </a:lnTo>
                  <a:lnTo>
                    <a:pt x="1941" y="9478"/>
                  </a:lnTo>
                  <a:lnTo>
                    <a:pt x="1941" y="5668"/>
                  </a:lnTo>
                  <a:cubicBezTo>
                    <a:pt x="1941" y="5572"/>
                    <a:pt x="1870" y="5501"/>
                    <a:pt x="1774" y="5501"/>
                  </a:cubicBezTo>
                  <a:cubicBezTo>
                    <a:pt x="1691" y="5501"/>
                    <a:pt x="1608" y="5572"/>
                    <a:pt x="1608" y="5668"/>
                  </a:cubicBezTo>
                  <a:lnTo>
                    <a:pt x="1608" y="9656"/>
                  </a:lnTo>
                  <a:lnTo>
                    <a:pt x="1608" y="10561"/>
                  </a:lnTo>
                  <a:cubicBezTo>
                    <a:pt x="1608" y="10978"/>
                    <a:pt x="1953" y="11323"/>
                    <a:pt x="2370" y="11323"/>
                  </a:cubicBezTo>
                  <a:lnTo>
                    <a:pt x="7239" y="11323"/>
                  </a:lnTo>
                  <a:cubicBezTo>
                    <a:pt x="7620" y="11323"/>
                    <a:pt x="7954" y="11025"/>
                    <a:pt x="8001" y="10632"/>
                  </a:cubicBezTo>
                  <a:lnTo>
                    <a:pt x="8001" y="10561"/>
                  </a:lnTo>
                  <a:lnTo>
                    <a:pt x="8001" y="9656"/>
                  </a:lnTo>
                  <a:lnTo>
                    <a:pt x="8001" y="8096"/>
                  </a:lnTo>
                  <a:lnTo>
                    <a:pt x="9025" y="8096"/>
                  </a:lnTo>
                  <a:cubicBezTo>
                    <a:pt x="9109" y="8096"/>
                    <a:pt x="9192" y="8013"/>
                    <a:pt x="9192" y="7930"/>
                  </a:cubicBezTo>
                  <a:cubicBezTo>
                    <a:pt x="9192" y="7834"/>
                    <a:pt x="9109" y="7763"/>
                    <a:pt x="9025" y="7763"/>
                  </a:cubicBezTo>
                  <a:lnTo>
                    <a:pt x="4977" y="7763"/>
                  </a:lnTo>
                  <a:cubicBezTo>
                    <a:pt x="4965" y="7763"/>
                    <a:pt x="4941" y="7751"/>
                    <a:pt x="4941" y="7727"/>
                  </a:cubicBezTo>
                  <a:lnTo>
                    <a:pt x="4941" y="3894"/>
                  </a:lnTo>
                  <a:cubicBezTo>
                    <a:pt x="4941" y="3882"/>
                    <a:pt x="4965" y="3858"/>
                    <a:pt x="4977" y="3858"/>
                  </a:cubicBezTo>
                  <a:lnTo>
                    <a:pt x="11228" y="3858"/>
                  </a:lnTo>
                  <a:cubicBezTo>
                    <a:pt x="11240" y="3858"/>
                    <a:pt x="11252" y="3882"/>
                    <a:pt x="11252" y="3894"/>
                  </a:cubicBezTo>
                  <a:lnTo>
                    <a:pt x="11252" y="7727"/>
                  </a:lnTo>
                  <a:cubicBezTo>
                    <a:pt x="11252" y="7751"/>
                    <a:pt x="11240" y="7763"/>
                    <a:pt x="11228" y="7763"/>
                  </a:cubicBezTo>
                  <a:lnTo>
                    <a:pt x="9763" y="7763"/>
                  </a:lnTo>
                  <a:cubicBezTo>
                    <a:pt x="9680" y="7763"/>
                    <a:pt x="9609" y="7834"/>
                    <a:pt x="9609" y="7930"/>
                  </a:cubicBezTo>
                  <a:cubicBezTo>
                    <a:pt x="9609" y="8013"/>
                    <a:pt x="9680" y="8096"/>
                    <a:pt x="9763" y="8096"/>
                  </a:cubicBezTo>
                  <a:lnTo>
                    <a:pt x="11228" y="8096"/>
                  </a:lnTo>
                  <a:cubicBezTo>
                    <a:pt x="11430" y="8096"/>
                    <a:pt x="11597" y="7930"/>
                    <a:pt x="11597" y="7715"/>
                  </a:cubicBezTo>
                  <a:lnTo>
                    <a:pt x="11597" y="3882"/>
                  </a:lnTo>
                  <a:cubicBezTo>
                    <a:pt x="11585" y="3632"/>
                    <a:pt x="11418" y="3465"/>
                    <a:pt x="11216" y="3465"/>
                  </a:cubicBezTo>
                  <a:lnTo>
                    <a:pt x="7977" y="3465"/>
                  </a:lnTo>
                  <a:lnTo>
                    <a:pt x="7977" y="1929"/>
                  </a:lnTo>
                  <a:lnTo>
                    <a:pt x="7977" y="1024"/>
                  </a:lnTo>
                  <a:lnTo>
                    <a:pt x="7977" y="953"/>
                  </a:lnTo>
                  <a:cubicBezTo>
                    <a:pt x="7942" y="560"/>
                    <a:pt x="7620" y="262"/>
                    <a:pt x="7227" y="262"/>
                  </a:cubicBezTo>
                  <a:lnTo>
                    <a:pt x="2655" y="262"/>
                  </a:lnTo>
                  <a:cubicBezTo>
                    <a:pt x="2643" y="262"/>
                    <a:pt x="2620" y="262"/>
                    <a:pt x="2608" y="274"/>
                  </a:cubicBezTo>
                  <a:cubicBezTo>
                    <a:pt x="2346" y="95"/>
                    <a:pt x="2012" y="0"/>
                    <a:pt x="1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0" name="Google Shape;13780;p64"/>
            <p:cNvSpPr/>
            <p:nvPr/>
          </p:nvSpPr>
          <p:spPr>
            <a:xfrm>
              <a:off x="7850598" y="1634829"/>
              <a:ext cx="77729" cy="51214"/>
            </a:xfrm>
            <a:custGeom>
              <a:avLst/>
              <a:gdLst/>
              <a:ahLst/>
              <a:cxnLst/>
              <a:rect l="l" t="t" r="r" b="b"/>
              <a:pathLst>
                <a:path w="2442" h="1609" extrusionOk="0">
                  <a:moveTo>
                    <a:pt x="1656" y="322"/>
                  </a:moveTo>
                  <a:cubicBezTo>
                    <a:pt x="1906" y="322"/>
                    <a:pt x="2108" y="537"/>
                    <a:pt x="2108" y="787"/>
                  </a:cubicBezTo>
                  <a:cubicBezTo>
                    <a:pt x="2108" y="1037"/>
                    <a:pt x="1906" y="1251"/>
                    <a:pt x="1656" y="1251"/>
                  </a:cubicBezTo>
                  <a:cubicBezTo>
                    <a:pt x="1394" y="1251"/>
                    <a:pt x="1191" y="1037"/>
                    <a:pt x="1191" y="787"/>
                  </a:cubicBezTo>
                  <a:cubicBezTo>
                    <a:pt x="1191" y="537"/>
                    <a:pt x="1394" y="322"/>
                    <a:pt x="1656" y="322"/>
                  </a:cubicBezTo>
                  <a:close/>
                  <a:moveTo>
                    <a:pt x="799" y="322"/>
                  </a:moveTo>
                  <a:cubicBezTo>
                    <a:pt x="858" y="322"/>
                    <a:pt x="906" y="346"/>
                    <a:pt x="965" y="358"/>
                  </a:cubicBezTo>
                  <a:cubicBezTo>
                    <a:pt x="894" y="477"/>
                    <a:pt x="834" y="632"/>
                    <a:pt x="834" y="787"/>
                  </a:cubicBezTo>
                  <a:cubicBezTo>
                    <a:pt x="834" y="929"/>
                    <a:pt x="870" y="1096"/>
                    <a:pt x="965" y="1215"/>
                  </a:cubicBezTo>
                  <a:cubicBezTo>
                    <a:pt x="918" y="1227"/>
                    <a:pt x="858" y="1251"/>
                    <a:pt x="799" y="1251"/>
                  </a:cubicBezTo>
                  <a:cubicBezTo>
                    <a:pt x="792" y="1251"/>
                    <a:pt x="785" y="1251"/>
                    <a:pt x="779" y="1251"/>
                  </a:cubicBezTo>
                  <a:cubicBezTo>
                    <a:pt x="538" y="1251"/>
                    <a:pt x="346" y="1042"/>
                    <a:pt x="346" y="787"/>
                  </a:cubicBezTo>
                  <a:cubicBezTo>
                    <a:pt x="346" y="537"/>
                    <a:pt x="549" y="322"/>
                    <a:pt x="799" y="322"/>
                  </a:cubicBezTo>
                  <a:close/>
                  <a:moveTo>
                    <a:pt x="799" y="1"/>
                  </a:moveTo>
                  <a:cubicBezTo>
                    <a:pt x="358" y="1"/>
                    <a:pt x="1" y="358"/>
                    <a:pt x="1" y="799"/>
                  </a:cubicBezTo>
                  <a:cubicBezTo>
                    <a:pt x="1" y="1251"/>
                    <a:pt x="358" y="1608"/>
                    <a:pt x="799" y="1608"/>
                  </a:cubicBezTo>
                  <a:cubicBezTo>
                    <a:pt x="953" y="1596"/>
                    <a:pt x="1096" y="1561"/>
                    <a:pt x="1215" y="1489"/>
                  </a:cubicBezTo>
                  <a:cubicBezTo>
                    <a:pt x="1334" y="1561"/>
                    <a:pt x="1489" y="1608"/>
                    <a:pt x="1632" y="1608"/>
                  </a:cubicBezTo>
                  <a:cubicBezTo>
                    <a:pt x="2084" y="1608"/>
                    <a:pt x="2442" y="1251"/>
                    <a:pt x="2442" y="799"/>
                  </a:cubicBezTo>
                  <a:cubicBezTo>
                    <a:pt x="2442" y="358"/>
                    <a:pt x="2084" y="1"/>
                    <a:pt x="1632" y="1"/>
                  </a:cubicBezTo>
                  <a:cubicBezTo>
                    <a:pt x="1489" y="1"/>
                    <a:pt x="1334" y="48"/>
                    <a:pt x="1215" y="120"/>
                  </a:cubicBezTo>
                  <a:cubicBezTo>
                    <a:pt x="1096" y="48"/>
                    <a:pt x="953" y="1"/>
                    <a:pt x="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1" name="Google Shape;13781;p64"/>
            <p:cNvSpPr/>
            <p:nvPr/>
          </p:nvSpPr>
          <p:spPr>
            <a:xfrm>
              <a:off x="7753962" y="1635593"/>
              <a:ext cx="70917" cy="48541"/>
            </a:xfrm>
            <a:custGeom>
              <a:avLst/>
              <a:gdLst/>
              <a:ahLst/>
              <a:cxnLst/>
              <a:rect l="l" t="t" r="r" b="b"/>
              <a:pathLst>
                <a:path w="2228" h="1525" extrusionOk="0">
                  <a:moveTo>
                    <a:pt x="1858" y="346"/>
                  </a:moveTo>
                  <a:cubicBezTo>
                    <a:pt x="1870" y="346"/>
                    <a:pt x="1894" y="358"/>
                    <a:pt x="1894" y="382"/>
                  </a:cubicBezTo>
                  <a:lnTo>
                    <a:pt x="1894" y="1156"/>
                  </a:lnTo>
                  <a:cubicBezTo>
                    <a:pt x="1894" y="1167"/>
                    <a:pt x="1870" y="1179"/>
                    <a:pt x="1858" y="1179"/>
                  </a:cubicBezTo>
                  <a:lnTo>
                    <a:pt x="370" y="1179"/>
                  </a:lnTo>
                  <a:cubicBezTo>
                    <a:pt x="358" y="1179"/>
                    <a:pt x="346" y="1167"/>
                    <a:pt x="346" y="1156"/>
                  </a:cubicBezTo>
                  <a:lnTo>
                    <a:pt x="346" y="382"/>
                  </a:lnTo>
                  <a:cubicBezTo>
                    <a:pt x="346" y="358"/>
                    <a:pt x="358" y="346"/>
                    <a:pt x="370" y="346"/>
                  </a:cubicBezTo>
                  <a:close/>
                  <a:moveTo>
                    <a:pt x="370" y="1"/>
                  </a:moveTo>
                  <a:cubicBezTo>
                    <a:pt x="167" y="1"/>
                    <a:pt x="1" y="167"/>
                    <a:pt x="1" y="382"/>
                  </a:cubicBezTo>
                  <a:lnTo>
                    <a:pt x="1" y="1156"/>
                  </a:lnTo>
                  <a:cubicBezTo>
                    <a:pt x="1" y="1358"/>
                    <a:pt x="167" y="1525"/>
                    <a:pt x="370" y="1525"/>
                  </a:cubicBezTo>
                  <a:lnTo>
                    <a:pt x="1858" y="1525"/>
                  </a:lnTo>
                  <a:cubicBezTo>
                    <a:pt x="2072" y="1525"/>
                    <a:pt x="2227" y="1358"/>
                    <a:pt x="2227" y="1156"/>
                  </a:cubicBezTo>
                  <a:lnTo>
                    <a:pt x="2227" y="382"/>
                  </a:lnTo>
                  <a:cubicBezTo>
                    <a:pt x="2227" y="167"/>
                    <a:pt x="2072" y="1"/>
                    <a:pt x="1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2" name="Google Shape;13782;p64"/>
            <p:cNvSpPr/>
            <p:nvPr/>
          </p:nvSpPr>
          <p:spPr>
            <a:xfrm>
              <a:off x="7750174" y="1695465"/>
              <a:ext cx="180794" cy="31862"/>
            </a:xfrm>
            <a:custGeom>
              <a:avLst/>
              <a:gdLst/>
              <a:ahLst/>
              <a:cxnLst/>
              <a:rect l="l" t="t" r="r" b="b"/>
              <a:pathLst>
                <a:path w="5680" h="1001" extrusionOk="0">
                  <a:moveTo>
                    <a:pt x="5311" y="346"/>
                  </a:moveTo>
                  <a:cubicBezTo>
                    <a:pt x="5323" y="346"/>
                    <a:pt x="5347" y="358"/>
                    <a:pt x="5347" y="370"/>
                  </a:cubicBezTo>
                  <a:lnTo>
                    <a:pt x="5347" y="620"/>
                  </a:lnTo>
                  <a:cubicBezTo>
                    <a:pt x="5347" y="644"/>
                    <a:pt x="5323" y="656"/>
                    <a:pt x="5311" y="656"/>
                  </a:cubicBezTo>
                  <a:lnTo>
                    <a:pt x="370" y="656"/>
                  </a:lnTo>
                  <a:cubicBezTo>
                    <a:pt x="358" y="656"/>
                    <a:pt x="346" y="632"/>
                    <a:pt x="346" y="620"/>
                  </a:cubicBezTo>
                  <a:lnTo>
                    <a:pt x="346" y="370"/>
                  </a:lnTo>
                  <a:cubicBezTo>
                    <a:pt x="346" y="358"/>
                    <a:pt x="358" y="346"/>
                    <a:pt x="370" y="346"/>
                  </a:cubicBezTo>
                  <a:close/>
                  <a:moveTo>
                    <a:pt x="352" y="0"/>
                  </a:moveTo>
                  <a:cubicBezTo>
                    <a:pt x="168" y="0"/>
                    <a:pt x="1" y="174"/>
                    <a:pt x="1" y="370"/>
                  </a:cubicBezTo>
                  <a:lnTo>
                    <a:pt x="1" y="620"/>
                  </a:lnTo>
                  <a:cubicBezTo>
                    <a:pt x="1" y="834"/>
                    <a:pt x="167" y="1001"/>
                    <a:pt x="370" y="1001"/>
                  </a:cubicBezTo>
                  <a:lnTo>
                    <a:pt x="5311" y="1001"/>
                  </a:lnTo>
                  <a:cubicBezTo>
                    <a:pt x="5525" y="1001"/>
                    <a:pt x="5680" y="834"/>
                    <a:pt x="5680" y="620"/>
                  </a:cubicBezTo>
                  <a:lnTo>
                    <a:pt x="5680" y="370"/>
                  </a:lnTo>
                  <a:cubicBezTo>
                    <a:pt x="5680" y="167"/>
                    <a:pt x="5525" y="1"/>
                    <a:pt x="5311" y="1"/>
                  </a:cubicBezTo>
                  <a:lnTo>
                    <a:pt x="370" y="1"/>
                  </a:lnTo>
                  <a:cubicBezTo>
                    <a:pt x="364" y="0"/>
                    <a:pt x="358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3" name="Google Shape;13783;p64"/>
            <p:cNvSpPr/>
            <p:nvPr/>
          </p:nvSpPr>
          <p:spPr>
            <a:xfrm>
              <a:off x="7613750" y="1535424"/>
              <a:ext cx="43225" cy="32371"/>
            </a:xfrm>
            <a:custGeom>
              <a:avLst/>
              <a:gdLst/>
              <a:ahLst/>
              <a:cxnLst/>
              <a:rect l="l" t="t" r="r" b="b"/>
              <a:pathLst>
                <a:path w="1358" h="1017" extrusionOk="0">
                  <a:moveTo>
                    <a:pt x="1179" y="1"/>
                  </a:moveTo>
                  <a:cubicBezTo>
                    <a:pt x="1136" y="1"/>
                    <a:pt x="1093" y="19"/>
                    <a:pt x="1060" y="52"/>
                  </a:cubicBezTo>
                  <a:lnTo>
                    <a:pt x="548" y="600"/>
                  </a:lnTo>
                  <a:lnTo>
                    <a:pt x="322" y="326"/>
                  </a:lnTo>
                  <a:cubicBezTo>
                    <a:pt x="287" y="277"/>
                    <a:pt x="240" y="253"/>
                    <a:pt x="191" y="253"/>
                  </a:cubicBezTo>
                  <a:cubicBezTo>
                    <a:pt x="155" y="253"/>
                    <a:pt x="119" y="265"/>
                    <a:pt x="84" y="290"/>
                  </a:cubicBezTo>
                  <a:cubicBezTo>
                    <a:pt x="12" y="350"/>
                    <a:pt x="0" y="457"/>
                    <a:pt x="60" y="528"/>
                  </a:cubicBezTo>
                  <a:lnTo>
                    <a:pt x="405" y="957"/>
                  </a:lnTo>
                  <a:cubicBezTo>
                    <a:pt x="429" y="1004"/>
                    <a:pt x="477" y="1016"/>
                    <a:pt x="536" y="1016"/>
                  </a:cubicBezTo>
                  <a:cubicBezTo>
                    <a:pt x="584" y="1016"/>
                    <a:pt x="620" y="1004"/>
                    <a:pt x="655" y="957"/>
                  </a:cubicBezTo>
                  <a:lnTo>
                    <a:pt x="1298" y="278"/>
                  </a:lnTo>
                  <a:cubicBezTo>
                    <a:pt x="1358" y="207"/>
                    <a:pt x="1358" y="100"/>
                    <a:pt x="1274" y="40"/>
                  </a:cubicBezTo>
                  <a:cubicBezTo>
                    <a:pt x="1248" y="13"/>
                    <a:pt x="121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84" name="Google Shape;13784;p64"/>
          <p:cNvGrpSpPr/>
          <p:nvPr/>
        </p:nvGrpSpPr>
        <p:grpSpPr>
          <a:xfrm>
            <a:off x="6196089" y="3817152"/>
            <a:ext cx="346056" cy="345674"/>
            <a:chOff x="2238181" y="4120624"/>
            <a:chExt cx="346056" cy="345674"/>
          </a:xfrm>
        </p:grpSpPr>
        <p:grpSp>
          <p:nvGrpSpPr>
            <p:cNvPr id="13785" name="Google Shape;13785;p64"/>
            <p:cNvGrpSpPr/>
            <p:nvPr/>
          </p:nvGrpSpPr>
          <p:grpSpPr>
            <a:xfrm>
              <a:off x="2309155" y="4177413"/>
              <a:ext cx="203862" cy="231903"/>
              <a:chOff x="1512725" y="258500"/>
              <a:chExt cx="4570900" cy="5199625"/>
            </a:xfrm>
          </p:grpSpPr>
          <p:sp>
            <p:nvSpPr>
              <p:cNvPr id="13786" name="Google Shape;13786;p64"/>
              <p:cNvSpPr/>
              <p:nvPr/>
            </p:nvSpPr>
            <p:spPr>
              <a:xfrm>
                <a:off x="1512725" y="2700900"/>
                <a:ext cx="2654475" cy="2757225"/>
              </a:xfrm>
              <a:custGeom>
                <a:avLst/>
                <a:gdLst/>
                <a:ahLst/>
                <a:cxnLst/>
                <a:rect l="l" t="t" r="r" b="b"/>
                <a:pathLst>
                  <a:path w="106179" h="110289" extrusionOk="0">
                    <a:moveTo>
                      <a:pt x="19199" y="1"/>
                    </a:moveTo>
                    <a:cubicBezTo>
                      <a:pt x="18076" y="1"/>
                      <a:pt x="16954" y="466"/>
                      <a:pt x="16148" y="1404"/>
                    </a:cubicBezTo>
                    <a:cubicBezTo>
                      <a:pt x="5840" y="13310"/>
                      <a:pt x="1" y="28739"/>
                      <a:pt x="33" y="44494"/>
                    </a:cubicBezTo>
                    <a:cubicBezTo>
                      <a:pt x="33" y="62077"/>
                      <a:pt x="6916" y="78582"/>
                      <a:pt x="19442" y="91010"/>
                    </a:cubicBezTo>
                    <a:cubicBezTo>
                      <a:pt x="31968" y="103439"/>
                      <a:pt x="48572" y="110289"/>
                      <a:pt x="66252" y="110289"/>
                    </a:cubicBezTo>
                    <a:cubicBezTo>
                      <a:pt x="69546" y="110289"/>
                      <a:pt x="72939" y="110060"/>
                      <a:pt x="76201" y="109571"/>
                    </a:cubicBezTo>
                    <a:cubicBezTo>
                      <a:pt x="86248" y="108071"/>
                      <a:pt x="95675" y="104352"/>
                      <a:pt x="103895" y="98643"/>
                    </a:cubicBezTo>
                    <a:cubicBezTo>
                      <a:pt x="105983" y="97208"/>
                      <a:pt x="106179" y="94272"/>
                      <a:pt x="104417" y="92478"/>
                    </a:cubicBezTo>
                    <a:cubicBezTo>
                      <a:pt x="104384" y="92348"/>
                      <a:pt x="104384" y="92315"/>
                      <a:pt x="104352" y="92315"/>
                    </a:cubicBezTo>
                    <a:cubicBezTo>
                      <a:pt x="103555" y="91537"/>
                      <a:pt x="102517" y="91128"/>
                      <a:pt x="101470" y="91128"/>
                    </a:cubicBezTo>
                    <a:cubicBezTo>
                      <a:pt x="100673" y="91128"/>
                      <a:pt x="99870" y="91365"/>
                      <a:pt x="99165" y="91859"/>
                    </a:cubicBezTo>
                    <a:cubicBezTo>
                      <a:pt x="91956" y="96849"/>
                      <a:pt x="83769" y="100111"/>
                      <a:pt x="74994" y="101416"/>
                    </a:cubicBezTo>
                    <a:cubicBezTo>
                      <a:pt x="72091" y="101808"/>
                      <a:pt x="69155" y="102069"/>
                      <a:pt x="66252" y="102069"/>
                    </a:cubicBezTo>
                    <a:cubicBezTo>
                      <a:pt x="50757" y="102069"/>
                      <a:pt x="36176" y="96066"/>
                      <a:pt x="25216" y="85171"/>
                    </a:cubicBezTo>
                    <a:cubicBezTo>
                      <a:pt x="14256" y="74309"/>
                      <a:pt x="8221" y="59826"/>
                      <a:pt x="8188" y="44462"/>
                    </a:cubicBezTo>
                    <a:cubicBezTo>
                      <a:pt x="8188" y="30664"/>
                      <a:pt x="13277" y="17126"/>
                      <a:pt x="22313" y="6721"/>
                    </a:cubicBezTo>
                    <a:cubicBezTo>
                      <a:pt x="23650" y="5188"/>
                      <a:pt x="23650" y="2904"/>
                      <a:pt x="22248" y="1404"/>
                    </a:cubicBezTo>
                    <a:lnTo>
                      <a:pt x="22215" y="1338"/>
                    </a:lnTo>
                    <a:cubicBezTo>
                      <a:pt x="21407" y="449"/>
                      <a:pt x="20302" y="1"/>
                      <a:pt x="19199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87" name="Google Shape;13787;p64"/>
              <p:cNvSpPr/>
              <p:nvPr/>
            </p:nvSpPr>
            <p:spPr>
              <a:xfrm>
                <a:off x="2323325" y="258500"/>
                <a:ext cx="3760300" cy="4390225"/>
              </a:xfrm>
              <a:custGeom>
                <a:avLst/>
                <a:gdLst/>
                <a:ahLst/>
                <a:cxnLst/>
                <a:rect l="l" t="t" r="r" b="b"/>
                <a:pathLst>
                  <a:path w="150412" h="175609" extrusionOk="0">
                    <a:moveTo>
                      <a:pt x="63610" y="0"/>
                    </a:moveTo>
                    <a:cubicBezTo>
                      <a:pt x="61359" y="0"/>
                      <a:pt x="59532" y="1827"/>
                      <a:pt x="59532" y="4078"/>
                    </a:cubicBezTo>
                    <a:lnTo>
                      <a:pt x="59532" y="93228"/>
                    </a:lnTo>
                    <a:lnTo>
                      <a:pt x="59467" y="142060"/>
                    </a:lnTo>
                    <a:cubicBezTo>
                      <a:pt x="59467" y="153020"/>
                      <a:pt x="52421" y="162741"/>
                      <a:pt x="41950" y="166199"/>
                    </a:cubicBezTo>
                    <a:cubicBezTo>
                      <a:pt x="39320" y="167047"/>
                      <a:pt x="36616" y="167503"/>
                      <a:pt x="33881" y="167503"/>
                    </a:cubicBezTo>
                    <a:cubicBezTo>
                      <a:pt x="33462" y="167503"/>
                      <a:pt x="33042" y="167493"/>
                      <a:pt x="32621" y="167471"/>
                    </a:cubicBezTo>
                    <a:cubicBezTo>
                      <a:pt x="19181" y="166818"/>
                      <a:pt x="8515" y="155793"/>
                      <a:pt x="8319" y="142419"/>
                    </a:cubicBezTo>
                    <a:cubicBezTo>
                      <a:pt x="8221" y="135569"/>
                      <a:pt x="10798" y="129143"/>
                      <a:pt x="15593" y="124250"/>
                    </a:cubicBezTo>
                    <a:cubicBezTo>
                      <a:pt x="20454" y="119291"/>
                      <a:pt x="26978" y="116584"/>
                      <a:pt x="33926" y="116584"/>
                    </a:cubicBezTo>
                    <a:cubicBezTo>
                      <a:pt x="36633" y="116584"/>
                      <a:pt x="39373" y="117041"/>
                      <a:pt x="41983" y="117889"/>
                    </a:cubicBezTo>
                    <a:cubicBezTo>
                      <a:pt x="42399" y="118019"/>
                      <a:pt x="42825" y="118082"/>
                      <a:pt x="43246" y="118082"/>
                    </a:cubicBezTo>
                    <a:cubicBezTo>
                      <a:pt x="44409" y="118082"/>
                      <a:pt x="45540" y="117600"/>
                      <a:pt x="46354" y="116714"/>
                    </a:cubicBezTo>
                    <a:cubicBezTo>
                      <a:pt x="47006" y="115931"/>
                      <a:pt x="47332" y="114920"/>
                      <a:pt x="47332" y="113909"/>
                    </a:cubicBezTo>
                    <a:lnTo>
                      <a:pt x="47332" y="81028"/>
                    </a:lnTo>
                    <a:cubicBezTo>
                      <a:pt x="47332" y="79038"/>
                      <a:pt x="45865" y="77277"/>
                      <a:pt x="43875" y="76983"/>
                    </a:cubicBezTo>
                    <a:cubicBezTo>
                      <a:pt x="40547" y="76494"/>
                      <a:pt x="37220" y="76233"/>
                      <a:pt x="33926" y="76233"/>
                    </a:cubicBezTo>
                    <a:cubicBezTo>
                      <a:pt x="26651" y="76233"/>
                      <a:pt x="19638" y="77407"/>
                      <a:pt x="12984" y="79593"/>
                    </a:cubicBezTo>
                    <a:cubicBezTo>
                      <a:pt x="10831" y="80311"/>
                      <a:pt x="9820" y="82724"/>
                      <a:pt x="10831" y="84780"/>
                    </a:cubicBezTo>
                    <a:lnTo>
                      <a:pt x="10831" y="84812"/>
                    </a:lnTo>
                    <a:cubicBezTo>
                      <a:pt x="10961" y="85008"/>
                      <a:pt x="11092" y="85269"/>
                      <a:pt x="11157" y="85465"/>
                    </a:cubicBezTo>
                    <a:cubicBezTo>
                      <a:pt x="11790" y="86730"/>
                      <a:pt x="13091" y="87485"/>
                      <a:pt x="14435" y="87485"/>
                    </a:cubicBezTo>
                    <a:cubicBezTo>
                      <a:pt x="14823" y="87485"/>
                      <a:pt x="15214" y="87423"/>
                      <a:pt x="15593" y="87291"/>
                    </a:cubicBezTo>
                    <a:cubicBezTo>
                      <a:pt x="21400" y="85367"/>
                      <a:pt x="27565" y="84388"/>
                      <a:pt x="33860" y="84388"/>
                    </a:cubicBezTo>
                    <a:cubicBezTo>
                      <a:pt x="35622" y="84388"/>
                      <a:pt x="37383" y="84486"/>
                      <a:pt x="39145" y="84649"/>
                    </a:cubicBezTo>
                    <a:lnTo>
                      <a:pt x="39145" y="108853"/>
                    </a:lnTo>
                    <a:cubicBezTo>
                      <a:pt x="37383" y="108592"/>
                      <a:pt x="35622" y="108462"/>
                      <a:pt x="33860" y="108462"/>
                    </a:cubicBezTo>
                    <a:cubicBezTo>
                      <a:pt x="24727" y="108462"/>
                      <a:pt x="16180" y="112050"/>
                      <a:pt x="9787" y="118541"/>
                    </a:cubicBezTo>
                    <a:cubicBezTo>
                      <a:pt x="3426" y="124967"/>
                      <a:pt x="1" y="133481"/>
                      <a:pt x="99" y="142549"/>
                    </a:cubicBezTo>
                    <a:cubicBezTo>
                      <a:pt x="360" y="160197"/>
                      <a:pt x="14452" y="174712"/>
                      <a:pt x="32164" y="175561"/>
                    </a:cubicBezTo>
                    <a:cubicBezTo>
                      <a:pt x="32758" y="175593"/>
                      <a:pt x="33351" y="175609"/>
                      <a:pt x="33941" y="175609"/>
                    </a:cubicBezTo>
                    <a:cubicBezTo>
                      <a:pt x="37530" y="175609"/>
                      <a:pt x="41044" y="175018"/>
                      <a:pt x="44462" y="173897"/>
                    </a:cubicBezTo>
                    <a:cubicBezTo>
                      <a:pt x="58325" y="169330"/>
                      <a:pt x="67622" y="156543"/>
                      <a:pt x="67622" y="142027"/>
                    </a:cubicBezTo>
                    <a:lnTo>
                      <a:pt x="67687" y="93163"/>
                    </a:lnTo>
                    <a:lnTo>
                      <a:pt x="67687" y="8155"/>
                    </a:lnTo>
                    <a:lnTo>
                      <a:pt x="78321" y="8155"/>
                    </a:lnTo>
                    <a:cubicBezTo>
                      <a:pt x="81697" y="8133"/>
                      <a:pt x="85305" y="8095"/>
                      <a:pt x="88344" y="8095"/>
                    </a:cubicBezTo>
                    <a:cubicBezTo>
                      <a:pt x="89709" y="8095"/>
                      <a:pt x="90960" y="8103"/>
                      <a:pt x="92022" y="8123"/>
                    </a:cubicBezTo>
                    <a:cubicBezTo>
                      <a:pt x="93098" y="21073"/>
                      <a:pt x="98643" y="33110"/>
                      <a:pt x="107973" y="42374"/>
                    </a:cubicBezTo>
                    <a:cubicBezTo>
                      <a:pt x="117269" y="51573"/>
                      <a:pt x="129339" y="57053"/>
                      <a:pt x="142256" y="58031"/>
                    </a:cubicBezTo>
                    <a:cubicBezTo>
                      <a:pt x="142256" y="64131"/>
                      <a:pt x="142289" y="76005"/>
                      <a:pt x="142354" y="82333"/>
                    </a:cubicBezTo>
                    <a:cubicBezTo>
                      <a:pt x="133155" y="81876"/>
                      <a:pt x="124250" y="79821"/>
                      <a:pt x="115769" y="76233"/>
                    </a:cubicBezTo>
                    <a:cubicBezTo>
                      <a:pt x="109506" y="73624"/>
                      <a:pt x="103700" y="70198"/>
                      <a:pt x="98350" y="66088"/>
                    </a:cubicBezTo>
                    <a:cubicBezTo>
                      <a:pt x="97610" y="65524"/>
                      <a:pt x="96719" y="65238"/>
                      <a:pt x="95830" y="65238"/>
                    </a:cubicBezTo>
                    <a:cubicBezTo>
                      <a:pt x="95229" y="65238"/>
                      <a:pt x="94629" y="65369"/>
                      <a:pt x="94077" y="65632"/>
                    </a:cubicBezTo>
                    <a:cubicBezTo>
                      <a:pt x="92674" y="66284"/>
                      <a:pt x="91793" y="67752"/>
                      <a:pt x="91793" y="69318"/>
                    </a:cubicBezTo>
                    <a:lnTo>
                      <a:pt x="91956" y="142354"/>
                    </a:lnTo>
                    <a:cubicBezTo>
                      <a:pt x="91891" y="150443"/>
                      <a:pt x="90195" y="158272"/>
                      <a:pt x="86966" y="165514"/>
                    </a:cubicBezTo>
                    <a:cubicBezTo>
                      <a:pt x="86150" y="167308"/>
                      <a:pt x="86802" y="169428"/>
                      <a:pt x="88433" y="170472"/>
                    </a:cubicBezTo>
                    <a:cubicBezTo>
                      <a:pt x="88466" y="170472"/>
                      <a:pt x="88466" y="170505"/>
                      <a:pt x="88531" y="170505"/>
                    </a:cubicBezTo>
                    <a:cubicBezTo>
                      <a:pt x="89214" y="170960"/>
                      <a:pt x="89984" y="171174"/>
                      <a:pt x="90744" y="171174"/>
                    </a:cubicBezTo>
                    <a:cubicBezTo>
                      <a:pt x="92271" y="171174"/>
                      <a:pt x="93760" y="170311"/>
                      <a:pt x="94436" y="168808"/>
                    </a:cubicBezTo>
                    <a:cubicBezTo>
                      <a:pt x="98089" y="160555"/>
                      <a:pt x="100046" y="151650"/>
                      <a:pt x="100111" y="142354"/>
                    </a:cubicBezTo>
                    <a:lnTo>
                      <a:pt x="99850" y="77049"/>
                    </a:lnTo>
                    <a:lnTo>
                      <a:pt x="99850" y="77049"/>
                    </a:lnTo>
                    <a:cubicBezTo>
                      <a:pt x="103895" y="79593"/>
                      <a:pt x="108071" y="81844"/>
                      <a:pt x="112474" y="83670"/>
                    </a:cubicBezTo>
                    <a:cubicBezTo>
                      <a:pt x="123206" y="88205"/>
                      <a:pt x="134591" y="90521"/>
                      <a:pt x="146301" y="90521"/>
                    </a:cubicBezTo>
                    <a:cubicBezTo>
                      <a:pt x="147410" y="90521"/>
                      <a:pt x="148454" y="90097"/>
                      <a:pt x="149237" y="89346"/>
                    </a:cubicBezTo>
                    <a:cubicBezTo>
                      <a:pt x="149987" y="88563"/>
                      <a:pt x="150411" y="87552"/>
                      <a:pt x="150411" y="86443"/>
                    </a:cubicBezTo>
                    <a:lnTo>
                      <a:pt x="150379" y="70231"/>
                    </a:lnTo>
                    <a:lnTo>
                      <a:pt x="150313" y="54345"/>
                    </a:lnTo>
                    <a:cubicBezTo>
                      <a:pt x="150281" y="49974"/>
                      <a:pt x="146301" y="49942"/>
                      <a:pt x="146236" y="49942"/>
                    </a:cubicBezTo>
                    <a:cubicBezTo>
                      <a:pt x="120955" y="49942"/>
                      <a:pt x="100177" y="29358"/>
                      <a:pt x="99981" y="4045"/>
                    </a:cubicBezTo>
                    <a:cubicBezTo>
                      <a:pt x="99981" y="2121"/>
                      <a:pt x="98546" y="131"/>
                      <a:pt x="95903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3788" name="Google Shape;13788;p64"/>
            <p:cNvSpPr/>
            <p:nvPr/>
          </p:nvSpPr>
          <p:spPr>
            <a:xfrm>
              <a:off x="2238181" y="4120624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18" y="334"/>
                  </a:moveTo>
                  <a:cubicBezTo>
                    <a:pt x="8228" y="334"/>
                    <a:pt x="10514" y="2608"/>
                    <a:pt x="10514" y="5430"/>
                  </a:cubicBezTo>
                  <a:cubicBezTo>
                    <a:pt x="10514" y="8240"/>
                    <a:pt x="8228" y="10514"/>
                    <a:pt x="5418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18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3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3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154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95" imgH="394" progId="TCLayout.ActiveDocument.1">
                  <p:embed/>
                </p:oleObj>
              </mc:Choice>
              <mc:Fallback>
                <p:oleObj name="think-cell Folie" r:id="rId1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grpSp>
        <p:nvGrpSpPr>
          <p:cNvPr id="7" name="Graphic 26">
            <a:extLst>
              <a:ext uri="{FF2B5EF4-FFF2-40B4-BE49-F238E27FC236}">
                <a16:creationId xmlns:a16="http://schemas.microsoft.com/office/drawing/2014/main" id="{1BA41476-9D21-9515-9B56-8207E3CD244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2328205" y="1077601"/>
            <a:ext cx="2997342" cy="3072527"/>
            <a:chOff x="3966744" y="1486293"/>
            <a:chExt cx="4471165" cy="4403779"/>
          </a:xfrm>
          <a:solidFill>
            <a:srgbClr val="6295B6">
              <a:alpha val="50196"/>
            </a:srgbClr>
          </a:solidFill>
        </p:grpSpPr>
        <p:sp>
          <p:nvSpPr>
            <p:cNvPr id="8" name="Freeform: Shape 24">
              <a:extLst>
                <a:ext uri="{FF2B5EF4-FFF2-40B4-BE49-F238E27FC236}">
                  <a16:creationId xmlns:a16="http://schemas.microsoft.com/office/drawing/2014/main" id="{139981C7-EAFE-535C-9CBE-A8DDDC5A039D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4742786" y="3391272"/>
              <a:ext cx="2657097" cy="1790698"/>
            </a:xfrm>
            <a:custGeom>
              <a:avLst/>
              <a:gdLst>
                <a:gd name="connsiteX0" fmla="*/ 1585415 w 2657097"/>
                <a:gd name="connsiteY0" fmla="*/ 1763879 h 1790698"/>
                <a:gd name="connsiteX1" fmla="*/ 26749 w 2657097"/>
                <a:gd name="connsiteY1" fmla="*/ 733288 h 1790698"/>
                <a:gd name="connsiteX2" fmla="*/ 74180 w 2657097"/>
                <a:gd name="connsiteY2" fmla="*/ 32430 h 1790698"/>
                <a:gd name="connsiteX3" fmla="*/ 136067 w 2657097"/>
                <a:gd name="connsiteY3" fmla="*/ 2724 h 1790698"/>
                <a:gd name="connsiteX4" fmla="*/ 165773 w 2657097"/>
                <a:gd name="connsiteY4" fmla="*/ 64611 h 1790698"/>
                <a:gd name="connsiteX5" fmla="*/ 121907 w 2657097"/>
                <a:gd name="connsiteY5" fmla="*/ 713979 h 1790698"/>
                <a:gd name="connsiteX6" fmla="*/ 1566106 w 2657097"/>
                <a:gd name="connsiteY6" fmla="*/ 1668821 h 1790698"/>
                <a:gd name="connsiteX7" fmla="*/ 2565510 w 2657097"/>
                <a:gd name="connsiteY7" fmla="*/ 576738 h 1790698"/>
                <a:gd name="connsiteX8" fmla="*/ 2625912 w 2657097"/>
                <a:gd name="connsiteY8" fmla="*/ 544260 h 1790698"/>
                <a:gd name="connsiteX9" fmla="*/ 2656211 w 2657097"/>
                <a:gd name="connsiteY9" fmla="*/ 603276 h 1790698"/>
                <a:gd name="connsiteX10" fmla="*/ 1585415 w 2657097"/>
                <a:gd name="connsiteY10" fmla="*/ 1763879 h 179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57097" h="1790698">
                  <a:moveTo>
                    <a:pt x="1585415" y="1763879"/>
                  </a:moveTo>
                  <a:cubicBezTo>
                    <a:pt x="871583" y="1909537"/>
                    <a:pt x="172308" y="1447216"/>
                    <a:pt x="26749" y="733288"/>
                  </a:cubicBezTo>
                  <a:cubicBezTo>
                    <a:pt x="-20978" y="499107"/>
                    <a:pt x="-4640" y="256708"/>
                    <a:pt x="74180" y="32430"/>
                  </a:cubicBezTo>
                  <a:cubicBezTo>
                    <a:pt x="83091" y="7180"/>
                    <a:pt x="110718" y="-6089"/>
                    <a:pt x="136067" y="2724"/>
                  </a:cubicBezTo>
                  <a:cubicBezTo>
                    <a:pt x="161317" y="11636"/>
                    <a:pt x="174585" y="39262"/>
                    <a:pt x="165773" y="64611"/>
                  </a:cubicBezTo>
                  <a:cubicBezTo>
                    <a:pt x="92795" y="272453"/>
                    <a:pt x="77645" y="496929"/>
                    <a:pt x="121907" y="713979"/>
                  </a:cubicBezTo>
                  <a:cubicBezTo>
                    <a:pt x="256871" y="1375427"/>
                    <a:pt x="903864" y="1799725"/>
                    <a:pt x="1566106" y="1668821"/>
                  </a:cubicBezTo>
                  <a:cubicBezTo>
                    <a:pt x="2046846" y="1573862"/>
                    <a:pt x="2476095" y="1175508"/>
                    <a:pt x="2565510" y="576738"/>
                  </a:cubicBezTo>
                  <a:cubicBezTo>
                    <a:pt x="2569470" y="550201"/>
                    <a:pt x="2600266" y="536537"/>
                    <a:pt x="2625912" y="544260"/>
                  </a:cubicBezTo>
                  <a:cubicBezTo>
                    <a:pt x="2651558" y="551984"/>
                    <a:pt x="2660073" y="576738"/>
                    <a:pt x="2656211" y="603276"/>
                  </a:cubicBezTo>
                  <a:cubicBezTo>
                    <a:pt x="2556994" y="1271754"/>
                    <a:pt x="2062689" y="1666544"/>
                    <a:pt x="1585415" y="1763879"/>
                  </a:cubicBezTo>
                  <a:close/>
                </a:path>
              </a:pathLst>
            </a:custGeom>
            <a:grpFill/>
            <a:ln w="10983" cap="rnd">
              <a:noFill/>
              <a:prstDash val="solid"/>
              <a:round/>
            </a:ln>
          </p:spPr>
          <p:txBody>
            <a:bodyPr rtlCol="0" anchor="ctr"/>
            <a:lstStyle/>
            <a:p>
              <a:pPr defTabSz="68580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>
                <a:solidFill>
                  <a:srgbClr val="FFC000"/>
                </a:solidFill>
              </a:endParaRPr>
            </a:p>
          </p:txBody>
        </p:sp>
        <p:sp>
          <p:nvSpPr>
            <p:cNvPr id="9" name="Freeform: Shape 25">
              <a:extLst>
                <a:ext uri="{FF2B5EF4-FFF2-40B4-BE49-F238E27FC236}">
                  <a16:creationId xmlns:a16="http://schemas.microsoft.com/office/drawing/2014/main" id="{60A4BEB2-472B-3AB0-0E82-0CB444D7F8E3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3966744" y="1486293"/>
              <a:ext cx="4471165" cy="4403779"/>
            </a:xfrm>
            <a:custGeom>
              <a:avLst/>
              <a:gdLst>
                <a:gd name="connsiteX0" fmla="*/ 4098357 w 4471165"/>
                <a:gd name="connsiteY0" fmla="*/ 3610240 h 4403779"/>
                <a:gd name="connsiteX1" fmla="*/ 4073603 w 4471165"/>
                <a:gd name="connsiteY1" fmla="*/ 3603507 h 4403779"/>
                <a:gd name="connsiteX2" fmla="*/ 4056670 w 4471165"/>
                <a:gd name="connsiteY2" fmla="*/ 3537064 h 4403779"/>
                <a:gd name="connsiteX3" fmla="*/ 4374127 w 4471165"/>
                <a:gd name="connsiteY3" fmla="*/ 2376164 h 4403779"/>
                <a:gd name="connsiteX4" fmla="*/ 2095095 w 4471165"/>
                <a:gd name="connsiteY4" fmla="*/ 97138 h 4403779"/>
                <a:gd name="connsiteX5" fmla="*/ 91138 w 4471165"/>
                <a:gd name="connsiteY5" fmla="*/ 1289824 h 4403779"/>
                <a:gd name="connsiteX6" fmla="*/ 25389 w 4471165"/>
                <a:gd name="connsiteY6" fmla="*/ 1309331 h 4403779"/>
                <a:gd name="connsiteX7" fmla="*/ 5883 w 4471165"/>
                <a:gd name="connsiteY7" fmla="*/ 1243582 h 4403779"/>
                <a:gd name="connsiteX8" fmla="*/ 2095095 w 4471165"/>
                <a:gd name="connsiteY8" fmla="*/ 0 h 4403779"/>
                <a:gd name="connsiteX9" fmla="*/ 4471166 w 4471165"/>
                <a:gd name="connsiteY9" fmla="*/ 2376065 h 4403779"/>
                <a:gd name="connsiteX10" fmla="*/ 4140144 w 4471165"/>
                <a:gd name="connsiteY10" fmla="*/ 3586475 h 4403779"/>
                <a:gd name="connsiteX11" fmla="*/ 4098357 w 4471165"/>
                <a:gd name="connsiteY11" fmla="*/ 3610240 h 4403779"/>
                <a:gd name="connsiteX12" fmla="*/ 2597123 w 4471165"/>
                <a:gd name="connsiteY12" fmla="*/ 4403780 h 4403779"/>
                <a:gd name="connsiteX13" fmla="*/ 2550089 w 4471165"/>
                <a:gd name="connsiteY13" fmla="*/ 4366944 h 4403779"/>
                <a:gd name="connsiteX14" fmla="*/ 2585439 w 4471165"/>
                <a:gd name="connsiteY14" fmla="*/ 4308127 h 4403779"/>
                <a:gd name="connsiteX15" fmla="*/ 4098655 w 4471165"/>
                <a:gd name="connsiteY15" fmla="*/ 2370916 h 4403779"/>
                <a:gd name="connsiteX16" fmla="*/ 2102719 w 4471165"/>
                <a:gd name="connsiteY16" fmla="*/ 374986 h 4403779"/>
                <a:gd name="connsiteX17" fmla="*/ 1484639 w 4471165"/>
                <a:gd name="connsiteY17" fmla="*/ 472520 h 4403779"/>
                <a:gd name="connsiteX18" fmla="*/ 1423445 w 4471165"/>
                <a:gd name="connsiteY18" fmla="*/ 441428 h 4403779"/>
                <a:gd name="connsiteX19" fmla="*/ 1454538 w 4471165"/>
                <a:gd name="connsiteY19" fmla="*/ 380234 h 4403779"/>
                <a:gd name="connsiteX20" fmla="*/ 2102620 w 4471165"/>
                <a:gd name="connsiteY20" fmla="*/ 277947 h 4403779"/>
                <a:gd name="connsiteX21" fmla="*/ 4195595 w 4471165"/>
                <a:gd name="connsiteY21" fmla="*/ 2370916 h 4403779"/>
                <a:gd name="connsiteX22" fmla="*/ 2608709 w 4471165"/>
                <a:gd name="connsiteY22" fmla="*/ 4402294 h 4403779"/>
                <a:gd name="connsiteX23" fmla="*/ 2597123 w 4471165"/>
                <a:gd name="connsiteY23" fmla="*/ 4403780 h 4403779"/>
                <a:gd name="connsiteX24" fmla="*/ 2097669 w 4471165"/>
                <a:gd name="connsiteY24" fmla="*/ 4209306 h 4403779"/>
                <a:gd name="connsiteX25" fmla="*/ 1140943 w 4471165"/>
                <a:gd name="connsiteY25" fmla="*/ 3940568 h 4403779"/>
                <a:gd name="connsiteX26" fmla="*/ 1124902 w 4471165"/>
                <a:gd name="connsiteY26" fmla="*/ 3873829 h 4403779"/>
                <a:gd name="connsiteX27" fmla="*/ 1191641 w 4471165"/>
                <a:gd name="connsiteY27" fmla="*/ 3857788 h 4403779"/>
                <a:gd name="connsiteX28" fmla="*/ 2097768 w 4471165"/>
                <a:gd name="connsiteY28" fmla="*/ 4112267 h 4403779"/>
                <a:gd name="connsiteX29" fmla="*/ 3836649 w 4471165"/>
                <a:gd name="connsiteY29" fmla="*/ 2373391 h 4403779"/>
                <a:gd name="connsiteX30" fmla="*/ 2887052 w 4471165"/>
                <a:gd name="connsiteY30" fmla="*/ 823543 h 4403779"/>
                <a:gd name="connsiteX31" fmla="*/ 2865862 w 4471165"/>
                <a:gd name="connsiteY31" fmla="*/ 758289 h 4403779"/>
                <a:gd name="connsiteX32" fmla="*/ 2931116 w 4471165"/>
                <a:gd name="connsiteY32" fmla="*/ 737099 h 4403779"/>
                <a:gd name="connsiteX33" fmla="*/ 3933688 w 4471165"/>
                <a:gd name="connsiteY33" fmla="*/ 2373391 h 4403779"/>
                <a:gd name="connsiteX34" fmla="*/ 2097669 w 4471165"/>
                <a:gd name="connsiteY34" fmla="*/ 4209306 h 4403779"/>
                <a:gd name="connsiteX35" fmla="*/ 2095095 w 4471165"/>
                <a:gd name="connsiteY35" fmla="*/ 3962055 h 4403779"/>
                <a:gd name="connsiteX36" fmla="*/ 555639 w 4471165"/>
                <a:gd name="connsiteY36" fmla="*/ 2774518 h 4403779"/>
                <a:gd name="connsiteX37" fmla="*/ 590296 w 4471165"/>
                <a:gd name="connsiteY37" fmla="*/ 2715304 h 4403779"/>
                <a:gd name="connsiteX38" fmla="*/ 649509 w 4471165"/>
                <a:gd name="connsiteY38" fmla="*/ 2749961 h 4403779"/>
                <a:gd name="connsiteX39" fmla="*/ 2095095 w 4471165"/>
                <a:gd name="connsiteY39" fmla="*/ 3865016 h 4403779"/>
                <a:gd name="connsiteX40" fmla="*/ 3589100 w 4471165"/>
                <a:gd name="connsiteY40" fmla="*/ 2371015 h 4403779"/>
                <a:gd name="connsiteX41" fmla="*/ 3527312 w 4471165"/>
                <a:gd name="connsiteY41" fmla="*/ 2192780 h 4403779"/>
                <a:gd name="connsiteX42" fmla="*/ 3558800 w 4471165"/>
                <a:gd name="connsiteY42" fmla="*/ 2131784 h 4403779"/>
                <a:gd name="connsiteX43" fmla="*/ 3619796 w 4471165"/>
                <a:gd name="connsiteY43" fmla="*/ 2163272 h 4403779"/>
                <a:gd name="connsiteX44" fmla="*/ 3686140 w 4471165"/>
                <a:gd name="connsiteY44" fmla="*/ 2371015 h 4403779"/>
                <a:gd name="connsiteX45" fmla="*/ 2095095 w 4471165"/>
                <a:gd name="connsiteY45" fmla="*/ 3962055 h 4403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471165" h="4403779">
                  <a:moveTo>
                    <a:pt x="4098357" y="3610240"/>
                  </a:moveTo>
                  <a:cubicBezTo>
                    <a:pt x="4089941" y="3610240"/>
                    <a:pt x="4081425" y="3608061"/>
                    <a:pt x="4073603" y="3603507"/>
                  </a:cubicBezTo>
                  <a:cubicBezTo>
                    <a:pt x="4050531" y="3589842"/>
                    <a:pt x="4043006" y="3560037"/>
                    <a:pt x="4056670" y="3537064"/>
                  </a:cubicBezTo>
                  <a:cubicBezTo>
                    <a:pt x="4264314" y="3186933"/>
                    <a:pt x="4374127" y="2785509"/>
                    <a:pt x="4374127" y="2376164"/>
                  </a:cubicBezTo>
                  <a:cubicBezTo>
                    <a:pt x="4374127" y="1119511"/>
                    <a:pt x="3351751" y="97138"/>
                    <a:pt x="2095095" y="97138"/>
                  </a:cubicBezTo>
                  <a:cubicBezTo>
                    <a:pt x="1258677" y="97138"/>
                    <a:pt x="490781" y="554210"/>
                    <a:pt x="91138" y="1289824"/>
                  </a:cubicBezTo>
                  <a:cubicBezTo>
                    <a:pt x="78365" y="1313391"/>
                    <a:pt x="48956" y="1322104"/>
                    <a:pt x="25389" y="1309331"/>
                  </a:cubicBezTo>
                  <a:cubicBezTo>
                    <a:pt x="1823" y="1296557"/>
                    <a:pt x="-6891" y="1267050"/>
                    <a:pt x="5883" y="1243582"/>
                  </a:cubicBezTo>
                  <a:cubicBezTo>
                    <a:pt x="422557" y="476381"/>
                    <a:pt x="1223129" y="0"/>
                    <a:pt x="2095095" y="0"/>
                  </a:cubicBezTo>
                  <a:cubicBezTo>
                    <a:pt x="3405221" y="0"/>
                    <a:pt x="4471166" y="1065942"/>
                    <a:pt x="4471166" y="2376065"/>
                  </a:cubicBezTo>
                  <a:cubicBezTo>
                    <a:pt x="4471166" y="2802837"/>
                    <a:pt x="4356700" y="3221392"/>
                    <a:pt x="4140144" y="3586475"/>
                  </a:cubicBezTo>
                  <a:cubicBezTo>
                    <a:pt x="4131133" y="3601724"/>
                    <a:pt x="4114993" y="3610240"/>
                    <a:pt x="4098357" y="3610240"/>
                  </a:cubicBezTo>
                  <a:close/>
                  <a:moveTo>
                    <a:pt x="2597123" y="4403780"/>
                  </a:moveTo>
                  <a:cubicBezTo>
                    <a:pt x="2575339" y="4403780"/>
                    <a:pt x="2555535" y="4389026"/>
                    <a:pt x="2550089" y="4366944"/>
                  </a:cubicBezTo>
                  <a:cubicBezTo>
                    <a:pt x="2543653" y="4340903"/>
                    <a:pt x="2559496" y="4314563"/>
                    <a:pt x="2585439" y="4308127"/>
                  </a:cubicBezTo>
                  <a:cubicBezTo>
                    <a:pt x="3476416" y="4086819"/>
                    <a:pt x="4098655" y="3290210"/>
                    <a:pt x="4098655" y="2370916"/>
                  </a:cubicBezTo>
                  <a:cubicBezTo>
                    <a:pt x="4098655" y="1270317"/>
                    <a:pt x="3203221" y="374986"/>
                    <a:pt x="2102719" y="374986"/>
                  </a:cubicBezTo>
                  <a:cubicBezTo>
                    <a:pt x="1891511" y="374986"/>
                    <a:pt x="1683570" y="407761"/>
                    <a:pt x="1484639" y="472520"/>
                  </a:cubicBezTo>
                  <a:cubicBezTo>
                    <a:pt x="1459191" y="480837"/>
                    <a:pt x="1431763" y="466875"/>
                    <a:pt x="1423445" y="441428"/>
                  </a:cubicBezTo>
                  <a:cubicBezTo>
                    <a:pt x="1415128" y="415980"/>
                    <a:pt x="1429089" y="388551"/>
                    <a:pt x="1454538" y="380234"/>
                  </a:cubicBezTo>
                  <a:cubicBezTo>
                    <a:pt x="1663171" y="312406"/>
                    <a:pt x="1881212" y="277947"/>
                    <a:pt x="2102620" y="277947"/>
                  </a:cubicBezTo>
                  <a:cubicBezTo>
                    <a:pt x="3256692" y="277947"/>
                    <a:pt x="4195595" y="1216847"/>
                    <a:pt x="4195595" y="2370916"/>
                  </a:cubicBezTo>
                  <a:cubicBezTo>
                    <a:pt x="4195595" y="3334867"/>
                    <a:pt x="3543056" y="4170193"/>
                    <a:pt x="2608709" y="4402294"/>
                  </a:cubicBezTo>
                  <a:cubicBezTo>
                    <a:pt x="2604946" y="4403285"/>
                    <a:pt x="2600985" y="4403780"/>
                    <a:pt x="2597123" y="4403780"/>
                  </a:cubicBezTo>
                  <a:close/>
                  <a:moveTo>
                    <a:pt x="2097669" y="4209306"/>
                  </a:moveTo>
                  <a:cubicBezTo>
                    <a:pt x="1759121" y="4209306"/>
                    <a:pt x="1428297" y="4116426"/>
                    <a:pt x="1140943" y="3940568"/>
                  </a:cubicBezTo>
                  <a:cubicBezTo>
                    <a:pt x="1118069" y="3926606"/>
                    <a:pt x="1110940" y="3896702"/>
                    <a:pt x="1124902" y="3873829"/>
                  </a:cubicBezTo>
                  <a:cubicBezTo>
                    <a:pt x="1138863" y="3850955"/>
                    <a:pt x="1168767" y="3843727"/>
                    <a:pt x="1191641" y="3857788"/>
                  </a:cubicBezTo>
                  <a:cubicBezTo>
                    <a:pt x="1463746" y="4024239"/>
                    <a:pt x="1777044" y="4112267"/>
                    <a:pt x="2097768" y="4112267"/>
                  </a:cubicBezTo>
                  <a:cubicBezTo>
                    <a:pt x="3056574" y="4112267"/>
                    <a:pt x="3836649" y="3332194"/>
                    <a:pt x="3836649" y="2373391"/>
                  </a:cubicBezTo>
                  <a:cubicBezTo>
                    <a:pt x="3836649" y="1716300"/>
                    <a:pt x="3472752" y="1122482"/>
                    <a:pt x="2887052" y="823543"/>
                  </a:cubicBezTo>
                  <a:cubicBezTo>
                    <a:pt x="2863189" y="811363"/>
                    <a:pt x="2853683" y="782153"/>
                    <a:pt x="2865862" y="758289"/>
                  </a:cubicBezTo>
                  <a:cubicBezTo>
                    <a:pt x="2878041" y="734425"/>
                    <a:pt x="2907252" y="724919"/>
                    <a:pt x="2931116" y="737099"/>
                  </a:cubicBezTo>
                  <a:cubicBezTo>
                    <a:pt x="3549493" y="1052673"/>
                    <a:pt x="3933688" y="1679663"/>
                    <a:pt x="3933688" y="2373391"/>
                  </a:cubicBezTo>
                  <a:cubicBezTo>
                    <a:pt x="3933589" y="3385763"/>
                    <a:pt x="3109945" y="4209306"/>
                    <a:pt x="2097669" y="4209306"/>
                  </a:cubicBezTo>
                  <a:close/>
                  <a:moveTo>
                    <a:pt x="2095095" y="3962055"/>
                  </a:moveTo>
                  <a:cubicBezTo>
                    <a:pt x="1371460" y="3962055"/>
                    <a:pt x="738429" y="3473692"/>
                    <a:pt x="555639" y="2774518"/>
                  </a:cubicBezTo>
                  <a:cubicBezTo>
                    <a:pt x="548806" y="2748575"/>
                    <a:pt x="564352" y="2722038"/>
                    <a:pt x="590296" y="2715304"/>
                  </a:cubicBezTo>
                  <a:cubicBezTo>
                    <a:pt x="616239" y="2708571"/>
                    <a:pt x="642776" y="2724117"/>
                    <a:pt x="649509" y="2749961"/>
                  </a:cubicBezTo>
                  <a:cubicBezTo>
                    <a:pt x="821209" y="3406458"/>
                    <a:pt x="1415623" y="3865016"/>
                    <a:pt x="2095095" y="3865016"/>
                  </a:cubicBezTo>
                  <a:cubicBezTo>
                    <a:pt x="2918937" y="3865016"/>
                    <a:pt x="3589100" y="3194755"/>
                    <a:pt x="3589100" y="2371015"/>
                  </a:cubicBezTo>
                  <a:cubicBezTo>
                    <a:pt x="3589100" y="2215951"/>
                    <a:pt x="3573950" y="2339031"/>
                    <a:pt x="3527312" y="2192780"/>
                  </a:cubicBezTo>
                  <a:cubicBezTo>
                    <a:pt x="3519193" y="2167233"/>
                    <a:pt x="3533253" y="2140003"/>
                    <a:pt x="3558800" y="2131784"/>
                  </a:cubicBezTo>
                  <a:cubicBezTo>
                    <a:pt x="3584348" y="2123665"/>
                    <a:pt x="3611578" y="2137725"/>
                    <a:pt x="3619796" y="2163272"/>
                  </a:cubicBezTo>
                  <a:cubicBezTo>
                    <a:pt x="3669504" y="2319129"/>
                    <a:pt x="3686140" y="2205950"/>
                    <a:pt x="3686140" y="2371015"/>
                  </a:cubicBezTo>
                  <a:cubicBezTo>
                    <a:pt x="3686238" y="3248226"/>
                    <a:pt x="2972506" y="3962055"/>
                    <a:pt x="2095095" y="3962055"/>
                  </a:cubicBezTo>
                  <a:close/>
                </a:path>
              </a:pathLst>
            </a:custGeom>
            <a:grpFill/>
            <a:ln w="10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>
                <a:solidFill>
                  <a:srgbClr val="FFC000"/>
                </a:solidFill>
              </a:endParaRPr>
            </a:p>
          </p:txBody>
        </p:sp>
      </p:grpSp>
      <p:sp>
        <p:nvSpPr>
          <p:cNvPr id="11" name="Oval 29">
            <a:extLst>
              <a:ext uri="{FF2B5EF4-FFF2-40B4-BE49-F238E27FC236}">
                <a16:creationId xmlns:a16="http://schemas.microsoft.com/office/drawing/2014/main" id="{2DEE6792-AA9C-C65B-245D-33E89C7CDC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84097" y="1089455"/>
            <a:ext cx="546380" cy="546629"/>
          </a:xfrm>
          <a:prstGeom prst="ellipse">
            <a:avLst/>
          </a:prstGeom>
          <a:solidFill>
            <a:srgbClr val="FF997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FP-</a:t>
            </a:r>
            <a:b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</a:br>
            <a: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Growth</a:t>
            </a:r>
          </a:p>
        </p:txBody>
      </p:sp>
      <p:grpSp>
        <p:nvGrpSpPr>
          <p:cNvPr id="16" name="Groupe 20">
            <a:extLst>
              <a:ext uri="{FF2B5EF4-FFF2-40B4-BE49-F238E27FC236}">
                <a16:creationId xmlns:a16="http://schemas.microsoft.com/office/drawing/2014/main" id="{67CE374B-608C-9B84-A6F4-2A13A7FB728A}"/>
              </a:ext>
            </a:extLst>
          </p:cNvPr>
          <p:cNvGrpSpPr/>
          <p:nvPr/>
        </p:nvGrpSpPr>
        <p:grpSpPr>
          <a:xfrm>
            <a:off x="7312372" y="2140643"/>
            <a:ext cx="1645780" cy="712991"/>
            <a:chOff x="9450300" y="1425079"/>
            <a:chExt cx="2194375" cy="950654"/>
          </a:xfrm>
        </p:grpSpPr>
        <p:sp>
          <p:nvSpPr>
            <p:cNvPr id="17" name="Rectangle 62">
              <a:extLst>
                <a:ext uri="{FF2B5EF4-FFF2-40B4-BE49-F238E27FC236}">
                  <a16:creationId xmlns:a16="http://schemas.microsoft.com/office/drawing/2014/main" id="{B1943032-7D68-80C5-430C-9C2B6DEE2147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9466528" y="1753342"/>
              <a:ext cx="2178147" cy="62239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Handel</a:t>
              </a: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Industrie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Wissenschaft</a:t>
              </a:r>
              <a:endParaRPr lang="fr-FR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18" name="Rectangle : coins arrondis 34">
              <a:extLst>
                <a:ext uri="{FF2B5EF4-FFF2-40B4-BE49-F238E27FC236}">
                  <a16:creationId xmlns:a16="http://schemas.microsoft.com/office/drawing/2014/main" id="{58F05C85-F492-D4FC-3AB8-2DCB3081BCBB}"/>
                </a:ext>
              </a:extLst>
            </p:cNvPr>
            <p:cNvSpPr/>
            <p:nvPr/>
          </p:nvSpPr>
          <p:spPr>
            <a:xfrm>
              <a:off x="9809266" y="1425079"/>
              <a:ext cx="1574776" cy="27241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fr-FR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Branchen</a:t>
              </a:r>
              <a:endParaRPr lang="fr-FR" sz="105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32B65163-2393-E1AB-851B-3D790D6A92DB}"/>
                </a:ext>
              </a:extLst>
            </p:cNvPr>
            <p:cNvSpPr/>
            <p:nvPr/>
          </p:nvSpPr>
          <p:spPr>
            <a:xfrm>
              <a:off x="9450300" y="1449559"/>
              <a:ext cx="288000" cy="288000"/>
            </a:xfrm>
            <a:prstGeom prst="ellipse">
              <a:avLst/>
            </a:prstGeom>
            <a:solidFill>
              <a:srgbClr val="A9B4B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9525" tIns="9525" rIns="9525" bIns="9525" numCol="1" spcCol="1270" anchor="ctr" anchorCtr="0">
              <a:noAutofit/>
            </a:bodyPr>
            <a:lstStyle/>
            <a:p>
              <a:pPr defTabSz="685800">
                <a:buClrTx/>
                <a:defRPr/>
              </a:pPr>
              <a:endParaRPr lang="fr-FR" sz="750" b="1" kern="1200">
                <a:solidFill>
                  <a:prstClr val="black"/>
                </a:solidFill>
                <a:latin typeface="Maven Pro" panose="020B0604020202020204" charset="0"/>
              </a:endParaRPr>
            </a:p>
          </p:txBody>
        </p:sp>
      </p:grpSp>
      <p:grpSp>
        <p:nvGrpSpPr>
          <p:cNvPr id="20" name="Groupe 28">
            <a:extLst>
              <a:ext uri="{FF2B5EF4-FFF2-40B4-BE49-F238E27FC236}">
                <a16:creationId xmlns:a16="http://schemas.microsoft.com/office/drawing/2014/main" id="{94B832DF-5F7F-9A26-E553-E410BDBA8389}"/>
              </a:ext>
            </a:extLst>
          </p:cNvPr>
          <p:cNvGrpSpPr/>
          <p:nvPr/>
        </p:nvGrpSpPr>
        <p:grpSpPr>
          <a:xfrm>
            <a:off x="7312269" y="3132673"/>
            <a:ext cx="1794584" cy="1812080"/>
            <a:chOff x="9449547" y="4314254"/>
            <a:chExt cx="2392778" cy="2416104"/>
          </a:xfrm>
        </p:grpSpPr>
        <p:sp>
          <p:nvSpPr>
            <p:cNvPr id="21" name="Rectangle : coins arrondis 63">
              <a:extLst>
                <a:ext uri="{FF2B5EF4-FFF2-40B4-BE49-F238E27FC236}">
                  <a16:creationId xmlns:a16="http://schemas.microsoft.com/office/drawing/2014/main" id="{EB3BCE24-B062-9AC2-5787-C584CB2EC7D2}"/>
                </a:ext>
              </a:extLst>
            </p:cNvPr>
            <p:cNvSpPr/>
            <p:nvPr/>
          </p:nvSpPr>
          <p:spPr>
            <a:xfrm>
              <a:off x="9801026" y="4315879"/>
              <a:ext cx="2041299" cy="272415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fr-FR" sz="1200" dirty="0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Stand der </a:t>
              </a:r>
              <a:r>
                <a:rPr lang="fr-FR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Forschung</a:t>
              </a:r>
              <a:endParaRPr lang="fr-FR" sz="135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58610D85-6D02-50D0-EA33-21E9B041BA21}"/>
                </a:ext>
              </a:extLst>
            </p:cNvPr>
            <p:cNvSpPr/>
            <p:nvPr/>
          </p:nvSpPr>
          <p:spPr>
            <a:xfrm>
              <a:off x="9449547" y="4314254"/>
              <a:ext cx="288000" cy="288000"/>
            </a:xfrm>
            <a:prstGeom prst="ellipse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33350" indent="-133350" algn="ctr" defTabSz="533400">
                <a:spcBef>
                  <a:spcPts val="900"/>
                </a:spcBef>
                <a:buClrTx/>
                <a:buFontTx/>
                <a:buChar char="•"/>
                <a:defRPr/>
              </a:pPr>
              <a:endParaRPr lang="fr-FR" sz="1200" kern="1200">
                <a:solidFill>
                  <a:prstClr val="white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25" name="Rectangle 45">
              <a:extLst>
                <a:ext uri="{FF2B5EF4-FFF2-40B4-BE49-F238E27FC236}">
                  <a16:creationId xmlns:a16="http://schemas.microsoft.com/office/drawing/2014/main" id="{F10C175E-9511-EBE1-8560-EA2268D765AB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9467842" y="4699035"/>
              <a:ext cx="2219685" cy="203132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Bisherig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Projekt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: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1960er: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Identifikatio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vo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Absatzmuster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Trends i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Supermarktketten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Online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Kaufhistori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Verkaufstrends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Machine Learning &amp; KI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Ansätz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zur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Generierung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vo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personalisiert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Empfehlung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Marketingstrategien</a:t>
              </a:r>
              <a:endParaRPr lang="de-DE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</p:grpSp>
      <p:grpSp>
        <p:nvGrpSpPr>
          <p:cNvPr id="26" name="Groupe 27">
            <a:extLst>
              <a:ext uri="{FF2B5EF4-FFF2-40B4-BE49-F238E27FC236}">
                <a16:creationId xmlns:a16="http://schemas.microsoft.com/office/drawing/2014/main" id="{9040FD9A-1434-BA1C-D55B-97D608EE566A}"/>
              </a:ext>
            </a:extLst>
          </p:cNvPr>
          <p:cNvGrpSpPr/>
          <p:nvPr/>
        </p:nvGrpSpPr>
        <p:grpSpPr>
          <a:xfrm>
            <a:off x="7297030" y="961329"/>
            <a:ext cx="1686950" cy="1209459"/>
            <a:chOff x="9418264" y="2790982"/>
            <a:chExt cx="2249267" cy="1612613"/>
          </a:xfrm>
        </p:grpSpPr>
        <p:sp>
          <p:nvSpPr>
            <p:cNvPr id="27" name="Rectangle : coins arrondis 67">
              <a:extLst>
                <a:ext uri="{FF2B5EF4-FFF2-40B4-BE49-F238E27FC236}">
                  <a16:creationId xmlns:a16="http://schemas.microsoft.com/office/drawing/2014/main" id="{EA0F0A34-18D6-C252-D70D-3A0873CF8B49}"/>
                </a:ext>
              </a:extLst>
            </p:cNvPr>
            <p:cNvSpPr/>
            <p:nvPr/>
          </p:nvSpPr>
          <p:spPr>
            <a:xfrm>
              <a:off x="9795719" y="2790982"/>
              <a:ext cx="1467115" cy="544831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en-GB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Anwendungs-bereiche</a:t>
              </a:r>
              <a:endParaRPr lang="en-GB" sz="60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E8E7958F-8D60-B5AB-8320-694DAA7D3217}"/>
                </a:ext>
              </a:extLst>
            </p:cNvPr>
            <p:cNvSpPr/>
            <p:nvPr/>
          </p:nvSpPr>
          <p:spPr>
            <a:xfrm>
              <a:off x="9456833" y="2922034"/>
              <a:ext cx="288000" cy="288000"/>
            </a:xfrm>
            <a:prstGeom prst="ellipse">
              <a:avLst/>
            </a:prstGeom>
            <a:solidFill>
              <a:srgbClr val="5EFFF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9525" tIns="9525" rIns="9525" bIns="9525" numCol="1" spcCol="1270" anchor="ctr" anchorCtr="0">
              <a:noAutofit/>
            </a:bodyPr>
            <a:lstStyle/>
            <a:p>
              <a:pPr defTabSz="685800">
                <a:buSzPts val="1000"/>
                <a:defRPr/>
              </a:pPr>
              <a:endParaRPr lang="fr-FR" sz="750" b="1" kern="1200">
                <a:solidFill>
                  <a:prstClr val="black"/>
                </a:solidFill>
                <a:latin typeface="Maven Pro" panose="020B0604020202020204" charset="0"/>
              </a:endParaRPr>
            </a:p>
          </p:txBody>
        </p:sp>
        <p:sp>
          <p:nvSpPr>
            <p:cNvPr id="29" name="Rectangle 46">
              <a:extLst>
                <a:ext uri="{FF2B5EF4-FFF2-40B4-BE49-F238E27FC236}">
                  <a16:creationId xmlns:a16="http://schemas.microsoft.com/office/drawing/2014/main" id="{0C3EE2D2-3928-9FD8-C98E-77FF26E7B005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9418264" y="3304969"/>
              <a:ext cx="2249267" cy="109862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Einzelhandel</a:t>
              </a: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/</a:t>
              </a:r>
              <a:b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Supermarktketten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Marketingforschung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Data Mining</a:t>
              </a:r>
            </a:p>
            <a:p>
              <a:pPr defTabSz="533400">
                <a:spcBef>
                  <a:spcPts val="150"/>
                </a:spcBef>
                <a:buClrTx/>
                <a:defRPr/>
              </a:pPr>
              <a:endParaRPr lang="fr-FR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</p:grpSp>
      <p:sp>
        <p:nvSpPr>
          <p:cNvPr id="31" name="Oval 43">
            <a:extLst>
              <a:ext uri="{FF2B5EF4-FFF2-40B4-BE49-F238E27FC236}">
                <a16:creationId xmlns:a16="http://schemas.microsoft.com/office/drawing/2014/main" id="{7A7D6889-768E-DFE5-9D9C-09443233CEEA}"/>
              </a:ext>
            </a:extLst>
          </p:cNvPr>
          <p:cNvSpPr/>
          <p:nvPr/>
        </p:nvSpPr>
        <p:spPr>
          <a:xfrm>
            <a:off x="3703873" y="1405521"/>
            <a:ext cx="2754000" cy="2754000"/>
          </a:xfrm>
          <a:prstGeom prst="ellipse">
            <a:avLst/>
          </a:prstGeom>
          <a:noFill/>
          <a:ln w="41275" cap="sq">
            <a:solidFill>
              <a:srgbClr val="A9B4BB"/>
            </a:solidFill>
            <a:prstDash val="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  <a:defRPr/>
            </a:pPr>
            <a:endParaRPr lang="en-GB" sz="1350" kern="120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32" name="Freeform: Shape 17">
            <a:extLst>
              <a:ext uri="{FF2B5EF4-FFF2-40B4-BE49-F238E27FC236}">
                <a16:creationId xmlns:a16="http://schemas.microsoft.com/office/drawing/2014/main" id="{64319300-BFA7-C813-D889-64C83FB19CBD}"/>
              </a:ext>
            </a:extLst>
          </p:cNvPr>
          <p:cNvSpPr>
            <a:spLocks/>
          </p:cNvSpPr>
          <p:nvPr/>
        </p:nvSpPr>
        <p:spPr>
          <a:xfrm>
            <a:off x="4566029" y="922466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5EFFFD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SzPts val="1000"/>
            </a:pP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Anwendungs</a:t>
            </a:r>
            <a:r>
              <a:rPr lang="en-US" sz="1000" b="1" kern="120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-</a:t>
            </a:r>
            <a:br>
              <a:rPr lang="en-US" sz="1000" b="1" kern="120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</a:b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bereiche</a:t>
            </a:r>
            <a:endParaRPr lang="en-US" sz="1000" b="1" kern="120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33" name="Freeform: Shape 18">
            <a:extLst>
              <a:ext uri="{FF2B5EF4-FFF2-40B4-BE49-F238E27FC236}">
                <a16:creationId xmlns:a16="http://schemas.microsoft.com/office/drawing/2014/main" id="{BD8D4C30-887E-60E1-0D71-138807E1C7DE}"/>
              </a:ext>
            </a:extLst>
          </p:cNvPr>
          <p:cNvSpPr>
            <a:spLocks noChangeAspect="1"/>
          </p:cNvSpPr>
          <p:nvPr/>
        </p:nvSpPr>
        <p:spPr>
          <a:xfrm>
            <a:off x="6075947" y="227536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A9B4BB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ts val="225"/>
              </a:spcAft>
              <a:buClrTx/>
            </a:pPr>
            <a:r>
              <a:rPr lang="en-GB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Branchen</a:t>
            </a:r>
            <a:endParaRPr lang="en-GB" sz="1200" b="1" kern="120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34" name="Freeform: Shape 19">
            <a:extLst>
              <a:ext uri="{FF2B5EF4-FFF2-40B4-BE49-F238E27FC236}">
                <a16:creationId xmlns:a16="http://schemas.microsoft.com/office/drawing/2014/main" id="{20B1FAB4-4640-8994-75B1-E49AD8CF4613}"/>
              </a:ext>
            </a:extLst>
          </p:cNvPr>
          <p:cNvSpPr/>
          <p:nvPr/>
        </p:nvSpPr>
        <p:spPr>
          <a:xfrm>
            <a:off x="4566029" y="373803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00CFCC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ts val="225"/>
              </a:spcAft>
              <a:buClrTx/>
            </a:pPr>
            <a:r>
              <a:rPr lang="en-GB" sz="1000" b="1" kern="1200" spc="-6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Stand der </a:t>
            </a:r>
            <a:br>
              <a:rPr lang="en-GB" sz="1000" b="1" kern="1200" spc="-6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</a:br>
            <a:r>
              <a:rPr lang="en-GB" sz="1000" b="1" kern="1200" spc="-6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Forschung</a:t>
            </a:r>
            <a:endParaRPr lang="en-GB" sz="1200" b="1" kern="1200" spc="-6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</a:pP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Wissenschaftliche</a:t>
            </a:r>
            <a:b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</a:b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Arbeiten</a:t>
            </a:r>
            <a: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 in </a:t>
            </a: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diesem</a:t>
            </a:r>
            <a:b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</a:b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Bereich</a:t>
            </a:r>
            <a:endParaRPr lang="en-GB" sz="600" kern="1200" dirty="0">
              <a:solidFill>
                <a:prstClr val="black"/>
              </a:solidFill>
              <a:latin typeface="Maven Pro" panose="020B0604020202020204" charset="0"/>
              <a:ea typeface="Arial"/>
              <a:cs typeface="Arial"/>
            </a:endParaRPr>
          </a:p>
        </p:txBody>
      </p:sp>
      <p:sp>
        <p:nvSpPr>
          <p:cNvPr id="35" name="Freeform: Shape 21">
            <a:extLst>
              <a:ext uri="{FF2B5EF4-FFF2-40B4-BE49-F238E27FC236}">
                <a16:creationId xmlns:a16="http://schemas.microsoft.com/office/drawing/2014/main" id="{8E95B82F-CDAC-4B16-79BD-9E0D00FA10A9}"/>
              </a:ext>
            </a:extLst>
          </p:cNvPr>
          <p:cNvSpPr>
            <a:spLocks noChangeAspect="1"/>
          </p:cNvSpPr>
          <p:nvPr/>
        </p:nvSpPr>
        <p:spPr>
          <a:xfrm>
            <a:off x="3270488" y="227536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A6CBC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685800">
              <a:spcBef>
                <a:spcPct val="0"/>
              </a:spcBef>
              <a:buClrTx/>
              <a:defRPr/>
            </a:pP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Algorithmen</a:t>
            </a:r>
            <a:br>
              <a:rPr lang="en-US" sz="675" kern="1200" dirty="0">
                <a:solidFill>
                  <a:srgbClr val="000000"/>
                </a:solidFill>
                <a:latin typeface="Maven Pro" panose="020B0604020202020204" charset="0"/>
                <a:ea typeface="Arial"/>
                <a:cs typeface="Arial"/>
              </a:rPr>
            </a:br>
            <a:endParaRPr lang="en-US" sz="600" kern="1200" dirty="0">
              <a:solidFill>
                <a:srgbClr val="000000"/>
              </a:solidFill>
              <a:latin typeface="Maven Pro" panose="020B0604020202020204" charset="0"/>
              <a:ea typeface="Arial"/>
              <a:cs typeface="Arial"/>
            </a:endParaRPr>
          </a:p>
        </p:txBody>
      </p:sp>
      <p:sp>
        <p:nvSpPr>
          <p:cNvPr id="40" name="Freeform: Shape 16">
            <a:extLst>
              <a:ext uri="{FF2B5EF4-FFF2-40B4-BE49-F238E27FC236}">
                <a16:creationId xmlns:a16="http://schemas.microsoft.com/office/drawing/2014/main" id="{0E9DDDE7-C6D1-3EBA-BB0B-3B40EDA70E6D}"/>
              </a:ext>
            </a:extLst>
          </p:cNvPr>
          <p:cNvSpPr/>
          <p:nvPr/>
        </p:nvSpPr>
        <p:spPr>
          <a:xfrm>
            <a:off x="4456725" y="2139061"/>
            <a:ext cx="1284044" cy="1284044"/>
          </a:xfrm>
          <a:custGeom>
            <a:avLst/>
            <a:gdLst>
              <a:gd name="connsiteX0" fmla="*/ 0 w 1712059"/>
              <a:gd name="connsiteY0" fmla="*/ 856030 h 1712059"/>
              <a:gd name="connsiteX1" fmla="*/ 856030 w 1712059"/>
              <a:gd name="connsiteY1" fmla="*/ 0 h 1712059"/>
              <a:gd name="connsiteX2" fmla="*/ 1712060 w 1712059"/>
              <a:gd name="connsiteY2" fmla="*/ 856030 h 1712059"/>
              <a:gd name="connsiteX3" fmla="*/ 856030 w 1712059"/>
              <a:gd name="connsiteY3" fmla="*/ 1712060 h 1712059"/>
              <a:gd name="connsiteX4" fmla="*/ 0 w 1712059"/>
              <a:gd name="connsiteY4" fmla="*/ 856030 h 1712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2059" h="1712059">
                <a:moveTo>
                  <a:pt x="0" y="856030"/>
                </a:moveTo>
                <a:cubicBezTo>
                  <a:pt x="0" y="383258"/>
                  <a:pt x="383258" y="0"/>
                  <a:pt x="856030" y="0"/>
                </a:cubicBezTo>
                <a:cubicBezTo>
                  <a:pt x="1328802" y="0"/>
                  <a:pt x="1712060" y="383258"/>
                  <a:pt x="1712060" y="856030"/>
                </a:cubicBezTo>
                <a:cubicBezTo>
                  <a:pt x="1712060" y="1328802"/>
                  <a:pt x="1328802" y="1712060"/>
                  <a:pt x="856030" y="1712060"/>
                </a:cubicBezTo>
                <a:cubicBezTo>
                  <a:pt x="383258" y="1712060"/>
                  <a:pt x="0" y="1328802"/>
                  <a:pt x="0" y="856030"/>
                </a:cubicBezTo>
                <a:close/>
              </a:path>
            </a:pathLst>
          </a:custGeom>
          <a:solidFill>
            <a:schemeClr val="bg1"/>
          </a:solidFill>
          <a:ln w="19050" cap="flat" cmpd="sng" algn="ctr">
            <a:solidFill>
              <a:srgbClr val="FDBB00"/>
            </a:solidFill>
            <a:prstDash val="solid"/>
            <a:miter lim="800000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95664" tIns="195664" rIns="195664" bIns="195664" numCol="1" spcCol="1270" anchor="ctr" anchorCtr="0">
            <a:noAutofit/>
          </a:bodyPr>
          <a:lstStyle/>
          <a:p>
            <a:pPr marL="42863" lvl="1" algn="ctr" defTabSz="300038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</a:pPr>
            <a: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Market Basket </a:t>
            </a:r>
          </a:p>
          <a:p>
            <a:pPr marL="42863" lvl="1" algn="ctr" defTabSz="300038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</a:pPr>
            <a: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Analysis</a:t>
            </a:r>
            <a:b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</a:br>
            <a:r>
              <a:rPr lang="en-GB" sz="680" kern="1200" dirty="0" err="1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Methode</a:t>
            </a:r>
            <a:r>
              <a:rPr lang="en-GB" sz="680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 der </a:t>
            </a:r>
            <a:r>
              <a:rPr lang="en-GB" sz="680" kern="1200" dirty="0" err="1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Datenanalyse</a:t>
            </a:r>
            <a:endParaRPr lang="en-GB" sz="680" kern="1200" dirty="0">
              <a:solidFill>
                <a:srgbClr val="000000"/>
              </a:solidFill>
              <a:latin typeface="Maven Pro" panose="020B0604020202020204" charset="0"/>
              <a:cs typeface="Arial"/>
            </a:endParaRP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7E2C1FC0-8434-C6A4-7DEC-8F1950444664}"/>
              </a:ext>
            </a:extLst>
          </p:cNvPr>
          <p:cNvSpPr/>
          <p:nvPr/>
        </p:nvSpPr>
        <p:spPr>
          <a:xfrm>
            <a:off x="687243" y="1153952"/>
            <a:ext cx="216000" cy="216000"/>
          </a:xfrm>
          <a:prstGeom prst="ellipse">
            <a:avLst/>
          </a:prstGeom>
          <a:solidFill>
            <a:srgbClr val="A6CBC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9525" tIns="9525" rIns="9525" bIns="9525" numCol="1" spcCol="1270" anchor="ctr" anchorCtr="0">
            <a:noAutofit/>
          </a:bodyPr>
          <a:lstStyle/>
          <a:p>
            <a:pPr defTabSz="685800">
              <a:buSzPts val="1000"/>
              <a:defRPr/>
            </a:pPr>
            <a:endParaRPr lang="fr-FR" sz="750" b="1" kern="1200">
              <a:solidFill>
                <a:prstClr val="black"/>
              </a:solidFill>
              <a:latin typeface="Maven Pro" panose="020B0604020202020204" charset="0"/>
            </a:endParaRPr>
          </a:p>
        </p:txBody>
      </p:sp>
      <p:sp>
        <p:nvSpPr>
          <p:cNvPr id="46" name="Rectangle : coins arrondis 67">
            <a:extLst>
              <a:ext uri="{FF2B5EF4-FFF2-40B4-BE49-F238E27FC236}">
                <a16:creationId xmlns:a16="http://schemas.microsoft.com/office/drawing/2014/main" id="{B84C27C6-69DA-EC93-DEBA-F703FD10A937}"/>
              </a:ext>
            </a:extLst>
          </p:cNvPr>
          <p:cNvSpPr/>
          <p:nvPr/>
        </p:nvSpPr>
        <p:spPr>
          <a:xfrm>
            <a:off x="966730" y="1153952"/>
            <a:ext cx="1900562" cy="20431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defTabSz="533400">
              <a:spcBef>
                <a:spcPts val="900"/>
              </a:spcBef>
              <a:buClrTx/>
              <a:defRPr/>
            </a:pPr>
            <a:r>
              <a:rPr lang="en-GB" sz="1200" dirty="0" err="1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rPr>
              <a:t>Algorithmen</a:t>
            </a:r>
            <a:endParaRPr lang="en-GB" sz="600" dirty="0">
              <a:solidFill>
                <a:schemeClr val="bg1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grpSp>
        <p:nvGrpSpPr>
          <p:cNvPr id="36" name="Groupe 15">
            <a:extLst>
              <a:ext uri="{FF2B5EF4-FFF2-40B4-BE49-F238E27FC236}">
                <a16:creationId xmlns:a16="http://schemas.microsoft.com/office/drawing/2014/main" id="{61915B8D-1A31-549B-397F-19D373CB9376}"/>
              </a:ext>
            </a:extLst>
          </p:cNvPr>
          <p:cNvGrpSpPr/>
          <p:nvPr/>
        </p:nvGrpSpPr>
        <p:grpSpPr>
          <a:xfrm>
            <a:off x="266700" y="986452"/>
            <a:ext cx="2449878" cy="3732836"/>
            <a:chOff x="-375920" y="1315269"/>
            <a:chExt cx="3266504" cy="4977115"/>
          </a:xfrm>
        </p:grpSpPr>
        <p:sp>
          <p:nvSpPr>
            <p:cNvPr id="37" name="Rechteck 26">
              <a:extLst>
                <a:ext uri="{FF2B5EF4-FFF2-40B4-BE49-F238E27FC236}">
                  <a16:creationId xmlns:a16="http://schemas.microsoft.com/office/drawing/2014/main" id="{B9FE6497-D3D2-D350-994E-6709E1E2C84A}"/>
                </a:ext>
              </a:extLst>
            </p:cNvPr>
            <p:cNvSpPr/>
            <p:nvPr/>
          </p:nvSpPr>
          <p:spPr>
            <a:xfrm>
              <a:off x="-375920" y="1315269"/>
              <a:ext cx="3266504" cy="497711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de-DE" sz="1350" kern="1200">
                <a:solidFill>
                  <a:prstClr val="white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38" name="Rectangle 49">
              <a:extLst>
                <a:ext uri="{FF2B5EF4-FFF2-40B4-BE49-F238E27FC236}">
                  <a16:creationId xmlns:a16="http://schemas.microsoft.com/office/drawing/2014/main" id="{01E5A384-AD3D-25BA-633E-1038FD82A32C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247797" y="1931445"/>
              <a:ext cx="2377249" cy="387798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FP-Growth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 err="1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Apiori</a:t>
              </a: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Clustering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Neural Networks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Collaborative </a:t>
              </a:r>
              <a:r>
                <a:rPr lang="fr-FR" sz="1050" kern="1200" dirty="0" err="1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Filtering</a:t>
              </a: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Eclat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 err="1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Weitere</a:t>
              </a: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: </a:t>
              </a:r>
              <a:b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AIS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BA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PAR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MAR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MCAR</a:t>
              </a:r>
            </a:p>
          </p:txBody>
        </p:sp>
      </p:grpSp>
      <p:sp>
        <p:nvSpPr>
          <p:cNvPr id="47" name="Oval 29">
            <a:extLst>
              <a:ext uri="{FF2B5EF4-FFF2-40B4-BE49-F238E27FC236}">
                <a16:creationId xmlns:a16="http://schemas.microsoft.com/office/drawing/2014/main" id="{E33FE60D-A981-B7CA-5483-FB238EC695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700304" y="3083162"/>
            <a:ext cx="546380" cy="546629"/>
          </a:xfrm>
          <a:prstGeom prst="ellipse">
            <a:avLst/>
          </a:prstGeom>
          <a:solidFill>
            <a:srgbClr val="FF997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 err="1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Apiori</a:t>
            </a:r>
            <a:endParaRPr lang="en-US" sz="1000" kern="1200" dirty="0">
              <a:solidFill>
                <a:schemeClr val="bg2"/>
              </a:solidFill>
              <a:latin typeface="Maven Pro" panose="020B060402020202020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46198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3323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31C40E7-88F0-51FC-668C-ED16234DA2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570" b="99093" l="9958" r="89902">
                        <a14:foregroundMark x1="27209" y1="25389" x2="38008" y2="67876"/>
                        <a14:foregroundMark x1="31136" y1="42487" x2="28471" y2="93782"/>
                        <a14:foregroundMark x1="45021" y1="76036" x2="75877" y2="89249"/>
                        <a14:foregroundMark x1="75877" y1="89249" x2="76297" y2="89249"/>
                        <a14:foregroundMark x1="77560" y1="92617" x2="21318" y2="93653"/>
                        <a14:foregroundMark x1="19074" y1="86658" x2="57924" y2="81477"/>
                        <a14:foregroundMark x1="84993" y1="93394" x2="50491" y2="91969"/>
                        <a14:foregroundMark x1="50491" y1="91969" x2="50491" y2="91969"/>
                        <a14:foregroundMark x1="68163" y1="10363" x2="69986" y2="8161"/>
                        <a14:foregroundMark x1="79944" y1="28886" x2="76438" y2="34974"/>
                        <a14:foregroundMark x1="68303" y1="7513" x2="68583" y2="6995"/>
                        <a14:foregroundMark x1="71669" y1="6347" x2="70968" y2="7254"/>
                        <a14:foregroundMark x1="69986" y1="5570" x2="69986" y2="5570"/>
                        <a14:foregroundMark x1="21038" y1="27332" x2="18233" y2="31218"/>
                        <a14:foregroundMark x1="20056" y1="31218" x2="18093" y2="30829"/>
                        <a14:foregroundMark x1="20617" y1="31218" x2="16690" y2="31218"/>
                        <a14:foregroundMark x1="18794" y1="77591" x2="18794" y2="96503"/>
                        <a14:foregroundMark x1="17532" y1="76295" x2="16269" y2="76295"/>
                        <a14:foregroundMark x1="83310" y1="88472" x2="84292" y2="98964"/>
                        <a14:foregroundMark x1="86957" y1="87176" x2="86957" y2="87176"/>
                        <a14:foregroundMark x1="86536" y1="87824" x2="86536" y2="87824"/>
                        <a14:foregroundMark x1="85835" y1="91321" x2="85133" y2="99093"/>
                        <a14:foregroundMark x1="84712" y1="64637" x2="84712" y2="64637"/>
                        <a14:foregroundMark x1="85133" y1="64767" x2="85133" y2="64767"/>
                        <a14:foregroundMark x1="85554" y1="65415" x2="85554" y2="65415"/>
                        <a14:foregroundMark x1="86396" y1="93523" x2="86396" y2="93523"/>
                        <a14:foregroundMark x1="86396" y1="94689" x2="86396" y2="94689"/>
                        <a14:foregroundMark x1="86536" y1="94689" x2="86536" y2="94689"/>
                        <a14:foregroundMark x1="15568" y1="92098" x2="15568" y2="92098"/>
                        <a14:foregroundMark x1="21599" y1="45207" x2="21599" y2="45207"/>
                        <a14:foregroundMark x1="20898" y1="45207" x2="20898" y2="45207"/>
                        <a14:foregroundMark x1="16410" y1="59197" x2="16550" y2="56347"/>
                        <a14:foregroundMark x1="16690" y1="58031" x2="16550" y2="54663"/>
                        <a14:foregroundMark x1="15428" y1="76166" x2="15428" y2="76166"/>
                        <a14:foregroundMark x1="15708" y1="85363" x2="15708" y2="85363"/>
                        <a14:foregroundMark x1="14586" y1="90415" x2="14586" y2="92617"/>
                        <a14:foregroundMark x1="20898" y1="36140" x2="20898" y2="36140"/>
                        <a14:foregroundMark x1="20337" y1="36269" x2="20337" y2="3626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51097" y="3149288"/>
            <a:ext cx="1841805" cy="1994212"/>
          </a:xfrm>
          <a:prstGeom prst="rect">
            <a:avLst/>
          </a:prstGeom>
        </p:spPr>
      </p:pic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ssenschaftli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Werk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l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rundl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m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Thema Market Basket Analysis: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Fast algorithms for mining association rules in large database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20th international conference on Very large data bases (pp. 487-499); Agrawal, R., &amp; Srikant, R. (1994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ining frequent patterns without candidate generation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ACM SIGMOD Record (Vol. 29, No. 2, pp. 1-12).; Han, J., Pei, J., &amp; Yin, Y. (2000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Dynamic itemset counting and implication rules for market basket 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1997 ACM SIGMOD international conference on Management of data, pages 255–264, 1997.; S. Brin, R. Motwani, J. D. Ullman, and S.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Tsur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 err="1">
                <a:solidFill>
                  <a:schemeClr val="bg1"/>
                </a:solidFill>
                <a:latin typeface="Maven Pro" panose="020B0604020202020204" charset="0"/>
              </a:rPr>
              <a:t>JSome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methods for classification and analysis of multivariate observation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5-th Berkeley Symposium on Mathematical Statistics and Probability, volume 1, pages 281–297, 1967.; . B. MacQueen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rend Analysis of Association rules in different time perio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d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7"/>
              </a:rPr>
              <a:t>https://run.unl.pt/bitstream/10362/80955/1/TEGI0458.pdf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o Identify Customer Behaviors  by Way of Transaction Data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8"/>
              </a:rPr>
              <a:t>https://www.researchgate.net/publication/322161863_Market_Basket_Analysis_to_Identify_Customer_Behaviours_by_Way_of_Transaction_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9"/>
              </a:rPr>
              <a:t>https://link.springer.com/referenceworkentry/10.1007/978-1-4899-7687-1_100284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22264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44"/>
          <p:cNvSpPr/>
          <p:nvPr/>
        </p:nvSpPr>
        <p:spPr>
          <a:xfrm>
            <a:off x="819303" y="2003575"/>
            <a:ext cx="7524000" cy="21252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1" name="Google Shape;1241;p44"/>
          <p:cNvSpPr/>
          <p:nvPr/>
        </p:nvSpPr>
        <p:spPr>
          <a:xfrm>
            <a:off x="952957" y="2111850"/>
            <a:ext cx="7256700" cy="19437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2" name="Google Shape;1242;p4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Best Practices</a:t>
            </a:r>
            <a:endParaRPr dirty="0"/>
          </a:p>
        </p:txBody>
      </p:sp>
      <p:graphicFrame>
        <p:nvGraphicFramePr>
          <p:cNvPr id="1243" name="Google Shape;1243;p44"/>
          <p:cNvGraphicFramePr/>
          <p:nvPr>
            <p:extLst>
              <p:ext uri="{D42A27DB-BD31-4B8C-83A1-F6EECF244321}">
                <p14:modId xmlns:p14="http://schemas.microsoft.com/office/powerpoint/2010/main" val="888777908"/>
              </p:ext>
            </p:extLst>
          </p:nvPr>
        </p:nvGraphicFramePr>
        <p:xfrm>
          <a:off x="819303" y="1330852"/>
          <a:ext cx="7390354" cy="2726415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23796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02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404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649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/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Startdatum</a:t>
                      </a:r>
                      <a:endParaRPr sz="14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Use Case</a:t>
                      </a:r>
                      <a:endParaRPr sz="18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2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Walmart</a:t>
                      </a:r>
                      <a:endParaRPr sz="1800" dirty="0">
                        <a:solidFill>
                          <a:schemeClr val="accent2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1990er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Kaufverhalten der Kunden verstehen und Effizienz der Lieferkette zu verbessern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1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Amazon</a:t>
                      </a:r>
                      <a:endParaRPr sz="1800" dirty="0">
                        <a:solidFill>
                          <a:schemeClr val="accent1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1990er</a:t>
                      </a: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Recommendation Engine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3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Tesco</a:t>
                      </a:r>
                      <a:endParaRPr sz="1800" dirty="0">
                        <a:solidFill>
                          <a:schemeClr val="accent3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6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Kaufverhalten der Kunden analysieren und personalisierte Werbeaktionen und Angebote unterbreiten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244" name="Google Shape;1244;p44"/>
          <p:cNvGrpSpPr/>
          <p:nvPr/>
        </p:nvGrpSpPr>
        <p:grpSpPr>
          <a:xfrm>
            <a:off x="4932526" y="4128777"/>
            <a:ext cx="936653" cy="1300131"/>
            <a:chOff x="4882900" y="-64350"/>
            <a:chExt cx="2493750" cy="2922300"/>
          </a:xfrm>
        </p:grpSpPr>
        <p:sp>
          <p:nvSpPr>
            <p:cNvPr id="1245" name="Google Shape;1245;p44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" name="Google Shape;1246;p44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" name="Google Shape;1247;p44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" name="Google Shape;1248;p44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" name="Google Shape;1249;p44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0034242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7817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5" y="411675"/>
            <a:ext cx="6501642" cy="577800"/>
          </a:xfrm>
        </p:spPr>
        <p:txBody>
          <a:bodyPr vert="horz"/>
          <a:lstStyle/>
          <a:p>
            <a:r>
              <a:rPr lang="de-DE" dirty="0"/>
              <a:t>Unterstützende Forschungsfragen</a:t>
            </a:r>
          </a:p>
        </p:txBody>
      </p:sp>
      <p:sp>
        <p:nvSpPr>
          <p:cNvPr id="4" name="Google Shape;465;p26">
            <a:extLst>
              <a:ext uri="{FF2B5EF4-FFF2-40B4-BE49-F238E27FC236}">
                <a16:creationId xmlns:a16="http://schemas.microsoft.com/office/drawing/2014/main" id="{5033B99C-6439-D055-1E3C-2372C102137B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olge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orschungsfr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terstütz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ser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ielsetzun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</a:t>
            </a:r>
          </a:p>
          <a:p>
            <a:pPr>
              <a:spcBef>
                <a:spcPts val="1600"/>
              </a:spcBef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ufverhal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er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unden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oft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samm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kauft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I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m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Monat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ich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ttraktiv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lass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ich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am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ochenend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esse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(Optional: 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Anteil vegetarisch/vegan/insgesamt an Produkten)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C729355-164C-5B2D-5287-9687D15F721C}"/>
              </a:ext>
            </a:extLst>
          </p:cNvPr>
          <p:cNvSpPr/>
          <p:nvPr/>
        </p:nvSpPr>
        <p:spPr>
          <a:xfrm rot="1647492">
            <a:off x="6265333" y="1126067"/>
            <a:ext cx="1955800" cy="54186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Anpassen</a:t>
            </a:r>
          </a:p>
        </p:txBody>
      </p:sp>
    </p:spTree>
    <p:extLst>
      <p:ext uri="{BB962C8B-B14F-4D97-AF65-F5344CB8AC3E}">
        <p14:creationId xmlns:p14="http://schemas.microsoft.com/office/powerpoint/2010/main" val="34975188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krLZe3UlGN_QmkE9_Oi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68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68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ata Science Consulting by Slidesgo">
  <a:themeElements>
    <a:clrScheme name="Simple Light">
      <a:dk1>
        <a:srgbClr val="1A5E8F"/>
      </a:dk1>
      <a:lt1>
        <a:srgbClr val="FFFFFF"/>
      </a:lt1>
      <a:dk2>
        <a:srgbClr val="002845"/>
      </a:dk2>
      <a:lt2>
        <a:srgbClr val="FFD6E1"/>
      </a:lt2>
      <a:accent1>
        <a:srgbClr val="E898AC"/>
      </a:accent1>
      <a:accent2>
        <a:srgbClr val="00CFCC"/>
      </a:accent2>
      <a:accent3>
        <a:srgbClr val="FF9973"/>
      </a:accent3>
      <a:accent4>
        <a:srgbClr val="F64975"/>
      </a:accent4>
      <a:accent5>
        <a:srgbClr val="5EFFFD"/>
      </a:accent5>
      <a:accent6>
        <a:srgbClr val="FC723F"/>
      </a:accent6>
      <a:hlink>
        <a:srgbClr val="FFFFFF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lidesgo Final Pages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White Backgrounds">
  <a:themeElements>
    <a:clrScheme name="Akkodis 2">
      <a:dk1>
        <a:srgbClr val="000000"/>
      </a:dk1>
      <a:lt1>
        <a:srgbClr val="FFFFFF"/>
      </a:lt1>
      <a:dk2>
        <a:srgbClr val="001F32"/>
      </a:dk2>
      <a:lt2>
        <a:srgbClr val="E7E6E6"/>
      </a:lt2>
      <a:accent1>
        <a:srgbClr val="001F32"/>
      </a:accent1>
      <a:accent2>
        <a:srgbClr val="FBB800"/>
      </a:accent2>
      <a:accent3>
        <a:srgbClr val="FFFFFF"/>
      </a:accent3>
      <a:accent4>
        <a:srgbClr val="001F32"/>
      </a:accent4>
      <a:accent5>
        <a:srgbClr val="FFFFFF"/>
      </a:accent5>
      <a:accent6>
        <a:srgbClr val="FBB800"/>
      </a:accent6>
      <a:hlink>
        <a:srgbClr val="0563C1"/>
      </a:hlink>
      <a:folHlink>
        <a:srgbClr val="954F72"/>
      </a:folHlink>
    </a:clrScheme>
    <a:fontScheme name="AKKA modis Interim Dark_16.9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Z5RE_16.9_SampleFile_vF.pptx" id="{91C5FECB-731B-4237-81EB-DB5E757377E6}" vid="{758C4D5D-C3E2-4A1A-9047-65C2CB5168F4}"/>
    </a:ext>
  </a:extLst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377</Words>
  <Application>Microsoft Office PowerPoint</Application>
  <PresentationFormat>Bildschirmpräsentation (16:9)</PresentationFormat>
  <Paragraphs>390</Paragraphs>
  <Slides>53</Slides>
  <Notes>45</Notes>
  <HiddenSlides>40</HiddenSlides>
  <MMClips>0</MMClips>
  <ScaleCrop>false</ScaleCrop>
  <HeadingPairs>
    <vt:vector size="8" baseType="variant">
      <vt:variant>
        <vt:lpstr>Verwendete Schriftarten</vt:lpstr>
      </vt:variant>
      <vt:variant>
        <vt:i4>16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3</vt:i4>
      </vt:variant>
    </vt:vector>
  </HeadingPairs>
  <TitlesOfParts>
    <vt:vector size="73" baseType="lpstr">
      <vt:lpstr>Advent Pro SemiBold</vt:lpstr>
      <vt:lpstr>Maven Pro</vt:lpstr>
      <vt:lpstr>Roboto</vt:lpstr>
      <vt:lpstr>Calibri</vt:lpstr>
      <vt:lpstr>Arial</vt:lpstr>
      <vt:lpstr>Nunito Light</vt:lpstr>
      <vt:lpstr>Fira Sans Condensed Medium</vt:lpstr>
      <vt:lpstr>Fira Sans Extra Condensed Medium</vt:lpstr>
      <vt:lpstr>Proxima Nova</vt:lpstr>
      <vt:lpstr>Share Tech</vt:lpstr>
      <vt:lpstr>Amatic SC</vt:lpstr>
      <vt:lpstr>Proxima Nova Semibold</vt:lpstr>
      <vt:lpstr>Advent Pro Medium</vt:lpstr>
      <vt:lpstr>Maven Pro SemiBold</vt:lpstr>
      <vt:lpstr>Livvic Light</vt:lpstr>
      <vt:lpstr>Roboto Medium</vt:lpstr>
      <vt:lpstr>Data Science Consulting by Slidesgo</vt:lpstr>
      <vt:lpstr>Slidesgo Final Pages</vt:lpstr>
      <vt:lpstr>1_White Backgrounds</vt:lpstr>
      <vt:lpstr>think-cell Folie</vt:lpstr>
      <vt:lpstr>DATA SCIENCE PROTOTYPE</vt:lpstr>
      <vt:lpstr>Einführung in den use case</vt:lpstr>
      <vt:lpstr>Scope</vt:lpstr>
      <vt:lpstr>Scope</vt:lpstr>
      <vt:lpstr>Scope - Nutzen und Vergleich verschiedener Algorithmen in mehreren Iterationen</vt:lpstr>
      <vt:lpstr>Domain Exploration</vt:lpstr>
      <vt:lpstr>Domain Exploration</vt:lpstr>
      <vt:lpstr>Best Practices</vt:lpstr>
      <vt:lpstr>Unterstützende Forschungsfragen</vt:lpstr>
      <vt:lpstr>Data Exploration</vt:lpstr>
      <vt:lpstr>Modeling</vt:lpstr>
      <vt:lpstr>Results</vt:lpstr>
      <vt:lpstr>Reflection</vt:lpstr>
      <vt:lpstr>Scope</vt:lpstr>
      <vt:lpstr>Selection of data set</vt:lpstr>
      <vt:lpstr>CONTENTS OF THIS TEMPLATE</vt:lpstr>
      <vt:lpstr>TARGET</vt:lpstr>
      <vt:lpstr>UNDERSTANDING THE PROBLEM</vt:lpstr>
      <vt:lpstr>OUR SOLUTIONS</vt:lpstr>
      <vt:lpstr>MAIN COMPETITORS</vt:lpstr>
      <vt:lpstr>COMPANY</vt:lpstr>
      <vt:lpstr>MARKET RESEARCH</vt:lpstr>
      <vt:lpstr>ANALYSIS</vt:lpstr>
      <vt:lpstr>TARGET</vt:lpstr>
      <vt:lpstr>A Picture Is Worth a Thousand Words</vt:lpstr>
      <vt:lpstr>AWESOME WORDS</vt:lpstr>
      <vt:lpstr>OUR PROCESS</vt:lpstr>
      <vt:lpstr>OUR CONSULTANTS</vt:lpstr>
      <vt:lpstr>—SOMEONE FAMOUS</vt:lpstr>
      <vt:lpstr>OUR PARTNERS</vt:lpstr>
      <vt:lpstr>TESTIMONIALS</vt:lpstr>
      <vt:lpstr>4,498,300,000</vt:lpstr>
      <vt:lpstr>AWARDS</vt:lpstr>
      <vt:lpstr>UPCOMING GOALS</vt:lpstr>
      <vt:lpstr>SNEAK PEEK</vt:lpstr>
      <vt:lpstr>THANKS</vt:lpstr>
      <vt:lpstr>ALTERNATIVE RESOURCES</vt:lpstr>
      <vt:lpstr>RESOURCES</vt:lpstr>
      <vt:lpstr>Instructions for use</vt:lpstr>
      <vt:lpstr>Fonts &amp; colors used</vt:lpstr>
      <vt:lpstr>Use our editable graphic resources...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...and our sets of editable icons</vt:lpstr>
      <vt:lpstr>Educational Icons</vt:lpstr>
      <vt:lpstr>Business Icons</vt:lpstr>
      <vt:lpstr>Help &amp; Support Icons</vt:lpstr>
      <vt:lpstr>Creative Process Icons</vt:lpstr>
      <vt:lpstr>Nature Icons</vt:lpstr>
      <vt:lpstr>SEO &amp; Marketing Ic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SCIENCE PROTOTYPE</dc:title>
  <cp:lastModifiedBy>Alexander Benz</cp:lastModifiedBy>
  <cp:revision>44</cp:revision>
  <dcterms:modified xsi:type="dcterms:W3CDTF">2023-02-10T13:41:13Z</dcterms:modified>
</cp:coreProperties>
</file>